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2.xml" ContentType="application/vnd.openxmlformats-officedocument.presentationml.notesSlide+xml"/>
  <Override PartName="/ppt/notesSlides/notesSlide15.xml" ContentType="application/vnd.openxmlformats-officedocument.presentationml.notesSlide+xml"/>
  <Override PartName="/ppt/notesSlides/notesSlide3.xml" ContentType="application/vnd.openxmlformats-officedocument.presentationml.notesSlide+xml"/>
  <Override PartName="/ppt/notesSlides/notesSlide16.xml" ContentType="application/vnd.openxmlformats-officedocument.presentationml.notesSlide+xml"/>
  <Override PartName="/ppt/notesSlides/notesSlide4.xml" ContentType="application/vnd.openxmlformats-officedocument.presentationml.notesSlide+xml"/>
  <Override PartName="/ppt/notesSlides/notesSlide17.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18.xml" ContentType="application/vnd.openxmlformats-officedocument.presentationml.notesSlide+xml"/>
  <Override PartName="/ppt/notesSlides/notesSlide9.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charts/chart2.xml" ContentType="application/vnd.openxmlformats-officedocument.drawingml.chart+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media/image87.jpg" ContentType="image/jpg"/>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15.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40.xml" ContentType="application/vnd.openxmlformats-officedocument.presentationml.tags+xml"/>
  <Override PartName="/ppt/tags/tag48.xml" ContentType="application/vnd.openxmlformats-officedocument.presentationml.tags+xml"/>
  <Override PartName="/ppt/tags/tag41.xml" ContentType="application/vnd.openxmlformats-officedocument.presentationml.tags+xml"/>
  <Override PartName="/ppt/tags/tag49.xml" ContentType="application/vnd.openxmlformats-officedocument.presentationml.tags+xml"/>
  <Override PartName="/ppt/tags/tag37.xml" ContentType="application/vnd.openxmlformats-officedocument.presentationml.tags+xml"/>
  <Override PartName="/ppt/tags/tag50.xml" ContentType="application/vnd.openxmlformats-officedocument.presentationml.tags+xml"/>
  <Override PartName="/ppt/tags/tag36.xml" ContentType="application/vnd.openxmlformats-officedocument.presentationml.tags+xml"/>
  <Override PartName="/docProps/app.xml" ContentType="application/vnd.openxmlformats-officedocument.extended-properties+xml"/>
  <Override PartName="/ppt/tags/tag35.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38.xml" ContentType="application/vnd.openxmlformats-officedocument.presentationml.tags+xml"/>
  <Override PartName="/ppt/tags/tag53.xml" ContentType="application/vnd.openxmlformats-officedocument.presentationml.tags+xml"/>
  <Override PartName="/ppt/tags/tag39.xml" ContentType="application/vnd.openxmlformats-officedocument.presentationml.tags+xml"/>
  <Override PartName="/ppt/tags/tag59.xml" ContentType="application/vnd.openxmlformats-officedocument.presentationml.tags+xml"/>
  <Override PartName="/ppt/tags/tag54.xml" ContentType="application/vnd.openxmlformats-officedocument.presentationml.tags+xml"/>
  <Override PartName="/ppt/tags/tag58.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docProps/core.xml" ContentType="application/vnd.openxmlformats-package.core-properties+xml"/>
  <Override PartName="/ppt/tags/tag4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01" r:id="rId2"/>
  </p:sldMasterIdLst>
  <p:notesMasterIdLst>
    <p:notesMasterId r:id="rId33"/>
  </p:notesMasterIdLst>
  <p:sldIdLst>
    <p:sldId id="267" r:id="rId3"/>
    <p:sldId id="4013" r:id="rId4"/>
    <p:sldId id="4974" r:id="rId5"/>
    <p:sldId id="4975" r:id="rId6"/>
    <p:sldId id="4976" r:id="rId7"/>
    <p:sldId id="5003" r:id="rId8"/>
    <p:sldId id="4993" r:id="rId9"/>
    <p:sldId id="4994" r:id="rId10"/>
    <p:sldId id="4995" r:id="rId11"/>
    <p:sldId id="5004" r:id="rId12"/>
    <p:sldId id="290" r:id="rId13"/>
    <p:sldId id="1470" r:id="rId14"/>
    <p:sldId id="5093" r:id="rId15"/>
    <p:sldId id="262" r:id="rId16"/>
    <p:sldId id="958" r:id="rId17"/>
    <p:sldId id="5149" r:id="rId18"/>
    <p:sldId id="5005" r:id="rId19"/>
    <p:sldId id="4970" r:id="rId20"/>
    <p:sldId id="4998" r:id="rId21"/>
    <p:sldId id="5094" r:id="rId22"/>
    <p:sldId id="5006" r:id="rId23"/>
    <p:sldId id="4999" r:id="rId24"/>
    <p:sldId id="4979" r:id="rId25"/>
    <p:sldId id="5145" r:id="rId26"/>
    <p:sldId id="5007" r:id="rId27"/>
    <p:sldId id="4983" r:id="rId28"/>
    <p:sldId id="4008" r:id="rId29"/>
    <p:sldId id="286" r:id="rId30"/>
    <p:sldId id="4984" r:id="rId31"/>
    <p:sldId id="259" r:id="rId32"/>
  </p:sldIdLst>
  <p:sldSz cx="9144000" cy="5143500" type="screen16x9"/>
  <p:notesSz cx="6797675" cy="9926638"/>
  <p:custDataLst>
    <p:tags r:id="rId34"/>
  </p:custDataLst>
  <p:defaultTex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Sezione predefinita" id="{585EC46A-317C-DC42-8BB6-D596F49056CE}">
          <p14:sldIdLst>
            <p14:sldId id="267"/>
            <p14:sldId id="4013"/>
            <p14:sldId id="4974"/>
            <p14:sldId id="4975"/>
            <p14:sldId id="4976"/>
            <p14:sldId id="5003"/>
            <p14:sldId id="4993"/>
            <p14:sldId id="4994"/>
            <p14:sldId id="4995"/>
            <p14:sldId id="5004"/>
            <p14:sldId id="290"/>
            <p14:sldId id="1470"/>
            <p14:sldId id="5093"/>
            <p14:sldId id="262"/>
            <p14:sldId id="958"/>
            <p14:sldId id="5149"/>
            <p14:sldId id="5005"/>
            <p14:sldId id="4970"/>
            <p14:sldId id="4998"/>
            <p14:sldId id="5094"/>
            <p14:sldId id="5006"/>
            <p14:sldId id="4999"/>
            <p14:sldId id="4979"/>
            <p14:sldId id="5145"/>
            <p14:sldId id="5007"/>
            <p14:sldId id="4983"/>
            <p14:sldId id="4008"/>
            <p14:sldId id="286"/>
            <p14:sldId id="4984"/>
            <p14:sldId id="259"/>
          </p14:sldIdLst>
        </p14:section>
      </p14:sectionLst>
    </p:ext>
    <p:ext uri="{EFAFB233-063F-42B5-8137-9DF3F51BA10A}">
      <p15:sldGuideLst xmlns:p15="http://schemas.microsoft.com/office/powerpoint/2012/main">
        <p15:guide id="1" orient="horz" pos="1030" userDrawn="1">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E5265"/>
    <a:srgbClr val="BDBDBD"/>
    <a:srgbClr val="17375E"/>
    <a:srgbClr val="415064"/>
    <a:srgbClr val="3F5366"/>
    <a:srgbClr val="629629"/>
    <a:srgbClr val="C9C9C9"/>
    <a:srgbClr val="5D86B5"/>
    <a:srgbClr val="648AB7"/>
    <a:srgbClr val="05569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Stile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817" autoAdjust="0"/>
  </p:normalViewPr>
  <p:slideViewPr>
    <p:cSldViewPr snapToGrid="0" snapToObjects="1">
      <p:cViewPr varScale="1">
        <p:scale>
          <a:sx n="113" d="100"/>
          <a:sy n="113" d="100"/>
        </p:scale>
        <p:origin x="614" y="91"/>
      </p:cViewPr>
      <p:guideLst>
        <p:guide orient="horz" pos="103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customXml" Target="../customXml/item1.xml"/><Relationship Id="rId21" Type="http://schemas.openxmlformats.org/officeDocument/2006/relationships/slide" Target="slides/slide19.xml"/><Relationship Id="rId34" Type="http://schemas.openxmlformats.org/officeDocument/2006/relationships/tags" Target="tags/tag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heme" Target="theme/theme1.xml"/><Relationship Id="rId40" Type="http://schemas.openxmlformats.org/officeDocument/2006/relationships/customXml" Target="../customXml/item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notesMaster" Target="notesMasters/notesMaster1.xml"/><Relationship Id="rId38"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acarriero\Desktop\CIS\Audizione%206%20novembre%202019\APS-Rimesse.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xlsx"/></Relationships>
</file>

<file path=ppt/charts/_rels/chart3.xml.rels><?xml version="1.0" encoding="UTF-8" standalone="yes"?>
<Relationships xmlns="http://schemas.openxmlformats.org/package/2006/relationships"><Relationship Id="rId3" Type="http://schemas.openxmlformats.org/officeDocument/2006/relationships/oleObject" Target="Cartel1"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303611111111105E-2"/>
          <c:y val="2.6262345679012346E-2"/>
          <c:w val="0.87889083333333329"/>
          <c:h val="0.65433148148148146"/>
        </c:manualLayout>
      </c:layout>
      <c:lineChart>
        <c:grouping val="standard"/>
        <c:varyColors val="0"/>
        <c:ser>
          <c:idx val="0"/>
          <c:order val="0"/>
          <c:tx>
            <c:strRef>
              <c:f>'ODA % of GNI'!$I$4</c:f>
              <c:strCache>
                <c:ptCount val="1"/>
                <c:pt idx="0">
                  <c:v>Italia</c:v>
                </c:pt>
              </c:strCache>
            </c:strRef>
          </c:tx>
          <c:spPr>
            <a:ln w="28575" cap="rnd">
              <a:solidFill>
                <a:srgbClr val="00A651"/>
              </a:solidFill>
              <a:round/>
            </a:ln>
            <a:effectLst/>
          </c:spPr>
          <c:marker>
            <c:symbol val="none"/>
          </c:marker>
          <c:cat>
            <c:numRef>
              <c:f>'ODA % of GNI'!$J$3:$AA$3</c:f>
              <c:numCache>
                <c:formatCode>General</c:formatCode>
                <c:ptCount val="18"/>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numCache>
            </c:numRef>
          </c:cat>
          <c:val>
            <c:numRef>
              <c:f>'ODA % of GNI'!$J$4:$AA$4</c:f>
              <c:numCache>
                <c:formatCode>0.00</c:formatCode>
                <c:ptCount val="18"/>
                <c:pt idx="0">
                  <c:v>0.12811</c:v>
                </c:pt>
                <c:pt idx="1">
                  <c:v>0.15015899999999999</c:v>
                </c:pt>
                <c:pt idx="2">
                  <c:v>0.19856599999999999</c:v>
                </c:pt>
                <c:pt idx="3">
                  <c:v>0.167326</c:v>
                </c:pt>
                <c:pt idx="4">
                  <c:v>0.14745900000000001</c:v>
                </c:pt>
                <c:pt idx="5">
                  <c:v>0.28997000000000001</c:v>
                </c:pt>
                <c:pt idx="6">
                  <c:v>0.19714999999999999</c:v>
                </c:pt>
                <c:pt idx="7">
                  <c:v>0.18990299999999999</c:v>
                </c:pt>
                <c:pt idx="8">
                  <c:v>0.21767300000000001</c:v>
                </c:pt>
                <c:pt idx="9">
                  <c:v>0.15843499999999999</c:v>
                </c:pt>
                <c:pt idx="10">
                  <c:v>0.14804899999999999</c:v>
                </c:pt>
                <c:pt idx="11">
                  <c:v>0.19820099999999999</c:v>
                </c:pt>
                <c:pt idx="12">
                  <c:v>0.136987</c:v>
                </c:pt>
                <c:pt idx="13">
                  <c:v>0.16661000000000001</c:v>
                </c:pt>
                <c:pt idx="14">
                  <c:v>0.187219</c:v>
                </c:pt>
                <c:pt idx="15">
                  <c:v>0.22095799999999999</c:v>
                </c:pt>
                <c:pt idx="16">
                  <c:v>0.27468199999999998</c:v>
                </c:pt>
                <c:pt idx="17">
                  <c:v>0.30102099999999998</c:v>
                </c:pt>
              </c:numCache>
            </c:numRef>
          </c:val>
          <c:smooth val="0"/>
          <c:extLst>
            <c:ext xmlns:c16="http://schemas.microsoft.com/office/drawing/2014/chart" uri="{C3380CC4-5D6E-409C-BE32-E72D297353CC}">
              <c16:uniqueId val="{00000000-6C72-4A10-A0B8-9A3FA8D4EFDF}"/>
            </c:ext>
          </c:extLst>
        </c:ser>
        <c:ser>
          <c:idx val="1"/>
          <c:order val="1"/>
          <c:tx>
            <c:strRef>
              <c:f>'ODA % of GNI'!$I$5</c:f>
              <c:strCache>
                <c:ptCount val="1"/>
                <c:pt idx="0">
                  <c:v>Paesi DAC</c:v>
                </c:pt>
              </c:strCache>
            </c:strRef>
          </c:tx>
          <c:spPr>
            <a:ln w="28575" cap="rnd">
              <a:solidFill>
                <a:srgbClr val="415364"/>
              </a:solidFill>
              <a:round/>
            </a:ln>
            <a:effectLst/>
          </c:spPr>
          <c:marker>
            <c:symbol val="none"/>
          </c:marker>
          <c:cat>
            <c:numRef>
              <c:f>'ODA % of GNI'!$J$3:$AA$3</c:f>
              <c:numCache>
                <c:formatCode>General</c:formatCode>
                <c:ptCount val="18"/>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numCache>
            </c:numRef>
          </c:cat>
          <c:val>
            <c:numRef>
              <c:f>'ODA % of GNI'!$J$5:$AA$5</c:f>
              <c:numCache>
                <c:formatCode>0.00</c:formatCode>
                <c:ptCount val="18"/>
                <c:pt idx="0">
                  <c:v>0.22</c:v>
                </c:pt>
                <c:pt idx="1">
                  <c:v>0.21</c:v>
                </c:pt>
                <c:pt idx="2">
                  <c:v>0.23</c:v>
                </c:pt>
                <c:pt idx="3">
                  <c:v>0.24</c:v>
                </c:pt>
                <c:pt idx="4">
                  <c:v>0.25</c:v>
                </c:pt>
                <c:pt idx="5">
                  <c:v>0.32</c:v>
                </c:pt>
                <c:pt idx="6">
                  <c:v>0.3</c:v>
                </c:pt>
                <c:pt idx="7">
                  <c:v>0.27</c:v>
                </c:pt>
                <c:pt idx="8">
                  <c:v>0.3</c:v>
                </c:pt>
                <c:pt idx="9">
                  <c:v>0.31</c:v>
                </c:pt>
                <c:pt idx="10">
                  <c:v>0.31</c:v>
                </c:pt>
                <c:pt idx="11">
                  <c:v>0.31</c:v>
                </c:pt>
                <c:pt idx="12">
                  <c:v>0.28000000000000003</c:v>
                </c:pt>
                <c:pt idx="13">
                  <c:v>0.3</c:v>
                </c:pt>
                <c:pt idx="14">
                  <c:v>0.3</c:v>
                </c:pt>
                <c:pt idx="15">
                  <c:v>0.3</c:v>
                </c:pt>
                <c:pt idx="16">
                  <c:v>0.32</c:v>
                </c:pt>
                <c:pt idx="17">
                  <c:v>0.31</c:v>
                </c:pt>
              </c:numCache>
            </c:numRef>
          </c:val>
          <c:smooth val="0"/>
          <c:extLst>
            <c:ext xmlns:c16="http://schemas.microsoft.com/office/drawing/2014/chart" uri="{C3380CC4-5D6E-409C-BE32-E72D297353CC}">
              <c16:uniqueId val="{00000001-6C72-4A10-A0B8-9A3FA8D4EFDF}"/>
            </c:ext>
          </c:extLst>
        </c:ser>
        <c:dLbls>
          <c:showLegendKey val="0"/>
          <c:showVal val="0"/>
          <c:showCatName val="0"/>
          <c:showSerName val="0"/>
          <c:showPercent val="0"/>
          <c:showBubbleSize val="0"/>
        </c:dLbls>
        <c:smooth val="0"/>
        <c:axId val="317930680"/>
        <c:axId val="317930352"/>
      </c:lineChart>
      <c:catAx>
        <c:axId val="3179306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600" b="0" i="0" u="none" strike="noStrike" kern="1200" baseline="0">
                <a:solidFill>
                  <a:srgbClr val="415364"/>
                </a:solidFill>
                <a:latin typeface="Arial" panose="020B0604020202020204" pitchFamily="34" charset="0"/>
                <a:ea typeface="+mn-ea"/>
                <a:cs typeface="Arial" panose="020B0604020202020204" pitchFamily="34" charset="0"/>
              </a:defRPr>
            </a:pPr>
            <a:endParaRPr lang="it-IT"/>
          </a:p>
        </c:txPr>
        <c:crossAx val="317930352"/>
        <c:crosses val="autoZero"/>
        <c:auto val="1"/>
        <c:lblAlgn val="ctr"/>
        <c:lblOffset val="100"/>
        <c:noMultiLvlLbl val="0"/>
      </c:catAx>
      <c:valAx>
        <c:axId val="317930352"/>
        <c:scaling>
          <c:orientation val="minMax"/>
          <c:min val="0.1"/>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rgbClr val="415364"/>
                </a:solidFill>
                <a:latin typeface="Arial" panose="020B0604020202020204" pitchFamily="34" charset="0"/>
                <a:ea typeface="+mn-ea"/>
                <a:cs typeface="Arial" panose="020B0604020202020204" pitchFamily="34" charset="0"/>
              </a:defRPr>
            </a:pPr>
            <a:endParaRPr lang="it-IT"/>
          </a:p>
        </c:txPr>
        <c:crossAx val="3179306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600" b="0" i="0" u="none" strike="noStrike" kern="1200" baseline="0">
              <a:solidFill>
                <a:srgbClr val="415364"/>
              </a:solidFill>
              <a:latin typeface="Arial" panose="020B0604020202020204" pitchFamily="34" charset="0"/>
              <a:ea typeface="+mn-ea"/>
              <a:cs typeface="Arial" panose="020B0604020202020204" pitchFamily="34" charset="0"/>
            </a:defRPr>
          </a:pPr>
          <a:endParaRPr lang="it-IT"/>
        </a:p>
      </c:txPr>
    </c:legend>
    <c:plotVisOnly val="1"/>
    <c:dispBlanksAs val="gap"/>
    <c:showDLblsOverMax val="0"/>
  </c:chart>
  <c:spPr>
    <a:solidFill>
      <a:schemeClr val="bg1"/>
    </a:solidFill>
    <a:ln w="9525" cap="flat" cmpd="sng" algn="ctr">
      <a:noFill/>
      <a:round/>
    </a:ln>
    <a:effectLst/>
  </c:spPr>
  <c:txPr>
    <a:bodyPr/>
    <a:lstStyle/>
    <a:p>
      <a:pPr>
        <a:defRPr sz="600">
          <a:solidFill>
            <a:srgbClr val="415364"/>
          </a:solidFill>
          <a:latin typeface="Arial" panose="020B0604020202020204" pitchFamily="34" charset="0"/>
          <a:cs typeface="Arial" panose="020B0604020202020204" pitchFamily="34" charset="0"/>
        </a:defRPr>
      </a:pPr>
      <a:endParaRPr lang="it-I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9942777777777783E-2"/>
          <c:y val="2.8824525745257453E-2"/>
          <c:w val="0.86125166666666664"/>
          <c:h val="0.62921205962059623"/>
        </c:manualLayout>
      </c:layout>
      <c:areaChart>
        <c:grouping val="stacked"/>
        <c:varyColors val="0"/>
        <c:ser>
          <c:idx val="0"/>
          <c:order val="0"/>
          <c:tx>
            <c:strRef>
              <c:f>'OECD.Stat export'!$A$17</c:f>
              <c:strCache>
                <c:ptCount val="1"/>
                <c:pt idx="0">
                  <c:v>APS</c:v>
                </c:pt>
              </c:strCache>
            </c:strRef>
          </c:tx>
          <c:spPr>
            <a:solidFill>
              <a:srgbClr val="00A651"/>
            </a:solidFill>
            <a:ln>
              <a:noFill/>
            </a:ln>
            <a:effectLst/>
          </c:spPr>
          <c:cat>
            <c:numRef>
              <c:f>'OECD.Stat export'!$B$16:$AC$16</c:f>
              <c:numCache>
                <c:formatCode>General</c:formatCode>
                <c:ptCount val="28"/>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numCache>
            </c:numRef>
          </c:cat>
          <c:val>
            <c:numRef>
              <c:f>'OECD.Stat export'!$B$17:$AC$17</c:f>
              <c:numCache>
                <c:formatCode>#,##0.00_ ;\-#,##0.00\ </c:formatCode>
                <c:ptCount val="28"/>
                <c:pt idx="0">
                  <c:v>77.849941989000001</c:v>
                </c:pt>
                <c:pt idx="1">
                  <c:v>80.531452368000004</c:v>
                </c:pt>
                <c:pt idx="2">
                  <c:v>81.743275687999997</c:v>
                </c:pt>
                <c:pt idx="3">
                  <c:v>75.402519390999998</c:v>
                </c:pt>
                <c:pt idx="4">
                  <c:v>75.494355216000002</c:v>
                </c:pt>
                <c:pt idx="5">
                  <c:v>67.603695324</c:v>
                </c:pt>
                <c:pt idx="6">
                  <c:v>67.595284028999998</c:v>
                </c:pt>
                <c:pt idx="7">
                  <c:v>63.087212667000003</c:v>
                </c:pt>
                <c:pt idx="8">
                  <c:v>69.197394713000008</c:v>
                </c:pt>
                <c:pt idx="9">
                  <c:v>69.894155556000001</c:v>
                </c:pt>
                <c:pt idx="10">
                  <c:v>72.939132353999995</c:v>
                </c:pt>
                <c:pt idx="11">
                  <c:v>75.001922081000004</c:v>
                </c:pt>
                <c:pt idx="12">
                  <c:v>80.492502361999996</c:v>
                </c:pt>
                <c:pt idx="13">
                  <c:v>84.398764519000011</c:v>
                </c:pt>
                <c:pt idx="14">
                  <c:v>89.597561468999999</c:v>
                </c:pt>
                <c:pt idx="15">
                  <c:v>118.06354466699999</c:v>
                </c:pt>
                <c:pt idx="16">
                  <c:v>111.40718765199999</c:v>
                </c:pt>
                <c:pt idx="17">
                  <c:v>102.71508079199999</c:v>
                </c:pt>
                <c:pt idx="18">
                  <c:v>114.72028538800001</c:v>
                </c:pt>
                <c:pt idx="19">
                  <c:v>116.519770159</c:v>
                </c:pt>
                <c:pt idx="20">
                  <c:v>122.88953412500001</c:v>
                </c:pt>
                <c:pt idx="21">
                  <c:v>121.87610539399999</c:v>
                </c:pt>
                <c:pt idx="22">
                  <c:v>117.31141540500001</c:v>
                </c:pt>
                <c:pt idx="23">
                  <c:v>123.49644651599999</c:v>
                </c:pt>
                <c:pt idx="24">
                  <c:v>125.47589327600001</c:v>
                </c:pt>
                <c:pt idx="25">
                  <c:v>133.23354049899999</c:v>
                </c:pt>
                <c:pt idx="26">
                  <c:v>147.55482228</c:v>
                </c:pt>
                <c:pt idx="27">
                  <c:v>147.16027</c:v>
                </c:pt>
              </c:numCache>
            </c:numRef>
          </c:val>
          <c:extLst>
            <c:ext xmlns:c16="http://schemas.microsoft.com/office/drawing/2014/chart" uri="{C3380CC4-5D6E-409C-BE32-E72D297353CC}">
              <c16:uniqueId val="{00000000-6A22-4F25-8B35-645E5F6E498B}"/>
            </c:ext>
          </c:extLst>
        </c:ser>
        <c:ser>
          <c:idx val="1"/>
          <c:order val="1"/>
          <c:tx>
            <c:strRef>
              <c:f>'OECD.Stat export'!$A$18</c:f>
              <c:strCache>
                <c:ptCount val="1"/>
                <c:pt idx="0">
                  <c:v>Altri flussi ufficiali</c:v>
                </c:pt>
              </c:strCache>
            </c:strRef>
          </c:tx>
          <c:spPr>
            <a:solidFill>
              <a:schemeClr val="bg1">
                <a:lumMod val="75000"/>
              </a:schemeClr>
            </a:solidFill>
            <a:ln>
              <a:noFill/>
            </a:ln>
            <a:effectLst/>
          </c:spPr>
          <c:cat>
            <c:numRef>
              <c:f>'OECD.Stat export'!$B$16:$AC$16</c:f>
              <c:numCache>
                <c:formatCode>General</c:formatCode>
                <c:ptCount val="28"/>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numCache>
            </c:numRef>
          </c:cat>
          <c:val>
            <c:numRef>
              <c:f>'OECD.Stat export'!$B$18:$AC$18</c:f>
              <c:numCache>
                <c:formatCode>#,##0.00_ ;\-#,##0.00\ </c:formatCode>
                <c:ptCount val="28"/>
                <c:pt idx="0">
                  <c:v>10.714422853</c:v>
                </c:pt>
                <c:pt idx="1">
                  <c:v>9.845564972</c:v>
                </c:pt>
                <c:pt idx="2">
                  <c:v>12.276467229</c:v>
                </c:pt>
                <c:pt idx="3">
                  <c:v>8.0731408160000004</c:v>
                </c:pt>
                <c:pt idx="4">
                  <c:v>24.048117815999998</c:v>
                </c:pt>
                <c:pt idx="5">
                  <c:v>16.446848056</c:v>
                </c:pt>
                <c:pt idx="6">
                  <c:v>8.8697026389999998</c:v>
                </c:pt>
                <c:pt idx="7">
                  <c:v>12.862067706999998</c:v>
                </c:pt>
                <c:pt idx="8">
                  <c:v>18.332260797</c:v>
                </c:pt>
                <c:pt idx="9">
                  <c:v>21.171090684000003</c:v>
                </c:pt>
                <c:pt idx="10">
                  <c:v>7.6274332129999998</c:v>
                </c:pt>
                <c:pt idx="11">
                  <c:v>2.3552614780000005</c:v>
                </c:pt>
                <c:pt idx="12">
                  <c:v>2.6576025619999997</c:v>
                </c:pt>
                <c:pt idx="13">
                  <c:v>2.0310721860000003</c:v>
                </c:pt>
                <c:pt idx="14">
                  <c:v>1.071146159</c:v>
                </c:pt>
                <c:pt idx="15">
                  <c:v>8.3828554169999983</c:v>
                </c:pt>
                <c:pt idx="16">
                  <c:v>-7.1959582920000011</c:v>
                </c:pt>
                <c:pt idx="17">
                  <c:v>7.3931157340000002</c:v>
                </c:pt>
                <c:pt idx="18">
                  <c:v>5.9039044510000007</c:v>
                </c:pt>
                <c:pt idx="19">
                  <c:v>11.165064273</c:v>
                </c:pt>
                <c:pt idx="20">
                  <c:v>32.616179537999997</c:v>
                </c:pt>
                <c:pt idx="21">
                  <c:v>16.408230088</c:v>
                </c:pt>
                <c:pt idx="22">
                  <c:v>17.072206598000001</c:v>
                </c:pt>
                <c:pt idx="23">
                  <c:v>20.128704231</c:v>
                </c:pt>
                <c:pt idx="24">
                  <c:v>6.8144113060000002</c:v>
                </c:pt>
                <c:pt idx="25">
                  <c:v>22.896686882000001</c:v>
                </c:pt>
                <c:pt idx="26">
                  <c:v>3.7442031699999996</c:v>
                </c:pt>
                <c:pt idx="27">
                  <c:v>-0.2551500000000001</c:v>
                </c:pt>
              </c:numCache>
            </c:numRef>
          </c:val>
          <c:extLst>
            <c:ext xmlns:c16="http://schemas.microsoft.com/office/drawing/2014/chart" uri="{C3380CC4-5D6E-409C-BE32-E72D297353CC}">
              <c16:uniqueId val="{00000001-6A22-4F25-8B35-645E5F6E498B}"/>
            </c:ext>
          </c:extLst>
        </c:ser>
        <c:ser>
          <c:idx val="2"/>
          <c:order val="2"/>
          <c:tx>
            <c:strRef>
              <c:f>'OECD.Stat export'!$A$19</c:f>
              <c:strCache>
                <c:ptCount val="1"/>
                <c:pt idx="0">
                  <c:v>Flussi privati a condizioni di mercato</c:v>
                </c:pt>
              </c:strCache>
            </c:strRef>
          </c:tx>
          <c:spPr>
            <a:solidFill>
              <a:srgbClr val="415364"/>
            </a:solidFill>
            <a:ln>
              <a:noFill/>
            </a:ln>
            <a:effectLst/>
          </c:spPr>
          <c:cat>
            <c:numRef>
              <c:f>'OECD.Stat export'!$B$16:$AC$16</c:f>
              <c:numCache>
                <c:formatCode>General</c:formatCode>
                <c:ptCount val="28"/>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numCache>
            </c:numRef>
          </c:cat>
          <c:val>
            <c:numRef>
              <c:f>'OECD.Stat export'!$B$19:$AC$19</c:f>
              <c:numCache>
                <c:formatCode>#,##0.00_ ;\-#,##0.00\ </c:formatCode>
                <c:ptCount val="28"/>
                <c:pt idx="0">
                  <c:v>13.621125938999999</c:v>
                </c:pt>
                <c:pt idx="1">
                  <c:v>32.258253183000001</c:v>
                </c:pt>
                <c:pt idx="2">
                  <c:v>50.843869599999998</c:v>
                </c:pt>
                <c:pt idx="3">
                  <c:v>100.93044061400001</c:v>
                </c:pt>
                <c:pt idx="4">
                  <c:v>113.533408059</c:v>
                </c:pt>
                <c:pt idx="5">
                  <c:v>105.48434526200001</c:v>
                </c:pt>
                <c:pt idx="6">
                  <c:v>153.947390969</c:v>
                </c:pt>
                <c:pt idx="7">
                  <c:v>161.07827833100001</c:v>
                </c:pt>
                <c:pt idx="8">
                  <c:v>155.01521032700001</c:v>
                </c:pt>
                <c:pt idx="9">
                  <c:v>164.02595337599999</c:v>
                </c:pt>
                <c:pt idx="10">
                  <c:v>109.194369831</c:v>
                </c:pt>
                <c:pt idx="11">
                  <c:v>67.607039869999994</c:v>
                </c:pt>
                <c:pt idx="12">
                  <c:v>8.1068645650000004</c:v>
                </c:pt>
                <c:pt idx="13">
                  <c:v>57.826389362</c:v>
                </c:pt>
                <c:pt idx="14">
                  <c:v>74.127158729000001</c:v>
                </c:pt>
                <c:pt idx="15">
                  <c:v>199.374528731</c:v>
                </c:pt>
                <c:pt idx="16">
                  <c:v>215.92021106299998</c:v>
                </c:pt>
                <c:pt idx="17">
                  <c:v>304.23603841400001</c:v>
                </c:pt>
                <c:pt idx="18">
                  <c:v>103.110635207</c:v>
                </c:pt>
                <c:pt idx="19">
                  <c:v>178.460931851</c:v>
                </c:pt>
                <c:pt idx="20">
                  <c:v>322.40291350699999</c:v>
                </c:pt>
                <c:pt idx="21">
                  <c:v>293.9875232</c:v>
                </c:pt>
                <c:pt idx="22">
                  <c:v>280.34884445799997</c:v>
                </c:pt>
                <c:pt idx="23">
                  <c:v>247.63755776299999</c:v>
                </c:pt>
                <c:pt idx="24">
                  <c:v>392.50649131699998</c:v>
                </c:pt>
                <c:pt idx="25">
                  <c:v>132.680605343</c:v>
                </c:pt>
                <c:pt idx="26">
                  <c:v>131.379552381</c:v>
                </c:pt>
                <c:pt idx="27">
                  <c:v>244.64284000000001</c:v>
                </c:pt>
              </c:numCache>
            </c:numRef>
          </c:val>
          <c:extLst>
            <c:ext xmlns:c16="http://schemas.microsoft.com/office/drawing/2014/chart" uri="{C3380CC4-5D6E-409C-BE32-E72D297353CC}">
              <c16:uniqueId val="{00000002-6A22-4F25-8B35-645E5F6E498B}"/>
            </c:ext>
          </c:extLst>
        </c:ser>
        <c:ser>
          <c:idx val="3"/>
          <c:order val="3"/>
          <c:tx>
            <c:strRef>
              <c:f>'OECD.Stat export'!$A$20</c:f>
              <c:strCache>
                <c:ptCount val="1"/>
                <c:pt idx="0">
                  <c:v>Contributi privati</c:v>
                </c:pt>
              </c:strCache>
            </c:strRef>
          </c:tx>
          <c:spPr>
            <a:solidFill>
              <a:schemeClr val="bg1">
                <a:lumMod val="85000"/>
              </a:schemeClr>
            </a:solidFill>
            <a:ln>
              <a:noFill/>
            </a:ln>
            <a:effectLst/>
          </c:spPr>
          <c:cat>
            <c:numRef>
              <c:f>'OECD.Stat export'!$B$16:$AC$16</c:f>
              <c:numCache>
                <c:formatCode>General</c:formatCode>
                <c:ptCount val="28"/>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numCache>
            </c:numRef>
          </c:cat>
          <c:val>
            <c:numRef>
              <c:f>'OECD.Stat export'!$B$20:$AC$20</c:f>
              <c:numCache>
                <c:formatCode>#,##0.00_ ;\-#,##0.00\ </c:formatCode>
                <c:ptCount val="28"/>
                <c:pt idx="0">
                  <c:v>7.9052733310000001</c:v>
                </c:pt>
                <c:pt idx="1">
                  <c:v>8.2028373690000009</c:v>
                </c:pt>
                <c:pt idx="2">
                  <c:v>8.6880261510000008</c:v>
                </c:pt>
                <c:pt idx="3">
                  <c:v>8.3987370800000001</c:v>
                </c:pt>
                <c:pt idx="4">
                  <c:v>8.6204228839999999</c:v>
                </c:pt>
                <c:pt idx="5">
                  <c:v>7.9043684370000005</c:v>
                </c:pt>
                <c:pt idx="6">
                  <c:v>7.6809054039999998</c:v>
                </c:pt>
                <c:pt idx="7">
                  <c:v>7.2473538639999999</c:v>
                </c:pt>
                <c:pt idx="8">
                  <c:v>7.8565653590000002</c:v>
                </c:pt>
                <c:pt idx="9">
                  <c:v>9.3243707970000003</c:v>
                </c:pt>
                <c:pt idx="10">
                  <c:v>9.957406323999999</c:v>
                </c:pt>
                <c:pt idx="11">
                  <c:v>10.520728104</c:v>
                </c:pt>
                <c:pt idx="12">
                  <c:v>12.289413859</c:v>
                </c:pt>
                <c:pt idx="13">
                  <c:v>13.26204253</c:v>
                </c:pt>
                <c:pt idx="14">
                  <c:v>13.870553458</c:v>
                </c:pt>
                <c:pt idx="15">
                  <c:v>17.518454203000001</c:v>
                </c:pt>
                <c:pt idx="16">
                  <c:v>16.942217508999999</c:v>
                </c:pt>
                <c:pt idx="17">
                  <c:v>20.159613272999998</c:v>
                </c:pt>
                <c:pt idx="18">
                  <c:v>25.781169654000003</c:v>
                </c:pt>
                <c:pt idx="19">
                  <c:v>23.944348845</c:v>
                </c:pt>
                <c:pt idx="20">
                  <c:v>36.391746192999996</c:v>
                </c:pt>
                <c:pt idx="21">
                  <c:v>36.121483135000005</c:v>
                </c:pt>
                <c:pt idx="22">
                  <c:v>36.407205694999995</c:v>
                </c:pt>
                <c:pt idx="23">
                  <c:v>34.805427571000003</c:v>
                </c:pt>
                <c:pt idx="24">
                  <c:v>32.739226137000003</c:v>
                </c:pt>
                <c:pt idx="25">
                  <c:v>36.605486462999998</c:v>
                </c:pt>
                <c:pt idx="26">
                  <c:v>42.572503017000003</c:v>
                </c:pt>
                <c:pt idx="27">
                  <c:v>41.911059999999999</c:v>
                </c:pt>
              </c:numCache>
            </c:numRef>
          </c:val>
          <c:extLst>
            <c:ext xmlns:c16="http://schemas.microsoft.com/office/drawing/2014/chart" uri="{C3380CC4-5D6E-409C-BE32-E72D297353CC}">
              <c16:uniqueId val="{00000003-6A22-4F25-8B35-645E5F6E498B}"/>
            </c:ext>
          </c:extLst>
        </c:ser>
        <c:ser>
          <c:idx val="4"/>
          <c:order val="4"/>
          <c:tx>
            <c:strRef>
              <c:f>'OECD.Stat export'!$A$21</c:f>
              <c:strCache>
                <c:ptCount val="1"/>
                <c:pt idx="0">
                  <c:v>Rimesse</c:v>
                </c:pt>
              </c:strCache>
            </c:strRef>
          </c:tx>
          <c:spPr>
            <a:solidFill>
              <a:schemeClr val="bg1">
                <a:lumMod val="50000"/>
              </a:schemeClr>
            </a:solidFill>
            <a:ln>
              <a:noFill/>
            </a:ln>
            <a:effectLst/>
          </c:spPr>
          <c:cat>
            <c:numRef>
              <c:f>'OECD.Stat export'!$B$16:$AC$16</c:f>
              <c:numCache>
                <c:formatCode>General</c:formatCode>
                <c:ptCount val="28"/>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numCache>
            </c:numRef>
          </c:cat>
          <c:val>
            <c:numRef>
              <c:f>'OECD.Stat export'!$B$21:$AC$21</c:f>
              <c:numCache>
                <c:formatCode>0.00</c:formatCode>
                <c:ptCount val="28"/>
                <c:pt idx="0">
                  <c:v>29.410371490888789</c:v>
                </c:pt>
                <c:pt idx="1">
                  <c:v>32.348036234956226</c:v>
                </c:pt>
                <c:pt idx="2">
                  <c:v>37.917337603759272</c:v>
                </c:pt>
                <c:pt idx="3">
                  <c:v>39.806397134779495</c:v>
                </c:pt>
                <c:pt idx="4">
                  <c:v>48.858899835009481</c:v>
                </c:pt>
                <c:pt idx="5">
                  <c:v>50.043307353829086</c:v>
                </c:pt>
                <c:pt idx="6">
                  <c:v>53.106046268976947</c:v>
                </c:pt>
                <c:pt idx="7">
                  <c:v>62.9645548504757</c:v>
                </c:pt>
                <c:pt idx="8">
                  <c:v>61.558631591482481</c:v>
                </c:pt>
                <c:pt idx="9">
                  <c:v>67.063270676477956</c:v>
                </c:pt>
                <c:pt idx="10">
                  <c:v>74.221355084699255</c:v>
                </c:pt>
                <c:pt idx="11">
                  <c:v>82.737773688844271</c:v>
                </c:pt>
                <c:pt idx="12">
                  <c:v>98.23280498121737</c:v>
                </c:pt>
                <c:pt idx="13">
                  <c:v>122.80407395195793</c:v>
                </c:pt>
                <c:pt idx="14">
                  <c:v>140.60245723846464</c:v>
                </c:pt>
                <c:pt idx="15">
                  <c:v>172.54995862563021</c:v>
                </c:pt>
                <c:pt idx="16">
                  <c:v>203.25326703484254</c:v>
                </c:pt>
                <c:pt idx="17">
                  <c:v>244.96096552204901</c:v>
                </c:pt>
                <c:pt idx="18">
                  <c:v>283.79699674896551</c:v>
                </c:pt>
                <c:pt idx="19">
                  <c:v>273.22920459912893</c:v>
                </c:pt>
                <c:pt idx="20">
                  <c:v>302.16969556049764</c:v>
                </c:pt>
                <c:pt idx="21">
                  <c:v>340.60265981146273</c:v>
                </c:pt>
                <c:pt idx="22">
                  <c:v>367.6055925992718</c:v>
                </c:pt>
                <c:pt idx="23">
                  <c:v>388.1729936560281</c:v>
                </c:pt>
                <c:pt idx="24">
                  <c:v>417.21511948499204</c:v>
                </c:pt>
                <c:pt idx="25">
                  <c:v>431.81793984156707</c:v>
                </c:pt>
                <c:pt idx="26">
                  <c:v>417.93395658013009</c:v>
                </c:pt>
                <c:pt idx="27">
                  <c:v>445.29403577235951</c:v>
                </c:pt>
              </c:numCache>
            </c:numRef>
          </c:val>
          <c:extLst>
            <c:ext xmlns:c16="http://schemas.microsoft.com/office/drawing/2014/chart" uri="{C3380CC4-5D6E-409C-BE32-E72D297353CC}">
              <c16:uniqueId val="{00000004-6A22-4F25-8B35-645E5F6E498B}"/>
            </c:ext>
          </c:extLst>
        </c:ser>
        <c:dLbls>
          <c:showLegendKey val="0"/>
          <c:showVal val="0"/>
          <c:showCatName val="0"/>
          <c:showSerName val="0"/>
          <c:showPercent val="0"/>
          <c:showBubbleSize val="0"/>
        </c:dLbls>
        <c:axId val="349436512"/>
        <c:axId val="349437168"/>
      </c:areaChart>
      <c:catAx>
        <c:axId val="3494365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600" b="0" i="0" u="none" strike="noStrike" kern="1200" baseline="0">
                <a:solidFill>
                  <a:srgbClr val="415364"/>
                </a:solidFill>
                <a:latin typeface="Arial" panose="020B0604020202020204" pitchFamily="34" charset="0"/>
                <a:ea typeface="+mn-ea"/>
                <a:cs typeface="Arial" panose="020B0604020202020204" pitchFamily="34" charset="0"/>
              </a:defRPr>
            </a:pPr>
            <a:endParaRPr lang="it-IT"/>
          </a:p>
        </c:txPr>
        <c:crossAx val="349437168"/>
        <c:crosses val="autoZero"/>
        <c:auto val="1"/>
        <c:lblAlgn val="ctr"/>
        <c:lblOffset val="100"/>
        <c:noMultiLvlLbl val="0"/>
      </c:catAx>
      <c:valAx>
        <c:axId val="349437168"/>
        <c:scaling>
          <c:orientation val="minMax"/>
        </c:scaling>
        <c:delete val="0"/>
        <c:axPos val="l"/>
        <c:numFmt formatCode="#,##0_ ;\-#,##0\ " sourceLinked="0"/>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rgbClr val="415364"/>
                </a:solidFill>
                <a:latin typeface="Arial" panose="020B0604020202020204" pitchFamily="34" charset="0"/>
                <a:ea typeface="+mn-ea"/>
                <a:cs typeface="Arial" panose="020B0604020202020204" pitchFamily="34" charset="0"/>
              </a:defRPr>
            </a:pPr>
            <a:endParaRPr lang="it-IT"/>
          </a:p>
        </c:txPr>
        <c:crossAx val="349436512"/>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600" b="0" i="0" u="none" strike="noStrike" kern="1200" baseline="0">
              <a:solidFill>
                <a:srgbClr val="415364"/>
              </a:solidFill>
              <a:latin typeface="Arial" panose="020B0604020202020204" pitchFamily="34" charset="0"/>
              <a:ea typeface="+mn-ea"/>
              <a:cs typeface="Arial" panose="020B0604020202020204" pitchFamily="34" charset="0"/>
            </a:defRPr>
          </a:pPr>
          <a:endParaRPr lang="it-IT"/>
        </a:p>
      </c:txPr>
    </c:legend>
    <c:plotVisOnly val="1"/>
    <c:dispBlanksAs val="zero"/>
    <c:showDLblsOverMax val="0"/>
  </c:chart>
  <c:spPr>
    <a:solidFill>
      <a:schemeClr val="bg1"/>
    </a:solidFill>
    <a:ln w="9525" cap="flat" cmpd="sng" algn="ctr">
      <a:noFill/>
      <a:round/>
    </a:ln>
    <a:effectLst/>
  </c:spPr>
  <c:txPr>
    <a:bodyPr/>
    <a:lstStyle/>
    <a:p>
      <a:pPr>
        <a:defRPr sz="600">
          <a:solidFill>
            <a:srgbClr val="415364"/>
          </a:solidFill>
          <a:latin typeface="Arial" panose="020B0604020202020204" pitchFamily="34" charset="0"/>
          <a:cs typeface="Arial" panose="020B0604020202020204" pitchFamily="34" charset="0"/>
        </a:defRPr>
      </a:pPr>
      <a:endParaRPr lang="it-IT"/>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866-4032-AD7E-F91EC9324C9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866-4032-AD7E-F91EC9324C9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866-4032-AD7E-F91EC9324C9D}"/>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F866-4032-AD7E-F91EC9324C9D}"/>
              </c:ext>
            </c:extLst>
          </c:dPt>
          <c:dLbls>
            <c:dLbl>
              <c:idx val="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it-IT"/>
                </a:p>
              </c:txPr>
              <c:showLegendKey val="0"/>
              <c:showVal val="1"/>
              <c:showCatName val="0"/>
              <c:showSerName val="0"/>
              <c:showPercent val="0"/>
              <c:showBubbleSize val="0"/>
              <c:extLst>
                <c:ext xmlns:c16="http://schemas.microsoft.com/office/drawing/2014/chart" uri="{C3380CC4-5D6E-409C-BE32-E72D297353CC}">
                  <c16:uniqueId val="{00000001-F866-4032-AD7E-F91EC9324C9D}"/>
                </c:ext>
              </c:extLst>
            </c:dLbl>
            <c:dLbl>
              <c:idx val="1"/>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it-IT"/>
                </a:p>
              </c:txPr>
              <c:showLegendKey val="0"/>
              <c:showVal val="1"/>
              <c:showCatName val="0"/>
              <c:showSerName val="0"/>
              <c:showPercent val="0"/>
              <c:showBubbleSize val="0"/>
              <c:extLst>
                <c:ext xmlns:c16="http://schemas.microsoft.com/office/drawing/2014/chart" uri="{C3380CC4-5D6E-409C-BE32-E72D297353CC}">
                  <c16:uniqueId val="{00000003-F866-4032-AD7E-F91EC9324C9D}"/>
                </c:ext>
              </c:extLst>
            </c:dLbl>
            <c:dLbl>
              <c:idx val="2"/>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415064"/>
                      </a:solidFill>
                      <a:latin typeface="+mn-lt"/>
                      <a:ea typeface="+mn-ea"/>
                      <a:cs typeface="+mn-cs"/>
                    </a:defRPr>
                  </a:pPr>
                  <a:endParaRPr lang="it-IT"/>
                </a:p>
              </c:txPr>
              <c:showLegendKey val="0"/>
              <c:showVal val="1"/>
              <c:showCatName val="0"/>
              <c:showSerName val="0"/>
              <c:showPercent val="0"/>
              <c:showBubbleSize val="0"/>
              <c:extLst>
                <c:ext xmlns:c16="http://schemas.microsoft.com/office/drawing/2014/chart" uri="{C3380CC4-5D6E-409C-BE32-E72D297353CC}">
                  <c16:uniqueId val="{00000005-F866-4032-AD7E-F91EC9324C9D}"/>
                </c:ext>
              </c:extLst>
            </c:dLbl>
            <c:dLbl>
              <c:idx val="3"/>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415064"/>
                      </a:solidFill>
                      <a:latin typeface="+mn-lt"/>
                      <a:ea typeface="+mn-ea"/>
                      <a:cs typeface="+mn-cs"/>
                    </a:defRPr>
                  </a:pPr>
                  <a:endParaRPr lang="it-IT"/>
                </a:p>
              </c:txPr>
              <c:showLegendKey val="0"/>
              <c:showVal val="1"/>
              <c:showCatName val="0"/>
              <c:showSerName val="0"/>
              <c:showPercent val="0"/>
              <c:showBubbleSize val="0"/>
              <c:extLst>
                <c:ext xmlns:c16="http://schemas.microsoft.com/office/drawing/2014/chart" uri="{C3380CC4-5D6E-409C-BE32-E72D297353CC}">
                  <c16:uniqueId val="{00000007-F866-4032-AD7E-F91EC9324C9D}"/>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it-IT"/>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oglio1!$C$3:$C$6</c:f>
              <c:strCache>
                <c:ptCount val="4"/>
                <c:pt idx="0">
                  <c:v>Grants</c:v>
                </c:pt>
                <c:pt idx="1">
                  <c:v>Prestiti</c:v>
                </c:pt>
                <c:pt idx="2">
                  <c:v>Equity</c:v>
                </c:pt>
                <c:pt idx="3">
                  <c:v>Garanzie</c:v>
                </c:pt>
              </c:strCache>
            </c:strRef>
          </c:cat>
          <c:val>
            <c:numRef>
              <c:f>Foglio1!$D$3:$D$6</c:f>
              <c:numCache>
                <c:formatCode>0%</c:formatCode>
                <c:ptCount val="4"/>
                <c:pt idx="0">
                  <c:v>0.45</c:v>
                </c:pt>
                <c:pt idx="1">
                  <c:v>0.44</c:v>
                </c:pt>
                <c:pt idx="2">
                  <c:v>0.09</c:v>
                </c:pt>
                <c:pt idx="3">
                  <c:v>0.02</c:v>
                </c:pt>
              </c:numCache>
            </c:numRef>
          </c:val>
          <c:extLst>
            <c:ext xmlns:c16="http://schemas.microsoft.com/office/drawing/2014/chart" uri="{C3380CC4-5D6E-409C-BE32-E72D297353CC}">
              <c16:uniqueId val="{00000008-F866-4032-AD7E-F91EC9324C9D}"/>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800" b="0" i="0" u="none" strike="noStrike" kern="1200" baseline="0">
              <a:solidFill>
                <a:srgbClr val="415064"/>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8DF10805-A746-B942-B0F5-B72C71733CEB}" type="datetimeFigureOut">
              <a:rPr lang="it-IT" smtClean="0"/>
              <a:t>17/09/2020</a:t>
            </a:fld>
            <a:endParaRPr lang="it-IT"/>
          </a:p>
        </p:txBody>
      </p:sp>
      <p:sp>
        <p:nvSpPr>
          <p:cNvPr id="4" name="Segnaposto immagine diapositiva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B5A1F69D-C4D0-494A-820E-D6CEFF1052E0}" type="slidenum">
              <a:rPr lang="it-IT" smtClean="0"/>
              <a:t>‹N›</a:t>
            </a:fld>
            <a:endParaRPr lang="it-IT"/>
          </a:p>
        </p:txBody>
      </p:sp>
    </p:spTree>
    <p:extLst>
      <p:ext uri="{BB962C8B-B14F-4D97-AF65-F5344CB8AC3E}">
        <p14:creationId xmlns:p14="http://schemas.microsoft.com/office/powerpoint/2010/main" val="1702935209"/>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www.entilocali.leggiditalia.it/rest?print=1#8" TargetMode="External"/><Relationship Id="rId2" Type="http://schemas.openxmlformats.org/officeDocument/2006/relationships/slide" Target="../slides/slide12.xml"/><Relationship Id="rId1" Type="http://schemas.openxmlformats.org/officeDocument/2006/relationships/notesMaster" Target="../notesMasters/notesMaster1.xml"/><Relationship Id="rId5" Type="http://schemas.openxmlformats.org/officeDocument/2006/relationships/hyperlink" Target="http://www.entilocali.leggiditalia.it/rest?print=1#15" TargetMode="External"/><Relationship Id="rId4" Type="http://schemas.openxmlformats.org/officeDocument/2006/relationships/hyperlink" Target="http://www.entilocali.leggiditalia.it/rest?print=1#9"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B5A1F69D-C4D0-494A-820E-D6CEFF1052E0}" type="slidenum">
              <a:rPr lang="it-IT" smtClean="0"/>
              <a:t>1</a:t>
            </a:fld>
            <a:endParaRPr lang="it-IT"/>
          </a:p>
        </p:txBody>
      </p:sp>
    </p:spTree>
    <p:extLst>
      <p:ext uri="{BB962C8B-B14F-4D97-AF65-F5344CB8AC3E}">
        <p14:creationId xmlns:p14="http://schemas.microsoft.com/office/powerpoint/2010/main" val="8747265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B5A1F69D-C4D0-494A-820E-D6CEFF1052E0}" type="slidenum">
              <a:rPr lang="it-IT" smtClean="0"/>
              <a:t>10</a:t>
            </a:fld>
            <a:endParaRPr lang="it-IT"/>
          </a:p>
        </p:txBody>
      </p:sp>
    </p:spTree>
    <p:extLst>
      <p:ext uri="{BB962C8B-B14F-4D97-AF65-F5344CB8AC3E}">
        <p14:creationId xmlns:p14="http://schemas.microsoft.com/office/powerpoint/2010/main" val="21284344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B5A1F69D-C4D0-494A-820E-D6CEFF1052E0}" type="slidenum">
              <a:rPr lang="it-IT" smtClean="0"/>
              <a:t>11</a:t>
            </a:fld>
            <a:endParaRPr lang="it-IT"/>
          </a:p>
        </p:txBody>
      </p:sp>
    </p:spTree>
    <p:extLst>
      <p:ext uri="{BB962C8B-B14F-4D97-AF65-F5344CB8AC3E}">
        <p14:creationId xmlns:p14="http://schemas.microsoft.com/office/powerpoint/2010/main" val="20440414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sz="1800" b="1" kern="1200" dirty="0">
                <a:solidFill>
                  <a:schemeClr val="tx1"/>
                </a:solidFill>
                <a:effectLst/>
                <a:latin typeface="Arial"/>
                <a:ea typeface="+mn-ea"/>
                <a:cs typeface="Arial"/>
              </a:rPr>
              <a:t>Art. 15.</a:t>
            </a:r>
            <a:r>
              <a:rPr lang="it-IT" sz="1800" kern="1200" dirty="0">
                <a:solidFill>
                  <a:schemeClr val="tx1"/>
                </a:solidFill>
                <a:effectLst/>
                <a:latin typeface="Arial"/>
                <a:ea typeface="+mn-ea"/>
                <a:cs typeface="Arial"/>
              </a:rPr>
              <a:t> </a:t>
            </a:r>
            <a:r>
              <a:rPr lang="it-IT" sz="1800" b="1" kern="1200" dirty="0">
                <a:solidFill>
                  <a:schemeClr val="tx1"/>
                </a:solidFill>
                <a:effectLst/>
                <a:latin typeface="Arial"/>
                <a:ea typeface="+mn-ea"/>
                <a:cs typeface="Arial"/>
              </a:rPr>
              <a:t>Comitato interministeriale per la cooperazione allo sviluppo</a:t>
            </a:r>
            <a:r>
              <a:rPr lang="it-IT" sz="1800" kern="1200" dirty="0">
                <a:solidFill>
                  <a:schemeClr val="tx1"/>
                </a:solidFill>
                <a:effectLst/>
                <a:latin typeface="Arial"/>
                <a:ea typeface="+mn-ea"/>
                <a:cs typeface="Arial"/>
              </a:rPr>
              <a:t> </a:t>
            </a:r>
          </a:p>
          <a:p>
            <a:r>
              <a:rPr lang="it-IT" sz="1800" b="1" kern="1200" dirty="0">
                <a:solidFill>
                  <a:schemeClr val="tx1"/>
                </a:solidFill>
                <a:effectLst/>
                <a:latin typeface="Arial"/>
                <a:ea typeface="+mn-ea"/>
                <a:cs typeface="Arial"/>
              </a:rPr>
              <a:t>In vigore dal 29 agosto 2014</a:t>
            </a:r>
            <a:endParaRPr lang="it-IT" sz="1800" kern="1200" dirty="0">
              <a:solidFill>
                <a:schemeClr val="tx1"/>
              </a:solidFill>
              <a:effectLst/>
              <a:latin typeface="Arial"/>
              <a:ea typeface="+mn-ea"/>
              <a:cs typeface="Arial"/>
            </a:endParaRPr>
          </a:p>
          <a:p>
            <a:r>
              <a:rPr lang="it-IT" sz="1800" kern="1200" dirty="0">
                <a:solidFill>
                  <a:schemeClr val="tx1"/>
                </a:solidFill>
                <a:effectLst/>
                <a:latin typeface="Arial"/>
                <a:ea typeface="+mn-ea"/>
                <a:cs typeface="Arial"/>
              </a:rPr>
              <a:t>1. E' istituito il Comitato interministeriale per la cooperazione allo sviluppo (CICS), con il compito di assicurare la programmazione ed il coordinamento di tutte le attività di cui all'articolo 4 nonché la coerenza delle politiche nazionali con i fini della cooperazione allo sviluppo.</a:t>
            </a:r>
          </a:p>
          <a:p>
            <a:r>
              <a:rPr lang="it-IT" sz="1800" kern="1200" dirty="0">
                <a:solidFill>
                  <a:schemeClr val="tx1"/>
                </a:solidFill>
                <a:effectLst/>
                <a:latin typeface="Arial"/>
                <a:ea typeface="+mn-ea"/>
                <a:cs typeface="Arial"/>
              </a:rPr>
              <a:t>2. Il CICS è presieduto dal Presidente del Consiglio dei ministri ed è composto dal Ministro degli affari esteri e della cooperazione internazionale, che ne è vice presidente, dal vice ministro della cooperazione allo sviluppo, cui il Ministro degli affari esteri e della cooperazione internazionale può delegare le proprie funzioni, e dai Ministri dell'interno, della difesa, dell'economia e delle finanze, dello sviluppo economico, delle politiche agricole alimentari e forestali, dell'ambiente e della tutela del territorio e del mare, delle infrastrutture e dei trasporti, del lavoro e delle politiche sociali, della salute e dell'istruzione, dell'università e della ricerca.</a:t>
            </a:r>
          </a:p>
          <a:p>
            <a:r>
              <a:rPr lang="it-IT" sz="1800" kern="1200" dirty="0">
                <a:solidFill>
                  <a:schemeClr val="tx1"/>
                </a:solidFill>
                <a:effectLst/>
                <a:latin typeface="Arial"/>
                <a:ea typeface="+mn-ea"/>
                <a:cs typeface="Arial"/>
              </a:rPr>
              <a:t>3. Sulla base delle finalità e degli indirizzi della politica di cooperazione allo sviluppo indicati nel documento triennale di programmazione e di indirizzo di cui all'articolo 12, il CICS verifica la coerenza e il coordinamento delle attività di CPS.</a:t>
            </a:r>
          </a:p>
          <a:p>
            <a:r>
              <a:rPr lang="it-IT" sz="1800" kern="1200" dirty="0">
                <a:solidFill>
                  <a:schemeClr val="tx1"/>
                </a:solidFill>
                <a:effectLst/>
                <a:latin typeface="Arial"/>
                <a:ea typeface="+mn-ea"/>
                <a:cs typeface="Arial"/>
              </a:rPr>
              <a:t>4. Il CICS, nel corso del procedimento di formazione del disegno di legge di stabilità, rappresenta le esigenze finanziarie necessarie per l'attuazione delle politiche di cooperazione allo sviluppo e propone la ripartizione degli stanziamenti per ciascun Ministero ai sensi del comma 1 dell'articolo 14, sulla base del documento triennale di programmazione e di indirizzo di cui all'articolo 12, dell'esito dei negoziati internazionali in materia di partecipazione alla ricapitalizzazione di banche e fondi di sviluppo e delle risorse già stanziate a tale fine.</a:t>
            </a:r>
          </a:p>
          <a:p>
            <a:r>
              <a:rPr lang="it-IT" sz="1800" kern="1200" dirty="0">
                <a:solidFill>
                  <a:schemeClr val="tx1"/>
                </a:solidFill>
                <a:effectLst/>
                <a:latin typeface="Arial"/>
                <a:ea typeface="+mn-ea"/>
                <a:cs typeface="Arial"/>
              </a:rPr>
              <a:t>5. Qualora siano trattate questioni di loro competenza, sono invitati a partecipare alle riunioni del CICS altri Ministri, il presidente della Conferenza delle regioni e delle province autonome, i presidenti di regione o di provincia autonoma e i presidenti delle associazioni rappresentative degli enti locali. Alle riunioni del CICS partecipano senza diritto di voto anche il direttore generale per la cooperazione allo sviluppo e il direttore dell'Agenzia di cui all'articolo 17.</a:t>
            </a:r>
          </a:p>
          <a:p>
            <a:r>
              <a:rPr lang="it-IT" sz="1800" kern="1200" dirty="0">
                <a:solidFill>
                  <a:schemeClr val="tx1"/>
                </a:solidFill>
                <a:effectLst/>
                <a:latin typeface="Arial"/>
                <a:ea typeface="+mn-ea"/>
                <a:cs typeface="Arial"/>
              </a:rPr>
              <a:t>6. I Ministri possono delegare le proprie funzioni in seno al CICS ai sottosegretari competenti per materia.</a:t>
            </a:r>
          </a:p>
          <a:p>
            <a:r>
              <a:rPr lang="it-IT" sz="1800" kern="1200" dirty="0">
                <a:solidFill>
                  <a:schemeClr val="tx1"/>
                </a:solidFill>
                <a:effectLst/>
                <a:latin typeface="Arial"/>
                <a:ea typeface="+mn-ea"/>
                <a:cs typeface="Arial"/>
              </a:rPr>
              <a:t>7. Il CICS adotta un regolamento interno che ne disciplina il funzionamento. La partecipazione alle riunioni non può in ogni caso dare luogo alla corresponsione di compensi, rimborsi spese, emolumenti o gettoni di presenza comunque denominati. </a:t>
            </a:r>
            <a:r>
              <a:rPr lang="it-IT" sz="1800" kern="1200" dirty="0">
                <a:solidFill>
                  <a:schemeClr val="tx1"/>
                </a:solidFill>
                <a:effectLst/>
                <a:latin typeface="Arial"/>
                <a:ea typeface="+mn-ea"/>
                <a:cs typeface="Arial"/>
                <a:hlinkClick r:id="rId3"/>
              </a:rPr>
              <a:t>(8)</a:t>
            </a:r>
            <a:endParaRPr lang="it-IT" sz="1800" kern="1200" dirty="0">
              <a:solidFill>
                <a:schemeClr val="tx1"/>
              </a:solidFill>
              <a:effectLst/>
              <a:latin typeface="Arial"/>
              <a:ea typeface="+mn-ea"/>
              <a:cs typeface="Arial"/>
            </a:endParaRPr>
          </a:p>
          <a:p>
            <a:r>
              <a:rPr lang="it-IT" sz="1800" kern="1200" dirty="0">
                <a:solidFill>
                  <a:schemeClr val="tx1"/>
                </a:solidFill>
                <a:effectLst/>
                <a:latin typeface="Arial"/>
                <a:ea typeface="+mn-ea"/>
                <a:cs typeface="Arial"/>
              </a:rPr>
              <a:t>8. Le deliberazioni del CICS sono pubblicate nella Gazzetta Ufficiale.</a:t>
            </a:r>
          </a:p>
          <a:p>
            <a:r>
              <a:rPr lang="it-IT" sz="1800" kern="1200" dirty="0">
                <a:solidFill>
                  <a:schemeClr val="tx1"/>
                </a:solidFill>
                <a:effectLst/>
                <a:latin typeface="Arial"/>
                <a:ea typeface="+mn-ea"/>
                <a:cs typeface="Arial"/>
              </a:rPr>
              <a:t>9. Il Ministero degli affari esteri e della cooperazione internazionale fornisce supporto tecnico, operativo e logistico alle attività del CICS, attraverso la Direzione generale per la cooperazione allo sviluppo di cui all'articolo 20.</a:t>
            </a:r>
          </a:p>
          <a:p>
            <a:r>
              <a:rPr lang="it-IT" sz="1800" kern="1200" dirty="0">
                <a:solidFill>
                  <a:schemeClr val="tx1"/>
                </a:solidFill>
                <a:effectLst/>
                <a:latin typeface="Arial"/>
                <a:ea typeface="+mn-ea"/>
                <a:cs typeface="Arial"/>
              </a:rPr>
              <a:t>10. All'attuazione del presente articolo le amministrazioni interessate provvedono con le risorse umane, strumentali e finanziarie disponibili a legislazione vigente.</a:t>
            </a:r>
          </a:p>
          <a:p>
            <a:endParaRPr lang="it-IT" sz="1800" kern="1200" dirty="0">
              <a:solidFill>
                <a:schemeClr val="tx1"/>
              </a:solidFill>
              <a:effectLst/>
              <a:latin typeface="Arial"/>
              <a:ea typeface="+mn-ea"/>
              <a:cs typeface="Arial"/>
            </a:endParaRPr>
          </a:p>
          <a:p>
            <a:r>
              <a:rPr lang="it-IT" sz="1800" b="1" kern="1200" dirty="0">
                <a:solidFill>
                  <a:schemeClr val="tx1"/>
                </a:solidFill>
                <a:effectLst/>
                <a:latin typeface="Arial"/>
                <a:ea typeface="+mn-ea"/>
                <a:cs typeface="Arial"/>
              </a:rPr>
              <a:t>Art. 16.</a:t>
            </a:r>
            <a:r>
              <a:rPr lang="it-IT" sz="1800" kern="1200" dirty="0">
                <a:solidFill>
                  <a:schemeClr val="tx1"/>
                </a:solidFill>
                <a:effectLst/>
                <a:latin typeface="Arial"/>
                <a:ea typeface="+mn-ea"/>
                <a:cs typeface="Arial"/>
              </a:rPr>
              <a:t> </a:t>
            </a:r>
            <a:r>
              <a:rPr lang="it-IT" sz="1800" b="1" kern="1200" dirty="0">
                <a:solidFill>
                  <a:schemeClr val="tx1"/>
                </a:solidFill>
                <a:effectLst/>
                <a:latin typeface="Arial"/>
                <a:ea typeface="+mn-ea"/>
                <a:cs typeface="Arial"/>
              </a:rPr>
              <a:t>Consiglio nazionale per la cooperazione allo sviluppo</a:t>
            </a:r>
            <a:r>
              <a:rPr lang="it-IT" sz="1800" kern="1200" dirty="0">
                <a:solidFill>
                  <a:schemeClr val="tx1"/>
                </a:solidFill>
                <a:effectLst/>
                <a:latin typeface="Arial"/>
                <a:ea typeface="+mn-ea"/>
                <a:cs typeface="Arial"/>
              </a:rPr>
              <a:t> </a:t>
            </a:r>
          </a:p>
          <a:p>
            <a:r>
              <a:rPr lang="it-IT" sz="1800" b="1" kern="1200" dirty="0">
                <a:solidFill>
                  <a:schemeClr val="tx1"/>
                </a:solidFill>
                <a:effectLst/>
                <a:latin typeface="Arial"/>
                <a:ea typeface="+mn-ea"/>
                <a:cs typeface="Arial"/>
              </a:rPr>
              <a:t>In vigore dal 29 agosto 2014</a:t>
            </a:r>
            <a:endParaRPr lang="it-IT" sz="1800" kern="1200" dirty="0">
              <a:solidFill>
                <a:schemeClr val="tx1"/>
              </a:solidFill>
              <a:effectLst/>
              <a:latin typeface="Arial"/>
              <a:ea typeface="+mn-ea"/>
              <a:cs typeface="Arial"/>
            </a:endParaRPr>
          </a:p>
          <a:p>
            <a:r>
              <a:rPr lang="it-IT" sz="1800" kern="1200" dirty="0">
                <a:solidFill>
                  <a:schemeClr val="tx1"/>
                </a:solidFill>
                <a:effectLst/>
                <a:latin typeface="Arial"/>
                <a:ea typeface="+mn-ea"/>
                <a:cs typeface="Arial"/>
              </a:rPr>
              <a:t>1. Con decreto del Ministro degli affari esteri e della cooperazione internazionale, da adottare entro novanta giorni dalla data di entrata in vigore della presente legge, è istituito un Consiglio nazionale per la cooperazione allo sviluppo, composto dai principali soggetti pubblici e privati, profit e non profit, della cooperazione internazionale allo sviluppo, ivi inclusi rappresentanti dei Ministeri coinvolti, delle regioni e delle province autonome di Trento e di Bolzano, degli enti locali, dell'Agenzia di cui all'articolo 17, delle principali reti di organizzazioni della società civile di cooperazione allo sviluppo e aiuto umanitario, delle università e del volontariato. La partecipazione al Consiglio nazionale non dà luogo a compensi, rimborsi spese, gettoni di presenza od emolumenti comunque denominati. </a:t>
            </a:r>
            <a:r>
              <a:rPr lang="it-IT" sz="1800" kern="1200" dirty="0">
                <a:solidFill>
                  <a:schemeClr val="tx1"/>
                </a:solidFill>
                <a:effectLst/>
                <a:latin typeface="Arial"/>
                <a:ea typeface="+mn-ea"/>
                <a:cs typeface="Arial"/>
                <a:hlinkClick r:id="rId4"/>
              </a:rPr>
              <a:t>(9)</a:t>
            </a:r>
            <a:endParaRPr lang="it-IT" sz="1800" kern="1200" dirty="0">
              <a:solidFill>
                <a:schemeClr val="tx1"/>
              </a:solidFill>
              <a:effectLst/>
              <a:latin typeface="Arial"/>
              <a:ea typeface="+mn-ea"/>
              <a:cs typeface="Arial"/>
            </a:endParaRPr>
          </a:p>
          <a:p>
            <a:r>
              <a:rPr lang="it-IT" sz="1800" kern="1200" dirty="0">
                <a:solidFill>
                  <a:schemeClr val="tx1"/>
                </a:solidFill>
                <a:effectLst/>
                <a:latin typeface="Arial"/>
                <a:ea typeface="+mn-ea"/>
                <a:cs typeface="Arial"/>
              </a:rPr>
              <a:t>2. Il Consiglio nazionale, strumento permanente di partecipazione, consultazione e proposta, si riunisce almeno annualmente su convocazione del Ministro degli affari esteri e della cooperazione internazionale o del vice ministro della cooperazione allo sviluppo, per esprimere pareri sulle materie attinenti la cooperazione allo sviluppo ed in particolare sulla coerenza delle scelte politiche, sulle strategie, sulle linee di indirizzo, sulla programmazione, sulle forme di intervento, sulla loro efficacia, sulla valutazione.</a:t>
            </a:r>
          </a:p>
          <a:p>
            <a:r>
              <a:rPr lang="it-IT" sz="1800" kern="1200" dirty="0">
                <a:solidFill>
                  <a:schemeClr val="tx1"/>
                </a:solidFill>
                <a:effectLst/>
                <a:latin typeface="Arial"/>
                <a:ea typeface="+mn-ea"/>
                <a:cs typeface="Arial"/>
              </a:rPr>
              <a:t>3. Ogni tre anni il Ministro degli affari esteri e della cooperazione internazionale convoca una Conferenza pubblica nazionale per favorire la partecipazione dei cittadini nella definizione delle politiche di cooperazione allo sviluppo.</a:t>
            </a:r>
          </a:p>
          <a:p>
            <a:r>
              <a:rPr lang="it-IT" sz="1800" kern="1200" dirty="0">
                <a:solidFill>
                  <a:schemeClr val="tx1"/>
                </a:solidFill>
                <a:effectLst/>
                <a:latin typeface="Arial"/>
                <a:ea typeface="+mn-ea"/>
                <a:cs typeface="Arial"/>
              </a:rPr>
              <a:t>4. All'attuazione del presente articolo le amministrazioni interessate provvedono con le risorse umane, strumentali e finanziarie disponibili a legislazione vigente.</a:t>
            </a:r>
          </a:p>
          <a:p>
            <a:endParaRPr lang="it-IT" sz="1800" kern="1200" dirty="0">
              <a:solidFill>
                <a:schemeClr val="tx1"/>
              </a:solidFill>
              <a:effectLst/>
              <a:latin typeface="Arial"/>
              <a:ea typeface="+mn-ea"/>
              <a:cs typeface="Arial"/>
            </a:endParaRPr>
          </a:p>
          <a:p>
            <a:r>
              <a:rPr lang="it-IT" sz="1800" b="1" kern="1200" dirty="0">
                <a:solidFill>
                  <a:schemeClr val="tx1"/>
                </a:solidFill>
                <a:effectLst/>
                <a:latin typeface="Arial"/>
                <a:ea typeface="+mn-ea"/>
                <a:cs typeface="Arial"/>
              </a:rPr>
              <a:t>Art. 21.</a:t>
            </a:r>
            <a:r>
              <a:rPr lang="it-IT" sz="1800" kern="1200" dirty="0">
                <a:solidFill>
                  <a:schemeClr val="tx1"/>
                </a:solidFill>
                <a:effectLst/>
                <a:latin typeface="Arial"/>
                <a:ea typeface="+mn-ea"/>
                <a:cs typeface="Arial"/>
              </a:rPr>
              <a:t> </a:t>
            </a:r>
            <a:r>
              <a:rPr lang="it-IT" sz="1800" b="1" kern="1200" dirty="0">
                <a:solidFill>
                  <a:schemeClr val="tx1"/>
                </a:solidFill>
                <a:effectLst/>
                <a:latin typeface="Arial"/>
                <a:ea typeface="+mn-ea"/>
                <a:cs typeface="Arial"/>
              </a:rPr>
              <a:t>Comitato congiunto per la cooperazione allo sviluppo</a:t>
            </a:r>
            <a:r>
              <a:rPr lang="it-IT" sz="1800" kern="1200" dirty="0">
                <a:solidFill>
                  <a:schemeClr val="tx1"/>
                </a:solidFill>
                <a:effectLst/>
                <a:latin typeface="Arial"/>
                <a:ea typeface="+mn-ea"/>
                <a:cs typeface="Arial"/>
              </a:rPr>
              <a:t> </a:t>
            </a:r>
          </a:p>
          <a:p>
            <a:r>
              <a:rPr lang="it-IT" sz="1800" b="1" kern="1200" dirty="0">
                <a:solidFill>
                  <a:schemeClr val="tx1"/>
                </a:solidFill>
                <a:effectLst/>
                <a:latin typeface="Arial"/>
                <a:ea typeface="+mn-ea"/>
                <a:cs typeface="Arial"/>
              </a:rPr>
              <a:t>In vigore dal 1 gennaio 2018</a:t>
            </a:r>
            <a:endParaRPr lang="it-IT" sz="1800" kern="1200" dirty="0">
              <a:solidFill>
                <a:schemeClr val="tx1"/>
              </a:solidFill>
              <a:effectLst/>
              <a:latin typeface="Arial"/>
              <a:ea typeface="+mn-ea"/>
              <a:cs typeface="Arial"/>
            </a:endParaRPr>
          </a:p>
          <a:p>
            <a:r>
              <a:rPr lang="it-IT" sz="1800" kern="1200" dirty="0">
                <a:solidFill>
                  <a:schemeClr val="tx1"/>
                </a:solidFill>
                <a:effectLst/>
                <a:latin typeface="Arial"/>
                <a:ea typeface="+mn-ea"/>
                <a:cs typeface="Arial"/>
              </a:rPr>
              <a:t>1. Presso il Ministero degli affari esteri e della cooperazione internazionale è istituito il Comitato congiunto per la cooperazione allo sviluppo.</a:t>
            </a:r>
          </a:p>
          <a:p>
            <a:r>
              <a:rPr lang="it-IT" sz="1800" kern="1200" dirty="0">
                <a:solidFill>
                  <a:schemeClr val="tx1"/>
                </a:solidFill>
                <a:effectLst/>
                <a:latin typeface="Arial"/>
                <a:ea typeface="+mn-ea"/>
                <a:cs typeface="Arial"/>
              </a:rPr>
              <a:t>2. Il Comitato è presieduto dal Ministro degli affari esteri e della cooperazione internazionale o dal vice ministro della cooperazione allo sviluppo ed è composto dal direttore generale per la cooperazione allo sviluppo e dal direttore dell'Agenzia, nonché, limitatamente alle questioni concernenti le iniziative di cui agli articoli 8 e 27, dal direttore generale del tesoro del Ministero dell'economia e delle finanze. Ad esso partecipano, senza diritto di voto, i responsabili delle rispettive strutture competenti in relazione alle questioni all'ordine del giorno e, salvo quanto disposto al primo periodo, i rappresentanti del Ministero dell'economia e delle finanze o di altre amministrazioni, qualora siano trattate questioni di rispettiva competenza. Quando si trattano questioni che interessano anche le regioni e le province autonome di Trento e di Bolzano, ad esso partecipano altresì, senza diritto di voto, un rappresentante della Conferenza delle regioni e delle province autonome e, per gli ambiti di competenza degli enti locali, un rappresentante delle associazioni rappresentative dei medesimi. La partecipazione al Comitato non dà luogo a compensi, rimborsi spese, gettoni di presenza od emolumenti comunque denominati. </a:t>
            </a:r>
            <a:r>
              <a:rPr lang="it-IT" sz="1800" kern="1200" dirty="0">
                <a:solidFill>
                  <a:schemeClr val="tx1"/>
                </a:solidFill>
                <a:effectLst/>
                <a:latin typeface="Arial"/>
                <a:ea typeface="+mn-ea"/>
                <a:cs typeface="Arial"/>
                <a:hlinkClick r:id="rId5"/>
              </a:rPr>
              <a:t>(15)</a:t>
            </a:r>
            <a:endParaRPr lang="it-IT" sz="1800" kern="1200" dirty="0">
              <a:solidFill>
                <a:schemeClr val="tx1"/>
              </a:solidFill>
              <a:effectLst/>
              <a:latin typeface="Arial"/>
              <a:ea typeface="+mn-ea"/>
              <a:cs typeface="Arial"/>
            </a:endParaRPr>
          </a:p>
          <a:p>
            <a:r>
              <a:rPr lang="it-IT" sz="1800" kern="1200" dirty="0">
                <a:solidFill>
                  <a:schemeClr val="tx1"/>
                </a:solidFill>
                <a:effectLst/>
                <a:latin typeface="Arial"/>
                <a:ea typeface="+mn-ea"/>
                <a:cs typeface="Arial"/>
              </a:rPr>
              <a:t>3. Il Comitato congiunto per la cooperazione allo sviluppo approva tutte le iniziative di cooperazione di valore superiore a due milioni di euro, delibera le singole iniziative da finanziare a valere sul fondo rotativo per i crediti </a:t>
            </a:r>
            <a:r>
              <a:rPr lang="it-IT" sz="1800" kern="1200" dirty="0" err="1">
                <a:solidFill>
                  <a:schemeClr val="tx1"/>
                </a:solidFill>
                <a:effectLst/>
                <a:latin typeface="Arial"/>
                <a:ea typeface="+mn-ea"/>
                <a:cs typeface="Arial"/>
              </a:rPr>
              <a:t>concessionali</a:t>
            </a:r>
            <a:r>
              <a:rPr lang="it-IT" sz="1800" kern="1200" dirty="0">
                <a:solidFill>
                  <a:schemeClr val="tx1"/>
                </a:solidFill>
                <a:effectLst/>
                <a:latin typeface="Arial"/>
                <a:ea typeface="+mn-ea"/>
                <a:cs typeface="Arial"/>
              </a:rPr>
              <a:t> di cui agli articoli 8 e 27, definisce la programmazione annuale con riferimento a Paesi e aree di intervento e svolge ogni altra funzione specificata dalla presente legge o dai suoi regolamenti attuativi. Le iniziative di importo inferiore sono portate a conoscenza del Comitato.</a:t>
            </a:r>
          </a:p>
          <a:p>
            <a:r>
              <a:rPr lang="it-IT" sz="1800" kern="1200" dirty="0">
                <a:solidFill>
                  <a:schemeClr val="tx1"/>
                </a:solidFill>
                <a:effectLst/>
                <a:latin typeface="Arial"/>
                <a:ea typeface="+mn-ea"/>
                <a:cs typeface="Arial"/>
              </a:rPr>
              <a:t>4. Al funzionamento del Comitato congiunto si provvede con le risorse umane, strumentali e finanziarie disponibili a legislazione vigente.</a:t>
            </a:r>
          </a:p>
          <a:p>
            <a:endParaRPr lang="it-IT" dirty="0"/>
          </a:p>
        </p:txBody>
      </p:sp>
      <p:sp>
        <p:nvSpPr>
          <p:cNvPr id="4" name="Segnaposto numero diapositiva 3"/>
          <p:cNvSpPr>
            <a:spLocks noGrp="1"/>
          </p:cNvSpPr>
          <p:nvPr>
            <p:ph type="sldNum" sz="quarter" idx="10"/>
          </p:nvPr>
        </p:nvSpPr>
        <p:spPr/>
        <p:txBody>
          <a:bodyPr/>
          <a:lstStyle/>
          <a:p>
            <a:fld id="{111A8F62-C10E-EC42-BA8C-CB73D526BB2D}" type="slidenum">
              <a:rPr lang="it-IT" smtClean="0"/>
              <a:pPr/>
              <a:t>12</a:t>
            </a:fld>
            <a:endParaRPr lang="it-IT"/>
          </a:p>
        </p:txBody>
      </p:sp>
    </p:spTree>
    <p:extLst>
      <p:ext uri="{BB962C8B-B14F-4D97-AF65-F5344CB8AC3E}">
        <p14:creationId xmlns:p14="http://schemas.microsoft.com/office/powerpoint/2010/main" val="31241083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fld id="{B5A1F69D-C4D0-494A-820E-D6CEFF1052E0}" type="slidenum">
              <a:rPr lang="it-IT" smtClean="0"/>
              <a:pPr/>
              <a:t>15</a:t>
            </a:fld>
            <a:endParaRPr lang="it-IT" dirty="0"/>
          </a:p>
        </p:txBody>
      </p:sp>
    </p:spTree>
    <p:extLst>
      <p:ext uri="{BB962C8B-B14F-4D97-AF65-F5344CB8AC3E}">
        <p14:creationId xmlns:p14="http://schemas.microsoft.com/office/powerpoint/2010/main" val="31727507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B5A1F69D-C4D0-494A-820E-D6CEFF1052E0}" type="slidenum">
              <a:rPr lang="it-IT" smtClean="0"/>
              <a:t>17</a:t>
            </a:fld>
            <a:endParaRPr lang="it-IT"/>
          </a:p>
        </p:txBody>
      </p:sp>
    </p:spTree>
    <p:extLst>
      <p:ext uri="{BB962C8B-B14F-4D97-AF65-F5344CB8AC3E}">
        <p14:creationId xmlns:p14="http://schemas.microsoft.com/office/powerpoint/2010/main" val="557737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B5A1F69D-C4D0-494A-820E-D6CEFF1052E0}" type="slidenum">
              <a:rPr lang="it-IT" smtClean="0"/>
              <a:t>21</a:t>
            </a:fld>
            <a:endParaRPr lang="it-IT"/>
          </a:p>
        </p:txBody>
      </p:sp>
    </p:spTree>
    <p:extLst>
      <p:ext uri="{BB962C8B-B14F-4D97-AF65-F5344CB8AC3E}">
        <p14:creationId xmlns:p14="http://schemas.microsoft.com/office/powerpoint/2010/main" val="34578941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5A1F69D-C4D0-494A-820E-D6CEFF1052E0}"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4</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1954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B5A1F69D-C4D0-494A-820E-D6CEFF1052E0}" type="slidenum">
              <a:rPr lang="it-IT" smtClean="0"/>
              <a:t>25</a:t>
            </a:fld>
            <a:endParaRPr lang="it-IT"/>
          </a:p>
        </p:txBody>
      </p:sp>
    </p:spTree>
    <p:extLst>
      <p:ext uri="{BB962C8B-B14F-4D97-AF65-F5344CB8AC3E}">
        <p14:creationId xmlns:p14="http://schemas.microsoft.com/office/powerpoint/2010/main" val="7336256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a:p>
        </p:txBody>
      </p:sp>
      <p:sp>
        <p:nvSpPr>
          <p:cNvPr id="4" name="Segnaposto numero diapositiva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5A1F69D-C4D0-494A-820E-D6CEFF1052E0}"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7</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25902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5A1F69D-C4D0-494A-820E-D6CEFF1052E0}"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8</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82419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B5A1F69D-C4D0-494A-820E-D6CEFF1052E0}" type="slidenum">
              <a:rPr lang="it-IT" smtClean="0"/>
              <a:t>2</a:t>
            </a:fld>
            <a:endParaRPr lang="it-IT"/>
          </a:p>
        </p:txBody>
      </p:sp>
    </p:spTree>
    <p:extLst>
      <p:ext uri="{BB962C8B-B14F-4D97-AF65-F5344CB8AC3E}">
        <p14:creationId xmlns:p14="http://schemas.microsoft.com/office/powerpoint/2010/main" val="10327669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5A1F69D-C4D0-494A-820E-D6CEFF1052E0}"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685800" rtl="0" eaLnBrk="1" fontAlgn="auto" latinLnBrk="0" hangingPunct="1">
                <a:lnSpc>
                  <a:spcPct val="100000"/>
                </a:lnSpc>
                <a:spcBef>
                  <a:spcPts val="0"/>
                </a:spcBef>
                <a:spcAft>
                  <a:spcPts val="0"/>
                </a:spcAft>
                <a:buClrTx/>
                <a:buSzTx/>
                <a:buFontTx/>
                <a:buNone/>
                <a:tabLst/>
                <a:defRPr/>
              </a:pPr>
              <a:t>29</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38034975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B5A1F69D-C4D0-494A-820E-D6CEFF1052E0}" type="slidenum">
              <a:rPr lang="it-IT" smtClean="0"/>
              <a:t>3</a:t>
            </a:fld>
            <a:endParaRPr lang="it-IT"/>
          </a:p>
        </p:txBody>
      </p:sp>
    </p:spTree>
    <p:extLst>
      <p:ext uri="{BB962C8B-B14F-4D97-AF65-F5344CB8AC3E}">
        <p14:creationId xmlns:p14="http://schemas.microsoft.com/office/powerpoint/2010/main" val="37208637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B5A1F69D-C4D0-494A-820E-D6CEFF1052E0}" type="slidenum">
              <a:rPr lang="it-IT" smtClean="0"/>
              <a:t>4</a:t>
            </a:fld>
            <a:endParaRPr lang="it-IT"/>
          </a:p>
        </p:txBody>
      </p:sp>
    </p:spTree>
    <p:extLst>
      <p:ext uri="{BB962C8B-B14F-4D97-AF65-F5344CB8AC3E}">
        <p14:creationId xmlns:p14="http://schemas.microsoft.com/office/powerpoint/2010/main" val="18592222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B5A1F69D-C4D0-494A-820E-D6CEFF1052E0}" type="slidenum">
              <a:rPr lang="it-IT" smtClean="0"/>
              <a:t>5</a:t>
            </a:fld>
            <a:endParaRPr lang="it-IT"/>
          </a:p>
        </p:txBody>
      </p:sp>
    </p:spTree>
    <p:extLst>
      <p:ext uri="{BB962C8B-B14F-4D97-AF65-F5344CB8AC3E}">
        <p14:creationId xmlns:p14="http://schemas.microsoft.com/office/powerpoint/2010/main" val="37143914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B5A1F69D-C4D0-494A-820E-D6CEFF1052E0}" type="slidenum">
              <a:rPr lang="it-IT" smtClean="0"/>
              <a:t>6</a:t>
            </a:fld>
            <a:endParaRPr lang="it-IT"/>
          </a:p>
        </p:txBody>
      </p:sp>
    </p:spTree>
    <p:extLst>
      <p:ext uri="{BB962C8B-B14F-4D97-AF65-F5344CB8AC3E}">
        <p14:creationId xmlns:p14="http://schemas.microsoft.com/office/powerpoint/2010/main" val="41437551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B5A1F69D-C4D0-494A-820E-D6CEFF1052E0}" type="slidenum">
              <a:rPr lang="it-IT" smtClean="0"/>
              <a:t>7</a:t>
            </a:fld>
            <a:endParaRPr lang="it-IT"/>
          </a:p>
        </p:txBody>
      </p:sp>
    </p:spTree>
    <p:extLst>
      <p:ext uri="{BB962C8B-B14F-4D97-AF65-F5344CB8AC3E}">
        <p14:creationId xmlns:p14="http://schemas.microsoft.com/office/powerpoint/2010/main" val="20210860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B5A1F69D-C4D0-494A-820E-D6CEFF1052E0}" type="slidenum">
              <a:rPr lang="it-IT" smtClean="0"/>
              <a:t>8</a:t>
            </a:fld>
            <a:endParaRPr lang="it-IT"/>
          </a:p>
        </p:txBody>
      </p:sp>
    </p:spTree>
    <p:extLst>
      <p:ext uri="{BB962C8B-B14F-4D97-AF65-F5344CB8AC3E}">
        <p14:creationId xmlns:p14="http://schemas.microsoft.com/office/powerpoint/2010/main" val="11455281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B5A1F69D-C4D0-494A-820E-D6CEFF1052E0}" type="slidenum">
              <a:rPr lang="it-IT" smtClean="0"/>
              <a:t>9</a:t>
            </a:fld>
            <a:endParaRPr lang="it-IT"/>
          </a:p>
        </p:txBody>
      </p:sp>
    </p:spTree>
    <p:extLst>
      <p:ext uri="{BB962C8B-B14F-4D97-AF65-F5344CB8AC3E}">
        <p14:creationId xmlns:p14="http://schemas.microsoft.com/office/powerpoint/2010/main" val="16905836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6.emf"/><Relationship Id="rId2" Type="http://schemas.openxmlformats.org/officeDocument/2006/relationships/tags" Target="../tags/tag24.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26.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8.xml"/><Relationship Id="rId7" Type="http://schemas.openxmlformats.org/officeDocument/2006/relationships/image" Target="../media/image8.jpg"/><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5652655" y="1874982"/>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5104151" y="2263515"/>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Bressay" panose="02040503050505020203" pitchFamily="18" charset="77"/>
            </a:endParaRPr>
          </a:p>
        </p:txBody>
      </p:sp>
      <p:pic>
        <p:nvPicPr>
          <p:cNvPr id="8" name="Immagine 7">
            <a:extLst>
              <a:ext uri="{FF2B5EF4-FFF2-40B4-BE49-F238E27FC236}">
                <a16:creationId xmlns:a16="http://schemas.microsoft.com/office/drawing/2014/main" id="{6CD0B10C-4461-4F0E-B299-07807136763B}"/>
              </a:ext>
            </a:extLst>
          </p:cNvPr>
          <p:cNvPicPr>
            <a:picLocks noChangeAspect="1"/>
          </p:cNvPicPr>
          <p:nvPr userDrawn="1"/>
        </p:nvPicPr>
        <p:blipFill>
          <a:blip r:embed="rId2"/>
          <a:stretch>
            <a:fillRect/>
          </a:stretch>
        </p:blipFill>
        <p:spPr>
          <a:xfrm>
            <a:off x="250825" y="268288"/>
            <a:ext cx="1116874" cy="618351"/>
          </a:xfrm>
          <a:prstGeom prst="rect">
            <a:avLst/>
          </a:prstGeom>
        </p:spPr>
      </p:pic>
      <p:sp>
        <p:nvSpPr>
          <p:cNvPr id="6" name="CasellaDiTesto 5">
            <a:extLst>
              <a:ext uri="{FF2B5EF4-FFF2-40B4-BE49-F238E27FC236}">
                <a16:creationId xmlns:a16="http://schemas.microsoft.com/office/drawing/2014/main" id="{F3622C4D-F38B-4F5C-A0DB-E1517418DF31}"/>
              </a:ext>
            </a:extLst>
          </p:cNvPr>
          <p:cNvSpPr txBox="1"/>
          <p:nvPr userDrawn="1"/>
        </p:nvSpPr>
        <p:spPr>
          <a:xfrm>
            <a:off x="5652655" y="2433782"/>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1515850" y="2641872"/>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251441" y="3458186"/>
            <a:ext cx="6858000" cy="340844"/>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5168560" y="3805653"/>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5315361" y="3670391"/>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250825" y="1168400"/>
            <a:ext cx="6858000" cy="2214563"/>
          </a:xfrm>
        </p:spPr>
        <p:txBody>
          <a:bodyPr lIns="0" tIns="0" rIns="0" bIns="0" anchor="b">
            <a:noAutofit/>
          </a:bodyPr>
          <a:lstStyle>
            <a:lvl1pPr marL="0" indent="0">
              <a:buNone/>
              <a:defRPr sz="4800"/>
            </a:lvl1pPr>
            <a:lvl2pPr>
              <a:defRPr sz="4800"/>
            </a:lvl2pPr>
            <a:lvl3pPr>
              <a:defRPr sz="4800"/>
            </a:lvl3pPr>
            <a:lvl4pPr>
              <a:defRPr sz="4800"/>
            </a:lvl4pPr>
            <a:lvl5pPr>
              <a:defRPr sz="4800"/>
            </a:lvl5pPr>
          </a:lstStyle>
          <a:p>
            <a:pPr lvl="0"/>
            <a:r>
              <a:rPr lang="it-IT" dirty="0"/>
              <a:t>Titolo al massimo di tre righe</a:t>
            </a:r>
          </a:p>
        </p:txBody>
      </p:sp>
    </p:spTree>
    <p:extLst>
      <p:ext uri="{BB962C8B-B14F-4D97-AF65-F5344CB8AC3E}">
        <p14:creationId xmlns:p14="http://schemas.microsoft.com/office/powerpoint/2010/main" val="77980480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F3E9EE1-5818-4E92-B704-D7E58E6DA408}"/>
              </a:ext>
            </a:extLst>
          </p:cNvPr>
          <p:cNvGraphicFramePr>
            <a:graphicFrameLocks noChangeAspect="1"/>
          </p:cNvGraphicFramePr>
          <p:nvPr>
            <p:custDataLst>
              <p:tags r:id="rId2"/>
            </p:custDataLst>
          </p:nvPr>
        </p:nvGraphicFramePr>
        <p:xfrm>
          <a:off x="1215" y="1215"/>
          <a:ext cx="1215" cy="1215"/>
        </p:xfrm>
        <a:graphic>
          <a:graphicData uri="http://schemas.openxmlformats.org/presentationml/2006/ole">
            <mc:AlternateContent xmlns:mc="http://schemas.openxmlformats.org/markup-compatibility/2006">
              <mc:Choice xmlns:v="urn:schemas-microsoft-com:vml" Requires="v">
                <p:oleObj spid="_x0000_s32169" name="Diapositiva think-cell" r:id="rId6" imgW="272" imgH="272" progId="TCLayout.ActiveDocument.1">
                  <p:embed/>
                </p:oleObj>
              </mc:Choice>
              <mc:Fallback>
                <p:oleObj name="Diapositiva think-cell" r:id="rId6" imgW="272" imgH="272" progId="TCLayout.ActiveDocument.1">
                  <p:embed/>
                  <p:pic>
                    <p:nvPicPr>
                      <p:cNvPr id="4" name="Object 3" hidden="1">
                        <a:extLst>
                          <a:ext uri="{FF2B5EF4-FFF2-40B4-BE49-F238E27FC236}">
                            <a16:creationId xmlns:a16="http://schemas.microsoft.com/office/drawing/2014/main" id="{2F3E9EE1-5818-4E92-B704-D7E58E6DA408}"/>
                          </a:ext>
                        </a:extLst>
                      </p:cNvPr>
                      <p:cNvPicPr/>
                      <p:nvPr/>
                    </p:nvPicPr>
                    <p:blipFill>
                      <a:blip r:embed="rId7"/>
                      <a:stretch>
                        <a:fillRect/>
                      </a:stretch>
                    </p:blipFill>
                    <p:spPr>
                      <a:xfrm>
                        <a:off x="1215" y="1215"/>
                        <a:ext cx="1215" cy="1215"/>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4A415DF-E066-42AC-A0B1-5A4A7267F6B3}"/>
              </a:ext>
            </a:extLst>
          </p:cNvPr>
          <p:cNvSpPr/>
          <p:nvPr>
            <p:custDataLst>
              <p:tags r:id="rId3"/>
            </p:custDataLst>
          </p:nvPr>
        </p:nvSpPr>
        <p:spPr>
          <a:xfrm>
            <a:off x="0" y="0"/>
            <a:ext cx="121483" cy="12148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6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gray">
          <a:xfrm>
            <a:off x="255684" y="186670"/>
            <a:ext cx="8641775" cy="246221"/>
          </a:xfrm>
        </p:spPr>
        <p:txBody>
          <a:bodyPr/>
          <a:lstStyle>
            <a:lvl1pPr>
              <a:defRPr sz="1600">
                <a:solidFill>
                  <a:srgbClr val="C90026"/>
                </a:solidFill>
              </a:defRPr>
            </a:lvl1pPr>
          </a:lstStyle>
          <a:p>
            <a:r>
              <a:rPr lang="en-US"/>
              <a:t>Click to edit Master title style</a:t>
            </a:r>
            <a:endParaRPr lang="it-IT" dirty="0"/>
          </a:p>
        </p:txBody>
      </p:sp>
      <p:sp>
        <p:nvSpPr>
          <p:cNvPr id="8" name="Slide Number"/>
          <p:cNvSpPr txBox="1">
            <a:spLocks/>
          </p:cNvSpPr>
          <p:nvPr/>
        </p:nvSpPr>
        <p:spPr bwMode="gray">
          <a:xfrm>
            <a:off x="8840640" y="4965900"/>
            <a:ext cx="125034" cy="123111"/>
          </a:xfrm>
          <a:prstGeom prst="rect">
            <a:avLst/>
          </a:prstGeom>
        </p:spPr>
        <p:txBody>
          <a:bodyPr vert="horz" wrap="none" lIns="0" tIns="0" rIns="0" bIns="0" rtlCol="0" anchor="ctr">
            <a:spAutoFit/>
          </a:bodyPr>
          <a:lstStyle>
            <a:defPPr>
              <a:defRPr lang="it-IT"/>
            </a:defPPr>
            <a:lvl1pPr>
              <a:defRPr sz="1000" baseline="0">
                <a:latin typeface="+mn-lt"/>
              </a:defRPr>
            </a:lvl1pPr>
          </a:lstStyle>
          <a:p>
            <a:pPr lvl="0"/>
            <a:fld id="{42C328C1-A84F-4A39-A664-DBA00541A8C6}" type="slidenum">
              <a:rPr lang="it-IT" sz="800" smtClean="0">
                <a:solidFill>
                  <a:srgbClr val="747474"/>
                </a:solidFill>
              </a:rPr>
              <a:pPr lvl="0"/>
              <a:t>‹N›</a:t>
            </a:fld>
            <a:endParaRPr lang="it-IT" sz="800" dirty="0">
              <a:solidFill>
                <a:srgbClr val="747474"/>
              </a:solidFill>
            </a:endParaRPr>
          </a:p>
        </p:txBody>
      </p:sp>
      <p:sp>
        <p:nvSpPr>
          <p:cNvPr id="9" name="SlideLogoText" hidden="1"/>
          <p:cNvSpPr>
            <a:spLocks noChangeArrowheads="1"/>
          </p:cNvSpPr>
          <p:nvPr>
            <p:custDataLst>
              <p:tags r:id="rId4"/>
            </p:custDataLst>
          </p:nvPr>
        </p:nvSpPr>
        <p:spPr bwMode="gray">
          <a:xfrm>
            <a:off x="7866901" y="4980359"/>
            <a:ext cx="769441"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42"/>
            <a:r>
              <a:rPr lang="it-IT" sz="612" baseline="0" noProof="0" dirty="0">
                <a:solidFill>
                  <a:schemeClr val="accent6"/>
                </a:solidFill>
                <a:latin typeface="+mn-lt"/>
                <a:ea typeface="+mn-ea"/>
              </a:rPr>
              <a:t>McKinsey &amp; Company</a:t>
            </a:r>
          </a:p>
        </p:txBody>
      </p:sp>
      <p:sp>
        <p:nvSpPr>
          <p:cNvPr id="5" name="doc id" hidden="1"/>
          <p:cNvSpPr>
            <a:spLocks noChangeArrowheads="1"/>
          </p:cNvSpPr>
          <p:nvPr/>
        </p:nvSpPr>
        <p:spPr bwMode="gray">
          <a:xfrm flipH="1">
            <a:off x="7993502" y="38876"/>
            <a:ext cx="923672"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42"/>
            <a:endParaRPr lang="it-IT" sz="459" baseline="0" noProof="0" dirty="0">
              <a:solidFill>
                <a:schemeClr val="accent6"/>
              </a:solidFill>
              <a:latin typeface="+mn-lt"/>
              <a:ea typeface="+mn-ea"/>
            </a:endParaRPr>
          </a:p>
        </p:txBody>
      </p:sp>
    </p:spTree>
    <p:extLst>
      <p:ext uri="{BB962C8B-B14F-4D97-AF65-F5344CB8AC3E}">
        <p14:creationId xmlns:p14="http://schemas.microsoft.com/office/powerpoint/2010/main" val="3978179336"/>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526">
          <p15:clr>
            <a:srgbClr val="F26B43"/>
          </p15:clr>
        </p15:guide>
        <p15:guide id="4" orient="horz" pos="2993">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621" y="1217"/>
          <a:ext cx="1619" cy="1214"/>
        </p:xfrm>
        <a:graphic>
          <a:graphicData uri="http://schemas.openxmlformats.org/presentationml/2006/ole">
            <mc:AlternateContent xmlns:mc="http://schemas.openxmlformats.org/markup-compatibility/2006">
              <mc:Choice xmlns:v="urn:schemas-microsoft-com:vml" Requires="v">
                <p:oleObj spid="_x0000_s33193" name="Diapositiva think-cell" r:id="rId5" imgW="270" imgH="270" progId="TCLayout.ActiveDocument.1">
                  <p:embed/>
                </p:oleObj>
              </mc:Choice>
              <mc:Fallback>
                <p:oleObj name="Diapositiva think-cell" r:id="rId5" imgW="270" imgH="270" progId="TCLayout.ActiveDocument.1">
                  <p:embed/>
                  <p:pic>
                    <p:nvPicPr>
                      <p:cNvPr id="3" name="Object 2" hidden="1"/>
                      <p:cNvPicPr/>
                      <p:nvPr/>
                    </p:nvPicPr>
                    <p:blipFill>
                      <a:blip r:embed="rId6"/>
                      <a:stretch>
                        <a:fillRect/>
                      </a:stretch>
                    </p:blipFill>
                    <p:spPr>
                      <a:xfrm>
                        <a:off x="1621" y="1217"/>
                        <a:ext cx="1619" cy="1214"/>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CB7F2E4-D5E9-48D0-975A-6AF985EB6810}"/>
              </a:ext>
            </a:extLst>
          </p:cNvPr>
          <p:cNvSpPr/>
          <p:nvPr>
            <p:custDataLst>
              <p:tags r:id="rId3"/>
            </p:custDataLst>
          </p:nvPr>
        </p:nvSpPr>
        <p:spPr>
          <a:xfrm>
            <a:off x="0" y="0"/>
            <a:ext cx="121483" cy="12148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800" b="1" i="0" baseline="0" dirty="0" err="1">
              <a:solidFill>
                <a:schemeClr val="tx1"/>
              </a:solidFill>
              <a:latin typeface="Arial" panose="020B0604020202020204" pitchFamily="34" charset="0"/>
              <a:ea typeface="+mj-ea"/>
              <a:cs typeface="+mj-cs"/>
              <a:sym typeface="Arial" panose="020B0604020202020204" pitchFamily="34" charset="0"/>
            </a:endParaRPr>
          </a:p>
        </p:txBody>
      </p:sp>
      <p:pic>
        <p:nvPicPr>
          <p:cNvPr id="2" name="background" hidden="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37"/>
            <a:ext cx="9144070" cy="5143463"/>
          </a:xfrm>
          <a:prstGeom prst="rect">
            <a:avLst/>
          </a:prstGeom>
        </p:spPr>
      </p:pic>
      <p:sp>
        <p:nvSpPr>
          <p:cNvPr id="37" name="TitleRectangle" hidden="1"/>
          <p:cNvSpPr>
            <a:spLocks/>
          </p:cNvSpPr>
          <p:nvPr/>
        </p:nvSpPr>
        <p:spPr bwMode="white">
          <a:xfrm>
            <a:off x="2127162" y="-1"/>
            <a:ext cx="7016838" cy="3036358"/>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937" baseline="0" dirty="0">
              <a:solidFill>
                <a:schemeClr val="tx1"/>
              </a:solidFill>
              <a:latin typeface="+mn-lt"/>
            </a:endParaRPr>
          </a:p>
        </p:txBody>
      </p:sp>
      <p:sp>
        <p:nvSpPr>
          <p:cNvPr id="5" name="doc id" hidden="1"/>
          <p:cNvSpPr txBox="1">
            <a:spLocks noChangeArrowheads="1"/>
          </p:cNvSpPr>
          <p:nvPr/>
        </p:nvSpPr>
        <p:spPr bwMode="auto">
          <a:xfrm>
            <a:off x="8696930" y="27942"/>
            <a:ext cx="301290" cy="935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0" hangingPunct="1">
              <a:defRPr/>
            </a:pPr>
            <a:endParaRPr lang="it-IT" sz="816" baseline="0" noProof="0" dirty="0">
              <a:solidFill>
                <a:srgbClr val="482A06"/>
              </a:solidFill>
              <a:latin typeface="+mn-lt"/>
            </a:endParaRPr>
          </a:p>
        </p:txBody>
      </p:sp>
      <p:sp>
        <p:nvSpPr>
          <p:cNvPr id="4" name="Working Draft Text" hidden="1"/>
          <p:cNvSpPr txBox="1">
            <a:spLocks noChangeArrowheads="1"/>
          </p:cNvSpPr>
          <p:nvPr/>
        </p:nvSpPr>
        <p:spPr bwMode="black">
          <a:xfrm>
            <a:off x="6202975" y="4785834"/>
            <a:ext cx="675372"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it-IT" sz="612" b="1" baseline="0" noProof="0" dirty="0">
                <a:solidFill>
                  <a:schemeClr val="bg1"/>
                </a:solidFill>
                <a:latin typeface="+mn-lt"/>
              </a:rPr>
              <a:t>WORKING DRAFT</a:t>
            </a:r>
          </a:p>
        </p:txBody>
      </p:sp>
      <p:sp>
        <p:nvSpPr>
          <p:cNvPr id="6" name="Working Draft" hidden="1"/>
          <p:cNvSpPr txBox="1">
            <a:spLocks noChangeArrowheads="1"/>
          </p:cNvSpPr>
          <p:nvPr/>
        </p:nvSpPr>
        <p:spPr bwMode="black">
          <a:xfrm>
            <a:off x="6202976" y="4880042"/>
            <a:ext cx="2861839"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a:solidFill>
                  <a:schemeClr val="bg1"/>
                </a:solidFill>
                <a:latin typeface="+mn-lt"/>
              </a:rPr>
              <a:t>Last Modified 01/12/2018 19:02 W. Europe Standard Time</a:t>
            </a:r>
            <a:endParaRPr lang="it-IT" sz="612" baseline="0" noProof="0" dirty="0">
              <a:solidFill>
                <a:schemeClr val="bg1"/>
              </a:solidFill>
              <a:latin typeface="+mn-lt"/>
            </a:endParaRPr>
          </a:p>
        </p:txBody>
      </p:sp>
      <p:sp>
        <p:nvSpPr>
          <p:cNvPr id="7" name="Printed" hidden="1"/>
          <p:cNvSpPr txBox="1">
            <a:spLocks noChangeArrowheads="1"/>
          </p:cNvSpPr>
          <p:nvPr/>
        </p:nvSpPr>
        <p:spPr bwMode="black">
          <a:xfrm>
            <a:off x="6202976" y="4974252"/>
            <a:ext cx="2714247"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612" baseline="0" noProof="0">
                <a:solidFill>
                  <a:schemeClr val="bg1"/>
                </a:solidFill>
                <a:latin typeface="+mn-lt"/>
              </a:rPr>
              <a:t>Printed 27/11/2018 15:48 W. Europe Standard Time</a:t>
            </a:r>
            <a:endParaRPr lang="it-IT" sz="612" baseline="0" noProof="0" dirty="0">
              <a:solidFill>
                <a:schemeClr val="bg1"/>
              </a:solidFill>
              <a:latin typeface="+mn-lt"/>
            </a:endParaRPr>
          </a:p>
        </p:txBody>
      </p:sp>
      <p:sp>
        <p:nvSpPr>
          <p:cNvPr id="13314" name="Title"/>
          <p:cNvSpPr>
            <a:spLocks noGrp="1" noChangeArrowheads="1"/>
          </p:cNvSpPr>
          <p:nvPr>
            <p:ph type="ctrTitle"/>
          </p:nvPr>
        </p:nvSpPr>
        <p:spPr bwMode="gray">
          <a:xfrm>
            <a:off x="325810" y="2135638"/>
            <a:ext cx="8646057" cy="430887"/>
          </a:xfrm>
          <a:prstGeom prst="rect">
            <a:avLst/>
          </a:prstGeom>
        </p:spPr>
        <p:txBody>
          <a:bodyPr anchor="b" anchorCtr="0"/>
          <a:lstStyle>
            <a:lvl1pPr>
              <a:defRPr sz="2800" b="1" baseline="0">
                <a:solidFill>
                  <a:srgbClr val="001548"/>
                </a:solidFill>
                <a:latin typeface="+mj-lt"/>
                <a:ea typeface="+mj-ea"/>
              </a:defRPr>
            </a:lvl1pPr>
          </a:lstStyle>
          <a:p>
            <a:pPr lvl="0" latinLnBrk="0"/>
            <a:r>
              <a:rPr lang="en-US" noProof="0"/>
              <a:t>Click to edit Master title style</a:t>
            </a:r>
            <a:endParaRPr lang="it-IT" noProof="0" dirty="0"/>
          </a:p>
        </p:txBody>
      </p:sp>
      <p:sp>
        <p:nvSpPr>
          <p:cNvPr id="13315" name="Subtitle"/>
          <p:cNvSpPr>
            <a:spLocks noGrp="1" noChangeArrowheads="1"/>
          </p:cNvSpPr>
          <p:nvPr>
            <p:ph type="subTitle" idx="1"/>
          </p:nvPr>
        </p:nvSpPr>
        <p:spPr bwMode="gray">
          <a:xfrm>
            <a:off x="182047" y="5319606"/>
            <a:ext cx="6358614" cy="164865"/>
          </a:xfrm>
          <a:prstGeom prst="rect">
            <a:avLst/>
          </a:prstGeom>
        </p:spPr>
        <p:txBody>
          <a:bodyPr wrap="square">
            <a:spAutoFit/>
          </a:bodyPr>
          <a:lstStyle>
            <a:lvl1pPr>
              <a:defRPr sz="1071" cap="all" baseline="0">
                <a:solidFill>
                  <a:schemeClr val="accent6"/>
                </a:solidFill>
                <a:latin typeface="+mn-lt"/>
                <a:ea typeface="+mn-ea"/>
              </a:defRPr>
            </a:lvl1pPr>
          </a:lstStyle>
          <a:p>
            <a:pPr lvl="0" latinLnBrk="0"/>
            <a:r>
              <a:rPr lang="en-US" noProof="0"/>
              <a:t>Click to edit Master subtitle style</a:t>
            </a:r>
            <a:endParaRPr lang="it-IT" noProof="0" dirty="0"/>
          </a:p>
        </p:txBody>
      </p:sp>
      <p:sp>
        <p:nvSpPr>
          <p:cNvPr id="57" name="Document type" hidden="1"/>
          <p:cNvSpPr txBox="1">
            <a:spLocks noChangeArrowheads="1"/>
          </p:cNvSpPr>
          <p:nvPr/>
        </p:nvSpPr>
        <p:spPr bwMode="gray">
          <a:xfrm>
            <a:off x="325809" y="2646736"/>
            <a:ext cx="864605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it-IT" sz="1600" baseline="0" noProof="0" dirty="0">
                <a:solidFill>
                  <a:srgbClr val="7F7F7F"/>
                </a:solidFill>
                <a:latin typeface="+mn-lt"/>
              </a:rPr>
              <a:t>Tipo di documento | Data</a:t>
            </a:r>
          </a:p>
        </p:txBody>
      </p:sp>
      <p:sp>
        <p:nvSpPr>
          <p:cNvPr id="35" name="LogoImage" hidden="1"/>
          <p:cNvSpPr>
            <a:spLocks noEditPoints="1"/>
          </p:cNvSpPr>
          <p:nvPr/>
        </p:nvSpPr>
        <p:spPr bwMode="auto">
          <a:xfrm>
            <a:off x="2321276" y="143845"/>
            <a:ext cx="1665922" cy="182182"/>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9973" tIns="34986" rIns="69973" bIns="34986" numCol="1" anchor="t" anchorCtr="0" compatLnSpc="1">
            <a:prstTxWarp prst="textNoShape">
              <a:avLst/>
            </a:prstTxWarp>
          </a:bodyPr>
          <a:lstStyle>
            <a:defPPr>
              <a:defRPr lang="it-IT"/>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0" latinLnBrk="0" hangingPunct="1">
              <a:defRPr sz="1600" kern="1200">
                <a:solidFill>
                  <a:schemeClr val="tx1"/>
                </a:solidFill>
                <a:latin typeface="Arial" charset="0"/>
                <a:ea typeface="+mn-ea"/>
                <a:cs typeface="+mn-cs"/>
              </a:defRPr>
            </a:lvl6pPr>
            <a:lvl7pPr marL="2743200" algn="l" defTabSz="914400" rtl="0" eaLnBrk="0" latinLnBrk="0" hangingPunct="1">
              <a:defRPr sz="1600" kern="1200">
                <a:solidFill>
                  <a:schemeClr val="tx1"/>
                </a:solidFill>
                <a:latin typeface="Arial" charset="0"/>
                <a:ea typeface="+mn-ea"/>
                <a:cs typeface="+mn-cs"/>
              </a:defRPr>
            </a:lvl7pPr>
            <a:lvl8pPr marL="3200400" algn="l" defTabSz="914400" rtl="0" eaLnBrk="0" latinLnBrk="0" hangingPunct="1">
              <a:defRPr sz="1600" kern="1200">
                <a:solidFill>
                  <a:schemeClr val="tx1"/>
                </a:solidFill>
                <a:latin typeface="Arial" charset="0"/>
                <a:ea typeface="+mn-ea"/>
                <a:cs typeface="+mn-cs"/>
              </a:defRPr>
            </a:lvl8pPr>
            <a:lvl9pPr marL="3657600" algn="l" defTabSz="914400" rtl="0" eaLnBrk="0" latinLnBrk="0" hangingPunct="1">
              <a:defRPr sz="1600" kern="1200">
                <a:solidFill>
                  <a:schemeClr val="tx1"/>
                </a:solidFill>
                <a:latin typeface="Arial" charset="0"/>
                <a:ea typeface="+mn-ea"/>
                <a:cs typeface="+mn-cs"/>
              </a:defRPr>
            </a:lvl9pPr>
          </a:lstStyle>
          <a:p>
            <a:endParaRPr lang="it-IT" sz="1224" baseline="0" dirty="0">
              <a:solidFill>
                <a:srgbClr val="000000"/>
              </a:solidFill>
              <a:latin typeface="+mn-lt"/>
            </a:endParaRPr>
          </a:p>
        </p:txBody>
      </p:sp>
      <p:sp>
        <p:nvSpPr>
          <p:cNvPr id="26" name="Disclaimer-Italian (Italy)" hidden="1"/>
          <p:cNvSpPr>
            <a:spLocks noChangeArrowheads="1"/>
          </p:cNvSpPr>
          <p:nvPr/>
        </p:nvSpPr>
        <p:spPr bwMode="black">
          <a:xfrm>
            <a:off x="2128471" y="4785834"/>
            <a:ext cx="3918450" cy="274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21216" eaLnBrk="0" hangingPunct="0"/>
            <a:r>
              <a:rPr lang="it-IT" sz="612" baseline="0" dirty="0">
                <a:solidFill>
                  <a:schemeClr val="bg1"/>
                </a:solidFill>
                <a:latin typeface="+mn-lt"/>
              </a:rPr>
              <a:t>RISERVATO ED ESCLUSIVO</a:t>
            </a:r>
          </a:p>
          <a:p>
            <a:pPr defTabSz="821216" eaLnBrk="0" hangingPunct="0"/>
            <a:r>
              <a:rPr lang="it-IT" sz="612" baseline="0" dirty="0">
                <a:solidFill>
                  <a:schemeClr val="bg1"/>
                </a:solidFill>
                <a:latin typeface="+mn-lt"/>
              </a:rPr>
              <a:t>È severamente vietato qualsiasi utilizzo del presente materiale senza specifica autorizzazione di McKinsey &amp; Company</a:t>
            </a:r>
          </a:p>
        </p:txBody>
      </p:sp>
      <p:pic>
        <p:nvPicPr>
          <p:cNvPr id="15" name="Immagine 4" descr="CDP_rgb.png">
            <a:extLst>
              <a:ext uri="{FF2B5EF4-FFF2-40B4-BE49-F238E27FC236}">
                <a16:creationId xmlns:a16="http://schemas.microsoft.com/office/drawing/2014/main" id="{057CC108-80B4-4D84-9359-818173C00AE2}"/>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325810" y="369804"/>
            <a:ext cx="1138985" cy="588947"/>
          </a:xfrm>
          <a:prstGeom prst="rect">
            <a:avLst/>
          </a:prstGeom>
        </p:spPr>
      </p:pic>
    </p:spTree>
    <p:extLst>
      <p:ext uri="{BB962C8B-B14F-4D97-AF65-F5344CB8AC3E}">
        <p14:creationId xmlns:p14="http://schemas.microsoft.com/office/powerpoint/2010/main" val="5879966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8400744" y="347179"/>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1545928" y="4841715"/>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Bressay" panose="02040503050505020203" pitchFamily="18" charset="77"/>
            </a:endParaRPr>
          </a:p>
        </p:txBody>
      </p:sp>
      <p:pic>
        <p:nvPicPr>
          <p:cNvPr id="14" name="Immagine 13">
            <a:extLst>
              <a:ext uri="{FF2B5EF4-FFF2-40B4-BE49-F238E27FC236}">
                <a16:creationId xmlns:a16="http://schemas.microsoft.com/office/drawing/2014/main" id="{6F524C67-C9F4-409F-8C54-459F1903C325}"/>
              </a:ext>
            </a:extLst>
          </p:cNvPr>
          <p:cNvPicPr>
            <a:picLocks noChangeAspect="1"/>
          </p:cNvPicPr>
          <p:nvPr userDrawn="1"/>
        </p:nvPicPr>
        <p:blipFill>
          <a:blip r:embed="rId2"/>
          <a:stretch>
            <a:fillRect/>
          </a:stretch>
        </p:blipFill>
        <p:spPr>
          <a:xfrm>
            <a:off x="8502859" y="4695547"/>
            <a:ext cx="390316" cy="216096"/>
          </a:xfrm>
          <a:prstGeom prst="rect">
            <a:avLst/>
          </a:prstGeom>
        </p:spPr>
      </p:pic>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251441" y="3458186"/>
            <a:ext cx="6858000" cy="340844"/>
          </a:xfrm>
        </p:spPr>
        <p:txBody>
          <a:bodyPr lIns="0" tIns="0" rIns="0" bIns="0" anchor="t" anchorCtr="0">
            <a:noAutofit/>
          </a:bodyPr>
          <a:lstStyle>
            <a:lvl1pPr marL="0" indent="0" algn="l">
              <a:buNone/>
              <a:defRPr sz="24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251441" y="1170293"/>
            <a:ext cx="6858000" cy="2211387"/>
          </a:xfrm>
        </p:spPr>
        <p:txBody>
          <a:bodyPr lIns="0" tIns="0" rIns="0" bIns="0" anchor="b">
            <a:normAutofit/>
          </a:bodyPr>
          <a:lstStyle>
            <a:lvl1pPr marL="0" indent="0">
              <a:buNone/>
              <a:defRPr sz="4400"/>
            </a:lvl1pPr>
          </a:lstStyle>
          <a:p>
            <a:pPr lvl="0"/>
            <a:r>
              <a:rPr lang="it-IT" dirty="0"/>
              <a:t>Titolo del divisore</a:t>
            </a:r>
          </a:p>
        </p:txBody>
      </p:sp>
    </p:spTree>
    <p:extLst>
      <p:ext uri="{BB962C8B-B14F-4D97-AF65-F5344CB8AC3E}">
        <p14:creationId xmlns:p14="http://schemas.microsoft.com/office/powerpoint/2010/main" val="326350539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250825" y="276015"/>
            <a:ext cx="6445250" cy="266444"/>
          </a:xfrm>
        </p:spPr>
        <p:txBody>
          <a:bodyPr lIns="0" tIns="0" rIns="0" bIns="0" anchor="t" anchorCtr="0">
            <a:noAutofit/>
          </a:bodyPr>
          <a:lstStyle>
            <a:lvl1pPr marL="0" indent="0">
              <a:buNone/>
              <a:defRPr sz="18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8383604" y="4788568"/>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250825" y="4723393"/>
            <a:ext cx="1008062" cy="183687"/>
          </a:xfrm>
        </p:spPr>
        <p:txBody>
          <a:bodyPr lIns="0" tIns="0" rIns="0" bIns="0" anchor="b" anchorCtr="0"/>
          <a:lstStyle>
            <a:lvl1pPr algn="l">
              <a:defRPr sz="800"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8667549" y="4827069"/>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8744552" y="4822257"/>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250825" y="1057146"/>
            <a:ext cx="8642350" cy="3459292"/>
          </a:xfrm>
        </p:spPr>
        <p:txBody>
          <a:bodyPr lIns="0" tIns="0" rIns="0" bIns="0" anchor="t" anchorCtr="0">
            <a:normAutofit/>
          </a:bodyPr>
          <a:lstStyle>
            <a:lvl1pPr algn="l">
              <a:lnSpc>
                <a:spcPct val="100000"/>
              </a:lnSpc>
              <a:defRPr sz="44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7414953" y="390698"/>
            <a:ext cx="914400" cy="914400"/>
          </a:xfrm>
          <a:prstGeom prst="rect">
            <a:avLst/>
          </a:prstGeom>
        </p:spPr>
        <p:txBody>
          <a:bodyPr vert="horz" wrap="none" lIns="91440" tIns="45720" rIns="91440" bIns="45720" rtlCol="0" anchor="b">
            <a:normAutofit/>
          </a:bodyPr>
          <a:lstStyle/>
          <a:p>
            <a:pPr algn="l"/>
            <a:endParaRPr lang="it-IT" dirty="0">
              <a:latin typeface="Bressay" panose="02040503050505020203" pitchFamily="18" charset="77"/>
              <a:ea typeface="Bressay" panose="02040503050505020203" pitchFamily="18" charset="77"/>
              <a:cs typeface="Bressay" panose="02040503050505020203" pitchFamily="18" charset="77"/>
            </a:endParaRPr>
          </a:p>
        </p:txBody>
      </p:sp>
      <p:pic>
        <p:nvPicPr>
          <p:cNvPr id="11" name="Immagine 10">
            <a:extLst>
              <a:ext uri="{FF2B5EF4-FFF2-40B4-BE49-F238E27FC236}">
                <a16:creationId xmlns:a16="http://schemas.microsoft.com/office/drawing/2014/main" id="{06619B5A-577E-43C3-ABC5-9B715A0E3018}"/>
              </a:ext>
            </a:extLst>
          </p:cNvPr>
          <p:cNvPicPr>
            <a:picLocks noChangeAspect="1"/>
          </p:cNvPicPr>
          <p:nvPr userDrawn="1"/>
        </p:nvPicPr>
        <p:blipFill>
          <a:blip r:embed="rId2"/>
          <a:stretch>
            <a:fillRect/>
          </a:stretch>
        </p:blipFill>
        <p:spPr>
          <a:xfrm>
            <a:off x="8502859" y="4695547"/>
            <a:ext cx="390316" cy="216096"/>
          </a:xfrm>
          <a:prstGeom prst="rect">
            <a:avLst/>
          </a:prstGeom>
        </p:spPr>
      </p:pic>
    </p:spTree>
    <p:extLst>
      <p:ext uri="{BB962C8B-B14F-4D97-AF65-F5344CB8AC3E}">
        <p14:creationId xmlns:p14="http://schemas.microsoft.com/office/powerpoint/2010/main" val="2343313112"/>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250825" y="268288"/>
            <a:ext cx="6445250" cy="287337"/>
          </a:xfrm>
        </p:spPr>
        <p:txBody>
          <a:bodyPr lIns="0" tIns="0" rIns="0" bIns="0" anchor="t" anchorCtr="0">
            <a:noAutofit/>
          </a:bodyPr>
          <a:lstStyle>
            <a:lvl1pPr marL="0" indent="0">
              <a:buNone/>
              <a:defRPr sz="18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8383604" y="4788568"/>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8667549" y="4827069"/>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8744552" y="4822257"/>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250824" y="1152000"/>
            <a:ext cx="8642351" cy="3364438"/>
          </a:xfrm>
        </p:spPr>
        <p:txBody>
          <a:bodyPr lIns="0" tIns="0" rIns="0" bIns="0" anchor="t" anchorCtr="0">
            <a:normAutofit/>
          </a:bodyPr>
          <a:lstStyle>
            <a:lvl1pPr algn="l">
              <a:lnSpc>
                <a:spcPct val="100000"/>
              </a:lnSpc>
              <a:spcBef>
                <a:spcPts val="600"/>
              </a:spcBef>
              <a:spcAft>
                <a:spcPts val="600"/>
              </a:spcAft>
              <a:defRPr sz="14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250825" y="4723393"/>
            <a:ext cx="1008062" cy="183687"/>
          </a:xfrm>
        </p:spPr>
        <p:txBody>
          <a:bodyPr lIns="0" tIns="0" rIns="0" bIns="0" anchor="b" anchorCtr="0"/>
          <a:lstStyle>
            <a:lvl1pPr algn="l">
              <a:defRPr sz="800"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2"/>
          <a:stretch>
            <a:fillRect/>
          </a:stretch>
        </p:blipFill>
        <p:spPr>
          <a:xfrm>
            <a:off x="8502859" y="4695547"/>
            <a:ext cx="390316" cy="216096"/>
          </a:xfrm>
          <a:prstGeom prst="rect">
            <a:avLst/>
          </a:prstGeom>
        </p:spPr>
      </p:pic>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250825" y="598394"/>
            <a:ext cx="6445250" cy="287337"/>
          </a:xfrm>
        </p:spPr>
        <p:txBody>
          <a:bodyPr lIns="0" tIns="0" rIns="0" bIns="0" anchor="t">
            <a:noAutofit/>
          </a:bodyPr>
          <a:lstStyle>
            <a:lvl1pPr marL="0" indent="0">
              <a:buNone/>
              <a:defRPr sz="1600">
                <a:solidFill>
                  <a:schemeClr val="accent6"/>
                </a:solidFill>
              </a:defRPr>
            </a:lvl1pPr>
          </a:lstStyle>
          <a:p>
            <a:pPr lvl="0"/>
            <a:r>
              <a:rPr lang="it-IT" dirty="0"/>
              <a:t>Sottotitolo</a:t>
            </a:r>
          </a:p>
        </p:txBody>
      </p:sp>
    </p:spTree>
    <p:extLst>
      <p:ext uri="{BB962C8B-B14F-4D97-AF65-F5344CB8AC3E}">
        <p14:creationId xmlns:p14="http://schemas.microsoft.com/office/powerpoint/2010/main" val="2824810518"/>
      </p:ext>
    </p:extLst>
  </p:cSld>
  <p:clrMapOvr>
    <a:masterClrMapping/>
  </p:clrMapOvr>
  <p:extLst>
    <p:ext uri="{DCECCB84-F9BA-43D5-87BE-67443E8EF086}">
      <p15:sldGuideLst xmlns:p15="http://schemas.microsoft.com/office/powerpoint/2012/main">
        <p15:guide id="1" orient="horz" pos="554" userDrawn="1">
          <p15:clr>
            <a:srgbClr val="FBAE40"/>
          </p15:clr>
        </p15:guide>
        <p15:guide id="2" orient="horz" pos="373" userDrawn="1">
          <p15:clr>
            <a:srgbClr val="FBAE40"/>
          </p15:clr>
        </p15:guide>
        <p15:guide id="3" orient="horz" pos="35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250825" y="268288"/>
            <a:ext cx="6445250" cy="287337"/>
          </a:xfrm>
        </p:spPr>
        <p:txBody>
          <a:bodyPr lIns="0" tIns="0" rIns="0" bIns="0" anchor="t" anchorCtr="0">
            <a:noAutofit/>
          </a:bodyPr>
          <a:lstStyle>
            <a:lvl1pPr marL="0" indent="0">
              <a:buNone/>
              <a:defRPr sz="18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8383604" y="4788568"/>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8667549" y="4827069"/>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8744552" y="4822257"/>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3563939" y="1152000"/>
            <a:ext cx="5329236" cy="3364414"/>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1559293" y="1636295"/>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250826" y="1152000"/>
            <a:ext cx="3168650" cy="3459291"/>
          </a:xfrm>
        </p:spPr>
        <p:txBody>
          <a:bodyPr lIns="0" tIns="0" rIns="0" bIns="0" anchor="t" anchorCtr="0">
            <a:normAutofit/>
          </a:bodyPr>
          <a:lstStyle>
            <a:lvl1pPr algn="l">
              <a:lnSpc>
                <a:spcPct val="100000"/>
              </a:lnSpc>
              <a:spcBef>
                <a:spcPts val="600"/>
              </a:spcBef>
              <a:spcAft>
                <a:spcPts val="600"/>
              </a:spcAft>
              <a:defRPr sz="1400"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250825" y="4723393"/>
            <a:ext cx="1008062" cy="183687"/>
          </a:xfrm>
        </p:spPr>
        <p:txBody>
          <a:bodyPr lIns="0" tIns="0" rIns="0" bIns="0" anchor="b" anchorCtr="0"/>
          <a:lstStyle>
            <a:lvl1pPr algn="l">
              <a:defRPr sz="800"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pic>
        <p:nvPicPr>
          <p:cNvPr id="15" name="Immagine 14">
            <a:extLst>
              <a:ext uri="{FF2B5EF4-FFF2-40B4-BE49-F238E27FC236}">
                <a16:creationId xmlns:a16="http://schemas.microsoft.com/office/drawing/2014/main" id="{4C502FCE-C62F-4E2A-A144-F4DBC4053951}"/>
              </a:ext>
            </a:extLst>
          </p:cNvPr>
          <p:cNvPicPr>
            <a:picLocks noChangeAspect="1"/>
          </p:cNvPicPr>
          <p:nvPr userDrawn="1"/>
        </p:nvPicPr>
        <p:blipFill>
          <a:blip r:embed="rId2"/>
          <a:stretch>
            <a:fillRect/>
          </a:stretch>
        </p:blipFill>
        <p:spPr>
          <a:xfrm>
            <a:off x="8502859" y="4695547"/>
            <a:ext cx="390316" cy="216096"/>
          </a:xfrm>
          <a:prstGeom prst="rect">
            <a:avLst/>
          </a:prstGeom>
        </p:spPr>
      </p:pic>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250825" y="598862"/>
            <a:ext cx="6445250" cy="280613"/>
          </a:xfrm>
        </p:spPr>
        <p:txBody>
          <a:bodyPr lIns="0" tIns="0" rIns="0" bIns="0">
            <a:normAutofit/>
          </a:bodyPr>
          <a:lstStyle>
            <a:lvl1pPr marL="0" indent="0">
              <a:buNone/>
              <a:defRPr sz="1600">
                <a:solidFill>
                  <a:schemeClr val="accent6"/>
                </a:solidFill>
              </a:defRPr>
            </a:lvl1pPr>
          </a:lstStyle>
          <a:p>
            <a:pPr lvl="0"/>
            <a:r>
              <a:rPr lang="it-IT" dirty="0"/>
              <a:t>Sottotitolo</a:t>
            </a:r>
          </a:p>
        </p:txBody>
      </p:sp>
    </p:spTree>
    <p:extLst>
      <p:ext uri="{BB962C8B-B14F-4D97-AF65-F5344CB8AC3E}">
        <p14:creationId xmlns:p14="http://schemas.microsoft.com/office/powerpoint/2010/main" val="3277718326"/>
      </p:ext>
    </p:extLst>
  </p:cSld>
  <p:clrMapOvr>
    <a:masterClrMapping/>
  </p:clrMapOvr>
  <p:extLst>
    <p:ext uri="{DCECCB84-F9BA-43D5-87BE-67443E8EF086}">
      <p15:sldGuideLst xmlns:p15="http://schemas.microsoft.com/office/powerpoint/2012/main">
        <p15:guide id="1" orient="horz" pos="554" userDrawn="1">
          <p15:clr>
            <a:srgbClr val="FBAE40"/>
          </p15:clr>
        </p15:guide>
        <p15:guide id="2" orient="horz" pos="373" userDrawn="1">
          <p15:clr>
            <a:srgbClr val="FBAE40"/>
          </p15:clr>
        </p15:guide>
        <p15:guide id="3" orient="horz" pos="1098" userDrawn="1">
          <p15:clr>
            <a:srgbClr val="FBAE40"/>
          </p15:clr>
        </p15:guide>
        <p15:guide id="4" orient="horz" pos="35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250825" y="268289"/>
            <a:ext cx="6445250" cy="287336"/>
          </a:xfrm>
        </p:spPr>
        <p:txBody>
          <a:bodyPr lIns="0" tIns="0" rIns="0" bIns="0" anchor="t" anchorCtr="0">
            <a:normAutofit/>
          </a:bodyPr>
          <a:lstStyle>
            <a:lvl1pPr marL="0" indent="0">
              <a:buNone/>
              <a:defRPr sz="18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8383604" y="4788568"/>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8667549" y="4827069"/>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8744552" y="4822257"/>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1559293" y="1636295"/>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250825" y="4723393"/>
            <a:ext cx="1008062" cy="183687"/>
          </a:xfrm>
        </p:spPr>
        <p:txBody>
          <a:bodyPr lIns="0" tIns="0" rIns="0" bIns="0" anchor="b" anchorCtr="0"/>
          <a:lstStyle>
            <a:lvl1pPr algn="l">
              <a:defRPr sz="800"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6346825" y="2571749"/>
            <a:ext cx="2546350" cy="1714003"/>
          </a:xfrm>
          <a:prstGeom prst="rect">
            <a:avLst/>
          </a:prstGeom>
        </p:spPr>
        <p:txBody>
          <a:bodyPr vert="horz" wrap="none" lIns="91440" tIns="45720" rIns="91440" bIns="45720" rtlCol="0" anchor="b">
            <a:normAutofit/>
          </a:bodyPr>
          <a:lstStyle/>
          <a:p>
            <a:pPr algn="l"/>
            <a:endParaRPr lang="it-IT"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6804025" y="1149723"/>
            <a:ext cx="2051050" cy="3366715"/>
          </a:xfrm>
        </p:spPr>
        <p:txBody>
          <a:bodyPr lIns="0" tIns="0" rIns="0" bIns="0" anchor="b" anchorCtr="0">
            <a:noAutofit/>
          </a:bodyPr>
          <a:lstStyle>
            <a:lvl1pPr algn="l">
              <a:lnSpc>
                <a:spcPct val="100000"/>
              </a:lnSpc>
              <a:defRPr sz="9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250825" y="1149723"/>
            <a:ext cx="6445250" cy="3388353"/>
          </a:xfrm>
        </p:spPr>
        <p:txBody>
          <a:bodyPr/>
          <a:lstStyle/>
          <a:p>
            <a:endParaRPr lang="it-IT" dirty="0"/>
          </a:p>
        </p:txBody>
      </p:sp>
      <p:pic>
        <p:nvPicPr>
          <p:cNvPr id="13" name="Immagine 12">
            <a:extLst>
              <a:ext uri="{FF2B5EF4-FFF2-40B4-BE49-F238E27FC236}">
                <a16:creationId xmlns:a16="http://schemas.microsoft.com/office/drawing/2014/main" id="{BDC67741-5470-4BDC-B227-DEDC24478706}"/>
              </a:ext>
            </a:extLst>
          </p:cNvPr>
          <p:cNvPicPr>
            <a:picLocks noChangeAspect="1"/>
          </p:cNvPicPr>
          <p:nvPr userDrawn="1"/>
        </p:nvPicPr>
        <p:blipFill>
          <a:blip r:embed="rId2"/>
          <a:stretch>
            <a:fillRect/>
          </a:stretch>
        </p:blipFill>
        <p:spPr>
          <a:xfrm>
            <a:off x="8502859" y="4695547"/>
            <a:ext cx="390316" cy="216096"/>
          </a:xfrm>
          <a:prstGeom prst="rect">
            <a:avLst/>
          </a:prstGeom>
        </p:spPr>
      </p:pic>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250825" y="598487"/>
            <a:ext cx="6445250" cy="280987"/>
          </a:xfrm>
        </p:spPr>
        <p:txBody>
          <a:bodyPr lIns="0" tIns="0" rIns="0" bIns="0"/>
          <a:lstStyle>
            <a:lvl1pPr marL="0" indent="0">
              <a:buNone/>
              <a:defRPr lang="it-IT" sz="1600"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spTree>
    <p:extLst>
      <p:ext uri="{BB962C8B-B14F-4D97-AF65-F5344CB8AC3E}">
        <p14:creationId xmlns:p14="http://schemas.microsoft.com/office/powerpoint/2010/main" val="2969596364"/>
      </p:ext>
    </p:extLst>
  </p:cSld>
  <p:clrMapOvr>
    <a:masterClrMapping/>
  </p:clrMapOvr>
  <p:extLst>
    <p:ext uri="{DCECCB84-F9BA-43D5-87BE-67443E8EF086}">
      <p15:sldGuideLst xmlns:p15="http://schemas.microsoft.com/office/powerpoint/2012/main">
        <p15:guide id="1" orient="horz" pos="554" userDrawn="1">
          <p15:clr>
            <a:srgbClr val="FBAE40"/>
          </p15:clr>
        </p15:guide>
        <p15:guide id="2" orient="horz" pos="373" userDrawn="1">
          <p15:clr>
            <a:srgbClr val="FBAE40"/>
          </p15:clr>
        </p15:guide>
        <p15:guide id="3" orient="horz" pos="35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5652655" y="1874982"/>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1515850" y="2083072"/>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5168560" y="3246853"/>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8400744" y="347179"/>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154517" y="4588932"/>
            <a:ext cx="3264958" cy="286279"/>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200" dirty="0">
                <a:latin typeface="Arial" panose="020B0604020202020204" pitchFamily="34" charset="0"/>
                <a:cs typeface="Arial" panose="020B0604020202020204" pitchFamily="34" charset="0"/>
              </a:rPr>
              <a:t>Cassa Depositi e Prestiti</a:t>
            </a:r>
            <a:br>
              <a:rPr lang="it-IT" sz="1200" dirty="0">
                <a:latin typeface="Arial" panose="020B0604020202020204" pitchFamily="34" charset="0"/>
                <a:cs typeface="Arial" panose="020B0604020202020204" pitchFamily="34" charset="0"/>
              </a:rPr>
            </a:br>
            <a:r>
              <a:rPr lang="it-IT" sz="1200" dirty="0">
                <a:latin typeface="Arial" panose="020B0604020202020204" pitchFamily="34" charset="0"/>
                <a:cs typeface="Arial" panose="020B0604020202020204" pitchFamily="34" charset="0"/>
              </a:rPr>
              <a:t>Investiamo nel domani</a:t>
            </a:r>
          </a:p>
        </p:txBody>
      </p:sp>
      <p:pic>
        <p:nvPicPr>
          <p:cNvPr id="9" name="Immagine 8">
            <a:extLst>
              <a:ext uri="{FF2B5EF4-FFF2-40B4-BE49-F238E27FC236}">
                <a16:creationId xmlns:a16="http://schemas.microsoft.com/office/drawing/2014/main" id="{F9A598D7-DD54-46A8-9207-6BC72E5E7AE3}"/>
              </a:ext>
            </a:extLst>
          </p:cNvPr>
          <p:cNvPicPr>
            <a:picLocks noChangeAspect="1"/>
          </p:cNvPicPr>
          <p:nvPr userDrawn="1"/>
        </p:nvPicPr>
        <p:blipFill>
          <a:blip r:embed="rId2"/>
          <a:stretch>
            <a:fillRect/>
          </a:stretch>
        </p:blipFill>
        <p:spPr>
          <a:xfrm>
            <a:off x="250825" y="268288"/>
            <a:ext cx="1116874" cy="618351"/>
          </a:xfrm>
          <a:prstGeom prst="rect">
            <a:avLst/>
          </a:prstGeom>
        </p:spPr>
      </p:pic>
      <p:sp>
        <p:nvSpPr>
          <p:cNvPr id="6" name="CasellaDiTesto 5">
            <a:extLst>
              <a:ext uri="{FF2B5EF4-FFF2-40B4-BE49-F238E27FC236}">
                <a16:creationId xmlns:a16="http://schemas.microsoft.com/office/drawing/2014/main" id="{DEB503F0-7E7E-4534-8B60-CEE54CEA23ED}"/>
              </a:ext>
            </a:extLst>
          </p:cNvPr>
          <p:cNvSpPr txBox="1"/>
          <p:nvPr userDrawn="1"/>
        </p:nvSpPr>
        <p:spPr>
          <a:xfrm>
            <a:off x="250825" y="1641453"/>
            <a:ext cx="6499599" cy="1118004"/>
          </a:xfrm>
          <a:prstGeom prst="rect">
            <a:avLst/>
          </a:prstGeom>
        </p:spPr>
        <p:txBody>
          <a:bodyPr vert="horz" wrap="square" lIns="0" tIns="45720" rIns="0" bIns="45720" rtlCol="0" anchor="b">
            <a:normAutofit/>
          </a:bodyPr>
          <a:lstStyle/>
          <a:p>
            <a:pPr algn="l"/>
            <a:r>
              <a:rPr lang="it-IT" sz="4000" dirty="0"/>
              <a:t>Grazie</a:t>
            </a:r>
          </a:p>
        </p:txBody>
      </p:sp>
    </p:spTree>
    <p:extLst>
      <p:ext uri="{BB962C8B-B14F-4D97-AF65-F5344CB8AC3E}">
        <p14:creationId xmlns:p14="http://schemas.microsoft.com/office/powerpoint/2010/main" val="25769861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olo e contenuto">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1204" name="Diapositiva think-cell" r:id="rId4" imgW="270" imgH="270" progId="TCLayout.ActiveDocument.1">
                  <p:embed/>
                </p:oleObj>
              </mc:Choice>
              <mc:Fallback>
                <p:oleObj name="Diapositiva think-cell" r:id="rId4" imgW="270" imgH="270" progId="TCLayout.ActiveDocument.1">
                  <p:embed/>
                  <p:pic>
                    <p:nvPicPr>
                      <p:cNvPr id="7" name="Oggetto 6"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olo 1"/>
          <p:cNvSpPr>
            <a:spLocks noGrp="1"/>
          </p:cNvSpPr>
          <p:nvPr>
            <p:ph type="title"/>
          </p:nvPr>
        </p:nvSpPr>
        <p:spPr/>
        <p:txBody>
          <a:bodyPr/>
          <a:lstStyle>
            <a:lvl1pPr algn="l">
              <a:defRPr/>
            </a:lvl1pPr>
          </a:lstStyle>
          <a:p>
            <a:r>
              <a:rPr lang="it-IT"/>
              <a:t>Fare clic per modificare stile</a:t>
            </a:r>
          </a:p>
        </p:txBody>
      </p:sp>
      <p:sp>
        <p:nvSpPr>
          <p:cNvPr id="3" name="Segnaposto contenuto 2"/>
          <p:cNvSpPr>
            <a:spLocks noGrp="1"/>
          </p:cNvSpPr>
          <p:nvPr>
            <p:ph idx="1"/>
          </p:nvPr>
        </p:nvSpPr>
        <p:spPr>
          <a:xfrm>
            <a:off x="346075" y="1059583"/>
            <a:ext cx="8426450" cy="3535041"/>
          </a:xfrm>
        </p:spPr>
        <p:txBody>
          <a:bodyPr>
            <a:normAutofit/>
          </a:bodyPr>
          <a:lstStyle>
            <a:lvl1pPr marL="182558" indent="-182558" algn="l">
              <a:lnSpc>
                <a:spcPct val="120000"/>
              </a:lnSpc>
              <a:defRPr sz="1400"/>
            </a:lvl1pPr>
            <a:lvl2pPr marL="627047" indent="-169859" algn="l">
              <a:lnSpc>
                <a:spcPct val="120000"/>
              </a:lnSpc>
              <a:defRPr sz="1200"/>
            </a:lvl2pPr>
            <a:lvl3pPr marL="1073123" indent="-158746" algn="l">
              <a:lnSpc>
                <a:spcPct val="120000"/>
              </a:lnSpc>
              <a:defRPr sz="1100"/>
            </a:lvl3pPr>
            <a:lvl4pPr marL="1525550" indent="-153984" algn="l">
              <a:lnSpc>
                <a:spcPct val="120000"/>
              </a:lnSpc>
              <a:defRPr sz="1050"/>
            </a:lvl4pPr>
            <a:lvl5pPr marL="1970039" indent="-141284" algn="l">
              <a:lnSpc>
                <a:spcPct val="120000"/>
              </a:lnSpc>
              <a:defRPr sz="1050"/>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E8500345-0379-40CA-915C-90D3AAFD4B63}" type="datetime1">
              <a:rPr lang="it-IT" smtClean="0">
                <a:solidFill>
                  <a:srgbClr val="747474"/>
                </a:solidFill>
              </a:rPr>
              <a:t>17/09/2020</a:t>
            </a:fld>
            <a:endParaRPr lang="it-IT">
              <a:solidFill>
                <a:srgbClr val="747474"/>
              </a:solidFill>
            </a:endParaRPr>
          </a:p>
        </p:txBody>
      </p:sp>
      <p:sp>
        <p:nvSpPr>
          <p:cNvPr id="5" name="Segnaposto piè di pagina 4"/>
          <p:cNvSpPr>
            <a:spLocks noGrp="1"/>
          </p:cNvSpPr>
          <p:nvPr>
            <p:ph type="ftr" sz="quarter" idx="11"/>
          </p:nvPr>
        </p:nvSpPr>
        <p:spPr/>
        <p:txBody>
          <a:bodyPr/>
          <a:lstStyle/>
          <a:p>
            <a:r>
              <a:rPr lang="it-IT">
                <a:solidFill>
                  <a:srgbClr val="747474"/>
                </a:solidFill>
              </a:rPr>
              <a:t>Contenuto confidenziale - Proprietà di CDP Cassa Depositi e Prestiti</a:t>
            </a:r>
          </a:p>
        </p:txBody>
      </p:sp>
      <p:sp>
        <p:nvSpPr>
          <p:cNvPr id="6" name="Segnaposto numero diapositiva 5"/>
          <p:cNvSpPr>
            <a:spLocks noGrp="1"/>
          </p:cNvSpPr>
          <p:nvPr>
            <p:ph type="sldNum" sz="quarter" idx="12"/>
          </p:nvPr>
        </p:nvSpPr>
        <p:spPr/>
        <p:txBody>
          <a:bodyPr/>
          <a:lstStyle/>
          <a:p>
            <a:fld id="{2FC0DA8F-5333-404C-B1A3-89924F4629AA}" type="slidenum">
              <a:rPr>
                <a:solidFill>
                  <a:srgbClr val="747474"/>
                </a:solidFill>
              </a:rPr>
              <a:pPr/>
              <a:t>‹N›</a:t>
            </a:fld>
            <a:endParaRPr lang="it-IT">
              <a:solidFill>
                <a:srgbClr val="747474"/>
              </a:solidFill>
            </a:endParaRPr>
          </a:p>
        </p:txBody>
      </p:sp>
      <p:sp>
        <p:nvSpPr>
          <p:cNvPr id="8" name="Segnaposto testo 7"/>
          <p:cNvSpPr>
            <a:spLocks noGrp="1"/>
          </p:cNvSpPr>
          <p:nvPr>
            <p:ph type="body" sz="quarter" idx="13"/>
          </p:nvPr>
        </p:nvSpPr>
        <p:spPr>
          <a:xfrm>
            <a:off x="360364" y="555527"/>
            <a:ext cx="8415923" cy="258532"/>
          </a:xfrm>
          <a:noFill/>
        </p:spPr>
        <p:txBody>
          <a:bodyPr wrap="square" rtlCol="0">
            <a:spAutoFit/>
          </a:bodyPr>
          <a:lstStyle>
            <a:lvl1pPr marL="0" indent="0">
              <a:buNone/>
              <a:defRPr lang="it-IT" sz="1200">
                <a:solidFill>
                  <a:schemeClr val="accent3"/>
                </a:solidFill>
              </a:defRPr>
            </a:lvl1pPr>
            <a:lvl2pPr>
              <a:defRPr lang="it-IT" sz="1800"/>
            </a:lvl2pPr>
            <a:lvl3pPr>
              <a:defRPr lang="it-IT"/>
            </a:lvl3pPr>
            <a:lvl4pPr>
              <a:defRPr lang="it-IT" sz="1800"/>
            </a:lvl4pPr>
            <a:lvl5pPr>
              <a:defRPr lang="it-IT" sz="1800"/>
            </a:lvl5pPr>
          </a:lstStyle>
          <a:p>
            <a:pPr marL="0" lvl="0"/>
            <a:r>
              <a:rPr lang="it-IT"/>
              <a:t>Fare clic per modificare gli stili del testo dello schema</a:t>
            </a:r>
          </a:p>
        </p:txBody>
      </p:sp>
      <p:cxnSp>
        <p:nvCxnSpPr>
          <p:cNvPr id="9" name="Connettore 1 8"/>
          <p:cNvCxnSpPr/>
          <p:nvPr userDrawn="1"/>
        </p:nvCxnSpPr>
        <p:spPr>
          <a:xfrm>
            <a:off x="0" y="627534"/>
            <a:ext cx="9144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588587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Slide testuale only">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175209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6" name="think-cell Slide" r:id="rId5" imgW="352" imgH="355" progId="TCLayout.ActiveDocument.1">
                  <p:embed/>
                </p:oleObj>
              </mc:Choice>
              <mc:Fallback>
                <p:oleObj name="think-cell Slide" r:id="rId5" imgW="352" imgH="355"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p:cNvSpPr/>
          <p:nvPr userDrawn="1">
            <p:custDataLst>
              <p:tags r:id="rId3"/>
            </p:custDataLst>
          </p:nvPr>
        </p:nvSpPr>
        <p:spPr>
          <a:xfrm>
            <a:off x="0" y="0"/>
            <a:ext cx="158750" cy="15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1800" b="1" i="0" baseline="0" dirty="0" err="1">
              <a:latin typeface="Arial" panose="020B0604020202020204" pitchFamily="34" charset="0"/>
              <a:ea typeface="+mn-ea"/>
              <a:cs typeface="+mn-cs"/>
              <a:sym typeface="Arial" panose="020B0604020202020204" pitchFamily="34" charset="0"/>
            </a:endParaRPr>
          </a:p>
        </p:txBody>
      </p:sp>
      <p:sp>
        <p:nvSpPr>
          <p:cNvPr id="6" name="Title 5"/>
          <p:cNvSpPr>
            <a:spLocks noGrp="1"/>
          </p:cNvSpPr>
          <p:nvPr>
            <p:ph type="title"/>
          </p:nvPr>
        </p:nvSpPr>
        <p:spPr>
          <a:xfrm>
            <a:off x="250825" y="268288"/>
            <a:ext cx="8642350" cy="287337"/>
          </a:xfrm>
        </p:spPr>
        <p:txBody>
          <a:bodyPr vert="horz" lIns="0" tIns="0" rIns="0" bIns="0" rtlCol="0" anchor="t" anchorCtr="0">
            <a:noAutofit/>
          </a:bodyPr>
          <a:lstStyle>
            <a:lvl1pPr>
              <a:defRPr lang="en-US" sz="1800" b="1" dirty="0">
                <a:solidFill>
                  <a:srgbClr val="415064"/>
                </a:solidFill>
                <a:latin typeface="+mn-lt"/>
                <a:ea typeface="+mn-ea"/>
                <a:cs typeface="+mn-cs"/>
                <a:sym typeface="+mn-lt"/>
              </a:defRPr>
            </a:lvl1pPr>
          </a:lstStyle>
          <a:p>
            <a:pPr marL="0" lvl="0" indent="0">
              <a:spcBef>
                <a:spcPts val="750"/>
              </a:spcBef>
              <a:buFont typeface="Arial" panose="020B0604020202020204" pitchFamily="34" charset="0"/>
            </a:pPr>
            <a:r>
              <a:rPr lang="en-US" dirty="0"/>
              <a:t>Click to edit Master title style</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8383604" y="4788568"/>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mn-lt"/>
              <a:ea typeface="+mn-ea"/>
              <a:cs typeface="+mn-cs"/>
              <a:sym typeface="+mn-lt"/>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8667549" y="4827069"/>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mn-lt"/>
              <a:ea typeface="+mn-ea"/>
              <a:cs typeface="+mn-cs"/>
              <a:sym typeface="+mn-lt"/>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8744552" y="4822257"/>
            <a:ext cx="0" cy="0"/>
          </a:xfrm>
          <a:prstGeom prst="rect">
            <a:avLst/>
          </a:prstGeom>
        </p:spPr>
        <p:txBody>
          <a:bodyPr vert="horz" wrap="none" lIns="91440" tIns="45720" rIns="91440" bIns="45720" rtlCol="0" anchor="b">
            <a:normAutofit fontScale="25000" lnSpcReduction="20000"/>
          </a:bodyPr>
          <a:lstStyle/>
          <a:p>
            <a:pPr algn="l"/>
            <a:endParaRPr lang="it-IT" b="0" i="0" dirty="0">
              <a:latin typeface="+mn-lt"/>
              <a:ea typeface="+mn-ea"/>
              <a:cs typeface="+mn-cs"/>
              <a:sym typeface="+mn-lt"/>
            </a:endParaRPr>
          </a:p>
        </p:txBody>
      </p:sp>
      <p:pic>
        <p:nvPicPr>
          <p:cNvPr id="10" name="Immagine 9">
            <a:extLst>
              <a:ext uri="{FF2B5EF4-FFF2-40B4-BE49-F238E27FC236}">
                <a16:creationId xmlns:a16="http://schemas.microsoft.com/office/drawing/2014/main" id="{B3B8B26B-B65D-4A46-B19C-482A56DD016C}"/>
              </a:ext>
            </a:extLst>
          </p:cNvPr>
          <p:cNvPicPr>
            <a:picLocks noChangeAspect="1"/>
          </p:cNvPicPr>
          <p:nvPr userDrawn="1"/>
        </p:nvPicPr>
        <p:blipFill>
          <a:blip r:embed="rId7"/>
          <a:stretch>
            <a:fillRect/>
          </a:stretch>
        </p:blipFill>
        <p:spPr>
          <a:xfrm>
            <a:off x="8502859" y="4695547"/>
            <a:ext cx="390316" cy="216096"/>
          </a:xfrm>
          <a:prstGeom prst="rect">
            <a:avLst/>
          </a:prstGeom>
        </p:spPr>
      </p:pic>
      <p:sp>
        <p:nvSpPr>
          <p:cNvPr id="12" name="TextBox 11"/>
          <p:cNvSpPr txBox="1"/>
          <p:nvPr userDrawn="1"/>
        </p:nvSpPr>
        <p:spPr>
          <a:xfrm>
            <a:off x="250825" y="4723393"/>
            <a:ext cx="1008062" cy="183687"/>
          </a:xfrm>
          <a:prstGeom prst="rect">
            <a:avLst/>
          </a:prstGeom>
        </p:spPr>
        <p:txBody>
          <a:bodyPr vert="horz" lIns="0" tIns="0" rIns="0" bIns="0" rtlCol="0" anchor="b" anchorCtr="0"/>
          <a:lstStyle>
            <a:defPPr>
              <a:defRPr lang="it-IT"/>
            </a:defPPr>
            <a:lvl1pPr>
              <a:defRPr sz="800" b="0" i="0">
                <a:solidFill>
                  <a:srgbClr val="415064"/>
                </a:solidFill>
                <a:sym typeface="+mn-lt"/>
              </a:defRPr>
            </a:lvl1pPr>
          </a:lstStyle>
          <a:p>
            <a:pPr lvl="0"/>
            <a:fld id="{DFCF27A5-1A5B-48D3-A060-2758FFBB1ADD}" type="slidenum">
              <a:rPr lang="en-US" smtClean="0">
                <a:latin typeface="+mn-lt"/>
                <a:ea typeface="+mn-ea"/>
                <a:cs typeface="+mn-cs"/>
                <a:sym typeface="+mn-lt"/>
              </a:rPr>
              <a:pPr lvl="0"/>
              <a:t>‹N›</a:t>
            </a:fld>
            <a:endParaRPr lang="en-US" dirty="0">
              <a:latin typeface="+mn-lt"/>
              <a:ea typeface="+mn-ea"/>
              <a:cs typeface="+mn-cs"/>
              <a:sym typeface="+mn-lt"/>
            </a:endParaRPr>
          </a:p>
        </p:txBody>
      </p:sp>
    </p:spTree>
    <p:extLst>
      <p:ext uri="{BB962C8B-B14F-4D97-AF65-F5344CB8AC3E}">
        <p14:creationId xmlns:p14="http://schemas.microsoft.com/office/powerpoint/2010/main" val="1936404565"/>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3" Type="http://schemas.openxmlformats.org/officeDocument/2006/relationships/theme" Target="../theme/theme2.xml"/><Relationship Id="rId21" Type="http://schemas.openxmlformats.org/officeDocument/2006/relationships/tags" Target="../tags/tag23.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 Type="http://schemas.openxmlformats.org/officeDocument/2006/relationships/slideLayout" Target="../slideLayouts/slideLayout11.xml"/><Relationship Id="rId16" Type="http://schemas.openxmlformats.org/officeDocument/2006/relationships/tags" Target="../tags/tag18.xml"/><Relationship Id="rId20" Type="http://schemas.openxmlformats.org/officeDocument/2006/relationships/tags" Target="../tags/tag22.xml"/><Relationship Id="rId1" Type="http://schemas.openxmlformats.org/officeDocument/2006/relationships/slideLayout" Target="../slideLayouts/slideLayout10.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image" Target="../media/image5.png"/><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image" Target="../media/image4.emf"/><Relationship Id="rId10" Type="http://schemas.openxmlformats.org/officeDocument/2006/relationships/tags" Target="../tags/tag12.xml"/><Relationship Id="rId19" Type="http://schemas.openxmlformats.org/officeDocument/2006/relationships/tags" Target="../tags/tag21.xml"/><Relationship Id="rId4" Type="http://schemas.openxmlformats.org/officeDocument/2006/relationships/vmlDrawing" Target="../drawings/vmlDrawing4.v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ggetto 4" hidden="1"/>
          <p:cNvGraphicFramePr>
            <a:graphicFrameLocks noChangeAspect="1"/>
          </p:cNvGraphicFramePr>
          <p:nvPr userDrawn="1">
            <p:custDataLst>
              <p:tags r:id="rId12"/>
            </p:custDataLst>
            <p:extLst>
              <p:ext uri="{D42A27DB-BD31-4B8C-83A1-F6EECF244321}">
                <p14:modId xmlns:p14="http://schemas.microsoft.com/office/powerpoint/2010/main" val="2311174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530" name="Diapositiva think-cell" r:id="rId14" imgW="270" imgH="270" progId="TCLayout.ActiveDocument.1">
                  <p:embed/>
                </p:oleObj>
              </mc:Choice>
              <mc:Fallback>
                <p:oleObj name="Diapositiva think-cell" r:id="rId14" imgW="270" imgH="27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Rettangolo 3" hidden="1"/>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it-IT" sz="33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1346858479"/>
      </p:ext>
    </p:extLst>
  </p:cSld>
  <p:clrMap bg1="lt1" tx1="dk1" bg2="lt2" tx2="dk2" accent1="accent1" accent2="accent2" accent3="accent3" accent4="accent4" accent5="accent5" accent6="accent6" hlink="hlink" folHlink="folHlink"/>
  <p:sldLayoutIdLst>
    <p:sldLayoutId id="2147483700" r:id="rId1"/>
    <p:sldLayoutId id="2147483693" r:id="rId2"/>
    <p:sldLayoutId id="2147483694" r:id="rId3"/>
    <p:sldLayoutId id="2147483698" r:id="rId4"/>
    <p:sldLayoutId id="2147483696" r:id="rId5"/>
    <p:sldLayoutId id="2147483699" r:id="rId6"/>
    <p:sldLayoutId id="2147483695" r:id="rId7"/>
    <p:sldLayoutId id="2147483704" r:id="rId8"/>
    <p:sldLayoutId id="2147483705" r:id="rId9"/>
  </p:sldLayoutIdLst>
  <p:hf hdr="0" ftr="0"/>
  <p:txStyles>
    <p:titleStyle>
      <a:lvl1pPr algn="l" defTabSz="685800" rtl="0" eaLnBrk="1" latinLnBrk="0" hangingPunct="1">
        <a:lnSpc>
          <a:spcPct val="90000"/>
        </a:lnSpc>
        <a:spcBef>
          <a:spcPct val="0"/>
        </a:spcBef>
        <a:buNone/>
        <a:defRPr sz="33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0" i="0" kern="1200">
          <a:solidFill>
            <a:schemeClr val="tx1"/>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spid="_x0000_s31145" name="Diapositiva think-cell" r:id="rId22" imgW="270" imgH="270" progId="TCLayout.ActiveDocument.1">
                  <p:embed/>
                </p:oleObj>
              </mc:Choice>
              <mc:Fallback>
                <p:oleObj name="Diapositiva think-cell" r:id="rId22" imgW="270" imgH="270" progId="TCLayout.ActiveDocument.1">
                  <p:embed/>
                  <p:pic>
                    <p:nvPicPr>
                      <p:cNvPr id="2" name="Object 1" hidden="1"/>
                      <p:cNvPicPr/>
                      <p:nvPr/>
                    </p:nvPicPr>
                    <p:blipFill>
                      <a:blip r:embed="rId23"/>
                      <a:stretch>
                        <a:fillRect/>
                      </a:stretch>
                    </p:blipFill>
                    <p:spPr>
                      <a:xfrm>
                        <a:off x="0" y="0"/>
                        <a:ext cx="161984" cy="121481"/>
                      </a:xfrm>
                      <a:prstGeom prst="rect">
                        <a:avLst/>
                      </a:prstGeom>
                    </p:spPr>
                  </p:pic>
                </p:oleObj>
              </mc:Fallback>
            </mc:AlternateContent>
          </a:graphicData>
        </a:graphic>
      </p:graphicFrame>
      <p:sp>
        <p:nvSpPr>
          <p:cNvPr id="6" name="Rectangle 5" hidden="1"/>
          <p:cNvSpPr/>
          <p:nvPr>
            <p:custDataLst>
              <p:tags r:id="rId6"/>
            </p:custDataLst>
          </p:nvPr>
        </p:nvSpPr>
        <p:spPr bwMode="auto">
          <a:xfrm>
            <a:off x="0" y="0"/>
            <a:ext cx="161984" cy="121481"/>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it-IT" sz="1632"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033" name="doc id" hidden="1"/>
          <p:cNvSpPr>
            <a:spLocks noChangeArrowheads="1"/>
          </p:cNvSpPr>
          <p:nvPr/>
        </p:nvSpPr>
        <p:spPr bwMode="gray">
          <a:xfrm flipH="1">
            <a:off x="7993502" y="38876"/>
            <a:ext cx="923672"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42"/>
            <a:endParaRPr lang="it-IT" sz="459" baseline="0" noProof="0" dirty="0">
              <a:solidFill>
                <a:schemeClr val="accent6"/>
              </a:solidFill>
              <a:latin typeface="+mn-lt"/>
              <a:ea typeface="+mn-ea"/>
            </a:endParaRPr>
          </a:p>
        </p:txBody>
      </p:sp>
      <p:sp>
        <p:nvSpPr>
          <p:cNvPr id="1034" name="Working Draft" hidden="1"/>
          <p:cNvSpPr txBox="1">
            <a:spLocks noChangeArrowheads="1"/>
          </p:cNvSpPr>
          <p:nvPr/>
        </p:nvSpPr>
        <p:spPr bwMode="gray">
          <a:xfrm rot="5400000">
            <a:off x="8324926" y="1485004"/>
            <a:ext cx="1495602"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459" baseline="0" noProof="0">
                <a:solidFill>
                  <a:schemeClr val="accent6"/>
                </a:solidFill>
                <a:latin typeface="+mn-lt"/>
                <a:ea typeface="+mn-ea"/>
              </a:rPr>
              <a:t>Last Modified 01/12/2018 19:02 W. Europe Standard Time</a:t>
            </a:r>
            <a:endParaRPr lang="it-IT" sz="459" baseline="0" noProof="0" dirty="0">
              <a:solidFill>
                <a:schemeClr val="accent6"/>
              </a:solidFill>
              <a:latin typeface="+mn-lt"/>
              <a:ea typeface="+mn-ea"/>
            </a:endParaRPr>
          </a:p>
        </p:txBody>
      </p:sp>
      <p:sp>
        <p:nvSpPr>
          <p:cNvPr id="1035" name="Printed" hidden="1"/>
          <p:cNvSpPr txBox="1">
            <a:spLocks noChangeArrowheads="1"/>
          </p:cNvSpPr>
          <p:nvPr/>
        </p:nvSpPr>
        <p:spPr bwMode="gray">
          <a:xfrm rot="5400000">
            <a:off x="8405878" y="3148490"/>
            <a:ext cx="1333698"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0" hangingPunct="1">
              <a:defRPr/>
            </a:pPr>
            <a:r>
              <a:rPr lang="en-US" sz="459" baseline="0" noProof="0">
                <a:solidFill>
                  <a:schemeClr val="accent6"/>
                </a:solidFill>
                <a:latin typeface="+mn-lt"/>
                <a:ea typeface="+mn-ea"/>
              </a:rPr>
              <a:t>Printed 27/11/2018 15:48 W. Europe Standard Time</a:t>
            </a:r>
            <a:endParaRPr lang="it-IT" sz="459" baseline="0" noProof="0" dirty="0">
              <a:solidFill>
                <a:schemeClr val="accent6"/>
              </a:solidFill>
              <a:latin typeface="+mn-lt"/>
              <a:ea typeface="+mn-ea"/>
            </a:endParaRPr>
          </a:p>
        </p:txBody>
      </p:sp>
      <p:sp>
        <p:nvSpPr>
          <p:cNvPr id="19" name="Title Placeholder 2"/>
          <p:cNvSpPr>
            <a:spLocks noGrp="1" noChangeArrowheads="1"/>
          </p:cNvSpPr>
          <p:nvPr>
            <p:ph type="title"/>
          </p:nvPr>
        </p:nvSpPr>
        <p:spPr bwMode="gray">
          <a:xfrm>
            <a:off x="255684" y="186670"/>
            <a:ext cx="864177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it-IT" noProof="0" dirty="0"/>
          </a:p>
        </p:txBody>
      </p:sp>
      <p:sp>
        <p:nvSpPr>
          <p:cNvPr id="10" name="1. On-page tracker" hidden="1"/>
          <p:cNvSpPr>
            <a:spLocks noChangeArrowheads="1"/>
          </p:cNvSpPr>
          <p:nvPr/>
        </p:nvSpPr>
        <p:spPr bwMode="gray">
          <a:xfrm>
            <a:off x="255684" y="57977"/>
            <a:ext cx="37510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it-IT" sz="612" cap="all" baseline="0" noProof="0" dirty="0">
                <a:solidFill>
                  <a:schemeClr val="accent6"/>
                </a:solidFill>
                <a:latin typeface="+mn-lt"/>
                <a:ea typeface="+mn-ea"/>
              </a:rPr>
              <a:t>Tracker</a:t>
            </a:r>
          </a:p>
        </p:txBody>
      </p:sp>
      <p:sp>
        <p:nvSpPr>
          <p:cNvPr id="11" name="3. Unit of measure" hidden="1"/>
          <p:cNvSpPr txBox="1">
            <a:spLocks noChangeArrowheads="1"/>
          </p:cNvSpPr>
          <p:nvPr/>
        </p:nvSpPr>
        <p:spPr bwMode="gray">
          <a:xfrm>
            <a:off x="255684" y="519323"/>
            <a:ext cx="8641775" cy="1895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it-IT" sz="1200" baseline="0" noProof="0">
                <a:solidFill>
                  <a:srgbClr val="747474"/>
                </a:solidFill>
                <a:latin typeface="+mn-lt"/>
                <a:ea typeface="+mn-ea"/>
              </a:rPr>
              <a:t>Subtitle</a:t>
            </a:r>
            <a:endParaRPr lang="it-IT" sz="1200" baseline="0" noProof="0" dirty="0">
              <a:solidFill>
                <a:srgbClr val="747474"/>
              </a:solidFill>
              <a:latin typeface="+mn-lt"/>
              <a:ea typeface="+mn-ea"/>
            </a:endParaRPr>
          </a:p>
        </p:txBody>
      </p:sp>
      <p:sp>
        <p:nvSpPr>
          <p:cNvPr id="13" name="4. Footnote" hidden="1"/>
          <p:cNvSpPr txBox="1">
            <a:spLocks noChangeArrowheads="1"/>
          </p:cNvSpPr>
          <p:nvPr/>
        </p:nvSpPr>
        <p:spPr bwMode="gray">
          <a:xfrm>
            <a:off x="962737" y="4803858"/>
            <a:ext cx="795724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65597" indent="-65597">
              <a:defRPr/>
            </a:pPr>
            <a:r>
              <a:rPr lang="it-IT" sz="800" baseline="0" noProof="0" dirty="0">
                <a:solidFill>
                  <a:srgbClr val="747474"/>
                </a:solidFill>
                <a:latin typeface="+mn-lt"/>
                <a:ea typeface="+mn-ea"/>
              </a:rPr>
              <a:t>1 Footnote</a:t>
            </a:r>
          </a:p>
        </p:txBody>
      </p:sp>
      <p:sp>
        <p:nvSpPr>
          <p:cNvPr id="14" name="5. Source" hidden="1"/>
          <p:cNvSpPr>
            <a:spLocks noChangeArrowheads="1"/>
          </p:cNvSpPr>
          <p:nvPr/>
        </p:nvSpPr>
        <p:spPr bwMode="gray">
          <a:xfrm>
            <a:off x="962737" y="4951448"/>
            <a:ext cx="761649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77789" indent="-377789" defTabSz="913542">
              <a:tabLst/>
            </a:pPr>
            <a:r>
              <a:rPr lang="it-IT" sz="800" baseline="0" noProof="0" dirty="0">
                <a:solidFill>
                  <a:srgbClr val="747474"/>
                </a:solidFill>
                <a:latin typeface="+mn-lt"/>
                <a:ea typeface="+mn-ea"/>
              </a:rPr>
              <a:t>FONTE: Fonte</a:t>
            </a:r>
          </a:p>
        </p:txBody>
      </p:sp>
      <p:grpSp>
        <p:nvGrpSpPr>
          <p:cNvPr id="15" name="ACET" hidden="1"/>
          <p:cNvGrpSpPr>
            <a:grpSpLocks/>
          </p:cNvGrpSpPr>
          <p:nvPr/>
        </p:nvGrpSpPr>
        <p:grpSpPr bwMode="gray">
          <a:xfrm>
            <a:off x="1482155" y="956403"/>
            <a:ext cx="4350891" cy="394814"/>
            <a:chOff x="915" y="705"/>
            <a:chExt cx="2686" cy="32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5"/>
              <a:ext cx="2686" cy="32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it-IT" sz="1224" b="1" baseline="0" noProof="0" dirty="0">
                  <a:latin typeface="+mn-lt"/>
                  <a:ea typeface="+mn-ea"/>
                </a:rPr>
                <a:t>Titolo</a:t>
              </a:r>
            </a:p>
            <a:p>
              <a:r>
                <a:rPr lang="it-IT" sz="1224" baseline="0" noProof="0" dirty="0">
                  <a:solidFill>
                    <a:schemeClr val="accent6"/>
                  </a:solidFill>
                  <a:latin typeface="+mn-lt"/>
                  <a:ea typeface="+mn-ea"/>
                </a:rPr>
                <a:t>Unit of measure</a:t>
              </a:r>
            </a:p>
          </p:txBody>
        </p:sp>
      </p:grpSp>
      <p:grpSp>
        <p:nvGrpSpPr>
          <p:cNvPr id="17" name="Sticker" hidden="1"/>
          <p:cNvGrpSpPr/>
          <p:nvPr/>
        </p:nvGrpSpPr>
        <p:grpSpPr bwMode="gray">
          <a:xfrm>
            <a:off x="8546458" y="218666"/>
            <a:ext cx="369140" cy="121893"/>
            <a:chOff x="8379005" y="285750"/>
            <a:chExt cx="361770" cy="159288"/>
          </a:xfrm>
        </p:grpSpPr>
        <p:sp>
          <p:nvSpPr>
            <p:cNvPr id="20" name="StickerRectangle"/>
            <p:cNvSpPr>
              <a:spLocks noChangeArrowheads="1"/>
            </p:cNvSpPr>
            <p:nvPr/>
          </p:nvSpPr>
          <p:spPr bwMode="gray">
            <a:xfrm>
              <a:off x="8379005" y="285750"/>
              <a:ext cx="361770" cy="15928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42">
                <a:buClr>
                  <a:schemeClr val="tx2"/>
                </a:buClr>
              </a:pPr>
              <a:r>
                <a:rPr lang="it-IT" sz="612"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9005" y="285750"/>
              <a:ext cx="0" cy="15928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9005" y="445038"/>
              <a:ext cx="36177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p:nvGrpSpPr>
        <p:grpSpPr bwMode="gray">
          <a:xfrm>
            <a:off x="8331141" y="213807"/>
            <a:ext cx="588711" cy="763239"/>
            <a:chOff x="7835905" y="279400"/>
            <a:chExt cx="769311" cy="997394"/>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sz="937" baseline="0" dirty="0">
                <a:latin typeface="+mn-lt"/>
                <a:ea typeface="+mn-ea"/>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sz="937" baseline="0" dirty="0">
                <a:latin typeface="+mn-lt"/>
                <a:ea typeface="+mn-ea"/>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sz="937" baseline="0" dirty="0">
                <a:latin typeface="+mn-lt"/>
                <a:ea typeface="+mn-ea"/>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sz="937" baseline="0" dirty="0">
                <a:latin typeface="+mn-lt"/>
                <a:ea typeface="+mn-ea"/>
              </a:endParaRPr>
            </a:p>
          </p:txBody>
        </p:sp>
        <p:sp>
          <p:nvSpPr>
            <p:cNvPr id="28" name="Legend1"/>
            <p:cNvSpPr>
              <a:spLocks noChangeArrowheads="1"/>
            </p:cNvSpPr>
            <p:nvPr/>
          </p:nvSpPr>
          <p:spPr bwMode="gray">
            <a:xfrm>
              <a:off x="8089905" y="279400"/>
              <a:ext cx="515311"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chemeClr val="tx2"/>
                </a:buClr>
              </a:pPr>
              <a:r>
                <a:rPr lang="it-IT" sz="918" baseline="0" dirty="0">
                  <a:latin typeface="+mn-lt"/>
                  <a:ea typeface="+mn-ea"/>
                </a:rPr>
                <a:t>Legend</a:t>
              </a:r>
            </a:p>
          </p:txBody>
        </p:sp>
        <p:sp>
          <p:nvSpPr>
            <p:cNvPr id="29" name="Legend2"/>
            <p:cNvSpPr>
              <a:spLocks noChangeArrowheads="1"/>
            </p:cNvSpPr>
            <p:nvPr/>
          </p:nvSpPr>
          <p:spPr bwMode="gray">
            <a:xfrm>
              <a:off x="8089905" y="549274"/>
              <a:ext cx="515311"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chemeClr val="tx2"/>
                </a:buClr>
              </a:pPr>
              <a:r>
                <a:rPr lang="it-IT" sz="918" baseline="0" dirty="0">
                  <a:latin typeface="+mn-lt"/>
                  <a:ea typeface="+mn-ea"/>
                </a:rPr>
                <a:t>Legend</a:t>
              </a:r>
            </a:p>
          </p:txBody>
        </p:sp>
        <p:sp>
          <p:nvSpPr>
            <p:cNvPr id="30" name="Legend3"/>
            <p:cNvSpPr>
              <a:spLocks noChangeArrowheads="1"/>
            </p:cNvSpPr>
            <p:nvPr/>
          </p:nvSpPr>
          <p:spPr bwMode="gray">
            <a:xfrm>
              <a:off x="8089905" y="820738"/>
              <a:ext cx="515311"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chemeClr val="tx2"/>
                </a:buClr>
              </a:pPr>
              <a:r>
                <a:rPr lang="it-IT" sz="918" baseline="0" dirty="0">
                  <a:latin typeface="+mn-lt"/>
                  <a:ea typeface="+mn-ea"/>
                </a:rPr>
                <a:t>Legend</a:t>
              </a:r>
            </a:p>
          </p:txBody>
        </p:sp>
        <p:sp>
          <p:nvSpPr>
            <p:cNvPr id="31" name="Legend4"/>
            <p:cNvSpPr>
              <a:spLocks noChangeArrowheads="1"/>
            </p:cNvSpPr>
            <p:nvPr/>
          </p:nvSpPr>
          <p:spPr bwMode="gray">
            <a:xfrm>
              <a:off x="8089905" y="1092201"/>
              <a:ext cx="515311"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chemeClr val="tx2"/>
                </a:buClr>
              </a:pPr>
              <a:r>
                <a:rPr lang="it-IT" sz="918" baseline="0" dirty="0">
                  <a:latin typeface="+mn-lt"/>
                  <a:ea typeface="+mn-ea"/>
                </a:rPr>
                <a:t>Legend</a:t>
              </a:r>
            </a:p>
          </p:txBody>
        </p:sp>
      </p:grpSp>
      <p:grpSp>
        <p:nvGrpSpPr>
          <p:cNvPr id="32" name="LegendLines" hidden="1"/>
          <p:cNvGrpSpPr/>
          <p:nvPr/>
        </p:nvGrpSpPr>
        <p:grpSpPr bwMode="gray">
          <a:xfrm>
            <a:off x="8095597" y="213806"/>
            <a:ext cx="824388" cy="559152"/>
            <a:chOff x="7540629" y="279400"/>
            <a:chExt cx="1077285" cy="730694"/>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it-IT" sz="937" baseline="0" dirty="0">
                <a:latin typeface="+mn-lt"/>
                <a:ea typeface="+mn-ea"/>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it-IT" sz="937" baseline="0" dirty="0">
                <a:latin typeface="+mn-lt"/>
                <a:ea typeface="+mn-ea"/>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it-IT" sz="937" baseline="0" dirty="0">
                <a:latin typeface="+mn-lt"/>
                <a:ea typeface="+mn-ea"/>
              </a:endParaRPr>
            </a:p>
          </p:txBody>
        </p:sp>
        <p:sp>
          <p:nvSpPr>
            <p:cNvPr id="36" name="Legend1"/>
            <p:cNvSpPr>
              <a:spLocks noChangeArrowheads="1"/>
            </p:cNvSpPr>
            <p:nvPr/>
          </p:nvSpPr>
          <p:spPr bwMode="gray">
            <a:xfrm>
              <a:off x="8102604" y="279400"/>
              <a:ext cx="515310"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chemeClr val="tx2"/>
                </a:buClr>
              </a:pPr>
              <a:r>
                <a:rPr lang="it-IT" sz="918" baseline="0" dirty="0">
                  <a:latin typeface="+mn-lt"/>
                  <a:ea typeface="+mn-ea"/>
                </a:rPr>
                <a:t>Legend</a:t>
              </a:r>
            </a:p>
          </p:txBody>
        </p:sp>
        <p:sp>
          <p:nvSpPr>
            <p:cNvPr id="37" name="Legend2"/>
            <p:cNvSpPr>
              <a:spLocks noChangeArrowheads="1"/>
            </p:cNvSpPr>
            <p:nvPr/>
          </p:nvSpPr>
          <p:spPr bwMode="gray">
            <a:xfrm>
              <a:off x="8102604" y="546100"/>
              <a:ext cx="515310"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chemeClr val="tx2"/>
                </a:buClr>
              </a:pPr>
              <a:r>
                <a:rPr lang="it-IT" sz="918" baseline="0" dirty="0">
                  <a:latin typeface="+mn-lt"/>
                  <a:ea typeface="+mn-ea"/>
                </a:rPr>
                <a:t>Legend</a:t>
              </a:r>
            </a:p>
          </p:txBody>
        </p:sp>
        <p:sp>
          <p:nvSpPr>
            <p:cNvPr id="38" name="Legend3"/>
            <p:cNvSpPr>
              <a:spLocks noChangeArrowheads="1"/>
            </p:cNvSpPr>
            <p:nvPr/>
          </p:nvSpPr>
          <p:spPr bwMode="gray">
            <a:xfrm>
              <a:off x="8102604" y="825501"/>
              <a:ext cx="515310" cy="184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chemeClr val="tx2"/>
                </a:buClr>
              </a:pPr>
              <a:r>
                <a:rPr lang="it-IT" sz="918" baseline="0" dirty="0">
                  <a:latin typeface="+mn-lt"/>
                  <a:ea typeface="+mn-ea"/>
                </a:rPr>
                <a:t>Legend</a:t>
              </a:r>
            </a:p>
          </p:txBody>
        </p:sp>
      </p:grpSp>
      <p:grpSp>
        <p:nvGrpSpPr>
          <p:cNvPr id="39" name="LegendMoons" hidden="1"/>
          <p:cNvGrpSpPr/>
          <p:nvPr/>
        </p:nvGrpSpPr>
        <p:grpSpPr bwMode="gray">
          <a:xfrm>
            <a:off x="8280118" y="191940"/>
            <a:ext cx="639734" cy="999790"/>
            <a:chOff x="7769225" y="250825"/>
            <a:chExt cx="835986" cy="1306516"/>
          </a:xfrm>
        </p:grpSpPr>
        <p:grpSp>
          <p:nvGrpSpPr>
            <p:cNvPr id="40" name="MoonLegend1"/>
            <p:cNvGrpSpPr>
              <a:grpSpLocks noChangeAspect="1"/>
            </p:cNvGrpSpPr>
            <p:nvPr>
              <p:custDataLst>
                <p:tags r:id="rId7"/>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sz="937" baseline="0" dirty="0">
                  <a:latin typeface="+mn-lt"/>
                  <a:ea typeface="+mn-ea"/>
                </a:endParaRPr>
              </a:p>
            </p:txBody>
          </p:sp>
          <p:sp>
            <p:nvSpPr>
              <p:cNvPr id="59" name="Arc 39"/>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sz="937" baseline="0" dirty="0">
                  <a:latin typeface="+mn-lt"/>
                  <a:ea typeface="+mn-ea"/>
                </a:endParaRPr>
              </a:p>
            </p:txBody>
          </p:sp>
        </p:grpSp>
        <p:grpSp>
          <p:nvGrpSpPr>
            <p:cNvPr id="41" name="MoonLegend2"/>
            <p:cNvGrpSpPr>
              <a:grpSpLocks noChangeAspect="1"/>
            </p:cNvGrpSpPr>
            <p:nvPr>
              <p:custDataLst>
                <p:tags r:id="rId8"/>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sz="937" baseline="0" dirty="0">
                  <a:latin typeface="+mn-lt"/>
                  <a:ea typeface="+mn-ea"/>
                </a:endParaRPr>
              </a:p>
            </p:txBody>
          </p:sp>
          <p:sp>
            <p:nvSpPr>
              <p:cNvPr id="57" name="Arc 42"/>
              <p:cNvSpPr>
                <a:spLocks noChangeAspect="1"/>
              </p:cNvSpPr>
              <p:nvPr>
                <p:custDataLst>
                  <p:tags r:id="rId19"/>
                </p:custDataLst>
              </p:nvPr>
            </p:nvSpPr>
            <p:spPr bwMode="gray">
              <a:xfrm>
                <a:off x="1694" y="2044"/>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sz="937" baseline="0" dirty="0">
                  <a:latin typeface="+mn-lt"/>
                  <a:ea typeface="+mn-ea"/>
                </a:endParaRPr>
              </a:p>
            </p:txBody>
          </p:sp>
        </p:grpSp>
        <p:grpSp>
          <p:nvGrpSpPr>
            <p:cNvPr id="42" name="MoonLegend4"/>
            <p:cNvGrpSpPr>
              <a:grpSpLocks noChangeAspect="1"/>
            </p:cNvGrpSpPr>
            <p:nvPr>
              <p:custDataLst>
                <p:tags r:id="rId9"/>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sz="937" baseline="0" dirty="0">
                  <a:latin typeface="+mn-lt"/>
                  <a:ea typeface="+mn-ea"/>
                </a:endParaRPr>
              </a:p>
            </p:txBody>
          </p:sp>
          <p:sp>
            <p:nvSpPr>
              <p:cNvPr id="55"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sz="937" baseline="0" dirty="0">
                  <a:latin typeface="+mn-lt"/>
                  <a:ea typeface="+mn-ea"/>
                </a:endParaRPr>
              </a:p>
            </p:txBody>
          </p:sp>
        </p:grpSp>
        <p:grpSp>
          <p:nvGrpSpPr>
            <p:cNvPr id="43" name="MoonLegend5"/>
            <p:cNvGrpSpPr>
              <a:grpSpLocks noChangeAspect="1"/>
            </p:cNvGrpSpPr>
            <p:nvPr>
              <p:custDataLst>
                <p:tags r:id="rId10"/>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sz="937" baseline="0" dirty="0">
                  <a:latin typeface="+mn-lt"/>
                  <a:ea typeface="+mn-ea"/>
                </a:endParaRPr>
              </a:p>
            </p:txBody>
          </p:sp>
          <p:sp>
            <p:nvSpPr>
              <p:cNvPr id="53"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sz="937" baseline="0" dirty="0">
                  <a:latin typeface="+mn-lt"/>
                  <a:ea typeface="+mn-ea"/>
                </a:endParaRPr>
              </a:p>
            </p:txBody>
          </p:sp>
        </p:grpSp>
        <p:grpSp>
          <p:nvGrpSpPr>
            <p:cNvPr id="44" name="MoonLegend3"/>
            <p:cNvGrpSpPr>
              <a:grpSpLocks noChangeAspect="1"/>
            </p:cNvGrpSpPr>
            <p:nvPr>
              <p:custDataLst>
                <p:tags r:id="rId11"/>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sz="937" baseline="0" dirty="0">
                  <a:latin typeface="+mn-lt"/>
                  <a:ea typeface="+mn-ea"/>
                </a:endParaRPr>
              </a:p>
            </p:txBody>
          </p:sp>
          <p:sp>
            <p:nvSpPr>
              <p:cNvPr id="51"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it-IT" sz="937" baseline="0" dirty="0">
                  <a:latin typeface="+mn-lt"/>
                  <a:ea typeface="+mn-ea"/>
                </a:endParaRPr>
              </a:p>
            </p:txBody>
          </p:sp>
        </p:grpSp>
        <p:sp>
          <p:nvSpPr>
            <p:cNvPr id="45" name="Legend1"/>
            <p:cNvSpPr>
              <a:spLocks noChangeArrowheads="1"/>
            </p:cNvSpPr>
            <p:nvPr/>
          </p:nvSpPr>
          <p:spPr bwMode="gray">
            <a:xfrm>
              <a:off x="8089900" y="263524"/>
              <a:ext cx="515311" cy="18459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chemeClr val="tx2"/>
                </a:buClr>
              </a:pPr>
              <a:r>
                <a:rPr lang="it-IT" sz="918" baseline="0" dirty="0">
                  <a:latin typeface="+mn-lt"/>
                  <a:ea typeface="+mn-ea"/>
                </a:rPr>
                <a:t>Legend</a:t>
              </a:r>
            </a:p>
          </p:txBody>
        </p:sp>
        <p:sp>
          <p:nvSpPr>
            <p:cNvPr id="46" name="Legend2"/>
            <p:cNvSpPr>
              <a:spLocks noChangeArrowheads="1"/>
            </p:cNvSpPr>
            <p:nvPr/>
          </p:nvSpPr>
          <p:spPr bwMode="gray">
            <a:xfrm>
              <a:off x="8089900" y="538163"/>
              <a:ext cx="515311" cy="18459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chemeClr val="tx2"/>
                </a:buClr>
              </a:pPr>
              <a:r>
                <a:rPr lang="it-IT" sz="918" baseline="0" dirty="0">
                  <a:latin typeface="+mn-lt"/>
                  <a:ea typeface="+mn-ea"/>
                </a:rPr>
                <a:t>Legend</a:t>
              </a:r>
            </a:p>
          </p:txBody>
        </p:sp>
        <p:sp>
          <p:nvSpPr>
            <p:cNvPr id="47" name="Legend3"/>
            <p:cNvSpPr>
              <a:spLocks noChangeArrowheads="1"/>
            </p:cNvSpPr>
            <p:nvPr/>
          </p:nvSpPr>
          <p:spPr bwMode="gray">
            <a:xfrm>
              <a:off x="8089900" y="812802"/>
              <a:ext cx="515311" cy="18459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chemeClr val="tx2"/>
                </a:buClr>
              </a:pPr>
              <a:r>
                <a:rPr lang="it-IT" sz="918" baseline="0" dirty="0">
                  <a:latin typeface="+mn-lt"/>
                  <a:ea typeface="+mn-ea"/>
                </a:rPr>
                <a:t>Legend</a:t>
              </a:r>
            </a:p>
          </p:txBody>
        </p:sp>
        <p:sp>
          <p:nvSpPr>
            <p:cNvPr id="48" name="Legend4"/>
            <p:cNvSpPr>
              <a:spLocks noChangeArrowheads="1"/>
            </p:cNvSpPr>
            <p:nvPr/>
          </p:nvSpPr>
          <p:spPr bwMode="gray">
            <a:xfrm>
              <a:off x="8089900" y="1084265"/>
              <a:ext cx="515311" cy="18459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chemeClr val="tx2"/>
                </a:buClr>
              </a:pPr>
              <a:r>
                <a:rPr lang="it-IT" sz="918" baseline="0" dirty="0">
                  <a:latin typeface="+mn-lt"/>
                  <a:ea typeface="+mn-ea"/>
                </a:rPr>
                <a:t>Legend</a:t>
              </a:r>
            </a:p>
          </p:txBody>
        </p:sp>
        <p:sp>
          <p:nvSpPr>
            <p:cNvPr id="49" name="Legend5"/>
            <p:cNvSpPr>
              <a:spLocks noChangeArrowheads="1"/>
            </p:cNvSpPr>
            <p:nvPr/>
          </p:nvSpPr>
          <p:spPr bwMode="gray">
            <a:xfrm>
              <a:off x="8089900" y="1360490"/>
              <a:ext cx="515311" cy="18459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2">
                <a:buClr>
                  <a:schemeClr val="tx2"/>
                </a:buClr>
              </a:pPr>
              <a:r>
                <a:rPr lang="it-IT" sz="918" baseline="0" dirty="0">
                  <a:latin typeface="+mn-lt"/>
                  <a:ea typeface="+mn-ea"/>
                </a:rPr>
                <a:t>Legend</a:t>
              </a:r>
            </a:p>
          </p:txBody>
        </p:sp>
      </p:grpSp>
      <p:sp>
        <p:nvSpPr>
          <p:cNvPr id="60" name="SlideBottomBar" hidden="1"/>
          <p:cNvSpPr/>
          <p:nvPr/>
        </p:nvSpPr>
        <p:spPr>
          <a:xfrm>
            <a:off x="9002413" y="4979804"/>
            <a:ext cx="34986" cy="9475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937" baseline="0" dirty="0">
              <a:solidFill>
                <a:schemeClr val="tx1"/>
              </a:solidFill>
              <a:latin typeface="+mn-lt"/>
              <a:ea typeface="+mn-ea"/>
            </a:endParaRPr>
          </a:p>
        </p:txBody>
      </p:sp>
      <p:sp>
        <p:nvSpPr>
          <p:cNvPr id="61" name="Text Placeholder 2"/>
          <p:cNvSpPr>
            <a:spLocks noGrp="1"/>
          </p:cNvSpPr>
          <p:nvPr>
            <p:ph type="body" idx="1"/>
          </p:nvPr>
        </p:nvSpPr>
        <p:spPr bwMode="gray">
          <a:xfrm>
            <a:off x="1111568" y="1493262"/>
            <a:ext cx="3292180" cy="1009617"/>
          </a:xfrm>
          <a:prstGeom prst="rect">
            <a:avLst/>
          </a:prstGeom>
        </p:spPr>
        <p:txBody>
          <a:bodyPr vert="horz" lIns="0" tIns="0" rIns="0" bIns="0" rtlCol="0">
            <a:noAutofit/>
          </a:bodyPr>
          <a:lstStyle/>
          <a:p>
            <a:pPr lvl="0" latinLnBrk="0"/>
            <a:r>
              <a:rPr lang="en-US" dirty="0"/>
              <a:t>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endParaRPr lang="it-IT" dirty="0"/>
          </a:p>
        </p:txBody>
      </p:sp>
      <p:cxnSp>
        <p:nvCxnSpPr>
          <p:cNvPr id="62" name="Connettore 1 8">
            <a:extLst>
              <a:ext uri="{FF2B5EF4-FFF2-40B4-BE49-F238E27FC236}">
                <a16:creationId xmlns:a16="http://schemas.microsoft.com/office/drawing/2014/main" id="{9F456C48-5318-4EB7-B395-158438590975}"/>
              </a:ext>
            </a:extLst>
          </p:cNvPr>
          <p:cNvCxnSpPr/>
          <p:nvPr/>
        </p:nvCxnSpPr>
        <p:spPr>
          <a:xfrm>
            <a:off x="0" y="771550"/>
            <a:ext cx="9144000" cy="0"/>
          </a:xfrm>
          <a:prstGeom prst="line">
            <a:avLst/>
          </a:prstGeom>
          <a:ln w="6350" cmpd="sng">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63" name="Immagine 9" descr="CDP_rgb.png">
            <a:extLst>
              <a:ext uri="{FF2B5EF4-FFF2-40B4-BE49-F238E27FC236}">
                <a16:creationId xmlns:a16="http://schemas.microsoft.com/office/drawing/2014/main" id="{4ADC38D1-356A-4C18-B769-6A5559FAD0BA}"/>
              </a:ext>
            </a:extLst>
          </p:cNvPr>
          <p:cNvPicPr>
            <a:picLocks noChangeAspect="1"/>
          </p:cNvPicPr>
          <p:nvPr/>
        </p:nvPicPr>
        <p:blipFill>
          <a:blip r:embed="rId24" cstate="hqprint">
            <a:extLst>
              <a:ext uri="{28A0092B-C50C-407E-A947-70E740481C1C}">
                <a14:useLocalDpi xmlns:a14="http://schemas.microsoft.com/office/drawing/2010/main"/>
              </a:ext>
            </a:extLst>
          </a:blip>
          <a:stretch>
            <a:fillRect/>
          </a:stretch>
        </p:blipFill>
        <p:spPr>
          <a:xfrm>
            <a:off x="276895" y="4743301"/>
            <a:ext cx="645790" cy="333925"/>
          </a:xfrm>
          <a:prstGeom prst="rect">
            <a:avLst/>
          </a:prstGeom>
        </p:spPr>
      </p:pic>
    </p:spTree>
    <p:extLst>
      <p:ext uri="{BB962C8B-B14F-4D97-AF65-F5344CB8AC3E}">
        <p14:creationId xmlns:p14="http://schemas.microsoft.com/office/powerpoint/2010/main" val="1801530063"/>
      </p:ext>
    </p:extLst>
  </p:cSld>
  <p:clrMap bg1="lt1" tx1="dk1" bg2="lt2" tx2="dk2" accent1="accent1" accent2="accent2" accent3="accent3" accent4="accent4" accent5="accent5" accent6="accent6" hlink="hlink" folHlink="folHlink"/>
  <p:sldLayoutIdLst>
    <p:sldLayoutId id="2147483702" r:id="rId1"/>
    <p:sldLayoutId id="2147483703" r:id="rId2"/>
  </p:sldLayoutIdLst>
  <p:txStyles>
    <p:titleStyle>
      <a:lvl1pPr algn="l" defTabSz="913542" rtl="0" eaLnBrk="1" fontAlgn="base" hangingPunct="1">
        <a:spcBef>
          <a:spcPct val="0"/>
        </a:spcBef>
        <a:spcAft>
          <a:spcPct val="0"/>
        </a:spcAft>
        <a:tabLst>
          <a:tab pos="275358" algn="l"/>
        </a:tabLst>
        <a:defRPr sz="1800" b="1" baseline="0">
          <a:solidFill>
            <a:srgbClr val="C90026"/>
          </a:solidFill>
          <a:latin typeface="+mj-lt"/>
          <a:ea typeface="+mj-ea"/>
          <a:cs typeface="+mj-cs"/>
        </a:defRPr>
      </a:lvl1pPr>
      <a:lvl2pPr algn="l" defTabSz="913542" rtl="0" eaLnBrk="1" fontAlgn="base" hangingPunct="1">
        <a:spcBef>
          <a:spcPct val="0"/>
        </a:spcBef>
        <a:spcAft>
          <a:spcPct val="0"/>
        </a:spcAft>
        <a:defRPr sz="1938" b="1">
          <a:solidFill>
            <a:schemeClr val="tx2"/>
          </a:solidFill>
          <a:latin typeface="Arial" charset="0"/>
        </a:defRPr>
      </a:lvl2pPr>
      <a:lvl3pPr algn="l" defTabSz="913542" rtl="0" eaLnBrk="1" fontAlgn="base" hangingPunct="1">
        <a:spcBef>
          <a:spcPct val="0"/>
        </a:spcBef>
        <a:spcAft>
          <a:spcPct val="0"/>
        </a:spcAft>
        <a:defRPr sz="1938" b="1">
          <a:solidFill>
            <a:schemeClr val="tx2"/>
          </a:solidFill>
          <a:latin typeface="Arial" charset="0"/>
        </a:defRPr>
      </a:lvl3pPr>
      <a:lvl4pPr algn="l" defTabSz="913542" rtl="0" eaLnBrk="1" fontAlgn="base" hangingPunct="1">
        <a:spcBef>
          <a:spcPct val="0"/>
        </a:spcBef>
        <a:spcAft>
          <a:spcPct val="0"/>
        </a:spcAft>
        <a:defRPr sz="1938" b="1">
          <a:solidFill>
            <a:schemeClr val="tx2"/>
          </a:solidFill>
          <a:latin typeface="Arial" charset="0"/>
        </a:defRPr>
      </a:lvl4pPr>
      <a:lvl5pPr algn="l" defTabSz="913542" rtl="0" eaLnBrk="1" fontAlgn="base" hangingPunct="1">
        <a:spcBef>
          <a:spcPct val="0"/>
        </a:spcBef>
        <a:spcAft>
          <a:spcPct val="0"/>
        </a:spcAft>
        <a:defRPr sz="1938" b="1">
          <a:solidFill>
            <a:schemeClr val="tx2"/>
          </a:solidFill>
          <a:latin typeface="Arial" charset="0"/>
        </a:defRPr>
      </a:lvl5pPr>
      <a:lvl6pPr marL="466489" algn="l" defTabSz="913542" rtl="0" eaLnBrk="1" fontAlgn="base" hangingPunct="1">
        <a:spcBef>
          <a:spcPct val="0"/>
        </a:spcBef>
        <a:spcAft>
          <a:spcPct val="0"/>
        </a:spcAft>
        <a:defRPr sz="1938" b="1">
          <a:solidFill>
            <a:schemeClr val="tx2"/>
          </a:solidFill>
          <a:latin typeface="Arial" charset="0"/>
        </a:defRPr>
      </a:lvl6pPr>
      <a:lvl7pPr marL="932979" algn="l" defTabSz="913542" rtl="0" eaLnBrk="1" fontAlgn="base" hangingPunct="1">
        <a:spcBef>
          <a:spcPct val="0"/>
        </a:spcBef>
        <a:spcAft>
          <a:spcPct val="0"/>
        </a:spcAft>
        <a:defRPr sz="1938" b="1">
          <a:solidFill>
            <a:schemeClr val="tx2"/>
          </a:solidFill>
          <a:latin typeface="Arial" charset="0"/>
        </a:defRPr>
      </a:lvl7pPr>
      <a:lvl8pPr marL="1399467" algn="l" defTabSz="913542" rtl="0" eaLnBrk="1" fontAlgn="base" hangingPunct="1">
        <a:spcBef>
          <a:spcPct val="0"/>
        </a:spcBef>
        <a:spcAft>
          <a:spcPct val="0"/>
        </a:spcAft>
        <a:defRPr sz="1938" b="1">
          <a:solidFill>
            <a:schemeClr val="tx2"/>
          </a:solidFill>
          <a:latin typeface="Arial" charset="0"/>
        </a:defRPr>
      </a:lvl8pPr>
      <a:lvl9pPr marL="1865957" algn="l" defTabSz="913542" rtl="0" eaLnBrk="1" fontAlgn="base" hangingPunct="1">
        <a:spcBef>
          <a:spcPct val="0"/>
        </a:spcBef>
        <a:spcAft>
          <a:spcPct val="0"/>
        </a:spcAft>
        <a:defRPr sz="1938" b="1">
          <a:solidFill>
            <a:schemeClr val="tx2"/>
          </a:solidFill>
          <a:latin typeface="Arial" charset="0"/>
        </a:defRPr>
      </a:lvl9pPr>
    </p:titleStyle>
    <p:bodyStyle>
      <a:lvl1pPr marL="0" indent="0" algn="l" defTabSz="685122" rtl="0" eaLnBrk="1" fontAlgn="base" latinLnBrk="0" hangingPunct="1">
        <a:spcBef>
          <a:spcPct val="0"/>
        </a:spcBef>
        <a:spcAft>
          <a:spcPct val="0"/>
        </a:spcAft>
        <a:buClr>
          <a:schemeClr val="tx2"/>
        </a:buClr>
        <a:buSzPct val="100000"/>
        <a:defRPr lang="it-IT" sz="1200" baseline="0" dirty="0">
          <a:solidFill>
            <a:srgbClr val="001548"/>
          </a:solidFill>
          <a:latin typeface="+mn-lt"/>
          <a:ea typeface="+mn-ea"/>
          <a:cs typeface="+mn-cs"/>
        </a:defRPr>
      </a:lvl1pPr>
      <a:lvl2pPr marL="148755" indent="-146000" algn="l" defTabSz="685122" rtl="0" eaLnBrk="1" fontAlgn="base" latinLnBrk="0" hangingPunct="1">
        <a:spcBef>
          <a:spcPct val="0"/>
        </a:spcBef>
        <a:spcAft>
          <a:spcPct val="0"/>
        </a:spcAft>
        <a:buClr>
          <a:srgbClr val="001548"/>
        </a:buClr>
        <a:buSzPct val="100000"/>
        <a:buFont typeface="Arial" panose="020B0604020202020204" pitchFamily="34" charset="0"/>
        <a:buChar char="•"/>
        <a:defRPr lang="it-IT" sz="1200" baseline="0" dirty="0">
          <a:solidFill>
            <a:srgbClr val="001548"/>
          </a:solidFill>
          <a:latin typeface="+mn-lt"/>
          <a:ea typeface="+mn-ea"/>
          <a:cs typeface="+mn-cs"/>
        </a:defRPr>
      </a:lvl2pPr>
      <a:lvl3pPr marL="341585" indent="-190076" algn="l" defTabSz="685122" rtl="0" eaLnBrk="1" fontAlgn="base" latinLnBrk="0" hangingPunct="1">
        <a:spcBef>
          <a:spcPct val="0"/>
        </a:spcBef>
        <a:spcAft>
          <a:spcPct val="0"/>
        </a:spcAft>
        <a:buClr>
          <a:srgbClr val="001548"/>
        </a:buClr>
        <a:buSzPct val="100000"/>
        <a:buFont typeface="Arial" panose="020B0604020202020204" pitchFamily="34" charset="0"/>
        <a:buChar char="–"/>
        <a:defRPr lang="it-IT" sz="1200" baseline="0" dirty="0">
          <a:solidFill>
            <a:srgbClr val="001548"/>
          </a:solidFill>
          <a:latin typeface="+mn-lt"/>
          <a:ea typeface="+mn-ea"/>
          <a:cs typeface="+mn-cs"/>
        </a:defRPr>
      </a:lvl3pPr>
      <a:lvl4pPr marL="471057" indent="-118453" algn="l" defTabSz="685122" rtl="0" eaLnBrk="1" fontAlgn="base" latinLnBrk="0" hangingPunct="1">
        <a:spcBef>
          <a:spcPct val="0"/>
        </a:spcBef>
        <a:spcAft>
          <a:spcPct val="0"/>
        </a:spcAft>
        <a:buClr>
          <a:srgbClr val="001548"/>
        </a:buClr>
        <a:buSzPct val="80000"/>
        <a:buFont typeface="Arial" panose="020B0604020202020204" pitchFamily="34" charset="0"/>
        <a:buChar char="•"/>
        <a:defRPr lang="it-IT" sz="1200" baseline="0" dirty="0">
          <a:solidFill>
            <a:srgbClr val="001548"/>
          </a:solidFill>
          <a:latin typeface="+mn-lt"/>
          <a:ea typeface="+mn-ea"/>
          <a:cs typeface="+mn-cs"/>
        </a:defRPr>
      </a:lvl4pPr>
      <a:lvl5pPr marL="572982" indent="-99170" algn="l" defTabSz="685122" rtl="0" eaLnBrk="1" fontAlgn="base" latinLnBrk="0" hangingPunct="1">
        <a:spcBef>
          <a:spcPct val="0"/>
        </a:spcBef>
        <a:spcAft>
          <a:spcPct val="0"/>
        </a:spcAft>
        <a:buClr>
          <a:srgbClr val="001548"/>
        </a:buClr>
        <a:buSzPct val="89000"/>
        <a:buFont typeface="Arial" charset="0"/>
        <a:buChar char="-"/>
        <a:defRPr lang="it-IT" sz="1200" baseline="0" dirty="0">
          <a:solidFill>
            <a:srgbClr val="001548"/>
          </a:solidFill>
          <a:latin typeface="+mn-lt"/>
          <a:ea typeface="+mn-ea"/>
          <a:cs typeface="+mn-cs"/>
        </a:defRPr>
      </a:lvl5pPr>
      <a:lvl6pPr marL="765042" indent="-132820" algn="l" defTabSz="913542"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42" indent="-132820" algn="l" defTabSz="913542"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42" indent="-132820" algn="l" defTabSz="913542"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42" indent="-132820" algn="l" defTabSz="913542"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it-IT"/>
      </a:defPPr>
      <a:lvl1pPr marL="0" algn="l" defTabSz="932979" rtl="0" eaLnBrk="1" latinLnBrk="0" hangingPunct="1">
        <a:defRPr sz="1836" kern="1200">
          <a:solidFill>
            <a:schemeClr val="tx1"/>
          </a:solidFill>
          <a:latin typeface="+mn-lt"/>
          <a:ea typeface="+mn-ea"/>
          <a:cs typeface="+mn-cs"/>
        </a:defRPr>
      </a:lvl1pPr>
      <a:lvl2pPr marL="466489" algn="l" defTabSz="932979" rtl="0" eaLnBrk="1" latinLnBrk="0" hangingPunct="1">
        <a:defRPr sz="1836" kern="1200">
          <a:solidFill>
            <a:schemeClr val="tx1"/>
          </a:solidFill>
          <a:latin typeface="+mn-lt"/>
          <a:ea typeface="+mn-ea"/>
          <a:cs typeface="+mn-cs"/>
        </a:defRPr>
      </a:lvl2pPr>
      <a:lvl3pPr marL="932979" algn="l" defTabSz="932979" rtl="0" eaLnBrk="1" latinLnBrk="0" hangingPunct="1">
        <a:defRPr sz="1836" kern="1200">
          <a:solidFill>
            <a:schemeClr val="tx1"/>
          </a:solidFill>
          <a:latin typeface="+mn-lt"/>
          <a:ea typeface="+mn-ea"/>
          <a:cs typeface="+mn-cs"/>
        </a:defRPr>
      </a:lvl3pPr>
      <a:lvl4pPr marL="1399467" algn="l" defTabSz="932979" rtl="0" eaLnBrk="1" latinLnBrk="0" hangingPunct="1">
        <a:defRPr sz="1836" kern="1200">
          <a:solidFill>
            <a:schemeClr val="tx1"/>
          </a:solidFill>
          <a:latin typeface="+mn-lt"/>
          <a:ea typeface="+mn-ea"/>
          <a:cs typeface="+mn-cs"/>
        </a:defRPr>
      </a:lvl4pPr>
      <a:lvl5pPr marL="1865957" algn="l" defTabSz="932979" rtl="0" eaLnBrk="1" latinLnBrk="0" hangingPunct="1">
        <a:defRPr sz="1836" kern="1200">
          <a:solidFill>
            <a:schemeClr val="tx1"/>
          </a:solidFill>
          <a:latin typeface="+mn-lt"/>
          <a:ea typeface="+mn-ea"/>
          <a:cs typeface="+mn-cs"/>
        </a:defRPr>
      </a:lvl5pPr>
      <a:lvl6pPr marL="2332446" algn="l" defTabSz="932979" rtl="0" eaLnBrk="1" latinLnBrk="0" hangingPunct="1">
        <a:defRPr sz="1836" kern="1200">
          <a:solidFill>
            <a:schemeClr val="tx1"/>
          </a:solidFill>
          <a:latin typeface="+mn-lt"/>
          <a:ea typeface="+mn-ea"/>
          <a:cs typeface="+mn-cs"/>
        </a:defRPr>
      </a:lvl6pPr>
      <a:lvl7pPr marL="2798936" algn="l" defTabSz="932979" rtl="0" eaLnBrk="1" latinLnBrk="0" hangingPunct="1">
        <a:defRPr sz="1836" kern="1200">
          <a:solidFill>
            <a:schemeClr val="tx1"/>
          </a:solidFill>
          <a:latin typeface="+mn-lt"/>
          <a:ea typeface="+mn-ea"/>
          <a:cs typeface="+mn-cs"/>
        </a:defRPr>
      </a:lvl7pPr>
      <a:lvl8pPr marL="3265424" algn="l" defTabSz="932979" rtl="0" eaLnBrk="1" latinLnBrk="0" hangingPunct="1">
        <a:defRPr sz="1836" kern="1200">
          <a:solidFill>
            <a:schemeClr val="tx1"/>
          </a:solidFill>
          <a:latin typeface="+mn-lt"/>
          <a:ea typeface="+mn-ea"/>
          <a:cs typeface="+mn-cs"/>
        </a:defRPr>
      </a:lvl8pPr>
      <a:lvl9pPr marL="3731914" algn="l" defTabSz="932979"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2.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6.xml"/><Relationship Id="rId7" Type="http://schemas.openxmlformats.org/officeDocument/2006/relationships/image" Target="../media/image33.png"/><Relationship Id="rId2" Type="http://schemas.openxmlformats.org/officeDocument/2006/relationships/tags" Target="../tags/tag33.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11.xml"/><Relationship Id="rId9" Type="http://schemas.openxmlformats.org/officeDocument/2006/relationships/image" Target="../media/image35.png"/></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5.xml"/><Relationship Id="rId1" Type="http://schemas.openxmlformats.org/officeDocument/2006/relationships/tags" Target="../tags/tag34.xml"/></Relationships>
</file>

<file path=ppt/slides/_rels/slide14.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5.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png"/></Relationships>
</file>

<file path=ppt/slides/_rels/slide15.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openxmlformats.org/officeDocument/2006/relationships/image" Target="../media/image56.png"/><Relationship Id="rId26" Type="http://schemas.openxmlformats.org/officeDocument/2006/relationships/image" Target="../media/image64.png"/><Relationship Id="rId3" Type="http://schemas.openxmlformats.org/officeDocument/2006/relationships/tags" Target="../tags/tag37.xml"/><Relationship Id="rId21" Type="http://schemas.openxmlformats.org/officeDocument/2006/relationships/image" Target="../media/image59.png"/><Relationship Id="rId34" Type="http://schemas.openxmlformats.org/officeDocument/2006/relationships/image" Target="../media/image72.png"/><Relationship Id="rId7" Type="http://schemas.openxmlformats.org/officeDocument/2006/relationships/image" Target="../media/image45.emf"/><Relationship Id="rId12" Type="http://schemas.openxmlformats.org/officeDocument/2006/relationships/image" Target="../media/image50.png"/><Relationship Id="rId17" Type="http://schemas.openxmlformats.org/officeDocument/2006/relationships/image" Target="../media/image55.png"/><Relationship Id="rId25" Type="http://schemas.openxmlformats.org/officeDocument/2006/relationships/image" Target="../media/image63.png"/><Relationship Id="rId33" Type="http://schemas.openxmlformats.org/officeDocument/2006/relationships/image" Target="../media/image71.png"/><Relationship Id="rId2" Type="http://schemas.openxmlformats.org/officeDocument/2006/relationships/tags" Target="../tags/tag36.xml"/><Relationship Id="rId16" Type="http://schemas.openxmlformats.org/officeDocument/2006/relationships/image" Target="../media/image54.png"/><Relationship Id="rId20" Type="http://schemas.openxmlformats.org/officeDocument/2006/relationships/image" Target="../media/image58.png"/><Relationship Id="rId29" Type="http://schemas.openxmlformats.org/officeDocument/2006/relationships/image" Target="../media/image67.png"/><Relationship Id="rId1" Type="http://schemas.openxmlformats.org/officeDocument/2006/relationships/vmlDrawing" Target="../drawings/vmlDrawing12.vml"/><Relationship Id="rId6" Type="http://schemas.openxmlformats.org/officeDocument/2006/relationships/oleObject" Target="../embeddings/oleObject10.bin"/><Relationship Id="rId11" Type="http://schemas.openxmlformats.org/officeDocument/2006/relationships/image" Target="../media/image49.png"/><Relationship Id="rId24" Type="http://schemas.openxmlformats.org/officeDocument/2006/relationships/image" Target="../media/image62.png"/><Relationship Id="rId32" Type="http://schemas.openxmlformats.org/officeDocument/2006/relationships/image" Target="../media/image70.png"/><Relationship Id="rId5" Type="http://schemas.openxmlformats.org/officeDocument/2006/relationships/notesSlide" Target="../notesSlides/notesSlide13.xml"/><Relationship Id="rId15" Type="http://schemas.openxmlformats.org/officeDocument/2006/relationships/image" Target="../media/image53.png"/><Relationship Id="rId23" Type="http://schemas.openxmlformats.org/officeDocument/2006/relationships/image" Target="../media/image61.png"/><Relationship Id="rId28" Type="http://schemas.openxmlformats.org/officeDocument/2006/relationships/image" Target="../media/image66.png"/><Relationship Id="rId10" Type="http://schemas.openxmlformats.org/officeDocument/2006/relationships/image" Target="../media/image48.png"/><Relationship Id="rId19" Type="http://schemas.openxmlformats.org/officeDocument/2006/relationships/image" Target="../media/image57.png"/><Relationship Id="rId31" Type="http://schemas.openxmlformats.org/officeDocument/2006/relationships/image" Target="../media/image69.png"/><Relationship Id="rId4" Type="http://schemas.openxmlformats.org/officeDocument/2006/relationships/slideLayout" Target="../slideLayouts/slideLayout9.xml"/><Relationship Id="rId9" Type="http://schemas.openxmlformats.org/officeDocument/2006/relationships/image" Target="../media/image47.png"/><Relationship Id="rId14" Type="http://schemas.openxmlformats.org/officeDocument/2006/relationships/image" Target="../media/image52.jpg"/><Relationship Id="rId22" Type="http://schemas.openxmlformats.org/officeDocument/2006/relationships/image" Target="../media/image60.png"/><Relationship Id="rId27" Type="http://schemas.openxmlformats.org/officeDocument/2006/relationships/image" Target="../media/image65.png"/><Relationship Id="rId30" Type="http://schemas.openxmlformats.org/officeDocument/2006/relationships/image" Target="../media/image68.png"/><Relationship Id="rId35" Type="http://schemas.openxmlformats.org/officeDocument/2006/relationships/image" Target="../media/image73.png"/></Relationships>
</file>

<file path=ppt/slides/_rels/slide16.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slideLayout" Target="../slideLayouts/slideLayout4.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tags" Target="../tags/tag4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5.xml"/></Relationships>
</file>

<file path=ppt/slides/_rels/slide19.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slideLayout" Target="../slideLayouts/slideLayout4.xml"/><Relationship Id="rId4" Type="http://schemas.openxmlformats.org/officeDocument/2006/relationships/tags" Target="../tags/tag4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0.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slideLayout" Target="../slideLayouts/slideLayout5.xml"/><Relationship Id="rId1" Type="http://schemas.openxmlformats.org/officeDocument/2006/relationships/tags" Target="../tags/tag5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1.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5.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52.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5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5.xml"/><Relationship Id="rId1" Type="http://schemas.openxmlformats.org/officeDocument/2006/relationships/tags" Target="../tags/tag54.xml"/><Relationship Id="rId4" Type="http://schemas.openxmlformats.org/officeDocument/2006/relationships/image" Target="../media/image74.jpe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5.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7.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6.xml"/><Relationship Id="rId1" Type="http://schemas.openxmlformats.org/officeDocument/2006/relationships/vmlDrawing" Target="../drawings/vmlDrawing16.vml"/><Relationship Id="rId6" Type="http://schemas.openxmlformats.org/officeDocument/2006/relationships/image" Target="../media/image75.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7.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81.png"/><Relationship Id="rId18" Type="http://schemas.openxmlformats.org/officeDocument/2006/relationships/image" Target="../media/image86.png"/><Relationship Id="rId26" Type="http://schemas.openxmlformats.org/officeDocument/2006/relationships/image" Target="../media/image94.png"/><Relationship Id="rId3" Type="http://schemas.openxmlformats.org/officeDocument/2006/relationships/slideLayout" Target="../slideLayouts/slideLayout5.xml"/><Relationship Id="rId21" Type="http://schemas.openxmlformats.org/officeDocument/2006/relationships/image" Target="../media/image89.png"/><Relationship Id="rId7" Type="http://schemas.openxmlformats.org/officeDocument/2006/relationships/image" Target="../media/image76.png"/><Relationship Id="rId12" Type="http://schemas.openxmlformats.org/officeDocument/2006/relationships/image" Target="../media/image80.png"/><Relationship Id="rId17" Type="http://schemas.openxmlformats.org/officeDocument/2006/relationships/image" Target="../media/image85.png"/><Relationship Id="rId25" Type="http://schemas.openxmlformats.org/officeDocument/2006/relationships/image" Target="../media/image93.png"/><Relationship Id="rId2" Type="http://schemas.openxmlformats.org/officeDocument/2006/relationships/tags" Target="../tags/tag57.xml"/><Relationship Id="rId16" Type="http://schemas.openxmlformats.org/officeDocument/2006/relationships/image" Target="../media/image84.png"/><Relationship Id="rId20" Type="http://schemas.openxmlformats.org/officeDocument/2006/relationships/image" Target="../media/image88.jpeg"/><Relationship Id="rId1" Type="http://schemas.openxmlformats.org/officeDocument/2006/relationships/vmlDrawing" Target="../drawings/vmlDrawing17.vml"/><Relationship Id="rId6" Type="http://schemas.openxmlformats.org/officeDocument/2006/relationships/image" Target="../media/image1.emf"/><Relationship Id="rId11" Type="http://schemas.openxmlformats.org/officeDocument/2006/relationships/image" Target="../media/image79.png"/><Relationship Id="rId24" Type="http://schemas.openxmlformats.org/officeDocument/2006/relationships/image" Target="../media/image92.png"/><Relationship Id="rId5" Type="http://schemas.openxmlformats.org/officeDocument/2006/relationships/oleObject" Target="../embeddings/oleObject12.bin"/><Relationship Id="rId15" Type="http://schemas.openxmlformats.org/officeDocument/2006/relationships/image" Target="../media/image83.png"/><Relationship Id="rId23" Type="http://schemas.openxmlformats.org/officeDocument/2006/relationships/image" Target="../media/image91.png"/><Relationship Id="rId28" Type="http://schemas.openxmlformats.org/officeDocument/2006/relationships/image" Target="../media/image96.png"/><Relationship Id="rId10" Type="http://schemas.openxmlformats.org/officeDocument/2006/relationships/image" Target="../media/image78.png"/><Relationship Id="rId19" Type="http://schemas.openxmlformats.org/officeDocument/2006/relationships/image" Target="../media/image87.jpg"/><Relationship Id="rId4" Type="http://schemas.openxmlformats.org/officeDocument/2006/relationships/notesSlide" Target="../notesSlides/notesSlide18.xml"/><Relationship Id="rId9" Type="http://schemas.openxmlformats.org/officeDocument/2006/relationships/image" Target="../media/image77.png"/><Relationship Id="rId14" Type="http://schemas.openxmlformats.org/officeDocument/2006/relationships/image" Target="../media/image82.png"/><Relationship Id="rId22" Type="http://schemas.openxmlformats.org/officeDocument/2006/relationships/image" Target="../media/image90.png"/><Relationship Id="rId27" Type="http://schemas.openxmlformats.org/officeDocument/2006/relationships/image" Target="../media/image95.png"/></Relationships>
</file>

<file path=ppt/slides/_rels/slide28.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slideLayout" Target="../slideLayouts/slideLayout6.xml"/><Relationship Id="rId7" Type="http://schemas.openxmlformats.org/officeDocument/2006/relationships/image" Target="../media/image97.png"/><Relationship Id="rId2" Type="http://schemas.openxmlformats.org/officeDocument/2006/relationships/tags" Target="../tags/tag58.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9.xml"/><Relationship Id="rId9" Type="http://schemas.openxmlformats.org/officeDocument/2006/relationships/image" Target="../media/image99.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chart" Target="../charts/chart3.xml"/><Relationship Id="rId2" Type="http://schemas.openxmlformats.org/officeDocument/2006/relationships/tags" Target="../tags/tag59.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20.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8" Type="http://schemas.openxmlformats.org/officeDocument/2006/relationships/image" Target="../media/image106.svg"/><Relationship Id="rId13" Type="http://schemas.openxmlformats.org/officeDocument/2006/relationships/image" Target="../media/image111.jpg"/><Relationship Id="rId3" Type="http://schemas.openxmlformats.org/officeDocument/2006/relationships/image" Target="../media/image101.png"/><Relationship Id="rId7" Type="http://schemas.openxmlformats.org/officeDocument/2006/relationships/image" Target="../media/image105.png"/><Relationship Id="rId12" Type="http://schemas.openxmlformats.org/officeDocument/2006/relationships/image" Target="../media/image110.png"/><Relationship Id="rId2" Type="http://schemas.openxmlformats.org/officeDocument/2006/relationships/image" Target="../media/image100.png"/><Relationship Id="rId16" Type="http://schemas.openxmlformats.org/officeDocument/2006/relationships/image" Target="../media/image114.png"/><Relationship Id="rId1" Type="http://schemas.openxmlformats.org/officeDocument/2006/relationships/slideLayout" Target="../slideLayouts/slideLayout4.xml"/><Relationship Id="rId6" Type="http://schemas.openxmlformats.org/officeDocument/2006/relationships/image" Target="../media/image104.png"/><Relationship Id="rId11" Type="http://schemas.openxmlformats.org/officeDocument/2006/relationships/image" Target="../media/image109.png"/><Relationship Id="rId5" Type="http://schemas.openxmlformats.org/officeDocument/2006/relationships/image" Target="../media/image103.png"/><Relationship Id="rId15" Type="http://schemas.openxmlformats.org/officeDocument/2006/relationships/image" Target="../media/image113.jpg"/><Relationship Id="rId10" Type="http://schemas.openxmlformats.org/officeDocument/2006/relationships/image" Target="../media/image108.png"/><Relationship Id="rId4" Type="http://schemas.openxmlformats.org/officeDocument/2006/relationships/image" Target="../media/image102.jpg"/><Relationship Id="rId9" Type="http://schemas.openxmlformats.org/officeDocument/2006/relationships/image" Target="../media/image107.png"/><Relationship Id="rId14" Type="http://schemas.openxmlformats.org/officeDocument/2006/relationships/image" Target="../media/image112.pn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 Type="http://schemas.openxmlformats.org/officeDocument/2006/relationships/notesSlide" Target="../notesSlides/notesSlide4.xml"/><Relationship Id="rId16" Type="http://schemas.openxmlformats.org/officeDocument/2006/relationships/image" Target="../media/image24.png"/><Relationship Id="rId1" Type="http://schemas.openxmlformats.org/officeDocument/2006/relationships/slideLayout" Target="../slideLayouts/slideLayout4.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29.png"/><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1.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32.png"/><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chart" Target="../charts/chart2.xm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chart" Target="../charts/chart1.xml"/><Relationship Id="rId5" Type="http://schemas.openxmlformats.org/officeDocument/2006/relationships/image" Target="../media/image32.png"/><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p:custDataLst>
              <p:tags r:id="rId2"/>
            </p:custDataLst>
            <p:extLst>
              <p:ext uri="{D42A27DB-BD31-4B8C-83A1-F6EECF244321}">
                <p14:modId xmlns:p14="http://schemas.microsoft.com/office/powerpoint/2010/main" val="1243913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975" name="Diapositiva think-cell" r:id="rId5" imgW="270" imgH="270" progId="TCLayout.ActiveDocument.1">
                  <p:embed/>
                </p:oleObj>
              </mc:Choice>
              <mc:Fallback>
                <p:oleObj name="Diapositiva think-cell"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egnaposto testo 3">
            <a:extLst>
              <a:ext uri="{FF2B5EF4-FFF2-40B4-BE49-F238E27FC236}">
                <a16:creationId xmlns:a16="http://schemas.microsoft.com/office/drawing/2014/main" id="{25B23111-93DA-4500-AE77-D420C122D26B}"/>
              </a:ext>
            </a:extLst>
          </p:cNvPr>
          <p:cNvSpPr>
            <a:spLocks noGrp="1"/>
          </p:cNvSpPr>
          <p:nvPr>
            <p:ph type="body" sz="quarter" idx="10"/>
          </p:nvPr>
        </p:nvSpPr>
        <p:spPr>
          <a:xfrm>
            <a:off x="163738" y="1023257"/>
            <a:ext cx="8309209" cy="2214563"/>
          </a:xfrm>
        </p:spPr>
        <p:txBody>
          <a:bodyPr/>
          <a:lstStyle/>
          <a:p>
            <a:pPr>
              <a:lnSpc>
                <a:spcPct val="120000"/>
              </a:lnSpc>
            </a:pPr>
            <a:r>
              <a:rPr lang="it-IT" sz="3200" b="1" dirty="0"/>
              <a:t>CDP, l'Istituzione finanziaria per la Cooperazione Internazionale allo Sviluppo</a:t>
            </a:r>
          </a:p>
        </p:txBody>
      </p:sp>
    </p:spTree>
    <p:extLst>
      <p:ext uri="{BB962C8B-B14F-4D97-AF65-F5344CB8AC3E}">
        <p14:creationId xmlns:p14="http://schemas.microsoft.com/office/powerpoint/2010/main" val="858825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ttangolo 26">
            <a:extLst>
              <a:ext uri="{FF2B5EF4-FFF2-40B4-BE49-F238E27FC236}">
                <a16:creationId xmlns:a16="http://schemas.microsoft.com/office/drawing/2014/main" id="{8AD2280E-9EF0-4932-812C-673B98EF0E50}"/>
              </a:ext>
            </a:extLst>
          </p:cNvPr>
          <p:cNvSpPr/>
          <p:nvPr/>
        </p:nvSpPr>
        <p:spPr>
          <a:xfrm>
            <a:off x="1401398" y="1851660"/>
            <a:ext cx="7045434" cy="54102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graphicFrame>
        <p:nvGraphicFramePr>
          <p:cNvPr id="7" name="Oggetto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679" name="Diapositiva think-cell" r:id="rId5" imgW="270" imgH="270" progId="TCLayout.ActiveDocument.1">
                  <p:embed/>
                </p:oleObj>
              </mc:Choice>
              <mc:Fallback>
                <p:oleObj name="Diapositiva think-cell" r:id="rId5" imgW="270" imgH="270" progId="TCLayout.ActiveDocument.1">
                  <p:embed/>
                  <p:pic>
                    <p:nvPicPr>
                      <p:cNvPr id="7" name="Oggetto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egnaposto numero diapositiva 3">
            <a:extLst>
              <a:ext uri="{FF2B5EF4-FFF2-40B4-BE49-F238E27FC236}">
                <a16:creationId xmlns:a16="http://schemas.microsoft.com/office/drawing/2014/main" id="{52C954B1-B0F4-4E12-BE66-48509ABAF6A1}"/>
              </a:ext>
            </a:extLst>
          </p:cNvPr>
          <p:cNvSpPr>
            <a:spLocks noGrp="1"/>
          </p:cNvSpPr>
          <p:nvPr>
            <p:ph type="sldNum" sz="quarter" idx="12"/>
          </p:nvPr>
        </p:nvSpPr>
        <p:spPr>
          <a:xfrm>
            <a:off x="142527" y="4842165"/>
            <a:ext cx="1008062" cy="183687"/>
          </a:xfrm>
        </p:spPr>
        <p:txBody>
          <a:bodyPr/>
          <a:lstStyle/>
          <a:p>
            <a:fld id="{608DA0FE-9C19-F746-8419-6700E348BF78}" type="slidenum">
              <a:rPr lang="it-IT" smtClean="0"/>
              <a:pPr/>
              <a:t>10</a:t>
            </a:fld>
            <a:endParaRPr lang="it-IT" dirty="0"/>
          </a:p>
        </p:txBody>
      </p:sp>
      <p:grpSp>
        <p:nvGrpSpPr>
          <p:cNvPr id="11" name="Gruppo 10">
            <a:extLst>
              <a:ext uri="{FF2B5EF4-FFF2-40B4-BE49-F238E27FC236}">
                <a16:creationId xmlns:a16="http://schemas.microsoft.com/office/drawing/2014/main" id="{6C4B42DC-B68F-4946-BF63-B142C09F86D0}"/>
              </a:ext>
            </a:extLst>
          </p:cNvPr>
          <p:cNvGrpSpPr/>
          <p:nvPr/>
        </p:nvGrpSpPr>
        <p:grpSpPr>
          <a:xfrm>
            <a:off x="795937" y="745276"/>
            <a:ext cx="7271691" cy="437581"/>
            <a:chOff x="795937" y="669076"/>
            <a:chExt cx="7271691" cy="437581"/>
          </a:xfrm>
        </p:grpSpPr>
        <p:sp>
          <p:nvSpPr>
            <p:cNvPr id="12" name="object 4"/>
            <p:cNvSpPr>
              <a:spLocks noChangeAspect="1"/>
            </p:cNvSpPr>
            <p:nvPr/>
          </p:nvSpPr>
          <p:spPr>
            <a:xfrm>
              <a:off x="795937" y="745738"/>
              <a:ext cx="360000" cy="360919"/>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1</a:t>
              </a:r>
              <a:endParaRPr sz="1600" b="1" dirty="0">
                <a:solidFill>
                  <a:schemeClr val="bg1"/>
                </a:solidFill>
              </a:endParaRPr>
            </a:p>
          </p:txBody>
        </p:sp>
        <p:sp>
          <p:nvSpPr>
            <p:cNvPr id="14" name="object 7"/>
            <p:cNvSpPr txBox="1"/>
            <p:nvPr/>
          </p:nvSpPr>
          <p:spPr>
            <a:xfrm>
              <a:off x="1401398" y="669076"/>
              <a:ext cx="6666230" cy="369332"/>
            </a:xfrm>
            <a:prstGeom prst="rect">
              <a:avLst/>
            </a:prstGeom>
            <a:noFill/>
          </p:spPr>
          <p:txBody>
            <a:bodyPr vert="horz" wrap="square" lIns="0" tIns="91440" rIns="0" bIns="0" rtlCol="0">
              <a:spAutoFit/>
            </a:bodyPr>
            <a:lstStyle/>
            <a:p>
              <a:pPr>
                <a:lnSpc>
                  <a:spcPct val="100000"/>
                </a:lnSpc>
                <a:spcBef>
                  <a:spcPts val="0"/>
                </a:spcBef>
              </a:pPr>
              <a:r>
                <a:rPr lang="it-IT" sz="1800" spc="-5" dirty="0">
                  <a:solidFill>
                    <a:srgbClr val="001547"/>
                  </a:solidFill>
                  <a:latin typeface="Arial"/>
                  <a:cs typeface="Arial"/>
                </a:rPr>
                <a:t> </a:t>
              </a:r>
              <a:r>
                <a:rPr sz="1600" spc="-5" dirty="0">
                  <a:latin typeface="Arial"/>
                  <a:cs typeface="Arial"/>
                </a:rPr>
                <a:t>CDP</a:t>
              </a:r>
              <a:r>
                <a:rPr sz="1600" spc="-30" dirty="0">
                  <a:latin typeface="Arial"/>
                  <a:cs typeface="Arial"/>
                </a:rPr>
                <a:t> </a:t>
              </a:r>
              <a:r>
                <a:rPr sz="1600" spc="-10" dirty="0">
                  <a:latin typeface="Arial"/>
                  <a:cs typeface="Arial"/>
                </a:rPr>
                <a:t>Overview</a:t>
              </a:r>
              <a:endParaRPr sz="1600" dirty="0">
                <a:latin typeface="Arial"/>
                <a:cs typeface="Arial"/>
              </a:endParaRPr>
            </a:p>
          </p:txBody>
        </p:sp>
      </p:grpSp>
      <p:grpSp>
        <p:nvGrpSpPr>
          <p:cNvPr id="2" name="Gruppo 1">
            <a:extLst>
              <a:ext uri="{FF2B5EF4-FFF2-40B4-BE49-F238E27FC236}">
                <a16:creationId xmlns:a16="http://schemas.microsoft.com/office/drawing/2014/main" id="{E502234F-E738-41AD-B385-69C8188B1564}"/>
              </a:ext>
            </a:extLst>
          </p:cNvPr>
          <p:cNvGrpSpPr/>
          <p:nvPr/>
        </p:nvGrpSpPr>
        <p:grpSpPr>
          <a:xfrm>
            <a:off x="795937" y="1401111"/>
            <a:ext cx="8101601" cy="350016"/>
            <a:chOff x="795937" y="1411283"/>
            <a:chExt cx="8101601" cy="350016"/>
          </a:xfrm>
        </p:grpSpPr>
        <p:sp>
          <p:nvSpPr>
            <p:cNvPr id="24" name="object 4">
              <a:extLst>
                <a:ext uri="{FF2B5EF4-FFF2-40B4-BE49-F238E27FC236}">
                  <a16:creationId xmlns:a16="http://schemas.microsoft.com/office/drawing/2014/main" id="{31171484-AEF4-4A18-A2B8-EF83B60007DA}"/>
                </a:ext>
              </a:extLst>
            </p:cNvPr>
            <p:cNvSpPr>
              <a:spLocks noChangeAspect="1"/>
            </p:cNvSpPr>
            <p:nvPr/>
          </p:nvSpPr>
          <p:spPr>
            <a:xfrm>
              <a:off x="795937" y="1411283"/>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2</a:t>
              </a:r>
              <a:endParaRPr sz="1600" b="1" dirty="0">
                <a:solidFill>
                  <a:schemeClr val="bg1"/>
                </a:solidFill>
              </a:endParaRPr>
            </a:p>
          </p:txBody>
        </p:sp>
        <p:sp>
          <p:nvSpPr>
            <p:cNvPr id="28" name="object 8">
              <a:extLst>
                <a:ext uri="{FF2B5EF4-FFF2-40B4-BE49-F238E27FC236}">
                  <a16:creationId xmlns:a16="http://schemas.microsoft.com/office/drawing/2014/main" id="{CE1AB38F-AFA0-4DCB-B72C-577467D31C3B}"/>
                </a:ext>
              </a:extLst>
            </p:cNvPr>
            <p:cNvSpPr txBox="1"/>
            <p:nvPr/>
          </p:nvSpPr>
          <p:spPr>
            <a:xfrm>
              <a:off x="1455338" y="1411283"/>
              <a:ext cx="7442200" cy="277512"/>
            </a:xfrm>
            <a:prstGeom prst="rect">
              <a:avLst/>
            </a:prstGeom>
          </p:spPr>
          <p:txBody>
            <a:bodyPr vert="horz" wrap="square" lIns="0" tIns="0" rIns="0" bIns="0" rtlCol="0">
              <a:spAutoFit/>
            </a:bodyPr>
            <a:lstStyle/>
            <a:p>
              <a:pPr>
                <a:lnSpc>
                  <a:spcPts val="2360"/>
                </a:lnSpc>
                <a:tabLst>
                  <a:tab pos="575945" algn="l"/>
                </a:tabLst>
              </a:pPr>
              <a:r>
                <a:rPr lang="it-IT" sz="2400" spc="-7" baseline="1543" dirty="0">
                  <a:latin typeface="Arial"/>
                  <a:cs typeface="Arial"/>
                </a:rPr>
                <a:t>Il contesto di riferimento</a:t>
              </a:r>
              <a:endParaRPr sz="2400" baseline="1543" dirty="0">
                <a:latin typeface="Arial"/>
                <a:cs typeface="Arial"/>
              </a:endParaRPr>
            </a:p>
          </p:txBody>
        </p:sp>
      </p:grpSp>
      <p:grpSp>
        <p:nvGrpSpPr>
          <p:cNvPr id="3" name="Gruppo 2">
            <a:extLst>
              <a:ext uri="{FF2B5EF4-FFF2-40B4-BE49-F238E27FC236}">
                <a16:creationId xmlns:a16="http://schemas.microsoft.com/office/drawing/2014/main" id="{DA3D8320-7280-406D-A541-2EE4C7B48E1B}"/>
              </a:ext>
            </a:extLst>
          </p:cNvPr>
          <p:cNvGrpSpPr/>
          <p:nvPr/>
        </p:nvGrpSpPr>
        <p:grpSpPr>
          <a:xfrm>
            <a:off x="795937" y="1948278"/>
            <a:ext cx="8101601" cy="350016"/>
            <a:chOff x="795937" y="1892478"/>
            <a:chExt cx="8101601" cy="350016"/>
          </a:xfrm>
        </p:grpSpPr>
        <p:sp>
          <p:nvSpPr>
            <p:cNvPr id="20" name="object 8"/>
            <p:cNvSpPr txBox="1"/>
            <p:nvPr/>
          </p:nvSpPr>
          <p:spPr>
            <a:xfrm>
              <a:off x="1455338" y="1892478"/>
              <a:ext cx="7442200" cy="307777"/>
            </a:xfrm>
            <a:prstGeom prst="rect">
              <a:avLst/>
            </a:prstGeom>
          </p:spPr>
          <p:txBody>
            <a:bodyPr vert="horz" wrap="square" lIns="0" tIns="0" rIns="0" bIns="0" rtlCol="0">
              <a:spAutoFit/>
            </a:bodyPr>
            <a:lstStyle/>
            <a:p>
              <a:pPr>
                <a:lnSpc>
                  <a:spcPts val="2360"/>
                </a:lnSpc>
                <a:tabLst>
                  <a:tab pos="575945" algn="l"/>
                </a:tabLst>
              </a:pPr>
              <a:r>
                <a:rPr sz="2400" b="1" spc="-7" baseline="1543" dirty="0">
                  <a:latin typeface="Arial"/>
                  <a:cs typeface="Arial"/>
                </a:rPr>
                <a:t>CDP</a:t>
              </a:r>
              <a:r>
                <a:rPr lang="it-IT" sz="2400" b="1" spc="-7" baseline="1543" dirty="0">
                  <a:latin typeface="Arial"/>
                  <a:cs typeface="Arial"/>
                </a:rPr>
                <a:t>:</a:t>
              </a:r>
              <a:r>
                <a:rPr sz="2400" b="1" spc="-7" baseline="1543" dirty="0">
                  <a:latin typeface="Arial"/>
                  <a:cs typeface="Arial"/>
                </a:rPr>
                <a:t> </a:t>
              </a:r>
              <a:r>
                <a:rPr lang="it-IT" sz="2400" b="1" spc="-7" baseline="1543" dirty="0">
                  <a:latin typeface="Arial"/>
                  <a:cs typeface="Arial"/>
                </a:rPr>
                <a:t>Istituzione</a:t>
              </a:r>
              <a:r>
                <a:rPr lang="it-IT" sz="2400" b="1" spc="-7" dirty="0">
                  <a:latin typeface="Arial"/>
                  <a:cs typeface="Arial"/>
                </a:rPr>
                <a:t> </a:t>
              </a:r>
              <a:r>
                <a:rPr lang="it-IT" sz="2400" b="1" spc="-7" baseline="1543" dirty="0">
                  <a:latin typeface="Arial"/>
                  <a:cs typeface="Arial"/>
                </a:rPr>
                <a:t>Finanziaria per la Cooperazione allo Sviluppo </a:t>
              </a:r>
              <a:endParaRPr sz="2400" b="1" baseline="1543" dirty="0">
                <a:latin typeface="Arial"/>
                <a:cs typeface="Arial"/>
              </a:endParaRPr>
            </a:p>
          </p:txBody>
        </p:sp>
        <p:sp>
          <p:nvSpPr>
            <p:cNvPr id="29" name="object 4">
              <a:extLst>
                <a:ext uri="{FF2B5EF4-FFF2-40B4-BE49-F238E27FC236}">
                  <a16:creationId xmlns:a16="http://schemas.microsoft.com/office/drawing/2014/main" id="{73493036-224A-4125-B2E8-DFCCA91E97EC}"/>
                </a:ext>
              </a:extLst>
            </p:cNvPr>
            <p:cNvSpPr>
              <a:spLocks noChangeAspect="1"/>
            </p:cNvSpPr>
            <p:nvPr/>
          </p:nvSpPr>
          <p:spPr>
            <a:xfrm>
              <a:off x="795937" y="1892478"/>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3</a:t>
              </a:r>
              <a:endParaRPr sz="1600" b="1" dirty="0">
                <a:solidFill>
                  <a:schemeClr val="bg1"/>
                </a:solidFill>
              </a:endParaRPr>
            </a:p>
          </p:txBody>
        </p:sp>
      </p:grpSp>
      <p:grpSp>
        <p:nvGrpSpPr>
          <p:cNvPr id="5" name="Gruppo 4">
            <a:extLst>
              <a:ext uri="{FF2B5EF4-FFF2-40B4-BE49-F238E27FC236}">
                <a16:creationId xmlns:a16="http://schemas.microsoft.com/office/drawing/2014/main" id="{E83A3AF0-A544-4520-A333-78BB77D585DE}"/>
              </a:ext>
            </a:extLst>
          </p:cNvPr>
          <p:cNvGrpSpPr/>
          <p:nvPr/>
        </p:nvGrpSpPr>
        <p:grpSpPr>
          <a:xfrm>
            <a:off x="795937" y="2495445"/>
            <a:ext cx="7526272" cy="350016"/>
            <a:chOff x="795937" y="2448333"/>
            <a:chExt cx="7526272" cy="350016"/>
          </a:xfrm>
        </p:grpSpPr>
        <p:sp>
          <p:nvSpPr>
            <p:cNvPr id="16" name="object 8"/>
            <p:cNvSpPr txBox="1"/>
            <p:nvPr/>
          </p:nvSpPr>
          <p:spPr>
            <a:xfrm>
              <a:off x="904193" y="2448333"/>
              <a:ext cx="7418016" cy="307777"/>
            </a:xfrm>
            <a:prstGeom prst="rect">
              <a:avLst/>
            </a:prstGeom>
          </p:spPr>
          <p:txBody>
            <a:bodyPr vert="horz" wrap="square" lIns="0" tIns="0" rIns="0" bIns="0" rtlCol="0">
              <a:spAutoFit/>
            </a:bodyPr>
            <a:lstStyle/>
            <a:p>
              <a:pPr marL="12700">
                <a:lnSpc>
                  <a:spcPts val="2360"/>
                </a:lnSpc>
                <a:tabLst>
                  <a:tab pos="575945" algn="l"/>
                </a:tabLst>
              </a:pPr>
              <a:r>
                <a:rPr lang="it-IT" sz="2000" b="1" spc="-5" dirty="0">
                  <a:solidFill>
                    <a:srgbClr val="FFFFFF"/>
                  </a:solidFill>
                  <a:latin typeface="Arial"/>
                  <a:cs typeface="Arial"/>
                </a:rPr>
                <a:t>4</a:t>
              </a:r>
              <a:r>
                <a:rPr sz="2400" b="1" spc="-5" dirty="0">
                  <a:solidFill>
                    <a:srgbClr val="FFFFFF"/>
                  </a:solidFill>
                  <a:latin typeface="Arial"/>
                  <a:cs typeface="Arial"/>
                </a:rPr>
                <a:t>	</a:t>
              </a:r>
              <a:r>
                <a:rPr lang="en-US" sz="2400" spc="-7" baseline="1543" dirty="0" err="1">
                  <a:cs typeface="Arial"/>
                </a:rPr>
                <a:t>Supporto</a:t>
              </a:r>
              <a:r>
                <a:rPr lang="en-US" sz="2400" spc="-7" baseline="1543" dirty="0">
                  <a:cs typeface="Arial"/>
                </a:rPr>
                <a:t> al </a:t>
              </a:r>
              <a:r>
                <a:rPr lang="en-US" sz="2400" spc="-7" baseline="1543" dirty="0" err="1">
                  <a:cs typeface="Arial"/>
                </a:rPr>
                <a:t>Settore</a:t>
              </a:r>
              <a:r>
                <a:rPr lang="en-US" sz="2400" spc="-7" baseline="1543" dirty="0">
                  <a:cs typeface="Arial"/>
                </a:rPr>
                <a:t> </a:t>
              </a:r>
              <a:r>
                <a:rPr lang="en-US" sz="2400" spc="-7" baseline="1543" dirty="0" err="1">
                  <a:cs typeface="Arial"/>
                </a:rPr>
                <a:t>Pubblico</a:t>
              </a:r>
              <a:endParaRPr sz="2400" spc="-7" baseline="1543" dirty="0">
                <a:latin typeface="Arial"/>
                <a:cs typeface="Arial"/>
              </a:endParaRPr>
            </a:p>
          </p:txBody>
        </p:sp>
        <p:sp>
          <p:nvSpPr>
            <p:cNvPr id="30" name="object 4">
              <a:extLst>
                <a:ext uri="{FF2B5EF4-FFF2-40B4-BE49-F238E27FC236}">
                  <a16:creationId xmlns:a16="http://schemas.microsoft.com/office/drawing/2014/main" id="{4EABFC6E-86FA-4787-991A-9B2860F0BFDE}"/>
                </a:ext>
              </a:extLst>
            </p:cNvPr>
            <p:cNvSpPr>
              <a:spLocks noChangeAspect="1"/>
            </p:cNvSpPr>
            <p:nvPr/>
          </p:nvSpPr>
          <p:spPr>
            <a:xfrm>
              <a:off x="795937" y="2448333"/>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4</a:t>
              </a:r>
              <a:endParaRPr sz="1600" b="1" dirty="0">
                <a:solidFill>
                  <a:schemeClr val="bg1"/>
                </a:solidFill>
              </a:endParaRPr>
            </a:p>
          </p:txBody>
        </p:sp>
      </p:grpSp>
      <p:grpSp>
        <p:nvGrpSpPr>
          <p:cNvPr id="6" name="Gruppo 5">
            <a:extLst>
              <a:ext uri="{FF2B5EF4-FFF2-40B4-BE49-F238E27FC236}">
                <a16:creationId xmlns:a16="http://schemas.microsoft.com/office/drawing/2014/main" id="{0A27A17E-C8CC-4056-9926-9709E507348F}"/>
              </a:ext>
            </a:extLst>
          </p:cNvPr>
          <p:cNvGrpSpPr/>
          <p:nvPr/>
        </p:nvGrpSpPr>
        <p:grpSpPr>
          <a:xfrm>
            <a:off x="795937" y="3042612"/>
            <a:ext cx="7550456" cy="350016"/>
            <a:chOff x="795937" y="3101581"/>
            <a:chExt cx="7550456" cy="350016"/>
          </a:xfrm>
        </p:grpSpPr>
        <p:sp>
          <p:nvSpPr>
            <p:cNvPr id="23" name="object 8">
              <a:extLst>
                <a:ext uri="{FF2B5EF4-FFF2-40B4-BE49-F238E27FC236}">
                  <a16:creationId xmlns:a16="http://schemas.microsoft.com/office/drawing/2014/main" id="{C694991B-2CA3-4265-A383-810EA881A649}"/>
                </a:ext>
              </a:extLst>
            </p:cNvPr>
            <p:cNvSpPr txBox="1"/>
            <p:nvPr/>
          </p:nvSpPr>
          <p:spPr>
            <a:xfrm>
              <a:off x="904193" y="3101581"/>
              <a:ext cx="7442200" cy="307777"/>
            </a:xfrm>
            <a:prstGeom prst="rect">
              <a:avLst/>
            </a:prstGeom>
          </p:spPr>
          <p:txBody>
            <a:bodyPr vert="horz" wrap="square" lIns="0" tIns="0" rIns="0" bIns="0" rtlCol="0">
              <a:spAutoFit/>
            </a:bodyPr>
            <a:lstStyle/>
            <a:p>
              <a:pPr marL="12700">
                <a:lnSpc>
                  <a:spcPts val="2360"/>
                </a:lnSpc>
                <a:tabLst>
                  <a:tab pos="575945" algn="l"/>
                </a:tabLst>
              </a:pPr>
              <a:r>
                <a:rPr lang="it-IT" sz="2000" b="1" spc="-5" dirty="0">
                  <a:solidFill>
                    <a:srgbClr val="FFFFFF"/>
                  </a:solidFill>
                  <a:latin typeface="Arial"/>
                  <a:cs typeface="Arial"/>
                </a:rPr>
                <a:t>5</a:t>
              </a:r>
              <a:r>
                <a:rPr lang="it-IT" sz="2000" spc="-5" dirty="0">
                  <a:solidFill>
                    <a:srgbClr val="FFFFFF"/>
                  </a:solidFill>
                  <a:latin typeface="Arial"/>
                  <a:cs typeface="Arial"/>
                </a:rPr>
                <a:t>	</a:t>
              </a:r>
              <a:r>
                <a:rPr lang="en-US" sz="1600" spc="-10" dirty="0" err="1">
                  <a:latin typeface="Arial"/>
                  <a:cs typeface="Arial"/>
                </a:rPr>
                <a:t>Supporto</a:t>
              </a:r>
              <a:r>
                <a:rPr lang="en-US" sz="1600" spc="-10" dirty="0">
                  <a:latin typeface="Arial"/>
                  <a:cs typeface="Arial"/>
                </a:rPr>
                <a:t> al </a:t>
              </a:r>
              <a:r>
                <a:rPr lang="en-US" sz="1600" spc="-10" dirty="0" err="1">
                  <a:latin typeface="Arial"/>
                  <a:cs typeface="Arial"/>
                </a:rPr>
                <a:t>Settore</a:t>
              </a:r>
              <a:r>
                <a:rPr lang="en-US" sz="1600" spc="-10" dirty="0">
                  <a:latin typeface="Arial"/>
                  <a:cs typeface="Arial"/>
                </a:rPr>
                <a:t> </a:t>
              </a:r>
              <a:r>
                <a:rPr lang="en-US" sz="1600" spc="-10" dirty="0" err="1">
                  <a:latin typeface="Arial"/>
                  <a:cs typeface="Arial"/>
                </a:rPr>
                <a:t>Privato</a:t>
              </a:r>
              <a:endParaRPr sz="1600" spc="-10" dirty="0">
                <a:latin typeface="Arial"/>
                <a:cs typeface="Arial"/>
              </a:endParaRPr>
            </a:p>
          </p:txBody>
        </p:sp>
        <p:sp>
          <p:nvSpPr>
            <p:cNvPr id="31" name="object 4">
              <a:extLst>
                <a:ext uri="{FF2B5EF4-FFF2-40B4-BE49-F238E27FC236}">
                  <a16:creationId xmlns:a16="http://schemas.microsoft.com/office/drawing/2014/main" id="{E71654FD-123B-4386-9800-2227621A6B4A}"/>
                </a:ext>
              </a:extLst>
            </p:cNvPr>
            <p:cNvSpPr>
              <a:spLocks noChangeAspect="1"/>
            </p:cNvSpPr>
            <p:nvPr/>
          </p:nvSpPr>
          <p:spPr>
            <a:xfrm>
              <a:off x="795937" y="3101581"/>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5</a:t>
              </a:r>
              <a:endParaRPr sz="1600" b="1" dirty="0">
                <a:solidFill>
                  <a:schemeClr val="bg1"/>
                </a:solidFill>
              </a:endParaRPr>
            </a:p>
          </p:txBody>
        </p:sp>
      </p:grpSp>
      <p:grpSp>
        <p:nvGrpSpPr>
          <p:cNvPr id="8" name="Gruppo 7">
            <a:extLst>
              <a:ext uri="{FF2B5EF4-FFF2-40B4-BE49-F238E27FC236}">
                <a16:creationId xmlns:a16="http://schemas.microsoft.com/office/drawing/2014/main" id="{B8F38F40-C37C-4DA7-93A7-3006DAE87134}"/>
              </a:ext>
            </a:extLst>
          </p:cNvPr>
          <p:cNvGrpSpPr/>
          <p:nvPr/>
        </p:nvGrpSpPr>
        <p:grpSpPr>
          <a:xfrm>
            <a:off x="795937" y="3589779"/>
            <a:ext cx="7538364" cy="350016"/>
            <a:chOff x="795937" y="3921579"/>
            <a:chExt cx="7538364" cy="350016"/>
          </a:xfrm>
        </p:grpSpPr>
        <p:sp>
          <p:nvSpPr>
            <p:cNvPr id="18" name="object 8"/>
            <p:cNvSpPr txBox="1"/>
            <p:nvPr/>
          </p:nvSpPr>
          <p:spPr>
            <a:xfrm>
              <a:off x="892101" y="3921579"/>
              <a:ext cx="7442200" cy="307777"/>
            </a:xfrm>
            <a:prstGeom prst="rect">
              <a:avLst/>
            </a:prstGeom>
          </p:spPr>
          <p:txBody>
            <a:bodyPr vert="horz" wrap="square" lIns="0" tIns="0" rIns="0" bIns="0" rtlCol="0">
              <a:spAutoFit/>
            </a:bodyPr>
            <a:lstStyle/>
            <a:p>
              <a:pPr marL="12700">
                <a:lnSpc>
                  <a:spcPts val="2360"/>
                </a:lnSpc>
                <a:tabLst>
                  <a:tab pos="575945" algn="l"/>
                </a:tabLst>
              </a:pPr>
              <a:r>
                <a:rPr lang="it-IT" sz="2000" b="1" spc="-5" dirty="0">
                  <a:solidFill>
                    <a:srgbClr val="FFFFFF"/>
                  </a:solidFill>
                  <a:latin typeface="Arial"/>
                  <a:cs typeface="Arial"/>
                </a:rPr>
                <a:t>6</a:t>
              </a:r>
              <a:r>
                <a:rPr sz="2400" b="1" spc="-5" dirty="0">
                  <a:solidFill>
                    <a:srgbClr val="FFFFFF"/>
                  </a:solidFill>
                  <a:latin typeface="Arial"/>
                  <a:cs typeface="Arial"/>
                </a:rPr>
                <a:t>	</a:t>
              </a:r>
              <a:r>
                <a:rPr lang="en-US" sz="1600" spc="-10" dirty="0">
                  <a:cs typeface="Arial"/>
                </a:rPr>
                <a:t>Global Partnership</a:t>
              </a:r>
              <a:endParaRPr sz="1600" spc="-10" dirty="0">
                <a:latin typeface="Arial"/>
                <a:cs typeface="Arial"/>
              </a:endParaRPr>
            </a:p>
          </p:txBody>
        </p:sp>
        <p:sp>
          <p:nvSpPr>
            <p:cNvPr id="32" name="object 4">
              <a:extLst>
                <a:ext uri="{FF2B5EF4-FFF2-40B4-BE49-F238E27FC236}">
                  <a16:creationId xmlns:a16="http://schemas.microsoft.com/office/drawing/2014/main" id="{C06F2CB3-480C-4A0A-B658-70C4569EE028}"/>
                </a:ext>
              </a:extLst>
            </p:cNvPr>
            <p:cNvSpPr>
              <a:spLocks noChangeAspect="1"/>
            </p:cNvSpPr>
            <p:nvPr/>
          </p:nvSpPr>
          <p:spPr>
            <a:xfrm>
              <a:off x="795937" y="3921579"/>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6</a:t>
              </a:r>
              <a:endParaRPr sz="1600" b="1" dirty="0">
                <a:solidFill>
                  <a:schemeClr val="bg1"/>
                </a:solidFill>
              </a:endParaRPr>
            </a:p>
          </p:txBody>
        </p:sp>
      </p:grpSp>
    </p:spTree>
    <p:extLst>
      <p:ext uri="{BB962C8B-B14F-4D97-AF65-F5344CB8AC3E}">
        <p14:creationId xmlns:p14="http://schemas.microsoft.com/office/powerpoint/2010/main" val="31634431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 name="object 3">
            <a:extLst>
              <a:ext uri="{FF2B5EF4-FFF2-40B4-BE49-F238E27FC236}">
                <a16:creationId xmlns:a16="http://schemas.microsoft.com/office/drawing/2014/main" id="{1F9165B3-EB87-40F4-BB1F-A244D49A9FF1}"/>
              </a:ext>
            </a:extLst>
          </p:cNvPr>
          <p:cNvSpPr/>
          <p:nvPr/>
        </p:nvSpPr>
        <p:spPr>
          <a:xfrm>
            <a:off x="0" y="2965796"/>
            <a:ext cx="9144000" cy="2177703"/>
          </a:xfrm>
          <a:custGeom>
            <a:avLst/>
            <a:gdLst/>
            <a:ahLst/>
            <a:cxnLst/>
            <a:rect l="l" t="t" r="r" b="b"/>
            <a:pathLst>
              <a:path w="12192000" h="4852670">
                <a:moveTo>
                  <a:pt x="12191999" y="0"/>
                </a:moveTo>
                <a:lnTo>
                  <a:pt x="0" y="0"/>
                </a:lnTo>
                <a:lnTo>
                  <a:pt x="0" y="4852413"/>
                </a:lnTo>
                <a:lnTo>
                  <a:pt x="12191999" y="4852413"/>
                </a:lnTo>
                <a:lnTo>
                  <a:pt x="12191999" y="0"/>
                </a:lnTo>
                <a:close/>
              </a:path>
            </a:pathLst>
          </a:custGeom>
          <a:solidFill>
            <a:srgbClr val="F4F4F4"/>
          </a:solidFill>
        </p:spPr>
        <p:txBody>
          <a:bodyPr wrap="square" lIns="0" tIns="0" rIns="0" bIns="0" rtlCol="0"/>
          <a:lstStyle/>
          <a:p>
            <a:pPr>
              <a:lnSpc>
                <a:spcPct val="114000"/>
              </a:lnSpc>
            </a:pPr>
            <a:endParaRPr sz="918" dirty="0"/>
          </a:p>
        </p:txBody>
      </p:sp>
      <p:graphicFrame>
        <p:nvGraphicFramePr>
          <p:cNvPr id="10" name="Oggetto 9" hidden="1"/>
          <p:cNvGraphicFramePr>
            <a:graphicFrameLocks noChangeAspect="1"/>
          </p:cNvGraphicFramePr>
          <p:nvPr>
            <p:custDataLst>
              <p:tags r:id="rId2"/>
            </p:custDataLst>
            <p:extLst>
              <p:ext uri="{D42A27DB-BD31-4B8C-83A1-F6EECF244321}">
                <p14:modId xmlns:p14="http://schemas.microsoft.com/office/powerpoint/2010/main" val="4223956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34" name="Diapositiva think-cell" r:id="rId5" imgW="270" imgH="270" progId="TCLayout.ActiveDocument.1">
                  <p:embed/>
                </p:oleObj>
              </mc:Choice>
              <mc:Fallback>
                <p:oleObj name="Diapositiva think-cell" r:id="rId5" imgW="270" imgH="270" progId="TCLayout.ActiveDocument.1">
                  <p:embed/>
                  <p:pic>
                    <p:nvPicPr>
                      <p:cNvPr id="10" name="Oggetto 9"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Segnaposto numero diapositiva 2">
            <a:extLst>
              <a:ext uri="{FF2B5EF4-FFF2-40B4-BE49-F238E27FC236}">
                <a16:creationId xmlns:a16="http://schemas.microsoft.com/office/drawing/2014/main" id="{5EC9A73F-60D0-47D3-BD85-54A27BC7CB76}"/>
              </a:ext>
            </a:extLst>
          </p:cNvPr>
          <p:cNvSpPr>
            <a:spLocks noGrp="1"/>
          </p:cNvSpPr>
          <p:nvPr>
            <p:ph type="sldNum" sz="quarter" idx="12"/>
          </p:nvPr>
        </p:nvSpPr>
        <p:spPr/>
        <p:txBody>
          <a:bodyPr/>
          <a:lstStyle/>
          <a:p>
            <a:fld id="{608DA0FE-9C19-F746-8419-6700E348BF78}" type="slidenum">
              <a:rPr lang="it-IT" smtClean="0"/>
              <a:pPr/>
              <a:t>11</a:t>
            </a:fld>
            <a:endParaRPr lang="it-IT" dirty="0"/>
          </a:p>
        </p:txBody>
      </p:sp>
      <p:sp>
        <p:nvSpPr>
          <p:cNvPr id="7" name="Titolo 23"/>
          <p:cNvSpPr txBox="1">
            <a:spLocks/>
          </p:cNvSpPr>
          <p:nvPr/>
        </p:nvSpPr>
        <p:spPr>
          <a:xfrm>
            <a:off x="12053" y="166395"/>
            <a:ext cx="8590256" cy="346249"/>
          </a:xfrm>
          <a:prstGeom prst="rect">
            <a:avLst/>
          </a:prstGeom>
          <a:noFill/>
        </p:spPr>
        <p:txBody>
          <a:bodyPr wrap="square" lIns="68580" tIns="34290" rIns="68580" bIns="34290" rtlCol="0">
            <a:spAutoFit/>
          </a:bodyPr>
          <a:lstStyle>
            <a:lvl1pPr algn="l" defTabSz="457200" rtl="0" eaLnBrk="1" latinLnBrk="0" hangingPunct="1">
              <a:spcBef>
                <a:spcPct val="0"/>
              </a:spcBef>
              <a:buNone/>
              <a:defRPr lang="it-IT" sz="2000" b="1" kern="1200">
                <a:solidFill>
                  <a:schemeClr val="tx2"/>
                </a:solidFill>
                <a:latin typeface="+mn-lt"/>
                <a:ea typeface="+mn-ea"/>
                <a:cs typeface="+mn-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it-IT" sz="1800" b="1" i="0" u="none" strike="noStrike" kern="1200" cap="none" spc="0" normalizeH="0" baseline="0" noProof="0" dirty="0">
                <a:ln>
                  <a:noFill/>
                </a:ln>
                <a:solidFill>
                  <a:schemeClr val="tx1"/>
                </a:solidFill>
                <a:effectLst/>
                <a:uLnTx/>
                <a:uFillTx/>
                <a:latin typeface="Arial"/>
                <a:ea typeface="+mn-ea"/>
                <a:cs typeface="+mn-cs"/>
              </a:rPr>
              <a:t>Cooperazione Italiana per lo Sviluppo: CDP nel quadro normativo nazionale</a:t>
            </a:r>
            <a:endParaRPr kumimoji="0" lang="en-US" sz="1800" b="1" i="0" u="none" strike="noStrike" kern="1200" cap="none" spc="0" normalizeH="0" baseline="0" noProof="0" dirty="0">
              <a:ln>
                <a:noFill/>
              </a:ln>
              <a:solidFill>
                <a:schemeClr val="tx1"/>
              </a:solidFill>
              <a:effectLst/>
              <a:uLnTx/>
              <a:uFillTx/>
              <a:latin typeface="Arial"/>
              <a:ea typeface="+mn-ea"/>
              <a:cs typeface="+mn-cs"/>
            </a:endParaRPr>
          </a:p>
        </p:txBody>
      </p:sp>
      <p:sp>
        <p:nvSpPr>
          <p:cNvPr id="135" name="object 20">
            <a:extLst>
              <a:ext uri="{FF2B5EF4-FFF2-40B4-BE49-F238E27FC236}">
                <a16:creationId xmlns:a16="http://schemas.microsoft.com/office/drawing/2014/main" id="{95B7C5AF-67F8-4F83-94FA-DADBC620CDAC}"/>
              </a:ext>
            </a:extLst>
          </p:cNvPr>
          <p:cNvSpPr/>
          <p:nvPr/>
        </p:nvSpPr>
        <p:spPr>
          <a:xfrm>
            <a:off x="6980860" y="2961904"/>
            <a:ext cx="131445" cy="0"/>
          </a:xfrm>
          <a:custGeom>
            <a:avLst/>
            <a:gdLst/>
            <a:ahLst/>
            <a:cxnLst/>
            <a:rect l="l" t="t" r="r" b="b"/>
            <a:pathLst>
              <a:path w="175259">
                <a:moveTo>
                  <a:pt x="0" y="0"/>
                </a:moveTo>
                <a:lnTo>
                  <a:pt x="175259" y="0"/>
                </a:lnTo>
              </a:path>
            </a:pathLst>
          </a:custGeom>
          <a:ln w="60960">
            <a:solidFill>
              <a:srgbClr val="001547"/>
            </a:solidFill>
          </a:ln>
        </p:spPr>
        <p:txBody>
          <a:bodyPr wrap="square" lIns="0" tIns="0" rIns="0" bIns="0" rtlCol="0"/>
          <a:lstStyle/>
          <a:p>
            <a:endParaRPr sz="1350" dirty="0"/>
          </a:p>
        </p:txBody>
      </p:sp>
      <p:sp>
        <p:nvSpPr>
          <p:cNvPr id="136" name="object 21">
            <a:extLst>
              <a:ext uri="{FF2B5EF4-FFF2-40B4-BE49-F238E27FC236}">
                <a16:creationId xmlns:a16="http://schemas.microsoft.com/office/drawing/2014/main" id="{916156AE-9019-4390-8D8B-70DCEFAFDE97}"/>
              </a:ext>
            </a:extLst>
          </p:cNvPr>
          <p:cNvSpPr/>
          <p:nvPr/>
        </p:nvSpPr>
        <p:spPr>
          <a:xfrm>
            <a:off x="6980860" y="2939044"/>
            <a:ext cx="131445" cy="45720"/>
          </a:xfrm>
          <a:custGeom>
            <a:avLst/>
            <a:gdLst/>
            <a:ahLst/>
            <a:cxnLst/>
            <a:rect l="l" t="t" r="r" b="b"/>
            <a:pathLst>
              <a:path w="175259" h="60960">
                <a:moveTo>
                  <a:pt x="0" y="60960"/>
                </a:moveTo>
                <a:lnTo>
                  <a:pt x="175259" y="60960"/>
                </a:lnTo>
                <a:lnTo>
                  <a:pt x="175259" y="0"/>
                </a:lnTo>
                <a:lnTo>
                  <a:pt x="0" y="0"/>
                </a:lnTo>
                <a:lnTo>
                  <a:pt x="0" y="60960"/>
                </a:lnTo>
                <a:close/>
              </a:path>
            </a:pathLst>
          </a:custGeom>
          <a:ln w="9144">
            <a:solidFill>
              <a:srgbClr val="001547"/>
            </a:solidFill>
          </a:ln>
        </p:spPr>
        <p:txBody>
          <a:bodyPr wrap="square" lIns="0" tIns="0" rIns="0" bIns="0" rtlCol="0"/>
          <a:lstStyle/>
          <a:p>
            <a:endParaRPr sz="1350" dirty="0"/>
          </a:p>
        </p:txBody>
      </p:sp>
      <p:grpSp>
        <p:nvGrpSpPr>
          <p:cNvPr id="137" name="Gruppo 136">
            <a:extLst>
              <a:ext uri="{FF2B5EF4-FFF2-40B4-BE49-F238E27FC236}">
                <a16:creationId xmlns:a16="http://schemas.microsoft.com/office/drawing/2014/main" id="{4B4D2000-78B6-4411-9484-9CBF77FF3BD0}"/>
              </a:ext>
            </a:extLst>
          </p:cNvPr>
          <p:cNvGrpSpPr/>
          <p:nvPr/>
        </p:nvGrpSpPr>
        <p:grpSpPr>
          <a:xfrm>
            <a:off x="566572" y="2911338"/>
            <a:ext cx="8231592" cy="115200"/>
            <a:chOff x="763524" y="2052012"/>
            <a:chExt cx="8008436" cy="115200"/>
          </a:xfrm>
        </p:grpSpPr>
        <p:sp>
          <p:nvSpPr>
            <p:cNvPr id="138" name="object 9">
              <a:extLst>
                <a:ext uri="{FF2B5EF4-FFF2-40B4-BE49-F238E27FC236}">
                  <a16:creationId xmlns:a16="http://schemas.microsoft.com/office/drawing/2014/main" id="{25960975-FDCF-4D89-A9B6-CA1AF23A2795}"/>
                </a:ext>
              </a:extLst>
            </p:cNvPr>
            <p:cNvSpPr/>
            <p:nvPr/>
          </p:nvSpPr>
          <p:spPr>
            <a:xfrm>
              <a:off x="763524" y="2106470"/>
              <a:ext cx="7920000" cy="0"/>
            </a:xfrm>
            <a:custGeom>
              <a:avLst/>
              <a:gdLst/>
              <a:ahLst/>
              <a:cxnLst/>
              <a:rect l="l" t="t" r="r" b="b"/>
              <a:pathLst>
                <a:path w="9264650">
                  <a:moveTo>
                    <a:pt x="0" y="0"/>
                  </a:moveTo>
                  <a:lnTo>
                    <a:pt x="9264396" y="0"/>
                  </a:lnTo>
                </a:path>
              </a:pathLst>
            </a:custGeom>
            <a:ln w="60960">
              <a:solidFill>
                <a:srgbClr val="001547"/>
              </a:solidFill>
            </a:ln>
          </p:spPr>
          <p:txBody>
            <a:bodyPr wrap="square" lIns="0" tIns="0" rIns="0" bIns="0" rtlCol="0"/>
            <a:lstStyle/>
            <a:p>
              <a:endParaRPr sz="1350" dirty="0"/>
            </a:p>
          </p:txBody>
        </p:sp>
        <p:sp>
          <p:nvSpPr>
            <p:cNvPr id="139" name="object 22">
              <a:extLst>
                <a:ext uri="{FF2B5EF4-FFF2-40B4-BE49-F238E27FC236}">
                  <a16:creationId xmlns:a16="http://schemas.microsoft.com/office/drawing/2014/main" id="{9C6F14AC-58FF-4B01-8F69-64204B3F04F7}"/>
                </a:ext>
              </a:extLst>
            </p:cNvPr>
            <p:cNvSpPr/>
            <p:nvPr/>
          </p:nvSpPr>
          <p:spPr>
            <a:xfrm>
              <a:off x="8523588" y="2052012"/>
              <a:ext cx="248372" cy="115200"/>
            </a:xfrm>
            <a:prstGeom prst="rect">
              <a:avLst/>
            </a:prstGeom>
            <a:blipFill>
              <a:blip r:embed="rId7" cstate="print"/>
              <a:stretch>
                <a:fillRect/>
              </a:stretch>
            </a:blipFill>
          </p:spPr>
          <p:txBody>
            <a:bodyPr wrap="square" lIns="0" tIns="0" rIns="0" bIns="0" rtlCol="0"/>
            <a:lstStyle/>
            <a:p>
              <a:endParaRPr sz="1350" dirty="0"/>
            </a:p>
          </p:txBody>
        </p:sp>
      </p:grpSp>
      <p:grpSp>
        <p:nvGrpSpPr>
          <p:cNvPr id="140" name="Gruppo 139">
            <a:extLst>
              <a:ext uri="{FF2B5EF4-FFF2-40B4-BE49-F238E27FC236}">
                <a16:creationId xmlns:a16="http://schemas.microsoft.com/office/drawing/2014/main" id="{38959861-61FB-4059-B843-3C7BB77D806D}"/>
              </a:ext>
            </a:extLst>
          </p:cNvPr>
          <p:cNvGrpSpPr/>
          <p:nvPr/>
        </p:nvGrpSpPr>
        <p:grpSpPr>
          <a:xfrm>
            <a:off x="4317160" y="2543852"/>
            <a:ext cx="837257" cy="836104"/>
            <a:chOff x="5110576" y="1881729"/>
            <a:chExt cx="837257" cy="836104"/>
          </a:xfrm>
        </p:grpSpPr>
        <p:sp>
          <p:nvSpPr>
            <p:cNvPr id="141" name="object 23">
              <a:extLst>
                <a:ext uri="{FF2B5EF4-FFF2-40B4-BE49-F238E27FC236}">
                  <a16:creationId xmlns:a16="http://schemas.microsoft.com/office/drawing/2014/main" id="{D8BFD76E-A875-4147-9C61-23E78CF729A7}"/>
                </a:ext>
              </a:extLst>
            </p:cNvPr>
            <p:cNvSpPr/>
            <p:nvPr/>
          </p:nvSpPr>
          <p:spPr>
            <a:xfrm>
              <a:off x="5110576" y="1881729"/>
              <a:ext cx="837257" cy="836104"/>
            </a:xfrm>
            <a:prstGeom prst="rect">
              <a:avLst/>
            </a:prstGeom>
            <a:blipFill>
              <a:blip r:embed="rId8" cstate="print"/>
              <a:stretch>
                <a:fillRect/>
              </a:stretch>
            </a:blipFill>
          </p:spPr>
          <p:txBody>
            <a:bodyPr wrap="square" lIns="0" tIns="0" rIns="0" bIns="0" rtlCol="0"/>
            <a:lstStyle/>
            <a:p>
              <a:endParaRPr sz="1350" dirty="0"/>
            </a:p>
          </p:txBody>
        </p:sp>
        <p:sp>
          <p:nvSpPr>
            <p:cNvPr id="142" name="object 24">
              <a:extLst>
                <a:ext uri="{FF2B5EF4-FFF2-40B4-BE49-F238E27FC236}">
                  <a16:creationId xmlns:a16="http://schemas.microsoft.com/office/drawing/2014/main" id="{4A926693-4207-47EB-83FA-F1E6DF25ECA9}"/>
                </a:ext>
              </a:extLst>
            </p:cNvPr>
            <p:cNvSpPr txBox="1"/>
            <p:nvPr/>
          </p:nvSpPr>
          <p:spPr>
            <a:xfrm>
              <a:off x="5307034" y="2179316"/>
              <a:ext cx="444341" cy="240931"/>
            </a:xfrm>
            <a:prstGeom prst="rect">
              <a:avLst/>
            </a:prstGeom>
          </p:spPr>
          <p:txBody>
            <a:bodyPr vert="horz" wrap="square" lIns="0" tIns="10001" rIns="0" bIns="0" rtlCol="0">
              <a:spAutoFit/>
            </a:bodyPr>
            <a:lstStyle/>
            <a:p>
              <a:pPr marL="9525">
                <a:spcBef>
                  <a:spcPts val="79"/>
                </a:spcBef>
              </a:pPr>
              <a:r>
                <a:rPr sz="1500" b="1" dirty="0">
                  <a:solidFill>
                    <a:srgbClr val="FFFFFF"/>
                  </a:solidFill>
                  <a:latin typeface="Arial"/>
                  <a:cs typeface="Arial"/>
                </a:rPr>
                <a:t>2016</a:t>
              </a:r>
              <a:endParaRPr sz="1500" dirty="0">
                <a:latin typeface="Arial"/>
                <a:cs typeface="Arial"/>
              </a:endParaRPr>
            </a:p>
          </p:txBody>
        </p:sp>
      </p:grpSp>
      <p:sp>
        <p:nvSpPr>
          <p:cNvPr id="144" name="object 35">
            <a:extLst>
              <a:ext uri="{FF2B5EF4-FFF2-40B4-BE49-F238E27FC236}">
                <a16:creationId xmlns:a16="http://schemas.microsoft.com/office/drawing/2014/main" id="{C1296E8A-3C6B-42DE-8246-F645618AE7FC}"/>
              </a:ext>
            </a:extLst>
          </p:cNvPr>
          <p:cNvSpPr txBox="1"/>
          <p:nvPr/>
        </p:nvSpPr>
        <p:spPr>
          <a:xfrm>
            <a:off x="1474029" y="4197468"/>
            <a:ext cx="1831761" cy="163987"/>
          </a:xfrm>
          <a:prstGeom prst="rect">
            <a:avLst/>
          </a:prstGeom>
        </p:spPr>
        <p:txBody>
          <a:bodyPr vert="horz" wrap="square" lIns="0" tIns="10001" rIns="0" bIns="0" rtlCol="0">
            <a:spAutoFit/>
          </a:bodyPr>
          <a:lstStyle/>
          <a:p>
            <a:pPr marL="9525" marR="3810" lvl="0" algn="ctr">
              <a:lnSpc>
                <a:spcPct val="100499"/>
              </a:lnSpc>
              <a:spcBef>
                <a:spcPts val="79"/>
              </a:spcBef>
              <a:defRPr/>
            </a:pPr>
            <a:r>
              <a:rPr lang="it-IT" sz="1000" spc="4" dirty="0">
                <a:cs typeface="Arial"/>
              </a:rPr>
              <a:t>(</a:t>
            </a:r>
            <a:r>
              <a:rPr lang="it-IT" sz="1000" i="1" spc="4" dirty="0">
                <a:cs typeface="Arial"/>
              </a:rPr>
              <a:t>in vigore dal 1° Gennaio 2016</a:t>
            </a:r>
            <a:r>
              <a:rPr lang="it-IT" sz="1000" spc="4" dirty="0">
                <a:cs typeface="Arial"/>
              </a:rPr>
              <a:t>)</a:t>
            </a:r>
            <a:endParaRPr sz="1000" dirty="0">
              <a:latin typeface="Arial"/>
              <a:cs typeface="Arial"/>
            </a:endParaRPr>
          </a:p>
        </p:txBody>
      </p:sp>
      <p:sp>
        <p:nvSpPr>
          <p:cNvPr id="145" name="object 36">
            <a:extLst>
              <a:ext uri="{FF2B5EF4-FFF2-40B4-BE49-F238E27FC236}">
                <a16:creationId xmlns:a16="http://schemas.microsoft.com/office/drawing/2014/main" id="{A95E9AD3-E1B6-4C17-854D-FC4AEA57A816}"/>
              </a:ext>
            </a:extLst>
          </p:cNvPr>
          <p:cNvSpPr txBox="1"/>
          <p:nvPr/>
        </p:nvSpPr>
        <p:spPr>
          <a:xfrm>
            <a:off x="3999616" y="3932783"/>
            <a:ext cx="1496129" cy="798681"/>
          </a:xfrm>
          <a:prstGeom prst="rect">
            <a:avLst/>
          </a:prstGeom>
        </p:spPr>
        <p:txBody>
          <a:bodyPr vert="horz" wrap="square" lIns="0" tIns="8573" rIns="0" bIns="0" rtlCol="0">
            <a:spAutoFit/>
          </a:bodyPr>
          <a:lstStyle/>
          <a:p>
            <a:pPr marL="9525" marR="3810" lvl="0" indent="953" algn="ctr">
              <a:lnSpc>
                <a:spcPct val="114000"/>
              </a:lnSpc>
              <a:spcBef>
                <a:spcPts val="68"/>
              </a:spcBef>
              <a:defRPr/>
            </a:pPr>
            <a:r>
              <a:rPr lang="it-IT" sz="1150" spc="4" dirty="0">
                <a:cs typeface="Arial"/>
              </a:rPr>
              <a:t>CDP gestisce il </a:t>
            </a:r>
            <a:r>
              <a:rPr lang="it-IT" sz="1150" b="1" spc="4" dirty="0">
                <a:cs typeface="Arial"/>
              </a:rPr>
              <a:t>Fondo Rotativo per la Cooperazione allo Sviluppo (FRCS</a:t>
            </a:r>
            <a:r>
              <a:rPr lang="en-US" sz="1150" b="1" spc="4" dirty="0">
                <a:cs typeface="Arial"/>
              </a:rPr>
              <a:t>)</a:t>
            </a:r>
            <a:endParaRPr lang="en-US" sz="1150" dirty="0">
              <a:cs typeface="Arial"/>
            </a:endParaRPr>
          </a:p>
        </p:txBody>
      </p:sp>
      <p:grpSp>
        <p:nvGrpSpPr>
          <p:cNvPr id="150" name="Gruppo 149">
            <a:extLst>
              <a:ext uri="{FF2B5EF4-FFF2-40B4-BE49-F238E27FC236}">
                <a16:creationId xmlns:a16="http://schemas.microsoft.com/office/drawing/2014/main" id="{2EC04D0A-6912-4134-A62C-757F8DDC5854}"/>
              </a:ext>
            </a:extLst>
          </p:cNvPr>
          <p:cNvGrpSpPr/>
          <p:nvPr/>
        </p:nvGrpSpPr>
        <p:grpSpPr>
          <a:xfrm>
            <a:off x="1925731" y="2543852"/>
            <a:ext cx="837257" cy="836104"/>
            <a:chOff x="2875065" y="1881729"/>
            <a:chExt cx="837257" cy="836104"/>
          </a:xfrm>
        </p:grpSpPr>
        <p:sp>
          <p:nvSpPr>
            <p:cNvPr id="151" name="object 23">
              <a:extLst>
                <a:ext uri="{FF2B5EF4-FFF2-40B4-BE49-F238E27FC236}">
                  <a16:creationId xmlns:a16="http://schemas.microsoft.com/office/drawing/2014/main" id="{8ABA5151-9004-4423-98E6-DF7CEBBB19C2}"/>
                </a:ext>
              </a:extLst>
            </p:cNvPr>
            <p:cNvSpPr/>
            <p:nvPr/>
          </p:nvSpPr>
          <p:spPr>
            <a:xfrm>
              <a:off x="2875065" y="1881729"/>
              <a:ext cx="837257" cy="836104"/>
            </a:xfrm>
            <a:prstGeom prst="rect">
              <a:avLst/>
            </a:prstGeom>
            <a:blipFill>
              <a:blip r:embed="rId8" cstate="print"/>
              <a:stretch>
                <a:fillRect/>
              </a:stretch>
            </a:blipFill>
          </p:spPr>
          <p:txBody>
            <a:bodyPr wrap="square" lIns="0" tIns="0" rIns="0" bIns="0" rtlCol="0"/>
            <a:lstStyle/>
            <a:p>
              <a:endParaRPr sz="1350"/>
            </a:p>
          </p:txBody>
        </p:sp>
        <p:sp>
          <p:nvSpPr>
            <p:cNvPr id="152" name="object 24">
              <a:extLst>
                <a:ext uri="{FF2B5EF4-FFF2-40B4-BE49-F238E27FC236}">
                  <a16:creationId xmlns:a16="http://schemas.microsoft.com/office/drawing/2014/main" id="{3560D334-2D4F-48CF-95FC-64828009BD6D}"/>
                </a:ext>
              </a:extLst>
            </p:cNvPr>
            <p:cNvSpPr txBox="1"/>
            <p:nvPr/>
          </p:nvSpPr>
          <p:spPr>
            <a:xfrm>
              <a:off x="3071523" y="2179316"/>
              <a:ext cx="444341" cy="240931"/>
            </a:xfrm>
            <a:prstGeom prst="rect">
              <a:avLst/>
            </a:prstGeom>
          </p:spPr>
          <p:txBody>
            <a:bodyPr vert="horz" wrap="square" lIns="0" tIns="10001" rIns="0" bIns="0" rtlCol="0">
              <a:spAutoFit/>
            </a:bodyPr>
            <a:lstStyle/>
            <a:p>
              <a:pPr marL="9525">
                <a:spcBef>
                  <a:spcPts val="79"/>
                </a:spcBef>
              </a:pPr>
              <a:r>
                <a:rPr sz="1500" b="1" dirty="0">
                  <a:solidFill>
                    <a:srgbClr val="FFFFFF"/>
                  </a:solidFill>
                  <a:latin typeface="Arial"/>
                  <a:cs typeface="Arial"/>
                </a:rPr>
                <a:t>201</a:t>
              </a:r>
              <a:r>
                <a:rPr lang="it-IT" sz="1500" b="1" dirty="0">
                  <a:solidFill>
                    <a:srgbClr val="FFFFFF"/>
                  </a:solidFill>
                  <a:latin typeface="Arial"/>
                  <a:cs typeface="Arial"/>
                </a:rPr>
                <a:t>4</a:t>
              </a:r>
              <a:endParaRPr sz="1500" dirty="0">
                <a:latin typeface="Arial"/>
                <a:cs typeface="Arial"/>
              </a:endParaRPr>
            </a:p>
          </p:txBody>
        </p:sp>
      </p:grpSp>
      <p:grpSp>
        <p:nvGrpSpPr>
          <p:cNvPr id="178" name="Gruppo 177">
            <a:extLst>
              <a:ext uri="{FF2B5EF4-FFF2-40B4-BE49-F238E27FC236}">
                <a16:creationId xmlns:a16="http://schemas.microsoft.com/office/drawing/2014/main" id="{11904E52-75F7-419D-B167-F650AE48804D}"/>
              </a:ext>
            </a:extLst>
          </p:cNvPr>
          <p:cNvGrpSpPr/>
          <p:nvPr/>
        </p:nvGrpSpPr>
        <p:grpSpPr>
          <a:xfrm>
            <a:off x="6627959" y="2543852"/>
            <a:ext cx="837247" cy="836105"/>
            <a:chOff x="7339075" y="1881729"/>
            <a:chExt cx="837247" cy="836105"/>
          </a:xfrm>
        </p:grpSpPr>
        <p:sp>
          <p:nvSpPr>
            <p:cNvPr id="179" name="object 13">
              <a:extLst>
                <a:ext uri="{FF2B5EF4-FFF2-40B4-BE49-F238E27FC236}">
                  <a16:creationId xmlns:a16="http://schemas.microsoft.com/office/drawing/2014/main" id="{C12EA2F1-0F6B-4D17-BC5F-3AA9498C5441}"/>
                </a:ext>
              </a:extLst>
            </p:cNvPr>
            <p:cNvSpPr/>
            <p:nvPr/>
          </p:nvSpPr>
          <p:spPr>
            <a:xfrm>
              <a:off x="7339075" y="1881729"/>
              <a:ext cx="837247" cy="836105"/>
            </a:xfrm>
            <a:prstGeom prst="rect">
              <a:avLst/>
            </a:prstGeom>
            <a:blipFill>
              <a:blip r:embed="rId9" cstate="print"/>
              <a:stretch>
                <a:fillRect/>
              </a:stretch>
            </a:blipFill>
          </p:spPr>
          <p:txBody>
            <a:bodyPr wrap="square" lIns="0" tIns="0" rIns="0" bIns="0" rtlCol="0"/>
            <a:lstStyle/>
            <a:p>
              <a:endParaRPr sz="1350" dirty="0"/>
            </a:p>
          </p:txBody>
        </p:sp>
        <p:sp>
          <p:nvSpPr>
            <p:cNvPr id="180" name="object 14">
              <a:extLst>
                <a:ext uri="{FF2B5EF4-FFF2-40B4-BE49-F238E27FC236}">
                  <a16:creationId xmlns:a16="http://schemas.microsoft.com/office/drawing/2014/main" id="{41F219F6-02A2-4B3A-B640-63FAE94109B0}"/>
                </a:ext>
              </a:extLst>
            </p:cNvPr>
            <p:cNvSpPr txBox="1"/>
            <p:nvPr/>
          </p:nvSpPr>
          <p:spPr>
            <a:xfrm>
              <a:off x="7535051" y="2179316"/>
              <a:ext cx="445294" cy="240931"/>
            </a:xfrm>
            <a:prstGeom prst="rect">
              <a:avLst/>
            </a:prstGeom>
          </p:spPr>
          <p:txBody>
            <a:bodyPr vert="horz" wrap="square" lIns="0" tIns="10001" rIns="0" bIns="0" rtlCol="0">
              <a:spAutoFit/>
            </a:bodyPr>
            <a:lstStyle/>
            <a:p>
              <a:pPr marL="9525">
                <a:spcBef>
                  <a:spcPts val="79"/>
                </a:spcBef>
              </a:pPr>
              <a:r>
                <a:rPr sz="1500" b="1" dirty="0">
                  <a:solidFill>
                    <a:srgbClr val="FFFFFF"/>
                  </a:solidFill>
                  <a:latin typeface="Arial"/>
                  <a:cs typeface="Arial"/>
                </a:rPr>
                <a:t>2017</a:t>
              </a:r>
              <a:endParaRPr sz="1500" dirty="0">
                <a:latin typeface="Arial"/>
                <a:cs typeface="Arial"/>
              </a:endParaRPr>
            </a:p>
          </p:txBody>
        </p:sp>
      </p:grpSp>
      <p:sp>
        <p:nvSpPr>
          <p:cNvPr id="195" name="object 38">
            <a:extLst>
              <a:ext uri="{FF2B5EF4-FFF2-40B4-BE49-F238E27FC236}">
                <a16:creationId xmlns:a16="http://schemas.microsoft.com/office/drawing/2014/main" id="{29EA2A3C-20E5-4BE0-B501-52B45E0F0899}"/>
              </a:ext>
            </a:extLst>
          </p:cNvPr>
          <p:cNvSpPr txBox="1"/>
          <p:nvPr/>
        </p:nvSpPr>
        <p:spPr>
          <a:xfrm>
            <a:off x="1194853" y="3416543"/>
            <a:ext cx="2322899" cy="609302"/>
          </a:xfrm>
          <a:prstGeom prst="rect">
            <a:avLst/>
          </a:prstGeom>
        </p:spPr>
        <p:txBody>
          <a:bodyPr vert="horz" wrap="square" lIns="0" tIns="9049" rIns="0" bIns="0" rtlCol="0">
            <a:spAutoFit/>
          </a:bodyPr>
          <a:lstStyle/>
          <a:p>
            <a:pPr lvl="0" algn="ctr" defTabSz="363615" fontAlgn="base">
              <a:spcBef>
                <a:spcPts val="239"/>
              </a:spcBef>
              <a:spcAft>
                <a:spcPts val="239"/>
              </a:spcAft>
              <a:buClr>
                <a:srgbClr val="C00000"/>
              </a:buClr>
              <a:defRPr/>
            </a:pPr>
            <a:r>
              <a:rPr lang="it-IT" sz="1300" b="1" dirty="0">
                <a:solidFill>
                  <a:schemeClr val="accent4">
                    <a:lumMod val="75000"/>
                  </a:schemeClr>
                </a:solidFill>
              </a:rPr>
              <a:t>Istituzione Finanziaria per la Cooperazione Internazionale allo Sviluppo</a:t>
            </a:r>
          </a:p>
        </p:txBody>
      </p:sp>
      <p:sp>
        <p:nvSpPr>
          <p:cNvPr id="196" name="object 38">
            <a:extLst>
              <a:ext uri="{FF2B5EF4-FFF2-40B4-BE49-F238E27FC236}">
                <a16:creationId xmlns:a16="http://schemas.microsoft.com/office/drawing/2014/main" id="{4793C89C-62F7-494A-842C-AE161E6692E1}"/>
              </a:ext>
            </a:extLst>
          </p:cNvPr>
          <p:cNvSpPr txBox="1"/>
          <p:nvPr/>
        </p:nvSpPr>
        <p:spPr>
          <a:xfrm>
            <a:off x="4152191" y="3416543"/>
            <a:ext cx="1167193" cy="409247"/>
          </a:xfrm>
          <a:prstGeom prst="rect">
            <a:avLst/>
          </a:prstGeom>
        </p:spPr>
        <p:txBody>
          <a:bodyPr vert="horz" wrap="square" lIns="0" tIns="9049" rIns="0" bIns="0" rtlCol="0">
            <a:spAutoFit/>
          </a:bodyPr>
          <a:lstStyle/>
          <a:p>
            <a:pPr marL="9525" algn="ctr">
              <a:spcBef>
                <a:spcPts val="71"/>
              </a:spcBef>
            </a:pPr>
            <a:r>
              <a:rPr lang="it-IT" sz="1300" b="1" spc="-4" dirty="0">
                <a:solidFill>
                  <a:schemeClr val="accent4">
                    <a:lumMod val="75000"/>
                  </a:schemeClr>
                </a:solidFill>
                <a:latin typeface="Arial"/>
                <a:cs typeface="Arial"/>
              </a:rPr>
              <a:t>Fondo Rotativo</a:t>
            </a:r>
            <a:endParaRPr sz="1300" b="1" dirty="0">
              <a:solidFill>
                <a:schemeClr val="accent4">
                  <a:lumMod val="75000"/>
                </a:schemeClr>
              </a:solidFill>
              <a:latin typeface="Arial"/>
              <a:cs typeface="Arial"/>
            </a:endParaRPr>
          </a:p>
        </p:txBody>
      </p:sp>
      <p:sp>
        <p:nvSpPr>
          <p:cNvPr id="197" name="object 38">
            <a:extLst>
              <a:ext uri="{FF2B5EF4-FFF2-40B4-BE49-F238E27FC236}">
                <a16:creationId xmlns:a16="http://schemas.microsoft.com/office/drawing/2014/main" id="{1593BC36-F17F-424A-8C3C-34CF633B7D53}"/>
              </a:ext>
            </a:extLst>
          </p:cNvPr>
          <p:cNvSpPr txBox="1"/>
          <p:nvPr/>
        </p:nvSpPr>
        <p:spPr>
          <a:xfrm>
            <a:off x="6462986" y="3416543"/>
            <a:ext cx="1167193" cy="409247"/>
          </a:xfrm>
          <a:prstGeom prst="rect">
            <a:avLst/>
          </a:prstGeom>
        </p:spPr>
        <p:txBody>
          <a:bodyPr vert="horz" wrap="square" lIns="0" tIns="9049" rIns="0" bIns="0" rtlCol="0">
            <a:spAutoFit/>
          </a:bodyPr>
          <a:lstStyle/>
          <a:p>
            <a:pPr marL="9525" algn="ctr">
              <a:spcBef>
                <a:spcPts val="71"/>
              </a:spcBef>
            </a:pPr>
            <a:r>
              <a:rPr lang="it-IT" sz="1300" b="1" spc="-4" dirty="0">
                <a:solidFill>
                  <a:schemeClr val="accent4">
                    <a:lumMod val="75000"/>
                  </a:schemeClr>
                </a:solidFill>
                <a:latin typeface="Arial"/>
                <a:cs typeface="Arial"/>
              </a:rPr>
              <a:t>Risorse Proprie</a:t>
            </a:r>
            <a:endParaRPr sz="1300" b="1" dirty="0">
              <a:solidFill>
                <a:schemeClr val="accent4">
                  <a:lumMod val="75000"/>
                </a:schemeClr>
              </a:solidFill>
              <a:latin typeface="Arial"/>
              <a:cs typeface="Arial"/>
            </a:endParaRPr>
          </a:p>
        </p:txBody>
      </p:sp>
      <p:sp>
        <p:nvSpPr>
          <p:cNvPr id="147" name="Rectangle 2">
            <a:extLst>
              <a:ext uri="{FF2B5EF4-FFF2-40B4-BE49-F238E27FC236}">
                <a16:creationId xmlns:a16="http://schemas.microsoft.com/office/drawing/2014/main" id="{CD224FEB-4267-4C09-A234-5F5093CDA828}"/>
              </a:ext>
            </a:extLst>
          </p:cNvPr>
          <p:cNvSpPr>
            <a:spLocks/>
          </p:cNvSpPr>
          <p:nvPr/>
        </p:nvSpPr>
        <p:spPr>
          <a:xfrm>
            <a:off x="1" y="3"/>
            <a:ext cx="9143999" cy="163396"/>
          </a:xfrm>
          <a:prstGeom prst="rect">
            <a:avLst/>
          </a:prstGeom>
          <a:solidFill>
            <a:srgbClr val="415064"/>
          </a:solidFill>
          <a:ln w="9525" cap="flat" cmpd="sng" algn="ctr">
            <a:noFill/>
            <a:prstDash val="solid"/>
          </a:ln>
          <a:effectLst/>
        </p:spPr>
        <p:txBody>
          <a:bodyPr rot="0" spcFirstLastPara="0" vert="horz" wrap="square" lIns="121920" tIns="60960" rIns="121920" bIns="6096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224" kern="1200">
                <a:solidFill>
                  <a:schemeClr val="lt1"/>
                </a:solidFill>
                <a:latin typeface="+mn-lt"/>
                <a:ea typeface="+mn-ea"/>
                <a:cs typeface="+mn-cs"/>
              </a:defRPr>
            </a:lvl1pPr>
            <a:lvl2pPr marL="349849" algn="l" rtl="0" fontAlgn="base">
              <a:spcBef>
                <a:spcPct val="0"/>
              </a:spcBef>
              <a:spcAft>
                <a:spcPct val="0"/>
              </a:spcAft>
              <a:defRPr sz="1224" kern="1200">
                <a:solidFill>
                  <a:schemeClr val="lt1"/>
                </a:solidFill>
                <a:latin typeface="+mn-lt"/>
                <a:ea typeface="+mn-ea"/>
                <a:cs typeface="+mn-cs"/>
              </a:defRPr>
            </a:lvl2pPr>
            <a:lvl3pPr marL="699699" algn="l" rtl="0" fontAlgn="base">
              <a:spcBef>
                <a:spcPct val="0"/>
              </a:spcBef>
              <a:spcAft>
                <a:spcPct val="0"/>
              </a:spcAft>
              <a:defRPr sz="1224" kern="1200">
                <a:solidFill>
                  <a:schemeClr val="lt1"/>
                </a:solidFill>
                <a:latin typeface="+mn-lt"/>
                <a:ea typeface="+mn-ea"/>
                <a:cs typeface="+mn-cs"/>
              </a:defRPr>
            </a:lvl3pPr>
            <a:lvl4pPr marL="1049548" algn="l" rtl="0" fontAlgn="base">
              <a:spcBef>
                <a:spcPct val="0"/>
              </a:spcBef>
              <a:spcAft>
                <a:spcPct val="0"/>
              </a:spcAft>
              <a:defRPr sz="1224" kern="1200">
                <a:solidFill>
                  <a:schemeClr val="lt1"/>
                </a:solidFill>
                <a:latin typeface="+mn-lt"/>
                <a:ea typeface="+mn-ea"/>
                <a:cs typeface="+mn-cs"/>
              </a:defRPr>
            </a:lvl4pPr>
            <a:lvl5pPr marL="1399398" algn="l" rtl="0" fontAlgn="base">
              <a:spcBef>
                <a:spcPct val="0"/>
              </a:spcBef>
              <a:spcAft>
                <a:spcPct val="0"/>
              </a:spcAft>
              <a:defRPr sz="1224" kern="1200">
                <a:solidFill>
                  <a:schemeClr val="lt1"/>
                </a:solidFill>
                <a:latin typeface="+mn-lt"/>
                <a:ea typeface="+mn-ea"/>
                <a:cs typeface="+mn-cs"/>
              </a:defRPr>
            </a:lvl5pPr>
            <a:lvl6pPr marL="1749247" algn="l" defTabSz="699699" rtl="0" eaLnBrk="1" latinLnBrk="0" hangingPunct="1">
              <a:defRPr sz="1224" kern="1200">
                <a:solidFill>
                  <a:schemeClr val="lt1"/>
                </a:solidFill>
                <a:latin typeface="+mn-lt"/>
                <a:ea typeface="+mn-ea"/>
                <a:cs typeface="+mn-cs"/>
              </a:defRPr>
            </a:lvl6pPr>
            <a:lvl7pPr marL="2099097" algn="l" defTabSz="699699" rtl="0" eaLnBrk="1" latinLnBrk="0" hangingPunct="1">
              <a:defRPr sz="1224" kern="1200">
                <a:solidFill>
                  <a:schemeClr val="lt1"/>
                </a:solidFill>
                <a:latin typeface="+mn-lt"/>
                <a:ea typeface="+mn-ea"/>
                <a:cs typeface="+mn-cs"/>
              </a:defRPr>
            </a:lvl7pPr>
            <a:lvl8pPr marL="2448946" algn="l" defTabSz="699699" rtl="0" eaLnBrk="1" latinLnBrk="0" hangingPunct="1">
              <a:defRPr sz="1224" kern="1200">
                <a:solidFill>
                  <a:schemeClr val="lt1"/>
                </a:solidFill>
                <a:latin typeface="+mn-lt"/>
                <a:ea typeface="+mn-ea"/>
                <a:cs typeface="+mn-cs"/>
              </a:defRPr>
            </a:lvl8pPr>
            <a:lvl9pPr marL="2798796" algn="l" defTabSz="699699" rtl="0" eaLnBrk="1" latinLnBrk="0" hangingPunct="1">
              <a:defRPr sz="1224" kern="1200">
                <a:solidFill>
                  <a:schemeClr val="lt1"/>
                </a:solidFill>
                <a:latin typeface="+mn-lt"/>
                <a:ea typeface="+mn-ea"/>
                <a:cs typeface="+mn-cs"/>
              </a:defRPr>
            </a:lvl9pPr>
          </a:lstStyle>
          <a:p>
            <a:pPr defTabSz="1219079">
              <a:defRPr/>
            </a:pPr>
            <a:r>
              <a:rPr lang="it-IT" sz="1000" b="1" dirty="0">
                <a:solidFill>
                  <a:srgbClr val="FFFFFF"/>
                </a:solidFill>
                <a:latin typeface="Arial"/>
              </a:rPr>
              <a:t>CDP Cooperazione Internazionale allo Sviluppo</a:t>
            </a:r>
            <a:endParaRPr lang="it-IT" sz="1000" b="1" i="1" dirty="0">
              <a:solidFill>
                <a:srgbClr val="FFFFFF"/>
              </a:solidFill>
              <a:latin typeface="Arial"/>
            </a:endParaRPr>
          </a:p>
        </p:txBody>
      </p:sp>
      <p:sp>
        <p:nvSpPr>
          <p:cNvPr id="2" name="Rettangolo 1">
            <a:extLst>
              <a:ext uri="{FF2B5EF4-FFF2-40B4-BE49-F238E27FC236}">
                <a16:creationId xmlns:a16="http://schemas.microsoft.com/office/drawing/2014/main" id="{A70013A7-AE4A-4817-978F-35DFC14ECB8F}"/>
              </a:ext>
            </a:extLst>
          </p:cNvPr>
          <p:cNvSpPr/>
          <p:nvPr/>
        </p:nvSpPr>
        <p:spPr>
          <a:xfrm>
            <a:off x="111759" y="653127"/>
            <a:ext cx="8712471" cy="1604606"/>
          </a:xfrm>
          <a:prstGeom prst="rect">
            <a:avLst/>
          </a:prstGeom>
        </p:spPr>
        <p:txBody>
          <a:bodyPr wrap="square">
            <a:spAutoFit/>
          </a:bodyPr>
          <a:lstStyle/>
          <a:p>
            <a:pPr marL="342900" lvl="0" indent="-342900" algn="just">
              <a:lnSpc>
                <a:spcPct val="110000"/>
              </a:lnSpc>
              <a:spcAft>
                <a:spcPts val="600"/>
              </a:spcAft>
              <a:buFont typeface="Symbol" panose="05050102010706020507" pitchFamily="18" charset="2"/>
              <a:buChar char=""/>
            </a:pPr>
            <a:r>
              <a:rPr lang="it-IT" dirty="0"/>
              <a:t>La Cooperazione Internazionale per lo Sviluppo è parte integrante e qualificante della politica estera italiana</a:t>
            </a:r>
          </a:p>
          <a:p>
            <a:pPr marL="342900" lvl="0" indent="-342900" algn="just">
              <a:lnSpc>
                <a:spcPct val="110000"/>
              </a:lnSpc>
              <a:spcAft>
                <a:spcPts val="600"/>
              </a:spcAft>
              <a:buFont typeface="Symbol" panose="05050102010706020507" pitchFamily="18" charset="2"/>
              <a:buChar char=""/>
            </a:pPr>
            <a:r>
              <a:rPr lang="it-IT" dirty="0">
                <a:latin typeface="Arial" panose="020B0604020202020204" pitchFamily="34" charset="0"/>
                <a:ea typeface="Calibri" panose="020F0502020204030204" pitchFamily="34" charset="0"/>
                <a:cs typeface="Times New Roman" panose="02020603050405020304" pitchFamily="18" charset="0"/>
              </a:rPr>
              <a:t>La legge 125/2014 ha ridefinito l’architettura della cooperazione internazionale allo sviluppo, individuando in </a:t>
            </a:r>
            <a:r>
              <a:rPr lang="it-IT" b="1" dirty="0">
                <a:latin typeface="Arial" panose="020B0604020202020204" pitchFamily="34" charset="0"/>
                <a:ea typeface="Calibri" panose="020F0502020204030204" pitchFamily="34" charset="0"/>
                <a:cs typeface="Times New Roman" panose="02020603050405020304" pitchFamily="18" charset="0"/>
              </a:rPr>
              <a:t>CDP l’Istituzione finanziaria per la cooperazione internazionale allo sviluppo</a:t>
            </a:r>
            <a:endParaRPr lang="it-IT"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10000"/>
              </a:lnSpc>
              <a:spcAft>
                <a:spcPts val="600"/>
              </a:spcAft>
              <a:buFont typeface="Symbol" panose="05050102010706020507" pitchFamily="18" charset="2"/>
              <a:buChar char=""/>
            </a:pPr>
            <a:r>
              <a:rPr lang="it-IT" dirty="0">
                <a:latin typeface="Arial" panose="020B0604020202020204" pitchFamily="34" charset="0"/>
                <a:ea typeface="Calibri" panose="020F0502020204030204" pitchFamily="34" charset="0"/>
                <a:cs typeface="Times New Roman" panose="02020603050405020304" pitchFamily="18" charset="0"/>
              </a:rPr>
              <a:t>Si tratta di una figura istituzionale del tutto</a:t>
            </a:r>
            <a:r>
              <a:rPr lang="it-IT" b="1" dirty="0">
                <a:latin typeface="Arial" panose="020B0604020202020204" pitchFamily="34" charset="0"/>
                <a:ea typeface="Calibri" panose="020F0502020204030204" pitchFamily="34" charset="0"/>
                <a:cs typeface="Times New Roman" panose="02020603050405020304" pitchFamily="18" charset="0"/>
              </a:rPr>
              <a:t> nuova</a:t>
            </a:r>
            <a:r>
              <a:rPr lang="it-IT" dirty="0">
                <a:latin typeface="Arial" panose="020B0604020202020204" pitchFamily="34" charset="0"/>
                <a:ea typeface="Calibri" panose="020F0502020204030204" pitchFamily="34" charset="0"/>
                <a:cs typeface="Times New Roman" panose="02020603050405020304" pitchFamily="18" charset="0"/>
              </a:rPr>
              <a:t> </a:t>
            </a:r>
            <a:r>
              <a:rPr lang="it-IT" b="1" dirty="0">
                <a:latin typeface="Arial" panose="020B0604020202020204" pitchFamily="34" charset="0"/>
                <a:ea typeface="Calibri" panose="020F0502020204030204" pitchFamily="34" charset="0"/>
                <a:cs typeface="Times New Roman" panose="02020603050405020304" pitchFamily="18" charset="0"/>
              </a:rPr>
              <a:t>nell’esperienza ultradecennale italiana</a:t>
            </a:r>
            <a:r>
              <a:rPr lang="it-IT" dirty="0">
                <a:latin typeface="Arial" panose="020B0604020202020204" pitchFamily="34" charset="0"/>
                <a:ea typeface="Calibri" panose="020F0502020204030204" pitchFamily="34" charset="0"/>
                <a:cs typeface="Times New Roman" panose="02020603050405020304" pitchFamily="18" charset="0"/>
              </a:rPr>
              <a:t> nel campo della cooperazione e, tuttavia, </a:t>
            </a:r>
            <a:r>
              <a:rPr lang="it-IT" b="1" dirty="0">
                <a:latin typeface="Arial" panose="020B0604020202020204" pitchFamily="34" charset="0"/>
                <a:ea typeface="Calibri" panose="020F0502020204030204" pitchFamily="34" charset="0"/>
                <a:cs typeface="Times New Roman" panose="02020603050405020304" pitchFamily="18" charset="0"/>
              </a:rPr>
              <a:t>diffusa e di primaria importanza nei sistemi di cooperazione di molti paesi</a:t>
            </a:r>
            <a:r>
              <a:rPr lang="it-IT" dirty="0">
                <a:latin typeface="Arial" panose="020B0604020202020204" pitchFamily="34" charset="0"/>
                <a:ea typeface="Calibri" panose="020F0502020204030204" pitchFamily="34" charset="0"/>
                <a:cs typeface="Times New Roman" panose="02020603050405020304" pitchFamily="18" charset="0"/>
              </a:rPr>
              <a:t> a livello europeo e globale</a:t>
            </a:r>
            <a:endParaRPr lang="it-IT"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Rettangolo 3">
            <a:extLst>
              <a:ext uri="{FF2B5EF4-FFF2-40B4-BE49-F238E27FC236}">
                <a16:creationId xmlns:a16="http://schemas.microsoft.com/office/drawing/2014/main" id="{8B93FCE7-9A0C-4B6A-998F-4EB9E2339672}"/>
              </a:ext>
            </a:extLst>
          </p:cNvPr>
          <p:cNvSpPr/>
          <p:nvPr/>
        </p:nvSpPr>
        <p:spPr>
          <a:xfrm>
            <a:off x="6098224" y="3909744"/>
            <a:ext cx="1873045" cy="1081290"/>
          </a:xfrm>
          <a:prstGeom prst="rect">
            <a:avLst/>
          </a:prstGeom>
          <a:solidFill>
            <a:schemeClr val="bg1"/>
          </a:solidFill>
          <a:ln w="9525">
            <a:solidFill>
              <a:srgbClr val="BDBDBD"/>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114000"/>
              </a:lnSpc>
              <a:defRPr/>
            </a:pPr>
            <a:r>
              <a:rPr lang="it-IT" sz="1150" dirty="0">
                <a:solidFill>
                  <a:schemeClr val="tx1"/>
                </a:solidFill>
              </a:rPr>
              <a:t>CDP è autorizzata ad utilizzare risorse proprie </a:t>
            </a:r>
            <a:r>
              <a:rPr lang="it-IT" sz="1150" b="1" dirty="0">
                <a:solidFill>
                  <a:schemeClr val="tx1"/>
                </a:solidFill>
              </a:rPr>
              <a:t>fino a € 1 miliardo all’anno</a:t>
            </a:r>
          </a:p>
        </p:txBody>
      </p:sp>
    </p:spTree>
    <p:extLst>
      <p:ext uri="{BB962C8B-B14F-4D97-AF65-F5344CB8AC3E}">
        <p14:creationId xmlns:p14="http://schemas.microsoft.com/office/powerpoint/2010/main" val="16949438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 name="CasellaDiTesto 1048"/>
          <p:cNvSpPr txBox="1"/>
          <p:nvPr/>
        </p:nvSpPr>
        <p:spPr>
          <a:xfrm>
            <a:off x="2800481" y="789422"/>
            <a:ext cx="4013274" cy="479456"/>
          </a:xfrm>
          <a:prstGeom prst="rect">
            <a:avLst/>
          </a:prstGeom>
          <a:solidFill>
            <a:schemeClr val="bg1"/>
          </a:solidFill>
          <a:ln w="3175">
            <a:solidFill>
              <a:schemeClr val="tx1">
                <a:lumMod val="20000"/>
                <a:lumOff val="80000"/>
              </a:schemeClr>
            </a:solidFill>
          </a:ln>
          <a:effectLst>
            <a:outerShdw blurRad="50800" dist="38100" dir="13500000" algn="br" rotWithShape="0">
              <a:prstClr val="black">
                <a:alpha val="40000"/>
              </a:prstClr>
            </a:outerShdw>
          </a:effectLst>
        </p:spPr>
        <p:txBody>
          <a:bodyPr wrap="square" lIns="27000" rIns="108000" rtlCol="0" anchor="ctr" anchorCtr="0">
            <a:noAutofit/>
          </a:bodyPr>
          <a:lstStyle/>
          <a:p>
            <a:pPr marL="132160" indent="-132160" algn="just">
              <a:spcAft>
                <a:spcPts val="200"/>
              </a:spcAft>
              <a:buClr>
                <a:schemeClr val="tx1"/>
              </a:buClr>
              <a:buFont typeface="Wingdings" panose="05000000000000000000" pitchFamily="2" charset="2"/>
              <a:buChar char="§"/>
            </a:pPr>
            <a:r>
              <a:rPr lang="it-IT" sz="900" b="1" dirty="0"/>
              <a:t>Stabilisce le priorità politiche della cooperazione</a:t>
            </a:r>
          </a:p>
          <a:p>
            <a:pPr marL="132160" indent="-132160" algn="just">
              <a:spcAft>
                <a:spcPts val="200"/>
              </a:spcAft>
              <a:buClr>
                <a:schemeClr val="tx1"/>
              </a:buClr>
              <a:buFont typeface="Wingdings" panose="05000000000000000000" pitchFamily="2" charset="2"/>
              <a:buChar char="§"/>
            </a:pPr>
            <a:r>
              <a:rPr lang="it-IT" sz="900" b="1" dirty="0"/>
              <a:t>Assicura il coordinamento di tutte le iniziative nazionali di cooperazione</a:t>
            </a:r>
          </a:p>
        </p:txBody>
      </p:sp>
      <p:sp>
        <p:nvSpPr>
          <p:cNvPr id="1048" name="CasellaDiTesto 1047"/>
          <p:cNvSpPr txBox="1"/>
          <p:nvPr/>
        </p:nvSpPr>
        <p:spPr>
          <a:xfrm>
            <a:off x="2800481" y="2031948"/>
            <a:ext cx="4013274" cy="479456"/>
          </a:xfrm>
          <a:prstGeom prst="rect">
            <a:avLst/>
          </a:prstGeom>
          <a:solidFill>
            <a:schemeClr val="bg1"/>
          </a:solidFill>
          <a:ln w="3175">
            <a:solidFill>
              <a:schemeClr val="tx1">
                <a:lumMod val="20000"/>
                <a:lumOff val="80000"/>
              </a:schemeClr>
            </a:solidFill>
          </a:ln>
          <a:effectLst>
            <a:outerShdw blurRad="50800" dist="38100" dir="13500000" algn="br" rotWithShape="0">
              <a:prstClr val="black">
                <a:alpha val="40000"/>
              </a:prstClr>
            </a:outerShdw>
          </a:effectLst>
        </p:spPr>
        <p:txBody>
          <a:bodyPr wrap="square" lIns="27000" rIns="108000" rtlCol="0" anchor="ctr" anchorCtr="0">
            <a:noAutofit/>
          </a:bodyPr>
          <a:lstStyle>
            <a:defPPr>
              <a:defRPr lang="it-IT"/>
            </a:defPPr>
            <a:lvl1pPr marL="171450" indent="-171450">
              <a:buClr>
                <a:srgbClr val="C90026"/>
              </a:buClr>
              <a:buFont typeface="Wingdings" panose="05000000000000000000" pitchFamily="2" charset="2"/>
              <a:buChar char="Ø"/>
              <a:defRPr sz="1000">
                <a:solidFill>
                  <a:srgbClr val="001548"/>
                </a:solidFill>
              </a:defRPr>
            </a:lvl1pPr>
          </a:lstStyle>
          <a:p>
            <a:pPr marL="132160" indent="-132160" algn="just">
              <a:spcAft>
                <a:spcPts val="200"/>
              </a:spcAft>
              <a:buClr>
                <a:schemeClr val="tx1"/>
              </a:buClr>
              <a:buFont typeface="Wingdings" panose="05000000000000000000" pitchFamily="2" charset="2"/>
              <a:buChar char="§"/>
            </a:pPr>
            <a:r>
              <a:rPr lang="it-IT" sz="900" b="1" dirty="0">
                <a:solidFill>
                  <a:schemeClr val="tx1"/>
                </a:solidFill>
              </a:rPr>
              <a:t>Contribuisce all'attuazione delle politiche di Cooperazione</a:t>
            </a:r>
          </a:p>
          <a:p>
            <a:pPr marL="132160" indent="-132160" algn="just">
              <a:spcAft>
                <a:spcPts val="200"/>
              </a:spcAft>
              <a:buClr>
                <a:schemeClr val="tx1"/>
              </a:buClr>
              <a:buFont typeface="Wingdings" panose="05000000000000000000" pitchFamily="2" charset="2"/>
              <a:buChar char="§"/>
            </a:pPr>
            <a:r>
              <a:rPr lang="it-IT" sz="900" b="1" dirty="0">
                <a:solidFill>
                  <a:schemeClr val="tx1"/>
                </a:solidFill>
              </a:rPr>
              <a:t>Svolge attività tecniche, di progettazione e monitoraggio in loco</a:t>
            </a:r>
          </a:p>
        </p:txBody>
      </p:sp>
      <p:sp>
        <p:nvSpPr>
          <p:cNvPr id="1047" name="CasellaDiTesto 1046"/>
          <p:cNvSpPr txBox="1"/>
          <p:nvPr/>
        </p:nvSpPr>
        <p:spPr>
          <a:xfrm>
            <a:off x="2800481" y="3306029"/>
            <a:ext cx="4013274" cy="479456"/>
          </a:xfrm>
          <a:prstGeom prst="rect">
            <a:avLst/>
          </a:prstGeom>
          <a:solidFill>
            <a:schemeClr val="bg1"/>
          </a:solidFill>
          <a:ln w="3175">
            <a:solidFill>
              <a:schemeClr val="tx1">
                <a:lumMod val="20000"/>
                <a:lumOff val="80000"/>
              </a:schemeClr>
            </a:solidFill>
          </a:ln>
          <a:effectLst>
            <a:outerShdw blurRad="50800" dist="38100" dir="13500000" algn="br" rotWithShape="0">
              <a:prstClr val="black">
                <a:alpha val="40000"/>
              </a:prstClr>
            </a:outerShdw>
          </a:effectLst>
        </p:spPr>
        <p:txBody>
          <a:bodyPr wrap="square" lIns="27000" rIns="108000" rtlCol="0" anchor="ctr" anchorCtr="0">
            <a:noAutofit/>
          </a:bodyPr>
          <a:lstStyle>
            <a:defPPr>
              <a:defRPr lang="it-IT"/>
            </a:defPPr>
            <a:lvl1pPr marL="171450" indent="-171450">
              <a:buClr>
                <a:srgbClr val="C90026"/>
              </a:buClr>
              <a:buFont typeface="Wingdings" panose="05000000000000000000" pitchFamily="2" charset="2"/>
              <a:buChar char="Ø"/>
              <a:defRPr sz="1000">
                <a:solidFill>
                  <a:srgbClr val="001548"/>
                </a:solidFill>
              </a:defRPr>
            </a:lvl1pPr>
          </a:lstStyle>
          <a:p>
            <a:pPr marL="132160" lvl="2" indent="-132160" algn="just">
              <a:spcAft>
                <a:spcPts val="100"/>
              </a:spcAft>
              <a:buClr>
                <a:schemeClr val="tx1"/>
              </a:buClr>
              <a:buFont typeface="Wingdings" panose="05000000000000000000" pitchFamily="2" charset="2"/>
              <a:buChar char="§"/>
            </a:pPr>
            <a:r>
              <a:rPr lang="it-IT" sz="900" b="1" dirty="0"/>
              <a:t>Gestisce fondi pubblici (e.g. FRCS) per interventi di Cooperazione</a:t>
            </a:r>
          </a:p>
          <a:p>
            <a:pPr marL="132160" lvl="2" indent="-132160" algn="just">
              <a:spcAft>
                <a:spcPts val="100"/>
              </a:spcAft>
              <a:buClr>
                <a:schemeClr val="tx1"/>
              </a:buClr>
              <a:buFont typeface="Wingdings" panose="05000000000000000000" pitchFamily="2" charset="2"/>
              <a:buChar char="§"/>
            </a:pPr>
            <a:r>
              <a:rPr lang="it-IT" sz="900" b="1" dirty="0"/>
              <a:t>Utilizza fondi propri per la promozione di iniziative di sviluppo</a:t>
            </a:r>
          </a:p>
          <a:p>
            <a:pPr marL="132160" lvl="2" indent="-132160" algn="just">
              <a:spcAft>
                <a:spcPts val="100"/>
              </a:spcAft>
              <a:buClr>
                <a:schemeClr val="tx1"/>
              </a:buClr>
              <a:buFont typeface="Wingdings" panose="05000000000000000000" pitchFamily="2" charset="2"/>
              <a:buChar char="§"/>
            </a:pPr>
            <a:r>
              <a:rPr lang="it-IT" sz="900" b="1" dirty="0"/>
              <a:t>Svolge attività di </a:t>
            </a:r>
            <a:r>
              <a:rPr lang="it-IT" sz="900" b="1" i="1" dirty="0" err="1"/>
              <a:t>advisory</a:t>
            </a:r>
            <a:r>
              <a:rPr lang="it-IT" sz="900" b="1" i="1" dirty="0"/>
              <a:t> </a:t>
            </a:r>
            <a:r>
              <a:rPr lang="it-IT" sz="900" b="1" dirty="0"/>
              <a:t>finanziario alle Amministrazioni nazionali</a:t>
            </a:r>
          </a:p>
        </p:txBody>
      </p:sp>
      <p:sp>
        <p:nvSpPr>
          <p:cNvPr id="1054" name="Rettangolo arrotondato 1053"/>
          <p:cNvSpPr/>
          <p:nvPr/>
        </p:nvSpPr>
        <p:spPr>
          <a:xfrm>
            <a:off x="1662023" y="3304318"/>
            <a:ext cx="1080000" cy="482879"/>
          </a:xfrm>
          <a:prstGeom prst="roundRect">
            <a:avLst/>
          </a:prstGeom>
          <a:solidFill>
            <a:schemeClr val="bg1"/>
          </a:solidFill>
          <a:ln w="9525">
            <a:noFill/>
          </a:ln>
          <a:effectLst>
            <a:glow rad="63500">
              <a:schemeClr val="accent3">
                <a:satMod val="175000"/>
                <a:alpha val="40000"/>
              </a:schemeClr>
            </a:glo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it-IT" sz="900" b="1" dirty="0">
                <a:solidFill>
                  <a:schemeClr val="tx1"/>
                </a:solidFill>
                <a:cs typeface="Arial"/>
              </a:rPr>
              <a:t>Responsabilità Finanziaria</a:t>
            </a:r>
          </a:p>
        </p:txBody>
      </p:sp>
      <p:sp>
        <p:nvSpPr>
          <p:cNvPr id="38" name="CasellaDiTesto 37">
            <a:extLst>
              <a:ext uri="{FF2B5EF4-FFF2-40B4-BE49-F238E27FC236}">
                <a16:creationId xmlns:a16="http://schemas.microsoft.com/office/drawing/2014/main" id="{6ED1CB26-64FA-439E-95B4-DC70E285DA44}"/>
              </a:ext>
            </a:extLst>
          </p:cNvPr>
          <p:cNvSpPr txBox="1"/>
          <p:nvPr/>
        </p:nvSpPr>
        <p:spPr>
          <a:xfrm>
            <a:off x="2800481" y="1416765"/>
            <a:ext cx="4013274" cy="479456"/>
          </a:xfrm>
          <a:prstGeom prst="rect">
            <a:avLst/>
          </a:prstGeom>
          <a:solidFill>
            <a:schemeClr val="bg1"/>
          </a:solidFill>
          <a:ln w="3175">
            <a:solidFill>
              <a:schemeClr val="tx1">
                <a:lumMod val="20000"/>
                <a:lumOff val="80000"/>
              </a:schemeClr>
            </a:solidFill>
          </a:ln>
          <a:effectLst>
            <a:outerShdw blurRad="50800" dist="38100" dir="13500000" algn="br" rotWithShape="0">
              <a:prstClr val="black">
                <a:alpha val="40000"/>
              </a:prstClr>
            </a:outerShdw>
          </a:effectLst>
        </p:spPr>
        <p:txBody>
          <a:bodyPr wrap="square" lIns="27000" rIns="108000" rtlCol="0" anchor="ctr" anchorCtr="0">
            <a:noAutofit/>
          </a:bodyPr>
          <a:lstStyle>
            <a:defPPr>
              <a:defRPr lang="it-IT"/>
            </a:defPPr>
            <a:lvl1pPr marL="171450" indent="-171450">
              <a:buClr>
                <a:srgbClr val="C90026"/>
              </a:buClr>
              <a:buFont typeface="Wingdings" panose="05000000000000000000" pitchFamily="2" charset="2"/>
              <a:buChar char="Ø"/>
              <a:defRPr sz="1000">
                <a:solidFill>
                  <a:srgbClr val="001548"/>
                </a:solidFill>
              </a:defRPr>
            </a:lvl1pPr>
          </a:lstStyle>
          <a:p>
            <a:pPr marL="132160" indent="-132160" algn="just">
              <a:spcAft>
                <a:spcPts val="200"/>
              </a:spcAft>
              <a:buClr>
                <a:schemeClr val="tx1"/>
              </a:buClr>
              <a:buFont typeface="Wingdings" panose="05000000000000000000" pitchFamily="2" charset="2"/>
              <a:buChar char="§"/>
            </a:pPr>
            <a:r>
              <a:rPr lang="it-IT" sz="900" b="1" dirty="0">
                <a:solidFill>
                  <a:schemeClr val="tx1"/>
                </a:solidFill>
              </a:rPr>
              <a:t>Autorizza e vigila sull’utilizzo delle risorse del Fondo Rotativo per la Cooperazione allo Sviluppo (FRCS)</a:t>
            </a:r>
          </a:p>
        </p:txBody>
      </p:sp>
      <p:sp>
        <p:nvSpPr>
          <p:cNvPr id="28" name="CasellaDiTesto 27">
            <a:extLst>
              <a:ext uri="{FF2B5EF4-FFF2-40B4-BE49-F238E27FC236}">
                <a16:creationId xmlns:a16="http://schemas.microsoft.com/office/drawing/2014/main" id="{0153135C-90BE-40CF-8DFD-87C59817964C}"/>
              </a:ext>
            </a:extLst>
          </p:cNvPr>
          <p:cNvSpPr txBox="1"/>
          <p:nvPr/>
        </p:nvSpPr>
        <p:spPr>
          <a:xfrm>
            <a:off x="7021832" y="1014452"/>
            <a:ext cx="1789667" cy="3001625"/>
          </a:xfrm>
          <a:prstGeom prst="rect">
            <a:avLst/>
          </a:prstGeom>
          <a:solidFill>
            <a:schemeClr val="accent3">
              <a:lumMod val="20000"/>
              <a:lumOff val="80000"/>
            </a:schemeClr>
          </a:solidFill>
        </p:spPr>
        <p:txBody>
          <a:bodyPr wrap="square" lIns="54000" tIns="54000" rIns="72000" bIns="54000" rtlCol="0" anchor="ctr" anchorCtr="0">
            <a:noAutofit/>
          </a:bodyPr>
          <a:lstStyle/>
          <a:p>
            <a:pPr>
              <a:spcBef>
                <a:spcPts val="300"/>
              </a:spcBef>
              <a:spcAft>
                <a:spcPts val="300"/>
              </a:spcAft>
              <a:buClr>
                <a:schemeClr val="tx2"/>
              </a:buClr>
            </a:pPr>
            <a:r>
              <a:rPr lang="it-IT" sz="900" b="1" u="sng" dirty="0"/>
              <a:t>Attività principali</a:t>
            </a:r>
          </a:p>
          <a:p>
            <a:pPr marL="128588" indent="-128588">
              <a:spcBef>
                <a:spcPts val="300"/>
              </a:spcBef>
              <a:spcAft>
                <a:spcPts val="300"/>
              </a:spcAft>
              <a:buClr>
                <a:schemeClr val="tx2"/>
              </a:buClr>
              <a:buFont typeface="Wingdings" panose="05000000000000000000" pitchFamily="2" charset="2"/>
              <a:buChar char="§"/>
            </a:pPr>
            <a:r>
              <a:rPr lang="it-IT" sz="900" b="1" dirty="0"/>
              <a:t>Approva </a:t>
            </a:r>
            <a:r>
              <a:rPr lang="it-IT" sz="900" dirty="0"/>
              <a:t>le </a:t>
            </a:r>
            <a:r>
              <a:rPr lang="it-IT" sz="900" b="1" dirty="0"/>
              <a:t>iniziative di Cooperazione </a:t>
            </a:r>
            <a:r>
              <a:rPr lang="it-IT" sz="900" dirty="0"/>
              <a:t>di valore superiore a 2 €/mln</a:t>
            </a:r>
          </a:p>
          <a:p>
            <a:pPr marL="128588" indent="-128588">
              <a:spcBef>
                <a:spcPts val="300"/>
              </a:spcBef>
              <a:spcAft>
                <a:spcPts val="300"/>
              </a:spcAft>
              <a:buClr>
                <a:schemeClr val="tx2"/>
              </a:buClr>
              <a:buFont typeface="Wingdings" panose="05000000000000000000" pitchFamily="2" charset="2"/>
              <a:buChar char="§"/>
            </a:pPr>
            <a:r>
              <a:rPr lang="it-IT" sz="900" b="1" dirty="0"/>
              <a:t>Definisce la programmazione </a:t>
            </a:r>
            <a:r>
              <a:rPr lang="it-IT" sz="900" dirty="0"/>
              <a:t>annuale con riferimento a paesi e aree di intervento</a:t>
            </a:r>
          </a:p>
          <a:p>
            <a:pPr>
              <a:spcBef>
                <a:spcPts val="600"/>
              </a:spcBef>
              <a:spcAft>
                <a:spcPts val="300"/>
              </a:spcAft>
              <a:buClr>
                <a:schemeClr val="tx2"/>
              </a:buClr>
            </a:pPr>
            <a:r>
              <a:rPr lang="it-IT" sz="900" b="1" u="sng" dirty="0"/>
              <a:t>Composizione</a:t>
            </a:r>
          </a:p>
          <a:p>
            <a:pPr marL="128588" indent="-128588">
              <a:spcBef>
                <a:spcPts val="300"/>
              </a:spcBef>
              <a:spcAft>
                <a:spcPts val="300"/>
              </a:spcAft>
              <a:buClr>
                <a:schemeClr val="tx2"/>
              </a:buClr>
              <a:buFont typeface="Wingdings" panose="05000000000000000000" pitchFamily="2" charset="2"/>
              <a:buChar char="§"/>
            </a:pPr>
            <a:r>
              <a:rPr lang="it-IT" sz="900" dirty="0"/>
              <a:t>E’ </a:t>
            </a:r>
            <a:r>
              <a:rPr lang="it-IT" sz="900" b="1" dirty="0"/>
              <a:t>presieduto dal Ministro degli Affari Esteri e della Cooperazione Internazionale (MAECI)</a:t>
            </a:r>
          </a:p>
          <a:p>
            <a:pPr marL="128588" indent="-128588">
              <a:spcBef>
                <a:spcPts val="300"/>
              </a:spcBef>
              <a:spcAft>
                <a:spcPts val="300"/>
              </a:spcAft>
              <a:buClr>
                <a:schemeClr val="tx2"/>
              </a:buClr>
              <a:buFont typeface="Wingdings" panose="05000000000000000000" pitchFamily="2" charset="2"/>
              <a:buChar char="§"/>
            </a:pPr>
            <a:r>
              <a:rPr lang="it-IT" sz="900" b="1" dirty="0"/>
              <a:t>Partecipano </a:t>
            </a:r>
            <a:r>
              <a:rPr lang="it-IT" sz="900" dirty="0"/>
              <a:t>(con diritto di voto) oltre al MAECI, il </a:t>
            </a:r>
            <a:r>
              <a:rPr lang="it-IT" sz="900" b="1" dirty="0"/>
              <a:t>MEF</a:t>
            </a:r>
            <a:r>
              <a:rPr lang="it-IT" sz="900" b="1" baseline="30000" dirty="0"/>
              <a:t> 3</a:t>
            </a:r>
            <a:r>
              <a:rPr lang="it-IT" sz="900" b="1" dirty="0"/>
              <a:t> </a:t>
            </a:r>
            <a:r>
              <a:rPr lang="it-IT" sz="900" dirty="0"/>
              <a:t>e l’</a:t>
            </a:r>
            <a:r>
              <a:rPr lang="it-IT" sz="900" b="1" dirty="0"/>
              <a:t>Agenzia Italiana per la Cooperazione allo Sviluppo</a:t>
            </a:r>
          </a:p>
        </p:txBody>
      </p:sp>
      <p:sp>
        <p:nvSpPr>
          <p:cNvPr id="1057" name="Rettangolo arrotondato 1056"/>
          <p:cNvSpPr/>
          <p:nvPr/>
        </p:nvSpPr>
        <p:spPr>
          <a:xfrm>
            <a:off x="1662023" y="2030237"/>
            <a:ext cx="1080000" cy="482879"/>
          </a:xfrm>
          <a:prstGeom prst="roundRect">
            <a:avLst/>
          </a:prstGeom>
          <a:solidFill>
            <a:srgbClr val="4150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55"/>
            <a:r>
              <a:rPr lang="it-IT" sz="900" b="1" dirty="0">
                <a:solidFill>
                  <a:srgbClr val="FFFFFF"/>
                </a:solidFill>
                <a:latin typeface="Arial"/>
              </a:rPr>
              <a:t>Responsabilità Tecnico- Operativa</a:t>
            </a:r>
          </a:p>
        </p:txBody>
      </p:sp>
      <p:sp>
        <p:nvSpPr>
          <p:cNvPr id="1058" name="Rettangolo arrotondato 1057"/>
          <p:cNvSpPr/>
          <p:nvPr/>
        </p:nvSpPr>
        <p:spPr>
          <a:xfrm>
            <a:off x="1662023" y="787711"/>
            <a:ext cx="1080000" cy="482879"/>
          </a:xfrm>
          <a:prstGeom prst="roundRect">
            <a:avLst/>
          </a:prstGeom>
          <a:solidFill>
            <a:srgbClr val="4150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55"/>
            <a:r>
              <a:rPr lang="it-IT" sz="900" b="1" dirty="0">
                <a:solidFill>
                  <a:srgbClr val="FFFFFF"/>
                </a:solidFill>
                <a:latin typeface="Arial"/>
              </a:rPr>
              <a:t>Responsabilità Politica </a:t>
            </a:r>
          </a:p>
        </p:txBody>
      </p:sp>
      <p:sp>
        <p:nvSpPr>
          <p:cNvPr id="35" name="Rettangolo arrotondato 180">
            <a:extLst>
              <a:ext uri="{FF2B5EF4-FFF2-40B4-BE49-F238E27FC236}">
                <a16:creationId xmlns:a16="http://schemas.microsoft.com/office/drawing/2014/main" id="{FB2768FF-7B09-44BF-B79C-73142B95F198}"/>
              </a:ext>
            </a:extLst>
          </p:cNvPr>
          <p:cNvSpPr/>
          <p:nvPr/>
        </p:nvSpPr>
        <p:spPr>
          <a:xfrm>
            <a:off x="1662023" y="1415054"/>
            <a:ext cx="1080000" cy="482879"/>
          </a:xfrm>
          <a:prstGeom prst="roundRect">
            <a:avLst/>
          </a:prstGeom>
          <a:solidFill>
            <a:srgbClr val="4150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55"/>
            <a:r>
              <a:rPr lang="it-IT" sz="900" b="1" dirty="0">
                <a:solidFill>
                  <a:srgbClr val="FFFFFF"/>
                </a:solidFill>
                <a:latin typeface="Arial"/>
              </a:rPr>
              <a:t>Responsabilità Economica </a:t>
            </a:r>
          </a:p>
        </p:txBody>
      </p:sp>
      <p:sp>
        <p:nvSpPr>
          <p:cNvPr id="52" name="Rettangolo con angoli arrotondati 51">
            <a:extLst>
              <a:ext uri="{FF2B5EF4-FFF2-40B4-BE49-F238E27FC236}">
                <a16:creationId xmlns:a16="http://schemas.microsoft.com/office/drawing/2014/main" id="{FD0FEFA8-13AB-45A9-AD5C-131ECFCD6C93}"/>
              </a:ext>
            </a:extLst>
          </p:cNvPr>
          <p:cNvSpPr/>
          <p:nvPr/>
        </p:nvSpPr>
        <p:spPr>
          <a:xfrm>
            <a:off x="6987198" y="772117"/>
            <a:ext cx="1865867" cy="232222"/>
          </a:xfrm>
          <a:prstGeom prst="roundRect">
            <a:avLst/>
          </a:prstGeom>
          <a:ln>
            <a:solidFill>
              <a:schemeClr val="tx2"/>
            </a:solidFill>
          </a:ln>
        </p:spPr>
        <p:style>
          <a:lnRef idx="0">
            <a:schemeClr val="accent6"/>
          </a:lnRef>
          <a:fillRef idx="3">
            <a:schemeClr val="accent6"/>
          </a:fillRef>
          <a:effectRef idx="3">
            <a:schemeClr val="accent6"/>
          </a:effectRef>
          <a:fontRef idx="minor">
            <a:schemeClr val="lt1"/>
          </a:fontRef>
        </p:style>
        <p:txBody>
          <a:bodyPr lIns="0" tIns="0" rIns="0" bIns="72000" rtlCol="0" anchor="b"/>
          <a:lstStyle/>
          <a:p>
            <a:pPr algn="ctr"/>
            <a:endParaRPr lang="it-IT" sz="900" b="1" dirty="0">
              <a:ln w="0"/>
              <a:solidFill>
                <a:schemeClr val="bg1"/>
              </a:solidFill>
              <a:effectLst>
                <a:outerShdw blurRad="38100" dist="25400" dir="5400000" algn="ctr" rotWithShape="0">
                  <a:srgbClr val="6E747A">
                    <a:alpha val="43000"/>
                  </a:srgbClr>
                </a:outerShdw>
              </a:effectLst>
            </a:endParaRPr>
          </a:p>
        </p:txBody>
      </p:sp>
      <p:sp>
        <p:nvSpPr>
          <p:cNvPr id="12" name="CasellaDiTesto 11">
            <a:extLst>
              <a:ext uri="{FF2B5EF4-FFF2-40B4-BE49-F238E27FC236}">
                <a16:creationId xmlns:a16="http://schemas.microsoft.com/office/drawing/2014/main" id="{64161C8E-034C-4E4C-8488-F11FBC1467EF}"/>
              </a:ext>
            </a:extLst>
          </p:cNvPr>
          <p:cNvSpPr txBox="1"/>
          <p:nvPr/>
        </p:nvSpPr>
        <p:spPr>
          <a:xfrm>
            <a:off x="7294839" y="784353"/>
            <a:ext cx="1293944" cy="230832"/>
          </a:xfrm>
          <a:prstGeom prst="rect">
            <a:avLst/>
          </a:prstGeom>
          <a:noFill/>
        </p:spPr>
        <p:txBody>
          <a:bodyPr wrap="none" rtlCol="0">
            <a:spAutoFit/>
          </a:bodyPr>
          <a:lstStyle/>
          <a:p>
            <a:r>
              <a:rPr lang="it-IT" sz="900" b="1" dirty="0">
                <a:solidFill>
                  <a:schemeClr val="bg1"/>
                </a:solidFill>
              </a:rPr>
              <a:t>Comitato Congiunto</a:t>
            </a:r>
          </a:p>
        </p:txBody>
      </p:sp>
      <p:sp>
        <p:nvSpPr>
          <p:cNvPr id="57" name="Rettangolo con angoli arrotondati 56">
            <a:extLst>
              <a:ext uri="{FF2B5EF4-FFF2-40B4-BE49-F238E27FC236}">
                <a16:creationId xmlns:a16="http://schemas.microsoft.com/office/drawing/2014/main" id="{DCC8D9E4-239D-41CA-A815-4CFAB03E6C2A}"/>
              </a:ext>
            </a:extLst>
          </p:cNvPr>
          <p:cNvSpPr/>
          <p:nvPr/>
        </p:nvSpPr>
        <p:spPr>
          <a:xfrm>
            <a:off x="133643" y="3306029"/>
            <a:ext cx="1391877" cy="479456"/>
          </a:xfrm>
          <a:prstGeom prst="roundRect">
            <a:avLst/>
          </a:prstGeom>
          <a:gradFill rotWithShape="1">
            <a:gsLst>
              <a:gs pos="0">
                <a:srgbClr val="BFBFBF">
                  <a:tint val="100000"/>
                  <a:shade val="100000"/>
                  <a:satMod val="130000"/>
                </a:srgbClr>
              </a:gs>
              <a:gs pos="100000">
                <a:srgbClr val="BFBFBF">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0" tIns="0" rIns="0" bIns="9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333" b="1" i="0" u="none" strike="noStrike" kern="0" cap="none" spc="0" normalizeH="0" baseline="0" noProof="0">
              <a:ln>
                <a:noFill/>
              </a:ln>
              <a:solidFill>
                <a:srgbClr val="001548"/>
              </a:solidFill>
              <a:effectLst/>
              <a:uLnTx/>
              <a:uFillTx/>
              <a:latin typeface="Arial"/>
              <a:ea typeface="+mn-ea"/>
              <a:cs typeface="+mn-cs"/>
            </a:endParaRPr>
          </a:p>
        </p:txBody>
      </p:sp>
      <p:grpSp>
        <p:nvGrpSpPr>
          <p:cNvPr id="59" name="Gruppo 58">
            <a:extLst>
              <a:ext uri="{FF2B5EF4-FFF2-40B4-BE49-F238E27FC236}">
                <a16:creationId xmlns:a16="http://schemas.microsoft.com/office/drawing/2014/main" id="{785737EB-E6A6-4424-ACAD-BB9532CFD375}"/>
              </a:ext>
            </a:extLst>
          </p:cNvPr>
          <p:cNvGrpSpPr>
            <a:grpSpLocks noChangeAspect="1"/>
          </p:cNvGrpSpPr>
          <p:nvPr/>
        </p:nvGrpSpPr>
        <p:grpSpPr>
          <a:xfrm>
            <a:off x="133643" y="2031948"/>
            <a:ext cx="1391877" cy="479456"/>
            <a:chOff x="834002" y="3518907"/>
            <a:chExt cx="1692000" cy="720000"/>
          </a:xfrm>
        </p:grpSpPr>
        <p:sp>
          <p:nvSpPr>
            <p:cNvPr id="61" name="Rettangolo con angoli arrotondati 60">
              <a:extLst>
                <a:ext uri="{FF2B5EF4-FFF2-40B4-BE49-F238E27FC236}">
                  <a16:creationId xmlns:a16="http://schemas.microsoft.com/office/drawing/2014/main" id="{6A7CA307-037A-4D5D-9EAF-0F786B0DB0D0}"/>
                </a:ext>
              </a:extLst>
            </p:cNvPr>
            <p:cNvSpPr/>
            <p:nvPr/>
          </p:nvSpPr>
          <p:spPr>
            <a:xfrm>
              <a:off x="834002" y="3518907"/>
              <a:ext cx="1692000" cy="720000"/>
            </a:xfrm>
            <a:prstGeom prst="roundRect">
              <a:avLst/>
            </a:prstGeom>
            <a:gradFill rotWithShape="1">
              <a:gsLst>
                <a:gs pos="0">
                  <a:srgbClr val="BFBFBF">
                    <a:tint val="100000"/>
                    <a:shade val="100000"/>
                    <a:satMod val="130000"/>
                  </a:srgbClr>
                </a:gs>
                <a:gs pos="100000">
                  <a:srgbClr val="BFBFBF">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0" tIns="0" rIns="0" bIns="9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333" b="1" i="0" u="none" strike="noStrike" kern="0" cap="none" spc="0" normalizeH="0" baseline="0" noProof="0" dirty="0">
                <a:ln>
                  <a:noFill/>
                </a:ln>
                <a:solidFill>
                  <a:srgbClr val="001548"/>
                </a:solidFill>
                <a:effectLst/>
                <a:uLnTx/>
                <a:uFillTx/>
                <a:latin typeface="Arial"/>
                <a:ea typeface="+mn-ea"/>
                <a:cs typeface="+mn-cs"/>
              </a:endParaRPr>
            </a:p>
          </p:txBody>
        </p:sp>
        <p:pic>
          <p:nvPicPr>
            <p:cNvPr id="62" name="Picture 2" descr="Risultati immagini per aics logo">
              <a:extLst>
                <a:ext uri="{FF2B5EF4-FFF2-40B4-BE49-F238E27FC236}">
                  <a16:creationId xmlns:a16="http://schemas.microsoft.com/office/drawing/2014/main" id="{BAA69383-3E5D-4657-AC42-1ABCC9FCB7D2}"/>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14131" y="3669501"/>
              <a:ext cx="1331743" cy="418812"/>
            </a:xfrm>
            <a:prstGeom prst="rect">
              <a:avLst/>
            </a:prstGeom>
            <a:noFill/>
            <a:extLst>
              <a:ext uri="{909E8E84-426E-40DD-AFC4-6F175D3DCCD1}">
                <a14:hiddenFill xmlns:a14="http://schemas.microsoft.com/office/drawing/2010/main">
                  <a:solidFill>
                    <a:srgbClr val="FFFFFF"/>
                  </a:solidFill>
                </a14:hiddenFill>
              </a:ext>
            </a:extLst>
          </p:spPr>
        </p:pic>
      </p:grpSp>
      <p:sp>
        <p:nvSpPr>
          <p:cNvPr id="64" name="Rettangolo con angoli arrotondati 63">
            <a:extLst>
              <a:ext uri="{FF2B5EF4-FFF2-40B4-BE49-F238E27FC236}">
                <a16:creationId xmlns:a16="http://schemas.microsoft.com/office/drawing/2014/main" id="{8D5437E3-185A-40B2-BD66-8D4A43EAB1CF}"/>
              </a:ext>
            </a:extLst>
          </p:cNvPr>
          <p:cNvSpPr/>
          <p:nvPr/>
        </p:nvSpPr>
        <p:spPr>
          <a:xfrm>
            <a:off x="133643" y="789422"/>
            <a:ext cx="1391877" cy="517524"/>
          </a:xfrm>
          <a:prstGeom prst="roundRect">
            <a:avLst/>
          </a:prstGeom>
          <a:gradFill rotWithShape="1">
            <a:gsLst>
              <a:gs pos="0">
                <a:srgbClr val="BFBFBF">
                  <a:tint val="100000"/>
                  <a:shade val="100000"/>
                  <a:satMod val="130000"/>
                </a:srgbClr>
              </a:gs>
              <a:gs pos="100000">
                <a:srgbClr val="BFBFBF">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tIns="0" rIns="0" bIns="96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rgbClr val="001548"/>
                </a:solidFill>
                <a:effectLst/>
                <a:uLnTx/>
                <a:uFillTx/>
                <a:latin typeface="Arial"/>
                <a:ea typeface="+mn-ea"/>
                <a:cs typeface="+mn-cs"/>
              </a:rPr>
              <a:t>MAECI</a:t>
            </a:r>
            <a:endParaRPr kumimoji="0" lang="it-IT" sz="1333" b="1" i="0" u="none" strike="noStrike" kern="0" cap="none" spc="0" normalizeH="0" baseline="0" noProof="0" dirty="0">
              <a:ln>
                <a:noFill/>
              </a:ln>
              <a:solidFill>
                <a:srgbClr val="001548"/>
              </a:solidFill>
              <a:effectLst/>
              <a:uLnTx/>
              <a:uFillTx/>
              <a:latin typeface="Arial"/>
              <a:ea typeface="+mn-ea"/>
              <a:cs typeface="+mn-cs"/>
            </a:endParaRPr>
          </a:p>
        </p:txBody>
      </p:sp>
      <p:grpSp>
        <p:nvGrpSpPr>
          <p:cNvPr id="66" name="Gruppo 65">
            <a:extLst>
              <a:ext uri="{FF2B5EF4-FFF2-40B4-BE49-F238E27FC236}">
                <a16:creationId xmlns:a16="http://schemas.microsoft.com/office/drawing/2014/main" id="{B2FD8524-7280-4EEA-A367-7456540FBAEF}"/>
              </a:ext>
            </a:extLst>
          </p:cNvPr>
          <p:cNvGrpSpPr>
            <a:grpSpLocks noChangeAspect="1"/>
          </p:cNvGrpSpPr>
          <p:nvPr/>
        </p:nvGrpSpPr>
        <p:grpSpPr>
          <a:xfrm>
            <a:off x="133643" y="1416765"/>
            <a:ext cx="1391877" cy="479456"/>
            <a:chOff x="834002" y="2410289"/>
            <a:chExt cx="1692000" cy="720000"/>
          </a:xfrm>
        </p:grpSpPr>
        <p:sp>
          <p:nvSpPr>
            <p:cNvPr id="67" name="Rettangolo con angoli arrotondati 66">
              <a:extLst>
                <a:ext uri="{FF2B5EF4-FFF2-40B4-BE49-F238E27FC236}">
                  <a16:creationId xmlns:a16="http://schemas.microsoft.com/office/drawing/2014/main" id="{F6F00797-5AB8-4714-83F9-878C1BA61B5D}"/>
                </a:ext>
              </a:extLst>
            </p:cNvPr>
            <p:cNvSpPr/>
            <p:nvPr/>
          </p:nvSpPr>
          <p:spPr>
            <a:xfrm>
              <a:off x="834002" y="2410289"/>
              <a:ext cx="1692000" cy="720000"/>
            </a:xfrm>
            <a:prstGeom prst="roundRect">
              <a:avLst/>
            </a:prstGeom>
            <a:gradFill rotWithShape="1">
              <a:gsLst>
                <a:gs pos="0">
                  <a:srgbClr val="BFBFBF">
                    <a:tint val="100000"/>
                    <a:shade val="100000"/>
                    <a:satMod val="130000"/>
                  </a:srgbClr>
                </a:gs>
                <a:gs pos="100000">
                  <a:srgbClr val="BFBFBF">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0" tIns="0" rIns="0" bIns="96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333" b="1" i="0" u="none" strike="noStrike" kern="0" cap="none" spc="0" normalizeH="0" baseline="0" noProof="0" dirty="0">
                <a:ln>
                  <a:noFill/>
                </a:ln>
                <a:solidFill>
                  <a:srgbClr val="001548"/>
                </a:solidFill>
                <a:effectLst/>
                <a:uLnTx/>
                <a:uFillTx/>
                <a:latin typeface="Arial"/>
                <a:ea typeface="+mn-ea"/>
                <a:cs typeface="+mn-cs"/>
              </a:endParaRPr>
            </a:p>
          </p:txBody>
        </p:sp>
        <p:pic>
          <p:nvPicPr>
            <p:cNvPr id="68" name="Picture 2" descr="Risultati immagini per mef">
              <a:extLst>
                <a:ext uri="{FF2B5EF4-FFF2-40B4-BE49-F238E27FC236}">
                  <a16:creationId xmlns:a16="http://schemas.microsoft.com/office/drawing/2014/main" id="{46C2378B-5355-4913-95E8-878174E758D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9744" y="2441643"/>
              <a:ext cx="1400400" cy="630242"/>
            </a:xfrm>
            <a:prstGeom prst="rect">
              <a:avLst/>
            </a:prstGeom>
            <a:ln/>
            <a:extLst>
              <a:ext uri="{909E8E84-426E-40DD-AFC4-6F175D3DCCD1}">
                <a14:hiddenFill xmlns:a14="http://schemas.microsoft.com/office/drawing/2010/main">
                  <a:solidFill>
                    <a:srgbClr val="FFFFFF"/>
                  </a:solidFill>
                </a14:hiddenFill>
              </a:ext>
            </a:extLst>
          </p:spPr>
        </p:pic>
      </p:grpSp>
      <p:pic>
        <p:nvPicPr>
          <p:cNvPr id="81" name="Immagine 80">
            <a:extLst>
              <a:ext uri="{FF2B5EF4-FFF2-40B4-BE49-F238E27FC236}">
                <a16:creationId xmlns:a16="http://schemas.microsoft.com/office/drawing/2014/main" id="{ACC26555-EA46-4312-B8A4-ED65369B4CEC}"/>
              </a:ext>
            </a:extLst>
          </p:cNvPr>
          <p:cNvPicPr/>
          <p:nvPr/>
        </p:nvPicPr>
        <p:blipFill>
          <a:blip r:embed="rId5"/>
          <a:stretch>
            <a:fillRect/>
          </a:stretch>
        </p:blipFill>
        <p:spPr>
          <a:xfrm>
            <a:off x="522410" y="3358507"/>
            <a:ext cx="614342" cy="374501"/>
          </a:xfrm>
          <a:prstGeom prst="rect">
            <a:avLst/>
          </a:prstGeom>
        </p:spPr>
      </p:pic>
      <p:sp>
        <p:nvSpPr>
          <p:cNvPr id="83" name="CasellaDiTesto 82">
            <a:extLst>
              <a:ext uri="{FF2B5EF4-FFF2-40B4-BE49-F238E27FC236}">
                <a16:creationId xmlns:a16="http://schemas.microsoft.com/office/drawing/2014/main" id="{E47A9754-0D29-41ED-8A72-80E328608EE4}"/>
              </a:ext>
            </a:extLst>
          </p:cNvPr>
          <p:cNvSpPr txBox="1"/>
          <p:nvPr/>
        </p:nvSpPr>
        <p:spPr>
          <a:xfrm>
            <a:off x="265520" y="4144534"/>
            <a:ext cx="8545979" cy="701858"/>
          </a:xfrm>
          <a:prstGeom prst="rect">
            <a:avLst/>
          </a:prstGeom>
          <a:solidFill>
            <a:schemeClr val="bg1"/>
          </a:solidFill>
          <a:ln>
            <a:solidFill>
              <a:schemeClr val="tx1">
                <a:lumMod val="20000"/>
                <a:lumOff val="80000"/>
              </a:schemeClr>
            </a:solidFill>
          </a:ln>
          <a:effectLst>
            <a:outerShdw blurRad="50800" dist="38100" dir="8100000" algn="tr" rotWithShape="0">
              <a:prstClr val="black">
                <a:alpha val="40000"/>
              </a:prstClr>
            </a:outerShdw>
          </a:effectLst>
        </p:spPr>
        <p:txBody>
          <a:bodyPr wrap="square" lIns="68579" tIns="34289" rIns="68579" bIns="34289" rtlCol="0" anchor="ctr" anchorCtr="0">
            <a:noAutofit/>
          </a:bodyPr>
          <a:lstStyle>
            <a:defPPr>
              <a:defRPr lang="it-IT"/>
            </a:defPPr>
            <a:lvl1pPr marL="171450" indent="-171450" algn="just" defTabSz="914377" eaLnBrk="0" fontAlgn="base" hangingPunct="0">
              <a:spcBef>
                <a:spcPts val="600"/>
              </a:spcBef>
              <a:spcAft>
                <a:spcPct val="0"/>
              </a:spcAft>
              <a:buClr>
                <a:srgbClr val="C00000"/>
              </a:buClr>
              <a:buFont typeface="Arial" panose="020B0604020202020204" pitchFamily="34" charset="0"/>
              <a:buChar char="•"/>
              <a:defRPr sz="1200"/>
            </a:lvl1pPr>
          </a:lstStyle>
          <a:p>
            <a:pPr algn="l" defTabSz="685783">
              <a:lnSpc>
                <a:spcPct val="102000"/>
              </a:lnSpc>
              <a:spcBef>
                <a:spcPts val="0"/>
              </a:spcBef>
              <a:spcAft>
                <a:spcPts val="200"/>
              </a:spcAft>
              <a:buClr>
                <a:schemeClr val="tx1"/>
              </a:buClr>
              <a:buFont typeface="Wingdings" panose="05000000000000000000" pitchFamily="2" charset="2"/>
              <a:buChar char="§"/>
            </a:pPr>
            <a:r>
              <a:rPr lang="it-IT" sz="850" b="1" dirty="0">
                <a:latin typeface="Arial"/>
              </a:rPr>
              <a:t>Comitato Interministeriale per la Cooperazione allo Sviluppo</a:t>
            </a:r>
            <a:r>
              <a:rPr lang="it-IT" sz="850" dirty="0">
                <a:latin typeface="Arial"/>
              </a:rPr>
              <a:t> (CICS): assicura il coordinamento delle attività di Cooperazione e la coerenza delle politiche nazionali (e.g. approvazione del documento triennale e della proposta di ripartizione degli stanziamenti di ciascun Ministero a sostegno delle politiche di cooperazione)</a:t>
            </a:r>
          </a:p>
          <a:p>
            <a:pPr algn="l" defTabSz="685783">
              <a:lnSpc>
                <a:spcPct val="102000"/>
              </a:lnSpc>
              <a:spcBef>
                <a:spcPts val="0"/>
              </a:spcBef>
              <a:spcAft>
                <a:spcPts val="200"/>
              </a:spcAft>
              <a:buClr>
                <a:schemeClr val="tx1"/>
              </a:buClr>
              <a:buFont typeface="Wingdings" panose="05000000000000000000" pitchFamily="2" charset="2"/>
              <a:buChar char="§"/>
            </a:pPr>
            <a:r>
              <a:rPr lang="it-IT" sz="850" b="1" kern="0" dirty="0">
                <a:latin typeface="Arial"/>
              </a:rPr>
              <a:t>Consiglio Nazionale per la Cooperazione allo Sviluppo </a:t>
            </a:r>
            <a:r>
              <a:rPr lang="it-IT" sz="850" kern="0" dirty="0">
                <a:latin typeface="Arial"/>
              </a:rPr>
              <a:t>(CNCS): o</a:t>
            </a:r>
            <a:r>
              <a:rPr lang="it-IT" sz="850" dirty="0">
                <a:latin typeface="Arial"/>
                <a:sym typeface="Wingdings" panose="05000000000000000000" pitchFamily="2" charset="2"/>
              </a:rPr>
              <a:t>rgano consultivo che si esprime sulla coerenza delle scelte politiche e sulla programmazione ed efficacia delle forme di intervento al quale partecipano anche i rappresentanti della società civile (es. ONG) e delle amministrazioni centrali e locali </a:t>
            </a:r>
            <a:endParaRPr lang="it-IT" sz="850" dirty="0">
              <a:latin typeface="Arial"/>
            </a:endParaRPr>
          </a:p>
        </p:txBody>
      </p:sp>
      <p:sp>
        <p:nvSpPr>
          <p:cNvPr id="84" name="Titolo 23">
            <a:extLst>
              <a:ext uri="{FF2B5EF4-FFF2-40B4-BE49-F238E27FC236}">
                <a16:creationId xmlns:a16="http://schemas.microsoft.com/office/drawing/2014/main" id="{01E98749-0D23-4F39-BEC2-B56548A2FE4C}"/>
              </a:ext>
            </a:extLst>
          </p:cNvPr>
          <p:cNvSpPr txBox="1">
            <a:spLocks/>
          </p:cNvSpPr>
          <p:nvPr/>
        </p:nvSpPr>
        <p:spPr>
          <a:xfrm>
            <a:off x="38898" y="152644"/>
            <a:ext cx="8416286" cy="346249"/>
          </a:xfrm>
          <a:prstGeom prst="rect">
            <a:avLst/>
          </a:prstGeom>
          <a:noFill/>
        </p:spPr>
        <p:txBody>
          <a:bodyPr wrap="square" lIns="68580" tIns="34290" rIns="68580" bIns="34290" rtlCol="0">
            <a:spAutoFit/>
          </a:bodyPr>
          <a:lstStyle>
            <a:lvl1pPr algn="l" defTabSz="457200" rtl="0" eaLnBrk="1" latinLnBrk="0" hangingPunct="1">
              <a:spcBef>
                <a:spcPct val="0"/>
              </a:spcBef>
              <a:buNone/>
              <a:defRPr lang="it-IT" sz="2000" b="1" kern="1200">
                <a:solidFill>
                  <a:schemeClr val="tx2"/>
                </a:solidFill>
                <a:latin typeface="+mn-lt"/>
                <a:ea typeface="+mn-ea"/>
                <a:cs typeface="+mn-cs"/>
              </a:defRPr>
            </a:lvl1pPr>
          </a:lstStyle>
          <a:p>
            <a:pPr lvl="0" defTabSz="457166" fontAlgn="auto">
              <a:spcAft>
                <a:spcPts val="0"/>
              </a:spcAft>
              <a:defRPr/>
            </a:pPr>
            <a:r>
              <a:rPr lang="en-US" sz="1800" dirty="0">
                <a:solidFill>
                  <a:schemeClr val="tx1"/>
                </a:solidFill>
              </a:rPr>
              <a:t>Il Sistema </a:t>
            </a:r>
            <a:r>
              <a:rPr lang="it-IT" sz="1800" dirty="0">
                <a:solidFill>
                  <a:schemeClr val="tx1"/>
                </a:solidFill>
              </a:rPr>
              <a:t>Italiano della Cooperazione allo Sviluppo: gli attori principali</a:t>
            </a:r>
            <a:endParaRPr kumimoji="0" lang="it-IT" sz="1800" b="1" i="0" u="none" strike="noStrike" kern="1200" cap="none" spc="0" normalizeH="0" baseline="0" dirty="0">
              <a:ln>
                <a:noFill/>
              </a:ln>
              <a:solidFill>
                <a:schemeClr val="tx1"/>
              </a:solidFill>
              <a:effectLst/>
              <a:uLnTx/>
              <a:uFillTx/>
              <a:latin typeface="Arial"/>
            </a:endParaRPr>
          </a:p>
        </p:txBody>
      </p:sp>
      <p:sp>
        <p:nvSpPr>
          <p:cNvPr id="85" name="Rectangle 2">
            <a:extLst>
              <a:ext uri="{FF2B5EF4-FFF2-40B4-BE49-F238E27FC236}">
                <a16:creationId xmlns:a16="http://schemas.microsoft.com/office/drawing/2014/main" id="{2D3EF9F6-7899-41CF-A414-67AA696980A8}"/>
              </a:ext>
            </a:extLst>
          </p:cNvPr>
          <p:cNvSpPr>
            <a:spLocks/>
          </p:cNvSpPr>
          <p:nvPr/>
        </p:nvSpPr>
        <p:spPr>
          <a:xfrm>
            <a:off x="1" y="3"/>
            <a:ext cx="9143999" cy="163396"/>
          </a:xfrm>
          <a:prstGeom prst="rect">
            <a:avLst/>
          </a:prstGeom>
          <a:solidFill>
            <a:srgbClr val="415064"/>
          </a:solidFill>
          <a:ln w="9525" cap="flat" cmpd="sng" algn="ctr">
            <a:noFill/>
            <a:prstDash val="solid"/>
          </a:ln>
          <a:effectLst/>
        </p:spPr>
        <p:txBody>
          <a:bodyPr rot="0" spcFirstLastPara="0" vert="horz" wrap="square" lIns="121920" tIns="60960" rIns="121920" bIns="6096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224" kern="1200">
                <a:solidFill>
                  <a:schemeClr val="lt1"/>
                </a:solidFill>
                <a:latin typeface="+mn-lt"/>
                <a:ea typeface="+mn-ea"/>
                <a:cs typeface="+mn-cs"/>
              </a:defRPr>
            </a:lvl1pPr>
            <a:lvl2pPr marL="349849" algn="l" rtl="0" fontAlgn="base">
              <a:spcBef>
                <a:spcPct val="0"/>
              </a:spcBef>
              <a:spcAft>
                <a:spcPct val="0"/>
              </a:spcAft>
              <a:defRPr sz="1224" kern="1200">
                <a:solidFill>
                  <a:schemeClr val="lt1"/>
                </a:solidFill>
                <a:latin typeface="+mn-lt"/>
                <a:ea typeface="+mn-ea"/>
                <a:cs typeface="+mn-cs"/>
              </a:defRPr>
            </a:lvl2pPr>
            <a:lvl3pPr marL="699699" algn="l" rtl="0" fontAlgn="base">
              <a:spcBef>
                <a:spcPct val="0"/>
              </a:spcBef>
              <a:spcAft>
                <a:spcPct val="0"/>
              </a:spcAft>
              <a:defRPr sz="1224" kern="1200">
                <a:solidFill>
                  <a:schemeClr val="lt1"/>
                </a:solidFill>
                <a:latin typeface="+mn-lt"/>
                <a:ea typeface="+mn-ea"/>
                <a:cs typeface="+mn-cs"/>
              </a:defRPr>
            </a:lvl3pPr>
            <a:lvl4pPr marL="1049548" algn="l" rtl="0" fontAlgn="base">
              <a:spcBef>
                <a:spcPct val="0"/>
              </a:spcBef>
              <a:spcAft>
                <a:spcPct val="0"/>
              </a:spcAft>
              <a:defRPr sz="1224" kern="1200">
                <a:solidFill>
                  <a:schemeClr val="lt1"/>
                </a:solidFill>
                <a:latin typeface="+mn-lt"/>
                <a:ea typeface="+mn-ea"/>
                <a:cs typeface="+mn-cs"/>
              </a:defRPr>
            </a:lvl4pPr>
            <a:lvl5pPr marL="1399398" algn="l" rtl="0" fontAlgn="base">
              <a:spcBef>
                <a:spcPct val="0"/>
              </a:spcBef>
              <a:spcAft>
                <a:spcPct val="0"/>
              </a:spcAft>
              <a:defRPr sz="1224" kern="1200">
                <a:solidFill>
                  <a:schemeClr val="lt1"/>
                </a:solidFill>
                <a:latin typeface="+mn-lt"/>
                <a:ea typeface="+mn-ea"/>
                <a:cs typeface="+mn-cs"/>
              </a:defRPr>
            </a:lvl5pPr>
            <a:lvl6pPr marL="1749247" algn="l" defTabSz="699699" rtl="0" eaLnBrk="1" latinLnBrk="0" hangingPunct="1">
              <a:defRPr sz="1224" kern="1200">
                <a:solidFill>
                  <a:schemeClr val="lt1"/>
                </a:solidFill>
                <a:latin typeface="+mn-lt"/>
                <a:ea typeface="+mn-ea"/>
                <a:cs typeface="+mn-cs"/>
              </a:defRPr>
            </a:lvl6pPr>
            <a:lvl7pPr marL="2099097" algn="l" defTabSz="699699" rtl="0" eaLnBrk="1" latinLnBrk="0" hangingPunct="1">
              <a:defRPr sz="1224" kern="1200">
                <a:solidFill>
                  <a:schemeClr val="lt1"/>
                </a:solidFill>
                <a:latin typeface="+mn-lt"/>
                <a:ea typeface="+mn-ea"/>
                <a:cs typeface="+mn-cs"/>
              </a:defRPr>
            </a:lvl7pPr>
            <a:lvl8pPr marL="2448946" algn="l" defTabSz="699699" rtl="0" eaLnBrk="1" latinLnBrk="0" hangingPunct="1">
              <a:defRPr sz="1224" kern="1200">
                <a:solidFill>
                  <a:schemeClr val="lt1"/>
                </a:solidFill>
                <a:latin typeface="+mn-lt"/>
                <a:ea typeface="+mn-ea"/>
                <a:cs typeface="+mn-cs"/>
              </a:defRPr>
            </a:lvl8pPr>
            <a:lvl9pPr marL="2798796" algn="l" defTabSz="699699" rtl="0" eaLnBrk="1" latinLnBrk="0" hangingPunct="1">
              <a:defRPr sz="1224" kern="1200">
                <a:solidFill>
                  <a:schemeClr val="lt1"/>
                </a:solidFill>
                <a:latin typeface="+mn-lt"/>
                <a:ea typeface="+mn-ea"/>
                <a:cs typeface="+mn-cs"/>
              </a:defRPr>
            </a:lvl9pPr>
          </a:lstStyle>
          <a:p>
            <a:pPr defTabSz="1219079">
              <a:defRPr/>
            </a:pPr>
            <a:r>
              <a:rPr lang="it-IT" sz="1000" b="1" dirty="0">
                <a:solidFill>
                  <a:srgbClr val="FFFFFF"/>
                </a:solidFill>
                <a:latin typeface="Arial"/>
              </a:rPr>
              <a:t>CDP Cooperazione Internazionale allo Sviluppo</a:t>
            </a:r>
            <a:endParaRPr lang="it-IT" sz="1000" b="1" i="1" dirty="0">
              <a:solidFill>
                <a:srgbClr val="FFFFFF"/>
              </a:solidFill>
              <a:latin typeface="Arial"/>
            </a:endParaRPr>
          </a:p>
        </p:txBody>
      </p:sp>
      <p:sp>
        <p:nvSpPr>
          <p:cNvPr id="3" name="Rettangolo 2">
            <a:extLst>
              <a:ext uri="{FF2B5EF4-FFF2-40B4-BE49-F238E27FC236}">
                <a16:creationId xmlns:a16="http://schemas.microsoft.com/office/drawing/2014/main" id="{DF39C7FC-CCB8-4705-84C7-438BBAE3AE83}"/>
              </a:ext>
            </a:extLst>
          </p:cNvPr>
          <p:cNvSpPr/>
          <p:nvPr/>
        </p:nvSpPr>
        <p:spPr>
          <a:xfrm>
            <a:off x="188532" y="3909314"/>
            <a:ext cx="4572000" cy="261610"/>
          </a:xfrm>
          <a:prstGeom prst="rect">
            <a:avLst/>
          </a:prstGeom>
        </p:spPr>
        <p:txBody>
          <a:bodyPr>
            <a:spAutoFit/>
          </a:bodyPr>
          <a:lstStyle/>
          <a:p>
            <a:pPr algn="just">
              <a:spcBef>
                <a:spcPts val="900"/>
              </a:spcBef>
              <a:spcAft>
                <a:spcPts val="450"/>
              </a:spcAft>
              <a:buClr>
                <a:schemeClr val="tx2"/>
              </a:buClr>
            </a:pPr>
            <a:r>
              <a:rPr lang="it-IT" sz="1100" b="1" u="sng" dirty="0"/>
              <a:t>Altri organi del sistema italiano della Cooperazione</a:t>
            </a:r>
          </a:p>
        </p:txBody>
      </p:sp>
      <p:sp>
        <p:nvSpPr>
          <p:cNvPr id="31" name="CasellaDiTesto 30">
            <a:extLst>
              <a:ext uri="{FF2B5EF4-FFF2-40B4-BE49-F238E27FC236}">
                <a16:creationId xmlns:a16="http://schemas.microsoft.com/office/drawing/2014/main" id="{36690089-2089-4FC9-B877-565049DFC4F5}"/>
              </a:ext>
            </a:extLst>
          </p:cNvPr>
          <p:cNvSpPr txBox="1"/>
          <p:nvPr/>
        </p:nvSpPr>
        <p:spPr>
          <a:xfrm>
            <a:off x="2800481" y="2650870"/>
            <a:ext cx="4013274" cy="479456"/>
          </a:xfrm>
          <a:prstGeom prst="rect">
            <a:avLst/>
          </a:prstGeom>
          <a:solidFill>
            <a:schemeClr val="bg1"/>
          </a:solidFill>
          <a:ln w="3175">
            <a:solidFill>
              <a:schemeClr val="tx1">
                <a:lumMod val="20000"/>
                <a:lumOff val="80000"/>
              </a:schemeClr>
            </a:solidFill>
          </a:ln>
          <a:effectLst>
            <a:outerShdw blurRad="50800" dist="38100" dir="13500000" algn="br" rotWithShape="0">
              <a:prstClr val="black">
                <a:alpha val="40000"/>
              </a:prstClr>
            </a:outerShdw>
          </a:effectLst>
        </p:spPr>
        <p:txBody>
          <a:bodyPr wrap="square" lIns="27000" rIns="108000" rtlCol="0" anchor="ctr" anchorCtr="0">
            <a:noAutofit/>
          </a:bodyPr>
          <a:lstStyle>
            <a:defPPr>
              <a:defRPr lang="it-IT"/>
            </a:defPPr>
            <a:lvl1pPr marL="171450" indent="-171450">
              <a:buClr>
                <a:srgbClr val="C90026"/>
              </a:buClr>
              <a:buFont typeface="Wingdings" panose="05000000000000000000" pitchFamily="2" charset="2"/>
              <a:buChar char="Ø"/>
              <a:defRPr sz="1000">
                <a:solidFill>
                  <a:srgbClr val="001548"/>
                </a:solidFill>
              </a:defRPr>
            </a:lvl1pPr>
          </a:lstStyle>
          <a:p>
            <a:pPr marL="132160" indent="-132160" algn="just">
              <a:spcAft>
                <a:spcPts val="200"/>
              </a:spcAft>
              <a:buClr>
                <a:schemeClr val="tx1"/>
              </a:buClr>
              <a:buFont typeface="Wingdings" panose="05000000000000000000" pitchFamily="2" charset="2"/>
              <a:buChar char="§"/>
            </a:pPr>
            <a:r>
              <a:rPr lang="it-IT" sz="900" b="1" dirty="0">
                <a:solidFill>
                  <a:schemeClr val="tx1"/>
                </a:solidFill>
              </a:rPr>
              <a:t>Realizzano iniziative di cooperazione anche con il supporto di contributi concessi dalla stessa Agenzia</a:t>
            </a:r>
          </a:p>
        </p:txBody>
      </p:sp>
      <p:sp>
        <p:nvSpPr>
          <p:cNvPr id="32" name="Rettangolo arrotondato 1056">
            <a:extLst>
              <a:ext uri="{FF2B5EF4-FFF2-40B4-BE49-F238E27FC236}">
                <a16:creationId xmlns:a16="http://schemas.microsoft.com/office/drawing/2014/main" id="{8CF9D9A4-C4D7-410D-B16C-BB5756302013}"/>
              </a:ext>
            </a:extLst>
          </p:cNvPr>
          <p:cNvSpPr/>
          <p:nvPr/>
        </p:nvSpPr>
        <p:spPr>
          <a:xfrm>
            <a:off x="1662023" y="2649159"/>
            <a:ext cx="1080000" cy="482879"/>
          </a:xfrm>
          <a:prstGeom prst="roundRect">
            <a:avLst/>
          </a:prstGeom>
          <a:solidFill>
            <a:srgbClr val="4150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55"/>
            <a:r>
              <a:rPr lang="it-IT" sz="900" b="1" dirty="0">
                <a:solidFill>
                  <a:srgbClr val="FFFFFF"/>
                </a:solidFill>
              </a:rPr>
              <a:t>Attività senza finalità di</a:t>
            </a:r>
          </a:p>
          <a:p>
            <a:pPr algn="ctr" defTabSz="914355"/>
            <a:r>
              <a:rPr lang="it-IT" sz="900" b="1" dirty="0">
                <a:solidFill>
                  <a:srgbClr val="FFFFFF"/>
                </a:solidFill>
              </a:rPr>
              <a:t>lucro</a:t>
            </a:r>
            <a:endParaRPr lang="it-IT" sz="900" b="1" dirty="0">
              <a:solidFill>
                <a:srgbClr val="FFFFFF"/>
              </a:solidFill>
              <a:latin typeface="Arial"/>
            </a:endParaRPr>
          </a:p>
        </p:txBody>
      </p:sp>
      <p:sp>
        <p:nvSpPr>
          <p:cNvPr id="34" name="Rettangolo con angoli arrotondati 33">
            <a:extLst>
              <a:ext uri="{FF2B5EF4-FFF2-40B4-BE49-F238E27FC236}">
                <a16:creationId xmlns:a16="http://schemas.microsoft.com/office/drawing/2014/main" id="{3629018A-E30E-4A27-B148-EF7F17A95525}"/>
              </a:ext>
            </a:extLst>
          </p:cNvPr>
          <p:cNvSpPr/>
          <p:nvPr/>
        </p:nvSpPr>
        <p:spPr>
          <a:xfrm>
            <a:off x="133643" y="2636490"/>
            <a:ext cx="1391877" cy="493836"/>
          </a:xfrm>
          <a:prstGeom prst="roundRect">
            <a:avLst/>
          </a:prstGeom>
          <a:gradFill rotWithShape="1">
            <a:gsLst>
              <a:gs pos="0">
                <a:srgbClr val="BFBFBF">
                  <a:tint val="100000"/>
                  <a:shade val="100000"/>
                  <a:satMod val="130000"/>
                </a:srgbClr>
              </a:gs>
              <a:gs pos="100000">
                <a:srgbClr val="BFBFBF">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lgn="ctr" defTabSz="914400">
              <a:defRPr/>
            </a:pPr>
            <a:r>
              <a:rPr lang="it-IT" sz="1000" b="1" kern="0" dirty="0">
                <a:solidFill>
                  <a:srgbClr val="001548"/>
                </a:solidFill>
              </a:rPr>
              <a:t>Organizzazioni della Società Civile </a:t>
            </a:r>
            <a:r>
              <a:rPr lang="it-IT" sz="800" b="1" kern="0" dirty="0">
                <a:solidFill>
                  <a:srgbClr val="001548"/>
                </a:solidFill>
              </a:rPr>
              <a:t>(e.g. ONG</a:t>
            </a:r>
            <a:r>
              <a:rPr lang="it-IT" sz="800" b="1" kern="0" baseline="30000" dirty="0">
                <a:solidFill>
                  <a:srgbClr val="001548"/>
                </a:solidFill>
              </a:rPr>
              <a:t>1</a:t>
            </a:r>
            <a:r>
              <a:rPr lang="it-IT" sz="800" b="1" kern="0" dirty="0">
                <a:solidFill>
                  <a:srgbClr val="001548"/>
                </a:solidFill>
              </a:rPr>
              <a:t>, ETS</a:t>
            </a:r>
            <a:r>
              <a:rPr lang="it-IT" sz="800" b="1" kern="0" baseline="30000" dirty="0">
                <a:solidFill>
                  <a:srgbClr val="001548"/>
                </a:solidFill>
              </a:rPr>
              <a:t>2</a:t>
            </a:r>
            <a:r>
              <a:rPr lang="it-IT" sz="800" b="1" kern="0" dirty="0">
                <a:solidFill>
                  <a:srgbClr val="001548"/>
                </a:solidFill>
              </a:rPr>
              <a:t>)</a:t>
            </a:r>
            <a:endParaRPr kumimoji="0" lang="it-IT" sz="1000" b="1" i="0" u="none" strike="noStrike" kern="0" cap="none" spc="0" normalizeH="0" baseline="0" noProof="0" dirty="0">
              <a:ln>
                <a:noFill/>
              </a:ln>
              <a:solidFill>
                <a:srgbClr val="001548"/>
              </a:solidFill>
              <a:effectLst/>
              <a:uLnTx/>
              <a:uFillTx/>
              <a:latin typeface="Arial"/>
              <a:ea typeface="+mn-ea"/>
              <a:cs typeface="+mn-cs"/>
            </a:endParaRPr>
          </a:p>
        </p:txBody>
      </p:sp>
      <p:sp>
        <p:nvSpPr>
          <p:cNvPr id="39" name="Rettangolo 38">
            <a:extLst>
              <a:ext uri="{FF2B5EF4-FFF2-40B4-BE49-F238E27FC236}">
                <a16:creationId xmlns:a16="http://schemas.microsoft.com/office/drawing/2014/main" id="{896B13A2-A560-43D2-919C-D13F9A6AD8D9}"/>
              </a:ext>
            </a:extLst>
          </p:cNvPr>
          <p:cNvSpPr/>
          <p:nvPr/>
        </p:nvSpPr>
        <p:spPr>
          <a:xfrm>
            <a:off x="342507" y="4935751"/>
            <a:ext cx="8002876" cy="207749"/>
          </a:xfrm>
          <a:prstGeom prst="rect">
            <a:avLst/>
          </a:prstGeom>
        </p:spPr>
        <p:txBody>
          <a:bodyPr wrap="square">
            <a:spAutoFit/>
          </a:bodyPr>
          <a:lstStyle/>
          <a:p>
            <a:r>
              <a:rPr lang="it-IT" sz="750" dirty="0">
                <a:solidFill>
                  <a:srgbClr val="415064"/>
                </a:solidFill>
              </a:rPr>
              <a:t>1. Organizzazioni Non Governative. 2. Enti del Terzo Settore  3. Limitatamente alle questioni concernenti le iniziative di cui agli artt. 8 e 27 della Legge 125/2014</a:t>
            </a:r>
            <a:endParaRPr lang="it-IT" sz="750" dirty="0"/>
          </a:p>
        </p:txBody>
      </p:sp>
      <p:pic>
        <p:nvPicPr>
          <p:cNvPr id="97286" name="Picture 6" descr="Ministero degli Affari Esteri e della Cooperazione Internazionale">
            <a:extLst>
              <a:ext uri="{FF2B5EF4-FFF2-40B4-BE49-F238E27FC236}">
                <a16:creationId xmlns:a16="http://schemas.microsoft.com/office/drawing/2014/main" id="{BF9C7D1A-674C-4B8C-B3ED-57F5D37D3A2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747" y="959121"/>
            <a:ext cx="1218857" cy="324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41732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81ECFAAD-76ED-429A-857A-0B8034FD6880}"/>
              </a:ext>
            </a:extLst>
          </p:cNvPr>
          <p:cNvSpPr>
            <a:spLocks noGrp="1"/>
          </p:cNvSpPr>
          <p:nvPr>
            <p:ph type="body" idx="13"/>
          </p:nvPr>
        </p:nvSpPr>
        <p:spPr>
          <a:xfrm>
            <a:off x="250824" y="268288"/>
            <a:ext cx="8629941" cy="287337"/>
          </a:xfrm>
        </p:spPr>
        <p:txBody>
          <a:bodyPr/>
          <a:lstStyle/>
          <a:p>
            <a:r>
              <a:rPr lang="it-IT" dirty="0"/>
              <a:t>Il ruolo chiave di CDP nel sistema della Cooperazione</a:t>
            </a:r>
          </a:p>
        </p:txBody>
      </p:sp>
      <p:sp>
        <p:nvSpPr>
          <p:cNvPr id="4" name="Segnaposto numero diapositiva 3">
            <a:extLst>
              <a:ext uri="{FF2B5EF4-FFF2-40B4-BE49-F238E27FC236}">
                <a16:creationId xmlns:a16="http://schemas.microsoft.com/office/drawing/2014/main" id="{09B2B456-7FB8-43C6-A58F-07B342AD72F2}"/>
              </a:ext>
            </a:extLst>
          </p:cNvPr>
          <p:cNvSpPr>
            <a:spLocks noGrp="1"/>
          </p:cNvSpPr>
          <p:nvPr>
            <p:ph type="sldNum" sz="quarter" idx="12"/>
          </p:nvPr>
        </p:nvSpPr>
        <p:spPr>
          <a:xfrm>
            <a:off x="250825" y="4723393"/>
            <a:ext cx="1008062" cy="183687"/>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608DA0FE-9C19-F746-8419-6700E348BF78}" type="slidenum">
              <a:rPr lang="it-IT" smtClean="0"/>
              <a:pPr/>
              <a:t>13</a:t>
            </a:fld>
            <a:endParaRPr lang="it-IT" dirty="0"/>
          </a:p>
        </p:txBody>
      </p:sp>
      <p:sp>
        <p:nvSpPr>
          <p:cNvPr id="26" name="Arrow: Pentagon 35">
            <a:extLst>
              <a:ext uri="{FF2B5EF4-FFF2-40B4-BE49-F238E27FC236}">
                <a16:creationId xmlns:a16="http://schemas.microsoft.com/office/drawing/2014/main" id="{D6BA6411-BE43-456D-A901-66DA057D8C4C}"/>
              </a:ext>
            </a:extLst>
          </p:cNvPr>
          <p:cNvSpPr>
            <a:spLocks/>
          </p:cNvSpPr>
          <p:nvPr/>
        </p:nvSpPr>
        <p:spPr>
          <a:xfrm rot="5400000">
            <a:off x="36752" y="2714589"/>
            <a:ext cx="2949802" cy="1277378"/>
          </a:xfrm>
          <a:prstGeom prst="homePlate">
            <a:avLst>
              <a:gd name="adj" fmla="val 0"/>
            </a:avLst>
          </a:prstGeom>
          <a:gradFill>
            <a:gsLst>
              <a:gs pos="0">
                <a:schemeClr val="bg1"/>
              </a:gs>
              <a:gs pos="3000">
                <a:srgbClr val="D9D9D9">
                  <a:lumMod val="45000"/>
                  <a:lumOff val="55000"/>
                </a:srgbClr>
              </a:gs>
              <a:gs pos="100000">
                <a:srgbClr val="D9D9D9">
                  <a:lumMod val="45000"/>
                  <a:lumOff val="55000"/>
                </a:srgbClr>
              </a:gs>
              <a:gs pos="100000">
                <a:schemeClr val="bg1">
                  <a:lumMod val="90000"/>
                </a:schemeClr>
              </a:gs>
            </a:gsLst>
            <a:lin ang="0" scaled="1"/>
          </a:gradFill>
          <a:ln w="9525" cap="flat" cmpd="sng" algn="ctr">
            <a:gradFill flip="none" rotWithShape="1">
              <a:gsLst>
                <a:gs pos="0">
                  <a:srgbClr val="D9D9D9">
                    <a:lumMod val="5000"/>
                    <a:lumOff val="95000"/>
                  </a:srgbClr>
                </a:gs>
                <a:gs pos="74000">
                  <a:srgbClr val="D9D9D9">
                    <a:lumMod val="45000"/>
                    <a:lumOff val="55000"/>
                  </a:srgbClr>
                </a:gs>
                <a:gs pos="83000">
                  <a:srgbClr val="D9D9D9">
                    <a:lumMod val="45000"/>
                    <a:lumOff val="55000"/>
                  </a:srgbClr>
                </a:gs>
                <a:gs pos="100000">
                  <a:srgbClr val="D9D9D9">
                    <a:lumMod val="30000"/>
                    <a:lumOff val="70000"/>
                  </a:srgbClr>
                </a:gs>
              </a:gsLst>
              <a:lin ang="0" scaled="1"/>
              <a:tileRect/>
            </a:gradFill>
            <a:prstDash val="solid"/>
          </a:ln>
          <a:effectLst/>
        </p:spPr>
        <p:txBody>
          <a:bodyPr rtlCol="0" anchor="ctr">
            <a:noAutofit/>
          </a:bodyPr>
          <a:lstStyle/>
          <a:p>
            <a:pPr algn="ctr" defTabSz="685800" fontAlgn="auto">
              <a:spcBef>
                <a:spcPts val="0"/>
              </a:spcBef>
              <a:spcAft>
                <a:spcPts val="0"/>
              </a:spcAft>
              <a:defRPr/>
            </a:pPr>
            <a:endParaRPr lang="it-IT" sz="1050" kern="0" dirty="0" err="1">
              <a:solidFill>
                <a:srgbClr val="000000"/>
              </a:solidFill>
              <a:latin typeface="Arial"/>
            </a:endParaRPr>
          </a:p>
        </p:txBody>
      </p:sp>
      <p:sp>
        <p:nvSpPr>
          <p:cNvPr id="28" name="CasellaDiTesto 1">
            <a:extLst>
              <a:ext uri="{FF2B5EF4-FFF2-40B4-BE49-F238E27FC236}">
                <a16:creationId xmlns:a16="http://schemas.microsoft.com/office/drawing/2014/main" id="{7891A79B-5587-4869-AA46-26DD3C3D08AE}"/>
              </a:ext>
            </a:extLst>
          </p:cNvPr>
          <p:cNvSpPr txBox="1">
            <a:spLocks/>
          </p:cNvSpPr>
          <p:nvPr>
            <p:custDataLst>
              <p:tags r:id="rId1"/>
            </p:custDataLst>
          </p:nvPr>
        </p:nvSpPr>
        <p:spPr bwMode="gray">
          <a:xfrm>
            <a:off x="250824" y="2059450"/>
            <a:ext cx="1462039" cy="2585041"/>
          </a:xfrm>
          <a:prstGeom prst="rect">
            <a:avLst/>
          </a:prstGeom>
          <a:solidFill>
            <a:srgbClr val="4153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marL="0" marR="0" lvl="0" indent="0" algn="ctr" defTabSz="914400" eaLnBrk="1" latinLnBrk="0" hangingPunct="1">
              <a:lnSpc>
                <a:spcPct val="100000"/>
              </a:lnSpc>
              <a:buClrTx/>
              <a:buSzTx/>
              <a:buFontTx/>
              <a:buNone/>
              <a:tabLst/>
              <a:defRPr kumimoji="0" sz="1700" b="1" i="0" u="none" strike="noStrike" cap="none" spc="0" normalizeH="0" baseline="0">
                <a:ln>
                  <a:noFill/>
                </a:ln>
                <a:solidFill>
                  <a:srgbClr val="FFFFFF"/>
                </a:solidFill>
                <a:effectLst/>
                <a:uLnTx/>
                <a:uFillTx/>
                <a:latin typeface="Aria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nSpc>
                <a:spcPct val="110000"/>
              </a:lnSpc>
            </a:pPr>
            <a:r>
              <a:rPr lang="it-IT" sz="1200" dirty="0"/>
              <a:t>Gli obiettivi di CDP Cooperazione</a:t>
            </a:r>
            <a:endParaRPr lang="it-IT" sz="1275" dirty="0"/>
          </a:p>
        </p:txBody>
      </p:sp>
      <p:sp>
        <p:nvSpPr>
          <p:cNvPr id="29" name="TextBox 22">
            <a:extLst>
              <a:ext uri="{FF2B5EF4-FFF2-40B4-BE49-F238E27FC236}">
                <a16:creationId xmlns:a16="http://schemas.microsoft.com/office/drawing/2014/main" id="{E927D318-9A4D-4EDF-97D4-B15D1FAB40A4}"/>
              </a:ext>
            </a:extLst>
          </p:cNvPr>
          <p:cNvSpPr txBox="1">
            <a:spLocks/>
          </p:cNvSpPr>
          <p:nvPr>
            <p:custDataLst>
              <p:tags r:id="rId2"/>
            </p:custDataLst>
          </p:nvPr>
        </p:nvSpPr>
        <p:spPr bwMode="gray">
          <a:xfrm>
            <a:off x="2229727" y="2059450"/>
            <a:ext cx="6651038" cy="2541978"/>
          </a:xfrm>
          <a:prstGeom prst="rect">
            <a:avLst/>
          </a:prstGeom>
        </p:spPr>
        <p:txBody>
          <a:bodyPr vert="horz" wrap="square" lIns="0" tIns="0" rIns="0" bIns="0" rtlCol="0">
            <a:spAutoFit/>
          </a:bodyPr>
          <a:lstStyle>
            <a:lvl1pPr marL="0" lvl="0" indent="0" defTabSz="685122" eaLnBrk="1" latinLnBrk="0" hangingPunct="1">
              <a:buClr>
                <a:schemeClr val="tx2"/>
              </a:buClr>
              <a:buSzPct val="100000"/>
              <a:defRPr lang="it-IT" sz="1200" baseline="0" dirty="0">
                <a:solidFill>
                  <a:srgbClr val="001548"/>
                </a:solidFill>
                <a:latin typeface="+mn-lt"/>
              </a:defRPr>
            </a:lvl1pPr>
            <a:lvl2pPr marL="148755" lvl="1" indent="-146000" defTabSz="685122" eaLnBrk="1" latinLnBrk="0" hangingPunct="1">
              <a:buClr>
                <a:srgbClr val="001548"/>
              </a:buClr>
              <a:buSzPct val="100000"/>
              <a:buFont typeface="Arial" panose="020B0604020202020204" pitchFamily="34" charset="0"/>
              <a:buChar char="•"/>
              <a:defRPr lang="it-IT" sz="1200" baseline="0" dirty="0">
                <a:solidFill>
                  <a:srgbClr val="001548"/>
                </a:solidFill>
                <a:latin typeface="+mn-lt"/>
              </a:defRPr>
            </a:lvl2pPr>
            <a:lvl3pPr marL="341585" lvl="2" indent="-190076" defTabSz="685122" eaLnBrk="1" latinLnBrk="0" hangingPunct="1">
              <a:buClr>
                <a:srgbClr val="001548"/>
              </a:buClr>
              <a:buSzPct val="100000"/>
              <a:buFont typeface="Arial" panose="020B0604020202020204" pitchFamily="34" charset="0"/>
              <a:buChar char="–"/>
              <a:defRPr lang="it-IT" sz="1200" baseline="0" dirty="0">
                <a:solidFill>
                  <a:srgbClr val="001548"/>
                </a:solidFill>
                <a:latin typeface="+mn-lt"/>
              </a:defRPr>
            </a:lvl3pPr>
            <a:lvl4pPr marL="471057" lvl="3" indent="-118453" defTabSz="685122" eaLnBrk="1" latinLnBrk="0" hangingPunct="1">
              <a:buClr>
                <a:srgbClr val="001548"/>
              </a:buClr>
              <a:buSzPct val="80000"/>
              <a:buFont typeface="Arial" panose="020B0604020202020204" pitchFamily="34" charset="0"/>
              <a:buChar char="•"/>
              <a:defRPr lang="it-IT" sz="1200" baseline="0" dirty="0">
                <a:solidFill>
                  <a:srgbClr val="001548"/>
                </a:solidFill>
                <a:latin typeface="+mn-lt"/>
              </a:defRPr>
            </a:lvl4pPr>
            <a:lvl5pPr marL="572982" lvl="4" indent="-99170" defTabSz="685122" eaLnBrk="1" latinLnBrk="0" hangingPunct="1">
              <a:buClr>
                <a:srgbClr val="001548"/>
              </a:buClr>
              <a:buSzPct val="89000"/>
              <a:buFont typeface="Arial" charset="0"/>
              <a:buChar char="-"/>
              <a:defRPr lang="it-IT" sz="1200" baseline="0" dirty="0">
                <a:solidFill>
                  <a:srgbClr val="001548"/>
                </a:solidFill>
                <a:latin typeface="+mn-lt"/>
              </a:defRPr>
            </a:lvl5pPr>
            <a:lvl6pPr marL="765042" indent="-132820" defTabSz="913542" fontAlgn="base">
              <a:spcBef>
                <a:spcPct val="0"/>
              </a:spcBef>
              <a:spcAft>
                <a:spcPct val="0"/>
              </a:spcAft>
              <a:buClr>
                <a:schemeClr val="tx2"/>
              </a:buClr>
              <a:buSzPct val="89000"/>
              <a:buFont typeface="Arial" charset="0"/>
              <a:buChar char="-"/>
              <a:defRPr sz="1632" baseline="0">
                <a:latin typeface="+mn-lt"/>
              </a:defRPr>
            </a:lvl6pPr>
            <a:lvl7pPr marL="765042" indent="-132820" defTabSz="913542" fontAlgn="base">
              <a:spcBef>
                <a:spcPct val="0"/>
              </a:spcBef>
              <a:spcAft>
                <a:spcPct val="0"/>
              </a:spcAft>
              <a:buClr>
                <a:schemeClr val="tx2"/>
              </a:buClr>
              <a:buSzPct val="89000"/>
              <a:buFont typeface="Arial" charset="0"/>
              <a:buChar char="-"/>
              <a:defRPr sz="1632" baseline="0">
                <a:latin typeface="+mn-lt"/>
              </a:defRPr>
            </a:lvl7pPr>
            <a:lvl8pPr marL="765042" indent="-132820" defTabSz="913542" fontAlgn="base">
              <a:spcBef>
                <a:spcPct val="0"/>
              </a:spcBef>
              <a:spcAft>
                <a:spcPct val="0"/>
              </a:spcAft>
              <a:buClr>
                <a:schemeClr val="tx2"/>
              </a:buClr>
              <a:buSzPct val="89000"/>
              <a:buFont typeface="Arial" charset="0"/>
              <a:buChar char="-"/>
              <a:defRPr sz="1632" baseline="0">
                <a:latin typeface="+mn-lt"/>
              </a:defRPr>
            </a:lvl8pPr>
            <a:lvl9pPr marL="765042" indent="-132820" defTabSz="913542" fontAlgn="base">
              <a:spcBef>
                <a:spcPct val="0"/>
              </a:spcBef>
              <a:spcAft>
                <a:spcPct val="0"/>
              </a:spcAft>
              <a:buClr>
                <a:schemeClr val="tx2"/>
              </a:buClr>
              <a:buSzPct val="89000"/>
              <a:buFont typeface="Arial" charset="0"/>
              <a:buChar char="-"/>
              <a:defRPr sz="1632" baseline="0">
                <a:latin typeface="+mn-lt"/>
              </a:defRPr>
            </a:lvl9pPr>
          </a:lstStyle>
          <a:p>
            <a:pPr lvl="1" algn="just">
              <a:lnSpc>
                <a:spcPct val="110000"/>
              </a:lnSpc>
              <a:spcAft>
                <a:spcPts val="600"/>
              </a:spcAft>
            </a:pPr>
            <a:r>
              <a:rPr lang="it-IT" sz="1250" b="1" dirty="0">
                <a:solidFill>
                  <a:srgbClr val="3E5265"/>
                </a:solidFill>
              </a:rPr>
              <a:t>Ampliare la portata degli interventi di politica estera </a:t>
            </a:r>
            <a:r>
              <a:rPr lang="it-IT" sz="1250" dirty="0">
                <a:solidFill>
                  <a:srgbClr val="3E5265"/>
                </a:solidFill>
              </a:rPr>
              <a:t>verso settori e geografie di rilevanza strategica per il </a:t>
            </a:r>
            <a:r>
              <a:rPr lang="it-IT" sz="1250" b="1" dirty="0">
                <a:solidFill>
                  <a:srgbClr val="3E5265"/>
                </a:solidFill>
              </a:rPr>
              <a:t>sistema Paese</a:t>
            </a:r>
            <a:endParaRPr lang="it-IT" sz="1250" dirty="0">
              <a:solidFill>
                <a:srgbClr val="3E5265"/>
              </a:solidFill>
            </a:endParaRPr>
          </a:p>
          <a:p>
            <a:pPr lvl="1" algn="just">
              <a:lnSpc>
                <a:spcPct val="110000"/>
              </a:lnSpc>
              <a:spcAft>
                <a:spcPts val="600"/>
              </a:spcAft>
            </a:pPr>
            <a:r>
              <a:rPr lang="it-IT" sz="1250" b="1" dirty="0">
                <a:solidFill>
                  <a:srgbClr val="3E5265"/>
                </a:solidFill>
              </a:rPr>
              <a:t>Contribuire all'incremento degli APS del sistema italiano della Cooperazione</a:t>
            </a:r>
            <a:r>
              <a:rPr lang="it-IT" sz="1250" dirty="0">
                <a:solidFill>
                  <a:srgbClr val="3E5265"/>
                </a:solidFill>
              </a:rPr>
              <a:t>, per favorire il raggiungimento dei target che l’Italia si è impegnata a conseguire entro il 2030 (rapporto APS / RNL pari a 0,7%), anche grazie al </a:t>
            </a:r>
            <a:r>
              <a:rPr lang="it-IT" sz="1250" b="1" dirty="0" err="1">
                <a:solidFill>
                  <a:srgbClr val="3E5265"/>
                </a:solidFill>
              </a:rPr>
              <a:t>blending</a:t>
            </a:r>
            <a:r>
              <a:rPr lang="it-IT" sz="1250" b="1" dirty="0">
                <a:solidFill>
                  <a:srgbClr val="3E5265"/>
                </a:solidFill>
              </a:rPr>
              <a:t> </a:t>
            </a:r>
            <a:r>
              <a:rPr lang="it-IT" sz="1250" dirty="0">
                <a:solidFill>
                  <a:srgbClr val="3E5265"/>
                </a:solidFill>
              </a:rPr>
              <a:t>di risorse pubblico / private</a:t>
            </a:r>
          </a:p>
          <a:p>
            <a:pPr lvl="1" algn="just">
              <a:lnSpc>
                <a:spcPct val="110000"/>
              </a:lnSpc>
              <a:spcAft>
                <a:spcPts val="600"/>
              </a:spcAft>
            </a:pPr>
            <a:r>
              <a:rPr lang="it-IT" sz="1250" dirty="0">
                <a:solidFill>
                  <a:srgbClr val="3E5265"/>
                </a:solidFill>
              </a:rPr>
              <a:t>Incrementare il sostegno al settore privato dei PVS, attraverso la mobilitazione di risorse destinate </a:t>
            </a:r>
            <a:r>
              <a:rPr lang="it-IT" sz="1250" b="1" dirty="0">
                <a:solidFill>
                  <a:srgbClr val="3E5265"/>
                </a:solidFill>
              </a:rPr>
              <a:t>alla promozione di progetti</a:t>
            </a:r>
            <a:r>
              <a:rPr lang="it-IT" sz="1250" dirty="0">
                <a:solidFill>
                  <a:srgbClr val="3E5265"/>
                </a:solidFill>
              </a:rPr>
              <a:t> di investimento </a:t>
            </a:r>
            <a:r>
              <a:rPr lang="it-IT" sz="1250" b="1" dirty="0">
                <a:solidFill>
                  <a:srgbClr val="3E5265"/>
                </a:solidFill>
              </a:rPr>
              <a:t>ad alto impatto </a:t>
            </a:r>
            <a:r>
              <a:rPr lang="it-IT" sz="1250" dirty="0">
                <a:solidFill>
                  <a:srgbClr val="3E5265"/>
                </a:solidFill>
              </a:rPr>
              <a:t>economico, sociale e ambientale</a:t>
            </a:r>
          </a:p>
          <a:p>
            <a:pPr lvl="1" algn="just">
              <a:lnSpc>
                <a:spcPct val="110000"/>
              </a:lnSpc>
              <a:spcAft>
                <a:spcPts val="600"/>
              </a:spcAft>
            </a:pPr>
            <a:r>
              <a:rPr lang="it-IT" sz="1250" dirty="0">
                <a:solidFill>
                  <a:srgbClr val="3E5265"/>
                </a:solidFill>
              </a:rPr>
              <a:t>Supportare la </a:t>
            </a:r>
            <a:r>
              <a:rPr lang="it-IT" sz="1250" b="1" dirty="0">
                <a:solidFill>
                  <a:srgbClr val="3E5265"/>
                </a:solidFill>
              </a:rPr>
              <a:t>promozione di iniziative di Cooperazione </a:t>
            </a:r>
            <a:r>
              <a:rPr lang="it-IT" sz="1250" dirty="0">
                <a:solidFill>
                  <a:srgbClr val="3E5265"/>
                </a:solidFill>
              </a:rPr>
              <a:t>finalizzate a rafforzare i rapporti dell'Italia con i Paesi partner in un'</a:t>
            </a:r>
            <a:r>
              <a:rPr lang="it-IT" sz="1250" b="1" dirty="0">
                <a:solidFill>
                  <a:srgbClr val="3E5265"/>
                </a:solidFill>
              </a:rPr>
              <a:t>ottica di co-sviluppo </a:t>
            </a:r>
            <a:r>
              <a:rPr lang="it-IT" sz="1250" dirty="0">
                <a:solidFill>
                  <a:srgbClr val="3E5265"/>
                </a:solidFill>
              </a:rPr>
              <a:t>contribuendo al raggiungimento dei </a:t>
            </a:r>
            <a:r>
              <a:rPr lang="it-IT" sz="1250" b="1" i="1" dirty="0" err="1">
                <a:solidFill>
                  <a:srgbClr val="3E5265"/>
                </a:solidFill>
              </a:rPr>
              <a:t>Sustainable</a:t>
            </a:r>
            <a:r>
              <a:rPr lang="it-IT" sz="1250" b="1" i="1" dirty="0">
                <a:solidFill>
                  <a:srgbClr val="3E5265"/>
                </a:solidFill>
              </a:rPr>
              <a:t> Development Goals</a:t>
            </a:r>
            <a:endParaRPr lang="it-IT" sz="1250" dirty="0">
              <a:solidFill>
                <a:srgbClr val="3E5265"/>
              </a:solidFill>
            </a:endParaRPr>
          </a:p>
        </p:txBody>
      </p:sp>
      <p:grpSp>
        <p:nvGrpSpPr>
          <p:cNvPr id="36" name="Gruppo 35">
            <a:extLst>
              <a:ext uri="{FF2B5EF4-FFF2-40B4-BE49-F238E27FC236}">
                <a16:creationId xmlns:a16="http://schemas.microsoft.com/office/drawing/2014/main" id="{D94D0E20-933A-4089-925F-3BF23F8E728B}"/>
              </a:ext>
            </a:extLst>
          </p:cNvPr>
          <p:cNvGrpSpPr>
            <a:grpSpLocks noChangeAspect="1"/>
          </p:cNvGrpSpPr>
          <p:nvPr/>
        </p:nvGrpSpPr>
        <p:grpSpPr>
          <a:xfrm>
            <a:off x="1778866" y="3206846"/>
            <a:ext cx="287549" cy="324000"/>
            <a:chOff x="1816540" y="3028242"/>
            <a:chExt cx="287550" cy="324000"/>
          </a:xfrm>
          <a:solidFill>
            <a:srgbClr val="415364"/>
          </a:solidFill>
        </p:grpSpPr>
        <p:sp>
          <p:nvSpPr>
            <p:cNvPr id="37" name="Chevron1">
              <a:extLst>
                <a:ext uri="{FF2B5EF4-FFF2-40B4-BE49-F238E27FC236}">
                  <a16:creationId xmlns:a16="http://schemas.microsoft.com/office/drawing/2014/main" id="{429B8A85-A054-4586-8B73-A2C679D3CC75}"/>
                </a:ext>
              </a:extLst>
            </p:cNvPr>
            <p:cNvSpPr>
              <a:spLocks noChangeAspect="1"/>
            </p:cNvSpPr>
            <p:nvPr/>
          </p:nvSpPr>
          <p:spPr>
            <a:xfrm>
              <a:off x="1816540" y="3060642"/>
              <a:ext cx="152280" cy="2592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rgbClr val="86868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dirty="0" err="1">
                <a:solidFill>
                  <a:srgbClr val="003F81"/>
                </a:solidFill>
                <a:latin typeface="Arial"/>
              </a:endParaRPr>
            </a:p>
          </p:txBody>
        </p:sp>
        <p:sp>
          <p:nvSpPr>
            <p:cNvPr id="38" name="Chevron2">
              <a:extLst>
                <a:ext uri="{FF2B5EF4-FFF2-40B4-BE49-F238E27FC236}">
                  <a16:creationId xmlns:a16="http://schemas.microsoft.com/office/drawing/2014/main" id="{669687EA-5383-4D70-A440-7D7507321920}"/>
                </a:ext>
              </a:extLst>
            </p:cNvPr>
            <p:cNvSpPr>
              <a:spLocks noChangeAspect="1"/>
            </p:cNvSpPr>
            <p:nvPr/>
          </p:nvSpPr>
          <p:spPr>
            <a:xfrm>
              <a:off x="1913740" y="3028242"/>
              <a:ext cx="190350" cy="324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dirty="0" err="1">
                <a:solidFill>
                  <a:srgbClr val="003F81"/>
                </a:solidFill>
                <a:latin typeface="Arial"/>
              </a:endParaRPr>
            </a:p>
          </p:txBody>
        </p:sp>
      </p:grpSp>
      <p:sp>
        <p:nvSpPr>
          <p:cNvPr id="19" name="object 37">
            <a:extLst>
              <a:ext uri="{FF2B5EF4-FFF2-40B4-BE49-F238E27FC236}">
                <a16:creationId xmlns:a16="http://schemas.microsoft.com/office/drawing/2014/main" id="{DA391722-D8DD-4808-A1FB-EFDFB083F660}"/>
              </a:ext>
            </a:extLst>
          </p:cNvPr>
          <p:cNvSpPr txBox="1"/>
          <p:nvPr/>
        </p:nvSpPr>
        <p:spPr>
          <a:xfrm>
            <a:off x="194552" y="549649"/>
            <a:ext cx="8815804" cy="1181029"/>
          </a:xfrm>
          <a:prstGeom prst="rect">
            <a:avLst/>
          </a:prstGeom>
          <a:noFill/>
        </p:spPr>
        <p:txBody>
          <a:bodyPr vert="horz" wrap="square" lIns="72000" tIns="47625" rIns="0" bIns="0" rtlCol="0">
            <a:spAutoFit/>
          </a:bodyPr>
          <a:lstStyle/>
          <a:p>
            <a:pPr lvl="0" algn="just" defTabSz="914400" eaLnBrk="0" fontAlgn="base" hangingPunct="0">
              <a:lnSpc>
                <a:spcPct val="120000"/>
              </a:lnSpc>
              <a:spcBef>
                <a:spcPct val="0"/>
              </a:spcBef>
              <a:spcAft>
                <a:spcPct val="0"/>
              </a:spcAft>
              <a:defRPr/>
            </a:pPr>
            <a:r>
              <a:rPr lang="it-IT" altLang="it-IT" sz="1250" dirty="0">
                <a:solidFill>
                  <a:srgbClr val="415064"/>
                </a:solidFill>
              </a:rPr>
              <a:t>CDP può svolgere un </a:t>
            </a:r>
            <a:r>
              <a:rPr lang="it-IT" altLang="it-IT" sz="1250" b="1" dirty="0">
                <a:solidFill>
                  <a:srgbClr val="415064"/>
                </a:solidFill>
              </a:rPr>
              <a:t>ruolo decisivo </a:t>
            </a:r>
            <a:r>
              <a:rPr lang="it-IT" altLang="it-IT" sz="1250" dirty="0">
                <a:solidFill>
                  <a:srgbClr val="415064"/>
                </a:solidFill>
              </a:rPr>
              <a:t>nel sistema italiano della Cooperazione allo Sviluppo facendo leva su tre fattori chiave per favorire il raggiungimento degli obiettivi di </a:t>
            </a:r>
            <a:r>
              <a:rPr lang="it-IT" altLang="it-IT" sz="1250" b="1" dirty="0">
                <a:solidFill>
                  <a:srgbClr val="415064"/>
                </a:solidFill>
              </a:rPr>
              <a:t>crescita sostenibile nei Paesi in Via di Sviluppo (PVS):</a:t>
            </a:r>
          </a:p>
          <a:p>
            <a:pPr marL="285750" lvl="0" indent="-285750" algn="just" defTabSz="914400" eaLnBrk="0" fontAlgn="base" hangingPunct="0">
              <a:lnSpc>
                <a:spcPct val="120000"/>
              </a:lnSpc>
              <a:spcBef>
                <a:spcPct val="0"/>
              </a:spcBef>
              <a:spcAft>
                <a:spcPct val="0"/>
              </a:spcAft>
              <a:buFont typeface="Arial" panose="020B0604020202020204" pitchFamily="34" charset="0"/>
              <a:buChar char="-"/>
              <a:defRPr/>
            </a:pPr>
            <a:r>
              <a:rPr lang="it-IT" altLang="it-IT" sz="1250" dirty="0">
                <a:solidFill>
                  <a:srgbClr val="415064"/>
                </a:solidFill>
              </a:rPr>
              <a:t>Approccio di </a:t>
            </a:r>
            <a:r>
              <a:rPr lang="it-IT" altLang="it-IT" sz="1250" b="1" dirty="0">
                <a:solidFill>
                  <a:srgbClr val="415064"/>
                </a:solidFill>
              </a:rPr>
              <a:t>lungo periodo</a:t>
            </a:r>
          </a:p>
          <a:p>
            <a:pPr marL="285750" lvl="0" indent="-285750" algn="just" defTabSz="914400" eaLnBrk="0" fontAlgn="base" hangingPunct="0">
              <a:lnSpc>
                <a:spcPct val="120000"/>
              </a:lnSpc>
              <a:spcBef>
                <a:spcPct val="0"/>
              </a:spcBef>
              <a:spcAft>
                <a:spcPct val="0"/>
              </a:spcAft>
              <a:buFont typeface="Arial" panose="020B0604020202020204" pitchFamily="34" charset="0"/>
              <a:buChar char="-"/>
              <a:defRPr/>
            </a:pPr>
            <a:r>
              <a:rPr lang="it-IT" altLang="it-IT" sz="1250" i="1" dirty="0">
                <a:solidFill>
                  <a:srgbClr val="415064"/>
                </a:solidFill>
              </a:rPr>
              <a:t>Expertise</a:t>
            </a:r>
            <a:r>
              <a:rPr lang="it-IT" altLang="it-IT" sz="1250" dirty="0">
                <a:solidFill>
                  <a:srgbClr val="415064"/>
                </a:solidFill>
              </a:rPr>
              <a:t> nel </a:t>
            </a:r>
            <a:r>
              <a:rPr lang="it-IT" altLang="it-IT" sz="1250" b="1" i="1" dirty="0" err="1">
                <a:solidFill>
                  <a:srgbClr val="415064"/>
                </a:solidFill>
              </a:rPr>
              <a:t>blending</a:t>
            </a:r>
            <a:r>
              <a:rPr lang="it-IT" altLang="it-IT" sz="1250" b="1" dirty="0">
                <a:solidFill>
                  <a:srgbClr val="415064"/>
                </a:solidFill>
              </a:rPr>
              <a:t> di risorse finanziarie </a:t>
            </a:r>
            <a:r>
              <a:rPr lang="it-IT" altLang="it-IT" sz="1250" dirty="0">
                <a:solidFill>
                  <a:srgbClr val="415064"/>
                </a:solidFill>
              </a:rPr>
              <a:t>(pubbliche e private)</a:t>
            </a:r>
          </a:p>
          <a:p>
            <a:pPr marL="285750" lvl="0" indent="-285750" algn="just" defTabSz="914400" eaLnBrk="0" fontAlgn="base" hangingPunct="0">
              <a:lnSpc>
                <a:spcPct val="120000"/>
              </a:lnSpc>
              <a:spcBef>
                <a:spcPct val="0"/>
              </a:spcBef>
              <a:spcAft>
                <a:spcPct val="0"/>
              </a:spcAft>
              <a:buFont typeface="Arial" panose="020B0604020202020204" pitchFamily="34" charset="0"/>
              <a:buChar char="-"/>
              <a:defRPr/>
            </a:pPr>
            <a:r>
              <a:rPr lang="it-IT" altLang="it-IT" sz="1250" b="1" dirty="0">
                <a:solidFill>
                  <a:srgbClr val="415064"/>
                </a:solidFill>
              </a:rPr>
              <a:t>Risorse proprie </a:t>
            </a:r>
            <a:r>
              <a:rPr lang="it-IT" altLang="it-IT" sz="1250" dirty="0">
                <a:solidFill>
                  <a:srgbClr val="415064"/>
                </a:solidFill>
              </a:rPr>
              <a:t>da destinare a attività di Cooperazione fino a </a:t>
            </a:r>
            <a:r>
              <a:rPr lang="it-IT" altLang="it-IT" sz="1250" b="1" dirty="0">
                <a:solidFill>
                  <a:srgbClr val="415064"/>
                </a:solidFill>
              </a:rPr>
              <a:t>Euro 1mld / anno</a:t>
            </a:r>
          </a:p>
        </p:txBody>
      </p:sp>
      <p:sp>
        <p:nvSpPr>
          <p:cNvPr id="12" name="Rectangle 2">
            <a:extLst>
              <a:ext uri="{FF2B5EF4-FFF2-40B4-BE49-F238E27FC236}">
                <a16:creationId xmlns:a16="http://schemas.microsoft.com/office/drawing/2014/main" id="{D1A7D0C0-201A-4D5A-ACAC-ACFDBE92F9EF}"/>
              </a:ext>
            </a:extLst>
          </p:cNvPr>
          <p:cNvSpPr>
            <a:spLocks/>
          </p:cNvSpPr>
          <p:nvPr/>
        </p:nvSpPr>
        <p:spPr>
          <a:xfrm>
            <a:off x="1" y="3"/>
            <a:ext cx="9143999" cy="163396"/>
          </a:xfrm>
          <a:prstGeom prst="rect">
            <a:avLst/>
          </a:prstGeom>
          <a:solidFill>
            <a:srgbClr val="415064"/>
          </a:solidFill>
          <a:ln w="9525" cap="flat" cmpd="sng" algn="ctr">
            <a:noFill/>
            <a:prstDash val="solid"/>
          </a:ln>
          <a:effectLst/>
        </p:spPr>
        <p:txBody>
          <a:bodyPr rot="0" spcFirstLastPara="0" vert="horz" wrap="square" lIns="121920" tIns="60960" rIns="121920" bIns="6096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224" kern="1200">
                <a:solidFill>
                  <a:schemeClr val="lt1"/>
                </a:solidFill>
                <a:latin typeface="+mn-lt"/>
                <a:ea typeface="+mn-ea"/>
                <a:cs typeface="+mn-cs"/>
              </a:defRPr>
            </a:lvl1pPr>
            <a:lvl2pPr marL="349849" algn="l" rtl="0" fontAlgn="base">
              <a:spcBef>
                <a:spcPct val="0"/>
              </a:spcBef>
              <a:spcAft>
                <a:spcPct val="0"/>
              </a:spcAft>
              <a:defRPr sz="1224" kern="1200">
                <a:solidFill>
                  <a:schemeClr val="lt1"/>
                </a:solidFill>
                <a:latin typeface="+mn-lt"/>
                <a:ea typeface="+mn-ea"/>
                <a:cs typeface="+mn-cs"/>
              </a:defRPr>
            </a:lvl2pPr>
            <a:lvl3pPr marL="699699" algn="l" rtl="0" fontAlgn="base">
              <a:spcBef>
                <a:spcPct val="0"/>
              </a:spcBef>
              <a:spcAft>
                <a:spcPct val="0"/>
              </a:spcAft>
              <a:defRPr sz="1224" kern="1200">
                <a:solidFill>
                  <a:schemeClr val="lt1"/>
                </a:solidFill>
                <a:latin typeface="+mn-lt"/>
                <a:ea typeface="+mn-ea"/>
                <a:cs typeface="+mn-cs"/>
              </a:defRPr>
            </a:lvl3pPr>
            <a:lvl4pPr marL="1049548" algn="l" rtl="0" fontAlgn="base">
              <a:spcBef>
                <a:spcPct val="0"/>
              </a:spcBef>
              <a:spcAft>
                <a:spcPct val="0"/>
              </a:spcAft>
              <a:defRPr sz="1224" kern="1200">
                <a:solidFill>
                  <a:schemeClr val="lt1"/>
                </a:solidFill>
                <a:latin typeface="+mn-lt"/>
                <a:ea typeface="+mn-ea"/>
                <a:cs typeface="+mn-cs"/>
              </a:defRPr>
            </a:lvl4pPr>
            <a:lvl5pPr marL="1399398" algn="l" rtl="0" fontAlgn="base">
              <a:spcBef>
                <a:spcPct val="0"/>
              </a:spcBef>
              <a:spcAft>
                <a:spcPct val="0"/>
              </a:spcAft>
              <a:defRPr sz="1224" kern="1200">
                <a:solidFill>
                  <a:schemeClr val="lt1"/>
                </a:solidFill>
                <a:latin typeface="+mn-lt"/>
                <a:ea typeface="+mn-ea"/>
                <a:cs typeface="+mn-cs"/>
              </a:defRPr>
            </a:lvl5pPr>
            <a:lvl6pPr marL="1749247" algn="l" defTabSz="699699" rtl="0" eaLnBrk="1" latinLnBrk="0" hangingPunct="1">
              <a:defRPr sz="1224" kern="1200">
                <a:solidFill>
                  <a:schemeClr val="lt1"/>
                </a:solidFill>
                <a:latin typeface="+mn-lt"/>
                <a:ea typeface="+mn-ea"/>
                <a:cs typeface="+mn-cs"/>
              </a:defRPr>
            </a:lvl6pPr>
            <a:lvl7pPr marL="2099097" algn="l" defTabSz="699699" rtl="0" eaLnBrk="1" latinLnBrk="0" hangingPunct="1">
              <a:defRPr sz="1224" kern="1200">
                <a:solidFill>
                  <a:schemeClr val="lt1"/>
                </a:solidFill>
                <a:latin typeface="+mn-lt"/>
                <a:ea typeface="+mn-ea"/>
                <a:cs typeface="+mn-cs"/>
              </a:defRPr>
            </a:lvl7pPr>
            <a:lvl8pPr marL="2448946" algn="l" defTabSz="699699" rtl="0" eaLnBrk="1" latinLnBrk="0" hangingPunct="1">
              <a:defRPr sz="1224" kern="1200">
                <a:solidFill>
                  <a:schemeClr val="lt1"/>
                </a:solidFill>
                <a:latin typeface="+mn-lt"/>
                <a:ea typeface="+mn-ea"/>
                <a:cs typeface="+mn-cs"/>
              </a:defRPr>
            </a:lvl8pPr>
            <a:lvl9pPr marL="2798796" algn="l" defTabSz="699699" rtl="0" eaLnBrk="1" latinLnBrk="0" hangingPunct="1">
              <a:defRPr sz="1224" kern="1200">
                <a:solidFill>
                  <a:schemeClr val="lt1"/>
                </a:solidFill>
                <a:latin typeface="+mn-lt"/>
                <a:ea typeface="+mn-ea"/>
                <a:cs typeface="+mn-cs"/>
              </a:defRPr>
            </a:lvl9pPr>
          </a:lstStyle>
          <a:p>
            <a:pPr defTabSz="1219079">
              <a:defRPr/>
            </a:pPr>
            <a:r>
              <a:rPr lang="it-IT" sz="1000" b="1" dirty="0">
                <a:solidFill>
                  <a:srgbClr val="FFFFFF"/>
                </a:solidFill>
                <a:latin typeface="Arial"/>
              </a:rPr>
              <a:t>CDP Cooperazione Internazionale allo Sviluppo</a:t>
            </a:r>
            <a:endParaRPr lang="it-IT" sz="1000" b="1" i="1" dirty="0">
              <a:solidFill>
                <a:srgbClr val="FFFFFF"/>
              </a:solidFill>
              <a:latin typeface="Arial"/>
            </a:endParaRPr>
          </a:p>
        </p:txBody>
      </p:sp>
    </p:spTree>
    <p:extLst>
      <p:ext uri="{BB962C8B-B14F-4D97-AF65-F5344CB8AC3E}">
        <p14:creationId xmlns:p14="http://schemas.microsoft.com/office/powerpoint/2010/main" val="20403514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Arco a tutto sesto 104">
            <a:extLst>
              <a:ext uri="{FF2B5EF4-FFF2-40B4-BE49-F238E27FC236}">
                <a16:creationId xmlns:a16="http://schemas.microsoft.com/office/drawing/2014/main" id="{63783738-B5F3-4B02-B003-0B4A29B8D4FE}"/>
              </a:ext>
            </a:extLst>
          </p:cNvPr>
          <p:cNvSpPr/>
          <p:nvPr/>
        </p:nvSpPr>
        <p:spPr>
          <a:xfrm rot="5564113">
            <a:off x="2491790" y="-2955530"/>
            <a:ext cx="3446197" cy="10323704"/>
          </a:xfrm>
          <a:prstGeom prst="blockArc">
            <a:avLst>
              <a:gd name="adj1" fmla="val 17091469"/>
              <a:gd name="adj2" fmla="val 4026753"/>
              <a:gd name="adj3" fmla="val 8082"/>
            </a:avLst>
          </a:prstGeom>
          <a:solidFill>
            <a:srgbClr val="B0B0B0"/>
          </a:solidFill>
          <a:ln>
            <a:solidFill>
              <a:srgbClr val="B0B0B0"/>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defTabSz="685783">
              <a:defRPr/>
            </a:pPr>
            <a:endParaRPr lang="it-IT" sz="1013">
              <a:solidFill>
                <a:prstClr val="white"/>
              </a:solidFill>
              <a:latin typeface="Arial"/>
            </a:endParaRPr>
          </a:p>
        </p:txBody>
      </p:sp>
      <p:sp>
        <p:nvSpPr>
          <p:cNvPr id="5" name="Segnaposto numero diapositiva 4">
            <a:extLst>
              <a:ext uri="{FF2B5EF4-FFF2-40B4-BE49-F238E27FC236}">
                <a16:creationId xmlns:a16="http://schemas.microsoft.com/office/drawing/2014/main" id="{AEA4EA55-9FD0-4329-BCD1-1991EE34F230}"/>
              </a:ext>
            </a:extLst>
          </p:cNvPr>
          <p:cNvSpPr>
            <a:spLocks noGrp="1"/>
          </p:cNvSpPr>
          <p:nvPr>
            <p:ph type="sldNum" sz="quarter" idx="12"/>
          </p:nvPr>
        </p:nvSpPr>
        <p:spPr>
          <a:xfrm>
            <a:off x="334433" y="6297858"/>
            <a:ext cx="1344083" cy="244916"/>
          </a:xfrm>
          <a:prstGeom prst="rect">
            <a:avLst/>
          </a:prstGeom>
        </p:spPr>
        <p:txBody>
          <a:bodyPr vert="horz" lIns="0" tIns="0" rIns="0" bIns="0" rtlCol="0" anchor="b" anchorCtr="0"/>
          <a:lstStyle>
            <a:defPPr>
              <a:defRPr lang="it-IT"/>
            </a:defPPr>
            <a:lvl1pPr marL="0" algn="l" defTabSz="914400" rtl="0" eaLnBrk="1" latinLnBrk="0" hangingPunct="1">
              <a:defRPr sz="1067"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783"/>
            <a:fld id="{608DA0FE-9C19-F746-8419-6700E348BF78}" type="slidenum">
              <a:rPr lang="it-IT" smtClean="0"/>
              <a:pPr defTabSz="685783"/>
              <a:t>14</a:t>
            </a:fld>
            <a:endParaRPr lang="it-IT"/>
          </a:p>
        </p:txBody>
      </p:sp>
      <p:sp>
        <p:nvSpPr>
          <p:cNvPr id="56" name="Rettangolo arrotondato 180">
            <a:extLst>
              <a:ext uri="{FF2B5EF4-FFF2-40B4-BE49-F238E27FC236}">
                <a16:creationId xmlns:a16="http://schemas.microsoft.com/office/drawing/2014/main" id="{D7CDC989-87E3-4297-A0A8-B6A854330556}"/>
              </a:ext>
            </a:extLst>
          </p:cNvPr>
          <p:cNvSpPr/>
          <p:nvPr/>
        </p:nvSpPr>
        <p:spPr>
          <a:xfrm>
            <a:off x="6911577" y="1129329"/>
            <a:ext cx="1699146" cy="507713"/>
          </a:xfrm>
          <a:prstGeom prst="roundRect">
            <a:avLst/>
          </a:prstGeom>
          <a:solidFill>
            <a:schemeClr val="bg1"/>
          </a:solidFill>
          <a:ln w="9525">
            <a:solidFill>
              <a:srgbClr val="001B50"/>
            </a:solidFill>
          </a:ln>
          <a:effectLst>
            <a:glow rad="63500">
              <a:srgbClr val="B4C7E7">
                <a:alpha val="40000"/>
              </a:srgbClr>
            </a:glo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783">
              <a:defRPr/>
            </a:pPr>
            <a:endParaRPr lang="it-IT" sz="800" b="1">
              <a:solidFill>
                <a:prstClr val="white"/>
              </a:solidFill>
              <a:latin typeface="Arial"/>
              <a:cs typeface="Arial"/>
            </a:endParaRPr>
          </a:p>
        </p:txBody>
      </p:sp>
      <p:sp>
        <p:nvSpPr>
          <p:cNvPr id="57" name="Rettangolo arrotondato 180">
            <a:extLst>
              <a:ext uri="{FF2B5EF4-FFF2-40B4-BE49-F238E27FC236}">
                <a16:creationId xmlns:a16="http://schemas.microsoft.com/office/drawing/2014/main" id="{5B343653-7CB3-49C8-B6C0-D36D0CA16D24}"/>
              </a:ext>
            </a:extLst>
          </p:cNvPr>
          <p:cNvSpPr/>
          <p:nvPr/>
        </p:nvSpPr>
        <p:spPr>
          <a:xfrm>
            <a:off x="4809860" y="1129329"/>
            <a:ext cx="1699146" cy="507713"/>
          </a:xfrm>
          <a:prstGeom prst="roundRect">
            <a:avLst/>
          </a:prstGeom>
          <a:solidFill>
            <a:schemeClr val="bg1"/>
          </a:solidFill>
          <a:ln w="9525">
            <a:solidFill>
              <a:srgbClr val="001B50"/>
            </a:solidFill>
          </a:ln>
          <a:effectLst>
            <a:glow rad="63500">
              <a:srgbClr val="B4C7E7">
                <a:alpha val="40000"/>
              </a:srgbClr>
            </a:glo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783">
              <a:defRPr/>
            </a:pPr>
            <a:endParaRPr lang="it-IT" sz="800" b="1">
              <a:solidFill>
                <a:prstClr val="white"/>
              </a:solidFill>
              <a:latin typeface="Arial"/>
              <a:cs typeface="Arial"/>
            </a:endParaRPr>
          </a:p>
        </p:txBody>
      </p:sp>
      <p:sp>
        <p:nvSpPr>
          <p:cNvPr id="58" name="Rettangolo arrotondato 180">
            <a:extLst>
              <a:ext uri="{FF2B5EF4-FFF2-40B4-BE49-F238E27FC236}">
                <a16:creationId xmlns:a16="http://schemas.microsoft.com/office/drawing/2014/main" id="{0234E113-7834-4BE3-AFA0-C47140353DBD}"/>
              </a:ext>
            </a:extLst>
          </p:cNvPr>
          <p:cNvSpPr/>
          <p:nvPr/>
        </p:nvSpPr>
        <p:spPr>
          <a:xfrm>
            <a:off x="2576103" y="1129329"/>
            <a:ext cx="1908240" cy="507713"/>
          </a:xfrm>
          <a:prstGeom prst="roundRect">
            <a:avLst/>
          </a:prstGeom>
          <a:solidFill>
            <a:schemeClr val="bg1"/>
          </a:solidFill>
          <a:ln w="9525">
            <a:solidFill>
              <a:srgbClr val="001548"/>
            </a:solidFill>
          </a:ln>
          <a:effectLst>
            <a:glow rad="63500">
              <a:srgbClr val="B4C7E7">
                <a:alpha val="40000"/>
              </a:srgbClr>
            </a:glo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783">
              <a:defRPr/>
            </a:pPr>
            <a:endParaRPr lang="it-IT" sz="800" b="1">
              <a:solidFill>
                <a:prstClr val="white"/>
              </a:solidFill>
              <a:latin typeface="Arial"/>
              <a:cs typeface="Arial"/>
            </a:endParaRPr>
          </a:p>
        </p:txBody>
      </p:sp>
      <p:sp>
        <p:nvSpPr>
          <p:cNvPr id="59" name="object 9">
            <a:extLst>
              <a:ext uri="{FF2B5EF4-FFF2-40B4-BE49-F238E27FC236}">
                <a16:creationId xmlns:a16="http://schemas.microsoft.com/office/drawing/2014/main" id="{3A607D9C-2794-4BE9-83B2-04460797CCC1}"/>
              </a:ext>
            </a:extLst>
          </p:cNvPr>
          <p:cNvSpPr/>
          <p:nvPr/>
        </p:nvSpPr>
        <p:spPr>
          <a:xfrm>
            <a:off x="805123" y="2400765"/>
            <a:ext cx="6948488" cy="0"/>
          </a:xfrm>
          <a:custGeom>
            <a:avLst/>
            <a:gdLst/>
            <a:ahLst/>
            <a:cxnLst/>
            <a:rect l="l" t="t" r="r" b="b"/>
            <a:pathLst>
              <a:path w="9264650">
                <a:moveTo>
                  <a:pt x="0" y="0"/>
                </a:moveTo>
                <a:lnTo>
                  <a:pt x="9264396" y="0"/>
                </a:lnTo>
              </a:path>
            </a:pathLst>
          </a:custGeom>
          <a:ln w="60960">
            <a:solidFill>
              <a:srgbClr val="415364"/>
            </a:solidFill>
          </a:ln>
        </p:spPr>
        <p:txBody>
          <a:bodyPr wrap="square" lIns="0" tIns="0" rIns="0" bIns="0" rtlCol="0"/>
          <a:lstStyle/>
          <a:p>
            <a:pPr defTabSz="457189">
              <a:defRPr/>
            </a:pPr>
            <a:endParaRPr sz="1013">
              <a:solidFill>
                <a:srgbClr val="001548"/>
              </a:solidFill>
              <a:latin typeface="Arial"/>
            </a:endParaRPr>
          </a:p>
        </p:txBody>
      </p:sp>
      <p:sp>
        <p:nvSpPr>
          <p:cNvPr id="62" name="Connettore 61">
            <a:extLst>
              <a:ext uri="{FF2B5EF4-FFF2-40B4-BE49-F238E27FC236}">
                <a16:creationId xmlns:a16="http://schemas.microsoft.com/office/drawing/2014/main" id="{305F954B-CA9E-4C8C-BE76-42E762F54598}"/>
              </a:ext>
            </a:extLst>
          </p:cNvPr>
          <p:cNvSpPr/>
          <p:nvPr/>
        </p:nvSpPr>
        <p:spPr>
          <a:xfrm>
            <a:off x="4906069" y="1731527"/>
            <a:ext cx="1470711" cy="1372444"/>
          </a:xfrm>
          <a:prstGeom prst="flowChartConnector">
            <a:avLst/>
          </a:prstGeom>
          <a:ln w="28575">
            <a:solidFill>
              <a:srgbClr val="B4C7E7"/>
            </a:solidFill>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defTabSz="685766">
              <a:defRPr/>
            </a:pPr>
            <a:endParaRPr lang="it-IT" sz="1000" b="1">
              <a:solidFill>
                <a:srgbClr val="001548"/>
              </a:solidFill>
              <a:latin typeface="Arial"/>
            </a:endParaRPr>
          </a:p>
        </p:txBody>
      </p:sp>
      <p:sp>
        <p:nvSpPr>
          <p:cNvPr id="63" name="Connettore 62">
            <a:extLst>
              <a:ext uri="{FF2B5EF4-FFF2-40B4-BE49-F238E27FC236}">
                <a16:creationId xmlns:a16="http://schemas.microsoft.com/office/drawing/2014/main" id="{4C1CD608-C497-498A-A02F-11074EE0A98D}"/>
              </a:ext>
            </a:extLst>
          </p:cNvPr>
          <p:cNvSpPr/>
          <p:nvPr/>
        </p:nvSpPr>
        <p:spPr>
          <a:xfrm>
            <a:off x="2822069" y="1731527"/>
            <a:ext cx="1425393" cy="1372444"/>
          </a:xfrm>
          <a:prstGeom prst="flowChartConnector">
            <a:avLst/>
          </a:prstGeom>
          <a:ln w="28575">
            <a:solidFill>
              <a:srgbClr val="B4C7E7"/>
            </a:solidFill>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tlCol="0" anchor="ctr"/>
          <a:lstStyle/>
          <a:p>
            <a:pPr algn="ctr" defTabSz="685766">
              <a:defRPr/>
            </a:pPr>
            <a:endParaRPr lang="it-IT" sz="900" b="1">
              <a:solidFill>
                <a:srgbClr val="001548"/>
              </a:solidFill>
              <a:latin typeface="Arial"/>
            </a:endParaRPr>
          </a:p>
        </p:txBody>
      </p:sp>
      <p:sp>
        <p:nvSpPr>
          <p:cNvPr id="64" name="Connettore 63">
            <a:extLst>
              <a:ext uri="{FF2B5EF4-FFF2-40B4-BE49-F238E27FC236}">
                <a16:creationId xmlns:a16="http://schemas.microsoft.com/office/drawing/2014/main" id="{3CFD37BD-0D85-4FF6-A3D1-45289DD3ECE0}"/>
              </a:ext>
            </a:extLst>
          </p:cNvPr>
          <p:cNvSpPr/>
          <p:nvPr/>
        </p:nvSpPr>
        <p:spPr>
          <a:xfrm>
            <a:off x="7042290" y="1731527"/>
            <a:ext cx="1485760" cy="1372444"/>
          </a:xfrm>
          <a:prstGeom prst="flowChartConnector">
            <a:avLst/>
          </a:prstGeom>
          <a:ln w="28575">
            <a:solidFill>
              <a:srgbClr val="B4C7E7"/>
            </a:solidFill>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tlCol="0" anchor="ctr"/>
          <a:lstStyle/>
          <a:p>
            <a:pPr algn="ctr" defTabSz="685766">
              <a:defRPr/>
            </a:pPr>
            <a:endParaRPr lang="it-IT" sz="900" b="1" i="1">
              <a:solidFill>
                <a:srgbClr val="001548"/>
              </a:solidFill>
              <a:latin typeface="Arial"/>
            </a:endParaRPr>
          </a:p>
        </p:txBody>
      </p:sp>
      <p:sp>
        <p:nvSpPr>
          <p:cNvPr id="65" name="Figura a mano libera 352">
            <a:extLst>
              <a:ext uri="{FF2B5EF4-FFF2-40B4-BE49-F238E27FC236}">
                <a16:creationId xmlns:a16="http://schemas.microsoft.com/office/drawing/2014/main" id="{80169C79-1B04-4F8F-84B9-5A4DAC176268}"/>
              </a:ext>
            </a:extLst>
          </p:cNvPr>
          <p:cNvSpPr>
            <a:spLocks/>
          </p:cNvSpPr>
          <p:nvPr/>
        </p:nvSpPr>
        <p:spPr>
          <a:xfrm>
            <a:off x="4906069" y="1780326"/>
            <a:ext cx="324000" cy="324000"/>
          </a:xfrm>
          <a:custGeom>
            <a:avLst/>
            <a:gdLst>
              <a:gd name="connsiteX0" fmla="*/ 0 w 884453"/>
              <a:gd name="connsiteY0" fmla="*/ 442227 h 884453"/>
              <a:gd name="connsiteX1" fmla="*/ 442227 w 884453"/>
              <a:gd name="connsiteY1" fmla="*/ 0 h 884453"/>
              <a:gd name="connsiteX2" fmla="*/ 884454 w 884453"/>
              <a:gd name="connsiteY2" fmla="*/ 442227 h 884453"/>
              <a:gd name="connsiteX3" fmla="*/ 442227 w 884453"/>
              <a:gd name="connsiteY3" fmla="*/ 884454 h 884453"/>
              <a:gd name="connsiteX4" fmla="*/ 0 w 884453"/>
              <a:gd name="connsiteY4" fmla="*/ 442227 h 884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453" h="884453">
                <a:moveTo>
                  <a:pt x="0" y="442227"/>
                </a:moveTo>
                <a:cubicBezTo>
                  <a:pt x="0" y="197992"/>
                  <a:pt x="197992" y="0"/>
                  <a:pt x="442227" y="0"/>
                </a:cubicBezTo>
                <a:cubicBezTo>
                  <a:pt x="686462" y="0"/>
                  <a:pt x="884454" y="197992"/>
                  <a:pt x="884454" y="442227"/>
                </a:cubicBezTo>
                <a:cubicBezTo>
                  <a:pt x="884454" y="686462"/>
                  <a:pt x="686462" y="884454"/>
                  <a:pt x="442227" y="884454"/>
                </a:cubicBezTo>
                <a:cubicBezTo>
                  <a:pt x="197992" y="884454"/>
                  <a:pt x="0" y="686462"/>
                  <a:pt x="0" y="442227"/>
                </a:cubicBezTo>
                <a:close/>
              </a:path>
            </a:pathLst>
          </a:custGeom>
          <a:solidFill>
            <a:schemeClr val="tx1"/>
          </a:solidFill>
          <a:ln w="15875" cmpd="sng">
            <a:solidFill>
              <a:sysClr val="window" lastClr="FFFFFF"/>
            </a:solidFill>
          </a:ln>
          <a:effectLst/>
        </p:spPr>
        <p:style>
          <a:lnRef idx="0">
            <a:scrgbClr r="0" g="0" b="0"/>
          </a:lnRef>
          <a:fillRef idx="3">
            <a:scrgbClr r="0" g="0" b="0"/>
          </a:fillRef>
          <a:effectRef idx="2">
            <a:scrgbClr r="0" g="0" b="0"/>
          </a:effectRef>
          <a:fontRef idx="minor">
            <a:schemeClr val="lt1"/>
          </a:fontRef>
        </p:style>
        <p:txBody>
          <a:bodyPr spcFirstLastPara="0" vert="horz" wrap="square" lIns="199793" tIns="199793" rIns="199793" bIns="199793" numCol="1" spcCol="1270" anchor="ctr" anchorCtr="0">
            <a:noAutofit/>
          </a:bodyPr>
          <a:lstStyle/>
          <a:p>
            <a:pPr algn="ctr" defTabSz="948195">
              <a:lnSpc>
                <a:spcPct val="90000"/>
              </a:lnSpc>
              <a:spcBef>
                <a:spcPct val="0"/>
              </a:spcBef>
              <a:spcAft>
                <a:spcPct val="35000"/>
              </a:spcAft>
              <a:defRPr/>
            </a:pPr>
            <a:r>
              <a:rPr lang="it-IT" sz="1400" b="1">
                <a:solidFill>
                  <a:prstClr val="white"/>
                </a:solidFill>
                <a:latin typeface="Arial"/>
                <a:cs typeface="Arial"/>
              </a:rPr>
              <a:t>3</a:t>
            </a:r>
          </a:p>
        </p:txBody>
      </p:sp>
      <p:sp>
        <p:nvSpPr>
          <p:cNvPr id="66" name="Figura a mano libera 353">
            <a:extLst>
              <a:ext uri="{FF2B5EF4-FFF2-40B4-BE49-F238E27FC236}">
                <a16:creationId xmlns:a16="http://schemas.microsoft.com/office/drawing/2014/main" id="{276A05DF-2E9A-424A-BAFD-CD2F07E7D660}"/>
              </a:ext>
            </a:extLst>
          </p:cNvPr>
          <p:cNvSpPr>
            <a:spLocks/>
          </p:cNvSpPr>
          <p:nvPr/>
        </p:nvSpPr>
        <p:spPr>
          <a:xfrm>
            <a:off x="7075923" y="1780326"/>
            <a:ext cx="324000" cy="324000"/>
          </a:xfrm>
          <a:custGeom>
            <a:avLst/>
            <a:gdLst>
              <a:gd name="connsiteX0" fmla="*/ 0 w 884453"/>
              <a:gd name="connsiteY0" fmla="*/ 442227 h 884453"/>
              <a:gd name="connsiteX1" fmla="*/ 442227 w 884453"/>
              <a:gd name="connsiteY1" fmla="*/ 0 h 884453"/>
              <a:gd name="connsiteX2" fmla="*/ 884454 w 884453"/>
              <a:gd name="connsiteY2" fmla="*/ 442227 h 884453"/>
              <a:gd name="connsiteX3" fmla="*/ 442227 w 884453"/>
              <a:gd name="connsiteY3" fmla="*/ 884454 h 884453"/>
              <a:gd name="connsiteX4" fmla="*/ 0 w 884453"/>
              <a:gd name="connsiteY4" fmla="*/ 442227 h 884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453" h="884453">
                <a:moveTo>
                  <a:pt x="0" y="442227"/>
                </a:moveTo>
                <a:cubicBezTo>
                  <a:pt x="0" y="197992"/>
                  <a:pt x="197992" y="0"/>
                  <a:pt x="442227" y="0"/>
                </a:cubicBezTo>
                <a:cubicBezTo>
                  <a:pt x="686462" y="0"/>
                  <a:pt x="884454" y="197992"/>
                  <a:pt x="884454" y="442227"/>
                </a:cubicBezTo>
                <a:cubicBezTo>
                  <a:pt x="884454" y="686462"/>
                  <a:pt x="686462" y="884454"/>
                  <a:pt x="442227" y="884454"/>
                </a:cubicBezTo>
                <a:cubicBezTo>
                  <a:pt x="197992" y="884454"/>
                  <a:pt x="0" y="686462"/>
                  <a:pt x="0" y="442227"/>
                </a:cubicBezTo>
                <a:close/>
              </a:path>
            </a:pathLst>
          </a:custGeom>
          <a:solidFill>
            <a:schemeClr val="tx1"/>
          </a:solidFill>
          <a:ln w="15875" cmpd="sng">
            <a:solidFill>
              <a:sysClr val="window" lastClr="FFFFFF"/>
            </a:solidFill>
          </a:ln>
          <a:effectLst/>
        </p:spPr>
        <p:style>
          <a:lnRef idx="0">
            <a:scrgbClr r="0" g="0" b="0"/>
          </a:lnRef>
          <a:fillRef idx="3">
            <a:scrgbClr r="0" g="0" b="0"/>
          </a:fillRef>
          <a:effectRef idx="2">
            <a:scrgbClr r="0" g="0" b="0"/>
          </a:effectRef>
          <a:fontRef idx="minor">
            <a:schemeClr val="lt1"/>
          </a:fontRef>
        </p:style>
        <p:txBody>
          <a:bodyPr spcFirstLastPara="0" vert="horz" wrap="square" lIns="199793" tIns="199793" rIns="199793" bIns="199793" numCol="1" spcCol="1270" anchor="ctr" anchorCtr="0">
            <a:noAutofit/>
          </a:bodyPr>
          <a:lstStyle/>
          <a:p>
            <a:pPr algn="ctr" defTabSz="948195">
              <a:lnSpc>
                <a:spcPct val="90000"/>
              </a:lnSpc>
              <a:spcBef>
                <a:spcPct val="0"/>
              </a:spcBef>
              <a:spcAft>
                <a:spcPct val="35000"/>
              </a:spcAft>
              <a:defRPr/>
            </a:pPr>
            <a:r>
              <a:rPr lang="it-IT" sz="1400" b="1">
                <a:solidFill>
                  <a:prstClr val="white"/>
                </a:solidFill>
                <a:latin typeface="Arial"/>
                <a:cs typeface="Arial"/>
              </a:rPr>
              <a:t>4</a:t>
            </a:r>
          </a:p>
        </p:txBody>
      </p:sp>
      <p:sp>
        <p:nvSpPr>
          <p:cNvPr id="67" name="Figura a mano libera 354">
            <a:extLst>
              <a:ext uri="{FF2B5EF4-FFF2-40B4-BE49-F238E27FC236}">
                <a16:creationId xmlns:a16="http://schemas.microsoft.com/office/drawing/2014/main" id="{882F091C-6FAE-46D7-9A09-3BA8FC15BC1B}"/>
              </a:ext>
            </a:extLst>
          </p:cNvPr>
          <p:cNvSpPr>
            <a:spLocks/>
          </p:cNvSpPr>
          <p:nvPr/>
        </p:nvSpPr>
        <p:spPr>
          <a:xfrm>
            <a:off x="2822069" y="1780326"/>
            <a:ext cx="324000" cy="324000"/>
          </a:xfrm>
          <a:custGeom>
            <a:avLst/>
            <a:gdLst>
              <a:gd name="connsiteX0" fmla="*/ 0 w 884453"/>
              <a:gd name="connsiteY0" fmla="*/ 442227 h 884453"/>
              <a:gd name="connsiteX1" fmla="*/ 442227 w 884453"/>
              <a:gd name="connsiteY1" fmla="*/ 0 h 884453"/>
              <a:gd name="connsiteX2" fmla="*/ 884454 w 884453"/>
              <a:gd name="connsiteY2" fmla="*/ 442227 h 884453"/>
              <a:gd name="connsiteX3" fmla="*/ 442227 w 884453"/>
              <a:gd name="connsiteY3" fmla="*/ 884454 h 884453"/>
              <a:gd name="connsiteX4" fmla="*/ 0 w 884453"/>
              <a:gd name="connsiteY4" fmla="*/ 442227 h 884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453" h="884453">
                <a:moveTo>
                  <a:pt x="0" y="442227"/>
                </a:moveTo>
                <a:cubicBezTo>
                  <a:pt x="0" y="197992"/>
                  <a:pt x="197992" y="0"/>
                  <a:pt x="442227" y="0"/>
                </a:cubicBezTo>
                <a:cubicBezTo>
                  <a:pt x="686462" y="0"/>
                  <a:pt x="884454" y="197992"/>
                  <a:pt x="884454" y="442227"/>
                </a:cubicBezTo>
                <a:cubicBezTo>
                  <a:pt x="884454" y="686462"/>
                  <a:pt x="686462" y="884454"/>
                  <a:pt x="442227" y="884454"/>
                </a:cubicBezTo>
                <a:cubicBezTo>
                  <a:pt x="197992" y="884454"/>
                  <a:pt x="0" y="686462"/>
                  <a:pt x="0" y="442227"/>
                </a:cubicBezTo>
                <a:close/>
              </a:path>
            </a:pathLst>
          </a:custGeom>
          <a:solidFill>
            <a:schemeClr val="tx1"/>
          </a:solidFill>
          <a:ln w="15875" cmpd="sng">
            <a:solidFill>
              <a:sysClr val="window" lastClr="FFFFFF"/>
            </a:solidFill>
          </a:ln>
          <a:effectLst/>
        </p:spPr>
        <p:style>
          <a:lnRef idx="0">
            <a:scrgbClr r="0" g="0" b="0"/>
          </a:lnRef>
          <a:fillRef idx="3">
            <a:scrgbClr r="0" g="0" b="0"/>
          </a:fillRef>
          <a:effectRef idx="2">
            <a:scrgbClr r="0" g="0" b="0"/>
          </a:effectRef>
          <a:fontRef idx="minor">
            <a:schemeClr val="lt1"/>
          </a:fontRef>
        </p:style>
        <p:txBody>
          <a:bodyPr spcFirstLastPara="0" vert="horz" wrap="square" lIns="199793" tIns="199793" rIns="199793" bIns="199793" numCol="1" spcCol="1270" anchor="ctr" anchorCtr="0">
            <a:noAutofit/>
          </a:bodyPr>
          <a:lstStyle/>
          <a:p>
            <a:pPr algn="ctr" defTabSz="948195">
              <a:lnSpc>
                <a:spcPct val="90000"/>
              </a:lnSpc>
              <a:spcBef>
                <a:spcPct val="0"/>
              </a:spcBef>
              <a:spcAft>
                <a:spcPct val="35000"/>
              </a:spcAft>
              <a:defRPr/>
            </a:pPr>
            <a:r>
              <a:rPr lang="it-IT" sz="1400" b="1">
                <a:solidFill>
                  <a:prstClr val="white"/>
                </a:solidFill>
                <a:latin typeface="Arial"/>
                <a:cs typeface="Arial"/>
              </a:rPr>
              <a:t>2</a:t>
            </a:r>
          </a:p>
        </p:txBody>
      </p:sp>
      <p:sp>
        <p:nvSpPr>
          <p:cNvPr id="68" name="Connettore 67">
            <a:extLst>
              <a:ext uri="{FF2B5EF4-FFF2-40B4-BE49-F238E27FC236}">
                <a16:creationId xmlns:a16="http://schemas.microsoft.com/office/drawing/2014/main" id="{74323D54-6B7F-4008-9F0B-C6160157FB25}"/>
              </a:ext>
            </a:extLst>
          </p:cNvPr>
          <p:cNvSpPr/>
          <p:nvPr/>
        </p:nvSpPr>
        <p:spPr>
          <a:xfrm>
            <a:off x="748786" y="1731527"/>
            <a:ext cx="1425393" cy="1372444"/>
          </a:xfrm>
          <a:prstGeom prst="flowChartConnector">
            <a:avLst/>
          </a:prstGeom>
          <a:ln w="28575">
            <a:solidFill>
              <a:srgbClr val="B4C7E7"/>
            </a:solidFill>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tlCol="0" anchor="ctr"/>
          <a:lstStyle/>
          <a:p>
            <a:pPr algn="ctr" defTabSz="685766">
              <a:defRPr/>
            </a:pPr>
            <a:endParaRPr lang="it-IT" sz="900" b="1">
              <a:solidFill>
                <a:srgbClr val="001548"/>
              </a:solidFill>
              <a:latin typeface="Arial"/>
            </a:endParaRPr>
          </a:p>
        </p:txBody>
      </p:sp>
      <p:sp>
        <p:nvSpPr>
          <p:cNvPr id="69" name="Figura a mano libera 36">
            <a:extLst>
              <a:ext uri="{FF2B5EF4-FFF2-40B4-BE49-F238E27FC236}">
                <a16:creationId xmlns:a16="http://schemas.microsoft.com/office/drawing/2014/main" id="{FE978870-F8D7-428E-B414-8043A140C033}"/>
              </a:ext>
            </a:extLst>
          </p:cNvPr>
          <p:cNvSpPr>
            <a:spLocks/>
          </p:cNvSpPr>
          <p:nvPr/>
        </p:nvSpPr>
        <p:spPr>
          <a:xfrm>
            <a:off x="748785" y="1780326"/>
            <a:ext cx="324000" cy="324000"/>
          </a:xfrm>
          <a:custGeom>
            <a:avLst/>
            <a:gdLst>
              <a:gd name="connsiteX0" fmla="*/ 0 w 884453"/>
              <a:gd name="connsiteY0" fmla="*/ 442227 h 884453"/>
              <a:gd name="connsiteX1" fmla="*/ 442227 w 884453"/>
              <a:gd name="connsiteY1" fmla="*/ 0 h 884453"/>
              <a:gd name="connsiteX2" fmla="*/ 884454 w 884453"/>
              <a:gd name="connsiteY2" fmla="*/ 442227 h 884453"/>
              <a:gd name="connsiteX3" fmla="*/ 442227 w 884453"/>
              <a:gd name="connsiteY3" fmla="*/ 884454 h 884453"/>
              <a:gd name="connsiteX4" fmla="*/ 0 w 884453"/>
              <a:gd name="connsiteY4" fmla="*/ 442227 h 884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4453" h="884453">
                <a:moveTo>
                  <a:pt x="0" y="442227"/>
                </a:moveTo>
                <a:cubicBezTo>
                  <a:pt x="0" y="197992"/>
                  <a:pt x="197992" y="0"/>
                  <a:pt x="442227" y="0"/>
                </a:cubicBezTo>
                <a:cubicBezTo>
                  <a:pt x="686462" y="0"/>
                  <a:pt x="884454" y="197992"/>
                  <a:pt x="884454" y="442227"/>
                </a:cubicBezTo>
                <a:cubicBezTo>
                  <a:pt x="884454" y="686462"/>
                  <a:pt x="686462" y="884454"/>
                  <a:pt x="442227" y="884454"/>
                </a:cubicBezTo>
                <a:cubicBezTo>
                  <a:pt x="197992" y="884454"/>
                  <a:pt x="0" y="686462"/>
                  <a:pt x="0" y="442227"/>
                </a:cubicBezTo>
                <a:close/>
              </a:path>
            </a:pathLst>
          </a:custGeom>
          <a:solidFill>
            <a:schemeClr val="tx1"/>
          </a:solidFill>
          <a:ln w="15875" cmpd="sng">
            <a:solidFill>
              <a:sysClr val="window" lastClr="FFFFFF"/>
            </a:solidFill>
          </a:ln>
          <a:effectLst/>
        </p:spPr>
        <p:style>
          <a:lnRef idx="0">
            <a:scrgbClr r="0" g="0" b="0"/>
          </a:lnRef>
          <a:fillRef idx="3">
            <a:scrgbClr r="0" g="0" b="0"/>
          </a:fillRef>
          <a:effectRef idx="2">
            <a:scrgbClr r="0" g="0" b="0"/>
          </a:effectRef>
          <a:fontRef idx="minor">
            <a:schemeClr val="lt1"/>
          </a:fontRef>
        </p:style>
        <p:txBody>
          <a:bodyPr spcFirstLastPara="0" vert="horz" wrap="square" lIns="199793" tIns="199793" rIns="199793" bIns="199793" numCol="1" spcCol="1270" anchor="ctr" anchorCtr="0">
            <a:noAutofit/>
          </a:bodyPr>
          <a:lstStyle/>
          <a:p>
            <a:pPr algn="ctr" defTabSz="948195">
              <a:lnSpc>
                <a:spcPct val="90000"/>
              </a:lnSpc>
              <a:spcBef>
                <a:spcPct val="0"/>
              </a:spcBef>
              <a:spcAft>
                <a:spcPct val="35000"/>
              </a:spcAft>
              <a:defRPr/>
            </a:pPr>
            <a:r>
              <a:rPr lang="it-IT" sz="1400" b="1">
                <a:solidFill>
                  <a:prstClr val="white"/>
                </a:solidFill>
                <a:latin typeface="Arial"/>
                <a:cs typeface="Arial"/>
              </a:rPr>
              <a:t>1</a:t>
            </a:r>
          </a:p>
        </p:txBody>
      </p:sp>
      <p:sp>
        <p:nvSpPr>
          <p:cNvPr id="70" name="Rettangolo 69">
            <a:extLst>
              <a:ext uri="{FF2B5EF4-FFF2-40B4-BE49-F238E27FC236}">
                <a16:creationId xmlns:a16="http://schemas.microsoft.com/office/drawing/2014/main" id="{42E48EC5-638B-48E7-9551-4E77BC3C375A}"/>
              </a:ext>
            </a:extLst>
          </p:cNvPr>
          <p:cNvSpPr/>
          <p:nvPr/>
        </p:nvSpPr>
        <p:spPr>
          <a:xfrm>
            <a:off x="2544850" y="1152353"/>
            <a:ext cx="2000695" cy="461665"/>
          </a:xfrm>
          <a:prstGeom prst="rect">
            <a:avLst/>
          </a:prstGeom>
        </p:spPr>
        <p:txBody>
          <a:bodyPr wrap="square">
            <a:spAutoFit/>
          </a:bodyPr>
          <a:lstStyle/>
          <a:p>
            <a:pPr algn="ctr" defTabSz="685766">
              <a:buClr>
                <a:srgbClr val="C00000"/>
              </a:buClr>
              <a:defRPr/>
            </a:pPr>
            <a:r>
              <a:rPr lang="it-IT" sz="1200" b="1">
                <a:solidFill>
                  <a:srgbClr val="415064"/>
                </a:solidFill>
                <a:latin typeface="Arial"/>
              </a:rPr>
              <a:t>Energie Rinnovabili e Transizione Energetica</a:t>
            </a:r>
          </a:p>
        </p:txBody>
      </p:sp>
      <p:sp>
        <p:nvSpPr>
          <p:cNvPr id="71" name="Rettangolo 70">
            <a:extLst>
              <a:ext uri="{FF2B5EF4-FFF2-40B4-BE49-F238E27FC236}">
                <a16:creationId xmlns:a16="http://schemas.microsoft.com/office/drawing/2014/main" id="{A2CD02EC-7119-4674-8315-4B1A8722F1C1}"/>
              </a:ext>
            </a:extLst>
          </p:cNvPr>
          <p:cNvSpPr/>
          <p:nvPr/>
        </p:nvSpPr>
        <p:spPr>
          <a:xfrm>
            <a:off x="6797526" y="1244686"/>
            <a:ext cx="2000695" cy="276999"/>
          </a:xfrm>
          <a:prstGeom prst="rect">
            <a:avLst/>
          </a:prstGeom>
        </p:spPr>
        <p:txBody>
          <a:bodyPr wrap="square">
            <a:spAutoFit/>
          </a:bodyPr>
          <a:lstStyle/>
          <a:p>
            <a:pPr algn="ctr" defTabSz="685766">
              <a:buClr>
                <a:srgbClr val="C00000"/>
              </a:buClr>
              <a:defRPr/>
            </a:pPr>
            <a:r>
              <a:rPr lang="it-IT" sz="1200" b="1">
                <a:solidFill>
                  <a:srgbClr val="415064"/>
                </a:solidFill>
                <a:latin typeface="Arial"/>
              </a:rPr>
              <a:t>Infrastrutture</a:t>
            </a:r>
          </a:p>
        </p:txBody>
      </p:sp>
      <p:sp>
        <p:nvSpPr>
          <p:cNvPr id="72" name="Rettangolo 71">
            <a:extLst>
              <a:ext uri="{FF2B5EF4-FFF2-40B4-BE49-F238E27FC236}">
                <a16:creationId xmlns:a16="http://schemas.microsoft.com/office/drawing/2014/main" id="{E1A3BFD4-248E-4FAF-8D83-DD15C59A276D}"/>
              </a:ext>
            </a:extLst>
          </p:cNvPr>
          <p:cNvSpPr/>
          <p:nvPr/>
        </p:nvSpPr>
        <p:spPr>
          <a:xfrm>
            <a:off x="4671841" y="1244686"/>
            <a:ext cx="2000695" cy="276999"/>
          </a:xfrm>
          <a:prstGeom prst="rect">
            <a:avLst/>
          </a:prstGeom>
        </p:spPr>
        <p:txBody>
          <a:bodyPr wrap="square">
            <a:spAutoFit/>
          </a:bodyPr>
          <a:lstStyle/>
          <a:p>
            <a:pPr algn="ctr" defTabSz="685766">
              <a:buClr>
                <a:srgbClr val="C00000"/>
              </a:buClr>
              <a:defRPr/>
            </a:pPr>
            <a:r>
              <a:rPr lang="it-IT" sz="1200" b="1">
                <a:solidFill>
                  <a:srgbClr val="415064"/>
                </a:solidFill>
                <a:latin typeface="Arial"/>
              </a:rPr>
              <a:t>Agribusiness</a:t>
            </a:r>
          </a:p>
        </p:txBody>
      </p:sp>
      <p:sp>
        <p:nvSpPr>
          <p:cNvPr id="73" name="Rettangolo arrotondato 180">
            <a:extLst>
              <a:ext uri="{FF2B5EF4-FFF2-40B4-BE49-F238E27FC236}">
                <a16:creationId xmlns:a16="http://schemas.microsoft.com/office/drawing/2014/main" id="{82353C62-B9ED-4BEF-919A-6EED11D2D851}"/>
              </a:ext>
            </a:extLst>
          </p:cNvPr>
          <p:cNvSpPr/>
          <p:nvPr/>
        </p:nvSpPr>
        <p:spPr>
          <a:xfrm>
            <a:off x="575408" y="1129329"/>
            <a:ext cx="1699146" cy="507713"/>
          </a:xfrm>
          <a:prstGeom prst="roundRect">
            <a:avLst/>
          </a:prstGeom>
          <a:solidFill>
            <a:schemeClr val="bg1"/>
          </a:solidFill>
          <a:ln w="9525">
            <a:solidFill>
              <a:srgbClr val="001548"/>
            </a:solidFill>
          </a:ln>
          <a:effectLst>
            <a:glow rad="63500">
              <a:srgbClr val="B4C7E7">
                <a:alpha val="40000"/>
              </a:srgbClr>
            </a:glo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685783">
              <a:defRPr/>
            </a:pPr>
            <a:endParaRPr lang="it-IT" sz="800" b="1">
              <a:solidFill>
                <a:prstClr val="white"/>
              </a:solidFill>
              <a:latin typeface="Arial"/>
              <a:cs typeface="Arial"/>
            </a:endParaRPr>
          </a:p>
        </p:txBody>
      </p:sp>
      <p:sp>
        <p:nvSpPr>
          <p:cNvPr id="74" name="Rettangolo 73">
            <a:extLst>
              <a:ext uri="{FF2B5EF4-FFF2-40B4-BE49-F238E27FC236}">
                <a16:creationId xmlns:a16="http://schemas.microsoft.com/office/drawing/2014/main" id="{3A88439A-FEE2-4EA5-B999-4F9A67733EBB}"/>
              </a:ext>
            </a:extLst>
          </p:cNvPr>
          <p:cNvSpPr/>
          <p:nvPr/>
        </p:nvSpPr>
        <p:spPr>
          <a:xfrm>
            <a:off x="438030" y="1244686"/>
            <a:ext cx="2000695" cy="276999"/>
          </a:xfrm>
          <a:prstGeom prst="rect">
            <a:avLst/>
          </a:prstGeom>
        </p:spPr>
        <p:txBody>
          <a:bodyPr wrap="square">
            <a:spAutoFit/>
          </a:bodyPr>
          <a:lstStyle/>
          <a:p>
            <a:pPr algn="ctr" defTabSz="685766">
              <a:buClr>
                <a:srgbClr val="C00000"/>
              </a:buClr>
              <a:defRPr/>
            </a:pPr>
            <a:r>
              <a:rPr lang="it-IT" sz="1200" b="1">
                <a:solidFill>
                  <a:srgbClr val="415064"/>
                </a:solidFill>
                <a:latin typeface="Arial"/>
              </a:rPr>
              <a:t>Istituzioni Finanziarie</a:t>
            </a:r>
          </a:p>
        </p:txBody>
      </p:sp>
      <p:sp>
        <p:nvSpPr>
          <p:cNvPr id="75" name="Freeform 99">
            <a:extLst>
              <a:ext uri="{FF2B5EF4-FFF2-40B4-BE49-F238E27FC236}">
                <a16:creationId xmlns:a16="http://schemas.microsoft.com/office/drawing/2014/main" id="{45B7C86B-7302-44A2-89D3-8248D3C4C4E6}"/>
              </a:ext>
            </a:extLst>
          </p:cNvPr>
          <p:cNvSpPr>
            <a:spLocks noChangeAspect="1" noEditPoints="1"/>
          </p:cNvSpPr>
          <p:nvPr/>
        </p:nvSpPr>
        <p:spPr bwMode="auto">
          <a:xfrm>
            <a:off x="1162355" y="1906570"/>
            <a:ext cx="612100" cy="604495"/>
          </a:xfrm>
          <a:custGeom>
            <a:avLst/>
            <a:gdLst>
              <a:gd name="T0" fmla="*/ 2147483647 w 4826"/>
              <a:gd name="T1" fmla="*/ 2147483647 h 4763"/>
              <a:gd name="T2" fmla="*/ 2147483647 w 4826"/>
              <a:gd name="T3" fmla="*/ 2147483647 h 4763"/>
              <a:gd name="T4" fmla="*/ 2147483647 w 4826"/>
              <a:gd name="T5" fmla="*/ 2147483647 h 4763"/>
              <a:gd name="T6" fmla="*/ 2147483647 w 4826"/>
              <a:gd name="T7" fmla="*/ 2147483647 h 4763"/>
              <a:gd name="T8" fmla="*/ 2147483647 w 4826"/>
              <a:gd name="T9" fmla="*/ 2147483647 h 4763"/>
              <a:gd name="T10" fmla="*/ 2147483647 w 4826"/>
              <a:gd name="T11" fmla="*/ 2147483647 h 4763"/>
              <a:gd name="T12" fmla="*/ 2147483647 w 4826"/>
              <a:gd name="T13" fmla="*/ 2147483647 h 4763"/>
              <a:gd name="T14" fmla="*/ 2147483647 w 4826"/>
              <a:gd name="T15" fmla="*/ 2147483647 h 4763"/>
              <a:gd name="T16" fmla="*/ 2147483647 w 4826"/>
              <a:gd name="T17" fmla="*/ 2147483647 h 4763"/>
              <a:gd name="T18" fmla="*/ 2147483647 w 4826"/>
              <a:gd name="T19" fmla="*/ 2147483647 h 4763"/>
              <a:gd name="T20" fmla="*/ 2147483647 w 4826"/>
              <a:gd name="T21" fmla="*/ 2147483647 h 4763"/>
              <a:gd name="T22" fmla="*/ 2147483647 w 4826"/>
              <a:gd name="T23" fmla="*/ 2147483647 h 4763"/>
              <a:gd name="T24" fmla="*/ 2147483647 w 4826"/>
              <a:gd name="T25" fmla="*/ 2147483647 h 4763"/>
              <a:gd name="T26" fmla="*/ 2147483647 w 4826"/>
              <a:gd name="T27" fmla="*/ 2147483647 h 4763"/>
              <a:gd name="T28" fmla="*/ 2147483647 w 4826"/>
              <a:gd name="T29" fmla="*/ 2147483647 h 4763"/>
              <a:gd name="T30" fmla="*/ 2147483647 w 4826"/>
              <a:gd name="T31" fmla="*/ 2147483647 h 4763"/>
              <a:gd name="T32" fmla="*/ 2147483647 w 4826"/>
              <a:gd name="T33" fmla="*/ 2147483647 h 4763"/>
              <a:gd name="T34" fmla="*/ 2147483647 w 4826"/>
              <a:gd name="T35" fmla="*/ 2147483647 h 4763"/>
              <a:gd name="T36" fmla="*/ 2147483647 w 4826"/>
              <a:gd name="T37" fmla="*/ 2147483647 h 4763"/>
              <a:gd name="T38" fmla="*/ 2147483647 w 4826"/>
              <a:gd name="T39" fmla="*/ 2147483647 h 4763"/>
              <a:gd name="T40" fmla="*/ 2147483647 w 4826"/>
              <a:gd name="T41" fmla="*/ 2147483647 h 4763"/>
              <a:gd name="T42" fmla="*/ 2147483647 w 4826"/>
              <a:gd name="T43" fmla="*/ 2147483647 h 4763"/>
              <a:gd name="T44" fmla="*/ 2147483647 w 4826"/>
              <a:gd name="T45" fmla="*/ 2147483647 h 4763"/>
              <a:gd name="T46" fmla="*/ 2147483647 w 4826"/>
              <a:gd name="T47" fmla="*/ 2147483647 h 4763"/>
              <a:gd name="T48" fmla="*/ 2147483647 w 4826"/>
              <a:gd name="T49" fmla="*/ 2147483647 h 4763"/>
              <a:gd name="T50" fmla="*/ 2147483647 w 4826"/>
              <a:gd name="T51" fmla="*/ 2147483647 h 4763"/>
              <a:gd name="T52" fmla="*/ 2147483647 w 4826"/>
              <a:gd name="T53" fmla="*/ 2147483647 h 4763"/>
              <a:gd name="T54" fmla="*/ 2147483647 w 4826"/>
              <a:gd name="T55" fmla="*/ 2147483647 h 4763"/>
              <a:gd name="T56" fmla="*/ 2147483647 w 4826"/>
              <a:gd name="T57" fmla="*/ 2147483647 h 4763"/>
              <a:gd name="T58" fmla="*/ 2147483647 w 4826"/>
              <a:gd name="T59" fmla="*/ 2147483647 h 4763"/>
              <a:gd name="T60" fmla="*/ 2147483647 w 4826"/>
              <a:gd name="T61" fmla="*/ 2147483647 h 4763"/>
              <a:gd name="T62" fmla="*/ 2147483647 w 4826"/>
              <a:gd name="T63" fmla="*/ 2147483647 h 4763"/>
              <a:gd name="T64" fmla="*/ 2147483647 w 4826"/>
              <a:gd name="T65" fmla="*/ 2147483647 h 4763"/>
              <a:gd name="T66" fmla="*/ 2147483647 w 4826"/>
              <a:gd name="T67" fmla="*/ 2147483647 h 4763"/>
              <a:gd name="T68" fmla="*/ 2147483647 w 4826"/>
              <a:gd name="T69" fmla="*/ 2147483647 h 4763"/>
              <a:gd name="T70" fmla="*/ 2147483647 w 4826"/>
              <a:gd name="T71" fmla="*/ 2147483647 h 4763"/>
              <a:gd name="T72" fmla="*/ 2147483647 w 4826"/>
              <a:gd name="T73" fmla="*/ 2147483647 h 4763"/>
              <a:gd name="T74" fmla="*/ 2147483647 w 4826"/>
              <a:gd name="T75" fmla="*/ 2147483647 h 4763"/>
              <a:gd name="T76" fmla="*/ 2147483647 w 4826"/>
              <a:gd name="T77" fmla="*/ 2147483647 h 4763"/>
              <a:gd name="T78" fmla="*/ 2147483647 w 4826"/>
              <a:gd name="T79" fmla="*/ 2147483647 h 4763"/>
              <a:gd name="T80" fmla="*/ 2147483647 w 4826"/>
              <a:gd name="T81" fmla="*/ 2147483647 h 4763"/>
              <a:gd name="T82" fmla="*/ 2147483647 w 4826"/>
              <a:gd name="T83" fmla="*/ 2147483647 h 4763"/>
              <a:gd name="T84" fmla="*/ 2147483647 w 4826"/>
              <a:gd name="T85" fmla="*/ 2147483647 h 4763"/>
              <a:gd name="T86" fmla="*/ 2147483647 w 4826"/>
              <a:gd name="T87" fmla="*/ 2147483647 h 4763"/>
              <a:gd name="T88" fmla="*/ 2147483647 w 4826"/>
              <a:gd name="T89" fmla="*/ 2147483647 h 4763"/>
              <a:gd name="T90" fmla="*/ 2147483647 w 4826"/>
              <a:gd name="T91" fmla="*/ 2147483647 h 4763"/>
              <a:gd name="T92" fmla="*/ 2147483647 w 4826"/>
              <a:gd name="T93" fmla="*/ 2147483647 h 4763"/>
              <a:gd name="T94" fmla="*/ 2147483647 w 4826"/>
              <a:gd name="T95" fmla="*/ 2147483647 h 4763"/>
              <a:gd name="T96" fmla="*/ 2147483647 w 4826"/>
              <a:gd name="T97" fmla="*/ 2147483647 h 4763"/>
              <a:gd name="T98" fmla="*/ 2147483647 w 4826"/>
              <a:gd name="T99" fmla="*/ 2147483647 h 4763"/>
              <a:gd name="T100" fmla="*/ 2147483647 w 4826"/>
              <a:gd name="T101" fmla="*/ 2147483647 h 4763"/>
              <a:gd name="T102" fmla="*/ 2147483647 w 4826"/>
              <a:gd name="T103" fmla="*/ 2147483647 h 4763"/>
              <a:gd name="T104" fmla="*/ 2147483647 w 4826"/>
              <a:gd name="T105" fmla="*/ 2147483647 h 4763"/>
              <a:gd name="T106" fmla="*/ 2147483647 w 4826"/>
              <a:gd name="T107" fmla="*/ 2147483647 h 4763"/>
              <a:gd name="T108" fmla="*/ 2147483647 w 4826"/>
              <a:gd name="T109" fmla="*/ 2147483647 h 4763"/>
              <a:gd name="T110" fmla="*/ 2147483647 w 4826"/>
              <a:gd name="T111" fmla="*/ 2147483647 h 4763"/>
              <a:gd name="T112" fmla="*/ 2147483647 w 4826"/>
              <a:gd name="T113" fmla="*/ 2147483647 h 4763"/>
              <a:gd name="T114" fmla="*/ 2147483647 w 4826"/>
              <a:gd name="T115" fmla="*/ 2147483647 h 4763"/>
              <a:gd name="T116" fmla="*/ 2147483647 w 4826"/>
              <a:gd name="T117" fmla="*/ 2147483647 h 4763"/>
              <a:gd name="T118" fmla="*/ 2147483647 w 4826"/>
              <a:gd name="T119" fmla="*/ 2147483647 h 4763"/>
              <a:gd name="T120" fmla="*/ 2147483647 w 4826"/>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826"/>
              <a:gd name="T184" fmla="*/ 0 h 4763"/>
              <a:gd name="T185" fmla="*/ 4826 w 4826"/>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826" h="4763">
                <a:moveTo>
                  <a:pt x="3865" y="1076"/>
                </a:moveTo>
                <a:lnTo>
                  <a:pt x="4826" y="1489"/>
                </a:lnTo>
                <a:lnTo>
                  <a:pt x="4710" y="1916"/>
                </a:lnTo>
                <a:lnTo>
                  <a:pt x="116" y="1916"/>
                </a:lnTo>
                <a:lnTo>
                  <a:pt x="0" y="1489"/>
                </a:lnTo>
                <a:lnTo>
                  <a:pt x="2409" y="448"/>
                </a:lnTo>
                <a:lnTo>
                  <a:pt x="2862" y="644"/>
                </a:lnTo>
                <a:lnTo>
                  <a:pt x="2873" y="620"/>
                </a:lnTo>
                <a:lnTo>
                  <a:pt x="2885" y="595"/>
                </a:lnTo>
                <a:lnTo>
                  <a:pt x="2899" y="573"/>
                </a:lnTo>
                <a:lnTo>
                  <a:pt x="2913" y="549"/>
                </a:lnTo>
                <a:lnTo>
                  <a:pt x="2929" y="528"/>
                </a:lnTo>
                <a:lnTo>
                  <a:pt x="2946" y="505"/>
                </a:lnTo>
                <a:lnTo>
                  <a:pt x="2965" y="486"/>
                </a:lnTo>
                <a:lnTo>
                  <a:pt x="2985" y="466"/>
                </a:lnTo>
                <a:lnTo>
                  <a:pt x="3005" y="446"/>
                </a:lnTo>
                <a:lnTo>
                  <a:pt x="3027" y="428"/>
                </a:lnTo>
                <a:lnTo>
                  <a:pt x="3048" y="412"/>
                </a:lnTo>
                <a:lnTo>
                  <a:pt x="3072" y="397"/>
                </a:lnTo>
                <a:lnTo>
                  <a:pt x="3095" y="383"/>
                </a:lnTo>
                <a:lnTo>
                  <a:pt x="3118" y="370"/>
                </a:lnTo>
                <a:lnTo>
                  <a:pt x="3143" y="359"/>
                </a:lnTo>
                <a:lnTo>
                  <a:pt x="3167" y="349"/>
                </a:lnTo>
                <a:lnTo>
                  <a:pt x="3192" y="340"/>
                </a:lnTo>
                <a:lnTo>
                  <a:pt x="3218" y="332"/>
                </a:lnTo>
                <a:lnTo>
                  <a:pt x="3243" y="325"/>
                </a:lnTo>
                <a:lnTo>
                  <a:pt x="3269" y="320"/>
                </a:lnTo>
                <a:lnTo>
                  <a:pt x="3295" y="316"/>
                </a:lnTo>
                <a:lnTo>
                  <a:pt x="3321" y="314"/>
                </a:lnTo>
                <a:lnTo>
                  <a:pt x="3347" y="312"/>
                </a:lnTo>
                <a:lnTo>
                  <a:pt x="3373" y="312"/>
                </a:lnTo>
                <a:lnTo>
                  <a:pt x="3399" y="314"/>
                </a:lnTo>
                <a:lnTo>
                  <a:pt x="3426" y="316"/>
                </a:lnTo>
                <a:lnTo>
                  <a:pt x="3452" y="319"/>
                </a:lnTo>
                <a:lnTo>
                  <a:pt x="3477" y="324"/>
                </a:lnTo>
                <a:lnTo>
                  <a:pt x="3503" y="330"/>
                </a:lnTo>
                <a:lnTo>
                  <a:pt x="3528" y="337"/>
                </a:lnTo>
                <a:lnTo>
                  <a:pt x="3553" y="346"/>
                </a:lnTo>
                <a:lnTo>
                  <a:pt x="3577" y="356"/>
                </a:lnTo>
                <a:lnTo>
                  <a:pt x="3601" y="367"/>
                </a:lnTo>
                <a:lnTo>
                  <a:pt x="3625" y="378"/>
                </a:lnTo>
                <a:lnTo>
                  <a:pt x="3648" y="392"/>
                </a:lnTo>
                <a:lnTo>
                  <a:pt x="3671" y="407"/>
                </a:lnTo>
                <a:lnTo>
                  <a:pt x="3693" y="423"/>
                </a:lnTo>
                <a:lnTo>
                  <a:pt x="3714" y="441"/>
                </a:lnTo>
                <a:lnTo>
                  <a:pt x="3736" y="459"/>
                </a:lnTo>
                <a:lnTo>
                  <a:pt x="3755" y="478"/>
                </a:lnTo>
                <a:lnTo>
                  <a:pt x="3770" y="494"/>
                </a:lnTo>
                <a:lnTo>
                  <a:pt x="3784" y="510"/>
                </a:lnTo>
                <a:lnTo>
                  <a:pt x="3797" y="527"/>
                </a:lnTo>
                <a:lnTo>
                  <a:pt x="3809" y="543"/>
                </a:lnTo>
                <a:lnTo>
                  <a:pt x="3820" y="560"/>
                </a:lnTo>
                <a:lnTo>
                  <a:pt x="3831" y="578"/>
                </a:lnTo>
                <a:lnTo>
                  <a:pt x="3841" y="595"/>
                </a:lnTo>
                <a:lnTo>
                  <a:pt x="3850" y="612"/>
                </a:lnTo>
                <a:lnTo>
                  <a:pt x="3859" y="631"/>
                </a:lnTo>
                <a:lnTo>
                  <a:pt x="3868" y="650"/>
                </a:lnTo>
                <a:lnTo>
                  <a:pt x="3881" y="687"/>
                </a:lnTo>
                <a:lnTo>
                  <a:pt x="3892" y="726"/>
                </a:lnTo>
                <a:lnTo>
                  <a:pt x="3900" y="764"/>
                </a:lnTo>
                <a:lnTo>
                  <a:pt x="3906" y="803"/>
                </a:lnTo>
                <a:lnTo>
                  <a:pt x="3909" y="843"/>
                </a:lnTo>
                <a:lnTo>
                  <a:pt x="3909" y="883"/>
                </a:lnTo>
                <a:lnTo>
                  <a:pt x="3905" y="922"/>
                </a:lnTo>
                <a:lnTo>
                  <a:pt x="3900" y="961"/>
                </a:lnTo>
                <a:lnTo>
                  <a:pt x="3891" y="1000"/>
                </a:lnTo>
                <a:lnTo>
                  <a:pt x="3879" y="1038"/>
                </a:lnTo>
                <a:lnTo>
                  <a:pt x="3865" y="1076"/>
                </a:lnTo>
                <a:close/>
                <a:moveTo>
                  <a:pt x="238" y="1605"/>
                </a:moveTo>
                <a:lnTo>
                  <a:pt x="268" y="1717"/>
                </a:lnTo>
                <a:lnTo>
                  <a:pt x="4558" y="1717"/>
                </a:lnTo>
                <a:lnTo>
                  <a:pt x="4588" y="1605"/>
                </a:lnTo>
                <a:lnTo>
                  <a:pt x="3653" y="1196"/>
                </a:lnTo>
                <a:lnTo>
                  <a:pt x="3673" y="1178"/>
                </a:lnTo>
                <a:lnTo>
                  <a:pt x="3690" y="1161"/>
                </a:lnTo>
                <a:lnTo>
                  <a:pt x="3704" y="1144"/>
                </a:lnTo>
                <a:lnTo>
                  <a:pt x="3718" y="1127"/>
                </a:lnTo>
                <a:lnTo>
                  <a:pt x="3732" y="1109"/>
                </a:lnTo>
                <a:lnTo>
                  <a:pt x="3743" y="1091"/>
                </a:lnTo>
                <a:lnTo>
                  <a:pt x="3754" y="1072"/>
                </a:lnTo>
                <a:lnTo>
                  <a:pt x="3764" y="1052"/>
                </a:lnTo>
                <a:lnTo>
                  <a:pt x="3773" y="1032"/>
                </a:lnTo>
                <a:lnTo>
                  <a:pt x="3782" y="1012"/>
                </a:lnTo>
                <a:lnTo>
                  <a:pt x="3788" y="992"/>
                </a:lnTo>
                <a:lnTo>
                  <a:pt x="3794" y="971"/>
                </a:lnTo>
                <a:lnTo>
                  <a:pt x="3799" y="950"/>
                </a:lnTo>
                <a:lnTo>
                  <a:pt x="3803" y="929"/>
                </a:lnTo>
                <a:lnTo>
                  <a:pt x="3807" y="908"/>
                </a:lnTo>
                <a:lnTo>
                  <a:pt x="3808" y="886"/>
                </a:lnTo>
                <a:lnTo>
                  <a:pt x="3809" y="865"/>
                </a:lnTo>
                <a:lnTo>
                  <a:pt x="3809" y="844"/>
                </a:lnTo>
                <a:lnTo>
                  <a:pt x="3808" y="823"/>
                </a:lnTo>
                <a:lnTo>
                  <a:pt x="3805" y="802"/>
                </a:lnTo>
                <a:lnTo>
                  <a:pt x="3803" y="779"/>
                </a:lnTo>
                <a:lnTo>
                  <a:pt x="3798" y="759"/>
                </a:lnTo>
                <a:lnTo>
                  <a:pt x="3793" y="738"/>
                </a:lnTo>
                <a:lnTo>
                  <a:pt x="3787" y="717"/>
                </a:lnTo>
                <a:lnTo>
                  <a:pt x="3779" y="697"/>
                </a:lnTo>
                <a:lnTo>
                  <a:pt x="3770" y="677"/>
                </a:lnTo>
                <a:lnTo>
                  <a:pt x="3762" y="657"/>
                </a:lnTo>
                <a:lnTo>
                  <a:pt x="3752" y="637"/>
                </a:lnTo>
                <a:lnTo>
                  <a:pt x="3739" y="619"/>
                </a:lnTo>
                <a:lnTo>
                  <a:pt x="3727" y="600"/>
                </a:lnTo>
                <a:lnTo>
                  <a:pt x="3714" y="583"/>
                </a:lnTo>
                <a:lnTo>
                  <a:pt x="3699" y="565"/>
                </a:lnTo>
                <a:lnTo>
                  <a:pt x="3685" y="548"/>
                </a:lnTo>
                <a:lnTo>
                  <a:pt x="3667" y="532"/>
                </a:lnTo>
                <a:lnTo>
                  <a:pt x="3651" y="517"/>
                </a:lnTo>
                <a:lnTo>
                  <a:pt x="3634" y="503"/>
                </a:lnTo>
                <a:lnTo>
                  <a:pt x="3615" y="489"/>
                </a:lnTo>
                <a:lnTo>
                  <a:pt x="3596" y="477"/>
                </a:lnTo>
                <a:lnTo>
                  <a:pt x="3577" y="467"/>
                </a:lnTo>
                <a:lnTo>
                  <a:pt x="3558" y="457"/>
                </a:lnTo>
                <a:lnTo>
                  <a:pt x="3539" y="447"/>
                </a:lnTo>
                <a:lnTo>
                  <a:pt x="3518" y="439"/>
                </a:lnTo>
                <a:lnTo>
                  <a:pt x="3498" y="432"/>
                </a:lnTo>
                <a:lnTo>
                  <a:pt x="3477" y="426"/>
                </a:lnTo>
                <a:lnTo>
                  <a:pt x="3457" y="422"/>
                </a:lnTo>
                <a:lnTo>
                  <a:pt x="3436" y="417"/>
                </a:lnTo>
                <a:lnTo>
                  <a:pt x="3414" y="415"/>
                </a:lnTo>
                <a:lnTo>
                  <a:pt x="3392" y="412"/>
                </a:lnTo>
                <a:lnTo>
                  <a:pt x="3371" y="412"/>
                </a:lnTo>
                <a:lnTo>
                  <a:pt x="3350" y="412"/>
                </a:lnTo>
                <a:lnTo>
                  <a:pt x="3329" y="413"/>
                </a:lnTo>
                <a:lnTo>
                  <a:pt x="3307" y="416"/>
                </a:lnTo>
                <a:lnTo>
                  <a:pt x="3286" y="418"/>
                </a:lnTo>
                <a:lnTo>
                  <a:pt x="3265" y="423"/>
                </a:lnTo>
                <a:lnTo>
                  <a:pt x="3244" y="428"/>
                </a:lnTo>
                <a:lnTo>
                  <a:pt x="3224" y="434"/>
                </a:lnTo>
                <a:lnTo>
                  <a:pt x="3203" y="442"/>
                </a:lnTo>
                <a:lnTo>
                  <a:pt x="3183" y="449"/>
                </a:lnTo>
                <a:lnTo>
                  <a:pt x="3163" y="459"/>
                </a:lnTo>
                <a:lnTo>
                  <a:pt x="3144" y="469"/>
                </a:lnTo>
                <a:lnTo>
                  <a:pt x="3124" y="481"/>
                </a:lnTo>
                <a:lnTo>
                  <a:pt x="3107" y="493"/>
                </a:lnTo>
                <a:lnTo>
                  <a:pt x="3088" y="507"/>
                </a:lnTo>
                <a:lnTo>
                  <a:pt x="3071" y="522"/>
                </a:lnTo>
                <a:lnTo>
                  <a:pt x="3053" y="537"/>
                </a:lnTo>
                <a:lnTo>
                  <a:pt x="3036" y="555"/>
                </a:lnTo>
                <a:lnTo>
                  <a:pt x="3020" y="574"/>
                </a:lnTo>
                <a:lnTo>
                  <a:pt x="3005" y="594"/>
                </a:lnTo>
                <a:lnTo>
                  <a:pt x="2990" y="614"/>
                </a:lnTo>
                <a:lnTo>
                  <a:pt x="2978" y="635"/>
                </a:lnTo>
                <a:lnTo>
                  <a:pt x="2966" y="656"/>
                </a:lnTo>
                <a:lnTo>
                  <a:pt x="2955" y="677"/>
                </a:lnTo>
                <a:lnTo>
                  <a:pt x="2946" y="700"/>
                </a:lnTo>
                <a:lnTo>
                  <a:pt x="2939" y="722"/>
                </a:lnTo>
                <a:lnTo>
                  <a:pt x="2933" y="746"/>
                </a:lnTo>
                <a:lnTo>
                  <a:pt x="2926" y="768"/>
                </a:lnTo>
                <a:lnTo>
                  <a:pt x="2923" y="792"/>
                </a:lnTo>
                <a:lnTo>
                  <a:pt x="2920" y="815"/>
                </a:lnTo>
                <a:lnTo>
                  <a:pt x="2918" y="839"/>
                </a:lnTo>
                <a:lnTo>
                  <a:pt x="2918" y="863"/>
                </a:lnTo>
                <a:lnTo>
                  <a:pt x="2919" y="886"/>
                </a:lnTo>
                <a:lnTo>
                  <a:pt x="2409" y="665"/>
                </a:lnTo>
                <a:lnTo>
                  <a:pt x="238" y="1605"/>
                </a:lnTo>
                <a:close/>
                <a:moveTo>
                  <a:pt x="3194" y="1376"/>
                </a:moveTo>
                <a:lnTo>
                  <a:pt x="3194" y="1376"/>
                </a:lnTo>
                <a:lnTo>
                  <a:pt x="3170" y="1368"/>
                </a:lnTo>
                <a:lnTo>
                  <a:pt x="3148" y="1358"/>
                </a:lnTo>
                <a:lnTo>
                  <a:pt x="3126" y="1348"/>
                </a:lnTo>
                <a:lnTo>
                  <a:pt x="3103" y="1337"/>
                </a:lnTo>
                <a:lnTo>
                  <a:pt x="2447" y="1054"/>
                </a:lnTo>
                <a:lnTo>
                  <a:pt x="2526" y="871"/>
                </a:lnTo>
                <a:lnTo>
                  <a:pt x="3864" y="1447"/>
                </a:lnTo>
                <a:lnTo>
                  <a:pt x="3785" y="1630"/>
                </a:lnTo>
                <a:lnTo>
                  <a:pt x="3194" y="1376"/>
                </a:lnTo>
                <a:close/>
                <a:moveTo>
                  <a:pt x="3139" y="619"/>
                </a:moveTo>
                <a:lnTo>
                  <a:pt x="3139" y="619"/>
                </a:lnTo>
                <a:lnTo>
                  <a:pt x="3152" y="608"/>
                </a:lnTo>
                <a:lnTo>
                  <a:pt x="3164" y="598"/>
                </a:lnTo>
                <a:lnTo>
                  <a:pt x="3178" y="588"/>
                </a:lnTo>
                <a:lnTo>
                  <a:pt x="3192" y="578"/>
                </a:lnTo>
                <a:lnTo>
                  <a:pt x="3205" y="570"/>
                </a:lnTo>
                <a:lnTo>
                  <a:pt x="3219" y="561"/>
                </a:lnTo>
                <a:lnTo>
                  <a:pt x="3234" y="555"/>
                </a:lnTo>
                <a:lnTo>
                  <a:pt x="3249" y="549"/>
                </a:lnTo>
                <a:lnTo>
                  <a:pt x="3264" y="544"/>
                </a:lnTo>
                <a:lnTo>
                  <a:pt x="3279" y="539"/>
                </a:lnTo>
                <a:lnTo>
                  <a:pt x="3295" y="535"/>
                </a:lnTo>
                <a:lnTo>
                  <a:pt x="3310" y="532"/>
                </a:lnTo>
                <a:lnTo>
                  <a:pt x="3326" y="529"/>
                </a:lnTo>
                <a:lnTo>
                  <a:pt x="3341" y="528"/>
                </a:lnTo>
                <a:lnTo>
                  <a:pt x="3357" y="528"/>
                </a:lnTo>
                <a:lnTo>
                  <a:pt x="3372" y="527"/>
                </a:lnTo>
                <a:lnTo>
                  <a:pt x="3388" y="528"/>
                </a:lnTo>
                <a:lnTo>
                  <a:pt x="3404" y="529"/>
                </a:lnTo>
                <a:lnTo>
                  <a:pt x="3419" y="532"/>
                </a:lnTo>
                <a:lnTo>
                  <a:pt x="3436" y="534"/>
                </a:lnTo>
                <a:lnTo>
                  <a:pt x="3451" y="538"/>
                </a:lnTo>
                <a:lnTo>
                  <a:pt x="3465" y="543"/>
                </a:lnTo>
                <a:lnTo>
                  <a:pt x="3480" y="548"/>
                </a:lnTo>
                <a:lnTo>
                  <a:pt x="3495" y="553"/>
                </a:lnTo>
                <a:lnTo>
                  <a:pt x="3510" y="560"/>
                </a:lnTo>
                <a:lnTo>
                  <a:pt x="3524" y="568"/>
                </a:lnTo>
                <a:lnTo>
                  <a:pt x="3539" y="575"/>
                </a:lnTo>
                <a:lnTo>
                  <a:pt x="3553" y="584"/>
                </a:lnTo>
                <a:lnTo>
                  <a:pt x="3565" y="594"/>
                </a:lnTo>
                <a:lnTo>
                  <a:pt x="3579" y="604"/>
                </a:lnTo>
                <a:lnTo>
                  <a:pt x="3591" y="615"/>
                </a:lnTo>
                <a:lnTo>
                  <a:pt x="3602" y="627"/>
                </a:lnTo>
                <a:lnTo>
                  <a:pt x="3207" y="1010"/>
                </a:lnTo>
                <a:lnTo>
                  <a:pt x="3051" y="945"/>
                </a:lnTo>
                <a:lnTo>
                  <a:pt x="3046" y="924"/>
                </a:lnTo>
                <a:lnTo>
                  <a:pt x="3042" y="903"/>
                </a:lnTo>
                <a:lnTo>
                  <a:pt x="3040" y="880"/>
                </a:lnTo>
                <a:lnTo>
                  <a:pt x="3039" y="859"/>
                </a:lnTo>
                <a:lnTo>
                  <a:pt x="3040" y="837"/>
                </a:lnTo>
                <a:lnTo>
                  <a:pt x="3041" y="815"/>
                </a:lnTo>
                <a:lnTo>
                  <a:pt x="3045" y="794"/>
                </a:lnTo>
                <a:lnTo>
                  <a:pt x="3050" y="772"/>
                </a:lnTo>
                <a:lnTo>
                  <a:pt x="3056" y="752"/>
                </a:lnTo>
                <a:lnTo>
                  <a:pt x="3063" y="731"/>
                </a:lnTo>
                <a:lnTo>
                  <a:pt x="3072" y="711"/>
                </a:lnTo>
                <a:lnTo>
                  <a:pt x="3083" y="691"/>
                </a:lnTo>
                <a:lnTo>
                  <a:pt x="3095" y="672"/>
                </a:lnTo>
                <a:lnTo>
                  <a:pt x="3108" y="654"/>
                </a:lnTo>
                <a:lnTo>
                  <a:pt x="3123" y="636"/>
                </a:lnTo>
                <a:lnTo>
                  <a:pt x="3139" y="619"/>
                </a:lnTo>
                <a:close/>
                <a:moveTo>
                  <a:pt x="3693" y="828"/>
                </a:moveTo>
                <a:lnTo>
                  <a:pt x="3414" y="1098"/>
                </a:lnTo>
                <a:lnTo>
                  <a:pt x="3310" y="1053"/>
                </a:lnTo>
                <a:lnTo>
                  <a:pt x="3662" y="712"/>
                </a:lnTo>
                <a:lnTo>
                  <a:pt x="3675" y="741"/>
                </a:lnTo>
                <a:lnTo>
                  <a:pt x="3683" y="769"/>
                </a:lnTo>
                <a:lnTo>
                  <a:pt x="3690" y="798"/>
                </a:lnTo>
                <a:lnTo>
                  <a:pt x="3693" y="828"/>
                </a:lnTo>
                <a:close/>
                <a:moveTo>
                  <a:pt x="2628" y="2374"/>
                </a:moveTo>
                <a:lnTo>
                  <a:pt x="2134" y="2868"/>
                </a:lnTo>
                <a:lnTo>
                  <a:pt x="2134" y="4108"/>
                </a:lnTo>
                <a:lnTo>
                  <a:pt x="2628" y="4108"/>
                </a:lnTo>
                <a:lnTo>
                  <a:pt x="2628" y="2374"/>
                </a:lnTo>
                <a:close/>
                <a:moveTo>
                  <a:pt x="2034" y="2374"/>
                </a:moveTo>
                <a:lnTo>
                  <a:pt x="1964" y="2374"/>
                </a:lnTo>
                <a:lnTo>
                  <a:pt x="1949" y="2373"/>
                </a:lnTo>
                <a:lnTo>
                  <a:pt x="1934" y="2368"/>
                </a:lnTo>
                <a:lnTo>
                  <a:pt x="1922" y="2362"/>
                </a:lnTo>
                <a:lnTo>
                  <a:pt x="1909" y="2354"/>
                </a:lnTo>
                <a:lnTo>
                  <a:pt x="1901" y="2344"/>
                </a:lnTo>
                <a:lnTo>
                  <a:pt x="1893" y="2333"/>
                </a:lnTo>
                <a:lnTo>
                  <a:pt x="1891" y="2327"/>
                </a:lnTo>
                <a:lnTo>
                  <a:pt x="1888" y="2319"/>
                </a:lnTo>
                <a:lnTo>
                  <a:pt x="1887" y="2313"/>
                </a:lnTo>
                <a:lnTo>
                  <a:pt x="1887" y="2306"/>
                </a:lnTo>
                <a:lnTo>
                  <a:pt x="1887" y="2012"/>
                </a:lnTo>
                <a:lnTo>
                  <a:pt x="2034" y="2012"/>
                </a:lnTo>
                <a:lnTo>
                  <a:pt x="2727" y="2012"/>
                </a:lnTo>
                <a:lnTo>
                  <a:pt x="2873" y="2012"/>
                </a:lnTo>
                <a:lnTo>
                  <a:pt x="2873" y="2306"/>
                </a:lnTo>
                <a:lnTo>
                  <a:pt x="2873" y="2313"/>
                </a:lnTo>
                <a:lnTo>
                  <a:pt x="2872" y="2319"/>
                </a:lnTo>
                <a:lnTo>
                  <a:pt x="2870" y="2327"/>
                </a:lnTo>
                <a:lnTo>
                  <a:pt x="2867" y="2333"/>
                </a:lnTo>
                <a:lnTo>
                  <a:pt x="2860" y="2344"/>
                </a:lnTo>
                <a:lnTo>
                  <a:pt x="2851" y="2354"/>
                </a:lnTo>
                <a:lnTo>
                  <a:pt x="2839" y="2362"/>
                </a:lnTo>
                <a:lnTo>
                  <a:pt x="2826" y="2368"/>
                </a:lnTo>
                <a:lnTo>
                  <a:pt x="2812" y="2373"/>
                </a:lnTo>
                <a:lnTo>
                  <a:pt x="2796" y="2374"/>
                </a:lnTo>
                <a:lnTo>
                  <a:pt x="2727" y="2374"/>
                </a:lnTo>
                <a:lnTo>
                  <a:pt x="2727" y="4108"/>
                </a:lnTo>
                <a:lnTo>
                  <a:pt x="3347" y="4108"/>
                </a:lnTo>
                <a:lnTo>
                  <a:pt x="3347" y="2374"/>
                </a:lnTo>
                <a:lnTo>
                  <a:pt x="3279" y="2374"/>
                </a:lnTo>
                <a:lnTo>
                  <a:pt x="3263" y="2373"/>
                </a:lnTo>
                <a:lnTo>
                  <a:pt x="3249" y="2368"/>
                </a:lnTo>
                <a:lnTo>
                  <a:pt x="3235" y="2362"/>
                </a:lnTo>
                <a:lnTo>
                  <a:pt x="3224" y="2354"/>
                </a:lnTo>
                <a:lnTo>
                  <a:pt x="3214" y="2344"/>
                </a:lnTo>
                <a:lnTo>
                  <a:pt x="3208" y="2333"/>
                </a:lnTo>
                <a:lnTo>
                  <a:pt x="3204" y="2327"/>
                </a:lnTo>
                <a:lnTo>
                  <a:pt x="3203" y="2319"/>
                </a:lnTo>
                <a:lnTo>
                  <a:pt x="3202" y="2313"/>
                </a:lnTo>
                <a:lnTo>
                  <a:pt x="3202" y="2306"/>
                </a:lnTo>
                <a:lnTo>
                  <a:pt x="3202" y="2012"/>
                </a:lnTo>
                <a:lnTo>
                  <a:pt x="3347" y="2012"/>
                </a:lnTo>
                <a:lnTo>
                  <a:pt x="4097" y="2012"/>
                </a:lnTo>
                <a:lnTo>
                  <a:pt x="4342" y="2012"/>
                </a:lnTo>
                <a:lnTo>
                  <a:pt x="4342" y="2292"/>
                </a:lnTo>
                <a:lnTo>
                  <a:pt x="4342" y="2311"/>
                </a:lnTo>
                <a:lnTo>
                  <a:pt x="4338" y="2329"/>
                </a:lnTo>
                <a:lnTo>
                  <a:pt x="4333" y="2345"/>
                </a:lnTo>
                <a:lnTo>
                  <a:pt x="4327" y="2362"/>
                </a:lnTo>
                <a:lnTo>
                  <a:pt x="4318" y="2377"/>
                </a:lnTo>
                <a:lnTo>
                  <a:pt x="4308" y="2390"/>
                </a:lnTo>
                <a:lnTo>
                  <a:pt x="4297" y="2403"/>
                </a:lnTo>
                <a:lnTo>
                  <a:pt x="4286" y="2414"/>
                </a:lnTo>
                <a:lnTo>
                  <a:pt x="4272" y="2425"/>
                </a:lnTo>
                <a:lnTo>
                  <a:pt x="4258" y="2434"/>
                </a:lnTo>
                <a:lnTo>
                  <a:pt x="4243" y="2441"/>
                </a:lnTo>
                <a:lnTo>
                  <a:pt x="4229" y="2447"/>
                </a:lnTo>
                <a:lnTo>
                  <a:pt x="4212" y="2452"/>
                </a:lnTo>
                <a:lnTo>
                  <a:pt x="4197" y="2456"/>
                </a:lnTo>
                <a:lnTo>
                  <a:pt x="4181" y="2457"/>
                </a:lnTo>
                <a:lnTo>
                  <a:pt x="4165" y="2459"/>
                </a:lnTo>
                <a:lnTo>
                  <a:pt x="4146" y="2459"/>
                </a:lnTo>
                <a:lnTo>
                  <a:pt x="4146" y="4108"/>
                </a:lnTo>
                <a:lnTo>
                  <a:pt x="4512" y="4108"/>
                </a:lnTo>
                <a:lnTo>
                  <a:pt x="4512" y="4464"/>
                </a:lnTo>
                <a:lnTo>
                  <a:pt x="4413" y="4464"/>
                </a:lnTo>
                <a:lnTo>
                  <a:pt x="4413" y="4208"/>
                </a:lnTo>
                <a:lnTo>
                  <a:pt x="4097" y="4208"/>
                </a:lnTo>
                <a:lnTo>
                  <a:pt x="3347" y="4208"/>
                </a:lnTo>
                <a:lnTo>
                  <a:pt x="2727" y="4208"/>
                </a:lnTo>
                <a:lnTo>
                  <a:pt x="2034" y="4208"/>
                </a:lnTo>
                <a:lnTo>
                  <a:pt x="1413" y="4208"/>
                </a:lnTo>
                <a:lnTo>
                  <a:pt x="667" y="4208"/>
                </a:lnTo>
                <a:lnTo>
                  <a:pt x="413" y="4208"/>
                </a:lnTo>
                <a:lnTo>
                  <a:pt x="413" y="4464"/>
                </a:lnTo>
                <a:lnTo>
                  <a:pt x="314" y="4464"/>
                </a:lnTo>
                <a:lnTo>
                  <a:pt x="314" y="4108"/>
                </a:lnTo>
                <a:lnTo>
                  <a:pt x="617" y="4108"/>
                </a:lnTo>
                <a:lnTo>
                  <a:pt x="617" y="2459"/>
                </a:lnTo>
                <a:lnTo>
                  <a:pt x="599" y="2459"/>
                </a:lnTo>
                <a:lnTo>
                  <a:pt x="583" y="2457"/>
                </a:lnTo>
                <a:lnTo>
                  <a:pt x="566" y="2456"/>
                </a:lnTo>
                <a:lnTo>
                  <a:pt x="551" y="2452"/>
                </a:lnTo>
                <a:lnTo>
                  <a:pt x="535" y="2447"/>
                </a:lnTo>
                <a:lnTo>
                  <a:pt x="520" y="2441"/>
                </a:lnTo>
                <a:lnTo>
                  <a:pt x="505" y="2434"/>
                </a:lnTo>
                <a:lnTo>
                  <a:pt x="492" y="2425"/>
                </a:lnTo>
                <a:lnTo>
                  <a:pt x="478" y="2414"/>
                </a:lnTo>
                <a:lnTo>
                  <a:pt x="466" y="2403"/>
                </a:lnTo>
                <a:lnTo>
                  <a:pt x="456" y="2390"/>
                </a:lnTo>
                <a:lnTo>
                  <a:pt x="446" y="2377"/>
                </a:lnTo>
                <a:lnTo>
                  <a:pt x="437" y="2362"/>
                </a:lnTo>
                <a:lnTo>
                  <a:pt x="431" y="2345"/>
                </a:lnTo>
                <a:lnTo>
                  <a:pt x="426" y="2329"/>
                </a:lnTo>
                <a:lnTo>
                  <a:pt x="422" y="2311"/>
                </a:lnTo>
                <a:lnTo>
                  <a:pt x="421" y="2292"/>
                </a:lnTo>
                <a:lnTo>
                  <a:pt x="421" y="2012"/>
                </a:lnTo>
                <a:lnTo>
                  <a:pt x="667" y="2012"/>
                </a:lnTo>
                <a:lnTo>
                  <a:pt x="1413" y="2012"/>
                </a:lnTo>
                <a:lnTo>
                  <a:pt x="1560" y="2012"/>
                </a:lnTo>
                <a:lnTo>
                  <a:pt x="1560" y="2306"/>
                </a:lnTo>
                <a:lnTo>
                  <a:pt x="1560" y="2313"/>
                </a:lnTo>
                <a:lnTo>
                  <a:pt x="1558" y="2319"/>
                </a:lnTo>
                <a:lnTo>
                  <a:pt x="1556" y="2327"/>
                </a:lnTo>
                <a:lnTo>
                  <a:pt x="1553" y="2333"/>
                </a:lnTo>
                <a:lnTo>
                  <a:pt x="1546" y="2344"/>
                </a:lnTo>
                <a:lnTo>
                  <a:pt x="1537" y="2354"/>
                </a:lnTo>
                <a:lnTo>
                  <a:pt x="1525" y="2362"/>
                </a:lnTo>
                <a:lnTo>
                  <a:pt x="1512" y="2368"/>
                </a:lnTo>
                <a:lnTo>
                  <a:pt x="1497" y="2373"/>
                </a:lnTo>
                <a:lnTo>
                  <a:pt x="1481" y="2374"/>
                </a:lnTo>
                <a:lnTo>
                  <a:pt x="1413" y="2374"/>
                </a:lnTo>
                <a:lnTo>
                  <a:pt x="1413" y="4108"/>
                </a:lnTo>
                <a:lnTo>
                  <a:pt x="2034" y="4108"/>
                </a:lnTo>
                <a:lnTo>
                  <a:pt x="2034" y="2374"/>
                </a:lnTo>
                <a:close/>
                <a:moveTo>
                  <a:pt x="1313" y="2386"/>
                </a:moveTo>
                <a:lnTo>
                  <a:pt x="817" y="2883"/>
                </a:lnTo>
                <a:lnTo>
                  <a:pt x="817" y="4108"/>
                </a:lnTo>
                <a:lnTo>
                  <a:pt x="1313" y="4108"/>
                </a:lnTo>
                <a:lnTo>
                  <a:pt x="1313" y="2386"/>
                </a:lnTo>
                <a:close/>
                <a:moveTo>
                  <a:pt x="3947" y="4108"/>
                </a:moveTo>
                <a:lnTo>
                  <a:pt x="3947" y="2394"/>
                </a:lnTo>
                <a:lnTo>
                  <a:pt x="3447" y="2894"/>
                </a:lnTo>
                <a:lnTo>
                  <a:pt x="3447" y="4108"/>
                </a:lnTo>
                <a:lnTo>
                  <a:pt x="3947" y="4108"/>
                </a:lnTo>
                <a:close/>
                <a:moveTo>
                  <a:pt x="97" y="4564"/>
                </a:moveTo>
                <a:lnTo>
                  <a:pt x="4729" y="4564"/>
                </a:lnTo>
                <a:lnTo>
                  <a:pt x="4729" y="4763"/>
                </a:lnTo>
                <a:lnTo>
                  <a:pt x="97" y="4763"/>
                </a:lnTo>
                <a:lnTo>
                  <a:pt x="97" y="4564"/>
                </a:lnTo>
                <a:close/>
                <a:moveTo>
                  <a:pt x="4336" y="144"/>
                </a:moveTo>
                <a:lnTo>
                  <a:pt x="4336" y="144"/>
                </a:lnTo>
                <a:lnTo>
                  <a:pt x="4353" y="163"/>
                </a:lnTo>
                <a:lnTo>
                  <a:pt x="4368" y="182"/>
                </a:lnTo>
                <a:lnTo>
                  <a:pt x="4383" y="200"/>
                </a:lnTo>
                <a:lnTo>
                  <a:pt x="4395" y="220"/>
                </a:lnTo>
                <a:lnTo>
                  <a:pt x="4408" y="240"/>
                </a:lnTo>
                <a:lnTo>
                  <a:pt x="4419" y="261"/>
                </a:lnTo>
                <a:lnTo>
                  <a:pt x="4429" y="283"/>
                </a:lnTo>
                <a:lnTo>
                  <a:pt x="4438" y="304"/>
                </a:lnTo>
                <a:lnTo>
                  <a:pt x="4445" y="326"/>
                </a:lnTo>
                <a:lnTo>
                  <a:pt x="4453" y="347"/>
                </a:lnTo>
                <a:lnTo>
                  <a:pt x="4458" y="370"/>
                </a:lnTo>
                <a:lnTo>
                  <a:pt x="4463" y="392"/>
                </a:lnTo>
                <a:lnTo>
                  <a:pt x="4465" y="415"/>
                </a:lnTo>
                <a:lnTo>
                  <a:pt x="4468" y="438"/>
                </a:lnTo>
                <a:lnTo>
                  <a:pt x="4469" y="461"/>
                </a:lnTo>
                <a:lnTo>
                  <a:pt x="4469" y="483"/>
                </a:lnTo>
                <a:lnTo>
                  <a:pt x="4469" y="507"/>
                </a:lnTo>
                <a:lnTo>
                  <a:pt x="4466" y="529"/>
                </a:lnTo>
                <a:lnTo>
                  <a:pt x="4464" y="551"/>
                </a:lnTo>
                <a:lnTo>
                  <a:pt x="4459" y="574"/>
                </a:lnTo>
                <a:lnTo>
                  <a:pt x="4454" y="596"/>
                </a:lnTo>
                <a:lnTo>
                  <a:pt x="4448" y="619"/>
                </a:lnTo>
                <a:lnTo>
                  <a:pt x="4440" y="640"/>
                </a:lnTo>
                <a:lnTo>
                  <a:pt x="4431" y="661"/>
                </a:lnTo>
                <a:lnTo>
                  <a:pt x="4421" y="682"/>
                </a:lnTo>
                <a:lnTo>
                  <a:pt x="4411" y="703"/>
                </a:lnTo>
                <a:lnTo>
                  <a:pt x="4399" y="723"/>
                </a:lnTo>
                <a:lnTo>
                  <a:pt x="4387" y="743"/>
                </a:lnTo>
                <a:lnTo>
                  <a:pt x="4373" y="763"/>
                </a:lnTo>
                <a:lnTo>
                  <a:pt x="4358" y="782"/>
                </a:lnTo>
                <a:lnTo>
                  <a:pt x="4342" y="799"/>
                </a:lnTo>
                <a:lnTo>
                  <a:pt x="4324" y="817"/>
                </a:lnTo>
                <a:lnTo>
                  <a:pt x="4307" y="833"/>
                </a:lnTo>
                <a:lnTo>
                  <a:pt x="4290" y="848"/>
                </a:lnTo>
                <a:lnTo>
                  <a:pt x="4271" y="861"/>
                </a:lnTo>
                <a:lnTo>
                  <a:pt x="4252" y="874"/>
                </a:lnTo>
                <a:lnTo>
                  <a:pt x="4233" y="886"/>
                </a:lnTo>
                <a:lnTo>
                  <a:pt x="4214" y="898"/>
                </a:lnTo>
                <a:lnTo>
                  <a:pt x="4194" y="906"/>
                </a:lnTo>
                <a:lnTo>
                  <a:pt x="4172" y="915"/>
                </a:lnTo>
                <a:lnTo>
                  <a:pt x="4153" y="924"/>
                </a:lnTo>
                <a:lnTo>
                  <a:pt x="4131" y="930"/>
                </a:lnTo>
                <a:lnTo>
                  <a:pt x="4110" y="936"/>
                </a:lnTo>
                <a:lnTo>
                  <a:pt x="4089" y="941"/>
                </a:lnTo>
                <a:lnTo>
                  <a:pt x="4067" y="945"/>
                </a:lnTo>
                <a:lnTo>
                  <a:pt x="4046" y="947"/>
                </a:lnTo>
                <a:lnTo>
                  <a:pt x="4023" y="950"/>
                </a:lnTo>
                <a:lnTo>
                  <a:pt x="4002" y="950"/>
                </a:lnTo>
                <a:lnTo>
                  <a:pt x="4006" y="925"/>
                </a:lnTo>
                <a:lnTo>
                  <a:pt x="4007" y="900"/>
                </a:lnTo>
                <a:lnTo>
                  <a:pt x="4008" y="875"/>
                </a:lnTo>
                <a:lnTo>
                  <a:pt x="4008" y="850"/>
                </a:lnTo>
                <a:lnTo>
                  <a:pt x="4042" y="848"/>
                </a:lnTo>
                <a:lnTo>
                  <a:pt x="4059" y="845"/>
                </a:lnTo>
                <a:lnTo>
                  <a:pt x="4075" y="842"/>
                </a:lnTo>
                <a:lnTo>
                  <a:pt x="4092" y="838"/>
                </a:lnTo>
                <a:lnTo>
                  <a:pt x="4108" y="833"/>
                </a:lnTo>
                <a:lnTo>
                  <a:pt x="4124" y="828"/>
                </a:lnTo>
                <a:lnTo>
                  <a:pt x="4139" y="822"/>
                </a:lnTo>
                <a:lnTo>
                  <a:pt x="4155" y="814"/>
                </a:lnTo>
                <a:lnTo>
                  <a:pt x="4170" y="807"/>
                </a:lnTo>
                <a:lnTo>
                  <a:pt x="4185" y="799"/>
                </a:lnTo>
                <a:lnTo>
                  <a:pt x="4200" y="789"/>
                </a:lnTo>
                <a:lnTo>
                  <a:pt x="4215" y="779"/>
                </a:lnTo>
                <a:lnTo>
                  <a:pt x="4229" y="769"/>
                </a:lnTo>
                <a:lnTo>
                  <a:pt x="4242" y="757"/>
                </a:lnTo>
                <a:lnTo>
                  <a:pt x="4255" y="746"/>
                </a:lnTo>
                <a:lnTo>
                  <a:pt x="4268" y="732"/>
                </a:lnTo>
                <a:lnTo>
                  <a:pt x="4281" y="717"/>
                </a:lnTo>
                <a:lnTo>
                  <a:pt x="4293" y="702"/>
                </a:lnTo>
                <a:lnTo>
                  <a:pt x="4304" y="687"/>
                </a:lnTo>
                <a:lnTo>
                  <a:pt x="4314" y="671"/>
                </a:lnTo>
                <a:lnTo>
                  <a:pt x="4323" y="656"/>
                </a:lnTo>
                <a:lnTo>
                  <a:pt x="4332" y="639"/>
                </a:lnTo>
                <a:lnTo>
                  <a:pt x="4339" y="622"/>
                </a:lnTo>
                <a:lnTo>
                  <a:pt x="4347" y="605"/>
                </a:lnTo>
                <a:lnTo>
                  <a:pt x="4352" y="589"/>
                </a:lnTo>
                <a:lnTo>
                  <a:pt x="4358" y="571"/>
                </a:lnTo>
                <a:lnTo>
                  <a:pt x="4362" y="553"/>
                </a:lnTo>
                <a:lnTo>
                  <a:pt x="4365" y="535"/>
                </a:lnTo>
                <a:lnTo>
                  <a:pt x="4368" y="518"/>
                </a:lnTo>
                <a:lnTo>
                  <a:pt x="4369" y="499"/>
                </a:lnTo>
                <a:lnTo>
                  <a:pt x="4369" y="482"/>
                </a:lnTo>
                <a:lnTo>
                  <a:pt x="4369" y="463"/>
                </a:lnTo>
                <a:lnTo>
                  <a:pt x="4369" y="446"/>
                </a:lnTo>
                <a:lnTo>
                  <a:pt x="4367" y="428"/>
                </a:lnTo>
                <a:lnTo>
                  <a:pt x="4364" y="410"/>
                </a:lnTo>
                <a:lnTo>
                  <a:pt x="4360" y="392"/>
                </a:lnTo>
                <a:lnTo>
                  <a:pt x="4355" y="375"/>
                </a:lnTo>
                <a:lnTo>
                  <a:pt x="4350" y="357"/>
                </a:lnTo>
                <a:lnTo>
                  <a:pt x="4344" y="340"/>
                </a:lnTo>
                <a:lnTo>
                  <a:pt x="4338" y="322"/>
                </a:lnTo>
                <a:lnTo>
                  <a:pt x="4329" y="306"/>
                </a:lnTo>
                <a:lnTo>
                  <a:pt x="4321" y="290"/>
                </a:lnTo>
                <a:lnTo>
                  <a:pt x="4312" y="274"/>
                </a:lnTo>
                <a:lnTo>
                  <a:pt x="4301" y="258"/>
                </a:lnTo>
                <a:lnTo>
                  <a:pt x="4290" y="243"/>
                </a:lnTo>
                <a:lnTo>
                  <a:pt x="4277" y="228"/>
                </a:lnTo>
                <a:lnTo>
                  <a:pt x="4265" y="214"/>
                </a:lnTo>
                <a:lnTo>
                  <a:pt x="4251" y="200"/>
                </a:lnTo>
                <a:lnTo>
                  <a:pt x="4236" y="188"/>
                </a:lnTo>
                <a:lnTo>
                  <a:pt x="4221" y="176"/>
                </a:lnTo>
                <a:lnTo>
                  <a:pt x="4206" y="164"/>
                </a:lnTo>
                <a:lnTo>
                  <a:pt x="4191" y="154"/>
                </a:lnTo>
                <a:lnTo>
                  <a:pt x="4175" y="146"/>
                </a:lnTo>
                <a:lnTo>
                  <a:pt x="4159" y="137"/>
                </a:lnTo>
                <a:lnTo>
                  <a:pt x="4141" y="129"/>
                </a:lnTo>
                <a:lnTo>
                  <a:pt x="4124" y="123"/>
                </a:lnTo>
                <a:lnTo>
                  <a:pt x="4108" y="117"/>
                </a:lnTo>
                <a:lnTo>
                  <a:pt x="4090" y="112"/>
                </a:lnTo>
                <a:lnTo>
                  <a:pt x="4072" y="107"/>
                </a:lnTo>
                <a:lnTo>
                  <a:pt x="4054" y="105"/>
                </a:lnTo>
                <a:lnTo>
                  <a:pt x="4037" y="102"/>
                </a:lnTo>
                <a:lnTo>
                  <a:pt x="4018" y="100"/>
                </a:lnTo>
                <a:lnTo>
                  <a:pt x="4001" y="100"/>
                </a:lnTo>
                <a:lnTo>
                  <a:pt x="3982" y="100"/>
                </a:lnTo>
                <a:lnTo>
                  <a:pt x="3965" y="101"/>
                </a:lnTo>
                <a:lnTo>
                  <a:pt x="3947" y="102"/>
                </a:lnTo>
                <a:lnTo>
                  <a:pt x="3929" y="105"/>
                </a:lnTo>
                <a:lnTo>
                  <a:pt x="3911" y="108"/>
                </a:lnTo>
                <a:lnTo>
                  <a:pt x="3894" y="113"/>
                </a:lnTo>
                <a:lnTo>
                  <a:pt x="3876" y="118"/>
                </a:lnTo>
                <a:lnTo>
                  <a:pt x="3859" y="124"/>
                </a:lnTo>
                <a:lnTo>
                  <a:pt x="3841" y="132"/>
                </a:lnTo>
                <a:lnTo>
                  <a:pt x="3825" y="139"/>
                </a:lnTo>
                <a:lnTo>
                  <a:pt x="3809" y="148"/>
                </a:lnTo>
                <a:lnTo>
                  <a:pt x="3793" y="158"/>
                </a:lnTo>
                <a:lnTo>
                  <a:pt x="3778" y="168"/>
                </a:lnTo>
                <a:lnTo>
                  <a:pt x="3762" y="179"/>
                </a:lnTo>
                <a:lnTo>
                  <a:pt x="3747" y="192"/>
                </a:lnTo>
                <a:lnTo>
                  <a:pt x="3733" y="205"/>
                </a:lnTo>
                <a:lnTo>
                  <a:pt x="3714" y="224"/>
                </a:lnTo>
                <a:lnTo>
                  <a:pt x="3698" y="244"/>
                </a:lnTo>
                <a:lnTo>
                  <a:pt x="3682" y="265"/>
                </a:lnTo>
                <a:lnTo>
                  <a:pt x="3668" y="286"/>
                </a:lnTo>
                <a:lnTo>
                  <a:pt x="3646" y="275"/>
                </a:lnTo>
                <a:lnTo>
                  <a:pt x="3624" y="265"/>
                </a:lnTo>
                <a:lnTo>
                  <a:pt x="3601" y="255"/>
                </a:lnTo>
                <a:lnTo>
                  <a:pt x="3577" y="246"/>
                </a:lnTo>
                <a:lnTo>
                  <a:pt x="3595" y="217"/>
                </a:lnTo>
                <a:lnTo>
                  <a:pt x="3616" y="187"/>
                </a:lnTo>
                <a:lnTo>
                  <a:pt x="3638" y="159"/>
                </a:lnTo>
                <a:lnTo>
                  <a:pt x="3663" y="133"/>
                </a:lnTo>
                <a:lnTo>
                  <a:pt x="3682" y="117"/>
                </a:lnTo>
                <a:lnTo>
                  <a:pt x="3701" y="101"/>
                </a:lnTo>
                <a:lnTo>
                  <a:pt x="3719" y="87"/>
                </a:lnTo>
                <a:lnTo>
                  <a:pt x="3739" y="73"/>
                </a:lnTo>
                <a:lnTo>
                  <a:pt x="3759" y="61"/>
                </a:lnTo>
                <a:lnTo>
                  <a:pt x="3780" y="50"/>
                </a:lnTo>
                <a:lnTo>
                  <a:pt x="3802" y="40"/>
                </a:lnTo>
                <a:lnTo>
                  <a:pt x="3823" y="31"/>
                </a:lnTo>
                <a:lnTo>
                  <a:pt x="3845" y="24"/>
                </a:lnTo>
                <a:lnTo>
                  <a:pt x="3866" y="17"/>
                </a:lnTo>
                <a:lnTo>
                  <a:pt x="3889" y="11"/>
                </a:lnTo>
                <a:lnTo>
                  <a:pt x="3911" y="7"/>
                </a:lnTo>
                <a:lnTo>
                  <a:pt x="3933" y="4"/>
                </a:lnTo>
                <a:lnTo>
                  <a:pt x="3957" y="1"/>
                </a:lnTo>
                <a:lnTo>
                  <a:pt x="3980" y="0"/>
                </a:lnTo>
                <a:lnTo>
                  <a:pt x="4002" y="0"/>
                </a:lnTo>
                <a:lnTo>
                  <a:pt x="4026" y="1"/>
                </a:lnTo>
                <a:lnTo>
                  <a:pt x="4048" y="2"/>
                </a:lnTo>
                <a:lnTo>
                  <a:pt x="4070" y="6"/>
                </a:lnTo>
                <a:lnTo>
                  <a:pt x="4093" y="10"/>
                </a:lnTo>
                <a:lnTo>
                  <a:pt x="4115" y="15"/>
                </a:lnTo>
                <a:lnTo>
                  <a:pt x="4138" y="22"/>
                </a:lnTo>
                <a:lnTo>
                  <a:pt x="4159" y="29"/>
                </a:lnTo>
                <a:lnTo>
                  <a:pt x="4180" y="37"/>
                </a:lnTo>
                <a:lnTo>
                  <a:pt x="4201" y="47"/>
                </a:lnTo>
                <a:lnTo>
                  <a:pt x="4222" y="59"/>
                </a:lnTo>
                <a:lnTo>
                  <a:pt x="4242" y="70"/>
                </a:lnTo>
                <a:lnTo>
                  <a:pt x="4262" y="82"/>
                </a:lnTo>
                <a:lnTo>
                  <a:pt x="4282" y="97"/>
                </a:lnTo>
                <a:lnTo>
                  <a:pt x="4301" y="112"/>
                </a:lnTo>
                <a:lnTo>
                  <a:pt x="4318" y="128"/>
                </a:lnTo>
                <a:lnTo>
                  <a:pt x="4336" y="144"/>
                </a:lnTo>
                <a:close/>
                <a:moveTo>
                  <a:pt x="3803" y="269"/>
                </a:moveTo>
                <a:lnTo>
                  <a:pt x="3803" y="269"/>
                </a:lnTo>
                <a:lnTo>
                  <a:pt x="3825" y="250"/>
                </a:lnTo>
                <a:lnTo>
                  <a:pt x="3848" y="234"/>
                </a:lnTo>
                <a:lnTo>
                  <a:pt x="3873" y="220"/>
                </a:lnTo>
                <a:lnTo>
                  <a:pt x="3897" y="209"/>
                </a:lnTo>
                <a:lnTo>
                  <a:pt x="3924" y="200"/>
                </a:lnTo>
                <a:lnTo>
                  <a:pt x="3950" y="194"/>
                </a:lnTo>
                <a:lnTo>
                  <a:pt x="3977" y="192"/>
                </a:lnTo>
                <a:lnTo>
                  <a:pt x="4003" y="190"/>
                </a:lnTo>
                <a:lnTo>
                  <a:pt x="4031" y="192"/>
                </a:lnTo>
                <a:lnTo>
                  <a:pt x="4058" y="197"/>
                </a:lnTo>
                <a:lnTo>
                  <a:pt x="4084" y="203"/>
                </a:lnTo>
                <a:lnTo>
                  <a:pt x="4109" y="213"/>
                </a:lnTo>
                <a:lnTo>
                  <a:pt x="4134" y="225"/>
                </a:lnTo>
                <a:lnTo>
                  <a:pt x="4158" y="239"/>
                </a:lnTo>
                <a:lnTo>
                  <a:pt x="4180" y="256"/>
                </a:lnTo>
                <a:lnTo>
                  <a:pt x="4201" y="276"/>
                </a:lnTo>
                <a:lnTo>
                  <a:pt x="3927" y="542"/>
                </a:lnTo>
                <a:lnTo>
                  <a:pt x="3906" y="505"/>
                </a:lnTo>
                <a:lnTo>
                  <a:pt x="3882" y="472"/>
                </a:lnTo>
                <a:lnTo>
                  <a:pt x="3856" y="438"/>
                </a:lnTo>
                <a:lnTo>
                  <a:pt x="3828" y="407"/>
                </a:lnTo>
                <a:lnTo>
                  <a:pt x="3809" y="388"/>
                </a:lnTo>
                <a:lnTo>
                  <a:pt x="3790" y="371"/>
                </a:lnTo>
                <a:lnTo>
                  <a:pt x="3770" y="355"/>
                </a:lnTo>
                <a:lnTo>
                  <a:pt x="3751" y="339"/>
                </a:lnTo>
                <a:lnTo>
                  <a:pt x="3762" y="320"/>
                </a:lnTo>
                <a:lnTo>
                  <a:pt x="3774" y="303"/>
                </a:lnTo>
                <a:lnTo>
                  <a:pt x="3788" y="285"/>
                </a:lnTo>
                <a:lnTo>
                  <a:pt x="3803" y="269"/>
                </a:lnTo>
                <a:close/>
                <a:moveTo>
                  <a:pt x="4280" y="448"/>
                </a:moveTo>
                <a:lnTo>
                  <a:pt x="3996" y="723"/>
                </a:lnTo>
                <a:lnTo>
                  <a:pt x="3990" y="698"/>
                </a:lnTo>
                <a:lnTo>
                  <a:pt x="3983" y="673"/>
                </a:lnTo>
                <a:lnTo>
                  <a:pt x="3976" y="650"/>
                </a:lnTo>
                <a:lnTo>
                  <a:pt x="3967" y="626"/>
                </a:lnTo>
                <a:lnTo>
                  <a:pt x="4252" y="350"/>
                </a:lnTo>
                <a:lnTo>
                  <a:pt x="4263" y="373"/>
                </a:lnTo>
                <a:lnTo>
                  <a:pt x="4271" y="398"/>
                </a:lnTo>
                <a:lnTo>
                  <a:pt x="4276" y="423"/>
                </a:lnTo>
                <a:lnTo>
                  <a:pt x="4280" y="448"/>
                </a:lnTo>
                <a:close/>
              </a:path>
            </a:pathLst>
          </a:custGeom>
          <a:solidFill>
            <a:srgbClr val="7F7F7F"/>
          </a:solidFill>
          <a:ln w="9525">
            <a:noFill/>
            <a:round/>
            <a:headEnd/>
            <a:tailEnd/>
          </a:ln>
        </p:spPr>
        <p:txBody>
          <a:bodyPr/>
          <a:lstStyle/>
          <a:p>
            <a:pPr defTabSz="709469">
              <a:defRPr/>
            </a:pPr>
            <a:endParaRPr lang="de-DE" sz="1428">
              <a:solidFill>
                <a:srgbClr val="000000"/>
              </a:solidFill>
              <a:latin typeface="Arial"/>
            </a:endParaRPr>
          </a:p>
        </p:txBody>
      </p:sp>
      <p:sp>
        <p:nvSpPr>
          <p:cNvPr id="76" name="Freeform 53">
            <a:extLst>
              <a:ext uri="{FF2B5EF4-FFF2-40B4-BE49-F238E27FC236}">
                <a16:creationId xmlns:a16="http://schemas.microsoft.com/office/drawing/2014/main" id="{A3015FD6-CB5C-43F4-97B2-360ABEA58EB0}"/>
              </a:ext>
            </a:extLst>
          </p:cNvPr>
          <p:cNvSpPr>
            <a:spLocks noChangeAspect="1" noEditPoints="1"/>
          </p:cNvSpPr>
          <p:nvPr/>
        </p:nvSpPr>
        <p:spPr bwMode="auto">
          <a:xfrm>
            <a:off x="3370683" y="1903223"/>
            <a:ext cx="376678" cy="1013521"/>
          </a:xfrm>
          <a:custGeom>
            <a:avLst/>
            <a:gdLst>
              <a:gd name="T0" fmla="*/ 2147483647 w 1772"/>
              <a:gd name="T1" fmla="*/ 2147483647 h 4763"/>
              <a:gd name="T2" fmla="*/ 2147483647 w 1772"/>
              <a:gd name="T3" fmla="*/ 2147483647 h 4763"/>
              <a:gd name="T4" fmla="*/ 2147483647 w 1772"/>
              <a:gd name="T5" fmla="*/ 2147483647 h 4763"/>
              <a:gd name="T6" fmla="*/ 2147483647 w 1772"/>
              <a:gd name="T7" fmla="*/ 2147483647 h 4763"/>
              <a:gd name="T8" fmla="*/ 2147483647 w 1772"/>
              <a:gd name="T9" fmla="*/ 2147483647 h 4763"/>
              <a:gd name="T10" fmla="*/ 2147483647 w 1772"/>
              <a:gd name="T11" fmla="*/ 2147483647 h 4763"/>
              <a:gd name="T12" fmla="*/ 2147483647 w 1772"/>
              <a:gd name="T13" fmla="*/ 2147483647 h 4763"/>
              <a:gd name="T14" fmla="*/ 2147483647 w 1772"/>
              <a:gd name="T15" fmla="*/ 2147483647 h 4763"/>
              <a:gd name="T16" fmla="*/ 2147483647 w 1772"/>
              <a:gd name="T17" fmla="*/ 2147483647 h 4763"/>
              <a:gd name="T18" fmla="*/ 2147483647 w 1772"/>
              <a:gd name="T19" fmla="*/ 2147483647 h 4763"/>
              <a:gd name="T20" fmla="*/ 2147483647 w 1772"/>
              <a:gd name="T21" fmla="*/ 2147483647 h 4763"/>
              <a:gd name="T22" fmla="*/ 2147483647 w 1772"/>
              <a:gd name="T23" fmla="*/ 2147483647 h 4763"/>
              <a:gd name="T24" fmla="*/ 2147483647 w 1772"/>
              <a:gd name="T25" fmla="*/ 2147483647 h 4763"/>
              <a:gd name="T26" fmla="*/ 2147483647 w 1772"/>
              <a:gd name="T27" fmla="*/ 2147483647 h 4763"/>
              <a:gd name="T28" fmla="*/ 2147483647 w 1772"/>
              <a:gd name="T29" fmla="*/ 2147483647 h 4763"/>
              <a:gd name="T30" fmla="*/ 2147483647 w 1772"/>
              <a:gd name="T31" fmla="*/ 2147483647 h 4763"/>
              <a:gd name="T32" fmla="*/ 2147483647 w 1772"/>
              <a:gd name="T33" fmla="*/ 2147483647 h 4763"/>
              <a:gd name="T34" fmla="*/ 2147483647 w 1772"/>
              <a:gd name="T35" fmla="*/ 2147483647 h 4763"/>
              <a:gd name="T36" fmla="*/ 2147483647 w 1772"/>
              <a:gd name="T37" fmla="*/ 2147483647 h 4763"/>
              <a:gd name="T38" fmla="*/ 2147483647 w 1772"/>
              <a:gd name="T39" fmla="*/ 2147483647 h 4763"/>
              <a:gd name="T40" fmla="*/ 2147483647 w 1772"/>
              <a:gd name="T41" fmla="*/ 2147483647 h 4763"/>
              <a:gd name="T42" fmla="*/ 2147483647 w 1772"/>
              <a:gd name="T43" fmla="*/ 2147483647 h 4763"/>
              <a:gd name="T44" fmla="*/ 2147483647 w 1772"/>
              <a:gd name="T45" fmla="*/ 2147483647 h 4763"/>
              <a:gd name="T46" fmla="*/ 2147483647 w 1772"/>
              <a:gd name="T47" fmla="*/ 2147483647 h 4763"/>
              <a:gd name="T48" fmla="*/ 2147483647 w 1772"/>
              <a:gd name="T49" fmla="*/ 2147483647 h 4763"/>
              <a:gd name="T50" fmla="*/ 2147483647 w 1772"/>
              <a:gd name="T51" fmla="*/ 2147483647 h 4763"/>
              <a:gd name="T52" fmla="*/ 2147483647 w 1772"/>
              <a:gd name="T53" fmla="*/ 2147483647 h 4763"/>
              <a:gd name="T54" fmla="*/ 2147483647 w 1772"/>
              <a:gd name="T55" fmla="*/ 2147483647 h 4763"/>
              <a:gd name="T56" fmla="*/ 2147483647 w 1772"/>
              <a:gd name="T57" fmla="*/ 2147483647 h 4763"/>
              <a:gd name="T58" fmla="*/ 2147483647 w 1772"/>
              <a:gd name="T59" fmla="*/ 2147483647 h 4763"/>
              <a:gd name="T60" fmla="*/ 2147483647 w 1772"/>
              <a:gd name="T61" fmla="*/ 2147483647 h 4763"/>
              <a:gd name="T62" fmla="*/ 2147483647 w 1772"/>
              <a:gd name="T63" fmla="*/ 2147483647 h 4763"/>
              <a:gd name="T64" fmla="*/ 2147483647 w 1772"/>
              <a:gd name="T65" fmla="*/ 2147483647 h 4763"/>
              <a:gd name="T66" fmla="*/ 2147483647 w 1772"/>
              <a:gd name="T67" fmla="*/ 2147483647 h 4763"/>
              <a:gd name="T68" fmla="*/ 2147483647 w 1772"/>
              <a:gd name="T69" fmla="*/ 2147483647 h 4763"/>
              <a:gd name="T70" fmla="*/ 2147483647 w 1772"/>
              <a:gd name="T71" fmla="*/ 2147483647 h 4763"/>
              <a:gd name="T72" fmla="*/ 2147483647 w 1772"/>
              <a:gd name="T73" fmla="*/ 2147483647 h 4763"/>
              <a:gd name="T74" fmla="*/ 2147483647 w 1772"/>
              <a:gd name="T75" fmla="*/ 2147483647 h 4763"/>
              <a:gd name="T76" fmla="*/ 2147483647 w 1772"/>
              <a:gd name="T77" fmla="*/ 2147483647 h 4763"/>
              <a:gd name="T78" fmla="*/ 2147483647 w 1772"/>
              <a:gd name="T79" fmla="*/ 2147483647 h 4763"/>
              <a:gd name="T80" fmla="*/ 2147483647 w 1772"/>
              <a:gd name="T81" fmla="*/ 2147483647 h 4763"/>
              <a:gd name="T82" fmla="*/ 2147483647 w 1772"/>
              <a:gd name="T83" fmla="*/ 2147483647 h 4763"/>
              <a:gd name="T84" fmla="*/ 2147483647 w 1772"/>
              <a:gd name="T85" fmla="*/ 2147483647 h 4763"/>
              <a:gd name="T86" fmla="*/ 2147483647 w 1772"/>
              <a:gd name="T87" fmla="*/ 2147483647 h 4763"/>
              <a:gd name="T88" fmla="*/ 2147483647 w 1772"/>
              <a:gd name="T89" fmla="*/ 2147483647 h 4763"/>
              <a:gd name="T90" fmla="*/ 2147483647 w 1772"/>
              <a:gd name="T91" fmla="*/ 2147483647 h 4763"/>
              <a:gd name="T92" fmla="*/ 2147483647 w 1772"/>
              <a:gd name="T93" fmla="*/ 2147483647 h 4763"/>
              <a:gd name="T94" fmla="*/ 2147483647 w 1772"/>
              <a:gd name="T95" fmla="*/ 2147483647 h 4763"/>
              <a:gd name="T96" fmla="*/ 2147483647 w 1772"/>
              <a:gd name="T97" fmla="*/ 2147483647 h 4763"/>
              <a:gd name="T98" fmla="*/ 2147483647 w 1772"/>
              <a:gd name="T99" fmla="*/ 2147483647 h 4763"/>
              <a:gd name="T100" fmla="*/ 2147483647 w 1772"/>
              <a:gd name="T101" fmla="*/ 2147483647 h 4763"/>
              <a:gd name="T102" fmla="*/ 2147483647 w 1772"/>
              <a:gd name="T103" fmla="*/ 2147483647 h 4763"/>
              <a:gd name="T104" fmla="*/ 2147483647 w 1772"/>
              <a:gd name="T105" fmla="*/ 2147483647 h 4763"/>
              <a:gd name="T106" fmla="*/ 2147483647 w 1772"/>
              <a:gd name="T107" fmla="*/ 2147483647 h 4763"/>
              <a:gd name="T108" fmla="*/ 2147483647 w 1772"/>
              <a:gd name="T109" fmla="*/ 2147483647 h 4763"/>
              <a:gd name="T110" fmla="*/ 2147483647 w 1772"/>
              <a:gd name="T111" fmla="*/ 2147483647 h 4763"/>
              <a:gd name="T112" fmla="*/ 0 w 1772"/>
              <a:gd name="T113" fmla="*/ 2147483647 h 4763"/>
              <a:gd name="T114" fmla="*/ 2147483647 w 1772"/>
              <a:gd name="T115" fmla="*/ 2147483647 h 4763"/>
              <a:gd name="T116" fmla="*/ 2147483647 w 1772"/>
              <a:gd name="T117" fmla="*/ 2147483647 h 47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72"/>
              <a:gd name="T178" fmla="*/ 0 h 4763"/>
              <a:gd name="T179" fmla="*/ 1772 w 1772"/>
              <a:gd name="T180" fmla="*/ 4763 h 476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72" h="4763">
                <a:moveTo>
                  <a:pt x="1111" y="1491"/>
                </a:moveTo>
                <a:lnTo>
                  <a:pt x="1111" y="1491"/>
                </a:lnTo>
                <a:lnTo>
                  <a:pt x="1085" y="1498"/>
                </a:lnTo>
                <a:lnTo>
                  <a:pt x="1060" y="1505"/>
                </a:lnTo>
                <a:lnTo>
                  <a:pt x="1037" y="1507"/>
                </a:lnTo>
                <a:lnTo>
                  <a:pt x="1018" y="1509"/>
                </a:lnTo>
                <a:lnTo>
                  <a:pt x="1017" y="1509"/>
                </a:lnTo>
                <a:lnTo>
                  <a:pt x="1135" y="2153"/>
                </a:lnTo>
                <a:lnTo>
                  <a:pt x="1136" y="2046"/>
                </a:lnTo>
                <a:lnTo>
                  <a:pt x="1137" y="1968"/>
                </a:lnTo>
                <a:lnTo>
                  <a:pt x="1136" y="1878"/>
                </a:lnTo>
                <a:lnTo>
                  <a:pt x="1135" y="1783"/>
                </a:lnTo>
                <a:lnTo>
                  <a:pt x="1129" y="1683"/>
                </a:lnTo>
                <a:lnTo>
                  <a:pt x="1127" y="1633"/>
                </a:lnTo>
                <a:lnTo>
                  <a:pt x="1123" y="1585"/>
                </a:lnTo>
                <a:lnTo>
                  <a:pt x="1118" y="1537"/>
                </a:lnTo>
                <a:lnTo>
                  <a:pt x="1111" y="1491"/>
                </a:lnTo>
                <a:close/>
                <a:moveTo>
                  <a:pt x="862" y="969"/>
                </a:moveTo>
                <a:lnTo>
                  <a:pt x="188" y="219"/>
                </a:lnTo>
                <a:lnTo>
                  <a:pt x="173" y="199"/>
                </a:lnTo>
                <a:lnTo>
                  <a:pt x="161" y="188"/>
                </a:lnTo>
                <a:lnTo>
                  <a:pt x="156" y="182"/>
                </a:lnTo>
                <a:lnTo>
                  <a:pt x="161" y="190"/>
                </a:lnTo>
                <a:lnTo>
                  <a:pt x="188" y="219"/>
                </a:lnTo>
                <a:lnTo>
                  <a:pt x="193" y="227"/>
                </a:lnTo>
                <a:lnTo>
                  <a:pt x="665" y="998"/>
                </a:lnTo>
                <a:lnTo>
                  <a:pt x="690" y="1038"/>
                </a:lnTo>
                <a:lnTo>
                  <a:pt x="716" y="1072"/>
                </a:lnTo>
                <a:lnTo>
                  <a:pt x="741" y="1103"/>
                </a:lnTo>
                <a:lnTo>
                  <a:pt x="766" y="1131"/>
                </a:lnTo>
                <a:lnTo>
                  <a:pt x="791" y="1154"/>
                </a:lnTo>
                <a:lnTo>
                  <a:pt x="815" y="1175"/>
                </a:lnTo>
                <a:lnTo>
                  <a:pt x="838" y="1192"/>
                </a:lnTo>
                <a:lnTo>
                  <a:pt x="860" y="1207"/>
                </a:lnTo>
                <a:lnTo>
                  <a:pt x="864" y="1187"/>
                </a:lnTo>
                <a:lnTo>
                  <a:pt x="871" y="1166"/>
                </a:lnTo>
                <a:lnTo>
                  <a:pt x="877" y="1146"/>
                </a:lnTo>
                <a:lnTo>
                  <a:pt x="885" y="1127"/>
                </a:lnTo>
                <a:lnTo>
                  <a:pt x="895" y="1108"/>
                </a:lnTo>
                <a:lnTo>
                  <a:pt x="905" y="1091"/>
                </a:lnTo>
                <a:lnTo>
                  <a:pt x="918" y="1077"/>
                </a:lnTo>
                <a:lnTo>
                  <a:pt x="933" y="1063"/>
                </a:lnTo>
                <a:lnTo>
                  <a:pt x="912" y="1032"/>
                </a:lnTo>
                <a:lnTo>
                  <a:pt x="892" y="1005"/>
                </a:lnTo>
                <a:lnTo>
                  <a:pt x="875" y="984"/>
                </a:lnTo>
                <a:lnTo>
                  <a:pt x="862" y="969"/>
                </a:lnTo>
                <a:close/>
                <a:moveTo>
                  <a:pt x="1169" y="1186"/>
                </a:moveTo>
                <a:lnTo>
                  <a:pt x="1169" y="1186"/>
                </a:lnTo>
                <a:lnTo>
                  <a:pt x="1144" y="1175"/>
                </a:lnTo>
                <a:lnTo>
                  <a:pt x="1119" y="1165"/>
                </a:lnTo>
                <a:lnTo>
                  <a:pt x="1095" y="1157"/>
                </a:lnTo>
                <a:lnTo>
                  <a:pt x="1073" y="1149"/>
                </a:lnTo>
                <a:lnTo>
                  <a:pt x="1037" y="1140"/>
                </a:lnTo>
                <a:lnTo>
                  <a:pt x="1026" y="1139"/>
                </a:lnTo>
                <a:lnTo>
                  <a:pt x="1018" y="1137"/>
                </a:lnTo>
                <a:lnTo>
                  <a:pt x="1010" y="1139"/>
                </a:lnTo>
                <a:lnTo>
                  <a:pt x="1002" y="1141"/>
                </a:lnTo>
                <a:lnTo>
                  <a:pt x="996" y="1146"/>
                </a:lnTo>
                <a:lnTo>
                  <a:pt x="989" y="1154"/>
                </a:lnTo>
                <a:lnTo>
                  <a:pt x="984" y="1162"/>
                </a:lnTo>
                <a:lnTo>
                  <a:pt x="980" y="1171"/>
                </a:lnTo>
                <a:lnTo>
                  <a:pt x="972" y="1192"/>
                </a:lnTo>
                <a:lnTo>
                  <a:pt x="967" y="1216"/>
                </a:lnTo>
                <a:lnTo>
                  <a:pt x="963" y="1237"/>
                </a:lnTo>
                <a:lnTo>
                  <a:pt x="960" y="1257"/>
                </a:lnTo>
                <a:lnTo>
                  <a:pt x="960" y="1270"/>
                </a:lnTo>
                <a:lnTo>
                  <a:pt x="960" y="1288"/>
                </a:lnTo>
                <a:lnTo>
                  <a:pt x="961" y="1304"/>
                </a:lnTo>
                <a:lnTo>
                  <a:pt x="964" y="1318"/>
                </a:lnTo>
                <a:lnTo>
                  <a:pt x="967" y="1333"/>
                </a:lnTo>
                <a:lnTo>
                  <a:pt x="969" y="1345"/>
                </a:lnTo>
                <a:lnTo>
                  <a:pt x="973" y="1355"/>
                </a:lnTo>
                <a:lnTo>
                  <a:pt x="977" y="1366"/>
                </a:lnTo>
                <a:lnTo>
                  <a:pt x="981" y="1373"/>
                </a:lnTo>
                <a:lnTo>
                  <a:pt x="990" y="1387"/>
                </a:lnTo>
                <a:lnTo>
                  <a:pt x="1001" y="1396"/>
                </a:lnTo>
                <a:lnTo>
                  <a:pt x="1010" y="1402"/>
                </a:lnTo>
                <a:lnTo>
                  <a:pt x="1014" y="1404"/>
                </a:lnTo>
                <a:lnTo>
                  <a:pt x="1018" y="1404"/>
                </a:lnTo>
                <a:lnTo>
                  <a:pt x="1027" y="1402"/>
                </a:lnTo>
                <a:lnTo>
                  <a:pt x="1039" y="1400"/>
                </a:lnTo>
                <a:lnTo>
                  <a:pt x="1073" y="1390"/>
                </a:lnTo>
                <a:lnTo>
                  <a:pt x="1114" y="1376"/>
                </a:lnTo>
                <a:lnTo>
                  <a:pt x="1158" y="1358"/>
                </a:lnTo>
                <a:lnTo>
                  <a:pt x="1180" y="1347"/>
                </a:lnTo>
                <a:lnTo>
                  <a:pt x="1201" y="1337"/>
                </a:lnTo>
                <a:lnTo>
                  <a:pt x="1221" y="1326"/>
                </a:lnTo>
                <a:lnTo>
                  <a:pt x="1238" y="1314"/>
                </a:lnTo>
                <a:lnTo>
                  <a:pt x="1253" y="1303"/>
                </a:lnTo>
                <a:lnTo>
                  <a:pt x="1263" y="1292"/>
                </a:lnTo>
                <a:lnTo>
                  <a:pt x="1267" y="1287"/>
                </a:lnTo>
                <a:lnTo>
                  <a:pt x="1270" y="1282"/>
                </a:lnTo>
                <a:lnTo>
                  <a:pt x="1272" y="1275"/>
                </a:lnTo>
                <a:lnTo>
                  <a:pt x="1272" y="1270"/>
                </a:lnTo>
                <a:lnTo>
                  <a:pt x="1272" y="1265"/>
                </a:lnTo>
                <a:lnTo>
                  <a:pt x="1270" y="1258"/>
                </a:lnTo>
                <a:lnTo>
                  <a:pt x="1264" y="1253"/>
                </a:lnTo>
                <a:lnTo>
                  <a:pt x="1259" y="1246"/>
                </a:lnTo>
                <a:lnTo>
                  <a:pt x="1245" y="1233"/>
                </a:lnTo>
                <a:lnTo>
                  <a:pt x="1228" y="1221"/>
                </a:lnTo>
                <a:lnTo>
                  <a:pt x="1211" y="1209"/>
                </a:lnTo>
                <a:lnTo>
                  <a:pt x="1194" y="1199"/>
                </a:lnTo>
                <a:lnTo>
                  <a:pt x="1169" y="1186"/>
                </a:lnTo>
                <a:close/>
                <a:moveTo>
                  <a:pt x="1281" y="1129"/>
                </a:moveTo>
                <a:lnTo>
                  <a:pt x="1281" y="1129"/>
                </a:lnTo>
                <a:lnTo>
                  <a:pt x="1300" y="1143"/>
                </a:lnTo>
                <a:lnTo>
                  <a:pt x="1318" y="1157"/>
                </a:lnTo>
                <a:lnTo>
                  <a:pt x="1334" y="1173"/>
                </a:lnTo>
                <a:lnTo>
                  <a:pt x="1348" y="1190"/>
                </a:lnTo>
                <a:lnTo>
                  <a:pt x="1360" y="1208"/>
                </a:lnTo>
                <a:lnTo>
                  <a:pt x="1365" y="1217"/>
                </a:lnTo>
                <a:lnTo>
                  <a:pt x="1369" y="1228"/>
                </a:lnTo>
                <a:lnTo>
                  <a:pt x="1373" y="1238"/>
                </a:lnTo>
                <a:lnTo>
                  <a:pt x="1376" y="1249"/>
                </a:lnTo>
                <a:lnTo>
                  <a:pt x="1377" y="1259"/>
                </a:lnTo>
                <a:lnTo>
                  <a:pt x="1377" y="1270"/>
                </a:lnTo>
                <a:lnTo>
                  <a:pt x="1377" y="1284"/>
                </a:lnTo>
                <a:lnTo>
                  <a:pt x="1375" y="1297"/>
                </a:lnTo>
                <a:lnTo>
                  <a:pt x="1369" y="1310"/>
                </a:lnTo>
                <a:lnTo>
                  <a:pt x="1364" y="1324"/>
                </a:lnTo>
                <a:lnTo>
                  <a:pt x="1356" y="1337"/>
                </a:lnTo>
                <a:lnTo>
                  <a:pt x="1348" y="1348"/>
                </a:lnTo>
                <a:lnTo>
                  <a:pt x="1338" y="1360"/>
                </a:lnTo>
                <a:lnTo>
                  <a:pt x="1327" y="1372"/>
                </a:lnTo>
                <a:lnTo>
                  <a:pt x="1316" y="1384"/>
                </a:lnTo>
                <a:lnTo>
                  <a:pt x="1302" y="1394"/>
                </a:lnTo>
                <a:lnTo>
                  <a:pt x="1274" y="1415"/>
                </a:lnTo>
                <a:lnTo>
                  <a:pt x="1243" y="1435"/>
                </a:lnTo>
                <a:lnTo>
                  <a:pt x="1211" y="1452"/>
                </a:lnTo>
                <a:lnTo>
                  <a:pt x="1218" y="1499"/>
                </a:lnTo>
                <a:lnTo>
                  <a:pt x="1225" y="1549"/>
                </a:lnTo>
                <a:lnTo>
                  <a:pt x="1230" y="1600"/>
                </a:lnTo>
                <a:lnTo>
                  <a:pt x="1234" y="1652"/>
                </a:lnTo>
                <a:lnTo>
                  <a:pt x="1237" y="1703"/>
                </a:lnTo>
                <a:lnTo>
                  <a:pt x="1239" y="1754"/>
                </a:lnTo>
                <a:lnTo>
                  <a:pt x="1242" y="1855"/>
                </a:lnTo>
                <a:lnTo>
                  <a:pt x="1242" y="1949"/>
                </a:lnTo>
                <a:lnTo>
                  <a:pt x="1242" y="2035"/>
                </a:lnTo>
                <a:lnTo>
                  <a:pt x="1239" y="2164"/>
                </a:lnTo>
                <a:lnTo>
                  <a:pt x="1239" y="2369"/>
                </a:lnTo>
                <a:lnTo>
                  <a:pt x="1238" y="2541"/>
                </a:lnTo>
                <a:lnTo>
                  <a:pt x="1236" y="2704"/>
                </a:lnTo>
                <a:lnTo>
                  <a:pt x="1131" y="2713"/>
                </a:lnTo>
                <a:lnTo>
                  <a:pt x="910" y="1505"/>
                </a:lnTo>
                <a:lnTo>
                  <a:pt x="292" y="1505"/>
                </a:lnTo>
                <a:lnTo>
                  <a:pt x="291" y="1465"/>
                </a:lnTo>
                <a:lnTo>
                  <a:pt x="291" y="1426"/>
                </a:lnTo>
                <a:lnTo>
                  <a:pt x="294" y="1389"/>
                </a:lnTo>
                <a:lnTo>
                  <a:pt x="298" y="1354"/>
                </a:lnTo>
                <a:lnTo>
                  <a:pt x="304" y="1318"/>
                </a:lnTo>
                <a:lnTo>
                  <a:pt x="312" y="1287"/>
                </a:lnTo>
                <a:lnTo>
                  <a:pt x="321" y="1255"/>
                </a:lnTo>
                <a:lnTo>
                  <a:pt x="334" y="1226"/>
                </a:lnTo>
                <a:lnTo>
                  <a:pt x="341" y="1213"/>
                </a:lnTo>
                <a:lnTo>
                  <a:pt x="349" y="1200"/>
                </a:lnTo>
                <a:lnTo>
                  <a:pt x="358" y="1188"/>
                </a:lnTo>
                <a:lnTo>
                  <a:pt x="367" y="1175"/>
                </a:lnTo>
                <a:lnTo>
                  <a:pt x="376" y="1165"/>
                </a:lnTo>
                <a:lnTo>
                  <a:pt x="387" y="1154"/>
                </a:lnTo>
                <a:lnTo>
                  <a:pt x="399" y="1144"/>
                </a:lnTo>
                <a:lnTo>
                  <a:pt x="411" y="1135"/>
                </a:lnTo>
                <a:lnTo>
                  <a:pt x="424" y="1125"/>
                </a:lnTo>
                <a:lnTo>
                  <a:pt x="438" y="1116"/>
                </a:lnTo>
                <a:lnTo>
                  <a:pt x="453" y="1110"/>
                </a:lnTo>
                <a:lnTo>
                  <a:pt x="468" y="1102"/>
                </a:lnTo>
                <a:lnTo>
                  <a:pt x="484" y="1097"/>
                </a:lnTo>
                <a:lnTo>
                  <a:pt x="501" y="1090"/>
                </a:lnTo>
                <a:lnTo>
                  <a:pt x="519" y="1086"/>
                </a:lnTo>
                <a:lnTo>
                  <a:pt x="538" y="1082"/>
                </a:lnTo>
                <a:lnTo>
                  <a:pt x="568" y="1131"/>
                </a:lnTo>
                <a:lnTo>
                  <a:pt x="584" y="1156"/>
                </a:lnTo>
                <a:lnTo>
                  <a:pt x="601" y="1179"/>
                </a:lnTo>
                <a:lnTo>
                  <a:pt x="576" y="1182"/>
                </a:lnTo>
                <a:lnTo>
                  <a:pt x="552" y="1187"/>
                </a:lnTo>
                <a:lnTo>
                  <a:pt x="530" y="1192"/>
                </a:lnTo>
                <a:lnTo>
                  <a:pt x="510" y="1199"/>
                </a:lnTo>
                <a:lnTo>
                  <a:pt x="493" y="1208"/>
                </a:lnTo>
                <a:lnTo>
                  <a:pt x="476" y="1219"/>
                </a:lnTo>
                <a:lnTo>
                  <a:pt x="462" y="1229"/>
                </a:lnTo>
                <a:lnTo>
                  <a:pt x="449" y="1242"/>
                </a:lnTo>
                <a:lnTo>
                  <a:pt x="437" y="1257"/>
                </a:lnTo>
                <a:lnTo>
                  <a:pt x="426" y="1274"/>
                </a:lnTo>
                <a:lnTo>
                  <a:pt x="417" y="1291"/>
                </a:lnTo>
                <a:lnTo>
                  <a:pt x="411" y="1309"/>
                </a:lnTo>
                <a:lnTo>
                  <a:pt x="404" y="1330"/>
                </a:lnTo>
                <a:lnTo>
                  <a:pt x="400" y="1351"/>
                </a:lnTo>
                <a:lnTo>
                  <a:pt x="397" y="1375"/>
                </a:lnTo>
                <a:lnTo>
                  <a:pt x="395" y="1400"/>
                </a:lnTo>
                <a:lnTo>
                  <a:pt x="879" y="1400"/>
                </a:lnTo>
                <a:lnTo>
                  <a:pt x="872" y="1381"/>
                </a:lnTo>
                <a:lnTo>
                  <a:pt x="867" y="1362"/>
                </a:lnTo>
                <a:lnTo>
                  <a:pt x="862" y="1343"/>
                </a:lnTo>
                <a:lnTo>
                  <a:pt x="859" y="1325"/>
                </a:lnTo>
                <a:lnTo>
                  <a:pt x="841" y="1314"/>
                </a:lnTo>
                <a:lnTo>
                  <a:pt x="821" y="1304"/>
                </a:lnTo>
                <a:lnTo>
                  <a:pt x="803" y="1292"/>
                </a:lnTo>
                <a:lnTo>
                  <a:pt x="783" y="1280"/>
                </a:lnTo>
                <a:lnTo>
                  <a:pt x="765" y="1266"/>
                </a:lnTo>
                <a:lnTo>
                  <a:pt x="746" y="1251"/>
                </a:lnTo>
                <a:lnTo>
                  <a:pt x="727" y="1236"/>
                </a:lnTo>
                <a:lnTo>
                  <a:pt x="708" y="1219"/>
                </a:lnTo>
                <a:lnTo>
                  <a:pt x="691" y="1200"/>
                </a:lnTo>
                <a:lnTo>
                  <a:pt x="673" y="1182"/>
                </a:lnTo>
                <a:lnTo>
                  <a:pt x="656" y="1162"/>
                </a:lnTo>
                <a:lnTo>
                  <a:pt x="639" y="1143"/>
                </a:lnTo>
                <a:lnTo>
                  <a:pt x="622" y="1122"/>
                </a:lnTo>
                <a:lnTo>
                  <a:pt x="606" y="1099"/>
                </a:lnTo>
                <a:lnTo>
                  <a:pt x="590" y="1077"/>
                </a:lnTo>
                <a:lnTo>
                  <a:pt x="576" y="1053"/>
                </a:lnTo>
                <a:lnTo>
                  <a:pt x="104" y="282"/>
                </a:lnTo>
                <a:lnTo>
                  <a:pt x="73" y="232"/>
                </a:lnTo>
                <a:lnTo>
                  <a:pt x="55" y="199"/>
                </a:lnTo>
                <a:lnTo>
                  <a:pt x="38" y="164"/>
                </a:lnTo>
                <a:lnTo>
                  <a:pt x="30" y="146"/>
                </a:lnTo>
                <a:lnTo>
                  <a:pt x="24" y="127"/>
                </a:lnTo>
                <a:lnTo>
                  <a:pt x="18" y="109"/>
                </a:lnTo>
                <a:lnTo>
                  <a:pt x="16" y="92"/>
                </a:lnTo>
                <a:lnTo>
                  <a:pt x="13" y="75"/>
                </a:lnTo>
                <a:lnTo>
                  <a:pt x="14" y="59"/>
                </a:lnTo>
                <a:lnTo>
                  <a:pt x="17" y="45"/>
                </a:lnTo>
                <a:lnTo>
                  <a:pt x="20" y="38"/>
                </a:lnTo>
                <a:lnTo>
                  <a:pt x="22" y="33"/>
                </a:lnTo>
                <a:lnTo>
                  <a:pt x="29" y="24"/>
                </a:lnTo>
                <a:lnTo>
                  <a:pt x="34" y="17"/>
                </a:lnTo>
                <a:lnTo>
                  <a:pt x="41" y="12"/>
                </a:lnTo>
                <a:lnTo>
                  <a:pt x="47" y="7"/>
                </a:lnTo>
                <a:lnTo>
                  <a:pt x="55" y="4"/>
                </a:lnTo>
                <a:lnTo>
                  <a:pt x="62" y="1"/>
                </a:lnTo>
                <a:lnTo>
                  <a:pt x="70" y="0"/>
                </a:lnTo>
                <a:lnTo>
                  <a:pt x="77" y="0"/>
                </a:lnTo>
                <a:lnTo>
                  <a:pt x="85" y="1"/>
                </a:lnTo>
                <a:lnTo>
                  <a:pt x="93" y="3"/>
                </a:lnTo>
                <a:lnTo>
                  <a:pt x="109" y="9"/>
                </a:lnTo>
                <a:lnTo>
                  <a:pt x="126" y="17"/>
                </a:lnTo>
                <a:lnTo>
                  <a:pt x="142" y="28"/>
                </a:lnTo>
                <a:lnTo>
                  <a:pt x="157" y="39"/>
                </a:lnTo>
                <a:lnTo>
                  <a:pt x="173" y="52"/>
                </a:lnTo>
                <a:lnTo>
                  <a:pt x="202" y="79"/>
                </a:lnTo>
                <a:lnTo>
                  <a:pt x="224" y="102"/>
                </a:lnTo>
                <a:lnTo>
                  <a:pt x="240" y="119"/>
                </a:lnTo>
                <a:lnTo>
                  <a:pt x="938" y="896"/>
                </a:lnTo>
                <a:lnTo>
                  <a:pt x="957" y="918"/>
                </a:lnTo>
                <a:lnTo>
                  <a:pt x="982" y="950"/>
                </a:lnTo>
                <a:lnTo>
                  <a:pt x="1011" y="989"/>
                </a:lnTo>
                <a:lnTo>
                  <a:pt x="1040" y="1034"/>
                </a:lnTo>
                <a:lnTo>
                  <a:pt x="1068" y="1039"/>
                </a:lnTo>
                <a:lnTo>
                  <a:pt x="1098" y="1048"/>
                </a:lnTo>
                <a:lnTo>
                  <a:pt x="1135" y="1023"/>
                </a:lnTo>
                <a:lnTo>
                  <a:pt x="1178" y="997"/>
                </a:lnTo>
                <a:lnTo>
                  <a:pt x="1279" y="938"/>
                </a:lnTo>
                <a:lnTo>
                  <a:pt x="1390" y="874"/>
                </a:lnTo>
                <a:lnTo>
                  <a:pt x="1502" y="811"/>
                </a:lnTo>
                <a:lnTo>
                  <a:pt x="1692" y="707"/>
                </a:lnTo>
                <a:lnTo>
                  <a:pt x="1772" y="664"/>
                </a:lnTo>
                <a:lnTo>
                  <a:pt x="1768" y="721"/>
                </a:lnTo>
                <a:lnTo>
                  <a:pt x="1281" y="1129"/>
                </a:lnTo>
                <a:close/>
                <a:moveTo>
                  <a:pt x="1402" y="4763"/>
                </a:moveTo>
                <a:lnTo>
                  <a:pt x="0" y="4763"/>
                </a:lnTo>
                <a:lnTo>
                  <a:pt x="0" y="4658"/>
                </a:lnTo>
                <a:lnTo>
                  <a:pt x="1402" y="4658"/>
                </a:lnTo>
                <a:lnTo>
                  <a:pt x="1402" y="4763"/>
                </a:lnTo>
                <a:close/>
                <a:moveTo>
                  <a:pt x="775" y="1834"/>
                </a:moveTo>
                <a:lnTo>
                  <a:pt x="652" y="1940"/>
                </a:lnTo>
                <a:lnTo>
                  <a:pt x="607" y="4556"/>
                </a:lnTo>
                <a:lnTo>
                  <a:pt x="502" y="4556"/>
                </a:lnTo>
                <a:lnTo>
                  <a:pt x="552" y="1598"/>
                </a:lnTo>
                <a:lnTo>
                  <a:pt x="876" y="1598"/>
                </a:lnTo>
                <a:lnTo>
                  <a:pt x="931" y="4556"/>
                </a:lnTo>
                <a:lnTo>
                  <a:pt x="826" y="4556"/>
                </a:lnTo>
                <a:lnTo>
                  <a:pt x="775" y="1834"/>
                </a:lnTo>
                <a:close/>
              </a:path>
            </a:pathLst>
          </a:custGeom>
          <a:solidFill>
            <a:srgbClr val="7F7F7F"/>
          </a:solidFill>
          <a:ln w="9525">
            <a:noFill/>
            <a:round/>
            <a:headEnd/>
            <a:tailEnd/>
          </a:ln>
        </p:spPr>
        <p:txBody>
          <a:bodyPr/>
          <a:lstStyle/>
          <a:p>
            <a:pPr defTabSz="709469">
              <a:defRPr/>
            </a:pPr>
            <a:endParaRPr lang="de-DE" sz="1428">
              <a:solidFill>
                <a:srgbClr val="000000"/>
              </a:solidFill>
              <a:latin typeface="Arial"/>
            </a:endParaRPr>
          </a:p>
        </p:txBody>
      </p:sp>
      <p:pic>
        <p:nvPicPr>
          <p:cNvPr id="77" name="Elemento grafico 26" descr="Treno">
            <a:extLst>
              <a:ext uri="{FF2B5EF4-FFF2-40B4-BE49-F238E27FC236}">
                <a16:creationId xmlns:a16="http://schemas.microsoft.com/office/drawing/2014/main" id="{5ABC75D1-7759-4C06-8A56-D84813C5C8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99923" y="1965982"/>
            <a:ext cx="504000" cy="504000"/>
          </a:xfrm>
          <a:prstGeom prst="rect">
            <a:avLst/>
          </a:prstGeom>
        </p:spPr>
      </p:pic>
      <p:grpSp>
        <p:nvGrpSpPr>
          <p:cNvPr id="78" name="Gruppo 77">
            <a:extLst>
              <a:ext uri="{FF2B5EF4-FFF2-40B4-BE49-F238E27FC236}">
                <a16:creationId xmlns:a16="http://schemas.microsoft.com/office/drawing/2014/main" id="{49612B64-9157-4152-9DA9-07EC07330788}"/>
              </a:ext>
            </a:extLst>
          </p:cNvPr>
          <p:cNvGrpSpPr/>
          <p:nvPr/>
        </p:nvGrpSpPr>
        <p:grpSpPr>
          <a:xfrm>
            <a:off x="5462004" y="1968159"/>
            <a:ext cx="856474" cy="887055"/>
            <a:chOff x="5462003" y="1491684"/>
            <a:chExt cx="856474" cy="887055"/>
          </a:xfrm>
        </p:grpSpPr>
        <p:grpSp>
          <p:nvGrpSpPr>
            <p:cNvPr id="79" name="Gruppo 78">
              <a:extLst>
                <a:ext uri="{FF2B5EF4-FFF2-40B4-BE49-F238E27FC236}">
                  <a16:creationId xmlns:a16="http://schemas.microsoft.com/office/drawing/2014/main" id="{F14DA8DD-F9C5-4A2E-9BDE-A1CBF644594B}"/>
                </a:ext>
              </a:extLst>
            </p:cNvPr>
            <p:cNvGrpSpPr/>
            <p:nvPr/>
          </p:nvGrpSpPr>
          <p:grpSpPr>
            <a:xfrm>
              <a:off x="5462003" y="1491684"/>
              <a:ext cx="856474" cy="887055"/>
              <a:chOff x="5455653" y="1491684"/>
              <a:chExt cx="856474" cy="887055"/>
            </a:xfrm>
          </p:grpSpPr>
          <p:grpSp>
            <p:nvGrpSpPr>
              <p:cNvPr id="81" name="Gruppo 80">
                <a:extLst>
                  <a:ext uri="{FF2B5EF4-FFF2-40B4-BE49-F238E27FC236}">
                    <a16:creationId xmlns:a16="http://schemas.microsoft.com/office/drawing/2014/main" id="{3E128ED6-B0BB-475E-A098-CFC8CAFABC41}"/>
                  </a:ext>
                </a:extLst>
              </p:cNvPr>
              <p:cNvGrpSpPr/>
              <p:nvPr/>
            </p:nvGrpSpPr>
            <p:grpSpPr>
              <a:xfrm>
                <a:off x="5455653" y="1491684"/>
                <a:ext cx="856474" cy="887055"/>
                <a:chOff x="5463148" y="1491684"/>
                <a:chExt cx="856474" cy="887055"/>
              </a:xfrm>
            </p:grpSpPr>
            <p:grpSp>
              <p:nvGrpSpPr>
                <p:cNvPr id="83" name="Gruppo 82">
                  <a:extLst>
                    <a:ext uri="{FF2B5EF4-FFF2-40B4-BE49-F238E27FC236}">
                      <a16:creationId xmlns:a16="http://schemas.microsoft.com/office/drawing/2014/main" id="{7523F9EB-07B5-47EB-BDD4-7A96F79A5DBC}"/>
                    </a:ext>
                  </a:extLst>
                </p:cNvPr>
                <p:cNvGrpSpPr/>
                <p:nvPr/>
              </p:nvGrpSpPr>
              <p:grpSpPr>
                <a:xfrm>
                  <a:off x="5463148" y="1491684"/>
                  <a:ext cx="856474" cy="818523"/>
                  <a:chOff x="5463148" y="1491684"/>
                  <a:chExt cx="856474" cy="818523"/>
                </a:xfrm>
              </p:grpSpPr>
              <p:sp>
                <p:nvSpPr>
                  <p:cNvPr id="85" name="Freeform 67">
                    <a:extLst>
                      <a:ext uri="{FF2B5EF4-FFF2-40B4-BE49-F238E27FC236}">
                        <a16:creationId xmlns:a16="http://schemas.microsoft.com/office/drawing/2014/main" id="{156B5309-26A3-4E3D-9A9B-39A82D716FB9}"/>
                      </a:ext>
                    </a:extLst>
                  </p:cNvPr>
                  <p:cNvSpPr>
                    <a:spLocks noChangeAspect="1" noEditPoints="1"/>
                  </p:cNvSpPr>
                  <p:nvPr/>
                </p:nvSpPr>
                <p:spPr bwMode="auto">
                  <a:xfrm>
                    <a:off x="5463148" y="1491684"/>
                    <a:ext cx="816615" cy="818523"/>
                  </a:xfrm>
                  <a:custGeom>
                    <a:avLst/>
                    <a:gdLst>
                      <a:gd name="T0" fmla="*/ 2147483647 w 4756"/>
                      <a:gd name="T1" fmla="*/ 2147483647 h 4763"/>
                      <a:gd name="T2" fmla="*/ 2147483647 w 4756"/>
                      <a:gd name="T3" fmla="*/ 2147483647 h 4763"/>
                      <a:gd name="T4" fmla="*/ 2147483647 w 4756"/>
                      <a:gd name="T5" fmla="*/ 2147483647 h 4763"/>
                      <a:gd name="T6" fmla="*/ 2147483647 w 4756"/>
                      <a:gd name="T7" fmla="*/ 2147483647 h 4763"/>
                      <a:gd name="T8" fmla="*/ 2147483647 w 4756"/>
                      <a:gd name="T9" fmla="*/ 2147483647 h 4763"/>
                      <a:gd name="T10" fmla="*/ 2147483647 w 4756"/>
                      <a:gd name="T11" fmla="*/ 2147483647 h 4763"/>
                      <a:gd name="T12" fmla="*/ 2147483647 w 4756"/>
                      <a:gd name="T13" fmla="*/ 2147483647 h 4763"/>
                      <a:gd name="T14" fmla="*/ 2147483647 w 4756"/>
                      <a:gd name="T15" fmla="*/ 2147483647 h 4763"/>
                      <a:gd name="T16" fmla="*/ 2147483647 w 4756"/>
                      <a:gd name="T17" fmla="*/ 2147483647 h 4763"/>
                      <a:gd name="T18" fmla="*/ 2147483647 w 4756"/>
                      <a:gd name="T19" fmla="*/ 2147483647 h 4763"/>
                      <a:gd name="T20" fmla="*/ 2147483647 w 4756"/>
                      <a:gd name="T21" fmla="*/ 2147483647 h 4763"/>
                      <a:gd name="T22" fmla="*/ 2147483647 w 4756"/>
                      <a:gd name="T23" fmla="*/ 2147483647 h 4763"/>
                      <a:gd name="T24" fmla="*/ 2147483647 w 4756"/>
                      <a:gd name="T25" fmla="*/ 2147483647 h 4763"/>
                      <a:gd name="T26" fmla="*/ 2147483647 w 4756"/>
                      <a:gd name="T27" fmla="*/ 2147483647 h 4763"/>
                      <a:gd name="T28" fmla="*/ 2147483647 w 4756"/>
                      <a:gd name="T29" fmla="*/ 2147483647 h 4763"/>
                      <a:gd name="T30" fmla="*/ 2147483647 w 4756"/>
                      <a:gd name="T31" fmla="*/ 2147483647 h 4763"/>
                      <a:gd name="T32" fmla="*/ 2147483647 w 4756"/>
                      <a:gd name="T33" fmla="*/ 2147483647 h 4763"/>
                      <a:gd name="T34" fmla="*/ 2147483647 w 4756"/>
                      <a:gd name="T35" fmla="*/ 2147483647 h 4763"/>
                      <a:gd name="T36" fmla="*/ 2147483647 w 4756"/>
                      <a:gd name="T37" fmla="*/ 2147483647 h 4763"/>
                      <a:gd name="T38" fmla="*/ 2147483647 w 4756"/>
                      <a:gd name="T39" fmla="*/ 2147483647 h 4763"/>
                      <a:gd name="T40" fmla="*/ 2147483647 w 4756"/>
                      <a:gd name="T41" fmla="*/ 2147483647 h 4763"/>
                      <a:gd name="T42" fmla="*/ 2147483647 w 4756"/>
                      <a:gd name="T43" fmla="*/ 2147483647 h 4763"/>
                      <a:gd name="T44" fmla="*/ 2147483647 w 4756"/>
                      <a:gd name="T45" fmla="*/ 2147483647 h 4763"/>
                      <a:gd name="T46" fmla="*/ 2147483647 w 4756"/>
                      <a:gd name="T47" fmla="*/ 2147483647 h 4763"/>
                      <a:gd name="T48" fmla="*/ 2147483647 w 4756"/>
                      <a:gd name="T49" fmla="*/ 2147483647 h 4763"/>
                      <a:gd name="T50" fmla="*/ 2147483647 w 4756"/>
                      <a:gd name="T51" fmla="*/ 2147483647 h 4763"/>
                      <a:gd name="T52" fmla="*/ 2147483647 w 4756"/>
                      <a:gd name="T53" fmla="*/ 2147483647 h 4763"/>
                      <a:gd name="T54" fmla="*/ 2147483647 w 4756"/>
                      <a:gd name="T55" fmla="*/ 2147483647 h 4763"/>
                      <a:gd name="T56" fmla="*/ 2147483647 w 4756"/>
                      <a:gd name="T57" fmla="*/ 2147483647 h 4763"/>
                      <a:gd name="T58" fmla="*/ 2147483647 w 4756"/>
                      <a:gd name="T59" fmla="*/ 2147483647 h 4763"/>
                      <a:gd name="T60" fmla="*/ 2147483647 w 4756"/>
                      <a:gd name="T61" fmla="*/ 2147483647 h 4763"/>
                      <a:gd name="T62" fmla="*/ 2147483647 w 4756"/>
                      <a:gd name="T63" fmla="*/ 2147483647 h 4763"/>
                      <a:gd name="T64" fmla="*/ 2147483647 w 4756"/>
                      <a:gd name="T65" fmla="*/ 2147483647 h 4763"/>
                      <a:gd name="T66" fmla="*/ 2147483647 w 4756"/>
                      <a:gd name="T67" fmla="*/ 2147483647 h 4763"/>
                      <a:gd name="T68" fmla="*/ 2147483647 w 4756"/>
                      <a:gd name="T69" fmla="*/ 2147483647 h 4763"/>
                      <a:gd name="T70" fmla="*/ 2147483647 w 4756"/>
                      <a:gd name="T71" fmla="*/ 2147483647 h 4763"/>
                      <a:gd name="T72" fmla="*/ 2147483647 w 4756"/>
                      <a:gd name="T73" fmla="*/ 2147483647 h 4763"/>
                      <a:gd name="T74" fmla="*/ 2147483647 w 4756"/>
                      <a:gd name="T75" fmla="*/ 2147483647 h 4763"/>
                      <a:gd name="T76" fmla="*/ 2147483647 w 4756"/>
                      <a:gd name="T77" fmla="*/ 2147483647 h 4763"/>
                      <a:gd name="T78" fmla="*/ 2147483647 w 4756"/>
                      <a:gd name="T79" fmla="*/ 2147483647 h 4763"/>
                      <a:gd name="T80" fmla="*/ 2147483647 w 4756"/>
                      <a:gd name="T81" fmla="*/ 2147483647 h 4763"/>
                      <a:gd name="T82" fmla="*/ 2147483647 w 4756"/>
                      <a:gd name="T83" fmla="*/ 2147483647 h 4763"/>
                      <a:gd name="T84" fmla="*/ 2147483647 w 4756"/>
                      <a:gd name="T85" fmla="*/ 2147483647 h 4763"/>
                      <a:gd name="T86" fmla="*/ 2147483647 w 4756"/>
                      <a:gd name="T87" fmla="*/ 2147483647 h 4763"/>
                      <a:gd name="T88" fmla="*/ 2147483647 w 4756"/>
                      <a:gd name="T89" fmla="*/ 2147483647 h 4763"/>
                      <a:gd name="T90" fmla="*/ 2147483647 w 4756"/>
                      <a:gd name="T91" fmla="*/ 2147483647 h 4763"/>
                      <a:gd name="T92" fmla="*/ 2147483647 w 4756"/>
                      <a:gd name="T93" fmla="*/ 2147483647 h 4763"/>
                      <a:gd name="T94" fmla="*/ 2147483647 w 4756"/>
                      <a:gd name="T95" fmla="*/ 2147483647 h 4763"/>
                      <a:gd name="T96" fmla="*/ 2147483647 w 4756"/>
                      <a:gd name="T97" fmla="*/ 2147483647 h 4763"/>
                      <a:gd name="T98" fmla="*/ 2147483647 w 4756"/>
                      <a:gd name="T99" fmla="*/ 2147483647 h 4763"/>
                      <a:gd name="T100" fmla="*/ 2147483647 w 4756"/>
                      <a:gd name="T101" fmla="*/ 2147483647 h 4763"/>
                      <a:gd name="T102" fmla="*/ 2147483647 w 4756"/>
                      <a:gd name="T103" fmla="*/ 2147483647 h 4763"/>
                      <a:gd name="T104" fmla="*/ 2147483647 w 4756"/>
                      <a:gd name="T105" fmla="*/ 2147483647 h 4763"/>
                      <a:gd name="T106" fmla="*/ 2147483647 w 4756"/>
                      <a:gd name="T107" fmla="*/ 2147483647 h 4763"/>
                      <a:gd name="T108" fmla="*/ 2147483647 w 4756"/>
                      <a:gd name="T109" fmla="*/ 2147483647 h 4763"/>
                      <a:gd name="T110" fmla="*/ 2147483647 w 4756"/>
                      <a:gd name="T111" fmla="*/ 2147483647 h 4763"/>
                      <a:gd name="T112" fmla="*/ 2147483647 w 4756"/>
                      <a:gd name="T113" fmla="*/ 2147483647 h 4763"/>
                      <a:gd name="T114" fmla="*/ 2147483647 w 4756"/>
                      <a:gd name="T115" fmla="*/ 2147483647 h 4763"/>
                      <a:gd name="T116" fmla="*/ 2147483647 w 4756"/>
                      <a:gd name="T117" fmla="*/ 2147483647 h 4763"/>
                      <a:gd name="T118" fmla="*/ 2147483647 w 4756"/>
                      <a:gd name="T119" fmla="*/ 2147483647 h 4763"/>
                      <a:gd name="T120" fmla="*/ 2147483647 w 4756"/>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756"/>
                      <a:gd name="T184" fmla="*/ 0 h 4763"/>
                      <a:gd name="T185" fmla="*/ 4756 w 4756"/>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756" h="4763">
                        <a:moveTo>
                          <a:pt x="2204" y="524"/>
                        </a:moveTo>
                        <a:lnTo>
                          <a:pt x="1571" y="1085"/>
                        </a:lnTo>
                        <a:lnTo>
                          <a:pt x="1655" y="1057"/>
                        </a:lnTo>
                        <a:lnTo>
                          <a:pt x="1741" y="1032"/>
                        </a:lnTo>
                        <a:lnTo>
                          <a:pt x="1827" y="1008"/>
                        </a:lnTo>
                        <a:lnTo>
                          <a:pt x="1910" y="985"/>
                        </a:lnTo>
                        <a:lnTo>
                          <a:pt x="1989" y="966"/>
                        </a:lnTo>
                        <a:lnTo>
                          <a:pt x="2063" y="949"/>
                        </a:lnTo>
                        <a:lnTo>
                          <a:pt x="2183" y="922"/>
                        </a:lnTo>
                        <a:lnTo>
                          <a:pt x="2173" y="964"/>
                        </a:lnTo>
                        <a:lnTo>
                          <a:pt x="2149" y="1073"/>
                        </a:lnTo>
                        <a:lnTo>
                          <a:pt x="2133" y="1142"/>
                        </a:lnTo>
                        <a:lnTo>
                          <a:pt x="2113" y="1218"/>
                        </a:lnTo>
                        <a:lnTo>
                          <a:pt x="2093" y="1296"/>
                        </a:lnTo>
                        <a:lnTo>
                          <a:pt x="2071" y="1371"/>
                        </a:lnTo>
                        <a:lnTo>
                          <a:pt x="2054" y="1432"/>
                        </a:lnTo>
                        <a:lnTo>
                          <a:pt x="2033" y="1495"/>
                        </a:lnTo>
                        <a:lnTo>
                          <a:pt x="2013" y="1558"/>
                        </a:lnTo>
                        <a:lnTo>
                          <a:pt x="1990" y="1619"/>
                        </a:lnTo>
                        <a:lnTo>
                          <a:pt x="1966" y="1677"/>
                        </a:lnTo>
                        <a:lnTo>
                          <a:pt x="1942" y="1733"/>
                        </a:lnTo>
                        <a:lnTo>
                          <a:pt x="1930" y="1758"/>
                        </a:lnTo>
                        <a:lnTo>
                          <a:pt x="1917" y="1783"/>
                        </a:lnTo>
                        <a:lnTo>
                          <a:pt x="1904" y="1806"/>
                        </a:lnTo>
                        <a:lnTo>
                          <a:pt x="1891" y="1827"/>
                        </a:lnTo>
                        <a:lnTo>
                          <a:pt x="1976" y="1806"/>
                        </a:lnTo>
                        <a:lnTo>
                          <a:pt x="2055" y="1786"/>
                        </a:lnTo>
                        <a:lnTo>
                          <a:pt x="2183" y="1758"/>
                        </a:lnTo>
                        <a:lnTo>
                          <a:pt x="2173" y="1801"/>
                        </a:lnTo>
                        <a:lnTo>
                          <a:pt x="2149" y="1909"/>
                        </a:lnTo>
                        <a:lnTo>
                          <a:pt x="2133" y="1978"/>
                        </a:lnTo>
                        <a:lnTo>
                          <a:pt x="2113" y="2053"/>
                        </a:lnTo>
                        <a:lnTo>
                          <a:pt x="2093" y="2131"/>
                        </a:lnTo>
                        <a:lnTo>
                          <a:pt x="2071" y="2207"/>
                        </a:lnTo>
                        <a:lnTo>
                          <a:pt x="2054" y="2269"/>
                        </a:lnTo>
                        <a:lnTo>
                          <a:pt x="2033" y="2331"/>
                        </a:lnTo>
                        <a:lnTo>
                          <a:pt x="2013" y="2393"/>
                        </a:lnTo>
                        <a:lnTo>
                          <a:pt x="1990" y="2455"/>
                        </a:lnTo>
                        <a:lnTo>
                          <a:pt x="1966" y="2513"/>
                        </a:lnTo>
                        <a:lnTo>
                          <a:pt x="1942" y="2568"/>
                        </a:lnTo>
                        <a:lnTo>
                          <a:pt x="1930" y="2593"/>
                        </a:lnTo>
                        <a:lnTo>
                          <a:pt x="1917" y="2619"/>
                        </a:lnTo>
                        <a:lnTo>
                          <a:pt x="1904" y="2641"/>
                        </a:lnTo>
                        <a:lnTo>
                          <a:pt x="1891" y="2663"/>
                        </a:lnTo>
                        <a:lnTo>
                          <a:pt x="1976" y="2641"/>
                        </a:lnTo>
                        <a:lnTo>
                          <a:pt x="2055" y="2622"/>
                        </a:lnTo>
                        <a:lnTo>
                          <a:pt x="2183" y="2593"/>
                        </a:lnTo>
                        <a:lnTo>
                          <a:pt x="2173" y="2637"/>
                        </a:lnTo>
                        <a:lnTo>
                          <a:pt x="2149" y="2744"/>
                        </a:lnTo>
                        <a:lnTo>
                          <a:pt x="2133" y="2814"/>
                        </a:lnTo>
                        <a:lnTo>
                          <a:pt x="2113" y="2889"/>
                        </a:lnTo>
                        <a:lnTo>
                          <a:pt x="2093" y="2967"/>
                        </a:lnTo>
                        <a:lnTo>
                          <a:pt x="2071" y="3042"/>
                        </a:lnTo>
                        <a:lnTo>
                          <a:pt x="2049" y="3117"/>
                        </a:lnTo>
                        <a:lnTo>
                          <a:pt x="2025" y="3191"/>
                        </a:lnTo>
                        <a:lnTo>
                          <a:pt x="2000" y="3265"/>
                        </a:lnTo>
                        <a:lnTo>
                          <a:pt x="1985" y="3301"/>
                        </a:lnTo>
                        <a:lnTo>
                          <a:pt x="1972" y="3337"/>
                        </a:lnTo>
                        <a:lnTo>
                          <a:pt x="1958" y="3370"/>
                        </a:lnTo>
                        <a:lnTo>
                          <a:pt x="1942" y="3403"/>
                        </a:lnTo>
                        <a:lnTo>
                          <a:pt x="1928" y="3434"/>
                        </a:lnTo>
                        <a:lnTo>
                          <a:pt x="1912" y="3463"/>
                        </a:lnTo>
                        <a:lnTo>
                          <a:pt x="1897" y="3489"/>
                        </a:lnTo>
                        <a:lnTo>
                          <a:pt x="1881" y="3513"/>
                        </a:lnTo>
                        <a:lnTo>
                          <a:pt x="1864" y="3535"/>
                        </a:lnTo>
                        <a:lnTo>
                          <a:pt x="1849" y="3552"/>
                        </a:lnTo>
                        <a:lnTo>
                          <a:pt x="1832" y="3568"/>
                        </a:lnTo>
                        <a:lnTo>
                          <a:pt x="1815" y="3582"/>
                        </a:lnTo>
                        <a:lnTo>
                          <a:pt x="1797" y="3596"/>
                        </a:lnTo>
                        <a:lnTo>
                          <a:pt x="1779" y="3609"/>
                        </a:lnTo>
                        <a:lnTo>
                          <a:pt x="1761" y="3621"/>
                        </a:lnTo>
                        <a:lnTo>
                          <a:pt x="1742" y="3630"/>
                        </a:lnTo>
                        <a:lnTo>
                          <a:pt x="1722" y="3640"/>
                        </a:lnTo>
                        <a:lnTo>
                          <a:pt x="1703" y="3649"/>
                        </a:lnTo>
                        <a:lnTo>
                          <a:pt x="1682" y="3657"/>
                        </a:lnTo>
                        <a:lnTo>
                          <a:pt x="1662" y="3663"/>
                        </a:lnTo>
                        <a:lnTo>
                          <a:pt x="1642" y="3669"/>
                        </a:lnTo>
                        <a:lnTo>
                          <a:pt x="1621" y="3673"/>
                        </a:lnTo>
                        <a:lnTo>
                          <a:pt x="1600" y="3677"/>
                        </a:lnTo>
                        <a:lnTo>
                          <a:pt x="1579" y="3679"/>
                        </a:lnTo>
                        <a:lnTo>
                          <a:pt x="1558" y="3681"/>
                        </a:lnTo>
                        <a:lnTo>
                          <a:pt x="1536" y="3682"/>
                        </a:lnTo>
                        <a:lnTo>
                          <a:pt x="1516" y="3681"/>
                        </a:lnTo>
                        <a:lnTo>
                          <a:pt x="1494" y="3679"/>
                        </a:lnTo>
                        <a:lnTo>
                          <a:pt x="1473" y="3677"/>
                        </a:lnTo>
                        <a:lnTo>
                          <a:pt x="1452" y="3673"/>
                        </a:lnTo>
                        <a:lnTo>
                          <a:pt x="1432" y="3669"/>
                        </a:lnTo>
                        <a:lnTo>
                          <a:pt x="1411" y="3663"/>
                        </a:lnTo>
                        <a:lnTo>
                          <a:pt x="1390" y="3657"/>
                        </a:lnTo>
                        <a:lnTo>
                          <a:pt x="1371" y="3649"/>
                        </a:lnTo>
                        <a:lnTo>
                          <a:pt x="1351" y="3640"/>
                        </a:lnTo>
                        <a:lnTo>
                          <a:pt x="1331" y="3630"/>
                        </a:lnTo>
                        <a:lnTo>
                          <a:pt x="1312" y="3621"/>
                        </a:lnTo>
                        <a:lnTo>
                          <a:pt x="1294" y="3609"/>
                        </a:lnTo>
                        <a:lnTo>
                          <a:pt x="1275" y="3596"/>
                        </a:lnTo>
                        <a:lnTo>
                          <a:pt x="1258" y="3582"/>
                        </a:lnTo>
                        <a:lnTo>
                          <a:pt x="1242" y="3568"/>
                        </a:lnTo>
                        <a:lnTo>
                          <a:pt x="1225" y="3552"/>
                        </a:lnTo>
                        <a:lnTo>
                          <a:pt x="1211" y="3537"/>
                        </a:lnTo>
                        <a:lnTo>
                          <a:pt x="1197" y="3521"/>
                        </a:lnTo>
                        <a:lnTo>
                          <a:pt x="1197" y="4749"/>
                        </a:lnTo>
                        <a:lnTo>
                          <a:pt x="1006" y="4749"/>
                        </a:lnTo>
                        <a:lnTo>
                          <a:pt x="1006" y="3521"/>
                        </a:lnTo>
                        <a:lnTo>
                          <a:pt x="991" y="3537"/>
                        </a:lnTo>
                        <a:lnTo>
                          <a:pt x="977" y="3552"/>
                        </a:lnTo>
                        <a:lnTo>
                          <a:pt x="961" y="3568"/>
                        </a:lnTo>
                        <a:lnTo>
                          <a:pt x="944" y="3582"/>
                        </a:lnTo>
                        <a:lnTo>
                          <a:pt x="927" y="3596"/>
                        </a:lnTo>
                        <a:lnTo>
                          <a:pt x="908" y="3609"/>
                        </a:lnTo>
                        <a:lnTo>
                          <a:pt x="890" y="3621"/>
                        </a:lnTo>
                        <a:lnTo>
                          <a:pt x="870" y="3630"/>
                        </a:lnTo>
                        <a:lnTo>
                          <a:pt x="851" y="3640"/>
                        </a:lnTo>
                        <a:lnTo>
                          <a:pt x="831" y="3649"/>
                        </a:lnTo>
                        <a:lnTo>
                          <a:pt x="812" y="3657"/>
                        </a:lnTo>
                        <a:lnTo>
                          <a:pt x="791" y="3663"/>
                        </a:lnTo>
                        <a:lnTo>
                          <a:pt x="770" y="3669"/>
                        </a:lnTo>
                        <a:lnTo>
                          <a:pt x="750" y="3673"/>
                        </a:lnTo>
                        <a:lnTo>
                          <a:pt x="729" y="3677"/>
                        </a:lnTo>
                        <a:lnTo>
                          <a:pt x="708" y="3679"/>
                        </a:lnTo>
                        <a:lnTo>
                          <a:pt x="686" y="3681"/>
                        </a:lnTo>
                        <a:lnTo>
                          <a:pt x="666" y="3682"/>
                        </a:lnTo>
                        <a:lnTo>
                          <a:pt x="644" y="3681"/>
                        </a:lnTo>
                        <a:lnTo>
                          <a:pt x="623" y="3679"/>
                        </a:lnTo>
                        <a:lnTo>
                          <a:pt x="602" y="3677"/>
                        </a:lnTo>
                        <a:lnTo>
                          <a:pt x="581" y="3673"/>
                        </a:lnTo>
                        <a:lnTo>
                          <a:pt x="560" y="3669"/>
                        </a:lnTo>
                        <a:lnTo>
                          <a:pt x="540" y="3663"/>
                        </a:lnTo>
                        <a:lnTo>
                          <a:pt x="520" y="3657"/>
                        </a:lnTo>
                        <a:lnTo>
                          <a:pt x="499" y="3649"/>
                        </a:lnTo>
                        <a:lnTo>
                          <a:pt x="480" y="3640"/>
                        </a:lnTo>
                        <a:lnTo>
                          <a:pt x="460" y="3630"/>
                        </a:lnTo>
                        <a:lnTo>
                          <a:pt x="442" y="3621"/>
                        </a:lnTo>
                        <a:lnTo>
                          <a:pt x="423" y="3609"/>
                        </a:lnTo>
                        <a:lnTo>
                          <a:pt x="405" y="3596"/>
                        </a:lnTo>
                        <a:lnTo>
                          <a:pt x="387" y="3582"/>
                        </a:lnTo>
                        <a:lnTo>
                          <a:pt x="370" y="3568"/>
                        </a:lnTo>
                        <a:lnTo>
                          <a:pt x="353" y="3552"/>
                        </a:lnTo>
                        <a:lnTo>
                          <a:pt x="338" y="3535"/>
                        </a:lnTo>
                        <a:lnTo>
                          <a:pt x="321" y="3513"/>
                        </a:lnTo>
                        <a:lnTo>
                          <a:pt x="305" y="3489"/>
                        </a:lnTo>
                        <a:lnTo>
                          <a:pt x="290" y="3463"/>
                        </a:lnTo>
                        <a:lnTo>
                          <a:pt x="274" y="3434"/>
                        </a:lnTo>
                        <a:lnTo>
                          <a:pt x="260" y="3403"/>
                        </a:lnTo>
                        <a:lnTo>
                          <a:pt x="244" y="3370"/>
                        </a:lnTo>
                        <a:lnTo>
                          <a:pt x="230" y="3337"/>
                        </a:lnTo>
                        <a:lnTo>
                          <a:pt x="217" y="3301"/>
                        </a:lnTo>
                        <a:lnTo>
                          <a:pt x="202" y="3265"/>
                        </a:lnTo>
                        <a:lnTo>
                          <a:pt x="177" y="3191"/>
                        </a:lnTo>
                        <a:lnTo>
                          <a:pt x="153" y="3117"/>
                        </a:lnTo>
                        <a:lnTo>
                          <a:pt x="131" y="3042"/>
                        </a:lnTo>
                        <a:lnTo>
                          <a:pt x="109" y="2967"/>
                        </a:lnTo>
                        <a:lnTo>
                          <a:pt x="89" y="2889"/>
                        </a:lnTo>
                        <a:lnTo>
                          <a:pt x="71" y="2814"/>
                        </a:lnTo>
                        <a:lnTo>
                          <a:pt x="54" y="2744"/>
                        </a:lnTo>
                        <a:lnTo>
                          <a:pt x="29" y="2637"/>
                        </a:lnTo>
                        <a:lnTo>
                          <a:pt x="19" y="2593"/>
                        </a:lnTo>
                        <a:lnTo>
                          <a:pt x="108" y="2614"/>
                        </a:lnTo>
                        <a:lnTo>
                          <a:pt x="201" y="2635"/>
                        </a:lnTo>
                        <a:lnTo>
                          <a:pt x="311" y="2663"/>
                        </a:lnTo>
                        <a:lnTo>
                          <a:pt x="298" y="2641"/>
                        </a:lnTo>
                        <a:lnTo>
                          <a:pt x="285" y="2619"/>
                        </a:lnTo>
                        <a:lnTo>
                          <a:pt x="273" y="2595"/>
                        </a:lnTo>
                        <a:lnTo>
                          <a:pt x="260" y="2568"/>
                        </a:lnTo>
                        <a:lnTo>
                          <a:pt x="236" y="2513"/>
                        </a:lnTo>
                        <a:lnTo>
                          <a:pt x="212" y="2455"/>
                        </a:lnTo>
                        <a:lnTo>
                          <a:pt x="190" y="2393"/>
                        </a:lnTo>
                        <a:lnTo>
                          <a:pt x="169" y="2331"/>
                        </a:lnTo>
                        <a:lnTo>
                          <a:pt x="150" y="2269"/>
                        </a:lnTo>
                        <a:lnTo>
                          <a:pt x="131" y="2207"/>
                        </a:lnTo>
                        <a:lnTo>
                          <a:pt x="109" y="2131"/>
                        </a:lnTo>
                        <a:lnTo>
                          <a:pt x="89" y="2053"/>
                        </a:lnTo>
                        <a:lnTo>
                          <a:pt x="71" y="1978"/>
                        </a:lnTo>
                        <a:lnTo>
                          <a:pt x="54" y="1909"/>
                        </a:lnTo>
                        <a:lnTo>
                          <a:pt x="29" y="1801"/>
                        </a:lnTo>
                        <a:lnTo>
                          <a:pt x="19" y="1758"/>
                        </a:lnTo>
                        <a:lnTo>
                          <a:pt x="108" y="1778"/>
                        </a:lnTo>
                        <a:lnTo>
                          <a:pt x="201" y="1800"/>
                        </a:lnTo>
                        <a:lnTo>
                          <a:pt x="311" y="1827"/>
                        </a:lnTo>
                        <a:lnTo>
                          <a:pt x="298" y="1806"/>
                        </a:lnTo>
                        <a:lnTo>
                          <a:pt x="285" y="1783"/>
                        </a:lnTo>
                        <a:lnTo>
                          <a:pt x="273" y="1759"/>
                        </a:lnTo>
                        <a:lnTo>
                          <a:pt x="260" y="1733"/>
                        </a:lnTo>
                        <a:lnTo>
                          <a:pt x="236" y="1677"/>
                        </a:lnTo>
                        <a:lnTo>
                          <a:pt x="212" y="1619"/>
                        </a:lnTo>
                        <a:lnTo>
                          <a:pt x="190" y="1558"/>
                        </a:lnTo>
                        <a:lnTo>
                          <a:pt x="169" y="1495"/>
                        </a:lnTo>
                        <a:lnTo>
                          <a:pt x="150" y="1433"/>
                        </a:lnTo>
                        <a:lnTo>
                          <a:pt x="131" y="1371"/>
                        </a:lnTo>
                        <a:lnTo>
                          <a:pt x="109" y="1296"/>
                        </a:lnTo>
                        <a:lnTo>
                          <a:pt x="89" y="1218"/>
                        </a:lnTo>
                        <a:lnTo>
                          <a:pt x="71" y="1142"/>
                        </a:lnTo>
                        <a:lnTo>
                          <a:pt x="54" y="1073"/>
                        </a:lnTo>
                        <a:lnTo>
                          <a:pt x="29" y="964"/>
                        </a:lnTo>
                        <a:lnTo>
                          <a:pt x="19" y="922"/>
                        </a:lnTo>
                        <a:lnTo>
                          <a:pt x="61" y="932"/>
                        </a:lnTo>
                        <a:lnTo>
                          <a:pt x="169" y="957"/>
                        </a:lnTo>
                        <a:lnTo>
                          <a:pt x="239" y="973"/>
                        </a:lnTo>
                        <a:lnTo>
                          <a:pt x="315" y="993"/>
                        </a:lnTo>
                        <a:lnTo>
                          <a:pt x="393" y="1013"/>
                        </a:lnTo>
                        <a:lnTo>
                          <a:pt x="468" y="1033"/>
                        </a:lnTo>
                        <a:lnTo>
                          <a:pt x="551" y="1058"/>
                        </a:lnTo>
                        <a:lnTo>
                          <a:pt x="636" y="1086"/>
                        </a:lnTo>
                        <a:lnTo>
                          <a:pt x="0" y="524"/>
                        </a:lnTo>
                        <a:lnTo>
                          <a:pt x="63" y="453"/>
                        </a:lnTo>
                        <a:lnTo>
                          <a:pt x="666" y="985"/>
                        </a:lnTo>
                        <a:lnTo>
                          <a:pt x="661" y="949"/>
                        </a:lnTo>
                        <a:lnTo>
                          <a:pt x="660" y="932"/>
                        </a:lnTo>
                        <a:lnTo>
                          <a:pt x="660" y="914"/>
                        </a:lnTo>
                        <a:lnTo>
                          <a:pt x="661" y="890"/>
                        </a:lnTo>
                        <a:lnTo>
                          <a:pt x="665" y="863"/>
                        </a:lnTo>
                        <a:lnTo>
                          <a:pt x="671" y="836"/>
                        </a:lnTo>
                        <a:lnTo>
                          <a:pt x="678" y="806"/>
                        </a:lnTo>
                        <a:lnTo>
                          <a:pt x="687" y="775"/>
                        </a:lnTo>
                        <a:lnTo>
                          <a:pt x="698" y="742"/>
                        </a:lnTo>
                        <a:lnTo>
                          <a:pt x="711" y="709"/>
                        </a:lnTo>
                        <a:lnTo>
                          <a:pt x="726" y="674"/>
                        </a:lnTo>
                        <a:lnTo>
                          <a:pt x="740" y="639"/>
                        </a:lnTo>
                        <a:lnTo>
                          <a:pt x="756" y="605"/>
                        </a:lnTo>
                        <a:lnTo>
                          <a:pt x="790" y="534"/>
                        </a:lnTo>
                        <a:lnTo>
                          <a:pt x="826" y="463"/>
                        </a:lnTo>
                        <a:lnTo>
                          <a:pt x="862" y="396"/>
                        </a:lnTo>
                        <a:lnTo>
                          <a:pt x="902" y="327"/>
                        </a:lnTo>
                        <a:lnTo>
                          <a:pt x="941" y="257"/>
                        </a:lnTo>
                        <a:lnTo>
                          <a:pt x="982" y="192"/>
                        </a:lnTo>
                        <a:lnTo>
                          <a:pt x="1019" y="131"/>
                        </a:lnTo>
                        <a:lnTo>
                          <a:pt x="1078" y="36"/>
                        </a:lnTo>
                        <a:lnTo>
                          <a:pt x="1102" y="0"/>
                        </a:lnTo>
                        <a:lnTo>
                          <a:pt x="1124" y="36"/>
                        </a:lnTo>
                        <a:lnTo>
                          <a:pt x="1183" y="131"/>
                        </a:lnTo>
                        <a:lnTo>
                          <a:pt x="1220" y="192"/>
                        </a:lnTo>
                        <a:lnTo>
                          <a:pt x="1261" y="259"/>
                        </a:lnTo>
                        <a:lnTo>
                          <a:pt x="1302" y="327"/>
                        </a:lnTo>
                        <a:lnTo>
                          <a:pt x="1340" y="396"/>
                        </a:lnTo>
                        <a:lnTo>
                          <a:pt x="1376" y="463"/>
                        </a:lnTo>
                        <a:lnTo>
                          <a:pt x="1412" y="534"/>
                        </a:lnTo>
                        <a:lnTo>
                          <a:pt x="1446" y="605"/>
                        </a:lnTo>
                        <a:lnTo>
                          <a:pt x="1462" y="639"/>
                        </a:lnTo>
                        <a:lnTo>
                          <a:pt x="1478" y="674"/>
                        </a:lnTo>
                        <a:lnTo>
                          <a:pt x="1491" y="709"/>
                        </a:lnTo>
                        <a:lnTo>
                          <a:pt x="1504" y="742"/>
                        </a:lnTo>
                        <a:lnTo>
                          <a:pt x="1515" y="775"/>
                        </a:lnTo>
                        <a:lnTo>
                          <a:pt x="1524" y="806"/>
                        </a:lnTo>
                        <a:lnTo>
                          <a:pt x="1531" y="836"/>
                        </a:lnTo>
                        <a:lnTo>
                          <a:pt x="1537" y="863"/>
                        </a:lnTo>
                        <a:lnTo>
                          <a:pt x="1541" y="890"/>
                        </a:lnTo>
                        <a:lnTo>
                          <a:pt x="1542" y="914"/>
                        </a:lnTo>
                        <a:lnTo>
                          <a:pt x="1542" y="933"/>
                        </a:lnTo>
                        <a:lnTo>
                          <a:pt x="1541" y="951"/>
                        </a:lnTo>
                        <a:lnTo>
                          <a:pt x="1539" y="970"/>
                        </a:lnTo>
                        <a:lnTo>
                          <a:pt x="1536" y="988"/>
                        </a:lnTo>
                        <a:lnTo>
                          <a:pt x="2141" y="453"/>
                        </a:lnTo>
                        <a:lnTo>
                          <a:pt x="2204" y="524"/>
                        </a:lnTo>
                        <a:close/>
                        <a:moveTo>
                          <a:pt x="1102" y="1260"/>
                        </a:moveTo>
                        <a:lnTo>
                          <a:pt x="1102" y="1260"/>
                        </a:lnTo>
                        <a:lnTo>
                          <a:pt x="1118" y="1258"/>
                        </a:lnTo>
                        <a:lnTo>
                          <a:pt x="1136" y="1257"/>
                        </a:lnTo>
                        <a:lnTo>
                          <a:pt x="1153" y="1255"/>
                        </a:lnTo>
                        <a:lnTo>
                          <a:pt x="1171" y="1252"/>
                        </a:lnTo>
                        <a:lnTo>
                          <a:pt x="1188" y="1249"/>
                        </a:lnTo>
                        <a:lnTo>
                          <a:pt x="1203" y="1244"/>
                        </a:lnTo>
                        <a:lnTo>
                          <a:pt x="1220" y="1238"/>
                        </a:lnTo>
                        <a:lnTo>
                          <a:pt x="1236" y="1232"/>
                        </a:lnTo>
                        <a:lnTo>
                          <a:pt x="1251" y="1225"/>
                        </a:lnTo>
                        <a:lnTo>
                          <a:pt x="1266" y="1218"/>
                        </a:lnTo>
                        <a:lnTo>
                          <a:pt x="1280" y="1209"/>
                        </a:lnTo>
                        <a:lnTo>
                          <a:pt x="1294" y="1200"/>
                        </a:lnTo>
                        <a:lnTo>
                          <a:pt x="1308" y="1190"/>
                        </a:lnTo>
                        <a:lnTo>
                          <a:pt x="1321" y="1181"/>
                        </a:lnTo>
                        <a:lnTo>
                          <a:pt x="1334" y="1170"/>
                        </a:lnTo>
                        <a:lnTo>
                          <a:pt x="1346" y="1158"/>
                        </a:lnTo>
                        <a:lnTo>
                          <a:pt x="1357" y="1146"/>
                        </a:lnTo>
                        <a:lnTo>
                          <a:pt x="1367" y="1134"/>
                        </a:lnTo>
                        <a:lnTo>
                          <a:pt x="1378" y="1121"/>
                        </a:lnTo>
                        <a:lnTo>
                          <a:pt x="1388" y="1106"/>
                        </a:lnTo>
                        <a:lnTo>
                          <a:pt x="1396" y="1093"/>
                        </a:lnTo>
                        <a:lnTo>
                          <a:pt x="1405" y="1079"/>
                        </a:lnTo>
                        <a:lnTo>
                          <a:pt x="1413" y="1063"/>
                        </a:lnTo>
                        <a:lnTo>
                          <a:pt x="1419" y="1048"/>
                        </a:lnTo>
                        <a:lnTo>
                          <a:pt x="1426" y="1032"/>
                        </a:lnTo>
                        <a:lnTo>
                          <a:pt x="1431" y="1017"/>
                        </a:lnTo>
                        <a:lnTo>
                          <a:pt x="1436" y="1000"/>
                        </a:lnTo>
                        <a:lnTo>
                          <a:pt x="1439" y="983"/>
                        </a:lnTo>
                        <a:lnTo>
                          <a:pt x="1443" y="966"/>
                        </a:lnTo>
                        <a:lnTo>
                          <a:pt x="1445" y="949"/>
                        </a:lnTo>
                        <a:lnTo>
                          <a:pt x="1446" y="932"/>
                        </a:lnTo>
                        <a:lnTo>
                          <a:pt x="1446" y="914"/>
                        </a:lnTo>
                        <a:lnTo>
                          <a:pt x="1445" y="898"/>
                        </a:lnTo>
                        <a:lnTo>
                          <a:pt x="1444" y="881"/>
                        </a:lnTo>
                        <a:lnTo>
                          <a:pt x="1440" y="863"/>
                        </a:lnTo>
                        <a:lnTo>
                          <a:pt x="1436" y="843"/>
                        </a:lnTo>
                        <a:lnTo>
                          <a:pt x="1430" y="823"/>
                        </a:lnTo>
                        <a:lnTo>
                          <a:pt x="1424" y="801"/>
                        </a:lnTo>
                        <a:lnTo>
                          <a:pt x="1407" y="754"/>
                        </a:lnTo>
                        <a:lnTo>
                          <a:pt x="1387" y="705"/>
                        </a:lnTo>
                        <a:lnTo>
                          <a:pt x="1364" y="654"/>
                        </a:lnTo>
                        <a:lnTo>
                          <a:pt x="1339" y="601"/>
                        </a:lnTo>
                        <a:lnTo>
                          <a:pt x="1311" y="547"/>
                        </a:lnTo>
                        <a:lnTo>
                          <a:pt x="1282" y="493"/>
                        </a:lnTo>
                        <a:lnTo>
                          <a:pt x="1254" y="439"/>
                        </a:lnTo>
                        <a:lnTo>
                          <a:pt x="1197" y="339"/>
                        </a:lnTo>
                        <a:lnTo>
                          <a:pt x="1145" y="249"/>
                        </a:lnTo>
                        <a:lnTo>
                          <a:pt x="1102" y="178"/>
                        </a:lnTo>
                        <a:lnTo>
                          <a:pt x="1102" y="1260"/>
                        </a:lnTo>
                        <a:close/>
                        <a:moveTo>
                          <a:pt x="906" y="3481"/>
                        </a:moveTo>
                        <a:lnTo>
                          <a:pt x="906" y="3481"/>
                        </a:lnTo>
                        <a:lnTo>
                          <a:pt x="924" y="3463"/>
                        </a:lnTo>
                        <a:lnTo>
                          <a:pt x="940" y="3444"/>
                        </a:lnTo>
                        <a:lnTo>
                          <a:pt x="954" y="3423"/>
                        </a:lnTo>
                        <a:lnTo>
                          <a:pt x="967" y="3402"/>
                        </a:lnTo>
                        <a:lnTo>
                          <a:pt x="979" y="3380"/>
                        </a:lnTo>
                        <a:lnTo>
                          <a:pt x="990" y="3357"/>
                        </a:lnTo>
                        <a:lnTo>
                          <a:pt x="999" y="3335"/>
                        </a:lnTo>
                        <a:lnTo>
                          <a:pt x="1006" y="3311"/>
                        </a:lnTo>
                        <a:lnTo>
                          <a:pt x="1009" y="3291"/>
                        </a:lnTo>
                        <a:lnTo>
                          <a:pt x="1012" y="3272"/>
                        </a:lnTo>
                        <a:lnTo>
                          <a:pt x="1014" y="3253"/>
                        </a:lnTo>
                        <a:lnTo>
                          <a:pt x="1015" y="3234"/>
                        </a:lnTo>
                        <a:lnTo>
                          <a:pt x="1014" y="3215"/>
                        </a:lnTo>
                        <a:lnTo>
                          <a:pt x="1013" y="3196"/>
                        </a:lnTo>
                        <a:lnTo>
                          <a:pt x="1009" y="3177"/>
                        </a:lnTo>
                        <a:lnTo>
                          <a:pt x="1006" y="3157"/>
                        </a:lnTo>
                        <a:lnTo>
                          <a:pt x="999" y="3136"/>
                        </a:lnTo>
                        <a:lnTo>
                          <a:pt x="991" y="3115"/>
                        </a:lnTo>
                        <a:lnTo>
                          <a:pt x="982" y="3095"/>
                        </a:lnTo>
                        <a:lnTo>
                          <a:pt x="971" y="3075"/>
                        </a:lnTo>
                        <a:lnTo>
                          <a:pt x="958" y="3054"/>
                        </a:lnTo>
                        <a:lnTo>
                          <a:pt x="944" y="3035"/>
                        </a:lnTo>
                        <a:lnTo>
                          <a:pt x="928" y="3015"/>
                        </a:lnTo>
                        <a:lnTo>
                          <a:pt x="910" y="2996"/>
                        </a:lnTo>
                        <a:lnTo>
                          <a:pt x="898" y="2985"/>
                        </a:lnTo>
                        <a:lnTo>
                          <a:pt x="884" y="2974"/>
                        </a:lnTo>
                        <a:lnTo>
                          <a:pt x="867" y="2962"/>
                        </a:lnTo>
                        <a:lnTo>
                          <a:pt x="849" y="2951"/>
                        </a:lnTo>
                        <a:lnTo>
                          <a:pt x="830" y="2941"/>
                        </a:lnTo>
                        <a:lnTo>
                          <a:pt x="808" y="2930"/>
                        </a:lnTo>
                        <a:lnTo>
                          <a:pt x="760" y="2908"/>
                        </a:lnTo>
                        <a:lnTo>
                          <a:pt x="709" y="2887"/>
                        </a:lnTo>
                        <a:lnTo>
                          <a:pt x="653" y="2865"/>
                        </a:lnTo>
                        <a:lnTo>
                          <a:pt x="594" y="2845"/>
                        </a:lnTo>
                        <a:lnTo>
                          <a:pt x="534" y="2826"/>
                        </a:lnTo>
                        <a:lnTo>
                          <a:pt x="530" y="2825"/>
                        </a:lnTo>
                        <a:lnTo>
                          <a:pt x="475" y="2808"/>
                        </a:lnTo>
                        <a:lnTo>
                          <a:pt x="421" y="2791"/>
                        </a:lnTo>
                        <a:lnTo>
                          <a:pt x="316" y="2762"/>
                        </a:lnTo>
                        <a:lnTo>
                          <a:pt x="222" y="2738"/>
                        </a:lnTo>
                        <a:lnTo>
                          <a:pt x="145" y="2719"/>
                        </a:lnTo>
                        <a:lnTo>
                          <a:pt x="906" y="3481"/>
                        </a:lnTo>
                        <a:close/>
                        <a:moveTo>
                          <a:pt x="906" y="2645"/>
                        </a:moveTo>
                        <a:lnTo>
                          <a:pt x="906" y="2645"/>
                        </a:lnTo>
                        <a:lnTo>
                          <a:pt x="924" y="2627"/>
                        </a:lnTo>
                        <a:lnTo>
                          <a:pt x="940" y="2608"/>
                        </a:lnTo>
                        <a:lnTo>
                          <a:pt x="954" y="2587"/>
                        </a:lnTo>
                        <a:lnTo>
                          <a:pt x="967" y="2566"/>
                        </a:lnTo>
                        <a:lnTo>
                          <a:pt x="979" y="2544"/>
                        </a:lnTo>
                        <a:lnTo>
                          <a:pt x="990" y="2522"/>
                        </a:lnTo>
                        <a:lnTo>
                          <a:pt x="999" y="2499"/>
                        </a:lnTo>
                        <a:lnTo>
                          <a:pt x="1006" y="2475"/>
                        </a:lnTo>
                        <a:lnTo>
                          <a:pt x="1009" y="2456"/>
                        </a:lnTo>
                        <a:lnTo>
                          <a:pt x="1012" y="2437"/>
                        </a:lnTo>
                        <a:lnTo>
                          <a:pt x="1014" y="2417"/>
                        </a:lnTo>
                        <a:lnTo>
                          <a:pt x="1015" y="2398"/>
                        </a:lnTo>
                        <a:lnTo>
                          <a:pt x="1014" y="2379"/>
                        </a:lnTo>
                        <a:lnTo>
                          <a:pt x="1013" y="2360"/>
                        </a:lnTo>
                        <a:lnTo>
                          <a:pt x="1009" y="2341"/>
                        </a:lnTo>
                        <a:lnTo>
                          <a:pt x="1006" y="2322"/>
                        </a:lnTo>
                        <a:lnTo>
                          <a:pt x="999" y="2300"/>
                        </a:lnTo>
                        <a:lnTo>
                          <a:pt x="991" y="2280"/>
                        </a:lnTo>
                        <a:lnTo>
                          <a:pt x="982" y="2259"/>
                        </a:lnTo>
                        <a:lnTo>
                          <a:pt x="971" y="2239"/>
                        </a:lnTo>
                        <a:lnTo>
                          <a:pt x="958" y="2219"/>
                        </a:lnTo>
                        <a:lnTo>
                          <a:pt x="944" y="2198"/>
                        </a:lnTo>
                        <a:lnTo>
                          <a:pt x="928" y="2179"/>
                        </a:lnTo>
                        <a:lnTo>
                          <a:pt x="910" y="2160"/>
                        </a:lnTo>
                        <a:lnTo>
                          <a:pt x="898" y="2149"/>
                        </a:lnTo>
                        <a:lnTo>
                          <a:pt x="885" y="2138"/>
                        </a:lnTo>
                        <a:lnTo>
                          <a:pt x="869" y="2129"/>
                        </a:lnTo>
                        <a:lnTo>
                          <a:pt x="853" y="2118"/>
                        </a:lnTo>
                        <a:lnTo>
                          <a:pt x="833" y="2107"/>
                        </a:lnTo>
                        <a:lnTo>
                          <a:pt x="813" y="2097"/>
                        </a:lnTo>
                        <a:lnTo>
                          <a:pt x="769" y="2076"/>
                        </a:lnTo>
                        <a:lnTo>
                          <a:pt x="720" y="2055"/>
                        </a:lnTo>
                        <a:lnTo>
                          <a:pt x="667" y="2035"/>
                        </a:lnTo>
                        <a:lnTo>
                          <a:pt x="612" y="2015"/>
                        </a:lnTo>
                        <a:lnTo>
                          <a:pt x="554" y="1996"/>
                        </a:lnTo>
                        <a:lnTo>
                          <a:pt x="497" y="1978"/>
                        </a:lnTo>
                        <a:lnTo>
                          <a:pt x="438" y="1961"/>
                        </a:lnTo>
                        <a:lnTo>
                          <a:pt x="327" y="1930"/>
                        </a:lnTo>
                        <a:lnTo>
                          <a:pt x="226" y="1904"/>
                        </a:lnTo>
                        <a:lnTo>
                          <a:pt x="145" y="1883"/>
                        </a:lnTo>
                        <a:lnTo>
                          <a:pt x="906" y="2645"/>
                        </a:lnTo>
                        <a:close/>
                        <a:moveTo>
                          <a:pt x="906" y="1809"/>
                        </a:moveTo>
                        <a:lnTo>
                          <a:pt x="906" y="1809"/>
                        </a:lnTo>
                        <a:lnTo>
                          <a:pt x="924" y="1791"/>
                        </a:lnTo>
                        <a:lnTo>
                          <a:pt x="940" y="1772"/>
                        </a:lnTo>
                        <a:lnTo>
                          <a:pt x="954" y="1752"/>
                        </a:lnTo>
                        <a:lnTo>
                          <a:pt x="967" y="1730"/>
                        </a:lnTo>
                        <a:lnTo>
                          <a:pt x="979" y="1709"/>
                        </a:lnTo>
                        <a:lnTo>
                          <a:pt x="990" y="1686"/>
                        </a:lnTo>
                        <a:lnTo>
                          <a:pt x="999" y="1662"/>
                        </a:lnTo>
                        <a:lnTo>
                          <a:pt x="1006" y="1639"/>
                        </a:lnTo>
                        <a:lnTo>
                          <a:pt x="1009" y="1620"/>
                        </a:lnTo>
                        <a:lnTo>
                          <a:pt x="1012" y="1601"/>
                        </a:lnTo>
                        <a:lnTo>
                          <a:pt x="1014" y="1582"/>
                        </a:lnTo>
                        <a:lnTo>
                          <a:pt x="1015" y="1563"/>
                        </a:lnTo>
                        <a:lnTo>
                          <a:pt x="1014" y="1543"/>
                        </a:lnTo>
                        <a:lnTo>
                          <a:pt x="1013" y="1524"/>
                        </a:lnTo>
                        <a:lnTo>
                          <a:pt x="1009" y="1505"/>
                        </a:lnTo>
                        <a:lnTo>
                          <a:pt x="1006" y="1485"/>
                        </a:lnTo>
                        <a:lnTo>
                          <a:pt x="999" y="1464"/>
                        </a:lnTo>
                        <a:lnTo>
                          <a:pt x="991" y="1444"/>
                        </a:lnTo>
                        <a:lnTo>
                          <a:pt x="982" y="1424"/>
                        </a:lnTo>
                        <a:lnTo>
                          <a:pt x="971" y="1403"/>
                        </a:lnTo>
                        <a:lnTo>
                          <a:pt x="958" y="1383"/>
                        </a:lnTo>
                        <a:lnTo>
                          <a:pt x="944" y="1363"/>
                        </a:lnTo>
                        <a:lnTo>
                          <a:pt x="928" y="1343"/>
                        </a:lnTo>
                        <a:lnTo>
                          <a:pt x="910" y="1324"/>
                        </a:lnTo>
                        <a:lnTo>
                          <a:pt x="898" y="1313"/>
                        </a:lnTo>
                        <a:lnTo>
                          <a:pt x="885" y="1303"/>
                        </a:lnTo>
                        <a:lnTo>
                          <a:pt x="869" y="1293"/>
                        </a:lnTo>
                        <a:lnTo>
                          <a:pt x="853" y="1282"/>
                        </a:lnTo>
                        <a:lnTo>
                          <a:pt x="833" y="1272"/>
                        </a:lnTo>
                        <a:lnTo>
                          <a:pt x="813" y="1261"/>
                        </a:lnTo>
                        <a:lnTo>
                          <a:pt x="769" y="1240"/>
                        </a:lnTo>
                        <a:lnTo>
                          <a:pt x="720" y="1219"/>
                        </a:lnTo>
                        <a:lnTo>
                          <a:pt x="667" y="1199"/>
                        </a:lnTo>
                        <a:lnTo>
                          <a:pt x="612" y="1179"/>
                        </a:lnTo>
                        <a:lnTo>
                          <a:pt x="554" y="1160"/>
                        </a:lnTo>
                        <a:lnTo>
                          <a:pt x="497" y="1142"/>
                        </a:lnTo>
                        <a:lnTo>
                          <a:pt x="438" y="1125"/>
                        </a:lnTo>
                        <a:lnTo>
                          <a:pt x="327" y="1094"/>
                        </a:lnTo>
                        <a:lnTo>
                          <a:pt x="226" y="1068"/>
                        </a:lnTo>
                        <a:lnTo>
                          <a:pt x="145" y="1048"/>
                        </a:lnTo>
                        <a:lnTo>
                          <a:pt x="906" y="1809"/>
                        </a:lnTo>
                        <a:close/>
                        <a:moveTo>
                          <a:pt x="2057" y="1885"/>
                        </a:moveTo>
                        <a:lnTo>
                          <a:pt x="2057" y="1885"/>
                        </a:lnTo>
                        <a:lnTo>
                          <a:pt x="1976" y="1904"/>
                        </a:lnTo>
                        <a:lnTo>
                          <a:pt x="1876" y="1930"/>
                        </a:lnTo>
                        <a:lnTo>
                          <a:pt x="1765" y="1960"/>
                        </a:lnTo>
                        <a:lnTo>
                          <a:pt x="1706" y="1978"/>
                        </a:lnTo>
                        <a:lnTo>
                          <a:pt x="1649" y="1996"/>
                        </a:lnTo>
                        <a:lnTo>
                          <a:pt x="1591" y="2015"/>
                        </a:lnTo>
                        <a:lnTo>
                          <a:pt x="1536" y="2034"/>
                        </a:lnTo>
                        <a:lnTo>
                          <a:pt x="1484" y="2055"/>
                        </a:lnTo>
                        <a:lnTo>
                          <a:pt x="1434" y="2075"/>
                        </a:lnTo>
                        <a:lnTo>
                          <a:pt x="1389" y="2097"/>
                        </a:lnTo>
                        <a:lnTo>
                          <a:pt x="1369" y="2107"/>
                        </a:lnTo>
                        <a:lnTo>
                          <a:pt x="1351" y="2117"/>
                        </a:lnTo>
                        <a:lnTo>
                          <a:pt x="1333" y="2128"/>
                        </a:lnTo>
                        <a:lnTo>
                          <a:pt x="1317" y="2138"/>
                        </a:lnTo>
                        <a:lnTo>
                          <a:pt x="1304" y="2149"/>
                        </a:lnTo>
                        <a:lnTo>
                          <a:pt x="1292" y="2160"/>
                        </a:lnTo>
                        <a:lnTo>
                          <a:pt x="1278" y="2176"/>
                        </a:lnTo>
                        <a:lnTo>
                          <a:pt x="1264" y="2191"/>
                        </a:lnTo>
                        <a:lnTo>
                          <a:pt x="1252" y="2207"/>
                        </a:lnTo>
                        <a:lnTo>
                          <a:pt x="1242" y="2222"/>
                        </a:lnTo>
                        <a:lnTo>
                          <a:pt x="1231" y="2238"/>
                        </a:lnTo>
                        <a:lnTo>
                          <a:pt x="1223" y="2255"/>
                        </a:lnTo>
                        <a:lnTo>
                          <a:pt x="1214" y="2270"/>
                        </a:lnTo>
                        <a:lnTo>
                          <a:pt x="1208" y="2287"/>
                        </a:lnTo>
                        <a:lnTo>
                          <a:pt x="1202" y="2302"/>
                        </a:lnTo>
                        <a:lnTo>
                          <a:pt x="1197" y="2319"/>
                        </a:lnTo>
                        <a:lnTo>
                          <a:pt x="1194" y="2336"/>
                        </a:lnTo>
                        <a:lnTo>
                          <a:pt x="1190" y="2352"/>
                        </a:lnTo>
                        <a:lnTo>
                          <a:pt x="1189" y="2368"/>
                        </a:lnTo>
                        <a:lnTo>
                          <a:pt x="1188" y="2385"/>
                        </a:lnTo>
                        <a:lnTo>
                          <a:pt x="1188" y="2401"/>
                        </a:lnTo>
                        <a:lnTo>
                          <a:pt x="1188" y="2417"/>
                        </a:lnTo>
                        <a:lnTo>
                          <a:pt x="1189" y="2433"/>
                        </a:lnTo>
                        <a:lnTo>
                          <a:pt x="1191" y="2450"/>
                        </a:lnTo>
                        <a:lnTo>
                          <a:pt x="1195" y="2465"/>
                        </a:lnTo>
                        <a:lnTo>
                          <a:pt x="1199" y="2481"/>
                        </a:lnTo>
                        <a:lnTo>
                          <a:pt x="1203" y="2496"/>
                        </a:lnTo>
                        <a:lnTo>
                          <a:pt x="1208" y="2511"/>
                        </a:lnTo>
                        <a:lnTo>
                          <a:pt x="1214" y="2526"/>
                        </a:lnTo>
                        <a:lnTo>
                          <a:pt x="1221" y="2541"/>
                        </a:lnTo>
                        <a:lnTo>
                          <a:pt x="1236" y="2569"/>
                        </a:lnTo>
                        <a:lnTo>
                          <a:pt x="1254" y="2596"/>
                        </a:lnTo>
                        <a:lnTo>
                          <a:pt x="1274" y="2622"/>
                        </a:lnTo>
                        <a:lnTo>
                          <a:pt x="1296" y="2645"/>
                        </a:lnTo>
                        <a:lnTo>
                          <a:pt x="1320" y="2668"/>
                        </a:lnTo>
                        <a:lnTo>
                          <a:pt x="1345" y="2687"/>
                        </a:lnTo>
                        <a:lnTo>
                          <a:pt x="1372" y="2705"/>
                        </a:lnTo>
                        <a:lnTo>
                          <a:pt x="1400" y="2720"/>
                        </a:lnTo>
                        <a:lnTo>
                          <a:pt x="1415" y="2726"/>
                        </a:lnTo>
                        <a:lnTo>
                          <a:pt x="1430" y="2732"/>
                        </a:lnTo>
                        <a:lnTo>
                          <a:pt x="1445" y="2738"/>
                        </a:lnTo>
                        <a:lnTo>
                          <a:pt x="1461" y="2742"/>
                        </a:lnTo>
                        <a:lnTo>
                          <a:pt x="1476" y="2747"/>
                        </a:lnTo>
                        <a:lnTo>
                          <a:pt x="1492" y="2749"/>
                        </a:lnTo>
                        <a:lnTo>
                          <a:pt x="1508" y="2751"/>
                        </a:lnTo>
                        <a:lnTo>
                          <a:pt x="1524" y="2753"/>
                        </a:lnTo>
                        <a:lnTo>
                          <a:pt x="1540" y="2754"/>
                        </a:lnTo>
                        <a:lnTo>
                          <a:pt x="1557" y="2754"/>
                        </a:lnTo>
                        <a:lnTo>
                          <a:pt x="1572" y="2753"/>
                        </a:lnTo>
                        <a:lnTo>
                          <a:pt x="1589" y="2750"/>
                        </a:lnTo>
                        <a:lnTo>
                          <a:pt x="1606" y="2748"/>
                        </a:lnTo>
                        <a:lnTo>
                          <a:pt x="1621" y="2743"/>
                        </a:lnTo>
                        <a:lnTo>
                          <a:pt x="1638" y="2738"/>
                        </a:lnTo>
                        <a:lnTo>
                          <a:pt x="1655" y="2734"/>
                        </a:lnTo>
                        <a:lnTo>
                          <a:pt x="1670" y="2726"/>
                        </a:lnTo>
                        <a:lnTo>
                          <a:pt x="1687" y="2718"/>
                        </a:lnTo>
                        <a:lnTo>
                          <a:pt x="1703" y="2710"/>
                        </a:lnTo>
                        <a:lnTo>
                          <a:pt x="1719" y="2700"/>
                        </a:lnTo>
                        <a:lnTo>
                          <a:pt x="1735" y="2688"/>
                        </a:lnTo>
                        <a:lnTo>
                          <a:pt x="1751" y="2676"/>
                        </a:lnTo>
                        <a:lnTo>
                          <a:pt x="1766" y="2663"/>
                        </a:lnTo>
                        <a:lnTo>
                          <a:pt x="1781" y="2649"/>
                        </a:lnTo>
                        <a:lnTo>
                          <a:pt x="1791" y="2637"/>
                        </a:lnTo>
                        <a:lnTo>
                          <a:pt x="1802" y="2623"/>
                        </a:lnTo>
                        <a:lnTo>
                          <a:pt x="1813" y="2608"/>
                        </a:lnTo>
                        <a:lnTo>
                          <a:pt x="1824" y="2591"/>
                        </a:lnTo>
                        <a:lnTo>
                          <a:pt x="1834" y="2572"/>
                        </a:lnTo>
                        <a:lnTo>
                          <a:pt x="1845" y="2552"/>
                        </a:lnTo>
                        <a:lnTo>
                          <a:pt x="1866" y="2507"/>
                        </a:lnTo>
                        <a:lnTo>
                          <a:pt x="1886" y="2458"/>
                        </a:lnTo>
                        <a:lnTo>
                          <a:pt x="1906" y="2405"/>
                        </a:lnTo>
                        <a:lnTo>
                          <a:pt x="1927" y="2349"/>
                        </a:lnTo>
                        <a:lnTo>
                          <a:pt x="1946" y="2293"/>
                        </a:lnTo>
                        <a:lnTo>
                          <a:pt x="1964" y="2234"/>
                        </a:lnTo>
                        <a:lnTo>
                          <a:pt x="1980" y="2177"/>
                        </a:lnTo>
                        <a:lnTo>
                          <a:pt x="2012" y="2065"/>
                        </a:lnTo>
                        <a:lnTo>
                          <a:pt x="2037" y="1965"/>
                        </a:lnTo>
                        <a:lnTo>
                          <a:pt x="2057" y="1885"/>
                        </a:lnTo>
                        <a:close/>
                        <a:moveTo>
                          <a:pt x="2057" y="2720"/>
                        </a:moveTo>
                        <a:lnTo>
                          <a:pt x="2057" y="2720"/>
                        </a:lnTo>
                        <a:lnTo>
                          <a:pt x="1976" y="2740"/>
                        </a:lnTo>
                        <a:lnTo>
                          <a:pt x="1876" y="2766"/>
                        </a:lnTo>
                        <a:lnTo>
                          <a:pt x="1765" y="2796"/>
                        </a:lnTo>
                        <a:lnTo>
                          <a:pt x="1706" y="2814"/>
                        </a:lnTo>
                        <a:lnTo>
                          <a:pt x="1649" y="2832"/>
                        </a:lnTo>
                        <a:lnTo>
                          <a:pt x="1591" y="2851"/>
                        </a:lnTo>
                        <a:lnTo>
                          <a:pt x="1536" y="2870"/>
                        </a:lnTo>
                        <a:lnTo>
                          <a:pt x="1484" y="2890"/>
                        </a:lnTo>
                        <a:lnTo>
                          <a:pt x="1434" y="2911"/>
                        </a:lnTo>
                        <a:lnTo>
                          <a:pt x="1389" y="2932"/>
                        </a:lnTo>
                        <a:lnTo>
                          <a:pt x="1369" y="2943"/>
                        </a:lnTo>
                        <a:lnTo>
                          <a:pt x="1351" y="2954"/>
                        </a:lnTo>
                        <a:lnTo>
                          <a:pt x="1333" y="2963"/>
                        </a:lnTo>
                        <a:lnTo>
                          <a:pt x="1317" y="2974"/>
                        </a:lnTo>
                        <a:lnTo>
                          <a:pt x="1304" y="2985"/>
                        </a:lnTo>
                        <a:lnTo>
                          <a:pt x="1292" y="2996"/>
                        </a:lnTo>
                        <a:lnTo>
                          <a:pt x="1278" y="3011"/>
                        </a:lnTo>
                        <a:lnTo>
                          <a:pt x="1264" y="3027"/>
                        </a:lnTo>
                        <a:lnTo>
                          <a:pt x="1252" y="3042"/>
                        </a:lnTo>
                        <a:lnTo>
                          <a:pt x="1242" y="3058"/>
                        </a:lnTo>
                        <a:lnTo>
                          <a:pt x="1231" y="3074"/>
                        </a:lnTo>
                        <a:lnTo>
                          <a:pt x="1223" y="3090"/>
                        </a:lnTo>
                        <a:lnTo>
                          <a:pt x="1214" y="3106"/>
                        </a:lnTo>
                        <a:lnTo>
                          <a:pt x="1208" y="3123"/>
                        </a:lnTo>
                        <a:lnTo>
                          <a:pt x="1202" y="3138"/>
                        </a:lnTo>
                        <a:lnTo>
                          <a:pt x="1197" y="3155"/>
                        </a:lnTo>
                        <a:lnTo>
                          <a:pt x="1194" y="3172"/>
                        </a:lnTo>
                        <a:lnTo>
                          <a:pt x="1190" y="3189"/>
                        </a:lnTo>
                        <a:lnTo>
                          <a:pt x="1189" y="3204"/>
                        </a:lnTo>
                        <a:lnTo>
                          <a:pt x="1188" y="3221"/>
                        </a:lnTo>
                        <a:lnTo>
                          <a:pt x="1188" y="3236"/>
                        </a:lnTo>
                        <a:lnTo>
                          <a:pt x="1188" y="3253"/>
                        </a:lnTo>
                        <a:lnTo>
                          <a:pt x="1189" y="3269"/>
                        </a:lnTo>
                        <a:lnTo>
                          <a:pt x="1191" y="3285"/>
                        </a:lnTo>
                        <a:lnTo>
                          <a:pt x="1195" y="3301"/>
                        </a:lnTo>
                        <a:lnTo>
                          <a:pt x="1199" y="3317"/>
                        </a:lnTo>
                        <a:lnTo>
                          <a:pt x="1203" y="3332"/>
                        </a:lnTo>
                        <a:lnTo>
                          <a:pt x="1208" y="3347"/>
                        </a:lnTo>
                        <a:lnTo>
                          <a:pt x="1214" y="3362"/>
                        </a:lnTo>
                        <a:lnTo>
                          <a:pt x="1221" y="3376"/>
                        </a:lnTo>
                        <a:lnTo>
                          <a:pt x="1236" y="3405"/>
                        </a:lnTo>
                        <a:lnTo>
                          <a:pt x="1254" y="3432"/>
                        </a:lnTo>
                        <a:lnTo>
                          <a:pt x="1274" y="3458"/>
                        </a:lnTo>
                        <a:lnTo>
                          <a:pt x="1296" y="3481"/>
                        </a:lnTo>
                        <a:lnTo>
                          <a:pt x="1320" y="3503"/>
                        </a:lnTo>
                        <a:lnTo>
                          <a:pt x="1345" y="3523"/>
                        </a:lnTo>
                        <a:lnTo>
                          <a:pt x="1372" y="3541"/>
                        </a:lnTo>
                        <a:lnTo>
                          <a:pt x="1400" y="3556"/>
                        </a:lnTo>
                        <a:lnTo>
                          <a:pt x="1415" y="3562"/>
                        </a:lnTo>
                        <a:lnTo>
                          <a:pt x="1430" y="3568"/>
                        </a:lnTo>
                        <a:lnTo>
                          <a:pt x="1445" y="3574"/>
                        </a:lnTo>
                        <a:lnTo>
                          <a:pt x="1461" y="3579"/>
                        </a:lnTo>
                        <a:lnTo>
                          <a:pt x="1476" y="3582"/>
                        </a:lnTo>
                        <a:lnTo>
                          <a:pt x="1492" y="3585"/>
                        </a:lnTo>
                        <a:lnTo>
                          <a:pt x="1508" y="3587"/>
                        </a:lnTo>
                        <a:lnTo>
                          <a:pt x="1524" y="3588"/>
                        </a:lnTo>
                        <a:lnTo>
                          <a:pt x="1540" y="3590"/>
                        </a:lnTo>
                        <a:lnTo>
                          <a:pt x="1557" y="3590"/>
                        </a:lnTo>
                        <a:lnTo>
                          <a:pt x="1572" y="3588"/>
                        </a:lnTo>
                        <a:lnTo>
                          <a:pt x="1589" y="3586"/>
                        </a:lnTo>
                        <a:lnTo>
                          <a:pt x="1606" y="3584"/>
                        </a:lnTo>
                        <a:lnTo>
                          <a:pt x="1621" y="3579"/>
                        </a:lnTo>
                        <a:lnTo>
                          <a:pt x="1638" y="3574"/>
                        </a:lnTo>
                        <a:lnTo>
                          <a:pt x="1655" y="3569"/>
                        </a:lnTo>
                        <a:lnTo>
                          <a:pt x="1670" y="3562"/>
                        </a:lnTo>
                        <a:lnTo>
                          <a:pt x="1687" y="3554"/>
                        </a:lnTo>
                        <a:lnTo>
                          <a:pt x="1703" y="3545"/>
                        </a:lnTo>
                        <a:lnTo>
                          <a:pt x="1719" y="3536"/>
                        </a:lnTo>
                        <a:lnTo>
                          <a:pt x="1735" y="3524"/>
                        </a:lnTo>
                        <a:lnTo>
                          <a:pt x="1751" y="3512"/>
                        </a:lnTo>
                        <a:lnTo>
                          <a:pt x="1766" y="3499"/>
                        </a:lnTo>
                        <a:lnTo>
                          <a:pt x="1781" y="3484"/>
                        </a:lnTo>
                        <a:lnTo>
                          <a:pt x="1791" y="3472"/>
                        </a:lnTo>
                        <a:lnTo>
                          <a:pt x="1802" y="3459"/>
                        </a:lnTo>
                        <a:lnTo>
                          <a:pt x="1813" y="3444"/>
                        </a:lnTo>
                        <a:lnTo>
                          <a:pt x="1824" y="3427"/>
                        </a:lnTo>
                        <a:lnTo>
                          <a:pt x="1834" y="3408"/>
                        </a:lnTo>
                        <a:lnTo>
                          <a:pt x="1845" y="3387"/>
                        </a:lnTo>
                        <a:lnTo>
                          <a:pt x="1866" y="3343"/>
                        </a:lnTo>
                        <a:lnTo>
                          <a:pt x="1886" y="3294"/>
                        </a:lnTo>
                        <a:lnTo>
                          <a:pt x="1906" y="3241"/>
                        </a:lnTo>
                        <a:lnTo>
                          <a:pt x="1927" y="3185"/>
                        </a:lnTo>
                        <a:lnTo>
                          <a:pt x="1946" y="3129"/>
                        </a:lnTo>
                        <a:lnTo>
                          <a:pt x="1964" y="3070"/>
                        </a:lnTo>
                        <a:lnTo>
                          <a:pt x="1980" y="3012"/>
                        </a:lnTo>
                        <a:lnTo>
                          <a:pt x="2012" y="2901"/>
                        </a:lnTo>
                        <a:lnTo>
                          <a:pt x="2037" y="2801"/>
                        </a:lnTo>
                        <a:lnTo>
                          <a:pt x="2057" y="2720"/>
                        </a:lnTo>
                        <a:close/>
                        <a:moveTo>
                          <a:pt x="2057" y="1048"/>
                        </a:moveTo>
                        <a:lnTo>
                          <a:pt x="2057" y="1048"/>
                        </a:lnTo>
                        <a:lnTo>
                          <a:pt x="1976" y="1068"/>
                        </a:lnTo>
                        <a:lnTo>
                          <a:pt x="1876" y="1093"/>
                        </a:lnTo>
                        <a:lnTo>
                          <a:pt x="1765" y="1124"/>
                        </a:lnTo>
                        <a:lnTo>
                          <a:pt x="1706" y="1142"/>
                        </a:lnTo>
                        <a:lnTo>
                          <a:pt x="1649" y="1160"/>
                        </a:lnTo>
                        <a:lnTo>
                          <a:pt x="1591" y="1179"/>
                        </a:lnTo>
                        <a:lnTo>
                          <a:pt x="1536" y="1199"/>
                        </a:lnTo>
                        <a:lnTo>
                          <a:pt x="1484" y="1219"/>
                        </a:lnTo>
                        <a:lnTo>
                          <a:pt x="1434" y="1239"/>
                        </a:lnTo>
                        <a:lnTo>
                          <a:pt x="1389" y="1261"/>
                        </a:lnTo>
                        <a:lnTo>
                          <a:pt x="1369" y="1272"/>
                        </a:lnTo>
                        <a:lnTo>
                          <a:pt x="1351" y="1281"/>
                        </a:lnTo>
                        <a:lnTo>
                          <a:pt x="1333" y="1292"/>
                        </a:lnTo>
                        <a:lnTo>
                          <a:pt x="1317" y="1303"/>
                        </a:lnTo>
                        <a:lnTo>
                          <a:pt x="1304" y="1313"/>
                        </a:lnTo>
                        <a:lnTo>
                          <a:pt x="1292" y="1324"/>
                        </a:lnTo>
                        <a:lnTo>
                          <a:pt x="1278" y="1340"/>
                        </a:lnTo>
                        <a:lnTo>
                          <a:pt x="1264" y="1355"/>
                        </a:lnTo>
                        <a:lnTo>
                          <a:pt x="1252" y="1371"/>
                        </a:lnTo>
                        <a:lnTo>
                          <a:pt x="1242" y="1387"/>
                        </a:lnTo>
                        <a:lnTo>
                          <a:pt x="1231" y="1402"/>
                        </a:lnTo>
                        <a:lnTo>
                          <a:pt x="1223" y="1419"/>
                        </a:lnTo>
                        <a:lnTo>
                          <a:pt x="1214" y="1434"/>
                        </a:lnTo>
                        <a:lnTo>
                          <a:pt x="1208" y="1451"/>
                        </a:lnTo>
                        <a:lnTo>
                          <a:pt x="1202" y="1467"/>
                        </a:lnTo>
                        <a:lnTo>
                          <a:pt x="1197" y="1483"/>
                        </a:lnTo>
                        <a:lnTo>
                          <a:pt x="1194" y="1500"/>
                        </a:lnTo>
                        <a:lnTo>
                          <a:pt x="1190" y="1516"/>
                        </a:lnTo>
                        <a:lnTo>
                          <a:pt x="1189" y="1533"/>
                        </a:lnTo>
                        <a:lnTo>
                          <a:pt x="1188" y="1549"/>
                        </a:lnTo>
                        <a:lnTo>
                          <a:pt x="1188" y="1565"/>
                        </a:lnTo>
                        <a:lnTo>
                          <a:pt x="1188" y="1582"/>
                        </a:lnTo>
                        <a:lnTo>
                          <a:pt x="1189" y="1597"/>
                        </a:lnTo>
                        <a:lnTo>
                          <a:pt x="1191" y="1614"/>
                        </a:lnTo>
                        <a:lnTo>
                          <a:pt x="1195" y="1630"/>
                        </a:lnTo>
                        <a:lnTo>
                          <a:pt x="1199" y="1645"/>
                        </a:lnTo>
                        <a:lnTo>
                          <a:pt x="1203" y="1661"/>
                        </a:lnTo>
                        <a:lnTo>
                          <a:pt x="1208" y="1675"/>
                        </a:lnTo>
                        <a:lnTo>
                          <a:pt x="1214" y="1691"/>
                        </a:lnTo>
                        <a:lnTo>
                          <a:pt x="1221" y="1705"/>
                        </a:lnTo>
                        <a:lnTo>
                          <a:pt x="1236" y="1734"/>
                        </a:lnTo>
                        <a:lnTo>
                          <a:pt x="1254" y="1760"/>
                        </a:lnTo>
                        <a:lnTo>
                          <a:pt x="1274" y="1786"/>
                        </a:lnTo>
                        <a:lnTo>
                          <a:pt x="1296" y="1809"/>
                        </a:lnTo>
                        <a:lnTo>
                          <a:pt x="1320" y="1832"/>
                        </a:lnTo>
                        <a:lnTo>
                          <a:pt x="1345" y="1851"/>
                        </a:lnTo>
                        <a:lnTo>
                          <a:pt x="1372" y="1869"/>
                        </a:lnTo>
                        <a:lnTo>
                          <a:pt x="1400" y="1885"/>
                        </a:lnTo>
                        <a:lnTo>
                          <a:pt x="1415" y="1891"/>
                        </a:lnTo>
                        <a:lnTo>
                          <a:pt x="1430" y="1897"/>
                        </a:lnTo>
                        <a:lnTo>
                          <a:pt x="1445" y="1903"/>
                        </a:lnTo>
                        <a:lnTo>
                          <a:pt x="1461" y="1906"/>
                        </a:lnTo>
                        <a:lnTo>
                          <a:pt x="1476" y="1911"/>
                        </a:lnTo>
                        <a:lnTo>
                          <a:pt x="1492" y="1913"/>
                        </a:lnTo>
                        <a:lnTo>
                          <a:pt x="1508" y="1916"/>
                        </a:lnTo>
                        <a:lnTo>
                          <a:pt x="1524" y="1917"/>
                        </a:lnTo>
                        <a:lnTo>
                          <a:pt x="1540" y="1918"/>
                        </a:lnTo>
                        <a:lnTo>
                          <a:pt x="1557" y="1918"/>
                        </a:lnTo>
                        <a:lnTo>
                          <a:pt x="1572" y="1917"/>
                        </a:lnTo>
                        <a:lnTo>
                          <a:pt x="1589" y="1915"/>
                        </a:lnTo>
                        <a:lnTo>
                          <a:pt x="1606" y="1912"/>
                        </a:lnTo>
                        <a:lnTo>
                          <a:pt x="1621" y="1907"/>
                        </a:lnTo>
                        <a:lnTo>
                          <a:pt x="1638" y="1903"/>
                        </a:lnTo>
                        <a:lnTo>
                          <a:pt x="1655" y="1898"/>
                        </a:lnTo>
                        <a:lnTo>
                          <a:pt x="1670" y="1891"/>
                        </a:lnTo>
                        <a:lnTo>
                          <a:pt x="1687" y="1882"/>
                        </a:lnTo>
                        <a:lnTo>
                          <a:pt x="1703" y="1874"/>
                        </a:lnTo>
                        <a:lnTo>
                          <a:pt x="1719" y="1864"/>
                        </a:lnTo>
                        <a:lnTo>
                          <a:pt x="1735" y="1852"/>
                        </a:lnTo>
                        <a:lnTo>
                          <a:pt x="1751" y="1840"/>
                        </a:lnTo>
                        <a:lnTo>
                          <a:pt x="1766" y="1827"/>
                        </a:lnTo>
                        <a:lnTo>
                          <a:pt x="1781" y="1813"/>
                        </a:lnTo>
                        <a:lnTo>
                          <a:pt x="1791" y="1801"/>
                        </a:lnTo>
                        <a:lnTo>
                          <a:pt x="1802" y="1788"/>
                        </a:lnTo>
                        <a:lnTo>
                          <a:pt x="1813" y="1772"/>
                        </a:lnTo>
                        <a:lnTo>
                          <a:pt x="1824" y="1755"/>
                        </a:lnTo>
                        <a:lnTo>
                          <a:pt x="1834" y="1736"/>
                        </a:lnTo>
                        <a:lnTo>
                          <a:pt x="1845" y="1716"/>
                        </a:lnTo>
                        <a:lnTo>
                          <a:pt x="1866" y="1671"/>
                        </a:lnTo>
                        <a:lnTo>
                          <a:pt x="1886" y="1622"/>
                        </a:lnTo>
                        <a:lnTo>
                          <a:pt x="1906" y="1570"/>
                        </a:lnTo>
                        <a:lnTo>
                          <a:pt x="1927" y="1513"/>
                        </a:lnTo>
                        <a:lnTo>
                          <a:pt x="1946" y="1457"/>
                        </a:lnTo>
                        <a:lnTo>
                          <a:pt x="1964" y="1398"/>
                        </a:lnTo>
                        <a:lnTo>
                          <a:pt x="1980" y="1341"/>
                        </a:lnTo>
                        <a:lnTo>
                          <a:pt x="2012" y="1228"/>
                        </a:lnTo>
                        <a:lnTo>
                          <a:pt x="2037" y="1129"/>
                        </a:lnTo>
                        <a:lnTo>
                          <a:pt x="2057" y="1048"/>
                        </a:lnTo>
                        <a:close/>
                        <a:moveTo>
                          <a:pt x="3680" y="2008"/>
                        </a:moveTo>
                        <a:lnTo>
                          <a:pt x="3766" y="1859"/>
                        </a:lnTo>
                        <a:lnTo>
                          <a:pt x="3356" y="1152"/>
                        </a:lnTo>
                        <a:lnTo>
                          <a:pt x="2538" y="1152"/>
                        </a:lnTo>
                        <a:lnTo>
                          <a:pt x="2531" y="1166"/>
                        </a:lnTo>
                        <a:lnTo>
                          <a:pt x="3068" y="2221"/>
                        </a:lnTo>
                        <a:lnTo>
                          <a:pt x="2755" y="2664"/>
                        </a:lnTo>
                        <a:lnTo>
                          <a:pt x="2483" y="2664"/>
                        </a:lnTo>
                        <a:lnTo>
                          <a:pt x="2180" y="2140"/>
                        </a:lnTo>
                        <a:lnTo>
                          <a:pt x="2202" y="2058"/>
                        </a:lnTo>
                        <a:lnTo>
                          <a:pt x="2222" y="1974"/>
                        </a:lnTo>
                        <a:lnTo>
                          <a:pt x="2259" y="1814"/>
                        </a:lnTo>
                        <a:lnTo>
                          <a:pt x="2287" y="1692"/>
                        </a:lnTo>
                        <a:lnTo>
                          <a:pt x="2298" y="1644"/>
                        </a:lnTo>
                        <a:lnTo>
                          <a:pt x="2247" y="1655"/>
                        </a:lnTo>
                        <a:lnTo>
                          <a:pt x="2122" y="1682"/>
                        </a:lnTo>
                        <a:lnTo>
                          <a:pt x="2483" y="1056"/>
                        </a:lnTo>
                        <a:lnTo>
                          <a:pt x="3413" y="1056"/>
                        </a:lnTo>
                        <a:lnTo>
                          <a:pt x="3876" y="1859"/>
                        </a:lnTo>
                        <a:lnTo>
                          <a:pt x="3791" y="2008"/>
                        </a:lnTo>
                        <a:lnTo>
                          <a:pt x="3680" y="2008"/>
                        </a:lnTo>
                        <a:close/>
                        <a:moveTo>
                          <a:pt x="4345" y="2104"/>
                        </a:moveTo>
                        <a:lnTo>
                          <a:pt x="4756" y="3250"/>
                        </a:lnTo>
                        <a:lnTo>
                          <a:pt x="3720" y="4763"/>
                        </a:lnTo>
                        <a:lnTo>
                          <a:pt x="1978" y="4763"/>
                        </a:lnTo>
                        <a:lnTo>
                          <a:pt x="2293" y="3488"/>
                        </a:lnTo>
                        <a:lnTo>
                          <a:pt x="3266" y="2104"/>
                        </a:lnTo>
                        <a:lnTo>
                          <a:pt x="4345" y="2104"/>
                        </a:lnTo>
                        <a:close/>
                        <a:moveTo>
                          <a:pt x="2465" y="3585"/>
                        </a:moveTo>
                        <a:lnTo>
                          <a:pt x="2222" y="4571"/>
                        </a:lnTo>
                        <a:lnTo>
                          <a:pt x="3578" y="4571"/>
                        </a:lnTo>
                        <a:lnTo>
                          <a:pt x="2465" y="3585"/>
                        </a:lnTo>
                        <a:close/>
                        <a:moveTo>
                          <a:pt x="3336" y="3537"/>
                        </a:moveTo>
                        <a:lnTo>
                          <a:pt x="3665" y="4504"/>
                        </a:lnTo>
                        <a:lnTo>
                          <a:pt x="4543" y="3222"/>
                        </a:lnTo>
                        <a:lnTo>
                          <a:pt x="4228" y="2346"/>
                        </a:lnTo>
                        <a:lnTo>
                          <a:pt x="3336" y="3537"/>
                        </a:lnTo>
                        <a:close/>
                        <a:moveTo>
                          <a:pt x="2532" y="3481"/>
                        </a:moveTo>
                        <a:lnTo>
                          <a:pt x="3258" y="3481"/>
                        </a:lnTo>
                        <a:lnTo>
                          <a:pt x="4147" y="2295"/>
                        </a:lnTo>
                        <a:lnTo>
                          <a:pt x="3366" y="2295"/>
                        </a:lnTo>
                        <a:lnTo>
                          <a:pt x="2532" y="3481"/>
                        </a:lnTo>
                        <a:close/>
                      </a:path>
                    </a:pathLst>
                  </a:custGeom>
                  <a:solidFill>
                    <a:srgbClr val="7F7F7F"/>
                  </a:solidFill>
                  <a:ln w="9525">
                    <a:noFill/>
                    <a:round/>
                    <a:headEnd/>
                    <a:tailEnd/>
                  </a:ln>
                </p:spPr>
                <p:txBody>
                  <a:bodyPr/>
                  <a:lstStyle/>
                  <a:p>
                    <a:pPr defTabSz="709469">
                      <a:defRPr/>
                    </a:pPr>
                    <a:endParaRPr lang="de-DE" sz="1428">
                      <a:solidFill>
                        <a:srgbClr val="000000"/>
                      </a:solidFill>
                      <a:latin typeface="Arial"/>
                    </a:endParaRPr>
                  </a:p>
                </p:txBody>
              </p:sp>
              <p:grpSp>
                <p:nvGrpSpPr>
                  <p:cNvPr id="86" name="Gruppo 85">
                    <a:extLst>
                      <a:ext uri="{FF2B5EF4-FFF2-40B4-BE49-F238E27FC236}">
                        <a16:creationId xmlns:a16="http://schemas.microsoft.com/office/drawing/2014/main" id="{6E33D381-F8D0-4BD7-9DCD-A0D39FE01CB7}"/>
                      </a:ext>
                    </a:extLst>
                  </p:cNvPr>
                  <p:cNvGrpSpPr/>
                  <p:nvPr/>
                </p:nvGrpSpPr>
                <p:grpSpPr>
                  <a:xfrm>
                    <a:off x="5745905" y="1626206"/>
                    <a:ext cx="496739" cy="643164"/>
                    <a:chOff x="5610995" y="1663681"/>
                    <a:chExt cx="520121" cy="663246"/>
                  </a:xfrm>
                </p:grpSpPr>
                <p:sp>
                  <p:nvSpPr>
                    <p:cNvPr id="90" name="Rettangolo 89">
                      <a:extLst>
                        <a:ext uri="{FF2B5EF4-FFF2-40B4-BE49-F238E27FC236}">
                          <a16:creationId xmlns:a16="http://schemas.microsoft.com/office/drawing/2014/main" id="{11438255-1233-48FB-A588-96AF06274E5F}"/>
                        </a:ext>
                      </a:extLst>
                    </p:cNvPr>
                    <p:cNvSpPr/>
                    <p:nvPr/>
                  </p:nvSpPr>
                  <p:spPr>
                    <a:xfrm>
                      <a:off x="5707292" y="1663681"/>
                      <a:ext cx="423824" cy="64118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it-IT" sz="1800">
                        <a:solidFill>
                          <a:prstClr val="white"/>
                        </a:solidFill>
                        <a:latin typeface="Arial"/>
                      </a:endParaRPr>
                    </a:p>
                  </p:txBody>
                </p:sp>
                <p:sp>
                  <p:nvSpPr>
                    <p:cNvPr id="91" name="Rettangolo 90">
                      <a:extLst>
                        <a:ext uri="{FF2B5EF4-FFF2-40B4-BE49-F238E27FC236}">
                          <a16:creationId xmlns:a16="http://schemas.microsoft.com/office/drawing/2014/main" id="{25AAAEB4-6A9A-4528-87D7-2666025ED1F5}"/>
                        </a:ext>
                      </a:extLst>
                    </p:cNvPr>
                    <p:cNvSpPr/>
                    <p:nvPr/>
                  </p:nvSpPr>
                  <p:spPr>
                    <a:xfrm>
                      <a:off x="5610995" y="2200383"/>
                      <a:ext cx="441153" cy="12654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it-IT" sz="1800">
                        <a:solidFill>
                          <a:prstClr val="white"/>
                        </a:solidFill>
                        <a:latin typeface="Arial"/>
                      </a:endParaRPr>
                    </a:p>
                  </p:txBody>
                </p:sp>
              </p:grpSp>
              <p:grpSp>
                <p:nvGrpSpPr>
                  <p:cNvPr id="87" name="Gruppo 86">
                    <a:extLst>
                      <a:ext uri="{FF2B5EF4-FFF2-40B4-BE49-F238E27FC236}">
                        <a16:creationId xmlns:a16="http://schemas.microsoft.com/office/drawing/2014/main" id="{FC2A0C90-E4D9-4D96-AF18-534E0A1F0AC8}"/>
                      </a:ext>
                    </a:extLst>
                  </p:cNvPr>
                  <p:cNvGrpSpPr/>
                  <p:nvPr/>
                </p:nvGrpSpPr>
                <p:grpSpPr>
                  <a:xfrm>
                    <a:off x="5822883" y="1900945"/>
                    <a:ext cx="496739" cy="218498"/>
                    <a:chOff x="5610995" y="1663681"/>
                    <a:chExt cx="520121" cy="663246"/>
                  </a:xfrm>
                </p:grpSpPr>
                <p:sp>
                  <p:nvSpPr>
                    <p:cNvPr id="88" name="Rettangolo 87">
                      <a:extLst>
                        <a:ext uri="{FF2B5EF4-FFF2-40B4-BE49-F238E27FC236}">
                          <a16:creationId xmlns:a16="http://schemas.microsoft.com/office/drawing/2014/main" id="{7A9E78EE-C37A-4651-93E5-B1459ADFAA21}"/>
                        </a:ext>
                      </a:extLst>
                    </p:cNvPr>
                    <p:cNvSpPr/>
                    <p:nvPr/>
                  </p:nvSpPr>
                  <p:spPr>
                    <a:xfrm>
                      <a:off x="5707292" y="1663681"/>
                      <a:ext cx="423824" cy="64118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it-IT" sz="1800">
                        <a:solidFill>
                          <a:prstClr val="white"/>
                        </a:solidFill>
                        <a:latin typeface="Arial"/>
                      </a:endParaRPr>
                    </a:p>
                  </p:txBody>
                </p:sp>
                <p:sp>
                  <p:nvSpPr>
                    <p:cNvPr id="89" name="Rettangolo 88">
                      <a:extLst>
                        <a:ext uri="{FF2B5EF4-FFF2-40B4-BE49-F238E27FC236}">
                          <a16:creationId xmlns:a16="http://schemas.microsoft.com/office/drawing/2014/main" id="{87D51657-9C98-4A62-97AB-D91B7CD22524}"/>
                        </a:ext>
                      </a:extLst>
                    </p:cNvPr>
                    <p:cNvSpPr/>
                    <p:nvPr/>
                  </p:nvSpPr>
                  <p:spPr>
                    <a:xfrm>
                      <a:off x="5610995" y="2150607"/>
                      <a:ext cx="441153" cy="1763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it-IT" sz="1800">
                        <a:solidFill>
                          <a:prstClr val="white"/>
                        </a:solidFill>
                        <a:latin typeface="Arial"/>
                      </a:endParaRPr>
                    </a:p>
                  </p:txBody>
                </p:sp>
              </p:grpSp>
            </p:grpSp>
            <p:sp>
              <p:nvSpPr>
                <p:cNvPr id="84" name="Rettangolo 83">
                  <a:extLst>
                    <a:ext uri="{FF2B5EF4-FFF2-40B4-BE49-F238E27FC236}">
                      <a16:creationId xmlns:a16="http://schemas.microsoft.com/office/drawing/2014/main" id="{B27B0DB2-48EF-4B01-A75A-900461C32167}"/>
                    </a:ext>
                  </a:extLst>
                </p:cNvPr>
                <p:cNvSpPr/>
                <p:nvPr/>
              </p:nvSpPr>
              <p:spPr>
                <a:xfrm>
                  <a:off x="5704190" y="2207758"/>
                  <a:ext cx="421321" cy="17098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it-IT" sz="1800">
                    <a:solidFill>
                      <a:prstClr val="white"/>
                    </a:solidFill>
                    <a:latin typeface="Arial"/>
                  </a:endParaRPr>
                </a:p>
              </p:txBody>
            </p:sp>
          </p:grpSp>
          <p:sp>
            <p:nvSpPr>
              <p:cNvPr id="82" name="Rettangolo 81">
                <a:extLst>
                  <a:ext uri="{FF2B5EF4-FFF2-40B4-BE49-F238E27FC236}">
                    <a16:creationId xmlns:a16="http://schemas.microsoft.com/office/drawing/2014/main" id="{76ACC50A-ABE8-4473-9D32-94F0A97C3B2D}"/>
                  </a:ext>
                </a:extLst>
              </p:cNvPr>
              <p:cNvSpPr/>
              <p:nvPr/>
            </p:nvSpPr>
            <p:spPr>
              <a:xfrm>
                <a:off x="5815388" y="1741507"/>
                <a:ext cx="135356"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endParaRPr lang="it-IT" sz="1013">
                  <a:solidFill>
                    <a:srgbClr val="FFFEFD"/>
                  </a:solidFill>
                  <a:latin typeface="Arial" panose="020B0604020202020204"/>
                </a:endParaRPr>
              </a:p>
            </p:txBody>
          </p:sp>
        </p:grpSp>
        <p:sp>
          <p:nvSpPr>
            <p:cNvPr id="80" name="Rettangolo 79">
              <a:extLst>
                <a:ext uri="{FF2B5EF4-FFF2-40B4-BE49-F238E27FC236}">
                  <a16:creationId xmlns:a16="http://schemas.microsoft.com/office/drawing/2014/main" id="{B0C7B3D3-327E-4A03-B018-712209694479}"/>
                </a:ext>
              </a:extLst>
            </p:cNvPr>
            <p:cNvSpPr/>
            <p:nvPr/>
          </p:nvSpPr>
          <p:spPr>
            <a:xfrm>
              <a:off x="6089086" y="2232890"/>
              <a:ext cx="45719"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83"/>
              <a:endParaRPr lang="it-IT" sz="1013">
                <a:solidFill>
                  <a:srgbClr val="FFFEFD"/>
                </a:solidFill>
                <a:latin typeface="Arial" panose="020B0604020202020204"/>
              </a:endParaRPr>
            </a:p>
          </p:txBody>
        </p:sp>
      </p:grpSp>
      <p:grpSp>
        <p:nvGrpSpPr>
          <p:cNvPr id="9" name="Gruppo 8">
            <a:extLst>
              <a:ext uri="{FF2B5EF4-FFF2-40B4-BE49-F238E27FC236}">
                <a16:creationId xmlns:a16="http://schemas.microsoft.com/office/drawing/2014/main" id="{89CBB569-38AB-46A5-8EF6-1B2FA3FD01BC}"/>
              </a:ext>
            </a:extLst>
          </p:cNvPr>
          <p:cNvGrpSpPr/>
          <p:nvPr/>
        </p:nvGrpSpPr>
        <p:grpSpPr>
          <a:xfrm>
            <a:off x="2785851" y="4383663"/>
            <a:ext cx="1586871" cy="510048"/>
            <a:chOff x="2705070" y="4292221"/>
            <a:chExt cx="1586871" cy="510048"/>
          </a:xfrm>
        </p:grpSpPr>
        <p:sp>
          <p:nvSpPr>
            <p:cNvPr id="93" name="Rettangolo arrotondato 40">
              <a:extLst>
                <a:ext uri="{FF2B5EF4-FFF2-40B4-BE49-F238E27FC236}">
                  <a16:creationId xmlns:a16="http://schemas.microsoft.com/office/drawing/2014/main" id="{FAEFB3E5-A57D-4C7A-96E1-8AC50D560148}"/>
                </a:ext>
              </a:extLst>
            </p:cNvPr>
            <p:cNvSpPr/>
            <p:nvPr/>
          </p:nvSpPr>
          <p:spPr>
            <a:xfrm>
              <a:off x="2705070" y="4292221"/>
              <a:ext cx="1586871" cy="510048"/>
            </a:xfrm>
            <a:prstGeom prst="roundRect">
              <a:avLst>
                <a:gd name="adj" fmla="val 8888"/>
              </a:avLst>
            </a:prstGeom>
            <a:solidFill>
              <a:srgbClr val="B4C7E7"/>
            </a:solidFill>
            <a:ln w="15875" cap="flat" cmpd="sng" algn="ctr">
              <a:noFill/>
              <a:prstDash val="sysDash"/>
            </a:ln>
            <a:effectLst/>
          </p:spPr>
          <p:txBody>
            <a:bodyPr lIns="27000" tIns="90000" rIns="27000" bIns="27000" anchor="t"/>
            <a:lstStyle/>
            <a:p>
              <a:pPr marL="0" lvl="3" algn="just" defTabSz="685783" eaLnBrk="0" hangingPunct="0">
                <a:spcBef>
                  <a:spcPts val="200"/>
                </a:spcBef>
                <a:spcAft>
                  <a:spcPts val="225"/>
                </a:spcAft>
                <a:buClr>
                  <a:srgbClr val="C00000"/>
                </a:buClr>
                <a:buSzPct val="100000"/>
                <a:defRPr/>
              </a:pPr>
              <a:endParaRPr lang="en-US" sz="1050" kern="0">
                <a:solidFill>
                  <a:srgbClr val="001548"/>
                </a:solidFill>
                <a:latin typeface="Arial"/>
                <a:cs typeface="Arial" pitchFamily="34" charset="0"/>
              </a:endParaRPr>
            </a:p>
          </p:txBody>
        </p:sp>
        <p:sp>
          <p:nvSpPr>
            <p:cNvPr id="94" name="Rettangolo 93">
              <a:extLst>
                <a:ext uri="{FF2B5EF4-FFF2-40B4-BE49-F238E27FC236}">
                  <a16:creationId xmlns:a16="http://schemas.microsoft.com/office/drawing/2014/main" id="{BA5F2F2A-DBA5-4CD4-8D61-B0C0C910CD1D}"/>
                </a:ext>
              </a:extLst>
            </p:cNvPr>
            <p:cNvSpPr/>
            <p:nvPr/>
          </p:nvSpPr>
          <p:spPr>
            <a:xfrm>
              <a:off x="2755874" y="4384164"/>
              <a:ext cx="1500508" cy="369332"/>
            </a:xfrm>
            <a:prstGeom prst="rect">
              <a:avLst/>
            </a:prstGeom>
            <a:solidFill>
              <a:srgbClr val="B4C7E7"/>
            </a:solidFill>
          </p:spPr>
          <p:txBody>
            <a:bodyPr wrap="square" tIns="0" bIns="0">
              <a:spAutoFit/>
            </a:bodyPr>
            <a:lstStyle/>
            <a:p>
              <a:pPr algn="ctr" defTabSz="685766">
                <a:buClr>
                  <a:srgbClr val="C00000"/>
                </a:buClr>
                <a:defRPr/>
              </a:pPr>
              <a:r>
                <a:rPr lang="it-IT" sz="1200" b="1">
                  <a:solidFill>
                    <a:prstClr val="white"/>
                  </a:solidFill>
                  <a:latin typeface="Arial"/>
                </a:rPr>
                <a:t>Cambiamento Climatico</a:t>
              </a:r>
            </a:p>
          </p:txBody>
        </p:sp>
      </p:grpSp>
      <p:sp>
        <p:nvSpPr>
          <p:cNvPr id="95" name="Connettore 94">
            <a:extLst>
              <a:ext uri="{FF2B5EF4-FFF2-40B4-BE49-F238E27FC236}">
                <a16:creationId xmlns:a16="http://schemas.microsoft.com/office/drawing/2014/main" id="{0952B2D1-E281-4C12-8F95-2CB484CD5FFF}"/>
              </a:ext>
            </a:extLst>
          </p:cNvPr>
          <p:cNvSpPr/>
          <p:nvPr/>
        </p:nvSpPr>
        <p:spPr>
          <a:xfrm>
            <a:off x="3977019" y="3252289"/>
            <a:ext cx="1287481" cy="995630"/>
          </a:xfrm>
          <a:prstGeom prst="flowChartConnector">
            <a:avLst/>
          </a:prstGeom>
          <a:ln w="28575">
            <a:solidFill>
              <a:srgbClr val="B4C7E7"/>
            </a:solidFill>
          </a:ln>
          <a:effectLst>
            <a:outerShdw blurRad="50800" dist="38100" dir="2700000" sx="102000" sy="102000" algn="tl" rotWithShape="0">
              <a:prstClr val="black">
                <a:alpha val="25000"/>
              </a:prstClr>
            </a:outerShdw>
          </a:effectLst>
        </p:spPr>
        <p:style>
          <a:lnRef idx="2">
            <a:schemeClr val="accent3"/>
          </a:lnRef>
          <a:fillRef idx="1">
            <a:schemeClr val="lt1"/>
          </a:fillRef>
          <a:effectRef idx="0">
            <a:schemeClr val="accent3"/>
          </a:effectRef>
          <a:fontRef idx="minor">
            <a:schemeClr val="dk1"/>
          </a:fontRef>
        </p:style>
        <p:txBody>
          <a:bodyPr wrap="none" lIns="0" tIns="0" rIns="0" bIns="0" rtlCol="0" anchor="ctr"/>
          <a:lstStyle/>
          <a:p>
            <a:pPr algn="ctr" defTabSz="685783">
              <a:defRPr/>
            </a:pPr>
            <a:r>
              <a:rPr lang="it-IT" sz="1300" b="1">
                <a:solidFill>
                  <a:srgbClr val="415064"/>
                </a:solidFill>
                <a:latin typeface="Arial"/>
              </a:rPr>
              <a:t>Tematiche </a:t>
            </a:r>
          </a:p>
          <a:p>
            <a:pPr algn="ctr" defTabSz="685783">
              <a:defRPr/>
            </a:pPr>
            <a:r>
              <a:rPr lang="it-IT" sz="1300" b="1">
                <a:solidFill>
                  <a:srgbClr val="415064"/>
                </a:solidFill>
                <a:latin typeface="Arial"/>
              </a:rPr>
              <a:t>trasversali</a:t>
            </a:r>
          </a:p>
        </p:txBody>
      </p:sp>
      <p:grpSp>
        <p:nvGrpSpPr>
          <p:cNvPr id="10" name="Gruppo 9">
            <a:extLst>
              <a:ext uri="{FF2B5EF4-FFF2-40B4-BE49-F238E27FC236}">
                <a16:creationId xmlns:a16="http://schemas.microsoft.com/office/drawing/2014/main" id="{84860322-82B0-48E9-9DC1-8D330E30B9DD}"/>
              </a:ext>
            </a:extLst>
          </p:cNvPr>
          <p:cNvGrpSpPr/>
          <p:nvPr/>
        </p:nvGrpSpPr>
        <p:grpSpPr>
          <a:xfrm>
            <a:off x="4827478" y="4383663"/>
            <a:ext cx="1586871" cy="510048"/>
            <a:chOff x="4888274" y="4292221"/>
            <a:chExt cx="1586871" cy="510048"/>
          </a:xfrm>
        </p:grpSpPr>
        <p:sp>
          <p:nvSpPr>
            <p:cNvPr id="97" name="Rettangolo arrotondato 42">
              <a:extLst>
                <a:ext uri="{FF2B5EF4-FFF2-40B4-BE49-F238E27FC236}">
                  <a16:creationId xmlns:a16="http://schemas.microsoft.com/office/drawing/2014/main" id="{3EBEAEEC-8C44-4301-82AA-81BB1C98289B}"/>
                </a:ext>
              </a:extLst>
            </p:cNvPr>
            <p:cNvSpPr/>
            <p:nvPr/>
          </p:nvSpPr>
          <p:spPr>
            <a:xfrm>
              <a:off x="4888274" y="4292221"/>
              <a:ext cx="1586871" cy="510048"/>
            </a:xfrm>
            <a:prstGeom prst="roundRect">
              <a:avLst>
                <a:gd name="adj" fmla="val 8888"/>
              </a:avLst>
            </a:prstGeom>
            <a:solidFill>
              <a:srgbClr val="B4C7E7"/>
            </a:solidFill>
            <a:ln w="15875" cap="flat" cmpd="sng" algn="ctr">
              <a:noFill/>
              <a:prstDash val="sysDash"/>
            </a:ln>
            <a:effectLst/>
          </p:spPr>
          <p:txBody>
            <a:bodyPr lIns="27000" tIns="90000" rIns="27000" bIns="27000" anchor="t"/>
            <a:lstStyle/>
            <a:p>
              <a:pPr marL="0" lvl="3" algn="just" defTabSz="685783" eaLnBrk="0" hangingPunct="0">
                <a:spcBef>
                  <a:spcPts val="200"/>
                </a:spcBef>
                <a:spcAft>
                  <a:spcPts val="225"/>
                </a:spcAft>
                <a:buClr>
                  <a:srgbClr val="C00000"/>
                </a:buClr>
                <a:buSzPct val="100000"/>
                <a:defRPr/>
              </a:pPr>
              <a:endParaRPr lang="en-US" sz="1050" kern="0">
                <a:solidFill>
                  <a:srgbClr val="001548"/>
                </a:solidFill>
                <a:latin typeface="Arial"/>
                <a:cs typeface="Arial" pitchFamily="34" charset="0"/>
              </a:endParaRPr>
            </a:p>
          </p:txBody>
        </p:sp>
        <p:sp>
          <p:nvSpPr>
            <p:cNvPr id="98" name="Rettangolo 97">
              <a:extLst>
                <a:ext uri="{FF2B5EF4-FFF2-40B4-BE49-F238E27FC236}">
                  <a16:creationId xmlns:a16="http://schemas.microsoft.com/office/drawing/2014/main" id="{1732CDD8-2F2C-41FD-94B9-4EE9A1D77597}"/>
                </a:ext>
              </a:extLst>
            </p:cNvPr>
            <p:cNvSpPr/>
            <p:nvPr/>
          </p:nvSpPr>
          <p:spPr>
            <a:xfrm>
              <a:off x="5057725" y="4384164"/>
              <a:ext cx="1298809" cy="369332"/>
            </a:xfrm>
            <a:prstGeom prst="rect">
              <a:avLst/>
            </a:prstGeom>
            <a:solidFill>
              <a:srgbClr val="B4C7E7"/>
            </a:solidFill>
          </p:spPr>
          <p:txBody>
            <a:bodyPr wrap="square" tIns="0" bIns="0">
              <a:spAutoFit/>
            </a:bodyPr>
            <a:lstStyle/>
            <a:p>
              <a:pPr algn="ctr" defTabSz="685766">
                <a:buClr>
                  <a:srgbClr val="C00000"/>
                </a:buClr>
                <a:defRPr/>
              </a:pPr>
              <a:r>
                <a:rPr lang="it-IT" sz="1200" b="1">
                  <a:solidFill>
                    <a:prstClr val="white"/>
                  </a:solidFill>
                  <a:latin typeface="Arial"/>
                </a:rPr>
                <a:t>Occupazione Giovanile</a:t>
              </a:r>
            </a:p>
          </p:txBody>
        </p:sp>
      </p:grpSp>
      <p:grpSp>
        <p:nvGrpSpPr>
          <p:cNvPr id="11" name="Gruppo 10">
            <a:extLst>
              <a:ext uri="{FF2B5EF4-FFF2-40B4-BE49-F238E27FC236}">
                <a16:creationId xmlns:a16="http://schemas.microsoft.com/office/drawing/2014/main" id="{174E0A57-752F-4156-8801-5D1D7EDE7F74}"/>
              </a:ext>
            </a:extLst>
          </p:cNvPr>
          <p:cNvGrpSpPr/>
          <p:nvPr/>
        </p:nvGrpSpPr>
        <p:grpSpPr>
          <a:xfrm>
            <a:off x="6869104" y="4383663"/>
            <a:ext cx="1586871" cy="510048"/>
            <a:chOff x="6869104" y="4292221"/>
            <a:chExt cx="1586871" cy="510048"/>
          </a:xfrm>
        </p:grpSpPr>
        <p:sp>
          <p:nvSpPr>
            <p:cNvPr id="100" name="Rettangolo arrotondato 41">
              <a:extLst>
                <a:ext uri="{FF2B5EF4-FFF2-40B4-BE49-F238E27FC236}">
                  <a16:creationId xmlns:a16="http://schemas.microsoft.com/office/drawing/2014/main" id="{E4B07128-B76C-4703-BCBC-353100A0AC13}"/>
                </a:ext>
              </a:extLst>
            </p:cNvPr>
            <p:cNvSpPr/>
            <p:nvPr/>
          </p:nvSpPr>
          <p:spPr>
            <a:xfrm>
              <a:off x="6869104" y="4292221"/>
              <a:ext cx="1586871" cy="510048"/>
            </a:xfrm>
            <a:prstGeom prst="roundRect">
              <a:avLst>
                <a:gd name="adj" fmla="val 8888"/>
              </a:avLst>
            </a:prstGeom>
            <a:solidFill>
              <a:srgbClr val="B4C7E7"/>
            </a:solidFill>
            <a:ln w="15875" cap="flat" cmpd="sng" algn="ctr">
              <a:noFill/>
              <a:prstDash val="sysDash"/>
            </a:ln>
            <a:effectLst/>
          </p:spPr>
          <p:txBody>
            <a:bodyPr lIns="27000" tIns="90000" rIns="27000" bIns="27000" anchor="t"/>
            <a:lstStyle/>
            <a:p>
              <a:pPr marL="0" lvl="3" algn="just" defTabSz="685783" eaLnBrk="0" hangingPunct="0">
                <a:spcBef>
                  <a:spcPts val="200"/>
                </a:spcBef>
                <a:spcAft>
                  <a:spcPts val="225"/>
                </a:spcAft>
                <a:buClr>
                  <a:srgbClr val="C00000"/>
                </a:buClr>
                <a:buSzPct val="100000"/>
                <a:defRPr/>
              </a:pPr>
              <a:endParaRPr lang="en-US" sz="1050" kern="0">
                <a:solidFill>
                  <a:srgbClr val="001548"/>
                </a:solidFill>
                <a:latin typeface="Arial"/>
                <a:cs typeface="Arial" pitchFamily="34" charset="0"/>
              </a:endParaRPr>
            </a:p>
          </p:txBody>
        </p:sp>
        <p:sp>
          <p:nvSpPr>
            <p:cNvPr id="101" name="Rettangolo 100">
              <a:extLst>
                <a:ext uri="{FF2B5EF4-FFF2-40B4-BE49-F238E27FC236}">
                  <a16:creationId xmlns:a16="http://schemas.microsoft.com/office/drawing/2014/main" id="{7154DA77-79AA-4D9F-99E8-0CB732FD62F3}"/>
                </a:ext>
              </a:extLst>
            </p:cNvPr>
            <p:cNvSpPr/>
            <p:nvPr/>
          </p:nvSpPr>
          <p:spPr>
            <a:xfrm>
              <a:off x="7055266" y="4384164"/>
              <a:ext cx="1270399" cy="369332"/>
            </a:xfrm>
            <a:prstGeom prst="rect">
              <a:avLst/>
            </a:prstGeom>
            <a:solidFill>
              <a:srgbClr val="B4C7E7"/>
            </a:solidFill>
          </p:spPr>
          <p:txBody>
            <a:bodyPr wrap="square" tIns="0" bIns="0">
              <a:spAutoFit/>
            </a:bodyPr>
            <a:lstStyle/>
            <a:p>
              <a:pPr algn="ctr" defTabSz="685766">
                <a:buClr>
                  <a:srgbClr val="C00000"/>
                </a:buClr>
                <a:defRPr/>
              </a:pPr>
              <a:r>
                <a:rPr lang="it-IT" sz="1200" b="1">
                  <a:solidFill>
                    <a:prstClr val="white"/>
                  </a:solidFill>
                  <a:latin typeface="Arial"/>
                </a:rPr>
                <a:t>Uguaglianza di Genere</a:t>
              </a:r>
            </a:p>
          </p:txBody>
        </p:sp>
      </p:grpSp>
      <p:sp>
        <p:nvSpPr>
          <p:cNvPr id="104" name="CasellaDiTesto 103">
            <a:extLst>
              <a:ext uri="{FF2B5EF4-FFF2-40B4-BE49-F238E27FC236}">
                <a16:creationId xmlns:a16="http://schemas.microsoft.com/office/drawing/2014/main" id="{7AC6F2D7-12B9-4F47-BA51-CA67B501FCCA}"/>
              </a:ext>
            </a:extLst>
          </p:cNvPr>
          <p:cNvSpPr txBox="1"/>
          <p:nvPr/>
        </p:nvSpPr>
        <p:spPr>
          <a:xfrm>
            <a:off x="1276011" y="2826247"/>
            <a:ext cx="701669" cy="210729"/>
          </a:xfrm>
          <a:prstGeom prst="rect">
            <a:avLst/>
          </a:prstGeom>
        </p:spPr>
        <p:txBody>
          <a:bodyPr vert="horz" wrap="square" lIns="91440" tIns="45720" rIns="91440" bIns="45720" rtlCol="0" anchor="b">
            <a:normAutofit fontScale="85000" lnSpcReduction="20000"/>
          </a:bodyPr>
          <a:lstStyle/>
          <a:p>
            <a:pPr defTabSz="685783"/>
            <a:r>
              <a:rPr lang="it-IT" sz="1013" b="1">
                <a:solidFill>
                  <a:srgbClr val="415364"/>
                </a:solidFill>
                <a:latin typeface="Arial" panose="020B0604020202020204"/>
              </a:rPr>
              <a:t>PMI</a:t>
            </a:r>
          </a:p>
        </p:txBody>
      </p:sp>
      <p:sp>
        <p:nvSpPr>
          <p:cNvPr id="52" name="Segnaposto testo 1">
            <a:extLst>
              <a:ext uri="{FF2B5EF4-FFF2-40B4-BE49-F238E27FC236}">
                <a16:creationId xmlns:a16="http://schemas.microsoft.com/office/drawing/2014/main" id="{5EC246E2-A747-4DFC-9A0C-AC033F514219}"/>
              </a:ext>
            </a:extLst>
          </p:cNvPr>
          <p:cNvSpPr>
            <a:spLocks noGrp="1"/>
          </p:cNvSpPr>
          <p:nvPr>
            <p:ph type="body" idx="13"/>
          </p:nvPr>
        </p:nvSpPr>
        <p:spPr>
          <a:xfrm>
            <a:off x="250825" y="268289"/>
            <a:ext cx="6998007" cy="287337"/>
          </a:xfrm>
        </p:spPr>
        <p:txBody>
          <a:bodyPr/>
          <a:lstStyle/>
          <a:p>
            <a:r>
              <a:rPr lang="en-US" err="1"/>
              <a:t>Settori</a:t>
            </a:r>
            <a:r>
              <a:rPr lang="en-US"/>
              <a:t> di </a:t>
            </a:r>
            <a:r>
              <a:rPr lang="en-US" err="1"/>
              <a:t>primario</a:t>
            </a:r>
            <a:r>
              <a:rPr lang="en-US"/>
              <a:t> interesse e </a:t>
            </a:r>
            <a:r>
              <a:rPr lang="en-US" err="1"/>
              <a:t>tematiche</a:t>
            </a:r>
            <a:r>
              <a:rPr lang="en-US"/>
              <a:t> </a:t>
            </a:r>
            <a:r>
              <a:rPr lang="en-US" err="1"/>
              <a:t>trasversali</a:t>
            </a:r>
            <a:r>
              <a:rPr lang="en-US"/>
              <a:t> </a:t>
            </a:r>
            <a:endParaRPr lang="it-IT"/>
          </a:p>
        </p:txBody>
      </p:sp>
      <p:pic>
        <p:nvPicPr>
          <p:cNvPr id="3" name="Immagine 2"/>
          <p:cNvPicPr>
            <a:picLocks noChangeAspect="1"/>
          </p:cNvPicPr>
          <p:nvPr/>
        </p:nvPicPr>
        <p:blipFill rotWithShape="1">
          <a:blip r:embed="rId4"/>
          <a:srcRect t="59129"/>
          <a:stretch/>
        </p:blipFill>
        <p:spPr>
          <a:xfrm>
            <a:off x="1047880" y="2525579"/>
            <a:ext cx="841897" cy="278591"/>
          </a:xfrm>
          <a:prstGeom prst="rect">
            <a:avLst/>
          </a:prstGeom>
        </p:spPr>
      </p:pic>
      <p:grpSp>
        <p:nvGrpSpPr>
          <p:cNvPr id="8" name="Gruppo 7">
            <a:extLst>
              <a:ext uri="{FF2B5EF4-FFF2-40B4-BE49-F238E27FC236}">
                <a16:creationId xmlns:a16="http://schemas.microsoft.com/office/drawing/2014/main" id="{5A44824F-0058-425E-BC53-94859022FE98}"/>
              </a:ext>
            </a:extLst>
          </p:cNvPr>
          <p:cNvGrpSpPr/>
          <p:nvPr/>
        </p:nvGrpSpPr>
        <p:grpSpPr>
          <a:xfrm>
            <a:off x="744224" y="4383663"/>
            <a:ext cx="1586871" cy="510048"/>
            <a:chOff x="744224" y="4292221"/>
            <a:chExt cx="1586871" cy="510048"/>
          </a:xfrm>
        </p:grpSpPr>
        <p:sp>
          <p:nvSpPr>
            <p:cNvPr id="60" name="Rettangolo arrotondato 40">
              <a:extLst>
                <a:ext uri="{FF2B5EF4-FFF2-40B4-BE49-F238E27FC236}">
                  <a16:creationId xmlns:a16="http://schemas.microsoft.com/office/drawing/2014/main" id="{1C549207-22B8-4739-AFBB-D89EDA5233E1}"/>
                </a:ext>
              </a:extLst>
            </p:cNvPr>
            <p:cNvSpPr/>
            <p:nvPr/>
          </p:nvSpPr>
          <p:spPr>
            <a:xfrm>
              <a:off x="744224" y="4292221"/>
              <a:ext cx="1586871" cy="510048"/>
            </a:xfrm>
            <a:prstGeom prst="roundRect">
              <a:avLst>
                <a:gd name="adj" fmla="val 8888"/>
              </a:avLst>
            </a:prstGeom>
            <a:solidFill>
              <a:srgbClr val="B4C7E7"/>
            </a:solidFill>
            <a:ln w="15875" cap="flat" cmpd="sng" algn="ctr">
              <a:noFill/>
              <a:prstDash val="sysDash"/>
            </a:ln>
            <a:effectLst/>
          </p:spPr>
          <p:txBody>
            <a:bodyPr lIns="27000" tIns="90000" rIns="27000" bIns="27000" anchor="t"/>
            <a:lstStyle/>
            <a:p>
              <a:pPr marL="0" lvl="3" algn="just" defTabSz="685783" eaLnBrk="0" hangingPunct="0">
                <a:spcBef>
                  <a:spcPts val="200"/>
                </a:spcBef>
                <a:spcAft>
                  <a:spcPts val="225"/>
                </a:spcAft>
                <a:buClr>
                  <a:srgbClr val="C00000"/>
                </a:buClr>
                <a:buSzPct val="100000"/>
                <a:defRPr/>
              </a:pPr>
              <a:endParaRPr lang="en-US" sz="1050" kern="0">
                <a:solidFill>
                  <a:srgbClr val="001548"/>
                </a:solidFill>
                <a:latin typeface="Arial"/>
                <a:cs typeface="Arial" pitchFamily="34" charset="0"/>
              </a:endParaRPr>
            </a:p>
          </p:txBody>
        </p:sp>
        <p:sp>
          <p:nvSpPr>
            <p:cNvPr id="61" name="Rettangolo 60">
              <a:extLst>
                <a:ext uri="{FF2B5EF4-FFF2-40B4-BE49-F238E27FC236}">
                  <a16:creationId xmlns:a16="http://schemas.microsoft.com/office/drawing/2014/main" id="{711479D0-ECBD-4E75-B111-1605BDB56A72}"/>
                </a:ext>
              </a:extLst>
            </p:cNvPr>
            <p:cNvSpPr/>
            <p:nvPr/>
          </p:nvSpPr>
          <p:spPr>
            <a:xfrm>
              <a:off x="795028" y="4465705"/>
              <a:ext cx="1500508" cy="184666"/>
            </a:xfrm>
            <a:prstGeom prst="rect">
              <a:avLst/>
            </a:prstGeom>
            <a:solidFill>
              <a:srgbClr val="B4C7E7"/>
            </a:solidFill>
          </p:spPr>
          <p:txBody>
            <a:bodyPr wrap="square" tIns="0" bIns="0">
              <a:spAutoFit/>
            </a:bodyPr>
            <a:lstStyle/>
            <a:p>
              <a:pPr algn="ctr" defTabSz="685766">
                <a:buClr>
                  <a:srgbClr val="C00000"/>
                </a:buClr>
                <a:defRPr/>
              </a:pPr>
              <a:r>
                <a:rPr lang="it-IT" sz="1200" b="1">
                  <a:solidFill>
                    <a:prstClr val="white"/>
                  </a:solidFill>
                  <a:latin typeface="Arial"/>
                </a:rPr>
                <a:t>Sanità</a:t>
              </a:r>
            </a:p>
          </p:txBody>
        </p:sp>
      </p:grpSp>
      <p:sp>
        <p:nvSpPr>
          <p:cNvPr id="54" name="Rectangle 8">
            <a:extLst>
              <a:ext uri="{FF2B5EF4-FFF2-40B4-BE49-F238E27FC236}">
                <a16:creationId xmlns:a16="http://schemas.microsoft.com/office/drawing/2014/main" id="{D01E506E-E2F7-4624-A2E4-F68A4294EEFC}"/>
              </a:ext>
            </a:extLst>
          </p:cNvPr>
          <p:cNvSpPr/>
          <p:nvPr/>
        </p:nvSpPr>
        <p:spPr>
          <a:xfrm>
            <a:off x="438030" y="615693"/>
            <a:ext cx="8360192" cy="453795"/>
          </a:xfrm>
          <a:prstGeom prst="rect">
            <a:avLst/>
          </a:prstGeom>
          <a:solidFill>
            <a:schemeClr val="bg1"/>
          </a:solidFill>
          <a:ln w="127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lnSpc>
                <a:spcPts val="1400"/>
              </a:lnSpc>
              <a:buClr>
                <a:srgbClr val="415364">
                  <a:lumMod val="100000"/>
                </a:srgbClr>
              </a:buClr>
              <a:buSzPct val="100000"/>
              <a:buFont typeface="Trebuchet MS" panose="020B0603020202020204" pitchFamily="34" charset="0"/>
              <a:buChar char="​"/>
            </a:pPr>
            <a:r>
              <a:rPr lang="it-IT" sz="1100" dirty="0">
                <a:solidFill>
                  <a:srgbClr val="415364"/>
                </a:solidFill>
                <a:latin typeface="Arial" panose="020B0604020202020204" pitchFamily="34" charset="0"/>
              </a:rPr>
              <a:t>I settori prioritari sono stati individuati tra quelli che più </a:t>
            </a:r>
            <a:r>
              <a:rPr lang="it-IT" sz="1100" b="1" dirty="0">
                <a:solidFill>
                  <a:srgbClr val="415364"/>
                </a:solidFill>
                <a:latin typeface="Arial" panose="020B0604020202020204" pitchFamily="34" charset="0"/>
              </a:rPr>
              <a:t>valorizzano le competenze del sistema Italia </a:t>
            </a:r>
            <a:r>
              <a:rPr lang="it-IT" sz="1100" dirty="0">
                <a:solidFill>
                  <a:srgbClr val="415364"/>
                </a:solidFill>
                <a:latin typeface="Arial" panose="020B0604020202020204" pitchFamily="34" charset="0"/>
              </a:rPr>
              <a:t>al fine di massimizzare il valore aggiunto che l’Italia può portare nei Paesi in via di Sviluppo</a:t>
            </a:r>
          </a:p>
        </p:txBody>
      </p:sp>
      <p:pic>
        <p:nvPicPr>
          <p:cNvPr id="4" name="Elemento grafico 3" descr="Antenna">
            <a:extLst>
              <a:ext uri="{FF2B5EF4-FFF2-40B4-BE49-F238E27FC236}">
                <a16:creationId xmlns:a16="http://schemas.microsoft.com/office/drawing/2014/main" id="{736C5507-CBA0-4896-99F8-F961966B0C3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843181" y="2331722"/>
            <a:ext cx="504000" cy="504000"/>
          </a:xfrm>
          <a:prstGeom prst="rect">
            <a:avLst/>
          </a:prstGeom>
        </p:spPr>
      </p:pic>
      <p:sp>
        <p:nvSpPr>
          <p:cNvPr id="92" name="Rectangle 2">
            <a:extLst>
              <a:ext uri="{FF2B5EF4-FFF2-40B4-BE49-F238E27FC236}">
                <a16:creationId xmlns:a16="http://schemas.microsoft.com/office/drawing/2014/main" id="{77DEA148-10B7-4C82-88ED-50A63B36A136}"/>
              </a:ext>
            </a:extLst>
          </p:cNvPr>
          <p:cNvSpPr>
            <a:spLocks/>
          </p:cNvSpPr>
          <p:nvPr/>
        </p:nvSpPr>
        <p:spPr>
          <a:xfrm>
            <a:off x="1" y="3"/>
            <a:ext cx="9143999" cy="163396"/>
          </a:xfrm>
          <a:prstGeom prst="rect">
            <a:avLst/>
          </a:prstGeom>
          <a:solidFill>
            <a:srgbClr val="415064"/>
          </a:solidFill>
          <a:ln w="9525" cap="flat" cmpd="sng" algn="ctr">
            <a:noFill/>
            <a:prstDash val="solid"/>
          </a:ln>
          <a:effectLst/>
        </p:spPr>
        <p:txBody>
          <a:bodyPr rot="0" spcFirstLastPara="0" vert="horz" wrap="square" lIns="121920" tIns="60960" rIns="121920" bIns="6096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224" kern="1200">
                <a:solidFill>
                  <a:schemeClr val="lt1"/>
                </a:solidFill>
                <a:latin typeface="+mn-lt"/>
                <a:ea typeface="+mn-ea"/>
                <a:cs typeface="+mn-cs"/>
              </a:defRPr>
            </a:lvl1pPr>
            <a:lvl2pPr marL="349849" algn="l" rtl="0" fontAlgn="base">
              <a:spcBef>
                <a:spcPct val="0"/>
              </a:spcBef>
              <a:spcAft>
                <a:spcPct val="0"/>
              </a:spcAft>
              <a:defRPr sz="1224" kern="1200">
                <a:solidFill>
                  <a:schemeClr val="lt1"/>
                </a:solidFill>
                <a:latin typeface="+mn-lt"/>
                <a:ea typeface="+mn-ea"/>
                <a:cs typeface="+mn-cs"/>
              </a:defRPr>
            </a:lvl2pPr>
            <a:lvl3pPr marL="699699" algn="l" rtl="0" fontAlgn="base">
              <a:spcBef>
                <a:spcPct val="0"/>
              </a:spcBef>
              <a:spcAft>
                <a:spcPct val="0"/>
              </a:spcAft>
              <a:defRPr sz="1224" kern="1200">
                <a:solidFill>
                  <a:schemeClr val="lt1"/>
                </a:solidFill>
                <a:latin typeface="+mn-lt"/>
                <a:ea typeface="+mn-ea"/>
                <a:cs typeface="+mn-cs"/>
              </a:defRPr>
            </a:lvl3pPr>
            <a:lvl4pPr marL="1049548" algn="l" rtl="0" fontAlgn="base">
              <a:spcBef>
                <a:spcPct val="0"/>
              </a:spcBef>
              <a:spcAft>
                <a:spcPct val="0"/>
              </a:spcAft>
              <a:defRPr sz="1224" kern="1200">
                <a:solidFill>
                  <a:schemeClr val="lt1"/>
                </a:solidFill>
                <a:latin typeface="+mn-lt"/>
                <a:ea typeface="+mn-ea"/>
                <a:cs typeface="+mn-cs"/>
              </a:defRPr>
            </a:lvl4pPr>
            <a:lvl5pPr marL="1399398" algn="l" rtl="0" fontAlgn="base">
              <a:spcBef>
                <a:spcPct val="0"/>
              </a:spcBef>
              <a:spcAft>
                <a:spcPct val="0"/>
              </a:spcAft>
              <a:defRPr sz="1224" kern="1200">
                <a:solidFill>
                  <a:schemeClr val="lt1"/>
                </a:solidFill>
                <a:latin typeface="+mn-lt"/>
                <a:ea typeface="+mn-ea"/>
                <a:cs typeface="+mn-cs"/>
              </a:defRPr>
            </a:lvl5pPr>
            <a:lvl6pPr marL="1749247" algn="l" defTabSz="699699" rtl="0" eaLnBrk="1" latinLnBrk="0" hangingPunct="1">
              <a:defRPr sz="1224" kern="1200">
                <a:solidFill>
                  <a:schemeClr val="lt1"/>
                </a:solidFill>
                <a:latin typeface="+mn-lt"/>
                <a:ea typeface="+mn-ea"/>
                <a:cs typeface="+mn-cs"/>
              </a:defRPr>
            </a:lvl6pPr>
            <a:lvl7pPr marL="2099097" algn="l" defTabSz="699699" rtl="0" eaLnBrk="1" latinLnBrk="0" hangingPunct="1">
              <a:defRPr sz="1224" kern="1200">
                <a:solidFill>
                  <a:schemeClr val="lt1"/>
                </a:solidFill>
                <a:latin typeface="+mn-lt"/>
                <a:ea typeface="+mn-ea"/>
                <a:cs typeface="+mn-cs"/>
              </a:defRPr>
            </a:lvl7pPr>
            <a:lvl8pPr marL="2448946" algn="l" defTabSz="699699" rtl="0" eaLnBrk="1" latinLnBrk="0" hangingPunct="1">
              <a:defRPr sz="1224" kern="1200">
                <a:solidFill>
                  <a:schemeClr val="lt1"/>
                </a:solidFill>
                <a:latin typeface="+mn-lt"/>
                <a:ea typeface="+mn-ea"/>
                <a:cs typeface="+mn-cs"/>
              </a:defRPr>
            </a:lvl8pPr>
            <a:lvl9pPr marL="2798796" algn="l" defTabSz="699699" rtl="0" eaLnBrk="1" latinLnBrk="0" hangingPunct="1">
              <a:defRPr sz="1224" kern="1200">
                <a:solidFill>
                  <a:schemeClr val="lt1"/>
                </a:solidFill>
                <a:latin typeface="+mn-lt"/>
                <a:ea typeface="+mn-ea"/>
                <a:cs typeface="+mn-cs"/>
              </a:defRPr>
            </a:lvl9pPr>
          </a:lstStyle>
          <a:p>
            <a:pPr defTabSz="1219079">
              <a:defRPr/>
            </a:pPr>
            <a:r>
              <a:rPr lang="it-IT" sz="1000" b="1" dirty="0">
                <a:solidFill>
                  <a:srgbClr val="FFFFFF"/>
                </a:solidFill>
                <a:latin typeface="Arial"/>
              </a:rPr>
              <a:t>CDP Cooperazione Internazionale allo Sviluppo</a:t>
            </a:r>
            <a:endParaRPr lang="it-IT" sz="1000" b="1" i="1" dirty="0">
              <a:solidFill>
                <a:srgbClr val="FFFFFF"/>
              </a:solidFill>
              <a:latin typeface="Arial"/>
            </a:endParaRPr>
          </a:p>
        </p:txBody>
      </p:sp>
    </p:spTree>
    <p:extLst>
      <p:ext uri="{BB962C8B-B14F-4D97-AF65-F5344CB8AC3E}">
        <p14:creationId xmlns:p14="http://schemas.microsoft.com/office/powerpoint/2010/main" val="22952392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20" name="think-cell Slide" r:id="rId6" imgW="473" imgH="473" progId="TCLayout.ActiveDocument.1">
                  <p:embed/>
                </p:oleObj>
              </mc:Choice>
              <mc:Fallback>
                <p:oleObj name="think-cell Slide" r:id="rId6" imgW="473" imgH="47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it-IT" sz="1800" b="1" dirty="0" err="1">
              <a:latin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lIns="108000" tIns="0" rIns="0" bIns="0"/>
          <a:lstStyle/>
          <a:p>
            <a:r>
              <a:rPr lang="it-IT" dirty="0"/>
              <a:t>Paesi prioritari per CDP Cooperazione Internazionale allo Sviluppo</a:t>
            </a:r>
          </a:p>
        </p:txBody>
      </p:sp>
      <p:grpSp>
        <p:nvGrpSpPr>
          <p:cNvPr id="33" name="Group 32"/>
          <p:cNvGrpSpPr/>
          <p:nvPr/>
        </p:nvGrpSpPr>
        <p:grpSpPr>
          <a:xfrm>
            <a:off x="251892" y="715278"/>
            <a:ext cx="8641164" cy="252022"/>
            <a:chOff x="3336690" y="733996"/>
            <a:chExt cx="5556366" cy="607718"/>
          </a:xfrm>
        </p:grpSpPr>
        <p:sp>
          <p:nvSpPr>
            <p:cNvPr id="34" name="ee4pHeader2"/>
            <p:cNvSpPr txBox="1"/>
            <p:nvPr/>
          </p:nvSpPr>
          <p:spPr>
            <a:xfrm>
              <a:off x="3336690" y="733996"/>
              <a:ext cx="5556366" cy="542918"/>
            </a:xfrm>
            <a:prstGeom prst="rect">
              <a:avLst/>
            </a:prstGeom>
            <a:noFill/>
            <a:ln cap="rnd">
              <a:noFill/>
            </a:ln>
          </p:spPr>
          <p:txBody>
            <a:bodyPr vert="horz" wrap="square" lIns="0" tIns="0" rIns="0" bIns="0" rtlCol="0" anchor="b" anchorCtr="0">
              <a:noAutofit/>
            </a:bodyPr>
            <a:lstStyle/>
            <a:p>
              <a:pPr marL="0" lvl="3"/>
              <a:r>
                <a:rPr lang="it-IT" sz="1100" b="1" dirty="0">
                  <a:solidFill>
                    <a:srgbClr val="005392"/>
                  </a:solidFill>
                  <a:latin typeface="Arial" panose="020B0604020202020204" pitchFamily="34" charset="0"/>
                </a:rPr>
                <a:t>Paesi prioritari </a:t>
              </a:r>
              <a:r>
                <a:rPr lang="it-IT" sz="1100" b="1">
                  <a:solidFill>
                    <a:srgbClr val="005392"/>
                  </a:solidFill>
                  <a:latin typeface="Arial" panose="020B0604020202020204" pitchFamily="34" charset="0"/>
                </a:rPr>
                <a:t>di Interesse </a:t>
              </a:r>
              <a:r>
                <a:rPr lang="it-IT" sz="1100" b="1" dirty="0">
                  <a:solidFill>
                    <a:srgbClr val="005392"/>
                  </a:solidFill>
                  <a:latin typeface="Arial" panose="020B0604020202020204" pitchFamily="34" charset="0"/>
                </a:rPr>
                <a:t>per il Sistema imprese italiane</a:t>
              </a:r>
            </a:p>
          </p:txBody>
        </p:sp>
        <p:cxnSp>
          <p:nvCxnSpPr>
            <p:cNvPr id="35" name="Straight Connector 34"/>
            <p:cNvCxnSpPr/>
            <p:nvPr/>
          </p:nvCxnSpPr>
          <p:spPr>
            <a:xfrm>
              <a:off x="3336690" y="1341714"/>
              <a:ext cx="5556365" cy="0"/>
            </a:xfrm>
            <a:prstGeom prst="line">
              <a:avLst/>
            </a:prstGeom>
          </p:spPr>
          <p:style>
            <a:lnRef idx="1">
              <a:schemeClr val="accent1"/>
            </a:lnRef>
            <a:fillRef idx="0">
              <a:schemeClr val="accent1"/>
            </a:fillRef>
            <a:effectRef idx="0">
              <a:schemeClr val="accent1"/>
            </a:effectRef>
            <a:fontRef idx="minor">
              <a:schemeClr val="tx1"/>
            </a:fontRef>
          </p:style>
        </p:cxnSp>
      </p:grpSp>
      <p:sp>
        <p:nvSpPr>
          <p:cNvPr id="269" name="Freeform 1031">
            <a:extLst>
              <a:ext uri="{FF2B5EF4-FFF2-40B4-BE49-F238E27FC236}">
                <a16:creationId xmlns:a16="http://schemas.microsoft.com/office/drawing/2014/main" id="{7AB35267-6A23-46BF-8783-6DA7F56FE38F}"/>
              </a:ext>
            </a:extLst>
          </p:cNvPr>
          <p:cNvSpPr>
            <a:spLocks noEditPoints="1"/>
          </p:cNvSpPr>
          <p:nvPr/>
        </p:nvSpPr>
        <p:spPr bwMode="auto">
          <a:xfrm>
            <a:off x="2602591" y="1579209"/>
            <a:ext cx="6076471" cy="1063048"/>
          </a:xfrm>
          <a:custGeom>
            <a:avLst/>
            <a:gdLst>
              <a:gd name="T0" fmla="*/ 223 w 4550"/>
              <a:gd name="T1" fmla="*/ 743 h 796"/>
              <a:gd name="T2" fmla="*/ 1091 w 4550"/>
              <a:gd name="T3" fmla="*/ 653 h 796"/>
              <a:gd name="T4" fmla="*/ 1232 w 4550"/>
              <a:gd name="T5" fmla="*/ 615 h 796"/>
              <a:gd name="T6" fmla="*/ 1415 w 4550"/>
              <a:gd name="T7" fmla="*/ 502 h 796"/>
              <a:gd name="T8" fmla="*/ 1473 w 4550"/>
              <a:gd name="T9" fmla="*/ 445 h 796"/>
              <a:gd name="T10" fmla="*/ 1325 w 4550"/>
              <a:gd name="T11" fmla="*/ 383 h 796"/>
              <a:gd name="T12" fmla="*/ 894 w 4550"/>
              <a:gd name="T13" fmla="*/ 342 h 796"/>
              <a:gd name="T14" fmla="*/ 1274 w 4550"/>
              <a:gd name="T15" fmla="*/ 354 h 796"/>
              <a:gd name="T16" fmla="*/ 1300 w 4550"/>
              <a:gd name="T17" fmla="*/ 386 h 796"/>
              <a:gd name="T18" fmla="*/ 1356 w 4550"/>
              <a:gd name="T19" fmla="*/ 384 h 796"/>
              <a:gd name="T20" fmla="*/ 1439 w 4550"/>
              <a:gd name="T21" fmla="*/ 401 h 796"/>
              <a:gd name="T22" fmla="*/ 1558 w 4550"/>
              <a:gd name="T23" fmla="*/ 389 h 796"/>
              <a:gd name="T24" fmla="*/ 1500 w 4550"/>
              <a:gd name="T25" fmla="*/ 426 h 796"/>
              <a:gd name="T26" fmla="*/ 1441 w 4550"/>
              <a:gd name="T27" fmla="*/ 469 h 796"/>
              <a:gd name="T28" fmla="*/ 1413 w 4550"/>
              <a:gd name="T29" fmla="*/ 488 h 796"/>
              <a:gd name="T30" fmla="*/ 1402 w 4550"/>
              <a:gd name="T31" fmla="*/ 483 h 796"/>
              <a:gd name="T32" fmla="*/ 1407 w 4550"/>
              <a:gd name="T33" fmla="*/ 524 h 796"/>
              <a:gd name="T34" fmla="*/ 1374 w 4550"/>
              <a:gd name="T35" fmla="*/ 552 h 796"/>
              <a:gd name="T36" fmla="*/ 1310 w 4550"/>
              <a:gd name="T37" fmla="*/ 617 h 796"/>
              <a:gd name="T38" fmla="*/ 1283 w 4550"/>
              <a:gd name="T39" fmla="*/ 659 h 796"/>
              <a:gd name="T40" fmla="*/ 1236 w 4550"/>
              <a:gd name="T41" fmla="*/ 614 h 796"/>
              <a:gd name="T42" fmla="*/ 1204 w 4550"/>
              <a:gd name="T43" fmla="*/ 633 h 796"/>
              <a:gd name="T44" fmla="*/ 1126 w 4550"/>
              <a:gd name="T45" fmla="*/ 624 h 796"/>
              <a:gd name="T46" fmla="*/ 1073 w 4550"/>
              <a:gd name="T47" fmla="*/ 682 h 796"/>
              <a:gd name="T48" fmla="*/ 983 w 4550"/>
              <a:gd name="T49" fmla="*/ 595 h 796"/>
              <a:gd name="T50" fmla="*/ 812 w 4550"/>
              <a:gd name="T51" fmla="*/ 538 h 796"/>
              <a:gd name="T52" fmla="*/ 806 w 4550"/>
              <a:gd name="T53" fmla="*/ 453 h 796"/>
              <a:gd name="T54" fmla="*/ 866 w 4550"/>
              <a:gd name="T55" fmla="*/ 354 h 796"/>
              <a:gd name="T56" fmla="*/ 894 w 4550"/>
              <a:gd name="T57" fmla="*/ 343 h 796"/>
              <a:gd name="T58" fmla="*/ 254 w 4550"/>
              <a:gd name="T59" fmla="*/ 286 h 796"/>
              <a:gd name="T60" fmla="*/ 300 w 4550"/>
              <a:gd name="T61" fmla="*/ 275 h 796"/>
              <a:gd name="T62" fmla="*/ 4451 w 4550"/>
              <a:gd name="T63" fmla="*/ 261 h 796"/>
              <a:gd name="T64" fmla="*/ 427 w 4550"/>
              <a:gd name="T65" fmla="*/ 253 h 796"/>
              <a:gd name="T66" fmla="*/ 470 w 4550"/>
              <a:gd name="T67" fmla="*/ 238 h 796"/>
              <a:gd name="T68" fmla="*/ 534 w 4550"/>
              <a:gd name="T69" fmla="*/ 226 h 796"/>
              <a:gd name="T70" fmla="*/ 877 w 4550"/>
              <a:gd name="T71" fmla="*/ 221 h 796"/>
              <a:gd name="T72" fmla="*/ 861 w 4550"/>
              <a:gd name="T73" fmla="*/ 231 h 796"/>
              <a:gd name="T74" fmla="*/ 630 w 4550"/>
              <a:gd name="T75" fmla="*/ 207 h 796"/>
              <a:gd name="T76" fmla="*/ 645 w 4550"/>
              <a:gd name="T77" fmla="*/ 201 h 796"/>
              <a:gd name="T78" fmla="*/ 661 w 4550"/>
              <a:gd name="T79" fmla="*/ 189 h 796"/>
              <a:gd name="T80" fmla="*/ 645 w 4550"/>
              <a:gd name="T81" fmla="*/ 196 h 796"/>
              <a:gd name="T82" fmla="*/ 853 w 4550"/>
              <a:gd name="T83" fmla="*/ 186 h 796"/>
              <a:gd name="T84" fmla="*/ 671 w 4550"/>
              <a:gd name="T85" fmla="*/ 184 h 796"/>
              <a:gd name="T86" fmla="*/ 758 w 4550"/>
              <a:gd name="T87" fmla="*/ 156 h 796"/>
              <a:gd name="T88" fmla="*/ 483 w 4550"/>
              <a:gd name="T89" fmla="*/ 152 h 796"/>
              <a:gd name="T90" fmla="*/ 561 w 4550"/>
              <a:gd name="T91" fmla="*/ 111 h 796"/>
              <a:gd name="T92" fmla="*/ 855 w 4550"/>
              <a:gd name="T93" fmla="*/ 7 h 796"/>
              <a:gd name="T94" fmla="*/ 929 w 4550"/>
              <a:gd name="T95" fmla="*/ 67 h 796"/>
              <a:gd name="T96" fmla="*/ 883 w 4550"/>
              <a:gd name="T97" fmla="*/ 230 h 796"/>
              <a:gd name="T98" fmla="*/ 887 w 4550"/>
              <a:gd name="T99" fmla="*/ 188 h 796"/>
              <a:gd name="T100" fmla="*/ 858 w 4550"/>
              <a:gd name="T101" fmla="*/ 180 h 796"/>
              <a:gd name="T102" fmla="*/ 788 w 4550"/>
              <a:gd name="T103" fmla="*/ 152 h 796"/>
              <a:gd name="T104" fmla="*/ 759 w 4550"/>
              <a:gd name="T105" fmla="*/ 147 h 796"/>
              <a:gd name="T106" fmla="*/ 712 w 4550"/>
              <a:gd name="T107" fmla="*/ 161 h 796"/>
              <a:gd name="T108" fmla="*/ 669 w 4550"/>
              <a:gd name="T109" fmla="*/ 170 h 796"/>
              <a:gd name="T110" fmla="*/ 571 w 4550"/>
              <a:gd name="T111" fmla="*/ 214 h 796"/>
              <a:gd name="T112" fmla="*/ 496 w 4550"/>
              <a:gd name="T113" fmla="*/ 232 h 796"/>
              <a:gd name="T114" fmla="*/ 632 w 4550"/>
              <a:gd name="T115" fmla="*/ 173 h 796"/>
              <a:gd name="T116" fmla="*/ 596 w 4550"/>
              <a:gd name="T117" fmla="*/ 154 h 796"/>
              <a:gd name="T118" fmla="*/ 585 w 4550"/>
              <a:gd name="T119" fmla="*/ 137 h 796"/>
              <a:gd name="T120" fmla="*/ 690 w 4550"/>
              <a:gd name="T121" fmla="*/ 88 h 796"/>
              <a:gd name="T122" fmla="*/ 690 w 4550"/>
              <a:gd name="T123" fmla="*/ 67 h 796"/>
              <a:gd name="T124" fmla="*/ 699 w 4550"/>
              <a:gd name="T125" fmla="*/ 39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50" h="796">
                <a:moveTo>
                  <a:pt x="268" y="776"/>
                </a:moveTo>
                <a:lnTo>
                  <a:pt x="269" y="776"/>
                </a:lnTo>
                <a:lnTo>
                  <a:pt x="270" y="776"/>
                </a:lnTo>
                <a:lnTo>
                  <a:pt x="270" y="777"/>
                </a:lnTo>
                <a:lnTo>
                  <a:pt x="271" y="777"/>
                </a:lnTo>
                <a:lnTo>
                  <a:pt x="273" y="778"/>
                </a:lnTo>
                <a:lnTo>
                  <a:pt x="273" y="779"/>
                </a:lnTo>
                <a:lnTo>
                  <a:pt x="275" y="780"/>
                </a:lnTo>
                <a:lnTo>
                  <a:pt x="273" y="782"/>
                </a:lnTo>
                <a:lnTo>
                  <a:pt x="273" y="783"/>
                </a:lnTo>
                <a:lnTo>
                  <a:pt x="275" y="783"/>
                </a:lnTo>
                <a:lnTo>
                  <a:pt x="275" y="782"/>
                </a:lnTo>
                <a:lnTo>
                  <a:pt x="275" y="783"/>
                </a:lnTo>
                <a:lnTo>
                  <a:pt x="275" y="784"/>
                </a:lnTo>
                <a:lnTo>
                  <a:pt x="276" y="785"/>
                </a:lnTo>
                <a:lnTo>
                  <a:pt x="277" y="785"/>
                </a:lnTo>
                <a:lnTo>
                  <a:pt x="277" y="786"/>
                </a:lnTo>
                <a:lnTo>
                  <a:pt x="276" y="786"/>
                </a:lnTo>
                <a:lnTo>
                  <a:pt x="276" y="787"/>
                </a:lnTo>
                <a:lnTo>
                  <a:pt x="275" y="787"/>
                </a:lnTo>
                <a:lnTo>
                  <a:pt x="273" y="789"/>
                </a:lnTo>
                <a:lnTo>
                  <a:pt x="272" y="789"/>
                </a:lnTo>
                <a:lnTo>
                  <a:pt x="272" y="790"/>
                </a:lnTo>
                <a:lnTo>
                  <a:pt x="271" y="790"/>
                </a:lnTo>
                <a:lnTo>
                  <a:pt x="270" y="790"/>
                </a:lnTo>
                <a:lnTo>
                  <a:pt x="269" y="790"/>
                </a:lnTo>
                <a:lnTo>
                  <a:pt x="269" y="791"/>
                </a:lnTo>
                <a:lnTo>
                  <a:pt x="268" y="791"/>
                </a:lnTo>
                <a:lnTo>
                  <a:pt x="266" y="791"/>
                </a:lnTo>
                <a:lnTo>
                  <a:pt x="266" y="792"/>
                </a:lnTo>
                <a:lnTo>
                  <a:pt x="265" y="792"/>
                </a:lnTo>
                <a:lnTo>
                  <a:pt x="265" y="793"/>
                </a:lnTo>
                <a:lnTo>
                  <a:pt x="264" y="793"/>
                </a:lnTo>
                <a:lnTo>
                  <a:pt x="264" y="794"/>
                </a:lnTo>
                <a:lnTo>
                  <a:pt x="263" y="794"/>
                </a:lnTo>
                <a:lnTo>
                  <a:pt x="263" y="796"/>
                </a:lnTo>
                <a:lnTo>
                  <a:pt x="263" y="794"/>
                </a:lnTo>
                <a:lnTo>
                  <a:pt x="262" y="794"/>
                </a:lnTo>
                <a:lnTo>
                  <a:pt x="261" y="793"/>
                </a:lnTo>
                <a:lnTo>
                  <a:pt x="259" y="793"/>
                </a:lnTo>
                <a:lnTo>
                  <a:pt x="259" y="792"/>
                </a:lnTo>
                <a:lnTo>
                  <a:pt x="261" y="791"/>
                </a:lnTo>
                <a:lnTo>
                  <a:pt x="262" y="789"/>
                </a:lnTo>
                <a:lnTo>
                  <a:pt x="262" y="787"/>
                </a:lnTo>
                <a:lnTo>
                  <a:pt x="261" y="787"/>
                </a:lnTo>
                <a:lnTo>
                  <a:pt x="261" y="786"/>
                </a:lnTo>
                <a:lnTo>
                  <a:pt x="261" y="785"/>
                </a:lnTo>
                <a:lnTo>
                  <a:pt x="261" y="784"/>
                </a:lnTo>
                <a:lnTo>
                  <a:pt x="261" y="783"/>
                </a:lnTo>
                <a:lnTo>
                  <a:pt x="261" y="782"/>
                </a:lnTo>
                <a:lnTo>
                  <a:pt x="262" y="782"/>
                </a:lnTo>
                <a:lnTo>
                  <a:pt x="262" y="780"/>
                </a:lnTo>
                <a:lnTo>
                  <a:pt x="263" y="780"/>
                </a:lnTo>
                <a:lnTo>
                  <a:pt x="263" y="779"/>
                </a:lnTo>
                <a:lnTo>
                  <a:pt x="264" y="779"/>
                </a:lnTo>
                <a:lnTo>
                  <a:pt x="264" y="778"/>
                </a:lnTo>
                <a:lnTo>
                  <a:pt x="265" y="778"/>
                </a:lnTo>
                <a:lnTo>
                  <a:pt x="264" y="777"/>
                </a:lnTo>
                <a:lnTo>
                  <a:pt x="264" y="776"/>
                </a:lnTo>
                <a:lnTo>
                  <a:pt x="264" y="775"/>
                </a:lnTo>
                <a:lnTo>
                  <a:pt x="265" y="775"/>
                </a:lnTo>
                <a:lnTo>
                  <a:pt x="265" y="773"/>
                </a:lnTo>
                <a:lnTo>
                  <a:pt x="266" y="775"/>
                </a:lnTo>
                <a:lnTo>
                  <a:pt x="268" y="776"/>
                </a:lnTo>
                <a:close/>
                <a:moveTo>
                  <a:pt x="257" y="770"/>
                </a:moveTo>
                <a:lnTo>
                  <a:pt x="256" y="770"/>
                </a:lnTo>
                <a:lnTo>
                  <a:pt x="255" y="770"/>
                </a:lnTo>
                <a:lnTo>
                  <a:pt x="255" y="769"/>
                </a:lnTo>
                <a:lnTo>
                  <a:pt x="256" y="769"/>
                </a:lnTo>
                <a:lnTo>
                  <a:pt x="257" y="769"/>
                </a:lnTo>
                <a:lnTo>
                  <a:pt x="257" y="770"/>
                </a:lnTo>
                <a:close/>
                <a:moveTo>
                  <a:pt x="252" y="766"/>
                </a:moveTo>
                <a:lnTo>
                  <a:pt x="251" y="766"/>
                </a:lnTo>
                <a:lnTo>
                  <a:pt x="251" y="765"/>
                </a:lnTo>
                <a:lnTo>
                  <a:pt x="251" y="764"/>
                </a:lnTo>
                <a:lnTo>
                  <a:pt x="251" y="763"/>
                </a:lnTo>
                <a:lnTo>
                  <a:pt x="252" y="763"/>
                </a:lnTo>
                <a:lnTo>
                  <a:pt x="254" y="764"/>
                </a:lnTo>
                <a:lnTo>
                  <a:pt x="255" y="765"/>
                </a:lnTo>
                <a:lnTo>
                  <a:pt x="254" y="765"/>
                </a:lnTo>
                <a:lnTo>
                  <a:pt x="254" y="766"/>
                </a:lnTo>
                <a:lnTo>
                  <a:pt x="252" y="766"/>
                </a:lnTo>
                <a:close/>
                <a:moveTo>
                  <a:pt x="258" y="762"/>
                </a:moveTo>
                <a:lnTo>
                  <a:pt x="258" y="763"/>
                </a:lnTo>
                <a:lnTo>
                  <a:pt x="259" y="763"/>
                </a:lnTo>
                <a:lnTo>
                  <a:pt x="259" y="764"/>
                </a:lnTo>
                <a:lnTo>
                  <a:pt x="261" y="763"/>
                </a:lnTo>
                <a:lnTo>
                  <a:pt x="262" y="763"/>
                </a:lnTo>
                <a:lnTo>
                  <a:pt x="263" y="763"/>
                </a:lnTo>
                <a:lnTo>
                  <a:pt x="263" y="764"/>
                </a:lnTo>
                <a:lnTo>
                  <a:pt x="264" y="764"/>
                </a:lnTo>
                <a:lnTo>
                  <a:pt x="264" y="765"/>
                </a:lnTo>
                <a:lnTo>
                  <a:pt x="265" y="765"/>
                </a:lnTo>
                <a:lnTo>
                  <a:pt x="265" y="766"/>
                </a:lnTo>
                <a:lnTo>
                  <a:pt x="265" y="768"/>
                </a:lnTo>
                <a:lnTo>
                  <a:pt x="264" y="768"/>
                </a:lnTo>
                <a:lnTo>
                  <a:pt x="263" y="769"/>
                </a:lnTo>
                <a:lnTo>
                  <a:pt x="262" y="769"/>
                </a:lnTo>
                <a:lnTo>
                  <a:pt x="262" y="768"/>
                </a:lnTo>
                <a:lnTo>
                  <a:pt x="262" y="769"/>
                </a:lnTo>
                <a:lnTo>
                  <a:pt x="261" y="769"/>
                </a:lnTo>
                <a:lnTo>
                  <a:pt x="259" y="769"/>
                </a:lnTo>
                <a:lnTo>
                  <a:pt x="258" y="769"/>
                </a:lnTo>
                <a:lnTo>
                  <a:pt x="258" y="768"/>
                </a:lnTo>
                <a:lnTo>
                  <a:pt x="258" y="766"/>
                </a:lnTo>
                <a:lnTo>
                  <a:pt x="258" y="765"/>
                </a:lnTo>
                <a:lnTo>
                  <a:pt x="257" y="765"/>
                </a:lnTo>
                <a:lnTo>
                  <a:pt x="256" y="764"/>
                </a:lnTo>
                <a:lnTo>
                  <a:pt x="256" y="763"/>
                </a:lnTo>
                <a:lnTo>
                  <a:pt x="257" y="763"/>
                </a:lnTo>
                <a:lnTo>
                  <a:pt x="257" y="762"/>
                </a:lnTo>
                <a:lnTo>
                  <a:pt x="258" y="762"/>
                </a:lnTo>
                <a:close/>
                <a:moveTo>
                  <a:pt x="250" y="758"/>
                </a:moveTo>
                <a:lnTo>
                  <a:pt x="250" y="759"/>
                </a:lnTo>
                <a:lnTo>
                  <a:pt x="251" y="759"/>
                </a:lnTo>
                <a:lnTo>
                  <a:pt x="252" y="759"/>
                </a:lnTo>
                <a:lnTo>
                  <a:pt x="254" y="759"/>
                </a:lnTo>
                <a:lnTo>
                  <a:pt x="255" y="759"/>
                </a:lnTo>
                <a:lnTo>
                  <a:pt x="256" y="759"/>
                </a:lnTo>
                <a:lnTo>
                  <a:pt x="257" y="759"/>
                </a:lnTo>
                <a:lnTo>
                  <a:pt x="257" y="761"/>
                </a:lnTo>
                <a:lnTo>
                  <a:pt x="256" y="761"/>
                </a:lnTo>
                <a:lnTo>
                  <a:pt x="255" y="762"/>
                </a:lnTo>
                <a:lnTo>
                  <a:pt x="254" y="762"/>
                </a:lnTo>
                <a:lnTo>
                  <a:pt x="252" y="761"/>
                </a:lnTo>
                <a:lnTo>
                  <a:pt x="251" y="761"/>
                </a:lnTo>
                <a:lnTo>
                  <a:pt x="250" y="761"/>
                </a:lnTo>
                <a:lnTo>
                  <a:pt x="249" y="761"/>
                </a:lnTo>
                <a:lnTo>
                  <a:pt x="249" y="759"/>
                </a:lnTo>
                <a:lnTo>
                  <a:pt x="250" y="759"/>
                </a:lnTo>
                <a:lnTo>
                  <a:pt x="250" y="758"/>
                </a:lnTo>
                <a:close/>
                <a:moveTo>
                  <a:pt x="242" y="752"/>
                </a:moveTo>
                <a:lnTo>
                  <a:pt x="242" y="754"/>
                </a:lnTo>
                <a:lnTo>
                  <a:pt x="243" y="754"/>
                </a:lnTo>
                <a:lnTo>
                  <a:pt x="242" y="754"/>
                </a:lnTo>
                <a:lnTo>
                  <a:pt x="243" y="754"/>
                </a:lnTo>
                <a:lnTo>
                  <a:pt x="243" y="755"/>
                </a:lnTo>
                <a:lnTo>
                  <a:pt x="243" y="756"/>
                </a:lnTo>
                <a:lnTo>
                  <a:pt x="243" y="755"/>
                </a:lnTo>
                <a:lnTo>
                  <a:pt x="244" y="755"/>
                </a:lnTo>
                <a:lnTo>
                  <a:pt x="244" y="756"/>
                </a:lnTo>
                <a:lnTo>
                  <a:pt x="244" y="757"/>
                </a:lnTo>
                <a:lnTo>
                  <a:pt x="244" y="758"/>
                </a:lnTo>
                <a:lnTo>
                  <a:pt x="243" y="758"/>
                </a:lnTo>
                <a:lnTo>
                  <a:pt x="242" y="758"/>
                </a:lnTo>
                <a:lnTo>
                  <a:pt x="242" y="757"/>
                </a:lnTo>
                <a:lnTo>
                  <a:pt x="241" y="757"/>
                </a:lnTo>
                <a:lnTo>
                  <a:pt x="241" y="756"/>
                </a:lnTo>
                <a:lnTo>
                  <a:pt x="240" y="756"/>
                </a:lnTo>
                <a:lnTo>
                  <a:pt x="241" y="757"/>
                </a:lnTo>
                <a:lnTo>
                  <a:pt x="240" y="757"/>
                </a:lnTo>
                <a:lnTo>
                  <a:pt x="240" y="756"/>
                </a:lnTo>
                <a:lnTo>
                  <a:pt x="240" y="757"/>
                </a:lnTo>
                <a:lnTo>
                  <a:pt x="241" y="757"/>
                </a:lnTo>
                <a:lnTo>
                  <a:pt x="240" y="757"/>
                </a:lnTo>
                <a:lnTo>
                  <a:pt x="239" y="757"/>
                </a:lnTo>
                <a:lnTo>
                  <a:pt x="239" y="756"/>
                </a:lnTo>
                <a:lnTo>
                  <a:pt x="237" y="756"/>
                </a:lnTo>
                <a:lnTo>
                  <a:pt x="237" y="755"/>
                </a:lnTo>
                <a:lnTo>
                  <a:pt x="237" y="754"/>
                </a:lnTo>
                <a:lnTo>
                  <a:pt x="237" y="752"/>
                </a:lnTo>
                <a:lnTo>
                  <a:pt x="239" y="752"/>
                </a:lnTo>
                <a:lnTo>
                  <a:pt x="240" y="752"/>
                </a:lnTo>
                <a:lnTo>
                  <a:pt x="241" y="752"/>
                </a:lnTo>
                <a:lnTo>
                  <a:pt x="241" y="751"/>
                </a:lnTo>
                <a:lnTo>
                  <a:pt x="242" y="751"/>
                </a:lnTo>
                <a:lnTo>
                  <a:pt x="242" y="752"/>
                </a:lnTo>
                <a:close/>
                <a:moveTo>
                  <a:pt x="212" y="750"/>
                </a:moveTo>
                <a:lnTo>
                  <a:pt x="212" y="749"/>
                </a:lnTo>
                <a:lnTo>
                  <a:pt x="212" y="748"/>
                </a:lnTo>
                <a:lnTo>
                  <a:pt x="213" y="748"/>
                </a:lnTo>
                <a:lnTo>
                  <a:pt x="213" y="747"/>
                </a:lnTo>
                <a:lnTo>
                  <a:pt x="214" y="747"/>
                </a:lnTo>
                <a:lnTo>
                  <a:pt x="214" y="748"/>
                </a:lnTo>
                <a:lnTo>
                  <a:pt x="213" y="748"/>
                </a:lnTo>
                <a:lnTo>
                  <a:pt x="213" y="749"/>
                </a:lnTo>
                <a:lnTo>
                  <a:pt x="212" y="749"/>
                </a:lnTo>
                <a:lnTo>
                  <a:pt x="212" y="750"/>
                </a:lnTo>
                <a:close/>
                <a:moveTo>
                  <a:pt x="225" y="743"/>
                </a:moveTo>
                <a:lnTo>
                  <a:pt x="226" y="743"/>
                </a:lnTo>
                <a:lnTo>
                  <a:pt x="226" y="744"/>
                </a:lnTo>
                <a:lnTo>
                  <a:pt x="226" y="745"/>
                </a:lnTo>
                <a:lnTo>
                  <a:pt x="225" y="745"/>
                </a:lnTo>
                <a:lnTo>
                  <a:pt x="225" y="747"/>
                </a:lnTo>
                <a:lnTo>
                  <a:pt x="223" y="747"/>
                </a:lnTo>
                <a:lnTo>
                  <a:pt x="223" y="748"/>
                </a:lnTo>
                <a:lnTo>
                  <a:pt x="222" y="748"/>
                </a:lnTo>
                <a:lnTo>
                  <a:pt x="222" y="749"/>
                </a:lnTo>
                <a:lnTo>
                  <a:pt x="222" y="748"/>
                </a:lnTo>
                <a:lnTo>
                  <a:pt x="221" y="748"/>
                </a:lnTo>
                <a:lnTo>
                  <a:pt x="220" y="748"/>
                </a:lnTo>
                <a:lnTo>
                  <a:pt x="220" y="747"/>
                </a:lnTo>
                <a:lnTo>
                  <a:pt x="219" y="747"/>
                </a:lnTo>
                <a:lnTo>
                  <a:pt x="219" y="745"/>
                </a:lnTo>
                <a:lnTo>
                  <a:pt x="220" y="744"/>
                </a:lnTo>
                <a:lnTo>
                  <a:pt x="221" y="744"/>
                </a:lnTo>
                <a:lnTo>
                  <a:pt x="221" y="743"/>
                </a:lnTo>
                <a:lnTo>
                  <a:pt x="222" y="743"/>
                </a:lnTo>
                <a:lnTo>
                  <a:pt x="223" y="743"/>
                </a:lnTo>
                <a:lnTo>
                  <a:pt x="225" y="743"/>
                </a:lnTo>
                <a:close/>
                <a:moveTo>
                  <a:pt x="158" y="721"/>
                </a:moveTo>
                <a:lnTo>
                  <a:pt x="158" y="722"/>
                </a:lnTo>
                <a:lnTo>
                  <a:pt x="158" y="721"/>
                </a:lnTo>
                <a:close/>
                <a:moveTo>
                  <a:pt x="1289" y="706"/>
                </a:moveTo>
                <a:lnTo>
                  <a:pt x="1288" y="706"/>
                </a:lnTo>
                <a:lnTo>
                  <a:pt x="1289" y="706"/>
                </a:lnTo>
                <a:close/>
                <a:moveTo>
                  <a:pt x="1290" y="706"/>
                </a:moveTo>
                <a:lnTo>
                  <a:pt x="1289" y="706"/>
                </a:lnTo>
                <a:lnTo>
                  <a:pt x="1290" y="706"/>
                </a:lnTo>
                <a:close/>
                <a:moveTo>
                  <a:pt x="1295" y="705"/>
                </a:moveTo>
                <a:lnTo>
                  <a:pt x="1296" y="705"/>
                </a:lnTo>
                <a:lnTo>
                  <a:pt x="1295" y="705"/>
                </a:lnTo>
                <a:close/>
                <a:moveTo>
                  <a:pt x="1293" y="705"/>
                </a:moveTo>
                <a:lnTo>
                  <a:pt x="1293" y="703"/>
                </a:lnTo>
                <a:lnTo>
                  <a:pt x="1293" y="705"/>
                </a:lnTo>
                <a:close/>
                <a:moveTo>
                  <a:pt x="1292" y="703"/>
                </a:moveTo>
                <a:lnTo>
                  <a:pt x="1292" y="705"/>
                </a:lnTo>
                <a:lnTo>
                  <a:pt x="1293" y="705"/>
                </a:lnTo>
                <a:lnTo>
                  <a:pt x="1292" y="705"/>
                </a:lnTo>
                <a:lnTo>
                  <a:pt x="1292" y="706"/>
                </a:lnTo>
                <a:lnTo>
                  <a:pt x="1290" y="706"/>
                </a:lnTo>
                <a:lnTo>
                  <a:pt x="1290" y="705"/>
                </a:lnTo>
                <a:lnTo>
                  <a:pt x="1290" y="706"/>
                </a:lnTo>
                <a:lnTo>
                  <a:pt x="1292" y="705"/>
                </a:lnTo>
                <a:lnTo>
                  <a:pt x="1292" y="703"/>
                </a:lnTo>
                <a:close/>
                <a:moveTo>
                  <a:pt x="1293" y="705"/>
                </a:moveTo>
                <a:lnTo>
                  <a:pt x="1293" y="703"/>
                </a:lnTo>
                <a:lnTo>
                  <a:pt x="1293" y="705"/>
                </a:lnTo>
                <a:close/>
                <a:moveTo>
                  <a:pt x="1295" y="705"/>
                </a:moveTo>
                <a:lnTo>
                  <a:pt x="1295" y="703"/>
                </a:lnTo>
                <a:lnTo>
                  <a:pt x="1295" y="705"/>
                </a:lnTo>
                <a:close/>
                <a:moveTo>
                  <a:pt x="1299" y="703"/>
                </a:moveTo>
                <a:lnTo>
                  <a:pt x="1297" y="703"/>
                </a:lnTo>
                <a:lnTo>
                  <a:pt x="1299" y="703"/>
                </a:lnTo>
                <a:close/>
                <a:moveTo>
                  <a:pt x="1295" y="705"/>
                </a:moveTo>
                <a:lnTo>
                  <a:pt x="1294" y="705"/>
                </a:lnTo>
                <a:lnTo>
                  <a:pt x="1294" y="702"/>
                </a:lnTo>
                <a:lnTo>
                  <a:pt x="1294" y="703"/>
                </a:lnTo>
                <a:lnTo>
                  <a:pt x="1295" y="705"/>
                </a:lnTo>
                <a:close/>
                <a:moveTo>
                  <a:pt x="1300" y="703"/>
                </a:moveTo>
                <a:lnTo>
                  <a:pt x="1299" y="703"/>
                </a:lnTo>
                <a:lnTo>
                  <a:pt x="1300" y="702"/>
                </a:lnTo>
                <a:lnTo>
                  <a:pt x="1301" y="702"/>
                </a:lnTo>
                <a:lnTo>
                  <a:pt x="1300" y="702"/>
                </a:lnTo>
                <a:lnTo>
                  <a:pt x="1300" y="703"/>
                </a:lnTo>
                <a:close/>
                <a:moveTo>
                  <a:pt x="1302" y="702"/>
                </a:moveTo>
                <a:lnTo>
                  <a:pt x="1302" y="701"/>
                </a:lnTo>
                <a:lnTo>
                  <a:pt x="1302" y="702"/>
                </a:lnTo>
                <a:lnTo>
                  <a:pt x="1302" y="701"/>
                </a:lnTo>
                <a:lnTo>
                  <a:pt x="1302" y="702"/>
                </a:lnTo>
                <a:close/>
                <a:moveTo>
                  <a:pt x="1304" y="700"/>
                </a:moveTo>
                <a:lnTo>
                  <a:pt x="1306" y="700"/>
                </a:lnTo>
                <a:lnTo>
                  <a:pt x="1304" y="700"/>
                </a:lnTo>
                <a:close/>
                <a:moveTo>
                  <a:pt x="1309" y="696"/>
                </a:moveTo>
                <a:lnTo>
                  <a:pt x="1308" y="698"/>
                </a:lnTo>
                <a:lnTo>
                  <a:pt x="1307" y="698"/>
                </a:lnTo>
                <a:lnTo>
                  <a:pt x="1307" y="699"/>
                </a:lnTo>
                <a:lnTo>
                  <a:pt x="1306" y="700"/>
                </a:lnTo>
                <a:lnTo>
                  <a:pt x="1306" y="699"/>
                </a:lnTo>
                <a:lnTo>
                  <a:pt x="1307" y="699"/>
                </a:lnTo>
                <a:lnTo>
                  <a:pt x="1307" y="698"/>
                </a:lnTo>
                <a:lnTo>
                  <a:pt x="1308" y="698"/>
                </a:lnTo>
                <a:lnTo>
                  <a:pt x="1308" y="696"/>
                </a:lnTo>
                <a:lnTo>
                  <a:pt x="1308" y="698"/>
                </a:lnTo>
                <a:lnTo>
                  <a:pt x="1308" y="696"/>
                </a:lnTo>
                <a:lnTo>
                  <a:pt x="1309" y="696"/>
                </a:lnTo>
                <a:lnTo>
                  <a:pt x="1309" y="695"/>
                </a:lnTo>
                <a:lnTo>
                  <a:pt x="1309" y="694"/>
                </a:lnTo>
                <a:lnTo>
                  <a:pt x="1310" y="694"/>
                </a:lnTo>
                <a:lnTo>
                  <a:pt x="1310" y="693"/>
                </a:lnTo>
                <a:lnTo>
                  <a:pt x="1311" y="693"/>
                </a:lnTo>
                <a:lnTo>
                  <a:pt x="1311" y="694"/>
                </a:lnTo>
                <a:lnTo>
                  <a:pt x="1310" y="694"/>
                </a:lnTo>
                <a:lnTo>
                  <a:pt x="1310" y="695"/>
                </a:lnTo>
                <a:lnTo>
                  <a:pt x="1309" y="695"/>
                </a:lnTo>
                <a:lnTo>
                  <a:pt x="1309" y="696"/>
                </a:lnTo>
                <a:close/>
                <a:moveTo>
                  <a:pt x="1311" y="693"/>
                </a:moveTo>
                <a:lnTo>
                  <a:pt x="1311" y="692"/>
                </a:lnTo>
                <a:lnTo>
                  <a:pt x="1313" y="692"/>
                </a:lnTo>
                <a:lnTo>
                  <a:pt x="1313" y="691"/>
                </a:lnTo>
                <a:lnTo>
                  <a:pt x="1313" y="692"/>
                </a:lnTo>
                <a:lnTo>
                  <a:pt x="1311" y="692"/>
                </a:lnTo>
                <a:lnTo>
                  <a:pt x="1311" y="693"/>
                </a:lnTo>
                <a:close/>
                <a:moveTo>
                  <a:pt x="1314" y="688"/>
                </a:moveTo>
                <a:lnTo>
                  <a:pt x="1313" y="688"/>
                </a:lnTo>
                <a:lnTo>
                  <a:pt x="1313" y="687"/>
                </a:lnTo>
                <a:lnTo>
                  <a:pt x="1314" y="687"/>
                </a:lnTo>
                <a:lnTo>
                  <a:pt x="1314" y="688"/>
                </a:lnTo>
                <a:close/>
                <a:moveTo>
                  <a:pt x="1297" y="686"/>
                </a:moveTo>
                <a:lnTo>
                  <a:pt x="1296" y="686"/>
                </a:lnTo>
                <a:lnTo>
                  <a:pt x="1297" y="686"/>
                </a:lnTo>
                <a:close/>
                <a:moveTo>
                  <a:pt x="1296" y="685"/>
                </a:moveTo>
                <a:lnTo>
                  <a:pt x="1296" y="686"/>
                </a:lnTo>
                <a:lnTo>
                  <a:pt x="1295" y="686"/>
                </a:lnTo>
                <a:lnTo>
                  <a:pt x="1295" y="685"/>
                </a:lnTo>
                <a:lnTo>
                  <a:pt x="1296" y="685"/>
                </a:lnTo>
                <a:close/>
                <a:moveTo>
                  <a:pt x="1295" y="685"/>
                </a:moveTo>
                <a:lnTo>
                  <a:pt x="1295" y="686"/>
                </a:lnTo>
                <a:lnTo>
                  <a:pt x="1295" y="685"/>
                </a:lnTo>
                <a:close/>
                <a:moveTo>
                  <a:pt x="1288" y="675"/>
                </a:moveTo>
                <a:lnTo>
                  <a:pt x="1289" y="675"/>
                </a:lnTo>
                <a:lnTo>
                  <a:pt x="1290" y="677"/>
                </a:lnTo>
                <a:lnTo>
                  <a:pt x="1289" y="677"/>
                </a:lnTo>
                <a:lnTo>
                  <a:pt x="1288" y="675"/>
                </a:lnTo>
                <a:lnTo>
                  <a:pt x="1288" y="674"/>
                </a:lnTo>
                <a:lnTo>
                  <a:pt x="1288" y="675"/>
                </a:lnTo>
                <a:close/>
                <a:moveTo>
                  <a:pt x="1288" y="673"/>
                </a:moveTo>
                <a:lnTo>
                  <a:pt x="1287" y="673"/>
                </a:lnTo>
                <a:lnTo>
                  <a:pt x="1287" y="672"/>
                </a:lnTo>
                <a:lnTo>
                  <a:pt x="1288" y="672"/>
                </a:lnTo>
                <a:lnTo>
                  <a:pt x="1288" y="673"/>
                </a:lnTo>
                <a:close/>
                <a:moveTo>
                  <a:pt x="1289" y="675"/>
                </a:moveTo>
                <a:lnTo>
                  <a:pt x="1289" y="674"/>
                </a:lnTo>
                <a:lnTo>
                  <a:pt x="1289" y="673"/>
                </a:lnTo>
                <a:lnTo>
                  <a:pt x="1288" y="672"/>
                </a:lnTo>
                <a:lnTo>
                  <a:pt x="1289" y="672"/>
                </a:lnTo>
                <a:lnTo>
                  <a:pt x="1289" y="673"/>
                </a:lnTo>
                <a:lnTo>
                  <a:pt x="1289" y="674"/>
                </a:lnTo>
                <a:lnTo>
                  <a:pt x="1289" y="675"/>
                </a:lnTo>
                <a:close/>
                <a:moveTo>
                  <a:pt x="1288" y="672"/>
                </a:moveTo>
                <a:lnTo>
                  <a:pt x="1287" y="672"/>
                </a:lnTo>
                <a:lnTo>
                  <a:pt x="1287" y="671"/>
                </a:lnTo>
                <a:lnTo>
                  <a:pt x="1288" y="671"/>
                </a:lnTo>
                <a:lnTo>
                  <a:pt x="1288" y="672"/>
                </a:lnTo>
                <a:close/>
                <a:moveTo>
                  <a:pt x="1084" y="681"/>
                </a:moveTo>
                <a:lnTo>
                  <a:pt x="1084" y="679"/>
                </a:lnTo>
                <a:lnTo>
                  <a:pt x="1084" y="678"/>
                </a:lnTo>
                <a:lnTo>
                  <a:pt x="1083" y="677"/>
                </a:lnTo>
                <a:lnTo>
                  <a:pt x="1084" y="675"/>
                </a:lnTo>
                <a:lnTo>
                  <a:pt x="1083" y="674"/>
                </a:lnTo>
                <a:lnTo>
                  <a:pt x="1083" y="673"/>
                </a:lnTo>
                <a:lnTo>
                  <a:pt x="1083" y="672"/>
                </a:lnTo>
                <a:lnTo>
                  <a:pt x="1083" y="671"/>
                </a:lnTo>
                <a:lnTo>
                  <a:pt x="1083" y="670"/>
                </a:lnTo>
                <a:lnTo>
                  <a:pt x="1083" y="668"/>
                </a:lnTo>
                <a:lnTo>
                  <a:pt x="1084" y="667"/>
                </a:lnTo>
                <a:lnTo>
                  <a:pt x="1084" y="666"/>
                </a:lnTo>
                <a:lnTo>
                  <a:pt x="1084" y="665"/>
                </a:lnTo>
                <a:lnTo>
                  <a:pt x="1084" y="664"/>
                </a:lnTo>
                <a:lnTo>
                  <a:pt x="1084" y="668"/>
                </a:lnTo>
                <a:lnTo>
                  <a:pt x="1083" y="671"/>
                </a:lnTo>
                <a:lnTo>
                  <a:pt x="1084" y="677"/>
                </a:lnTo>
                <a:lnTo>
                  <a:pt x="1084" y="678"/>
                </a:lnTo>
                <a:lnTo>
                  <a:pt x="1084" y="679"/>
                </a:lnTo>
                <a:lnTo>
                  <a:pt x="1084" y="680"/>
                </a:lnTo>
                <a:lnTo>
                  <a:pt x="1084" y="681"/>
                </a:lnTo>
                <a:close/>
                <a:moveTo>
                  <a:pt x="1285" y="661"/>
                </a:moveTo>
                <a:lnTo>
                  <a:pt x="1285" y="663"/>
                </a:lnTo>
                <a:lnTo>
                  <a:pt x="1285" y="661"/>
                </a:lnTo>
                <a:lnTo>
                  <a:pt x="1283" y="660"/>
                </a:lnTo>
                <a:lnTo>
                  <a:pt x="1285" y="660"/>
                </a:lnTo>
                <a:lnTo>
                  <a:pt x="1285" y="661"/>
                </a:lnTo>
                <a:close/>
                <a:moveTo>
                  <a:pt x="1089" y="657"/>
                </a:moveTo>
                <a:lnTo>
                  <a:pt x="1088" y="659"/>
                </a:lnTo>
                <a:lnTo>
                  <a:pt x="1086" y="661"/>
                </a:lnTo>
                <a:lnTo>
                  <a:pt x="1086" y="663"/>
                </a:lnTo>
                <a:lnTo>
                  <a:pt x="1086" y="664"/>
                </a:lnTo>
                <a:lnTo>
                  <a:pt x="1084" y="664"/>
                </a:lnTo>
                <a:lnTo>
                  <a:pt x="1086" y="661"/>
                </a:lnTo>
                <a:lnTo>
                  <a:pt x="1086" y="660"/>
                </a:lnTo>
                <a:lnTo>
                  <a:pt x="1087" y="660"/>
                </a:lnTo>
                <a:lnTo>
                  <a:pt x="1087" y="659"/>
                </a:lnTo>
                <a:lnTo>
                  <a:pt x="1088" y="658"/>
                </a:lnTo>
                <a:lnTo>
                  <a:pt x="1088" y="657"/>
                </a:lnTo>
                <a:lnTo>
                  <a:pt x="1089" y="657"/>
                </a:lnTo>
                <a:lnTo>
                  <a:pt x="1090" y="656"/>
                </a:lnTo>
                <a:lnTo>
                  <a:pt x="1091" y="654"/>
                </a:lnTo>
                <a:lnTo>
                  <a:pt x="1089" y="657"/>
                </a:lnTo>
                <a:close/>
                <a:moveTo>
                  <a:pt x="1317" y="664"/>
                </a:moveTo>
                <a:lnTo>
                  <a:pt x="1317" y="665"/>
                </a:lnTo>
                <a:lnTo>
                  <a:pt x="1317" y="664"/>
                </a:lnTo>
                <a:lnTo>
                  <a:pt x="1317" y="663"/>
                </a:lnTo>
                <a:lnTo>
                  <a:pt x="1316" y="661"/>
                </a:lnTo>
                <a:lnTo>
                  <a:pt x="1316" y="660"/>
                </a:lnTo>
                <a:lnTo>
                  <a:pt x="1316" y="658"/>
                </a:lnTo>
                <a:lnTo>
                  <a:pt x="1316" y="657"/>
                </a:lnTo>
                <a:lnTo>
                  <a:pt x="1316" y="656"/>
                </a:lnTo>
                <a:lnTo>
                  <a:pt x="1315" y="654"/>
                </a:lnTo>
                <a:lnTo>
                  <a:pt x="1315" y="653"/>
                </a:lnTo>
                <a:lnTo>
                  <a:pt x="1316" y="653"/>
                </a:lnTo>
                <a:lnTo>
                  <a:pt x="1316" y="654"/>
                </a:lnTo>
                <a:lnTo>
                  <a:pt x="1316" y="656"/>
                </a:lnTo>
                <a:lnTo>
                  <a:pt x="1316" y="657"/>
                </a:lnTo>
                <a:lnTo>
                  <a:pt x="1316" y="658"/>
                </a:lnTo>
                <a:lnTo>
                  <a:pt x="1317" y="664"/>
                </a:lnTo>
                <a:close/>
                <a:moveTo>
                  <a:pt x="1091" y="653"/>
                </a:moveTo>
                <a:lnTo>
                  <a:pt x="1093" y="653"/>
                </a:lnTo>
                <a:lnTo>
                  <a:pt x="1093" y="652"/>
                </a:lnTo>
                <a:lnTo>
                  <a:pt x="1094" y="652"/>
                </a:lnTo>
                <a:lnTo>
                  <a:pt x="1094" y="651"/>
                </a:lnTo>
                <a:lnTo>
                  <a:pt x="1093" y="651"/>
                </a:lnTo>
                <a:lnTo>
                  <a:pt x="1094" y="651"/>
                </a:lnTo>
                <a:lnTo>
                  <a:pt x="1094" y="650"/>
                </a:lnTo>
                <a:lnTo>
                  <a:pt x="1095" y="650"/>
                </a:lnTo>
                <a:lnTo>
                  <a:pt x="1094" y="652"/>
                </a:lnTo>
                <a:lnTo>
                  <a:pt x="1093" y="652"/>
                </a:lnTo>
                <a:lnTo>
                  <a:pt x="1093" y="653"/>
                </a:lnTo>
                <a:lnTo>
                  <a:pt x="1091" y="653"/>
                </a:lnTo>
                <a:close/>
                <a:moveTo>
                  <a:pt x="1314" y="649"/>
                </a:moveTo>
                <a:lnTo>
                  <a:pt x="1314" y="647"/>
                </a:lnTo>
                <a:lnTo>
                  <a:pt x="1314" y="649"/>
                </a:lnTo>
                <a:close/>
                <a:moveTo>
                  <a:pt x="1102" y="646"/>
                </a:moveTo>
                <a:lnTo>
                  <a:pt x="1101" y="646"/>
                </a:lnTo>
                <a:lnTo>
                  <a:pt x="1101" y="647"/>
                </a:lnTo>
                <a:lnTo>
                  <a:pt x="1100" y="647"/>
                </a:lnTo>
                <a:lnTo>
                  <a:pt x="1098" y="647"/>
                </a:lnTo>
                <a:lnTo>
                  <a:pt x="1097" y="649"/>
                </a:lnTo>
                <a:lnTo>
                  <a:pt x="1096" y="650"/>
                </a:lnTo>
                <a:lnTo>
                  <a:pt x="1095" y="650"/>
                </a:lnTo>
                <a:lnTo>
                  <a:pt x="1096" y="650"/>
                </a:lnTo>
                <a:lnTo>
                  <a:pt x="1096" y="649"/>
                </a:lnTo>
                <a:lnTo>
                  <a:pt x="1097" y="649"/>
                </a:lnTo>
                <a:lnTo>
                  <a:pt x="1098" y="647"/>
                </a:lnTo>
                <a:lnTo>
                  <a:pt x="1100" y="647"/>
                </a:lnTo>
                <a:lnTo>
                  <a:pt x="1100" y="646"/>
                </a:lnTo>
                <a:lnTo>
                  <a:pt x="1101" y="646"/>
                </a:lnTo>
                <a:lnTo>
                  <a:pt x="1102" y="646"/>
                </a:lnTo>
                <a:lnTo>
                  <a:pt x="1102" y="645"/>
                </a:lnTo>
                <a:lnTo>
                  <a:pt x="1102" y="646"/>
                </a:lnTo>
                <a:close/>
                <a:moveTo>
                  <a:pt x="0" y="645"/>
                </a:moveTo>
                <a:lnTo>
                  <a:pt x="1" y="645"/>
                </a:lnTo>
                <a:lnTo>
                  <a:pt x="0" y="645"/>
                </a:lnTo>
                <a:close/>
                <a:moveTo>
                  <a:pt x="1103" y="645"/>
                </a:moveTo>
                <a:lnTo>
                  <a:pt x="1104" y="644"/>
                </a:lnTo>
                <a:lnTo>
                  <a:pt x="1105" y="644"/>
                </a:lnTo>
                <a:lnTo>
                  <a:pt x="1104" y="644"/>
                </a:lnTo>
                <a:lnTo>
                  <a:pt x="1103" y="645"/>
                </a:lnTo>
                <a:close/>
                <a:moveTo>
                  <a:pt x="1315" y="643"/>
                </a:moveTo>
                <a:lnTo>
                  <a:pt x="1315" y="644"/>
                </a:lnTo>
                <a:lnTo>
                  <a:pt x="1314" y="645"/>
                </a:lnTo>
                <a:lnTo>
                  <a:pt x="1314" y="646"/>
                </a:lnTo>
                <a:lnTo>
                  <a:pt x="1314" y="647"/>
                </a:lnTo>
                <a:lnTo>
                  <a:pt x="1314" y="646"/>
                </a:lnTo>
                <a:lnTo>
                  <a:pt x="1314" y="645"/>
                </a:lnTo>
                <a:lnTo>
                  <a:pt x="1314" y="644"/>
                </a:lnTo>
                <a:lnTo>
                  <a:pt x="1314" y="643"/>
                </a:lnTo>
                <a:lnTo>
                  <a:pt x="1315" y="643"/>
                </a:lnTo>
                <a:lnTo>
                  <a:pt x="1315" y="642"/>
                </a:lnTo>
                <a:lnTo>
                  <a:pt x="1315" y="643"/>
                </a:lnTo>
                <a:close/>
                <a:moveTo>
                  <a:pt x="1288" y="639"/>
                </a:moveTo>
                <a:lnTo>
                  <a:pt x="1288" y="640"/>
                </a:lnTo>
                <a:lnTo>
                  <a:pt x="1288" y="639"/>
                </a:lnTo>
                <a:close/>
                <a:moveTo>
                  <a:pt x="1179" y="635"/>
                </a:moveTo>
                <a:lnTo>
                  <a:pt x="1178" y="635"/>
                </a:lnTo>
                <a:lnTo>
                  <a:pt x="1179" y="635"/>
                </a:lnTo>
                <a:close/>
                <a:moveTo>
                  <a:pt x="1182" y="635"/>
                </a:moveTo>
                <a:lnTo>
                  <a:pt x="1181" y="635"/>
                </a:lnTo>
                <a:lnTo>
                  <a:pt x="1180" y="635"/>
                </a:lnTo>
                <a:lnTo>
                  <a:pt x="1181" y="635"/>
                </a:lnTo>
                <a:lnTo>
                  <a:pt x="1182" y="635"/>
                </a:lnTo>
                <a:close/>
                <a:moveTo>
                  <a:pt x="1186" y="635"/>
                </a:moveTo>
                <a:lnTo>
                  <a:pt x="1185" y="635"/>
                </a:lnTo>
                <a:lnTo>
                  <a:pt x="1183" y="635"/>
                </a:lnTo>
                <a:lnTo>
                  <a:pt x="1185" y="635"/>
                </a:lnTo>
                <a:lnTo>
                  <a:pt x="1186" y="635"/>
                </a:lnTo>
                <a:close/>
                <a:moveTo>
                  <a:pt x="1187" y="635"/>
                </a:moveTo>
                <a:lnTo>
                  <a:pt x="1186" y="635"/>
                </a:lnTo>
                <a:lnTo>
                  <a:pt x="1187" y="635"/>
                </a:lnTo>
                <a:close/>
                <a:moveTo>
                  <a:pt x="1186" y="632"/>
                </a:moveTo>
                <a:lnTo>
                  <a:pt x="1186" y="631"/>
                </a:lnTo>
                <a:lnTo>
                  <a:pt x="1186" y="632"/>
                </a:lnTo>
                <a:close/>
                <a:moveTo>
                  <a:pt x="1192" y="632"/>
                </a:moveTo>
                <a:lnTo>
                  <a:pt x="1190" y="632"/>
                </a:lnTo>
                <a:lnTo>
                  <a:pt x="1192" y="632"/>
                </a:lnTo>
                <a:lnTo>
                  <a:pt x="1192" y="631"/>
                </a:lnTo>
                <a:lnTo>
                  <a:pt x="1192" y="632"/>
                </a:lnTo>
                <a:close/>
                <a:moveTo>
                  <a:pt x="1128" y="630"/>
                </a:moveTo>
                <a:lnTo>
                  <a:pt x="1129" y="630"/>
                </a:lnTo>
                <a:lnTo>
                  <a:pt x="1125" y="632"/>
                </a:lnTo>
                <a:lnTo>
                  <a:pt x="1123" y="633"/>
                </a:lnTo>
                <a:lnTo>
                  <a:pt x="1122" y="635"/>
                </a:lnTo>
                <a:lnTo>
                  <a:pt x="1123" y="633"/>
                </a:lnTo>
                <a:lnTo>
                  <a:pt x="1124" y="633"/>
                </a:lnTo>
                <a:lnTo>
                  <a:pt x="1124" y="632"/>
                </a:lnTo>
                <a:lnTo>
                  <a:pt x="1125" y="632"/>
                </a:lnTo>
                <a:lnTo>
                  <a:pt x="1125" y="631"/>
                </a:lnTo>
                <a:lnTo>
                  <a:pt x="1126" y="631"/>
                </a:lnTo>
                <a:lnTo>
                  <a:pt x="1128" y="630"/>
                </a:lnTo>
                <a:lnTo>
                  <a:pt x="1126" y="630"/>
                </a:lnTo>
                <a:lnTo>
                  <a:pt x="1128" y="630"/>
                </a:lnTo>
                <a:close/>
                <a:moveTo>
                  <a:pt x="1203" y="628"/>
                </a:moveTo>
                <a:lnTo>
                  <a:pt x="1203" y="629"/>
                </a:lnTo>
                <a:lnTo>
                  <a:pt x="1203" y="628"/>
                </a:lnTo>
                <a:close/>
                <a:moveTo>
                  <a:pt x="1192" y="628"/>
                </a:moveTo>
                <a:lnTo>
                  <a:pt x="1192" y="629"/>
                </a:lnTo>
                <a:lnTo>
                  <a:pt x="1193" y="629"/>
                </a:lnTo>
                <a:lnTo>
                  <a:pt x="1192" y="629"/>
                </a:lnTo>
                <a:lnTo>
                  <a:pt x="1192" y="628"/>
                </a:lnTo>
                <a:lnTo>
                  <a:pt x="1190" y="628"/>
                </a:lnTo>
                <a:lnTo>
                  <a:pt x="1192" y="628"/>
                </a:lnTo>
                <a:close/>
                <a:moveTo>
                  <a:pt x="1204" y="628"/>
                </a:moveTo>
                <a:lnTo>
                  <a:pt x="1206" y="626"/>
                </a:lnTo>
                <a:lnTo>
                  <a:pt x="1204" y="628"/>
                </a:lnTo>
                <a:close/>
                <a:moveTo>
                  <a:pt x="1168" y="628"/>
                </a:moveTo>
                <a:lnTo>
                  <a:pt x="1167" y="628"/>
                </a:lnTo>
                <a:lnTo>
                  <a:pt x="1166" y="626"/>
                </a:lnTo>
                <a:lnTo>
                  <a:pt x="1165" y="626"/>
                </a:lnTo>
                <a:lnTo>
                  <a:pt x="1166" y="626"/>
                </a:lnTo>
                <a:lnTo>
                  <a:pt x="1166" y="625"/>
                </a:lnTo>
                <a:lnTo>
                  <a:pt x="1167" y="625"/>
                </a:lnTo>
                <a:lnTo>
                  <a:pt x="1168" y="625"/>
                </a:lnTo>
                <a:lnTo>
                  <a:pt x="1168" y="626"/>
                </a:lnTo>
                <a:lnTo>
                  <a:pt x="1169" y="626"/>
                </a:lnTo>
                <a:lnTo>
                  <a:pt x="1169" y="628"/>
                </a:lnTo>
                <a:lnTo>
                  <a:pt x="1168" y="628"/>
                </a:lnTo>
                <a:close/>
                <a:moveTo>
                  <a:pt x="1259" y="625"/>
                </a:moveTo>
                <a:lnTo>
                  <a:pt x="1258" y="625"/>
                </a:lnTo>
                <a:lnTo>
                  <a:pt x="1257" y="625"/>
                </a:lnTo>
                <a:lnTo>
                  <a:pt x="1258" y="625"/>
                </a:lnTo>
                <a:lnTo>
                  <a:pt x="1258" y="624"/>
                </a:lnTo>
                <a:lnTo>
                  <a:pt x="1259" y="624"/>
                </a:lnTo>
                <a:lnTo>
                  <a:pt x="1259" y="625"/>
                </a:lnTo>
                <a:close/>
                <a:moveTo>
                  <a:pt x="1208" y="625"/>
                </a:moveTo>
                <a:lnTo>
                  <a:pt x="1207" y="625"/>
                </a:lnTo>
                <a:lnTo>
                  <a:pt x="1208" y="624"/>
                </a:lnTo>
                <a:lnTo>
                  <a:pt x="1208" y="625"/>
                </a:lnTo>
                <a:close/>
                <a:moveTo>
                  <a:pt x="1260" y="626"/>
                </a:moveTo>
                <a:lnTo>
                  <a:pt x="1259" y="626"/>
                </a:lnTo>
                <a:lnTo>
                  <a:pt x="1259" y="625"/>
                </a:lnTo>
                <a:lnTo>
                  <a:pt x="1259" y="626"/>
                </a:lnTo>
                <a:lnTo>
                  <a:pt x="1260" y="625"/>
                </a:lnTo>
                <a:lnTo>
                  <a:pt x="1264" y="624"/>
                </a:lnTo>
                <a:lnTo>
                  <a:pt x="1265" y="624"/>
                </a:lnTo>
                <a:lnTo>
                  <a:pt x="1264" y="624"/>
                </a:lnTo>
                <a:lnTo>
                  <a:pt x="1263" y="624"/>
                </a:lnTo>
                <a:lnTo>
                  <a:pt x="1261" y="625"/>
                </a:lnTo>
                <a:lnTo>
                  <a:pt x="1260" y="626"/>
                </a:lnTo>
                <a:close/>
                <a:moveTo>
                  <a:pt x="1201" y="623"/>
                </a:moveTo>
                <a:lnTo>
                  <a:pt x="1201" y="624"/>
                </a:lnTo>
                <a:lnTo>
                  <a:pt x="1201" y="623"/>
                </a:lnTo>
                <a:lnTo>
                  <a:pt x="1200" y="624"/>
                </a:lnTo>
                <a:lnTo>
                  <a:pt x="1200" y="623"/>
                </a:lnTo>
                <a:lnTo>
                  <a:pt x="1201" y="623"/>
                </a:lnTo>
                <a:close/>
                <a:moveTo>
                  <a:pt x="1202" y="623"/>
                </a:moveTo>
                <a:lnTo>
                  <a:pt x="1203" y="623"/>
                </a:lnTo>
                <a:lnTo>
                  <a:pt x="1202" y="623"/>
                </a:lnTo>
                <a:close/>
                <a:moveTo>
                  <a:pt x="1266" y="623"/>
                </a:moveTo>
                <a:lnTo>
                  <a:pt x="1265" y="623"/>
                </a:lnTo>
                <a:lnTo>
                  <a:pt x="1266" y="623"/>
                </a:lnTo>
                <a:close/>
                <a:moveTo>
                  <a:pt x="1203" y="621"/>
                </a:moveTo>
                <a:lnTo>
                  <a:pt x="1204" y="621"/>
                </a:lnTo>
                <a:lnTo>
                  <a:pt x="1203" y="621"/>
                </a:lnTo>
                <a:close/>
                <a:moveTo>
                  <a:pt x="1203" y="621"/>
                </a:moveTo>
                <a:lnTo>
                  <a:pt x="1204" y="621"/>
                </a:lnTo>
                <a:lnTo>
                  <a:pt x="1203" y="621"/>
                </a:lnTo>
                <a:close/>
                <a:moveTo>
                  <a:pt x="1209" y="623"/>
                </a:moveTo>
                <a:lnTo>
                  <a:pt x="1209" y="622"/>
                </a:lnTo>
                <a:lnTo>
                  <a:pt x="1210" y="621"/>
                </a:lnTo>
                <a:lnTo>
                  <a:pt x="1210" y="619"/>
                </a:lnTo>
                <a:lnTo>
                  <a:pt x="1209" y="619"/>
                </a:lnTo>
                <a:lnTo>
                  <a:pt x="1210" y="619"/>
                </a:lnTo>
                <a:lnTo>
                  <a:pt x="1210" y="621"/>
                </a:lnTo>
                <a:lnTo>
                  <a:pt x="1209" y="623"/>
                </a:lnTo>
                <a:close/>
                <a:moveTo>
                  <a:pt x="1202" y="617"/>
                </a:moveTo>
                <a:lnTo>
                  <a:pt x="1202" y="618"/>
                </a:lnTo>
                <a:lnTo>
                  <a:pt x="1202" y="617"/>
                </a:lnTo>
                <a:close/>
                <a:moveTo>
                  <a:pt x="1204" y="618"/>
                </a:moveTo>
                <a:lnTo>
                  <a:pt x="1204" y="619"/>
                </a:lnTo>
                <a:lnTo>
                  <a:pt x="1206" y="618"/>
                </a:lnTo>
                <a:lnTo>
                  <a:pt x="1206" y="619"/>
                </a:lnTo>
                <a:lnTo>
                  <a:pt x="1204" y="619"/>
                </a:lnTo>
                <a:lnTo>
                  <a:pt x="1204" y="618"/>
                </a:lnTo>
                <a:lnTo>
                  <a:pt x="1204" y="619"/>
                </a:lnTo>
                <a:lnTo>
                  <a:pt x="1204" y="618"/>
                </a:lnTo>
                <a:lnTo>
                  <a:pt x="1203" y="619"/>
                </a:lnTo>
                <a:lnTo>
                  <a:pt x="1203" y="618"/>
                </a:lnTo>
                <a:lnTo>
                  <a:pt x="1204" y="618"/>
                </a:lnTo>
                <a:lnTo>
                  <a:pt x="1206" y="617"/>
                </a:lnTo>
                <a:lnTo>
                  <a:pt x="1204" y="618"/>
                </a:lnTo>
                <a:lnTo>
                  <a:pt x="1206" y="618"/>
                </a:lnTo>
                <a:lnTo>
                  <a:pt x="1204" y="618"/>
                </a:lnTo>
                <a:close/>
                <a:moveTo>
                  <a:pt x="1216" y="616"/>
                </a:moveTo>
                <a:lnTo>
                  <a:pt x="1215" y="616"/>
                </a:lnTo>
                <a:lnTo>
                  <a:pt x="1216" y="616"/>
                </a:lnTo>
                <a:close/>
                <a:moveTo>
                  <a:pt x="1208" y="616"/>
                </a:moveTo>
                <a:lnTo>
                  <a:pt x="1207" y="617"/>
                </a:lnTo>
                <a:lnTo>
                  <a:pt x="1207" y="616"/>
                </a:lnTo>
                <a:lnTo>
                  <a:pt x="1208" y="616"/>
                </a:lnTo>
                <a:lnTo>
                  <a:pt x="1207" y="616"/>
                </a:lnTo>
                <a:lnTo>
                  <a:pt x="1208" y="616"/>
                </a:lnTo>
                <a:close/>
                <a:moveTo>
                  <a:pt x="1215" y="616"/>
                </a:moveTo>
                <a:lnTo>
                  <a:pt x="1211" y="616"/>
                </a:lnTo>
                <a:lnTo>
                  <a:pt x="1212" y="616"/>
                </a:lnTo>
                <a:lnTo>
                  <a:pt x="1214" y="616"/>
                </a:lnTo>
                <a:lnTo>
                  <a:pt x="1215" y="616"/>
                </a:lnTo>
                <a:close/>
                <a:moveTo>
                  <a:pt x="1221" y="616"/>
                </a:moveTo>
                <a:lnTo>
                  <a:pt x="1217" y="616"/>
                </a:lnTo>
                <a:lnTo>
                  <a:pt x="1218" y="616"/>
                </a:lnTo>
                <a:lnTo>
                  <a:pt x="1219" y="616"/>
                </a:lnTo>
                <a:lnTo>
                  <a:pt x="1221" y="616"/>
                </a:lnTo>
                <a:close/>
                <a:moveTo>
                  <a:pt x="1242" y="614"/>
                </a:moveTo>
                <a:lnTo>
                  <a:pt x="1243" y="614"/>
                </a:lnTo>
                <a:lnTo>
                  <a:pt x="1242" y="614"/>
                </a:lnTo>
                <a:lnTo>
                  <a:pt x="1237" y="614"/>
                </a:lnTo>
                <a:lnTo>
                  <a:pt x="1232" y="615"/>
                </a:lnTo>
                <a:lnTo>
                  <a:pt x="1231" y="615"/>
                </a:lnTo>
                <a:lnTo>
                  <a:pt x="1232" y="615"/>
                </a:lnTo>
                <a:lnTo>
                  <a:pt x="1233" y="615"/>
                </a:lnTo>
                <a:lnTo>
                  <a:pt x="1235" y="614"/>
                </a:lnTo>
                <a:lnTo>
                  <a:pt x="1236" y="614"/>
                </a:lnTo>
                <a:lnTo>
                  <a:pt x="1237" y="614"/>
                </a:lnTo>
                <a:lnTo>
                  <a:pt x="1238" y="614"/>
                </a:lnTo>
                <a:lnTo>
                  <a:pt x="1239" y="614"/>
                </a:lnTo>
                <a:lnTo>
                  <a:pt x="1240" y="614"/>
                </a:lnTo>
                <a:lnTo>
                  <a:pt x="1242" y="614"/>
                </a:lnTo>
                <a:close/>
                <a:moveTo>
                  <a:pt x="1311" y="608"/>
                </a:moveTo>
                <a:lnTo>
                  <a:pt x="1311" y="607"/>
                </a:lnTo>
                <a:lnTo>
                  <a:pt x="1311" y="605"/>
                </a:lnTo>
                <a:lnTo>
                  <a:pt x="1313" y="605"/>
                </a:lnTo>
                <a:lnTo>
                  <a:pt x="1313" y="604"/>
                </a:lnTo>
                <a:lnTo>
                  <a:pt x="1313" y="605"/>
                </a:lnTo>
                <a:lnTo>
                  <a:pt x="1311" y="607"/>
                </a:lnTo>
                <a:lnTo>
                  <a:pt x="1311" y="608"/>
                </a:lnTo>
                <a:close/>
                <a:moveTo>
                  <a:pt x="1316" y="597"/>
                </a:moveTo>
                <a:lnTo>
                  <a:pt x="1316" y="598"/>
                </a:lnTo>
                <a:lnTo>
                  <a:pt x="1316" y="597"/>
                </a:lnTo>
                <a:lnTo>
                  <a:pt x="1316" y="596"/>
                </a:lnTo>
                <a:lnTo>
                  <a:pt x="1317" y="596"/>
                </a:lnTo>
                <a:lnTo>
                  <a:pt x="1317" y="595"/>
                </a:lnTo>
                <a:lnTo>
                  <a:pt x="1317" y="596"/>
                </a:lnTo>
                <a:lnTo>
                  <a:pt x="1317" y="597"/>
                </a:lnTo>
                <a:lnTo>
                  <a:pt x="1316" y="597"/>
                </a:lnTo>
                <a:close/>
                <a:moveTo>
                  <a:pt x="1318" y="595"/>
                </a:moveTo>
                <a:lnTo>
                  <a:pt x="1318" y="594"/>
                </a:lnTo>
                <a:lnTo>
                  <a:pt x="1318" y="593"/>
                </a:lnTo>
                <a:lnTo>
                  <a:pt x="1320" y="593"/>
                </a:lnTo>
                <a:lnTo>
                  <a:pt x="1318" y="594"/>
                </a:lnTo>
                <a:lnTo>
                  <a:pt x="1318" y="595"/>
                </a:lnTo>
                <a:close/>
                <a:moveTo>
                  <a:pt x="827" y="572"/>
                </a:moveTo>
                <a:lnTo>
                  <a:pt x="828" y="572"/>
                </a:lnTo>
                <a:lnTo>
                  <a:pt x="828" y="573"/>
                </a:lnTo>
                <a:lnTo>
                  <a:pt x="828" y="574"/>
                </a:lnTo>
                <a:lnTo>
                  <a:pt x="830" y="574"/>
                </a:lnTo>
                <a:lnTo>
                  <a:pt x="830" y="575"/>
                </a:lnTo>
                <a:lnTo>
                  <a:pt x="828" y="575"/>
                </a:lnTo>
                <a:lnTo>
                  <a:pt x="828" y="574"/>
                </a:lnTo>
                <a:lnTo>
                  <a:pt x="827" y="574"/>
                </a:lnTo>
                <a:lnTo>
                  <a:pt x="828" y="573"/>
                </a:lnTo>
                <a:lnTo>
                  <a:pt x="827" y="573"/>
                </a:lnTo>
                <a:lnTo>
                  <a:pt x="827" y="572"/>
                </a:lnTo>
                <a:close/>
                <a:moveTo>
                  <a:pt x="1347" y="573"/>
                </a:moveTo>
                <a:lnTo>
                  <a:pt x="1347" y="572"/>
                </a:lnTo>
                <a:lnTo>
                  <a:pt x="1349" y="572"/>
                </a:lnTo>
                <a:lnTo>
                  <a:pt x="1347" y="572"/>
                </a:lnTo>
                <a:lnTo>
                  <a:pt x="1347" y="573"/>
                </a:lnTo>
                <a:close/>
                <a:moveTo>
                  <a:pt x="817" y="568"/>
                </a:moveTo>
                <a:lnTo>
                  <a:pt x="818" y="568"/>
                </a:lnTo>
                <a:lnTo>
                  <a:pt x="818" y="569"/>
                </a:lnTo>
                <a:lnTo>
                  <a:pt x="817" y="569"/>
                </a:lnTo>
                <a:lnTo>
                  <a:pt x="817" y="568"/>
                </a:lnTo>
                <a:lnTo>
                  <a:pt x="816" y="568"/>
                </a:lnTo>
                <a:lnTo>
                  <a:pt x="817" y="568"/>
                </a:lnTo>
                <a:lnTo>
                  <a:pt x="816" y="568"/>
                </a:lnTo>
                <a:lnTo>
                  <a:pt x="817" y="568"/>
                </a:lnTo>
                <a:lnTo>
                  <a:pt x="816" y="568"/>
                </a:lnTo>
                <a:lnTo>
                  <a:pt x="817" y="568"/>
                </a:lnTo>
                <a:close/>
                <a:moveTo>
                  <a:pt x="831" y="565"/>
                </a:moveTo>
                <a:lnTo>
                  <a:pt x="832" y="565"/>
                </a:lnTo>
                <a:lnTo>
                  <a:pt x="832" y="566"/>
                </a:lnTo>
                <a:lnTo>
                  <a:pt x="833" y="566"/>
                </a:lnTo>
                <a:lnTo>
                  <a:pt x="833" y="567"/>
                </a:lnTo>
                <a:lnTo>
                  <a:pt x="833" y="568"/>
                </a:lnTo>
                <a:lnTo>
                  <a:pt x="833" y="567"/>
                </a:lnTo>
                <a:lnTo>
                  <a:pt x="832" y="567"/>
                </a:lnTo>
                <a:lnTo>
                  <a:pt x="831" y="567"/>
                </a:lnTo>
                <a:lnTo>
                  <a:pt x="832" y="566"/>
                </a:lnTo>
                <a:lnTo>
                  <a:pt x="831" y="566"/>
                </a:lnTo>
                <a:lnTo>
                  <a:pt x="831" y="565"/>
                </a:lnTo>
                <a:close/>
                <a:moveTo>
                  <a:pt x="837" y="560"/>
                </a:moveTo>
                <a:lnTo>
                  <a:pt x="837" y="561"/>
                </a:lnTo>
                <a:lnTo>
                  <a:pt x="837" y="560"/>
                </a:lnTo>
                <a:lnTo>
                  <a:pt x="837" y="561"/>
                </a:lnTo>
                <a:lnTo>
                  <a:pt x="837" y="560"/>
                </a:lnTo>
                <a:close/>
                <a:moveTo>
                  <a:pt x="1370" y="558"/>
                </a:moveTo>
                <a:lnTo>
                  <a:pt x="1370" y="559"/>
                </a:lnTo>
                <a:lnTo>
                  <a:pt x="1368" y="559"/>
                </a:lnTo>
                <a:lnTo>
                  <a:pt x="1370" y="558"/>
                </a:lnTo>
                <a:lnTo>
                  <a:pt x="1370" y="559"/>
                </a:lnTo>
                <a:lnTo>
                  <a:pt x="1370" y="558"/>
                </a:lnTo>
                <a:close/>
                <a:moveTo>
                  <a:pt x="815" y="557"/>
                </a:moveTo>
                <a:lnTo>
                  <a:pt x="816" y="557"/>
                </a:lnTo>
                <a:lnTo>
                  <a:pt x="816" y="558"/>
                </a:lnTo>
                <a:lnTo>
                  <a:pt x="815" y="558"/>
                </a:lnTo>
                <a:lnTo>
                  <a:pt x="813" y="558"/>
                </a:lnTo>
                <a:lnTo>
                  <a:pt x="812" y="558"/>
                </a:lnTo>
                <a:lnTo>
                  <a:pt x="812" y="557"/>
                </a:lnTo>
                <a:lnTo>
                  <a:pt x="813" y="557"/>
                </a:lnTo>
                <a:lnTo>
                  <a:pt x="815" y="557"/>
                </a:lnTo>
                <a:close/>
                <a:moveTo>
                  <a:pt x="811" y="555"/>
                </a:moveTo>
                <a:lnTo>
                  <a:pt x="811" y="557"/>
                </a:lnTo>
                <a:lnTo>
                  <a:pt x="810" y="557"/>
                </a:lnTo>
                <a:lnTo>
                  <a:pt x="810" y="555"/>
                </a:lnTo>
                <a:lnTo>
                  <a:pt x="811" y="555"/>
                </a:lnTo>
                <a:close/>
                <a:moveTo>
                  <a:pt x="818" y="555"/>
                </a:moveTo>
                <a:lnTo>
                  <a:pt x="819" y="555"/>
                </a:lnTo>
                <a:lnTo>
                  <a:pt x="819" y="557"/>
                </a:lnTo>
                <a:lnTo>
                  <a:pt x="820" y="557"/>
                </a:lnTo>
                <a:lnTo>
                  <a:pt x="820" y="555"/>
                </a:lnTo>
                <a:lnTo>
                  <a:pt x="822" y="555"/>
                </a:lnTo>
                <a:lnTo>
                  <a:pt x="822" y="557"/>
                </a:lnTo>
                <a:lnTo>
                  <a:pt x="820" y="557"/>
                </a:lnTo>
                <a:lnTo>
                  <a:pt x="819" y="557"/>
                </a:lnTo>
                <a:lnTo>
                  <a:pt x="819" y="558"/>
                </a:lnTo>
                <a:lnTo>
                  <a:pt x="818" y="558"/>
                </a:lnTo>
                <a:lnTo>
                  <a:pt x="817" y="558"/>
                </a:lnTo>
                <a:lnTo>
                  <a:pt x="817" y="557"/>
                </a:lnTo>
                <a:lnTo>
                  <a:pt x="817" y="555"/>
                </a:lnTo>
                <a:lnTo>
                  <a:pt x="818" y="555"/>
                </a:lnTo>
                <a:close/>
                <a:moveTo>
                  <a:pt x="1373" y="554"/>
                </a:moveTo>
                <a:lnTo>
                  <a:pt x="1372" y="554"/>
                </a:lnTo>
                <a:lnTo>
                  <a:pt x="1372" y="555"/>
                </a:lnTo>
                <a:lnTo>
                  <a:pt x="1372" y="554"/>
                </a:lnTo>
                <a:lnTo>
                  <a:pt x="1373" y="554"/>
                </a:lnTo>
                <a:close/>
                <a:moveTo>
                  <a:pt x="1380" y="548"/>
                </a:moveTo>
                <a:lnTo>
                  <a:pt x="1379" y="550"/>
                </a:lnTo>
                <a:lnTo>
                  <a:pt x="1378" y="550"/>
                </a:lnTo>
                <a:lnTo>
                  <a:pt x="1377" y="551"/>
                </a:lnTo>
                <a:lnTo>
                  <a:pt x="1375" y="551"/>
                </a:lnTo>
                <a:lnTo>
                  <a:pt x="1377" y="551"/>
                </a:lnTo>
                <a:lnTo>
                  <a:pt x="1377" y="550"/>
                </a:lnTo>
                <a:lnTo>
                  <a:pt x="1379" y="548"/>
                </a:lnTo>
                <a:lnTo>
                  <a:pt x="1380" y="548"/>
                </a:lnTo>
                <a:close/>
                <a:moveTo>
                  <a:pt x="1392" y="546"/>
                </a:moveTo>
                <a:lnTo>
                  <a:pt x="1391" y="546"/>
                </a:lnTo>
                <a:lnTo>
                  <a:pt x="1392" y="546"/>
                </a:lnTo>
                <a:close/>
                <a:moveTo>
                  <a:pt x="1389" y="545"/>
                </a:moveTo>
                <a:lnTo>
                  <a:pt x="1389" y="546"/>
                </a:lnTo>
                <a:lnTo>
                  <a:pt x="1388" y="545"/>
                </a:lnTo>
                <a:lnTo>
                  <a:pt x="1388" y="546"/>
                </a:lnTo>
                <a:lnTo>
                  <a:pt x="1384" y="546"/>
                </a:lnTo>
                <a:lnTo>
                  <a:pt x="1385" y="546"/>
                </a:lnTo>
                <a:lnTo>
                  <a:pt x="1387" y="546"/>
                </a:lnTo>
                <a:lnTo>
                  <a:pt x="1389" y="545"/>
                </a:lnTo>
                <a:close/>
                <a:moveTo>
                  <a:pt x="1392" y="547"/>
                </a:moveTo>
                <a:lnTo>
                  <a:pt x="1392" y="546"/>
                </a:lnTo>
                <a:lnTo>
                  <a:pt x="1394" y="544"/>
                </a:lnTo>
                <a:lnTo>
                  <a:pt x="1395" y="543"/>
                </a:lnTo>
                <a:lnTo>
                  <a:pt x="1396" y="543"/>
                </a:lnTo>
                <a:lnTo>
                  <a:pt x="1396" y="541"/>
                </a:lnTo>
                <a:lnTo>
                  <a:pt x="1398" y="541"/>
                </a:lnTo>
                <a:lnTo>
                  <a:pt x="1396" y="543"/>
                </a:lnTo>
                <a:lnTo>
                  <a:pt x="1395" y="543"/>
                </a:lnTo>
                <a:lnTo>
                  <a:pt x="1395" y="544"/>
                </a:lnTo>
                <a:lnTo>
                  <a:pt x="1394" y="544"/>
                </a:lnTo>
                <a:lnTo>
                  <a:pt x="1392" y="547"/>
                </a:lnTo>
                <a:close/>
                <a:moveTo>
                  <a:pt x="1398" y="541"/>
                </a:moveTo>
                <a:lnTo>
                  <a:pt x="1399" y="540"/>
                </a:lnTo>
                <a:lnTo>
                  <a:pt x="1400" y="539"/>
                </a:lnTo>
                <a:lnTo>
                  <a:pt x="1400" y="540"/>
                </a:lnTo>
                <a:lnTo>
                  <a:pt x="1399" y="540"/>
                </a:lnTo>
                <a:lnTo>
                  <a:pt x="1398" y="541"/>
                </a:lnTo>
                <a:close/>
                <a:moveTo>
                  <a:pt x="1402" y="539"/>
                </a:moveTo>
                <a:lnTo>
                  <a:pt x="1400" y="539"/>
                </a:lnTo>
                <a:lnTo>
                  <a:pt x="1401" y="539"/>
                </a:lnTo>
                <a:lnTo>
                  <a:pt x="1402" y="538"/>
                </a:lnTo>
                <a:lnTo>
                  <a:pt x="1403" y="538"/>
                </a:lnTo>
                <a:lnTo>
                  <a:pt x="1402" y="539"/>
                </a:lnTo>
                <a:close/>
                <a:moveTo>
                  <a:pt x="1407" y="537"/>
                </a:moveTo>
                <a:lnTo>
                  <a:pt x="1406" y="538"/>
                </a:lnTo>
                <a:lnTo>
                  <a:pt x="1404" y="538"/>
                </a:lnTo>
                <a:lnTo>
                  <a:pt x="1404" y="537"/>
                </a:lnTo>
                <a:lnTo>
                  <a:pt x="1406" y="537"/>
                </a:lnTo>
                <a:lnTo>
                  <a:pt x="1407" y="537"/>
                </a:lnTo>
                <a:lnTo>
                  <a:pt x="1408" y="537"/>
                </a:lnTo>
                <a:lnTo>
                  <a:pt x="1408" y="536"/>
                </a:lnTo>
                <a:lnTo>
                  <a:pt x="1408" y="534"/>
                </a:lnTo>
                <a:lnTo>
                  <a:pt x="1409" y="533"/>
                </a:lnTo>
                <a:lnTo>
                  <a:pt x="1409" y="532"/>
                </a:lnTo>
                <a:lnTo>
                  <a:pt x="1409" y="531"/>
                </a:lnTo>
                <a:lnTo>
                  <a:pt x="1409" y="530"/>
                </a:lnTo>
                <a:lnTo>
                  <a:pt x="1409" y="529"/>
                </a:lnTo>
                <a:lnTo>
                  <a:pt x="1410" y="529"/>
                </a:lnTo>
                <a:lnTo>
                  <a:pt x="1410" y="530"/>
                </a:lnTo>
                <a:lnTo>
                  <a:pt x="1409" y="530"/>
                </a:lnTo>
                <a:lnTo>
                  <a:pt x="1409" y="531"/>
                </a:lnTo>
                <a:lnTo>
                  <a:pt x="1409" y="532"/>
                </a:lnTo>
                <a:lnTo>
                  <a:pt x="1409" y="533"/>
                </a:lnTo>
                <a:lnTo>
                  <a:pt x="1408" y="536"/>
                </a:lnTo>
                <a:lnTo>
                  <a:pt x="1407" y="537"/>
                </a:lnTo>
                <a:close/>
                <a:moveTo>
                  <a:pt x="1408" y="527"/>
                </a:moveTo>
                <a:lnTo>
                  <a:pt x="1408" y="526"/>
                </a:lnTo>
                <a:lnTo>
                  <a:pt x="1407" y="526"/>
                </a:lnTo>
                <a:lnTo>
                  <a:pt x="1408" y="526"/>
                </a:lnTo>
                <a:lnTo>
                  <a:pt x="1409" y="527"/>
                </a:lnTo>
                <a:lnTo>
                  <a:pt x="1408" y="527"/>
                </a:lnTo>
                <a:close/>
                <a:moveTo>
                  <a:pt x="1411" y="506"/>
                </a:moveTo>
                <a:lnTo>
                  <a:pt x="1410" y="506"/>
                </a:lnTo>
                <a:lnTo>
                  <a:pt x="1410" y="508"/>
                </a:lnTo>
                <a:lnTo>
                  <a:pt x="1410" y="506"/>
                </a:lnTo>
                <a:lnTo>
                  <a:pt x="1410" y="505"/>
                </a:lnTo>
                <a:lnTo>
                  <a:pt x="1411" y="505"/>
                </a:lnTo>
                <a:lnTo>
                  <a:pt x="1411" y="504"/>
                </a:lnTo>
                <a:lnTo>
                  <a:pt x="1411" y="505"/>
                </a:lnTo>
                <a:lnTo>
                  <a:pt x="1411" y="506"/>
                </a:lnTo>
                <a:close/>
                <a:moveTo>
                  <a:pt x="1414" y="503"/>
                </a:moveTo>
                <a:lnTo>
                  <a:pt x="1415" y="502"/>
                </a:lnTo>
                <a:lnTo>
                  <a:pt x="1414" y="503"/>
                </a:lnTo>
                <a:close/>
                <a:moveTo>
                  <a:pt x="1415" y="502"/>
                </a:moveTo>
                <a:lnTo>
                  <a:pt x="1415" y="501"/>
                </a:lnTo>
                <a:lnTo>
                  <a:pt x="1416" y="501"/>
                </a:lnTo>
                <a:lnTo>
                  <a:pt x="1415" y="501"/>
                </a:lnTo>
                <a:lnTo>
                  <a:pt x="1415" y="502"/>
                </a:lnTo>
                <a:close/>
                <a:moveTo>
                  <a:pt x="1413" y="494"/>
                </a:moveTo>
                <a:lnTo>
                  <a:pt x="1413" y="495"/>
                </a:lnTo>
                <a:lnTo>
                  <a:pt x="1413" y="494"/>
                </a:lnTo>
                <a:lnTo>
                  <a:pt x="1413" y="495"/>
                </a:lnTo>
                <a:lnTo>
                  <a:pt x="1413" y="494"/>
                </a:lnTo>
                <a:lnTo>
                  <a:pt x="1413" y="495"/>
                </a:lnTo>
                <a:lnTo>
                  <a:pt x="1413" y="494"/>
                </a:lnTo>
                <a:lnTo>
                  <a:pt x="1413" y="492"/>
                </a:lnTo>
                <a:lnTo>
                  <a:pt x="1413" y="494"/>
                </a:lnTo>
                <a:close/>
                <a:moveTo>
                  <a:pt x="1414" y="491"/>
                </a:moveTo>
                <a:lnTo>
                  <a:pt x="1413" y="491"/>
                </a:lnTo>
                <a:lnTo>
                  <a:pt x="1413" y="490"/>
                </a:lnTo>
                <a:lnTo>
                  <a:pt x="1414" y="490"/>
                </a:lnTo>
                <a:lnTo>
                  <a:pt x="1414" y="491"/>
                </a:lnTo>
                <a:close/>
                <a:moveTo>
                  <a:pt x="1421" y="496"/>
                </a:moveTo>
                <a:lnTo>
                  <a:pt x="1420" y="496"/>
                </a:lnTo>
                <a:lnTo>
                  <a:pt x="1421" y="496"/>
                </a:lnTo>
                <a:lnTo>
                  <a:pt x="1421" y="495"/>
                </a:lnTo>
                <a:lnTo>
                  <a:pt x="1422" y="495"/>
                </a:lnTo>
                <a:lnTo>
                  <a:pt x="1422" y="494"/>
                </a:lnTo>
                <a:lnTo>
                  <a:pt x="1423" y="492"/>
                </a:lnTo>
                <a:lnTo>
                  <a:pt x="1424" y="491"/>
                </a:lnTo>
                <a:lnTo>
                  <a:pt x="1424" y="490"/>
                </a:lnTo>
                <a:lnTo>
                  <a:pt x="1425" y="489"/>
                </a:lnTo>
                <a:lnTo>
                  <a:pt x="1427" y="489"/>
                </a:lnTo>
                <a:lnTo>
                  <a:pt x="1425" y="489"/>
                </a:lnTo>
                <a:lnTo>
                  <a:pt x="1425" y="490"/>
                </a:lnTo>
                <a:lnTo>
                  <a:pt x="1424" y="491"/>
                </a:lnTo>
                <a:lnTo>
                  <a:pt x="1424" y="492"/>
                </a:lnTo>
                <a:lnTo>
                  <a:pt x="1423" y="492"/>
                </a:lnTo>
                <a:lnTo>
                  <a:pt x="1422" y="495"/>
                </a:lnTo>
                <a:lnTo>
                  <a:pt x="1421" y="495"/>
                </a:lnTo>
                <a:lnTo>
                  <a:pt x="1421" y="496"/>
                </a:lnTo>
                <a:close/>
                <a:moveTo>
                  <a:pt x="1441" y="471"/>
                </a:moveTo>
                <a:lnTo>
                  <a:pt x="1439" y="471"/>
                </a:lnTo>
                <a:lnTo>
                  <a:pt x="1441" y="471"/>
                </a:lnTo>
                <a:lnTo>
                  <a:pt x="1441" y="470"/>
                </a:lnTo>
                <a:lnTo>
                  <a:pt x="1442" y="470"/>
                </a:lnTo>
                <a:lnTo>
                  <a:pt x="1441" y="471"/>
                </a:lnTo>
                <a:close/>
                <a:moveTo>
                  <a:pt x="1443" y="469"/>
                </a:moveTo>
                <a:lnTo>
                  <a:pt x="1444" y="467"/>
                </a:lnTo>
                <a:lnTo>
                  <a:pt x="1445" y="467"/>
                </a:lnTo>
                <a:lnTo>
                  <a:pt x="1445" y="466"/>
                </a:lnTo>
                <a:lnTo>
                  <a:pt x="1445" y="467"/>
                </a:lnTo>
                <a:lnTo>
                  <a:pt x="1444" y="467"/>
                </a:lnTo>
                <a:lnTo>
                  <a:pt x="1444" y="468"/>
                </a:lnTo>
                <a:lnTo>
                  <a:pt x="1443" y="469"/>
                </a:lnTo>
                <a:close/>
                <a:moveTo>
                  <a:pt x="1459" y="453"/>
                </a:moveTo>
                <a:lnTo>
                  <a:pt x="1457" y="453"/>
                </a:lnTo>
                <a:lnTo>
                  <a:pt x="1458" y="453"/>
                </a:lnTo>
                <a:lnTo>
                  <a:pt x="1459" y="452"/>
                </a:lnTo>
                <a:lnTo>
                  <a:pt x="1460" y="452"/>
                </a:lnTo>
                <a:lnTo>
                  <a:pt x="1459" y="453"/>
                </a:lnTo>
                <a:close/>
                <a:moveTo>
                  <a:pt x="1450" y="452"/>
                </a:moveTo>
                <a:lnTo>
                  <a:pt x="1450" y="453"/>
                </a:lnTo>
                <a:lnTo>
                  <a:pt x="1449" y="454"/>
                </a:lnTo>
                <a:lnTo>
                  <a:pt x="1448" y="454"/>
                </a:lnTo>
                <a:lnTo>
                  <a:pt x="1448" y="453"/>
                </a:lnTo>
                <a:lnTo>
                  <a:pt x="1449" y="453"/>
                </a:lnTo>
                <a:lnTo>
                  <a:pt x="1449" y="452"/>
                </a:lnTo>
                <a:lnTo>
                  <a:pt x="1450" y="452"/>
                </a:lnTo>
                <a:close/>
                <a:moveTo>
                  <a:pt x="1462" y="452"/>
                </a:moveTo>
                <a:lnTo>
                  <a:pt x="1460" y="452"/>
                </a:lnTo>
                <a:lnTo>
                  <a:pt x="1462" y="452"/>
                </a:lnTo>
                <a:lnTo>
                  <a:pt x="1463" y="452"/>
                </a:lnTo>
                <a:lnTo>
                  <a:pt x="1464" y="452"/>
                </a:lnTo>
                <a:lnTo>
                  <a:pt x="1465" y="450"/>
                </a:lnTo>
                <a:lnTo>
                  <a:pt x="1466" y="450"/>
                </a:lnTo>
                <a:lnTo>
                  <a:pt x="1467" y="450"/>
                </a:lnTo>
                <a:lnTo>
                  <a:pt x="1466" y="450"/>
                </a:lnTo>
                <a:lnTo>
                  <a:pt x="1465" y="450"/>
                </a:lnTo>
                <a:lnTo>
                  <a:pt x="1464" y="452"/>
                </a:lnTo>
                <a:lnTo>
                  <a:pt x="1462" y="452"/>
                </a:lnTo>
                <a:close/>
                <a:moveTo>
                  <a:pt x="1451" y="450"/>
                </a:moveTo>
                <a:lnTo>
                  <a:pt x="1452" y="450"/>
                </a:lnTo>
                <a:lnTo>
                  <a:pt x="1452" y="449"/>
                </a:lnTo>
                <a:lnTo>
                  <a:pt x="1453" y="448"/>
                </a:lnTo>
                <a:lnTo>
                  <a:pt x="1453" y="449"/>
                </a:lnTo>
                <a:lnTo>
                  <a:pt x="1452" y="449"/>
                </a:lnTo>
                <a:lnTo>
                  <a:pt x="1452" y="450"/>
                </a:lnTo>
                <a:lnTo>
                  <a:pt x="1451" y="450"/>
                </a:lnTo>
                <a:close/>
                <a:moveTo>
                  <a:pt x="1475" y="446"/>
                </a:moveTo>
                <a:lnTo>
                  <a:pt x="1474" y="446"/>
                </a:lnTo>
                <a:lnTo>
                  <a:pt x="1474" y="445"/>
                </a:lnTo>
                <a:lnTo>
                  <a:pt x="1475" y="445"/>
                </a:lnTo>
                <a:lnTo>
                  <a:pt x="1475" y="446"/>
                </a:lnTo>
                <a:close/>
                <a:moveTo>
                  <a:pt x="1478" y="445"/>
                </a:moveTo>
                <a:lnTo>
                  <a:pt x="1478" y="446"/>
                </a:lnTo>
                <a:lnTo>
                  <a:pt x="1478" y="445"/>
                </a:lnTo>
                <a:lnTo>
                  <a:pt x="1477" y="445"/>
                </a:lnTo>
                <a:lnTo>
                  <a:pt x="1478" y="445"/>
                </a:lnTo>
                <a:close/>
                <a:moveTo>
                  <a:pt x="1475" y="445"/>
                </a:moveTo>
                <a:lnTo>
                  <a:pt x="1474" y="445"/>
                </a:lnTo>
                <a:lnTo>
                  <a:pt x="1473" y="446"/>
                </a:lnTo>
                <a:lnTo>
                  <a:pt x="1474" y="446"/>
                </a:lnTo>
                <a:lnTo>
                  <a:pt x="1473" y="446"/>
                </a:lnTo>
                <a:lnTo>
                  <a:pt x="1473" y="447"/>
                </a:lnTo>
                <a:lnTo>
                  <a:pt x="1473" y="446"/>
                </a:lnTo>
                <a:lnTo>
                  <a:pt x="1472" y="446"/>
                </a:lnTo>
                <a:lnTo>
                  <a:pt x="1472" y="447"/>
                </a:lnTo>
                <a:lnTo>
                  <a:pt x="1471" y="447"/>
                </a:lnTo>
                <a:lnTo>
                  <a:pt x="1470" y="448"/>
                </a:lnTo>
                <a:lnTo>
                  <a:pt x="1471" y="448"/>
                </a:lnTo>
                <a:lnTo>
                  <a:pt x="1472" y="448"/>
                </a:lnTo>
                <a:lnTo>
                  <a:pt x="1472" y="447"/>
                </a:lnTo>
                <a:lnTo>
                  <a:pt x="1473" y="447"/>
                </a:lnTo>
                <a:lnTo>
                  <a:pt x="1474" y="446"/>
                </a:lnTo>
                <a:lnTo>
                  <a:pt x="1475" y="446"/>
                </a:lnTo>
                <a:lnTo>
                  <a:pt x="1477" y="446"/>
                </a:lnTo>
                <a:lnTo>
                  <a:pt x="1478" y="446"/>
                </a:lnTo>
                <a:lnTo>
                  <a:pt x="1479" y="446"/>
                </a:lnTo>
                <a:lnTo>
                  <a:pt x="1479" y="445"/>
                </a:lnTo>
                <a:lnTo>
                  <a:pt x="1480" y="445"/>
                </a:lnTo>
                <a:lnTo>
                  <a:pt x="1480" y="446"/>
                </a:lnTo>
                <a:lnTo>
                  <a:pt x="1480" y="445"/>
                </a:lnTo>
                <a:lnTo>
                  <a:pt x="1480" y="446"/>
                </a:lnTo>
                <a:lnTo>
                  <a:pt x="1479" y="446"/>
                </a:lnTo>
                <a:lnTo>
                  <a:pt x="1478" y="447"/>
                </a:lnTo>
                <a:lnTo>
                  <a:pt x="1477" y="447"/>
                </a:lnTo>
                <a:lnTo>
                  <a:pt x="1475" y="447"/>
                </a:lnTo>
                <a:lnTo>
                  <a:pt x="1474" y="448"/>
                </a:lnTo>
                <a:lnTo>
                  <a:pt x="1473" y="448"/>
                </a:lnTo>
                <a:lnTo>
                  <a:pt x="1472" y="448"/>
                </a:lnTo>
                <a:lnTo>
                  <a:pt x="1471" y="449"/>
                </a:lnTo>
                <a:lnTo>
                  <a:pt x="1470" y="449"/>
                </a:lnTo>
                <a:lnTo>
                  <a:pt x="1468" y="449"/>
                </a:lnTo>
                <a:lnTo>
                  <a:pt x="1470" y="449"/>
                </a:lnTo>
                <a:lnTo>
                  <a:pt x="1468" y="449"/>
                </a:lnTo>
                <a:lnTo>
                  <a:pt x="1467" y="449"/>
                </a:lnTo>
                <a:lnTo>
                  <a:pt x="1467" y="450"/>
                </a:lnTo>
                <a:lnTo>
                  <a:pt x="1466" y="450"/>
                </a:lnTo>
                <a:lnTo>
                  <a:pt x="1465" y="450"/>
                </a:lnTo>
                <a:lnTo>
                  <a:pt x="1464" y="450"/>
                </a:lnTo>
                <a:lnTo>
                  <a:pt x="1463" y="450"/>
                </a:lnTo>
                <a:lnTo>
                  <a:pt x="1462" y="450"/>
                </a:lnTo>
                <a:lnTo>
                  <a:pt x="1460" y="450"/>
                </a:lnTo>
                <a:lnTo>
                  <a:pt x="1460" y="452"/>
                </a:lnTo>
                <a:lnTo>
                  <a:pt x="1459" y="452"/>
                </a:lnTo>
                <a:lnTo>
                  <a:pt x="1458" y="452"/>
                </a:lnTo>
                <a:lnTo>
                  <a:pt x="1457" y="452"/>
                </a:lnTo>
                <a:lnTo>
                  <a:pt x="1456" y="453"/>
                </a:lnTo>
                <a:lnTo>
                  <a:pt x="1456" y="452"/>
                </a:lnTo>
                <a:lnTo>
                  <a:pt x="1455" y="452"/>
                </a:lnTo>
                <a:lnTo>
                  <a:pt x="1455" y="453"/>
                </a:lnTo>
                <a:lnTo>
                  <a:pt x="1456" y="453"/>
                </a:lnTo>
                <a:lnTo>
                  <a:pt x="1457" y="453"/>
                </a:lnTo>
                <a:lnTo>
                  <a:pt x="1456" y="453"/>
                </a:lnTo>
                <a:lnTo>
                  <a:pt x="1455" y="453"/>
                </a:lnTo>
                <a:lnTo>
                  <a:pt x="1453" y="453"/>
                </a:lnTo>
                <a:lnTo>
                  <a:pt x="1452" y="453"/>
                </a:lnTo>
                <a:lnTo>
                  <a:pt x="1451" y="454"/>
                </a:lnTo>
                <a:lnTo>
                  <a:pt x="1451" y="453"/>
                </a:lnTo>
                <a:lnTo>
                  <a:pt x="1452" y="453"/>
                </a:lnTo>
                <a:lnTo>
                  <a:pt x="1453" y="453"/>
                </a:lnTo>
                <a:lnTo>
                  <a:pt x="1455" y="453"/>
                </a:lnTo>
                <a:lnTo>
                  <a:pt x="1455" y="452"/>
                </a:lnTo>
                <a:lnTo>
                  <a:pt x="1453" y="452"/>
                </a:lnTo>
                <a:lnTo>
                  <a:pt x="1452" y="452"/>
                </a:lnTo>
                <a:lnTo>
                  <a:pt x="1452" y="453"/>
                </a:lnTo>
                <a:lnTo>
                  <a:pt x="1451" y="453"/>
                </a:lnTo>
                <a:lnTo>
                  <a:pt x="1451" y="452"/>
                </a:lnTo>
                <a:lnTo>
                  <a:pt x="1451" y="450"/>
                </a:lnTo>
                <a:lnTo>
                  <a:pt x="1452" y="450"/>
                </a:lnTo>
                <a:lnTo>
                  <a:pt x="1452" y="449"/>
                </a:lnTo>
                <a:lnTo>
                  <a:pt x="1453" y="449"/>
                </a:lnTo>
                <a:lnTo>
                  <a:pt x="1455" y="449"/>
                </a:lnTo>
                <a:lnTo>
                  <a:pt x="1456" y="449"/>
                </a:lnTo>
                <a:lnTo>
                  <a:pt x="1456" y="448"/>
                </a:lnTo>
                <a:lnTo>
                  <a:pt x="1457" y="448"/>
                </a:lnTo>
                <a:lnTo>
                  <a:pt x="1457" y="449"/>
                </a:lnTo>
                <a:lnTo>
                  <a:pt x="1457" y="448"/>
                </a:lnTo>
                <a:lnTo>
                  <a:pt x="1458" y="448"/>
                </a:lnTo>
                <a:lnTo>
                  <a:pt x="1459" y="448"/>
                </a:lnTo>
                <a:lnTo>
                  <a:pt x="1458" y="448"/>
                </a:lnTo>
                <a:lnTo>
                  <a:pt x="1459" y="448"/>
                </a:lnTo>
                <a:lnTo>
                  <a:pt x="1459" y="447"/>
                </a:lnTo>
                <a:lnTo>
                  <a:pt x="1460" y="447"/>
                </a:lnTo>
                <a:lnTo>
                  <a:pt x="1459" y="448"/>
                </a:lnTo>
                <a:lnTo>
                  <a:pt x="1460" y="448"/>
                </a:lnTo>
                <a:lnTo>
                  <a:pt x="1460" y="447"/>
                </a:lnTo>
                <a:lnTo>
                  <a:pt x="1462" y="447"/>
                </a:lnTo>
                <a:lnTo>
                  <a:pt x="1462" y="448"/>
                </a:lnTo>
                <a:lnTo>
                  <a:pt x="1463" y="448"/>
                </a:lnTo>
                <a:lnTo>
                  <a:pt x="1463" y="447"/>
                </a:lnTo>
                <a:lnTo>
                  <a:pt x="1464" y="447"/>
                </a:lnTo>
                <a:lnTo>
                  <a:pt x="1465" y="447"/>
                </a:lnTo>
                <a:lnTo>
                  <a:pt x="1467" y="447"/>
                </a:lnTo>
                <a:lnTo>
                  <a:pt x="1468" y="447"/>
                </a:lnTo>
                <a:lnTo>
                  <a:pt x="1470" y="447"/>
                </a:lnTo>
                <a:lnTo>
                  <a:pt x="1471" y="447"/>
                </a:lnTo>
                <a:lnTo>
                  <a:pt x="1472" y="446"/>
                </a:lnTo>
                <a:lnTo>
                  <a:pt x="1473" y="446"/>
                </a:lnTo>
                <a:lnTo>
                  <a:pt x="1473" y="445"/>
                </a:lnTo>
                <a:lnTo>
                  <a:pt x="1474" y="445"/>
                </a:lnTo>
                <a:lnTo>
                  <a:pt x="1475" y="443"/>
                </a:lnTo>
                <a:lnTo>
                  <a:pt x="1477" y="443"/>
                </a:lnTo>
                <a:lnTo>
                  <a:pt x="1475" y="445"/>
                </a:lnTo>
                <a:close/>
                <a:moveTo>
                  <a:pt x="1485" y="443"/>
                </a:moveTo>
                <a:lnTo>
                  <a:pt x="1484" y="443"/>
                </a:lnTo>
                <a:lnTo>
                  <a:pt x="1485" y="443"/>
                </a:lnTo>
                <a:lnTo>
                  <a:pt x="1485" y="442"/>
                </a:lnTo>
                <a:lnTo>
                  <a:pt x="1485" y="443"/>
                </a:lnTo>
                <a:close/>
                <a:moveTo>
                  <a:pt x="1495" y="442"/>
                </a:moveTo>
                <a:lnTo>
                  <a:pt x="1494" y="442"/>
                </a:lnTo>
                <a:lnTo>
                  <a:pt x="1495" y="442"/>
                </a:lnTo>
                <a:close/>
                <a:moveTo>
                  <a:pt x="1480" y="442"/>
                </a:moveTo>
                <a:lnTo>
                  <a:pt x="1479" y="442"/>
                </a:lnTo>
                <a:lnTo>
                  <a:pt x="1480" y="442"/>
                </a:lnTo>
                <a:lnTo>
                  <a:pt x="1480" y="441"/>
                </a:lnTo>
                <a:lnTo>
                  <a:pt x="1481" y="441"/>
                </a:lnTo>
                <a:lnTo>
                  <a:pt x="1481" y="442"/>
                </a:lnTo>
                <a:lnTo>
                  <a:pt x="1480" y="442"/>
                </a:lnTo>
                <a:close/>
                <a:moveTo>
                  <a:pt x="1506" y="440"/>
                </a:moveTo>
                <a:lnTo>
                  <a:pt x="1506" y="441"/>
                </a:lnTo>
                <a:lnTo>
                  <a:pt x="1506" y="442"/>
                </a:lnTo>
                <a:lnTo>
                  <a:pt x="1505" y="442"/>
                </a:lnTo>
                <a:lnTo>
                  <a:pt x="1503" y="442"/>
                </a:lnTo>
                <a:lnTo>
                  <a:pt x="1502" y="442"/>
                </a:lnTo>
                <a:lnTo>
                  <a:pt x="1502" y="441"/>
                </a:lnTo>
                <a:lnTo>
                  <a:pt x="1503" y="441"/>
                </a:lnTo>
                <a:lnTo>
                  <a:pt x="1505" y="441"/>
                </a:lnTo>
                <a:lnTo>
                  <a:pt x="1506" y="441"/>
                </a:lnTo>
                <a:lnTo>
                  <a:pt x="1505" y="441"/>
                </a:lnTo>
                <a:lnTo>
                  <a:pt x="1506" y="441"/>
                </a:lnTo>
                <a:lnTo>
                  <a:pt x="1506" y="440"/>
                </a:lnTo>
                <a:close/>
                <a:moveTo>
                  <a:pt x="1500" y="440"/>
                </a:moveTo>
                <a:lnTo>
                  <a:pt x="1500" y="441"/>
                </a:lnTo>
                <a:lnTo>
                  <a:pt x="1500" y="440"/>
                </a:lnTo>
                <a:close/>
                <a:moveTo>
                  <a:pt x="1494" y="440"/>
                </a:moveTo>
                <a:lnTo>
                  <a:pt x="1495" y="440"/>
                </a:lnTo>
                <a:lnTo>
                  <a:pt x="1495" y="439"/>
                </a:lnTo>
                <a:lnTo>
                  <a:pt x="1495" y="440"/>
                </a:lnTo>
                <a:lnTo>
                  <a:pt x="1494" y="440"/>
                </a:lnTo>
                <a:close/>
                <a:moveTo>
                  <a:pt x="1499" y="439"/>
                </a:moveTo>
                <a:lnTo>
                  <a:pt x="1499" y="440"/>
                </a:lnTo>
                <a:lnTo>
                  <a:pt x="1500" y="440"/>
                </a:lnTo>
                <a:lnTo>
                  <a:pt x="1499" y="441"/>
                </a:lnTo>
                <a:lnTo>
                  <a:pt x="1498" y="441"/>
                </a:lnTo>
                <a:lnTo>
                  <a:pt x="1496" y="441"/>
                </a:lnTo>
                <a:lnTo>
                  <a:pt x="1495" y="441"/>
                </a:lnTo>
                <a:lnTo>
                  <a:pt x="1496" y="440"/>
                </a:lnTo>
                <a:lnTo>
                  <a:pt x="1498" y="440"/>
                </a:lnTo>
                <a:lnTo>
                  <a:pt x="1498" y="439"/>
                </a:lnTo>
                <a:lnTo>
                  <a:pt x="1499" y="439"/>
                </a:lnTo>
                <a:close/>
                <a:moveTo>
                  <a:pt x="1496" y="439"/>
                </a:moveTo>
                <a:lnTo>
                  <a:pt x="1495" y="439"/>
                </a:lnTo>
                <a:lnTo>
                  <a:pt x="1496" y="439"/>
                </a:lnTo>
                <a:lnTo>
                  <a:pt x="1498" y="439"/>
                </a:lnTo>
                <a:lnTo>
                  <a:pt x="1498" y="438"/>
                </a:lnTo>
                <a:lnTo>
                  <a:pt x="1498" y="439"/>
                </a:lnTo>
                <a:lnTo>
                  <a:pt x="1496" y="439"/>
                </a:lnTo>
                <a:close/>
                <a:moveTo>
                  <a:pt x="1488" y="439"/>
                </a:moveTo>
                <a:lnTo>
                  <a:pt x="1489" y="438"/>
                </a:lnTo>
                <a:lnTo>
                  <a:pt x="1488" y="438"/>
                </a:lnTo>
                <a:lnTo>
                  <a:pt x="1489" y="438"/>
                </a:lnTo>
                <a:lnTo>
                  <a:pt x="1489" y="439"/>
                </a:lnTo>
                <a:lnTo>
                  <a:pt x="1488" y="439"/>
                </a:lnTo>
                <a:close/>
                <a:moveTo>
                  <a:pt x="1507" y="438"/>
                </a:moveTo>
                <a:lnTo>
                  <a:pt x="1507" y="436"/>
                </a:lnTo>
                <a:lnTo>
                  <a:pt x="1508" y="436"/>
                </a:lnTo>
                <a:lnTo>
                  <a:pt x="1507" y="436"/>
                </a:lnTo>
                <a:lnTo>
                  <a:pt x="1507" y="438"/>
                </a:lnTo>
                <a:close/>
                <a:moveTo>
                  <a:pt x="1491" y="439"/>
                </a:moveTo>
                <a:lnTo>
                  <a:pt x="1489" y="439"/>
                </a:lnTo>
                <a:lnTo>
                  <a:pt x="1489" y="438"/>
                </a:lnTo>
                <a:lnTo>
                  <a:pt x="1491" y="438"/>
                </a:lnTo>
                <a:lnTo>
                  <a:pt x="1491" y="436"/>
                </a:lnTo>
                <a:lnTo>
                  <a:pt x="1492" y="436"/>
                </a:lnTo>
                <a:lnTo>
                  <a:pt x="1491" y="438"/>
                </a:lnTo>
                <a:lnTo>
                  <a:pt x="1491" y="439"/>
                </a:lnTo>
                <a:close/>
                <a:moveTo>
                  <a:pt x="1491" y="438"/>
                </a:moveTo>
                <a:lnTo>
                  <a:pt x="1489" y="438"/>
                </a:lnTo>
                <a:lnTo>
                  <a:pt x="1489" y="436"/>
                </a:lnTo>
                <a:lnTo>
                  <a:pt x="1491" y="436"/>
                </a:lnTo>
                <a:lnTo>
                  <a:pt x="1489" y="436"/>
                </a:lnTo>
                <a:lnTo>
                  <a:pt x="1491" y="435"/>
                </a:lnTo>
                <a:lnTo>
                  <a:pt x="1491" y="436"/>
                </a:lnTo>
                <a:lnTo>
                  <a:pt x="1491" y="438"/>
                </a:lnTo>
                <a:close/>
                <a:moveTo>
                  <a:pt x="1343" y="429"/>
                </a:moveTo>
                <a:lnTo>
                  <a:pt x="1342" y="429"/>
                </a:lnTo>
                <a:lnTo>
                  <a:pt x="1342" y="428"/>
                </a:lnTo>
                <a:lnTo>
                  <a:pt x="1343" y="427"/>
                </a:lnTo>
                <a:lnTo>
                  <a:pt x="1343" y="428"/>
                </a:lnTo>
                <a:lnTo>
                  <a:pt x="1343" y="429"/>
                </a:lnTo>
                <a:close/>
                <a:moveTo>
                  <a:pt x="1401" y="414"/>
                </a:moveTo>
                <a:lnTo>
                  <a:pt x="1400" y="415"/>
                </a:lnTo>
                <a:lnTo>
                  <a:pt x="1400" y="414"/>
                </a:lnTo>
                <a:lnTo>
                  <a:pt x="1401" y="414"/>
                </a:lnTo>
                <a:close/>
                <a:moveTo>
                  <a:pt x="1522" y="403"/>
                </a:moveTo>
                <a:lnTo>
                  <a:pt x="1522" y="401"/>
                </a:lnTo>
                <a:lnTo>
                  <a:pt x="1522" y="403"/>
                </a:lnTo>
                <a:close/>
                <a:moveTo>
                  <a:pt x="1522" y="401"/>
                </a:moveTo>
                <a:lnTo>
                  <a:pt x="1522" y="400"/>
                </a:lnTo>
                <a:lnTo>
                  <a:pt x="1523" y="400"/>
                </a:lnTo>
                <a:lnTo>
                  <a:pt x="1522" y="400"/>
                </a:lnTo>
                <a:lnTo>
                  <a:pt x="1522" y="401"/>
                </a:lnTo>
                <a:close/>
                <a:moveTo>
                  <a:pt x="1441" y="399"/>
                </a:moveTo>
                <a:lnTo>
                  <a:pt x="1439" y="399"/>
                </a:lnTo>
                <a:lnTo>
                  <a:pt x="1441" y="399"/>
                </a:lnTo>
                <a:close/>
                <a:moveTo>
                  <a:pt x="1536" y="399"/>
                </a:moveTo>
                <a:lnTo>
                  <a:pt x="1536" y="398"/>
                </a:lnTo>
                <a:lnTo>
                  <a:pt x="1537" y="398"/>
                </a:lnTo>
                <a:lnTo>
                  <a:pt x="1537" y="399"/>
                </a:lnTo>
                <a:lnTo>
                  <a:pt x="1536" y="399"/>
                </a:lnTo>
                <a:close/>
                <a:moveTo>
                  <a:pt x="1534" y="399"/>
                </a:moveTo>
                <a:lnTo>
                  <a:pt x="1534" y="398"/>
                </a:lnTo>
                <a:lnTo>
                  <a:pt x="1535" y="398"/>
                </a:lnTo>
                <a:lnTo>
                  <a:pt x="1535" y="399"/>
                </a:lnTo>
                <a:lnTo>
                  <a:pt x="1534" y="399"/>
                </a:lnTo>
                <a:close/>
                <a:moveTo>
                  <a:pt x="1534" y="397"/>
                </a:moveTo>
                <a:lnTo>
                  <a:pt x="1534" y="398"/>
                </a:lnTo>
                <a:lnTo>
                  <a:pt x="1534" y="397"/>
                </a:lnTo>
                <a:lnTo>
                  <a:pt x="1532" y="398"/>
                </a:lnTo>
                <a:lnTo>
                  <a:pt x="1532" y="397"/>
                </a:lnTo>
                <a:lnTo>
                  <a:pt x="1534" y="397"/>
                </a:lnTo>
                <a:lnTo>
                  <a:pt x="1535" y="397"/>
                </a:lnTo>
                <a:lnTo>
                  <a:pt x="1534" y="397"/>
                </a:lnTo>
                <a:close/>
                <a:moveTo>
                  <a:pt x="1539" y="397"/>
                </a:moveTo>
                <a:lnTo>
                  <a:pt x="1538" y="397"/>
                </a:lnTo>
                <a:lnTo>
                  <a:pt x="1539" y="397"/>
                </a:lnTo>
                <a:close/>
                <a:moveTo>
                  <a:pt x="1537" y="396"/>
                </a:moveTo>
                <a:lnTo>
                  <a:pt x="1537" y="397"/>
                </a:lnTo>
                <a:lnTo>
                  <a:pt x="1536" y="397"/>
                </a:lnTo>
                <a:lnTo>
                  <a:pt x="1536" y="396"/>
                </a:lnTo>
                <a:lnTo>
                  <a:pt x="1537" y="396"/>
                </a:lnTo>
                <a:close/>
                <a:moveTo>
                  <a:pt x="1535" y="394"/>
                </a:moveTo>
                <a:lnTo>
                  <a:pt x="1534" y="394"/>
                </a:lnTo>
                <a:lnTo>
                  <a:pt x="1534" y="396"/>
                </a:lnTo>
                <a:lnTo>
                  <a:pt x="1534" y="394"/>
                </a:lnTo>
                <a:lnTo>
                  <a:pt x="1535" y="394"/>
                </a:lnTo>
                <a:close/>
                <a:moveTo>
                  <a:pt x="1444" y="394"/>
                </a:moveTo>
                <a:lnTo>
                  <a:pt x="1443" y="396"/>
                </a:lnTo>
                <a:lnTo>
                  <a:pt x="1443" y="394"/>
                </a:lnTo>
                <a:lnTo>
                  <a:pt x="1444" y="394"/>
                </a:lnTo>
                <a:close/>
                <a:moveTo>
                  <a:pt x="1539" y="394"/>
                </a:moveTo>
                <a:lnTo>
                  <a:pt x="1539" y="393"/>
                </a:lnTo>
                <a:lnTo>
                  <a:pt x="1539" y="394"/>
                </a:lnTo>
                <a:close/>
                <a:moveTo>
                  <a:pt x="1446" y="393"/>
                </a:moveTo>
                <a:lnTo>
                  <a:pt x="1446" y="394"/>
                </a:lnTo>
                <a:lnTo>
                  <a:pt x="1445" y="394"/>
                </a:lnTo>
                <a:lnTo>
                  <a:pt x="1445" y="393"/>
                </a:lnTo>
                <a:lnTo>
                  <a:pt x="1445" y="394"/>
                </a:lnTo>
                <a:lnTo>
                  <a:pt x="1446" y="393"/>
                </a:lnTo>
                <a:close/>
                <a:moveTo>
                  <a:pt x="1535" y="394"/>
                </a:moveTo>
                <a:lnTo>
                  <a:pt x="1535" y="393"/>
                </a:lnTo>
                <a:lnTo>
                  <a:pt x="1535" y="394"/>
                </a:lnTo>
                <a:close/>
                <a:moveTo>
                  <a:pt x="1543" y="394"/>
                </a:moveTo>
                <a:lnTo>
                  <a:pt x="1542" y="394"/>
                </a:lnTo>
                <a:lnTo>
                  <a:pt x="1542" y="396"/>
                </a:lnTo>
                <a:lnTo>
                  <a:pt x="1541" y="396"/>
                </a:lnTo>
                <a:lnTo>
                  <a:pt x="1541" y="394"/>
                </a:lnTo>
                <a:lnTo>
                  <a:pt x="1541" y="393"/>
                </a:lnTo>
                <a:lnTo>
                  <a:pt x="1542" y="393"/>
                </a:lnTo>
                <a:lnTo>
                  <a:pt x="1542" y="392"/>
                </a:lnTo>
                <a:lnTo>
                  <a:pt x="1543" y="392"/>
                </a:lnTo>
                <a:lnTo>
                  <a:pt x="1543" y="393"/>
                </a:lnTo>
                <a:lnTo>
                  <a:pt x="1544" y="393"/>
                </a:lnTo>
                <a:lnTo>
                  <a:pt x="1544" y="394"/>
                </a:lnTo>
                <a:lnTo>
                  <a:pt x="1543" y="394"/>
                </a:lnTo>
                <a:close/>
                <a:moveTo>
                  <a:pt x="1552" y="392"/>
                </a:moveTo>
                <a:lnTo>
                  <a:pt x="1551" y="392"/>
                </a:lnTo>
                <a:lnTo>
                  <a:pt x="1551" y="391"/>
                </a:lnTo>
                <a:lnTo>
                  <a:pt x="1552" y="391"/>
                </a:lnTo>
                <a:lnTo>
                  <a:pt x="1552" y="392"/>
                </a:lnTo>
                <a:close/>
                <a:moveTo>
                  <a:pt x="1556" y="390"/>
                </a:moveTo>
                <a:lnTo>
                  <a:pt x="1557" y="390"/>
                </a:lnTo>
                <a:lnTo>
                  <a:pt x="1556" y="390"/>
                </a:lnTo>
                <a:close/>
                <a:moveTo>
                  <a:pt x="1562" y="385"/>
                </a:moveTo>
                <a:lnTo>
                  <a:pt x="1560" y="385"/>
                </a:lnTo>
                <a:lnTo>
                  <a:pt x="1562" y="384"/>
                </a:lnTo>
                <a:lnTo>
                  <a:pt x="1562" y="385"/>
                </a:lnTo>
                <a:close/>
                <a:moveTo>
                  <a:pt x="1562" y="386"/>
                </a:moveTo>
                <a:lnTo>
                  <a:pt x="1562" y="385"/>
                </a:lnTo>
                <a:lnTo>
                  <a:pt x="1563" y="385"/>
                </a:lnTo>
                <a:lnTo>
                  <a:pt x="1563" y="384"/>
                </a:lnTo>
                <a:lnTo>
                  <a:pt x="1563" y="385"/>
                </a:lnTo>
                <a:lnTo>
                  <a:pt x="1562" y="385"/>
                </a:lnTo>
                <a:lnTo>
                  <a:pt x="1562" y="386"/>
                </a:lnTo>
                <a:close/>
                <a:moveTo>
                  <a:pt x="1562" y="385"/>
                </a:moveTo>
                <a:lnTo>
                  <a:pt x="1562" y="384"/>
                </a:lnTo>
                <a:lnTo>
                  <a:pt x="1563" y="383"/>
                </a:lnTo>
                <a:lnTo>
                  <a:pt x="1563" y="384"/>
                </a:lnTo>
                <a:lnTo>
                  <a:pt x="1562" y="384"/>
                </a:lnTo>
                <a:lnTo>
                  <a:pt x="1562" y="385"/>
                </a:lnTo>
                <a:close/>
                <a:moveTo>
                  <a:pt x="1323" y="384"/>
                </a:moveTo>
                <a:lnTo>
                  <a:pt x="1323" y="383"/>
                </a:lnTo>
                <a:lnTo>
                  <a:pt x="1323" y="384"/>
                </a:lnTo>
                <a:close/>
                <a:moveTo>
                  <a:pt x="1325" y="383"/>
                </a:moveTo>
                <a:lnTo>
                  <a:pt x="1324" y="383"/>
                </a:lnTo>
                <a:lnTo>
                  <a:pt x="1324" y="382"/>
                </a:lnTo>
                <a:lnTo>
                  <a:pt x="1325" y="382"/>
                </a:lnTo>
                <a:lnTo>
                  <a:pt x="1325" y="383"/>
                </a:lnTo>
                <a:close/>
                <a:moveTo>
                  <a:pt x="1313" y="379"/>
                </a:moveTo>
                <a:lnTo>
                  <a:pt x="1314" y="379"/>
                </a:lnTo>
                <a:lnTo>
                  <a:pt x="1314" y="380"/>
                </a:lnTo>
                <a:lnTo>
                  <a:pt x="1313" y="380"/>
                </a:lnTo>
                <a:lnTo>
                  <a:pt x="1313" y="382"/>
                </a:lnTo>
                <a:lnTo>
                  <a:pt x="1311" y="382"/>
                </a:lnTo>
                <a:lnTo>
                  <a:pt x="1311" y="383"/>
                </a:lnTo>
                <a:lnTo>
                  <a:pt x="1310" y="383"/>
                </a:lnTo>
                <a:lnTo>
                  <a:pt x="1309" y="384"/>
                </a:lnTo>
                <a:lnTo>
                  <a:pt x="1309" y="385"/>
                </a:lnTo>
                <a:lnTo>
                  <a:pt x="1308" y="385"/>
                </a:lnTo>
                <a:lnTo>
                  <a:pt x="1307" y="386"/>
                </a:lnTo>
                <a:lnTo>
                  <a:pt x="1306" y="386"/>
                </a:lnTo>
                <a:lnTo>
                  <a:pt x="1306" y="385"/>
                </a:lnTo>
                <a:lnTo>
                  <a:pt x="1307" y="385"/>
                </a:lnTo>
                <a:lnTo>
                  <a:pt x="1307" y="384"/>
                </a:lnTo>
                <a:lnTo>
                  <a:pt x="1308" y="383"/>
                </a:lnTo>
                <a:lnTo>
                  <a:pt x="1309" y="383"/>
                </a:lnTo>
                <a:lnTo>
                  <a:pt x="1309" y="382"/>
                </a:lnTo>
                <a:lnTo>
                  <a:pt x="1310" y="382"/>
                </a:lnTo>
                <a:lnTo>
                  <a:pt x="1310" y="380"/>
                </a:lnTo>
                <a:lnTo>
                  <a:pt x="1310" y="382"/>
                </a:lnTo>
                <a:lnTo>
                  <a:pt x="1310" y="380"/>
                </a:lnTo>
                <a:lnTo>
                  <a:pt x="1311" y="380"/>
                </a:lnTo>
                <a:lnTo>
                  <a:pt x="1313" y="379"/>
                </a:lnTo>
                <a:close/>
                <a:moveTo>
                  <a:pt x="1315" y="377"/>
                </a:moveTo>
                <a:lnTo>
                  <a:pt x="1316" y="377"/>
                </a:lnTo>
                <a:lnTo>
                  <a:pt x="1316" y="378"/>
                </a:lnTo>
                <a:lnTo>
                  <a:pt x="1315" y="378"/>
                </a:lnTo>
                <a:lnTo>
                  <a:pt x="1315" y="377"/>
                </a:lnTo>
                <a:close/>
                <a:moveTo>
                  <a:pt x="1334" y="375"/>
                </a:moveTo>
                <a:lnTo>
                  <a:pt x="1332" y="375"/>
                </a:lnTo>
                <a:lnTo>
                  <a:pt x="1334" y="373"/>
                </a:lnTo>
                <a:lnTo>
                  <a:pt x="1334" y="372"/>
                </a:lnTo>
                <a:lnTo>
                  <a:pt x="1335" y="372"/>
                </a:lnTo>
                <a:lnTo>
                  <a:pt x="1335" y="371"/>
                </a:lnTo>
                <a:lnTo>
                  <a:pt x="1336" y="372"/>
                </a:lnTo>
                <a:lnTo>
                  <a:pt x="1335" y="372"/>
                </a:lnTo>
                <a:lnTo>
                  <a:pt x="1336" y="372"/>
                </a:lnTo>
                <a:lnTo>
                  <a:pt x="1335" y="372"/>
                </a:lnTo>
                <a:lnTo>
                  <a:pt x="1335" y="373"/>
                </a:lnTo>
                <a:lnTo>
                  <a:pt x="1335" y="375"/>
                </a:lnTo>
                <a:lnTo>
                  <a:pt x="1334" y="375"/>
                </a:lnTo>
                <a:close/>
                <a:moveTo>
                  <a:pt x="1350" y="371"/>
                </a:moveTo>
                <a:lnTo>
                  <a:pt x="1349" y="372"/>
                </a:lnTo>
                <a:lnTo>
                  <a:pt x="1347" y="372"/>
                </a:lnTo>
                <a:lnTo>
                  <a:pt x="1347" y="371"/>
                </a:lnTo>
                <a:lnTo>
                  <a:pt x="1349" y="371"/>
                </a:lnTo>
                <a:lnTo>
                  <a:pt x="1350" y="371"/>
                </a:lnTo>
                <a:close/>
                <a:moveTo>
                  <a:pt x="1336" y="371"/>
                </a:moveTo>
                <a:lnTo>
                  <a:pt x="1337" y="371"/>
                </a:lnTo>
                <a:lnTo>
                  <a:pt x="1336" y="371"/>
                </a:lnTo>
                <a:close/>
                <a:moveTo>
                  <a:pt x="1351" y="369"/>
                </a:moveTo>
                <a:lnTo>
                  <a:pt x="1350" y="369"/>
                </a:lnTo>
                <a:lnTo>
                  <a:pt x="1351" y="368"/>
                </a:lnTo>
                <a:lnTo>
                  <a:pt x="1351" y="369"/>
                </a:lnTo>
                <a:close/>
                <a:moveTo>
                  <a:pt x="1361" y="366"/>
                </a:moveTo>
                <a:lnTo>
                  <a:pt x="1361" y="368"/>
                </a:lnTo>
                <a:lnTo>
                  <a:pt x="1363" y="368"/>
                </a:lnTo>
                <a:lnTo>
                  <a:pt x="1361" y="369"/>
                </a:lnTo>
                <a:lnTo>
                  <a:pt x="1360" y="369"/>
                </a:lnTo>
                <a:lnTo>
                  <a:pt x="1359" y="369"/>
                </a:lnTo>
                <a:lnTo>
                  <a:pt x="1358" y="369"/>
                </a:lnTo>
                <a:lnTo>
                  <a:pt x="1357" y="369"/>
                </a:lnTo>
                <a:lnTo>
                  <a:pt x="1357" y="368"/>
                </a:lnTo>
                <a:lnTo>
                  <a:pt x="1358" y="368"/>
                </a:lnTo>
                <a:lnTo>
                  <a:pt x="1359" y="368"/>
                </a:lnTo>
                <a:lnTo>
                  <a:pt x="1360" y="368"/>
                </a:lnTo>
                <a:lnTo>
                  <a:pt x="1360" y="366"/>
                </a:lnTo>
                <a:lnTo>
                  <a:pt x="1361" y="366"/>
                </a:lnTo>
                <a:close/>
                <a:moveTo>
                  <a:pt x="868" y="365"/>
                </a:moveTo>
                <a:lnTo>
                  <a:pt x="868" y="366"/>
                </a:lnTo>
                <a:lnTo>
                  <a:pt x="868" y="365"/>
                </a:lnTo>
                <a:close/>
                <a:moveTo>
                  <a:pt x="868" y="365"/>
                </a:moveTo>
                <a:lnTo>
                  <a:pt x="867" y="364"/>
                </a:lnTo>
                <a:lnTo>
                  <a:pt x="868" y="364"/>
                </a:lnTo>
                <a:lnTo>
                  <a:pt x="868" y="365"/>
                </a:lnTo>
                <a:close/>
                <a:moveTo>
                  <a:pt x="1356" y="364"/>
                </a:moveTo>
                <a:lnTo>
                  <a:pt x="1356" y="363"/>
                </a:lnTo>
                <a:lnTo>
                  <a:pt x="1356" y="364"/>
                </a:lnTo>
                <a:close/>
                <a:moveTo>
                  <a:pt x="863" y="362"/>
                </a:moveTo>
                <a:lnTo>
                  <a:pt x="863" y="361"/>
                </a:lnTo>
                <a:lnTo>
                  <a:pt x="863" y="362"/>
                </a:lnTo>
                <a:close/>
                <a:moveTo>
                  <a:pt x="1357" y="363"/>
                </a:moveTo>
                <a:lnTo>
                  <a:pt x="1356" y="363"/>
                </a:lnTo>
                <a:lnTo>
                  <a:pt x="1356" y="362"/>
                </a:lnTo>
                <a:lnTo>
                  <a:pt x="1356" y="361"/>
                </a:lnTo>
                <a:lnTo>
                  <a:pt x="1357" y="359"/>
                </a:lnTo>
                <a:lnTo>
                  <a:pt x="1358" y="359"/>
                </a:lnTo>
                <a:lnTo>
                  <a:pt x="1358" y="361"/>
                </a:lnTo>
                <a:lnTo>
                  <a:pt x="1357" y="361"/>
                </a:lnTo>
                <a:lnTo>
                  <a:pt x="1357" y="362"/>
                </a:lnTo>
                <a:lnTo>
                  <a:pt x="1356" y="362"/>
                </a:lnTo>
                <a:lnTo>
                  <a:pt x="1357" y="363"/>
                </a:lnTo>
                <a:close/>
                <a:moveTo>
                  <a:pt x="1327" y="361"/>
                </a:moveTo>
                <a:lnTo>
                  <a:pt x="1325" y="361"/>
                </a:lnTo>
                <a:lnTo>
                  <a:pt x="1325" y="359"/>
                </a:lnTo>
                <a:lnTo>
                  <a:pt x="1327" y="359"/>
                </a:lnTo>
                <a:lnTo>
                  <a:pt x="1327" y="361"/>
                </a:lnTo>
                <a:close/>
                <a:moveTo>
                  <a:pt x="1278" y="356"/>
                </a:moveTo>
                <a:lnTo>
                  <a:pt x="1276" y="356"/>
                </a:lnTo>
                <a:lnTo>
                  <a:pt x="1278" y="355"/>
                </a:lnTo>
                <a:lnTo>
                  <a:pt x="1279" y="355"/>
                </a:lnTo>
                <a:lnTo>
                  <a:pt x="1280" y="355"/>
                </a:lnTo>
                <a:lnTo>
                  <a:pt x="1279" y="355"/>
                </a:lnTo>
                <a:lnTo>
                  <a:pt x="1279" y="356"/>
                </a:lnTo>
                <a:lnTo>
                  <a:pt x="1278" y="356"/>
                </a:lnTo>
                <a:lnTo>
                  <a:pt x="1279" y="356"/>
                </a:lnTo>
                <a:lnTo>
                  <a:pt x="1278" y="356"/>
                </a:lnTo>
                <a:close/>
                <a:moveTo>
                  <a:pt x="1281" y="354"/>
                </a:moveTo>
                <a:lnTo>
                  <a:pt x="1280" y="354"/>
                </a:lnTo>
                <a:lnTo>
                  <a:pt x="1279" y="354"/>
                </a:lnTo>
                <a:lnTo>
                  <a:pt x="1280" y="354"/>
                </a:lnTo>
                <a:lnTo>
                  <a:pt x="1281" y="354"/>
                </a:lnTo>
                <a:close/>
                <a:moveTo>
                  <a:pt x="1279" y="354"/>
                </a:moveTo>
                <a:lnTo>
                  <a:pt x="1278" y="354"/>
                </a:lnTo>
                <a:lnTo>
                  <a:pt x="1279" y="354"/>
                </a:lnTo>
                <a:close/>
                <a:moveTo>
                  <a:pt x="1276" y="354"/>
                </a:moveTo>
                <a:lnTo>
                  <a:pt x="1275" y="354"/>
                </a:lnTo>
                <a:lnTo>
                  <a:pt x="1275" y="352"/>
                </a:lnTo>
                <a:lnTo>
                  <a:pt x="1276" y="352"/>
                </a:lnTo>
                <a:lnTo>
                  <a:pt x="1276" y="354"/>
                </a:lnTo>
                <a:close/>
                <a:moveTo>
                  <a:pt x="1282" y="352"/>
                </a:moveTo>
                <a:lnTo>
                  <a:pt x="1282" y="351"/>
                </a:lnTo>
                <a:lnTo>
                  <a:pt x="1283" y="351"/>
                </a:lnTo>
                <a:lnTo>
                  <a:pt x="1283" y="352"/>
                </a:lnTo>
                <a:lnTo>
                  <a:pt x="1282" y="352"/>
                </a:lnTo>
                <a:close/>
                <a:moveTo>
                  <a:pt x="886" y="351"/>
                </a:moveTo>
                <a:lnTo>
                  <a:pt x="886" y="350"/>
                </a:lnTo>
                <a:lnTo>
                  <a:pt x="887" y="350"/>
                </a:lnTo>
                <a:lnTo>
                  <a:pt x="886" y="350"/>
                </a:lnTo>
                <a:lnTo>
                  <a:pt x="886" y="351"/>
                </a:lnTo>
                <a:close/>
                <a:moveTo>
                  <a:pt x="884" y="350"/>
                </a:moveTo>
                <a:lnTo>
                  <a:pt x="884" y="349"/>
                </a:lnTo>
                <a:lnTo>
                  <a:pt x="884" y="348"/>
                </a:lnTo>
                <a:lnTo>
                  <a:pt x="886" y="348"/>
                </a:lnTo>
                <a:lnTo>
                  <a:pt x="886" y="349"/>
                </a:lnTo>
                <a:lnTo>
                  <a:pt x="884" y="349"/>
                </a:lnTo>
                <a:lnTo>
                  <a:pt x="884" y="350"/>
                </a:lnTo>
                <a:close/>
                <a:moveTo>
                  <a:pt x="1320" y="345"/>
                </a:moveTo>
                <a:lnTo>
                  <a:pt x="1320" y="347"/>
                </a:lnTo>
                <a:lnTo>
                  <a:pt x="1318" y="347"/>
                </a:lnTo>
                <a:lnTo>
                  <a:pt x="1317" y="347"/>
                </a:lnTo>
                <a:lnTo>
                  <a:pt x="1316" y="347"/>
                </a:lnTo>
                <a:lnTo>
                  <a:pt x="1315" y="347"/>
                </a:lnTo>
                <a:lnTo>
                  <a:pt x="1316" y="347"/>
                </a:lnTo>
                <a:lnTo>
                  <a:pt x="1315" y="348"/>
                </a:lnTo>
                <a:lnTo>
                  <a:pt x="1314" y="348"/>
                </a:lnTo>
                <a:lnTo>
                  <a:pt x="1314" y="349"/>
                </a:lnTo>
                <a:lnTo>
                  <a:pt x="1313" y="349"/>
                </a:lnTo>
                <a:lnTo>
                  <a:pt x="1311" y="349"/>
                </a:lnTo>
                <a:lnTo>
                  <a:pt x="1311" y="350"/>
                </a:lnTo>
                <a:lnTo>
                  <a:pt x="1310" y="350"/>
                </a:lnTo>
                <a:lnTo>
                  <a:pt x="1310" y="351"/>
                </a:lnTo>
                <a:lnTo>
                  <a:pt x="1309" y="351"/>
                </a:lnTo>
                <a:lnTo>
                  <a:pt x="1308" y="352"/>
                </a:lnTo>
                <a:lnTo>
                  <a:pt x="1307" y="351"/>
                </a:lnTo>
                <a:lnTo>
                  <a:pt x="1308" y="351"/>
                </a:lnTo>
                <a:lnTo>
                  <a:pt x="1309" y="350"/>
                </a:lnTo>
                <a:lnTo>
                  <a:pt x="1308" y="350"/>
                </a:lnTo>
                <a:lnTo>
                  <a:pt x="1309" y="350"/>
                </a:lnTo>
                <a:lnTo>
                  <a:pt x="1308" y="351"/>
                </a:lnTo>
                <a:lnTo>
                  <a:pt x="1308" y="350"/>
                </a:lnTo>
                <a:lnTo>
                  <a:pt x="1307" y="350"/>
                </a:lnTo>
                <a:lnTo>
                  <a:pt x="1306" y="350"/>
                </a:lnTo>
                <a:lnTo>
                  <a:pt x="1307" y="350"/>
                </a:lnTo>
                <a:lnTo>
                  <a:pt x="1307" y="349"/>
                </a:lnTo>
                <a:lnTo>
                  <a:pt x="1308" y="349"/>
                </a:lnTo>
                <a:lnTo>
                  <a:pt x="1308" y="348"/>
                </a:lnTo>
                <a:lnTo>
                  <a:pt x="1310" y="347"/>
                </a:lnTo>
                <a:lnTo>
                  <a:pt x="1311" y="347"/>
                </a:lnTo>
                <a:lnTo>
                  <a:pt x="1313" y="345"/>
                </a:lnTo>
                <a:lnTo>
                  <a:pt x="1313" y="347"/>
                </a:lnTo>
                <a:lnTo>
                  <a:pt x="1313" y="345"/>
                </a:lnTo>
                <a:lnTo>
                  <a:pt x="1314" y="345"/>
                </a:lnTo>
                <a:lnTo>
                  <a:pt x="1315" y="345"/>
                </a:lnTo>
                <a:lnTo>
                  <a:pt x="1318" y="345"/>
                </a:lnTo>
                <a:lnTo>
                  <a:pt x="1320" y="345"/>
                </a:lnTo>
                <a:close/>
                <a:moveTo>
                  <a:pt x="891" y="347"/>
                </a:moveTo>
                <a:lnTo>
                  <a:pt x="892" y="347"/>
                </a:lnTo>
                <a:lnTo>
                  <a:pt x="891" y="347"/>
                </a:lnTo>
                <a:lnTo>
                  <a:pt x="891" y="348"/>
                </a:lnTo>
                <a:lnTo>
                  <a:pt x="890" y="348"/>
                </a:lnTo>
                <a:lnTo>
                  <a:pt x="890" y="347"/>
                </a:lnTo>
                <a:lnTo>
                  <a:pt x="891" y="347"/>
                </a:lnTo>
                <a:lnTo>
                  <a:pt x="890" y="347"/>
                </a:lnTo>
                <a:lnTo>
                  <a:pt x="890" y="348"/>
                </a:lnTo>
                <a:lnTo>
                  <a:pt x="890" y="347"/>
                </a:lnTo>
                <a:lnTo>
                  <a:pt x="891" y="345"/>
                </a:lnTo>
                <a:lnTo>
                  <a:pt x="892" y="345"/>
                </a:lnTo>
                <a:lnTo>
                  <a:pt x="891" y="345"/>
                </a:lnTo>
                <a:lnTo>
                  <a:pt x="891" y="347"/>
                </a:lnTo>
                <a:close/>
                <a:moveTo>
                  <a:pt x="892" y="343"/>
                </a:moveTo>
                <a:lnTo>
                  <a:pt x="892" y="344"/>
                </a:lnTo>
                <a:lnTo>
                  <a:pt x="892" y="343"/>
                </a:lnTo>
                <a:lnTo>
                  <a:pt x="891" y="343"/>
                </a:lnTo>
                <a:lnTo>
                  <a:pt x="892" y="343"/>
                </a:lnTo>
                <a:lnTo>
                  <a:pt x="892" y="342"/>
                </a:lnTo>
                <a:lnTo>
                  <a:pt x="894" y="342"/>
                </a:lnTo>
                <a:lnTo>
                  <a:pt x="892" y="343"/>
                </a:lnTo>
                <a:lnTo>
                  <a:pt x="894" y="343"/>
                </a:lnTo>
                <a:lnTo>
                  <a:pt x="892" y="343"/>
                </a:lnTo>
                <a:close/>
                <a:moveTo>
                  <a:pt x="895" y="336"/>
                </a:moveTo>
                <a:lnTo>
                  <a:pt x="895" y="337"/>
                </a:lnTo>
                <a:lnTo>
                  <a:pt x="894" y="337"/>
                </a:lnTo>
                <a:lnTo>
                  <a:pt x="894" y="336"/>
                </a:lnTo>
                <a:lnTo>
                  <a:pt x="895" y="336"/>
                </a:lnTo>
                <a:close/>
                <a:moveTo>
                  <a:pt x="1315" y="335"/>
                </a:moveTo>
                <a:lnTo>
                  <a:pt x="1314" y="335"/>
                </a:lnTo>
                <a:lnTo>
                  <a:pt x="1313" y="336"/>
                </a:lnTo>
                <a:lnTo>
                  <a:pt x="1311" y="337"/>
                </a:lnTo>
                <a:lnTo>
                  <a:pt x="1308" y="338"/>
                </a:lnTo>
                <a:lnTo>
                  <a:pt x="1307" y="338"/>
                </a:lnTo>
                <a:lnTo>
                  <a:pt x="1308" y="338"/>
                </a:lnTo>
                <a:lnTo>
                  <a:pt x="1307" y="338"/>
                </a:lnTo>
                <a:lnTo>
                  <a:pt x="1304" y="340"/>
                </a:lnTo>
                <a:lnTo>
                  <a:pt x="1303" y="340"/>
                </a:lnTo>
                <a:lnTo>
                  <a:pt x="1304" y="338"/>
                </a:lnTo>
                <a:lnTo>
                  <a:pt x="1306" y="337"/>
                </a:lnTo>
                <a:lnTo>
                  <a:pt x="1308" y="337"/>
                </a:lnTo>
                <a:lnTo>
                  <a:pt x="1309" y="337"/>
                </a:lnTo>
                <a:lnTo>
                  <a:pt x="1309" y="336"/>
                </a:lnTo>
                <a:lnTo>
                  <a:pt x="1310" y="336"/>
                </a:lnTo>
                <a:lnTo>
                  <a:pt x="1311" y="336"/>
                </a:lnTo>
                <a:lnTo>
                  <a:pt x="1311" y="335"/>
                </a:lnTo>
                <a:lnTo>
                  <a:pt x="1311" y="336"/>
                </a:lnTo>
                <a:lnTo>
                  <a:pt x="1313" y="335"/>
                </a:lnTo>
                <a:lnTo>
                  <a:pt x="1314" y="335"/>
                </a:lnTo>
                <a:lnTo>
                  <a:pt x="1315" y="334"/>
                </a:lnTo>
                <a:lnTo>
                  <a:pt x="1315" y="335"/>
                </a:lnTo>
                <a:close/>
                <a:moveTo>
                  <a:pt x="899" y="331"/>
                </a:moveTo>
                <a:lnTo>
                  <a:pt x="899" y="333"/>
                </a:lnTo>
                <a:lnTo>
                  <a:pt x="898" y="333"/>
                </a:lnTo>
                <a:lnTo>
                  <a:pt x="897" y="333"/>
                </a:lnTo>
                <a:lnTo>
                  <a:pt x="897" y="334"/>
                </a:lnTo>
                <a:lnTo>
                  <a:pt x="896" y="334"/>
                </a:lnTo>
                <a:lnTo>
                  <a:pt x="897" y="334"/>
                </a:lnTo>
                <a:lnTo>
                  <a:pt x="897" y="335"/>
                </a:lnTo>
                <a:lnTo>
                  <a:pt x="896" y="336"/>
                </a:lnTo>
                <a:lnTo>
                  <a:pt x="896" y="337"/>
                </a:lnTo>
                <a:lnTo>
                  <a:pt x="897" y="336"/>
                </a:lnTo>
                <a:lnTo>
                  <a:pt x="898" y="337"/>
                </a:lnTo>
                <a:lnTo>
                  <a:pt x="898" y="338"/>
                </a:lnTo>
                <a:lnTo>
                  <a:pt x="897" y="338"/>
                </a:lnTo>
                <a:lnTo>
                  <a:pt x="896" y="338"/>
                </a:lnTo>
                <a:lnTo>
                  <a:pt x="897" y="337"/>
                </a:lnTo>
                <a:lnTo>
                  <a:pt x="896" y="337"/>
                </a:lnTo>
                <a:lnTo>
                  <a:pt x="896" y="336"/>
                </a:lnTo>
                <a:lnTo>
                  <a:pt x="896" y="335"/>
                </a:lnTo>
                <a:lnTo>
                  <a:pt x="897" y="335"/>
                </a:lnTo>
                <a:lnTo>
                  <a:pt x="896" y="335"/>
                </a:lnTo>
                <a:lnTo>
                  <a:pt x="896" y="334"/>
                </a:lnTo>
                <a:lnTo>
                  <a:pt x="898" y="331"/>
                </a:lnTo>
                <a:lnTo>
                  <a:pt x="899" y="331"/>
                </a:lnTo>
                <a:close/>
                <a:moveTo>
                  <a:pt x="897" y="330"/>
                </a:moveTo>
                <a:lnTo>
                  <a:pt x="896" y="330"/>
                </a:lnTo>
                <a:lnTo>
                  <a:pt x="896" y="329"/>
                </a:lnTo>
                <a:lnTo>
                  <a:pt x="897" y="329"/>
                </a:lnTo>
                <a:lnTo>
                  <a:pt x="897" y="328"/>
                </a:lnTo>
                <a:lnTo>
                  <a:pt x="897" y="329"/>
                </a:lnTo>
                <a:lnTo>
                  <a:pt x="897" y="330"/>
                </a:lnTo>
                <a:close/>
                <a:moveTo>
                  <a:pt x="899" y="329"/>
                </a:moveTo>
                <a:lnTo>
                  <a:pt x="899" y="328"/>
                </a:lnTo>
                <a:lnTo>
                  <a:pt x="899" y="329"/>
                </a:lnTo>
                <a:close/>
                <a:moveTo>
                  <a:pt x="896" y="329"/>
                </a:moveTo>
                <a:lnTo>
                  <a:pt x="895" y="329"/>
                </a:lnTo>
                <a:lnTo>
                  <a:pt x="895" y="330"/>
                </a:lnTo>
                <a:lnTo>
                  <a:pt x="894" y="330"/>
                </a:lnTo>
                <a:lnTo>
                  <a:pt x="894" y="329"/>
                </a:lnTo>
                <a:lnTo>
                  <a:pt x="894" y="328"/>
                </a:lnTo>
                <a:lnTo>
                  <a:pt x="895" y="328"/>
                </a:lnTo>
                <a:lnTo>
                  <a:pt x="896" y="329"/>
                </a:lnTo>
                <a:close/>
                <a:moveTo>
                  <a:pt x="899" y="327"/>
                </a:moveTo>
                <a:lnTo>
                  <a:pt x="899" y="328"/>
                </a:lnTo>
                <a:lnTo>
                  <a:pt x="898" y="328"/>
                </a:lnTo>
                <a:lnTo>
                  <a:pt x="898" y="327"/>
                </a:lnTo>
                <a:lnTo>
                  <a:pt x="898" y="328"/>
                </a:lnTo>
                <a:lnTo>
                  <a:pt x="897" y="328"/>
                </a:lnTo>
                <a:lnTo>
                  <a:pt x="896" y="328"/>
                </a:lnTo>
                <a:lnTo>
                  <a:pt x="896" y="327"/>
                </a:lnTo>
                <a:lnTo>
                  <a:pt x="897" y="327"/>
                </a:lnTo>
                <a:lnTo>
                  <a:pt x="898" y="327"/>
                </a:lnTo>
                <a:lnTo>
                  <a:pt x="899" y="327"/>
                </a:lnTo>
                <a:close/>
                <a:moveTo>
                  <a:pt x="902" y="327"/>
                </a:moveTo>
                <a:lnTo>
                  <a:pt x="901" y="327"/>
                </a:lnTo>
                <a:lnTo>
                  <a:pt x="901" y="326"/>
                </a:lnTo>
                <a:lnTo>
                  <a:pt x="902" y="326"/>
                </a:lnTo>
                <a:lnTo>
                  <a:pt x="902" y="327"/>
                </a:lnTo>
                <a:close/>
                <a:moveTo>
                  <a:pt x="1243" y="316"/>
                </a:moveTo>
                <a:lnTo>
                  <a:pt x="1244" y="316"/>
                </a:lnTo>
                <a:lnTo>
                  <a:pt x="1245" y="316"/>
                </a:lnTo>
                <a:lnTo>
                  <a:pt x="1246" y="317"/>
                </a:lnTo>
                <a:lnTo>
                  <a:pt x="1245" y="317"/>
                </a:lnTo>
                <a:lnTo>
                  <a:pt x="1245" y="319"/>
                </a:lnTo>
                <a:lnTo>
                  <a:pt x="1245" y="320"/>
                </a:lnTo>
                <a:lnTo>
                  <a:pt x="1245" y="321"/>
                </a:lnTo>
                <a:lnTo>
                  <a:pt x="1244" y="323"/>
                </a:lnTo>
                <a:lnTo>
                  <a:pt x="1244" y="324"/>
                </a:lnTo>
                <a:lnTo>
                  <a:pt x="1244" y="326"/>
                </a:lnTo>
                <a:lnTo>
                  <a:pt x="1245" y="327"/>
                </a:lnTo>
                <a:lnTo>
                  <a:pt x="1247" y="327"/>
                </a:lnTo>
                <a:lnTo>
                  <a:pt x="1249" y="327"/>
                </a:lnTo>
                <a:lnTo>
                  <a:pt x="1247" y="327"/>
                </a:lnTo>
                <a:lnTo>
                  <a:pt x="1249" y="327"/>
                </a:lnTo>
                <a:lnTo>
                  <a:pt x="1251" y="327"/>
                </a:lnTo>
                <a:lnTo>
                  <a:pt x="1252" y="328"/>
                </a:lnTo>
                <a:lnTo>
                  <a:pt x="1253" y="328"/>
                </a:lnTo>
                <a:lnTo>
                  <a:pt x="1252" y="329"/>
                </a:lnTo>
                <a:lnTo>
                  <a:pt x="1253" y="329"/>
                </a:lnTo>
                <a:lnTo>
                  <a:pt x="1254" y="329"/>
                </a:lnTo>
                <a:lnTo>
                  <a:pt x="1256" y="329"/>
                </a:lnTo>
                <a:lnTo>
                  <a:pt x="1257" y="329"/>
                </a:lnTo>
                <a:lnTo>
                  <a:pt x="1257" y="328"/>
                </a:lnTo>
                <a:lnTo>
                  <a:pt x="1258" y="328"/>
                </a:lnTo>
                <a:lnTo>
                  <a:pt x="1260" y="328"/>
                </a:lnTo>
                <a:lnTo>
                  <a:pt x="1261" y="328"/>
                </a:lnTo>
                <a:lnTo>
                  <a:pt x="1264" y="328"/>
                </a:lnTo>
                <a:lnTo>
                  <a:pt x="1266" y="329"/>
                </a:lnTo>
                <a:lnTo>
                  <a:pt x="1267" y="329"/>
                </a:lnTo>
                <a:lnTo>
                  <a:pt x="1266" y="329"/>
                </a:lnTo>
                <a:lnTo>
                  <a:pt x="1266" y="330"/>
                </a:lnTo>
                <a:lnTo>
                  <a:pt x="1265" y="330"/>
                </a:lnTo>
                <a:lnTo>
                  <a:pt x="1266" y="330"/>
                </a:lnTo>
                <a:lnTo>
                  <a:pt x="1267" y="330"/>
                </a:lnTo>
                <a:lnTo>
                  <a:pt x="1268" y="330"/>
                </a:lnTo>
                <a:lnTo>
                  <a:pt x="1268" y="331"/>
                </a:lnTo>
                <a:lnTo>
                  <a:pt x="1267" y="331"/>
                </a:lnTo>
                <a:lnTo>
                  <a:pt x="1267" y="333"/>
                </a:lnTo>
                <a:lnTo>
                  <a:pt x="1267" y="334"/>
                </a:lnTo>
                <a:lnTo>
                  <a:pt x="1268" y="334"/>
                </a:lnTo>
                <a:lnTo>
                  <a:pt x="1270" y="333"/>
                </a:lnTo>
                <a:lnTo>
                  <a:pt x="1270" y="331"/>
                </a:lnTo>
                <a:lnTo>
                  <a:pt x="1272" y="331"/>
                </a:lnTo>
                <a:lnTo>
                  <a:pt x="1273" y="333"/>
                </a:lnTo>
                <a:lnTo>
                  <a:pt x="1273" y="334"/>
                </a:lnTo>
                <a:lnTo>
                  <a:pt x="1274" y="334"/>
                </a:lnTo>
                <a:lnTo>
                  <a:pt x="1275" y="334"/>
                </a:lnTo>
                <a:lnTo>
                  <a:pt x="1275" y="335"/>
                </a:lnTo>
                <a:lnTo>
                  <a:pt x="1275" y="336"/>
                </a:lnTo>
                <a:lnTo>
                  <a:pt x="1276" y="336"/>
                </a:lnTo>
                <a:lnTo>
                  <a:pt x="1278" y="336"/>
                </a:lnTo>
                <a:lnTo>
                  <a:pt x="1279" y="336"/>
                </a:lnTo>
                <a:lnTo>
                  <a:pt x="1280" y="336"/>
                </a:lnTo>
                <a:lnTo>
                  <a:pt x="1281" y="336"/>
                </a:lnTo>
                <a:lnTo>
                  <a:pt x="1283" y="335"/>
                </a:lnTo>
                <a:lnTo>
                  <a:pt x="1285" y="334"/>
                </a:lnTo>
                <a:lnTo>
                  <a:pt x="1286" y="334"/>
                </a:lnTo>
                <a:lnTo>
                  <a:pt x="1287" y="334"/>
                </a:lnTo>
                <a:lnTo>
                  <a:pt x="1286" y="334"/>
                </a:lnTo>
                <a:lnTo>
                  <a:pt x="1286" y="335"/>
                </a:lnTo>
                <a:lnTo>
                  <a:pt x="1286" y="336"/>
                </a:lnTo>
                <a:lnTo>
                  <a:pt x="1287" y="336"/>
                </a:lnTo>
                <a:lnTo>
                  <a:pt x="1288" y="336"/>
                </a:lnTo>
                <a:lnTo>
                  <a:pt x="1289" y="336"/>
                </a:lnTo>
                <a:lnTo>
                  <a:pt x="1290" y="336"/>
                </a:lnTo>
                <a:lnTo>
                  <a:pt x="1294" y="335"/>
                </a:lnTo>
                <a:lnTo>
                  <a:pt x="1295" y="336"/>
                </a:lnTo>
                <a:lnTo>
                  <a:pt x="1295" y="337"/>
                </a:lnTo>
                <a:lnTo>
                  <a:pt x="1296" y="337"/>
                </a:lnTo>
                <a:lnTo>
                  <a:pt x="1297" y="337"/>
                </a:lnTo>
                <a:lnTo>
                  <a:pt x="1299" y="337"/>
                </a:lnTo>
                <a:lnTo>
                  <a:pt x="1300" y="337"/>
                </a:lnTo>
                <a:lnTo>
                  <a:pt x="1299" y="337"/>
                </a:lnTo>
                <a:lnTo>
                  <a:pt x="1299" y="338"/>
                </a:lnTo>
                <a:lnTo>
                  <a:pt x="1297" y="338"/>
                </a:lnTo>
                <a:lnTo>
                  <a:pt x="1293" y="340"/>
                </a:lnTo>
                <a:lnTo>
                  <a:pt x="1290" y="341"/>
                </a:lnTo>
                <a:lnTo>
                  <a:pt x="1289" y="341"/>
                </a:lnTo>
                <a:lnTo>
                  <a:pt x="1288" y="341"/>
                </a:lnTo>
                <a:lnTo>
                  <a:pt x="1287" y="342"/>
                </a:lnTo>
                <a:lnTo>
                  <a:pt x="1282" y="343"/>
                </a:lnTo>
                <a:lnTo>
                  <a:pt x="1280" y="344"/>
                </a:lnTo>
                <a:lnTo>
                  <a:pt x="1279" y="345"/>
                </a:lnTo>
                <a:lnTo>
                  <a:pt x="1274" y="348"/>
                </a:lnTo>
                <a:lnTo>
                  <a:pt x="1271" y="351"/>
                </a:lnTo>
                <a:lnTo>
                  <a:pt x="1270" y="351"/>
                </a:lnTo>
                <a:lnTo>
                  <a:pt x="1268" y="351"/>
                </a:lnTo>
                <a:lnTo>
                  <a:pt x="1268" y="352"/>
                </a:lnTo>
                <a:lnTo>
                  <a:pt x="1267" y="352"/>
                </a:lnTo>
                <a:lnTo>
                  <a:pt x="1266" y="352"/>
                </a:lnTo>
                <a:lnTo>
                  <a:pt x="1266" y="354"/>
                </a:lnTo>
                <a:lnTo>
                  <a:pt x="1265" y="354"/>
                </a:lnTo>
                <a:lnTo>
                  <a:pt x="1264" y="354"/>
                </a:lnTo>
                <a:lnTo>
                  <a:pt x="1263" y="355"/>
                </a:lnTo>
                <a:lnTo>
                  <a:pt x="1261" y="355"/>
                </a:lnTo>
                <a:lnTo>
                  <a:pt x="1260" y="356"/>
                </a:lnTo>
                <a:lnTo>
                  <a:pt x="1260" y="357"/>
                </a:lnTo>
                <a:lnTo>
                  <a:pt x="1261" y="357"/>
                </a:lnTo>
                <a:lnTo>
                  <a:pt x="1264" y="357"/>
                </a:lnTo>
                <a:lnTo>
                  <a:pt x="1267" y="356"/>
                </a:lnTo>
                <a:lnTo>
                  <a:pt x="1268" y="356"/>
                </a:lnTo>
                <a:lnTo>
                  <a:pt x="1270" y="356"/>
                </a:lnTo>
                <a:lnTo>
                  <a:pt x="1272" y="355"/>
                </a:lnTo>
                <a:lnTo>
                  <a:pt x="1273" y="355"/>
                </a:lnTo>
                <a:lnTo>
                  <a:pt x="1272" y="355"/>
                </a:lnTo>
                <a:lnTo>
                  <a:pt x="1273" y="355"/>
                </a:lnTo>
                <a:lnTo>
                  <a:pt x="1274" y="355"/>
                </a:lnTo>
                <a:lnTo>
                  <a:pt x="1274" y="354"/>
                </a:lnTo>
                <a:lnTo>
                  <a:pt x="1275" y="354"/>
                </a:lnTo>
                <a:lnTo>
                  <a:pt x="1276" y="354"/>
                </a:lnTo>
                <a:lnTo>
                  <a:pt x="1278" y="354"/>
                </a:lnTo>
                <a:lnTo>
                  <a:pt x="1278" y="355"/>
                </a:lnTo>
                <a:lnTo>
                  <a:pt x="1276" y="356"/>
                </a:lnTo>
                <a:lnTo>
                  <a:pt x="1275" y="356"/>
                </a:lnTo>
                <a:lnTo>
                  <a:pt x="1275" y="357"/>
                </a:lnTo>
                <a:lnTo>
                  <a:pt x="1274" y="358"/>
                </a:lnTo>
                <a:lnTo>
                  <a:pt x="1273" y="358"/>
                </a:lnTo>
                <a:lnTo>
                  <a:pt x="1274" y="359"/>
                </a:lnTo>
                <a:lnTo>
                  <a:pt x="1274" y="358"/>
                </a:lnTo>
                <a:lnTo>
                  <a:pt x="1275" y="358"/>
                </a:lnTo>
                <a:lnTo>
                  <a:pt x="1276" y="358"/>
                </a:lnTo>
                <a:lnTo>
                  <a:pt x="1276" y="357"/>
                </a:lnTo>
                <a:lnTo>
                  <a:pt x="1278" y="358"/>
                </a:lnTo>
                <a:lnTo>
                  <a:pt x="1279" y="358"/>
                </a:lnTo>
                <a:lnTo>
                  <a:pt x="1279" y="359"/>
                </a:lnTo>
                <a:lnTo>
                  <a:pt x="1280" y="359"/>
                </a:lnTo>
                <a:lnTo>
                  <a:pt x="1281" y="358"/>
                </a:lnTo>
                <a:lnTo>
                  <a:pt x="1282" y="358"/>
                </a:lnTo>
                <a:lnTo>
                  <a:pt x="1285" y="357"/>
                </a:lnTo>
                <a:lnTo>
                  <a:pt x="1286" y="357"/>
                </a:lnTo>
                <a:lnTo>
                  <a:pt x="1289" y="356"/>
                </a:lnTo>
                <a:lnTo>
                  <a:pt x="1289" y="355"/>
                </a:lnTo>
                <a:lnTo>
                  <a:pt x="1294" y="355"/>
                </a:lnTo>
                <a:lnTo>
                  <a:pt x="1296" y="355"/>
                </a:lnTo>
                <a:lnTo>
                  <a:pt x="1297" y="354"/>
                </a:lnTo>
                <a:lnTo>
                  <a:pt x="1299" y="352"/>
                </a:lnTo>
                <a:lnTo>
                  <a:pt x="1300" y="352"/>
                </a:lnTo>
                <a:lnTo>
                  <a:pt x="1301" y="352"/>
                </a:lnTo>
                <a:lnTo>
                  <a:pt x="1302" y="351"/>
                </a:lnTo>
                <a:lnTo>
                  <a:pt x="1303" y="351"/>
                </a:lnTo>
                <a:lnTo>
                  <a:pt x="1303" y="350"/>
                </a:lnTo>
                <a:lnTo>
                  <a:pt x="1306" y="349"/>
                </a:lnTo>
                <a:lnTo>
                  <a:pt x="1307" y="349"/>
                </a:lnTo>
                <a:lnTo>
                  <a:pt x="1307" y="350"/>
                </a:lnTo>
                <a:lnTo>
                  <a:pt x="1306" y="350"/>
                </a:lnTo>
                <a:lnTo>
                  <a:pt x="1307" y="350"/>
                </a:lnTo>
                <a:lnTo>
                  <a:pt x="1307" y="351"/>
                </a:lnTo>
                <a:lnTo>
                  <a:pt x="1307" y="352"/>
                </a:lnTo>
                <a:lnTo>
                  <a:pt x="1307" y="354"/>
                </a:lnTo>
                <a:lnTo>
                  <a:pt x="1306" y="355"/>
                </a:lnTo>
                <a:lnTo>
                  <a:pt x="1306" y="356"/>
                </a:lnTo>
                <a:lnTo>
                  <a:pt x="1307" y="355"/>
                </a:lnTo>
                <a:lnTo>
                  <a:pt x="1308" y="355"/>
                </a:lnTo>
                <a:lnTo>
                  <a:pt x="1308" y="354"/>
                </a:lnTo>
                <a:lnTo>
                  <a:pt x="1309" y="354"/>
                </a:lnTo>
                <a:lnTo>
                  <a:pt x="1310" y="354"/>
                </a:lnTo>
                <a:lnTo>
                  <a:pt x="1309" y="354"/>
                </a:lnTo>
                <a:lnTo>
                  <a:pt x="1309" y="355"/>
                </a:lnTo>
                <a:lnTo>
                  <a:pt x="1308" y="355"/>
                </a:lnTo>
                <a:lnTo>
                  <a:pt x="1309" y="355"/>
                </a:lnTo>
                <a:lnTo>
                  <a:pt x="1310" y="354"/>
                </a:lnTo>
                <a:lnTo>
                  <a:pt x="1311" y="354"/>
                </a:lnTo>
                <a:lnTo>
                  <a:pt x="1314" y="354"/>
                </a:lnTo>
                <a:lnTo>
                  <a:pt x="1315" y="355"/>
                </a:lnTo>
                <a:lnTo>
                  <a:pt x="1316" y="355"/>
                </a:lnTo>
                <a:lnTo>
                  <a:pt x="1316" y="356"/>
                </a:lnTo>
                <a:lnTo>
                  <a:pt x="1316" y="355"/>
                </a:lnTo>
                <a:lnTo>
                  <a:pt x="1316" y="356"/>
                </a:lnTo>
                <a:lnTo>
                  <a:pt x="1316" y="357"/>
                </a:lnTo>
                <a:lnTo>
                  <a:pt x="1316" y="358"/>
                </a:lnTo>
                <a:lnTo>
                  <a:pt x="1317" y="358"/>
                </a:lnTo>
                <a:lnTo>
                  <a:pt x="1317" y="359"/>
                </a:lnTo>
                <a:lnTo>
                  <a:pt x="1317" y="361"/>
                </a:lnTo>
                <a:lnTo>
                  <a:pt x="1318" y="361"/>
                </a:lnTo>
                <a:lnTo>
                  <a:pt x="1320" y="361"/>
                </a:lnTo>
                <a:lnTo>
                  <a:pt x="1321" y="361"/>
                </a:lnTo>
                <a:lnTo>
                  <a:pt x="1321" y="359"/>
                </a:lnTo>
                <a:lnTo>
                  <a:pt x="1322" y="359"/>
                </a:lnTo>
                <a:lnTo>
                  <a:pt x="1322" y="361"/>
                </a:lnTo>
                <a:lnTo>
                  <a:pt x="1323" y="361"/>
                </a:lnTo>
                <a:lnTo>
                  <a:pt x="1324" y="361"/>
                </a:lnTo>
                <a:lnTo>
                  <a:pt x="1325" y="361"/>
                </a:lnTo>
                <a:lnTo>
                  <a:pt x="1325" y="362"/>
                </a:lnTo>
                <a:lnTo>
                  <a:pt x="1327" y="362"/>
                </a:lnTo>
                <a:lnTo>
                  <a:pt x="1327" y="361"/>
                </a:lnTo>
                <a:lnTo>
                  <a:pt x="1328" y="361"/>
                </a:lnTo>
                <a:lnTo>
                  <a:pt x="1328" y="359"/>
                </a:lnTo>
                <a:lnTo>
                  <a:pt x="1329" y="359"/>
                </a:lnTo>
                <a:lnTo>
                  <a:pt x="1330" y="359"/>
                </a:lnTo>
                <a:lnTo>
                  <a:pt x="1331" y="358"/>
                </a:lnTo>
                <a:lnTo>
                  <a:pt x="1334" y="357"/>
                </a:lnTo>
                <a:lnTo>
                  <a:pt x="1335" y="358"/>
                </a:lnTo>
                <a:lnTo>
                  <a:pt x="1336" y="357"/>
                </a:lnTo>
                <a:lnTo>
                  <a:pt x="1337" y="357"/>
                </a:lnTo>
                <a:lnTo>
                  <a:pt x="1342" y="357"/>
                </a:lnTo>
                <a:lnTo>
                  <a:pt x="1344" y="356"/>
                </a:lnTo>
                <a:lnTo>
                  <a:pt x="1346" y="356"/>
                </a:lnTo>
                <a:lnTo>
                  <a:pt x="1347" y="356"/>
                </a:lnTo>
                <a:lnTo>
                  <a:pt x="1349" y="356"/>
                </a:lnTo>
                <a:lnTo>
                  <a:pt x="1347" y="357"/>
                </a:lnTo>
                <a:lnTo>
                  <a:pt x="1346" y="358"/>
                </a:lnTo>
                <a:lnTo>
                  <a:pt x="1346" y="359"/>
                </a:lnTo>
                <a:lnTo>
                  <a:pt x="1346" y="361"/>
                </a:lnTo>
                <a:lnTo>
                  <a:pt x="1347" y="361"/>
                </a:lnTo>
                <a:lnTo>
                  <a:pt x="1349" y="361"/>
                </a:lnTo>
                <a:lnTo>
                  <a:pt x="1350" y="361"/>
                </a:lnTo>
                <a:lnTo>
                  <a:pt x="1351" y="361"/>
                </a:lnTo>
                <a:lnTo>
                  <a:pt x="1351" y="362"/>
                </a:lnTo>
                <a:lnTo>
                  <a:pt x="1352" y="362"/>
                </a:lnTo>
                <a:lnTo>
                  <a:pt x="1353" y="361"/>
                </a:lnTo>
                <a:lnTo>
                  <a:pt x="1354" y="361"/>
                </a:lnTo>
                <a:lnTo>
                  <a:pt x="1356" y="361"/>
                </a:lnTo>
                <a:lnTo>
                  <a:pt x="1356" y="362"/>
                </a:lnTo>
                <a:lnTo>
                  <a:pt x="1356" y="363"/>
                </a:lnTo>
                <a:lnTo>
                  <a:pt x="1354" y="363"/>
                </a:lnTo>
                <a:lnTo>
                  <a:pt x="1354" y="364"/>
                </a:lnTo>
                <a:lnTo>
                  <a:pt x="1353" y="364"/>
                </a:lnTo>
                <a:lnTo>
                  <a:pt x="1353" y="365"/>
                </a:lnTo>
                <a:lnTo>
                  <a:pt x="1354" y="365"/>
                </a:lnTo>
                <a:lnTo>
                  <a:pt x="1356" y="365"/>
                </a:lnTo>
                <a:lnTo>
                  <a:pt x="1357" y="365"/>
                </a:lnTo>
                <a:lnTo>
                  <a:pt x="1356" y="366"/>
                </a:lnTo>
                <a:lnTo>
                  <a:pt x="1356" y="368"/>
                </a:lnTo>
                <a:lnTo>
                  <a:pt x="1357" y="368"/>
                </a:lnTo>
                <a:lnTo>
                  <a:pt x="1357" y="369"/>
                </a:lnTo>
                <a:lnTo>
                  <a:pt x="1356" y="369"/>
                </a:lnTo>
                <a:lnTo>
                  <a:pt x="1353" y="369"/>
                </a:lnTo>
                <a:lnTo>
                  <a:pt x="1352" y="369"/>
                </a:lnTo>
                <a:lnTo>
                  <a:pt x="1352" y="368"/>
                </a:lnTo>
                <a:lnTo>
                  <a:pt x="1351" y="368"/>
                </a:lnTo>
                <a:lnTo>
                  <a:pt x="1351" y="369"/>
                </a:lnTo>
                <a:lnTo>
                  <a:pt x="1351" y="368"/>
                </a:lnTo>
                <a:lnTo>
                  <a:pt x="1350" y="368"/>
                </a:lnTo>
                <a:lnTo>
                  <a:pt x="1350" y="369"/>
                </a:lnTo>
                <a:lnTo>
                  <a:pt x="1350" y="368"/>
                </a:lnTo>
                <a:lnTo>
                  <a:pt x="1349" y="369"/>
                </a:lnTo>
                <a:lnTo>
                  <a:pt x="1349" y="368"/>
                </a:lnTo>
                <a:lnTo>
                  <a:pt x="1347" y="368"/>
                </a:lnTo>
                <a:lnTo>
                  <a:pt x="1347" y="369"/>
                </a:lnTo>
                <a:lnTo>
                  <a:pt x="1346" y="369"/>
                </a:lnTo>
                <a:lnTo>
                  <a:pt x="1346" y="370"/>
                </a:lnTo>
                <a:lnTo>
                  <a:pt x="1345" y="370"/>
                </a:lnTo>
                <a:lnTo>
                  <a:pt x="1344" y="370"/>
                </a:lnTo>
                <a:lnTo>
                  <a:pt x="1344" y="369"/>
                </a:lnTo>
                <a:lnTo>
                  <a:pt x="1343" y="368"/>
                </a:lnTo>
                <a:lnTo>
                  <a:pt x="1342" y="368"/>
                </a:lnTo>
                <a:lnTo>
                  <a:pt x="1342" y="366"/>
                </a:lnTo>
                <a:lnTo>
                  <a:pt x="1340" y="366"/>
                </a:lnTo>
                <a:lnTo>
                  <a:pt x="1339" y="366"/>
                </a:lnTo>
                <a:lnTo>
                  <a:pt x="1338" y="366"/>
                </a:lnTo>
                <a:lnTo>
                  <a:pt x="1337" y="366"/>
                </a:lnTo>
                <a:lnTo>
                  <a:pt x="1336" y="368"/>
                </a:lnTo>
                <a:lnTo>
                  <a:pt x="1335" y="369"/>
                </a:lnTo>
                <a:lnTo>
                  <a:pt x="1334" y="369"/>
                </a:lnTo>
                <a:lnTo>
                  <a:pt x="1332" y="369"/>
                </a:lnTo>
                <a:lnTo>
                  <a:pt x="1331" y="369"/>
                </a:lnTo>
                <a:lnTo>
                  <a:pt x="1330" y="369"/>
                </a:lnTo>
                <a:lnTo>
                  <a:pt x="1328" y="369"/>
                </a:lnTo>
                <a:lnTo>
                  <a:pt x="1327" y="369"/>
                </a:lnTo>
                <a:lnTo>
                  <a:pt x="1325" y="370"/>
                </a:lnTo>
                <a:lnTo>
                  <a:pt x="1325" y="371"/>
                </a:lnTo>
                <a:lnTo>
                  <a:pt x="1324" y="371"/>
                </a:lnTo>
                <a:lnTo>
                  <a:pt x="1323" y="372"/>
                </a:lnTo>
                <a:lnTo>
                  <a:pt x="1322" y="372"/>
                </a:lnTo>
                <a:lnTo>
                  <a:pt x="1321" y="373"/>
                </a:lnTo>
                <a:lnTo>
                  <a:pt x="1321" y="375"/>
                </a:lnTo>
                <a:lnTo>
                  <a:pt x="1321" y="373"/>
                </a:lnTo>
                <a:lnTo>
                  <a:pt x="1320" y="373"/>
                </a:lnTo>
                <a:lnTo>
                  <a:pt x="1321" y="372"/>
                </a:lnTo>
                <a:lnTo>
                  <a:pt x="1322" y="372"/>
                </a:lnTo>
                <a:lnTo>
                  <a:pt x="1322" y="371"/>
                </a:lnTo>
                <a:lnTo>
                  <a:pt x="1323" y="370"/>
                </a:lnTo>
                <a:lnTo>
                  <a:pt x="1322" y="370"/>
                </a:lnTo>
                <a:lnTo>
                  <a:pt x="1322" y="371"/>
                </a:lnTo>
                <a:lnTo>
                  <a:pt x="1321" y="370"/>
                </a:lnTo>
                <a:lnTo>
                  <a:pt x="1320" y="370"/>
                </a:lnTo>
                <a:lnTo>
                  <a:pt x="1320" y="371"/>
                </a:lnTo>
                <a:lnTo>
                  <a:pt x="1318" y="372"/>
                </a:lnTo>
                <a:lnTo>
                  <a:pt x="1317" y="372"/>
                </a:lnTo>
                <a:lnTo>
                  <a:pt x="1317" y="373"/>
                </a:lnTo>
                <a:lnTo>
                  <a:pt x="1316" y="373"/>
                </a:lnTo>
                <a:lnTo>
                  <a:pt x="1316" y="372"/>
                </a:lnTo>
                <a:lnTo>
                  <a:pt x="1317" y="372"/>
                </a:lnTo>
                <a:lnTo>
                  <a:pt x="1317" y="371"/>
                </a:lnTo>
                <a:lnTo>
                  <a:pt x="1317" y="370"/>
                </a:lnTo>
                <a:lnTo>
                  <a:pt x="1318" y="370"/>
                </a:lnTo>
                <a:lnTo>
                  <a:pt x="1318" y="369"/>
                </a:lnTo>
                <a:lnTo>
                  <a:pt x="1317" y="370"/>
                </a:lnTo>
                <a:lnTo>
                  <a:pt x="1317" y="371"/>
                </a:lnTo>
                <a:lnTo>
                  <a:pt x="1316" y="371"/>
                </a:lnTo>
                <a:lnTo>
                  <a:pt x="1316" y="372"/>
                </a:lnTo>
                <a:lnTo>
                  <a:pt x="1315" y="372"/>
                </a:lnTo>
                <a:lnTo>
                  <a:pt x="1315" y="373"/>
                </a:lnTo>
                <a:lnTo>
                  <a:pt x="1314" y="373"/>
                </a:lnTo>
                <a:lnTo>
                  <a:pt x="1313" y="375"/>
                </a:lnTo>
                <a:lnTo>
                  <a:pt x="1311" y="376"/>
                </a:lnTo>
                <a:lnTo>
                  <a:pt x="1310" y="377"/>
                </a:lnTo>
                <a:lnTo>
                  <a:pt x="1306" y="380"/>
                </a:lnTo>
                <a:lnTo>
                  <a:pt x="1306" y="382"/>
                </a:lnTo>
                <a:lnTo>
                  <a:pt x="1304" y="382"/>
                </a:lnTo>
                <a:lnTo>
                  <a:pt x="1304" y="383"/>
                </a:lnTo>
                <a:lnTo>
                  <a:pt x="1304" y="384"/>
                </a:lnTo>
                <a:lnTo>
                  <a:pt x="1303" y="384"/>
                </a:lnTo>
                <a:lnTo>
                  <a:pt x="1302" y="384"/>
                </a:lnTo>
                <a:lnTo>
                  <a:pt x="1301" y="384"/>
                </a:lnTo>
                <a:lnTo>
                  <a:pt x="1301" y="385"/>
                </a:lnTo>
                <a:lnTo>
                  <a:pt x="1300" y="386"/>
                </a:lnTo>
                <a:lnTo>
                  <a:pt x="1299" y="386"/>
                </a:lnTo>
                <a:lnTo>
                  <a:pt x="1299" y="387"/>
                </a:lnTo>
                <a:lnTo>
                  <a:pt x="1297" y="387"/>
                </a:lnTo>
                <a:lnTo>
                  <a:pt x="1297" y="389"/>
                </a:lnTo>
                <a:lnTo>
                  <a:pt x="1296" y="389"/>
                </a:lnTo>
                <a:lnTo>
                  <a:pt x="1296" y="390"/>
                </a:lnTo>
                <a:lnTo>
                  <a:pt x="1296" y="391"/>
                </a:lnTo>
                <a:lnTo>
                  <a:pt x="1297" y="391"/>
                </a:lnTo>
                <a:lnTo>
                  <a:pt x="1297" y="390"/>
                </a:lnTo>
                <a:lnTo>
                  <a:pt x="1299" y="390"/>
                </a:lnTo>
                <a:lnTo>
                  <a:pt x="1300" y="389"/>
                </a:lnTo>
                <a:lnTo>
                  <a:pt x="1301" y="389"/>
                </a:lnTo>
                <a:lnTo>
                  <a:pt x="1301" y="387"/>
                </a:lnTo>
                <a:lnTo>
                  <a:pt x="1302" y="387"/>
                </a:lnTo>
                <a:lnTo>
                  <a:pt x="1302" y="386"/>
                </a:lnTo>
                <a:lnTo>
                  <a:pt x="1303" y="386"/>
                </a:lnTo>
                <a:lnTo>
                  <a:pt x="1304" y="385"/>
                </a:lnTo>
                <a:lnTo>
                  <a:pt x="1304" y="386"/>
                </a:lnTo>
                <a:lnTo>
                  <a:pt x="1306" y="385"/>
                </a:lnTo>
                <a:lnTo>
                  <a:pt x="1306" y="386"/>
                </a:lnTo>
                <a:lnTo>
                  <a:pt x="1307" y="386"/>
                </a:lnTo>
                <a:lnTo>
                  <a:pt x="1307" y="387"/>
                </a:lnTo>
                <a:lnTo>
                  <a:pt x="1306" y="389"/>
                </a:lnTo>
                <a:lnTo>
                  <a:pt x="1304" y="389"/>
                </a:lnTo>
                <a:lnTo>
                  <a:pt x="1303" y="390"/>
                </a:lnTo>
                <a:lnTo>
                  <a:pt x="1303" y="391"/>
                </a:lnTo>
                <a:lnTo>
                  <a:pt x="1302" y="391"/>
                </a:lnTo>
                <a:lnTo>
                  <a:pt x="1301" y="393"/>
                </a:lnTo>
                <a:lnTo>
                  <a:pt x="1301" y="394"/>
                </a:lnTo>
                <a:lnTo>
                  <a:pt x="1300" y="394"/>
                </a:lnTo>
                <a:lnTo>
                  <a:pt x="1301" y="396"/>
                </a:lnTo>
                <a:lnTo>
                  <a:pt x="1300" y="396"/>
                </a:lnTo>
                <a:lnTo>
                  <a:pt x="1300" y="397"/>
                </a:lnTo>
                <a:lnTo>
                  <a:pt x="1299" y="397"/>
                </a:lnTo>
                <a:lnTo>
                  <a:pt x="1299" y="398"/>
                </a:lnTo>
                <a:lnTo>
                  <a:pt x="1297" y="398"/>
                </a:lnTo>
                <a:lnTo>
                  <a:pt x="1296" y="399"/>
                </a:lnTo>
                <a:lnTo>
                  <a:pt x="1296" y="400"/>
                </a:lnTo>
                <a:lnTo>
                  <a:pt x="1295" y="400"/>
                </a:lnTo>
                <a:lnTo>
                  <a:pt x="1295" y="401"/>
                </a:lnTo>
                <a:lnTo>
                  <a:pt x="1295" y="403"/>
                </a:lnTo>
                <a:lnTo>
                  <a:pt x="1295" y="404"/>
                </a:lnTo>
                <a:lnTo>
                  <a:pt x="1294" y="404"/>
                </a:lnTo>
                <a:lnTo>
                  <a:pt x="1294" y="405"/>
                </a:lnTo>
                <a:lnTo>
                  <a:pt x="1293" y="406"/>
                </a:lnTo>
                <a:lnTo>
                  <a:pt x="1292" y="406"/>
                </a:lnTo>
                <a:lnTo>
                  <a:pt x="1292" y="407"/>
                </a:lnTo>
                <a:lnTo>
                  <a:pt x="1290" y="410"/>
                </a:lnTo>
                <a:lnTo>
                  <a:pt x="1289" y="411"/>
                </a:lnTo>
                <a:lnTo>
                  <a:pt x="1289" y="412"/>
                </a:lnTo>
                <a:lnTo>
                  <a:pt x="1288" y="412"/>
                </a:lnTo>
                <a:lnTo>
                  <a:pt x="1288" y="413"/>
                </a:lnTo>
                <a:lnTo>
                  <a:pt x="1288" y="414"/>
                </a:lnTo>
                <a:lnTo>
                  <a:pt x="1288" y="415"/>
                </a:lnTo>
                <a:lnTo>
                  <a:pt x="1287" y="417"/>
                </a:lnTo>
                <a:lnTo>
                  <a:pt x="1287" y="418"/>
                </a:lnTo>
                <a:lnTo>
                  <a:pt x="1288" y="418"/>
                </a:lnTo>
                <a:lnTo>
                  <a:pt x="1288" y="419"/>
                </a:lnTo>
                <a:lnTo>
                  <a:pt x="1287" y="420"/>
                </a:lnTo>
                <a:lnTo>
                  <a:pt x="1286" y="420"/>
                </a:lnTo>
                <a:lnTo>
                  <a:pt x="1286" y="421"/>
                </a:lnTo>
                <a:lnTo>
                  <a:pt x="1286" y="422"/>
                </a:lnTo>
                <a:lnTo>
                  <a:pt x="1285" y="425"/>
                </a:lnTo>
                <a:lnTo>
                  <a:pt x="1283" y="426"/>
                </a:lnTo>
                <a:lnTo>
                  <a:pt x="1283" y="427"/>
                </a:lnTo>
                <a:lnTo>
                  <a:pt x="1283" y="428"/>
                </a:lnTo>
                <a:lnTo>
                  <a:pt x="1283" y="429"/>
                </a:lnTo>
                <a:lnTo>
                  <a:pt x="1285" y="429"/>
                </a:lnTo>
                <a:lnTo>
                  <a:pt x="1285" y="431"/>
                </a:lnTo>
                <a:lnTo>
                  <a:pt x="1285" y="432"/>
                </a:lnTo>
                <a:lnTo>
                  <a:pt x="1283" y="433"/>
                </a:lnTo>
                <a:lnTo>
                  <a:pt x="1283" y="434"/>
                </a:lnTo>
                <a:lnTo>
                  <a:pt x="1285" y="435"/>
                </a:lnTo>
                <a:lnTo>
                  <a:pt x="1286" y="435"/>
                </a:lnTo>
                <a:lnTo>
                  <a:pt x="1285" y="435"/>
                </a:lnTo>
                <a:lnTo>
                  <a:pt x="1285" y="436"/>
                </a:lnTo>
                <a:lnTo>
                  <a:pt x="1286" y="436"/>
                </a:lnTo>
                <a:lnTo>
                  <a:pt x="1287" y="436"/>
                </a:lnTo>
                <a:lnTo>
                  <a:pt x="1288" y="436"/>
                </a:lnTo>
                <a:lnTo>
                  <a:pt x="1290" y="435"/>
                </a:lnTo>
                <a:lnTo>
                  <a:pt x="1294" y="434"/>
                </a:lnTo>
                <a:lnTo>
                  <a:pt x="1295" y="433"/>
                </a:lnTo>
                <a:lnTo>
                  <a:pt x="1296" y="433"/>
                </a:lnTo>
                <a:lnTo>
                  <a:pt x="1297" y="432"/>
                </a:lnTo>
                <a:lnTo>
                  <a:pt x="1300" y="428"/>
                </a:lnTo>
                <a:lnTo>
                  <a:pt x="1302" y="427"/>
                </a:lnTo>
                <a:lnTo>
                  <a:pt x="1304" y="425"/>
                </a:lnTo>
                <a:lnTo>
                  <a:pt x="1304" y="424"/>
                </a:lnTo>
                <a:lnTo>
                  <a:pt x="1307" y="419"/>
                </a:lnTo>
                <a:lnTo>
                  <a:pt x="1308" y="415"/>
                </a:lnTo>
                <a:lnTo>
                  <a:pt x="1309" y="415"/>
                </a:lnTo>
                <a:lnTo>
                  <a:pt x="1309" y="414"/>
                </a:lnTo>
                <a:lnTo>
                  <a:pt x="1309" y="413"/>
                </a:lnTo>
                <a:lnTo>
                  <a:pt x="1309" y="412"/>
                </a:lnTo>
                <a:lnTo>
                  <a:pt x="1309" y="411"/>
                </a:lnTo>
                <a:lnTo>
                  <a:pt x="1310" y="411"/>
                </a:lnTo>
                <a:lnTo>
                  <a:pt x="1309" y="411"/>
                </a:lnTo>
                <a:lnTo>
                  <a:pt x="1308" y="406"/>
                </a:lnTo>
                <a:lnTo>
                  <a:pt x="1309" y="406"/>
                </a:lnTo>
                <a:lnTo>
                  <a:pt x="1309" y="405"/>
                </a:lnTo>
                <a:lnTo>
                  <a:pt x="1309" y="404"/>
                </a:lnTo>
                <a:lnTo>
                  <a:pt x="1310" y="403"/>
                </a:lnTo>
                <a:lnTo>
                  <a:pt x="1311" y="403"/>
                </a:lnTo>
                <a:lnTo>
                  <a:pt x="1311" y="400"/>
                </a:lnTo>
                <a:lnTo>
                  <a:pt x="1311" y="399"/>
                </a:lnTo>
                <a:lnTo>
                  <a:pt x="1311" y="398"/>
                </a:lnTo>
                <a:lnTo>
                  <a:pt x="1313" y="398"/>
                </a:lnTo>
                <a:lnTo>
                  <a:pt x="1314" y="397"/>
                </a:lnTo>
                <a:lnTo>
                  <a:pt x="1314" y="396"/>
                </a:lnTo>
                <a:lnTo>
                  <a:pt x="1315" y="394"/>
                </a:lnTo>
                <a:lnTo>
                  <a:pt x="1316" y="394"/>
                </a:lnTo>
                <a:lnTo>
                  <a:pt x="1317" y="393"/>
                </a:lnTo>
                <a:lnTo>
                  <a:pt x="1317" y="392"/>
                </a:lnTo>
                <a:lnTo>
                  <a:pt x="1317" y="391"/>
                </a:lnTo>
                <a:lnTo>
                  <a:pt x="1318" y="391"/>
                </a:lnTo>
                <a:lnTo>
                  <a:pt x="1318" y="390"/>
                </a:lnTo>
                <a:lnTo>
                  <a:pt x="1318" y="389"/>
                </a:lnTo>
                <a:lnTo>
                  <a:pt x="1320" y="389"/>
                </a:lnTo>
                <a:lnTo>
                  <a:pt x="1320" y="387"/>
                </a:lnTo>
                <a:lnTo>
                  <a:pt x="1321" y="387"/>
                </a:lnTo>
                <a:lnTo>
                  <a:pt x="1322" y="387"/>
                </a:lnTo>
                <a:lnTo>
                  <a:pt x="1323" y="385"/>
                </a:lnTo>
                <a:lnTo>
                  <a:pt x="1324" y="385"/>
                </a:lnTo>
                <a:lnTo>
                  <a:pt x="1324" y="384"/>
                </a:lnTo>
                <a:lnTo>
                  <a:pt x="1325" y="384"/>
                </a:lnTo>
                <a:lnTo>
                  <a:pt x="1327" y="384"/>
                </a:lnTo>
                <a:lnTo>
                  <a:pt x="1328" y="383"/>
                </a:lnTo>
                <a:lnTo>
                  <a:pt x="1329" y="382"/>
                </a:lnTo>
                <a:lnTo>
                  <a:pt x="1330" y="380"/>
                </a:lnTo>
                <a:lnTo>
                  <a:pt x="1331" y="380"/>
                </a:lnTo>
                <a:lnTo>
                  <a:pt x="1331" y="382"/>
                </a:lnTo>
                <a:lnTo>
                  <a:pt x="1330" y="382"/>
                </a:lnTo>
                <a:lnTo>
                  <a:pt x="1330" y="383"/>
                </a:lnTo>
                <a:lnTo>
                  <a:pt x="1329" y="383"/>
                </a:lnTo>
                <a:lnTo>
                  <a:pt x="1329" y="384"/>
                </a:lnTo>
                <a:lnTo>
                  <a:pt x="1328" y="385"/>
                </a:lnTo>
                <a:lnTo>
                  <a:pt x="1328" y="386"/>
                </a:lnTo>
                <a:lnTo>
                  <a:pt x="1328" y="387"/>
                </a:lnTo>
                <a:lnTo>
                  <a:pt x="1328" y="386"/>
                </a:lnTo>
                <a:lnTo>
                  <a:pt x="1329" y="386"/>
                </a:lnTo>
                <a:lnTo>
                  <a:pt x="1329" y="385"/>
                </a:lnTo>
                <a:lnTo>
                  <a:pt x="1330" y="385"/>
                </a:lnTo>
                <a:lnTo>
                  <a:pt x="1330" y="384"/>
                </a:lnTo>
                <a:lnTo>
                  <a:pt x="1331" y="384"/>
                </a:lnTo>
                <a:lnTo>
                  <a:pt x="1330" y="384"/>
                </a:lnTo>
                <a:lnTo>
                  <a:pt x="1330" y="385"/>
                </a:lnTo>
                <a:lnTo>
                  <a:pt x="1329" y="386"/>
                </a:lnTo>
                <a:lnTo>
                  <a:pt x="1328" y="387"/>
                </a:lnTo>
                <a:lnTo>
                  <a:pt x="1329" y="387"/>
                </a:lnTo>
                <a:lnTo>
                  <a:pt x="1330" y="386"/>
                </a:lnTo>
                <a:lnTo>
                  <a:pt x="1331" y="385"/>
                </a:lnTo>
                <a:lnTo>
                  <a:pt x="1332" y="384"/>
                </a:lnTo>
                <a:lnTo>
                  <a:pt x="1332" y="382"/>
                </a:lnTo>
                <a:lnTo>
                  <a:pt x="1334" y="380"/>
                </a:lnTo>
                <a:lnTo>
                  <a:pt x="1334" y="379"/>
                </a:lnTo>
                <a:lnTo>
                  <a:pt x="1335" y="379"/>
                </a:lnTo>
                <a:lnTo>
                  <a:pt x="1337" y="378"/>
                </a:lnTo>
                <a:lnTo>
                  <a:pt x="1338" y="378"/>
                </a:lnTo>
                <a:lnTo>
                  <a:pt x="1339" y="378"/>
                </a:lnTo>
                <a:lnTo>
                  <a:pt x="1340" y="378"/>
                </a:lnTo>
                <a:lnTo>
                  <a:pt x="1340" y="377"/>
                </a:lnTo>
                <a:lnTo>
                  <a:pt x="1339" y="377"/>
                </a:lnTo>
                <a:lnTo>
                  <a:pt x="1339" y="376"/>
                </a:lnTo>
                <a:lnTo>
                  <a:pt x="1339" y="375"/>
                </a:lnTo>
                <a:lnTo>
                  <a:pt x="1339" y="373"/>
                </a:lnTo>
                <a:lnTo>
                  <a:pt x="1340" y="373"/>
                </a:lnTo>
                <a:lnTo>
                  <a:pt x="1342" y="373"/>
                </a:lnTo>
                <a:lnTo>
                  <a:pt x="1342" y="372"/>
                </a:lnTo>
                <a:lnTo>
                  <a:pt x="1342" y="371"/>
                </a:lnTo>
                <a:lnTo>
                  <a:pt x="1343" y="372"/>
                </a:lnTo>
                <a:lnTo>
                  <a:pt x="1344" y="372"/>
                </a:lnTo>
                <a:lnTo>
                  <a:pt x="1344" y="371"/>
                </a:lnTo>
                <a:lnTo>
                  <a:pt x="1345" y="371"/>
                </a:lnTo>
                <a:lnTo>
                  <a:pt x="1346" y="372"/>
                </a:lnTo>
                <a:lnTo>
                  <a:pt x="1347" y="373"/>
                </a:lnTo>
                <a:lnTo>
                  <a:pt x="1349" y="373"/>
                </a:lnTo>
                <a:lnTo>
                  <a:pt x="1350" y="373"/>
                </a:lnTo>
                <a:lnTo>
                  <a:pt x="1351" y="373"/>
                </a:lnTo>
                <a:lnTo>
                  <a:pt x="1351" y="375"/>
                </a:lnTo>
                <a:lnTo>
                  <a:pt x="1351" y="376"/>
                </a:lnTo>
                <a:lnTo>
                  <a:pt x="1353" y="376"/>
                </a:lnTo>
                <a:lnTo>
                  <a:pt x="1353" y="377"/>
                </a:lnTo>
                <a:lnTo>
                  <a:pt x="1354" y="377"/>
                </a:lnTo>
                <a:lnTo>
                  <a:pt x="1356" y="377"/>
                </a:lnTo>
                <a:lnTo>
                  <a:pt x="1356" y="378"/>
                </a:lnTo>
                <a:lnTo>
                  <a:pt x="1357" y="378"/>
                </a:lnTo>
                <a:lnTo>
                  <a:pt x="1358" y="378"/>
                </a:lnTo>
                <a:lnTo>
                  <a:pt x="1358" y="379"/>
                </a:lnTo>
                <a:lnTo>
                  <a:pt x="1359" y="379"/>
                </a:lnTo>
                <a:lnTo>
                  <a:pt x="1358" y="379"/>
                </a:lnTo>
                <a:lnTo>
                  <a:pt x="1358" y="380"/>
                </a:lnTo>
                <a:lnTo>
                  <a:pt x="1358" y="382"/>
                </a:lnTo>
                <a:lnTo>
                  <a:pt x="1359" y="382"/>
                </a:lnTo>
                <a:lnTo>
                  <a:pt x="1358" y="383"/>
                </a:lnTo>
                <a:lnTo>
                  <a:pt x="1359" y="383"/>
                </a:lnTo>
                <a:lnTo>
                  <a:pt x="1358" y="383"/>
                </a:lnTo>
                <a:lnTo>
                  <a:pt x="1357" y="383"/>
                </a:lnTo>
                <a:lnTo>
                  <a:pt x="1357" y="384"/>
                </a:lnTo>
                <a:lnTo>
                  <a:pt x="1356" y="384"/>
                </a:lnTo>
                <a:lnTo>
                  <a:pt x="1356" y="385"/>
                </a:lnTo>
                <a:lnTo>
                  <a:pt x="1357" y="385"/>
                </a:lnTo>
                <a:lnTo>
                  <a:pt x="1357" y="386"/>
                </a:lnTo>
                <a:lnTo>
                  <a:pt x="1357" y="387"/>
                </a:lnTo>
                <a:lnTo>
                  <a:pt x="1357" y="389"/>
                </a:lnTo>
                <a:lnTo>
                  <a:pt x="1356" y="389"/>
                </a:lnTo>
                <a:lnTo>
                  <a:pt x="1356" y="390"/>
                </a:lnTo>
                <a:lnTo>
                  <a:pt x="1354" y="393"/>
                </a:lnTo>
                <a:lnTo>
                  <a:pt x="1353" y="393"/>
                </a:lnTo>
                <a:lnTo>
                  <a:pt x="1353" y="394"/>
                </a:lnTo>
                <a:lnTo>
                  <a:pt x="1352" y="394"/>
                </a:lnTo>
                <a:lnTo>
                  <a:pt x="1351" y="396"/>
                </a:lnTo>
                <a:lnTo>
                  <a:pt x="1351" y="394"/>
                </a:lnTo>
                <a:lnTo>
                  <a:pt x="1352" y="394"/>
                </a:lnTo>
                <a:lnTo>
                  <a:pt x="1351" y="394"/>
                </a:lnTo>
                <a:lnTo>
                  <a:pt x="1351" y="396"/>
                </a:lnTo>
                <a:lnTo>
                  <a:pt x="1350" y="396"/>
                </a:lnTo>
                <a:lnTo>
                  <a:pt x="1350" y="397"/>
                </a:lnTo>
                <a:lnTo>
                  <a:pt x="1349" y="398"/>
                </a:lnTo>
                <a:lnTo>
                  <a:pt x="1347" y="398"/>
                </a:lnTo>
                <a:lnTo>
                  <a:pt x="1347" y="399"/>
                </a:lnTo>
                <a:lnTo>
                  <a:pt x="1346" y="399"/>
                </a:lnTo>
                <a:lnTo>
                  <a:pt x="1345" y="399"/>
                </a:lnTo>
                <a:lnTo>
                  <a:pt x="1344" y="399"/>
                </a:lnTo>
                <a:lnTo>
                  <a:pt x="1344" y="400"/>
                </a:lnTo>
                <a:lnTo>
                  <a:pt x="1343" y="401"/>
                </a:lnTo>
                <a:lnTo>
                  <a:pt x="1343" y="403"/>
                </a:lnTo>
                <a:lnTo>
                  <a:pt x="1342" y="403"/>
                </a:lnTo>
                <a:lnTo>
                  <a:pt x="1342" y="404"/>
                </a:lnTo>
                <a:lnTo>
                  <a:pt x="1343" y="405"/>
                </a:lnTo>
                <a:lnTo>
                  <a:pt x="1344" y="405"/>
                </a:lnTo>
                <a:lnTo>
                  <a:pt x="1345" y="405"/>
                </a:lnTo>
                <a:lnTo>
                  <a:pt x="1347" y="404"/>
                </a:lnTo>
                <a:lnTo>
                  <a:pt x="1349" y="403"/>
                </a:lnTo>
                <a:lnTo>
                  <a:pt x="1350" y="403"/>
                </a:lnTo>
                <a:lnTo>
                  <a:pt x="1350" y="401"/>
                </a:lnTo>
                <a:lnTo>
                  <a:pt x="1351" y="400"/>
                </a:lnTo>
                <a:lnTo>
                  <a:pt x="1350" y="400"/>
                </a:lnTo>
                <a:lnTo>
                  <a:pt x="1351" y="400"/>
                </a:lnTo>
                <a:lnTo>
                  <a:pt x="1352" y="399"/>
                </a:lnTo>
                <a:lnTo>
                  <a:pt x="1353" y="399"/>
                </a:lnTo>
                <a:lnTo>
                  <a:pt x="1354" y="399"/>
                </a:lnTo>
                <a:lnTo>
                  <a:pt x="1356" y="398"/>
                </a:lnTo>
                <a:lnTo>
                  <a:pt x="1357" y="398"/>
                </a:lnTo>
                <a:lnTo>
                  <a:pt x="1358" y="399"/>
                </a:lnTo>
                <a:lnTo>
                  <a:pt x="1359" y="399"/>
                </a:lnTo>
                <a:lnTo>
                  <a:pt x="1359" y="400"/>
                </a:lnTo>
                <a:lnTo>
                  <a:pt x="1359" y="401"/>
                </a:lnTo>
                <a:lnTo>
                  <a:pt x="1359" y="403"/>
                </a:lnTo>
                <a:lnTo>
                  <a:pt x="1358" y="406"/>
                </a:lnTo>
                <a:lnTo>
                  <a:pt x="1358" y="408"/>
                </a:lnTo>
                <a:lnTo>
                  <a:pt x="1357" y="411"/>
                </a:lnTo>
                <a:lnTo>
                  <a:pt x="1357" y="413"/>
                </a:lnTo>
                <a:lnTo>
                  <a:pt x="1357" y="414"/>
                </a:lnTo>
                <a:lnTo>
                  <a:pt x="1357" y="415"/>
                </a:lnTo>
                <a:lnTo>
                  <a:pt x="1356" y="417"/>
                </a:lnTo>
                <a:lnTo>
                  <a:pt x="1354" y="418"/>
                </a:lnTo>
                <a:lnTo>
                  <a:pt x="1354" y="419"/>
                </a:lnTo>
                <a:lnTo>
                  <a:pt x="1353" y="420"/>
                </a:lnTo>
                <a:lnTo>
                  <a:pt x="1353" y="421"/>
                </a:lnTo>
                <a:lnTo>
                  <a:pt x="1352" y="421"/>
                </a:lnTo>
                <a:lnTo>
                  <a:pt x="1351" y="421"/>
                </a:lnTo>
                <a:lnTo>
                  <a:pt x="1352" y="421"/>
                </a:lnTo>
                <a:lnTo>
                  <a:pt x="1352" y="420"/>
                </a:lnTo>
                <a:lnTo>
                  <a:pt x="1351" y="420"/>
                </a:lnTo>
                <a:lnTo>
                  <a:pt x="1350" y="420"/>
                </a:lnTo>
                <a:lnTo>
                  <a:pt x="1350" y="421"/>
                </a:lnTo>
                <a:lnTo>
                  <a:pt x="1349" y="421"/>
                </a:lnTo>
                <a:lnTo>
                  <a:pt x="1349" y="422"/>
                </a:lnTo>
                <a:lnTo>
                  <a:pt x="1347" y="422"/>
                </a:lnTo>
                <a:lnTo>
                  <a:pt x="1347" y="424"/>
                </a:lnTo>
                <a:lnTo>
                  <a:pt x="1347" y="425"/>
                </a:lnTo>
                <a:lnTo>
                  <a:pt x="1346" y="425"/>
                </a:lnTo>
                <a:lnTo>
                  <a:pt x="1345" y="425"/>
                </a:lnTo>
                <a:lnTo>
                  <a:pt x="1345" y="426"/>
                </a:lnTo>
                <a:lnTo>
                  <a:pt x="1344" y="426"/>
                </a:lnTo>
                <a:lnTo>
                  <a:pt x="1343" y="427"/>
                </a:lnTo>
                <a:lnTo>
                  <a:pt x="1342" y="428"/>
                </a:lnTo>
                <a:lnTo>
                  <a:pt x="1342" y="429"/>
                </a:lnTo>
                <a:lnTo>
                  <a:pt x="1342" y="431"/>
                </a:lnTo>
                <a:lnTo>
                  <a:pt x="1342" y="429"/>
                </a:lnTo>
                <a:lnTo>
                  <a:pt x="1340" y="431"/>
                </a:lnTo>
                <a:lnTo>
                  <a:pt x="1340" y="432"/>
                </a:lnTo>
                <a:lnTo>
                  <a:pt x="1339" y="432"/>
                </a:lnTo>
                <a:lnTo>
                  <a:pt x="1338" y="432"/>
                </a:lnTo>
                <a:lnTo>
                  <a:pt x="1338" y="433"/>
                </a:lnTo>
                <a:lnTo>
                  <a:pt x="1337" y="433"/>
                </a:lnTo>
                <a:lnTo>
                  <a:pt x="1337" y="434"/>
                </a:lnTo>
                <a:lnTo>
                  <a:pt x="1336" y="434"/>
                </a:lnTo>
                <a:lnTo>
                  <a:pt x="1336" y="435"/>
                </a:lnTo>
                <a:lnTo>
                  <a:pt x="1337" y="435"/>
                </a:lnTo>
                <a:lnTo>
                  <a:pt x="1338" y="435"/>
                </a:lnTo>
                <a:lnTo>
                  <a:pt x="1338" y="436"/>
                </a:lnTo>
                <a:lnTo>
                  <a:pt x="1339" y="436"/>
                </a:lnTo>
                <a:lnTo>
                  <a:pt x="1340" y="436"/>
                </a:lnTo>
                <a:lnTo>
                  <a:pt x="1340" y="438"/>
                </a:lnTo>
                <a:lnTo>
                  <a:pt x="1342" y="438"/>
                </a:lnTo>
                <a:lnTo>
                  <a:pt x="1343" y="438"/>
                </a:lnTo>
                <a:lnTo>
                  <a:pt x="1343" y="436"/>
                </a:lnTo>
                <a:lnTo>
                  <a:pt x="1343" y="438"/>
                </a:lnTo>
                <a:lnTo>
                  <a:pt x="1344" y="438"/>
                </a:lnTo>
                <a:lnTo>
                  <a:pt x="1345" y="438"/>
                </a:lnTo>
                <a:lnTo>
                  <a:pt x="1344" y="438"/>
                </a:lnTo>
                <a:lnTo>
                  <a:pt x="1343" y="439"/>
                </a:lnTo>
                <a:lnTo>
                  <a:pt x="1342" y="439"/>
                </a:lnTo>
                <a:lnTo>
                  <a:pt x="1340" y="439"/>
                </a:lnTo>
                <a:lnTo>
                  <a:pt x="1339" y="439"/>
                </a:lnTo>
                <a:lnTo>
                  <a:pt x="1340" y="439"/>
                </a:lnTo>
                <a:lnTo>
                  <a:pt x="1342" y="440"/>
                </a:lnTo>
                <a:lnTo>
                  <a:pt x="1342" y="439"/>
                </a:lnTo>
                <a:lnTo>
                  <a:pt x="1343" y="439"/>
                </a:lnTo>
                <a:lnTo>
                  <a:pt x="1344" y="439"/>
                </a:lnTo>
                <a:lnTo>
                  <a:pt x="1345" y="439"/>
                </a:lnTo>
                <a:lnTo>
                  <a:pt x="1345" y="440"/>
                </a:lnTo>
                <a:lnTo>
                  <a:pt x="1345" y="439"/>
                </a:lnTo>
                <a:lnTo>
                  <a:pt x="1346" y="440"/>
                </a:lnTo>
                <a:lnTo>
                  <a:pt x="1347" y="440"/>
                </a:lnTo>
                <a:lnTo>
                  <a:pt x="1349" y="440"/>
                </a:lnTo>
                <a:lnTo>
                  <a:pt x="1349" y="439"/>
                </a:lnTo>
                <a:lnTo>
                  <a:pt x="1350" y="439"/>
                </a:lnTo>
                <a:lnTo>
                  <a:pt x="1351" y="439"/>
                </a:lnTo>
                <a:lnTo>
                  <a:pt x="1353" y="439"/>
                </a:lnTo>
                <a:lnTo>
                  <a:pt x="1354" y="439"/>
                </a:lnTo>
                <a:lnTo>
                  <a:pt x="1356" y="439"/>
                </a:lnTo>
                <a:lnTo>
                  <a:pt x="1357" y="439"/>
                </a:lnTo>
                <a:lnTo>
                  <a:pt x="1357" y="438"/>
                </a:lnTo>
                <a:lnTo>
                  <a:pt x="1358" y="438"/>
                </a:lnTo>
                <a:lnTo>
                  <a:pt x="1363" y="435"/>
                </a:lnTo>
                <a:lnTo>
                  <a:pt x="1367" y="433"/>
                </a:lnTo>
                <a:lnTo>
                  <a:pt x="1368" y="433"/>
                </a:lnTo>
                <a:lnTo>
                  <a:pt x="1370" y="433"/>
                </a:lnTo>
                <a:lnTo>
                  <a:pt x="1370" y="432"/>
                </a:lnTo>
                <a:lnTo>
                  <a:pt x="1371" y="432"/>
                </a:lnTo>
                <a:lnTo>
                  <a:pt x="1375" y="431"/>
                </a:lnTo>
                <a:lnTo>
                  <a:pt x="1377" y="431"/>
                </a:lnTo>
                <a:lnTo>
                  <a:pt x="1380" y="429"/>
                </a:lnTo>
                <a:lnTo>
                  <a:pt x="1380" y="428"/>
                </a:lnTo>
                <a:lnTo>
                  <a:pt x="1381" y="428"/>
                </a:lnTo>
                <a:lnTo>
                  <a:pt x="1382" y="428"/>
                </a:lnTo>
                <a:lnTo>
                  <a:pt x="1384" y="427"/>
                </a:lnTo>
                <a:lnTo>
                  <a:pt x="1385" y="427"/>
                </a:lnTo>
                <a:lnTo>
                  <a:pt x="1386" y="426"/>
                </a:lnTo>
                <a:lnTo>
                  <a:pt x="1387" y="426"/>
                </a:lnTo>
                <a:lnTo>
                  <a:pt x="1388" y="425"/>
                </a:lnTo>
                <a:lnTo>
                  <a:pt x="1389" y="425"/>
                </a:lnTo>
                <a:lnTo>
                  <a:pt x="1391" y="424"/>
                </a:lnTo>
                <a:lnTo>
                  <a:pt x="1392" y="424"/>
                </a:lnTo>
                <a:lnTo>
                  <a:pt x="1393" y="422"/>
                </a:lnTo>
                <a:lnTo>
                  <a:pt x="1394" y="422"/>
                </a:lnTo>
                <a:lnTo>
                  <a:pt x="1394" y="421"/>
                </a:lnTo>
                <a:lnTo>
                  <a:pt x="1395" y="421"/>
                </a:lnTo>
                <a:lnTo>
                  <a:pt x="1396" y="421"/>
                </a:lnTo>
                <a:lnTo>
                  <a:pt x="1396" y="420"/>
                </a:lnTo>
                <a:lnTo>
                  <a:pt x="1398" y="420"/>
                </a:lnTo>
                <a:lnTo>
                  <a:pt x="1398" y="419"/>
                </a:lnTo>
                <a:lnTo>
                  <a:pt x="1399" y="419"/>
                </a:lnTo>
                <a:lnTo>
                  <a:pt x="1400" y="419"/>
                </a:lnTo>
                <a:lnTo>
                  <a:pt x="1400" y="418"/>
                </a:lnTo>
                <a:lnTo>
                  <a:pt x="1401" y="418"/>
                </a:lnTo>
                <a:lnTo>
                  <a:pt x="1401" y="417"/>
                </a:lnTo>
                <a:lnTo>
                  <a:pt x="1401" y="415"/>
                </a:lnTo>
                <a:lnTo>
                  <a:pt x="1401" y="414"/>
                </a:lnTo>
                <a:lnTo>
                  <a:pt x="1402" y="414"/>
                </a:lnTo>
                <a:lnTo>
                  <a:pt x="1401" y="414"/>
                </a:lnTo>
                <a:lnTo>
                  <a:pt x="1400" y="413"/>
                </a:lnTo>
                <a:lnTo>
                  <a:pt x="1400" y="412"/>
                </a:lnTo>
                <a:lnTo>
                  <a:pt x="1401" y="411"/>
                </a:lnTo>
                <a:lnTo>
                  <a:pt x="1402" y="411"/>
                </a:lnTo>
                <a:lnTo>
                  <a:pt x="1403" y="410"/>
                </a:lnTo>
                <a:lnTo>
                  <a:pt x="1404" y="410"/>
                </a:lnTo>
                <a:lnTo>
                  <a:pt x="1406" y="410"/>
                </a:lnTo>
                <a:lnTo>
                  <a:pt x="1410" y="408"/>
                </a:lnTo>
                <a:lnTo>
                  <a:pt x="1411" y="408"/>
                </a:lnTo>
                <a:lnTo>
                  <a:pt x="1414" y="408"/>
                </a:lnTo>
                <a:lnTo>
                  <a:pt x="1417" y="410"/>
                </a:lnTo>
                <a:lnTo>
                  <a:pt x="1418" y="410"/>
                </a:lnTo>
                <a:lnTo>
                  <a:pt x="1418" y="411"/>
                </a:lnTo>
                <a:lnTo>
                  <a:pt x="1420" y="411"/>
                </a:lnTo>
                <a:lnTo>
                  <a:pt x="1422" y="411"/>
                </a:lnTo>
                <a:lnTo>
                  <a:pt x="1427" y="411"/>
                </a:lnTo>
                <a:lnTo>
                  <a:pt x="1428" y="411"/>
                </a:lnTo>
                <a:lnTo>
                  <a:pt x="1429" y="410"/>
                </a:lnTo>
                <a:lnTo>
                  <a:pt x="1430" y="410"/>
                </a:lnTo>
                <a:lnTo>
                  <a:pt x="1431" y="410"/>
                </a:lnTo>
                <a:lnTo>
                  <a:pt x="1431" y="408"/>
                </a:lnTo>
                <a:lnTo>
                  <a:pt x="1432" y="408"/>
                </a:lnTo>
                <a:lnTo>
                  <a:pt x="1435" y="407"/>
                </a:lnTo>
                <a:lnTo>
                  <a:pt x="1436" y="406"/>
                </a:lnTo>
                <a:lnTo>
                  <a:pt x="1436" y="407"/>
                </a:lnTo>
                <a:lnTo>
                  <a:pt x="1437" y="407"/>
                </a:lnTo>
                <a:lnTo>
                  <a:pt x="1437" y="406"/>
                </a:lnTo>
                <a:lnTo>
                  <a:pt x="1438" y="406"/>
                </a:lnTo>
                <a:lnTo>
                  <a:pt x="1438" y="405"/>
                </a:lnTo>
                <a:lnTo>
                  <a:pt x="1439" y="405"/>
                </a:lnTo>
                <a:lnTo>
                  <a:pt x="1439" y="404"/>
                </a:lnTo>
                <a:lnTo>
                  <a:pt x="1439" y="403"/>
                </a:lnTo>
                <a:lnTo>
                  <a:pt x="1439" y="401"/>
                </a:lnTo>
                <a:lnTo>
                  <a:pt x="1441" y="400"/>
                </a:lnTo>
                <a:lnTo>
                  <a:pt x="1439" y="401"/>
                </a:lnTo>
                <a:lnTo>
                  <a:pt x="1441" y="401"/>
                </a:lnTo>
                <a:lnTo>
                  <a:pt x="1441" y="400"/>
                </a:lnTo>
                <a:lnTo>
                  <a:pt x="1442" y="400"/>
                </a:lnTo>
                <a:lnTo>
                  <a:pt x="1443" y="399"/>
                </a:lnTo>
                <a:lnTo>
                  <a:pt x="1442" y="399"/>
                </a:lnTo>
                <a:lnTo>
                  <a:pt x="1441" y="399"/>
                </a:lnTo>
                <a:lnTo>
                  <a:pt x="1442" y="399"/>
                </a:lnTo>
                <a:lnTo>
                  <a:pt x="1442" y="398"/>
                </a:lnTo>
                <a:lnTo>
                  <a:pt x="1442" y="399"/>
                </a:lnTo>
                <a:lnTo>
                  <a:pt x="1442" y="398"/>
                </a:lnTo>
                <a:lnTo>
                  <a:pt x="1441" y="398"/>
                </a:lnTo>
                <a:lnTo>
                  <a:pt x="1441" y="399"/>
                </a:lnTo>
                <a:lnTo>
                  <a:pt x="1439" y="399"/>
                </a:lnTo>
                <a:lnTo>
                  <a:pt x="1439" y="398"/>
                </a:lnTo>
                <a:lnTo>
                  <a:pt x="1441" y="398"/>
                </a:lnTo>
                <a:lnTo>
                  <a:pt x="1439" y="398"/>
                </a:lnTo>
                <a:lnTo>
                  <a:pt x="1439" y="397"/>
                </a:lnTo>
                <a:lnTo>
                  <a:pt x="1443" y="396"/>
                </a:lnTo>
                <a:lnTo>
                  <a:pt x="1444" y="396"/>
                </a:lnTo>
                <a:lnTo>
                  <a:pt x="1446" y="393"/>
                </a:lnTo>
                <a:lnTo>
                  <a:pt x="1448" y="393"/>
                </a:lnTo>
                <a:lnTo>
                  <a:pt x="1449" y="392"/>
                </a:lnTo>
                <a:lnTo>
                  <a:pt x="1450" y="391"/>
                </a:lnTo>
                <a:lnTo>
                  <a:pt x="1451" y="390"/>
                </a:lnTo>
                <a:lnTo>
                  <a:pt x="1452" y="389"/>
                </a:lnTo>
                <a:lnTo>
                  <a:pt x="1455" y="387"/>
                </a:lnTo>
                <a:lnTo>
                  <a:pt x="1457" y="386"/>
                </a:lnTo>
                <a:lnTo>
                  <a:pt x="1458" y="386"/>
                </a:lnTo>
                <a:lnTo>
                  <a:pt x="1459" y="385"/>
                </a:lnTo>
                <a:lnTo>
                  <a:pt x="1460" y="385"/>
                </a:lnTo>
                <a:lnTo>
                  <a:pt x="1462" y="384"/>
                </a:lnTo>
                <a:lnTo>
                  <a:pt x="1463" y="384"/>
                </a:lnTo>
                <a:lnTo>
                  <a:pt x="1464" y="384"/>
                </a:lnTo>
                <a:lnTo>
                  <a:pt x="1465" y="384"/>
                </a:lnTo>
                <a:lnTo>
                  <a:pt x="1467" y="384"/>
                </a:lnTo>
                <a:lnTo>
                  <a:pt x="1468" y="384"/>
                </a:lnTo>
                <a:lnTo>
                  <a:pt x="1470" y="384"/>
                </a:lnTo>
                <a:lnTo>
                  <a:pt x="1471" y="384"/>
                </a:lnTo>
                <a:lnTo>
                  <a:pt x="1472" y="384"/>
                </a:lnTo>
                <a:lnTo>
                  <a:pt x="1473" y="384"/>
                </a:lnTo>
                <a:lnTo>
                  <a:pt x="1474" y="384"/>
                </a:lnTo>
                <a:lnTo>
                  <a:pt x="1475" y="384"/>
                </a:lnTo>
                <a:lnTo>
                  <a:pt x="1477" y="384"/>
                </a:lnTo>
                <a:lnTo>
                  <a:pt x="1478" y="384"/>
                </a:lnTo>
                <a:lnTo>
                  <a:pt x="1479" y="384"/>
                </a:lnTo>
                <a:lnTo>
                  <a:pt x="1480" y="384"/>
                </a:lnTo>
                <a:lnTo>
                  <a:pt x="1481" y="384"/>
                </a:lnTo>
                <a:lnTo>
                  <a:pt x="1482" y="384"/>
                </a:lnTo>
                <a:lnTo>
                  <a:pt x="1485" y="384"/>
                </a:lnTo>
                <a:lnTo>
                  <a:pt x="1486" y="384"/>
                </a:lnTo>
                <a:lnTo>
                  <a:pt x="1487" y="384"/>
                </a:lnTo>
                <a:lnTo>
                  <a:pt x="1488" y="384"/>
                </a:lnTo>
                <a:lnTo>
                  <a:pt x="1489" y="384"/>
                </a:lnTo>
                <a:lnTo>
                  <a:pt x="1491" y="384"/>
                </a:lnTo>
                <a:lnTo>
                  <a:pt x="1492" y="384"/>
                </a:lnTo>
                <a:lnTo>
                  <a:pt x="1493" y="384"/>
                </a:lnTo>
                <a:lnTo>
                  <a:pt x="1494" y="384"/>
                </a:lnTo>
                <a:lnTo>
                  <a:pt x="1495" y="384"/>
                </a:lnTo>
                <a:lnTo>
                  <a:pt x="1496" y="384"/>
                </a:lnTo>
                <a:lnTo>
                  <a:pt x="1498" y="384"/>
                </a:lnTo>
                <a:lnTo>
                  <a:pt x="1499" y="384"/>
                </a:lnTo>
                <a:lnTo>
                  <a:pt x="1501" y="384"/>
                </a:lnTo>
                <a:lnTo>
                  <a:pt x="1502" y="384"/>
                </a:lnTo>
                <a:lnTo>
                  <a:pt x="1503" y="384"/>
                </a:lnTo>
                <a:lnTo>
                  <a:pt x="1505" y="384"/>
                </a:lnTo>
                <a:lnTo>
                  <a:pt x="1506" y="384"/>
                </a:lnTo>
                <a:lnTo>
                  <a:pt x="1506" y="383"/>
                </a:lnTo>
                <a:lnTo>
                  <a:pt x="1507" y="382"/>
                </a:lnTo>
                <a:lnTo>
                  <a:pt x="1508" y="380"/>
                </a:lnTo>
                <a:lnTo>
                  <a:pt x="1507" y="380"/>
                </a:lnTo>
                <a:lnTo>
                  <a:pt x="1508" y="380"/>
                </a:lnTo>
                <a:lnTo>
                  <a:pt x="1508" y="379"/>
                </a:lnTo>
                <a:lnTo>
                  <a:pt x="1509" y="379"/>
                </a:lnTo>
                <a:lnTo>
                  <a:pt x="1510" y="379"/>
                </a:lnTo>
                <a:lnTo>
                  <a:pt x="1512" y="380"/>
                </a:lnTo>
                <a:lnTo>
                  <a:pt x="1512" y="379"/>
                </a:lnTo>
                <a:lnTo>
                  <a:pt x="1513" y="379"/>
                </a:lnTo>
                <a:lnTo>
                  <a:pt x="1513" y="378"/>
                </a:lnTo>
                <a:lnTo>
                  <a:pt x="1514" y="378"/>
                </a:lnTo>
                <a:lnTo>
                  <a:pt x="1514" y="379"/>
                </a:lnTo>
                <a:lnTo>
                  <a:pt x="1514" y="380"/>
                </a:lnTo>
                <a:lnTo>
                  <a:pt x="1515" y="380"/>
                </a:lnTo>
                <a:lnTo>
                  <a:pt x="1515" y="379"/>
                </a:lnTo>
                <a:lnTo>
                  <a:pt x="1515" y="378"/>
                </a:lnTo>
                <a:lnTo>
                  <a:pt x="1516" y="378"/>
                </a:lnTo>
                <a:lnTo>
                  <a:pt x="1516" y="377"/>
                </a:lnTo>
                <a:lnTo>
                  <a:pt x="1517" y="377"/>
                </a:lnTo>
                <a:lnTo>
                  <a:pt x="1517" y="378"/>
                </a:lnTo>
                <a:lnTo>
                  <a:pt x="1519" y="378"/>
                </a:lnTo>
                <a:lnTo>
                  <a:pt x="1519" y="377"/>
                </a:lnTo>
                <a:lnTo>
                  <a:pt x="1517" y="377"/>
                </a:lnTo>
                <a:lnTo>
                  <a:pt x="1517" y="376"/>
                </a:lnTo>
                <a:lnTo>
                  <a:pt x="1519" y="375"/>
                </a:lnTo>
                <a:lnTo>
                  <a:pt x="1521" y="373"/>
                </a:lnTo>
                <a:lnTo>
                  <a:pt x="1522" y="373"/>
                </a:lnTo>
                <a:lnTo>
                  <a:pt x="1522" y="372"/>
                </a:lnTo>
                <a:lnTo>
                  <a:pt x="1523" y="372"/>
                </a:lnTo>
                <a:lnTo>
                  <a:pt x="1523" y="371"/>
                </a:lnTo>
                <a:lnTo>
                  <a:pt x="1526" y="370"/>
                </a:lnTo>
                <a:lnTo>
                  <a:pt x="1526" y="369"/>
                </a:lnTo>
                <a:lnTo>
                  <a:pt x="1526" y="368"/>
                </a:lnTo>
                <a:lnTo>
                  <a:pt x="1527" y="368"/>
                </a:lnTo>
                <a:lnTo>
                  <a:pt x="1526" y="368"/>
                </a:lnTo>
                <a:lnTo>
                  <a:pt x="1526" y="366"/>
                </a:lnTo>
                <a:lnTo>
                  <a:pt x="1527" y="366"/>
                </a:lnTo>
                <a:lnTo>
                  <a:pt x="1528" y="366"/>
                </a:lnTo>
                <a:lnTo>
                  <a:pt x="1528" y="365"/>
                </a:lnTo>
                <a:lnTo>
                  <a:pt x="1527" y="365"/>
                </a:lnTo>
                <a:lnTo>
                  <a:pt x="1528" y="364"/>
                </a:lnTo>
                <a:lnTo>
                  <a:pt x="1528" y="363"/>
                </a:lnTo>
                <a:lnTo>
                  <a:pt x="1529" y="363"/>
                </a:lnTo>
                <a:lnTo>
                  <a:pt x="1530" y="363"/>
                </a:lnTo>
                <a:lnTo>
                  <a:pt x="1531" y="362"/>
                </a:lnTo>
                <a:lnTo>
                  <a:pt x="1531" y="361"/>
                </a:lnTo>
                <a:lnTo>
                  <a:pt x="1532" y="358"/>
                </a:lnTo>
                <a:lnTo>
                  <a:pt x="1534" y="357"/>
                </a:lnTo>
                <a:lnTo>
                  <a:pt x="1535" y="356"/>
                </a:lnTo>
                <a:lnTo>
                  <a:pt x="1537" y="355"/>
                </a:lnTo>
                <a:lnTo>
                  <a:pt x="1538" y="352"/>
                </a:lnTo>
                <a:lnTo>
                  <a:pt x="1539" y="351"/>
                </a:lnTo>
                <a:lnTo>
                  <a:pt x="1542" y="350"/>
                </a:lnTo>
                <a:lnTo>
                  <a:pt x="1543" y="349"/>
                </a:lnTo>
                <a:lnTo>
                  <a:pt x="1545" y="348"/>
                </a:lnTo>
                <a:lnTo>
                  <a:pt x="1546" y="345"/>
                </a:lnTo>
                <a:lnTo>
                  <a:pt x="1548" y="345"/>
                </a:lnTo>
                <a:lnTo>
                  <a:pt x="1549" y="345"/>
                </a:lnTo>
                <a:lnTo>
                  <a:pt x="1549" y="347"/>
                </a:lnTo>
                <a:lnTo>
                  <a:pt x="1549" y="348"/>
                </a:lnTo>
                <a:lnTo>
                  <a:pt x="1548" y="348"/>
                </a:lnTo>
                <a:lnTo>
                  <a:pt x="1548" y="349"/>
                </a:lnTo>
                <a:lnTo>
                  <a:pt x="1550" y="350"/>
                </a:lnTo>
                <a:lnTo>
                  <a:pt x="1551" y="349"/>
                </a:lnTo>
                <a:lnTo>
                  <a:pt x="1552" y="349"/>
                </a:lnTo>
                <a:lnTo>
                  <a:pt x="1553" y="349"/>
                </a:lnTo>
                <a:lnTo>
                  <a:pt x="1553" y="348"/>
                </a:lnTo>
                <a:lnTo>
                  <a:pt x="1555" y="348"/>
                </a:lnTo>
                <a:lnTo>
                  <a:pt x="1556" y="348"/>
                </a:lnTo>
                <a:lnTo>
                  <a:pt x="1557" y="348"/>
                </a:lnTo>
                <a:lnTo>
                  <a:pt x="1557" y="347"/>
                </a:lnTo>
                <a:lnTo>
                  <a:pt x="1558" y="347"/>
                </a:lnTo>
                <a:lnTo>
                  <a:pt x="1559" y="348"/>
                </a:lnTo>
                <a:lnTo>
                  <a:pt x="1560" y="348"/>
                </a:lnTo>
                <a:lnTo>
                  <a:pt x="1560" y="349"/>
                </a:lnTo>
                <a:lnTo>
                  <a:pt x="1562" y="350"/>
                </a:lnTo>
                <a:lnTo>
                  <a:pt x="1562" y="351"/>
                </a:lnTo>
                <a:lnTo>
                  <a:pt x="1563" y="351"/>
                </a:lnTo>
                <a:lnTo>
                  <a:pt x="1563" y="352"/>
                </a:lnTo>
                <a:lnTo>
                  <a:pt x="1562" y="355"/>
                </a:lnTo>
                <a:lnTo>
                  <a:pt x="1560" y="356"/>
                </a:lnTo>
                <a:lnTo>
                  <a:pt x="1560" y="358"/>
                </a:lnTo>
                <a:lnTo>
                  <a:pt x="1559" y="361"/>
                </a:lnTo>
                <a:lnTo>
                  <a:pt x="1559" y="363"/>
                </a:lnTo>
                <a:lnTo>
                  <a:pt x="1558" y="364"/>
                </a:lnTo>
                <a:lnTo>
                  <a:pt x="1558" y="366"/>
                </a:lnTo>
                <a:lnTo>
                  <a:pt x="1557" y="369"/>
                </a:lnTo>
                <a:lnTo>
                  <a:pt x="1557" y="370"/>
                </a:lnTo>
                <a:lnTo>
                  <a:pt x="1556" y="370"/>
                </a:lnTo>
                <a:lnTo>
                  <a:pt x="1557" y="371"/>
                </a:lnTo>
                <a:lnTo>
                  <a:pt x="1556" y="371"/>
                </a:lnTo>
                <a:lnTo>
                  <a:pt x="1556" y="372"/>
                </a:lnTo>
                <a:lnTo>
                  <a:pt x="1555" y="372"/>
                </a:lnTo>
                <a:lnTo>
                  <a:pt x="1556" y="373"/>
                </a:lnTo>
                <a:lnTo>
                  <a:pt x="1557" y="375"/>
                </a:lnTo>
                <a:lnTo>
                  <a:pt x="1558" y="375"/>
                </a:lnTo>
                <a:lnTo>
                  <a:pt x="1559" y="375"/>
                </a:lnTo>
                <a:lnTo>
                  <a:pt x="1559" y="376"/>
                </a:lnTo>
                <a:lnTo>
                  <a:pt x="1558" y="376"/>
                </a:lnTo>
                <a:lnTo>
                  <a:pt x="1558" y="377"/>
                </a:lnTo>
                <a:lnTo>
                  <a:pt x="1558" y="378"/>
                </a:lnTo>
                <a:lnTo>
                  <a:pt x="1558" y="379"/>
                </a:lnTo>
                <a:lnTo>
                  <a:pt x="1557" y="379"/>
                </a:lnTo>
                <a:lnTo>
                  <a:pt x="1558" y="380"/>
                </a:lnTo>
                <a:lnTo>
                  <a:pt x="1558" y="382"/>
                </a:lnTo>
                <a:lnTo>
                  <a:pt x="1559" y="382"/>
                </a:lnTo>
                <a:lnTo>
                  <a:pt x="1559" y="380"/>
                </a:lnTo>
                <a:lnTo>
                  <a:pt x="1560" y="380"/>
                </a:lnTo>
                <a:lnTo>
                  <a:pt x="1560" y="382"/>
                </a:lnTo>
                <a:lnTo>
                  <a:pt x="1560" y="383"/>
                </a:lnTo>
                <a:lnTo>
                  <a:pt x="1560" y="384"/>
                </a:lnTo>
                <a:lnTo>
                  <a:pt x="1562" y="384"/>
                </a:lnTo>
                <a:lnTo>
                  <a:pt x="1560" y="384"/>
                </a:lnTo>
                <a:lnTo>
                  <a:pt x="1560" y="385"/>
                </a:lnTo>
                <a:lnTo>
                  <a:pt x="1560" y="384"/>
                </a:lnTo>
                <a:lnTo>
                  <a:pt x="1559" y="385"/>
                </a:lnTo>
                <a:lnTo>
                  <a:pt x="1560" y="385"/>
                </a:lnTo>
                <a:lnTo>
                  <a:pt x="1559" y="385"/>
                </a:lnTo>
                <a:lnTo>
                  <a:pt x="1559" y="386"/>
                </a:lnTo>
                <a:lnTo>
                  <a:pt x="1560" y="386"/>
                </a:lnTo>
                <a:lnTo>
                  <a:pt x="1559" y="385"/>
                </a:lnTo>
                <a:lnTo>
                  <a:pt x="1560" y="385"/>
                </a:lnTo>
                <a:lnTo>
                  <a:pt x="1560" y="386"/>
                </a:lnTo>
                <a:lnTo>
                  <a:pt x="1560" y="385"/>
                </a:lnTo>
                <a:lnTo>
                  <a:pt x="1560" y="386"/>
                </a:lnTo>
                <a:lnTo>
                  <a:pt x="1562" y="386"/>
                </a:lnTo>
                <a:lnTo>
                  <a:pt x="1560" y="386"/>
                </a:lnTo>
                <a:lnTo>
                  <a:pt x="1560" y="387"/>
                </a:lnTo>
                <a:lnTo>
                  <a:pt x="1559" y="387"/>
                </a:lnTo>
                <a:lnTo>
                  <a:pt x="1559" y="389"/>
                </a:lnTo>
                <a:lnTo>
                  <a:pt x="1558" y="389"/>
                </a:lnTo>
                <a:lnTo>
                  <a:pt x="1557" y="389"/>
                </a:lnTo>
                <a:lnTo>
                  <a:pt x="1557" y="390"/>
                </a:lnTo>
                <a:lnTo>
                  <a:pt x="1557" y="389"/>
                </a:lnTo>
                <a:lnTo>
                  <a:pt x="1557" y="390"/>
                </a:lnTo>
                <a:lnTo>
                  <a:pt x="1556" y="390"/>
                </a:lnTo>
                <a:lnTo>
                  <a:pt x="1556" y="389"/>
                </a:lnTo>
                <a:lnTo>
                  <a:pt x="1555" y="390"/>
                </a:lnTo>
                <a:lnTo>
                  <a:pt x="1556" y="390"/>
                </a:lnTo>
                <a:lnTo>
                  <a:pt x="1555" y="390"/>
                </a:lnTo>
                <a:lnTo>
                  <a:pt x="1555" y="389"/>
                </a:lnTo>
                <a:lnTo>
                  <a:pt x="1555" y="390"/>
                </a:lnTo>
                <a:lnTo>
                  <a:pt x="1553" y="390"/>
                </a:lnTo>
                <a:lnTo>
                  <a:pt x="1552" y="390"/>
                </a:lnTo>
                <a:lnTo>
                  <a:pt x="1552" y="391"/>
                </a:lnTo>
                <a:lnTo>
                  <a:pt x="1551" y="391"/>
                </a:lnTo>
                <a:lnTo>
                  <a:pt x="1550" y="391"/>
                </a:lnTo>
                <a:lnTo>
                  <a:pt x="1550" y="390"/>
                </a:lnTo>
                <a:lnTo>
                  <a:pt x="1550" y="391"/>
                </a:lnTo>
                <a:lnTo>
                  <a:pt x="1549" y="391"/>
                </a:lnTo>
                <a:lnTo>
                  <a:pt x="1550" y="391"/>
                </a:lnTo>
                <a:lnTo>
                  <a:pt x="1550" y="390"/>
                </a:lnTo>
                <a:lnTo>
                  <a:pt x="1549" y="390"/>
                </a:lnTo>
                <a:lnTo>
                  <a:pt x="1549" y="391"/>
                </a:lnTo>
                <a:lnTo>
                  <a:pt x="1549" y="392"/>
                </a:lnTo>
                <a:lnTo>
                  <a:pt x="1548" y="392"/>
                </a:lnTo>
                <a:lnTo>
                  <a:pt x="1548" y="393"/>
                </a:lnTo>
                <a:lnTo>
                  <a:pt x="1548" y="392"/>
                </a:lnTo>
                <a:lnTo>
                  <a:pt x="1548" y="393"/>
                </a:lnTo>
                <a:lnTo>
                  <a:pt x="1546" y="393"/>
                </a:lnTo>
                <a:lnTo>
                  <a:pt x="1546" y="392"/>
                </a:lnTo>
                <a:lnTo>
                  <a:pt x="1548" y="391"/>
                </a:lnTo>
                <a:lnTo>
                  <a:pt x="1546" y="391"/>
                </a:lnTo>
                <a:lnTo>
                  <a:pt x="1546" y="392"/>
                </a:lnTo>
                <a:lnTo>
                  <a:pt x="1546" y="393"/>
                </a:lnTo>
                <a:lnTo>
                  <a:pt x="1545" y="393"/>
                </a:lnTo>
                <a:lnTo>
                  <a:pt x="1545" y="394"/>
                </a:lnTo>
                <a:lnTo>
                  <a:pt x="1545" y="393"/>
                </a:lnTo>
                <a:lnTo>
                  <a:pt x="1545" y="392"/>
                </a:lnTo>
                <a:lnTo>
                  <a:pt x="1545" y="391"/>
                </a:lnTo>
                <a:lnTo>
                  <a:pt x="1544" y="392"/>
                </a:lnTo>
                <a:lnTo>
                  <a:pt x="1544" y="391"/>
                </a:lnTo>
                <a:lnTo>
                  <a:pt x="1544" y="392"/>
                </a:lnTo>
                <a:lnTo>
                  <a:pt x="1543" y="392"/>
                </a:lnTo>
                <a:lnTo>
                  <a:pt x="1543" y="391"/>
                </a:lnTo>
                <a:lnTo>
                  <a:pt x="1543" y="392"/>
                </a:lnTo>
                <a:lnTo>
                  <a:pt x="1542" y="392"/>
                </a:lnTo>
                <a:lnTo>
                  <a:pt x="1542" y="393"/>
                </a:lnTo>
                <a:lnTo>
                  <a:pt x="1541" y="393"/>
                </a:lnTo>
                <a:lnTo>
                  <a:pt x="1541" y="392"/>
                </a:lnTo>
                <a:lnTo>
                  <a:pt x="1541" y="393"/>
                </a:lnTo>
                <a:lnTo>
                  <a:pt x="1541" y="392"/>
                </a:lnTo>
                <a:lnTo>
                  <a:pt x="1539" y="393"/>
                </a:lnTo>
                <a:lnTo>
                  <a:pt x="1538" y="394"/>
                </a:lnTo>
                <a:lnTo>
                  <a:pt x="1539" y="394"/>
                </a:lnTo>
                <a:lnTo>
                  <a:pt x="1539" y="396"/>
                </a:lnTo>
                <a:lnTo>
                  <a:pt x="1538" y="396"/>
                </a:lnTo>
                <a:lnTo>
                  <a:pt x="1538" y="394"/>
                </a:lnTo>
                <a:lnTo>
                  <a:pt x="1538" y="396"/>
                </a:lnTo>
                <a:lnTo>
                  <a:pt x="1539" y="396"/>
                </a:lnTo>
                <a:lnTo>
                  <a:pt x="1538" y="396"/>
                </a:lnTo>
                <a:lnTo>
                  <a:pt x="1537" y="394"/>
                </a:lnTo>
                <a:lnTo>
                  <a:pt x="1536" y="394"/>
                </a:lnTo>
                <a:lnTo>
                  <a:pt x="1535" y="394"/>
                </a:lnTo>
                <a:lnTo>
                  <a:pt x="1536" y="393"/>
                </a:lnTo>
                <a:lnTo>
                  <a:pt x="1537" y="393"/>
                </a:lnTo>
                <a:lnTo>
                  <a:pt x="1537" y="392"/>
                </a:lnTo>
                <a:lnTo>
                  <a:pt x="1536" y="393"/>
                </a:lnTo>
                <a:lnTo>
                  <a:pt x="1536" y="392"/>
                </a:lnTo>
                <a:lnTo>
                  <a:pt x="1537" y="392"/>
                </a:lnTo>
                <a:lnTo>
                  <a:pt x="1537" y="391"/>
                </a:lnTo>
                <a:lnTo>
                  <a:pt x="1536" y="392"/>
                </a:lnTo>
                <a:lnTo>
                  <a:pt x="1535" y="392"/>
                </a:lnTo>
                <a:lnTo>
                  <a:pt x="1534" y="392"/>
                </a:lnTo>
                <a:lnTo>
                  <a:pt x="1534" y="393"/>
                </a:lnTo>
                <a:lnTo>
                  <a:pt x="1534" y="394"/>
                </a:lnTo>
                <a:lnTo>
                  <a:pt x="1532" y="394"/>
                </a:lnTo>
                <a:lnTo>
                  <a:pt x="1532" y="396"/>
                </a:lnTo>
                <a:lnTo>
                  <a:pt x="1531" y="397"/>
                </a:lnTo>
                <a:lnTo>
                  <a:pt x="1531" y="398"/>
                </a:lnTo>
                <a:lnTo>
                  <a:pt x="1530" y="399"/>
                </a:lnTo>
                <a:lnTo>
                  <a:pt x="1529" y="399"/>
                </a:lnTo>
                <a:lnTo>
                  <a:pt x="1529" y="400"/>
                </a:lnTo>
                <a:lnTo>
                  <a:pt x="1528" y="400"/>
                </a:lnTo>
                <a:lnTo>
                  <a:pt x="1529" y="399"/>
                </a:lnTo>
                <a:lnTo>
                  <a:pt x="1528" y="400"/>
                </a:lnTo>
                <a:lnTo>
                  <a:pt x="1528" y="399"/>
                </a:lnTo>
                <a:lnTo>
                  <a:pt x="1527" y="400"/>
                </a:lnTo>
                <a:lnTo>
                  <a:pt x="1527" y="399"/>
                </a:lnTo>
                <a:lnTo>
                  <a:pt x="1528" y="399"/>
                </a:lnTo>
                <a:lnTo>
                  <a:pt x="1528" y="398"/>
                </a:lnTo>
                <a:lnTo>
                  <a:pt x="1527" y="399"/>
                </a:lnTo>
                <a:lnTo>
                  <a:pt x="1526" y="399"/>
                </a:lnTo>
                <a:lnTo>
                  <a:pt x="1526" y="400"/>
                </a:lnTo>
                <a:lnTo>
                  <a:pt x="1524" y="401"/>
                </a:lnTo>
                <a:lnTo>
                  <a:pt x="1523" y="401"/>
                </a:lnTo>
                <a:lnTo>
                  <a:pt x="1524" y="401"/>
                </a:lnTo>
                <a:lnTo>
                  <a:pt x="1523" y="401"/>
                </a:lnTo>
                <a:lnTo>
                  <a:pt x="1524" y="401"/>
                </a:lnTo>
                <a:lnTo>
                  <a:pt x="1524" y="400"/>
                </a:lnTo>
                <a:lnTo>
                  <a:pt x="1524" y="399"/>
                </a:lnTo>
                <a:lnTo>
                  <a:pt x="1524" y="400"/>
                </a:lnTo>
                <a:lnTo>
                  <a:pt x="1523" y="400"/>
                </a:lnTo>
                <a:lnTo>
                  <a:pt x="1523" y="401"/>
                </a:lnTo>
                <a:lnTo>
                  <a:pt x="1523" y="403"/>
                </a:lnTo>
                <a:lnTo>
                  <a:pt x="1523" y="401"/>
                </a:lnTo>
                <a:lnTo>
                  <a:pt x="1522" y="401"/>
                </a:lnTo>
                <a:lnTo>
                  <a:pt x="1523" y="401"/>
                </a:lnTo>
                <a:lnTo>
                  <a:pt x="1523" y="400"/>
                </a:lnTo>
                <a:lnTo>
                  <a:pt x="1523" y="399"/>
                </a:lnTo>
                <a:lnTo>
                  <a:pt x="1524" y="399"/>
                </a:lnTo>
                <a:lnTo>
                  <a:pt x="1523" y="399"/>
                </a:lnTo>
                <a:lnTo>
                  <a:pt x="1522" y="400"/>
                </a:lnTo>
                <a:lnTo>
                  <a:pt x="1521" y="401"/>
                </a:lnTo>
                <a:lnTo>
                  <a:pt x="1522" y="401"/>
                </a:lnTo>
                <a:lnTo>
                  <a:pt x="1521" y="403"/>
                </a:lnTo>
                <a:lnTo>
                  <a:pt x="1522" y="401"/>
                </a:lnTo>
                <a:lnTo>
                  <a:pt x="1521" y="403"/>
                </a:lnTo>
                <a:lnTo>
                  <a:pt x="1521" y="401"/>
                </a:lnTo>
                <a:lnTo>
                  <a:pt x="1521" y="400"/>
                </a:lnTo>
                <a:lnTo>
                  <a:pt x="1521" y="399"/>
                </a:lnTo>
                <a:lnTo>
                  <a:pt x="1522" y="399"/>
                </a:lnTo>
                <a:lnTo>
                  <a:pt x="1522" y="398"/>
                </a:lnTo>
                <a:lnTo>
                  <a:pt x="1522" y="399"/>
                </a:lnTo>
                <a:lnTo>
                  <a:pt x="1521" y="399"/>
                </a:lnTo>
                <a:lnTo>
                  <a:pt x="1520" y="400"/>
                </a:lnTo>
                <a:lnTo>
                  <a:pt x="1521" y="400"/>
                </a:lnTo>
                <a:lnTo>
                  <a:pt x="1521" y="399"/>
                </a:lnTo>
                <a:lnTo>
                  <a:pt x="1521" y="400"/>
                </a:lnTo>
                <a:lnTo>
                  <a:pt x="1521" y="401"/>
                </a:lnTo>
                <a:lnTo>
                  <a:pt x="1521" y="403"/>
                </a:lnTo>
                <a:lnTo>
                  <a:pt x="1520" y="404"/>
                </a:lnTo>
                <a:lnTo>
                  <a:pt x="1520" y="403"/>
                </a:lnTo>
                <a:lnTo>
                  <a:pt x="1520" y="401"/>
                </a:lnTo>
                <a:lnTo>
                  <a:pt x="1520" y="403"/>
                </a:lnTo>
                <a:lnTo>
                  <a:pt x="1519" y="403"/>
                </a:lnTo>
                <a:lnTo>
                  <a:pt x="1517" y="404"/>
                </a:lnTo>
                <a:lnTo>
                  <a:pt x="1519" y="401"/>
                </a:lnTo>
                <a:lnTo>
                  <a:pt x="1519" y="403"/>
                </a:lnTo>
                <a:lnTo>
                  <a:pt x="1517" y="403"/>
                </a:lnTo>
                <a:lnTo>
                  <a:pt x="1517" y="404"/>
                </a:lnTo>
                <a:lnTo>
                  <a:pt x="1517" y="403"/>
                </a:lnTo>
                <a:lnTo>
                  <a:pt x="1519" y="403"/>
                </a:lnTo>
                <a:lnTo>
                  <a:pt x="1519" y="401"/>
                </a:lnTo>
                <a:lnTo>
                  <a:pt x="1517" y="401"/>
                </a:lnTo>
                <a:lnTo>
                  <a:pt x="1519" y="401"/>
                </a:lnTo>
                <a:lnTo>
                  <a:pt x="1517" y="401"/>
                </a:lnTo>
                <a:lnTo>
                  <a:pt x="1517" y="403"/>
                </a:lnTo>
                <a:lnTo>
                  <a:pt x="1516" y="403"/>
                </a:lnTo>
                <a:lnTo>
                  <a:pt x="1515" y="403"/>
                </a:lnTo>
                <a:lnTo>
                  <a:pt x="1515" y="404"/>
                </a:lnTo>
                <a:lnTo>
                  <a:pt x="1514" y="404"/>
                </a:lnTo>
                <a:lnTo>
                  <a:pt x="1514" y="405"/>
                </a:lnTo>
                <a:lnTo>
                  <a:pt x="1514" y="406"/>
                </a:lnTo>
                <a:lnTo>
                  <a:pt x="1513" y="406"/>
                </a:lnTo>
                <a:lnTo>
                  <a:pt x="1512" y="406"/>
                </a:lnTo>
                <a:lnTo>
                  <a:pt x="1512" y="407"/>
                </a:lnTo>
                <a:lnTo>
                  <a:pt x="1512" y="408"/>
                </a:lnTo>
                <a:lnTo>
                  <a:pt x="1512" y="407"/>
                </a:lnTo>
                <a:lnTo>
                  <a:pt x="1512" y="408"/>
                </a:lnTo>
                <a:lnTo>
                  <a:pt x="1510" y="408"/>
                </a:lnTo>
                <a:lnTo>
                  <a:pt x="1510" y="410"/>
                </a:lnTo>
                <a:lnTo>
                  <a:pt x="1509" y="410"/>
                </a:lnTo>
                <a:lnTo>
                  <a:pt x="1508" y="411"/>
                </a:lnTo>
                <a:lnTo>
                  <a:pt x="1508" y="412"/>
                </a:lnTo>
                <a:lnTo>
                  <a:pt x="1507" y="412"/>
                </a:lnTo>
                <a:lnTo>
                  <a:pt x="1507" y="413"/>
                </a:lnTo>
                <a:lnTo>
                  <a:pt x="1506" y="413"/>
                </a:lnTo>
                <a:lnTo>
                  <a:pt x="1505" y="413"/>
                </a:lnTo>
                <a:lnTo>
                  <a:pt x="1505" y="414"/>
                </a:lnTo>
                <a:lnTo>
                  <a:pt x="1506" y="414"/>
                </a:lnTo>
                <a:lnTo>
                  <a:pt x="1505" y="414"/>
                </a:lnTo>
                <a:lnTo>
                  <a:pt x="1503" y="415"/>
                </a:lnTo>
                <a:lnTo>
                  <a:pt x="1503" y="417"/>
                </a:lnTo>
                <a:lnTo>
                  <a:pt x="1502" y="418"/>
                </a:lnTo>
                <a:lnTo>
                  <a:pt x="1502" y="419"/>
                </a:lnTo>
                <a:lnTo>
                  <a:pt x="1502" y="420"/>
                </a:lnTo>
                <a:lnTo>
                  <a:pt x="1503" y="420"/>
                </a:lnTo>
                <a:lnTo>
                  <a:pt x="1502" y="420"/>
                </a:lnTo>
                <a:lnTo>
                  <a:pt x="1503" y="420"/>
                </a:lnTo>
                <a:lnTo>
                  <a:pt x="1505" y="420"/>
                </a:lnTo>
                <a:lnTo>
                  <a:pt x="1505" y="421"/>
                </a:lnTo>
                <a:lnTo>
                  <a:pt x="1503" y="421"/>
                </a:lnTo>
                <a:lnTo>
                  <a:pt x="1502" y="421"/>
                </a:lnTo>
                <a:lnTo>
                  <a:pt x="1501" y="421"/>
                </a:lnTo>
                <a:lnTo>
                  <a:pt x="1501" y="422"/>
                </a:lnTo>
                <a:lnTo>
                  <a:pt x="1500" y="422"/>
                </a:lnTo>
                <a:lnTo>
                  <a:pt x="1501" y="422"/>
                </a:lnTo>
                <a:lnTo>
                  <a:pt x="1500" y="422"/>
                </a:lnTo>
                <a:lnTo>
                  <a:pt x="1500" y="424"/>
                </a:lnTo>
                <a:lnTo>
                  <a:pt x="1499" y="424"/>
                </a:lnTo>
                <a:lnTo>
                  <a:pt x="1499" y="425"/>
                </a:lnTo>
                <a:lnTo>
                  <a:pt x="1498" y="425"/>
                </a:lnTo>
                <a:lnTo>
                  <a:pt x="1498" y="426"/>
                </a:lnTo>
                <a:lnTo>
                  <a:pt x="1498" y="427"/>
                </a:lnTo>
                <a:lnTo>
                  <a:pt x="1499" y="427"/>
                </a:lnTo>
                <a:lnTo>
                  <a:pt x="1499" y="426"/>
                </a:lnTo>
                <a:lnTo>
                  <a:pt x="1499" y="427"/>
                </a:lnTo>
                <a:lnTo>
                  <a:pt x="1499" y="426"/>
                </a:lnTo>
                <a:lnTo>
                  <a:pt x="1500" y="426"/>
                </a:lnTo>
                <a:lnTo>
                  <a:pt x="1500" y="427"/>
                </a:lnTo>
                <a:lnTo>
                  <a:pt x="1501" y="427"/>
                </a:lnTo>
                <a:lnTo>
                  <a:pt x="1501" y="428"/>
                </a:lnTo>
                <a:lnTo>
                  <a:pt x="1501" y="429"/>
                </a:lnTo>
                <a:lnTo>
                  <a:pt x="1501" y="431"/>
                </a:lnTo>
                <a:lnTo>
                  <a:pt x="1501" y="429"/>
                </a:lnTo>
                <a:lnTo>
                  <a:pt x="1500" y="431"/>
                </a:lnTo>
                <a:lnTo>
                  <a:pt x="1500" y="432"/>
                </a:lnTo>
                <a:lnTo>
                  <a:pt x="1501" y="432"/>
                </a:lnTo>
                <a:lnTo>
                  <a:pt x="1502" y="432"/>
                </a:lnTo>
                <a:lnTo>
                  <a:pt x="1501" y="433"/>
                </a:lnTo>
                <a:lnTo>
                  <a:pt x="1501" y="434"/>
                </a:lnTo>
                <a:lnTo>
                  <a:pt x="1502" y="434"/>
                </a:lnTo>
                <a:lnTo>
                  <a:pt x="1505" y="435"/>
                </a:lnTo>
                <a:lnTo>
                  <a:pt x="1503" y="435"/>
                </a:lnTo>
                <a:lnTo>
                  <a:pt x="1505" y="435"/>
                </a:lnTo>
                <a:lnTo>
                  <a:pt x="1506" y="434"/>
                </a:lnTo>
                <a:lnTo>
                  <a:pt x="1507" y="434"/>
                </a:lnTo>
                <a:lnTo>
                  <a:pt x="1508" y="434"/>
                </a:lnTo>
                <a:lnTo>
                  <a:pt x="1508" y="433"/>
                </a:lnTo>
                <a:lnTo>
                  <a:pt x="1508" y="432"/>
                </a:lnTo>
                <a:lnTo>
                  <a:pt x="1509" y="432"/>
                </a:lnTo>
                <a:lnTo>
                  <a:pt x="1508" y="432"/>
                </a:lnTo>
                <a:lnTo>
                  <a:pt x="1507" y="432"/>
                </a:lnTo>
                <a:lnTo>
                  <a:pt x="1508" y="432"/>
                </a:lnTo>
                <a:lnTo>
                  <a:pt x="1508" y="431"/>
                </a:lnTo>
                <a:lnTo>
                  <a:pt x="1508" y="429"/>
                </a:lnTo>
                <a:lnTo>
                  <a:pt x="1507" y="429"/>
                </a:lnTo>
                <a:lnTo>
                  <a:pt x="1507" y="431"/>
                </a:lnTo>
                <a:lnTo>
                  <a:pt x="1506" y="429"/>
                </a:lnTo>
                <a:lnTo>
                  <a:pt x="1507" y="429"/>
                </a:lnTo>
                <a:lnTo>
                  <a:pt x="1508" y="429"/>
                </a:lnTo>
                <a:lnTo>
                  <a:pt x="1509" y="431"/>
                </a:lnTo>
                <a:lnTo>
                  <a:pt x="1509" y="432"/>
                </a:lnTo>
                <a:lnTo>
                  <a:pt x="1509" y="433"/>
                </a:lnTo>
                <a:lnTo>
                  <a:pt x="1508" y="433"/>
                </a:lnTo>
                <a:lnTo>
                  <a:pt x="1508" y="434"/>
                </a:lnTo>
                <a:lnTo>
                  <a:pt x="1509" y="434"/>
                </a:lnTo>
                <a:lnTo>
                  <a:pt x="1508" y="434"/>
                </a:lnTo>
                <a:lnTo>
                  <a:pt x="1508" y="435"/>
                </a:lnTo>
                <a:lnTo>
                  <a:pt x="1506" y="436"/>
                </a:lnTo>
                <a:lnTo>
                  <a:pt x="1505" y="436"/>
                </a:lnTo>
                <a:lnTo>
                  <a:pt x="1503" y="436"/>
                </a:lnTo>
                <a:lnTo>
                  <a:pt x="1502" y="436"/>
                </a:lnTo>
                <a:lnTo>
                  <a:pt x="1501" y="436"/>
                </a:lnTo>
                <a:lnTo>
                  <a:pt x="1501" y="438"/>
                </a:lnTo>
                <a:lnTo>
                  <a:pt x="1500" y="438"/>
                </a:lnTo>
                <a:lnTo>
                  <a:pt x="1499" y="438"/>
                </a:lnTo>
                <a:lnTo>
                  <a:pt x="1498" y="438"/>
                </a:lnTo>
                <a:lnTo>
                  <a:pt x="1499" y="438"/>
                </a:lnTo>
                <a:lnTo>
                  <a:pt x="1499" y="436"/>
                </a:lnTo>
                <a:lnTo>
                  <a:pt x="1499" y="435"/>
                </a:lnTo>
                <a:lnTo>
                  <a:pt x="1500" y="435"/>
                </a:lnTo>
                <a:lnTo>
                  <a:pt x="1500" y="434"/>
                </a:lnTo>
                <a:lnTo>
                  <a:pt x="1499" y="435"/>
                </a:lnTo>
                <a:lnTo>
                  <a:pt x="1499" y="434"/>
                </a:lnTo>
                <a:lnTo>
                  <a:pt x="1499" y="435"/>
                </a:lnTo>
                <a:lnTo>
                  <a:pt x="1498" y="435"/>
                </a:lnTo>
                <a:lnTo>
                  <a:pt x="1498" y="436"/>
                </a:lnTo>
                <a:lnTo>
                  <a:pt x="1496" y="436"/>
                </a:lnTo>
                <a:lnTo>
                  <a:pt x="1495" y="436"/>
                </a:lnTo>
                <a:lnTo>
                  <a:pt x="1495" y="438"/>
                </a:lnTo>
                <a:lnTo>
                  <a:pt x="1494" y="438"/>
                </a:lnTo>
                <a:lnTo>
                  <a:pt x="1494" y="439"/>
                </a:lnTo>
                <a:lnTo>
                  <a:pt x="1493" y="439"/>
                </a:lnTo>
                <a:lnTo>
                  <a:pt x="1493" y="438"/>
                </a:lnTo>
                <a:lnTo>
                  <a:pt x="1492" y="438"/>
                </a:lnTo>
                <a:lnTo>
                  <a:pt x="1491" y="439"/>
                </a:lnTo>
                <a:lnTo>
                  <a:pt x="1492" y="438"/>
                </a:lnTo>
                <a:lnTo>
                  <a:pt x="1492" y="436"/>
                </a:lnTo>
                <a:lnTo>
                  <a:pt x="1492" y="435"/>
                </a:lnTo>
                <a:lnTo>
                  <a:pt x="1493" y="434"/>
                </a:lnTo>
                <a:lnTo>
                  <a:pt x="1494" y="434"/>
                </a:lnTo>
                <a:lnTo>
                  <a:pt x="1493" y="434"/>
                </a:lnTo>
                <a:lnTo>
                  <a:pt x="1493" y="435"/>
                </a:lnTo>
                <a:lnTo>
                  <a:pt x="1492" y="435"/>
                </a:lnTo>
                <a:lnTo>
                  <a:pt x="1491" y="436"/>
                </a:lnTo>
                <a:lnTo>
                  <a:pt x="1491" y="435"/>
                </a:lnTo>
                <a:lnTo>
                  <a:pt x="1492" y="434"/>
                </a:lnTo>
                <a:lnTo>
                  <a:pt x="1491" y="434"/>
                </a:lnTo>
                <a:lnTo>
                  <a:pt x="1491" y="435"/>
                </a:lnTo>
                <a:lnTo>
                  <a:pt x="1491" y="434"/>
                </a:lnTo>
                <a:lnTo>
                  <a:pt x="1491" y="433"/>
                </a:lnTo>
                <a:lnTo>
                  <a:pt x="1491" y="434"/>
                </a:lnTo>
                <a:lnTo>
                  <a:pt x="1489" y="434"/>
                </a:lnTo>
                <a:lnTo>
                  <a:pt x="1489" y="435"/>
                </a:lnTo>
                <a:lnTo>
                  <a:pt x="1491" y="435"/>
                </a:lnTo>
                <a:lnTo>
                  <a:pt x="1489" y="435"/>
                </a:lnTo>
                <a:lnTo>
                  <a:pt x="1489" y="436"/>
                </a:lnTo>
                <a:lnTo>
                  <a:pt x="1488" y="436"/>
                </a:lnTo>
                <a:lnTo>
                  <a:pt x="1488" y="438"/>
                </a:lnTo>
                <a:lnTo>
                  <a:pt x="1488" y="439"/>
                </a:lnTo>
                <a:lnTo>
                  <a:pt x="1487" y="440"/>
                </a:lnTo>
                <a:lnTo>
                  <a:pt x="1486" y="440"/>
                </a:lnTo>
                <a:lnTo>
                  <a:pt x="1484" y="441"/>
                </a:lnTo>
                <a:lnTo>
                  <a:pt x="1482" y="441"/>
                </a:lnTo>
                <a:lnTo>
                  <a:pt x="1481" y="441"/>
                </a:lnTo>
                <a:lnTo>
                  <a:pt x="1482" y="441"/>
                </a:lnTo>
                <a:lnTo>
                  <a:pt x="1481" y="441"/>
                </a:lnTo>
                <a:lnTo>
                  <a:pt x="1480" y="441"/>
                </a:lnTo>
                <a:lnTo>
                  <a:pt x="1479" y="441"/>
                </a:lnTo>
                <a:lnTo>
                  <a:pt x="1478" y="441"/>
                </a:lnTo>
                <a:lnTo>
                  <a:pt x="1477" y="441"/>
                </a:lnTo>
                <a:lnTo>
                  <a:pt x="1477" y="442"/>
                </a:lnTo>
                <a:lnTo>
                  <a:pt x="1475" y="441"/>
                </a:lnTo>
                <a:lnTo>
                  <a:pt x="1475" y="440"/>
                </a:lnTo>
                <a:lnTo>
                  <a:pt x="1475" y="441"/>
                </a:lnTo>
                <a:lnTo>
                  <a:pt x="1475" y="442"/>
                </a:lnTo>
                <a:lnTo>
                  <a:pt x="1474" y="442"/>
                </a:lnTo>
                <a:lnTo>
                  <a:pt x="1474" y="441"/>
                </a:lnTo>
                <a:lnTo>
                  <a:pt x="1474" y="442"/>
                </a:lnTo>
                <a:lnTo>
                  <a:pt x="1473" y="442"/>
                </a:lnTo>
                <a:lnTo>
                  <a:pt x="1472" y="442"/>
                </a:lnTo>
                <a:lnTo>
                  <a:pt x="1471" y="442"/>
                </a:lnTo>
                <a:lnTo>
                  <a:pt x="1470" y="442"/>
                </a:lnTo>
                <a:lnTo>
                  <a:pt x="1468" y="442"/>
                </a:lnTo>
                <a:lnTo>
                  <a:pt x="1468" y="441"/>
                </a:lnTo>
                <a:lnTo>
                  <a:pt x="1468" y="442"/>
                </a:lnTo>
                <a:lnTo>
                  <a:pt x="1467" y="442"/>
                </a:lnTo>
                <a:lnTo>
                  <a:pt x="1466" y="443"/>
                </a:lnTo>
                <a:lnTo>
                  <a:pt x="1465" y="443"/>
                </a:lnTo>
                <a:lnTo>
                  <a:pt x="1464" y="443"/>
                </a:lnTo>
                <a:lnTo>
                  <a:pt x="1464" y="445"/>
                </a:lnTo>
                <a:lnTo>
                  <a:pt x="1463" y="445"/>
                </a:lnTo>
                <a:lnTo>
                  <a:pt x="1462" y="445"/>
                </a:lnTo>
                <a:lnTo>
                  <a:pt x="1460" y="445"/>
                </a:lnTo>
                <a:lnTo>
                  <a:pt x="1460" y="446"/>
                </a:lnTo>
                <a:lnTo>
                  <a:pt x="1459" y="446"/>
                </a:lnTo>
                <a:lnTo>
                  <a:pt x="1458" y="446"/>
                </a:lnTo>
                <a:lnTo>
                  <a:pt x="1457" y="446"/>
                </a:lnTo>
                <a:lnTo>
                  <a:pt x="1457" y="447"/>
                </a:lnTo>
                <a:lnTo>
                  <a:pt x="1456" y="447"/>
                </a:lnTo>
                <a:lnTo>
                  <a:pt x="1456" y="448"/>
                </a:lnTo>
                <a:lnTo>
                  <a:pt x="1455" y="448"/>
                </a:lnTo>
                <a:lnTo>
                  <a:pt x="1455" y="449"/>
                </a:lnTo>
                <a:lnTo>
                  <a:pt x="1453" y="449"/>
                </a:lnTo>
                <a:lnTo>
                  <a:pt x="1453" y="448"/>
                </a:lnTo>
                <a:lnTo>
                  <a:pt x="1453" y="447"/>
                </a:lnTo>
                <a:lnTo>
                  <a:pt x="1455" y="447"/>
                </a:lnTo>
                <a:lnTo>
                  <a:pt x="1455" y="446"/>
                </a:lnTo>
                <a:lnTo>
                  <a:pt x="1456" y="445"/>
                </a:lnTo>
                <a:lnTo>
                  <a:pt x="1456" y="443"/>
                </a:lnTo>
                <a:lnTo>
                  <a:pt x="1455" y="442"/>
                </a:lnTo>
                <a:lnTo>
                  <a:pt x="1455" y="441"/>
                </a:lnTo>
                <a:lnTo>
                  <a:pt x="1456" y="441"/>
                </a:lnTo>
                <a:lnTo>
                  <a:pt x="1455" y="441"/>
                </a:lnTo>
                <a:lnTo>
                  <a:pt x="1455" y="442"/>
                </a:lnTo>
                <a:lnTo>
                  <a:pt x="1455" y="443"/>
                </a:lnTo>
                <a:lnTo>
                  <a:pt x="1455" y="445"/>
                </a:lnTo>
                <a:lnTo>
                  <a:pt x="1455" y="446"/>
                </a:lnTo>
                <a:lnTo>
                  <a:pt x="1455" y="447"/>
                </a:lnTo>
                <a:lnTo>
                  <a:pt x="1453" y="447"/>
                </a:lnTo>
                <a:lnTo>
                  <a:pt x="1453" y="448"/>
                </a:lnTo>
                <a:lnTo>
                  <a:pt x="1452" y="449"/>
                </a:lnTo>
                <a:lnTo>
                  <a:pt x="1451" y="450"/>
                </a:lnTo>
                <a:lnTo>
                  <a:pt x="1451" y="452"/>
                </a:lnTo>
                <a:lnTo>
                  <a:pt x="1450" y="452"/>
                </a:lnTo>
                <a:lnTo>
                  <a:pt x="1450" y="450"/>
                </a:lnTo>
                <a:lnTo>
                  <a:pt x="1450" y="452"/>
                </a:lnTo>
                <a:lnTo>
                  <a:pt x="1449" y="452"/>
                </a:lnTo>
                <a:lnTo>
                  <a:pt x="1449" y="453"/>
                </a:lnTo>
                <a:lnTo>
                  <a:pt x="1448" y="453"/>
                </a:lnTo>
                <a:lnTo>
                  <a:pt x="1448" y="454"/>
                </a:lnTo>
                <a:lnTo>
                  <a:pt x="1446" y="454"/>
                </a:lnTo>
                <a:lnTo>
                  <a:pt x="1448" y="455"/>
                </a:lnTo>
                <a:lnTo>
                  <a:pt x="1449" y="455"/>
                </a:lnTo>
                <a:lnTo>
                  <a:pt x="1450" y="455"/>
                </a:lnTo>
                <a:lnTo>
                  <a:pt x="1450" y="454"/>
                </a:lnTo>
                <a:lnTo>
                  <a:pt x="1450" y="455"/>
                </a:lnTo>
                <a:lnTo>
                  <a:pt x="1451" y="455"/>
                </a:lnTo>
                <a:lnTo>
                  <a:pt x="1450" y="455"/>
                </a:lnTo>
                <a:lnTo>
                  <a:pt x="1450" y="456"/>
                </a:lnTo>
                <a:lnTo>
                  <a:pt x="1450" y="457"/>
                </a:lnTo>
                <a:lnTo>
                  <a:pt x="1449" y="459"/>
                </a:lnTo>
                <a:lnTo>
                  <a:pt x="1449" y="460"/>
                </a:lnTo>
                <a:lnTo>
                  <a:pt x="1448" y="461"/>
                </a:lnTo>
                <a:lnTo>
                  <a:pt x="1448" y="462"/>
                </a:lnTo>
                <a:lnTo>
                  <a:pt x="1446" y="463"/>
                </a:lnTo>
                <a:lnTo>
                  <a:pt x="1446" y="464"/>
                </a:lnTo>
                <a:lnTo>
                  <a:pt x="1445" y="466"/>
                </a:lnTo>
                <a:lnTo>
                  <a:pt x="1446" y="463"/>
                </a:lnTo>
                <a:lnTo>
                  <a:pt x="1448" y="462"/>
                </a:lnTo>
                <a:lnTo>
                  <a:pt x="1448" y="461"/>
                </a:lnTo>
                <a:lnTo>
                  <a:pt x="1448" y="462"/>
                </a:lnTo>
                <a:lnTo>
                  <a:pt x="1446" y="462"/>
                </a:lnTo>
                <a:lnTo>
                  <a:pt x="1446" y="463"/>
                </a:lnTo>
                <a:lnTo>
                  <a:pt x="1445" y="463"/>
                </a:lnTo>
                <a:lnTo>
                  <a:pt x="1445" y="464"/>
                </a:lnTo>
                <a:lnTo>
                  <a:pt x="1444" y="466"/>
                </a:lnTo>
                <a:lnTo>
                  <a:pt x="1445" y="466"/>
                </a:lnTo>
                <a:lnTo>
                  <a:pt x="1445" y="467"/>
                </a:lnTo>
                <a:lnTo>
                  <a:pt x="1444" y="467"/>
                </a:lnTo>
                <a:lnTo>
                  <a:pt x="1444" y="468"/>
                </a:lnTo>
                <a:lnTo>
                  <a:pt x="1443" y="468"/>
                </a:lnTo>
                <a:lnTo>
                  <a:pt x="1442" y="468"/>
                </a:lnTo>
                <a:lnTo>
                  <a:pt x="1442" y="469"/>
                </a:lnTo>
                <a:lnTo>
                  <a:pt x="1442" y="470"/>
                </a:lnTo>
                <a:lnTo>
                  <a:pt x="1442" y="469"/>
                </a:lnTo>
                <a:lnTo>
                  <a:pt x="1441" y="469"/>
                </a:lnTo>
                <a:lnTo>
                  <a:pt x="1441" y="470"/>
                </a:lnTo>
                <a:lnTo>
                  <a:pt x="1439" y="470"/>
                </a:lnTo>
                <a:lnTo>
                  <a:pt x="1439" y="471"/>
                </a:lnTo>
                <a:lnTo>
                  <a:pt x="1439" y="473"/>
                </a:lnTo>
                <a:lnTo>
                  <a:pt x="1438" y="473"/>
                </a:lnTo>
                <a:lnTo>
                  <a:pt x="1439" y="471"/>
                </a:lnTo>
                <a:lnTo>
                  <a:pt x="1438" y="471"/>
                </a:lnTo>
                <a:lnTo>
                  <a:pt x="1438" y="473"/>
                </a:lnTo>
                <a:lnTo>
                  <a:pt x="1437" y="473"/>
                </a:lnTo>
                <a:lnTo>
                  <a:pt x="1436" y="473"/>
                </a:lnTo>
                <a:lnTo>
                  <a:pt x="1437" y="474"/>
                </a:lnTo>
                <a:lnTo>
                  <a:pt x="1437" y="473"/>
                </a:lnTo>
                <a:lnTo>
                  <a:pt x="1437" y="474"/>
                </a:lnTo>
                <a:lnTo>
                  <a:pt x="1436" y="474"/>
                </a:lnTo>
                <a:lnTo>
                  <a:pt x="1436" y="475"/>
                </a:lnTo>
                <a:lnTo>
                  <a:pt x="1435" y="476"/>
                </a:lnTo>
                <a:lnTo>
                  <a:pt x="1434" y="477"/>
                </a:lnTo>
                <a:lnTo>
                  <a:pt x="1432" y="478"/>
                </a:lnTo>
                <a:lnTo>
                  <a:pt x="1431" y="478"/>
                </a:lnTo>
                <a:lnTo>
                  <a:pt x="1430" y="478"/>
                </a:lnTo>
                <a:lnTo>
                  <a:pt x="1431" y="478"/>
                </a:lnTo>
                <a:lnTo>
                  <a:pt x="1431" y="477"/>
                </a:lnTo>
                <a:lnTo>
                  <a:pt x="1432" y="476"/>
                </a:lnTo>
                <a:lnTo>
                  <a:pt x="1432" y="475"/>
                </a:lnTo>
                <a:lnTo>
                  <a:pt x="1431" y="475"/>
                </a:lnTo>
                <a:lnTo>
                  <a:pt x="1431" y="474"/>
                </a:lnTo>
                <a:lnTo>
                  <a:pt x="1430" y="474"/>
                </a:lnTo>
                <a:lnTo>
                  <a:pt x="1430" y="475"/>
                </a:lnTo>
                <a:lnTo>
                  <a:pt x="1429" y="475"/>
                </a:lnTo>
                <a:lnTo>
                  <a:pt x="1429" y="474"/>
                </a:lnTo>
                <a:lnTo>
                  <a:pt x="1429" y="473"/>
                </a:lnTo>
                <a:lnTo>
                  <a:pt x="1428" y="473"/>
                </a:lnTo>
                <a:lnTo>
                  <a:pt x="1427" y="470"/>
                </a:lnTo>
                <a:lnTo>
                  <a:pt x="1425" y="470"/>
                </a:lnTo>
                <a:lnTo>
                  <a:pt x="1425" y="469"/>
                </a:lnTo>
                <a:lnTo>
                  <a:pt x="1425" y="470"/>
                </a:lnTo>
                <a:lnTo>
                  <a:pt x="1427" y="470"/>
                </a:lnTo>
                <a:lnTo>
                  <a:pt x="1427" y="469"/>
                </a:lnTo>
                <a:lnTo>
                  <a:pt x="1427" y="468"/>
                </a:lnTo>
                <a:lnTo>
                  <a:pt x="1427" y="467"/>
                </a:lnTo>
                <a:lnTo>
                  <a:pt x="1428" y="467"/>
                </a:lnTo>
                <a:lnTo>
                  <a:pt x="1428" y="466"/>
                </a:lnTo>
                <a:lnTo>
                  <a:pt x="1429" y="466"/>
                </a:lnTo>
                <a:lnTo>
                  <a:pt x="1430" y="464"/>
                </a:lnTo>
                <a:lnTo>
                  <a:pt x="1431" y="464"/>
                </a:lnTo>
                <a:lnTo>
                  <a:pt x="1432" y="464"/>
                </a:lnTo>
                <a:lnTo>
                  <a:pt x="1432" y="463"/>
                </a:lnTo>
                <a:lnTo>
                  <a:pt x="1432" y="464"/>
                </a:lnTo>
                <a:lnTo>
                  <a:pt x="1432" y="463"/>
                </a:lnTo>
                <a:lnTo>
                  <a:pt x="1434" y="463"/>
                </a:lnTo>
                <a:lnTo>
                  <a:pt x="1434" y="462"/>
                </a:lnTo>
                <a:lnTo>
                  <a:pt x="1434" y="463"/>
                </a:lnTo>
                <a:lnTo>
                  <a:pt x="1434" y="462"/>
                </a:lnTo>
                <a:lnTo>
                  <a:pt x="1435" y="462"/>
                </a:lnTo>
                <a:lnTo>
                  <a:pt x="1434" y="462"/>
                </a:lnTo>
                <a:lnTo>
                  <a:pt x="1434" y="463"/>
                </a:lnTo>
                <a:lnTo>
                  <a:pt x="1432" y="463"/>
                </a:lnTo>
                <a:lnTo>
                  <a:pt x="1431" y="464"/>
                </a:lnTo>
                <a:lnTo>
                  <a:pt x="1430" y="464"/>
                </a:lnTo>
                <a:lnTo>
                  <a:pt x="1429" y="464"/>
                </a:lnTo>
                <a:lnTo>
                  <a:pt x="1429" y="466"/>
                </a:lnTo>
                <a:lnTo>
                  <a:pt x="1428" y="466"/>
                </a:lnTo>
                <a:lnTo>
                  <a:pt x="1428" y="467"/>
                </a:lnTo>
                <a:lnTo>
                  <a:pt x="1427" y="467"/>
                </a:lnTo>
                <a:lnTo>
                  <a:pt x="1425" y="468"/>
                </a:lnTo>
                <a:lnTo>
                  <a:pt x="1425" y="469"/>
                </a:lnTo>
                <a:lnTo>
                  <a:pt x="1425" y="470"/>
                </a:lnTo>
                <a:lnTo>
                  <a:pt x="1425" y="471"/>
                </a:lnTo>
                <a:lnTo>
                  <a:pt x="1425" y="473"/>
                </a:lnTo>
                <a:lnTo>
                  <a:pt x="1427" y="473"/>
                </a:lnTo>
                <a:lnTo>
                  <a:pt x="1427" y="474"/>
                </a:lnTo>
                <a:lnTo>
                  <a:pt x="1427" y="475"/>
                </a:lnTo>
                <a:lnTo>
                  <a:pt x="1425" y="475"/>
                </a:lnTo>
                <a:lnTo>
                  <a:pt x="1425" y="476"/>
                </a:lnTo>
                <a:lnTo>
                  <a:pt x="1425" y="477"/>
                </a:lnTo>
                <a:lnTo>
                  <a:pt x="1427" y="477"/>
                </a:lnTo>
                <a:lnTo>
                  <a:pt x="1427" y="478"/>
                </a:lnTo>
                <a:lnTo>
                  <a:pt x="1427" y="480"/>
                </a:lnTo>
                <a:lnTo>
                  <a:pt x="1427" y="481"/>
                </a:lnTo>
                <a:lnTo>
                  <a:pt x="1428" y="481"/>
                </a:lnTo>
                <a:lnTo>
                  <a:pt x="1429" y="481"/>
                </a:lnTo>
                <a:lnTo>
                  <a:pt x="1428" y="483"/>
                </a:lnTo>
                <a:lnTo>
                  <a:pt x="1427" y="483"/>
                </a:lnTo>
                <a:lnTo>
                  <a:pt x="1428" y="483"/>
                </a:lnTo>
                <a:lnTo>
                  <a:pt x="1427" y="483"/>
                </a:lnTo>
                <a:lnTo>
                  <a:pt x="1427" y="484"/>
                </a:lnTo>
                <a:lnTo>
                  <a:pt x="1425" y="484"/>
                </a:lnTo>
                <a:lnTo>
                  <a:pt x="1427" y="484"/>
                </a:lnTo>
                <a:lnTo>
                  <a:pt x="1425" y="484"/>
                </a:lnTo>
                <a:lnTo>
                  <a:pt x="1427" y="484"/>
                </a:lnTo>
                <a:lnTo>
                  <a:pt x="1428" y="484"/>
                </a:lnTo>
                <a:lnTo>
                  <a:pt x="1428" y="485"/>
                </a:lnTo>
                <a:lnTo>
                  <a:pt x="1428" y="487"/>
                </a:lnTo>
                <a:lnTo>
                  <a:pt x="1427" y="488"/>
                </a:lnTo>
                <a:lnTo>
                  <a:pt x="1427" y="487"/>
                </a:lnTo>
                <a:lnTo>
                  <a:pt x="1428" y="487"/>
                </a:lnTo>
                <a:lnTo>
                  <a:pt x="1427" y="487"/>
                </a:lnTo>
                <a:lnTo>
                  <a:pt x="1427" y="488"/>
                </a:lnTo>
                <a:lnTo>
                  <a:pt x="1427" y="487"/>
                </a:lnTo>
                <a:lnTo>
                  <a:pt x="1425" y="487"/>
                </a:lnTo>
                <a:lnTo>
                  <a:pt x="1425" y="488"/>
                </a:lnTo>
                <a:lnTo>
                  <a:pt x="1427" y="488"/>
                </a:lnTo>
                <a:lnTo>
                  <a:pt x="1425" y="489"/>
                </a:lnTo>
                <a:lnTo>
                  <a:pt x="1425" y="490"/>
                </a:lnTo>
                <a:lnTo>
                  <a:pt x="1424" y="490"/>
                </a:lnTo>
                <a:lnTo>
                  <a:pt x="1424" y="489"/>
                </a:lnTo>
                <a:lnTo>
                  <a:pt x="1424" y="490"/>
                </a:lnTo>
                <a:lnTo>
                  <a:pt x="1423" y="491"/>
                </a:lnTo>
                <a:lnTo>
                  <a:pt x="1422" y="491"/>
                </a:lnTo>
                <a:lnTo>
                  <a:pt x="1422" y="492"/>
                </a:lnTo>
                <a:lnTo>
                  <a:pt x="1421" y="492"/>
                </a:lnTo>
                <a:lnTo>
                  <a:pt x="1421" y="494"/>
                </a:lnTo>
                <a:lnTo>
                  <a:pt x="1420" y="494"/>
                </a:lnTo>
                <a:lnTo>
                  <a:pt x="1420" y="495"/>
                </a:lnTo>
                <a:lnTo>
                  <a:pt x="1420" y="496"/>
                </a:lnTo>
                <a:lnTo>
                  <a:pt x="1418" y="496"/>
                </a:lnTo>
                <a:lnTo>
                  <a:pt x="1418" y="497"/>
                </a:lnTo>
                <a:lnTo>
                  <a:pt x="1417" y="497"/>
                </a:lnTo>
                <a:lnTo>
                  <a:pt x="1417" y="498"/>
                </a:lnTo>
                <a:lnTo>
                  <a:pt x="1416" y="498"/>
                </a:lnTo>
                <a:lnTo>
                  <a:pt x="1416" y="499"/>
                </a:lnTo>
                <a:lnTo>
                  <a:pt x="1415" y="501"/>
                </a:lnTo>
                <a:lnTo>
                  <a:pt x="1414" y="501"/>
                </a:lnTo>
                <a:lnTo>
                  <a:pt x="1414" y="502"/>
                </a:lnTo>
                <a:lnTo>
                  <a:pt x="1413" y="502"/>
                </a:lnTo>
                <a:lnTo>
                  <a:pt x="1413" y="503"/>
                </a:lnTo>
                <a:lnTo>
                  <a:pt x="1411" y="503"/>
                </a:lnTo>
                <a:lnTo>
                  <a:pt x="1411" y="504"/>
                </a:lnTo>
                <a:lnTo>
                  <a:pt x="1410" y="504"/>
                </a:lnTo>
                <a:lnTo>
                  <a:pt x="1410" y="505"/>
                </a:lnTo>
                <a:lnTo>
                  <a:pt x="1410" y="506"/>
                </a:lnTo>
                <a:lnTo>
                  <a:pt x="1410" y="508"/>
                </a:lnTo>
                <a:lnTo>
                  <a:pt x="1409" y="508"/>
                </a:lnTo>
                <a:lnTo>
                  <a:pt x="1409" y="506"/>
                </a:lnTo>
                <a:lnTo>
                  <a:pt x="1409" y="505"/>
                </a:lnTo>
                <a:lnTo>
                  <a:pt x="1410" y="504"/>
                </a:lnTo>
                <a:lnTo>
                  <a:pt x="1409" y="504"/>
                </a:lnTo>
                <a:lnTo>
                  <a:pt x="1410" y="504"/>
                </a:lnTo>
                <a:lnTo>
                  <a:pt x="1410" y="503"/>
                </a:lnTo>
                <a:lnTo>
                  <a:pt x="1411" y="503"/>
                </a:lnTo>
                <a:lnTo>
                  <a:pt x="1410" y="503"/>
                </a:lnTo>
                <a:lnTo>
                  <a:pt x="1410" y="502"/>
                </a:lnTo>
                <a:lnTo>
                  <a:pt x="1411" y="502"/>
                </a:lnTo>
                <a:lnTo>
                  <a:pt x="1411" y="501"/>
                </a:lnTo>
                <a:lnTo>
                  <a:pt x="1413" y="501"/>
                </a:lnTo>
                <a:lnTo>
                  <a:pt x="1411" y="501"/>
                </a:lnTo>
                <a:lnTo>
                  <a:pt x="1411" y="499"/>
                </a:lnTo>
                <a:lnTo>
                  <a:pt x="1413" y="499"/>
                </a:lnTo>
                <a:lnTo>
                  <a:pt x="1413" y="498"/>
                </a:lnTo>
                <a:lnTo>
                  <a:pt x="1414" y="498"/>
                </a:lnTo>
                <a:lnTo>
                  <a:pt x="1415" y="498"/>
                </a:lnTo>
                <a:lnTo>
                  <a:pt x="1415" y="497"/>
                </a:lnTo>
                <a:lnTo>
                  <a:pt x="1414" y="497"/>
                </a:lnTo>
                <a:lnTo>
                  <a:pt x="1415" y="497"/>
                </a:lnTo>
                <a:lnTo>
                  <a:pt x="1415" y="496"/>
                </a:lnTo>
                <a:lnTo>
                  <a:pt x="1415" y="497"/>
                </a:lnTo>
                <a:lnTo>
                  <a:pt x="1416" y="497"/>
                </a:lnTo>
                <a:lnTo>
                  <a:pt x="1416" y="496"/>
                </a:lnTo>
                <a:lnTo>
                  <a:pt x="1416" y="495"/>
                </a:lnTo>
                <a:lnTo>
                  <a:pt x="1417" y="495"/>
                </a:lnTo>
                <a:lnTo>
                  <a:pt x="1417" y="494"/>
                </a:lnTo>
                <a:lnTo>
                  <a:pt x="1416" y="494"/>
                </a:lnTo>
                <a:lnTo>
                  <a:pt x="1415" y="494"/>
                </a:lnTo>
                <a:lnTo>
                  <a:pt x="1415" y="495"/>
                </a:lnTo>
                <a:lnTo>
                  <a:pt x="1414" y="495"/>
                </a:lnTo>
                <a:lnTo>
                  <a:pt x="1414" y="494"/>
                </a:lnTo>
                <a:lnTo>
                  <a:pt x="1415" y="494"/>
                </a:lnTo>
                <a:lnTo>
                  <a:pt x="1414" y="494"/>
                </a:lnTo>
                <a:lnTo>
                  <a:pt x="1415" y="494"/>
                </a:lnTo>
                <a:lnTo>
                  <a:pt x="1414" y="494"/>
                </a:lnTo>
                <a:lnTo>
                  <a:pt x="1415" y="494"/>
                </a:lnTo>
                <a:lnTo>
                  <a:pt x="1415" y="492"/>
                </a:lnTo>
                <a:lnTo>
                  <a:pt x="1416" y="492"/>
                </a:lnTo>
                <a:lnTo>
                  <a:pt x="1417" y="491"/>
                </a:lnTo>
                <a:lnTo>
                  <a:pt x="1416" y="491"/>
                </a:lnTo>
                <a:lnTo>
                  <a:pt x="1416" y="492"/>
                </a:lnTo>
                <a:lnTo>
                  <a:pt x="1415" y="492"/>
                </a:lnTo>
                <a:lnTo>
                  <a:pt x="1416" y="491"/>
                </a:lnTo>
                <a:lnTo>
                  <a:pt x="1415" y="491"/>
                </a:lnTo>
                <a:lnTo>
                  <a:pt x="1414" y="491"/>
                </a:lnTo>
                <a:lnTo>
                  <a:pt x="1415" y="490"/>
                </a:lnTo>
                <a:lnTo>
                  <a:pt x="1416" y="490"/>
                </a:lnTo>
                <a:lnTo>
                  <a:pt x="1415" y="489"/>
                </a:lnTo>
                <a:lnTo>
                  <a:pt x="1416" y="489"/>
                </a:lnTo>
                <a:lnTo>
                  <a:pt x="1416" y="488"/>
                </a:lnTo>
                <a:lnTo>
                  <a:pt x="1417" y="488"/>
                </a:lnTo>
                <a:lnTo>
                  <a:pt x="1417" y="487"/>
                </a:lnTo>
                <a:lnTo>
                  <a:pt x="1416" y="487"/>
                </a:lnTo>
                <a:lnTo>
                  <a:pt x="1416" y="488"/>
                </a:lnTo>
                <a:lnTo>
                  <a:pt x="1415" y="488"/>
                </a:lnTo>
                <a:lnTo>
                  <a:pt x="1415" y="489"/>
                </a:lnTo>
                <a:lnTo>
                  <a:pt x="1415" y="490"/>
                </a:lnTo>
                <a:lnTo>
                  <a:pt x="1415" y="489"/>
                </a:lnTo>
                <a:lnTo>
                  <a:pt x="1415" y="488"/>
                </a:lnTo>
                <a:lnTo>
                  <a:pt x="1414" y="488"/>
                </a:lnTo>
                <a:lnTo>
                  <a:pt x="1414" y="489"/>
                </a:lnTo>
                <a:lnTo>
                  <a:pt x="1414" y="490"/>
                </a:lnTo>
                <a:lnTo>
                  <a:pt x="1413" y="489"/>
                </a:lnTo>
                <a:lnTo>
                  <a:pt x="1413" y="488"/>
                </a:lnTo>
                <a:lnTo>
                  <a:pt x="1411" y="488"/>
                </a:lnTo>
                <a:lnTo>
                  <a:pt x="1411" y="489"/>
                </a:lnTo>
                <a:lnTo>
                  <a:pt x="1411" y="488"/>
                </a:lnTo>
                <a:lnTo>
                  <a:pt x="1411" y="487"/>
                </a:lnTo>
                <a:lnTo>
                  <a:pt x="1411" y="485"/>
                </a:lnTo>
                <a:lnTo>
                  <a:pt x="1411" y="487"/>
                </a:lnTo>
                <a:lnTo>
                  <a:pt x="1411" y="485"/>
                </a:lnTo>
                <a:lnTo>
                  <a:pt x="1413" y="485"/>
                </a:lnTo>
                <a:lnTo>
                  <a:pt x="1413" y="484"/>
                </a:lnTo>
                <a:lnTo>
                  <a:pt x="1414" y="484"/>
                </a:lnTo>
                <a:lnTo>
                  <a:pt x="1413" y="484"/>
                </a:lnTo>
                <a:lnTo>
                  <a:pt x="1411" y="484"/>
                </a:lnTo>
                <a:lnTo>
                  <a:pt x="1413" y="484"/>
                </a:lnTo>
                <a:lnTo>
                  <a:pt x="1413" y="483"/>
                </a:lnTo>
                <a:lnTo>
                  <a:pt x="1413" y="484"/>
                </a:lnTo>
                <a:lnTo>
                  <a:pt x="1413" y="483"/>
                </a:lnTo>
                <a:lnTo>
                  <a:pt x="1414" y="483"/>
                </a:lnTo>
                <a:lnTo>
                  <a:pt x="1414" y="484"/>
                </a:lnTo>
                <a:lnTo>
                  <a:pt x="1415" y="484"/>
                </a:lnTo>
                <a:lnTo>
                  <a:pt x="1416" y="484"/>
                </a:lnTo>
                <a:lnTo>
                  <a:pt x="1416" y="483"/>
                </a:lnTo>
                <a:lnTo>
                  <a:pt x="1416" y="484"/>
                </a:lnTo>
                <a:lnTo>
                  <a:pt x="1415" y="484"/>
                </a:lnTo>
                <a:lnTo>
                  <a:pt x="1415" y="483"/>
                </a:lnTo>
                <a:lnTo>
                  <a:pt x="1414" y="483"/>
                </a:lnTo>
                <a:lnTo>
                  <a:pt x="1415" y="483"/>
                </a:lnTo>
                <a:lnTo>
                  <a:pt x="1414" y="483"/>
                </a:lnTo>
                <a:lnTo>
                  <a:pt x="1414" y="482"/>
                </a:lnTo>
                <a:lnTo>
                  <a:pt x="1414" y="483"/>
                </a:lnTo>
                <a:lnTo>
                  <a:pt x="1413" y="482"/>
                </a:lnTo>
                <a:lnTo>
                  <a:pt x="1414" y="482"/>
                </a:lnTo>
                <a:lnTo>
                  <a:pt x="1413" y="482"/>
                </a:lnTo>
                <a:lnTo>
                  <a:pt x="1413" y="481"/>
                </a:lnTo>
                <a:lnTo>
                  <a:pt x="1413" y="482"/>
                </a:lnTo>
                <a:lnTo>
                  <a:pt x="1411" y="482"/>
                </a:lnTo>
                <a:lnTo>
                  <a:pt x="1411" y="483"/>
                </a:lnTo>
                <a:lnTo>
                  <a:pt x="1411" y="482"/>
                </a:lnTo>
                <a:lnTo>
                  <a:pt x="1413" y="482"/>
                </a:lnTo>
                <a:lnTo>
                  <a:pt x="1413" y="481"/>
                </a:lnTo>
                <a:lnTo>
                  <a:pt x="1414" y="480"/>
                </a:lnTo>
                <a:lnTo>
                  <a:pt x="1414" y="481"/>
                </a:lnTo>
                <a:lnTo>
                  <a:pt x="1414" y="482"/>
                </a:lnTo>
                <a:lnTo>
                  <a:pt x="1415" y="481"/>
                </a:lnTo>
                <a:lnTo>
                  <a:pt x="1414" y="481"/>
                </a:lnTo>
                <a:lnTo>
                  <a:pt x="1414" y="480"/>
                </a:lnTo>
                <a:lnTo>
                  <a:pt x="1415" y="480"/>
                </a:lnTo>
                <a:lnTo>
                  <a:pt x="1416" y="480"/>
                </a:lnTo>
                <a:lnTo>
                  <a:pt x="1415" y="480"/>
                </a:lnTo>
                <a:lnTo>
                  <a:pt x="1415" y="478"/>
                </a:lnTo>
                <a:lnTo>
                  <a:pt x="1415" y="480"/>
                </a:lnTo>
                <a:lnTo>
                  <a:pt x="1415" y="478"/>
                </a:lnTo>
                <a:lnTo>
                  <a:pt x="1414" y="478"/>
                </a:lnTo>
                <a:lnTo>
                  <a:pt x="1413" y="478"/>
                </a:lnTo>
                <a:lnTo>
                  <a:pt x="1413" y="480"/>
                </a:lnTo>
                <a:lnTo>
                  <a:pt x="1411" y="481"/>
                </a:lnTo>
                <a:lnTo>
                  <a:pt x="1413" y="480"/>
                </a:lnTo>
                <a:lnTo>
                  <a:pt x="1413" y="478"/>
                </a:lnTo>
                <a:lnTo>
                  <a:pt x="1414" y="477"/>
                </a:lnTo>
                <a:lnTo>
                  <a:pt x="1414" y="478"/>
                </a:lnTo>
                <a:lnTo>
                  <a:pt x="1415" y="478"/>
                </a:lnTo>
                <a:lnTo>
                  <a:pt x="1415" y="477"/>
                </a:lnTo>
                <a:lnTo>
                  <a:pt x="1416" y="477"/>
                </a:lnTo>
                <a:lnTo>
                  <a:pt x="1416" y="476"/>
                </a:lnTo>
                <a:lnTo>
                  <a:pt x="1417" y="476"/>
                </a:lnTo>
                <a:lnTo>
                  <a:pt x="1417" y="475"/>
                </a:lnTo>
                <a:lnTo>
                  <a:pt x="1417" y="476"/>
                </a:lnTo>
                <a:lnTo>
                  <a:pt x="1416" y="476"/>
                </a:lnTo>
                <a:lnTo>
                  <a:pt x="1416" y="475"/>
                </a:lnTo>
                <a:lnTo>
                  <a:pt x="1416" y="476"/>
                </a:lnTo>
                <a:lnTo>
                  <a:pt x="1415" y="476"/>
                </a:lnTo>
                <a:lnTo>
                  <a:pt x="1415" y="477"/>
                </a:lnTo>
                <a:lnTo>
                  <a:pt x="1415" y="476"/>
                </a:lnTo>
                <a:lnTo>
                  <a:pt x="1415" y="475"/>
                </a:lnTo>
                <a:lnTo>
                  <a:pt x="1416" y="474"/>
                </a:lnTo>
                <a:lnTo>
                  <a:pt x="1416" y="473"/>
                </a:lnTo>
                <a:lnTo>
                  <a:pt x="1417" y="473"/>
                </a:lnTo>
                <a:lnTo>
                  <a:pt x="1417" y="471"/>
                </a:lnTo>
                <a:lnTo>
                  <a:pt x="1418" y="471"/>
                </a:lnTo>
                <a:lnTo>
                  <a:pt x="1420" y="471"/>
                </a:lnTo>
                <a:lnTo>
                  <a:pt x="1421" y="471"/>
                </a:lnTo>
                <a:lnTo>
                  <a:pt x="1422" y="471"/>
                </a:lnTo>
                <a:lnTo>
                  <a:pt x="1421" y="471"/>
                </a:lnTo>
                <a:lnTo>
                  <a:pt x="1420" y="471"/>
                </a:lnTo>
                <a:lnTo>
                  <a:pt x="1418" y="471"/>
                </a:lnTo>
                <a:lnTo>
                  <a:pt x="1420" y="471"/>
                </a:lnTo>
                <a:lnTo>
                  <a:pt x="1420" y="470"/>
                </a:lnTo>
                <a:lnTo>
                  <a:pt x="1421" y="470"/>
                </a:lnTo>
                <a:lnTo>
                  <a:pt x="1422" y="470"/>
                </a:lnTo>
                <a:lnTo>
                  <a:pt x="1421" y="469"/>
                </a:lnTo>
                <a:lnTo>
                  <a:pt x="1422" y="469"/>
                </a:lnTo>
                <a:lnTo>
                  <a:pt x="1422" y="468"/>
                </a:lnTo>
                <a:lnTo>
                  <a:pt x="1422" y="469"/>
                </a:lnTo>
                <a:lnTo>
                  <a:pt x="1421" y="469"/>
                </a:lnTo>
                <a:lnTo>
                  <a:pt x="1421" y="470"/>
                </a:lnTo>
                <a:lnTo>
                  <a:pt x="1420" y="470"/>
                </a:lnTo>
                <a:lnTo>
                  <a:pt x="1421" y="469"/>
                </a:lnTo>
                <a:lnTo>
                  <a:pt x="1421" y="468"/>
                </a:lnTo>
                <a:lnTo>
                  <a:pt x="1421" y="469"/>
                </a:lnTo>
                <a:lnTo>
                  <a:pt x="1420" y="469"/>
                </a:lnTo>
                <a:lnTo>
                  <a:pt x="1418" y="469"/>
                </a:lnTo>
                <a:lnTo>
                  <a:pt x="1418" y="470"/>
                </a:lnTo>
                <a:lnTo>
                  <a:pt x="1418" y="471"/>
                </a:lnTo>
                <a:lnTo>
                  <a:pt x="1417" y="471"/>
                </a:lnTo>
                <a:lnTo>
                  <a:pt x="1416" y="471"/>
                </a:lnTo>
                <a:lnTo>
                  <a:pt x="1417" y="470"/>
                </a:lnTo>
                <a:lnTo>
                  <a:pt x="1416" y="470"/>
                </a:lnTo>
                <a:lnTo>
                  <a:pt x="1416" y="471"/>
                </a:lnTo>
                <a:lnTo>
                  <a:pt x="1416" y="473"/>
                </a:lnTo>
                <a:lnTo>
                  <a:pt x="1415" y="473"/>
                </a:lnTo>
                <a:lnTo>
                  <a:pt x="1415" y="471"/>
                </a:lnTo>
                <a:lnTo>
                  <a:pt x="1414" y="471"/>
                </a:lnTo>
                <a:lnTo>
                  <a:pt x="1415" y="471"/>
                </a:lnTo>
                <a:lnTo>
                  <a:pt x="1415" y="473"/>
                </a:lnTo>
                <a:lnTo>
                  <a:pt x="1414" y="473"/>
                </a:lnTo>
                <a:lnTo>
                  <a:pt x="1414" y="474"/>
                </a:lnTo>
                <a:lnTo>
                  <a:pt x="1414" y="473"/>
                </a:lnTo>
                <a:lnTo>
                  <a:pt x="1413" y="473"/>
                </a:lnTo>
                <a:lnTo>
                  <a:pt x="1413" y="474"/>
                </a:lnTo>
                <a:lnTo>
                  <a:pt x="1414" y="474"/>
                </a:lnTo>
                <a:lnTo>
                  <a:pt x="1413" y="475"/>
                </a:lnTo>
                <a:lnTo>
                  <a:pt x="1413" y="474"/>
                </a:lnTo>
                <a:lnTo>
                  <a:pt x="1413" y="475"/>
                </a:lnTo>
                <a:lnTo>
                  <a:pt x="1413" y="474"/>
                </a:lnTo>
                <a:lnTo>
                  <a:pt x="1411" y="474"/>
                </a:lnTo>
                <a:lnTo>
                  <a:pt x="1410" y="474"/>
                </a:lnTo>
                <a:lnTo>
                  <a:pt x="1411" y="474"/>
                </a:lnTo>
                <a:lnTo>
                  <a:pt x="1411" y="475"/>
                </a:lnTo>
                <a:lnTo>
                  <a:pt x="1413" y="475"/>
                </a:lnTo>
                <a:lnTo>
                  <a:pt x="1413" y="476"/>
                </a:lnTo>
                <a:lnTo>
                  <a:pt x="1411" y="476"/>
                </a:lnTo>
                <a:lnTo>
                  <a:pt x="1413" y="477"/>
                </a:lnTo>
                <a:lnTo>
                  <a:pt x="1411" y="477"/>
                </a:lnTo>
                <a:lnTo>
                  <a:pt x="1411" y="478"/>
                </a:lnTo>
                <a:lnTo>
                  <a:pt x="1411" y="477"/>
                </a:lnTo>
                <a:lnTo>
                  <a:pt x="1410" y="476"/>
                </a:lnTo>
                <a:lnTo>
                  <a:pt x="1410" y="477"/>
                </a:lnTo>
                <a:lnTo>
                  <a:pt x="1411" y="477"/>
                </a:lnTo>
                <a:lnTo>
                  <a:pt x="1411" y="478"/>
                </a:lnTo>
                <a:lnTo>
                  <a:pt x="1411" y="480"/>
                </a:lnTo>
                <a:lnTo>
                  <a:pt x="1410" y="478"/>
                </a:lnTo>
                <a:lnTo>
                  <a:pt x="1410" y="480"/>
                </a:lnTo>
                <a:lnTo>
                  <a:pt x="1410" y="481"/>
                </a:lnTo>
                <a:lnTo>
                  <a:pt x="1410" y="480"/>
                </a:lnTo>
                <a:lnTo>
                  <a:pt x="1410" y="481"/>
                </a:lnTo>
                <a:lnTo>
                  <a:pt x="1409" y="481"/>
                </a:lnTo>
                <a:lnTo>
                  <a:pt x="1409" y="482"/>
                </a:lnTo>
                <a:lnTo>
                  <a:pt x="1409" y="483"/>
                </a:lnTo>
                <a:lnTo>
                  <a:pt x="1409" y="484"/>
                </a:lnTo>
                <a:lnTo>
                  <a:pt x="1409" y="485"/>
                </a:lnTo>
                <a:lnTo>
                  <a:pt x="1409" y="487"/>
                </a:lnTo>
                <a:lnTo>
                  <a:pt x="1409" y="488"/>
                </a:lnTo>
                <a:lnTo>
                  <a:pt x="1409" y="489"/>
                </a:lnTo>
                <a:lnTo>
                  <a:pt x="1408" y="488"/>
                </a:lnTo>
                <a:lnTo>
                  <a:pt x="1408" y="487"/>
                </a:lnTo>
                <a:lnTo>
                  <a:pt x="1407" y="487"/>
                </a:lnTo>
                <a:lnTo>
                  <a:pt x="1407" y="485"/>
                </a:lnTo>
                <a:lnTo>
                  <a:pt x="1407" y="483"/>
                </a:lnTo>
                <a:lnTo>
                  <a:pt x="1407" y="484"/>
                </a:lnTo>
                <a:lnTo>
                  <a:pt x="1407" y="485"/>
                </a:lnTo>
                <a:lnTo>
                  <a:pt x="1407" y="487"/>
                </a:lnTo>
                <a:lnTo>
                  <a:pt x="1408" y="488"/>
                </a:lnTo>
                <a:lnTo>
                  <a:pt x="1408" y="489"/>
                </a:lnTo>
                <a:lnTo>
                  <a:pt x="1409" y="489"/>
                </a:lnTo>
                <a:lnTo>
                  <a:pt x="1409" y="490"/>
                </a:lnTo>
                <a:lnTo>
                  <a:pt x="1409" y="491"/>
                </a:lnTo>
                <a:lnTo>
                  <a:pt x="1409" y="492"/>
                </a:lnTo>
                <a:lnTo>
                  <a:pt x="1408" y="491"/>
                </a:lnTo>
                <a:lnTo>
                  <a:pt x="1408" y="490"/>
                </a:lnTo>
                <a:lnTo>
                  <a:pt x="1408" y="491"/>
                </a:lnTo>
                <a:lnTo>
                  <a:pt x="1407" y="491"/>
                </a:lnTo>
                <a:lnTo>
                  <a:pt x="1407" y="490"/>
                </a:lnTo>
                <a:lnTo>
                  <a:pt x="1406" y="490"/>
                </a:lnTo>
                <a:lnTo>
                  <a:pt x="1404" y="490"/>
                </a:lnTo>
                <a:lnTo>
                  <a:pt x="1403" y="490"/>
                </a:lnTo>
                <a:lnTo>
                  <a:pt x="1403" y="489"/>
                </a:lnTo>
                <a:lnTo>
                  <a:pt x="1403" y="488"/>
                </a:lnTo>
                <a:lnTo>
                  <a:pt x="1403" y="487"/>
                </a:lnTo>
                <a:lnTo>
                  <a:pt x="1403" y="488"/>
                </a:lnTo>
                <a:lnTo>
                  <a:pt x="1403" y="489"/>
                </a:lnTo>
                <a:lnTo>
                  <a:pt x="1402" y="489"/>
                </a:lnTo>
                <a:lnTo>
                  <a:pt x="1402" y="488"/>
                </a:lnTo>
                <a:lnTo>
                  <a:pt x="1402" y="487"/>
                </a:lnTo>
                <a:lnTo>
                  <a:pt x="1402" y="485"/>
                </a:lnTo>
                <a:lnTo>
                  <a:pt x="1402" y="487"/>
                </a:lnTo>
                <a:lnTo>
                  <a:pt x="1401" y="487"/>
                </a:lnTo>
                <a:lnTo>
                  <a:pt x="1400" y="487"/>
                </a:lnTo>
                <a:lnTo>
                  <a:pt x="1401" y="487"/>
                </a:lnTo>
                <a:lnTo>
                  <a:pt x="1400" y="487"/>
                </a:lnTo>
                <a:lnTo>
                  <a:pt x="1400" y="488"/>
                </a:lnTo>
                <a:lnTo>
                  <a:pt x="1399" y="488"/>
                </a:lnTo>
                <a:lnTo>
                  <a:pt x="1399" y="487"/>
                </a:lnTo>
                <a:lnTo>
                  <a:pt x="1399" y="485"/>
                </a:lnTo>
                <a:lnTo>
                  <a:pt x="1400" y="485"/>
                </a:lnTo>
                <a:lnTo>
                  <a:pt x="1400" y="484"/>
                </a:lnTo>
                <a:lnTo>
                  <a:pt x="1401" y="484"/>
                </a:lnTo>
                <a:lnTo>
                  <a:pt x="1400" y="484"/>
                </a:lnTo>
                <a:lnTo>
                  <a:pt x="1401" y="484"/>
                </a:lnTo>
                <a:lnTo>
                  <a:pt x="1401" y="483"/>
                </a:lnTo>
                <a:lnTo>
                  <a:pt x="1402" y="483"/>
                </a:lnTo>
                <a:lnTo>
                  <a:pt x="1402" y="482"/>
                </a:lnTo>
                <a:lnTo>
                  <a:pt x="1403" y="482"/>
                </a:lnTo>
                <a:lnTo>
                  <a:pt x="1403" y="481"/>
                </a:lnTo>
                <a:lnTo>
                  <a:pt x="1403" y="480"/>
                </a:lnTo>
                <a:lnTo>
                  <a:pt x="1403" y="481"/>
                </a:lnTo>
                <a:lnTo>
                  <a:pt x="1403" y="482"/>
                </a:lnTo>
                <a:lnTo>
                  <a:pt x="1402" y="482"/>
                </a:lnTo>
                <a:lnTo>
                  <a:pt x="1401" y="483"/>
                </a:lnTo>
                <a:lnTo>
                  <a:pt x="1400" y="483"/>
                </a:lnTo>
                <a:lnTo>
                  <a:pt x="1401" y="483"/>
                </a:lnTo>
                <a:lnTo>
                  <a:pt x="1400" y="483"/>
                </a:lnTo>
                <a:lnTo>
                  <a:pt x="1400" y="484"/>
                </a:lnTo>
                <a:lnTo>
                  <a:pt x="1399" y="484"/>
                </a:lnTo>
                <a:lnTo>
                  <a:pt x="1399" y="485"/>
                </a:lnTo>
                <a:lnTo>
                  <a:pt x="1398" y="487"/>
                </a:lnTo>
                <a:lnTo>
                  <a:pt x="1398" y="488"/>
                </a:lnTo>
                <a:lnTo>
                  <a:pt x="1399" y="488"/>
                </a:lnTo>
                <a:lnTo>
                  <a:pt x="1400" y="488"/>
                </a:lnTo>
                <a:lnTo>
                  <a:pt x="1401" y="488"/>
                </a:lnTo>
                <a:lnTo>
                  <a:pt x="1401" y="489"/>
                </a:lnTo>
                <a:lnTo>
                  <a:pt x="1402" y="489"/>
                </a:lnTo>
                <a:lnTo>
                  <a:pt x="1402" y="490"/>
                </a:lnTo>
                <a:lnTo>
                  <a:pt x="1401" y="490"/>
                </a:lnTo>
                <a:lnTo>
                  <a:pt x="1402" y="490"/>
                </a:lnTo>
                <a:lnTo>
                  <a:pt x="1403" y="491"/>
                </a:lnTo>
                <a:lnTo>
                  <a:pt x="1404" y="491"/>
                </a:lnTo>
                <a:lnTo>
                  <a:pt x="1406" y="491"/>
                </a:lnTo>
                <a:lnTo>
                  <a:pt x="1406" y="492"/>
                </a:lnTo>
                <a:lnTo>
                  <a:pt x="1407" y="492"/>
                </a:lnTo>
                <a:lnTo>
                  <a:pt x="1406" y="492"/>
                </a:lnTo>
                <a:lnTo>
                  <a:pt x="1406" y="494"/>
                </a:lnTo>
                <a:lnTo>
                  <a:pt x="1407" y="494"/>
                </a:lnTo>
                <a:lnTo>
                  <a:pt x="1408" y="494"/>
                </a:lnTo>
                <a:lnTo>
                  <a:pt x="1409" y="495"/>
                </a:lnTo>
                <a:lnTo>
                  <a:pt x="1409" y="496"/>
                </a:lnTo>
                <a:lnTo>
                  <a:pt x="1408" y="496"/>
                </a:lnTo>
                <a:lnTo>
                  <a:pt x="1408" y="497"/>
                </a:lnTo>
                <a:lnTo>
                  <a:pt x="1408" y="498"/>
                </a:lnTo>
                <a:lnTo>
                  <a:pt x="1407" y="498"/>
                </a:lnTo>
                <a:lnTo>
                  <a:pt x="1407" y="499"/>
                </a:lnTo>
                <a:lnTo>
                  <a:pt x="1406" y="499"/>
                </a:lnTo>
                <a:lnTo>
                  <a:pt x="1406" y="498"/>
                </a:lnTo>
                <a:lnTo>
                  <a:pt x="1404" y="498"/>
                </a:lnTo>
                <a:lnTo>
                  <a:pt x="1404" y="499"/>
                </a:lnTo>
                <a:lnTo>
                  <a:pt x="1404" y="498"/>
                </a:lnTo>
                <a:lnTo>
                  <a:pt x="1404" y="497"/>
                </a:lnTo>
                <a:lnTo>
                  <a:pt x="1404" y="496"/>
                </a:lnTo>
                <a:lnTo>
                  <a:pt x="1403" y="496"/>
                </a:lnTo>
                <a:lnTo>
                  <a:pt x="1402" y="495"/>
                </a:lnTo>
                <a:lnTo>
                  <a:pt x="1402" y="494"/>
                </a:lnTo>
                <a:lnTo>
                  <a:pt x="1401" y="494"/>
                </a:lnTo>
                <a:lnTo>
                  <a:pt x="1401" y="492"/>
                </a:lnTo>
                <a:lnTo>
                  <a:pt x="1401" y="491"/>
                </a:lnTo>
                <a:lnTo>
                  <a:pt x="1400" y="491"/>
                </a:lnTo>
                <a:lnTo>
                  <a:pt x="1399" y="490"/>
                </a:lnTo>
                <a:lnTo>
                  <a:pt x="1399" y="491"/>
                </a:lnTo>
                <a:lnTo>
                  <a:pt x="1400" y="491"/>
                </a:lnTo>
                <a:lnTo>
                  <a:pt x="1401" y="492"/>
                </a:lnTo>
                <a:lnTo>
                  <a:pt x="1401" y="494"/>
                </a:lnTo>
                <a:lnTo>
                  <a:pt x="1401" y="495"/>
                </a:lnTo>
                <a:lnTo>
                  <a:pt x="1402" y="495"/>
                </a:lnTo>
                <a:lnTo>
                  <a:pt x="1402" y="496"/>
                </a:lnTo>
                <a:lnTo>
                  <a:pt x="1402" y="497"/>
                </a:lnTo>
                <a:lnTo>
                  <a:pt x="1403" y="497"/>
                </a:lnTo>
                <a:lnTo>
                  <a:pt x="1403" y="498"/>
                </a:lnTo>
                <a:lnTo>
                  <a:pt x="1404" y="498"/>
                </a:lnTo>
                <a:lnTo>
                  <a:pt x="1404" y="499"/>
                </a:lnTo>
                <a:lnTo>
                  <a:pt x="1406" y="499"/>
                </a:lnTo>
                <a:lnTo>
                  <a:pt x="1407" y="499"/>
                </a:lnTo>
                <a:lnTo>
                  <a:pt x="1407" y="501"/>
                </a:lnTo>
                <a:lnTo>
                  <a:pt x="1406" y="501"/>
                </a:lnTo>
                <a:lnTo>
                  <a:pt x="1407" y="502"/>
                </a:lnTo>
                <a:lnTo>
                  <a:pt x="1407" y="501"/>
                </a:lnTo>
                <a:lnTo>
                  <a:pt x="1407" y="502"/>
                </a:lnTo>
                <a:lnTo>
                  <a:pt x="1407" y="503"/>
                </a:lnTo>
                <a:lnTo>
                  <a:pt x="1407" y="504"/>
                </a:lnTo>
                <a:lnTo>
                  <a:pt x="1406" y="504"/>
                </a:lnTo>
                <a:lnTo>
                  <a:pt x="1406" y="503"/>
                </a:lnTo>
                <a:lnTo>
                  <a:pt x="1404" y="502"/>
                </a:lnTo>
                <a:lnTo>
                  <a:pt x="1404" y="503"/>
                </a:lnTo>
                <a:lnTo>
                  <a:pt x="1404" y="504"/>
                </a:lnTo>
                <a:lnTo>
                  <a:pt x="1404" y="505"/>
                </a:lnTo>
                <a:lnTo>
                  <a:pt x="1403" y="505"/>
                </a:lnTo>
                <a:lnTo>
                  <a:pt x="1402" y="504"/>
                </a:lnTo>
                <a:lnTo>
                  <a:pt x="1402" y="503"/>
                </a:lnTo>
                <a:lnTo>
                  <a:pt x="1401" y="503"/>
                </a:lnTo>
                <a:lnTo>
                  <a:pt x="1401" y="502"/>
                </a:lnTo>
                <a:lnTo>
                  <a:pt x="1401" y="501"/>
                </a:lnTo>
                <a:lnTo>
                  <a:pt x="1400" y="501"/>
                </a:lnTo>
                <a:lnTo>
                  <a:pt x="1400" y="502"/>
                </a:lnTo>
                <a:lnTo>
                  <a:pt x="1401" y="502"/>
                </a:lnTo>
                <a:lnTo>
                  <a:pt x="1401" y="503"/>
                </a:lnTo>
                <a:lnTo>
                  <a:pt x="1402" y="504"/>
                </a:lnTo>
                <a:lnTo>
                  <a:pt x="1402" y="505"/>
                </a:lnTo>
                <a:lnTo>
                  <a:pt x="1403" y="505"/>
                </a:lnTo>
                <a:lnTo>
                  <a:pt x="1403" y="506"/>
                </a:lnTo>
                <a:lnTo>
                  <a:pt x="1403" y="505"/>
                </a:lnTo>
                <a:lnTo>
                  <a:pt x="1404" y="505"/>
                </a:lnTo>
                <a:lnTo>
                  <a:pt x="1404" y="506"/>
                </a:lnTo>
                <a:lnTo>
                  <a:pt x="1406" y="506"/>
                </a:lnTo>
                <a:lnTo>
                  <a:pt x="1406" y="508"/>
                </a:lnTo>
                <a:lnTo>
                  <a:pt x="1404" y="508"/>
                </a:lnTo>
                <a:lnTo>
                  <a:pt x="1406" y="508"/>
                </a:lnTo>
                <a:lnTo>
                  <a:pt x="1404" y="509"/>
                </a:lnTo>
                <a:lnTo>
                  <a:pt x="1403" y="509"/>
                </a:lnTo>
                <a:lnTo>
                  <a:pt x="1403" y="510"/>
                </a:lnTo>
                <a:lnTo>
                  <a:pt x="1402" y="510"/>
                </a:lnTo>
                <a:lnTo>
                  <a:pt x="1403" y="509"/>
                </a:lnTo>
                <a:lnTo>
                  <a:pt x="1402" y="509"/>
                </a:lnTo>
                <a:lnTo>
                  <a:pt x="1402" y="508"/>
                </a:lnTo>
                <a:lnTo>
                  <a:pt x="1401" y="508"/>
                </a:lnTo>
                <a:lnTo>
                  <a:pt x="1401" y="506"/>
                </a:lnTo>
                <a:lnTo>
                  <a:pt x="1401" y="505"/>
                </a:lnTo>
                <a:lnTo>
                  <a:pt x="1400" y="505"/>
                </a:lnTo>
                <a:lnTo>
                  <a:pt x="1400" y="506"/>
                </a:lnTo>
                <a:lnTo>
                  <a:pt x="1400" y="505"/>
                </a:lnTo>
                <a:lnTo>
                  <a:pt x="1399" y="505"/>
                </a:lnTo>
                <a:lnTo>
                  <a:pt x="1399" y="504"/>
                </a:lnTo>
                <a:lnTo>
                  <a:pt x="1399" y="505"/>
                </a:lnTo>
                <a:lnTo>
                  <a:pt x="1398" y="505"/>
                </a:lnTo>
                <a:lnTo>
                  <a:pt x="1398" y="504"/>
                </a:lnTo>
                <a:lnTo>
                  <a:pt x="1396" y="504"/>
                </a:lnTo>
                <a:lnTo>
                  <a:pt x="1396" y="505"/>
                </a:lnTo>
                <a:lnTo>
                  <a:pt x="1396" y="504"/>
                </a:lnTo>
                <a:lnTo>
                  <a:pt x="1395" y="504"/>
                </a:lnTo>
                <a:lnTo>
                  <a:pt x="1394" y="504"/>
                </a:lnTo>
                <a:lnTo>
                  <a:pt x="1393" y="504"/>
                </a:lnTo>
                <a:lnTo>
                  <a:pt x="1394" y="504"/>
                </a:lnTo>
                <a:lnTo>
                  <a:pt x="1395" y="504"/>
                </a:lnTo>
                <a:lnTo>
                  <a:pt x="1395" y="505"/>
                </a:lnTo>
                <a:lnTo>
                  <a:pt x="1396" y="505"/>
                </a:lnTo>
                <a:lnTo>
                  <a:pt x="1396" y="504"/>
                </a:lnTo>
                <a:lnTo>
                  <a:pt x="1396" y="505"/>
                </a:lnTo>
                <a:lnTo>
                  <a:pt x="1398" y="505"/>
                </a:lnTo>
                <a:lnTo>
                  <a:pt x="1398" y="506"/>
                </a:lnTo>
                <a:lnTo>
                  <a:pt x="1399" y="506"/>
                </a:lnTo>
                <a:lnTo>
                  <a:pt x="1400" y="506"/>
                </a:lnTo>
                <a:lnTo>
                  <a:pt x="1401" y="506"/>
                </a:lnTo>
                <a:lnTo>
                  <a:pt x="1400" y="506"/>
                </a:lnTo>
                <a:lnTo>
                  <a:pt x="1400" y="508"/>
                </a:lnTo>
                <a:lnTo>
                  <a:pt x="1400" y="509"/>
                </a:lnTo>
                <a:lnTo>
                  <a:pt x="1401" y="509"/>
                </a:lnTo>
                <a:lnTo>
                  <a:pt x="1401" y="510"/>
                </a:lnTo>
                <a:lnTo>
                  <a:pt x="1402" y="510"/>
                </a:lnTo>
                <a:lnTo>
                  <a:pt x="1402" y="511"/>
                </a:lnTo>
                <a:lnTo>
                  <a:pt x="1401" y="511"/>
                </a:lnTo>
                <a:lnTo>
                  <a:pt x="1402" y="511"/>
                </a:lnTo>
                <a:lnTo>
                  <a:pt x="1403" y="511"/>
                </a:lnTo>
                <a:lnTo>
                  <a:pt x="1404" y="511"/>
                </a:lnTo>
                <a:lnTo>
                  <a:pt x="1403" y="511"/>
                </a:lnTo>
                <a:lnTo>
                  <a:pt x="1404" y="511"/>
                </a:lnTo>
                <a:lnTo>
                  <a:pt x="1403" y="510"/>
                </a:lnTo>
                <a:lnTo>
                  <a:pt x="1404" y="510"/>
                </a:lnTo>
                <a:lnTo>
                  <a:pt x="1406" y="510"/>
                </a:lnTo>
                <a:lnTo>
                  <a:pt x="1407" y="511"/>
                </a:lnTo>
                <a:lnTo>
                  <a:pt x="1408" y="510"/>
                </a:lnTo>
                <a:lnTo>
                  <a:pt x="1408" y="511"/>
                </a:lnTo>
                <a:lnTo>
                  <a:pt x="1408" y="512"/>
                </a:lnTo>
                <a:lnTo>
                  <a:pt x="1408" y="516"/>
                </a:lnTo>
                <a:lnTo>
                  <a:pt x="1408" y="517"/>
                </a:lnTo>
                <a:lnTo>
                  <a:pt x="1408" y="519"/>
                </a:lnTo>
                <a:lnTo>
                  <a:pt x="1408" y="520"/>
                </a:lnTo>
                <a:lnTo>
                  <a:pt x="1408" y="522"/>
                </a:lnTo>
                <a:lnTo>
                  <a:pt x="1408" y="523"/>
                </a:lnTo>
                <a:lnTo>
                  <a:pt x="1409" y="526"/>
                </a:lnTo>
                <a:lnTo>
                  <a:pt x="1409" y="527"/>
                </a:lnTo>
                <a:lnTo>
                  <a:pt x="1409" y="529"/>
                </a:lnTo>
                <a:lnTo>
                  <a:pt x="1409" y="527"/>
                </a:lnTo>
                <a:lnTo>
                  <a:pt x="1409" y="526"/>
                </a:lnTo>
                <a:lnTo>
                  <a:pt x="1408" y="525"/>
                </a:lnTo>
                <a:lnTo>
                  <a:pt x="1408" y="524"/>
                </a:lnTo>
                <a:lnTo>
                  <a:pt x="1408" y="523"/>
                </a:lnTo>
                <a:lnTo>
                  <a:pt x="1408" y="522"/>
                </a:lnTo>
                <a:lnTo>
                  <a:pt x="1408" y="520"/>
                </a:lnTo>
                <a:lnTo>
                  <a:pt x="1408" y="519"/>
                </a:lnTo>
                <a:lnTo>
                  <a:pt x="1408" y="518"/>
                </a:lnTo>
                <a:lnTo>
                  <a:pt x="1408" y="517"/>
                </a:lnTo>
                <a:lnTo>
                  <a:pt x="1408" y="516"/>
                </a:lnTo>
                <a:lnTo>
                  <a:pt x="1408" y="515"/>
                </a:lnTo>
                <a:lnTo>
                  <a:pt x="1408" y="513"/>
                </a:lnTo>
                <a:lnTo>
                  <a:pt x="1407" y="516"/>
                </a:lnTo>
                <a:lnTo>
                  <a:pt x="1407" y="517"/>
                </a:lnTo>
                <a:lnTo>
                  <a:pt x="1407" y="516"/>
                </a:lnTo>
                <a:lnTo>
                  <a:pt x="1408" y="516"/>
                </a:lnTo>
                <a:lnTo>
                  <a:pt x="1408" y="517"/>
                </a:lnTo>
                <a:lnTo>
                  <a:pt x="1407" y="517"/>
                </a:lnTo>
                <a:lnTo>
                  <a:pt x="1407" y="516"/>
                </a:lnTo>
                <a:lnTo>
                  <a:pt x="1406" y="516"/>
                </a:lnTo>
                <a:lnTo>
                  <a:pt x="1406" y="517"/>
                </a:lnTo>
                <a:lnTo>
                  <a:pt x="1406" y="518"/>
                </a:lnTo>
                <a:lnTo>
                  <a:pt x="1407" y="518"/>
                </a:lnTo>
                <a:lnTo>
                  <a:pt x="1406" y="518"/>
                </a:lnTo>
                <a:lnTo>
                  <a:pt x="1406" y="519"/>
                </a:lnTo>
                <a:lnTo>
                  <a:pt x="1407" y="519"/>
                </a:lnTo>
                <a:lnTo>
                  <a:pt x="1407" y="518"/>
                </a:lnTo>
                <a:lnTo>
                  <a:pt x="1407" y="519"/>
                </a:lnTo>
                <a:lnTo>
                  <a:pt x="1407" y="520"/>
                </a:lnTo>
                <a:lnTo>
                  <a:pt x="1407" y="523"/>
                </a:lnTo>
                <a:lnTo>
                  <a:pt x="1407" y="524"/>
                </a:lnTo>
                <a:lnTo>
                  <a:pt x="1407" y="523"/>
                </a:lnTo>
                <a:lnTo>
                  <a:pt x="1407" y="522"/>
                </a:lnTo>
                <a:lnTo>
                  <a:pt x="1406" y="520"/>
                </a:lnTo>
                <a:lnTo>
                  <a:pt x="1406" y="522"/>
                </a:lnTo>
                <a:lnTo>
                  <a:pt x="1406" y="523"/>
                </a:lnTo>
                <a:lnTo>
                  <a:pt x="1406" y="522"/>
                </a:lnTo>
                <a:lnTo>
                  <a:pt x="1404" y="522"/>
                </a:lnTo>
                <a:lnTo>
                  <a:pt x="1403" y="520"/>
                </a:lnTo>
                <a:lnTo>
                  <a:pt x="1402" y="520"/>
                </a:lnTo>
                <a:lnTo>
                  <a:pt x="1403" y="520"/>
                </a:lnTo>
                <a:lnTo>
                  <a:pt x="1403" y="522"/>
                </a:lnTo>
                <a:lnTo>
                  <a:pt x="1403" y="523"/>
                </a:lnTo>
                <a:lnTo>
                  <a:pt x="1404" y="523"/>
                </a:lnTo>
                <a:lnTo>
                  <a:pt x="1403" y="523"/>
                </a:lnTo>
                <a:lnTo>
                  <a:pt x="1402" y="523"/>
                </a:lnTo>
                <a:lnTo>
                  <a:pt x="1402" y="522"/>
                </a:lnTo>
                <a:lnTo>
                  <a:pt x="1401" y="522"/>
                </a:lnTo>
                <a:lnTo>
                  <a:pt x="1401" y="523"/>
                </a:lnTo>
                <a:lnTo>
                  <a:pt x="1402" y="523"/>
                </a:lnTo>
                <a:lnTo>
                  <a:pt x="1402" y="524"/>
                </a:lnTo>
                <a:lnTo>
                  <a:pt x="1401" y="524"/>
                </a:lnTo>
                <a:lnTo>
                  <a:pt x="1400" y="523"/>
                </a:lnTo>
                <a:lnTo>
                  <a:pt x="1400" y="522"/>
                </a:lnTo>
                <a:lnTo>
                  <a:pt x="1399" y="522"/>
                </a:lnTo>
                <a:lnTo>
                  <a:pt x="1399" y="523"/>
                </a:lnTo>
                <a:lnTo>
                  <a:pt x="1400" y="523"/>
                </a:lnTo>
                <a:lnTo>
                  <a:pt x="1401" y="524"/>
                </a:lnTo>
                <a:lnTo>
                  <a:pt x="1399" y="524"/>
                </a:lnTo>
                <a:lnTo>
                  <a:pt x="1399" y="525"/>
                </a:lnTo>
                <a:lnTo>
                  <a:pt x="1398" y="525"/>
                </a:lnTo>
                <a:lnTo>
                  <a:pt x="1396" y="525"/>
                </a:lnTo>
                <a:lnTo>
                  <a:pt x="1396" y="524"/>
                </a:lnTo>
                <a:lnTo>
                  <a:pt x="1395" y="524"/>
                </a:lnTo>
                <a:lnTo>
                  <a:pt x="1395" y="523"/>
                </a:lnTo>
                <a:lnTo>
                  <a:pt x="1395" y="522"/>
                </a:lnTo>
                <a:lnTo>
                  <a:pt x="1396" y="522"/>
                </a:lnTo>
                <a:lnTo>
                  <a:pt x="1396" y="520"/>
                </a:lnTo>
                <a:lnTo>
                  <a:pt x="1395" y="522"/>
                </a:lnTo>
                <a:lnTo>
                  <a:pt x="1395" y="523"/>
                </a:lnTo>
                <a:lnTo>
                  <a:pt x="1395" y="524"/>
                </a:lnTo>
                <a:lnTo>
                  <a:pt x="1395" y="525"/>
                </a:lnTo>
                <a:lnTo>
                  <a:pt x="1394" y="526"/>
                </a:lnTo>
                <a:lnTo>
                  <a:pt x="1396" y="526"/>
                </a:lnTo>
                <a:lnTo>
                  <a:pt x="1398" y="526"/>
                </a:lnTo>
                <a:lnTo>
                  <a:pt x="1398" y="525"/>
                </a:lnTo>
                <a:lnTo>
                  <a:pt x="1399" y="525"/>
                </a:lnTo>
                <a:lnTo>
                  <a:pt x="1399" y="526"/>
                </a:lnTo>
                <a:lnTo>
                  <a:pt x="1400" y="526"/>
                </a:lnTo>
                <a:lnTo>
                  <a:pt x="1400" y="525"/>
                </a:lnTo>
                <a:lnTo>
                  <a:pt x="1401" y="525"/>
                </a:lnTo>
                <a:lnTo>
                  <a:pt x="1403" y="525"/>
                </a:lnTo>
                <a:lnTo>
                  <a:pt x="1403" y="526"/>
                </a:lnTo>
                <a:lnTo>
                  <a:pt x="1403" y="525"/>
                </a:lnTo>
                <a:lnTo>
                  <a:pt x="1403" y="526"/>
                </a:lnTo>
                <a:lnTo>
                  <a:pt x="1403" y="527"/>
                </a:lnTo>
                <a:lnTo>
                  <a:pt x="1402" y="527"/>
                </a:lnTo>
                <a:lnTo>
                  <a:pt x="1402" y="529"/>
                </a:lnTo>
                <a:lnTo>
                  <a:pt x="1402" y="530"/>
                </a:lnTo>
                <a:lnTo>
                  <a:pt x="1401" y="530"/>
                </a:lnTo>
                <a:lnTo>
                  <a:pt x="1402" y="530"/>
                </a:lnTo>
                <a:lnTo>
                  <a:pt x="1402" y="531"/>
                </a:lnTo>
                <a:lnTo>
                  <a:pt x="1403" y="530"/>
                </a:lnTo>
                <a:lnTo>
                  <a:pt x="1403" y="529"/>
                </a:lnTo>
                <a:lnTo>
                  <a:pt x="1403" y="526"/>
                </a:lnTo>
                <a:lnTo>
                  <a:pt x="1404" y="526"/>
                </a:lnTo>
                <a:lnTo>
                  <a:pt x="1406" y="527"/>
                </a:lnTo>
                <a:lnTo>
                  <a:pt x="1406" y="526"/>
                </a:lnTo>
                <a:lnTo>
                  <a:pt x="1404" y="526"/>
                </a:lnTo>
                <a:lnTo>
                  <a:pt x="1406" y="526"/>
                </a:lnTo>
                <a:lnTo>
                  <a:pt x="1406" y="525"/>
                </a:lnTo>
                <a:lnTo>
                  <a:pt x="1407" y="525"/>
                </a:lnTo>
                <a:lnTo>
                  <a:pt x="1407" y="526"/>
                </a:lnTo>
                <a:lnTo>
                  <a:pt x="1407" y="527"/>
                </a:lnTo>
                <a:lnTo>
                  <a:pt x="1407" y="529"/>
                </a:lnTo>
                <a:lnTo>
                  <a:pt x="1407" y="530"/>
                </a:lnTo>
                <a:lnTo>
                  <a:pt x="1406" y="530"/>
                </a:lnTo>
                <a:lnTo>
                  <a:pt x="1406" y="531"/>
                </a:lnTo>
                <a:lnTo>
                  <a:pt x="1406" y="532"/>
                </a:lnTo>
                <a:lnTo>
                  <a:pt x="1404" y="532"/>
                </a:lnTo>
                <a:lnTo>
                  <a:pt x="1404" y="531"/>
                </a:lnTo>
                <a:lnTo>
                  <a:pt x="1404" y="532"/>
                </a:lnTo>
                <a:lnTo>
                  <a:pt x="1404" y="531"/>
                </a:lnTo>
                <a:lnTo>
                  <a:pt x="1403" y="531"/>
                </a:lnTo>
                <a:lnTo>
                  <a:pt x="1403" y="532"/>
                </a:lnTo>
                <a:lnTo>
                  <a:pt x="1402" y="532"/>
                </a:lnTo>
                <a:lnTo>
                  <a:pt x="1402" y="533"/>
                </a:lnTo>
                <a:lnTo>
                  <a:pt x="1401" y="533"/>
                </a:lnTo>
                <a:lnTo>
                  <a:pt x="1401" y="534"/>
                </a:lnTo>
                <a:lnTo>
                  <a:pt x="1401" y="533"/>
                </a:lnTo>
                <a:lnTo>
                  <a:pt x="1401" y="534"/>
                </a:lnTo>
                <a:lnTo>
                  <a:pt x="1400" y="534"/>
                </a:lnTo>
                <a:lnTo>
                  <a:pt x="1400" y="536"/>
                </a:lnTo>
                <a:lnTo>
                  <a:pt x="1399" y="536"/>
                </a:lnTo>
                <a:lnTo>
                  <a:pt x="1399" y="534"/>
                </a:lnTo>
                <a:lnTo>
                  <a:pt x="1398" y="534"/>
                </a:lnTo>
                <a:lnTo>
                  <a:pt x="1398" y="536"/>
                </a:lnTo>
                <a:lnTo>
                  <a:pt x="1398" y="534"/>
                </a:lnTo>
                <a:lnTo>
                  <a:pt x="1396" y="534"/>
                </a:lnTo>
                <a:lnTo>
                  <a:pt x="1396" y="536"/>
                </a:lnTo>
                <a:lnTo>
                  <a:pt x="1396" y="534"/>
                </a:lnTo>
                <a:lnTo>
                  <a:pt x="1396" y="533"/>
                </a:lnTo>
                <a:lnTo>
                  <a:pt x="1396" y="534"/>
                </a:lnTo>
                <a:lnTo>
                  <a:pt x="1395" y="534"/>
                </a:lnTo>
                <a:lnTo>
                  <a:pt x="1395" y="533"/>
                </a:lnTo>
                <a:lnTo>
                  <a:pt x="1394" y="533"/>
                </a:lnTo>
                <a:lnTo>
                  <a:pt x="1395" y="533"/>
                </a:lnTo>
                <a:lnTo>
                  <a:pt x="1394" y="533"/>
                </a:lnTo>
                <a:lnTo>
                  <a:pt x="1395" y="533"/>
                </a:lnTo>
                <a:lnTo>
                  <a:pt x="1396" y="533"/>
                </a:lnTo>
                <a:lnTo>
                  <a:pt x="1396" y="532"/>
                </a:lnTo>
                <a:lnTo>
                  <a:pt x="1395" y="532"/>
                </a:lnTo>
                <a:lnTo>
                  <a:pt x="1394" y="532"/>
                </a:lnTo>
                <a:lnTo>
                  <a:pt x="1394" y="533"/>
                </a:lnTo>
                <a:lnTo>
                  <a:pt x="1394" y="534"/>
                </a:lnTo>
                <a:lnTo>
                  <a:pt x="1393" y="534"/>
                </a:lnTo>
                <a:lnTo>
                  <a:pt x="1392" y="534"/>
                </a:lnTo>
                <a:lnTo>
                  <a:pt x="1392" y="533"/>
                </a:lnTo>
                <a:lnTo>
                  <a:pt x="1391" y="533"/>
                </a:lnTo>
                <a:lnTo>
                  <a:pt x="1389" y="533"/>
                </a:lnTo>
                <a:lnTo>
                  <a:pt x="1388" y="533"/>
                </a:lnTo>
                <a:lnTo>
                  <a:pt x="1388" y="532"/>
                </a:lnTo>
                <a:lnTo>
                  <a:pt x="1388" y="533"/>
                </a:lnTo>
                <a:lnTo>
                  <a:pt x="1389" y="533"/>
                </a:lnTo>
                <a:lnTo>
                  <a:pt x="1389" y="534"/>
                </a:lnTo>
                <a:lnTo>
                  <a:pt x="1389" y="533"/>
                </a:lnTo>
                <a:lnTo>
                  <a:pt x="1391" y="534"/>
                </a:lnTo>
                <a:lnTo>
                  <a:pt x="1392" y="534"/>
                </a:lnTo>
                <a:lnTo>
                  <a:pt x="1393" y="536"/>
                </a:lnTo>
                <a:lnTo>
                  <a:pt x="1394" y="536"/>
                </a:lnTo>
                <a:lnTo>
                  <a:pt x="1395" y="536"/>
                </a:lnTo>
                <a:lnTo>
                  <a:pt x="1395" y="537"/>
                </a:lnTo>
                <a:lnTo>
                  <a:pt x="1394" y="537"/>
                </a:lnTo>
                <a:lnTo>
                  <a:pt x="1394" y="538"/>
                </a:lnTo>
                <a:lnTo>
                  <a:pt x="1393" y="538"/>
                </a:lnTo>
                <a:lnTo>
                  <a:pt x="1392" y="538"/>
                </a:lnTo>
                <a:lnTo>
                  <a:pt x="1393" y="538"/>
                </a:lnTo>
                <a:lnTo>
                  <a:pt x="1393" y="539"/>
                </a:lnTo>
                <a:lnTo>
                  <a:pt x="1392" y="540"/>
                </a:lnTo>
                <a:lnTo>
                  <a:pt x="1391" y="540"/>
                </a:lnTo>
                <a:lnTo>
                  <a:pt x="1389" y="541"/>
                </a:lnTo>
                <a:lnTo>
                  <a:pt x="1388" y="540"/>
                </a:lnTo>
                <a:lnTo>
                  <a:pt x="1388" y="539"/>
                </a:lnTo>
                <a:lnTo>
                  <a:pt x="1387" y="539"/>
                </a:lnTo>
                <a:lnTo>
                  <a:pt x="1386" y="538"/>
                </a:lnTo>
                <a:lnTo>
                  <a:pt x="1387" y="539"/>
                </a:lnTo>
                <a:lnTo>
                  <a:pt x="1387" y="540"/>
                </a:lnTo>
                <a:lnTo>
                  <a:pt x="1387" y="541"/>
                </a:lnTo>
                <a:lnTo>
                  <a:pt x="1388" y="541"/>
                </a:lnTo>
                <a:lnTo>
                  <a:pt x="1389" y="541"/>
                </a:lnTo>
                <a:lnTo>
                  <a:pt x="1389" y="543"/>
                </a:lnTo>
                <a:lnTo>
                  <a:pt x="1391" y="541"/>
                </a:lnTo>
                <a:lnTo>
                  <a:pt x="1392" y="541"/>
                </a:lnTo>
                <a:lnTo>
                  <a:pt x="1393" y="541"/>
                </a:lnTo>
                <a:lnTo>
                  <a:pt x="1393" y="540"/>
                </a:lnTo>
                <a:lnTo>
                  <a:pt x="1393" y="541"/>
                </a:lnTo>
                <a:lnTo>
                  <a:pt x="1394" y="541"/>
                </a:lnTo>
                <a:lnTo>
                  <a:pt x="1394" y="540"/>
                </a:lnTo>
                <a:lnTo>
                  <a:pt x="1394" y="539"/>
                </a:lnTo>
                <a:lnTo>
                  <a:pt x="1394" y="540"/>
                </a:lnTo>
                <a:lnTo>
                  <a:pt x="1394" y="541"/>
                </a:lnTo>
                <a:lnTo>
                  <a:pt x="1395" y="541"/>
                </a:lnTo>
                <a:lnTo>
                  <a:pt x="1395" y="540"/>
                </a:lnTo>
                <a:lnTo>
                  <a:pt x="1396" y="540"/>
                </a:lnTo>
                <a:lnTo>
                  <a:pt x="1396" y="541"/>
                </a:lnTo>
                <a:lnTo>
                  <a:pt x="1395" y="541"/>
                </a:lnTo>
                <a:lnTo>
                  <a:pt x="1395" y="543"/>
                </a:lnTo>
                <a:lnTo>
                  <a:pt x="1394" y="543"/>
                </a:lnTo>
                <a:lnTo>
                  <a:pt x="1394" y="544"/>
                </a:lnTo>
                <a:lnTo>
                  <a:pt x="1393" y="544"/>
                </a:lnTo>
                <a:lnTo>
                  <a:pt x="1393" y="545"/>
                </a:lnTo>
                <a:lnTo>
                  <a:pt x="1392" y="545"/>
                </a:lnTo>
                <a:lnTo>
                  <a:pt x="1392" y="544"/>
                </a:lnTo>
                <a:lnTo>
                  <a:pt x="1391" y="544"/>
                </a:lnTo>
                <a:lnTo>
                  <a:pt x="1391" y="545"/>
                </a:lnTo>
                <a:lnTo>
                  <a:pt x="1391" y="544"/>
                </a:lnTo>
                <a:lnTo>
                  <a:pt x="1389" y="544"/>
                </a:lnTo>
                <a:lnTo>
                  <a:pt x="1389" y="545"/>
                </a:lnTo>
                <a:lnTo>
                  <a:pt x="1387" y="545"/>
                </a:lnTo>
                <a:lnTo>
                  <a:pt x="1385" y="546"/>
                </a:lnTo>
                <a:lnTo>
                  <a:pt x="1385" y="545"/>
                </a:lnTo>
                <a:lnTo>
                  <a:pt x="1384" y="545"/>
                </a:lnTo>
                <a:lnTo>
                  <a:pt x="1384" y="546"/>
                </a:lnTo>
                <a:lnTo>
                  <a:pt x="1382" y="546"/>
                </a:lnTo>
                <a:lnTo>
                  <a:pt x="1381" y="547"/>
                </a:lnTo>
                <a:lnTo>
                  <a:pt x="1380" y="547"/>
                </a:lnTo>
                <a:lnTo>
                  <a:pt x="1381" y="546"/>
                </a:lnTo>
                <a:lnTo>
                  <a:pt x="1380" y="546"/>
                </a:lnTo>
                <a:lnTo>
                  <a:pt x="1380" y="545"/>
                </a:lnTo>
                <a:lnTo>
                  <a:pt x="1381" y="545"/>
                </a:lnTo>
                <a:lnTo>
                  <a:pt x="1380" y="545"/>
                </a:lnTo>
                <a:lnTo>
                  <a:pt x="1380" y="546"/>
                </a:lnTo>
                <a:lnTo>
                  <a:pt x="1380" y="547"/>
                </a:lnTo>
                <a:lnTo>
                  <a:pt x="1379" y="547"/>
                </a:lnTo>
                <a:lnTo>
                  <a:pt x="1380" y="547"/>
                </a:lnTo>
                <a:lnTo>
                  <a:pt x="1380" y="548"/>
                </a:lnTo>
                <a:lnTo>
                  <a:pt x="1379" y="548"/>
                </a:lnTo>
                <a:lnTo>
                  <a:pt x="1378" y="550"/>
                </a:lnTo>
                <a:lnTo>
                  <a:pt x="1375" y="551"/>
                </a:lnTo>
                <a:lnTo>
                  <a:pt x="1374" y="552"/>
                </a:lnTo>
                <a:lnTo>
                  <a:pt x="1373" y="553"/>
                </a:lnTo>
                <a:lnTo>
                  <a:pt x="1372" y="554"/>
                </a:lnTo>
                <a:lnTo>
                  <a:pt x="1371" y="557"/>
                </a:lnTo>
                <a:lnTo>
                  <a:pt x="1371" y="558"/>
                </a:lnTo>
                <a:lnTo>
                  <a:pt x="1370" y="558"/>
                </a:lnTo>
                <a:lnTo>
                  <a:pt x="1371" y="558"/>
                </a:lnTo>
                <a:lnTo>
                  <a:pt x="1371" y="557"/>
                </a:lnTo>
                <a:lnTo>
                  <a:pt x="1371" y="555"/>
                </a:lnTo>
                <a:lnTo>
                  <a:pt x="1371" y="554"/>
                </a:lnTo>
                <a:lnTo>
                  <a:pt x="1371" y="553"/>
                </a:lnTo>
                <a:lnTo>
                  <a:pt x="1371" y="554"/>
                </a:lnTo>
                <a:lnTo>
                  <a:pt x="1371" y="555"/>
                </a:lnTo>
                <a:lnTo>
                  <a:pt x="1371" y="557"/>
                </a:lnTo>
                <a:lnTo>
                  <a:pt x="1370" y="557"/>
                </a:lnTo>
                <a:lnTo>
                  <a:pt x="1370" y="558"/>
                </a:lnTo>
                <a:lnTo>
                  <a:pt x="1368" y="558"/>
                </a:lnTo>
                <a:lnTo>
                  <a:pt x="1368" y="559"/>
                </a:lnTo>
                <a:lnTo>
                  <a:pt x="1368" y="558"/>
                </a:lnTo>
                <a:lnTo>
                  <a:pt x="1367" y="558"/>
                </a:lnTo>
                <a:lnTo>
                  <a:pt x="1366" y="558"/>
                </a:lnTo>
                <a:lnTo>
                  <a:pt x="1365" y="558"/>
                </a:lnTo>
                <a:lnTo>
                  <a:pt x="1364" y="558"/>
                </a:lnTo>
                <a:lnTo>
                  <a:pt x="1363" y="558"/>
                </a:lnTo>
                <a:lnTo>
                  <a:pt x="1361" y="559"/>
                </a:lnTo>
                <a:lnTo>
                  <a:pt x="1360" y="559"/>
                </a:lnTo>
                <a:lnTo>
                  <a:pt x="1359" y="560"/>
                </a:lnTo>
                <a:lnTo>
                  <a:pt x="1357" y="561"/>
                </a:lnTo>
                <a:lnTo>
                  <a:pt x="1356" y="562"/>
                </a:lnTo>
                <a:lnTo>
                  <a:pt x="1354" y="564"/>
                </a:lnTo>
                <a:lnTo>
                  <a:pt x="1352" y="566"/>
                </a:lnTo>
                <a:lnTo>
                  <a:pt x="1352" y="567"/>
                </a:lnTo>
                <a:lnTo>
                  <a:pt x="1351" y="568"/>
                </a:lnTo>
                <a:lnTo>
                  <a:pt x="1351" y="569"/>
                </a:lnTo>
                <a:lnTo>
                  <a:pt x="1351" y="568"/>
                </a:lnTo>
                <a:lnTo>
                  <a:pt x="1351" y="567"/>
                </a:lnTo>
                <a:lnTo>
                  <a:pt x="1350" y="567"/>
                </a:lnTo>
                <a:lnTo>
                  <a:pt x="1351" y="566"/>
                </a:lnTo>
                <a:lnTo>
                  <a:pt x="1352" y="566"/>
                </a:lnTo>
                <a:lnTo>
                  <a:pt x="1351" y="566"/>
                </a:lnTo>
                <a:lnTo>
                  <a:pt x="1350" y="567"/>
                </a:lnTo>
                <a:lnTo>
                  <a:pt x="1350" y="568"/>
                </a:lnTo>
                <a:lnTo>
                  <a:pt x="1351" y="568"/>
                </a:lnTo>
                <a:lnTo>
                  <a:pt x="1351" y="569"/>
                </a:lnTo>
                <a:lnTo>
                  <a:pt x="1350" y="569"/>
                </a:lnTo>
                <a:lnTo>
                  <a:pt x="1351" y="569"/>
                </a:lnTo>
                <a:lnTo>
                  <a:pt x="1350" y="569"/>
                </a:lnTo>
                <a:lnTo>
                  <a:pt x="1350" y="571"/>
                </a:lnTo>
                <a:lnTo>
                  <a:pt x="1350" y="569"/>
                </a:lnTo>
                <a:lnTo>
                  <a:pt x="1350" y="571"/>
                </a:lnTo>
                <a:lnTo>
                  <a:pt x="1349" y="571"/>
                </a:lnTo>
                <a:lnTo>
                  <a:pt x="1349" y="569"/>
                </a:lnTo>
                <a:lnTo>
                  <a:pt x="1349" y="571"/>
                </a:lnTo>
                <a:lnTo>
                  <a:pt x="1347" y="572"/>
                </a:lnTo>
                <a:lnTo>
                  <a:pt x="1346" y="572"/>
                </a:lnTo>
                <a:lnTo>
                  <a:pt x="1346" y="573"/>
                </a:lnTo>
                <a:lnTo>
                  <a:pt x="1345" y="572"/>
                </a:lnTo>
                <a:lnTo>
                  <a:pt x="1344" y="573"/>
                </a:lnTo>
                <a:lnTo>
                  <a:pt x="1344" y="574"/>
                </a:lnTo>
                <a:lnTo>
                  <a:pt x="1344" y="573"/>
                </a:lnTo>
                <a:lnTo>
                  <a:pt x="1344" y="574"/>
                </a:lnTo>
                <a:lnTo>
                  <a:pt x="1343" y="574"/>
                </a:lnTo>
                <a:lnTo>
                  <a:pt x="1343" y="575"/>
                </a:lnTo>
                <a:lnTo>
                  <a:pt x="1342" y="575"/>
                </a:lnTo>
                <a:lnTo>
                  <a:pt x="1340" y="576"/>
                </a:lnTo>
                <a:lnTo>
                  <a:pt x="1339" y="575"/>
                </a:lnTo>
                <a:lnTo>
                  <a:pt x="1340" y="575"/>
                </a:lnTo>
                <a:lnTo>
                  <a:pt x="1339" y="575"/>
                </a:lnTo>
                <a:lnTo>
                  <a:pt x="1339" y="576"/>
                </a:lnTo>
                <a:lnTo>
                  <a:pt x="1339" y="575"/>
                </a:lnTo>
                <a:lnTo>
                  <a:pt x="1338" y="575"/>
                </a:lnTo>
                <a:lnTo>
                  <a:pt x="1338" y="576"/>
                </a:lnTo>
                <a:lnTo>
                  <a:pt x="1339" y="576"/>
                </a:lnTo>
                <a:lnTo>
                  <a:pt x="1339" y="578"/>
                </a:lnTo>
                <a:lnTo>
                  <a:pt x="1338" y="578"/>
                </a:lnTo>
                <a:lnTo>
                  <a:pt x="1337" y="578"/>
                </a:lnTo>
                <a:lnTo>
                  <a:pt x="1338" y="579"/>
                </a:lnTo>
                <a:lnTo>
                  <a:pt x="1337" y="579"/>
                </a:lnTo>
                <a:lnTo>
                  <a:pt x="1336" y="579"/>
                </a:lnTo>
                <a:lnTo>
                  <a:pt x="1335" y="579"/>
                </a:lnTo>
                <a:lnTo>
                  <a:pt x="1334" y="579"/>
                </a:lnTo>
                <a:lnTo>
                  <a:pt x="1335" y="579"/>
                </a:lnTo>
                <a:lnTo>
                  <a:pt x="1335" y="580"/>
                </a:lnTo>
                <a:lnTo>
                  <a:pt x="1334" y="580"/>
                </a:lnTo>
                <a:lnTo>
                  <a:pt x="1332" y="580"/>
                </a:lnTo>
                <a:lnTo>
                  <a:pt x="1332" y="581"/>
                </a:lnTo>
                <a:lnTo>
                  <a:pt x="1332" y="580"/>
                </a:lnTo>
                <a:lnTo>
                  <a:pt x="1332" y="581"/>
                </a:lnTo>
                <a:lnTo>
                  <a:pt x="1331" y="581"/>
                </a:lnTo>
                <a:lnTo>
                  <a:pt x="1331" y="580"/>
                </a:lnTo>
                <a:lnTo>
                  <a:pt x="1330" y="580"/>
                </a:lnTo>
                <a:lnTo>
                  <a:pt x="1329" y="580"/>
                </a:lnTo>
                <a:lnTo>
                  <a:pt x="1328" y="580"/>
                </a:lnTo>
                <a:lnTo>
                  <a:pt x="1329" y="580"/>
                </a:lnTo>
                <a:lnTo>
                  <a:pt x="1330" y="581"/>
                </a:lnTo>
                <a:lnTo>
                  <a:pt x="1330" y="580"/>
                </a:lnTo>
                <a:lnTo>
                  <a:pt x="1330" y="581"/>
                </a:lnTo>
                <a:lnTo>
                  <a:pt x="1331" y="581"/>
                </a:lnTo>
                <a:lnTo>
                  <a:pt x="1330" y="581"/>
                </a:lnTo>
                <a:lnTo>
                  <a:pt x="1329" y="581"/>
                </a:lnTo>
                <a:lnTo>
                  <a:pt x="1330" y="581"/>
                </a:lnTo>
                <a:lnTo>
                  <a:pt x="1331" y="581"/>
                </a:lnTo>
                <a:lnTo>
                  <a:pt x="1331" y="582"/>
                </a:lnTo>
                <a:lnTo>
                  <a:pt x="1330" y="582"/>
                </a:lnTo>
                <a:lnTo>
                  <a:pt x="1329" y="582"/>
                </a:lnTo>
                <a:lnTo>
                  <a:pt x="1330" y="582"/>
                </a:lnTo>
                <a:lnTo>
                  <a:pt x="1331" y="582"/>
                </a:lnTo>
                <a:lnTo>
                  <a:pt x="1330" y="582"/>
                </a:lnTo>
                <a:lnTo>
                  <a:pt x="1330" y="583"/>
                </a:lnTo>
                <a:lnTo>
                  <a:pt x="1329" y="583"/>
                </a:lnTo>
                <a:lnTo>
                  <a:pt x="1328" y="585"/>
                </a:lnTo>
                <a:lnTo>
                  <a:pt x="1328" y="583"/>
                </a:lnTo>
                <a:lnTo>
                  <a:pt x="1329" y="582"/>
                </a:lnTo>
                <a:lnTo>
                  <a:pt x="1328" y="582"/>
                </a:lnTo>
                <a:lnTo>
                  <a:pt x="1328" y="581"/>
                </a:lnTo>
                <a:lnTo>
                  <a:pt x="1328" y="582"/>
                </a:lnTo>
                <a:lnTo>
                  <a:pt x="1328" y="583"/>
                </a:lnTo>
                <a:lnTo>
                  <a:pt x="1327" y="582"/>
                </a:lnTo>
                <a:lnTo>
                  <a:pt x="1327" y="581"/>
                </a:lnTo>
                <a:lnTo>
                  <a:pt x="1327" y="580"/>
                </a:lnTo>
                <a:lnTo>
                  <a:pt x="1325" y="580"/>
                </a:lnTo>
                <a:lnTo>
                  <a:pt x="1327" y="580"/>
                </a:lnTo>
                <a:lnTo>
                  <a:pt x="1327" y="581"/>
                </a:lnTo>
                <a:lnTo>
                  <a:pt x="1327" y="582"/>
                </a:lnTo>
                <a:lnTo>
                  <a:pt x="1325" y="583"/>
                </a:lnTo>
                <a:lnTo>
                  <a:pt x="1327" y="583"/>
                </a:lnTo>
                <a:lnTo>
                  <a:pt x="1327" y="585"/>
                </a:lnTo>
                <a:lnTo>
                  <a:pt x="1327" y="586"/>
                </a:lnTo>
                <a:lnTo>
                  <a:pt x="1324" y="587"/>
                </a:lnTo>
                <a:lnTo>
                  <a:pt x="1325" y="586"/>
                </a:lnTo>
                <a:lnTo>
                  <a:pt x="1325" y="585"/>
                </a:lnTo>
                <a:lnTo>
                  <a:pt x="1325" y="586"/>
                </a:lnTo>
                <a:lnTo>
                  <a:pt x="1324" y="586"/>
                </a:lnTo>
                <a:lnTo>
                  <a:pt x="1324" y="587"/>
                </a:lnTo>
                <a:lnTo>
                  <a:pt x="1323" y="587"/>
                </a:lnTo>
                <a:lnTo>
                  <a:pt x="1323" y="588"/>
                </a:lnTo>
                <a:lnTo>
                  <a:pt x="1324" y="588"/>
                </a:lnTo>
                <a:lnTo>
                  <a:pt x="1323" y="589"/>
                </a:lnTo>
                <a:lnTo>
                  <a:pt x="1323" y="588"/>
                </a:lnTo>
                <a:lnTo>
                  <a:pt x="1323" y="589"/>
                </a:lnTo>
                <a:lnTo>
                  <a:pt x="1322" y="589"/>
                </a:lnTo>
                <a:lnTo>
                  <a:pt x="1323" y="589"/>
                </a:lnTo>
                <a:lnTo>
                  <a:pt x="1322" y="590"/>
                </a:lnTo>
                <a:lnTo>
                  <a:pt x="1321" y="590"/>
                </a:lnTo>
                <a:lnTo>
                  <a:pt x="1321" y="589"/>
                </a:lnTo>
                <a:lnTo>
                  <a:pt x="1320" y="589"/>
                </a:lnTo>
                <a:lnTo>
                  <a:pt x="1320" y="590"/>
                </a:lnTo>
                <a:lnTo>
                  <a:pt x="1321" y="590"/>
                </a:lnTo>
                <a:lnTo>
                  <a:pt x="1320" y="590"/>
                </a:lnTo>
                <a:lnTo>
                  <a:pt x="1321" y="590"/>
                </a:lnTo>
                <a:lnTo>
                  <a:pt x="1321" y="592"/>
                </a:lnTo>
                <a:lnTo>
                  <a:pt x="1320" y="593"/>
                </a:lnTo>
                <a:lnTo>
                  <a:pt x="1318" y="593"/>
                </a:lnTo>
                <a:lnTo>
                  <a:pt x="1318" y="592"/>
                </a:lnTo>
                <a:lnTo>
                  <a:pt x="1317" y="592"/>
                </a:lnTo>
                <a:lnTo>
                  <a:pt x="1317" y="593"/>
                </a:lnTo>
                <a:lnTo>
                  <a:pt x="1318" y="593"/>
                </a:lnTo>
                <a:lnTo>
                  <a:pt x="1317" y="594"/>
                </a:lnTo>
                <a:lnTo>
                  <a:pt x="1316" y="595"/>
                </a:lnTo>
                <a:lnTo>
                  <a:pt x="1316" y="596"/>
                </a:lnTo>
                <a:lnTo>
                  <a:pt x="1315" y="597"/>
                </a:lnTo>
                <a:lnTo>
                  <a:pt x="1315" y="598"/>
                </a:lnTo>
                <a:lnTo>
                  <a:pt x="1314" y="598"/>
                </a:lnTo>
                <a:lnTo>
                  <a:pt x="1313" y="598"/>
                </a:lnTo>
                <a:lnTo>
                  <a:pt x="1314" y="598"/>
                </a:lnTo>
                <a:lnTo>
                  <a:pt x="1315" y="598"/>
                </a:lnTo>
                <a:lnTo>
                  <a:pt x="1315" y="600"/>
                </a:lnTo>
                <a:lnTo>
                  <a:pt x="1316" y="600"/>
                </a:lnTo>
                <a:lnTo>
                  <a:pt x="1315" y="601"/>
                </a:lnTo>
                <a:lnTo>
                  <a:pt x="1314" y="601"/>
                </a:lnTo>
                <a:lnTo>
                  <a:pt x="1314" y="602"/>
                </a:lnTo>
                <a:lnTo>
                  <a:pt x="1314" y="601"/>
                </a:lnTo>
                <a:lnTo>
                  <a:pt x="1313" y="601"/>
                </a:lnTo>
                <a:lnTo>
                  <a:pt x="1313" y="602"/>
                </a:lnTo>
                <a:lnTo>
                  <a:pt x="1313" y="603"/>
                </a:lnTo>
                <a:lnTo>
                  <a:pt x="1313" y="602"/>
                </a:lnTo>
                <a:lnTo>
                  <a:pt x="1314" y="602"/>
                </a:lnTo>
                <a:lnTo>
                  <a:pt x="1313" y="602"/>
                </a:lnTo>
                <a:lnTo>
                  <a:pt x="1313" y="603"/>
                </a:lnTo>
                <a:lnTo>
                  <a:pt x="1311" y="602"/>
                </a:lnTo>
                <a:lnTo>
                  <a:pt x="1311" y="603"/>
                </a:lnTo>
                <a:lnTo>
                  <a:pt x="1313" y="603"/>
                </a:lnTo>
                <a:lnTo>
                  <a:pt x="1313" y="604"/>
                </a:lnTo>
                <a:lnTo>
                  <a:pt x="1311" y="604"/>
                </a:lnTo>
                <a:lnTo>
                  <a:pt x="1313" y="604"/>
                </a:lnTo>
                <a:lnTo>
                  <a:pt x="1311" y="604"/>
                </a:lnTo>
                <a:lnTo>
                  <a:pt x="1311" y="605"/>
                </a:lnTo>
                <a:lnTo>
                  <a:pt x="1311" y="607"/>
                </a:lnTo>
                <a:lnTo>
                  <a:pt x="1310" y="607"/>
                </a:lnTo>
                <a:lnTo>
                  <a:pt x="1310" y="608"/>
                </a:lnTo>
                <a:lnTo>
                  <a:pt x="1310" y="609"/>
                </a:lnTo>
                <a:lnTo>
                  <a:pt x="1311" y="609"/>
                </a:lnTo>
                <a:lnTo>
                  <a:pt x="1311" y="610"/>
                </a:lnTo>
                <a:lnTo>
                  <a:pt x="1310" y="611"/>
                </a:lnTo>
                <a:lnTo>
                  <a:pt x="1310" y="610"/>
                </a:lnTo>
                <a:lnTo>
                  <a:pt x="1310" y="611"/>
                </a:lnTo>
                <a:lnTo>
                  <a:pt x="1310" y="612"/>
                </a:lnTo>
                <a:lnTo>
                  <a:pt x="1310" y="614"/>
                </a:lnTo>
                <a:lnTo>
                  <a:pt x="1310" y="615"/>
                </a:lnTo>
                <a:lnTo>
                  <a:pt x="1310" y="617"/>
                </a:lnTo>
                <a:lnTo>
                  <a:pt x="1310" y="619"/>
                </a:lnTo>
                <a:lnTo>
                  <a:pt x="1310" y="621"/>
                </a:lnTo>
                <a:lnTo>
                  <a:pt x="1310" y="622"/>
                </a:lnTo>
                <a:lnTo>
                  <a:pt x="1310" y="623"/>
                </a:lnTo>
                <a:lnTo>
                  <a:pt x="1310" y="624"/>
                </a:lnTo>
                <a:lnTo>
                  <a:pt x="1310" y="625"/>
                </a:lnTo>
                <a:lnTo>
                  <a:pt x="1311" y="625"/>
                </a:lnTo>
                <a:lnTo>
                  <a:pt x="1311" y="626"/>
                </a:lnTo>
                <a:lnTo>
                  <a:pt x="1311" y="628"/>
                </a:lnTo>
                <a:lnTo>
                  <a:pt x="1311" y="630"/>
                </a:lnTo>
                <a:lnTo>
                  <a:pt x="1313" y="632"/>
                </a:lnTo>
                <a:lnTo>
                  <a:pt x="1313" y="633"/>
                </a:lnTo>
                <a:lnTo>
                  <a:pt x="1313" y="635"/>
                </a:lnTo>
                <a:lnTo>
                  <a:pt x="1313" y="636"/>
                </a:lnTo>
                <a:lnTo>
                  <a:pt x="1314" y="639"/>
                </a:lnTo>
                <a:lnTo>
                  <a:pt x="1315" y="640"/>
                </a:lnTo>
                <a:lnTo>
                  <a:pt x="1315" y="642"/>
                </a:lnTo>
                <a:lnTo>
                  <a:pt x="1316" y="643"/>
                </a:lnTo>
                <a:lnTo>
                  <a:pt x="1316" y="644"/>
                </a:lnTo>
                <a:lnTo>
                  <a:pt x="1316" y="645"/>
                </a:lnTo>
                <a:lnTo>
                  <a:pt x="1315" y="645"/>
                </a:lnTo>
                <a:lnTo>
                  <a:pt x="1315" y="646"/>
                </a:lnTo>
                <a:lnTo>
                  <a:pt x="1315" y="647"/>
                </a:lnTo>
                <a:lnTo>
                  <a:pt x="1315" y="649"/>
                </a:lnTo>
                <a:lnTo>
                  <a:pt x="1315" y="650"/>
                </a:lnTo>
                <a:lnTo>
                  <a:pt x="1315" y="651"/>
                </a:lnTo>
                <a:lnTo>
                  <a:pt x="1315" y="653"/>
                </a:lnTo>
                <a:lnTo>
                  <a:pt x="1315" y="652"/>
                </a:lnTo>
                <a:lnTo>
                  <a:pt x="1314" y="650"/>
                </a:lnTo>
                <a:lnTo>
                  <a:pt x="1314" y="649"/>
                </a:lnTo>
                <a:lnTo>
                  <a:pt x="1315" y="645"/>
                </a:lnTo>
                <a:lnTo>
                  <a:pt x="1315" y="644"/>
                </a:lnTo>
                <a:lnTo>
                  <a:pt x="1316" y="643"/>
                </a:lnTo>
                <a:lnTo>
                  <a:pt x="1316" y="642"/>
                </a:lnTo>
                <a:lnTo>
                  <a:pt x="1315" y="642"/>
                </a:lnTo>
                <a:lnTo>
                  <a:pt x="1314" y="642"/>
                </a:lnTo>
                <a:lnTo>
                  <a:pt x="1314" y="640"/>
                </a:lnTo>
                <a:lnTo>
                  <a:pt x="1314" y="639"/>
                </a:lnTo>
                <a:lnTo>
                  <a:pt x="1313" y="639"/>
                </a:lnTo>
                <a:lnTo>
                  <a:pt x="1313" y="640"/>
                </a:lnTo>
                <a:lnTo>
                  <a:pt x="1313" y="642"/>
                </a:lnTo>
                <a:lnTo>
                  <a:pt x="1313" y="643"/>
                </a:lnTo>
                <a:lnTo>
                  <a:pt x="1313" y="644"/>
                </a:lnTo>
                <a:lnTo>
                  <a:pt x="1313" y="645"/>
                </a:lnTo>
                <a:lnTo>
                  <a:pt x="1314" y="646"/>
                </a:lnTo>
                <a:lnTo>
                  <a:pt x="1315" y="652"/>
                </a:lnTo>
                <a:lnTo>
                  <a:pt x="1316" y="657"/>
                </a:lnTo>
                <a:lnTo>
                  <a:pt x="1316" y="659"/>
                </a:lnTo>
                <a:lnTo>
                  <a:pt x="1317" y="664"/>
                </a:lnTo>
                <a:lnTo>
                  <a:pt x="1317" y="665"/>
                </a:lnTo>
                <a:lnTo>
                  <a:pt x="1317" y="664"/>
                </a:lnTo>
                <a:lnTo>
                  <a:pt x="1316" y="664"/>
                </a:lnTo>
                <a:lnTo>
                  <a:pt x="1315" y="664"/>
                </a:lnTo>
                <a:lnTo>
                  <a:pt x="1316" y="664"/>
                </a:lnTo>
                <a:lnTo>
                  <a:pt x="1317" y="665"/>
                </a:lnTo>
                <a:lnTo>
                  <a:pt x="1317" y="666"/>
                </a:lnTo>
                <a:lnTo>
                  <a:pt x="1317" y="667"/>
                </a:lnTo>
                <a:lnTo>
                  <a:pt x="1317" y="668"/>
                </a:lnTo>
                <a:lnTo>
                  <a:pt x="1318" y="671"/>
                </a:lnTo>
                <a:lnTo>
                  <a:pt x="1317" y="671"/>
                </a:lnTo>
                <a:lnTo>
                  <a:pt x="1317" y="672"/>
                </a:lnTo>
                <a:lnTo>
                  <a:pt x="1317" y="674"/>
                </a:lnTo>
                <a:lnTo>
                  <a:pt x="1316" y="677"/>
                </a:lnTo>
                <a:lnTo>
                  <a:pt x="1316" y="678"/>
                </a:lnTo>
                <a:lnTo>
                  <a:pt x="1316" y="679"/>
                </a:lnTo>
                <a:lnTo>
                  <a:pt x="1315" y="681"/>
                </a:lnTo>
                <a:lnTo>
                  <a:pt x="1315" y="682"/>
                </a:lnTo>
                <a:lnTo>
                  <a:pt x="1314" y="687"/>
                </a:lnTo>
                <a:lnTo>
                  <a:pt x="1314" y="686"/>
                </a:lnTo>
                <a:lnTo>
                  <a:pt x="1314" y="685"/>
                </a:lnTo>
                <a:lnTo>
                  <a:pt x="1314" y="686"/>
                </a:lnTo>
                <a:lnTo>
                  <a:pt x="1313" y="686"/>
                </a:lnTo>
                <a:lnTo>
                  <a:pt x="1313" y="687"/>
                </a:lnTo>
                <a:lnTo>
                  <a:pt x="1311" y="688"/>
                </a:lnTo>
                <a:lnTo>
                  <a:pt x="1311" y="689"/>
                </a:lnTo>
                <a:lnTo>
                  <a:pt x="1310" y="691"/>
                </a:lnTo>
                <a:lnTo>
                  <a:pt x="1310" y="692"/>
                </a:lnTo>
                <a:lnTo>
                  <a:pt x="1310" y="693"/>
                </a:lnTo>
                <a:lnTo>
                  <a:pt x="1310" y="694"/>
                </a:lnTo>
                <a:lnTo>
                  <a:pt x="1309" y="694"/>
                </a:lnTo>
                <a:lnTo>
                  <a:pt x="1308" y="695"/>
                </a:lnTo>
                <a:lnTo>
                  <a:pt x="1309" y="696"/>
                </a:lnTo>
                <a:lnTo>
                  <a:pt x="1308" y="695"/>
                </a:lnTo>
                <a:lnTo>
                  <a:pt x="1308" y="696"/>
                </a:lnTo>
                <a:lnTo>
                  <a:pt x="1308" y="695"/>
                </a:lnTo>
                <a:lnTo>
                  <a:pt x="1307" y="695"/>
                </a:lnTo>
                <a:lnTo>
                  <a:pt x="1306" y="695"/>
                </a:lnTo>
                <a:lnTo>
                  <a:pt x="1306" y="696"/>
                </a:lnTo>
                <a:lnTo>
                  <a:pt x="1306" y="695"/>
                </a:lnTo>
                <a:lnTo>
                  <a:pt x="1306" y="696"/>
                </a:lnTo>
                <a:lnTo>
                  <a:pt x="1306" y="695"/>
                </a:lnTo>
                <a:lnTo>
                  <a:pt x="1306" y="696"/>
                </a:lnTo>
                <a:lnTo>
                  <a:pt x="1304" y="696"/>
                </a:lnTo>
                <a:lnTo>
                  <a:pt x="1303" y="696"/>
                </a:lnTo>
                <a:lnTo>
                  <a:pt x="1302" y="696"/>
                </a:lnTo>
                <a:lnTo>
                  <a:pt x="1301" y="696"/>
                </a:lnTo>
                <a:lnTo>
                  <a:pt x="1300" y="696"/>
                </a:lnTo>
                <a:lnTo>
                  <a:pt x="1299" y="698"/>
                </a:lnTo>
                <a:lnTo>
                  <a:pt x="1299" y="696"/>
                </a:lnTo>
                <a:lnTo>
                  <a:pt x="1299" y="695"/>
                </a:lnTo>
                <a:lnTo>
                  <a:pt x="1299" y="694"/>
                </a:lnTo>
                <a:lnTo>
                  <a:pt x="1299" y="693"/>
                </a:lnTo>
                <a:lnTo>
                  <a:pt x="1299" y="694"/>
                </a:lnTo>
                <a:lnTo>
                  <a:pt x="1300" y="694"/>
                </a:lnTo>
                <a:lnTo>
                  <a:pt x="1300" y="695"/>
                </a:lnTo>
                <a:lnTo>
                  <a:pt x="1301" y="695"/>
                </a:lnTo>
                <a:lnTo>
                  <a:pt x="1302" y="695"/>
                </a:lnTo>
                <a:lnTo>
                  <a:pt x="1301" y="694"/>
                </a:lnTo>
                <a:lnTo>
                  <a:pt x="1300" y="694"/>
                </a:lnTo>
                <a:lnTo>
                  <a:pt x="1300" y="693"/>
                </a:lnTo>
                <a:lnTo>
                  <a:pt x="1299" y="693"/>
                </a:lnTo>
                <a:lnTo>
                  <a:pt x="1299" y="692"/>
                </a:lnTo>
                <a:lnTo>
                  <a:pt x="1299" y="691"/>
                </a:lnTo>
                <a:lnTo>
                  <a:pt x="1299" y="689"/>
                </a:lnTo>
                <a:lnTo>
                  <a:pt x="1299" y="691"/>
                </a:lnTo>
                <a:lnTo>
                  <a:pt x="1299" y="689"/>
                </a:lnTo>
                <a:lnTo>
                  <a:pt x="1299" y="688"/>
                </a:lnTo>
                <a:lnTo>
                  <a:pt x="1297" y="688"/>
                </a:lnTo>
                <a:lnTo>
                  <a:pt x="1299" y="688"/>
                </a:lnTo>
                <a:lnTo>
                  <a:pt x="1297" y="688"/>
                </a:lnTo>
                <a:lnTo>
                  <a:pt x="1297" y="687"/>
                </a:lnTo>
                <a:lnTo>
                  <a:pt x="1297" y="686"/>
                </a:lnTo>
                <a:lnTo>
                  <a:pt x="1296" y="686"/>
                </a:lnTo>
                <a:lnTo>
                  <a:pt x="1296" y="685"/>
                </a:lnTo>
                <a:lnTo>
                  <a:pt x="1295" y="685"/>
                </a:lnTo>
                <a:lnTo>
                  <a:pt x="1294" y="685"/>
                </a:lnTo>
                <a:lnTo>
                  <a:pt x="1294" y="684"/>
                </a:lnTo>
                <a:lnTo>
                  <a:pt x="1294" y="685"/>
                </a:lnTo>
                <a:lnTo>
                  <a:pt x="1293" y="685"/>
                </a:lnTo>
                <a:lnTo>
                  <a:pt x="1293" y="684"/>
                </a:lnTo>
                <a:lnTo>
                  <a:pt x="1293" y="685"/>
                </a:lnTo>
                <a:lnTo>
                  <a:pt x="1293" y="684"/>
                </a:lnTo>
                <a:lnTo>
                  <a:pt x="1294" y="684"/>
                </a:lnTo>
                <a:lnTo>
                  <a:pt x="1293" y="684"/>
                </a:lnTo>
                <a:lnTo>
                  <a:pt x="1293" y="682"/>
                </a:lnTo>
                <a:lnTo>
                  <a:pt x="1293" y="681"/>
                </a:lnTo>
                <a:lnTo>
                  <a:pt x="1292" y="681"/>
                </a:lnTo>
                <a:lnTo>
                  <a:pt x="1292" y="680"/>
                </a:lnTo>
                <a:lnTo>
                  <a:pt x="1292" y="679"/>
                </a:lnTo>
                <a:lnTo>
                  <a:pt x="1293" y="679"/>
                </a:lnTo>
                <a:lnTo>
                  <a:pt x="1292" y="678"/>
                </a:lnTo>
                <a:lnTo>
                  <a:pt x="1293" y="677"/>
                </a:lnTo>
                <a:lnTo>
                  <a:pt x="1293" y="675"/>
                </a:lnTo>
                <a:lnTo>
                  <a:pt x="1292" y="675"/>
                </a:lnTo>
                <a:lnTo>
                  <a:pt x="1292" y="677"/>
                </a:lnTo>
                <a:lnTo>
                  <a:pt x="1292" y="675"/>
                </a:lnTo>
                <a:lnTo>
                  <a:pt x="1290" y="675"/>
                </a:lnTo>
                <a:lnTo>
                  <a:pt x="1290" y="674"/>
                </a:lnTo>
                <a:lnTo>
                  <a:pt x="1290" y="675"/>
                </a:lnTo>
                <a:lnTo>
                  <a:pt x="1292" y="674"/>
                </a:lnTo>
                <a:lnTo>
                  <a:pt x="1292" y="673"/>
                </a:lnTo>
                <a:lnTo>
                  <a:pt x="1293" y="673"/>
                </a:lnTo>
                <a:lnTo>
                  <a:pt x="1293" y="672"/>
                </a:lnTo>
                <a:lnTo>
                  <a:pt x="1294" y="672"/>
                </a:lnTo>
                <a:lnTo>
                  <a:pt x="1293" y="672"/>
                </a:lnTo>
                <a:lnTo>
                  <a:pt x="1292" y="673"/>
                </a:lnTo>
                <a:lnTo>
                  <a:pt x="1292" y="674"/>
                </a:lnTo>
                <a:lnTo>
                  <a:pt x="1290" y="674"/>
                </a:lnTo>
                <a:lnTo>
                  <a:pt x="1289" y="674"/>
                </a:lnTo>
                <a:lnTo>
                  <a:pt x="1290" y="674"/>
                </a:lnTo>
                <a:lnTo>
                  <a:pt x="1290" y="673"/>
                </a:lnTo>
                <a:lnTo>
                  <a:pt x="1289" y="673"/>
                </a:lnTo>
                <a:lnTo>
                  <a:pt x="1289" y="672"/>
                </a:lnTo>
                <a:lnTo>
                  <a:pt x="1290" y="672"/>
                </a:lnTo>
                <a:lnTo>
                  <a:pt x="1290" y="670"/>
                </a:lnTo>
                <a:lnTo>
                  <a:pt x="1290" y="668"/>
                </a:lnTo>
                <a:lnTo>
                  <a:pt x="1292" y="668"/>
                </a:lnTo>
                <a:lnTo>
                  <a:pt x="1292" y="667"/>
                </a:lnTo>
                <a:lnTo>
                  <a:pt x="1290" y="667"/>
                </a:lnTo>
                <a:lnTo>
                  <a:pt x="1290" y="668"/>
                </a:lnTo>
                <a:lnTo>
                  <a:pt x="1289" y="668"/>
                </a:lnTo>
                <a:lnTo>
                  <a:pt x="1289" y="667"/>
                </a:lnTo>
                <a:lnTo>
                  <a:pt x="1289" y="668"/>
                </a:lnTo>
                <a:lnTo>
                  <a:pt x="1289" y="667"/>
                </a:lnTo>
                <a:lnTo>
                  <a:pt x="1288" y="667"/>
                </a:lnTo>
                <a:lnTo>
                  <a:pt x="1288" y="668"/>
                </a:lnTo>
                <a:lnTo>
                  <a:pt x="1289" y="668"/>
                </a:lnTo>
                <a:lnTo>
                  <a:pt x="1289" y="670"/>
                </a:lnTo>
                <a:lnTo>
                  <a:pt x="1289" y="671"/>
                </a:lnTo>
                <a:lnTo>
                  <a:pt x="1289" y="670"/>
                </a:lnTo>
                <a:lnTo>
                  <a:pt x="1289" y="671"/>
                </a:lnTo>
                <a:lnTo>
                  <a:pt x="1288" y="671"/>
                </a:lnTo>
                <a:lnTo>
                  <a:pt x="1288" y="670"/>
                </a:lnTo>
                <a:lnTo>
                  <a:pt x="1288" y="671"/>
                </a:lnTo>
                <a:lnTo>
                  <a:pt x="1288" y="670"/>
                </a:lnTo>
                <a:lnTo>
                  <a:pt x="1287" y="670"/>
                </a:lnTo>
                <a:lnTo>
                  <a:pt x="1287" y="668"/>
                </a:lnTo>
                <a:lnTo>
                  <a:pt x="1286" y="666"/>
                </a:lnTo>
                <a:lnTo>
                  <a:pt x="1286" y="665"/>
                </a:lnTo>
                <a:lnTo>
                  <a:pt x="1286" y="664"/>
                </a:lnTo>
                <a:lnTo>
                  <a:pt x="1286" y="665"/>
                </a:lnTo>
                <a:lnTo>
                  <a:pt x="1286" y="664"/>
                </a:lnTo>
                <a:lnTo>
                  <a:pt x="1285" y="664"/>
                </a:lnTo>
                <a:lnTo>
                  <a:pt x="1285" y="663"/>
                </a:lnTo>
                <a:lnTo>
                  <a:pt x="1286" y="663"/>
                </a:lnTo>
                <a:lnTo>
                  <a:pt x="1286" y="661"/>
                </a:lnTo>
                <a:lnTo>
                  <a:pt x="1285" y="660"/>
                </a:lnTo>
                <a:lnTo>
                  <a:pt x="1283" y="660"/>
                </a:lnTo>
                <a:lnTo>
                  <a:pt x="1283" y="659"/>
                </a:lnTo>
                <a:lnTo>
                  <a:pt x="1285" y="660"/>
                </a:lnTo>
                <a:lnTo>
                  <a:pt x="1285" y="659"/>
                </a:lnTo>
                <a:lnTo>
                  <a:pt x="1286" y="659"/>
                </a:lnTo>
                <a:lnTo>
                  <a:pt x="1285" y="659"/>
                </a:lnTo>
                <a:lnTo>
                  <a:pt x="1286" y="659"/>
                </a:lnTo>
                <a:lnTo>
                  <a:pt x="1286" y="658"/>
                </a:lnTo>
                <a:lnTo>
                  <a:pt x="1286" y="659"/>
                </a:lnTo>
                <a:lnTo>
                  <a:pt x="1285" y="659"/>
                </a:lnTo>
                <a:lnTo>
                  <a:pt x="1285" y="658"/>
                </a:lnTo>
                <a:lnTo>
                  <a:pt x="1286" y="658"/>
                </a:lnTo>
                <a:lnTo>
                  <a:pt x="1286" y="659"/>
                </a:lnTo>
                <a:lnTo>
                  <a:pt x="1286" y="658"/>
                </a:lnTo>
                <a:lnTo>
                  <a:pt x="1286" y="657"/>
                </a:lnTo>
                <a:lnTo>
                  <a:pt x="1287" y="657"/>
                </a:lnTo>
                <a:lnTo>
                  <a:pt x="1288" y="656"/>
                </a:lnTo>
                <a:lnTo>
                  <a:pt x="1289" y="654"/>
                </a:lnTo>
                <a:lnTo>
                  <a:pt x="1289" y="653"/>
                </a:lnTo>
                <a:lnTo>
                  <a:pt x="1289" y="652"/>
                </a:lnTo>
                <a:lnTo>
                  <a:pt x="1288" y="652"/>
                </a:lnTo>
                <a:lnTo>
                  <a:pt x="1288" y="653"/>
                </a:lnTo>
                <a:lnTo>
                  <a:pt x="1288" y="654"/>
                </a:lnTo>
                <a:lnTo>
                  <a:pt x="1287" y="654"/>
                </a:lnTo>
                <a:lnTo>
                  <a:pt x="1287" y="653"/>
                </a:lnTo>
                <a:lnTo>
                  <a:pt x="1287" y="652"/>
                </a:lnTo>
                <a:lnTo>
                  <a:pt x="1287" y="651"/>
                </a:lnTo>
                <a:lnTo>
                  <a:pt x="1286" y="651"/>
                </a:lnTo>
                <a:lnTo>
                  <a:pt x="1286" y="652"/>
                </a:lnTo>
                <a:lnTo>
                  <a:pt x="1285" y="652"/>
                </a:lnTo>
                <a:lnTo>
                  <a:pt x="1286" y="653"/>
                </a:lnTo>
                <a:lnTo>
                  <a:pt x="1287" y="653"/>
                </a:lnTo>
                <a:lnTo>
                  <a:pt x="1286" y="653"/>
                </a:lnTo>
                <a:lnTo>
                  <a:pt x="1286" y="654"/>
                </a:lnTo>
                <a:lnTo>
                  <a:pt x="1286" y="656"/>
                </a:lnTo>
                <a:lnTo>
                  <a:pt x="1286" y="657"/>
                </a:lnTo>
                <a:lnTo>
                  <a:pt x="1285" y="657"/>
                </a:lnTo>
                <a:lnTo>
                  <a:pt x="1285" y="656"/>
                </a:lnTo>
                <a:lnTo>
                  <a:pt x="1283" y="654"/>
                </a:lnTo>
                <a:lnTo>
                  <a:pt x="1283" y="656"/>
                </a:lnTo>
                <a:lnTo>
                  <a:pt x="1285" y="657"/>
                </a:lnTo>
                <a:lnTo>
                  <a:pt x="1283" y="657"/>
                </a:lnTo>
                <a:lnTo>
                  <a:pt x="1283" y="656"/>
                </a:lnTo>
                <a:lnTo>
                  <a:pt x="1283" y="654"/>
                </a:lnTo>
                <a:lnTo>
                  <a:pt x="1283" y="653"/>
                </a:lnTo>
                <a:lnTo>
                  <a:pt x="1283" y="652"/>
                </a:lnTo>
                <a:lnTo>
                  <a:pt x="1283" y="653"/>
                </a:lnTo>
                <a:lnTo>
                  <a:pt x="1283" y="652"/>
                </a:lnTo>
                <a:lnTo>
                  <a:pt x="1285" y="651"/>
                </a:lnTo>
                <a:lnTo>
                  <a:pt x="1285" y="650"/>
                </a:lnTo>
                <a:lnTo>
                  <a:pt x="1285" y="649"/>
                </a:lnTo>
                <a:lnTo>
                  <a:pt x="1286" y="649"/>
                </a:lnTo>
                <a:lnTo>
                  <a:pt x="1286" y="647"/>
                </a:lnTo>
                <a:lnTo>
                  <a:pt x="1286" y="646"/>
                </a:lnTo>
                <a:lnTo>
                  <a:pt x="1287" y="645"/>
                </a:lnTo>
                <a:lnTo>
                  <a:pt x="1287" y="644"/>
                </a:lnTo>
                <a:lnTo>
                  <a:pt x="1287" y="643"/>
                </a:lnTo>
                <a:lnTo>
                  <a:pt x="1288" y="643"/>
                </a:lnTo>
                <a:lnTo>
                  <a:pt x="1288" y="642"/>
                </a:lnTo>
                <a:lnTo>
                  <a:pt x="1288" y="640"/>
                </a:lnTo>
                <a:lnTo>
                  <a:pt x="1288" y="639"/>
                </a:lnTo>
                <a:lnTo>
                  <a:pt x="1288" y="638"/>
                </a:lnTo>
                <a:lnTo>
                  <a:pt x="1289" y="639"/>
                </a:lnTo>
                <a:lnTo>
                  <a:pt x="1289" y="638"/>
                </a:lnTo>
                <a:lnTo>
                  <a:pt x="1289" y="637"/>
                </a:lnTo>
                <a:lnTo>
                  <a:pt x="1288" y="637"/>
                </a:lnTo>
                <a:lnTo>
                  <a:pt x="1288" y="636"/>
                </a:lnTo>
                <a:lnTo>
                  <a:pt x="1288" y="635"/>
                </a:lnTo>
                <a:lnTo>
                  <a:pt x="1288" y="633"/>
                </a:lnTo>
                <a:lnTo>
                  <a:pt x="1287" y="633"/>
                </a:lnTo>
                <a:lnTo>
                  <a:pt x="1287" y="632"/>
                </a:lnTo>
                <a:lnTo>
                  <a:pt x="1287" y="633"/>
                </a:lnTo>
                <a:lnTo>
                  <a:pt x="1286" y="632"/>
                </a:lnTo>
                <a:lnTo>
                  <a:pt x="1285" y="632"/>
                </a:lnTo>
                <a:lnTo>
                  <a:pt x="1285" y="633"/>
                </a:lnTo>
                <a:lnTo>
                  <a:pt x="1285" y="632"/>
                </a:lnTo>
                <a:lnTo>
                  <a:pt x="1285" y="631"/>
                </a:lnTo>
                <a:lnTo>
                  <a:pt x="1283" y="631"/>
                </a:lnTo>
                <a:lnTo>
                  <a:pt x="1283" y="630"/>
                </a:lnTo>
                <a:lnTo>
                  <a:pt x="1283" y="629"/>
                </a:lnTo>
                <a:lnTo>
                  <a:pt x="1282" y="629"/>
                </a:lnTo>
                <a:lnTo>
                  <a:pt x="1281" y="628"/>
                </a:lnTo>
                <a:lnTo>
                  <a:pt x="1281" y="626"/>
                </a:lnTo>
                <a:lnTo>
                  <a:pt x="1281" y="625"/>
                </a:lnTo>
                <a:lnTo>
                  <a:pt x="1280" y="625"/>
                </a:lnTo>
                <a:lnTo>
                  <a:pt x="1280" y="624"/>
                </a:lnTo>
                <a:lnTo>
                  <a:pt x="1279" y="624"/>
                </a:lnTo>
                <a:lnTo>
                  <a:pt x="1279" y="623"/>
                </a:lnTo>
                <a:lnTo>
                  <a:pt x="1279" y="622"/>
                </a:lnTo>
                <a:lnTo>
                  <a:pt x="1279" y="621"/>
                </a:lnTo>
                <a:lnTo>
                  <a:pt x="1278" y="621"/>
                </a:lnTo>
                <a:lnTo>
                  <a:pt x="1278" y="619"/>
                </a:lnTo>
                <a:lnTo>
                  <a:pt x="1276" y="621"/>
                </a:lnTo>
                <a:lnTo>
                  <a:pt x="1276" y="619"/>
                </a:lnTo>
                <a:lnTo>
                  <a:pt x="1275" y="619"/>
                </a:lnTo>
                <a:lnTo>
                  <a:pt x="1274" y="618"/>
                </a:lnTo>
                <a:lnTo>
                  <a:pt x="1273" y="618"/>
                </a:lnTo>
                <a:lnTo>
                  <a:pt x="1272" y="618"/>
                </a:lnTo>
                <a:lnTo>
                  <a:pt x="1271" y="618"/>
                </a:lnTo>
                <a:lnTo>
                  <a:pt x="1270" y="619"/>
                </a:lnTo>
                <a:lnTo>
                  <a:pt x="1270" y="621"/>
                </a:lnTo>
                <a:lnTo>
                  <a:pt x="1268" y="619"/>
                </a:lnTo>
                <a:lnTo>
                  <a:pt x="1268" y="621"/>
                </a:lnTo>
                <a:lnTo>
                  <a:pt x="1270" y="621"/>
                </a:lnTo>
                <a:lnTo>
                  <a:pt x="1270" y="622"/>
                </a:lnTo>
                <a:lnTo>
                  <a:pt x="1268" y="621"/>
                </a:lnTo>
                <a:lnTo>
                  <a:pt x="1267" y="622"/>
                </a:lnTo>
                <a:lnTo>
                  <a:pt x="1267" y="621"/>
                </a:lnTo>
                <a:lnTo>
                  <a:pt x="1267" y="622"/>
                </a:lnTo>
                <a:lnTo>
                  <a:pt x="1266" y="622"/>
                </a:lnTo>
                <a:lnTo>
                  <a:pt x="1265" y="622"/>
                </a:lnTo>
                <a:lnTo>
                  <a:pt x="1265" y="623"/>
                </a:lnTo>
                <a:lnTo>
                  <a:pt x="1264" y="623"/>
                </a:lnTo>
                <a:lnTo>
                  <a:pt x="1263" y="624"/>
                </a:lnTo>
                <a:lnTo>
                  <a:pt x="1261" y="624"/>
                </a:lnTo>
                <a:lnTo>
                  <a:pt x="1263" y="623"/>
                </a:lnTo>
                <a:lnTo>
                  <a:pt x="1261" y="623"/>
                </a:lnTo>
                <a:lnTo>
                  <a:pt x="1261" y="624"/>
                </a:lnTo>
                <a:lnTo>
                  <a:pt x="1260" y="624"/>
                </a:lnTo>
                <a:lnTo>
                  <a:pt x="1259" y="624"/>
                </a:lnTo>
                <a:lnTo>
                  <a:pt x="1257" y="625"/>
                </a:lnTo>
                <a:lnTo>
                  <a:pt x="1257" y="624"/>
                </a:lnTo>
                <a:lnTo>
                  <a:pt x="1256" y="624"/>
                </a:lnTo>
                <a:lnTo>
                  <a:pt x="1256" y="625"/>
                </a:lnTo>
                <a:lnTo>
                  <a:pt x="1256" y="624"/>
                </a:lnTo>
                <a:lnTo>
                  <a:pt x="1254" y="624"/>
                </a:lnTo>
                <a:lnTo>
                  <a:pt x="1254" y="623"/>
                </a:lnTo>
                <a:lnTo>
                  <a:pt x="1256" y="622"/>
                </a:lnTo>
                <a:lnTo>
                  <a:pt x="1256" y="623"/>
                </a:lnTo>
                <a:lnTo>
                  <a:pt x="1256" y="624"/>
                </a:lnTo>
                <a:lnTo>
                  <a:pt x="1256" y="625"/>
                </a:lnTo>
                <a:lnTo>
                  <a:pt x="1256" y="624"/>
                </a:lnTo>
                <a:lnTo>
                  <a:pt x="1257" y="623"/>
                </a:lnTo>
                <a:lnTo>
                  <a:pt x="1256" y="622"/>
                </a:lnTo>
                <a:lnTo>
                  <a:pt x="1256" y="621"/>
                </a:lnTo>
                <a:lnTo>
                  <a:pt x="1254" y="621"/>
                </a:lnTo>
                <a:lnTo>
                  <a:pt x="1253" y="619"/>
                </a:lnTo>
                <a:lnTo>
                  <a:pt x="1254" y="619"/>
                </a:lnTo>
                <a:lnTo>
                  <a:pt x="1254" y="621"/>
                </a:lnTo>
                <a:lnTo>
                  <a:pt x="1253" y="618"/>
                </a:lnTo>
                <a:lnTo>
                  <a:pt x="1252" y="618"/>
                </a:lnTo>
                <a:lnTo>
                  <a:pt x="1252" y="617"/>
                </a:lnTo>
                <a:lnTo>
                  <a:pt x="1253" y="618"/>
                </a:lnTo>
                <a:lnTo>
                  <a:pt x="1254" y="618"/>
                </a:lnTo>
                <a:lnTo>
                  <a:pt x="1254" y="619"/>
                </a:lnTo>
                <a:lnTo>
                  <a:pt x="1256" y="619"/>
                </a:lnTo>
                <a:lnTo>
                  <a:pt x="1256" y="618"/>
                </a:lnTo>
                <a:lnTo>
                  <a:pt x="1256" y="619"/>
                </a:lnTo>
                <a:lnTo>
                  <a:pt x="1254" y="619"/>
                </a:lnTo>
                <a:lnTo>
                  <a:pt x="1256" y="618"/>
                </a:lnTo>
                <a:lnTo>
                  <a:pt x="1254" y="618"/>
                </a:lnTo>
                <a:lnTo>
                  <a:pt x="1256" y="617"/>
                </a:lnTo>
                <a:lnTo>
                  <a:pt x="1254" y="617"/>
                </a:lnTo>
                <a:lnTo>
                  <a:pt x="1254" y="618"/>
                </a:lnTo>
                <a:lnTo>
                  <a:pt x="1254" y="617"/>
                </a:lnTo>
                <a:lnTo>
                  <a:pt x="1254" y="618"/>
                </a:lnTo>
                <a:lnTo>
                  <a:pt x="1253" y="618"/>
                </a:lnTo>
                <a:lnTo>
                  <a:pt x="1253" y="617"/>
                </a:lnTo>
                <a:lnTo>
                  <a:pt x="1252" y="617"/>
                </a:lnTo>
                <a:lnTo>
                  <a:pt x="1253" y="616"/>
                </a:lnTo>
                <a:lnTo>
                  <a:pt x="1254" y="615"/>
                </a:lnTo>
                <a:lnTo>
                  <a:pt x="1253" y="616"/>
                </a:lnTo>
                <a:lnTo>
                  <a:pt x="1253" y="615"/>
                </a:lnTo>
                <a:lnTo>
                  <a:pt x="1253" y="616"/>
                </a:lnTo>
                <a:lnTo>
                  <a:pt x="1252" y="616"/>
                </a:lnTo>
                <a:lnTo>
                  <a:pt x="1252" y="615"/>
                </a:lnTo>
                <a:lnTo>
                  <a:pt x="1251" y="615"/>
                </a:lnTo>
                <a:lnTo>
                  <a:pt x="1251" y="616"/>
                </a:lnTo>
                <a:lnTo>
                  <a:pt x="1252" y="616"/>
                </a:lnTo>
                <a:lnTo>
                  <a:pt x="1252" y="617"/>
                </a:lnTo>
                <a:lnTo>
                  <a:pt x="1251" y="616"/>
                </a:lnTo>
                <a:lnTo>
                  <a:pt x="1250" y="616"/>
                </a:lnTo>
                <a:lnTo>
                  <a:pt x="1249" y="615"/>
                </a:lnTo>
                <a:lnTo>
                  <a:pt x="1246" y="615"/>
                </a:lnTo>
                <a:lnTo>
                  <a:pt x="1244" y="614"/>
                </a:lnTo>
                <a:lnTo>
                  <a:pt x="1243" y="614"/>
                </a:lnTo>
                <a:lnTo>
                  <a:pt x="1244" y="614"/>
                </a:lnTo>
                <a:lnTo>
                  <a:pt x="1245" y="614"/>
                </a:lnTo>
                <a:lnTo>
                  <a:pt x="1245" y="612"/>
                </a:lnTo>
                <a:lnTo>
                  <a:pt x="1245" y="614"/>
                </a:lnTo>
                <a:lnTo>
                  <a:pt x="1246" y="614"/>
                </a:lnTo>
                <a:lnTo>
                  <a:pt x="1246" y="612"/>
                </a:lnTo>
                <a:lnTo>
                  <a:pt x="1246" y="614"/>
                </a:lnTo>
                <a:lnTo>
                  <a:pt x="1247" y="614"/>
                </a:lnTo>
                <a:lnTo>
                  <a:pt x="1247" y="612"/>
                </a:lnTo>
                <a:lnTo>
                  <a:pt x="1247" y="611"/>
                </a:lnTo>
                <a:lnTo>
                  <a:pt x="1246" y="612"/>
                </a:lnTo>
                <a:lnTo>
                  <a:pt x="1245" y="612"/>
                </a:lnTo>
                <a:lnTo>
                  <a:pt x="1244" y="612"/>
                </a:lnTo>
                <a:lnTo>
                  <a:pt x="1244" y="611"/>
                </a:lnTo>
                <a:lnTo>
                  <a:pt x="1244" y="612"/>
                </a:lnTo>
                <a:lnTo>
                  <a:pt x="1243" y="612"/>
                </a:lnTo>
                <a:lnTo>
                  <a:pt x="1243" y="611"/>
                </a:lnTo>
                <a:lnTo>
                  <a:pt x="1243" y="612"/>
                </a:lnTo>
                <a:lnTo>
                  <a:pt x="1242" y="612"/>
                </a:lnTo>
                <a:lnTo>
                  <a:pt x="1242" y="614"/>
                </a:lnTo>
                <a:lnTo>
                  <a:pt x="1240" y="614"/>
                </a:lnTo>
                <a:lnTo>
                  <a:pt x="1239" y="614"/>
                </a:lnTo>
                <a:lnTo>
                  <a:pt x="1238" y="614"/>
                </a:lnTo>
                <a:lnTo>
                  <a:pt x="1237" y="614"/>
                </a:lnTo>
                <a:lnTo>
                  <a:pt x="1236" y="614"/>
                </a:lnTo>
                <a:lnTo>
                  <a:pt x="1233" y="614"/>
                </a:lnTo>
                <a:lnTo>
                  <a:pt x="1235" y="614"/>
                </a:lnTo>
                <a:lnTo>
                  <a:pt x="1236" y="614"/>
                </a:lnTo>
                <a:lnTo>
                  <a:pt x="1237" y="612"/>
                </a:lnTo>
                <a:lnTo>
                  <a:pt x="1237" y="611"/>
                </a:lnTo>
                <a:lnTo>
                  <a:pt x="1236" y="611"/>
                </a:lnTo>
                <a:lnTo>
                  <a:pt x="1237" y="611"/>
                </a:lnTo>
                <a:lnTo>
                  <a:pt x="1237" y="610"/>
                </a:lnTo>
                <a:lnTo>
                  <a:pt x="1236" y="610"/>
                </a:lnTo>
                <a:lnTo>
                  <a:pt x="1236" y="611"/>
                </a:lnTo>
                <a:lnTo>
                  <a:pt x="1236" y="612"/>
                </a:lnTo>
                <a:lnTo>
                  <a:pt x="1235" y="612"/>
                </a:lnTo>
                <a:lnTo>
                  <a:pt x="1235" y="611"/>
                </a:lnTo>
                <a:lnTo>
                  <a:pt x="1235" y="610"/>
                </a:lnTo>
                <a:lnTo>
                  <a:pt x="1235" y="611"/>
                </a:lnTo>
                <a:lnTo>
                  <a:pt x="1233" y="611"/>
                </a:lnTo>
                <a:lnTo>
                  <a:pt x="1235" y="611"/>
                </a:lnTo>
                <a:lnTo>
                  <a:pt x="1235" y="612"/>
                </a:lnTo>
                <a:lnTo>
                  <a:pt x="1233" y="612"/>
                </a:lnTo>
                <a:lnTo>
                  <a:pt x="1233" y="614"/>
                </a:lnTo>
                <a:lnTo>
                  <a:pt x="1232" y="614"/>
                </a:lnTo>
                <a:lnTo>
                  <a:pt x="1232" y="615"/>
                </a:lnTo>
                <a:lnTo>
                  <a:pt x="1231" y="615"/>
                </a:lnTo>
                <a:lnTo>
                  <a:pt x="1229" y="615"/>
                </a:lnTo>
                <a:lnTo>
                  <a:pt x="1229" y="616"/>
                </a:lnTo>
                <a:lnTo>
                  <a:pt x="1229" y="615"/>
                </a:lnTo>
                <a:lnTo>
                  <a:pt x="1230" y="615"/>
                </a:lnTo>
                <a:lnTo>
                  <a:pt x="1229" y="615"/>
                </a:lnTo>
                <a:lnTo>
                  <a:pt x="1230" y="615"/>
                </a:lnTo>
                <a:lnTo>
                  <a:pt x="1230" y="614"/>
                </a:lnTo>
                <a:lnTo>
                  <a:pt x="1231" y="614"/>
                </a:lnTo>
                <a:lnTo>
                  <a:pt x="1231" y="612"/>
                </a:lnTo>
                <a:lnTo>
                  <a:pt x="1230" y="612"/>
                </a:lnTo>
                <a:lnTo>
                  <a:pt x="1231" y="612"/>
                </a:lnTo>
                <a:lnTo>
                  <a:pt x="1230" y="614"/>
                </a:lnTo>
                <a:lnTo>
                  <a:pt x="1229" y="614"/>
                </a:lnTo>
                <a:lnTo>
                  <a:pt x="1229" y="615"/>
                </a:lnTo>
                <a:lnTo>
                  <a:pt x="1228" y="615"/>
                </a:lnTo>
                <a:lnTo>
                  <a:pt x="1228" y="614"/>
                </a:lnTo>
                <a:lnTo>
                  <a:pt x="1228" y="615"/>
                </a:lnTo>
                <a:lnTo>
                  <a:pt x="1228" y="616"/>
                </a:lnTo>
                <a:lnTo>
                  <a:pt x="1226" y="616"/>
                </a:lnTo>
                <a:lnTo>
                  <a:pt x="1224" y="616"/>
                </a:lnTo>
                <a:lnTo>
                  <a:pt x="1223" y="616"/>
                </a:lnTo>
                <a:lnTo>
                  <a:pt x="1222" y="616"/>
                </a:lnTo>
                <a:lnTo>
                  <a:pt x="1223" y="616"/>
                </a:lnTo>
                <a:lnTo>
                  <a:pt x="1224" y="616"/>
                </a:lnTo>
                <a:lnTo>
                  <a:pt x="1225" y="616"/>
                </a:lnTo>
                <a:lnTo>
                  <a:pt x="1225" y="615"/>
                </a:lnTo>
                <a:lnTo>
                  <a:pt x="1224" y="615"/>
                </a:lnTo>
                <a:lnTo>
                  <a:pt x="1224" y="614"/>
                </a:lnTo>
                <a:lnTo>
                  <a:pt x="1225" y="614"/>
                </a:lnTo>
                <a:lnTo>
                  <a:pt x="1224" y="614"/>
                </a:lnTo>
                <a:lnTo>
                  <a:pt x="1224" y="612"/>
                </a:lnTo>
                <a:lnTo>
                  <a:pt x="1224" y="611"/>
                </a:lnTo>
                <a:lnTo>
                  <a:pt x="1224" y="610"/>
                </a:lnTo>
                <a:lnTo>
                  <a:pt x="1224" y="609"/>
                </a:lnTo>
                <a:lnTo>
                  <a:pt x="1223" y="609"/>
                </a:lnTo>
                <a:lnTo>
                  <a:pt x="1224" y="609"/>
                </a:lnTo>
                <a:lnTo>
                  <a:pt x="1224" y="608"/>
                </a:lnTo>
                <a:lnTo>
                  <a:pt x="1223" y="608"/>
                </a:lnTo>
                <a:lnTo>
                  <a:pt x="1223" y="609"/>
                </a:lnTo>
                <a:lnTo>
                  <a:pt x="1223" y="610"/>
                </a:lnTo>
                <a:lnTo>
                  <a:pt x="1222" y="610"/>
                </a:lnTo>
                <a:lnTo>
                  <a:pt x="1222" y="611"/>
                </a:lnTo>
                <a:lnTo>
                  <a:pt x="1222" y="612"/>
                </a:lnTo>
                <a:lnTo>
                  <a:pt x="1221" y="612"/>
                </a:lnTo>
                <a:lnTo>
                  <a:pt x="1221" y="614"/>
                </a:lnTo>
                <a:lnTo>
                  <a:pt x="1221" y="615"/>
                </a:lnTo>
                <a:lnTo>
                  <a:pt x="1219" y="615"/>
                </a:lnTo>
                <a:lnTo>
                  <a:pt x="1219" y="614"/>
                </a:lnTo>
                <a:lnTo>
                  <a:pt x="1218" y="614"/>
                </a:lnTo>
                <a:lnTo>
                  <a:pt x="1217" y="614"/>
                </a:lnTo>
                <a:lnTo>
                  <a:pt x="1217" y="615"/>
                </a:lnTo>
                <a:lnTo>
                  <a:pt x="1216" y="615"/>
                </a:lnTo>
                <a:lnTo>
                  <a:pt x="1215" y="615"/>
                </a:lnTo>
                <a:lnTo>
                  <a:pt x="1215" y="614"/>
                </a:lnTo>
                <a:lnTo>
                  <a:pt x="1214" y="614"/>
                </a:lnTo>
                <a:lnTo>
                  <a:pt x="1214" y="615"/>
                </a:lnTo>
                <a:lnTo>
                  <a:pt x="1212" y="615"/>
                </a:lnTo>
                <a:lnTo>
                  <a:pt x="1211" y="614"/>
                </a:lnTo>
                <a:lnTo>
                  <a:pt x="1210" y="612"/>
                </a:lnTo>
                <a:lnTo>
                  <a:pt x="1209" y="614"/>
                </a:lnTo>
                <a:lnTo>
                  <a:pt x="1211" y="614"/>
                </a:lnTo>
                <a:lnTo>
                  <a:pt x="1210" y="614"/>
                </a:lnTo>
                <a:lnTo>
                  <a:pt x="1209" y="614"/>
                </a:lnTo>
                <a:lnTo>
                  <a:pt x="1208" y="614"/>
                </a:lnTo>
                <a:lnTo>
                  <a:pt x="1208" y="615"/>
                </a:lnTo>
                <a:lnTo>
                  <a:pt x="1207" y="615"/>
                </a:lnTo>
                <a:lnTo>
                  <a:pt x="1206" y="615"/>
                </a:lnTo>
                <a:lnTo>
                  <a:pt x="1206" y="614"/>
                </a:lnTo>
                <a:lnTo>
                  <a:pt x="1204" y="614"/>
                </a:lnTo>
                <a:lnTo>
                  <a:pt x="1204" y="615"/>
                </a:lnTo>
                <a:lnTo>
                  <a:pt x="1203" y="616"/>
                </a:lnTo>
                <a:lnTo>
                  <a:pt x="1202" y="616"/>
                </a:lnTo>
                <a:lnTo>
                  <a:pt x="1202" y="617"/>
                </a:lnTo>
                <a:lnTo>
                  <a:pt x="1201" y="617"/>
                </a:lnTo>
                <a:lnTo>
                  <a:pt x="1200" y="617"/>
                </a:lnTo>
                <a:lnTo>
                  <a:pt x="1201" y="617"/>
                </a:lnTo>
                <a:lnTo>
                  <a:pt x="1200" y="617"/>
                </a:lnTo>
                <a:lnTo>
                  <a:pt x="1199" y="617"/>
                </a:lnTo>
                <a:lnTo>
                  <a:pt x="1199" y="616"/>
                </a:lnTo>
                <a:lnTo>
                  <a:pt x="1197" y="616"/>
                </a:lnTo>
                <a:lnTo>
                  <a:pt x="1196" y="616"/>
                </a:lnTo>
                <a:lnTo>
                  <a:pt x="1195" y="616"/>
                </a:lnTo>
                <a:lnTo>
                  <a:pt x="1195" y="615"/>
                </a:lnTo>
                <a:lnTo>
                  <a:pt x="1195" y="614"/>
                </a:lnTo>
                <a:lnTo>
                  <a:pt x="1194" y="614"/>
                </a:lnTo>
                <a:lnTo>
                  <a:pt x="1193" y="614"/>
                </a:lnTo>
                <a:lnTo>
                  <a:pt x="1192" y="615"/>
                </a:lnTo>
                <a:lnTo>
                  <a:pt x="1190" y="616"/>
                </a:lnTo>
                <a:lnTo>
                  <a:pt x="1189" y="616"/>
                </a:lnTo>
                <a:lnTo>
                  <a:pt x="1189" y="617"/>
                </a:lnTo>
                <a:lnTo>
                  <a:pt x="1189" y="618"/>
                </a:lnTo>
                <a:lnTo>
                  <a:pt x="1190" y="618"/>
                </a:lnTo>
                <a:lnTo>
                  <a:pt x="1192" y="619"/>
                </a:lnTo>
                <a:lnTo>
                  <a:pt x="1193" y="619"/>
                </a:lnTo>
                <a:lnTo>
                  <a:pt x="1194" y="619"/>
                </a:lnTo>
                <a:lnTo>
                  <a:pt x="1195" y="618"/>
                </a:lnTo>
                <a:lnTo>
                  <a:pt x="1196" y="618"/>
                </a:lnTo>
                <a:lnTo>
                  <a:pt x="1196" y="617"/>
                </a:lnTo>
                <a:lnTo>
                  <a:pt x="1196" y="618"/>
                </a:lnTo>
                <a:lnTo>
                  <a:pt x="1197" y="618"/>
                </a:lnTo>
                <a:lnTo>
                  <a:pt x="1197" y="617"/>
                </a:lnTo>
                <a:lnTo>
                  <a:pt x="1199" y="617"/>
                </a:lnTo>
                <a:lnTo>
                  <a:pt x="1199" y="618"/>
                </a:lnTo>
                <a:lnTo>
                  <a:pt x="1197" y="618"/>
                </a:lnTo>
                <a:lnTo>
                  <a:pt x="1199" y="618"/>
                </a:lnTo>
                <a:lnTo>
                  <a:pt x="1199" y="617"/>
                </a:lnTo>
                <a:lnTo>
                  <a:pt x="1200" y="617"/>
                </a:lnTo>
                <a:lnTo>
                  <a:pt x="1200" y="618"/>
                </a:lnTo>
                <a:lnTo>
                  <a:pt x="1199" y="618"/>
                </a:lnTo>
                <a:lnTo>
                  <a:pt x="1199" y="619"/>
                </a:lnTo>
                <a:lnTo>
                  <a:pt x="1197" y="619"/>
                </a:lnTo>
                <a:lnTo>
                  <a:pt x="1196" y="619"/>
                </a:lnTo>
                <a:lnTo>
                  <a:pt x="1196" y="621"/>
                </a:lnTo>
                <a:lnTo>
                  <a:pt x="1197" y="621"/>
                </a:lnTo>
                <a:lnTo>
                  <a:pt x="1197" y="622"/>
                </a:lnTo>
                <a:lnTo>
                  <a:pt x="1199" y="622"/>
                </a:lnTo>
                <a:lnTo>
                  <a:pt x="1200" y="622"/>
                </a:lnTo>
                <a:lnTo>
                  <a:pt x="1200" y="621"/>
                </a:lnTo>
                <a:lnTo>
                  <a:pt x="1200" y="619"/>
                </a:lnTo>
                <a:lnTo>
                  <a:pt x="1201" y="619"/>
                </a:lnTo>
                <a:lnTo>
                  <a:pt x="1201" y="618"/>
                </a:lnTo>
                <a:lnTo>
                  <a:pt x="1202" y="618"/>
                </a:lnTo>
                <a:lnTo>
                  <a:pt x="1202" y="619"/>
                </a:lnTo>
                <a:lnTo>
                  <a:pt x="1203" y="619"/>
                </a:lnTo>
                <a:lnTo>
                  <a:pt x="1202" y="619"/>
                </a:lnTo>
                <a:lnTo>
                  <a:pt x="1202" y="621"/>
                </a:lnTo>
                <a:lnTo>
                  <a:pt x="1201" y="621"/>
                </a:lnTo>
                <a:lnTo>
                  <a:pt x="1202" y="621"/>
                </a:lnTo>
                <a:lnTo>
                  <a:pt x="1202" y="622"/>
                </a:lnTo>
                <a:lnTo>
                  <a:pt x="1202" y="621"/>
                </a:lnTo>
                <a:lnTo>
                  <a:pt x="1202" y="622"/>
                </a:lnTo>
                <a:lnTo>
                  <a:pt x="1203" y="622"/>
                </a:lnTo>
                <a:lnTo>
                  <a:pt x="1202" y="622"/>
                </a:lnTo>
                <a:lnTo>
                  <a:pt x="1202" y="623"/>
                </a:lnTo>
                <a:lnTo>
                  <a:pt x="1201" y="623"/>
                </a:lnTo>
                <a:lnTo>
                  <a:pt x="1201" y="624"/>
                </a:lnTo>
                <a:lnTo>
                  <a:pt x="1201" y="623"/>
                </a:lnTo>
                <a:lnTo>
                  <a:pt x="1200" y="623"/>
                </a:lnTo>
                <a:lnTo>
                  <a:pt x="1200" y="624"/>
                </a:lnTo>
                <a:lnTo>
                  <a:pt x="1199" y="624"/>
                </a:lnTo>
                <a:lnTo>
                  <a:pt x="1199" y="625"/>
                </a:lnTo>
                <a:lnTo>
                  <a:pt x="1200" y="625"/>
                </a:lnTo>
                <a:lnTo>
                  <a:pt x="1199" y="625"/>
                </a:lnTo>
                <a:lnTo>
                  <a:pt x="1197" y="624"/>
                </a:lnTo>
                <a:lnTo>
                  <a:pt x="1197" y="625"/>
                </a:lnTo>
                <a:lnTo>
                  <a:pt x="1196" y="625"/>
                </a:lnTo>
                <a:lnTo>
                  <a:pt x="1196" y="626"/>
                </a:lnTo>
                <a:lnTo>
                  <a:pt x="1196" y="628"/>
                </a:lnTo>
                <a:lnTo>
                  <a:pt x="1197" y="628"/>
                </a:lnTo>
                <a:lnTo>
                  <a:pt x="1199" y="628"/>
                </a:lnTo>
                <a:lnTo>
                  <a:pt x="1197" y="628"/>
                </a:lnTo>
                <a:lnTo>
                  <a:pt x="1199" y="628"/>
                </a:lnTo>
                <a:lnTo>
                  <a:pt x="1199" y="629"/>
                </a:lnTo>
                <a:lnTo>
                  <a:pt x="1199" y="630"/>
                </a:lnTo>
                <a:lnTo>
                  <a:pt x="1200" y="629"/>
                </a:lnTo>
                <a:lnTo>
                  <a:pt x="1200" y="630"/>
                </a:lnTo>
                <a:lnTo>
                  <a:pt x="1201" y="630"/>
                </a:lnTo>
                <a:lnTo>
                  <a:pt x="1200" y="630"/>
                </a:lnTo>
                <a:lnTo>
                  <a:pt x="1201" y="630"/>
                </a:lnTo>
                <a:lnTo>
                  <a:pt x="1202" y="630"/>
                </a:lnTo>
                <a:lnTo>
                  <a:pt x="1202" y="631"/>
                </a:lnTo>
                <a:lnTo>
                  <a:pt x="1202" y="630"/>
                </a:lnTo>
                <a:lnTo>
                  <a:pt x="1203" y="630"/>
                </a:lnTo>
                <a:lnTo>
                  <a:pt x="1202" y="631"/>
                </a:lnTo>
                <a:lnTo>
                  <a:pt x="1203" y="631"/>
                </a:lnTo>
                <a:lnTo>
                  <a:pt x="1203" y="630"/>
                </a:lnTo>
                <a:lnTo>
                  <a:pt x="1203" y="631"/>
                </a:lnTo>
                <a:lnTo>
                  <a:pt x="1203" y="632"/>
                </a:lnTo>
                <a:lnTo>
                  <a:pt x="1204" y="632"/>
                </a:lnTo>
                <a:lnTo>
                  <a:pt x="1204" y="633"/>
                </a:lnTo>
                <a:lnTo>
                  <a:pt x="1204" y="632"/>
                </a:lnTo>
                <a:lnTo>
                  <a:pt x="1204" y="633"/>
                </a:lnTo>
                <a:lnTo>
                  <a:pt x="1204" y="632"/>
                </a:lnTo>
                <a:lnTo>
                  <a:pt x="1203" y="632"/>
                </a:lnTo>
                <a:lnTo>
                  <a:pt x="1203" y="633"/>
                </a:lnTo>
                <a:lnTo>
                  <a:pt x="1204" y="633"/>
                </a:lnTo>
                <a:lnTo>
                  <a:pt x="1203" y="635"/>
                </a:lnTo>
                <a:lnTo>
                  <a:pt x="1203" y="633"/>
                </a:lnTo>
                <a:lnTo>
                  <a:pt x="1203" y="635"/>
                </a:lnTo>
                <a:lnTo>
                  <a:pt x="1202" y="635"/>
                </a:lnTo>
                <a:lnTo>
                  <a:pt x="1202" y="636"/>
                </a:lnTo>
                <a:lnTo>
                  <a:pt x="1202" y="635"/>
                </a:lnTo>
                <a:lnTo>
                  <a:pt x="1201" y="635"/>
                </a:lnTo>
                <a:lnTo>
                  <a:pt x="1201" y="633"/>
                </a:lnTo>
                <a:lnTo>
                  <a:pt x="1201" y="635"/>
                </a:lnTo>
                <a:lnTo>
                  <a:pt x="1200" y="635"/>
                </a:lnTo>
                <a:lnTo>
                  <a:pt x="1200" y="636"/>
                </a:lnTo>
                <a:lnTo>
                  <a:pt x="1199" y="637"/>
                </a:lnTo>
                <a:lnTo>
                  <a:pt x="1199" y="636"/>
                </a:lnTo>
                <a:lnTo>
                  <a:pt x="1200" y="636"/>
                </a:lnTo>
                <a:lnTo>
                  <a:pt x="1200" y="635"/>
                </a:lnTo>
                <a:lnTo>
                  <a:pt x="1201" y="633"/>
                </a:lnTo>
                <a:lnTo>
                  <a:pt x="1200" y="633"/>
                </a:lnTo>
                <a:lnTo>
                  <a:pt x="1201" y="633"/>
                </a:lnTo>
                <a:lnTo>
                  <a:pt x="1201" y="632"/>
                </a:lnTo>
                <a:lnTo>
                  <a:pt x="1200" y="633"/>
                </a:lnTo>
                <a:lnTo>
                  <a:pt x="1200" y="635"/>
                </a:lnTo>
                <a:lnTo>
                  <a:pt x="1199" y="635"/>
                </a:lnTo>
                <a:lnTo>
                  <a:pt x="1199" y="633"/>
                </a:lnTo>
                <a:lnTo>
                  <a:pt x="1200" y="633"/>
                </a:lnTo>
                <a:lnTo>
                  <a:pt x="1199" y="633"/>
                </a:lnTo>
                <a:lnTo>
                  <a:pt x="1199" y="632"/>
                </a:lnTo>
                <a:lnTo>
                  <a:pt x="1199" y="631"/>
                </a:lnTo>
                <a:lnTo>
                  <a:pt x="1199" y="632"/>
                </a:lnTo>
                <a:lnTo>
                  <a:pt x="1197" y="632"/>
                </a:lnTo>
                <a:lnTo>
                  <a:pt x="1197" y="631"/>
                </a:lnTo>
                <a:lnTo>
                  <a:pt x="1196" y="631"/>
                </a:lnTo>
                <a:lnTo>
                  <a:pt x="1195" y="631"/>
                </a:lnTo>
                <a:lnTo>
                  <a:pt x="1194" y="631"/>
                </a:lnTo>
                <a:lnTo>
                  <a:pt x="1195" y="630"/>
                </a:lnTo>
                <a:lnTo>
                  <a:pt x="1195" y="629"/>
                </a:lnTo>
                <a:lnTo>
                  <a:pt x="1194" y="629"/>
                </a:lnTo>
                <a:lnTo>
                  <a:pt x="1195" y="629"/>
                </a:lnTo>
                <a:lnTo>
                  <a:pt x="1195" y="628"/>
                </a:lnTo>
                <a:lnTo>
                  <a:pt x="1194" y="628"/>
                </a:lnTo>
                <a:lnTo>
                  <a:pt x="1194" y="629"/>
                </a:lnTo>
                <a:lnTo>
                  <a:pt x="1194" y="628"/>
                </a:lnTo>
                <a:lnTo>
                  <a:pt x="1193" y="629"/>
                </a:lnTo>
                <a:lnTo>
                  <a:pt x="1193" y="628"/>
                </a:lnTo>
                <a:lnTo>
                  <a:pt x="1192" y="628"/>
                </a:lnTo>
                <a:lnTo>
                  <a:pt x="1192" y="626"/>
                </a:lnTo>
                <a:lnTo>
                  <a:pt x="1190" y="626"/>
                </a:lnTo>
                <a:lnTo>
                  <a:pt x="1190" y="628"/>
                </a:lnTo>
                <a:lnTo>
                  <a:pt x="1190" y="626"/>
                </a:lnTo>
                <a:lnTo>
                  <a:pt x="1189" y="628"/>
                </a:lnTo>
                <a:lnTo>
                  <a:pt x="1190" y="628"/>
                </a:lnTo>
                <a:lnTo>
                  <a:pt x="1189" y="628"/>
                </a:lnTo>
                <a:lnTo>
                  <a:pt x="1190" y="628"/>
                </a:lnTo>
                <a:lnTo>
                  <a:pt x="1190" y="629"/>
                </a:lnTo>
                <a:lnTo>
                  <a:pt x="1192" y="629"/>
                </a:lnTo>
                <a:lnTo>
                  <a:pt x="1192" y="630"/>
                </a:lnTo>
                <a:lnTo>
                  <a:pt x="1192" y="631"/>
                </a:lnTo>
                <a:lnTo>
                  <a:pt x="1190" y="631"/>
                </a:lnTo>
                <a:lnTo>
                  <a:pt x="1190" y="632"/>
                </a:lnTo>
                <a:lnTo>
                  <a:pt x="1190" y="633"/>
                </a:lnTo>
                <a:lnTo>
                  <a:pt x="1189" y="633"/>
                </a:lnTo>
                <a:lnTo>
                  <a:pt x="1188" y="635"/>
                </a:lnTo>
                <a:lnTo>
                  <a:pt x="1188" y="633"/>
                </a:lnTo>
                <a:lnTo>
                  <a:pt x="1188" y="632"/>
                </a:lnTo>
                <a:lnTo>
                  <a:pt x="1188" y="631"/>
                </a:lnTo>
                <a:lnTo>
                  <a:pt x="1188" y="632"/>
                </a:lnTo>
                <a:lnTo>
                  <a:pt x="1187" y="631"/>
                </a:lnTo>
                <a:lnTo>
                  <a:pt x="1186" y="632"/>
                </a:lnTo>
                <a:lnTo>
                  <a:pt x="1187" y="631"/>
                </a:lnTo>
                <a:lnTo>
                  <a:pt x="1186" y="631"/>
                </a:lnTo>
                <a:lnTo>
                  <a:pt x="1186" y="630"/>
                </a:lnTo>
                <a:lnTo>
                  <a:pt x="1186" y="631"/>
                </a:lnTo>
                <a:lnTo>
                  <a:pt x="1185" y="631"/>
                </a:lnTo>
                <a:lnTo>
                  <a:pt x="1183" y="631"/>
                </a:lnTo>
                <a:lnTo>
                  <a:pt x="1185" y="631"/>
                </a:lnTo>
                <a:lnTo>
                  <a:pt x="1183" y="631"/>
                </a:lnTo>
                <a:lnTo>
                  <a:pt x="1183" y="632"/>
                </a:lnTo>
                <a:lnTo>
                  <a:pt x="1182" y="632"/>
                </a:lnTo>
                <a:lnTo>
                  <a:pt x="1182" y="633"/>
                </a:lnTo>
                <a:lnTo>
                  <a:pt x="1181" y="633"/>
                </a:lnTo>
                <a:lnTo>
                  <a:pt x="1180" y="633"/>
                </a:lnTo>
                <a:lnTo>
                  <a:pt x="1181" y="633"/>
                </a:lnTo>
                <a:lnTo>
                  <a:pt x="1180" y="633"/>
                </a:lnTo>
                <a:lnTo>
                  <a:pt x="1180" y="632"/>
                </a:lnTo>
                <a:lnTo>
                  <a:pt x="1180" y="633"/>
                </a:lnTo>
                <a:lnTo>
                  <a:pt x="1179" y="633"/>
                </a:lnTo>
                <a:lnTo>
                  <a:pt x="1179" y="632"/>
                </a:lnTo>
                <a:lnTo>
                  <a:pt x="1178" y="632"/>
                </a:lnTo>
                <a:lnTo>
                  <a:pt x="1176" y="632"/>
                </a:lnTo>
                <a:lnTo>
                  <a:pt x="1175" y="632"/>
                </a:lnTo>
                <a:lnTo>
                  <a:pt x="1174" y="631"/>
                </a:lnTo>
                <a:lnTo>
                  <a:pt x="1174" y="630"/>
                </a:lnTo>
                <a:lnTo>
                  <a:pt x="1174" y="631"/>
                </a:lnTo>
                <a:lnTo>
                  <a:pt x="1174" y="630"/>
                </a:lnTo>
                <a:lnTo>
                  <a:pt x="1175" y="630"/>
                </a:lnTo>
                <a:lnTo>
                  <a:pt x="1176" y="630"/>
                </a:lnTo>
                <a:lnTo>
                  <a:pt x="1176" y="631"/>
                </a:lnTo>
                <a:lnTo>
                  <a:pt x="1175" y="631"/>
                </a:lnTo>
                <a:lnTo>
                  <a:pt x="1176" y="631"/>
                </a:lnTo>
                <a:lnTo>
                  <a:pt x="1176" y="630"/>
                </a:lnTo>
                <a:lnTo>
                  <a:pt x="1175" y="630"/>
                </a:lnTo>
                <a:lnTo>
                  <a:pt x="1175" y="629"/>
                </a:lnTo>
                <a:lnTo>
                  <a:pt x="1175" y="628"/>
                </a:lnTo>
                <a:lnTo>
                  <a:pt x="1175" y="626"/>
                </a:lnTo>
                <a:lnTo>
                  <a:pt x="1176" y="626"/>
                </a:lnTo>
                <a:lnTo>
                  <a:pt x="1175" y="626"/>
                </a:lnTo>
                <a:lnTo>
                  <a:pt x="1175" y="628"/>
                </a:lnTo>
                <a:lnTo>
                  <a:pt x="1174" y="628"/>
                </a:lnTo>
                <a:lnTo>
                  <a:pt x="1173" y="628"/>
                </a:lnTo>
                <a:lnTo>
                  <a:pt x="1174" y="626"/>
                </a:lnTo>
                <a:lnTo>
                  <a:pt x="1173" y="626"/>
                </a:lnTo>
                <a:lnTo>
                  <a:pt x="1173" y="628"/>
                </a:lnTo>
                <a:lnTo>
                  <a:pt x="1172" y="628"/>
                </a:lnTo>
                <a:lnTo>
                  <a:pt x="1172" y="626"/>
                </a:lnTo>
                <a:lnTo>
                  <a:pt x="1172" y="625"/>
                </a:lnTo>
                <a:lnTo>
                  <a:pt x="1171" y="625"/>
                </a:lnTo>
                <a:lnTo>
                  <a:pt x="1172" y="624"/>
                </a:lnTo>
                <a:lnTo>
                  <a:pt x="1171" y="624"/>
                </a:lnTo>
                <a:lnTo>
                  <a:pt x="1169" y="624"/>
                </a:lnTo>
                <a:lnTo>
                  <a:pt x="1168" y="624"/>
                </a:lnTo>
                <a:lnTo>
                  <a:pt x="1168" y="623"/>
                </a:lnTo>
                <a:lnTo>
                  <a:pt x="1169" y="623"/>
                </a:lnTo>
                <a:lnTo>
                  <a:pt x="1168" y="623"/>
                </a:lnTo>
                <a:lnTo>
                  <a:pt x="1167" y="623"/>
                </a:lnTo>
                <a:lnTo>
                  <a:pt x="1166" y="623"/>
                </a:lnTo>
                <a:lnTo>
                  <a:pt x="1165" y="624"/>
                </a:lnTo>
                <a:lnTo>
                  <a:pt x="1165" y="623"/>
                </a:lnTo>
                <a:lnTo>
                  <a:pt x="1164" y="624"/>
                </a:lnTo>
                <a:lnTo>
                  <a:pt x="1165" y="624"/>
                </a:lnTo>
                <a:lnTo>
                  <a:pt x="1165" y="625"/>
                </a:lnTo>
                <a:lnTo>
                  <a:pt x="1166" y="625"/>
                </a:lnTo>
                <a:lnTo>
                  <a:pt x="1165" y="625"/>
                </a:lnTo>
                <a:lnTo>
                  <a:pt x="1165" y="626"/>
                </a:lnTo>
                <a:lnTo>
                  <a:pt x="1164" y="626"/>
                </a:lnTo>
                <a:lnTo>
                  <a:pt x="1162" y="626"/>
                </a:lnTo>
                <a:lnTo>
                  <a:pt x="1162" y="628"/>
                </a:lnTo>
                <a:lnTo>
                  <a:pt x="1161" y="628"/>
                </a:lnTo>
                <a:lnTo>
                  <a:pt x="1159" y="626"/>
                </a:lnTo>
                <a:lnTo>
                  <a:pt x="1157" y="626"/>
                </a:lnTo>
                <a:lnTo>
                  <a:pt x="1155" y="625"/>
                </a:lnTo>
                <a:lnTo>
                  <a:pt x="1154" y="625"/>
                </a:lnTo>
                <a:lnTo>
                  <a:pt x="1154" y="624"/>
                </a:lnTo>
                <a:lnTo>
                  <a:pt x="1153" y="624"/>
                </a:lnTo>
                <a:lnTo>
                  <a:pt x="1152" y="624"/>
                </a:lnTo>
                <a:lnTo>
                  <a:pt x="1151" y="623"/>
                </a:lnTo>
                <a:lnTo>
                  <a:pt x="1150" y="623"/>
                </a:lnTo>
                <a:lnTo>
                  <a:pt x="1148" y="623"/>
                </a:lnTo>
                <a:lnTo>
                  <a:pt x="1148" y="624"/>
                </a:lnTo>
                <a:lnTo>
                  <a:pt x="1148" y="623"/>
                </a:lnTo>
                <a:lnTo>
                  <a:pt x="1147" y="623"/>
                </a:lnTo>
                <a:lnTo>
                  <a:pt x="1146" y="623"/>
                </a:lnTo>
                <a:lnTo>
                  <a:pt x="1146" y="624"/>
                </a:lnTo>
                <a:lnTo>
                  <a:pt x="1145" y="624"/>
                </a:lnTo>
                <a:lnTo>
                  <a:pt x="1144" y="624"/>
                </a:lnTo>
                <a:lnTo>
                  <a:pt x="1143" y="624"/>
                </a:lnTo>
                <a:lnTo>
                  <a:pt x="1142" y="624"/>
                </a:lnTo>
                <a:lnTo>
                  <a:pt x="1142" y="623"/>
                </a:lnTo>
                <a:lnTo>
                  <a:pt x="1143" y="623"/>
                </a:lnTo>
                <a:lnTo>
                  <a:pt x="1143" y="622"/>
                </a:lnTo>
                <a:lnTo>
                  <a:pt x="1144" y="622"/>
                </a:lnTo>
                <a:lnTo>
                  <a:pt x="1144" y="621"/>
                </a:lnTo>
                <a:lnTo>
                  <a:pt x="1143" y="619"/>
                </a:lnTo>
                <a:lnTo>
                  <a:pt x="1143" y="621"/>
                </a:lnTo>
                <a:lnTo>
                  <a:pt x="1143" y="619"/>
                </a:lnTo>
                <a:lnTo>
                  <a:pt x="1143" y="621"/>
                </a:lnTo>
                <a:lnTo>
                  <a:pt x="1142" y="622"/>
                </a:lnTo>
                <a:lnTo>
                  <a:pt x="1140" y="623"/>
                </a:lnTo>
                <a:lnTo>
                  <a:pt x="1142" y="624"/>
                </a:lnTo>
                <a:lnTo>
                  <a:pt x="1142" y="625"/>
                </a:lnTo>
                <a:lnTo>
                  <a:pt x="1140" y="625"/>
                </a:lnTo>
                <a:lnTo>
                  <a:pt x="1139" y="625"/>
                </a:lnTo>
                <a:lnTo>
                  <a:pt x="1138" y="625"/>
                </a:lnTo>
                <a:lnTo>
                  <a:pt x="1136" y="626"/>
                </a:lnTo>
                <a:lnTo>
                  <a:pt x="1135" y="626"/>
                </a:lnTo>
                <a:lnTo>
                  <a:pt x="1130" y="629"/>
                </a:lnTo>
                <a:lnTo>
                  <a:pt x="1129" y="629"/>
                </a:lnTo>
                <a:lnTo>
                  <a:pt x="1129" y="630"/>
                </a:lnTo>
                <a:lnTo>
                  <a:pt x="1128" y="630"/>
                </a:lnTo>
                <a:lnTo>
                  <a:pt x="1129" y="629"/>
                </a:lnTo>
                <a:lnTo>
                  <a:pt x="1130" y="628"/>
                </a:lnTo>
                <a:lnTo>
                  <a:pt x="1131" y="628"/>
                </a:lnTo>
                <a:lnTo>
                  <a:pt x="1132" y="628"/>
                </a:lnTo>
                <a:lnTo>
                  <a:pt x="1132" y="626"/>
                </a:lnTo>
                <a:lnTo>
                  <a:pt x="1131" y="626"/>
                </a:lnTo>
                <a:lnTo>
                  <a:pt x="1130" y="628"/>
                </a:lnTo>
                <a:lnTo>
                  <a:pt x="1129" y="628"/>
                </a:lnTo>
                <a:lnTo>
                  <a:pt x="1129" y="626"/>
                </a:lnTo>
                <a:lnTo>
                  <a:pt x="1129" y="628"/>
                </a:lnTo>
                <a:lnTo>
                  <a:pt x="1129" y="626"/>
                </a:lnTo>
                <a:lnTo>
                  <a:pt x="1130" y="626"/>
                </a:lnTo>
                <a:lnTo>
                  <a:pt x="1130" y="625"/>
                </a:lnTo>
                <a:lnTo>
                  <a:pt x="1130" y="624"/>
                </a:lnTo>
                <a:lnTo>
                  <a:pt x="1130" y="623"/>
                </a:lnTo>
                <a:lnTo>
                  <a:pt x="1129" y="623"/>
                </a:lnTo>
                <a:lnTo>
                  <a:pt x="1129" y="624"/>
                </a:lnTo>
                <a:lnTo>
                  <a:pt x="1128" y="625"/>
                </a:lnTo>
                <a:lnTo>
                  <a:pt x="1126" y="625"/>
                </a:lnTo>
                <a:lnTo>
                  <a:pt x="1126" y="624"/>
                </a:lnTo>
                <a:lnTo>
                  <a:pt x="1125" y="624"/>
                </a:lnTo>
                <a:lnTo>
                  <a:pt x="1126" y="624"/>
                </a:lnTo>
                <a:lnTo>
                  <a:pt x="1126" y="625"/>
                </a:lnTo>
                <a:lnTo>
                  <a:pt x="1125" y="625"/>
                </a:lnTo>
                <a:lnTo>
                  <a:pt x="1126" y="626"/>
                </a:lnTo>
                <a:lnTo>
                  <a:pt x="1125" y="626"/>
                </a:lnTo>
                <a:lnTo>
                  <a:pt x="1125" y="628"/>
                </a:lnTo>
                <a:lnTo>
                  <a:pt x="1126" y="628"/>
                </a:lnTo>
                <a:lnTo>
                  <a:pt x="1125" y="629"/>
                </a:lnTo>
                <a:lnTo>
                  <a:pt x="1126" y="629"/>
                </a:lnTo>
                <a:lnTo>
                  <a:pt x="1125" y="629"/>
                </a:lnTo>
                <a:lnTo>
                  <a:pt x="1126" y="629"/>
                </a:lnTo>
                <a:lnTo>
                  <a:pt x="1126" y="630"/>
                </a:lnTo>
                <a:lnTo>
                  <a:pt x="1128" y="630"/>
                </a:lnTo>
                <a:lnTo>
                  <a:pt x="1126" y="630"/>
                </a:lnTo>
                <a:lnTo>
                  <a:pt x="1125" y="631"/>
                </a:lnTo>
                <a:lnTo>
                  <a:pt x="1124" y="631"/>
                </a:lnTo>
                <a:lnTo>
                  <a:pt x="1123" y="632"/>
                </a:lnTo>
                <a:lnTo>
                  <a:pt x="1123" y="633"/>
                </a:lnTo>
                <a:lnTo>
                  <a:pt x="1123" y="632"/>
                </a:lnTo>
                <a:lnTo>
                  <a:pt x="1122" y="632"/>
                </a:lnTo>
                <a:lnTo>
                  <a:pt x="1122" y="633"/>
                </a:lnTo>
                <a:lnTo>
                  <a:pt x="1122" y="635"/>
                </a:lnTo>
                <a:lnTo>
                  <a:pt x="1121" y="636"/>
                </a:lnTo>
                <a:lnTo>
                  <a:pt x="1119" y="636"/>
                </a:lnTo>
                <a:lnTo>
                  <a:pt x="1119" y="637"/>
                </a:lnTo>
                <a:lnTo>
                  <a:pt x="1118" y="637"/>
                </a:lnTo>
                <a:lnTo>
                  <a:pt x="1118" y="638"/>
                </a:lnTo>
                <a:lnTo>
                  <a:pt x="1117" y="638"/>
                </a:lnTo>
                <a:lnTo>
                  <a:pt x="1116" y="638"/>
                </a:lnTo>
                <a:lnTo>
                  <a:pt x="1115" y="639"/>
                </a:lnTo>
                <a:lnTo>
                  <a:pt x="1114" y="639"/>
                </a:lnTo>
                <a:lnTo>
                  <a:pt x="1112" y="639"/>
                </a:lnTo>
                <a:lnTo>
                  <a:pt x="1111" y="640"/>
                </a:lnTo>
                <a:lnTo>
                  <a:pt x="1109" y="640"/>
                </a:lnTo>
                <a:lnTo>
                  <a:pt x="1109" y="642"/>
                </a:lnTo>
                <a:lnTo>
                  <a:pt x="1110" y="642"/>
                </a:lnTo>
                <a:lnTo>
                  <a:pt x="1111" y="640"/>
                </a:lnTo>
                <a:lnTo>
                  <a:pt x="1112" y="640"/>
                </a:lnTo>
                <a:lnTo>
                  <a:pt x="1111" y="642"/>
                </a:lnTo>
                <a:lnTo>
                  <a:pt x="1110" y="642"/>
                </a:lnTo>
                <a:lnTo>
                  <a:pt x="1109" y="642"/>
                </a:lnTo>
                <a:lnTo>
                  <a:pt x="1108" y="643"/>
                </a:lnTo>
                <a:lnTo>
                  <a:pt x="1107" y="643"/>
                </a:lnTo>
                <a:lnTo>
                  <a:pt x="1105" y="644"/>
                </a:lnTo>
                <a:lnTo>
                  <a:pt x="1105" y="643"/>
                </a:lnTo>
                <a:lnTo>
                  <a:pt x="1107" y="643"/>
                </a:lnTo>
                <a:lnTo>
                  <a:pt x="1108" y="642"/>
                </a:lnTo>
                <a:lnTo>
                  <a:pt x="1109" y="642"/>
                </a:lnTo>
                <a:lnTo>
                  <a:pt x="1108" y="642"/>
                </a:lnTo>
                <a:lnTo>
                  <a:pt x="1107" y="642"/>
                </a:lnTo>
                <a:lnTo>
                  <a:pt x="1105" y="642"/>
                </a:lnTo>
                <a:lnTo>
                  <a:pt x="1107" y="642"/>
                </a:lnTo>
                <a:lnTo>
                  <a:pt x="1105" y="642"/>
                </a:lnTo>
                <a:lnTo>
                  <a:pt x="1107" y="640"/>
                </a:lnTo>
                <a:lnTo>
                  <a:pt x="1105" y="640"/>
                </a:lnTo>
                <a:lnTo>
                  <a:pt x="1104" y="642"/>
                </a:lnTo>
                <a:lnTo>
                  <a:pt x="1103" y="640"/>
                </a:lnTo>
                <a:lnTo>
                  <a:pt x="1104" y="640"/>
                </a:lnTo>
                <a:lnTo>
                  <a:pt x="1103" y="639"/>
                </a:lnTo>
                <a:lnTo>
                  <a:pt x="1103" y="640"/>
                </a:lnTo>
                <a:lnTo>
                  <a:pt x="1103" y="639"/>
                </a:lnTo>
                <a:lnTo>
                  <a:pt x="1103" y="640"/>
                </a:lnTo>
                <a:lnTo>
                  <a:pt x="1103" y="642"/>
                </a:lnTo>
                <a:lnTo>
                  <a:pt x="1102" y="643"/>
                </a:lnTo>
                <a:lnTo>
                  <a:pt x="1102" y="642"/>
                </a:lnTo>
                <a:lnTo>
                  <a:pt x="1103" y="642"/>
                </a:lnTo>
                <a:lnTo>
                  <a:pt x="1102" y="642"/>
                </a:lnTo>
                <a:lnTo>
                  <a:pt x="1101" y="642"/>
                </a:lnTo>
                <a:lnTo>
                  <a:pt x="1101" y="640"/>
                </a:lnTo>
                <a:lnTo>
                  <a:pt x="1100" y="640"/>
                </a:lnTo>
                <a:lnTo>
                  <a:pt x="1101" y="642"/>
                </a:lnTo>
                <a:lnTo>
                  <a:pt x="1101" y="643"/>
                </a:lnTo>
                <a:lnTo>
                  <a:pt x="1102" y="643"/>
                </a:lnTo>
                <a:lnTo>
                  <a:pt x="1102" y="644"/>
                </a:lnTo>
                <a:lnTo>
                  <a:pt x="1101" y="644"/>
                </a:lnTo>
                <a:lnTo>
                  <a:pt x="1102" y="644"/>
                </a:lnTo>
                <a:lnTo>
                  <a:pt x="1102" y="645"/>
                </a:lnTo>
                <a:lnTo>
                  <a:pt x="1101" y="645"/>
                </a:lnTo>
                <a:lnTo>
                  <a:pt x="1098" y="646"/>
                </a:lnTo>
                <a:lnTo>
                  <a:pt x="1098" y="645"/>
                </a:lnTo>
                <a:lnTo>
                  <a:pt x="1097" y="645"/>
                </a:lnTo>
                <a:lnTo>
                  <a:pt x="1097" y="644"/>
                </a:lnTo>
                <a:lnTo>
                  <a:pt x="1097" y="645"/>
                </a:lnTo>
                <a:lnTo>
                  <a:pt x="1096" y="645"/>
                </a:lnTo>
                <a:lnTo>
                  <a:pt x="1097" y="646"/>
                </a:lnTo>
                <a:lnTo>
                  <a:pt x="1096" y="646"/>
                </a:lnTo>
                <a:lnTo>
                  <a:pt x="1096" y="647"/>
                </a:lnTo>
                <a:lnTo>
                  <a:pt x="1096" y="649"/>
                </a:lnTo>
                <a:lnTo>
                  <a:pt x="1095" y="649"/>
                </a:lnTo>
                <a:lnTo>
                  <a:pt x="1095" y="650"/>
                </a:lnTo>
                <a:lnTo>
                  <a:pt x="1094" y="650"/>
                </a:lnTo>
                <a:lnTo>
                  <a:pt x="1094" y="649"/>
                </a:lnTo>
                <a:lnTo>
                  <a:pt x="1095" y="649"/>
                </a:lnTo>
                <a:lnTo>
                  <a:pt x="1095" y="647"/>
                </a:lnTo>
                <a:lnTo>
                  <a:pt x="1094" y="649"/>
                </a:lnTo>
                <a:lnTo>
                  <a:pt x="1094" y="650"/>
                </a:lnTo>
                <a:lnTo>
                  <a:pt x="1093" y="650"/>
                </a:lnTo>
                <a:lnTo>
                  <a:pt x="1093" y="649"/>
                </a:lnTo>
                <a:lnTo>
                  <a:pt x="1094" y="649"/>
                </a:lnTo>
                <a:lnTo>
                  <a:pt x="1093" y="649"/>
                </a:lnTo>
                <a:lnTo>
                  <a:pt x="1091" y="649"/>
                </a:lnTo>
                <a:lnTo>
                  <a:pt x="1091" y="650"/>
                </a:lnTo>
                <a:lnTo>
                  <a:pt x="1090" y="650"/>
                </a:lnTo>
                <a:lnTo>
                  <a:pt x="1090" y="651"/>
                </a:lnTo>
                <a:lnTo>
                  <a:pt x="1091" y="651"/>
                </a:lnTo>
                <a:lnTo>
                  <a:pt x="1090" y="651"/>
                </a:lnTo>
                <a:lnTo>
                  <a:pt x="1091" y="651"/>
                </a:lnTo>
                <a:lnTo>
                  <a:pt x="1091" y="650"/>
                </a:lnTo>
                <a:lnTo>
                  <a:pt x="1093" y="650"/>
                </a:lnTo>
                <a:lnTo>
                  <a:pt x="1093" y="651"/>
                </a:lnTo>
                <a:lnTo>
                  <a:pt x="1091" y="652"/>
                </a:lnTo>
                <a:lnTo>
                  <a:pt x="1090" y="654"/>
                </a:lnTo>
                <a:lnTo>
                  <a:pt x="1089" y="654"/>
                </a:lnTo>
                <a:lnTo>
                  <a:pt x="1089" y="653"/>
                </a:lnTo>
                <a:lnTo>
                  <a:pt x="1088" y="653"/>
                </a:lnTo>
                <a:lnTo>
                  <a:pt x="1087" y="653"/>
                </a:lnTo>
                <a:lnTo>
                  <a:pt x="1086" y="653"/>
                </a:lnTo>
                <a:lnTo>
                  <a:pt x="1086" y="654"/>
                </a:lnTo>
                <a:lnTo>
                  <a:pt x="1087" y="654"/>
                </a:lnTo>
                <a:lnTo>
                  <a:pt x="1087" y="656"/>
                </a:lnTo>
                <a:lnTo>
                  <a:pt x="1088" y="656"/>
                </a:lnTo>
                <a:lnTo>
                  <a:pt x="1088" y="657"/>
                </a:lnTo>
                <a:lnTo>
                  <a:pt x="1088" y="658"/>
                </a:lnTo>
                <a:lnTo>
                  <a:pt x="1087" y="658"/>
                </a:lnTo>
                <a:lnTo>
                  <a:pt x="1087" y="659"/>
                </a:lnTo>
                <a:lnTo>
                  <a:pt x="1086" y="660"/>
                </a:lnTo>
                <a:lnTo>
                  <a:pt x="1084" y="661"/>
                </a:lnTo>
                <a:lnTo>
                  <a:pt x="1084" y="663"/>
                </a:lnTo>
                <a:lnTo>
                  <a:pt x="1083" y="663"/>
                </a:lnTo>
                <a:lnTo>
                  <a:pt x="1084" y="663"/>
                </a:lnTo>
                <a:lnTo>
                  <a:pt x="1084" y="661"/>
                </a:lnTo>
                <a:lnTo>
                  <a:pt x="1083" y="661"/>
                </a:lnTo>
                <a:lnTo>
                  <a:pt x="1084" y="661"/>
                </a:lnTo>
                <a:lnTo>
                  <a:pt x="1083" y="661"/>
                </a:lnTo>
                <a:lnTo>
                  <a:pt x="1083" y="663"/>
                </a:lnTo>
                <a:lnTo>
                  <a:pt x="1082" y="661"/>
                </a:lnTo>
                <a:lnTo>
                  <a:pt x="1082" y="663"/>
                </a:lnTo>
                <a:lnTo>
                  <a:pt x="1081" y="660"/>
                </a:lnTo>
                <a:lnTo>
                  <a:pt x="1081" y="661"/>
                </a:lnTo>
                <a:lnTo>
                  <a:pt x="1081" y="663"/>
                </a:lnTo>
                <a:lnTo>
                  <a:pt x="1080" y="663"/>
                </a:lnTo>
                <a:lnTo>
                  <a:pt x="1081" y="663"/>
                </a:lnTo>
                <a:lnTo>
                  <a:pt x="1082" y="664"/>
                </a:lnTo>
                <a:lnTo>
                  <a:pt x="1083" y="664"/>
                </a:lnTo>
                <a:lnTo>
                  <a:pt x="1084" y="663"/>
                </a:lnTo>
                <a:lnTo>
                  <a:pt x="1084" y="664"/>
                </a:lnTo>
                <a:lnTo>
                  <a:pt x="1083" y="665"/>
                </a:lnTo>
                <a:lnTo>
                  <a:pt x="1083" y="666"/>
                </a:lnTo>
                <a:lnTo>
                  <a:pt x="1083" y="667"/>
                </a:lnTo>
                <a:lnTo>
                  <a:pt x="1082" y="667"/>
                </a:lnTo>
                <a:lnTo>
                  <a:pt x="1081" y="668"/>
                </a:lnTo>
                <a:lnTo>
                  <a:pt x="1082" y="668"/>
                </a:lnTo>
                <a:lnTo>
                  <a:pt x="1082" y="670"/>
                </a:lnTo>
                <a:lnTo>
                  <a:pt x="1082" y="668"/>
                </a:lnTo>
                <a:lnTo>
                  <a:pt x="1081" y="668"/>
                </a:lnTo>
                <a:lnTo>
                  <a:pt x="1081" y="670"/>
                </a:lnTo>
                <a:lnTo>
                  <a:pt x="1082" y="670"/>
                </a:lnTo>
                <a:lnTo>
                  <a:pt x="1082" y="671"/>
                </a:lnTo>
                <a:lnTo>
                  <a:pt x="1082" y="672"/>
                </a:lnTo>
                <a:lnTo>
                  <a:pt x="1082" y="673"/>
                </a:lnTo>
                <a:lnTo>
                  <a:pt x="1082" y="674"/>
                </a:lnTo>
                <a:lnTo>
                  <a:pt x="1082" y="675"/>
                </a:lnTo>
                <a:lnTo>
                  <a:pt x="1082" y="674"/>
                </a:lnTo>
                <a:lnTo>
                  <a:pt x="1082" y="675"/>
                </a:lnTo>
                <a:lnTo>
                  <a:pt x="1081" y="675"/>
                </a:lnTo>
                <a:lnTo>
                  <a:pt x="1082" y="675"/>
                </a:lnTo>
                <a:lnTo>
                  <a:pt x="1081" y="675"/>
                </a:lnTo>
                <a:lnTo>
                  <a:pt x="1081" y="677"/>
                </a:lnTo>
                <a:lnTo>
                  <a:pt x="1082" y="677"/>
                </a:lnTo>
                <a:lnTo>
                  <a:pt x="1082" y="678"/>
                </a:lnTo>
                <a:lnTo>
                  <a:pt x="1082" y="679"/>
                </a:lnTo>
                <a:lnTo>
                  <a:pt x="1082" y="680"/>
                </a:lnTo>
                <a:lnTo>
                  <a:pt x="1082" y="681"/>
                </a:lnTo>
                <a:lnTo>
                  <a:pt x="1083" y="681"/>
                </a:lnTo>
                <a:lnTo>
                  <a:pt x="1083" y="682"/>
                </a:lnTo>
                <a:lnTo>
                  <a:pt x="1082" y="682"/>
                </a:lnTo>
                <a:lnTo>
                  <a:pt x="1082" y="684"/>
                </a:lnTo>
                <a:lnTo>
                  <a:pt x="1083" y="684"/>
                </a:lnTo>
                <a:lnTo>
                  <a:pt x="1083" y="682"/>
                </a:lnTo>
                <a:lnTo>
                  <a:pt x="1084" y="682"/>
                </a:lnTo>
                <a:lnTo>
                  <a:pt x="1084" y="684"/>
                </a:lnTo>
                <a:lnTo>
                  <a:pt x="1083" y="684"/>
                </a:lnTo>
                <a:lnTo>
                  <a:pt x="1082" y="684"/>
                </a:lnTo>
                <a:lnTo>
                  <a:pt x="1082" y="685"/>
                </a:lnTo>
                <a:lnTo>
                  <a:pt x="1081" y="685"/>
                </a:lnTo>
                <a:lnTo>
                  <a:pt x="1081" y="684"/>
                </a:lnTo>
                <a:lnTo>
                  <a:pt x="1081" y="685"/>
                </a:lnTo>
                <a:lnTo>
                  <a:pt x="1081" y="686"/>
                </a:lnTo>
                <a:lnTo>
                  <a:pt x="1080" y="686"/>
                </a:lnTo>
                <a:lnTo>
                  <a:pt x="1080" y="685"/>
                </a:lnTo>
                <a:lnTo>
                  <a:pt x="1080" y="686"/>
                </a:lnTo>
                <a:lnTo>
                  <a:pt x="1080" y="685"/>
                </a:lnTo>
                <a:lnTo>
                  <a:pt x="1079" y="685"/>
                </a:lnTo>
                <a:lnTo>
                  <a:pt x="1079" y="684"/>
                </a:lnTo>
                <a:lnTo>
                  <a:pt x="1078" y="684"/>
                </a:lnTo>
                <a:lnTo>
                  <a:pt x="1078" y="682"/>
                </a:lnTo>
                <a:lnTo>
                  <a:pt x="1076" y="682"/>
                </a:lnTo>
                <a:lnTo>
                  <a:pt x="1075" y="682"/>
                </a:lnTo>
                <a:lnTo>
                  <a:pt x="1074" y="682"/>
                </a:lnTo>
                <a:lnTo>
                  <a:pt x="1073" y="682"/>
                </a:lnTo>
                <a:lnTo>
                  <a:pt x="1072" y="682"/>
                </a:lnTo>
                <a:lnTo>
                  <a:pt x="1071" y="682"/>
                </a:lnTo>
                <a:lnTo>
                  <a:pt x="1069" y="682"/>
                </a:lnTo>
                <a:lnTo>
                  <a:pt x="1068" y="681"/>
                </a:lnTo>
                <a:lnTo>
                  <a:pt x="1068" y="680"/>
                </a:lnTo>
                <a:lnTo>
                  <a:pt x="1067" y="680"/>
                </a:lnTo>
                <a:lnTo>
                  <a:pt x="1067" y="679"/>
                </a:lnTo>
                <a:lnTo>
                  <a:pt x="1066" y="679"/>
                </a:lnTo>
                <a:lnTo>
                  <a:pt x="1065" y="679"/>
                </a:lnTo>
                <a:lnTo>
                  <a:pt x="1064" y="679"/>
                </a:lnTo>
                <a:lnTo>
                  <a:pt x="1064" y="678"/>
                </a:lnTo>
                <a:lnTo>
                  <a:pt x="1062" y="678"/>
                </a:lnTo>
                <a:lnTo>
                  <a:pt x="1061" y="678"/>
                </a:lnTo>
                <a:lnTo>
                  <a:pt x="1061" y="677"/>
                </a:lnTo>
                <a:lnTo>
                  <a:pt x="1060" y="677"/>
                </a:lnTo>
                <a:lnTo>
                  <a:pt x="1059" y="677"/>
                </a:lnTo>
                <a:lnTo>
                  <a:pt x="1059" y="675"/>
                </a:lnTo>
                <a:lnTo>
                  <a:pt x="1059" y="674"/>
                </a:lnTo>
                <a:lnTo>
                  <a:pt x="1059" y="673"/>
                </a:lnTo>
                <a:lnTo>
                  <a:pt x="1059" y="672"/>
                </a:lnTo>
                <a:lnTo>
                  <a:pt x="1060" y="672"/>
                </a:lnTo>
                <a:lnTo>
                  <a:pt x="1059" y="672"/>
                </a:lnTo>
                <a:lnTo>
                  <a:pt x="1060" y="672"/>
                </a:lnTo>
                <a:lnTo>
                  <a:pt x="1060" y="671"/>
                </a:lnTo>
                <a:lnTo>
                  <a:pt x="1059" y="671"/>
                </a:lnTo>
                <a:lnTo>
                  <a:pt x="1059" y="672"/>
                </a:lnTo>
                <a:lnTo>
                  <a:pt x="1059" y="671"/>
                </a:lnTo>
                <a:lnTo>
                  <a:pt x="1059" y="670"/>
                </a:lnTo>
                <a:lnTo>
                  <a:pt x="1059" y="668"/>
                </a:lnTo>
                <a:lnTo>
                  <a:pt x="1060" y="668"/>
                </a:lnTo>
                <a:lnTo>
                  <a:pt x="1059" y="668"/>
                </a:lnTo>
                <a:lnTo>
                  <a:pt x="1058" y="668"/>
                </a:lnTo>
                <a:lnTo>
                  <a:pt x="1058" y="667"/>
                </a:lnTo>
                <a:lnTo>
                  <a:pt x="1057" y="667"/>
                </a:lnTo>
                <a:lnTo>
                  <a:pt x="1057" y="666"/>
                </a:lnTo>
                <a:lnTo>
                  <a:pt x="1057" y="665"/>
                </a:lnTo>
                <a:lnTo>
                  <a:pt x="1057" y="664"/>
                </a:lnTo>
                <a:lnTo>
                  <a:pt x="1058" y="664"/>
                </a:lnTo>
                <a:lnTo>
                  <a:pt x="1057" y="663"/>
                </a:lnTo>
                <a:lnTo>
                  <a:pt x="1057" y="661"/>
                </a:lnTo>
                <a:lnTo>
                  <a:pt x="1058" y="660"/>
                </a:lnTo>
                <a:lnTo>
                  <a:pt x="1058" y="659"/>
                </a:lnTo>
                <a:lnTo>
                  <a:pt x="1058" y="658"/>
                </a:lnTo>
                <a:lnTo>
                  <a:pt x="1057" y="658"/>
                </a:lnTo>
                <a:lnTo>
                  <a:pt x="1057" y="657"/>
                </a:lnTo>
                <a:lnTo>
                  <a:pt x="1055" y="657"/>
                </a:lnTo>
                <a:lnTo>
                  <a:pt x="1055" y="656"/>
                </a:lnTo>
                <a:lnTo>
                  <a:pt x="1054" y="656"/>
                </a:lnTo>
                <a:lnTo>
                  <a:pt x="1054" y="654"/>
                </a:lnTo>
                <a:lnTo>
                  <a:pt x="1053" y="654"/>
                </a:lnTo>
                <a:lnTo>
                  <a:pt x="1054" y="654"/>
                </a:lnTo>
                <a:lnTo>
                  <a:pt x="1053" y="653"/>
                </a:lnTo>
                <a:lnTo>
                  <a:pt x="1054" y="653"/>
                </a:lnTo>
                <a:lnTo>
                  <a:pt x="1053" y="653"/>
                </a:lnTo>
                <a:lnTo>
                  <a:pt x="1053" y="652"/>
                </a:lnTo>
                <a:lnTo>
                  <a:pt x="1053" y="651"/>
                </a:lnTo>
                <a:lnTo>
                  <a:pt x="1052" y="651"/>
                </a:lnTo>
                <a:lnTo>
                  <a:pt x="1053" y="651"/>
                </a:lnTo>
                <a:lnTo>
                  <a:pt x="1052" y="650"/>
                </a:lnTo>
                <a:lnTo>
                  <a:pt x="1052" y="649"/>
                </a:lnTo>
                <a:lnTo>
                  <a:pt x="1051" y="649"/>
                </a:lnTo>
                <a:lnTo>
                  <a:pt x="1051" y="647"/>
                </a:lnTo>
                <a:lnTo>
                  <a:pt x="1050" y="647"/>
                </a:lnTo>
                <a:lnTo>
                  <a:pt x="1050" y="646"/>
                </a:lnTo>
                <a:lnTo>
                  <a:pt x="1050" y="645"/>
                </a:lnTo>
                <a:lnTo>
                  <a:pt x="1050" y="644"/>
                </a:lnTo>
                <a:lnTo>
                  <a:pt x="1050" y="643"/>
                </a:lnTo>
                <a:lnTo>
                  <a:pt x="1050" y="642"/>
                </a:lnTo>
                <a:lnTo>
                  <a:pt x="1048" y="642"/>
                </a:lnTo>
                <a:lnTo>
                  <a:pt x="1048" y="640"/>
                </a:lnTo>
                <a:lnTo>
                  <a:pt x="1048" y="639"/>
                </a:lnTo>
                <a:lnTo>
                  <a:pt x="1048" y="638"/>
                </a:lnTo>
                <a:lnTo>
                  <a:pt x="1048" y="637"/>
                </a:lnTo>
                <a:lnTo>
                  <a:pt x="1047" y="637"/>
                </a:lnTo>
                <a:lnTo>
                  <a:pt x="1047" y="636"/>
                </a:lnTo>
                <a:lnTo>
                  <a:pt x="1047" y="635"/>
                </a:lnTo>
                <a:lnTo>
                  <a:pt x="1047" y="633"/>
                </a:lnTo>
                <a:lnTo>
                  <a:pt x="1046" y="632"/>
                </a:lnTo>
                <a:lnTo>
                  <a:pt x="1047" y="632"/>
                </a:lnTo>
                <a:lnTo>
                  <a:pt x="1046" y="631"/>
                </a:lnTo>
                <a:lnTo>
                  <a:pt x="1045" y="630"/>
                </a:lnTo>
                <a:lnTo>
                  <a:pt x="1044" y="630"/>
                </a:lnTo>
                <a:lnTo>
                  <a:pt x="1044" y="629"/>
                </a:lnTo>
                <a:lnTo>
                  <a:pt x="1045" y="628"/>
                </a:lnTo>
                <a:lnTo>
                  <a:pt x="1046" y="628"/>
                </a:lnTo>
                <a:lnTo>
                  <a:pt x="1046" y="626"/>
                </a:lnTo>
                <a:lnTo>
                  <a:pt x="1046" y="625"/>
                </a:lnTo>
                <a:lnTo>
                  <a:pt x="1046" y="626"/>
                </a:lnTo>
                <a:lnTo>
                  <a:pt x="1045" y="626"/>
                </a:lnTo>
                <a:lnTo>
                  <a:pt x="1045" y="628"/>
                </a:lnTo>
                <a:lnTo>
                  <a:pt x="1045" y="626"/>
                </a:lnTo>
                <a:lnTo>
                  <a:pt x="1045" y="628"/>
                </a:lnTo>
                <a:lnTo>
                  <a:pt x="1044" y="628"/>
                </a:lnTo>
                <a:lnTo>
                  <a:pt x="1043" y="628"/>
                </a:lnTo>
                <a:lnTo>
                  <a:pt x="1043" y="626"/>
                </a:lnTo>
                <a:lnTo>
                  <a:pt x="1043" y="625"/>
                </a:lnTo>
                <a:lnTo>
                  <a:pt x="1041" y="625"/>
                </a:lnTo>
                <a:lnTo>
                  <a:pt x="1041" y="626"/>
                </a:lnTo>
                <a:lnTo>
                  <a:pt x="1041" y="625"/>
                </a:lnTo>
                <a:lnTo>
                  <a:pt x="1040" y="625"/>
                </a:lnTo>
                <a:lnTo>
                  <a:pt x="1040" y="624"/>
                </a:lnTo>
                <a:lnTo>
                  <a:pt x="1040" y="623"/>
                </a:lnTo>
                <a:lnTo>
                  <a:pt x="1039" y="623"/>
                </a:lnTo>
                <a:lnTo>
                  <a:pt x="1038" y="623"/>
                </a:lnTo>
                <a:lnTo>
                  <a:pt x="1036" y="623"/>
                </a:lnTo>
                <a:lnTo>
                  <a:pt x="1034" y="623"/>
                </a:lnTo>
                <a:lnTo>
                  <a:pt x="1033" y="623"/>
                </a:lnTo>
                <a:lnTo>
                  <a:pt x="1032" y="623"/>
                </a:lnTo>
                <a:lnTo>
                  <a:pt x="1031" y="623"/>
                </a:lnTo>
                <a:lnTo>
                  <a:pt x="1030" y="622"/>
                </a:lnTo>
                <a:lnTo>
                  <a:pt x="1029" y="622"/>
                </a:lnTo>
                <a:lnTo>
                  <a:pt x="1027" y="622"/>
                </a:lnTo>
                <a:lnTo>
                  <a:pt x="1027" y="623"/>
                </a:lnTo>
                <a:lnTo>
                  <a:pt x="1025" y="623"/>
                </a:lnTo>
                <a:lnTo>
                  <a:pt x="1025" y="624"/>
                </a:lnTo>
                <a:lnTo>
                  <a:pt x="1025" y="623"/>
                </a:lnTo>
                <a:lnTo>
                  <a:pt x="1025" y="624"/>
                </a:lnTo>
                <a:lnTo>
                  <a:pt x="1024" y="624"/>
                </a:lnTo>
                <a:lnTo>
                  <a:pt x="1023" y="624"/>
                </a:lnTo>
                <a:lnTo>
                  <a:pt x="1023" y="625"/>
                </a:lnTo>
                <a:lnTo>
                  <a:pt x="1022" y="625"/>
                </a:lnTo>
                <a:lnTo>
                  <a:pt x="1022" y="626"/>
                </a:lnTo>
                <a:lnTo>
                  <a:pt x="1020" y="626"/>
                </a:lnTo>
                <a:lnTo>
                  <a:pt x="1020" y="628"/>
                </a:lnTo>
                <a:lnTo>
                  <a:pt x="1020" y="629"/>
                </a:lnTo>
                <a:lnTo>
                  <a:pt x="1019" y="629"/>
                </a:lnTo>
                <a:lnTo>
                  <a:pt x="1019" y="630"/>
                </a:lnTo>
                <a:lnTo>
                  <a:pt x="1019" y="631"/>
                </a:lnTo>
                <a:lnTo>
                  <a:pt x="1018" y="631"/>
                </a:lnTo>
                <a:lnTo>
                  <a:pt x="1018" y="632"/>
                </a:lnTo>
                <a:lnTo>
                  <a:pt x="1019" y="632"/>
                </a:lnTo>
                <a:lnTo>
                  <a:pt x="1018" y="632"/>
                </a:lnTo>
                <a:lnTo>
                  <a:pt x="1017" y="632"/>
                </a:lnTo>
                <a:lnTo>
                  <a:pt x="1016" y="633"/>
                </a:lnTo>
                <a:lnTo>
                  <a:pt x="1016" y="635"/>
                </a:lnTo>
                <a:lnTo>
                  <a:pt x="1015" y="635"/>
                </a:lnTo>
                <a:lnTo>
                  <a:pt x="1015" y="636"/>
                </a:lnTo>
                <a:lnTo>
                  <a:pt x="1014" y="636"/>
                </a:lnTo>
                <a:lnTo>
                  <a:pt x="1012" y="636"/>
                </a:lnTo>
                <a:lnTo>
                  <a:pt x="1011" y="636"/>
                </a:lnTo>
                <a:lnTo>
                  <a:pt x="1012" y="636"/>
                </a:lnTo>
                <a:lnTo>
                  <a:pt x="1012" y="635"/>
                </a:lnTo>
                <a:lnTo>
                  <a:pt x="1011" y="636"/>
                </a:lnTo>
                <a:lnTo>
                  <a:pt x="1011" y="635"/>
                </a:lnTo>
                <a:lnTo>
                  <a:pt x="1011" y="636"/>
                </a:lnTo>
                <a:lnTo>
                  <a:pt x="1011" y="635"/>
                </a:lnTo>
                <a:lnTo>
                  <a:pt x="1010" y="635"/>
                </a:lnTo>
                <a:lnTo>
                  <a:pt x="1009" y="633"/>
                </a:lnTo>
                <a:lnTo>
                  <a:pt x="1008" y="633"/>
                </a:lnTo>
                <a:lnTo>
                  <a:pt x="1008" y="632"/>
                </a:lnTo>
                <a:lnTo>
                  <a:pt x="1007" y="632"/>
                </a:lnTo>
                <a:lnTo>
                  <a:pt x="1007" y="631"/>
                </a:lnTo>
                <a:lnTo>
                  <a:pt x="1005" y="631"/>
                </a:lnTo>
                <a:lnTo>
                  <a:pt x="1004" y="631"/>
                </a:lnTo>
                <a:lnTo>
                  <a:pt x="1003" y="631"/>
                </a:lnTo>
                <a:lnTo>
                  <a:pt x="1003" y="630"/>
                </a:lnTo>
                <a:lnTo>
                  <a:pt x="1002" y="629"/>
                </a:lnTo>
                <a:lnTo>
                  <a:pt x="1002" y="628"/>
                </a:lnTo>
                <a:lnTo>
                  <a:pt x="1001" y="628"/>
                </a:lnTo>
                <a:lnTo>
                  <a:pt x="1000" y="628"/>
                </a:lnTo>
                <a:lnTo>
                  <a:pt x="1000" y="626"/>
                </a:lnTo>
                <a:lnTo>
                  <a:pt x="998" y="625"/>
                </a:lnTo>
                <a:lnTo>
                  <a:pt x="998" y="624"/>
                </a:lnTo>
                <a:lnTo>
                  <a:pt x="998" y="623"/>
                </a:lnTo>
                <a:lnTo>
                  <a:pt x="997" y="623"/>
                </a:lnTo>
                <a:lnTo>
                  <a:pt x="997" y="622"/>
                </a:lnTo>
                <a:lnTo>
                  <a:pt x="997" y="621"/>
                </a:lnTo>
                <a:lnTo>
                  <a:pt x="997" y="619"/>
                </a:lnTo>
                <a:lnTo>
                  <a:pt x="997" y="618"/>
                </a:lnTo>
                <a:lnTo>
                  <a:pt x="998" y="618"/>
                </a:lnTo>
                <a:lnTo>
                  <a:pt x="998" y="617"/>
                </a:lnTo>
                <a:lnTo>
                  <a:pt x="998" y="616"/>
                </a:lnTo>
                <a:lnTo>
                  <a:pt x="998" y="615"/>
                </a:lnTo>
                <a:lnTo>
                  <a:pt x="997" y="615"/>
                </a:lnTo>
                <a:lnTo>
                  <a:pt x="997" y="614"/>
                </a:lnTo>
                <a:lnTo>
                  <a:pt x="997" y="612"/>
                </a:lnTo>
                <a:lnTo>
                  <a:pt x="997" y="611"/>
                </a:lnTo>
                <a:lnTo>
                  <a:pt x="997" y="610"/>
                </a:lnTo>
                <a:lnTo>
                  <a:pt x="996" y="610"/>
                </a:lnTo>
                <a:lnTo>
                  <a:pt x="996" y="609"/>
                </a:lnTo>
                <a:lnTo>
                  <a:pt x="995" y="609"/>
                </a:lnTo>
                <a:lnTo>
                  <a:pt x="995" y="608"/>
                </a:lnTo>
                <a:lnTo>
                  <a:pt x="994" y="607"/>
                </a:lnTo>
                <a:lnTo>
                  <a:pt x="993" y="607"/>
                </a:lnTo>
                <a:lnTo>
                  <a:pt x="991" y="605"/>
                </a:lnTo>
                <a:lnTo>
                  <a:pt x="991" y="604"/>
                </a:lnTo>
                <a:lnTo>
                  <a:pt x="990" y="604"/>
                </a:lnTo>
                <a:lnTo>
                  <a:pt x="990" y="603"/>
                </a:lnTo>
                <a:lnTo>
                  <a:pt x="990" y="602"/>
                </a:lnTo>
                <a:lnTo>
                  <a:pt x="989" y="602"/>
                </a:lnTo>
                <a:lnTo>
                  <a:pt x="989" y="601"/>
                </a:lnTo>
                <a:lnTo>
                  <a:pt x="988" y="601"/>
                </a:lnTo>
                <a:lnTo>
                  <a:pt x="988" y="600"/>
                </a:lnTo>
                <a:lnTo>
                  <a:pt x="987" y="598"/>
                </a:lnTo>
                <a:lnTo>
                  <a:pt x="987" y="597"/>
                </a:lnTo>
                <a:lnTo>
                  <a:pt x="986" y="597"/>
                </a:lnTo>
                <a:lnTo>
                  <a:pt x="984" y="597"/>
                </a:lnTo>
                <a:lnTo>
                  <a:pt x="984" y="596"/>
                </a:lnTo>
                <a:lnTo>
                  <a:pt x="983" y="595"/>
                </a:lnTo>
                <a:lnTo>
                  <a:pt x="983" y="594"/>
                </a:lnTo>
                <a:lnTo>
                  <a:pt x="983" y="593"/>
                </a:lnTo>
                <a:lnTo>
                  <a:pt x="982" y="592"/>
                </a:lnTo>
                <a:lnTo>
                  <a:pt x="982" y="593"/>
                </a:lnTo>
                <a:lnTo>
                  <a:pt x="982" y="592"/>
                </a:lnTo>
                <a:lnTo>
                  <a:pt x="981" y="592"/>
                </a:lnTo>
                <a:lnTo>
                  <a:pt x="980" y="592"/>
                </a:lnTo>
                <a:lnTo>
                  <a:pt x="979" y="592"/>
                </a:lnTo>
                <a:lnTo>
                  <a:pt x="977" y="592"/>
                </a:lnTo>
                <a:lnTo>
                  <a:pt x="976" y="592"/>
                </a:lnTo>
                <a:lnTo>
                  <a:pt x="975" y="592"/>
                </a:lnTo>
                <a:lnTo>
                  <a:pt x="974" y="592"/>
                </a:lnTo>
                <a:lnTo>
                  <a:pt x="973" y="592"/>
                </a:lnTo>
                <a:lnTo>
                  <a:pt x="972" y="592"/>
                </a:lnTo>
                <a:lnTo>
                  <a:pt x="970" y="592"/>
                </a:lnTo>
                <a:lnTo>
                  <a:pt x="969" y="592"/>
                </a:lnTo>
                <a:lnTo>
                  <a:pt x="968" y="592"/>
                </a:lnTo>
                <a:lnTo>
                  <a:pt x="967" y="592"/>
                </a:lnTo>
                <a:lnTo>
                  <a:pt x="966" y="592"/>
                </a:lnTo>
                <a:lnTo>
                  <a:pt x="965" y="592"/>
                </a:lnTo>
                <a:lnTo>
                  <a:pt x="963" y="592"/>
                </a:lnTo>
                <a:lnTo>
                  <a:pt x="962" y="592"/>
                </a:lnTo>
                <a:lnTo>
                  <a:pt x="961" y="592"/>
                </a:lnTo>
                <a:lnTo>
                  <a:pt x="960" y="592"/>
                </a:lnTo>
                <a:lnTo>
                  <a:pt x="959" y="592"/>
                </a:lnTo>
                <a:lnTo>
                  <a:pt x="959" y="593"/>
                </a:lnTo>
                <a:lnTo>
                  <a:pt x="959" y="594"/>
                </a:lnTo>
                <a:lnTo>
                  <a:pt x="958" y="594"/>
                </a:lnTo>
                <a:lnTo>
                  <a:pt x="958" y="595"/>
                </a:lnTo>
                <a:lnTo>
                  <a:pt x="958" y="596"/>
                </a:lnTo>
                <a:lnTo>
                  <a:pt x="958" y="597"/>
                </a:lnTo>
                <a:lnTo>
                  <a:pt x="956" y="597"/>
                </a:lnTo>
                <a:lnTo>
                  <a:pt x="956" y="598"/>
                </a:lnTo>
                <a:lnTo>
                  <a:pt x="955" y="598"/>
                </a:lnTo>
                <a:lnTo>
                  <a:pt x="954" y="598"/>
                </a:lnTo>
                <a:lnTo>
                  <a:pt x="953" y="598"/>
                </a:lnTo>
                <a:lnTo>
                  <a:pt x="952" y="598"/>
                </a:lnTo>
                <a:lnTo>
                  <a:pt x="951" y="598"/>
                </a:lnTo>
                <a:lnTo>
                  <a:pt x="950" y="598"/>
                </a:lnTo>
                <a:lnTo>
                  <a:pt x="948" y="598"/>
                </a:lnTo>
                <a:lnTo>
                  <a:pt x="947" y="598"/>
                </a:lnTo>
                <a:lnTo>
                  <a:pt x="946" y="598"/>
                </a:lnTo>
                <a:lnTo>
                  <a:pt x="945" y="598"/>
                </a:lnTo>
                <a:lnTo>
                  <a:pt x="944" y="598"/>
                </a:lnTo>
                <a:lnTo>
                  <a:pt x="943" y="598"/>
                </a:lnTo>
                <a:lnTo>
                  <a:pt x="941" y="598"/>
                </a:lnTo>
                <a:lnTo>
                  <a:pt x="940" y="598"/>
                </a:lnTo>
                <a:lnTo>
                  <a:pt x="939" y="598"/>
                </a:lnTo>
                <a:lnTo>
                  <a:pt x="938" y="598"/>
                </a:lnTo>
                <a:lnTo>
                  <a:pt x="937" y="598"/>
                </a:lnTo>
                <a:lnTo>
                  <a:pt x="936" y="598"/>
                </a:lnTo>
                <a:lnTo>
                  <a:pt x="934" y="598"/>
                </a:lnTo>
                <a:lnTo>
                  <a:pt x="933" y="598"/>
                </a:lnTo>
                <a:lnTo>
                  <a:pt x="932" y="598"/>
                </a:lnTo>
                <a:lnTo>
                  <a:pt x="931" y="598"/>
                </a:lnTo>
                <a:lnTo>
                  <a:pt x="930" y="598"/>
                </a:lnTo>
                <a:lnTo>
                  <a:pt x="929" y="598"/>
                </a:lnTo>
                <a:lnTo>
                  <a:pt x="927" y="598"/>
                </a:lnTo>
                <a:lnTo>
                  <a:pt x="926" y="598"/>
                </a:lnTo>
                <a:lnTo>
                  <a:pt x="925" y="598"/>
                </a:lnTo>
                <a:lnTo>
                  <a:pt x="924" y="598"/>
                </a:lnTo>
                <a:lnTo>
                  <a:pt x="923" y="598"/>
                </a:lnTo>
                <a:lnTo>
                  <a:pt x="922" y="598"/>
                </a:lnTo>
                <a:lnTo>
                  <a:pt x="920" y="598"/>
                </a:lnTo>
                <a:lnTo>
                  <a:pt x="919" y="598"/>
                </a:lnTo>
                <a:lnTo>
                  <a:pt x="918" y="598"/>
                </a:lnTo>
                <a:lnTo>
                  <a:pt x="917" y="598"/>
                </a:lnTo>
                <a:lnTo>
                  <a:pt x="917" y="597"/>
                </a:lnTo>
                <a:lnTo>
                  <a:pt x="916" y="597"/>
                </a:lnTo>
                <a:lnTo>
                  <a:pt x="915" y="597"/>
                </a:lnTo>
                <a:lnTo>
                  <a:pt x="913" y="596"/>
                </a:lnTo>
                <a:lnTo>
                  <a:pt x="909" y="595"/>
                </a:lnTo>
                <a:lnTo>
                  <a:pt x="904" y="593"/>
                </a:lnTo>
                <a:lnTo>
                  <a:pt x="899" y="590"/>
                </a:lnTo>
                <a:lnTo>
                  <a:pt x="895" y="588"/>
                </a:lnTo>
                <a:lnTo>
                  <a:pt x="889" y="587"/>
                </a:lnTo>
                <a:lnTo>
                  <a:pt x="884" y="585"/>
                </a:lnTo>
                <a:lnTo>
                  <a:pt x="880" y="582"/>
                </a:lnTo>
                <a:lnTo>
                  <a:pt x="875" y="581"/>
                </a:lnTo>
                <a:lnTo>
                  <a:pt x="875" y="580"/>
                </a:lnTo>
                <a:lnTo>
                  <a:pt x="876" y="579"/>
                </a:lnTo>
                <a:lnTo>
                  <a:pt x="876" y="578"/>
                </a:lnTo>
                <a:lnTo>
                  <a:pt x="877" y="578"/>
                </a:lnTo>
                <a:lnTo>
                  <a:pt x="876" y="578"/>
                </a:lnTo>
                <a:lnTo>
                  <a:pt x="875" y="578"/>
                </a:lnTo>
                <a:lnTo>
                  <a:pt x="874" y="578"/>
                </a:lnTo>
                <a:lnTo>
                  <a:pt x="873" y="578"/>
                </a:lnTo>
                <a:lnTo>
                  <a:pt x="872" y="578"/>
                </a:lnTo>
                <a:lnTo>
                  <a:pt x="870" y="578"/>
                </a:lnTo>
                <a:lnTo>
                  <a:pt x="869" y="578"/>
                </a:lnTo>
                <a:lnTo>
                  <a:pt x="868" y="578"/>
                </a:lnTo>
                <a:lnTo>
                  <a:pt x="867" y="578"/>
                </a:lnTo>
                <a:lnTo>
                  <a:pt x="866" y="578"/>
                </a:lnTo>
                <a:lnTo>
                  <a:pt x="865" y="578"/>
                </a:lnTo>
                <a:lnTo>
                  <a:pt x="863" y="579"/>
                </a:lnTo>
                <a:lnTo>
                  <a:pt x="862" y="579"/>
                </a:lnTo>
                <a:lnTo>
                  <a:pt x="861" y="579"/>
                </a:lnTo>
                <a:lnTo>
                  <a:pt x="860" y="579"/>
                </a:lnTo>
                <a:lnTo>
                  <a:pt x="859" y="579"/>
                </a:lnTo>
                <a:lnTo>
                  <a:pt x="858" y="579"/>
                </a:lnTo>
                <a:lnTo>
                  <a:pt x="856" y="579"/>
                </a:lnTo>
                <a:lnTo>
                  <a:pt x="855" y="579"/>
                </a:lnTo>
                <a:lnTo>
                  <a:pt x="854" y="579"/>
                </a:lnTo>
                <a:lnTo>
                  <a:pt x="853" y="579"/>
                </a:lnTo>
                <a:lnTo>
                  <a:pt x="852" y="579"/>
                </a:lnTo>
                <a:lnTo>
                  <a:pt x="851" y="580"/>
                </a:lnTo>
                <a:lnTo>
                  <a:pt x="849" y="580"/>
                </a:lnTo>
                <a:lnTo>
                  <a:pt x="848" y="580"/>
                </a:lnTo>
                <a:lnTo>
                  <a:pt x="847" y="580"/>
                </a:lnTo>
                <a:lnTo>
                  <a:pt x="846" y="580"/>
                </a:lnTo>
                <a:lnTo>
                  <a:pt x="845" y="580"/>
                </a:lnTo>
                <a:lnTo>
                  <a:pt x="845" y="579"/>
                </a:lnTo>
                <a:lnTo>
                  <a:pt x="845" y="578"/>
                </a:lnTo>
                <a:lnTo>
                  <a:pt x="844" y="578"/>
                </a:lnTo>
                <a:lnTo>
                  <a:pt x="845" y="578"/>
                </a:lnTo>
                <a:lnTo>
                  <a:pt x="845" y="576"/>
                </a:lnTo>
                <a:lnTo>
                  <a:pt x="845" y="578"/>
                </a:lnTo>
                <a:lnTo>
                  <a:pt x="845" y="579"/>
                </a:lnTo>
                <a:lnTo>
                  <a:pt x="845" y="578"/>
                </a:lnTo>
                <a:lnTo>
                  <a:pt x="845" y="576"/>
                </a:lnTo>
                <a:lnTo>
                  <a:pt x="844" y="578"/>
                </a:lnTo>
                <a:lnTo>
                  <a:pt x="844" y="576"/>
                </a:lnTo>
                <a:lnTo>
                  <a:pt x="844" y="575"/>
                </a:lnTo>
                <a:lnTo>
                  <a:pt x="845" y="575"/>
                </a:lnTo>
                <a:lnTo>
                  <a:pt x="845" y="574"/>
                </a:lnTo>
                <a:lnTo>
                  <a:pt x="845" y="573"/>
                </a:lnTo>
                <a:lnTo>
                  <a:pt x="845" y="572"/>
                </a:lnTo>
                <a:lnTo>
                  <a:pt x="845" y="571"/>
                </a:lnTo>
                <a:lnTo>
                  <a:pt x="845" y="569"/>
                </a:lnTo>
                <a:lnTo>
                  <a:pt x="844" y="567"/>
                </a:lnTo>
                <a:lnTo>
                  <a:pt x="844" y="566"/>
                </a:lnTo>
                <a:lnTo>
                  <a:pt x="842" y="566"/>
                </a:lnTo>
                <a:lnTo>
                  <a:pt x="842" y="565"/>
                </a:lnTo>
                <a:lnTo>
                  <a:pt x="841" y="564"/>
                </a:lnTo>
                <a:lnTo>
                  <a:pt x="840" y="564"/>
                </a:lnTo>
                <a:lnTo>
                  <a:pt x="840" y="562"/>
                </a:lnTo>
                <a:lnTo>
                  <a:pt x="839" y="561"/>
                </a:lnTo>
                <a:lnTo>
                  <a:pt x="838" y="560"/>
                </a:lnTo>
                <a:lnTo>
                  <a:pt x="838" y="561"/>
                </a:lnTo>
                <a:lnTo>
                  <a:pt x="838" y="560"/>
                </a:lnTo>
                <a:lnTo>
                  <a:pt x="837" y="561"/>
                </a:lnTo>
                <a:lnTo>
                  <a:pt x="837" y="560"/>
                </a:lnTo>
                <a:lnTo>
                  <a:pt x="837" y="561"/>
                </a:lnTo>
                <a:lnTo>
                  <a:pt x="835" y="561"/>
                </a:lnTo>
                <a:lnTo>
                  <a:pt x="837" y="561"/>
                </a:lnTo>
                <a:lnTo>
                  <a:pt x="835" y="561"/>
                </a:lnTo>
                <a:lnTo>
                  <a:pt x="834" y="561"/>
                </a:lnTo>
                <a:lnTo>
                  <a:pt x="834" y="560"/>
                </a:lnTo>
                <a:lnTo>
                  <a:pt x="835" y="560"/>
                </a:lnTo>
                <a:lnTo>
                  <a:pt x="835" y="559"/>
                </a:lnTo>
                <a:lnTo>
                  <a:pt x="835" y="558"/>
                </a:lnTo>
                <a:lnTo>
                  <a:pt x="835" y="557"/>
                </a:lnTo>
                <a:lnTo>
                  <a:pt x="834" y="557"/>
                </a:lnTo>
                <a:lnTo>
                  <a:pt x="834" y="555"/>
                </a:lnTo>
                <a:lnTo>
                  <a:pt x="834" y="557"/>
                </a:lnTo>
                <a:lnTo>
                  <a:pt x="833" y="557"/>
                </a:lnTo>
                <a:lnTo>
                  <a:pt x="832" y="557"/>
                </a:lnTo>
                <a:lnTo>
                  <a:pt x="831" y="557"/>
                </a:lnTo>
                <a:lnTo>
                  <a:pt x="830" y="557"/>
                </a:lnTo>
                <a:lnTo>
                  <a:pt x="830" y="555"/>
                </a:lnTo>
                <a:lnTo>
                  <a:pt x="828" y="555"/>
                </a:lnTo>
                <a:lnTo>
                  <a:pt x="827" y="555"/>
                </a:lnTo>
                <a:lnTo>
                  <a:pt x="827" y="554"/>
                </a:lnTo>
                <a:lnTo>
                  <a:pt x="826" y="554"/>
                </a:lnTo>
                <a:lnTo>
                  <a:pt x="826" y="553"/>
                </a:lnTo>
                <a:lnTo>
                  <a:pt x="826" y="552"/>
                </a:lnTo>
                <a:lnTo>
                  <a:pt x="825" y="552"/>
                </a:lnTo>
                <a:lnTo>
                  <a:pt x="825" y="551"/>
                </a:lnTo>
                <a:lnTo>
                  <a:pt x="824" y="551"/>
                </a:lnTo>
                <a:lnTo>
                  <a:pt x="824" y="550"/>
                </a:lnTo>
                <a:lnTo>
                  <a:pt x="823" y="550"/>
                </a:lnTo>
                <a:lnTo>
                  <a:pt x="822" y="550"/>
                </a:lnTo>
                <a:lnTo>
                  <a:pt x="822" y="551"/>
                </a:lnTo>
                <a:lnTo>
                  <a:pt x="820" y="551"/>
                </a:lnTo>
                <a:lnTo>
                  <a:pt x="820" y="550"/>
                </a:lnTo>
                <a:lnTo>
                  <a:pt x="819" y="551"/>
                </a:lnTo>
                <a:lnTo>
                  <a:pt x="819" y="550"/>
                </a:lnTo>
                <a:lnTo>
                  <a:pt x="819" y="551"/>
                </a:lnTo>
                <a:lnTo>
                  <a:pt x="819" y="550"/>
                </a:lnTo>
                <a:lnTo>
                  <a:pt x="818" y="550"/>
                </a:lnTo>
                <a:lnTo>
                  <a:pt x="817" y="550"/>
                </a:lnTo>
                <a:lnTo>
                  <a:pt x="816" y="550"/>
                </a:lnTo>
                <a:lnTo>
                  <a:pt x="815" y="550"/>
                </a:lnTo>
                <a:lnTo>
                  <a:pt x="812" y="550"/>
                </a:lnTo>
                <a:lnTo>
                  <a:pt x="812" y="548"/>
                </a:lnTo>
                <a:lnTo>
                  <a:pt x="811" y="548"/>
                </a:lnTo>
                <a:lnTo>
                  <a:pt x="810" y="548"/>
                </a:lnTo>
                <a:lnTo>
                  <a:pt x="810" y="547"/>
                </a:lnTo>
                <a:lnTo>
                  <a:pt x="811" y="547"/>
                </a:lnTo>
                <a:lnTo>
                  <a:pt x="811" y="546"/>
                </a:lnTo>
                <a:lnTo>
                  <a:pt x="812" y="545"/>
                </a:lnTo>
                <a:lnTo>
                  <a:pt x="811" y="545"/>
                </a:lnTo>
                <a:lnTo>
                  <a:pt x="812" y="544"/>
                </a:lnTo>
                <a:lnTo>
                  <a:pt x="812" y="543"/>
                </a:lnTo>
                <a:lnTo>
                  <a:pt x="812" y="541"/>
                </a:lnTo>
                <a:lnTo>
                  <a:pt x="813" y="540"/>
                </a:lnTo>
                <a:lnTo>
                  <a:pt x="813" y="539"/>
                </a:lnTo>
                <a:lnTo>
                  <a:pt x="813" y="538"/>
                </a:lnTo>
                <a:lnTo>
                  <a:pt x="812" y="538"/>
                </a:lnTo>
                <a:lnTo>
                  <a:pt x="811" y="537"/>
                </a:lnTo>
                <a:lnTo>
                  <a:pt x="812" y="537"/>
                </a:lnTo>
                <a:lnTo>
                  <a:pt x="812" y="536"/>
                </a:lnTo>
                <a:lnTo>
                  <a:pt x="812" y="534"/>
                </a:lnTo>
                <a:lnTo>
                  <a:pt x="812" y="533"/>
                </a:lnTo>
                <a:lnTo>
                  <a:pt x="811" y="533"/>
                </a:lnTo>
                <a:lnTo>
                  <a:pt x="811" y="532"/>
                </a:lnTo>
                <a:lnTo>
                  <a:pt x="811" y="531"/>
                </a:lnTo>
                <a:lnTo>
                  <a:pt x="810" y="531"/>
                </a:lnTo>
                <a:lnTo>
                  <a:pt x="809" y="530"/>
                </a:lnTo>
                <a:lnTo>
                  <a:pt x="809" y="529"/>
                </a:lnTo>
                <a:lnTo>
                  <a:pt x="809" y="527"/>
                </a:lnTo>
                <a:lnTo>
                  <a:pt x="808" y="526"/>
                </a:lnTo>
                <a:lnTo>
                  <a:pt x="809" y="526"/>
                </a:lnTo>
                <a:lnTo>
                  <a:pt x="809" y="525"/>
                </a:lnTo>
                <a:lnTo>
                  <a:pt x="808" y="525"/>
                </a:lnTo>
                <a:lnTo>
                  <a:pt x="808" y="524"/>
                </a:lnTo>
                <a:lnTo>
                  <a:pt x="808" y="523"/>
                </a:lnTo>
                <a:lnTo>
                  <a:pt x="808" y="522"/>
                </a:lnTo>
                <a:lnTo>
                  <a:pt x="806" y="522"/>
                </a:lnTo>
                <a:lnTo>
                  <a:pt x="805" y="522"/>
                </a:lnTo>
                <a:lnTo>
                  <a:pt x="805" y="520"/>
                </a:lnTo>
                <a:lnTo>
                  <a:pt x="805" y="519"/>
                </a:lnTo>
                <a:lnTo>
                  <a:pt x="805" y="518"/>
                </a:lnTo>
                <a:lnTo>
                  <a:pt x="806" y="518"/>
                </a:lnTo>
                <a:lnTo>
                  <a:pt x="806" y="517"/>
                </a:lnTo>
                <a:lnTo>
                  <a:pt x="806" y="516"/>
                </a:lnTo>
                <a:lnTo>
                  <a:pt x="806" y="515"/>
                </a:lnTo>
                <a:lnTo>
                  <a:pt x="808" y="515"/>
                </a:lnTo>
                <a:lnTo>
                  <a:pt x="808" y="516"/>
                </a:lnTo>
                <a:lnTo>
                  <a:pt x="809" y="515"/>
                </a:lnTo>
                <a:lnTo>
                  <a:pt x="809" y="513"/>
                </a:lnTo>
                <a:lnTo>
                  <a:pt x="810" y="513"/>
                </a:lnTo>
                <a:lnTo>
                  <a:pt x="810" y="512"/>
                </a:lnTo>
                <a:lnTo>
                  <a:pt x="810" y="510"/>
                </a:lnTo>
                <a:lnTo>
                  <a:pt x="809" y="510"/>
                </a:lnTo>
                <a:lnTo>
                  <a:pt x="808" y="510"/>
                </a:lnTo>
                <a:lnTo>
                  <a:pt x="806" y="510"/>
                </a:lnTo>
                <a:lnTo>
                  <a:pt x="806" y="509"/>
                </a:lnTo>
                <a:lnTo>
                  <a:pt x="806" y="508"/>
                </a:lnTo>
                <a:lnTo>
                  <a:pt x="805" y="508"/>
                </a:lnTo>
                <a:lnTo>
                  <a:pt x="805" y="506"/>
                </a:lnTo>
                <a:lnTo>
                  <a:pt x="805" y="505"/>
                </a:lnTo>
                <a:lnTo>
                  <a:pt x="805" y="504"/>
                </a:lnTo>
                <a:lnTo>
                  <a:pt x="806" y="504"/>
                </a:lnTo>
                <a:lnTo>
                  <a:pt x="806" y="503"/>
                </a:lnTo>
                <a:lnTo>
                  <a:pt x="806" y="502"/>
                </a:lnTo>
                <a:lnTo>
                  <a:pt x="805" y="502"/>
                </a:lnTo>
                <a:lnTo>
                  <a:pt x="806" y="502"/>
                </a:lnTo>
                <a:lnTo>
                  <a:pt x="805" y="502"/>
                </a:lnTo>
                <a:lnTo>
                  <a:pt x="805" y="501"/>
                </a:lnTo>
                <a:lnTo>
                  <a:pt x="806" y="501"/>
                </a:lnTo>
                <a:lnTo>
                  <a:pt x="806" y="499"/>
                </a:lnTo>
                <a:lnTo>
                  <a:pt x="808" y="498"/>
                </a:lnTo>
                <a:lnTo>
                  <a:pt x="808" y="497"/>
                </a:lnTo>
                <a:lnTo>
                  <a:pt x="809" y="496"/>
                </a:lnTo>
                <a:lnTo>
                  <a:pt x="809" y="497"/>
                </a:lnTo>
                <a:lnTo>
                  <a:pt x="809" y="496"/>
                </a:lnTo>
                <a:lnTo>
                  <a:pt x="810" y="497"/>
                </a:lnTo>
                <a:lnTo>
                  <a:pt x="809" y="497"/>
                </a:lnTo>
                <a:lnTo>
                  <a:pt x="810" y="497"/>
                </a:lnTo>
                <a:lnTo>
                  <a:pt x="810" y="498"/>
                </a:lnTo>
                <a:lnTo>
                  <a:pt x="809" y="498"/>
                </a:lnTo>
                <a:lnTo>
                  <a:pt x="809" y="499"/>
                </a:lnTo>
                <a:lnTo>
                  <a:pt x="809" y="501"/>
                </a:lnTo>
                <a:lnTo>
                  <a:pt x="810" y="501"/>
                </a:lnTo>
                <a:lnTo>
                  <a:pt x="810" y="502"/>
                </a:lnTo>
                <a:lnTo>
                  <a:pt x="811" y="502"/>
                </a:lnTo>
                <a:lnTo>
                  <a:pt x="812" y="502"/>
                </a:lnTo>
                <a:lnTo>
                  <a:pt x="811" y="502"/>
                </a:lnTo>
                <a:lnTo>
                  <a:pt x="811" y="501"/>
                </a:lnTo>
                <a:lnTo>
                  <a:pt x="811" y="499"/>
                </a:lnTo>
                <a:lnTo>
                  <a:pt x="811" y="498"/>
                </a:lnTo>
                <a:lnTo>
                  <a:pt x="811" y="497"/>
                </a:lnTo>
                <a:lnTo>
                  <a:pt x="810" y="497"/>
                </a:lnTo>
                <a:lnTo>
                  <a:pt x="811" y="497"/>
                </a:lnTo>
                <a:lnTo>
                  <a:pt x="810" y="497"/>
                </a:lnTo>
                <a:lnTo>
                  <a:pt x="810" y="496"/>
                </a:lnTo>
                <a:lnTo>
                  <a:pt x="811" y="496"/>
                </a:lnTo>
                <a:lnTo>
                  <a:pt x="810" y="496"/>
                </a:lnTo>
                <a:lnTo>
                  <a:pt x="811" y="496"/>
                </a:lnTo>
                <a:lnTo>
                  <a:pt x="811" y="495"/>
                </a:lnTo>
                <a:lnTo>
                  <a:pt x="810" y="495"/>
                </a:lnTo>
                <a:lnTo>
                  <a:pt x="810" y="494"/>
                </a:lnTo>
                <a:lnTo>
                  <a:pt x="811" y="494"/>
                </a:lnTo>
                <a:lnTo>
                  <a:pt x="812" y="494"/>
                </a:lnTo>
                <a:lnTo>
                  <a:pt x="812" y="492"/>
                </a:lnTo>
                <a:lnTo>
                  <a:pt x="813" y="492"/>
                </a:lnTo>
                <a:lnTo>
                  <a:pt x="815" y="492"/>
                </a:lnTo>
                <a:lnTo>
                  <a:pt x="815" y="494"/>
                </a:lnTo>
                <a:lnTo>
                  <a:pt x="815" y="492"/>
                </a:lnTo>
                <a:lnTo>
                  <a:pt x="816" y="492"/>
                </a:lnTo>
                <a:lnTo>
                  <a:pt x="817" y="492"/>
                </a:lnTo>
                <a:lnTo>
                  <a:pt x="818" y="492"/>
                </a:lnTo>
                <a:lnTo>
                  <a:pt x="818" y="494"/>
                </a:lnTo>
                <a:lnTo>
                  <a:pt x="819" y="494"/>
                </a:lnTo>
                <a:lnTo>
                  <a:pt x="820" y="494"/>
                </a:lnTo>
                <a:lnTo>
                  <a:pt x="819" y="494"/>
                </a:lnTo>
                <a:lnTo>
                  <a:pt x="820" y="492"/>
                </a:lnTo>
                <a:lnTo>
                  <a:pt x="822" y="492"/>
                </a:lnTo>
                <a:lnTo>
                  <a:pt x="822" y="494"/>
                </a:lnTo>
                <a:lnTo>
                  <a:pt x="822" y="492"/>
                </a:lnTo>
                <a:lnTo>
                  <a:pt x="823" y="492"/>
                </a:lnTo>
                <a:lnTo>
                  <a:pt x="823" y="494"/>
                </a:lnTo>
                <a:lnTo>
                  <a:pt x="823" y="492"/>
                </a:lnTo>
                <a:lnTo>
                  <a:pt x="822" y="491"/>
                </a:lnTo>
                <a:lnTo>
                  <a:pt x="822" y="492"/>
                </a:lnTo>
                <a:lnTo>
                  <a:pt x="820" y="492"/>
                </a:lnTo>
                <a:lnTo>
                  <a:pt x="819" y="492"/>
                </a:lnTo>
                <a:lnTo>
                  <a:pt x="820" y="492"/>
                </a:lnTo>
                <a:lnTo>
                  <a:pt x="820" y="491"/>
                </a:lnTo>
                <a:lnTo>
                  <a:pt x="822" y="491"/>
                </a:lnTo>
                <a:lnTo>
                  <a:pt x="820" y="491"/>
                </a:lnTo>
                <a:lnTo>
                  <a:pt x="820" y="492"/>
                </a:lnTo>
                <a:lnTo>
                  <a:pt x="819" y="492"/>
                </a:lnTo>
                <a:lnTo>
                  <a:pt x="818" y="492"/>
                </a:lnTo>
                <a:lnTo>
                  <a:pt x="817" y="492"/>
                </a:lnTo>
                <a:lnTo>
                  <a:pt x="818" y="492"/>
                </a:lnTo>
                <a:lnTo>
                  <a:pt x="817" y="492"/>
                </a:lnTo>
                <a:lnTo>
                  <a:pt x="817" y="491"/>
                </a:lnTo>
                <a:lnTo>
                  <a:pt x="816" y="491"/>
                </a:lnTo>
                <a:lnTo>
                  <a:pt x="816" y="492"/>
                </a:lnTo>
                <a:lnTo>
                  <a:pt x="815" y="492"/>
                </a:lnTo>
                <a:lnTo>
                  <a:pt x="813" y="492"/>
                </a:lnTo>
                <a:lnTo>
                  <a:pt x="813" y="491"/>
                </a:lnTo>
                <a:lnTo>
                  <a:pt x="812" y="491"/>
                </a:lnTo>
                <a:lnTo>
                  <a:pt x="811" y="491"/>
                </a:lnTo>
                <a:lnTo>
                  <a:pt x="810" y="491"/>
                </a:lnTo>
                <a:lnTo>
                  <a:pt x="810" y="492"/>
                </a:lnTo>
                <a:lnTo>
                  <a:pt x="810" y="494"/>
                </a:lnTo>
                <a:lnTo>
                  <a:pt x="809" y="494"/>
                </a:lnTo>
                <a:lnTo>
                  <a:pt x="810" y="495"/>
                </a:lnTo>
                <a:lnTo>
                  <a:pt x="809" y="495"/>
                </a:lnTo>
                <a:lnTo>
                  <a:pt x="810" y="495"/>
                </a:lnTo>
                <a:lnTo>
                  <a:pt x="809" y="496"/>
                </a:lnTo>
                <a:lnTo>
                  <a:pt x="809" y="495"/>
                </a:lnTo>
                <a:lnTo>
                  <a:pt x="809" y="496"/>
                </a:lnTo>
                <a:lnTo>
                  <a:pt x="808" y="496"/>
                </a:lnTo>
                <a:lnTo>
                  <a:pt x="806" y="495"/>
                </a:lnTo>
                <a:lnTo>
                  <a:pt x="805" y="495"/>
                </a:lnTo>
                <a:lnTo>
                  <a:pt x="805" y="494"/>
                </a:lnTo>
                <a:lnTo>
                  <a:pt x="804" y="492"/>
                </a:lnTo>
                <a:lnTo>
                  <a:pt x="804" y="494"/>
                </a:lnTo>
                <a:lnTo>
                  <a:pt x="803" y="494"/>
                </a:lnTo>
                <a:lnTo>
                  <a:pt x="803" y="492"/>
                </a:lnTo>
                <a:lnTo>
                  <a:pt x="805" y="491"/>
                </a:lnTo>
                <a:lnTo>
                  <a:pt x="805" y="490"/>
                </a:lnTo>
                <a:lnTo>
                  <a:pt x="805" y="491"/>
                </a:lnTo>
                <a:lnTo>
                  <a:pt x="805" y="492"/>
                </a:lnTo>
                <a:lnTo>
                  <a:pt x="806" y="492"/>
                </a:lnTo>
                <a:lnTo>
                  <a:pt x="805" y="491"/>
                </a:lnTo>
                <a:lnTo>
                  <a:pt x="805" y="490"/>
                </a:lnTo>
                <a:lnTo>
                  <a:pt x="805" y="489"/>
                </a:lnTo>
                <a:lnTo>
                  <a:pt x="804" y="489"/>
                </a:lnTo>
                <a:lnTo>
                  <a:pt x="805" y="488"/>
                </a:lnTo>
                <a:lnTo>
                  <a:pt x="805" y="487"/>
                </a:lnTo>
                <a:lnTo>
                  <a:pt x="804" y="487"/>
                </a:lnTo>
                <a:lnTo>
                  <a:pt x="805" y="487"/>
                </a:lnTo>
                <a:lnTo>
                  <a:pt x="804" y="485"/>
                </a:lnTo>
                <a:lnTo>
                  <a:pt x="803" y="485"/>
                </a:lnTo>
                <a:lnTo>
                  <a:pt x="803" y="484"/>
                </a:lnTo>
                <a:lnTo>
                  <a:pt x="803" y="483"/>
                </a:lnTo>
                <a:lnTo>
                  <a:pt x="802" y="482"/>
                </a:lnTo>
                <a:lnTo>
                  <a:pt x="802" y="481"/>
                </a:lnTo>
                <a:lnTo>
                  <a:pt x="801" y="480"/>
                </a:lnTo>
                <a:lnTo>
                  <a:pt x="801" y="478"/>
                </a:lnTo>
                <a:lnTo>
                  <a:pt x="802" y="477"/>
                </a:lnTo>
                <a:lnTo>
                  <a:pt x="802" y="476"/>
                </a:lnTo>
                <a:lnTo>
                  <a:pt x="802" y="475"/>
                </a:lnTo>
                <a:lnTo>
                  <a:pt x="802" y="474"/>
                </a:lnTo>
                <a:lnTo>
                  <a:pt x="803" y="474"/>
                </a:lnTo>
                <a:lnTo>
                  <a:pt x="802" y="474"/>
                </a:lnTo>
                <a:lnTo>
                  <a:pt x="803" y="473"/>
                </a:lnTo>
                <a:lnTo>
                  <a:pt x="803" y="471"/>
                </a:lnTo>
                <a:lnTo>
                  <a:pt x="803" y="470"/>
                </a:lnTo>
                <a:lnTo>
                  <a:pt x="804" y="470"/>
                </a:lnTo>
                <a:lnTo>
                  <a:pt x="804" y="469"/>
                </a:lnTo>
                <a:lnTo>
                  <a:pt x="805" y="469"/>
                </a:lnTo>
                <a:lnTo>
                  <a:pt x="805" y="468"/>
                </a:lnTo>
                <a:lnTo>
                  <a:pt x="805" y="467"/>
                </a:lnTo>
                <a:lnTo>
                  <a:pt x="805" y="466"/>
                </a:lnTo>
                <a:lnTo>
                  <a:pt x="806" y="464"/>
                </a:lnTo>
                <a:lnTo>
                  <a:pt x="805" y="464"/>
                </a:lnTo>
                <a:lnTo>
                  <a:pt x="805" y="463"/>
                </a:lnTo>
                <a:lnTo>
                  <a:pt x="805" y="462"/>
                </a:lnTo>
                <a:lnTo>
                  <a:pt x="804" y="461"/>
                </a:lnTo>
                <a:lnTo>
                  <a:pt x="805" y="461"/>
                </a:lnTo>
                <a:lnTo>
                  <a:pt x="805" y="460"/>
                </a:lnTo>
                <a:lnTo>
                  <a:pt x="804" y="460"/>
                </a:lnTo>
                <a:lnTo>
                  <a:pt x="804" y="459"/>
                </a:lnTo>
                <a:lnTo>
                  <a:pt x="803" y="459"/>
                </a:lnTo>
                <a:lnTo>
                  <a:pt x="803" y="457"/>
                </a:lnTo>
                <a:lnTo>
                  <a:pt x="804" y="457"/>
                </a:lnTo>
                <a:lnTo>
                  <a:pt x="804" y="456"/>
                </a:lnTo>
                <a:lnTo>
                  <a:pt x="804" y="455"/>
                </a:lnTo>
                <a:lnTo>
                  <a:pt x="804" y="454"/>
                </a:lnTo>
                <a:lnTo>
                  <a:pt x="805" y="454"/>
                </a:lnTo>
                <a:lnTo>
                  <a:pt x="805" y="453"/>
                </a:lnTo>
                <a:lnTo>
                  <a:pt x="806" y="453"/>
                </a:lnTo>
                <a:lnTo>
                  <a:pt x="806" y="452"/>
                </a:lnTo>
                <a:lnTo>
                  <a:pt x="808" y="452"/>
                </a:lnTo>
                <a:lnTo>
                  <a:pt x="808" y="450"/>
                </a:lnTo>
                <a:lnTo>
                  <a:pt x="809" y="450"/>
                </a:lnTo>
                <a:lnTo>
                  <a:pt x="808" y="450"/>
                </a:lnTo>
                <a:lnTo>
                  <a:pt x="808" y="452"/>
                </a:lnTo>
                <a:lnTo>
                  <a:pt x="809" y="452"/>
                </a:lnTo>
                <a:lnTo>
                  <a:pt x="809" y="450"/>
                </a:lnTo>
                <a:lnTo>
                  <a:pt x="809" y="449"/>
                </a:lnTo>
                <a:lnTo>
                  <a:pt x="810" y="449"/>
                </a:lnTo>
                <a:lnTo>
                  <a:pt x="811" y="449"/>
                </a:lnTo>
                <a:lnTo>
                  <a:pt x="811" y="448"/>
                </a:lnTo>
                <a:lnTo>
                  <a:pt x="810" y="448"/>
                </a:lnTo>
                <a:lnTo>
                  <a:pt x="810" y="449"/>
                </a:lnTo>
                <a:lnTo>
                  <a:pt x="809" y="449"/>
                </a:lnTo>
                <a:lnTo>
                  <a:pt x="809" y="450"/>
                </a:lnTo>
                <a:lnTo>
                  <a:pt x="809" y="449"/>
                </a:lnTo>
                <a:lnTo>
                  <a:pt x="810" y="448"/>
                </a:lnTo>
                <a:lnTo>
                  <a:pt x="811" y="447"/>
                </a:lnTo>
                <a:lnTo>
                  <a:pt x="812" y="447"/>
                </a:lnTo>
                <a:lnTo>
                  <a:pt x="812" y="446"/>
                </a:lnTo>
                <a:lnTo>
                  <a:pt x="812" y="445"/>
                </a:lnTo>
                <a:lnTo>
                  <a:pt x="812" y="443"/>
                </a:lnTo>
                <a:lnTo>
                  <a:pt x="813" y="445"/>
                </a:lnTo>
                <a:lnTo>
                  <a:pt x="813" y="443"/>
                </a:lnTo>
                <a:lnTo>
                  <a:pt x="815" y="442"/>
                </a:lnTo>
                <a:lnTo>
                  <a:pt x="816" y="441"/>
                </a:lnTo>
                <a:lnTo>
                  <a:pt x="816" y="440"/>
                </a:lnTo>
                <a:lnTo>
                  <a:pt x="817" y="440"/>
                </a:lnTo>
                <a:lnTo>
                  <a:pt x="817" y="439"/>
                </a:lnTo>
                <a:lnTo>
                  <a:pt x="817" y="438"/>
                </a:lnTo>
                <a:lnTo>
                  <a:pt x="817" y="436"/>
                </a:lnTo>
                <a:lnTo>
                  <a:pt x="817" y="435"/>
                </a:lnTo>
                <a:lnTo>
                  <a:pt x="818" y="435"/>
                </a:lnTo>
                <a:lnTo>
                  <a:pt x="818" y="434"/>
                </a:lnTo>
                <a:lnTo>
                  <a:pt x="817" y="434"/>
                </a:lnTo>
                <a:lnTo>
                  <a:pt x="818" y="433"/>
                </a:lnTo>
                <a:lnTo>
                  <a:pt x="818" y="432"/>
                </a:lnTo>
                <a:lnTo>
                  <a:pt x="819" y="431"/>
                </a:lnTo>
                <a:lnTo>
                  <a:pt x="819" y="429"/>
                </a:lnTo>
                <a:lnTo>
                  <a:pt x="818" y="429"/>
                </a:lnTo>
                <a:lnTo>
                  <a:pt x="818" y="428"/>
                </a:lnTo>
                <a:lnTo>
                  <a:pt x="819" y="428"/>
                </a:lnTo>
                <a:lnTo>
                  <a:pt x="819" y="427"/>
                </a:lnTo>
                <a:lnTo>
                  <a:pt x="819" y="426"/>
                </a:lnTo>
                <a:lnTo>
                  <a:pt x="819" y="425"/>
                </a:lnTo>
                <a:lnTo>
                  <a:pt x="820" y="425"/>
                </a:lnTo>
                <a:lnTo>
                  <a:pt x="820" y="424"/>
                </a:lnTo>
                <a:lnTo>
                  <a:pt x="822" y="422"/>
                </a:lnTo>
                <a:lnTo>
                  <a:pt x="822" y="421"/>
                </a:lnTo>
                <a:lnTo>
                  <a:pt x="823" y="421"/>
                </a:lnTo>
                <a:lnTo>
                  <a:pt x="823" y="420"/>
                </a:lnTo>
                <a:lnTo>
                  <a:pt x="823" y="419"/>
                </a:lnTo>
                <a:lnTo>
                  <a:pt x="823" y="418"/>
                </a:lnTo>
                <a:lnTo>
                  <a:pt x="824" y="415"/>
                </a:lnTo>
                <a:lnTo>
                  <a:pt x="825" y="415"/>
                </a:lnTo>
                <a:lnTo>
                  <a:pt x="825" y="414"/>
                </a:lnTo>
                <a:lnTo>
                  <a:pt x="826" y="414"/>
                </a:lnTo>
                <a:lnTo>
                  <a:pt x="826" y="413"/>
                </a:lnTo>
                <a:lnTo>
                  <a:pt x="827" y="413"/>
                </a:lnTo>
                <a:lnTo>
                  <a:pt x="828" y="411"/>
                </a:lnTo>
                <a:lnTo>
                  <a:pt x="828" y="410"/>
                </a:lnTo>
                <a:lnTo>
                  <a:pt x="830" y="410"/>
                </a:lnTo>
                <a:lnTo>
                  <a:pt x="830" y="411"/>
                </a:lnTo>
                <a:lnTo>
                  <a:pt x="830" y="410"/>
                </a:lnTo>
                <a:lnTo>
                  <a:pt x="831" y="410"/>
                </a:lnTo>
                <a:lnTo>
                  <a:pt x="831" y="408"/>
                </a:lnTo>
                <a:lnTo>
                  <a:pt x="832" y="408"/>
                </a:lnTo>
                <a:lnTo>
                  <a:pt x="832" y="410"/>
                </a:lnTo>
                <a:lnTo>
                  <a:pt x="832" y="408"/>
                </a:lnTo>
                <a:lnTo>
                  <a:pt x="832" y="407"/>
                </a:lnTo>
                <a:lnTo>
                  <a:pt x="832" y="408"/>
                </a:lnTo>
                <a:lnTo>
                  <a:pt x="831" y="408"/>
                </a:lnTo>
                <a:lnTo>
                  <a:pt x="830" y="410"/>
                </a:lnTo>
                <a:lnTo>
                  <a:pt x="831" y="408"/>
                </a:lnTo>
                <a:lnTo>
                  <a:pt x="833" y="406"/>
                </a:lnTo>
                <a:lnTo>
                  <a:pt x="834" y="405"/>
                </a:lnTo>
                <a:lnTo>
                  <a:pt x="835" y="404"/>
                </a:lnTo>
                <a:lnTo>
                  <a:pt x="837" y="404"/>
                </a:lnTo>
                <a:lnTo>
                  <a:pt x="835" y="404"/>
                </a:lnTo>
                <a:lnTo>
                  <a:pt x="834" y="404"/>
                </a:lnTo>
                <a:lnTo>
                  <a:pt x="835" y="404"/>
                </a:lnTo>
                <a:lnTo>
                  <a:pt x="835" y="403"/>
                </a:lnTo>
                <a:lnTo>
                  <a:pt x="837" y="401"/>
                </a:lnTo>
                <a:lnTo>
                  <a:pt x="838" y="400"/>
                </a:lnTo>
                <a:lnTo>
                  <a:pt x="838" y="399"/>
                </a:lnTo>
                <a:lnTo>
                  <a:pt x="839" y="399"/>
                </a:lnTo>
                <a:lnTo>
                  <a:pt x="839" y="398"/>
                </a:lnTo>
                <a:lnTo>
                  <a:pt x="840" y="397"/>
                </a:lnTo>
                <a:lnTo>
                  <a:pt x="841" y="396"/>
                </a:lnTo>
                <a:lnTo>
                  <a:pt x="841" y="394"/>
                </a:lnTo>
                <a:lnTo>
                  <a:pt x="842" y="393"/>
                </a:lnTo>
                <a:lnTo>
                  <a:pt x="844" y="392"/>
                </a:lnTo>
                <a:lnTo>
                  <a:pt x="844" y="393"/>
                </a:lnTo>
                <a:lnTo>
                  <a:pt x="844" y="392"/>
                </a:lnTo>
                <a:lnTo>
                  <a:pt x="842" y="392"/>
                </a:lnTo>
                <a:lnTo>
                  <a:pt x="844" y="392"/>
                </a:lnTo>
                <a:lnTo>
                  <a:pt x="844" y="391"/>
                </a:lnTo>
                <a:lnTo>
                  <a:pt x="845" y="390"/>
                </a:lnTo>
                <a:lnTo>
                  <a:pt x="846" y="390"/>
                </a:lnTo>
                <a:lnTo>
                  <a:pt x="845" y="390"/>
                </a:lnTo>
                <a:lnTo>
                  <a:pt x="845" y="389"/>
                </a:lnTo>
                <a:lnTo>
                  <a:pt x="846" y="389"/>
                </a:lnTo>
                <a:lnTo>
                  <a:pt x="845" y="389"/>
                </a:lnTo>
                <a:lnTo>
                  <a:pt x="846" y="389"/>
                </a:lnTo>
                <a:lnTo>
                  <a:pt x="846" y="387"/>
                </a:lnTo>
                <a:lnTo>
                  <a:pt x="847" y="386"/>
                </a:lnTo>
                <a:lnTo>
                  <a:pt x="848" y="385"/>
                </a:lnTo>
                <a:lnTo>
                  <a:pt x="848" y="384"/>
                </a:lnTo>
                <a:lnTo>
                  <a:pt x="849" y="384"/>
                </a:lnTo>
                <a:lnTo>
                  <a:pt x="849" y="383"/>
                </a:lnTo>
                <a:lnTo>
                  <a:pt x="851" y="383"/>
                </a:lnTo>
                <a:lnTo>
                  <a:pt x="851" y="382"/>
                </a:lnTo>
                <a:lnTo>
                  <a:pt x="852" y="382"/>
                </a:lnTo>
                <a:lnTo>
                  <a:pt x="852" y="380"/>
                </a:lnTo>
                <a:lnTo>
                  <a:pt x="852" y="379"/>
                </a:lnTo>
                <a:lnTo>
                  <a:pt x="853" y="379"/>
                </a:lnTo>
                <a:lnTo>
                  <a:pt x="853" y="378"/>
                </a:lnTo>
                <a:lnTo>
                  <a:pt x="854" y="377"/>
                </a:lnTo>
                <a:lnTo>
                  <a:pt x="853" y="378"/>
                </a:lnTo>
                <a:lnTo>
                  <a:pt x="854" y="378"/>
                </a:lnTo>
                <a:lnTo>
                  <a:pt x="854" y="377"/>
                </a:lnTo>
                <a:lnTo>
                  <a:pt x="854" y="376"/>
                </a:lnTo>
                <a:lnTo>
                  <a:pt x="855" y="375"/>
                </a:lnTo>
                <a:lnTo>
                  <a:pt x="855" y="376"/>
                </a:lnTo>
                <a:lnTo>
                  <a:pt x="856" y="375"/>
                </a:lnTo>
                <a:lnTo>
                  <a:pt x="855" y="375"/>
                </a:lnTo>
                <a:lnTo>
                  <a:pt x="856" y="373"/>
                </a:lnTo>
                <a:lnTo>
                  <a:pt x="858" y="373"/>
                </a:lnTo>
                <a:lnTo>
                  <a:pt x="858" y="372"/>
                </a:lnTo>
                <a:lnTo>
                  <a:pt x="858" y="373"/>
                </a:lnTo>
                <a:lnTo>
                  <a:pt x="858" y="372"/>
                </a:lnTo>
                <a:lnTo>
                  <a:pt x="856" y="372"/>
                </a:lnTo>
                <a:lnTo>
                  <a:pt x="856" y="373"/>
                </a:lnTo>
                <a:lnTo>
                  <a:pt x="856" y="372"/>
                </a:lnTo>
                <a:lnTo>
                  <a:pt x="858" y="371"/>
                </a:lnTo>
                <a:lnTo>
                  <a:pt x="858" y="370"/>
                </a:lnTo>
                <a:lnTo>
                  <a:pt x="859" y="370"/>
                </a:lnTo>
                <a:lnTo>
                  <a:pt x="859" y="369"/>
                </a:lnTo>
                <a:lnTo>
                  <a:pt x="860" y="369"/>
                </a:lnTo>
                <a:lnTo>
                  <a:pt x="860" y="368"/>
                </a:lnTo>
                <a:lnTo>
                  <a:pt x="860" y="366"/>
                </a:lnTo>
                <a:lnTo>
                  <a:pt x="861" y="365"/>
                </a:lnTo>
                <a:lnTo>
                  <a:pt x="861" y="364"/>
                </a:lnTo>
                <a:lnTo>
                  <a:pt x="861" y="365"/>
                </a:lnTo>
                <a:lnTo>
                  <a:pt x="862" y="365"/>
                </a:lnTo>
                <a:lnTo>
                  <a:pt x="862" y="366"/>
                </a:lnTo>
                <a:lnTo>
                  <a:pt x="862" y="365"/>
                </a:lnTo>
                <a:lnTo>
                  <a:pt x="863" y="365"/>
                </a:lnTo>
                <a:lnTo>
                  <a:pt x="866" y="365"/>
                </a:lnTo>
                <a:lnTo>
                  <a:pt x="867" y="364"/>
                </a:lnTo>
                <a:lnTo>
                  <a:pt x="867" y="365"/>
                </a:lnTo>
                <a:lnTo>
                  <a:pt x="868" y="365"/>
                </a:lnTo>
                <a:lnTo>
                  <a:pt x="867" y="365"/>
                </a:lnTo>
                <a:lnTo>
                  <a:pt x="868" y="365"/>
                </a:lnTo>
                <a:lnTo>
                  <a:pt x="868" y="366"/>
                </a:lnTo>
                <a:lnTo>
                  <a:pt x="869" y="366"/>
                </a:lnTo>
                <a:lnTo>
                  <a:pt x="870" y="365"/>
                </a:lnTo>
                <a:lnTo>
                  <a:pt x="869" y="365"/>
                </a:lnTo>
                <a:lnTo>
                  <a:pt x="868" y="365"/>
                </a:lnTo>
                <a:lnTo>
                  <a:pt x="868" y="364"/>
                </a:lnTo>
                <a:lnTo>
                  <a:pt x="866" y="364"/>
                </a:lnTo>
                <a:lnTo>
                  <a:pt x="866" y="363"/>
                </a:lnTo>
                <a:lnTo>
                  <a:pt x="865" y="363"/>
                </a:lnTo>
                <a:lnTo>
                  <a:pt x="865" y="364"/>
                </a:lnTo>
                <a:lnTo>
                  <a:pt x="863" y="364"/>
                </a:lnTo>
                <a:lnTo>
                  <a:pt x="862" y="364"/>
                </a:lnTo>
                <a:lnTo>
                  <a:pt x="862" y="363"/>
                </a:lnTo>
                <a:lnTo>
                  <a:pt x="861" y="363"/>
                </a:lnTo>
                <a:lnTo>
                  <a:pt x="861" y="364"/>
                </a:lnTo>
                <a:lnTo>
                  <a:pt x="860" y="364"/>
                </a:lnTo>
                <a:lnTo>
                  <a:pt x="861" y="364"/>
                </a:lnTo>
                <a:lnTo>
                  <a:pt x="861" y="363"/>
                </a:lnTo>
                <a:lnTo>
                  <a:pt x="861" y="362"/>
                </a:lnTo>
                <a:lnTo>
                  <a:pt x="862" y="362"/>
                </a:lnTo>
                <a:lnTo>
                  <a:pt x="863" y="359"/>
                </a:lnTo>
                <a:lnTo>
                  <a:pt x="863" y="358"/>
                </a:lnTo>
                <a:lnTo>
                  <a:pt x="865" y="358"/>
                </a:lnTo>
                <a:lnTo>
                  <a:pt x="865" y="359"/>
                </a:lnTo>
                <a:lnTo>
                  <a:pt x="863" y="359"/>
                </a:lnTo>
                <a:lnTo>
                  <a:pt x="863" y="361"/>
                </a:lnTo>
                <a:lnTo>
                  <a:pt x="862" y="362"/>
                </a:lnTo>
                <a:lnTo>
                  <a:pt x="863" y="362"/>
                </a:lnTo>
                <a:lnTo>
                  <a:pt x="865" y="362"/>
                </a:lnTo>
                <a:lnTo>
                  <a:pt x="865" y="361"/>
                </a:lnTo>
                <a:lnTo>
                  <a:pt x="865" y="359"/>
                </a:lnTo>
                <a:lnTo>
                  <a:pt x="866" y="359"/>
                </a:lnTo>
                <a:lnTo>
                  <a:pt x="866" y="358"/>
                </a:lnTo>
                <a:lnTo>
                  <a:pt x="867" y="357"/>
                </a:lnTo>
                <a:lnTo>
                  <a:pt x="867" y="358"/>
                </a:lnTo>
                <a:lnTo>
                  <a:pt x="868" y="358"/>
                </a:lnTo>
                <a:lnTo>
                  <a:pt x="868" y="357"/>
                </a:lnTo>
                <a:lnTo>
                  <a:pt x="867" y="357"/>
                </a:lnTo>
                <a:lnTo>
                  <a:pt x="866" y="357"/>
                </a:lnTo>
                <a:lnTo>
                  <a:pt x="865" y="357"/>
                </a:lnTo>
                <a:lnTo>
                  <a:pt x="865" y="356"/>
                </a:lnTo>
                <a:lnTo>
                  <a:pt x="866" y="356"/>
                </a:lnTo>
                <a:lnTo>
                  <a:pt x="866" y="355"/>
                </a:lnTo>
                <a:lnTo>
                  <a:pt x="866" y="354"/>
                </a:lnTo>
                <a:lnTo>
                  <a:pt x="866" y="355"/>
                </a:lnTo>
                <a:lnTo>
                  <a:pt x="867" y="355"/>
                </a:lnTo>
                <a:lnTo>
                  <a:pt x="866" y="355"/>
                </a:lnTo>
                <a:lnTo>
                  <a:pt x="867" y="355"/>
                </a:lnTo>
                <a:lnTo>
                  <a:pt x="867" y="354"/>
                </a:lnTo>
                <a:lnTo>
                  <a:pt x="868" y="354"/>
                </a:lnTo>
                <a:lnTo>
                  <a:pt x="869" y="354"/>
                </a:lnTo>
                <a:lnTo>
                  <a:pt x="870" y="354"/>
                </a:lnTo>
                <a:lnTo>
                  <a:pt x="869" y="354"/>
                </a:lnTo>
                <a:lnTo>
                  <a:pt x="868" y="354"/>
                </a:lnTo>
                <a:lnTo>
                  <a:pt x="869" y="354"/>
                </a:lnTo>
                <a:lnTo>
                  <a:pt x="869" y="352"/>
                </a:lnTo>
                <a:lnTo>
                  <a:pt x="868" y="352"/>
                </a:lnTo>
                <a:lnTo>
                  <a:pt x="867" y="352"/>
                </a:lnTo>
                <a:lnTo>
                  <a:pt x="866" y="354"/>
                </a:lnTo>
                <a:lnTo>
                  <a:pt x="867" y="354"/>
                </a:lnTo>
                <a:lnTo>
                  <a:pt x="866" y="354"/>
                </a:lnTo>
                <a:lnTo>
                  <a:pt x="866" y="352"/>
                </a:lnTo>
                <a:lnTo>
                  <a:pt x="867" y="352"/>
                </a:lnTo>
                <a:lnTo>
                  <a:pt x="867" y="351"/>
                </a:lnTo>
                <a:lnTo>
                  <a:pt x="868" y="350"/>
                </a:lnTo>
                <a:lnTo>
                  <a:pt x="868" y="349"/>
                </a:lnTo>
                <a:lnTo>
                  <a:pt x="868" y="348"/>
                </a:lnTo>
                <a:lnTo>
                  <a:pt x="868" y="347"/>
                </a:lnTo>
                <a:lnTo>
                  <a:pt x="869" y="345"/>
                </a:lnTo>
                <a:lnTo>
                  <a:pt x="869" y="344"/>
                </a:lnTo>
                <a:lnTo>
                  <a:pt x="869" y="343"/>
                </a:lnTo>
                <a:lnTo>
                  <a:pt x="870" y="342"/>
                </a:lnTo>
                <a:lnTo>
                  <a:pt x="870" y="341"/>
                </a:lnTo>
                <a:lnTo>
                  <a:pt x="870" y="340"/>
                </a:lnTo>
                <a:lnTo>
                  <a:pt x="869" y="340"/>
                </a:lnTo>
                <a:lnTo>
                  <a:pt x="870" y="340"/>
                </a:lnTo>
                <a:lnTo>
                  <a:pt x="869" y="340"/>
                </a:lnTo>
                <a:lnTo>
                  <a:pt x="869" y="338"/>
                </a:lnTo>
                <a:lnTo>
                  <a:pt x="869" y="337"/>
                </a:lnTo>
                <a:lnTo>
                  <a:pt x="870" y="337"/>
                </a:lnTo>
                <a:lnTo>
                  <a:pt x="870" y="336"/>
                </a:lnTo>
                <a:lnTo>
                  <a:pt x="870" y="335"/>
                </a:lnTo>
                <a:lnTo>
                  <a:pt x="872" y="335"/>
                </a:lnTo>
                <a:lnTo>
                  <a:pt x="872" y="334"/>
                </a:lnTo>
                <a:lnTo>
                  <a:pt x="873" y="334"/>
                </a:lnTo>
                <a:lnTo>
                  <a:pt x="873" y="333"/>
                </a:lnTo>
                <a:lnTo>
                  <a:pt x="873" y="331"/>
                </a:lnTo>
                <a:lnTo>
                  <a:pt x="874" y="331"/>
                </a:lnTo>
                <a:lnTo>
                  <a:pt x="875" y="331"/>
                </a:lnTo>
                <a:lnTo>
                  <a:pt x="875" y="333"/>
                </a:lnTo>
                <a:lnTo>
                  <a:pt x="876" y="333"/>
                </a:lnTo>
                <a:lnTo>
                  <a:pt x="877" y="333"/>
                </a:lnTo>
                <a:lnTo>
                  <a:pt x="877" y="334"/>
                </a:lnTo>
                <a:lnTo>
                  <a:pt x="877" y="333"/>
                </a:lnTo>
                <a:lnTo>
                  <a:pt x="877" y="334"/>
                </a:lnTo>
                <a:lnTo>
                  <a:pt x="879" y="334"/>
                </a:lnTo>
                <a:lnTo>
                  <a:pt x="880" y="335"/>
                </a:lnTo>
                <a:lnTo>
                  <a:pt x="881" y="335"/>
                </a:lnTo>
                <a:lnTo>
                  <a:pt x="882" y="335"/>
                </a:lnTo>
                <a:lnTo>
                  <a:pt x="883" y="335"/>
                </a:lnTo>
                <a:lnTo>
                  <a:pt x="884" y="335"/>
                </a:lnTo>
                <a:lnTo>
                  <a:pt x="886" y="335"/>
                </a:lnTo>
                <a:lnTo>
                  <a:pt x="887" y="335"/>
                </a:lnTo>
                <a:lnTo>
                  <a:pt x="886" y="335"/>
                </a:lnTo>
                <a:lnTo>
                  <a:pt x="887" y="335"/>
                </a:lnTo>
                <a:lnTo>
                  <a:pt x="888" y="335"/>
                </a:lnTo>
                <a:lnTo>
                  <a:pt x="889" y="335"/>
                </a:lnTo>
                <a:lnTo>
                  <a:pt x="890" y="335"/>
                </a:lnTo>
                <a:lnTo>
                  <a:pt x="891" y="335"/>
                </a:lnTo>
                <a:lnTo>
                  <a:pt x="890" y="335"/>
                </a:lnTo>
                <a:lnTo>
                  <a:pt x="890" y="336"/>
                </a:lnTo>
                <a:lnTo>
                  <a:pt x="891" y="336"/>
                </a:lnTo>
                <a:lnTo>
                  <a:pt x="892" y="336"/>
                </a:lnTo>
                <a:lnTo>
                  <a:pt x="892" y="337"/>
                </a:lnTo>
                <a:lnTo>
                  <a:pt x="891" y="337"/>
                </a:lnTo>
                <a:lnTo>
                  <a:pt x="892" y="337"/>
                </a:lnTo>
                <a:lnTo>
                  <a:pt x="892" y="336"/>
                </a:lnTo>
                <a:lnTo>
                  <a:pt x="894" y="335"/>
                </a:lnTo>
                <a:lnTo>
                  <a:pt x="895" y="335"/>
                </a:lnTo>
                <a:lnTo>
                  <a:pt x="894" y="336"/>
                </a:lnTo>
                <a:lnTo>
                  <a:pt x="894" y="337"/>
                </a:lnTo>
                <a:lnTo>
                  <a:pt x="894" y="338"/>
                </a:lnTo>
                <a:lnTo>
                  <a:pt x="894" y="340"/>
                </a:lnTo>
                <a:lnTo>
                  <a:pt x="892" y="340"/>
                </a:lnTo>
                <a:lnTo>
                  <a:pt x="891" y="341"/>
                </a:lnTo>
                <a:lnTo>
                  <a:pt x="890" y="341"/>
                </a:lnTo>
                <a:lnTo>
                  <a:pt x="890" y="342"/>
                </a:lnTo>
                <a:lnTo>
                  <a:pt x="889" y="342"/>
                </a:lnTo>
                <a:lnTo>
                  <a:pt x="890" y="342"/>
                </a:lnTo>
                <a:lnTo>
                  <a:pt x="890" y="341"/>
                </a:lnTo>
                <a:lnTo>
                  <a:pt x="891" y="341"/>
                </a:lnTo>
                <a:lnTo>
                  <a:pt x="891" y="340"/>
                </a:lnTo>
                <a:lnTo>
                  <a:pt x="890" y="340"/>
                </a:lnTo>
                <a:lnTo>
                  <a:pt x="890" y="341"/>
                </a:lnTo>
                <a:lnTo>
                  <a:pt x="890" y="340"/>
                </a:lnTo>
                <a:lnTo>
                  <a:pt x="890" y="341"/>
                </a:lnTo>
                <a:lnTo>
                  <a:pt x="889" y="341"/>
                </a:lnTo>
                <a:lnTo>
                  <a:pt x="889" y="342"/>
                </a:lnTo>
                <a:lnTo>
                  <a:pt x="888" y="342"/>
                </a:lnTo>
                <a:lnTo>
                  <a:pt x="888" y="343"/>
                </a:lnTo>
                <a:lnTo>
                  <a:pt x="886" y="344"/>
                </a:lnTo>
                <a:lnTo>
                  <a:pt x="884" y="345"/>
                </a:lnTo>
                <a:lnTo>
                  <a:pt x="883" y="345"/>
                </a:lnTo>
                <a:lnTo>
                  <a:pt x="883" y="347"/>
                </a:lnTo>
                <a:lnTo>
                  <a:pt x="882" y="347"/>
                </a:lnTo>
                <a:lnTo>
                  <a:pt x="882" y="348"/>
                </a:lnTo>
                <a:lnTo>
                  <a:pt x="883" y="348"/>
                </a:lnTo>
                <a:lnTo>
                  <a:pt x="886" y="347"/>
                </a:lnTo>
                <a:lnTo>
                  <a:pt x="887" y="347"/>
                </a:lnTo>
                <a:lnTo>
                  <a:pt x="887" y="345"/>
                </a:lnTo>
                <a:lnTo>
                  <a:pt x="886" y="347"/>
                </a:lnTo>
                <a:lnTo>
                  <a:pt x="884" y="347"/>
                </a:lnTo>
                <a:lnTo>
                  <a:pt x="883" y="347"/>
                </a:lnTo>
                <a:lnTo>
                  <a:pt x="884" y="345"/>
                </a:lnTo>
                <a:lnTo>
                  <a:pt x="886" y="344"/>
                </a:lnTo>
                <a:lnTo>
                  <a:pt x="887" y="343"/>
                </a:lnTo>
                <a:lnTo>
                  <a:pt x="888" y="343"/>
                </a:lnTo>
                <a:lnTo>
                  <a:pt x="889" y="343"/>
                </a:lnTo>
                <a:lnTo>
                  <a:pt x="890" y="342"/>
                </a:lnTo>
                <a:lnTo>
                  <a:pt x="891" y="342"/>
                </a:lnTo>
                <a:lnTo>
                  <a:pt x="891" y="341"/>
                </a:lnTo>
                <a:lnTo>
                  <a:pt x="894" y="340"/>
                </a:lnTo>
                <a:lnTo>
                  <a:pt x="895" y="338"/>
                </a:lnTo>
                <a:lnTo>
                  <a:pt x="895" y="340"/>
                </a:lnTo>
                <a:lnTo>
                  <a:pt x="895" y="341"/>
                </a:lnTo>
                <a:lnTo>
                  <a:pt x="894" y="341"/>
                </a:lnTo>
                <a:lnTo>
                  <a:pt x="894" y="342"/>
                </a:lnTo>
                <a:lnTo>
                  <a:pt x="892" y="342"/>
                </a:lnTo>
                <a:lnTo>
                  <a:pt x="892" y="341"/>
                </a:lnTo>
                <a:lnTo>
                  <a:pt x="891" y="342"/>
                </a:lnTo>
                <a:lnTo>
                  <a:pt x="892" y="342"/>
                </a:lnTo>
                <a:lnTo>
                  <a:pt x="891" y="342"/>
                </a:lnTo>
                <a:lnTo>
                  <a:pt x="891" y="343"/>
                </a:lnTo>
                <a:lnTo>
                  <a:pt x="891" y="344"/>
                </a:lnTo>
                <a:lnTo>
                  <a:pt x="891" y="343"/>
                </a:lnTo>
                <a:lnTo>
                  <a:pt x="890" y="343"/>
                </a:lnTo>
                <a:lnTo>
                  <a:pt x="890" y="344"/>
                </a:lnTo>
                <a:lnTo>
                  <a:pt x="891" y="344"/>
                </a:lnTo>
                <a:lnTo>
                  <a:pt x="891" y="343"/>
                </a:lnTo>
                <a:lnTo>
                  <a:pt x="891" y="344"/>
                </a:lnTo>
                <a:lnTo>
                  <a:pt x="891" y="345"/>
                </a:lnTo>
                <a:lnTo>
                  <a:pt x="890" y="345"/>
                </a:lnTo>
                <a:lnTo>
                  <a:pt x="890" y="347"/>
                </a:lnTo>
                <a:lnTo>
                  <a:pt x="889" y="348"/>
                </a:lnTo>
                <a:lnTo>
                  <a:pt x="889" y="349"/>
                </a:lnTo>
                <a:lnTo>
                  <a:pt x="888" y="349"/>
                </a:lnTo>
                <a:lnTo>
                  <a:pt x="888" y="348"/>
                </a:lnTo>
                <a:lnTo>
                  <a:pt x="889" y="347"/>
                </a:lnTo>
                <a:lnTo>
                  <a:pt x="888" y="347"/>
                </a:lnTo>
                <a:lnTo>
                  <a:pt x="888" y="348"/>
                </a:lnTo>
                <a:lnTo>
                  <a:pt x="887" y="348"/>
                </a:lnTo>
                <a:lnTo>
                  <a:pt x="887" y="349"/>
                </a:lnTo>
                <a:lnTo>
                  <a:pt x="886" y="349"/>
                </a:lnTo>
                <a:lnTo>
                  <a:pt x="886" y="350"/>
                </a:lnTo>
                <a:lnTo>
                  <a:pt x="886" y="349"/>
                </a:lnTo>
                <a:lnTo>
                  <a:pt x="886" y="348"/>
                </a:lnTo>
                <a:lnTo>
                  <a:pt x="887" y="348"/>
                </a:lnTo>
                <a:lnTo>
                  <a:pt x="887" y="347"/>
                </a:lnTo>
                <a:lnTo>
                  <a:pt x="886" y="348"/>
                </a:lnTo>
                <a:lnTo>
                  <a:pt x="884" y="348"/>
                </a:lnTo>
                <a:lnTo>
                  <a:pt x="884" y="349"/>
                </a:lnTo>
                <a:lnTo>
                  <a:pt x="883" y="350"/>
                </a:lnTo>
                <a:lnTo>
                  <a:pt x="882" y="350"/>
                </a:lnTo>
                <a:lnTo>
                  <a:pt x="881" y="350"/>
                </a:lnTo>
                <a:lnTo>
                  <a:pt x="882" y="350"/>
                </a:lnTo>
                <a:lnTo>
                  <a:pt x="882" y="351"/>
                </a:lnTo>
                <a:lnTo>
                  <a:pt x="881" y="351"/>
                </a:lnTo>
                <a:lnTo>
                  <a:pt x="882" y="350"/>
                </a:lnTo>
                <a:lnTo>
                  <a:pt x="883" y="350"/>
                </a:lnTo>
                <a:lnTo>
                  <a:pt x="882" y="351"/>
                </a:lnTo>
                <a:lnTo>
                  <a:pt x="881" y="351"/>
                </a:lnTo>
                <a:lnTo>
                  <a:pt x="882" y="351"/>
                </a:lnTo>
                <a:lnTo>
                  <a:pt x="883" y="350"/>
                </a:lnTo>
                <a:lnTo>
                  <a:pt x="883" y="351"/>
                </a:lnTo>
                <a:lnTo>
                  <a:pt x="882" y="351"/>
                </a:lnTo>
                <a:lnTo>
                  <a:pt x="882" y="352"/>
                </a:lnTo>
                <a:lnTo>
                  <a:pt x="882" y="351"/>
                </a:lnTo>
                <a:lnTo>
                  <a:pt x="883" y="351"/>
                </a:lnTo>
                <a:lnTo>
                  <a:pt x="883" y="350"/>
                </a:lnTo>
                <a:lnTo>
                  <a:pt x="884" y="350"/>
                </a:lnTo>
                <a:lnTo>
                  <a:pt x="883" y="350"/>
                </a:lnTo>
                <a:lnTo>
                  <a:pt x="884" y="350"/>
                </a:lnTo>
                <a:lnTo>
                  <a:pt x="884" y="351"/>
                </a:lnTo>
                <a:lnTo>
                  <a:pt x="886" y="351"/>
                </a:lnTo>
                <a:lnTo>
                  <a:pt x="884" y="351"/>
                </a:lnTo>
                <a:lnTo>
                  <a:pt x="886" y="351"/>
                </a:lnTo>
                <a:lnTo>
                  <a:pt x="887" y="350"/>
                </a:lnTo>
                <a:lnTo>
                  <a:pt x="888" y="349"/>
                </a:lnTo>
                <a:lnTo>
                  <a:pt x="889" y="349"/>
                </a:lnTo>
                <a:lnTo>
                  <a:pt x="889" y="348"/>
                </a:lnTo>
                <a:lnTo>
                  <a:pt x="890" y="348"/>
                </a:lnTo>
                <a:lnTo>
                  <a:pt x="890" y="349"/>
                </a:lnTo>
                <a:lnTo>
                  <a:pt x="890" y="348"/>
                </a:lnTo>
                <a:lnTo>
                  <a:pt x="891" y="348"/>
                </a:lnTo>
                <a:lnTo>
                  <a:pt x="892" y="348"/>
                </a:lnTo>
                <a:lnTo>
                  <a:pt x="892" y="347"/>
                </a:lnTo>
                <a:lnTo>
                  <a:pt x="892" y="345"/>
                </a:lnTo>
                <a:lnTo>
                  <a:pt x="894" y="345"/>
                </a:lnTo>
                <a:lnTo>
                  <a:pt x="894" y="344"/>
                </a:lnTo>
                <a:lnTo>
                  <a:pt x="894" y="343"/>
                </a:lnTo>
                <a:lnTo>
                  <a:pt x="894" y="344"/>
                </a:lnTo>
                <a:lnTo>
                  <a:pt x="895" y="343"/>
                </a:lnTo>
                <a:lnTo>
                  <a:pt x="894" y="343"/>
                </a:lnTo>
                <a:lnTo>
                  <a:pt x="894" y="342"/>
                </a:lnTo>
                <a:lnTo>
                  <a:pt x="895" y="342"/>
                </a:lnTo>
                <a:lnTo>
                  <a:pt x="895" y="341"/>
                </a:lnTo>
                <a:lnTo>
                  <a:pt x="896" y="341"/>
                </a:lnTo>
                <a:lnTo>
                  <a:pt x="896" y="340"/>
                </a:lnTo>
                <a:lnTo>
                  <a:pt x="897" y="340"/>
                </a:lnTo>
                <a:lnTo>
                  <a:pt x="897" y="338"/>
                </a:lnTo>
                <a:lnTo>
                  <a:pt x="898" y="338"/>
                </a:lnTo>
                <a:lnTo>
                  <a:pt x="898" y="337"/>
                </a:lnTo>
                <a:lnTo>
                  <a:pt x="899" y="337"/>
                </a:lnTo>
                <a:lnTo>
                  <a:pt x="901" y="337"/>
                </a:lnTo>
                <a:lnTo>
                  <a:pt x="901" y="336"/>
                </a:lnTo>
                <a:lnTo>
                  <a:pt x="899" y="337"/>
                </a:lnTo>
                <a:lnTo>
                  <a:pt x="899" y="336"/>
                </a:lnTo>
                <a:lnTo>
                  <a:pt x="899" y="335"/>
                </a:lnTo>
                <a:lnTo>
                  <a:pt x="899" y="334"/>
                </a:lnTo>
                <a:lnTo>
                  <a:pt x="901" y="334"/>
                </a:lnTo>
                <a:lnTo>
                  <a:pt x="899" y="334"/>
                </a:lnTo>
                <a:lnTo>
                  <a:pt x="898" y="334"/>
                </a:lnTo>
                <a:lnTo>
                  <a:pt x="898" y="335"/>
                </a:lnTo>
                <a:lnTo>
                  <a:pt x="898" y="336"/>
                </a:lnTo>
                <a:lnTo>
                  <a:pt x="899" y="336"/>
                </a:lnTo>
                <a:lnTo>
                  <a:pt x="898" y="336"/>
                </a:lnTo>
                <a:lnTo>
                  <a:pt x="898" y="335"/>
                </a:lnTo>
                <a:lnTo>
                  <a:pt x="898" y="334"/>
                </a:lnTo>
                <a:lnTo>
                  <a:pt x="899" y="334"/>
                </a:lnTo>
                <a:lnTo>
                  <a:pt x="901" y="334"/>
                </a:lnTo>
                <a:lnTo>
                  <a:pt x="901" y="333"/>
                </a:lnTo>
                <a:lnTo>
                  <a:pt x="901" y="331"/>
                </a:lnTo>
                <a:lnTo>
                  <a:pt x="899" y="331"/>
                </a:lnTo>
                <a:lnTo>
                  <a:pt x="899" y="330"/>
                </a:lnTo>
                <a:lnTo>
                  <a:pt x="899" y="331"/>
                </a:lnTo>
                <a:lnTo>
                  <a:pt x="898" y="331"/>
                </a:lnTo>
                <a:lnTo>
                  <a:pt x="898" y="330"/>
                </a:lnTo>
                <a:lnTo>
                  <a:pt x="899" y="330"/>
                </a:lnTo>
                <a:lnTo>
                  <a:pt x="898" y="330"/>
                </a:lnTo>
                <a:lnTo>
                  <a:pt x="898" y="329"/>
                </a:lnTo>
                <a:lnTo>
                  <a:pt x="899" y="329"/>
                </a:lnTo>
                <a:lnTo>
                  <a:pt x="899" y="330"/>
                </a:lnTo>
                <a:lnTo>
                  <a:pt x="901" y="330"/>
                </a:lnTo>
                <a:lnTo>
                  <a:pt x="901" y="329"/>
                </a:lnTo>
                <a:lnTo>
                  <a:pt x="901" y="330"/>
                </a:lnTo>
                <a:lnTo>
                  <a:pt x="902" y="330"/>
                </a:lnTo>
                <a:lnTo>
                  <a:pt x="902" y="329"/>
                </a:lnTo>
                <a:lnTo>
                  <a:pt x="902" y="328"/>
                </a:lnTo>
                <a:lnTo>
                  <a:pt x="902" y="329"/>
                </a:lnTo>
                <a:lnTo>
                  <a:pt x="903" y="329"/>
                </a:lnTo>
                <a:lnTo>
                  <a:pt x="903" y="328"/>
                </a:lnTo>
                <a:lnTo>
                  <a:pt x="903" y="327"/>
                </a:lnTo>
                <a:lnTo>
                  <a:pt x="904" y="326"/>
                </a:lnTo>
                <a:lnTo>
                  <a:pt x="903" y="326"/>
                </a:lnTo>
                <a:lnTo>
                  <a:pt x="902" y="326"/>
                </a:lnTo>
                <a:lnTo>
                  <a:pt x="902" y="324"/>
                </a:lnTo>
                <a:lnTo>
                  <a:pt x="902" y="326"/>
                </a:lnTo>
                <a:lnTo>
                  <a:pt x="902" y="324"/>
                </a:lnTo>
                <a:lnTo>
                  <a:pt x="902" y="323"/>
                </a:lnTo>
                <a:lnTo>
                  <a:pt x="903" y="323"/>
                </a:lnTo>
                <a:lnTo>
                  <a:pt x="902" y="323"/>
                </a:lnTo>
                <a:lnTo>
                  <a:pt x="902" y="322"/>
                </a:lnTo>
                <a:lnTo>
                  <a:pt x="903" y="322"/>
                </a:lnTo>
                <a:lnTo>
                  <a:pt x="904" y="322"/>
                </a:lnTo>
                <a:lnTo>
                  <a:pt x="908" y="322"/>
                </a:lnTo>
                <a:lnTo>
                  <a:pt x="910" y="322"/>
                </a:lnTo>
                <a:lnTo>
                  <a:pt x="912" y="322"/>
                </a:lnTo>
                <a:lnTo>
                  <a:pt x="915" y="322"/>
                </a:lnTo>
                <a:lnTo>
                  <a:pt x="918" y="322"/>
                </a:lnTo>
                <a:lnTo>
                  <a:pt x="920" y="322"/>
                </a:lnTo>
                <a:lnTo>
                  <a:pt x="923" y="322"/>
                </a:lnTo>
                <a:lnTo>
                  <a:pt x="926" y="322"/>
                </a:lnTo>
                <a:lnTo>
                  <a:pt x="929" y="322"/>
                </a:lnTo>
                <a:lnTo>
                  <a:pt x="931" y="322"/>
                </a:lnTo>
                <a:lnTo>
                  <a:pt x="934" y="322"/>
                </a:lnTo>
                <a:lnTo>
                  <a:pt x="937" y="322"/>
                </a:lnTo>
                <a:lnTo>
                  <a:pt x="939" y="322"/>
                </a:lnTo>
                <a:lnTo>
                  <a:pt x="941" y="322"/>
                </a:lnTo>
                <a:lnTo>
                  <a:pt x="945" y="322"/>
                </a:lnTo>
                <a:lnTo>
                  <a:pt x="947" y="322"/>
                </a:lnTo>
                <a:lnTo>
                  <a:pt x="950" y="322"/>
                </a:lnTo>
                <a:lnTo>
                  <a:pt x="953" y="322"/>
                </a:lnTo>
                <a:lnTo>
                  <a:pt x="955" y="322"/>
                </a:lnTo>
                <a:lnTo>
                  <a:pt x="958" y="322"/>
                </a:lnTo>
                <a:lnTo>
                  <a:pt x="961" y="322"/>
                </a:lnTo>
                <a:lnTo>
                  <a:pt x="963" y="322"/>
                </a:lnTo>
                <a:lnTo>
                  <a:pt x="966" y="322"/>
                </a:lnTo>
                <a:lnTo>
                  <a:pt x="968" y="322"/>
                </a:lnTo>
                <a:lnTo>
                  <a:pt x="972" y="322"/>
                </a:lnTo>
                <a:lnTo>
                  <a:pt x="973" y="322"/>
                </a:lnTo>
                <a:lnTo>
                  <a:pt x="974" y="322"/>
                </a:lnTo>
                <a:lnTo>
                  <a:pt x="976" y="322"/>
                </a:lnTo>
                <a:lnTo>
                  <a:pt x="980" y="322"/>
                </a:lnTo>
                <a:lnTo>
                  <a:pt x="982" y="322"/>
                </a:lnTo>
                <a:lnTo>
                  <a:pt x="984" y="322"/>
                </a:lnTo>
                <a:lnTo>
                  <a:pt x="988" y="322"/>
                </a:lnTo>
                <a:lnTo>
                  <a:pt x="990" y="322"/>
                </a:lnTo>
                <a:lnTo>
                  <a:pt x="993" y="322"/>
                </a:lnTo>
                <a:lnTo>
                  <a:pt x="996" y="322"/>
                </a:lnTo>
                <a:lnTo>
                  <a:pt x="998" y="322"/>
                </a:lnTo>
                <a:lnTo>
                  <a:pt x="1001" y="322"/>
                </a:lnTo>
                <a:lnTo>
                  <a:pt x="1003" y="322"/>
                </a:lnTo>
                <a:lnTo>
                  <a:pt x="1007" y="322"/>
                </a:lnTo>
                <a:lnTo>
                  <a:pt x="1009" y="322"/>
                </a:lnTo>
                <a:lnTo>
                  <a:pt x="1011" y="322"/>
                </a:lnTo>
                <a:lnTo>
                  <a:pt x="1015" y="322"/>
                </a:lnTo>
                <a:lnTo>
                  <a:pt x="1017" y="322"/>
                </a:lnTo>
                <a:lnTo>
                  <a:pt x="1019" y="322"/>
                </a:lnTo>
                <a:lnTo>
                  <a:pt x="1023" y="322"/>
                </a:lnTo>
                <a:lnTo>
                  <a:pt x="1025" y="322"/>
                </a:lnTo>
                <a:lnTo>
                  <a:pt x="1027" y="322"/>
                </a:lnTo>
                <a:lnTo>
                  <a:pt x="1030" y="322"/>
                </a:lnTo>
                <a:lnTo>
                  <a:pt x="1033" y="322"/>
                </a:lnTo>
                <a:lnTo>
                  <a:pt x="1036" y="322"/>
                </a:lnTo>
                <a:lnTo>
                  <a:pt x="1038" y="322"/>
                </a:lnTo>
                <a:lnTo>
                  <a:pt x="1041" y="322"/>
                </a:lnTo>
                <a:lnTo>
                  <a:pt x="1044" y="322"/>
                </a:lnTo>
                <a:lnTo>
                  <a:pt x="1046" y="322"/>
                </a:lnTo>
                <a:lnTo>
                  <a:pt x="1050" y="322"/>
                </a:lnTo>
                <a:lnTo>
                  <a:pt x="1052" y="322"/>
                </a:lnTo>
                <a:lnTo>
                  <a:pt x="1054" y="322"/>
                </a:lnTo>
                <a:lnTo>
                  <a:pt x="1057" y="322"/>
                </a:lnTo>
                <a:lnTo>
                  <a:pt x="1059" y="322"/>
                </a:lnTo>
                <a:lnTo>
                  <a:pt x="1060" y="322"/>
                </a:lnTo>
                <a:lnTo>
                  <a:pt x="1062" y="322"/>
                </a:lnTo>
                <a:lnTo>
                  <a:pt x="1065" y="322"/>
                </a:lnTo>
                <a:lnTo>
                  <a:pt x="1068" y="322"/>
                </a:lnTo>
                <a:lnTo>
                  <a:pt x="1071" y="322"/>
                </a:lnTo>
                <a:lnTo>
                  <a:pt x="1073" y="322"/>
                </a:lnTo>
                <a:lnTo>
                  <a:pt x="1076" y="322"/>
                </a:lnTo>
                <a:lnTo>
                  <a:pt x="1079" y="322"/>
                </a:lnTo>
                <a:lnTo>
                  <a:pt x="1081" y="322"/>
                </a:lnTo>
                <a:lnTo>
                  <a:pt x="1083" y="322"/>
                </a:lnTo>
                <a:lnTo>
                  <a:pt x="1087" y="322"/>
                </a:lnTo>
                <a:lnTo>
                  <a:pt x="1089" y="322"/>
                </a:lnTo>
                <a:lnTo>
                  <a:pt x="1091" y="322"/>
                </a:lnTo>
                <a:lnTo>
                  <a:pt x="1095" y="322"/>
                </a:lnTo>
                <a:lnTo>
                  <a:pt x="1097" y="322"/>
                </a:lnTo>
                <a:lnTo>
                  <a:pt x="1100" y="322"/>
                </a:lnTo>
                <a:lnTo>
                  <a:pt x="1103" y="322"/>
                </a:lnTo>
                <a:lnTo>
                  <a:pt x="1105" y="322"/>
                </a:lnTo>
                <a:lnTo>
                  <a:pt x="1108" y="322"/>
                </a:lnTo>
                <a:lnTo>
                  <a:pt x="1110" y="322"/>
                </a:lnTo>
                <a:lnTo>
                  <a:pt x="1114" y="322"/>
                </a:lnTo>
                <a:lnTo>
                  <a:pt x="1116" y="322"/>
                </a:lnTo>
                <a:lnTo>
                  <a:pt x="1118" y="322"/>
                </a:lnTo>
                <a:lnTo>
                  <a:pt x="1122" y="322"/>
                </a:lnTo>
                <a:lnTo>
                  <a:pt x="1124" y="322"/>
                </a:lnTo>
                <a:lnTo>
                  <a:pt x="1126" y="322"/>
                </a:lnTo>
                <a:lnTo>
                  <a:pt x="1130" y="322"/>
                </a:lnTo>
                <a:lnTo>
                  <a:pt x="1131" y="322"/>
                </a:lnTo>
                <a:lnTo>
                  <a:pt x="1132" y="322"/>
                </a:lnTo>
                <a:lnTo>
                  <a:pt x="1135" y="322"/>
                </a:lnTo>
                <a:lnTo>
                  <a:pt x="1138" y="322"/>
                </a:lnTo>
                <a:lnTo>
                  <a:pt x="1140" y="322"/>
                </a:lnTo>
                <a:lnTo>
                  <a:pt x="1143" y="322"/>
                </a:lnTo>
                <a:lnTo>
                  <a:pt x="1145" y="322"/>
                </a:lnTo>
                <a:lnTo>
                  <a:pt x="1148" y="322"/>
                </a:lnTo>
                <a:lnTo>
                  <a:pt x="1151" y="322"/>
                </a:lnTo>
                <a:lnTo>
                  <a:pt x="1153" y="322"/>
                </a:lnTo>
                <a:lnTo>
                  <a:pt x="1157" y="322"/>
                </a:lnTo>
                <a:lnTo>
                  <a:pt x="1159" y="322"/>
                </a:lnTo>
                <a:lnTo>
                  <a:pt x="1161" y="322"/>
                </a:lnTo>
                <a:lnTo>
                  <a:pt x="1164" y="322"/>
                </a:lnTo>
                <a:lnTo>
                  <a:pt x="1165" y="322"/>
                </a:lnTo>
                <a:lnTo>
                  <a:pt x="1167" y="322"/>
                </a:lnTo>
                <a:lnTo>
                  <a:pt x="1169" y="322"/>
                </a:lnTo>
                <a:lnTo>
                  <a:pt x="1172" y="322"/>
                </a:lnTo>
                <a:lnTo>
                  <a:pt x="1175" y="322"/>
                </a:lnTo>
                <a:lnTo>
                  <a:pt x="1178" y="322"/>
                </a:lnTo>
                <a:lnTo>
                  <a:pt x="1180" y="322"/>
                </a:lnTo>
                <a:lnTo>
                  <a:pt x="1183" y="322"/>
                </a:lnTo>
                <a:lnTo>
                  <a:pt x="1186" y="322"/>
                </a:lnTo>
                <a:lnTo>
                  <a:pt x="1188" y="322"/>
                </a:lnTo>
                <a:lnTo>
                  <a:pt x="1192" y="322"/>
                </a:lnTo>
                <a:lnTo>
                  <a:pt x="1194" y="322"/>
                </a:lnTo>
                <a:lnTo>
                  <a:pt x="1196" y="322"/>
                </a:lnTo>
                <a:lnTo>
                  <a:pt x="1199" y="322"/>
                </a:lnTo>
                <a:lnTo>
                  <a:pt x="1202" y="322"/>
                </a:lnTo>
                <a:lnTo>
                  <a:pt x="1204" y="322"/>
                </a:lnTo>
                <a:lnTo>
                  <a:pt x="1207" y="322"/>
                </a:lnTo>
                <a:lnTo>
                  <a:pt x="1210" y="322"/>
                </a:lnTo>
                <a:lnTo>
                  <a:pt x="1212" y="322"/>
                </a:lnTo>
                <a:lnTo>
                  <a:pt x="1215" y="322"/>
                </a:lnTo>
                <a:lnTo>
                  <a:pt x="1218" y="322"/>
                </a:lnTo>
                <a:lnTo>
                  <a:pt x="1221" y="322"/>
                </a:lnTo>
                <a:lnTo>
                  <a:pt x="1223" y="322"/>
                </a:lnTo>
                <a:lnTo>
                  <a:pt x="1225" y="322"/>
                </a:lnTo>
                <a:lnTo>
                  <a:pt x="1229" y="322"/>
                </a:lnTo>
                <a:lnTo>
                  <a:pt x="1231" y="322"/>
                </a:lnTo>
                <a:lnTo>
                  <a:pt x="1233" y="322"/>
                </a:lnTo>
                <a:lnTo>
                  <a:pt x="1237" y="322"/>
                </a:lnTo>
                <a:lnTo>
                  <a:pt x="1239" y="322"/>
                </a:lnTo>
                <a:lnTo>
                  <a:pt x="1240" y="320"/>
                </a:lnTo>
                <a:lnTo>
                  <a:pt x="1242" y="319"/>
                </a:lnTo>
                <a:lnTo>
                  <a:pt x="1242" y="317"/>
                </a:lnTo>
                <a:lnTo>
                  <a:pt x="1243" y="316"/>
                </a:lnTo>
                <a:close/>
                <a:moveTo>
                  <a:pt x="251" y="287"/>
                </a:moveTo>
                <a:lnTo>
                  <a:pt x="250" y="288"/>
                </a:lnTo>
                <a:lnTo>
                  <a:pt x="250" y="287"/>
                </a:lnTo>
                <a:lnTo>
                  <a:pt x="251" y="287"/>
                </a:lnTo>
                <a:close/>
                <a:moveTo>
                  <a:pt x="254" y="286"/>
                </a:moveTo>
                <a:lnTo>
                  <a:pt x="252" y="286"/>
                </a:lnTo>
                <a:lnTo>
                  <a:pt x="254" y="286"/>
                </a:lnTo>
                <a:lnTo>
                  <a:pt x="255" y="285"/>
                </a:lnTo>
                <a:lnTo>
                  <a:pt x="255" y="286"/>
                </a:lnTo>
                <a:lnTo>
                  <a:pt x="254" y="286"/>
                </a:lnTo>
                <a:close/>
                <a:moveTo>
                  <a:pt x="4537" y="281"/>
                </a:moveTo>
                <a:lnTo>
                  <a:pt x="4538" y="281"/>
                </a:lnTo>
                <a:lnTo>
                  <a:pt x="4539" y="281"/>
                </a:lnTo>
                <a:lnTo>
                  <a:pt x="4539" y="282"/>
                </a:lnTo>
                <a:lnTo>
                  <a:pt x="4541" y="282"/>
                </a:lnTo>
                <a:lnTo>
                  <a:pt x="4542" y="282"/>
                </a:lnTo>
                <a:lnTo>
                  <a:pt x="4543" y="284"/>
                </a:lnTo>
                <a:lnTo>
                  <a:pt x="4544" y="284"/>
                </a:lnTo>
                <a:lnTo>
                  <a:pt x="4545" y="284"/>
                </a:lnTo>
                <a:lnTo>
                  <a:pt x="4546" y="285"/>
                </a:lnTo>
                <a:lnTo>
                  <a:pt x="4548" y="285"/>
                </a:lnTo>
                <a:lnTo>
                  <a:pt x="4549" y="285"/>
                </a:lnTo>
                <a:lnTo>
                  <a:pt x="4550" y="286"/>
                </a:lnTo>
                <a:lnTo>
                  <a:pt x="4549" y="286"/>
                </a:lnTo>
                <a:lnTo>
                  <a:pt x="4548" y="286"/>
                </a:lnTo>
                <a:lnTo>
                  <a:pt x="4548" y="285"/>
                </a:lnTo>
                <a:lnTo>
                  <a:pt x="4544" y="285"/>
                </a:lnTo>
                <a:lnTo>
                  <a:pt x="4544" y="284"/>
                </a:lnTo>
                <a:lnTo>
                  <a:pt x="4543" y="284"/>
                </a:lnTo>
                <a:lnTo>
                  <a:pt x="4542" y="284"/>
                </a:lnTo>
                <a:lnTo>
                  <a:pt x="4542" y="282"/>
                </a:lnTo>
                <a:lnTo>
                  <a:pt x="4541" y="282"/>
                </a:lnTo>
                <a:lnTo>
                  <a:pt x="4539" y="282"/>
                </a:lnTo>
                <a:lnTo>
                  <a:pt x="4538" y="282"/>
                </a:lnTo>
                <a:lnTo>
                  <a:pt x="4537" y="282"/>
                </a:lnTo>
                <a:lnTo>
                  <a:pt x="4537" y="281"/>
                </a:lnTo>
                <a:lnTo>
                  <a:pt x="4536" y="281"/>
                </a:lnTo>
                <a:lnTo>
                  <a:pt x="4537" y="281"/>
                </a:lnTo>
                <a:close/>
                <a:moveTo>
                  <a:pt x="4528" y="279"/>
                </a:moveTo>
                <a:lnTo>
                  <a:pt x="4529" y="279"/>
                </a:lnTo>
                <a:lnTo>
                  <a:pt x="4530" y="279"/>
                </a:lnTo>
                <a:lnTo>
                  <a:pt x="4531" y="279"/>
                </a:lnTo>
                <a:lnTo>
                  <a:pt x="4530" y="279"/>
                </a:lnTo>
                <a:lnTo>
                  <a:pt x="4529" y="279"/>
                </a:lnTo>
                <a:lnTo>
                  <a:pt x="4528" y="279"/>
                </a:lnTo>
                <a:close/>
                <a:moveTo>
                  <a:pt x="263" y="280"/>
                </a:moveTo>
                <a:lnTo>
                  <a:pt x="262" y="280"/>
                </a:lnTo>
                <a:lnTo>
                  <a:pt x="262" y="279"/>
                </a:lnTo>
                <a:lnTo>
                  <a:pt x="263" y="279"/>
                </a:lnTo>
                <a:lnTo>
                  <a:pt x="264" y="279"/>
                </a:lnTo>
                <a:lnTo>
                  <a:pt x="263" y="280"/>
                </a:lnTo>
                <a:close/>
                <a:moveTo>
                  <a:pt x="293" y="279"/>
                </a:moveTo>
                <a:lnTo>
                  <a:pt x="292" y="280"/>
                </a:lnTo>
                <a:lnTo>
                  <a:pt x="291" y="280"/>
                </a:lnTo>
                <a:lnTo>
                  <a:pt x="292" y="280"/>
                </a:lnTo>
                <a:lnTo>
                  <a:pt x="291" y="280"/>
                </a:lnTo>
                <a:lnTo>
                  <a:pt x="292" y="279"/>
                </a:lnTo>
                <a:lnTo>
                  <a:pt x="292" y="278"/>
                </a:lnTo>
                <a:lnTo>
                  <a:pt x="293" y="278"/>
                </a:lnTo>
                <a:lnTo>
                  <a:pt x="294" y="278"/>
                </a:lnTo>
                <a:lnTo>
                  <a:pt x="294" y="279"/>
                </a:lnTo>
                <a:lnTo>
                  <a:pt x="293" y="279"/>
                </a:lnTo>
                <a:close/>
                <a:moveTo>
                  <a:pt x="296" y="278"/>
                </a:moveTo>
                <a:lnTo>
                  <a:pt x="296" y="279"/>
                </a:lnTo>
                <a:lnTo>
                  <a:pt x="296" y="278"/>
                </a:lnTo>
                <a:lnTo>
                  <a:pt x="297" y="278"/>
                </a:lnTo>
                <a:lnTo>
                  <a:pt x="297" y="279"/>
                </a:lnTo>
                <a:lnTo>
                  <a:pt x="296" y="279"/>
                </a:lnTo>
                <a:lnTo>
                  <a:pt x="294" y="279"/>
                </a:lnTo>
                <a:lnTo>
                  <a:pt x="296" y="278"/>
                </a:lnTo>
                <a:close/>
                <a:moveTo>
                  <a:pt x="298" y="278"/>
                </a:moveTo>
                <a:lnTo>
                  <a:pt x="299" y="278"/>
                </a:lnTo>
                <a:lnTo>
                  <a:pt x="298" y="278"/>
                </a:lnTo>
                <a:lnTo>
                  <a:pt x="297" y="278"/>
                </a:lnTo>
                <a:lnTo>
                  <a:pt x="298" y="278"/>
                </a:lnTo>
                <a:close/>
                <a:moveTo>
                  <a:pt x="276" y="278"/>
                </a:moveTo>
                <a:lnTo>
                  <a:pt x="276" y="279"/>
                </a:lnTo>
                <a:lnTo>
                  <a:pt x="277" y="279"/>
                </a:lnTo>
                <a:lnTo>
                  <a:pt x="278" y="278"/>
                </a:lnTo>
                <a:lnTo>
                  <a:pt x="278" y="279"/>
                </a:lnTo>
                <a:lnTo>
                  <a:pt x="277" y="279"/>
                </a:lnTo>
                <a:lnTo>
                  <a:pt x="276" y="279"/>
                </a:lnTo>
                <a:lnTo>
                  <a:pt x="275" y="279"/>
                </a:lnTo>
                <a:lnTo>
                  <a:pt x="275" y="280"/>
                </a:lnTo>
                <a:lnTo>
                  <a:pt x="273" y="280"/>
                </a:lnTo>
                <a:lnTo>
                  <a:pt x="272" y="281"/>
                </a:lnTo>
                <a:lnTo>
                  <a:pt x="271" y="281"/>
                </a:lnTo>
                <a:lnTo>
                  <a:pt x="271" y="282"/>
                </a:lnTo>
                <a:lnTo>
                  <a:pt x="270" y="282"/>
                </a:lnTo>
                <a:lnTo>
                  <a:pt x="271" y="281"/>
                </a:lnTo>
                <a:lnTo>
                  <a:pt x="270" y="281"/>
                </a:lnTo>
                <a:lnTo>
                  <a:pt x="269" y="281"/>
                </a:lnTo>
                <a:lnTo>
                  <a:pt x="270" y="280"/>
                </a:lnTo>
                <a:lnTo>
                  <a:pt x="271" y="280"/>
                </a:lnTo>
                <a:lnTo>
                  <a:pt x="272" y="280"/>
                </a:lnTo>
                <a:lnTo>
                  <a:pt x="272" y="279"/>
                </a:lnTo>
                <a:lnTo>
                  <a:pt x="271" y="278"/>
                </a:lnTo>
                <a:lnTo>
                  <a:pt x="272" y="278"/>
                </a:lnTo>
                <a:lnTo>
                  <a:pt x="276" y="277"/>
                </a:lnTo>
                <a:lnTo>
                  <a:pt x="276" y="278"/>
                </a:lnTo>
                <a:lnTo>
                  <a:pt x="275" y="278"/>
                </a:lnTo>
                <a:lnTo>
                  <a:pt x="276" y="278"/>
                </a:lnTo>
                <a:close/>
                <a:moveTo>
                  <a:pt x="282" y="280"/>
                </a:moveTo>
                <a:lnTo>
                  <a:pt x="280" y="280"/>
                </a:lnTo>
                <a:lnTo>
                  <a:pt x="280" y="281"/>
                </a:lnTo>
                <a:lnTo>
                  <a:pt x="279" y="281"/>
                </a:lnTo>
                <a:lnTo>
                  <a:pt x="279" y="280"/>
                </a:lnTo>
                <a:lnTo>
                  <a:pt x="279" y="281"/>
                </a:lnTo>
                <a:lnTo>
                  <a:pt x="279" y="280"/>
                </a:lnTo>
                <a:lnTo>
                  <a:pt x="278" y="280"/>
                </a:lnTo>
                <a:lnTo>
                  <a:pt x="277" y="280"/>
                </a:lnTo>
                <a:lnTo>
                  <a:pt x="276" y="280"/>
                </a:lnTo>
                <a:lnTo>
                  <a:pt x="275" y="281"/>
                </a:lnTo>
                <a:lnTo>
                  <a:pt x="275" y="280"/>
                </a:lnTo>
                <a:lnTo>
                  <a:pt x="276" y="280"/>
                </a:lnTo>
                <a:lnTo>
                  <a:pt x="277" y="280"/>
                </a:lnTo>
                <a:lnTo>
                  <a:pt x="278" y="280"/>
                </a:lnTo>
                <a:lnTo>
                  <a:pt x="279" y="280"/>
                </a:lnTo>
                <a:lnTo>
                  <a:pt x="280" y="279"/>
                </a:lnTo>
                <a:lnTo>
                  <a:pt x="283" y="279"/>
                </a:lnTo>
                <a:lnTo>
                  <a:pt x="284" y="278"/>
                </a:lnTo>
                <a:lnTo>
                  <a:pt x="284" y="277"/>
                </a:lnTo>
                <a:lnTo>
                  <a:pt x="285" y="277"/>
                </a:lnTo>
                <a:lnTo>
                  <a:pt x="286" y="277"/>
                </a:lnTo>
                <a:lnTo>
                  <a:pt x="286" y="278"/>
                </a:lnTo>
                <a:lnTo>
                  <a:pt x="285" y="278"/>
                </a:lnTo>
                <a:lnTo>
                  <a:pt x="284" y="279"/>
                </a:lnTo>
                <a:lnTo>
                  <a:pt x="283" y="279"/>
                </a:lnTo>
                <a:lnTo>
                  <a:pt x="283" y="280"/>
                </a:lnTo>
                <a:lnTo>
                  <a:pt x="282" y="280"/>
                </a:lnTo>
                <a:close/>
                <a:moveTo>
                  <a:pt x="303" y="277"/>
                </a:moveTo>
                <a:lnTo>
                  <a:pt x="304" y="277"/>
                </a:lnTo>
                <a:lnTo>
                  <a:pt x="303" y="277"/>
                </a:lnTo>
                <a:lnTo>
                  <a:pt x="301" y="277"/>
                </a:lnTo>
                <a:lnTo>
                  <a:pt x="303" y="277"/>
                </a:lnTo>
                <a:close/>
                <a:moveTo>
                  <a:pt x="292" y="277"/>
                </a:moveTo>
                <a:lnTo>
                  <a:pt x="292" y="278"/>
                </a:lnTo>
                <a:lnTo>
                  <a:pt x="291" y="278"/>
                </a:lnTo>
                <a:lnTo>
                  <a:pt x="290" y="278"/>
                </a:lnTo>
                <a:lnTo>
                  <a:pt x="291" y="278"/>
                </a:lnTo>
                <a:lnTo>
                  <a:pt x="290" y="278"/>
                </a:lnTo>
                <a:lnTo>
                  <a:pt x="290" y="279"/>
                </a:lnTo>
                <a:lnTo>
                  <a:pt x="291" y="279"/>
                </a:lnTo>
                <a:lnTo>
                  <a:pt x="292" y="278"/>
                </a:lnTo>
                <a:lnTo>
                  <a:pt x="292" y="279"/>
                </a:lnTo>
                <a:lnTo>
                  <a:pt x="291" y="279"/>
                </a:lnTo>
                <a:lnTo>
                  <a:pt x="291" y="280"/>
                </a:lnTo>
                <a:lnTo>
                  <a:pt x="290" y="280"/>
                </a:lnTo>
                <a:lnTo>
                  <a:pt x="287" y="281"/>
                </a:lnTo>
                <a:lnTo>
                  <a:pt x="287" y="280"/>
                </a:lnTo>
                <a:lnTo>
                  <a:pt x="287" y="281"/>
                </a:lnTo>
                <a:lnTo>
                  <a:pt x="286" y="281"/>
                </a:lnTo>
                <a:lnTo>
                  <a:pt x="285" y="281"/>
                </a:lnTo>
                <a:lnTo>
                  <a:pt x="286" y="281"/>
                </a:lnTo>
                <a:lnTo>
                  <a:pt x="285" y="281"/>
                </a:lnTo>
                <a:lnTo>
                  <a:pt x="284" y="282"/>
                </a:lnTo>
                <a:lnTo>
                  <a:pt x="284" y="281"/>
                </a:lnTo>
                <a:lnTo>
                  <a:pt x="285" y="281"/>
                </a:lnTo>
                <a:lnTo>
                  <a:pt x="285" y="280"/>
                </a:lnTo>
                <a:lnTo>
                  <a:pt x="284" y="281"/>
                </a:lnTo>
                <a:lnTo>
                  <a:pt x="283" y="281"/>
                </a:lnTo>
                <a:lnTo>
                  <a:pt x="283" y="282"/>
                </a:lnTo>
                <a:lnTo>
                  <a:pt x="282" y="282"/>
                </a:lnTo>
                <a:lnTo>
                  <a:pt x="283" y="281"/>
                </a:lnTo>
                <a:lnTo>
                  <a:pt x="284" y="280"/>
                </a:lnTo>
                <a:lnTo>
                  <a:pt x="285" y="280"/>
                </a:lnTo>
                <a:lnTo>
                  <a:pt x="286" y="279"/>
                </a:lnTo>
                <a:lnTo>
                  <a:pt x="285" y="279"/>
                </a:lnTo>
                <a:lnTo>
                  <a:pt x="286" y="279"/>
                </a:lnTo>
                <a:lnTo>
                  <a:pt x="287" y="279"/>
                </a:lnTo>
                <a:lnTo>
                  <a:pt x="289" y="279"/>
                </a:lnTo>
                <a:lnTo>
                  <a:pt x="287" y="279"/>
                </a:lnTo>
                <a:lnTo>
                  <a:pt x="289" y="279"/>
                </a:lnTo>
                <a:lnTo>
                  <a:pt x="289" y="278"/>
                </a:lnTo>
                <a:lnTo>
                  <a:pt x="290" y="277"/>
                </a:lnTo>
                <a:lnTo>
                  <a:pt x="291" y="277"/>
                </a:lnTo>
                <a:lnTo>
                  <a:pt x="292" y="277"/>
                </a:lnTo>
                <a:lnTo>
                  <a:pt x="293" y="277"/>
                </a:lnTo>
                <a:lnTo>
                  <a:pt x="292" y="277"/>
                </a:lnTo>
                <a:close/>
                <a:moveTo>
                  <a:pt x="301" y="277"/>
                </a:moveTo>
                <a:lnTo>
                  <a:pt x="300" y="277"/>
                </a:lnTo>
                <a:lnTo>
                  <a:pt x="301" y="277"/>
                </a:lnTo>
                <a:close/>
                <a:moveTo>
                  <a:pt x="4530" y="278"/>
                </a:moveTo>
                <a:lnTo>
                  <a:pt x="4529" y="277"/>
                </a:lnTo>
                <a:lnTo>
                  <a:pt x="4530" y="277"/>
                </a:lnTo>
                <a:lnTo>
                  <a:pt x="4531" y="277"/>
                </a:lnTo>
                <a:lnTo>
                  <a:pt x="4530" y="277"/>
                </a:lnTo>
                <a:lnTo>
                  <a:pt x="4530" y="278"/>
                </a:lnTo>
                <a:lnTo>
                  <a:pt x="4531" y="278"/>
                </a:lnTo>
                <a:lnTo>
                  <a:pt x="4530" y="278"/>
                </a:lnTo>
                <a:close/>
                <a:moveTo>
                  <a:pt x="4544" y="278"/>
                </a:moveTo>
                <a:lnTo>
                  <a:pt x="4543" y="278"/>
                </a:lnTo>
                <a:lnTo>
                  <a:pt x="4542" y="278"/>
                </a:lnTo>
                <a:lnTo>
                  <a:pt x="4542" y="277"/>
                </a:lnTo>
                <a:lnTo>
                  <a:pt x="4541" y="277"/>
                </a:lnTo>
                <a:lnTo>
                  <a:pt x="4541" y="275"/>
                </a:lnTo>
                <a:lnTo>
                  <a:pt x="4542" y="275"/>
                </a:lnTo>
                <a:lnTo>
                  <a:pt x="4543" y="275"/>
                </a:lnTo>
                <a:lnTo>
                  <a:pt x="4543" y="277"/>
                </a:lnTo>
                <a:lnTo>
                  <a:pt x="4544" y="277"/>
                </a:lnTo>
                <a:lnTo>
                  <a:pt x="4545" y="277"/>
                </a:lnTo>
                <a:lnTo>
                  <a:pt x="4545" y="278"/>
                </a:lnTo>
                <a:lnTo>
                  <a:pt x="4544" y="278"/>
                </a:lnTo>
                <a:close/>
                <a:moveTo>
                  <a:pt x="300" y="275"/>
                </a:moveTo>
                <a:lnTo>
                  <a:pt x="301" y="275"/>
                </a:lnTo>
                <a:lnTo>
                  <a:pt x="300" y="275"/>
                </a:lnTo>
                <a:lnTo>
                  <a:pt x="299" y="277"/>
                </a:lnTo>
                <a:lnTo>
                  <a:pt x="298" y="277"/>
                </a:lnTo>
                <a:lnTo>
                  <a:pt x="298" y="275"/>
                </a:lnTo>
                <a:lnTo>
                  <a:pt x="299" y="275"/>
                </a:lnTo>
                <a:lnTo>
                  <a:pt x="299" y="274"/>
                </a:lnTo>
                <a:lnTo>
                  <a:pt x="300" y="274"/>
                </a:lnTo>
                <a:lnTo>
                  <a:pt x="301" y="274"/>
                </a:lnTo>
                <a:lnTo>
                  <a:pt x="301" y="275"/>
                </a:lnTo>
                <a:lnTo>
                  <a:pt x="300" y="275"/>
                </a:lnTo>
                <a:close/>
                <a:moveTo>
                  <a:pt x="4517" y="277"/>
                </a:moveTo>
                <a:lnTo>
                  <a:pt x="4518" y="277"/>
                </a:lnTo>
                <a:lnTo>
                  <a:pt x="4518" y="278"/>
                </a:lnTo>
                <a:lnTo>
                  <a:pt x="4518" y="277"/>
                </a:lnTo>
                <a:lnTo>
                  <a:pt x="4517" y="277"/>
                </a:lnTo>
                <a:lnTo>
                  <a:pt x="4517" y="278"/>
                </a:lnTo>
                <a:lnTo>
                  <a:pt x="4517" y="277"/>
                </a:lnTo>
                <a:lnTo>
                  <a:pt x="4516" y="277"/>
                </a:lnTo>
                <a:lnTo>
                  <a:pt x="4516" y="278"/>
                </a:lnTo>
                <a:lnTo>
                  <a:pt x="4517" y="279"/>
                </a:lnTo>
                <a:lnTo>
                  <a:pt x="4516" y="278"/>
                </a:lnTo>
                <a:lnTo>
                  <a:pt x="4515" y="278"/>
                </a:lnTo>
                <a:lnTo>
                  <a:pt x="4515" y="277"/>
                </a:lnTo>
                <a:lnTo>
                  <a:pt x="4516" y="277"/>
                </a:lnTo>
                <a:lnTo>
                  <a:pt x="4515" y="277"/>
                </a:lnTo>
                <a:lnTo>
                  <a:pt x="4516" y="277"/>
                </a:lnTo>
                <a:lnTo>
                  <a:pt x="4516" y="275"/>
                </a:lnTo>
                <a:lnTo>
                  <a:pt x="4516" y="274"/>
                </a:lnTo>
                <a:lnTo>
                  <a:pt x="4515" y="274"/>
                </a:lnTo>
                <a:lnTo>
                  <a:pt x="4516" y="274"/>
                </a:lnTo>
                <a:lnTo>
                  <a:pt x="4517" y="274"/>
                </a:lnTo>
                <a:lnTo>
                  <a:pt x="4517" y="275"/>
                </a:lnTo>
                <a:lnTo>
                  <a:pt x="4517" y="277"/>
                </a:lnTo>
                <a:close/>
                <a:moveTo>
                  <a:pt x="330" y="273"/>
                </a:moveTo>
                <a:lnTo>
                  <a:pt x="330" y="274"/>
                </a:lnTo>
                <a:lnTo>
                  <a:pt x="332" y="274"/>
                </a:lnTo>
                <a:lnTo>
                  <a:pt x="330" y="274"/>
                </a:lnTo>
                <a:lnTo>
                  <a:pt x="332" y="274"/>
                </a:lnTo>
                <a:lnTo>
                  <a:pt x="333" y="274"/>
                </a:lnTo>
                <a:lnTo>
                  <a:pt x="334" y="274"/>
                </a:lnTo>
                <a:lnTo>
                  <a:pt x="335" y="274"/>
                </a:lnTo>
                <a:lnTo>
                  <a:pt x="336" y="274"/>
                </a:lnTo>
                <a:lnTo>
                  <a:pt x="337" y="274"/>
                </a:lnTo>
                <a:lnTo>
                  <a:pt x="336" y="274"/>
                </a:lnTo>
                <a:lnTo>
                  <a:pt x="336" y="275"/>
                </a:lnTo>
                <a:lnTo>
                  <a:pt x="335" y="274"/>
                </a:lnTo>
                <a:lnTo>
                  <a:pt x="335" y="275"/>
                </a:lnTo>
                <a:lnTo>
                  <a:pt x="334" y="275"/>
                </a:lnTo>
                <a:lnTo>
                  <a:pt x="334" y="274"/>
                </a:lnTo>
                <a:lnTo>
                  <a:pt x="334" y="275"/>
                </a:lnTo>
                <a:lnTo>
                  <a:pt x="333" y="275"/>
                </a:lnTo>
                <a:lnTo>
                  <a:pt x="332" y="275"/>
                </a:lnTo>
                <a:lnTo>
                  <a:pt x="330" y="275"/>
                </a:lnTo>
                <a:lnTo>
                  <a:pt x="329" y="275"/>
                </a:lnTo>
                <a:lnTo>
                  <a:pt x="328" y="275"/>
                </a:lnTo>
                <a:lnTo>
                  <a:pt x="327" y="275"/>
                </a:lnTo>
                <a:lnTo>
                  <a:pt x="326" y="275"/>
                </a:lnTo>
                <a:lnTo>
                  <a:pt x="326" y="274"/>
                </a:lnTo>
                <a:lnTo>
                  <a:pt x="325" y="274"/>
                </a:lnTo>
                <a:lnTo>
                  <a:pt x="326" y="274"/>
                </a:lnTo>
                <a:lnTo>
                  <a:pt x="327" y="274"/>
                </a:lnTo>
                <a:lnTo>
                  <a:pt x="328" y="274"/>
                </a:lnTo>
                <a:lnTo>
                  <a:pt x="329" y="274"/>
                </a:lnTo>
                <a:lnTo>
                  <a:pt x="330" y="274"/>
                </a:lnTo>
                <a:lnTo>
                  <a:pt x="330" y="273"/>
                </a:lnTo>
                <a:lnTo>
                  <a:pt x="330" y="274"/>
                </a:lnTo>
                <a:lnTo>
                  <a:pt x="330" y="273"/>
                </a:lnTo>
                <a:close/>
                <a:moveTo>
                  <a:pt x="4493" y="271"/>
                </a:moveTo>
                <a:lnTo>
                  <a:pt x="4492" y="271"/>
                </a:lnTo>
                <a:lnTo>
                  <a:pt x="4493" y="271"/>
                </a:lnTo>
                <a:close/>
                <a:moveTo>
                  <a:pt x="348" y="272"/>
                </a:moveTo>
                <a:lnTo>
                  <a:pt x="347" y="272"/>
                </a:lnTo>
                <a:lnTo>
                  <a:pt x="346" y="272"/>
                </a:lnTo>
                <a:lnTo>
                  <a:pt x="344" y="272"/>
                </a:lnTo>
                <a:lnTo>
                  <a:pt x="346" y="271"/>
                </a:lnTo>
                <a:lnTo>
                  <a:pt x="347" y="271"/>
                </a:lnTo>
                <a:lnTo>
                  <a:pt x="348" y="271"/>
                </a:lnTo>
                <a:lnTo>
                  <a:pt x="349" y="270"/>
                </a:lnTo>
                <a:lnTo>
                  <a:pt x="348" y="270"/>
                </a:lnTo>
                <a:lnTo>
                  <a:pt x="349" y="270"/>
                </a:lnTo>
                <a:lnTo>
                  <a:pt x="349" y="271"/>
                </a:lnTo>
                <a:lnTo>
                  <a:pt x="348" y="271"/>
                </a:lnTo>
                <a:lnTo>
                  <a:pt x="348" y="272"/>
                </a:lnTo>
                <a:close/>
                <a:moveTo>
                  <a:pt x="328" y="270"/>
                </a:moveTo>
                <a:lnTo>
                  <a:pt x="329" y="270"/>
                </a:lnTo>
                <a:lnTo>
                  <a:pt x="329" y="271"/>
                </a:lnTo>
                <a:lnTo>
                  <a:pt x="328" y="271"/>
                </a:lnTo>
                <a:lnTo>
                  <a:pt x="328" y="272"/>
                </a:lnTo>
                <a:lnTo>
                  <a:pt x="327" y="272"/>
                </a:lnTo>
                <a:lnTo>
                  <a:pt x="326" y="273"/>
                </a:lnTo>
                <a:lnTo>
                  <a:pt x="325" y="272"/>
                </a:lnTo>
                <a:lnTo>
                  <a:pt x="325" y="273"/>
                </a:lnTo>
                <a:lnTo>
                  <a:pt x="325" y="274"/>
                </a:lnTo>
                <a:lnTo>
                  <a:pt x="323" y="274"/>
                </a:lnTo>
                <a:lnTo>
                  <a:pt x="322" y="274"/>
                </a:lnTo>
                <a:lnTo>
                  <a:pt x="321" y="274"/>
                </a:lnTo>
                <a:lnTo>
                  <a:pt x="320" y="274"/>
                </a:lnTo>
                <a:lnTo>
                  <a:pt x="321" y="274"/>
                </a:lnTo>
                <a:lnTo>
                  <a:pt x="320" y="274"/>
                </a:lnTo>
                <a:lnTo>
                  <a:pt x="320" y="275"/>
                </a:lnTo>
                <a:lnTo>
                  <a:pt x="319" y="275"/>
                </a:lnTo>
                <a:lnTo>
                  <a:pt x="320" y="274"/>
                </a:lnTo>
                <a:lnTo>
                  <a:pt x="319" y="275"/>
                </a:lnTo>
                <a:lnTo>
                  <a:pt x="319" y="274"/>
                </a:lnTo>
                <a:lnTo>
                  <a:pt x="319" y="275"/>
                </a:lnTo>
                <a:lnTo>
                  <a:pt x="318" y="275"/>
                </a:lnTo>
                <a:lnTo>
                  <a:pt x="316" y="275"/>
                </a:lnTo>
                <a:lnTo>
                  <a:pt x="315" y="275"/>
                </a:lnTo>
                <a:lnTo>
                  <a:pt x="314" y="275"/>
                </a:lnTo>
                <a:lnTo>
                  <a:pt x="313" y="275"/>
                </a:lnTo>
                <a:lnTo>
                  <a:pt x="312" y="275"/>
                </a:lnTo>
                <a:lnTo>
                  <a:pt x="308" y="275"/>
                </a:lnTo>
                <a:lnTo>
                  <a:pt x="310" y="275"/>
                </a:lnTo>
                <a:lnTo>
                  <a:pt x="311" y="275"/>
                </a:lnTo>
                <a:lnTo>
                  <a:pt x="312" y="275"/>
                </a:lnTo>
                <a:lnTo>
                  <a:pt x="313" y="275"/>
                </a:lnTo>
                <a:lnTo>
                  <a:pt x="313" y="274"/>
                </a:lnTo>
                <a:lnTo>
                  <a:pt x="313" y="275"/>
                </a:lnTo>
                <a:lnTo>
                  <a:pt x="313" y="274"/>
                </a:lnTo>
                <a:lnTo>
                  <a:pt x="314" y="274"/>
                </a:lnTo>
                <a:lnTo>
                  <a:pt x="315" y="274"/>
                </a:lnTo>
                <a:lnTo>
                  <a:pt x="316" y="274"/>
                </a:lnTo>
                <a:lnTo>
                  <a:pt x="318" y="274"/>
                </a:lnTo>
                <a:lnTo>
                  <a:pt x="319" y="274"/>
                </a:lnTo>
                <a:lnTo>
                  <a:pt x="320" y="274"/>
                </a:lnTo>
                <a:lnTo>
                  <a:pt x="320" y="273"/>
                </a:lnTo>
                <a:lnTo>
                  <a:pt x="320" y="274"/>
                </a:lnTo>
                <a:lnTo>
                  <a:pt x="320" y="273"/>
                </a:lnTo>
                <a:lnTo>
                  <a:pt x="321" y="273"/>
                </a:lnTo>
                <a:lnTo>
                  <a:pt x="322" y="273"/>
                </a:lnTo>
                <a:lnTo>
                  <a:pt x="323" y="273"/>
                </a:lnTo>
                <a:lnTo>
                  <a:pt x="325" y="272"/>
                </a:lnTo>
                <a:lnTo>
                  <a:pt x="325" y="271"/>
                </a:lnTo>
                <a:lnTo>
                  <a:pt x="325" y="272"/>
                </a:lnTo>
                <a:lnTo>
                  <a:pt x="323" y="272"/>
                </a:lnTo>
                <a:lnTo>
                  <a:pt x="323" y="271"/>
                </a:lnTo>
                <a:lnTo>
                  <a:pt x="325" y="271"/>
                </a:lnTo>
                <a:lnTo>
                  <a:pt x="326" y="271"/>
                </a:lnTo>
                <a:lnTo>
                  <a:pt x="327" y="270"/>
                </a:lnTo>
                <a:lnTo>
                  <a:pt x="328" y="270"/>
                </a:lnTo>
                <a:close/>
                <a:moveTo>
                  <a:pt x="4464" y="268"/>
                </a:moveTo>
                <a:lnTo>
                  <a:pt x="4464" y="270"/>
                </a:lnTo>
                <a:lnTo>
                  <a:pt x="4465" y="270"/>
                </a:lnTo>
                <a:lnTo>
                  <a:pt x="4466" y="271"/>
                </a:lnTo>
                <a:lnTo>
                  <a:pt x="4465" y="271"/>
                </a:lnTo>
                <a:lnTo>
                  <a:pt x="4464" y="271"/>
                </a:lnTo>
                <a:lnTo>
                  <a:pt x="4464" y="270"/>
                </a:lnTo>
                <a:lnTo>
                  <a:pt x="4463" y="270"/>
                </a:lnTo>
                <a:lnTo>
                  <a:pt x="4461" y="270"/>
                </a:lnTo>
                <a:lnTo>
                  <a:pt x="4463" y="270"/>
                </a:lnTo>
                <a:lnTo>
                  <a:pt x="4463" y="268"/>
                </a:lnTo>
                <a:lnTo>
                  <a:pt x="4464" y="268"/>
                </a:lnTo>
                <a:close/>
                <a:moveTo>
                  <a:pt x="364" y="268"/>
                </a:moveTo>
                <a:lnTo>
                  <a:pt x="363" y="270"/>
                </a:lnTo>
                <a:lnTo>
                  <a:pt x="363" y="268"/>
                </a:lnTo>
                <a:lnTo>
                  <a:pt x="364" y="268"/>
                </a:lnTo>
                <a:close/>
                <a:moveTo>
                  <a:pt x="374" y="267"/>
                </a:moveTo>
                <a:lnTo>
                  <a:pt x="372" y="267"/>
                </a:lnTo>
                <a:lnTo>
                  <a:pt x="371" y="267"/>
                </a:lnTo>
                <a:lnTo>
                  <a:pt x="370" y="267"/>
                </a:lnTo>
                <a:lnTo>
                  <a:pt x="371" y="266"/>
                </a:lnTo>
                <a:lnTo>
                  <a:pt x="372" y="266"/>
                </a:lnTo>
                <a:lnTo>
                  <a:pt x="374" y="266"/>
                </a:lnTo>
                <a:lnTo>
                  <a:pt x="374" y="265"/>
                </a:lnTo>
                <a:lnTo>
                  <a:pt x="375" y="265"/>
                </a:lnTo>
                <a:lnTo>
                  <a:pt x="375" y="266"/>
                </a:lnTo>
                <a:lnTo>
                  <a:pt x="374" y="267"/>
                </a:lnTo>
                <a:close/>
                <a:moveTo>
                  <a:pt x="4465" y="265"/>
                </a:moveTo>
                <a:lnTo>
                  <a:pt x="4466" y="265"/>
                </a:lnTo>
                <a:lnTo>
                  <a:pt x="4465" y="265"/>
                </a:lnTo>
                <a:lnTo>
                  <a:pt x="4464" y="265"/>
                </a:lnTo>
                <a:lnTo>
                  <a:pt x="4465" y="265"/>
                </a:lnTo>
                <a:close/>
                <a:moveTo>
                  <a:pt x="382" y="265"/>
                </a:moveTo>
                <a:lnTo>
                  <a:pt x="380" y="265"/>
                </a:lnTo>
                <a:lnTo>
                  <a:pt x="382" y="265"/>
                </a:lnTo>
                <a:lnTo>
                  <a:pt x="382" y="264"/>
                </a:lnTo>
                <a:lnTo>
                  <a:pt x="383" y="264"/>
                </a:lnTo>
                <a:lnTo>
                  <a:pt x="383" y="265"/>
                </a:lnTo>
                <a:lnTo>
                  <a:pt x="382" y="265"/>
                </a:lnTo>
                <a:close/>
                <a:moveTo>
                  <a:pt x="387" y="263"/>
                </a:moveTo>
                <a:lnTo>
                  <a:pt x="389" y="263"/>
                </a:lnTo>
                <a:lnTo>
                  <a:pt x="387" y="264"/>
                </a:lnTo>
                <a:lnTo>
                  <a:pt x="386" y="264"/>
                </a:lnTo>
                <a:lnTo>
                  <a:pt x="385" y="264"/>
                </a:lnTo>
                <a:lnTo>
                  <a:pt x="384" y="264"/>
                </a:lnTo>
                <a:lnTo>
                  <a:pt x="385" y="263"/>
                </a:lnTo>
                <a:lnTo>
                  <a:pt x="386" y="263"/>
                </a:lnTo>
                <a:lnTo>
                  <a:pt x="387" y="263"/>
                </a:lnTo>
                <a:close/>
                <a:moveTo>
                  <a:pt x="384" y="263"/>
                </a:moveTo>
                <a:lnTo>
                  <a:pt x="385" y="263"/>
                </a:lnTo>
                <a:lnTo>
                  <a:pt x="384" y="263"/>
                </a:lnTo>
                <a:close/>
                <a:moveTo>
                  <a:pt x="4446" y="260"/>
                </a:moveTo>
                <a:lnTo>
                  <a:pt x="4446" y="261"/>
                </a:lnTo>
                <a:lnTo>
                  <a:pt x="4447" y="261"/>
                </a:lnTo>
                <a:lnTo>
                  <a:pt x="4449" y="261"/>
                </a:lnTo>
                <a:lnTo>
                  <a:pt x="4450" y="261"/>
                </a:lnTo>
                <a:lnTo>
                  <a:pt x="4450" y="263"/>
                </a:lnTo>
                <a:lnTo>
                  <a:pt x="4451" y="261"/>
                </a:lnTo>
                <a:lnTo>
                  <a:pt x="4452" y="261"/>
                </a:lnTo>
                <a:lnTo>
                  <a:pt x="4452" y="263"/>
                </a:lnTo>
                <a:lnTo>
                  <a:pt x="4453" y="263"/>
                </a:lnTo>
                <a:lnTo>
                  <a:pt x="4454" y="263"/>
                </a:lnTo>
                <a:lnTo>
                  <a:pt x="4454" y="264"/>
                </a:lnTo>
                <a:lnTo>
                  <a:pt x="4453" y="264"/>
                </a:lnTo>
                <a:lnTo>
                  <a:pt x="4452" y="264"/>
                </a:lnTo>
                <a:lnTo>
                  <a:pt x="4452" y="263"/>
                </a:lnTo>
                <a:lnTo>
                  <a:pt x="4452" y="264"/>
                </a:lnTo>
                <a:lnTo>
                  <a:pt x="4451" y="264"/>
                </a:lnTo>
                <a:lnTo>
                  <a:pt x="4450" y="264"/>
                </a:lnTo>
                <a:lnTo>
                  <a:pt x="4450" y="265"/>
                </a:lnTo>
                <a:lnTo>
                  <a:pt x="4450" y="264"/>
                </a:lnTo>
                <a:lnTo>
                  <a:pt x="4449" y="264"/>
                </a:lnTo>
                <a:lnTo>
                  <a:pt x="4447" y="264"/>
                </a:lnTo>
                <a:lnTo>
                  <a:pt x="4446" y="263"/>
                </a:lnTo>
                <a:lnTo>
                  <a:pt x="4445" y="263"/>
                </a:lnTo>
                <a:lnTo>
                  <a:pt x="4444" y="263"/>
                </a:lnTo>
                <a:lnTo>
                  <a:pt x="4444" y="261"/>
                </a:lnTo>
                <a:lnTo>
                  <a:pt x="4443" y="263"/>
                </a:lnTo>
                <a:lnTo>
                  <a:pt x="4443" y="261"/>
                </a:lnTo>
                <a:lnTo>
                  <a:pt x="4442" y="263"/>
                </a:lnTo>
                <a:lnTo>
                  <a:pt x="4442" y="261"/>
                </a:lnTo>
                <a:lnTo>
                  <a:pt x="4443" y="261"/>
                </a:lnTo>
                <a:lnTo>
                  <a:pt x="4443" y="260"/>
                </a:lnTo>
                <a:lnTo>
                  <a:pt x="4444" y="260"/>
                </a:lnTo>
                <a:lnTo>
                  <a:pt x="4446" y="260"/>
                </a:lnTo>
                <a:close/>
                <a:moveTo>
                  <a:pt x="390" y="261"/>
                </a:moveTo>
                <a:lnTo>
                  <a:pt x="389" y="261"/>
                </a:lnTo>
                <a:lnTo>
                  <a:pt x="390" y="261"/>
                </a:lnTo>
                <a:lnTo>
                  <a:pt x="390" y="260"/>
                </a:lnTo>
                <a:lnTo>
                  <a:pt x="391" y="260"/>
                </a:lnTo>
                <a:lnTo>
                  <a:pt x="391" y="261"/>
                </a:lnTo>
                <a:lnTo>
                  <a:pt x="390" y="261"/>
                </a:lnTo>
                <a:close/>
                <a:moveTo>
                  <a:pt x="420" y="252"/>
                </a:moveTo>
                <a:lnTo>
                  <a:pt x="420" y="253"/>
                </a:lnTo>
                <a:lnTo>
                  <a:pt x="421" y="253"/>
                </a:lnTo>
                <a:lnTo>
                  <a:pt x="420" y="253"/>
                </a:lnTo>
                <a:lnTo>
                  <a:pt x="419" y="254"/>
                </a:lnTo>
                <a:lnTo>
                  <a:pt x="419" y="256"/>
                </a:lnTo>
                <a:lnTo>
                  <a:pt x="418" y="256"/>
                </a:lnTo>
                <a:lnTo>
                  <a:pt x="417" y="256"/>
                </a:lnTo>
                <a:lnTo>
                  <a:pt x="413" y="257"/>
                </a:lnTo>
                <a:lnTo>
                  <a:pt x="412" y="257"/>
                </a:lnTo>
                <a:lnTo>
                  <a:pt x="411" y="257"/>
                </a:lnTo>
                <a:lnTo>
                  <a:pt x="411" y="258"/>
                </a:lnTo>
                <a:lnTo>
                  <a:pt x="410" y="258"/>
                </a:lnTo>
                <a:lnTo>
                  <a:pt x="408" y="258"/>
                </a:lnTo>
                <a:lnTo>
                  <a:pt x="408" y="259"/>
                </a:lnTo>
                <a:lnTo>
                  <a:pt x="407" y="259"/>
                </a:lnTo>
                <a:lnTo>
                  <a:pt x="406" y="260"/>
                </a:lnTo>
                <a:lnTo>
                  <a:pt x="405" y="260"/>
                </a:lnTo>
                <a:lnTo>
                  <a:pt x="404" y="260"/>
                </a:lnTo>
                <a:lnTo>
                  <a:pt x="403" y="261"/>
                </a:lnTo>
                <a:lnTo>
                  <a:pt x="401" y="261"/>
                </a:lnTo>
                <a:lnTo>
                  <a:pt x="400" y="261"/>
                </a:lnTo>
                <a:lnTo>
                  <a:pt x="400" y="263"/>
                </a:lnTo>
                <a:lnTo>
                  <a:pt x="400" y="261"/>
                </a:lnTo>
                <a:lnTo>
                  <a:pt x="399" y="263"/>
                </a:lnTo>
                <a:lnTo>
                  <a:pt x="398" y="263"/>
                </a:lnTo>
                <a:lnTo>
                  <a:pt x="397" y="263"/>
                </a:lnTo>
                <a:lnTo>
                  <a:pt x="396" y="263"/>
                </a:lnTo>
                <a:lnTo>
                  <a:pt x="396" y="264"/>
                </a:lnTo>
                <a:lnTo>
                  <a:pt x="394" y="264"/>
                </a:lnTo>
                <a:lnTo>
                  <a:pt x="396" y="264"/>
                </a:lnTo>
                <a:lnTo>
                  <a:pt x="396" y="263"/>
                </a:lnTo>
                <a:lnTo>
                  <a:pt x="397" y="263"/>
                </a:lnTo>
                <a:lnTo>
                  <a:pt x="398" y="263"/>
                </a:lnTo>
                <a:lnTo>
                  <a:pt x="398" y="261"/>
                </a:lnTo>
                <a:lnTo>
                  <a:pt x="399" y="261"/>
                </a:lnTo>
                <a:lnTo>
                  <a:pt x="400" y="261"/>
                </a:lnTo>
                <a:lnTo>
                  <a:pt x="400" y="260"/>
                </a:lnTo>
                <a:lnTo>
                  <a:pt x="401" y="260"/>
                </a:lnTo>
                <a:lnTo>
                  <a:pt x="403" y="260"/>
                </a:lnTo>
                <a:lnTo>
                  <a:pt x="403" y="259"/>
                </a:lnTo>
                <a:lnTo>
                  <a:pt x="404" y="259"/>
                </a:lnTo>
                <a:lnTo>
                  <a:pt x="404" y="258"/>
                </a:lnTo>
                <a:lnTo>
                  <a:pt x="405" y="258"/>
                </a:lnTo>
                <a:lnTo>
                  <a:pt x="406" y="258"/>
                </a:lnTo>
                <a:lnTo>
                  <a:pt x="407" y="257"/>
                </a:lnTo>
                <a:lnTo>
                  <a:pt x="408" y="257"/>
                </a:lnTo>
                <a:lnTo>
                  <a:pt x="410" y="257"/>
                </a:lnTo>
                <a:lnTo>
                  <a:pt x="411" y="257"/>
                </a:lnTo>
                <a:lnTo>
                  <a:pt x="411" y="256"/>
                </a:lnTo>
                <a:lnTo>
                  <a:pt x="412" y="256"/>
                </a:lnTo>
                <a:lnTo>
                  <a:pt x="412" y="254"/>
                </a:lnTo>
                <a:lnTo>
                  <a:pt x="413" y="254"/>
                </a:lnTo>
                <a:lnTo>
                  <a:pt x="414" y="253"/>
                </a:lnTo>
                <a:lnTo>
                  <a:pt x="415" y="253"/>
                </a:lnTo>
                <a:lnTo>
                  <a:pt x="417" y="253"/>
                </a:lnTo>
                <a:lnTo>
                  <a:pt x="418" y="252"/>
                </a:lnTo>
                <a:lnTo>
                  <a:pt x="419" y="252"/>
                </a:lnTo>
                <a:lnTo>
                  <a:pt x="420" y="252"/>
                </a:lnTo>
                <a:close/>
                <a:moveTo>
                  <a:pt x="447" y="249"/>
                </a:moveTo>
                <a:lnTo>
                  <a:pt x="446" y="249"/>
                </a:lnTo>
                <a:lnTo>
                  <a:pt x="444" y="249"/>
                </a:lnTo>
                <a:lnTo>
                  <a:pt x="444" y="250"/>
                </a:lnTo>
                <a:lnTo>
                  <a:pt x="444" y="249"/>
                </a:lnTo>
                <a:lnTo>
                  <a:pt x="444" y="250"/>
                </a:lnTo>
                <a:lnTo>
                  <a:pt x="443" y="250"/>
                </a:lnTo>
                <a:lnTo>
                  <a:pt x="442" y="250"/>
                </a:lnTo>
                <a:lnTo>
                  <a:pt x="443" y="249"/>
                </a:lnTo>
                <a:lnTo>
                  <a:pt x="444" y="249"/>
                </a:lnTo>
                <a:lnTo>
                  <a:pt x="443" y="249"/>
                </a:lnTo>
                <a:lnTo>
                  <a:pt x="444" y="249"/>
                </a:lnTo>
                <a:lnTo>
                  <a:pt x="446" y="249"/>
                </a:lnTo>
                <a:lnTo>
                  <a:pt x="447" y="249"/>
                </a:lnTo>
                <a:close/>
                <a:moveTo>
                  <a:pt x="448" y="246"/>
                </a:moveTo>
                <a:lnTo>
                  <a:pt x="447" y="246"/>
                </a:lnTo>
                <a:lnTo>
                  <a:pt x="448" y="246"/>
                </a:lnTo>
                <a:lnTo>
                  <a:pt x="449" y="246"/>
                </a:lnTo>
                <a:lnTo>
                  <a:pt x="448" y="246"/>
                </a:lnTo>
                <a:close/>
                <a:moveTo>
                  <a:pt x="441" y="246"/>
                </a:moveTo>
                <a:lnTo>
                  <a:pt x="442" y="246"/>
                </a:lnTo>
                <a:lnTo>
                  <a:pt x="442" y="245"/>
                </a:lnTo>
                <a:lnTo>
                  <a:pt x="442" y="246"/>
                </a:lnTo>
                <a:lnTo>
                  <a:pt x="441" y="246"/>
                </a:lnTo>
                <a:lnTo>
                  <a:pt x="441" y="247"/>
                </a:lnTo>
                <a:lnTo>
                  <a:pt x="440" y="249"/>
                </a:lnTo>
                <a:lnTo>
                  <a:pt x="441" y="249"/>
                </a:lnTo>
                <a:lnTo>
                  <a:pt x="442" y="247"/>
                </a:lnTo>
                <a:lnTo>
                  <a:pt x="443" y="247"/>
                </a:lnTo>
                <a:lnTo>
                  <a:pt x="443" y="246"/>
                </a:lnTo>
                <a:lnTo>
                  <a:pt x="444" y="246"/>
                </a:lnTo>
                <a:lnTo>
                  <a:pt x="446" y="245"/>
                </a:lnTo>
                <a:lnTo>
                  <a:pt x="446" y="246"/>
                </a:lnTo>
                <a:lnTo>
                  <a:pt x="444" y="246"/>
                </a:lnTo>
                <a:lnTo>
                  <a:pt x="446" y="246"/>
                </a:lnTo>
                <a:lnTo>
                  <a:pt x="447" y="246"/>
                </a:lnTo>
                <a:lnTo>
                  <a:pt x="446" y="246"/>
                </a:lnTo>
                <a:lnTo>
                  <a:pt x="446" y="247"/>
                </a:lnTo>
                <a:lnTo>
                  <a:pt x="447" y="246"/>
                </a:lnTo>
                <a:lnTo>
                  <a:pt x="446" y="247"/>
                </a:lnTo>
                <a:lnTo>
                  <a:pt x="444" y="247"/>
                </a:lnTo>
                <a:lnTo>
                  <a:pt x="443" y="247"/>
                </a:lnTo>
                <a:lnTo>
                  <a:pt x="443" y="249"/>
                </a:lnTo>
                <a:lnTo>
                  <a:pt x="442" y="249"/>
                </a:lnTo>
                <a:lnTo>
                  <a:pt x="441" y="249"/>
                </a:lnTo>
                <a:lnTo>
                  <a:pt x="440" y="249"/>
                </a:lnTo>
                <a:lnTo>
                  <a:pt x="441" y="249"/>
                </a:lnTo>
                <a:lnTo>
                  <a:pt x="441" y="250"/>
                </a:lnTo>
                <a:lnTo>
                  <a:pt x="440" y="250"/>
                </a:lnTo>
                <a:lnTo>
                  <a:pt x="439" y="250"/>
                </a:lnTo>
                <a:lnTo>
                  <a:pt x="439" y="251"/>
                </a:lnTo>
                <a:lnTo>
                  <a:pt x="440" y="250"/>
                </a:lnTo>
                <a:lnTo>
                  <a:pt x="440" y="251"/>
                </a:lnTo>
                <a:lnTo>
                  <a:pt x="440" y="250"/>
                </a:lnTo>
                <a:lnTo>
                  <a:pt x="441" y="250"/>
                </a:lnTo>
                <a:lnTo>
                  <a:pt x="442" y="250"/>
                </a:lnTo>
                <a:lnTo>
                  <a:pt x="442" y="249"/>
                </a:lnTo>
                <a:lnTo>
                  <a:pt x="442" y="250"/>
                </a:lnTo>
                <a:lnTo>
                  <a:pt x="442" y="251"/>
                </a:lnTo>
                <a:lnTo>
                  <a:pt x="441" y="251"/>
                </a:lnTo>
                <a:lnTo>
                  <a:pt x="440" y="251"/>
                </a:lnTo>
                <a:lnTo>
                  <a:pt x="439" y="251"/>
                </a:lnTo>
                <a:lnTo>
                  <a:pt x="438" y="251"/>
                </a:lnTo>
                <a:lnTo>
                  <a:pt x="438" y="252"/>
                </a:lnTo>
                <a:lnTo>
                  <a:pt x="436" y="252"/>
                </a:lnTo>
                <a:lnTo>
                  <a:pt x="435" y="253"/>
                </a:lnTo>
                <a:lnTo>
                  <a:pt x="436" y="252"/>
                </a:lnTo>
                <a:lnTo>
                  <a:pt x="435" y="252"/>
                </a:lnTo>
                <a:lnTo>
                  <a:pt x="435" y="253"/>
                </a:lnTo>
                <a:lnTo>
                  <a:pt x="434" y="252"/>
                </a:lnTo>
                <a:lnTo>
                  <a:pt x="434" y="253"/>
                </a:lnTo>
                <a:lnTo>
                  <a:pt x="434" y="252"/>
                </a:lnTo>
                <a:lnTo>
                  <a:pt x="433" y="252"/>
                </a:lnTo>
                <a:lnTo>
                  <a:pt x="433" y="253"/>
                </a:lnTo>
                <a:lnTo>
                  <a:pt x="433" y="254"/>
                </a:lnTo>
                <a:lnTo>
                  <a:pt x="432" y="254"/>
                </a:lnTo>
                <a:lnTo>
                  <a:pt x="432" y="253"/>
                </a:lnTo>
                <a:lnTo>
                  <a:pt x="432" y="254"/>
                </a:lnTo>
                <a:lnTo>
                  <a:pt x="432" y="253"/>
                </a:lnTo>
                <a:lnTo>
                  <a:pt x="431" y="254"/>
                </a:lnTo>
                <a:lnTo>
                  <a:pt x="431" y="253"/>
                </a:lnTo>
                <a:lnTo>
                  <a:pt x="431" y="254"/>
                </a:lnTo>
                <a:lnTo>
                  <a:pt x="429" y="254"/>
                </a:lnTo>
                <a:lnTo>
                  <a:pt x="428" y="254"/>
                </a:lnTo>
                <a:lnTo>
                  <a:pt x="427" y="254"/>
                </a:lnTo>
                <a:lnTo>
                  <a:pt x="426" y="254"/>
                </a:lnTo>
                <a:lnTo>
                  <a:pt x="426" y="256"/>
                </a:lnTo>
                <a:lnTo>
                  <a:pt x="425" y="256"/>
                </a:lnTo>
                <a:lnTo>
                  <a:pt x="424" y="256"/>
                </a:lnTo>
                <a:lnTo>
                  <a:pt x="422" y="256"/>
                </a:lnTo>
                <a:lnTo>
                  <a:pt x="421" y="257"/>
                </a:lnTo>
                <a:lnTo>
                  <a:pt x="420" y="257"/>
                </a:lnTo>
                <a:lnTo>
                  <a:pt x="419" y="257"/>
                </a:lnTo>
                <a:lnTo>
                  <a:pt x="418" y="257"/>
                </a:lnTo>
                <a:lnTo>
                  <a:pt x="418" y="256"/>
                </a:lnTo>
                <a:lnTo>
                  <a:pt x="420" y="256"/>
                </a:lnTo>
                <a:lnTo>
                  <a:pt x="421" y="256"/>
                </a:lnTo>
                <a:lnTo>
                  <a:pt x="421" y="254"/>
                </a:lnTo>
                <a:lnTo>
                  <a:pt x="422" y="254"/>
                </a:lnTo>
                <a:lnTo>
                  <a:pt x="422" y="256"/>
                </a:lnTo>
                <a:lnTo>
                  <a:pt x="422" y="254"/>
                </a:lnTo>
                <a:lnTo>
                  <a:pt x="424" y="254"/>
                </a:lnTo>
                <a:lnTo>
                  <a:pt x="425" y="254"/>
                </a:lnTo>
                <a:lnTo>
                  <a:pt x="426" y="254"/>
                </a:lnTo>
                <a:lnTo>
                  <a:pt x="426" y="253"/>
                </a:lnTo>
                <a:lnTo>
                  <a:pt x="427" y="253"/>
                </a:lnTo>
                <a:lnTo>
                  <a:pt x="427" y="254"/>
                </a:lnTo>
                <a:lnTo>
                  <a:pt x="428" y="253"/>
                </a:lnTo>
                <a:lnTo>
                  <a:pt x="429" y="253"/>
                </a:lnTo>
                <a:lnTo>
                  <a:pt x="431" y="253"/>
                </a:lnTo>
                <a:lnTo>
                  <a:pt x="432" y="253"/>
                </a:lnTo>
                <a:lnTo>
                  <a:pt x="432" y="252"/>
                </a:lnTo>
                <a:lnTo>
                  <a:pt x="431" y="252"/>
                </a:lnTo>
                <a:lnTo>
                  <a:pt x="431" y="253"/>
                </a:lnTo>
                <a:lnTo>
                  <a:pt x="429" y="253"/>
                </a:lnTo>
                <a:lnTo>
                  <a:pt x="429" y="252"/>
                </a:lnTo>
                <a:lnTo>
                  <a:pt x="431" y="252"/>
                </a:lnTo>
                <a:lnTo>
                  <a:pt x="431" y="251"/>
                </a:lnTo>
                <a:lnTo>
                  <a:pt x="432" y="251"/>
                </a:lnTo>
                <a:lnTo>
                  <a:pt x="432" y="252"/>
                </a:lnTo>
                <a:lnTo>
                  <a:pt x="432" y="251"/>
                </a:lnTo>
                <a:lnTo>
                  <a:pt x="433" y="251"/>
                </a:lnTo>
                <a:lnTo>
                  <a:pt x="432" y="251"/>
                </a:lnTo>
                <a:lnTo>
                  <a:pt x="433" y="251"/>
                </a:lnTo>
                <a:lnTo>
                  <a:pt x="433" y="250"/>
                </a:lnTo>
                <a:lnTo>
                  <a:pt x="434" y="250"/>
                </a:lnTo>
                <a:lnTo>
                  <a:pt x="435" y="250"/>
                </a:lnTo>
                <a:lnTo>
                  <a:pt x="434" y="251"/>
                </a:lnTo>
                <a:lnTo>
                  <a:pt x="435" y="251"/>
                </a:lnTo>
                <a:lnTo>
                  <a:pt x="435" y="250"/>
                </a:lnTo>
                <a:lnTo>
                  <a:pt x="436" y="251"/>
                </a:lnTo>
                <a:lnTo>
                  <a:pt x="436" y="250"/>
                </a:lnTo>
                <a:lnTo>
                  <a:pt x="438" y="250"/>
                </a:lnTo>
                <a:lnTo>
                  <a:pt x="436" y="250"/>
                </a:lnTo>
                <a:lnTo>
                  <a:pt x="435" y="250"/>
                </a:lnTo>
                <a:lnTo>
                  <a:pt x="434" y="250"/>
                </a:lnTo>
                <a:lnTo>
                  <a:pt x="434" y="249"/>
                </a:lnTo>
                <a:lnTo>
                  <a:pt x="434" y="247"/>
                </a:lnTo>
                <a:lnTo>
                  <a:pt x="435" y="247"/>
                </a:lnTo>
                <a:lnTo>
                  <a:pt x="436" y="247"/>
                </a:lnTo>
                <a:lnTo>
                  <a:pt x="436" y="246"/>
                </a:lnTo>
                <a:lnTo>
                  <a:pt x="438" y="246"/>
                </a:lnTo>
                <a:lnTo>
                  <a:pt x="439" y="246"/>
                </a:lnTo>
                <a:lnTo>
                  <a:pt x="440" y="246"/>
                </a:lnTo>
                <a:lnTo>
                  <a:pt x="441" y="246"/>
                </a:lnTo>
                <a:lnTo>
                  <a:pt x="441" y="245"/>
                </a:lnTo>
                <a:lnTo>
                  <a:pt x="441" y="246"/>
                </a:lnTo>
                <a:close/>
                <a:moveTo>
                  <a:pt x="460" y="245"/>
                </a:moveTo>
                <a:lnTo>
                  <a:pt x="458" y="245"/>
                </a:lnTo>
                <a:lnTo>
                  <a:pt x="457" y="245"/>
                </a:lnTo>
                <a:lnTo>
                  <a:pt x="458" y="244"/>
                </a:lnTo>
                <a:lnTo>
                  <a:pt x="460" y="244"/>
                </a:lnTo>
                <a:lnTo>
                  <a:pt x="460" y="245"/>
                </a:lnTo>
                <a:close/>
                <a:moveTo>
                  <a:pt x="464" y="244"/>
                </a:moveTo>
                <a:lnTo>
                  <a:pt x="463" y="244"/>
                </a:lnTo>
                <a:lnTo>
                  <a:pt x="463" y="245"/>
                </a:lnTo>
                <a:lnTo>
                  <a:pt x="462" y="245"/>
                </a:lnTo>
                <a:lnTo>
                  <a:pt x="462" y="244"/>
                </a:lnTo>
                <a:lnTo>
                  <a:pt x="461" y="245"/>
                </a:lnTo>
                <a:lnTo>
                  <a:pt x="461" y="244"/>
                </a:lnTo>
                <a:lnTo>
                  <a:pt x="462" y="244"/>
                </a:lnTo>
                <a:lnTo>
                  <a:pt x="463" y="244"/>
                </a:lnTo>
                <a:lnTo>
                  <a:pt x="464" y="244"/>
                </a:lnTo>
                <a:close/>
                <a:moveTo>
                  <a:pt x="454" y="243"/>
                </a:moveTo>
                <a:lnTo>
                  <a:pt x="455" y="243"/>
                </a:lnTo>
                <a:lnTo>
                  <a:pt x="455" y="244"/>
                </a:lnTo>
                <a:lnTo>
                  <a:pt x="454" y="244"/>
                </a:lnTo>
                <a:lnTo>
                  <a:pt x="455" y="244"/>
                </a:lnTo>
                <a:lnTo>
                  <a:pt x="456" y="244"/>
                </a:lnTo>
                <a:lnTo>
                  <a:pt x="455" y="244"/>
                </a:lnTo>
                <a:lnTo>
                  <a:pt x="454" y="245"/>
                </a:lnTo>
                <a:lnTo>
                  <a:pt x="454" y="244"/>
                </a:lnTo>
                <a:lnTo>
                  <a:pt x="453" y="244"/>
                </a:lnTo>
                <a:lnTo>
                  <a:pt x="453" y="245"/>
                </a:lnTo>
                <a:lnTo>
                  <a:pt x="451" y="245"/>
                </a:lnTo>
                <a:lnTo>
                  <a:pt x="450" y="245"/>
                </a:lnTo>
                <a:lnTo>
                  <a:pt x="450" y="244"/>
                </a:lnTo>
                <a:lnTo>
                  <a:pt x="451" y="244"/>
                </a:lnTo>
                <a:lnTo>
                  <a:pt x="451" y="243"/>
                </a:lnTo>
                <a:lnTo>
                  <a:pt x="453" y="243"/>
                </a:lnTo>
                <a:lnTo>
                  <a:pt x="454" y="243"/>
                </a:lnTo>
                <a:lnTo>
                  <a:pt x="455" y="243"/>
                </a:lnTo>
                <a:lnTo>
                  <a:pt x="454" y="243"/>
                </a:lnTo>
                <a:close/>
                <a:moveTo>
                  <a:pt x="460" y="242"/>
                </a:moveTo>
                <a:lnTo>
                  <a:pt x="458" y="242"/>
                </a:lnTo>
                <a:lnTo>
                  <a:pt x="458" y="243"/>
                </a:lnTo>
                <a:lnTo>
                  <a:pt x="460" y="242"/>
                </a:lnTo>
                <a:lnTo>
                  <a:pt x="458" y="243"/>
                </a:lnTo>
                <a:lnTo>
                  <a:pt x="460" y="243"/>
                </a:lnTo>
                <a:lnTo>
                  <a:pt x="458" y="243"/>
                </a:lnTo>
                <a:lnTo>
                  <a:pt x="458" y="244"/>
                </a:lnTo>
                <a:lnTo>
                  <a:pt x="457" y="244"/>
                </a:lnTo>
                <a:lnTo>
                  <a:pt x="456" y="244"/>
                </a:lnTo>
                <a:lnTo>
                  <a:pt x="457" y="244"/>
                </a:lnTo>
                <a:lnTo>
                  <a:pt x="457" y="243"/>
                </a:lnTo>
                <a:lnTo>
                  <a:pt x="458" y="243"/>
                </a:lnTo>
                <a:lnTo>
                  <a:pt x="458" y="242"/>
                </a:lnTo>
                <a:lnTo>
                  <a:pt x="457" y="243"/>
                </a:lnTo>
                <a:lnTo>
                  <a:pt x="457" y="242"/>
                </a:lnTo>
                <a:lnTo>
                  <a:pt x="458" y="242"/>
                </a:lnTo>
                <a:lnTo>
                  <a:pt x="460" y="242"/>
                </a:lnTo>
                <a:lnTo>
                  <a:pt x="458" y="242"/>
                </a:lnTo>
                <a:lnTo>
                  <a:pt x="460" y="242"/>
                </a:lnTo>
                <a:lnTo>
                  <a:pt x="461" y="242"/>
                </a:lnTo>
                <a:lnTo>
                  <a:pt x="460" y="242"/>
                </a:lnTo>
                <a:close/>
                <a:moveTo>
                  <a:pt x="498" y="240"/>
                </a:moveTo>
                <a:lnTo>
                  <a:pt x="499" y="240"/>
                </a:lnTo>
                <a:lnTo>
                  <a:pt x="498" y="240"/>
                </a:lnTo>
                <a:lnTo>
                  <a:pt x="498" y="239"/>
                </a:lnTo>
                <a:lnTo>
                  <a:pt x="498" y="240"/>
                </a:lnTo>
                <a:close/>
                <a:moveTo>
                  <a:pt x="497" y="239"/>
                </a:moveTo>
                <a:lnTo>
                  <a:pt x="497" y="240"/>
                </a:lnTo>
                <a:lnTo>
                  <a:pt x="496" y="240"/>
                </a:lnTo>
                <a:lnTo>
                  <a:pt x="495" y="240"/>
                </a:lnTo>
                <a:lnTo>
                  <a:pt x="495" y="239"/>
                </a:lnTo>
                <a:lnTo>
                  <a:pt x="495" y="238"/>
                </a:lnTo>
                <a:lnTo>
                  <a:pt x="496" y="238"/>
                </a:lnTo>
                <a:lnTo>
                  <a:pt x="497" y="239"/>
                </a:lnTo>
                <a:close/>
                <a:moveTo>
                  <a:pt x="538" y="235"/>
                </a:moveTo>
                <a:lnTo>
                  <a:pt x="536" y="235"/>
                </a:lnTo>
                <a:lnTo>
                  <a:pt x="538" y="235"/>
                </a:lnTo>
                <a:lnTo>
                  <a:pt x="538" y="233"/>
                </a:lnTo>
                <a:lnTo>
                  <a:pt x="539" y="233"/>
                </a:lnTo>
                <a:lnTo>
                  <a:pt x="538" y="235"/>
                </a:lnTo>
                <a:close/>
                <a:moveTo>
                  <a:pt x="841" y="233"/>
                </a:moveTo>
                <a:lnTo>
                  <a:pt x="841" y="235"/>
                </a:lnTo>
                <a:lnTo>
                  <a:pt x="841" y="233"/>
                </a:lnTo>
                <a:lnTo>
                  <a:pt x="842" y="233"/>
                </a:lnTo>
                <a:lnTo>
                  <a:pt x="841" y="233"/>
                </a:lnTo>
                <a:close/>
                <a:moveTo>
                  <a:pt x="853" y="232"/>
                </a:moveTo>
                <a:lnTo>
                  <a:pt x="853" y="233"/>
                </a:lnTo>
                <a:lnTo>
                  <a:pt x="852" y="233"/>
                </a:lnTo>
                <a:lnTo>
                  <a:pt x="852" y="235"/>
                </a:lnTo>
                <a:lnTo>
                  <a:pt x="852" y="233"/>
                </a:lnTo>
                <a:lnTo>
                  <a:pt x="852" y="232"/>
                </a:lnTo>
                <a:lnTo>
                  <a:pt x="853" y="232"/>
                </a:lnTo>
                <a:lnTo>
                  <a:pt x="853" y="231"/>
                </a:lnTo>
                <a:lnTo>
                  <a:pt x="853" y="232"/>
                </a:lnTo>
                <a:close/>
                <a:moveTo>
                  <a:pt x="543" y="231"/>
                </a:moveTo>
                <a:lnTo>
                  <a:pt x="543" y="232"/>
                </a:lnTo>
                <a:lnTo>
                  <a:pt x="545" y="232"/>
                </a:lnTo>
                <a:lnTo>
                  <a:pt x="543" y="232"/>
                </a:lnTo>
                <a:lnTo>
                  <a:pt x="542" y="232"/>
                </a:lnTo>
                <a:lnTo>
                  <a:pt x="543" y="232"/>
                </a:lnTo>
                <a:lnTo>
                  <a:pt x="542" y="232"/>
                </a:lnTo>
                <a:lnTo>
                  <a:pt x="543" y="231"/>
                </a:lnTo>
                <a:close/>
                <a:moveTo>
                  <a:pt x="507" y="233"/>
                </a:moveTo>
                <a:lnTo>
                  <a:pt x="506" y="233"/>
                </a:lnTo>
                <a:lnTo>
                  <a:pt x="506" y="232"/>
                </a:lnTo>
                <a:lnTo>
                  <a:pt x="506" y="231"/>
                </a:lnTo>
                <a:lnTo>
                  <a:pt x="507" y="231"/>
                </a:lnTo>
                <a:lnTo>
                  <a:pt x="508" y="231"/>
                </a:lnTo>
                <a:lnTo>
                  <a:pt x="510" y="231"/>
                </a:lnTo>
                <a:lnTo>
                  <a:pt x="508" y="231"/>
                </a:lnTo>
                <a:lnTo>
                  <a:pt x="508" y="232"/>
                </a:lnTo>
                <a:lnTo>
                  <a:pt x="507" y="233"/>
                </a:lnTo>
                <a:close/>
                <a:moveTo>
                  <a:pt x="870" y="231"/>
                </a:moveTo>
                <a:lnTo>
                  <a:pt x="870" y="232"/>
                </a:lnTo>
                <a:lnTo>
                  <a:pt x="869" y="232"/>
                </a:lnTo>
                <a:lnTo>
                  <a:pt x="868" y="232"/>
                </a:lnTo>
                <a:lnTo>
                  <a:pt x="867" y="232"/>
                </a:lnTo>
                <a:lnTo>
                  <a:pt x="867" y="231"/>
                </a:lnTo>
                <a:lnTo>
                  <a:pt x="868" y="231"/>
                </a:lnTo>
                <a:lnTo>
                  <a:pt x="869" y="231"/>
                </a:lnTo>
                <a:lnTo>
                  <a:pt x="870" y="231"/>
                </a:lnTo>
                <a:close/>
                <a:moveTo>
                  <a:pt x="493" y="230"/>
                </a:moveTo>
                <a:lnTo>
                  <a:pt x="496" y="230"/>
                </a:lnTo>
                <a:lnTo>
                  <a:pt x="495" y="230"/>
                </a:lnTo>
                <a:lnTo>
                  <a:pt x="495" y="231"/>
                </a:lnTo>
                <a:lnTo>
                  <a:pt x="496" y="231"/>
                </a:lnTo>
                <a:lnTo>
                  <a:pt x="495" y="231"/>
                </a:lnTo>
                <a:lnTo>
                  <a:pt x="495" y="232"/>
                </a:lnTo>
                <a:lnTo>
                  <a:pt x="493" y="232"/>
                </a:lnTo>
                <a:lnTo>
                  <a:pt x="493" y="233"/>
                </a:lnTo>
                <a:lnTo>
                  <a:pt x="493" y="235"/>
                </a:lnTo>
                <a:lnTo>
                  <a:pt x="495" y="235"/>
                </a:lnTo>
                <a:lnTo>
                  <a:pt x="496" y="233"/>
                </a:lnTo>
                <a:lnTo>
                  <a:pt x="496" y="235"/>
                </a:lnTo>
                <a:lnTo>
                  <a:pt x="496" y="236"/>
                </a:lnTo>
                <a:lnTo>
                  <a:pt x="495" y="236"/>
                </a:lnTo>
                <a:lnTo>
                  <a:pt x="493" y="236"/>
                </a:lnTo>
                <a:lnTo>
                  <a:pt x="495" y="236"/>
                </a:lnTo>
                <a:lnTo>
                  <a:pt x="493" y="236"/>
                </a:lnTo>
                <a:lnTo>
                  <a:pt x="493" y="235"/>
                </a:lnTo>
                <a:lnTo>
                  <a:pt x="492" y="235"/>
                </a:lnTo>
                <a:lnTo>
                  <a:pt x="493" y="235"/>
                </a:lnTo>
                <a:lnTo>
                  <a:pt x="492" y="235"/>
                </a:lnTo>
                <a:lnTo>
                  <a:pt x="491" y="235"/>
                </a:lnTo>
                <a:lnTo>
                  <a:pt x="491" y="236"/>
                </a:lnTo>
                <a:lnTo>
                  <a:pt x="490" y="236"/>
                </a:lnTo>
                <a:lnTo>
                  <a:pt x="489" y="236"/>
                </a:lnTo>
                <a:lnTo>
                  <a:pt x="488" y="237"/>
                </a:lnTo>
                <a:lnTo>
                  <a:pt x="486" y="237"/>
                </a:lnTo>
                <a:lnTo>
                  <a:pt x="486" y="236"/>
                </a:lnTo>
                <a:lnTo>
                  <a:pt x="482" y="237"/>
                </a:lnTo>
                <a:lnTo>
                  <a:pt x="481" y="237"/>
                </a:lnTo>
                <a:lnTo>
                  <a:pt x="478" y="238"/>
                </a:lnTo>
                <a:lnTo>
                  <a:pt x="477" y="238"/>
                </a:lnTo>
                <a:lnTo>
                  <a:pt x="476" y="239"/>
                </a:lnTo>
                <a:lnTo>
                  <a:pt x="475" y="239"/>
                </a:lnTo>
                <a:lnTo>
                  <a:pt x="474" y="239"/>
                </a:lnTo>
                <a:lnTo>
                  <a:pt x="472" y="239"/>
                </a:lnTo>
                <a:lnTo>
                  <a:pt x="472" y="240"/>
                </a:lnTo>
                <a:lnTo>
                  <a:pt x="470" y="239"/>
                </a:lnTo>
                <a:lnTo>
                  <a:pt x="470" y="238"/>
                </a:lnTo>
                <a:lnTo>
                  <a:pt x="471" y="238"/>
                </a:lnTo>
                <a:lnTo>
                  <a:pt x="471" y="237"/>
                </a:lnTo>
                <a:lnTo>
                  <a:pt x="472" y="237"/>
                </a:lnTo>
                <a:lnTo>
                  <a:pt x="474" y="237"/>
                </a:lnTo>
                <a:lnTo>
                  <a:pt x="475" y="236"/>
                </a:lnTo>
                <a:lnTo>
                  <a:pt x="476" y="236"/>
                </a:lnTo>
                <a:lnTo>
                  <a:pt x="481" y="233"/>
                </a:lnTo>
                <a:lnTo>
                  <a:pt x="481" y="232"/>
                </a:lnTo>
                <a:lnTo>
                  <a:pt x="482" y="232"/>
                </a:lnTo>
                <a:lnTo>
                  <a:pt x="483" y="232"/>
                </a:lnTo>
                <a:lnTo>
                  <a:pt x="484" y="232"/>
                </a:lnTo>
                <a:lnTo>
                  <a:pt x="485" y="232"/>
                </a:lnTo>
                <a:lnTo>
                  <a:pt x="486" y="231"/>
                </a:lnTo>
                <a:lnTo>
                  <a:pt x="488" y="231"/>
                </a:lnTo>
                <a:lnTo>
                  <a:pt x="489" y="231"/>
                </a:lnTo>
                <a:lnTo>
                  <a:pt x="490" y="231"/>
                </a:lnTo>
                <a:lnTo>
                  <a:pt x="491" y="230"/>
                </a:lnTo>
                <a:lnTo>
                  <a:pt x="492" y="230"/>
                </a:lnTo>
                <a:lnTo>
                  <a:pt x="493" y="230"/>
                </a:lnTo>
                <a:close/>
                <a:moveTo>
                  <a:pt x="545" y="230"/>
                </a:moveTo>
                <a:lnTo>
                  <a:pt x="543" y="230"/>
                </a:lnTo>
                <a:lnTo>
                  <a:pt x="543" y="231"/>
                </a:lnTo>
                <a:lnTo>
                  <a:pt x="542" y="231"/>
                </a:lnTo>
                <a:lnTo>
                  <a:pt x="541" y="231"/>
                </a:lnTo>
                <a:lnTo>
                  <a:pt x="542" y="231"/>
                </a:lnTo>
                <a:lnTo>
                  <a:pt x="543" y="230"/>
                </a:lnTo>
                <a:lnTo>
                  <a:pt x="542" y="230"/>
                </a:lnTo>
                <a:lnTo>
                  <a:pt x="543" y="230"/>
                </a:lnTo>
                <a:lnTo>
                  <a:pt x="545" y="230"/>
                </a:lnTo>
                <a:close/>
                <a:moveTo>
                  <a:pt x="872" y="230"/>
                </a:moveTo>
                <a:lnTo>
                  <a:pt x="873" y="229"/>
                </a:lnTo>
                <a:lnTo>
                  <a:pt x="873" y="230"/>
                </a:lnTo>
                <a:lnTo>
                  <a:pt x="872" y="230"/>
                </a:lnTo>
                <a:close/>
                <a:moveTo>
                  <a:pt x="518" y="229"/>
                </a:moveTo>
                <a:lnTo>
                  <a:pt x="519" y="229"/>
                </a:lnTo>
                <a:lnTo>
                  <a:pt x="518" y="229"/>
                </a:lnTo>
                <a:lnTo>
                  <a:pt x="518" y="230"/>
                </a:lnTo>
                <a:lnTo>
                  <a:pt x="517" y="230"/>
                </a:lnTo>
                <a:lnTo>
                  <a:pt x="517" y="229"/>
                </a:lnTo>
                <a:lnTo>
                  <a:pt x="518" y="229"/>
                </a:lnTo>
                <a:lnTo>
                  <a:pt x="517" y="229"/>
                </a:lnTo>
                <a:lnTo>
                  <a:pt x="515" y="229"/>
                </a:lnTo>
                <a:lnTo>
                  <a:pt x="517" y="229"/>
                </a:lnTo>
                <a:lnTo>
                  <a:pt x="518" y="229"/>
                </a:lnTo>
                <a:close/>
                <a:moveTo>
                  <a:pt x="855" y="228"/>
                </a:moveTo>
                <a:lnTo>
                  <a:pt x="855" y="229"/>
                </a:lnTo>
                <a:lnTo>
                  <a:pt x="855" y="230"/>
                </a:lnTo>
                <a:lnTo>
                  <a:pt x="854" y="230"/>
                </a:lnTo>
                <a:lnTo>
                  <a:pt x="853" y="231"/>
                </a:lnTo>
                <a:lnTo>
                  <a:pt x="853" y="230"/>
                </a:lnTo>
                <a:lnTo>
                  <a:pt x="853" y="231"/>
                </a:lnTo>
                <a:lnTo>
                  <a:pt x="853" y="230"/>
                </a:lnTo>
                <a:lnTo>
                  <a:pt x="852" y="230"/>
                </a:lnTo>
                <a:lnTo>
                  <a:pt x="853" y="230"/>
                </a:lnTo>
                <a:lnTo>
                  <a:pt x="854" y="230"/>
                </a:lnTo>
                <a:lnTo>
                  <a:pt x="854" y="229"/>
                </a:lnTo>
                <a:lnTo>
                  <a:pt x="853" y="229"/>
                </a:lnTo>
                <a:lnTo>
                  <a:pt x="854" y="229"/>
                </a:lnTo>
                <a:lnTo>
                  <a:pt x="854" y="228"/>
                </a:lnTo>
                <a:lnTo>
                  <a:pt x="855" y="228"/>
                </a:lnTo>
                <a:close/>
                <a:moveTo>
                  <a:pt x="524" y="228"/>
                </a:moveTo>
                <a:lnTo>
                  <a:pt x="524" y="229"/>
                </a:lnTo>
                <a:lnTo>
                  <a:pt x="522" y="229"/>
                </a:lnTo>
                <a:lnTo>
                  <a:pt x="522" y="228"/>
                </a:lnTo>
                <a:lnTo>
                  <a:pt x="524" y="228"/>
                </a:lnTo>
                <a:close/>
                <a:moveTo>
                  <a:pt x="543" y="229"/>
                </a:moveTo>
                <a:lnTo>
                  <a:pt x="542" y="230"/>
                </a:lnTo>
                <a:lnTo>
                  <a:pt x="541" y="230"/>
                </a:lnTo>
                <a:lnTo>
                  <a:pt x="542" y="230"/>
                </a:lnTo>
                <a:lnTo>
                  <a:pt x="542" y="229"/>
                </a:lnTo>
                <a:lnTo>
                  <a:pt x="543" y="229"/>
                </a:lnTo>
                <a:lnTo>
                  <a:pt x="543" y="228"/>
                </a:lnTo>
                <a:lnTo>
                  <a:pt x="545" y="228"/>
                </a:lnTo>
                <a:lnTo>
                  <a:pt x="546" y="226"/>
                </a:lnTo>
                <a:lnTo>
                  <a:pt x="546" y="228"/>
                </a:lnTo>
                <a:lnTo>
                  <a:pt x="545" y="228"/>
                </a:lnTo>
                <a:lnTo>
                  <a:pt x="545" y="229"/>
                </a:lnTo>
                <a:lnTo>
                  <a:pt x="543" y="229"/>
                </a:lnTo>
                <a:close/>
                <a:moveTo>
                  <a:pt x="852" y="228"/>
                </a:moveTo>
                <a:lnTo>
                  <a:pt x="852" y="229"/>
                </a:lnTo>
                <a:lnTo>
                  <a:pt x="852" y="230"/>
                </a:lnTo>
                <a:lnTo>
                  <a:pt x="852" y="229"/>
                </a:lnTo>
                <a:lnTo>
                  <a:pt x="851" y="229"/>
                </a:lnTo>
                <a:lnTo>
                  <a:pt x="851" y="230"/>
                </a:lnTo>
                <a:lnTo>
                  <a:pt x="852" y="230"/>
                </a:lnTo>
                <a:lnTo>
                  <a:pt x="851" y="230"/>
                </a:lnTo>
                <a:lnTo>
                  <a:pt x="851" y="231"/>
                </a:lnTo>
                <a:lnTo>
                  <a:pt x="851" y="232"/>
                </a:lnTo>
                <a:lnTo>
                  <a:pt x="851" y="233"/>
                </a:lnTo>
                <a:lnTo>
                  <a:pt x="851" y="235"/>
                </a:lnTo>
                <a:lnTo>
                  <a:pt x="849" y="235"/>
                </a:lnTo>
                <a:lnTo>
                  <a:pt x="851" y="235"/>
                </a:lnTo>
                <a:lnTo>
                  <a:pt x="849" y="236"/>
                </a:lnTo>
                <a:lnTo>
                  <a:pt x="848" y="236"/>
                </a:lnTo>
                <a:lnTo>
                  <a:pt x="848" y="235"/>
                </a:lnTo>
                <a:lnTo>
                  <a:pt x="849" y="235"/>
                </a:lnTo>
                <a:lnTo>
                  <a:pt x="848" y="233"/>
                </a:lnTo>
                <a:lnTo>
                  <a:pt x="849" y="233"/>
                </a:lnTo>
                <a:lnTo>
                  <a:pt x="848" y="233"/>
                </a:lnTo>
                <a:lnTo>
                  <a:pt x="848" y="232"/>
                </a:lnTo>
                <a:lnTo>
                  <a:pt x="849" y="231"/>
                </a:lnTo>
                <a:lnTo>
                  <a:pt x="848" y="231"/>
                </a:lnTo>
                <a:lnTo>
                  <a:pt x="848" y="230"/>
                </a:lnTo>
                <a:lnTo>
                  <a:pt x="849" y="230"/>
                </a:lnTo>
                <a:lnTo>
                  <a:pt x="849" y="229"/>
                </a:lnTo>
                <a:lnTo>
                  <a:pt x="851" y="229"/>
                </a:lnTo>
                <a:lnTo>
                  <a:pt x="849" y="229"/>
                </a:lnTo>
                <a:lnTo>
                  <a:pt x="851" y="229"/>
                </a:lnTo>
                <a:lnTo>
                  <a:pt x="851" y="228"/>
                </a:lnTo>
                <a:lnTo>
                  <a:pt x="852" y="228"/>
                </a:lnTo>
                <a:lnTo>
                  <a:pt x="852" y="226"/>
                </a:lnTo>
                <a:lnTo>
                  <a:pt x="852" y="228"/>
                </a:lnTo>
                <a:close/>
                <a:moveTo>
                  <a:pt x="521" y="228"/>
                </a:moveTo>
                <a:lnTo>
                  <a:pt x="520" y="228"/>
                </a:lnTo>
                <a:lnTo>
                  <a:pt x="519" y="228"/>
                </a:lnTo>
                <a:lnTo>
                  <a:pt x="520" y="228"/>
                </a:lnTo>
                <a:lnTo>
                  <a:pt x="521" y="228"/>
                </a:lnTo>
                <a:lnTo>
                  <a:pt x="521" y="226"/>
                </a:lnTo>
                <a:lnTo>
                  <a:pt x="521" y="228"/>
                </a:lnTo>
                <a:close/>
                <a:moveTo>
                  <a:pt x="872" y="229"/>
                </a:moveTo>
                <a:lnTo>
                  <a:pt x="870" y="229"/>
                </a:lnTo>
                <a:lnTo>
                  <a:pt x="870" y="230"/>
                </a:lnTo>
                <a:lnTo>
                  <a:pt x="869" y="230"/>
                </a:lnTo>
                <a:lnTo>
                  <a:pt x="869" y="231"/>
                </a:lnTo>
                <a:lnTo>
                  <a:pt x="868" y="231"/>
                </a:lnTo>
                <a:lnTo>
                  <a:pt x="868" y="230"/>
                </a:lnTo>
                <a:lnTo>
                  <a:pt x="867" y="231"/>
                </a:lnTo>
                <a:lnTo>
                  <a:pt x="867" y="230"/>
                </a:lnTo>
                <a:lnTo>
                  <a:pt x="868" y="230"/>
                </a:lnTo>
                <a:lnTo>
                  <a:pt x="868" y="229"/>
                </a:lnTo>
                <a:lnTo>
                  <a:pt x="869" y="229"/>
                </a:lnTo>
                <a:lnTo>
                  <a:pt x="869" y="228"/>
                </a:lnTo>
                <a:lnTo>
                  <a:pt x="870" y="228"/>
                </a:lnTo>
                <a:lnTo>
                  <a:pt x="870" y="226"/>
                </a:lnTo>
                <a:lnTo>
                  <a:pt x="872" y="226"/>
                </a:lnTo>
                <a:lnTo>
                  <a:pt x="872" y="228"/>
                </a:lnTo>
                <a:lnTo>
                  <a:pt x="872" y="229"/>
                </a:lnTo>
                <a:close/>
                <a:moveTo>
                  <a:pt x="540" y="228"/>
                </a:moveTo>
                <a:lnTo>
                  <a:pt x="539" y="229"/>
                </a:lnTo>
                <a:lnTo>
                  <a:pt x="540" y="229"/>
                </a:lnTo>
                <a:lnTo>
                  <a:pt x="540" y="228"/>
                </a:lnTo>
                <a:lnTo>
                  <a:pt x="541" y="228"/>
                </a:lnTo>
                <a:lnTo>
                  <a:pt x="540" y="229"/>
                </a:lnTo>
                <a:lnTo>
                  <a:pt x="539" y="229"/>
                </a:lnTo>
                <a:lnTo>
                  <a:pt x="538" y="229"/>
                </a:lnTo>
                <a:lnTo>
                  <a:pt x="538" y="230"/>
                </a:lnTo>
                <a:lnTo>
                  <a:pt x="536" y="230"/>
                </a:lnTo>
                <a:lnTo>
                  <a:pt x="535" y="231"/>
                </a:lnTo>
                <a:lnTo>
                  <a:pt x="534" y="231"/>
                </a:lnTo>
                <a:lnTo>
                  <a:pt x="533" y="231"/>
                </a:lnTo>
                <a:lnTo>
                  <a:pt x="533" y="232"/>
                </a:lnTo>
                <a:lnTo>
                  <a:pt x="532" y="232"/>
                </a:lnTo>
                <a:lnTo>
                  <a:pt x="533" y="231"/>
                </a:lnTo>
                <a:lnTo>
                  <a:pt x="534" y="231"/>
                </a:lnTo>
                <a:lnTo>
                  <a:pt x="534" y="230"/>
                </a:lnTo>
                <a:lnTo>
                  <a:pt x="535" y="230"/>
                </a:lnTo>
                <a:lnTo>
                  <a:pt x="535" y="229"/>
                </a:lnTo>
                <a:lnTo>
                  <a:pt x="536" y="229"/>
                </a:lnTo>
                <a:lnTo>
                  <a:pt x="538" y="229"/>
                </a:lnTo>
                <a:lnTo>
                  <a:pt x="538" y="228"/>
                </a:lnTo>
                <a:lnTo>
                  <a:pt x="539" y="228"/>
                </a:lnTo>
                <a:lnTo>
                  <a:pt x="540" y="228"/>
                </a:lnTo>
                <a:lnTo>
                  <a:pt x="540" y="226"/>
                </a:lnTo>
                <a:lnTo>
                  <a:pt x="541" y="226"/>
                </a:lnTo>
                <a:lnTo>
                  <a:pt x="542" y="226"/>
                </a:lnTo>
                <a:lnTo>
                  <a:pt x="541" y="226"/>
                </a:lnTo>
                <a:lnTo>
                  <a:pt x="541" y="228"/>
                </a:lnTo>
                <a:lnTo>
                  <a:pt x="540" y="228"/>
                </a:lnTo>
                <a:close/>
                <a:moveTo>
                  <a:pt x="851" y="226"/>
                </a:moveTo>
                <a:lnTo>
                  <a:pt x="852" y="226"/>
                </a:lnTo>
                <a:lnTo>
                  <a:pt x="851" y="226"/>
                </a:lnTo>
                <a:lnTo>
                  <a:pt x="851" y="228"/>
                </a:lnTo>
                <a:lnTo>
                  <a:pt x="849" y="228"/>
                </a:lnTo>
                <a:lnTo>
                  <a:pt x="848" y="228"/>
                </a:lnTo>
                <a:lnTo>
                  <a:pt x="848" y="226"/>
                </a:lnTo>
                <a:lnTo>
                  <a:pt x="849" y="226"/>
                </a:lnTo>
                <a:lnTo>
                  <a:pt x="851" y="226"/>
                </a:lnTo>
                <a:lnTo>
                  <a:pt x="851" y="225"/>
                </a:lnTo>
                <a:lnTo>
                  <a:pt x="851" y="226"/>
                </a:lnTo>
                <a:close/>
                <a:moveTo>
                  <a:pt x="540" y="226"/>
                </a:moveTo>
                <a:lnTo>
                  <a:pt x="540" y="225"/>
                </a:lnTo>
                <a:lnTo>
                  <a:pt x="541" y="225"/>
                </a:lnTo>
                <a:lnTo>
                  <a:pt x="540" y="225"/>
                </a:lnTo>
                <a:lnTo>
                  <a:pt x="541" y="226"/>
                </a:lnTo>
                <a:lnTo>
                  <a:pt x="540" y="226"/>
                </a:lnTo>
                <a:close/>
                <a:moveTo>
                  <a:pt x="538" y="225"/>
                </a:moveTo>
                <a:lnTo>
                  <a:pt x="538" y="226"/>
                </a:lnTo>
                <a:lnTo>
                  <a:pt x="536" y="226"/>
                </a:lnTo>
                <a:lnTo>
                  <a:pt x="536" y="228"/>
                </a:lnTo>
                <a:lnTo>
                  <a:pt x="535" y="226"/>
                </a:lnTo>
                <a:lnTo>
                  <a:pt x="535" y="225"/>
                </a:lnTo>
                <a:lnTo>
                  <a:pt x="536" y="225"/>
                </a:lnTo>
                <a:lnTo>
                  <a:pt x="538" y="225"/>
                </a:lnTo>
                <a:close/>
                <a:moveTo>
                  <a:pt x="533" y="226"/>
                </a:moveTo>
                <a:lnTo>
                  <a:pt x="534" y="225"/>
                </a:lnTo>
                <a:lnTo>
                  <a:pt x="534" y="226"/>
                </a:lnTo>
                <a:lnTo>
                  <a:pt x="534" y="225"/>
                </a:lnTo>
                <a:lnTo>
                  <a:pt x="535" y="225"/>
                </a:lnTo>
                <a:lnTo>
                  <a:pt x="534" y="226"/>
                </a:lnTo>
                <a:lnTo>
                  <a:pt x="533" y="226"/>
                </a:lnTo>
                <a:lnTo>
                  <a:pt x="533" y="228"/>
                </a:lnTo>
                <a:lnTo>
                  <a:pt x="534" y="228"/>
                </a:lnTo>
                <a:lnTo>
                  <a:pt x="533" y="228"/>
                </a:lnTo>
                <a:lnTo>
                  <a:pt x="532" y="228"/>
                </a:lnTo>
                <a:lnTo>
                  <a:pt x="533" y="228"/>
                </a:lnTo>
                <a:lnTo>
                  <a:pt x="533" y="229"/>
                </a:lnTo>
                <a:lnTo>
                  <a:pt x="532" y="229"/>
                </a:lnTo>
                <a:lnTo>
                  <a:pt x="531" y="229"/>
                </a:lnTo>
                <a:lnTo>
                  <a:pt x="531" y="228"/>
                </a:lnTo>
                <a:lnTo>
                  <a:pt x="532" y="228"/>
                </a:lnTo>
                <a:lnTo>
                  <a:pt x="531" y="228"/>
                </a:lnTo>
                <a:lnTo>
                  <a:pt x="529" y="228"/>
                </a:lnTo>
                <a:lnTo>
                  <a:pt x="529" y="229"/>
                </a:lnTo>
                <a:lnTo>
                  <a:pt x="528" y="229"/>
                </a:lnTo>
                <a:lnTo>
                  <a:pt x="529" y="229"/>
                </a:lnTo>
                <a:lnTo>
                  <a:pt x="529" y="228"/>
                </a:lnTo>
                <a:lnTo>
                  <a:pt x="531" y="226"/>
                </a:lnTo>
                <a:lnTo>
                  <a:pt x="531" y="225"/>
                </a:lnTo>
                <a:lnTo>
                  <a:pt x="532" y="225"/>
                </a:lnTo>
                <a:lnTo>
                  <a:pt x="533" y="225"/>
                </a:lnTo>
                <a:lnTo>
                  <a:pt x="534" y="224"/>
                </a:lnTo>
                <a:lnTo>
                  <a:pt x="534" y="225"/>
                </a:lnTo>
                <a:lnTo>
                  <a:pt x="533" y="225"/>
                </a:lnTo>
                <a:lnTo>
                  <a:pt x="533" y="226"/>
                </a:lnTo>
                <a:close/>
                <a:moveTo>
                  <a:pt x="869" y="224"/>
                </a:moveTo>
                <a:lnTo>
                  <a:pt x="870" y="225"/>
                </a:lnTo>
                <a:lnTo>
                  <a:pt x="870" y="226"/>
                </a:lnTo>
                <a:lnTo>
                  <a:pt x="869" y="226"/>
                </a:lnTo>
                <a:lnTo>
                  <a:pt x="868" y="228"/>
                </a:lnTo>
                <a:lnTo>
                  <a:pt x="868" y="226"/>
                </a:lnTo>
                <a:lnTo>
                  <a:pt x="868" y="228"/>
                </a:lnTo>
                <a:lnTo>
                  <a:pt x="867" y="229"/>
                </a:lnTo>
                <a:lnTo>
                  <a:pt x="867" y="228"/>
                </a:lnTo>
                <a:lnTo>
                  <a:pt x="868" y="226"/>
                </a:lnTo>
                <a:lnTo>
                  <a:pt x="868" y="225"/>
                </a:lnTo>
                <a:lnTo>
                  <a:pt x="869" y="225"/>
                </a:lnTo>
                <a:lnTo>
                  <a:pt x="869" y="224"/>
                </a:lnTo>
                <a:close/>
                <a:moveTo>
                  <a:pt x="849" y="224"/>
                </a:moveTo>
                <a:lnTo>
                  <a:pt x="851" y="224"/>
                </a:lnTo>
                <a:lnTo>
                  <a:pt x="851" y="225"/>
                </a:lnTo>
                <a:lnTo>
                  <a:pt x="849" y="225"/>
                </a:lnTo>
                <a:lnTo>
                  <a:pt x="848" y="225"/>
                </a:lnTo>
                <a:lnTo>
                  <a:pt x="848" y="226"/>
                </a:lnTo>
                <a:lnTo>
                  <a:pt x="847" y="226"/>
                </a:lnTo>
                <a:lnTo>
                  <a:pt x="847" y="228"/>
                </a:lnTo>
                <a:lnTo>
                  <a:pt x="846" y="228"/>
                </a:lnTo>
                <a:lnTo>
                  <a:pt x="846" y="226"/>
                </a:lnTo>
                <a:lnTo>
                  <a:pt x="847" y="226"/>
                </a:lnTo>
                <a:lnTo>
                  <a:pt x="846" y="226"/>
                </a:lnTo>
                <a:lnTo>
                  <a:pt x="847" y="226"/>
                </a:lnTo>
                <a:lnTo>
                  <a:pt x="847" y="225"/>
                </a:lnTo>
                <a:lnTo>
                  <a:pt x="848" y="225"/>
                </a:lnTo>
                <a:lnTo>
                  <a:pt x="847" y="225"/>
                </a:lnTo>
                <a:lnTo>
                  <a:pt x="848" y="225"/>
                </a:lnTo>
                <a:lnTo>
                  <a:pt x="849" y="224"/>
                </a:lnTo>
                <a:close/>
                <a:moveTo>
                  <a:pt x="506" y="225"/>
                </a:moveTo>
                <a:lnTo>
                  <a:pt x="505" y="225"/>
                </a:lnTo>
                <a:lnTo>
                  <a:pt x="505" y="224"/>
                </a:lnTo>
                <a:lnTo>
                  <a:pt x="506" y="224"/>
                </a:lnTo>
                <a:lnTo>
                  <a:pt x="506" y="225"/>
                </a:lnTo>
                <a:close/>
                <a:moveTo>
                  <a:pt x="853" y="224"/>
                </a:moveTo>
                <a:lnTo>
                  <a:pt x="853" y="225"/>
                </a:lnTo>
                <a:lnTo>
                  <a:pt x="852" y="225"/>
                </a:lnTo>
                <a:lnTo>
                  <a:pt x="852" y="224"/>
                </a:lnTo>
                <a:lnTo>
                  <a:pt x="853" y="224"/>
                </a:lnTo>
                <a:close/>
                <a:moveTo>
                  <a:pt x="540" y="224"/>
                </a:moveTo>
                <a:lnTo>
                  <a:pt x="541" y="224"/>
                </a:lnTo>
                <a:lnTo>
                  <a:pt x="540" y="224"/>
                </a:lnTo>
                <a:lnTo>
                  <a:pt x="540" y="225"/>
                </a:lnTo>
                <a:lnTo>
                  <a:pt x="540" y="224"/>
                </a:lnTo>
                <a:lnTo>
                  <a:pt x="539" y="224"/>
                </a:lnTo>
                <a:lnTo>
                  <a:pt x="539" y="225"/>
                </a:lnTo>
                <a:lnTo>
                  <a:pt x="539" y="224"/>
                </a:lnTo>
                <a:lnTo>
                  <a:pt x="540" y="224"/>
                </a:lnTo>
                <a:close/>
                <a:moveTo>
                  <a:pt x="851" y="224"/>
                </a:moveTo>
                <a:lnTo>
                  <a:pt x="849" y="224"/>
                </a:lnTo>
                <a:lnTo>
                  <a:pt x="851" y="224"/>
                </a:lnTo>
                <a:lnTo>
                  <a:pt x="851" y="223"/>
                </a:lnTo>
                <a:lnTo>
                  <a:pt x="852" y="223"/>
                </a:lnTo>
                <a:lnTo>
                  <a:pt x="852" y="224"/>
                </a:lnTo>
                <a:lnTo>
                  <a:pt x="851" y="224"/>
                </a:lnTo>
                <a:close/>
                <a:moveTo>
                  <a:pt x="853" y="224"/>
                </a:moveTo>
                <a:lnTo>
                  <a:pt x="852" y="224"/>
                </a:lnTo>
                <a:lnTo>
                  <a:pt x="852" y="223"/>
                </a:lnTo>
                <a:lnTo>
                  <a:pt x="853" y="223"/>
                </a:lnTo>
                <a:lnTo>
                  <a:pt x="854" y="223"/>
                </a:lnTo>
                <a:lnTo>
                  <a:pt x="853" y="223"/>
                </a:lnTo>
                <a:lnTo>
                  <a:pt x="853" y="224"/>
                </a:lnTo>
                <a:close/>
                <a:moveTo>
                  <a:pt x="849" y="223"/>
                </a:moveTo>
                <a:lnTo>
                  <a:pt x="851" y="223"/>
                </a:lnTo>
                <a:lnTo>
                  <a:pt x="849" y="223"/>
                </a:lnTo>
                <a:lnTo>
                  <a:pt x="849" y="224"/>
                </a:lnTo>
                <a:lnTo>
                  <a:pt x="848" y="224"/>
                </a:lnTo>
                <a:lnTo>
                  <a:pt x="847" y="224"/>
                </a:lnTo>
                <a:lnTo>
                  <a:pt x="848" y="223"/>
                </a:lnTo>
                <a:lnTo>
                  <a:pt x="849" y="223"/>
                </a:lnTo>
                <a:lnTo>
                  <a:pt x="848" y="223"/>
                </a:lnTo>
                <a:lnTo>
                  <a:pt x="849" y="223"/>
                </a:lnTo>
                <a:close/>
                <a:moveTo>
                  <a:pt x="556" y="219"/>
                </a:moveTo>
                <a:lnTo>
                  <a:pt x="555" y="219"/>
                </a:lnTo>
                <a:lnTo>
                  <a:pt x="556" y="218"/>
                </a:lnTo>
                <a:lnTo>
                  <a:pt x="556" y="219"/>
                </a:lnTo>
                <a:close/>
                <a:moveTo>
                  <a:pt x="854" y="218"/>
                </a:moveTo>
                <a:lnTo>
                  <a:pt x="855" y="218"/>
                </a:lnTo>
                <a:lnTo>
                  <a:pt x="855" y="219"/>
                </a:lnTo>
                <a:lnTo>
                  <a:pt x="856" y="219"/>
                </a:lnTo>
                <a:lnTo>
                  <a:pt x="856" y="218"/>
                </a:lnTo>
                <a:lnTo>
                  <a:pt x="858" y="218"/>
                </a:lnTo>
                <a:lnTo>
                  <a:pt x="858" y="219"/>
                </a:lnTo>
                <a:lnTo>
                  <a:pt x="856" y="219"/>
                </a:lnTo>
                <a:lnTo>
                  <a:pt x="855" y="219"/>
                </a:lnTo>
                <a:lnTo>
                  <a:pt x="854" y="219"/>
                </a:lnTo>
                <a:lnTo>
                  <a:pt x="854" y="221"/>
                </a:lnTo>
                <a:lnTo>
                  <a:pt x="853" y="221"/>
                </a:lnTo>
                <a:lnTo>
                  <a:pt x="853" y="219"/>
                </a:lnTo>
                <a:lnTo>
                  <a:pt x="854" y="218"/>
                </a:lnTo>
                <a:close/>
                <a:moveTo>
                  <a:pt x="564" y="218"/>
                </a:moveTo>
                <a:lnTo>
                  <a:pt x="563" y="218"/>
                </a:lnTo>
                <a:lnTo>
                  <a:pt x="562" y="218"/>
                </a:lnTo>
                <a:lnTo>
                  <a:pt x="561" y="218"/>
                </a:lnTo>
                <a:lnTo>
                  <a:pt x="562" y="218"/>
                </a:lnTo>
                <a:lnTo>
                  <a:pt x="563" y="217"/>
                </a:lnTo>
                <a:lnTo>
                  <a:pt x="564" y="217"/>
                </a:lnTo>
                <a:lnTo>
                  <a:pt x="564" y="218"/>
                </a:lnTo>
                <a:close/>
                <a:moveTo>
                  <a:pt x="859" y="218"/>
                </a:moveTo>
                <a:lnTo>
                  <a:pt x="858" y="219"/>
                </a:lnTo>
                <a:lnTo>
                  <a:pt x="858" y="218"/>
                </a:lnTo>
                <a:lnTo>
                  <a:pt x="858" y="217"/>
                </a:lnTo>
                <a:lnTo>
                  <a:pt x="859" y="217"/>
                </a:lnTo>
                <a:lnTo>
                  <a:pt x="859" y="218"/>
                </a:lnTo>
                <a:close/>
                <a:moveTo>
                  <a:pt x="599" y="219"/>
                </a:moveTo>
                <a:lnTo>
                  <a:pt x="598" y="219"/>
                </a:lnTo>
                <a:lnTo>
                  <a:pt x="598" y="218"/>
                </a:lnTo>
                <a:lnTo>
                  <a:pt x="599" y="218"/>
                </a:lnTo>
                <a:lnTo>
                  <a:pt x="600" y="217"/>
                </a:lnTo>
                <a:lnTo>
                  <a:pt x="602" y="217"/>
                </a:lnTo>
                <a:lnTo>
                  <a:pt x="600" y="218"/>
                </a:lnTo>
                <a:lnTo>
                  <a:pt x="599" y="218"/>
                </a:lnTo>
                <a:lnTo>
                  <a:pt x="599" y="219"/>
                </a:lnTo>
                <a:close/>
                <a:moveTo>
                  <a:pt x="848" y="217"/>
                </a:moveTo>
                <a:lnTo>
                  <a:pt x="847" y="217"/>
                </a:lnTo>
                <a:lnTo>
                  <a:pt x="848" y="217"/>
                </a:lnTo>
                <a:lnTo>
                  <a:pt x="849" y="217"/>
                </a:lnTo>
                <a:lnTo>
                  <a:pt x="848" y="217"/>
                </a:lnTo>
                <a:lnTo>
                  <a:pt x="848" y="218"/>
                </a:lnTo>
                <a:lnTo>
                  <a:pt x="847" y="218"/>
                </a:lnTo>
                <a:lnTo>
                  <a:pt x="846" y="218"/>
                </a:lnTo>
                <a:lnTo>
                  <a:pt x="847" y="218"/>
                </a:lnTo>
                <a:lnTo>
                  <a:pt x="847" y="217"/>
                </a:lnTo>
                <a:lnTo>
                  <a:pt x="846" y="217"/>
                </a:lnTo>
                <a:lnTo>
                  <a:pt x="847" y="217"/>
                </a:lnTo>
                <a:lnTo>
                  <a:pt x="848" y="217"/>
                </a:lnTo>
                <a:close/>
                <a:moveTo>
                  <a:pt x="852" y="218"/>
                </a:moveTo>
                <a:lnTo>
                  <a:pt x="851" y="218"/>
                </a:lnTo>
                <a:lnTo>
                  <a:pt x="851" y="217"/>
                </a:lnTo>
                <a:lnTo>
                  <a:pt x="852" y="217"/>
                </a:lnTo>
                <a:lnTo>
                  <a:pt x="853" y="217"/>
                </a:lnTo>
                <a:lnTo>
                  <a:pt x="852" y="218"/>
                </a:lnTo>
                <a:close/>
                <a:moveTo>
                  <a:pt x="883" y="217"/>
                </a:moveTo>
                <a:lnTo>
                  <a:pt x="883" y="219"/>
                </a:lnTo>
                <a:lnTo>
                  <a:pt x="883" y="221"/>
                </a:lnTo>
                <a:lnTo>
                  <a:pt x="882" y="221"/>
                </a:lnTo>
                <a:lnTo>
                  <a:pt x="883" y="221"/>
                </a:lnTo>
                <a:lnTo>
                  <a:pt x="882" y="221"/>
                </a:lnTo>
                <a:lnTo>
                  <a:pt x="882" y="222"/>
                </a:lnTo>
                <a:lnTo>
                  <a:pt x="881" y="222"/>
                </a:lnTo>
                <a:lnTo>
                  <a:pt x="881" y="223"/>
                </a:lnTo>
                <a:lnTo>
                  <a:pt x="880" y="223"/>
                </a:lnTo>
                <a:lnTo>
                  <a:pt x="880" y="224"/>
                </a:lnTo>
                <a:lnTo>
                  <a:pt x="879" y="225"/>
                </a:lnTo>
                <a:lnTo>
                  <a:pt x="879" y="224"/>
                </a:lnTo>
                <a:lnTo>
                  <a:pt x="879" y="225"/>
                </a:lnTo>
                <a:lnTo>
                  <a:pt x="877" y="225"/>
                </a:lnTo>
                <a:lnTo>
                  <a:pt x="877" y="226"/>
                </a:lnTo>
                <a:lnTo>
                  <a:pt x="876" y="226"/>
                </a:lnTo>
                <a:lnTo>
                  <a:pt x="876" y="228"/>
                </a:lnTo>
                <a:lnTo>
                  <a:pt x="875" y="228"/>
                </a:lnTo>
                <a:lnTo>
                  <a:pt x="874" y="228"/>
                </a:lnTo>
                <a:lnTo>
                  <a:pt x="873" y="228"/>
                </a:lnTo>
                <a:lnTo>
                  <a:pt x="874" y="226"/>
                </a:lnTo>
                <a:lnTo>
                  <a:pt x="875" y="226"/>
                </a:lnTo>
                <a:lnTo>
                  <a:pt x="875" y="225"/>
                </a:lnTo>
                <a:lnTo>
                  <a:pt x="876" y="225"/>
                </a:lnTo>
                <a:lnTo>
                  <a:pt x="876" y="224"/>
                </a:lnTo>
                <a:lnTo>
                  <a:pt x="876" y="225"/>
                </a:lnTo>
                <a:lnTo>
                  <a:pt x="875" y="225"/>
                </a:lnTo>
                <a:lnTo>
                  <a:pt x="875" y="226"/>
                </a:lnTo>
                <a:lnTo>
                  <a:pt x="874" y="226"/>
                </a:lnTo>
                <a:lnTo>
                  <a:pt x="873" y="226"/>
                </a:lnTo>
                <a:lnTo>
                  <a:pt x="872" y="226"/>
                </a:lnTo>
                <a:lnTo>
                  <a:pt x="873" y="226"/>
                </a:lnTo>
                <a:lnTo>
                  <a:pt x="874" y="225"/>
                </a:lnTo>
                <a:lnTo>
                  <a:pt x="875" y="225"/>
                </a:lnTo>
                <a:lnTo>
                  <a:pt x="876" y="224"/>
                </a:lnTo>
                <a:lnTo>
                  <a:pt x="876" y="223"/>
                </a:lnTo>
                <a:lnTo>
                  <a:pt x="877" y="223"/>
                </a:lnTo>
                <a:lnTo>
                  <a:pt x="877" y="222"/>
                </a:lnTo>
                <a:lnTo>
                  <a:pt x="877" y="221"/>
                </a:lnTo>
                <a:lnTo>
                  <a:pt x="877" y="222"/>
                </a:lnTo>
                <a:lnTo>
                  <a:pt x="876" y="223"/>
                </a:lnTo>
                <a:lnTo>
                  <a:pt x="876" y="224"/>
                </a:lnTo>
                <a:lnTo>
                  <a:pt x="875" y="224"/>
                </a:lnTo>
                <a:lnTo>
                  <a:pt x="874" y="225"/>
                </a:lnTo>
                <a:lnTo>
                  <a:pt x="873" y="225"/>
                </a:lnTo>
                <a:lnTo>
                  <a:pt x="874" y="225"/>
                </a:lnTo>
                <a:lnTo>
                  <a:pt x="874" y="224"/>
                </a:lnTo>
                <a:lnTo>
                  <a:pt x="875" y="224"/>
                </a:lnTo>
                <a:lnTo>
                  <a:pt x="875" y="223"/>
                </a:lnTo>
                <a:lnTo>
                  <a:pt x="874" y="223"/>
                </a:lnTo>
                <a:lnTo>
                  <a:pt x="874" y="224"/>
                </a:lnTo>
                <a:lnTo>
                  <a:pt x="873" y="224"/>
                </a:lnTo>
                <a:lnTo>
                  <a:pt x="873" y="225"/>
                </a:lnTo>
                <a:lnTo>
                  <a:pt x="872" y="226"/>
                </a:lnTo>
                <a:lnTo>
                  <a:pt x="870" y="226"/>
                </a:lnTo>
                <a:lnTo>
                  <a:pt x="870" y="225"/>
                </a:lnTo>
                <a:lnTo>
                  <a:pt x="870" y="224"/>
                </a:lnTo>
                <a:lnTo>
                  <a:pt x="872" y="223"/>
                </a:lnTo>
                <a:lnTo>
                  <a:pt x="873" y="223"/>
                </a:lnTo>
                <a:lnTo>
                  <a:pt x="874" y="222"/>
                </a:lnTo>
                <a:lnTo>
                  <a:pt x="874" y="221"/>
                </a:lnTo>
                <a:lnTo>
                  <a:pt x="875" y="221"/>
                </a:lnTo>
                <a:lnTo>
                  <a:pt x="876" y="219"/>
                </a:lnTo>
                <a:lnTo>
                  <a:pt x="876" y="221"/>
                </a:lnTo>
                <a:lnTo>
                  <a:pt x="876" y="219"/>
                </a:lnTo>
                <a:lnTo>
                  <a:pt x="877" y="219"/>
                </a:lnTo>
                <a:lnTo>
                  <a:pt x="876" y="219"/>
                </a:lnTo>
                <a:lnTo>
                  <a:pt x="875" y="219"/>
                </a:lnTo>
                <a:lnTo>
                  <a:pt x="875" y="221"/>
                </a:lnTo>
                <a:lnTo>
                  <a:pt x="875" y="219"/>
                </a:lnTo>
                <a:lnTo>
                  <a:pt x="876" y="219"/>
                </a:lnTo>
                <a:lnTo>
                  <a:pt x="877" y="219"/>
                </a:lnTo>
                <a:lnTo>
                  <a:pt x="879" y="219"/>
                </a:lnTo>
                <a:lnTo>
                  <a:pt x="877" y="218"/>
                </a:lnTo>
                <a:lnTo>
                  <a:pt x="879" y="218"/>
                </a:lnTo>
                <a:lnTo>
                  <a:pt x="877" y="218"/>
                </a:lnTo>
                <a:lnTo>
                  <a:pt x="877" y="219"/>
                </a:lnTo>
                <a:lnTo>
                  <a:pt x="876" y="219"/>
                </a:lnTo>
                <a:lnTo>
                  <a:pt x="876" y="218"/>
                </a:lnTo>
                <a:lnTo>
                  <a:pt x="879" y="218"/>
                </a:lnTo>
                <a:lnTo>
                  <a:pt x="880" y="218"/>
                </a:lnTo>
                <a:lnTo>
                  <a:pt x="879" y="218"/>
                </a:lnTo>
                <a:lnTo>
                  <a:pt x="879" y="217"/>
                </a:lnTo>
                <a:lnTo>
                  <a:pt x="880" y="217"/>
                </a:lnTo>
                <a:lnTo>
                  <a:pt x="881" y="217"/>
                </a:lnTo>
                <a:lnTo>
                  <a:pt x="882" y="217"/>
                </a:lnTo>
                <a:lnTo>
                  <a:pt x="883" y="216"/>
                </a:lnTo>
                <a:lnTo>
                  <a:pt x="883" y="217"/>
                </a:lnTo>
                <a:close/>
                <a:moveTo>
                  <a:pt x="591" y="215"/>
                </a:moveTo>
                <a:lnTo>
                  <a:pt x="590" y="215"/>
                </a:lnTo>
                <a:lnTo>
                  <a:pt x="590" y="216"/>
                </a:lnTo>
                <a:lnTo>
                  <a:pt x="590" y="215"/>
                </a:lnTo>
                <a:lnTo>
                  <a:pt x="591" y="215"/>
                </a:lnTo>
                <a:close/>
                <a:moveTo>
                  <a:pt x="861" y="214"/>
                </a:moveTo>
                <a:lnTo>
                  <a:pt x="862" y="214"/>
                </a:lnTo>
                <a:lnTo>
                  <a:pt x="861" y="215"/>
                </a:lnTo>
                <a:lnTo>
                  <a:pt x="860" y="216"/>
                </a:lnTo>
                <a:lnTo>
                  <a:pt x="859" y="216"/>
                </a:lnTo>
                <a:lnTo>
                  <a:pt x="858" y="216"/>
                </a:lnTo>
                <a:lnTo>
                  <a:pt x="856" y="216"/>
                </a:lnTo>
                <a:lnTo>
                  <a:pt x="855" y="216"/>
                </a:lnTo>
                <a:lnTo>
                  <a:pt x="855" y="217"/>
                </a:lnTo>
                <a:lnTo>
                  <a:pt x="854" y="217"/>
                </a:lnTo>
                <a:lnTo>
                  <a:pt x="853" y="217"/>
                </a:lnTo>
                <a:lnTo>
                  <a:pt x="854" y="216"/>
                </a:lnTo>
                <a:lnTo>
                  <a:pt x="856" y="215"/>
                </a:lnTo>
                <a:lnTo>
                  <a:pt x="858" y="215"/>
                </a:lnTo>
                <a:lnTo>
                  <a:pt x="859" y="215"/>
                </a:lnTo>
                <a:lnTo>
                  <a:pt x="858" y="215"/>
                </a:lnTo>
                <a:lnTo>
                  <a:pt x="858" y="214"/>
                </a:lnTo>
                <a:lnTo>
                  <a:pt x="859" y="214"/>
                </a:lnTo>
                <a:lnTo>
                  <a:pt x="860" y="214"/>
                </a:lnTo>
                <a:lnTo>
                  <a:pt x="861" y="214"/>
                </a:lnTo>
                <a:close/>
                <a:moveTo>
                  <a:pt x="591" y="214"/>
                </a:moveTo>
                <a:lnTo>
                  <a:pt x="591" y="212"/>
                </a:lnTo>
                <a:lnTo>
                  <a:pt x="592" y="212"/>
                </a:lnTo>
                <a:lnTo>
                  <a:pt x="591" y="214"/>
                </a:lnTo>
                <a:close/>
                <a:moveTo>
                  <a:pt x="872" y="212"/>
                </a:moveTo>
                <a:lnTo>
                  <a:pt x="872" y="214"/>
                </a:lnTo>
                <a:lnTo>
                  <a:pt x="873" y="214"/>
                </a:lnTo>
                <a:lnTo>
                  <a:pt x="873" y="212"/>
                </a:lnTo>
                <a:lnTo>
                  <a:pt x="874" y="212"/>
                </a:lnTo>
                <a:lnTo>
                  <a:pt x="874" y="214"/>
                </a:lnTo>
                <a:lnTo>
                  <a:pt x="875" y="214"/>
                </a:lnTo>
                <a:lnTo>
                  <a:pt x="875" y="215"/>
                </a:lnTo>
                <a:lnTo>
                  <a:pt x="874" y="215"/>
                </a:lnTo>
                <a:lnTo>
                  <a:pt x="874" y="216"/>
                </a:lnTo>
                <a:lnTo>
                  <a:pt x="873" y="216"/>
                </a:lnTo>
                <a:lnTo>
                  <a:pt x="873" y="217"/>
                </a:lnTo>
                <a:lnTo>
                  <a:pt x="873" y="216"/>
                </a:lnTo>
                <a:lnTo>
                  <a:pt x="872" y="217"/>
                </a:lnTo>
                <a:lnTo>
                  <a:pt x="870" y="217"/>
                </a:lnTo>
                <a:lnTo>
                  <a:pt x="869" y="216"/>
                </a:lnTo>
                <a:lnTo>
                  <a:pt x="870" y="216"/>
                </a:lnTo>
                <a:lnTo>
                  <a:pt x="870" y="215"/>
                </a:lnTo>
                <a:lnTo>
                  <a:pt x="870" y="216"/>
                </a:lnTo>
                <a:lnTo>
                  <a:pt x="870" y="215"/>
                </a:lnTo>
                <a:lnTo>
                  <a:pt x="869" y="215"/>
                </a:lnTo>
                <a:lnTo>
                  <a:pt x="868" y="215"/>
                </a:lnTo>
                <a:lnTo>
                  <a:pt x="868" y="214"/>
                </a:lnTo>
                <a:lnTo>
                  <a:pt x="869" y="214"/>
                </a:lnTo>
                <a:lnTo>
                  <a:pt x="869" y="212"/>
                </a:lnTo>
                <a:lnTo>
                  <a:pt x="870" y="212"/>
                </a:lnTo>
                <a:lnTo>
                  <a:pt x="872" y="212"/>
                </a:lnTo>
                <a:lnTo>
                  <a:pt x="873" y="211"/>
                </a:lnTo>
                <a:lnTo>
                  <a:pt x="874" y="211"/>
                </a:lnTo>
                <a:lnTo>
                  <a:pt x="875" y="210"/>
                </a:lnTo>
                <a:lnTo>
                  <a:pt x="875" y="211"/>
                </a:lnTo>
                <a:lnTo>
                  <a:pt x="874" y="211"/>
                </a:lnTo>
                <a:lnTo>
                  <a:pt x="874" y="212"/>
                </a:lnTo>
                <a:lnTo>
                  <a:pt x="873" y="212"/>
                </a:lnTo>
                <a:lnTo>
                  <a:pt x="872" y="212"/>
                </a:lnTo>
                <a:close/>
                <a:moveTo>
                  <a:pt x="861" y="210"/>
                </a:moveTo>
                <a:lnTo>
                  <a:pt x="862" y="211"/>
                </a:lnTo>
                <a:lnTo>
                  <a:pt x="863" y="211"/>
                </a:lnTo>
                <a:lnTo>
                  <a:pt x="865" y="211"/>
                </a:lnTo>
                <a:lnTo>
                  <a:pt x="863" y="211"/>
                </a:lnTo>
                <a:lnTo>
                  <a:pt x="865" y="211"/>
                </a:lnTo>
                <a:lnTo>
                  <a:pt x="866" y="211"/>
                </a:lnTo>
                <a:lnTo>
                  <a:pt x="866" y="212"/>
                </a:lnTo>
                <a:lnTo>
                  <a:pt x="866" y="214"/>
                </a:lnTo>
                <a:lnTo>
                  <a:pt x="865" y="214"/>
                </a:lnTo>
                <a:lnTo>
                  <a:pt x="863" y="214"/>
                </a:lnTo>
                <a:lnTo>
                  <a:pt x="863" y="215"/>
                </a:lnTo>
                <a:lnTo>
                  <a:pt x="863" y="214"/>
                </a:lnTo>
                <a:lnTo>
                  <a:pt x="863" y="215"/>
                </a:lnTo>
                <a:lnTo>
                  <a:pt x="865" y="215"/>
                </a:lnTo>
                <a:lnTo>
                  <a:pt x="865" y="216"/>
                </a:lnTo>
                <a:lnTo>
                  <a:pt x="866" y="216"/>
                </a:lnTo>
                <a:lnTo>
                  <a:pt x="866" y="215"/>
                </a:lnTo>
                <a:lnTo>
                  <a:pt x="866" y="216"/>
                </a:lnTo>
                <a:lnTo>
                  <a:pt x="867" y="216"/>
                </a:lnTo>
                <a:lnTo>
                  <a:pt x="867" y="217"/>
                </a:lnTo>
                <a:lnTo>
                  <a:pt x="867" y="218"/>
                </a:lnTo>
                <a:lnTo>
                  <a:pt x="867" y="219"/>
                </a:lnTo>
                <a:lnTo>
                  <a:pt x="866" y="219"/>
                </a:lnTo>
                <a:lnTo>
                  <a:pt x="866" y="221"/>
                </a:lnTo>
                <a:lnTo>
                  <a:pt x="865" y="222"/>
                </a:lnTo>
                <a:lnTo>
                  <a:pt x="866" y="222"/>
                </a:lnTo>
                <a:lnTo>
                  <a:pt x="866" y="221"/>
                </a:lnTo>
                <a:lnTo>
                  <a:pt x="866" y="222"/>
                </a:lnTo>
                <a:lnTo>
                  <a:pt x="866" y="223"/>
                </a:lnTo>
                <a:lnTo>
                  <a:pt x="867" y="223"/>
                </a:lnTo>
                <a:lnTo>
                  <a:pt x="867" y="224"/>
                </a:lnTo>
                <a:lnTo>
                  <a:pt x="866" y="224"/>
                </a:lnTo>
                <a:lnTo>
                  <a:pt x="866" y="223"/>
                </a:lnTo>
                <a:lnTo>
                  <a:pt x="865" y="223"/>
                </a:lnTo>
                <a:lnTo>
                  <a:pt x="865" y="222"/>
                </a:lnTo>
                <a:lnTo>
                  <a:pt x="863" y="222"/>
                </a:lnTo>
                <a:lnTo>
                  <a:pt x="862" y="222"/>
                </a:lnTo>
                <a:lnTo>
                  <a:pt x="863" y="222"/>
                </a:lnTo>
                <a:lnTo>
                  <a:pt x="863" y="223"/>
                </a:lnTo>
                <a:lnTo>
                  <a:pt x="862" y="223"/>
                </a:lnTo>
                <a:lnTo>
                  <a:pt x="861" y="223"/>
                </a:lnTo>
                <a:lnTo>
                  <a:pt x="860" y="224"/>
                </a:lnTo>
                <a:lnTo>
                  <a:pt x="861" y="224"/>
                </a:lnTo>
                <a:lnTo>
                  <a:pt x="862" y="224"/>
                </a:lnTo>
                <a:lnTo>
                  <a:pt x="862" y="223"/>
                </a:lnTo>
                <a:lnTo>
                  <a:pt x="863" y="223"/>
                </a:lnTo>
                <a:lnTo>
                  <a:pt x="863" y="224"/>
                </a:lnTo>
                <a:lnTo>
                  <a:pt x="865" y="224"/>
                </a:lnTo>
                <a:lnTo>
                  <a:pt x="863" y="224"/>
                </a:lnTo>
                <a:lnTo>
                  <a:pt x="862" y="224"/>
                </a:lnTo>
                <a:lnTo>
                  <a:pt x="861" y="224"/>
                </a:lnTo>
                <a:lnTo>
                  <a:pt x="861" y="225"/>
                </a:lnTo>
                <a:lnTo>
                  <a:pt x="862" y="225"/>
                </a:lnTo>
                <a:lnTo>
                  <a:pt x="862" y="224"/>
                </a:lnTo>
                <a:lnTo>
                  <a:pt x="862" y="225"/>
                </a:lnTo>
                <a:lnTo>
                  <a:pt x="863" y="225"/>
                </a:lnTo>
                <a:lnTo>
                  <a:pt x="863" y="224"/>
                </a:lnTo>
                <a:lnTo>
                  <a:pt x="863" y="225"/>
                </a:lnTo>
                <a:lnTo>
                  <a:pt x="865" y="224"/>
                </a:lnTo>
                <a:lnTo>
                  <a:pt x="865" y="225"/>
                </a:lnTo>
                <a:lnTo>
                  <a:pt x="865" y="226"/>
                </a:lnTo>
                <a:lnTo>
                  <a:pt x="863" y="226"/>
                </a:lnTo>
                <a:lnTo>
                  <a:pt x="863" y="228"/>
                </a:lnTo>
                <a:lnTo>
                  <a:pt x="862" y="228"/>
                </a:lnTo>
                <a:lnTo>
                  <a:pt x="862" y="226"/>
                </a:lnTo>
                <a:lnTo>
                  <a:pt x="862" y="228"/>
                </a:lnTo>
                <a:lnTo>
                  <a:pt x="863" y="228"/>
                </a:lnTo>
                <a:lnTo>
                  <a:pt x="865" y="226"/>
                </a:lnTo>
                <a:lnTo>
                  <a:pt x="866" y="226"/>
                </a:lnTo>
                <a:lnTo>
                  <a:pt x="866" y="228"/>
                </a:lnTo>
                <a:lnTo>
                  <a:pt x="865" y="228"/>
                </a:lnTo>
                <a:lnTo>
                  <a:pt x="865" y="229"/>
                </a:lnTo>
                <a:lnTo>
                  <a:pt x="863" y="229"/>
                </a:lnTo>
                <a:lnTo>
                  <a:pt x="863" y="230"/>
                </a:lnTo>
                <a:lnTo>
                  <a:pt x="862" y="230"/>
                </a:lnTo>
                <a:lnTo>
                  <a:pt x="862" y="229"/>
                </a:lnTo>
                <a:lnTo>
                  <a:pt x="862" y="230"/>
                </a:lnTo>
                <a:lnTo>
                  <a:pt x="861" y="230"/>
                </a:lnTo>
                <a:lnTo>
                  <a:pt x="862" y="230"/>
                </a:lnTo>
                <a:lnTo>
                  <a:pt x="861" y="230"/>
                </a:lnTo>
                <a:lnTo>
                  <a:pt x="860" y="230"/>
                </a:lnTo>
                <a:lnTo>
                  <a:pt x="860" y="231"/>
                </a:lnTo>
                <a:lnTo>
                  <a:pt x="859" y="231"/>
                </a:lnTo>
                <a:lnTo>
                  <a:pt x="860" y="231"/>
                </a:lnTo>
                <a:lnTo>
                  <a:pt x="861" y="231"/>
                </a:lnTo>
                <a:lnTo>
                  <a:pt x="862" y="230"/>
                </a:lnTo>
                <a:lnTo>
                  <a:pt x="862" y="231"/>
                </a:lnTo>
                <a:lnTo>
                  <a:pt x="861" y="231"/>
                </a:lnTo>
                <a:lnTo>
                  <a:pt x="862" y="231"/>
                </a:lnTo>
                <a:lnTo>
                  <a:pt x="861" y="231"/>
                </a:lnTo>
                <a:lnTo>
                  <a:pt x="861" y="232"/>
                </a:lnTo>
                <a:lnTo>
                  <a:pt x="860" y="232"/>
                </a:lnTo>
                <a:lnTo>
                  <a:pt x="860" y="233"/>
                </a:lnTo>
                <a:lnTo>
                  <a:pt x="859" y="233"/>
                </a:lnTo>
                <a:lnTo>
                  <a:pt x="859" y="235"/>
                </a:lnTo>
                <a:lnTo>
                  <a:pt x="858" y="235"/>
                </a:lnTo>
                <a:lnTo>
                  <a:pt x="858" y="236"/>
                </a:lnTo>
                <a:lnTo>
                  <a:pt x="858" y="235"/>
                </a:lnTo>
                <a:lnTo>
                  <a:pt x="856" y="235"/>
                </a:lnTo>
                <a:lnTo>
                  <a:pt x="856" y="236"/>
                </a:lnTo>
                <a:lnTo>
                  <a:pt x="856" y="235"/>
                </a:lnTo>
                <a:lnTo>
                  <a:pt x="855" y="235"/>
                </a:lnTo>
                <a:lnTo>
                  <a:pt x="856" y="233"/>
                </a:lnTo>
                <a:lnTo>
                  <a:pt x="855" y="233"/>
                </a:lnTo>
                <a:lnTo>
                  <a:pt x="856" y="233"/>
                </a:lnTo>
                <a:lnTo>
                  <a:pt x="856" y="232"/>
                </a:lnTo>
                <a:lnTo>
                  <a:pt x="858" y="232"/>
                </a:lnTo>
                <a:lnTo>
                  <a:pt x="856" y="232"/>
                </a:lnTo>
                <a:lnTo>
                  <a:pt x="856" y="231"/>
                </a:lnTo>
                <a:lnTo>
                  <a:pt x="858" y="231"/>
                </a:lnTo>
                <a:lnTo>
                  <a:pt x="858" y="230"/>
                </a:lnTo>
                <a:lnTo>
                  <a:pt x="858" y="231"/>
                </a:lnTo>
                <a:lnTo>
                  <a:pt x="856" y="231"/>
                </a:lnTo>
                <a:lnTo>
                  <a:pt x="856" y="232"/>
                </a:lnTo>
                <a:lnTo>
                  <a:pt x="855" y="232"/>
                </a:lnTo>
                <a:lnTo>
                  <a:pt x="856" y="231"/>
                </a:lnTo>
                <a:lnTo>
                  <a:pt x="855" y="231"/>
                </a:lnTo>
                <a:lnTo>
                  <a:pt x="854" y="231"/>
                </a:lnTo>
                <a:lnTo>
                  <a:pt x="855" y="231"/>
                </a:lnTo>
                <a:lnTo>
                  <a:pt x="856" y="230"/>
                </a:lnTo>
                <a:lnTo>
                  <a:pt x="855" y="230"/>
                </a:lnTo>
                <a:lnTo>
                  <a:pt x="856" y="230"/>
                </a:lnTo>
                <a:lnTo>
                  <a:pt x="858" y="230"/>
                </a:lnTo>
                <a:lnTo>
                  <a:pt x="856" y="230"/>
                </a:lnTo>
                <a:lnTo>
                  <a:pt x="858" y="229"/>
                </a:lnTo>
                <a:lnTo>
                  <a:pt x="856" y="229"/>
                </a:lnTo>
                <a:lnTo>
                  <a:pt x="856" y="230"/>
                </a:lnTo>
                <a:lnTo>
                  <a:pt x="855" y="230"/>
                </a:lnTo>
                <a:lnTo>
                  <a:pt x="856" y="229"/>
                </a:lnTo>
                <a:lnTo>
                  <a:pt x="858" y="229"/>
                </a:lnTo>
                <a:lnTo>
                  <a:pt x="858" y="228"/>
                </a:lnTo>
                <a:lnTo>
                  <a:pt x="858" y="226"/>
                </a:lnTo>
                <a:lnTo>
                  <a:pt x="858" y="228"/>
                </a:lnTo>
                <a:lnTo>
                  <a:pt x="856" y="229"/>
                </a:lnTo>
                <a:lnTo>
                  <a:pt x="855" y="229"/>
                </a:lnTo>
                <a:lnTo>
                  <a:pt x="855" y="228"/>
                </a:lnTo>
                <a:lnTo>
                  <a:pt x="855" y="226"/>
                </a:lnTo>
                <a:lnTo>
                  <a:pt x="856" y="226"/>
                </a:lnTo>
                <a:lnTo>
                  <a:pt x="855" y="226"/>
                </a:lnTo>
                <a:lnTo>
                  <a:pt x="855" y="228"/>
                </a:lnTo>
                <a:lnTo>
                  <a:pt x="854" y="228"/>
                </a:lnTo>
                <a:lnTo>
                  <a:pt x="853" y="228"/>
                </a:lnTo>
                <a:lnTo>
                  <a:pt x="854" y="228"/>
                </a:lnTo>
                <a:lnTo>
                  <a:pt x="855" y="226"/>
                </a:lnTo>
                <a:lnTo>
                  <a:pt x="854" y="226"/>
                </a:lnTo>
                <a:lnTo>
                  <a:pt x="853" y="226"/>
                </a:lnTo>
                <a:lnTo>
                  <a:pt x="852" y="226"/>
                </a:lnTo>
                <a:lnTo>
                  <a:pt x="852" y="225"/>
                </a:lnTo>
                <a:lnTo>
                  <a:pt x="853" y="225"/>
                </a:lnTo>
                <a:lnTo>
                  <a:pt x="854" y="225"/>
                </a:lnTo>
                <a:lnTo>
                  <a:pt x="856" y="225"/>
                </a:lnTo>
                <a:lnTo>
                  <a:pt x="855" y="225"/>
                </a:lnTo>
                <a:lnTo>
                  <a:pt x="855" y="224"/>
                </a:lnTo>
                <a:lnTo>
                  <a:pt x="856" y="224"/>
                </a:lnTo>
                <a:lnTo>
                  <a:pt x="855" y="224"/>
                </a:lnTo>
                <a:lnTo>
                  <a:pt x="855" y="223"/>
                </a:lnTo>
                <a:lnTo>
                  <a:pt x="856" y="223"/>
                </a:lnTo>
                <a:lnTo>
                  <a:pt x="856" y="222"/>
                </a:lnTo>
                <a:lnTo>
                  <a:pt x="858" y="222"/>
                </a:lnTo>
                <a:lnTo>
                  <a:pt x="859" y="222"/>
                </a:lnTo>
                <a:lnTo>
                  <a:pt x="860" y="222"/>
                </a:lnTo>
                <a:lnTo>
                  <a:pt x="859" y="222"/>
                </a:lnTo>
                <a:lnTo>
                  <a:pt x="858" y="222"/>
                </a:lnTo>
                <a:lnTo>
                  <a:pt x="855" y="222"/>
                </a:lnTo>
                <a:lnTo>
                  <a:pt x="854" y="222"/>
                </a:lnTo>
                <a:lnTo>
                  <a:pt x="854" y="221"/>
                </a:lnTo>
                <a:lnTo>
                  <a:pt x="855" y="221"/>
                </a:lnTo>
                <a:lnTo>
                  <a:pt x="855" y="219"/>
                </a:lnTo>
                <a:lnTo>
                  <a:pt x="855" y="221"/>
                </a:lnTo>
                <a:lnTo>
                  <a:pt x="856" y="219"/>
                </a:lnTo>
                <a:lnTo>
                  <a:pt x="858" y="219"/>
                </a:lnTo>
                <a:lnTo>
                  <a:pt x="859" y="219"/>
                </a:lnTo>
                <a:lnTo>
                  <a:pt x="859" y="218"/>
                </a:lnTo>
                <a:lnTo>
                  <a:pt x="860" y="218"/>
                </a:lnTo>
                <a:lnTo>
                  <a:pt x="860" y="217"/>
                </a:lnTo>
                <a:lnTo>
                  <a:pt x="860" y="218"/>
                </a:lnTo>
                <a:lnTo>
                  <a:pt x="859" y="217"/>
                </a:lnTo>
                <a:lnTo>
                  <a:pt x="860" y="217"/>
                </a:lnTo>
                <a:lnTo>
                  <a:pt x="860" y="216"/>
                </a:lnTo>
                <a:lnTo>
                  <a:pt x="861" y="215"/>
                </a:lnTo>
                <a:lnTo>
                  <a:pt x="862" y="214"/>
                </a:lnTo>
                <a:lnTo>
                  <a:pt x="861" y="214"/>
                </a:lnTo>
                <a:lnTo>
                  <a:pt x="860" y="214"/>
                </a:lnTo>
                <a:lnTo>
                  <a:pt x="860" y="212"/>
                </a:lnTo>
                <a:lnTo>
                  <a:pt x="859" y="214"/>
                </a:lnTo>
                <a:lnTo>
                  <a:pt x="859" y="212"/>
                </a:lnTo>
                <a:lnTo>
                  <a:pt x="860" y="212"/>
                </a:lnTo>
                <a:lnTo>
                  <a:pt x="860" y="211"/>
                </a:lnTo>
                <a:lnTo>
                  <a:pt x="861" y="211"/>
                </a:lnTo>
                <a:lnTo>
                  <a:pt x="861" y="210"/>
                </a:lnTo>
                <a:close/>
                <a:moveTo>
                  <a:pt x="582" y="211"/>
                </a:moveTo>
                <a:lnTo>
                  <a:pt x="581" y="211"/>
                </a:lnTo>
                <a:lnTo>
                  <a:pt x="582" y="211"/>
                </a:lnTo>
                <a:lnTo>
                  <a:pt x="582" y="210"/>
                </a:lnTo>
                <a:lnTo>
                  <a:pt x="582" y="211"/>
                </a:lnTo>
                <a:close/>
                <a:moveTo>
                  <a:pt x="873" y="209"/>
                </a:moveTo>
                <a:lnTo>
                  <a:pt x="873" y="210"/>
                </a:lnTo>
                <a:lnTo>
                  <a:pt x="872" y="210"/>
                </a:lnTo>
                <a:lnTo>
                  <a:pt x="872" y="211"/>
                </a:lnTo>
                <a:lnTo>
                  <a:pt x="870" y="211"/>
                </a:lnTo>
                <a:lnTo>
                  <a:pt x="869" y="212"/>
                </a:lnTo>
                <a:lnTo>
                  <a:pt x="868" y="212"/>
                </a:lnTo>
                <a:lnTo>
                  <a:pt x="868" y="211"/>
                </a:lnTo>
                <a:lnTo>
                  <a:pt x="867" y="211"/>
                </a:lnTo>
                <a:lnTo>
                  <a:pt x="868" y="210"/>
                </a:lnTo>
                <a:lnTo>
                  <a:pt x="869" y="210"/>
                </a:lnTo>
                <a:lnTo>
                  <a:pt x="869" y="209"/>
                </a:lnTo>
                <a:lnTo>
                  <a:pt x="870" y="209"/>
                </a:lnTo>
                <a:lnTo>
                  <a:pt x="872" y="209"/>
                </a:lnTo>
                <a:lnTo>
                  <a:pt x="873" y="209"/>
                </a:lnTo>
                <a:close/>
                <a:moveTo>
                  <a:pt x="877" y="210"/>
                </a:moveTo>
                <a:lnTo>
                  <a:pt x="877" y="211"/>
                </a:lnTo>
                <a:lnTo>
                  <a:pt x="879" y="210"/>
                </a:lnTo>
                <a:lnTo>
                  <a:pt x="880" y="210"/>
                </a:lnTo>
                <a:lnTo>
                  <a:pt x="880" y="211"/>
                </a:lnTo>
                <a:lnTo>
                  <a:pt x="879" y="211"/>
                </a:lnTo>
                <a:lnTo>
                  <a:pt x="879" y="212"/>
                </a:lnTo>
                <a:lnTo>
                  <a:pt x="877" y="214"/>
                </a:lnTo>
                <a:lnTo>
                  <a:pt x="877" y="212"/>
                </a:lnTo>
                <a:lnTo>
                  <a:pt x="877" y="214"/>
                </a:lnTo>
                <a:lnTo>
                  <a:pt x="876" y="214"/>
                </a:lnTo>
                <a:lnTo>
                  <a:pt x="875" y="214"/>
                </a:lnTo>
                <a:lnTo>
                  <a:pt x="876" y="214"/>
                </a:lnTo>
                <a:lnTo>
                  <a:pt x="875" y="214"/>
                </a:lnTo>
                <a:lnTo>
                  <a:pt x="875" y="212"/>
                </a:lnTo>
                <a:lnTo>
                  <a:pt x="874" y="212"/>
                </a:lnTo>
                <a:lnTo>
                  <a:pt x="874" y="211"/>
                </a:lnTo>
                <a:lnTo>
                  <a:pt x="875" y="211"/>
                </a:lnTo>
                <a:lnTo>
                  <a:pt x="875" y="210"/>
                </a:lnTo>
                <a:lnTo>
                  <a:pt x="876" y="210"/>
                </a:lnTo>
                <a:lnTo>
                  <a:pt x="876" y="209"/>
                </a:lnTo>
                <a:lnTo>
                  <a:pt x="877" y="209"/>
                </a:lnTo>
                <a:lnTo>
                  <a:pt x="877" y="210"/>
                </a:lnTo>
                <a:close/>
                <a:moveTo>
                  <a:pt x="631" y="208"/>
                </a:moveTo>
                <a:lnTo>
                  <a:pt x="630" y="208"/>
                </a:lnTo>
                <a:lnTo>
                  <a:pt x="628" y="209"/>
                </a:lnTo>
                <a:lnTo>
                  <a:pt x="628" y="208"/>
                </a:lnTo>
                <a:lnTo>
                  <a:pt x="628" y="209"/>
                </a:lnTo>
                <a:lnTo>
                  <a:pt x="627" y="209"/>
                </a:lnTo>
                <a:lnTo>
                  <a:pt x="627" y="208"/>
                </a:lnTo>
                <a:lnTo>
                  <a:pt x="628" y="208"/>
                </a:lnTo>
                <a:lnTo>
                  <a:pt x="630" y="208"/>
                </a:lnTo>
                <a:lnTo>
                  <a:pt x="631" y="208"/>
                </a:lnTo>
                <a:close/>
                <a:moveTo>
                  <a:pt x="595" y="208"/>
                </a:moveTo>
                <a:lnTo>
                  <a:pt x="593" y="208"/>
                </a:lnTo>
                <a:lnTo>
                  <a:pt x="592" y="208"/>
                </a:lnTo>
                <a:lnTo>
                  <a:pt x="591" y="208"/>
                </a:lnTo>
                <a:lnTo>
                  <a:pt x="592" y="208"/>
                </a:lnTo>
                <a:lnTo>
                  <a:pt x="592" y="207"/>
                </a:lnTo>
                <a:lnTo>
                  <a:pt x="593" y="208"/>
                </a:lnTo>
                <a:lnTo>
                  <a:pt x="595" y="207"/>
                </a:lnTo>
                <a:lnTo>
                  <a:pt x="595" y="208"/>
                </a:lnTo>
                <a:close/>
                <a:moveTo>
                  <a:pt x="625" y="207"/>
                </a:moveTo>
                <a:lnTo>
                  <a:pt x="625" y="208"/>
                </a:lnTo>
                <a:lnTo>
                  <a:pt x="624" y="208"/>
                </a:lnTo>
                <a:lnTo>
                  <a:pt x="625" y="208"/>
                </a:lnTo>
                <a:lnTo>
                  <a:pt x="624" y="208"/>
                </a:lnTo>
                <a:lnTo>
                  <a:pt x="625" y="208"/>
                </a:lnTo>
                <a:lnTo>
                  <a:pt x="625" y="207"/>
                </a:lnTo>
                <a:lnTo>
                  <a:pt x="624" y="207"/>
                </a:lnTo>
                <a:lnTo>
                  <a:pt x="624" y="208"/>
                </a:lnTo>
                <a:lnTo>
                  <a:pt x="623" y="208"/>
                </a:lnTo>
                <a:lnTo>
                  <a:pt x="623" y="209"/>
                </a:lnTo>
                <a:lnTo>
                  <a:pt x="621" y="209"/>
                </a:lnTo>
                <a:lnTo>
                  <a:pt x="620" y="209"/>
                </a:lnTo>
                <a:lnTo>
                  <a:pt x="619" y="209"/>
                </a:lnTo>
                <a:lnTo>
                  <a:pt x="619" y="210"/>
                </a:lnTo>
                <a:lnTo>
                  <a:pt x="618" y="210"/>
                </a:lnTo>
                <a:lnTo>
                  <a:pt x="618" y="209"/>
                </a:lnTo>
                <a:lnTo>
                  <a:pt x="619" y="209"/>
                </a:lnTo>
                <a:lnTo>
                  <a:pt x="620" y="208"/>
                </a:lnTo>
                <a:lnTo>
                  <a:pt x="621" y="208"/>
                </a:lnTo>
                <a:lnTo>
                  <a:pt x="624" y="207"/>
                </a:lnTo>
                <a:lnTo>
                  <a:pt x="625" y="207"/>
                </a:lnTo>
                <a:close/>
                <a:moveTo>
                  <a:pt x="630" y="207"/>
                </a:moveTo>
                <a:lnTo>
                  <a:pt x="628" y="208"/>
                </a:lnTo>
                <a:lnTo>
                  <a:pt x="627" y="208"/>
                </a:lnTo>
                <a:lnTo>
                  <a:pt x="626" y="208"/>
                </a:lnTo>
                <a:lnTo>
                  <a:pt x="626" y="209"/>
                </a:lnTo>
                <a:lnTo>
                  <a:pt x="625" y="208"/>
                </a:lnTo>
                <a:lnTo>
                  <a:pt x="626" y="208"/>
                </a:lnTo>
                <a:lnTo>
                  <a:pt x="627" y="207"/>
                </a:lnTo>
                <a:lnTo>
                  <a:pt x="628" y="207"/>
                </a:lnTo>
                <a:lnTo>
                  <a:pt x="630" y="207"/>
                </a:lnTo>
                <a:close/>
                <a:moveTo>
                  <a:pt x="449" y="207"/>
                </a:moveTo>
                <a:lnTo>
                  <a:pt x="450" y="207"/>
                </a:lnTo>
                <a:lnTo>
                  <a:pt x="451" y="207"/>
                </a:lnTo>
                <a:lnTo>
                  <a:pt x="453" y="207"/>
                </a:lnTo>
                <a:lnTo>
                  <a:pt x="451" y="208"/>
                </a:lnTo>
                <a:lnTo>
                  <a:pt x="450" y="208"/>
                </a:lnTo>
                <a:lnTo>
                  <a:pt x="449" y="208"/>
                </a:lnTo>
                <a:lnTo>
                  <a:pt x="449" y="207"/>
                </a:lnTo>
                <a:close/>
                <a:moveTo>
                  <a:pt x="875" y="204"/>
                </a:moveTo>
                <a:lnTo>
                  <a:pt x="876" y="204"/>
                </a:lnTo>
                <a:lnTo>
                  <a:pt x="876" y="205"/>
                </a:lnTo>
                <a:lnTo>
                  <a:pt x="876" y="207"/>
                </a:lnTo>
                <a:lnTo>
                  <a:pt x="876" y="208"/>
                </a:lnTo>
                <a:lnTo>
                  <a:pt x="875" y="208"/>
                </a:lnTo>
                <a:lnTo>
                  <a:pt x="874" y="208"/>
                </a:lnTo>
                <a:lnTo>
                  <a:pt x="873" y="208"/>
                </a:lnTo>
                <a:lnTo>
                  <a:pt x="874" y="208"/>
                </a:lnTo>
                <a:lnTo>
                  <a:pt x="873" y="208"/>
                </a:lnTo>
                <a:lnTo>
                  <a:pt x="873" y="209"/>
                </a:lnTo>
                <a:lnTo>
                  <a:pt x="870" y="208"/>
                </a:lnTo>
                <a:lnTo>
                  <a:pt x="872" y="208"/>
                </a:lnTo>
                <a:lnTo>
                  <a:pt x="872" y="207"/>
                </a:lnTo>
                <a:lnTo>
                  <a:pt x="873" y="207"/>
                </a:lnTo>
                <a:lnTo>
                  <a:pt x="874" y="205"/>
                </a:lnTo>
                <a:lnTo>
                  <a:pt x="874" y="204"/>
                </a:lnTo>
                <a:lnTo>
                  <a:pt x="875" y="204"/>
                </a:lnTo>
                <a:lnTo>
                  <a:pt x="875" y="203"/>
                </a:lnTo>
                <a:lnTo>
                  <a:pt x="875" y="204"/>
                </a:lnTo>
                <a:close/>
                <a:moveTo>
                  <a:pt x="863" y="203"/>
                </a:moveTo>
                <a:lnTo>
                  <a:pt x="863" y="204"/>
                </a:lnTo>
                <a:lnTo>
                  <a:pt x="862" y="204"/>
                </a:lnTo>
                <a:lnTo>
                  <a:pt x="862" y="205"/>
                </a:lnTo>
                <a:lnTo>
                  <a:pt x="861" y="205"/>
                </a:lnTo>
                <a:lnTo>
                  <a:pt x="861" y="207"/>
                </a:lnTo>
                <a:lnTo>
                  <a:pt x="860" y="207"/>
                </a:lnTo>
                <a:lnTo>
                  <a:pt x="861" y="207"/>
                </a:lnTo>
                <a:lnTo>
                  <a:pt x="862" y="205"/>
                </a:lnTo>
                <a:lnTo>
                  <a:pt x="863" y="205"/>
                </a:lnTo>
                <a:lnTo>
                  <a:pt x="863" y="204"/>
                </a:lnTo>
                <a:lnTo>
                  <a:pt x="865" y="204"/>
                </a:lnTo>
                <a:lnTo>
                  <a:pt x="866" y="204"/>
                </a:lnTo>
                <a:lnTo>
                  <a:pt x="863" y="205"/>
                </a:lnTo>
                <a:lnTo>
                  <a:pt x="863" y="207"/>
                </a:lnTo>
                <a:lnTo>
                  <a:pt x="862" y="208"/>
                </a:lnTo>
                <a:lnTo>
                  <a:pt x="862" y="207"/>
                </a:lnTo>
                <a:lnTo>
                  <a:pt x="861" y="207"/>
                </a:lnTo>
                <a:lnTo>
                  <a:pt x="861" y="208"/>
                </a:lnTo>
                <a:lnTo>
                  <a:pt x="860" y="208"/>
                </a:lnTo>
                <a:lnTo>
                  <a:pt x="860" y="209"/>
                </a:lnTo>
                <a:lnTo>
                  <a:pt x="859" y="209"/>
                </a:lnTo>
                <a:lnTo>
                  <a:pt x="859" y="210"/>
                </a:lnTo>
                <a:lnTo>
                  <a:pt x="858" y="210"/>
                </a:lnTo>
                <a:lnTo>
                  <a:pt x="859" y="210"/>
                </a:lnTo>
                <a:lnTo>
                  <a:pt x="858" y="211"/>
                </a:lnTo>
                <a:lnTo>
                  <a:pt x="858" y="210"/>
                </a:lnTo>
                <a:lnTo>
                  <a:pt x="856" y="210"/>
                </a:lnTo>
                <a:lnTo>
                  <a:pt x="856" y="211"/>
                </a:lnTo>
                <a:lnTo>
                  <a:pt x="855" y="211"/>
                </a:lnTo>
                <a:lnTo>
                  <a:pt x="856" y="211"/>
                </a:lnTo>
                <a:lnTo>
                  <a:pt x="856" y="212"/>
                </a:lnTo>
                <a:lnTo>
                  <a:pt x="855" y="212"/>
                </a:lnTo>
                <a:lnTo>
                  <a:pt x="855" y="214"/>
                </a:lnTo>
                <a:lnTo>
                  <a:pt x="854" y="214"/>
                </a:lnTo>
                <a:lnTo>
                  <a:pt x="854" y="215"/>
                </a:lnTo>
                <a:lnTo>
                  <a:pt x="853" y="215"/>
                </a:lnTo>
                <a:lnTo>
                  <a:pt x="853" y="214"/>
                </a:lnTo>
                <a:lnTo>
                  <a:pt x="854" y="214"/>
                </a:lnTo>
                <a:lnTo>
                  <a:pt x="854" y="212"/>
                </a:lnTo>
                <a:lnTo>
                  <a:pt x="855" y="211"/>
                </a:lnTo>
                <a:lnTo>
                  <a:pt x="854" y="211"/>
                </a:lnTo>
                <a:lnTo>
                  <a:pt x="854" y="212"/>
                </a:lnTo>
                <a:lnTo>
                  <a:pt x="853" y="212"/>
                </a:lnTo>
                <a:lnTo>
                  <a:pt x="853" y="214"/>
                </a:lnTo>
                <a:lnTo>
                  <a:pt x="852" y="214"/>
                </a:lnTo>
                <a:lnTo>
                  <a:pt x="853" y="214"/>
                </a:lnTo>
                <a:lnTo>
                  <a:pt x="852" y="214"/>
                </a:lnTo>
                <a:lnTo>
                  <a:pt x="852" y="215"/>
                </a:lnTo>
                <a:lnTo>
                  <a:pt x="851" y="216"/>
                </a:lnTo>
                <a:lnTo>
                  <a:pt x="851" y="215"/>
                </a:lnTo>
                <a:lnTo>
                  <a:pt x="851" y="214"/>
                </a:lnTo>
                <a:lnTo>
                  <a:pt x="852" y="214"/>
                </a:lnTo>
                <a:lnTo>
                  <a:pt x="852" y="212"/>
                </a:lnTo>
                <a:lnTo>
                  <a:pt x="853" y="211"/>
                </a:lnTo>
                <a:lnTo>
                  <a:pt x="853" y="212"/>
                </a:lnTo>
                <a:lnTo>
                  <a:pt x="853" y="211"/>
                </a:lnTo>
                <a:lnTo>
                  <a:pt x="854" y="211"/>
                </a:lnTo>
                <a:lnTo>
                  <a:pt x="853" y="211"/>
                </a:lnTo>
                <a:lnTo>
                  <a:pt x="853" y="210"/>
                </a:lnTo>
                <a:lnTo>
                  <a:pt x="854" y="210"/>
                </a:lnTo>
                <a:lnTo>
                  <a:pt x="855" y="210"/>
                </a:lnTo>
                <a:lnTo>
                  <a:pt x="855" y="209"/>
                </a:lnTo>
                <a:lnTo>
                  <a:pt x="855" y="210"/>
                </a:lnTo>
                <a:lnTo>
                  <a:pt x="856" y="210"/>
                </a:lnTo>
                <a:lnTo>
                  <a:pt x="858" y="209"/>
                </a:lnTo>
                <a:lnTo>
                  <a:pt x="858" y="208"/>
                </a:lnTo>
                <a:lnTo>
                  <a:pt x="859" y="208"/>
                </a:lnTo>
                <a:lnTo>
                  <a:pt x="858" y="208"/>
                </a:lnTo>
                <a:lnTo>
                  <a:pt x="856" y="209"/>
                </a:lnTo>
                <a:lnTo>
                  <a:pt x="856" y="208"/>
                </a:lnTo>
                <a:lnTo>
                  <a:pt x="855" y="208"/>
                </a:lnTo>
                <a:lnTo>
                  <a:pt x="858" y="207"/>
                </a:lnTo>
                <a:lnTo>
                  <a:pt x="859" y="207"/>
                </a:lnTo>
                <a:lnTo>
                  <a:pt x="860" y="207"/>
                </a:lnTo>
                <a:lnTo>
                  <a:pt x="859" y="207"/>
                </a:lnTo>
                <a:lnTo>
                  <a:pt x="858" y="207"/>
                </a:lnTo>
                <a:lnTo>
                  <a:pt x="859" y="205"/>
                </a:lnTo>
                <a:lnTo>
                  <a:pt x="858" y="205"/>
                </a:lnTo>
                <a:lnTo>
                  <a:pt x="856" y="205"/>
                </a:lnTo>
                <a:lnTo>
                  <a:pt x="858" y="205"/>
                </a:lnTo>
                <a:lnTo>
                  <a:pt x="858" y="204"/>
                </a:lnTo>
                <a:lnTo>
                  <a:pt x="859" y="203"/>
                </a:lnTo>
                <a:lnTo>
                  <a:pt x="859" y="204"/>
                </a:lnTo>
                <a:lnTo>
                  <a:pt x="860" y="204"/>
                </a:lnTo>
                <a:lnTo>
                  <a:pt x="860" y="203"/>
                </a:lnTo>
                <a:lnTo>
                  <a:pt x="861" y="203"/>
                </a:lnTo>
                <a:lnTo>
                  <a:pt x="862" y="203"/>
                </a:lnTo>
                <a:lnTo>
                  <a:pt x="861" y="202"/>
                </a:lnTo>
                <a:lnTo>
                  <a:pt x="862" y="202"/>
                </a:lnTo>
                <a:lnTo>
                  <a:pt x="861" y="202"/>
                </a:lnTo>
                <a:lnTo>
                  <a:pt x="862" y="202"/>
                </a:lnTo>
                <a:lnTo>
                  <a:pt x="863" y="203"/>
                </a:lnTo>
                <a:close/>
                <a:moveTo>
                  <a:pt x="869" y="200"/>
                </a:moveTo>
                <a:lnTo>
                  <a:pt x="870" y="201"/>
                </a:lnTo>
                <a:lnTo>
                  <a:pt x="872" y="201"/>
                </a:lnTo>
                <a:lnTo>
                  <a:pt x="873" y="201"/>
                </a:lnTo>
                <a:lnTo>
                  <a:pt x="873" y="202"/>
                </a:lnTo>
                <a:lnTo>
                  <a:pt x="873" y="201"/>
                </a:lnTo>
                <a:lnTo>
                  <a:pt x="874" y="201"/>
                </a:lnTo>
                <a:lnTo>
                  <a:pt x="875" y="201"/>
                </a:lnTo>
                <a:lnTo>
                  <a:pt x="876" y="201"/>
                </a:lnTo>
                <a:lnTo>
                  <a:pt x="875" y="202"/>
                </a:lnTo>
                <a:lnTo>
                  <a:pt x="876" y="202"/>
                </a:lnTo>
                <a:lnTo>
                  <a:pt x="875" y="203"/>
                </a:lnTo>
                <a:lnTo>
                  <a:pt x="874" y="204"/>
                </a:lnTo>
                <a:lnTo>
                  <a:pt x="873" y="205"/>
                </a:lnTo>
                <a:lnTo>
                  <a:pt x="873" y="207"/>
                </a:lnTo>
                <a:lnTo>
                  <a:pt x="872" y="207"/>
                </a:lnTo>
                <a:lnTo>
                  <a:pt x="870" y="207"/>
                </a:lnTo>
                <a:lnTo>
                  <a:pt x="870" y="205"/>
                </a:lnTo>
                <a:lnTo>
                  <a:pt x="872" y="204"/>
                </a:lnTo>
                <a:lnTo>
                  <a:pt x="870" y="204"/>
                </a:lnTo>
                <a:lnTo>
                  <a:pt x="870" y="203"/>
                </a:lnTo>
                <a:lnTo>
                  <a:pt x="870" y="204"/>
                </a:lnTo>
                <a:lnTo>
                  <a:pt x="869" y="204"/>
                </a:lnTo>
                <a:lnTo>
                  <a:pt x="869" y="205"/>
                </a:lnTo>
                <a:lnTo>
                  <a:pt x="870" y="205"/>
                </a:lnTo>
                <a:lnTo>
                  <a:pt x="870" y="204"/>
                </a:lnTo>
                <a:lnTo>
                  <a:pt x="870" y="205"/>
                </a:lnTo>
                <a:lnTo>
                  <a:pt x="869" y="205"/>
                </a:lnTo>
                <a:lnTo>
                  <a:pt x="869" y="207"/>
                </a:lnTo>
                <a:lnTo>
                  <a:pt x="870" y="207"/>
                </a:lnTo>
                <a:lnTo>
                  <a:pt x="869" y="207"/>
                </a:lnTo>
                <a:lnTo>
                  <a:pt x="870" y="207"/>
                </a:lnTo>
                <a:lnTo>
                  <a:pt x="870" y="208"/>
                </a:lnTo>
                <a:lnTo>
                  <a:pt x="869" y="208"/>
                </a:lnTo>
                <a:lnTo>
                  <a:pt x="868" y="208"/>
                </a:lnTo>
                <a:lnTo>
                  <a:pt x="868" y="209"/>
                </a:lnTo>
                <a:lnTo>
                  <a:pt x="867" y="209"/>
                </a:lnTo>
                <a:lnTo>
                  <a:pt x="866" y="209"/>
                </a:lnTo>
                <a:lnTo>
                  <a:pt x="865" y="209"/>
                </a:lnTo>
                <a:lnTo>
                  <a:pt x="863" y="209"/>
                </a:lnTo>
                <a:lnTo>
                  <a:pt x="862" y="209"/>
                </a:lnTo>
                <a:lnTo>
                  <a:pt x="863" y="208"/>
                </a:lnTo>
                <a:lnTo>
                  <a:pt x="863" y="207"/>
                </a:lnTo>
                <a:lnTo>
                  <a:pt x="865" y="207"/>
                </a:lnTo>
                <a:lnTo>
                  <a:pt x="863" y="207"/>
                </a:lnTo>
                <a:lnTo>
                  <a:pt x="865" y="207"/>
                </a:lnTo>
                <a:lnTo>
                  <a:pt x="865" y="205"/>
                </a:lnTo>
                <a:lnTo>
                  <a:pt x="866" y="204"/>
                </a:lnTo>
                <a:lnTo>
                  <a:pt x="867" y="204"/>
                </a:lnTo>
                <a:lnTo>
                  <a:pt x="867" y="203"/>
                </a:lnTo>
                <a:lnTo>
                  <a:pt x="866" y="203"/>
                </a:lnTo>
                <a:lnTo>
                  <a:pt x="866" y="204"/>
                </a:lnTo>
                <a:lnTo>
                  <a:pt x="866" y="203"/>
                </a:lnTo>
                <a:lnTo>
                  <a:pt x="865" y="203"/>
                </a:lnTo>
                <a:lnTo>
                  <a:pt x="865" y="202"/>
                </a:lnTo>
                <a:lnTo>
                  <a:pt x="866" y="202"/>
                </a:lnTo>
                <a:lnTo>
                  <a:pt x="866" y="203"/>
                </a:lnTo>
                <a:lnTo>
                  <a:pt x="867" y="203"/>
                </a:lnTo>
                <a:lnTo>
                  <a:pt x="867" y="202"/>
                </a:lnTo>
                <a:lnTo>
                  <a:pt x="866" y="202"/>
                </a:lnTo>
                <a:lnTo>
                  <a:pt x="866" y="201"/>
                </a:lnTo>
                <a:lnTo>
                  <a:pt x="866" y="200"/>
                </a:lnTo>
                <a:lnTo>
                  <a:pt x="867" y="200"/>
                </a:lnTo>
                <a:lnTo>
                  <a:pt x="868" y="200"/>
                </a:lnTo>
                <a:lnTo>
                  <a:pt x="869" y="200"/>
                </a:lnTo>
                <a:close/>
                <a:moveTo>
                  <a:pt x="648" y="198"/>
                </a:moveTo>
                <a:lnTo>
                  <a:pt x="647" y="200"/>
                </a:lnTo>
                <a:lnTo>
                  <a:pt x="648" y="198"/>
                </a:lnTo>
                <a:lnTo>
                  <a:pt x="649" y="198"/>
                </a:lnTo>
                <a:lnTo>
                  <a:pt x="650" y="198"/>
                </a:lnTo>
                <a:lnTo>
                  <a:pt x="652" y="198"/>
                </a:lnTo>
                <a:lnTo>
                  <a:pt x="650" y="200"/>
                </a:lnTo>
                <a:lnTo>
                  <a:pt x="649" y="200"/>
                </a:lnTo>
                <a:lnTo>
                  <a:pt x="648" y="200"/>
                </a:lnTo>
                <a:lnTo>
                  <a:pt x="647" y="200"/>
                </a:lnTo>
                <a:lnTo>
                  <a:pt x="646" y="200"/>
                </a:lnTo>
                <a:lnTo>
                  <a:pt x="646" y="201"/>
                </a:lnTo>
                <a:lnTo>
                  <a:pt x="645" y="201"/>
                </a:lnTo>
                <a:lnTo>
                  <a:pt x="643" y="201"/>
                </a:lnTo>
                <a:lnTo>
                  <a:pt x="645" y="201"/>
                </a:lnTo>
                <a:lnTo>
                  <a:pt x="645" y="200"/>
                </a:lnTo>
                <a:lnTo>
                  <a:pt x="646" y="200"/>
                </a:lnTo>
                <a:lnTo>
                  <a:pt x="645" y="200"/>
                </a:lnTo>
                <a:lnTo>
                  <a:pt x="646" y="198"/>
                </a:lnTo>
                <a:lnTo>
                  <a:pt x="647" y="198"/>
                </a:lnTo>
                <a:lnTo>
                  <a:pt x="648" y="198"/>
                </a:lnTo>
                <a:close/>
                <a:moveTo>
                  <a:pt x="455" y="197"/>
                </a:moveTo>
                <a:lnTo>
                  <a:pt x="455" y="198"/>
                </a:lnTo>
                <a:lnTo>
                  <a:pt x="454" y="198"/>
                </a:lnTo>
                <a:lnTo>
                  <a:pt x="453" y="198"/>
                </a:lnTo>
                <a:lnTo>
                  <a:pt x="453" y="200"/>
                </a:lnTo>
                <a:lnTo>
                  <a:pt x="451" y="200"/>
                </a:lnTo>
                <a:lnTo>
                  <a:pt x="453" y="200"/>
                </a:lnTo>
                <a:lnTo>
                  <a:pt x="453" y="198"/>
                </a:lnTo>
                <a:lnTo>
                  <a:pt x="451" y="198"/>
                </a:lnTo>
                <a:lnTo>
                  <a:pt x="453" y="198"/>
                </a:lnTo>
                <a:lnTo>
                  <a:pt x="453" y="197"/>
                </a:lnTo>
                <a:lnTo>
                  <a:pt x="454" y="198"/>
                </a:lnTo>
                <a:lnTo>
                  <a:pt x="454" y="197"/>
                </a:lnTo>
                <a:lnTo>
                  <a:pt x="455" y="197"/>
                </a:lnTo>
                <a:lnTo>
                  <a:pt x="456" y="197"/>
                </a:lnTo>
                <a:lnTo>
                  <a:pt x="455" y="197"/>
                </a:lnTo>
                <a:close/>
                <a:moveTo>
                  <a:pt x="851" y="197"/>
                </a:moveTo>
                <a:lnTo>
                  <a:pt x="849" y="197"/>
                </a:lnTo>
                <a:lnTo>
                  <a:pt x="849" y="198"/>
                </a:lnTo>
                <a:lnTo>
                  <a:pt x="848" y="200"/>
                </a:lnTo>
                <a:lnTo>
                  <a:pt x="847" y="201"/>
                </a:lnTo>
                <a:lnTo>
                  <a:pt x="846" y="201"/>
                </a:lnTo>
                <a:lnTo>
                  <a:pt x="844" y="201"/>
                </a:lnTo>
                <a:lnTo>
                  <a:pt x="845" y="201"/>
                </a:lnTo>
                <a:lnTo>
                  <a:pt x="845" y="200"/>
                </a:lnTo>
                <a:lnTo>
                  <a:pt x="846" y="200"/>
                </a:lnTo>
                <a:lnTo>
                  <a:pt x="847" y="198"/>
                </a:lnTo>
                <a:lnTo>
                  <a:pt x="848" y="198"/>
                </a:lnTo>
                <a:lnTo>
                  <a:pt x="847" y="198"/>
                </a:lnTo>
                <a:lnTo>
                  <a:pt x="847" y="197"/>
                </a:lnTo>
                <a:lnTo>
                  <a:pt x="848" y="197"/>
                </a:lnTo>
                <a:lnTo>
                  <a:pt x="847" y="197"/>
                </a:lnTo>
                <a:lnTo>
                  <a:pt x="848" y="197"/>
                </a:lnTo>
                <a:lnTo>
                  <a:pt x="848" y="196"/>
                </a:lnTo>
                <a:lnTo>
                  <a:pt x="849" y="196"/>
                </a:lnTo>
                <a:lnTo>
                  <a:pt x="851" y="197"/>
                </a:lnTo>
                <a:close/>
                <a:moveTo>
                  <a:pt x="661" y="196"/>
                </a:moveTo>
                <a:lnTo>
                  <a:pt x="661" y="195"/>
                </a:lnTo>
                <a:lnTo>
                  <a:pt x="662" y="195"/>
                </a:lnTo>
                <a:lnTo>
                  <a:pt x="661" y="196"/>
                </a:lnTo>
                <a:close/>
                <a:moveTo>
                  <a:pt x="645" y="195"/>
                </a:moveTo>
                <a:lnTo>
                  <a:pt x="645" y="194"/>
                </a:lnTo>
                <a:lnTo>
                  <a:pt x="646" y="194"/>
                </a:lnTo>
                <a:lnTo>
                  <a:pt x="646" y="193"/>
                </a:lnTo>
                <a:lnTo>
                  <a:pt x="646" y="194"/>
                </a:lnTo>
                <a:lnTo>
                  <a:pt x="645" y="195"/>
                </a:lnTo>
                <a:close/>
                <a:moveTo>
                  <a:pt x="855" y="195"/>
                </a:moveTo>
                <a:lnTo>
                  <a:pt x="856" y="194"/>
                </a:lnTo>
                <a:lnTo>
                  <a:pt x="858" y="194"/>
                </a:lnTo>
                <a:lnTo>
                  <a:pt x="859" y="194"/>
                </a:lnTo>
                <a:lnTo>
                  <a:pt x="858" y="195"/>
                </a:lnTo>
                <a:lnTo>
                  <a:pt x="859" y="195"/>
                </a:lnTo>
                <a:lnTo>
                  <a:pt x="860" y="196"/>
                </a:lnTo>
                <a:lnTo>
                  <a:pt x="859" y="196"/>
                </a:lnTo>
                <a:lnTo>
                  <a:pt x="858" y="196"/>
                </a:lnTo>
                <a:lnTo>
                  <a:pt x="859" y="196"/>
                </a:lnTo>
                <a:lnTo>
                  <a:pt x="859" y="197"/>
                </a:lnTo>
                <a:lnTo>
                  <a:pt x="858" y="197"/>
                </a:lnTo>
                <a:lnTo>
                  <a:pt x="859" y="197"/>
                </a:lnTo>
                <a:lnTo>
                  <a:pt x="859" y="198"/>
                </a:lnTo>
                <a:lnTo>
                  <a:pt x="859" y="197"/>
                </a:lnTo>
                <a:lnTo>
                  <a:pt x="859" y="198"/>
                </a:lnTo>
                <a:lnTo>
                  <a:pt x="858" y="198"/>
                </a:lnTo>
                <a:lnTo>
                  <a:pt x="858" y="200"/>
                </a:lnTo>
                <a:lnTo>
                  <a:pt x="858" y="201"/>
                </a:lnTo>
                <a:lnTo>
                  <a:pt x="856" y="201"/>
                </a:lnTo>
                <a:lnTo>
                  <a:pt x="858" y="201"/>
                </a:lnTo>
                <a:lnTo>
                  <a:pt x="856" y="201"/>
                </a:lnTo>
                <a:lnTo>
                  <a:pt x="856" y="202"/>
                </a:lnTo>
                <a:lnTo>
                  <a:pt x="855" y="203"/>
                </a:lnTo>
                <a:lnTo>
                  <a:pt x="855" y="204"/>
                </a:lnTo>
                <a:lnTo>
                  <a:pt x="854" y="204"/>
                </a:lnTo>
                <a:lnTo>
                  <a:pt x="854" y="205"/>
                </a:lnTo>
                <a:lnTo>
                  <a:pt x="853" y="207"/>
                </a:lnTo>
                <a:lnTo>
                  <a:pt x="852" y="208"/>
                </a:lnTo>
                <a:lnTo>
                  <a:pt x="852" y="207"/>
                </a:lnTo>
                <a:lnTo>
                  <a:pt x="852" y="208"/>
                </a:lnTo>
                <a:lnTo>
                  <a:pt x="851" y="209"/>
                </a:lnTo>
                <a:lnTo>
                  <a:pt x="851" y="210"/>
                </a:lnTo>
                <a:lnTo>
                  <a:pt x="849" y="210"/>
                </a:lnTo>
                <a:lnTo>
                  <a:pt x="848" y="211"/>
                </a:lnTo>
                <a:lnTo>
                  <a:pt x="849" y="211"/>
                </a:lnTo>
                <a:lnTo>
                  <a:pt x="848" y="211"/>
                </a:lnTo>
                <a:lnTo>
                  <a:pt x="847" y="212"/>
                </a:lnTo>
                <a:lnTo>
                  <a:pt x="848" y="211"/>
                </a:lnTo>
                <a:lnTo>
                  <a:pt x="848" y="212"/>
                </a:lnTo>
                <a:lnTo>
                  <a:pt x="847" y="212"/>
                </a:lnTo>
                <a:lnTo>
                  <a:pt x="846" y="214"/>
                </a:lnTo>
                <a:lnTo>
                  <a:pt x="847" y="212"/>
                </a:lnTo>
                <a:lnTo>
                  <a:pt x="846" y="212"/>
                </a:lnTo>
                <a:lnTo>
                  <a:pt x="846" y="211"/>
                </a:lnTo>
                <a:lnTo>
                  <a:pt x="847" y="211"/>
                </a:lnTo>
                <a:lnTo>
                  <a:pt x="846" y="211"/>
                </a:lnTo>
                <a:lnTo>
                  <a:pt x="846" y="210"/>
                </a:lnTo>
                <a:lnTo>
                  <a:pt x="847" y="210"/>
                </a:lnTo>
                <a:lnTo>
                  <a:pt x="847" y="209"/>
                </a:lnTo>
                <a:lnTo>
                  <a:pt x="847" y="208"/>
                </a:lnTo>
                <a:lnTo>
                  <a:pt x="848" y="207"/>
                </a:lnTo>
                <a:lnTo>
                  <a:pt x="849" y="207"/>
                </a:lnTo>
                <a:lnTo>
                  <a:pt x="852" y="205"/>
                </a:lnTo>
                <a:lnTo>
                  <a:pt x="851" y="205"/>
                </a:lnTo>
                <a:lnTo>
                  <a:pt x="849" y="207"/>
                </a:lnTo>
                <a:lnTo>
                  <a:pt x="849" y="205"/>
                </a:lnTo>
                <a:lnTo>
                  <a:pt x="851" y="205"/>
                </a:lnTo>
                <a:lnTo>
                  <a:pt x="849" y="205"/>
                </a:lnTo>
                <a:lnTo>
                  <a:pt x="848" y="207"/>
                </a:lnTo>
                <a:lnTo>
                  <a:pt x="847" y="207"/>
                </a:lnTo>
                <a:lnTo>
                  <a:pt x="848" y="207"/>
                </a:lnTo>
                <a:lnTo>
                  <a:pt x="848" y="205"/>
                </a:lnTo>
                <a:lnTo>
                  <a:pt x="849" y="205"/>
                </a:lnTo>
                <a:lnTo>
                  <a:pt x="851" y="204"/>
                </a:lnTo>
                <a:lnTo>
                  <a:pt x="849" y="204"/>
                </a:lnTo>
                <a:lnTo>
                  <a:pt x="848" y="205"/>
                </a:lnTo>
                <a:lnTo>
                  <a:pt x="847" y="205"/>
                </a:lnTo>
                <a:lnTo>
                  <a:pt x="848" y="205"/>
                </a:lnTo>
                <a:lnTo>
                  <a:pt x="848" y="204"/>
                </a:lnTo>
                <a:lnTo>
                  <a:pt x="849" y="204"/>
                </a:lnTo>
                <a:lnTo>
                  <a:pt x="849" y="203"/>
                </a:lnTo>
                <a:lnTo>
                  <a:pt x="848" y="204"/>
                </a:lnTo>
                <a:lnTo>
                  <a:pt x="847" y="204"/>
                </a:lnTo>
                <a:lnTo>
                  <a:pt x="848" y="204"/>
                </a:lnTo>
                <a:lnTo>
                  <a:pt x="847" y="203"/>
                </a:lnTo>
                <a:lnTo>
                  <a:pt x="848" y="203"/>
                </a:lnTo>
                <a:lnTo>
                  <a:pt x="849" y="202"/>
                </a:lnTo>
                <a:lnTo>
                  <a:pt x="848" y="202"/>
                </a:lnTo>
                <a:lnTo>
                  <a:pt x="849" y="202"/>
                </a:lnTo>
                <a:lnTo>
                  <a:pt x="849" y="201"/>
                </a:lnTo>
                <a:lnTo>
                  <a:pt x="851" y="201"/>
                </a:lnTo>
                <a:lnTo>
                  <a:pt x="852" y="201"/>
                </a:lnTo>
                <a:lnTo>
                  <a:pt x="853" y="201"/>
                </a:lnTo>
                <a:lnTo>
                  <a:pt x="852" y="201"/>
                </a:lnTo>
                <a:lnTo>
                  <a:pt x="851" y="201"/>
                </a:lnTo>
                <a:lnTo>
                  <a:pt x="851" y="200"/>
                </a:lnTo>
                <a:lnTo>
                  <a:pt x="852" y="198"/>
                </a:lnTo>
                <a:lnTo>
                  <a:pt x="853" y="198"/>
                </a:lnTo>
                <a:lnTo>
                  <a:pt x="852" y="198"/>
                </a:lnTo>
                <a:lnTo>
                  <a:pt x="851" y="198"/>
                </a:lnTo>
                <a:lnTo>
                  <a:pt x="852" y="198"/>
                </a:lnTo>
                <a:lnTo>
                  <a:pt x="853" y="197"/>
                </a:lnTo>
                <a:lnTo>
                  <a:pt x="852" y="197"/>
                </a:lnTo>
                <a:lnTo>
                  <a:pt x="851" y="197"/>
                </a:lnTo>
                <a:lnTo>
                  <a:pt x="851" y="196"/>
                </a:lnTo>
                <a:lnTo>
                  <a:pt x="852" y="196"/>
                </a:lnTo>
                <a:lnTo>
                  <a:pt x="853" y="196"/>
                </a:lnTo>
                <a:lnTo>
                  <a:pt x="853" y="195"/>
                </a:lnTo>
                <a:lnTo>
                  <a:pt x="852" y="195"/>
                </a:lnTo>
                <a:lnTo>
                  <a:pt x="853" y="195"/>
                </a:lnTo>
                <a:lnTo>
                  <a:pt x="854" y="195"/>
                </a:lnTo>
                <a:lnTo>
                  <a:pt x="854" y="194"/>
                </a:lnTo>
                <a:lnTo>
                  <a:pt x="855" y="194"/>
                </a:lnTo>
                <a:lnTo>
                  <a:pt x="856" y="193"/>
                </a:lnTo>
                <a:lnTo>
                  <a:pt x="858" y="193"/>
                </a:lnTo>
                <a:lnTo>
                  <a:pt x="858" y="194"/>
                </a:lnTo>
                <a:lnTo>
                  <a:pt x="856" y="194"/>
                </a:lnTo>
                <a:lnTo>
                  <a:pt x="855" y="194"/>
                </a:lnTo>
                <a:lnTo>
                  <a:pt x="855" y="195"/>
                </a:lnTo>
                <a:close/>
                <a:moveTo>
                  <a:pt x="669" y="187"/>
                </a:moveTo>
                <a:lnTo>
                  <a:pt x="669" y="188"/>
                </a:lnTo>
                <a:lnTo>
                  <a:pt x="668" y="188"/>
                </a:lnTo>
                <a:lnTo>
                  <a:pt x="668" y="187"/>
                </a:lnTo>
                <a:lnTo>
                  <a:pt x="669" y="187"/>
                </a:lnTo>
                <a:close/>
                <a:moveTo>
                  <a:pt x="659" y="188"/>
                </a:moveTo>
                <a:lnTo>
                  <a:pt x="659" y="189"/>
                </a:lnTo>
                <a:lnTo>
                  <a:pt x="657" y="189"/>
                </a:lnTo>
                <a:lnTo>
                  <a:pt x="656" y="189"/>
                </a:lnTo>
                <a:lnTo>
                  <a:pt x="657" y="189"/>
                </a:lnTo>
                <a:lnTo>
                  <a:pt x="657" y="188"/>
                </a:lnTo>
                <a:lnTo>
                  <a:pt x="656" y="188"/>
                </a:lnTo>
                <a:lnTo>
                  <a:pt x="656" y="187"/>
                </a:lnTo>
                <a:lnTo>
                  <a:pt x="657" y="187"/>
                </a:lnTo>
                <a:lnTo>
                  <a:pt x="659" y="188"/>
                </a:lnTo>
                <a:close/>
                <a:moveTo>
                  <a:pt x="664" y="187"/>
                </a:moveTo>
                <a:lnTo>
                  <a:pt x="664" y="188"/>
                </a:lnTo>
                <a:lnTo>
                  <a:pt x="664" y="187"/>
                </a:lnTo>
                <a:lnTo>
                  <a:pt x="666" y="187"/>
                </a:lnTo>
                <a:lnTo>
                  <a:pt x="664" y="187"/>
                </a:lnTo>
                <a:close/>
                <a:moveTo>
                  <a:pt x="662" y="187"/>
                </a:moveTo>
                <a:lnTo>
                  <a:pt x="662" y="188"/>
                </a:lnTo>
                <a:lnTo>
                  <a:pt x="662" y="187"/>
                </a:lnTo>
                <a:lnTo>
                  <a:pt x="663" y="187"/>
                </a:lnTo>
                <a:lnTo>
                  <a:pt x="664" y="188"/>
                </a:lnTo>
                <a:lnTo>
                  <a:pt x="663" y="188"/>
                </a:lnTo>
                <a:lnTo>
                  <a:pt x="662" y="188"/>
                </a:lnTo>
                <a:lnTo>
                  <a:pt x="663" y="188"/>
                </a:lnTo>
                <a:lnTo>
                  <a:pt x="662" y="188"/>
                </a:lnTo>
                <a:lnTo>
                  <a:pt x="662" y="189"/>
                </a:lnTo>
                <a:lnTo>
                  <a:pt x="661" y="189"/>
                </a:lnTo>
                <a:lnTo>
                  <a:pt x="661" y="190"/>
                </a:lnTo>
                <a:lnTo>
                  <a:pt x="660" y="190"/>
                </a:lnTo>
                <a:lnTo>
                  <a:pt x="661" y="190"/>
                </a:lnTo>
                <a:lnTo>
                  <a:pt x="661" y="189"/>
                </a:lnTo>
                <a:lnTo>
                  <a:pt x="662" y="189"/>
                </a:lnTo>
                <a:lnTo>
                  <a:pt x="663" y="188"/>
                </a:lnTo>
                <a:lnTo>
                  <a:pt x="663" y="189"/>
                </a:lnTo>
                <a:lnTo>
                  <a:pt x="664" y="189"/>
                </a:lnTo>
                <a:lnTo>
                  <a:pt x="664" y="188"/>
                </a:lnTo>
                <a:lnTo>
                  <a:pt x="666" y="188"/>
                </a:lnTo>
                <a:lnTo>
                  <a:pt x="667" y="187"/>
                </a:lnTo>
                <a:lnTo>
                  <a:pt x="667" y="188"/>
                </a:lnTo>
                <a:lnTo>
                  <a:pt x="668" y="188"/>
                </a:lnTo>
                <a:lnTo>
                  <a:pt x="667" y="189"/>
                </a:lnTo>
                <a:lnTo>
                  <a:pt x="668" y="189"/>
                </a:lnTo>
                <a:lnTo>
                  <a:pt x="667" y="189"/>
                </a:lnTo>
                <a:lnTo>
                  <a:pt x="666" y="190"/>
                </a:lnTo>
                <a:lnTo>
                  <a:pt x="664" y="190"/>
                </a:lnTo>
                <a:lnTo>
                  <a:pt x="663" y="190"/>
                </a:lnTo>
                <a:lnTo>
                  <a:pt x="664" y="190"/>
                </a:lnTo>
                <a:lnTo>
                  <a:pt x="664" y="191"/>
                </a:lnTo>
                <a:lnTo>
                  <a:pt x="663" y="191"/>
                </a:lnTo>
                <a:lnTo>
                  <a:pt x="664" y="191"/>
                </a:lnTo>
                <a:lnTo>
                  <a:pt x="666" y="191"/>
                </a:lnTo>
                <a:lnTo>
                  <a:pt x="664" y="191"/>
                </a:lnTo>
                <a:lnTo>
                  <a:pt x="663" y="191"/>
                </a:lnTo>
                <a:lnTo>
                  <a:pt x="664" y="191"/>
                </a:lnTo>
                <a:lnTo>
                  <a:pt x="667" y="191"/>
                </a:lnTo>
                <a:lnTo>
                  <a:pt x="667" y="193"/>
                </a:lnTo>
                <a:lnTo>
                  <a:pt x="664" y="193"/>
                </a:lnTo>
                <a:lnTo>
                  <a:pt x="664" y="194"/>
                </a:lnTo>
                <a:lnTo>
                  <a:pt x="663" y="194"/>
                </a:lnTo>
                <a:lnTo>
                  <a:pt x="662" y="194"/>
                </a:lnTo>
                <a:lnTo>
                  <a:pt x="662" y="195"/>
                </a:lnTo>
                <a:lnTo>
                  <a:pt x="661" y="195"/>
                </a:lnTo>
                <a:lnTo>
                  <a:pt x="660" y="195"/>
                </a:lnTo>
                <a:lnTo>
                  <a:pt x="661" y="195"/>
                </a:lnTo>
                <a:lnTo>
                  <a:pt x="661" y="194"/>
                </a:lnTo>
                <a:lnTo>
                  <a:pt x="660" y="194"/>
                </a:lnTo>
                <a:lnTo>
                  <a:pt x="660" y="195"/>
                </a:lnTo>
                <a:lnTo>
                  <a:pt x="660" y="194"/>
                </a:lnTo>
                <a:lnTo>
                  <a:pt x="660" y="195"/>
                </a:lnTo>
                <a:lnTo>
                  <a:pt x="660" y="194"/>
                </a:lnTo>
                <a:lnTo>
                  <a:pt x="659" y="194"/>
                </a:lnTo>
                <a:lnTo>
                  <a:pt x="657" y="194"/>
                </a:lnTo>
                <a:lnTo>
                  <a:pt x="656" y="194"/>
                </a:lnTo>
                <a:lnTo>
                  <a:pt x="655" y="194"/>
                </a:lnTo>
                <a:lnTo>
                  <a:pt x="654" y="195"/>
                </a:lnTo>
                <a:lnTo>
                  <a:pt x="655" y="195"/>
                </a:lnTo>
                <a:lnTo>
                  <a:pt x="655" y="194"/>
                </a:lnTo>
                <a:lnTo>
                  <a:pt x="657" y="194"/>
                </a:lnTo>
                <a:lnTo>
                  <a:pt x="657" y="195"/>
                </a:lnTo>
                <a:lnTo>
                  <a:pt x="659" y="195"/>
                </a:lnTo>
                <a:lnTo>
                  <a:pt x="657" y="195"/>
                </a:lnTo>
                <a:lnTo>
                  <a:pt x="659" y="195"/>
                </a:lnTo>
                <a:lnTo>
                  <a:pt x="657" y="196"/>
                </a:lnTo>
                <a:lnTo>
                  <a:pt x="656" y="196"/>
                </a:lnTo>
                <a:lnTo>
                  <a:pt x="655" y="197"/>
                </a:lnTo>
                <a:lnTo>
                  <a:pt x="655" y="196"/>
                </a:lnTo>
                <a:lnTo>
                  <a:pt x="654" y="197"/>
                </a:lnTo>
                <a:lnTo>
                  <a:pt x="654" y="196"/>
                </a:lnTo>
                <a:lnTo>
                  <a:pt x="653" y="196"/>
                </a:lnTo>
                <a:lnTo>
                  <a:pt x="652" y="196"/>
                </a:lnTo>
                <a:lnTo>
                  <a:pt x="650" y="196"/>
                </a:lnTo>
                <a:lnTo>
                  <a:pt x="652" y="196"/>
                </a:lnTo>
                <a:lnTo>
                  <a:pt x="650" y="196"/>
                </a:lnTo>
                <a:lnTo>
                  <a:pt x="650" y="197"/>
                </a:lnTo>
                <a:lnTo>
                  <a:pt x="652" y="197"/>
                </a:lnTo>
                <a:lnTo>
                  <a:pt x="652" y="196"/>
                </a:lnTo>
                <a:lnTo>
                  <a:pt x="652" y="197"/>
                </a:lnTo>
                <a:lnTo>
                  <a:pt x="650" y="197"/>
                </a:lnTo>
                <a:lnTo>
                  <a:pt x="649" y="197"/>
                </a:lnTo>
                <a:lnTo>
                  <a:pt x="648" y="197"/>
                </a:lnTo>
                <a:lnTo>
                  <a:pt x="647" y="197"/>
                </a:lnTo>
                <a:lnTo>
                  <a:pt x="647" y="198"/>
                </a:lnTo>
                <a:lnTo>
                  <a:pt x="646" y="198"/>
                </a:lnTo>
                <a:lnTo>
                  <a:pt x="645" y="198"/>
                </a:lnTo>
                <a:lnTo>
                  <a:pt x="645" y="200"/>
                </a:lnTo>
                <a:lnTo>
                  <a:pt x="645" y="198"/>
                </a:lnTo>
                <a:lnTo>
                  <a:pt x="643" y="198"/>
                </a:lnTo>
                <a:lnTo>
                  <a:pt x="645" y="198"/>
                </a:lnTo>
                <a:lnTo>
                  <a:pt x="643" y="198"/>
                </a:lnTo>
                <a:lnTo>
                  <a:pt x="643" y="200"/>
                </a:lnTo>
                <a:lnTo>
                  <a:pt x="642" y="200"/>
                </a:lnTo>
                <a:lnTo>
                  <a:pt x="640" y="200"/>
                </a:lnTo>
                <a:lnTo>
                  <a:pt x="640" y="201"/>
                </a:lnTo>
                <a:lnTo>
                  <a:pt x="641" y="201"/>
                </a:lnTo>
                <a:lnTo>
                  <a:pt x="640" y="201"/>
                </a:lnTo>
                <a:lnTo>
                  <a:pt x="641" y="201"/>
                </a:lnTo>
                <a:lnTo>
                  <a:pt x="640" y="202"/>
                </a:lnTo>
                <a:lnTo>
                  <a:pt x="639" y="202"/>
                </a:lnTo>
                <a:lnTo>
                  <a:pt x="640" y="202"/>
                </a:lnTo>
                <a:lnTo>
                  <a:pt x="638" y="202"/>
                </a:lnTo>
                <a:lnTo>
                  <a:pt x="638" y="203"/>
                </a:lnTo>
                <a:lnTo>
                  <a:pt x="638" y="202"/>
                </a:lnTo>
                <a:lnTo>
                  <a:pt x="636" y="203"/>
                </a:lnTo>
                <a:lnTo>
                  <a:pt x="638" y="203"/>
                </a:lnTo>
                <a:lnTo>
                  <a:pt x="636" y="203"/>
                </a:lnTo>
                <a:lnTo>
                  <a:pt x="635" y="203"/>
                </a:lnTo>
                <a:lnTo>
                  <a:pt x="635" y="204"/>
                </a:lnTo>
                <a:lnTo>
                  <a:pt x="634" y="204"/>
                </a:lnTo>
                <a:lnTo>
                  <a:pt x="633" y="204"/>
                </a:lnTo>
                <a:lnTo>
                  <a:pt x="632" y="204"/>
                </a:lnTo>
                <a:lnTo>
                  <a:pt x="631" y="204"/>
                </a:lnTo>
                <a:lnTo>
                  <a:pt x="631" y="205"/>
                </a:lnTo>
                <a:lnTo>
                  <a:pt x="631" y="204"/>
                </a:lnTo>
                <a:lnTo>
                  <a:pt x="632" y="204"/>
                </a:lnTo>
                <a:lnTo>
                  <a:pt x="633" y="203"/>
                </a:lnTo>
                <a:lnTo>
                  <a:pt x="634" y="203"/>
                </a:lnTo>
                <a:lnTo>
                  <a:pt x="635" y="203"/>
                </a:lnTo>
                <a:lnTo>
                  <a:pt x="635" y="202"/>
                </a:lnTo>
                <a:lnTo>
                  <a:pt x="636" y="202"/>
                </a:lnTo>
                <a:lnTo>
                  <a:pt x="638" y="202"/>
                </a:lnTo>
                <a:lnTo>
                  <a:pt x="639" y="201"/>
                </a:lnTo>
                <a:lnTo>
                  <a:pt x="638" y="202"/>
                </a:lnTo>
                <a:lnTo>
                  <a:pt x="638" y="201"/>
                </a:lnTo>
                <a:lnTo>
                  <a:pt x="639" y="201"/>
                </a:lnTo>
                <a:lnTo>
                  <a:pt x="638" y="201"/>
                </a:lnTo>
                <a:lnTo>
                  <a:pt x="638" y="202"/>
                </a:lnTo>
                <a:lnTo>
                  <a:pt x="636" y="202"/>
                </a:lnTo>
                <a:lnTo>
                  <a:pt x="635" y="202"/>
                </a:lnTo>
                <a:lnTo>
                  <a:pt x="636" y="201"/>
                </a:lnTo>
                <a:lnTo>
                  <a:pt x="638" y="201"/>
                </a:lnTo>
                <a:lnTo>
                  <a:pt x="638" y="200"/>
                </a:lnTo>
                <a:lnTo>
                  <a:pt x="639" y="200"/>
                </a:lnTo>
                <a:lnTo>
                  <a:pt x="640" y="200"/>
                </a:lnTo>
                <a:lnTo>
                  <a:pt x="641" y="200"/>
                </a:lnTo>
                <a:lnTo>
                  <a:pt x="641" y="198"/>
                </a:lnTo>
                <a:lnTo>
                  <a:pt x="640" y="198"/>
                </a:lnTo>
                <a:lnTo>
                  <a:pt x="640" y="200"/>
                </a:lnTo>
                <a:lnTo>
                  <a:pt x="638" y="200"/>
                </a:lnTo>
                <a:lnTo>
                  <a:pt x="636" y="201"/>
                </a:lnTo>
                <a:lnTo>
                  <a:pt x="635" y="201"/>
                </a:lnTo>
                <a:lnTo>
                  <a:pt x="635" y="202"/>
                </a:lnTo>
                <a:lnTo>
                  <a:pt x="634" y="202"/>
                </a:lnTo>
                <a:lnTo>
                  <a:pt x="634" y="201"/>
                </a:lnTo>
                <a:lnTo>
                  <a:pt x="635" y="201"/>
                </a:lnTo>
                <a:lnTo>
                  <a:pt x="636" y="200"/>
                </a:lnTo>
                <a:lnTo>
                  <a:pt x="639" y="200"/>
                </a:lnTo>
                <a:lnTo>
                  <a:pt x="638" y="200"/>
                </a:lnTo>
                <a:lnTo>
                  <a:pt x="638" y="198"/>
                </a:lnTo>
                <a:lnTo>
                  <a:pt x="636" y="198"/>
                </a:lnTo>
                <a:lnTo>
                  <a:pt x="635" y="198"/>
                </a:lnTo>
                <a:lnTo>
                  <a:pt x="634" y="198"/>
                </a:lnTo>
                <a:lnTo>
                  <a:pt x="634" y="200"/>
                </a:lnTo>
                <a:lnTo>
                  <a:pt x="633" y="200"/>
                </a:lnTo>
                <a:lnTo>
                  <a:pt x="632" y="200"/>
                </a:lnTo>
                <a:lnTo>
                  <a:pt x="632" y="201"/>
                </a:lnTo>
                <a:lnTo>
                  <a:pt x="633" y="201"/>
                </a:lnTo>
                <a:lnTo>
                  <a:pt x="633" y="200"/>
                </a:lnTo>
                <a:lnTo>
                  <a:pt x="634" y="200"/>
                </a:lnTo>
                <a:lnTo>
                  <a:pt x="635" y="200"/>
                </a:lnTo>
                <a:lnTo>
                  <a:pt x="636" y="200"/>
                </a:lnTo>
                <a:lnTo>
                  <a:pt x="635" y="201"/>
                </a:lnTo>
                <a:lnTo>
                  <a:pt x="634" y="201"/>
                </a:lnTo>
                <a:lnTo>
                  <a:pt x="634" y="202"/>
                </a:lnTo>
                <a:lnTo>
                  <a:pt x="633" y="202"/>
                </a:lnTo>
                <a:lnTo>
                  <a:pt x="632" y="202"/>
                </a:lnTo>
                <a:lnTo>
                  <a:pt x="632" y="203"/>
                </a:lnTo>
                <a:lnTo>
                  <a:pt x="632" y="202"/>
                </a:lnTo>
                <a:lnTo>
                  <a:pt x="631" y="203"/>
                </a:lnTo>
                <a:lnTo>
                  <a:pt x="632" y="203"/>
                </a:lnTo>
                <a:lnTo>
                  <a:pt x="632" y="202"/>
                </a:lnTo>
                <a:lnTo>
                  <a:pt x="631" y="203"/>
                </a:lnTo>
                <a:lnTo>
                  <a:pt x="632" y="203"/>
                </a:lnTo>
                <a:lnTo>
                  <a:pt x="631" y="203"/>
                </a:lnTo>
                <a:lnTo>
                  <a:pt x="631" y="202"/>
                </a:lnTo>
                <a:lnTo>
                  <a:pt x="632" y="202"/>
                </a:lnTo>
                <a:lnTo>
                  <a:pt x="631" y="202"/>
                </a:lnTo>
                <a:lnTo>
                  <a:pt x="631" y="201"/>
                </a:lnTo>
                <a:lnTo>
                  <a:pt x="630" y="201"/>
                </a:lnTo>
                <a:lnTo>
                  <a:pt x="631" y="201"/>
                </a:lnTo>
                <a:lnTo>
                  <a:pt x="632" y="200"/>
                </a:lnTo>
                <a:lnTo>
                  <a:pt x="633" y="198"/>
                </a:lnTo>
                <a:lnTo>
                  <a:pt x="633" y="197"/>
                </a:lnTo>
                <a:lnTo>
                  <a:pt x="632" y="197"/>
                </a:lnTo>
                <a:lnTo>
                  <a:pt x="632" y="196"/>
                </a:lnTo>
                <a:lnTo>
                  <a:pt x="633" y="196"/>
                </a:lnTo>
                <a:lnTo>
                  <a:pt x="634" y="195"/>
                </a:lnTo>
                <a:lnTo>
                  <a:pt x="635" y="195"/>
                </a:lnTo>
                <a:lnTo>
                  <a:pt x="635" y="194"/>
                </a:lnTo>
                <a:lnTo>
                  <a:pt x="636" y="194"/>
                </a:lnTo>
                <a:lnTo>
                  <a:pt x="638" y="194"/>
                </a:lnTo>
                <a:lnTo>
                  <a:pt x="638" y="193"/>
                </a:lnTo>
                <a:lnTo>
                  <a:pt x="639" y="193"/>
                </a:lnTo>
                <a:lnTo>
                  <a:pt x="639" y="194"/>
                </a:lnTo>
                <a:lnTo>
                  <a:pt x="639" y="193"/>
                </a:lnTo>
                <a:lnTo>
                  <a:pt x="640" y="193"/>
                </a:lnTo>
                <a:lnTo>
                  <a:pt x="641" y="191"/>
                </a:lnTo>
                <a:lnTo>
                  <a:pt x="642" y="191"/>
                </a:lnTo>
                <a:lnTo>
                  <a:pt x="643" y="191"/>
                </a:lnTo>
                <a:lnTo>
                  <a:pt x="645" y="191"/>
                </a:lnTo>
                <a:lnTo>
                  <a:pt x="646" y="191"/>
                </a:lnTo>
                <a:lnTo>
                  <a:pt x="646" y="193"/>
                </a:lnTo>
                <a:lnTo>
                  <a:pt x="645" y="193"/>
                </a:lnTo>
                <a:lnTo>
                  <a:pt x="643" y="193"/>
                </a:lnTo>
                <a:lnTo>
                  <a:pt x="645" y="193"/>
                </a:lnTo>
                <a:lnTo>
                  <a:pt x="646" y="193"/>
                </a:lnTo>
                <a:lnTo>
                  <a:pt x="645" y="194"/>
                </a:lnTo>
                <a:lnTo>
                  <a:pt x="643" y="195"/>
                </a:lnTo>
                <a:lnTo>
                  <a:pt x="643" y="196"/>
                </a:lnTo>
                <a:lnTo>
                  <a:pt x="645" y="197"/>
                </a:lnTo>
                <a:lnTo>
                  <a:pt x="645" y="196"/>
                </a:lnTo>
                <a:lnTo>
                  <a:pt x="643" y="196"/>
                </a:lnTo>
                <a:lnTo>
                  <a:pt x="645" y="196"/>
                </a:lnTo>
                <a:lnTo>
                  <a:pt x="645" y="195"/>
                </a:lnTo>
                <a:lnTo>
                  <a:pt x="646" y="194"/>
                </a:lnTo>
                <a:lnTo>
                  <a:pt x="647" y="194"/>
                </a:lnTo>
                <a:lnTo>
                  <a:pt x="647" y="193"/>
                </a:lnTo>
                <a:lnTo>
                  <a:pt x="648" y="193"/>
                </a:lnTo>
                <a:lnTo>
                  <a:pt x="647" y="191"/>
                </a:lnTo>
                <a:lnTo>
                  <a:pt x="648" y="191"/>
                </a:lnTo>
                <a:lnTo>
                  <a:pt x="650" y="191"/>
                </a:lnTo>
                <a:lnTo>
                  <a:pt x="649" y="193"/>
                </a:lnTo>
                <a:lnTo>
                  <a:pt x="650" y="193"/>
                </a:lnTo>
                <a:lnTo>
                  <a:pt x="650" y="191"/>
                </a:lnTo>
                <a:lnTo>
                  <a:pt x="649" y="190"/>
                </a:lnTo>
                <a:lnTo>
                  <a:pt x="648" y="190"/>
                </a:lnTo>
                <a:lnTo>
                  <a:pt x="649" y="189"/>
                </a:lnTo>
                <a:lnTo>
                  <a:pt x="650" y="189"/>
                </a:lnTo>
                <a:lnTo>
                  <a:pt x="652" y="188"/>
                </a:lnTo>
                <a:lnTo>
                  <a:pt x="653" y="188"/>
                </a:lnTo>
                <a:lnTo>
                  <a:pt x="654" y="188"/>
                </a:lnTo>
                <a:lnTo>
                  <a:pt x="654" y="189"/>
                </a:lnTo>
                <a:lnTo>
                  <a:pt x="653" y="189"/>
                </a:lnTo>
                <a:lnTo>
                  <a:pt x="653" y="190"/>
                </a:lnTo>
                <a:lnTo>
                  <a:pt x="652" y="191"/>
                </a:lnTo>
                <a:lnTo>
                  <a:pt x="653" y="190"/>
                </a:lnTo>
                <a:lnTo>
                  <a:pt x="654" y="190"/>
                </a:lnTo>
                <a:lnTo>
                  <a:pt x="653" y="190"/>
                </a:lnTo>
                <a:lnTo>
                  <a:pt x="654" y="190"/>
                </a:lnTo>
                <a:lnTo>
                  <a:pt x="654" y="189"/>
                </a:lnTo>
                <a:lnTo>
                  <a:pt x="655" y="189"/>
                </a:lnTo>
                <a:lnTo>
                  <a:pt x="655" y="190"/>
                </a:lnTo>
                <a:lnTo>
                  <a:pt x="654" y="190"/>
                </a:lnTo>
                <a:lnTo>
                  <a:pt x="655" y="190"/>
                </a:lnTo>
                <a:lnTo>
                  <a:pt x="655" y="189"/>
                </a:lnTo>
                <a:lnTo>
                  <a:pt x="656" y="189"/>
                </a:lnTo>
                <a:lnTo>
                  <a:pt x="657" y="189"/>
                </a:lnTo>
                <a:lnTo>
                  <a:pt x="657" y="190"/>
                </a:lnTo>
                <a:lnTo>
                  <a:pt x="656" y="190"/>
                </a:lnTo>
                <a:lnTo>
                  <a:pt x="657" y="190"/>
                </a:lnTo>
                <a:lnTo>
                  <a:pt x="657" y="189"/>
                </a:lnTo>
                <a:lnTo>
                  <a:pt x="659" y="188"/>
                </a:lnTo>
                <a:lnTo>
                  <a:pt x="660" y="188"/>
                </a:lnTo>
                <a:lnTo>
                  <a:pt x="660" y="189"/>
                </a:lnTo>
                <a:lnTo>
                  <a:pt x="660" y="188"/>
                </a:lnTo>
                <a:lnTo>
                  <a:pt x="660" y="187"/>
                </a:lnTo>
                <a:lnTo>
                  <a:pt x="660" y="186"/>
                </a:lnTo>
                <a:lnTo>
                  <a:pt x="660" y="187"/>
                </a:lnTo>
                <a:lnTo>
                  <a:pt x="661" y="187"/>
                </a:lnTo>
                <a:lnTo>
                  <a:pt x="662" y="187"/>
                </a:lnTo>
                <a:close/>
                <a:moveTo>
                  <a:pt x="853" y="186"/>
                </a:moveTo>
                <a:lnTo>
                  <a:pt x="852" y="187"/>
                </a:lnTo>
                <a:lnTo>
                  <a:pt x="851" y="187"/>
                </a:lnTo>
                <a:lnTo>
                  <a:pt x="851" y="188"/>
                </a:lnTo>
                <a:lnTo>
                  <a:pt x="849" y="188"/>
                </a:lnTo>
                <a:lnTo>
                  <a:pt x="848" y="189"/>
                </a:lnTo>
                <a:lnTo>
                  <a:pt x="849" y="188"/>
                </a:lnTo>
                <a:lnTo>
                  <a:pt x="849" y="187"/>
                </a:lnTo>
                <a:lnTo>
                  <a:pt x="849" y="188"/>
                </a:lnTo>
                <a:lnTo>
                  <a:pt x="848" y="188"/>
                </a:lnTo>
                <a:lnTo>
                  <a:pt x="848" y="187"/>
                </a:lnTo>
                <a:lnTo>
                  <a:pt x="849" y="187"/>
                </a:lnTo>
                <a:lnTo>
                  <a:pt x="851" y="187"/>
                </a:lnTo>
                <a:lnTo>
                  <a:pt x="851" y="186"/>
                </a:lnTo>
                <a:lnTo>
                  <a:pt x="849" y="186"/>
                </a:lnTo>
                <a:lnTo>
                  <a:pt x="851" y="186"/>
                </a:lnTo>
                <a:lnTo>
                  <a:pt x="852" y="186"/>
                </a:lnTo>
                <a:lnTo>
                  <a:pt x="852" y="184"/>
                </a:lnTo>
                <a:lnTo>
                  <a:pt x="852" y="186"/>
                </a:lnTo>
                <a:lnTo>
                  <a:pt x="853" y="186"/>
                </a:lnTo>
                <a:close/>
                <a:moveTo>
                  <a:pt x="662" y="184"/>
                </a:moveTo>
                <a:lnTo>
                  <a:pt x="663" y="184"/>
                </a:lnTo>
                <a:lnTo>
                  <a:pt x="663" y="186"/>
                </a:lnTo>
                <a:lnTo>
                  <a:pt x="664" y="187"/>
                </a:lnTo>
                <a:lnTo>
                  <a:pt x="663" y="187"/>
                </a:lnTo>
                <a:lnTo>
                  <a:pt x="662" y="187"/>
                </a:lnTo>
                <a:lnTo>
                  <a:pt x="662" y="186"/>
                </a:lnTo>
                <a:lnTo>
                  <a:pt x="661" y="186"/>
                </a:lnTo>
                <a:lnTo>
                  <a:pt x="660" y="186"/>
                </a:lnTo>
                <a:lnTo>
                  <a:pt x="661" y="184"/>
                </a:lnTo>
                <a:lnTo>
                  <a:pt x="662" y="184"/>
                </a:lnTo>
                <a:close/>
                <a:moveTo>
                  <a:pt x="680" y="183"/>
                </a:moveTo>
                <a:lnTo>
                  <a:pt x="678" y="183"/>
                </a:lnTo>
                <a:lnTo>
                  <a:pt x="680" y="182"/>
                </a:lnTo>
                <a:lnTo>
                  <a:pt x="681" y="182"/>
                </a:lnTo>
                <a:lnTo>
                  <a:pt x="681" y="183"/>
                </a:lnTo>
                <a:lnTo>
                  <a:pt x="680" y="183"/>
                </a:lnTo>
                <a:close/>
                <a:moveTo>
                  <a:pt x="862" y="183"/>
                </a:moveTo>
                <a:lnTo>
                  <a:pt x="863" y="183"/>
                </a:lnTo>
                <a:lnTo>
                  <a:pt x="865" y="183"/>
                </a:lnTo>
                <a:lnTo>
                  <a:pt x="865" y="184"/>
                </a:lnTo>
                <a:lnTo>
                  <a:pt x="863" y="184"/>
                </a:lnTo>
                <a:lnTo>
                  <a:pt x="862" y="184"/>
                </a:lnTo>
                <a:lnTo>
                  <a:pt x="862" y="186"/>
                </a:lnTo>
                <a:lnTo>
                  <a:pt x="861" y="186"/>
                </a:lnTo>
                <a:lnTo>
                  <a:pt x="860" y="186"/>
                </a:lnTo>
                <a:lnTo>
                  <a:pt x="859" y="186"/>
                </a:lnTo>
                <a:lnTo>
                  <a:pt x="860" y="186"/>
                </a:lnTo>
                <a:lnTo>
                  <a:pt x="860" y="187"/>
                </a:lnTo>
                <a:lnTo>
                  <a:pt x="859" y="187"/>
                </a:lnTo>
                <a:lnTo>
                  <a:pt x="858" y="187"/>
                </a:lnTo>
                <a:lnTo>
                  <a:pt x="859" y="187"/>
                </a:lnTo>
                <a:lnTo>
                  <a:pt x="860" y="187"/>
                </a:lnTo>
                <a:lnTo>
                  <a:pt x="859" y="187"/>
                </a:lnTo>
                <a:lnTo>
                  <a:pt x="860" y="187"/>
                </a:lnTo>
                <a:lnTo>
                  <a:pt x="861" y="187"/>
                </a:lnTo>
                <a:lnTo>
                  <a:pt x="862" y="186"/>
                </a:lnTo>
                <a:lnTo>
                  <a:pt x="863" y="186"/>
                </a:lnTo>
                <a:lnTo>
                  <a:pt x="863" y="184"/>
                </a:lnTo>
                <a:lnTo>
                  <a:pt x="865" y="184"/>
                </a:lnTo>
                <a:lnTo>
                  <a:pt x="866" y="184"/>
                </a:lnTo>
                <a:lnTo>
                  <a:pt x="865" y="184"/>
                </a:lnTo>
                <a:lnTo>
                  <a:pt x="866" y="184"/>
                </a:lnTo>
                <a:lnTo>
                  <a:pt x="867" y="184"/>
                </a:lnTo>
                <a:lnTo>
                  <a:pt x="868" y="184"/>
                </a:lnTo>
                <a:lnTo>
                  <a:pt x="868" y="186"/>
                </a:lnTo>
                <a:lnTo>
                  <a:pt x="867" y="186"/>
                </a:lnTo>
                <a:lnTo>
                  <a:pt x="868" y="186"/>
                </a:lnTo>
                <a:lnTo>
                  <a:pt x="868" y="187"/>
                </a:lnTo>
                <a:lnTo>
                  <a:pt x="867" y="188"/>
                </a:lnTo>
                <a:lnTo>
                  <a:pt x="866" y="188"/>
                </a:lnTo>
                <a:lnTo>
                  <a:pt x="866" y="189"/>
                </a:lnTo>
                <a:lnTo>
                  <a:pt x="866" y="188"/>
                </a:lnTo>
                <a:lnTo>
                  <a:pt x="865" y="188"/>
                </a:lnTo>
                <a:lnTo>
                  <a:pt x="865" y="187"/>
                </a:lnTo>
                <a:lnTo>
                  <a:pt x="865" y="188"/>
                </a:lnTo>
                <a:lnTo>
                  <a:pt x="865" y="189"/>
                </a:lnTo>
                <a:lnTo>
                  <a:pt x="866" y="189"/>
                </a:lnTo>
                <a:lnTo>
                  <a:pt x="865" y="189"/>
                </a:lnTo>
                <a:lnTo>
                  <a:pt x="862" y="189"/>
                </a:lnTo>
                <a:lnTo>
                  <a:pt x="861" y="189"/>
                </a:lnTo>
                <a:lnTo>
                  <a:pt x="861" y="188"/>
                </a:lnTo>
                <a:lnTo>
                  <a:pt x="860" y="188"/>
                </a:lnTo>
                <a:lnTo>
                  <a:pt x="859" y="187"/>
                </a:lnTo>
                <a:lnTo>
                  <a:pt x="858" y="187"/>
                </a:lnTo>
                <a:lnTo>
                  <a:pt x="859" y="188"/>
                </a:lnTo>
                <a:lnTo>
                  <a:pt x="860" y="188"/>
                </a:lnTo>
                <a:lnTo>
                  <a:pt x="860" y="189"/>
                </a:lnTo>
                <a:lnTo>
                  <a:pt x="860" y="190"/>
                </a:lnTo>
                <a:lnTo>
                  <a:pt x="861" y="190"/>
                </a:lnTo>
                <a:lnTo>
                  <a:pt x="862" y="190"/>
                </a:lnTo>
                <a:lnTo>
                  <a:pt x="863" y="190"/>
                </a:lnTo>
                <a:lnTo>
                  <a:pt x="865" y="190"/>
                </a:lnTo>
                <a:lnTo>
                  <a:pt x="865" y="191"/>
                </a:lnTo>
                <a:lnTo>
                  <a:pt x="863" y="191"/>
                </a:lnTo>
                <a:lnTo>
                  <a:pt x="863" y="193"/>
                </a:lnTo>
                <a:lnTo>
                  <a:pt x="862" y="193"/>
                </a:lnTo>
                <a:lnTo>
                  <a:pt x="862" y="194"/>
                </a:lnTo>
                <a:lnTo>
                  <a:pt x="861" y="194"/>
                </a:lnTo>
                <a:lnTo>
                  <a:pt x="860" y="194"/>
                </a:lnTo>
                <a:lnTo>
                  <a:pt x="859" y="194"/>
                </a:lnTo>
                <a:lnTo>
                  <a:pt x="858" y="193"/>
                </a:lnTo>
                <a:lnTo>
                  <a:pt x="858" y="191"/>
                </a:lnTo>
                <a:lnTo>
                  <a:pt x="856" y="191"/>
                </a:lnTo>
                <a:lnTo>
                  <a:pt x="856" y="190"/>
                </a:lnTo>
                <a:lnTo>
                  <a:pt x="855" y="190"/>
                </a:lnTo>
                <a:lnTo>
                  <a:pt x="855" y="191"/>
                </a:lnTo>
                <a:lnTo>
                  <a:pt x="854" y="191"/>
                </a:lnTo>
                <a:lnTo>
                  <a:pt x="853" y="191"/>
                </a:lnTo>
                <a:lnTo>
                  <a:pt x="854" y="191"/>
                </a:lnTo>
                <a:lnTo>
                  <a:pt x="855" y="191"/>
                </a:lnTo>
                <a:lnTo>
                  <a:pt x="855" y="193"/>
                </a:lnTo>
                <a:lnTo>
                  <a:pt x="854" y="193"/>
                </a:lnTo>
                <a:lnTo>
                  <a:pt x="855" y="193"/>
                </a:lnTo>
                <a:lnTo>
                  <a:pt x="854" y="193"/>
                </a:lnTo>
                <a:lnTo>
                  <a:pt x="854" y="194"/>
                </a:lnTo>
                <a:lnTo>
                  <a:pt x="853" y="195"/>
                </a:lnTo>
                <a:lnTo>
                  <a:pt x="852" y="195"/>
                </a:lnTo>
                <a:lnTo>
                  <a:pt x="851" y="195"/>
                </a:lnTo>
                <a:lnTo>
                  <a:pt x="851" y="196"/>
                </a:lnTo>
                <a:lnTo>
                  <a:pt x="849" y="195"/>
                </a:lnTo>
                <a:lnTo>
                  <a:pt x="849" y="194"/>
                </a:lnTo>
                <a:lnTo>
                  <a:pt x="851" y="194"/>
                </a:lnTo>
                <a:lnTo>
                  <a:pt x="851" y="195"/>
                </a:lnTo>
                <a:lnTo>
                  <a:pt x="851" y="194"/>
                </a:lnTo>
                <a:lnTo>
                  <a:pt x="849" y="193"/>
                </a:lnTo>
                <a:lnTo>
                  <a:pt x="851" y="191"/>
                </a:lnTo>
                <a:lnTo>
                  <a:pt x="851" y="193"/>
                </a:lnTo>
                <a:lnTo>
                  <a:pt x="851" y="191"/>
                </a:lnTo>
                <a:lnTo>
                  <a:pt x="852" y="191"/>
                </a:lnTo>
                <a:lnTo>
                  <a:pt x="851" y="191"/>
                </a:lnTo>
                <a:lnTo>
                  <a:pt x="849" y="191"/>
                </a:lnTo>
                <a:lnTo>
                  <a:pt x="851" y="191"/>
                </a:lnTo>
                <a:lnTo>
                  <a:pt x="851" y="190"/>
                </a:lnTo>
                <a:lnTo>
                  <a:pt x="851" y="189"/>
                </a:lnTo>
                <a:lnTo>
                  <a:pt x="849" y="189"/>
                </a:lnTo>
                <a:lnTo>
                  <a:pt x="848" y="189"/>
                </a:lnTo>
                <a:lnTo>
                  <a:pt x="849" y="189"/>
                </a:lnTo>
                <a:lnTo>
                  <a:pt x="849" y="188"/>
                </a:lnTo>
                <a:lnTo>
                  <a:pt x="851" y="188"/>
                </a:lnTo>
                <a:lnTo>
                  <a:pt x="851" y="187"/>
                </a:lnTo>
                <a:lnTo>
                  <a:pt x="852" y="187"/>
                </a:lnTo>
                <a:lnTo>
                  <a:pt x="853" y="187"/>
                </a:lnTo>
                <a:lnTo>
                  <a:pt x="853" y="188"/>
                </a:lnTo>
                <a:lnTo>
                  <a:pt x="853" y="189"/>
                </a:lnTo>
                <a:lnTo>
                  <a:pt x="854" y="189"/>
                </a:lnTo>
                <a:lnTo>
                  <a:pt x="854" y="188"/>
                </a:lnTo>
                <a:lnTo>
                  <a:pt x="853" y="188"/>
                </a:lnTo>
                <a:lnTo>
                  <a:pt x="853" y="187"/>
                </a:lnTo>
                <a:lnTo>
                  <a:pt x="853" y="186"/>
                </a:lnTo>
                <a:lnTo>
                  <a:pt x="853" y="184"/>
                </a:lnTo>
                <a:lnTo>
                  <a:pt x="854" y="184"/>
                </a:lnTo>
                <a:lnTo>
                  <a:pt x="855" y="184"/>
                </a:lnTo>
                <a:lnTo>
                  <a:pt x="855" y="183"/>
                </a:lnTo>
                <a:lnTo>
                  <a:pt x="856" y="183"/>
                </a:lnTo>
                <a:lnTo>
                  <a:pt x="855" y="183"/>
                </a:lnTo>
                <a:lnTo>
                  <a:pt x="855" y="184"/>
                </a:lnTo>
                <a:lnTo>
                  <a:pt x="855" y="186"/>
                </a:lnTo>
                <a:lnTo>
                  <a:pt x="855" y="184"/>
                </a:lnTo>
                <a:lnTo>
                  <a:pt x="856" y="184"/>
                </a:lnTo>
                <a:lnTo>
                  <a:pt x="856" y="183"/>
                </a:lnTo>
                <a:lnTo>
                  <a:pt x="858" y="183"/>
                </a:lnTo>
                <a:lnTo>
                  <a:pt x="859" y="183"/>
                </a:lnTo>
                <a:lnTo>
                  <a:pt x="859" y="184"/>
                </a:lnTo>
                <a:lnTo>
                  <a:pt x="859" y="183"/>
                </a:lnTo>
                <a:lnTo>
                  <a:pt x="860" y="183"/>
                </a:lnTo>
                <a:lnTo>
                  <a:pt x="862" y="182"/>
                </a:lnTo>
                <a:lnTo>
                  <a:pt x="862" y="183"/>
                </a:lnTo>
                <a:close/>
                <a:moveTo>
                  <a:pt x="859" y="182"/>
                </a:moveTo>
                <a:lnTo>
                  <a:pt x="860" y="182"/>
                </a:lnTo>
                <a:lnTo>
                  <a:pt x="859" y="182"/>
                </a:lnTo>
                <a:close/>
                <a:moveTo>
                  <a:pt x="670" y="181"/>
                </a:moveTo>
                <a:lnTo>
                  <a:pt x="670" y="182"/>
                </a:lnTo>
                <a:lnTo>
                  <a:pt x="669" y="182"/>
                </a:lnTo>
                <a:lnTo>
                  <a:pt x="669" y="181"/>
                </a:lnTo>
                <a:lnTo>
                  <a:pt x="670" y="181"/>
                </a:lnTo>
                <a:close/>
                <a:moveTo>
                  <a:pt x="879" y="182"/>
                </a:moveTo>
                <a:lnTo>
                  <a:pt x="879" y="183"/>
                </a:lnTo>
                <a:lnTo>
                  <a:pt x="876" y="183"/>
                </a:lnTo>
                <a:lnTo>
                  <a:pt x="875" y="183"/>
                </a:lnTo>
                <a:lnTo>
                  <a:pt x="875" y="182"/>
                </a:lnTo>
                <a:lnTo>
                  <a:pt x="876" y="182"/>
                </a:lnTo>
                <a:lnTo>
                  <a:pt x="876" y="181"/>
                </a:lnTo>
                <a:lnTo>
                  <a:pt x="877" y="181"/>
                </a:lnTo>
                <a:lnTo>
                  <a:pt x="879" y="182"/>
                </a:lnTo>
                <a:close/>
                <a:moveTo>
                  <a:pt x="866" y="181"/>
                </a:moveTo>
                <a:lnTo>
                  <a:pt x="865" y="181"/>
                </a:lnTo>
                <a:lnTo>
                  <a:pt x="866" y="181"/>
                </a:lnTo>
                <a:close/>
                <a:moveTo>
                  <a:pt x="874" y="181"/>
                </a:moveTo>
                <a:lnTo>
                  <a:pt x="874" y="182"/>
                </a:lnTo>
                <a:lnTo>
                  <a:pt x="874" y="183"/>
                </a:lnTo>
                <a:lnTo>
                  <a:pt x="873" y="183"/>
                </a:lnTo>
                <a:lnTo>
                  <a:pt x="874" y="183"/>
                </a:lnTo>
                <a:lnTo>
                  <a:pt x="875" y="183"/>
                </a:lnTo>
                <a:lnTo>
                  <a:pt x="876" y="183"/>
                </a:lnTo>
                <a:lnTo>
                  <a:pt x="876" y="184"/>
                </a:lnTo>
                <a:lnTo>
                  <a:pt x="877" y="184"/>
                </a:lnTo>
                <a:lnTo>
                  <a:pt x="879" y="183"/>
                </a:lnTo>
                <a:lnTo>
                  <a:pt x="879" y="184"/>
                </a:lnTo>
                <a:lnTo>
                  <a:pt x="877" y="186"/>
                </a:lnTo>
                <a:lnTo>
                  <a:pt x="879" y="186"/>
                </a:lnTo>
                <a:lnTo>
                  <a:pt x="877" y="187"/>
                </a:lnTo>
                <a:lnTo>
                  <a:pt x="877" y="188"/>
                </a:lnTo>
                <a:lnTo>
                  <a:pt x="877" y="189"/>
                </a:lnTo>
                <a:lnTo>
                  <a:pt x="876" y="190"/>
                </a:lnTo>
                <a:lnTo>
                  <a:pt x="876" y="191"/>
                </a:lnTo>
                <a:lnTo>
                  <a:pt x="876" y="193"/>
                </a:lnTo>
                <a:lnTo>
                  <a:pt x="875" y="193"/>
                </a:lnTo>
                <a:lnTo>
                  <a:pt x="875" y="191"/>
                </a:lnTo>
                <a:lnTo>
                  <a:pt x="875" y="190"/>
                </a:lnTo>
                <a:lnTo>
                  <a:pt x="876" y="189"/>
                </a:lnTo>
                <a:lnTo>
                  <a:pt x="875" y="189"/>
                </a:lnTo>
                <a:lnTo>
                  <a:pt x="876" y="188"/>
                </a:lnTo>
                <a:lnTo>
                  <a:pt x="876" y="187"/>
                </a:lnTo>
                <a:lnTo>
                  <a:pt x="876" y="186"/>
                </a:lnTo>
                <a:lnTo>
                  <a:pt x="877" y="186"/>
                </a:lnTo>
                <a:lnTo>
                  <a:pt x="877" y="187"/>
                </a:lnTo>
                <a:lnTo>
                  <a:pt x="877" y="186"/>
                </a:lnTo>
                <a:lnTo>
                  <a:pt x="876" y="186"/>
                </a:lnTo>
                <a:lnTo>
                  <a:pt x="876" y="184"/>
                </a:lnTo>
                <a:lnTo>
                  <a:pt x="876" y="186"/>
                </a:lnTo>
                <a:lnTo>
                  <a:pt x="875" y="186"/>
                </a:lnTo>
                <a:lnTo>
                  <a:pt x="876" y="186"/>
                </a:lnTo>
                <a:lnTo>
                  <a:pt x="876" y="187"/>
                </a:lnTo>
                <a:lnTo>
                  <a:pt x="875" y="187"/>
                </a:lnTo>
                <a:lnTo>
                  <a:pt x="874" y="188"/>
                </a:lnTo>
                <a:lnTo>
                  <a:pt x="873" y="189"/>
                </a:lnTo>
                <a:lnTo>
                  <a:pt x="874" y="188"/>
                </a:lnTo>
                <a:lnTo>
                  <a:pt x="874" y="189"/>
                </a:lnTo>
                <a:lnTo>
                  <a:pt x="874" y="190"/>
                </a:lnTo>
                <a:lnTo>
                  <a:pt x="874" y="191"/>
                </a:lnTo>
                <a:lnTo>
                  <a:pt x="873" y="191"/>
                </a:lnTo>
                <a:lnTo>
                  <a:pt x="874" y="191"/>
                </a:lnTo>
                <a:lnTo>
                  <a:pt x="874" y="193"/>
                </a:lnTo>
                <a:lnTo>
                  <a:pt x="873" y="194"/>
                </a:lnTo>
                <a:lnTo>
                  <a:pt x="872" y="194"/>
                </a:lnTo>
                <a:lnTo>
                  <a:pt x="870" y="194"/>
                </a:lnTo>
                <a:lnTo>
                  <a:pt x="872" y="194"/>
                </a:lnTo>
                <a:lnTo>
                  <a:pt x="870" y="194"/>
                </a:lnTo>
                <a:lnTo>
                  <a:pt x="872" y="194"/>
                </a:lnTo>
                <a:lnTo>
                  <a:pt x="872" y="195"/>
                </a:lnTo>
                <a:lnTo>
                  <a:pt x="870" y="195"/>
                </a:lnTo>
                <a:lnTo>
                  <a:pt x="872" y="195"/>
                </a:lnTo>
                <a:lnTo>
                  <a:pt x="873" y="195"/>
                </a:lnTo>
                <a:lnTo>
                  <a:pt x="872" y="195"/>
                </a:lnTo>
                <a:lnTo>
                  <a:pt x="872" y="196"/>
                </a:lnTo>
                <a:lnTo>
                  <a:pt x="870" y="196"/>
                </a:lnTo>
                <a:lnTo>
                  <a:pt x="869" y="196"/>
                </a:lnTo>
                <a:lnTo>
                  <a:pt x="868" y="196"/>
                </a:lnTo>
                <a:lnTo>
                  <a:pt x="869" y="196"/>
                </a:lnTo>
                <a:lnTo>
                  <a:pt x="868" y="195"/>
                </a:lnTo>
                <a:lnTo>
                  <a:pt x="868" y="196"/>
                </a:lnTo>
                <a:lnTo>
                  <a:pt x="868" y="197"/>
                </a:lnTo>
                <a:lnTo>
                  <a:pt x="867" y="197"/>
                </a:lnTo>
                <a:lnTo>
                  <a:pt x="866" y="198"/>
                </a:lnTo>
                <a:lnTo>
                  <a:pt x="865" y="198"/>
                </a:lnTo>
                <a:lnTo>
                  <a:pt x="863" y="198"/>
                </a:lnTo>
                <a:lnTo>
                  <a:pt x="863" y="200"/>
                </a:lnTo>
                <a:lnTo>
                  <a:pt x="862" y="200"/>
                </a:lnTo>
                <a:lnTo>
                  <a:pt x="861" y="200"/>
                </a:lnTo>
                <a:lnTo>
                  <a:pt x="860" y="201"/>
                </a:lnTo>
                <a:lnTo>
                  <a:pt x="859" y="201"/>
                </a:lnTo>
                <a:lnTo>
                  <a:pt x="859" y="200"/>
                </a:lnTo>
                <a:lnTo>
                  <a:pt x="860" y="200"/>
                </a:lnTo>
                <a:lnTo>
                  <a:pt x="860" y="198"/>
                </a:lnTo>
                <a:lnTo>
                  <a:pt x="861" y="198"/>
                </a:lnTo>
                <a:lnTo>
                  <a:pt x="860" y="198"/>
                </a:lnTo>
                <a:lnTo>
                  <a:pt x="861" y="198"/>
                </a:lnTo>
                <a:lnTo>
                  <a:pt x="861" y="197"/>
                </a:lnTo>
                <a:lnTo>
                  <a:pt x="862" y="198"/>
                </a:lnTo>
                <a:lnTo>
                  <a:pt x="862" y="197"/>
                </a:lnTo>
                <a:lnTo>
                  <a:pt x="863" y="196"/>
                </a:lnTo>
                <a:lnTo>
                  <a:pt x="865" y="196"/>
                </a:lnTo>
                <a:lnTo>
                  <a:pt x="863" y="196"/>
                </a:lnTo>
                <a:lnTo>
                  <a:pt x="863" y="195"/>
                </a:lnTo>
                <a:lnTo>
                  <a:pt x="865" y="195"/>
                </a:lnTo>
                <a:lnTo>
                  <a:pt x="866" y="196"/>
                </a:lnTo>
                <a:lnTo>
                  <a:pt x="866" y="195"/>
                </a:lnTo>
                <a:lnTo>
                  <a:pt x="867" y="195"/>
                </a:lnTo>
                <a:lnTo>
                  <a:pt x="866" y="195"/>
                </a:lnTo>
                <a:lnTo>
                  <a:pt x="866" y="194"/>
                </a:lnTo>
                <a:lnTo>
                  <a:pt x="867" y="194"/>
                </a:lnTo>
                <a:lnTo>
                  <a:pt x="868" y="194"/>
                </a:lnTo>
                <a:lnTo>
                  <a:pt x="868" y="193"/>
                </a:lnTo>
                <a:lnTo>
                  <a:pt x="867" y="193"/>
                </a:lnTo>
                <a:lnTo>
                  <a:pt x="866" y="194"/>
                </a:lnTo>
                <a:lnTo>
                  <a:pt x="866" y="193"/>
                </a:lnTo>
                <a:lnTo>
                  <a:pt x="866" y="191"/>
                </a:lnTo>
                <a:lnTo>
                  <a:pt x="867" y="191"/>
                </a:lnTo>
                <a:lnTo>
                  <a:pt x="867" y="190"/>
                </a:lnTo>
                <a:lnTo>
                  <a:pt x="868" y="190"/>
                </a:lnTo>
                <a:lnTo>
                  <a:pt x="868" y="189"/>
                </a:lnTo>
                <a:lnTo>
                  <a:pt x="869" y="188"/>
                </a:lnTo>
                <a:lnTo>
                  <a:pt x="869" y="187"/>
                </a:lnTo>
                <a:lnTo>
                  <a:pt x="870" y="187"/>
                </a:lnTo>
                <a:lnTo>
                  <a:pt x="870" y="186"/>
                </a:lnTo>
                <a:lnTo>
                  <a:pt x="872" y="184"/>
                </a:lnTo>
                <a:lnTo>
                  <a:pt x="873" y="184"/>
                </a:lnTo>
                <a:lnTo>
                  <a:pt x="873" y="183"/>
                </a:lnTo>
                <a:lnTo>
                  <a:pt x="873" y="184"/>
                </a:lnTo>
                <a:lnTo>
                  <a:pt x="872" y="184"/>
                </a:lnTo>
                <a:lnTo>
                  <a:pt x="872" y="183"/>
                </a:lnTo>
                <a:lnTo>
                  <a:pt x="873" y="182"/>
                </a:lnTo>
                <a:lnTo>
                  <a:pt x="872" y="182"/>
                </a:lnTo>
                <a:lnTo>
                  <a:pt x="873" y="181"/>
                </a:lnTo>
                <a:lnTo>
                  <a:pt x="874" y="181"/>
                </a:lnTo>
                <a:lnTo>
                  <a:pt x="874" y="180"/>
                </a:lnTo>
                <a:lnTo>
                  <a:pt x="874" y="181"/>
                </a:lnTo>
                <a:close/>
                <a:moveTo>
                  <a:pt x="675" y="180"/>
                </a:moveTo>
                <a:lnTo>
                  <a:pt x="676" y="180"/>
                </a:lnTo>
                <a:lnTo>
                  <a:pt x="675" y="180"/>
                </a:lnTo>
                <a:lnTo>
                  <a:pt x="676" y="180"/>
                </a:lnTo>
                <a:lnTo>
                  <a:pt x="676" y="181"/>
                </a:lnTo>
                <a:lnTo>
                  <a:pt x="675" y="181"/>
                </a:lnTo>
                <a:lnTo>
                  <a:pt x="676" y="181"/>
                </a:lnTo>
                <a:lnTo>
                  <a:pt x="675" y="182"/>
                </a:lnTo>
                <a:lnTo>
                  <a:pt x="675" y="181"/>
                </a:lnTo>
                <a:lnTo>
                  <a:pt x="676" y="181"/>
                </a:lnTo>
                <a:lnTo>
                  <a:pt x="677" y="181"/>
                </a:lnTo>
                <a:lnTo>
                  <a:pt x="677" y="180"/>
                </a:lnTo>
                <a:lnTo>
                  <a:pt x="678" y="180"/>
                </a:lnTo>
                <a:lnTo>
                  <a:pt x="678" y="181"/>
                </a:lnTo>
                <a:lnTo>
                  <a:pt x="677" y="181"/>
                </a:lnTo>
                <a:lnTo>
                  <a:pt x="678" y="181"/>
                </a:lnTo>
                <a:lnTo>
                  <a:pt x="677" y="181"/>
                </a:lnTo>
                <a:lnTo>
                  <a:pt x="678" y="181"/>
                </a:lnTo>
                <a:lnTo>
                  <a:pt x="680" y="181"/>
                </a:lnTo>
                <a:lnTo>
                  <a:pt x="677" y="182"/>
                </a:lnTo>
                <a:lnTo>
                  <a:pt x="676" y="183"/>
                </a:lnTo>
                <a:lnTo>
                  <a:pt x="677" y="183"/>
                </a:lnTo>
                <a:lnTo>
                  <a:pt x="677" y="182"/>
                </a:lnTo>
                <a:lnTo>
                  <a:pt x="678" y="182"/>
                </a:lnTo>
                <a:lnTo>
                  <a:pt x="680" y="181"/>
                </a:lnTo>
                <a:lnTo>
                  <a:pt x="680" y="182"/>
                </a:lnTo>
                <a:lnTo>
                  <a:pt x="678" y="182"/>
                </a:lnTo>
                <a:lnTo>
                  <a:pt x="678" y="183"/>
                </a:lnTo>
                <a:lnTo>
                  <a:pt x="677" y="183"/>
                </a:lnTo>
                <a:lnTo>
                  <a:pt x="676" y="183"/>
                </a:lnTo>
                <a:lnTo>
                  <a:pt x="676" y="184"/>
                </a:lnTo>
                <a:lnTo>
                  <a:pt x="675" y="183"/>
                </a:lnTo>
                <a:lnTo>
                  <a:pt x="676" y="182"/>
                </a:lnTo>
                <a:lnTo>
                  <a:pt x="675" y="182"/>
                </a:lnTo>
                <a:lnTo>
                  <a:pt x="675" y="183"/>
                </a:lnTo>
                <a:lnTo>
                  <a:pt x="674" y="183"/>
                </a:lnTo>
                <a:lnTo>
                  <a:pt x="675" y="183"/>
                </a:lnTo>
                <a:lnTo>
                  <a:pt x="674" y="183"/>
                </a:lnTo>
                <a:lnTo>
                  <a:pt x="674" y="184"/>
                </a:lnTo>
                <a:lnTo>
                  <a:pt x="673" y="184"/>
                </a:lnTo>
                <a:lnTo>
                  <a:pt x="671" y="184"/>
                </a:lnTo>
                <a:lnTo>
                  <a:pt x="670" y="184"/>
                </a:lnTo>
                <a:lnTo>
                  <a:pt x="669" y="186"/>
                </a:lnTo>
                <a:lnTo>
                  <a:pt x="670" y="184"/>
                </a:lnTo>
                <a:lnTo>
                  <a:pt x="671" y="183"/>
                </a:lnTo>
                <a:lnTo>
                  <a:pt x="670" y="183"/>
                </a:lnTo>
                <a:lnTo>
                  <a:pt x="670" y="184"/>
                </a:lnTo>
                <a:lnTo>
                  <a:pt x="669" y="184"/>
                </a:lnTo>
                <a:lnTo>
                  <a:pt x="669" y="186"/>
                </a:lnTo>
                <a:lnTo>
                  <a:pt x="668" y="186"/>
                </a:lnTo>
                <a:lnTo>
                  <a:pt x="667" y="186"/>
                </a:lnTo>
                <a:lnTo>
                  <a:pt x="666" y="186"/>
                </a:lnTo>
                <a:lnTo>
                  <a:pt x="666" y="187"/>
                </a:lnTo>
                <a:lnTo>
                  <a:pt x="664" y="186"/>
                </a:lnTo>
                <a:lnTo>
                  <a:pt x="663" y="186"/>
                </a:lnTo>
                <a:lnTo>
                  <a:pt x="664" y="184"/>
                </a:lnTo>
                <a:lnTo>
                  <a:pt x="663" y="184"/>
                </a:lnTo>
                <a:lnTo>
                  <a:pt x="663" y="183"/>
                </a:lnTo>
                <a:lnTo>
                  <a:pt x="664" y="183"/>
                </a:lnTo>
                <a:lnTo>
                  <a:pt x="666" y="183"/>
                </a:lnTo>
                <a:lnTo>
                  <a:pt x="667" y="183"/>
                </a:lnTo>
                <a:lnTo>
                  <a:pt x="666" y="183"/>
                </a:lnTo>
                <a:lnTo>
                  <a:pt x="666" y="182"/>
                </a:lnTo>
                <a:lnTo>
                  <a:pt x="667" y="182"/>
                </a:lnTo>
                <a:lnTo>
                  <a:pt x="668" y="182"/>
                </a:lnTo>
                <a:lnTo>
                  <a:pt x="669" y="182"/>
                </a:lnTo>
                <a:lnTo>
                  <a:pt x="670" y="182"/>
                </a:lnTo>
                <a:lnTo>
                  <a:pt x="671" y="181"/>
                </a:lnTo>
                <a:lnTo>
                  <a:pt x="671" y="180"/>
                </a:lnTo>
                <a:lnTo>
                  <a:pt x="673" y="180"/>
                </a:lnTo>
                <a:lnTo>
                  <a:pt x="674" y="180"/>
                </a:lnTo>
                <a:lnTo>
                  <a:pt x="675" y="180"/>
                </a:lnTo>
                <a:close/>
                <a:moveTo>
                  <a:pt x="676" y="180"/>
                </a:moveTo>
                <a:lnTo>
                  <a:pt x="675" y="179"/>
                </a:lnTo>
                <a:lnTo>
                  <a:pt x="676" y="179"/>
                </a:lnTo>
                <a:lnTo>
                  <a:pt x="677" y="179"/>
                </a:lnTo>
                <a:lnTo>
                  <a:pt x="677" y="177"/>
                </a:lnTo>
                <a:lnTo>
                  <a:pt x="678" y="177"/>
                </a:lnTo>
                <a:lnTo>
                  <a:pt x="680" y="177"/>
                </a:lnTo>
                <a:lnTo>
                  <a:pt x="681" y="177"/>
                </a:lnTo>
                <a:lnTo>
                  <a:pt x="680" y="177"/>
                </a:lnTo>
                <a:lnTo>
                  <a:pt x="680" y="179"/>
                </a:lnTo>
                <a:lnTo>
                  <a:pt x="677" y="179"/>
                </a:lnTo>
                <a:lnTo>
                  <a:pt x="676" y="180"/>
                </a:lnTo>
                <a:close/>
                <a:moveTo>
                  <a:pt x="591" y="177"/>
                </a:moveTo>
                <a:lnTo>
                  <a:pt x="591" y="176"/>
                </a:lnTo>
                <a:lnTo>
                  <a:pt x="592" y="176"/>
                </a:lnTo>
                <a:lnTo>
                  <a:pt x="592" y="175"/>
                </a:lnTo>
                <a:lnTo>
                  <a:pt x="592" y="176"/>
                </a:lnTo>
                <a:lnTo>
                  <a:pt x="591" y="176"/>
                </a:lnTo>
                <a:lnTo>
                  <a:pt x="591" y="177"/>
                </a:lnTo>
                <a:close/>
                <a:moveTo>
                  <a:pt x="590" y="176"/>
                </a:moveTo>
                <a:lnTo>
                  <a:pt x="591" y="176"/>
                </a:lnTo>
                <a:lnTo>
                  <a:pt x="591" y="175"/>
                </a:lnTo>
                <a:lnTo>
                  <a:pt x="591" y="176"/>
                </a:lnTo>
                <a:lnTo>
                  <a:pt x="590" y="176"/>
                </a:lnTo>
                <a:close/>
                <a:moveTo>
                  <a:pt x="585" y="176"/>
                </a:moveTo>
                <a:lnTo>
                  <a:pt x="584" y="177"/>
                </a:lnTo>
                <a:lnTo>
                  <a:pt x="583" y="177"/>
                </a:lnTo>
                <a:lnTo>
                  <a:pt x="582" y="179"/>
                </a:lnTo>
                <a:lnTo>
                  <a:pt x="581" y="179"/>
                </a:lnTo>
                <a:lnTo>
                  <a:pt x="581" y="177"/>
                </a:lnTo>
                <a:lnTo>
                  <a:pt x="582" y="177"/>
                </a:lnTo>
                <a:lnTo>
                  <a:pt x="582" y="176"/>
                </a:lnTo>
                <a:lnTo>
                  <a:pt x="582" y="177"/>
                </a:lnTo>
                <a:lnTo>
                  <a:pt x="583" y="176"/>
                </a:lnTo>
                <a:lnTo>
                  <a:pt x="584" y="176"/>
                </a:lnTo>
                <a:lnTo>
                  <a:pt x="585" y="175"/>
                </a:lnTo>
                <a:lnTo>
                  <a:pt x="586" y="175"/>
                </a:lnTo>
                <a:lnTo>
                  <a:pt x="588" y="175"/>
                </a:lnTo>
                <a:lnTo>
                  <a:pt x="589" y="175"/>
                </a:lnTo>
                <a:lnTo>
                  <a:pt x="589" y="174"/>
                </a:lnTo>
                <a:lnTo>
                  <a:pt x="590" y="174"/>
                </a:lnTo>
                <a:lnTo>
                  <a:pt x="589" y="175"/>
                </a:lnTo>
                <a:lnTo>
                  <a:pt x="586" y="176"/>
                </a:lnTo>
                <a:lnTo>
                  <a:pt x="585" y="176"/>
                </a:lnTo>
                <a:close/>
                <a:moveTo>
                  <a:pt x="689" y="173"/>
                </a:moveTo>
                <a:lnTo>
                  <a:pt x="688" y="173"/>
                </a:lnTo>
                <a:lnTo>
                  <a:pt x="689" y="173"/>
                </a:lnTo>
                <a:close/>
                <a:moveTo>
                  <a:pt x="687" y="173"/>
                </a:moveTo>
                <a:lnTo>
                  <a:pt x="688" y="173"/>
                </a:lnTo>
                <a:lnTo>
                  <a:pt x="687" y="173"/>
                </a:lnTo>
                <a:lnTo>
                  <a:pt x="685" y="173"/>
                </a:lnTo>
                <a:lnTo>
                  <a:pt x="687" y="172"/>
                </a:lnTo>
                <a:lnTo>
                  <a:pt x="687" y="173"/>
                </a:lnTo>
                <a:close/>
                <a:moveTo>
                  <a:pt x="696" y="170"/>
                </a:moveTo>
                <a:lnTo>
                  <a:pt x="695" y="170"/>
                </a:lnTo>
                <a:lnTo>
                  <a:pt x="696" y="170"/>
                </a:lnTo>
                <a:lnTo>
                  <a:pt x="696" y="169"/>
                </a:lnTo>
                <a:lnTo>
                  <a:pt x="696" y="170"/>
                </a:lnTo>
                <a:close/>
                <a:moveTo>
                  <a:pt x="698" y="170"/>
                </a:moveTo>
                <a:lnTo>
                  <a:pt x="698" y="169"/>
                </a:lnTo>
                <a:lnTo>
                  <a:pt x="698" y="170"/>
                </a:lnTo>
                <a:close/>
                <a:moveTo>
                  <a:pt x="695" y="169"/>
                </a:moveTo>
                <a:lnTo>
                  <a:pt x="694" y="169"/>
                </a:lnTo>
                <a:lnTo>
                  <a:pt x="695" y="169"/>
                </a:lnTo>
                <a:close/>
                <a:moveTo>
                  <a:pt x="710" y="167"/>
                </a:moveTo>
                <a:lnTo>
                  <a:pt x="709" y="167"/>
                </a:lnTo>
                <a:lnTo>
                  <a:pt x="710" y="167"/>
                </a:lnTo>
                <a:lnTo>
                  <a:pt x="710" y="166"/>
                </a:lnTo>
                <a:lnTo>
                  <a:pt x="711" y="166"/>
                </a:lnTo>
                <a:lnTo>
                  <a:pt x="712" y="166"/>
                </a:lnTo>
                <a:lnTo>
                  <a:pt x="711" y="167"/>
                </a:lnTo>
                <a:lnTo>
                  <a:pt x="710" y="167"/>
                </a:lnTo>
                <a:close/>
                <a:moveTo>
                  <a:pt x="680" y="167"/>
                </a:moveTo>
                <a:lnTo>
                  <a:pt x="678" y="167"/>
                </a:lnTo>
                <a:lnTo>
                  <a:pt x="678" y="166"/>
                </a:lnTo>
                <a:lnTo>
                  <a:pt x="680" y="166"/>
                </a:lnTo>
                <a:lnTo>
                  <a:pt x="681" y="166"/>
                </a:lnTo>
                <a:lnTo>
                  <a:pt x="681" y="167"/>
                </a:lnTo>
                <a:lnTo>
                  <a:pt x="680" y="167"/>
                </a:lnTo>
                <a:close/>
                <a:moveTo>
                  <a:pt x="760" y="166"/>
                </a:moveTo>
                <a:lnTo>
                  <a:pt x="761" y="165"/>
                </a:lnTo>
                <a:lnTo>
                  <a:pt x="761" y="166"/>
                </a:lnTo>
                <a:lnTo>
                  <a:pt x="760" y="166"/>
                </a:lnTo>
                <a:close/>
                <a:moveTo>
                  <a:pt x="717" y="165"/>
                </a:moveTo>
                <a:lnTo>
                  <a:pt x="716" y="166"/>
                </a:lnTo>
                <a:lnTo>
                  <a:pt x="714" y="166"/>
                </a:lnTo>
                <a:lnTo>
                  <a:pt x="716" y="165"/>
                </a:lnTo>
                <a:lnTo>
                  <a:pt x="717" y="165"/>
                </a:lnTo>
                <a:close/>
                <a:moveTo>
                  <a:pt x="787" y="160"/>
                </a:moveTo>
                <a:lnTo>
                  <a:pt x="785" y="160"/>
                </a:lnTo>
                <a:lnTo>
                  <a:pt x="788" y="159"/>
                </a:lnTo>
                <a:lnTo>
                  <a:pt x="789" y="158"/>
                </a:lnTo>
                <a:lnTo>
                  <a:pt x="790" y="158"/>
                </a:lnTo>
                <a:lnTo>
                  <a:pt x="791" y="158"/>
                </a:lnTo>
                <a:lnTo>
                  <a:pt x="792" y="156"/>
                </a:lnTo>
                <a:lnTo>
                  <a:pt x="794" y="156"/>
                </a:lnTo>
                <a:lnTo>
                  <a:pt x="794" y="158"/>
                </a:lnTo>
                <a:lnTo>
                  <a:pt x="792" y="158"/>
                </a:lnTo>
                <a:lnTo>
                  <a:pt x="790" y="158"/>
                </a:lnTo>
                <a:lnTo>
                  <a:pt x="790" y="159"/>
                </a:lnTo>
                <a:lnTo>
                  <a:pt x="789" y="159"/>
                </a:lnTo>
                <a:lnTo>
                  <a:pt x="787" y="160"/>
                </a:lnTo>
                <a:close/>
                <a:moveTo>
                  <a:pt x="752" y="156"/>
                </a:moveTo>
                <a:lnTo>
                  <a:pt x="749" y="158"/>
                </a:lnTo>
                <a:lnTo>
                  <a:pt x="748" y="158"/>
                </a:lnTo>
                <a:lnTo>
                  <a:pt x="747" y="158"/>
                </a:lnTo>
                <a:lnTo>
                  <a:pt x="748" y="158"/>
                </a:lnTo>
                <a:lnTo>
                  <a:pt x="749" y="158"/>
                </a:lnTo>
                <a:lnTo>
                  <a:pt x="751" y="156"/>
                </a:lnTo>
                <a:lnTo>
                  <a:pt x="752" y="156"/>
                </a:lnTo>
                <a:close/>
                <a:moveTo>
                  <a:pt x="751" y="158"/>
                </a:moveTo>
                <a:lnTo>
                  <a:pt x="749" y="158"/>
                </a:lnTo>
                <a:lnTo>
                  <a:pt x="751" y="158"/>
                </a:lnTo>
                <a:lnTo>
                  <a:pt x="752" y="156"/>
                </a:lnTo>
                <a:lnTo>
                  <a:pt x="753" y="156"/>
                </a:lnTo>
                <a:lnTo>
                  <a:pt x="754" y="156"/>
                </a:lnTo>
                <a:lnTo>
                  <a:pt x="753" y="156"/>
                </a:lnTo>
                <a:lnTo>
                  <a:pt x="752" y="158"/>
                </a:lnTo>
                <a:lnTo>
                  <a:pt x="751" y="158"/>
                </a:lnTo>
                <a:close/>
                <a:moveTo>
                  <a:pt x="753" y="155"/>
                </a:moveTo>
                <a:lnTo>
                  <a:pt x="754" y="155"/>
                </a:lnTo>
                <a:lnTo>
                  <a:pt x="753" y="155"/>
                </a:lnTo>
                <a:lnTo>
                  <a:pt x="753" y="156"/>
                </a:lnTo>
                <a:lnTo>
                  <a:pt x="752" y="156"/>
                </a:lnTo>
                <a:lnTo>
                  <a:pt x="751" y="156"/>
                </a:lnTo>
                <a:lnTo>
                  <a:pt x="752" y="156"/>
                </a:lnTo>
                <a:lnTo>
                  <a:pt x="751" y="156"/>
                </a:lnTo>
                <a:lnTo>
                  <a:pt x="749" y="158"/>
                </a:lnTo>
                <a:lnTo>
                  <a:pt x="749" y="156"/>
                </a:lnTo>
                <a:lnTo>
                  <a:pt x="751" y="156"/>
                </a:lnTo>
                <a:lnTo>
                  <a:pt x="752" y="156"/>
                </a:lnTo>
                <a:lnTo>
                  <a:pt x="752" y="155"/>
                </a:lnTo>
                <a:lnTo>
                  <a:pt x="753" y="155"/>
                </a:lnTo>
                <a:lnTo>
                  <a:pt x="754" y="155"/>
                </a:lnTo>
                <a:lnTo>
                  <a:pt x="753" y="155"/>
                </a:lnTo>
                <a:close/>
                <a:moveTo>
                  <a:pt x="702" y="155"/>
                </a:moveTo>
                <a:lnTo>
                  <a:pt x="702" y="154"/>
                </a:lnTo>
                <a:lnTo>
                  <a:pt x="703" y="154"/>
                </a:lnTo>
                <a:lnTo>
                  <a:pt x="703" y="155"/>
                </a:lnTo>
                <a:lnTo>
                  <a:pt x="702" y="155"/>
                </a:lnTo>
                <a:close/>
                <a:moveTo>
                  <a:pt x="752" y="155"/>
                </a:moveTo>
                <a:lnTo>
                  <a:pt x="751" y="156"/>
                </a:lnTo>
                <a:lnTo>
                  <a:pt x="749" y="156"/>
                </a:lnTo>
                <a:lnTo>
                  <a:pt x="748" y="156"/>
                </a:lnTo>
                <a:lnTo>
                  <a:pt x="749" y="156"/>
                </a:lnTo>
                <a:lnTo>
                  <a:pt x="748" y="156"/>
                </a:lnTo>
                <a:lnTo>
                  <a:pt x="749" y="156"/>
                </a:lnTo>
                <a:lnTo>
                  <a:pt x="751" y="155"/>
                </a:lnTo>
                <a:lnTo>
                  <a:pt x="749" y="155"/>
                </a:lnTo>
                <a:lnTo>
                  <a:pt x="752" y="155"/>
                </a:lnTo>
                <a:lnTo>
                  <a:pt x="753" y="155"/>
                </a:lnTo>
                <a:lnTo>
                  <a:pt x="753" y="154"/>
                </a:lnTo>
                <a:lnTo>
                  <a:pt x="752" y="155"/>
                </a:lnTo>
                <a:close/>
                <a:moveTo>
                  <a:pt x="760" y="154"/>
                </a:moveTo>
                <a:lnTo>
                  <a:pt x="760" y="153"/>
                </a:lnTo>
                <a:lnTo>
                  <a:pt x="761" y="153"/>
                </a:lnTo>
                <a:lnTo>
                  <a:pt x="762" y="153"/>
                </a:lnTo>
                <a:lnTo>
                  <a:pt x="760" y="154"/>
                </a:lnTo>
                <a:close/>
                <a:moveTo>
                  <a:pt x="766" y="152"/>
                </a:moveTo>
                <a:lnTo>
                  <a:pt x="767" y="152"/>
                </a:lnTo>
                <a:lnTo>
                  <a:pt x="766" y="153"/>
                </a:lnTo>
                <a:lnTo>
                  <a:pt x="768" y="153"/>
                </a:lnTo>
                <a:lnTo>
                  <a:pt x="767" y="153"/>
                </a:lnTo>
                <a:lnTo>
                  <a:pt x="766" y="154"/>
                </a:lnTo>
                <a:lnTo>
                  <a:pt x="761" y="155"/>
                </a:lnTo>
                <a:lnTo>
                  <a:pt x="760" y="156"/>
                </a:lnTo>
                <a:lnTo>
                  <a:pt x="759" y="156"/>
                </a:lnTo>
                <a:lnTo>
                  <a:pt x="758" y="156"/>
                </a:lnTo>
                <a:lnTo>
                  <a:pt x="758" y="158"/>
                </a:lnTo>
                <a:lnTo>
                  <a:pt x="756" y="158"/>
                </a:lnTo>
                <a:lnTo>
                  <a:pt x="755" y="158"/>
                </a:lnTo>
                <a:lnTo>
                  <a:pt x="755" y="159"/>
                </a:lnTo>
                <a:lnTo>
                  <a:pt x="754" y="159"/>
                </a:lnTo>
                <a:lnTo>
                  <a:pt x="753" y="159"/>
                </a:lnTo>
                <a:lnTo>
                  <a:pt x="752" y="160"/>
                </a:lnTo>
                <a:lnTo>
                  <a:pt x="749" y="160"/>
                </a:lnTo>
                <a:lnTo>
                  <a:pt x="748" y="160"/>
                </a:lnTo>
                <a:lnTo>
                  <a:pt x="749" y="160"/>
                </a:lnTo>
                <a:lnTo>
                  <a:pt x="749" y="159"/>
                </a:lnTo>
                <a:lnTo>
                  <a:pt x="751" y="159"/>
                </a:lnTo>
                <a:lnTo>
                  <a:pt x="752" y="159"/>
                </a:lnTo>
                <a:lnTo>
                  <a:pt x="753" y="158"/>
                </a:lnTo>
                <a:lnTo>
                  <a:pt x="754" y="158"/>
                </a:lnTo>
                <a:lnTo>
                  <a:pt x="754" y="156"/>
                </a:lnTo>
                <a:lnTo>
                  <a:pt x="756" y="156"/>
                </a:lnTo>
                <a:lnTo>
                  <a:pt x="758" y="156"/>
                </a:lnTo>
                <a:lnTo>
                  <a:pt x="759" y="155"/>
                </a:lnTo>
                <a:lnTo>
                  <a:pt x="760" y="155"/>
                </a:lnTo>
                <a:lnTo>
                  <a:pt x="760" y="154"/>
                </a:lnTo>
                <a:lnTo>
                  <a:pt x="761" y="154"/>
                </a:lnTo>
                <a:lnTo>
                  <a:pt x="762" y="154"/>
                </a:lnTo>
                <a:lnTo>
                  <a:pt x="763" y="154"/>
                </a:lnTo>
                <a:lnTo>
                  <a:pt x="763" y="153"/>
                </a:lnTo>
                <a:lnTo>
                  <a:pt x="764" y="153"/>
                </a:lnTo>
                <a:lnTo>
                  <a:pt x="764" y="152"/>
                </a:lnTo>
                <a:lnTo>
                  <a:pt x="766" y="152"/>
                </a:lnTo>
                <a:lnTo>
                  <a:pt x="767" y="152"/>
                </a:lnTo>
                <a:lnTo>
                  <a:pt x="766" y="152"/>
                </a:lnTo>
                <a:close/>
                <a:moveTo>
                  <a:pt x="755" y="153"/>
                </a:moveTo>
                <a:lnTo>
                  <a:pt x="754" y="153"/>
                </a:lnTo>
                <a:lnTo>
                  <a:pt x="755" y="152"/>
                </a:lnTo>
                <a:lnTo>
                  <a:pt x="756" y="152"/>
                </a:lnTo>
                <a:lnTo>
                  <a:pt x="755" y="153"/>
                </a:lnTo>
                <a:close/>
                <a:moveTo>
                  <a:pt x="788" y="153"/>
                </a:moveTo>
                <a:lnTo>
                  <a:pt x="787" y="153"/>
                </a:lnTo>
                <a:lnTo>
                  <a:pt x="787" y="152"/>
                </a:lnTo>
                <a:lnTo>
                  <a:pt x="788" y="152"/>
                </a:lnTo>
                <a:lnTo>
                  <a:pt x="789" y="151"/>
                </a:lnTo>
                <a:lnTo>
                  <a:pt x="790" y="151"/>
                </a:lnTo>
                <a:lnTo>
                  <a:pt x="789" y="152"/>
                </a:lnTo>
                <a:lnTo>
                  <a:pt x="788" y="152"/>
                </a:lnTo>
                <a:lnTo>
                  <a:pt x="788" y="153"/>
                </a:lnTo>
                <a:close/>
                <a:moveTo>
                  <a:pt x="556" y="152"/>
                </a:moveTo>
                <a:lnTo>
                  <a:pt x="555" y="152"/>
                </a:lnTo>
                <a:lnTo>
                  <a:pt x="556" y="153"/>
                </a:lnTo>
                <a:lnTo>
                  <a:pt x="557" y="153"/>
                </a:lnTo>
                <a:lnTo>
                  <a:pt x="557" y="152"/>
                </a:lnTo>
                <a:lnTo>
                  <a:pt x="559" y="152"/>
                </a:lnTo>
                <a:lnTo>
                  <a:pt x="559" y="153"/>
                </a:lnTo>
                <a:lnTo>
                  <a:pt x="557" y="153"/>
                </a:lnTo>
                <a:lnTo>
                  <a:pt x="557" y="154"/>
                </a:lnTo>
                <a:lnTo>
                  <a:pt x="556" y="154"/>
                </a:lnTo>
                <a:lnTo>
                  <a:pt x="556" y="155"/>
                </a:lnTo>
                <a:lnTo>
                  <a:pt x="555" y="155"/>
                </a:lnTo>
                <a:lnTo>
                  <a:pt x="555" y="156"/>
                </a:lnTo>
                <a:lnTo>
                  <a:pt x="554" y="156"/>
                </a:lnTo>
                <a:lnTo>
                  <a:pt x="554" y="158"/>
                </a:lnTo>
                <a:lnTo>
                  <a:pt x="555" y="158"/>
                </a:lnTo>
                <a:lnTo>
                  <a:pt x="554" y="158"/>
                </a:lnTo>
                <a:lnTo>
                  <a:pt x="554" y="159"/>
                </a:lnTo>
                <a:lnTo>
                  <a:pt x="553" y="159"/>
                </a:lnTo>
                <a:lnTo>
                  <a:pt x="552" y="159"/>
                </a:lnTo>
                <a:lnTo>
                  <a:pt x="552" y="158"/>
                </a:lnTo>
                <a:lnTo>
                  <a:pt x="552" y="159"/>
                </a:lnTo>
                <a:lnTo>
                  <a:pt x="549" y="159"/>
                </a:lnTo>
                <a:lnTo>
                  <a:pt x="548" y="159"/>
                </a:lnTo>
                <a:lnTo>
                  <a:pt x="549" y="159"/>
                </a:lnTo>
                <a:lnTo>
                  <a:pt x="548" y="159"/>
                </a:lnTo>
                <a:lnTo>
                  <a:pt x="547" y="159"/>
                </a:lnTo>
                <a:lnTo>
                  <a:pt x="546" y="160"/>
                </a:lnTo>
                <a:lnTo>
                  <a:pt x="547" y="159"/>
                </a:lnTo>
                <a:lnTo>
                  <a:pt x="546" y="159"/>
                </a:lnTo>
                <a:lnTo>
                  <a:pt x="545" y="159"/>
                </a:lnTo>
                <a:lnTo>
                  <a:pt x="545" y="160"/>
                </a:lnTo>
                <a:lnTo>
                  <a:pt x="546" y="160"/>
                </a:lnTo>
                <a:lnTo>
                  <a:pt x="545" y="160"/>
                </a:lnTo>
                <a:lnTo>
                  <a:pt x="545" y="161"/>
                </a:lnTo>
                <a:lnTo>
                  <a:pt x="543" y="161"/>
                </a:lnTo>
                <a:lnTo>
                  <a:pt x="545" y="160"/>
                </a:lnTo>
                <a:lnTo>
                  <a:pt x="543" y="160"/>
                </a:lnTo>
                <a:lnTo>
                  <a:pt x="543" y="159"/>
                </a:lnTo>
                <a:lnTo>
                  <a:pt x="542" y="159"/>
                </a:lnTo>
                <a:lnTo>
                  <a:pt x="541" y="159"/>
                </a:lnTo>
                <a:lnTo>
                  <a:pt x="540" y="159"/>
                </a:lnTo>
                <a:lnTo>
                  <a:pt x="539" y="158"/>
                </a:lnTo>
                <a:lnTo>
                  <a:pt x="540" y="156"/>
                </a:lnTo>
                <a:lnTo>
                  <a:pt x="539" y="156"/>
                </a:lnTo>
                <a:lnTo>
                  <a:pt x="539" y="158"/>
                </a:lnTo>
                <a:lnTo>
                  <a:pt x="539" y="156"/>
                </a:lnTo>
                <a:lnTo>
                  <a:pt x="539" y="158"/>
                </a:lnTo>
                <a:lnTo>
                  <a:pt x="538" y="158"/>
                </a:lnTo>
                <a:lnTo>
                  <a:pt x="538" y="156"/>
                </a:lnTo>
                <a:lnTo>
                  <a:pt x="538" y="155"/>
                </a:lnTo>
                <a:lnTo>
                  <a:pt x="538" y="156"/>
                </a:lnTo>
                <a:lnTo>
                  <a:pt x="536" y="156"/>
                </a:lnTo>
                <a:lnTo>
                  <a:pt x="538" y="156"/>
                </a:lnTo>
                <a:lnTo>
                  <a:pt x="538" y="155"/>
                </a:lnTo>
                <a:lnTo>
                  <a:pt x="538" y="154"/>
                </a:lnTo>
                <a:lnTo>
                  <a:pt x="539" y="154"/>
                </a:lnTo>
                <a:lnTo>
                  <a:pt x="540" y="154"/>
                </a:lnTo>
                <a:lnTo>
                  <a:pt x="541" y="154"/>
                </a:lnTo>
                <a:lnTo>
                  <a:pt x="545" y="154"/>
                </a:lnTo>
                <a:lnTo>
                  <a:pt x="546" y="153"/>
                </a:lnTo>
                <a:lnTo>
                  <a:pt x="547" y="153"/>
                </a:lnTo>
                <a:lnTo>
                  <a:pt x="548" y="153"/>
                </a:lnTo>
                <a:lnTo>
                  <a:pt x="548" y="152"/>
                </a:lnTo>
                <a:lnTo>
                  <a:pt x="549" y="153"/>
                </a:lnTo>
                <a:lnTo>
                  <a:pt x="549" y="152"/>
                </a:lnTo>
                <a:lnTo>
                  <a:pt x="550" y="152"/>
                </a:lnTo>
                <a:lnTo>
                  <a:pt x="552" y="152"/>
                </a:lnTo>
                <a:lnTo>
                  <a:pt x="553" y="152"/>
                </a:lnTo>
                <a:lnTo>
                  <a:pt x="552" y="152"/>
                </a:lnTo>
                <a:lnTo>
                  <a:pt x="553" y="152"/>
                </a:lnTo>
                <a:lnTo>
                  <a:pt x="554" y="152"/>
                </a:lnTo>
                <a:lnTo>
                  <a:pt x="555" y="152"/>
                </a:lnTo>
                <a:lnTo>
                  <a:pt x="556" y="152"/>
                </a:lnTo>
                <a:lnTo>
                  <a:pt x="556" y="151"/>
                </a:lnTo>
                <a:lnTo>
                  <a:pt x="556" y="152"/>
                </a:lnTo>
                <a:close/>
                <a:moveTo>
                  <a:pt x="774" y="151"/>
                </a:moveTo>
                <a:lnTo>
                  <a:pt x="775" y="151"/>
                </a:lnTo>
                <a:lnTo>
                  <a:pt x="776" y="151"/>
                </a:lnTo>
                <a:lnTo>
                  <a:pt x="775" y="151"/>
                </a:lnTo>
                <a:lnTo>
                  <a:pt x="776" y="151"/>
                </a:lnTo>
                <a:lnTo>
                  <a:pt x="777" y="151"/>
                </a:lnTo>
                <a:lnTo>
                  <a:pt x="778" y="151"/>
                </a:lnTo>
                <a:lnTo>
                  <a:pt x="777" y="151"/>
                </a:lnTo>
                <a:lnTo>
                  <a:pt x="777" y="152"/>
                </a:lnTo>
                <a:lnTo>
                  <a:pt x="778" y="151"/>
                </a:lnTo>
                <a:lnTo>
                  <a:pt x="778" y="152"/>
                </a:lnTo>
                <a:lnTo>
                  <a:pt x="777" y="152"/>
                </a:lnTo>
                <a:lnTo>
                  <a:pt x="776" y="152"/>
                </a:lnTo>
                <a:lnTo>
                  <a:pt x="775" y="152"/>
                </a:lnTo>
                <a:lnTo>
                  <a:pt x="773" y="153"/>
                </a:lnTo>
                <a:lnTo>
                  <a:pt x="771" y="153"/>
                </a:lnTo>
                <a:lnTo>
                  <a:pt x="770" y="153"/>
                </a:lnTo>
                <a:lnTo>
                  <a:pt x="770" y="154"/>
                </a:lnTo>
                <a:lnTo>
                  <a:pt x="770" y="153"/>
                </a:lnTo>
                <a:lnTo>
                  <a:pt x="773" y="152"/>
                </a:lnTo>
                <a:lnTo>
                  <a:pt x="771" y="152"/>
                </a:lnTo>
                <a:lnTo>
                  <a:pt x="770" y="152"/>
                </a:lnTo>
                <a:lnTo>
                  <a:pt x="771" y="152"/>
                </a:lnTo>
                <a:lnTo>
                  <a:pt x="771" y="151"/>
                </a:lnTo>
                <a:lnTo>
                  <a:pt x="773" y="151"/>
                </a:lnTo>
                <a:lnTo>
                  <a:pt x="774" y="151"/>
                </a:lnTo>
                <a:lnTo>
                  <a:pt x="775" y="151"/>
                </a:lnTo>
                <a:lnTo>
                  <a:pt x="774" y="151"/>
                </a:lnTo>
                <a:close/>
                <a:moveTo>
                  <a:pt x="762" y="149"/>
                </a:moveTo>
                <a:lnTo>
                  <a:pt x="762" y="151"/>
                </a:lnTo>
                <a:lnTo>
                  <a:pt x="761" y="151"/>
                </a:lnTo>
                <a:lnTo>
                  <a:pt x="760" y="152"/>
                </a:lnTo>
                <a:lnTo>
                  <a:pt x="761" y="152"/>
                </a:lnTo>
                <a:lnTo>
                  <a:pt x="760" y="152"/>
                </a:lnTo>
                <a:lnTo>
                  <a:pt x="759" y="153"/>
                </a:lnTo>
                <a:lnTo>
                  <a:pt x="758" y="153"/>
                </a:lnTo>
                <a:lnTo>
                  <a:pt x="758" y="154"/>
                </a:lnTo>
                <a:lnTo>
                  <a:pt x="756" y="154"/>
                </a:lnTo>
                <a:lnTo>
                  <a:pt x="755" y="154"/>
                </a:lnTo>
                <a:lnTo>
                  <a:pt x="756" y="154"/>
                </a:lnTo>
                <a:lnTo>
                  <a:pt x="755" y="154"/>
                </a:lnTo>
                <a:lnTo>
                  <a:pt x="756" y="154"/>
                </a:lnTo>
                <a:lnTo>
                  <a:pt x="755" y="154"/>
                </a:lnTo>
                <a:lnTo>
                  <a:pt x="756" y="153"/>
                </a:lnTo>
                <a:lnTo>
                  <a:pt x="758" y="153"/>
                </a:lnTo>
                <a:lnTo>
                  <a:pt x="759" y="153"/>
                </a:lnTo>
                <a:lnTo>
                  <a:pt x="759" y="152"/>
                </a:lnTo>
                <a:lnTo>
                  <a:pt x="758" y="152"/>
                </a:lnTo>
                <a:lnTo>
                  <a:pt x="758" y="153"/>
                </a:lnTo>
                <a:lnTo>
                  <a:pt x="758" y="152"/>
                </a:lnTo>
                <a:lnTo>
                  <a:pt x="759" y="152"/>
                </a:lnTo>
                <a:lnTo>
                  <a:pt x="760" y="152"/>
                </a:lnTo>
                <a:lnTo>
                  <a:pt x="760" y="151"/>
                </a:lnTo>
                <a:lnTo>
                  <a:pt x="759" y="152"/>
                </a:lnTo>
                <a:lnTo>
                  <a:pt x="760" y="151"/>
                </a:lnTo>
                <a:lnTo>
                  <a:pt x="761" y="151"/>
                </a:lnTo>
                <a:lnTo>
                  <a:pt x="760" y="151"/>
                </a:lnTo>
                <a:lnTo>
                  <a:pt x="761" y="151"/>
                </a:lnTo>
                <a:lnTo>
                  <a:pt x="761" y="149"/>
                </a:lnTo>
                <a:lnTo>
                  <a:pt x="762" y="149"/>
                </a:lnTo>
                <a:close/>
                <a:moveTo>
                  <a:pt x="711" y="152"/>
                </a:moveTo>
                <a:lnTo>
                  <a:pt x="712" y="152"/>
                </a:lnTo>
                <a:lnTo>
                  <a:pt x="713" y="151"/>
                </a:lnTo>
                <a:lnTo>
                  <a:pt x="714" y="151"/>
                </a:lnTo>
                <a:lnTo>
                  <a:pt x="714" y="149"/>
                </a:lnTo>
                <a:lnTo>
                  <a:pt x="716" y="149"/>
                </a:lnTo>
                <a:lnTo>
                  <a:pt x="716" y="151"/>
                </a:lnTo>
                <a:lnTo>
                  <a:pt x="714" y="151"/>
                </a:lnTo>
                <a:lnTo>
                  <a:pt x="713" y="151"/>
                </a:lnTo>
                <a:lnTo>
                  <a:pt x="713" y="152"/>
                </a:lnTo>
                <a:lnTo>
                  <a:pt x="712" y="152"/>
                </a:lnTo>
                <a:lnTo>
                  <a:pt x="711" y="152"/>
                </a:lnTo>
                <a:close/>
                <a:moveTo>
                  <a:pt x="485" y="152"/>
                </a:moveTo>
                <a:lnTo>
                  <a:pt x="486" y="152"/>
                </a:lnTo>
                <a:lnTo>
                  <a:pt x="486" y="153"/>
                </a:lnTo>
                <a:lnTo>
                  <a:pt x="485" y="152"/>
                </a:lnTo>
                <a:lnTo>
                  <a:pt x="484" y="152"/>
                </a:lnTo>
                <a:lnTo>
                  <a:pt x="483" y="153"/>
                </a:lnTo>
                <a:lnTo>
                  <a:pt x="483" y="152"/>
                </a:lnTo>
                <a:lnTo>
                  <a:pt x="482" y="152"/>
                </a:lnTo>
                <a:lnTo>
                  <a:pt x="482" y="151"/>
                </a:lnTo>
                <a:lnTo>
                  <a:pt x="482" y="149"/>
                </a:lnTo>
                <a:lnTo>
                  <a:pt x="481" y="149"/>
                </a:lnTo>
                <a:lnTo>
                  <a:pt x="482" y="149"/>
                </a:lnTo>
                <a:lnTo>
                  <a:pt x="483" y="149"/>
                </a:lnTo>
                <a:lnTo>
                  <a:pt x="483" y="148"/>
                </a:lnTo>
                <a:lnTo>
                  <a:pt x="484" y="148"/>
                </a:lnTo>
                <a:lnTo>
                  <a:pt x="483" y="149"/>
                </a:lnTo>
                <a:lnTo>
                  <a:pt x="483" y="151"/>
                </a:lnTo>
                <a:lnTo>
                  <a:pt x="485" y="152"/>
                </a:lnTo>
                <a:close/>
                <a:moveTo>
                  <a:pt x="780" y="151"/>
                </a:moveTo>
                <a:lnTo>
                  <a:pt x="777" y="151"/>
                </a:lnTo>
                <a:lnTo>
                  <a:pt x="776" y="151"/>
                </a:lnTo>
                <a:lnTo>
                  <a:pt x="777" y="149"/>
                </a:lnTo>
                <a:lnTo>
                  <a:pt x="780" y="149"/>
                </a:lnTo>
                <a:lnTo>
                  <a:pt x="781" y="149"/>
                </a:lnTo>
                <a:lnTo>
                  <a:pt x="782" y="149"/>
                </a:lnTo>
                <a:lnTo>
                  <a:pt x="782" y="148"/>
                </a:lnTo>
                <a:lnTo>
                  <a:pt x="784" y="148"/>
                </a:lnTo>
                <a:lnTo>
                  <a:pt x="785" y="148"/>
                </a:lnTo>
                <a:lnTo>
                  <a:pt x="784" y="148"/>
                </a:lnTo>
                <a:lnTo>
                  <a:pt x="783" y="149"/>
                </a:lnTo>
                <a:lnTo>
                  <a:pt x="782" y="149"/>
                </a:lnTo>
                <a:lnTo>
                  <a:pt x="781" y="149"/>
                </a:lnTo>
                <a:lnTo>
                  <a:pt x="780" y="151"/>
                </a:lnTo>
                <a:close/>
                <a:moveTo>
                  <a:pt x="483" y="148"/>
                </a:moveTo>
                <a:lnTo>
                  <a:pt x="483" y="147"/>
                </a:lnTo>
                <a:lnTo>
                  <a:pt x="484" y="147"/>
                </a:lnTo>
                <a:lnTo>
                  <a:pt x="484" y="148"/>
                </a:lnTo>
                <a:lnTo>
                  <a:pt x="483" y="148"/>
                </a:lnTo>
                <a:close/>
                <a:moveTo>
                  <a:pt x="768" y="147"/>
                </a:moveTo>
                <a:lnTo>
                  <a:pt x="769" y="147"/>
                </a:lnTo>
                <a:lnTo>
                  <a:pt x="768" y="147"/>
                </a:lnTo>
                <a:lnTo>
                  <a:pt x="768" y="148"/>
                </a:lnTo>
                <a:lnTo>
                  <a:pt x="767" y="148"/>
                </a:lnTo>
                <a:lnTo>
                  <a:pt x="767" y="147"/>
                </a:lnTo>
                <a:lnTo>
                  <a:pt x="768" y="147"/>
                </a:lnTo>
                <a:lnTo>
                  <a:pt x="767" y="147"/>
                </a:lnTo>
                <a:lnTo>
                  <a:pt x="768" y="147"/>
                </a:lnTo>
                <a:close/>
                <a:moveTo>
                  <a:pt x="763" y="147"/>
                </a:moveTo>
                <a:lnTo>
                  <a:pt x="763" y="146"/>
                </a:lnTo>
                <a:lnTo>
                  <a:pt x="763" y="147"/>
                </a:lnTo>
                <a:lnTo>
                  <a:pt x="762" y="147"/>
                </a:lnTo>
                <a:lnTo>
                  <a:pt x="762" y="146"/>
                </a:lnTo>
                <a:lnTo>
                  <a:pt x="763" y="146"/>
                </a:lnTo>
                <a:lnTo>
                  <a:pt x="763" y="147"/>
                </a:lnTo>
                <a:close/>
                <a:moveTo>
                  <a:pt x="760" y="147"/>
                </a:moveTo>
                <a:lnTo>
                  <a:pt x="760" y="148"/>
                </a:lnTo>
                <a:lnTo>
                  <a:pt x="760" y="147"/>
                </a:lnTo>
                <a:lnTo>
                  <a:pt x="760" y="146"/>
                </a:lnTo>
                <a:lnTo>
                  <a:pt x="761" y="146"/>
                </a:lnTo>
                <a:lnTo>
                  <a:pt x="761" y="147"/>
                </a:lnTo>
                <a:lnTo>
                  <a:pt x="760" y="147"/>
                </a:lnTo>
                <a:close/>
                <a:moveTo>
                  <a:pt x="777" y="145"/>
                </a:moveTo>
                <a:lnTo>
                  <a:pt x="777" y="146"/>
                </a:lnTo>
                <a:lnTo>
                  <a:pt x="776" y="146"/>
                </a:lnTo>
                <a:lnTo>
                  <a:pt x="777" y="145"/>
                </a:lnTo>
                <a:lnTo>
                  <a:pt x="778" y="145"/>
                </a:lnTo>
                <a:lnTo>
                  <a:pt x="777" y="145"/>
                </a:lnTo>
                <a:close/>
                <a:moveTo>
                  <a:pt x="775" y="144"/>
                </a:moveTo>
                <a:lnTo>
                  <a:pt x="774" y="145"/>
                </a:lnTo>
                <a:lnTo>
                  <a:pt x="775" y="145"/>
                </a:lnTo>
                <a:lnTo>
                  <a:pt x="775" y="144"/>
                </a:lnTo>
                <a:lnTo>
                  <a:pt x="775" y="145"/>
                </a:lnTo>
                <a:lnTo>
                  <a:pt x="774" y="145"/>
                </a:lnTo>
                <a:lnTo>
                  <a:pt x="773" y="145"/>
                </a:lnTo>
                <a:lnTo>
                  <a:pt x="771" y="145"/>
                </a:lnTo>
                <a:lnTo>
                  <a:pt x="773" y="145"/>
                </a:lnTo>
                <a:lnTo>
                  <a:pt x="773" y="144"/>
                </a:lnTo>
                <a:lnTo>
                  <a:pt x="774" y="144"/>
                </a:lnTo>
                <a:lnTo>
                  <a:pt x="774" y="145"/>
                </a:lnTo>
                <a:lnTo>
                  <a:pt x="774" y="144"/>
                </a:lnTo>
                <a:lnTo>
                  <a:pt x="774" y="145"/>
                </a:lnTo>
                <a:lnTo>
                  <a:pt x="775" y="144"/>
                </a:lnTo>
                <a:close/>
                <a:moveTo>
                  <a:pt x="764" y="144"/>
                </a:moveTo>
                <a:lnTo>
                  <a:pt x="766" y="144"/>
                </a:lnTo>
                <a:lnTo>
                  <a:pt x="766" y="145"/>
                </a:lnTo>
                <a:lnTo>
                  <a:pt x="764" y="145"/>
                </a:lnTo>
                <a:lnTo>
                  <a:pt x="764" y="146"/>
                </a:lnTo>
                <a:lnTo>
                  <a:pt x="764" y="145"/>
                </a:lnTo>
                <a:lnTo>
                  <a:pt x="763" y="146"/>
                </a:lnTo>
                <a:lnTo>
                  <a:pt x="762" y="146"/>
                </a:lnTo>
                <a:lnTo>
                  <a:pt x="762" y="145"/>
                </a:lnTo>
                <a:lnTo>
                  <a:pt x="763" y="145"/>
                </a:lnTo>
                <a:lnTo>
                  <a:pt x="764" y="144"/>
                </a:lnTo>
                <a:close/>
                <a:moveTo>
                  <a:pt x="744" y="141"/>
                </a:moveTo>
                <a:lnTo>
                  <a:pt x="744" y="140"/>
                </a:lnTo>
                <a:lnTo>
                  <a:pt x="745" y="140"/>
                </a:lnTo>
                <a:lnTo>
                  <a:pt x="744" y="141"/>
                </a:lnTo>
                <a:close/>
                <a:moveTo>
                  <a:pt x="586" y="128"/>
                </a:moveTo>
                <a:lnTo>
                  <a:pt x="586" y="127"/>
                </a:lnTo>
                <a:lnTo>
                  <a:pt x="588" y="127"/>
                </a:lnTo>
                <a:lnTo>
                  <a:pt x="586" y="127"/>
                </a:lnTo>
                <a:lnTo>
                  <a:pt x="586" y="128"/>
                </a:lnTo>
                <a:close/>
                <a:moveTo>
                  <a:pt x="620" y="113"/>
                </a:moveTo>
                <a:lnTo>
                  <a:pt x="619" y="113"/>
                </a:lnTo>
                <a:lnTo>
                  <a:pt x="620" y="113"/>
                </a:lnTo>
                <a:close/>
                <a:moveTo>
                  <a:pt x="563" y="113"/>
                </a:moveTo>
                <a:lnTo>
                  <a:pt x="563" y="112"/>
                </a:lnTo>
                <a:lnTo>
                  <a:pt x="564" y="112"/>
                </a:lnTo>
                <a:lnTo>
                  <a:pt x="563" y="113"/>
                </a:lnTo>
                <a:close/>
                <a:moveTo>
                  <a:pt x="572" y="109"/>
                </a:moveTo>
                <a:lnTo>
                  <a:pt x="574" y="109"/>
                </a:lnTo>
                <a:lnTo>
                  <a:pt x="572" y="109"/>
                </a:lnTo>
                <a:close/>
                <a:moveTo>
                  <a:pt x="562" y="110"/>
                </a:moveTo>
                <a:lnTo>
                  <a:pt x="562" y="111"/>
                </a:lnTo>
                <a:lnTo>
                  <a:pt x="562" y="110"/>
                </a:lnTo>
                <a:lnTo>
                  <a:pt x="560" y="109"/>
                </a:lnTo>
                <a:lnTo>
                  <a:pt x="562" y="110"/>
                </a:lnTo>
                <a:close/>
                <a:moveTo>
                  <a:pt x="557" y="107"/>
                </a:moveTo>
                <a:lnTo>
                  <a:pt x="560" y="109"/>
                </a:lnTo>
                <a:lnTo>
                  <a:pt x="557" y="109"/>
                </a:lnTo>
                <a:lnTo>
                  <a:pt x="557" y="107"/>
                </a:lnTo>
                <a:close/>
                <a:moveTo>
                  <a:pt x="654" y="105"/>
                </a:moveTo>
                <a:lnTo>
                  <a:pt x="654" y="106"/>
                </a:lnTo>
                <a:lnTo>
                  <a:pt x="653" y="106"/>
                </a:lnTo>
                <a:lnTo>
                  <a:pt x="652" y="106"/>
                </a:lnTo>
                <a:lnTo>
                  <a:pt x="650" y="106"/>
                </a:lnTo>
                <a:lnTo>
                  <a:pt x="649" y="106"/>
                </a:lnTo>
                <a:lnTo>
                  <a:pt x="650" y="105"/>
                </a:lnTo>
                <a:lnTo>
                  <a:pt x="652" y="105"/>
                </a:lnTo>
                <a:lnTo>
                  <a:pt x="653" y="105"/>
                </a:lnTo>
                <a:lnTo>
                  <a:pt x="654" y="105"/>
                </a:lnTo>
                <a:close/>
                <a:moveTo>
                  <a:pt x="557" y="103"/>
                </a:moveTo>
                <a:lnTo>
                  <a:pt x="557" y="104"/>
                </a:lnTo>
                <a:lnTo>
                  <a:pt x="556" y="104"/>
                </a:lnTo>
                <a:lnTo>
                  <a:pt x="557" y="105"/>
                </a:lnTo>
                <a:lnTo>
                  <a:pt x="556" y="105"/>
                </a:lnTo>
                <a:lnTo>
                  <a:pt x="555" y="105"/>
                </a:lnTo>
                <a:lnTo>
                  <a:pt x="556" y="105"/>
                </a:lnTo>
                <a:lnTo>
                  <a:pt x="557" y="105"/>
                </a:lnTo>
                <a:lnTo>
                  <a:pt x="560" y="105"/>
                </a:lnTo>
                <a:lnTo>
                  <a:pt x="559" y="105"/>
                </a:lnTo>
                <a:lnTo>
                  <a:pt x="559" y="106"/>
                </a:lnTo>
                <a:lnTo>
                  <a:pt x="560" y="106"/>
                </a:lnTo>
                <a:lnTo>
                  <a:pt x="561" y="106"/>
                </a:lnTo>
                <a:lnTo>
                  <a:pt x="562" y="106"/>
                </a:lnTo>
                <a:lnTo>
                  <a:pt x="563" y="105"/>
                </a:lnTo>
                <a:lnTo>
                  <a:pt x="564" y="105"/>
                </a:lnTo>
                <a:lnTo>
                  <a:pt x="566" y="105"/>
                </a:lnTo>
                <a:lnTo>
                  <a:pt x="567" y="104"/>
                </a:lnTo>
                <a:lnTo>
                  <a:pt x="567" y="105"/>
                </a:lnTo>
                <a:lnTo>
                  <a:pt x="568" y="104"/>
                </a:lnTo>
                <a:lnTo>
                  <a:pt x="569" y="104"/>
                </a:lnTo>
                <a:lnTo>
                  <a:pt x="570" y="104"/>
                </a:lnTo>
                <a:lnTo>
                  <a:pt x="570" y="105"/>
                </a:lnTo>
                <a:lnTo>
                  <a:pt x="571" y="105"/>
                </a:lnTo>
                <a:lnTo>
                  <a:pt x="570" y="106"/>
                </a:lnTo>
                <a:lnTo>
                  <a:pt x="569" y="106"/>
                </a:lnTo>
                <a:lnTo>
                  <a:pt x="569" y="107"/>
                </a:lnTo>
                <a:lnTo>
                  <a:pt x="570" y="107"/>
                </a:lnTo>
                <a:lnTo>
                  <a:pt x="571" y="107"/>
                </a:lnTo>
                <a:lnTo>
                  <a:pt x="570" y="107"/>
                </a:lnTo>
                <a:lnTo>
                  <a:pt x="571" y="107"/>
                </a:lnTo>
                <a:lnTo>
                  <a:pt x="572" y="107"/>
                </a:lnTo>
                <a:lnTo>
                  <a:pt x="572" y="109"/>
                </a:lnTo>
                <a:lnTo>
                  <a:pt x="572" y="110"/>
                </a:lnTo>
                <a:lnTo>
                  <a:pt x="574" y="109"/>
                </a:lnTo>
                <a:lnTo>
                  <a:pt x="575" y="109"/>
                </a:lnTo>
                <a:lnTo>
                  <a:pt x="575" y="110"/>
                </a:lnTo>
                <a:lnTo>
                  <a:pt x="576" y="110"/>
                </a:lnTo>
                <a:lnTo>
                  <a:pt x="575" y="110"/>
                </a:lnTo>
                <a:lnTo>
                  <a:pt x="575" y="109"/>
                </a:lnTo>
                <a:lnTo>
                  <a:pt x="577" y="110"/>
                </a:lnTo>
                <a:lnTo>
                  <a:pt x="577" y="109"/>
                </a:lnTo>
                <a:lnTo>
                  <a:pt x="577" y="110"/>
                </a:lnTo>
                <a:lnTo>
                  <a:pt x="578" y="110"/>
                </a:lnTo>
                <a:lnTo>
                  <a:pt x="579" y="110"/>
                </a:lnTo>
                <a:lnTo>
                  <a:pt x="581" y="110"/>
                </a:lnTo>
                <a:lnTo>
                  <a:pt x="579" y="110"/>
                </a:lnTo>
                <a:lnTo>
                  <a:pt x="579" y="111"/>
                </a:lnTo>
                <a:lnTo>
                  <a:pt x="578" y="111"/>
                </a:lnTo>
                <a:lnTo>
                  <a:pt x="577" y="111"/>
                </a:lnTo>
                <a:lnTo>
                  <a:pt x="576" y="112"/>
                </a:lnTo>
                <a:lnTo>
                  <a:pt x="575" y="112"/>
                </a:lnTo>
                <a:lnTo>
                  <a:pt x="575" y="111"/>
                </a:lnTo>
                <a:lnTo>
                  <a:pt x="571" y="112"/>
                </a:lnTo>
                <a:lnTo>
                  <a:pt x="570" y="112"/>
                </a:lnTo>
                <a:lnTo>
                  <a:pt x="571" y="112"/>
                </a:lnTo>
                <a:lnTo>
                  <a:pt x="572" y="111"/>
                </a:lnTo>
                <a:lnTo>
                  <a:pt x="574" y="111"/>
                </a:lnTo>
                <a:lnTo>
                  <a:pt x="571" y="111"/>
                </a:lnTo>
                <a:lnTo>
                  <a:pt x="570" y="112"/>
                </a:lnTo>
                <a:lnTo>
                  <a:pt x="569" y="112"/>
                </a:lnTo>
                <a:lnTo>
                  <a:pt x="568" y="113"/>
                </a:lnTo>
                <a:lnTo>
                  <a:pt x="567" y="113"/>
                </a:lnTo>
                <a:lnTo>
                  <a:pt x="566" y="113"/>
                </a:lnTo>
                <a:lnTo>
                  <a:pt x="566" y="114"/>
                </a:lnTo>
                <a:lnTo>
                  <a:pt x="564" y="114"/>
                </a:lnTo>
                <a:lnTo>
                  <a:pt x="563" y="114"/>
                </a:lnTo>
                <a:lnTo>
                  <a:pt x="562" y="114"/>
                </a:lnTo>
                <a:lnTo>
                  <a:pt x="563" y="114"/>
                </a:lnTo>
                <a:lnTo>
                  <a:pt x="564" y="113"/>
                </a:lnTo>
                <a:lnTo>
                  <a:pt x="564" y="112"/>
                </a:lnTo>
                <a:lnTo>
                  <a:pt x="563" y="112"/>
                </a:lnTo>
                <a:lnTo>
                  <a:pt x="563" y="111"/>
                </a:lnTo>
                <a:lnTo>
                  <a:pt x="562" y="111"/>
                </a:lnTo>
                <a:lnTo>
                  <a:pt x="561" y="111"/>
                </a:lnTo>
                <a:lnTo>
                  <a:pt x="562" y="111"/>
                </a:lnTo>
                <a:lnTo>
                  <a:pt x="563" y="111"/>
                </a:lnTo>
                <a:lnTo>
                  <a:pt x="563" y="110"/>
                </a:lnTo>
                <a:lnTo>
                  <a:pt x="562" y="110"/>
                </a:lnTo>
                <a:lnTo>
                  <a:pt x="562" y="109"/>
                </a:lnTo>
                <a:lnTo>
                  <a:pt x="561" y="109"/>
                </a:lnTo>
                <a:lnTo>
                  <a:pt x="560" y="109"/>
                </a:lnTo>
                <a:lnTo>
                  <a:pt x="560" y="107"/>
                </a:lnTo>
                <a:lnTo>
                  <a:pt x="557" y="107"/>
                </a:lnTo>
                <a:lnTo>
                  <a:pt x="556" y="107"/>
                </a:lnTo>
                <a:lnTo>
                  <a:pt x="556" y="109"/>
                </a:lnTo>
                <a:lnTo>
                  <a:pt x="555" y="109"/>
                </a:lnTo>
                <a:lnTo>
                  <a:pt x="554" y="109"/>
                </a:lnTo>
                <a:lnTo>
                  <a:pt x="553" y="109"/>
                </a:lnTo>
                <a:lnTo>
                  <a:pt x="553" y="110"/>
                </a:lnTo>
                <a:lnTo>
                  <a:pt x="552" y="110"/>
                </a:lnTo>
                <a:lnTo>
                  <a:pt x="550" y="110"/>
                </a:lnTo>
                <a:lnTo>
                  <a:pt x="550" y="109"/>
                </a:lnTo>
                <a:lnTo>
                  <a:pt x="549" y="109"/>
                </a:lnTo>
                <a:lnTo>
                  <a:pt x="549" y="107"/>
                </a:lnTo>
                <a:lnTo>
                  <a:pt x="550" y="107"/>
                </a:lnTo>
                <a:lnTo>
                  <a:pt x="550" y="106"/>
                </a:lnTo>
                <a:lnTo>
                  <a:pt x="552" y="106"/>
                </a:lnTo>
                <a:lnTo>
                  <a:pt x="552" y="105"/>
                </a:lnTo>
                <a:lnTo>
                  <a:pt x="553" y="105"/>
                </a:lnTo>
                <a:lnTo>
                  <a:pt x="554" y="105"/>
                </a:lnTo>
                <a:lnTo>
                  <a:pt x="554" y="104"/>
                </a:lnTo>
                <a:lnTo>
                  <a:pt x="555" y="104"/>
                </a:lnTo>
                <a:lnTo>
                  <a:pt x="556" y="104"/>
                </a:lnTo>
                <a:lnTo>
                  <a:pt x="556" y="103"/>
                </a:lnTo>
                <a:lnTo>
                  <a:pt x="557" y="103"/>
                </a:lnTo>
                <a:close/>
                <a:moveTo>
                  <a:pt x="618" y="86"/>
                </a:moveTo>
                <a:lnTo>
                  <a:pt x="619" y="86"/>
                </a:lnTo>
                <a:lnTo>
                  <a:pt x="618" y="86"/>
                </a:lnTo>
                <a:close/>
                <a:moveTo>
                  <a:pt x="624" y="76"/>
                </a:moveTo>
                <a:lnTo>
                  <a:pt x="624" y="75"/>
                </a:lnTo>
                <a:lnTo>
                  <a:pt x="624" y="76"/>
                </a:lnTo>
                <a:close/>
                <a:moveTo>
                  <a:pt x="635" y="76"/>
                </a:moveTo>
                <a:lnTo>
                  <a:pt x="634" y="76"/>
                </a:lnTo>
                <a:lnTo>
                  <a:pt x="635" y="76"/>
                </a:lnTo>
                <a:lnTo>
                  <a:pt x="636" y="75"/>
                </a:lnTo>
                <a:lnTo>
                  <a:pt x="636" y="76"/>
                </a:lnTo>
                <a:lnTo>
                  <a:pt x="635" y="76"/>
                </a:lnTo>
                <a:close/>
                <a:moveTo>
                  <a:pt x="638" y="75"/>
                </a:moveTo>
                <a:lnTo>
                  <a:pt x="636" y="76"/>
                </a:lnTo>
                <a:lnTo>
                  <a:pt x="636" y="75"/>
                </a:lnTo>
                <a:lnTo>
                  <a:pt x="638" y="75"/>
                </a:lnTo>
                <a:lnTo>
                  <a:pt x="639" y="75"/>
                </a:lnTo>
                <a:lnTo>
                  <a:pt x="638" y="75"/>
                </a:lnTo>
                <a:close/>
                <a:moveTo>
                  <a:pt x="645" y="74"/>
                </a:moveTo>
                <a:lnTo>
                  <a:pt x="650" y="71"/>
                </a:lnTo>
                <a:lnTo>
                  <a:pt x="648" y="72"/>
                </a:lnTo>
                <a:lnTo>
                  <a:pt x="647" y="72"/>
                </a:lnTo>
                <a:lnTo>
                  <a:pt x="646" y="72"/>
                </a:lnTo>
                <a:lnTo>
                  <a:pt x="646" y="74"/>
                </a:lnTo>
                <a:lnTo>
                  <a:pt x="645" y="74"/>
                </a:lnTo>
                <a:close/>
                <a:moveTo>
                  <a:pt x="653" y="71"/>
                </a:moveTo>
                <a:lnTo>
                  <a:pt x="652" y="71"/>
                </a:lnTo>
                <a:lnTo>
                  <a:pt x="653" y="71"/>
                </a:lnTo>
                <a:lnTo>
                  <a:pt x="660" y="69"/>
                </a:lnTo>
                <a:lnTo>
                  <a:pt x="661" y="69"/>
                </a:lnTo>
                <a:lnTo>
                  <a:pt x="660" y="69"/>
                </a:lnTo>
                <a:lnTo>
                  <a:pt x="660" y="70"/>
                </a:lnTo>
                <a:lnTo>
                  <a:pt x="659" y="70"/>
                </a:lnTo>
                <a:lnTo>
                  <a:pt x="657" y="70"/>
                </a:lnTo>
                <a:lnTo>
                  <a:pt x="656" y="70"/>
                </a:lnTo>
                <a:lnTo>
                  <a:pt x="655" y="70"/>
                </a:lnTo>
                <a:lnTo>
                  <a:pt x="655" y="71"/>
                </a:lnTo>
                <a:lnTo>
                  <a:pt x="654" y="71"/>
                </a:lnTo>
                <a:lnTo>
                  <a:pt x="653" y="71"/>
                </a:lnTo>
                <a:close/>
                <a:moveTo>
                  <a:pt x="662" y="69"/>
                </a:moveTo>
                <a:lnTo>
                  <a:pt x="663" y="69"/>
                </a:lnTo>
                <a:lnTo>
                  <a:pt x="662" y="69"/>
                </a:lnTo>
                <a:close/>
                <a:moveTo>
                  <a:pt x="664" y="69"/>
                </a:moveTo>
                <a:lnTo>
                  <a:pt x="663" y="69"/>
                </a:lnTo>
                <a:lnTo>
                  <a:pt x="664" y="69"/>
                </a:lnTo>
                <a:lnTo>
                  <a:pt x="664" y="68"/>
                </a:lnTo>
                <a:lnTo>
                  <a:pt x="667" y="68"/>
                </a:lnTo>
                <a:lnTo>
                  <a:pt x="666" y="68"/>
                </a:lnTo>
                <a:lnTo>
                  <a:pt x="664" y="69"/>
                </a:lnTo>
                <a:close/>
                <a:moveTo>
                  <a:pt x="671" y="67"/>
                </a:moveTo>
                <a:lnTo>
                  <a:pt x="670" y="67"/>
                </a:lnTo>
                <a:lnTo>
                  <a:pt x="669" y="67"/>
                </a:lnTo>
                <a:lnTo>
                  <a:pt x="669" y="68"/>
                </a:lnTo>
                <a:lnTo>
                  <a:pt x="669" y="67"/>
                </a:lnTo>
                <a:lnTo>
                  <a:pt x="673" y="67"/>
                </a:lnTo>
                <a:lnTo>
                  <a:pt x="671" y="67"/>
                </a:lnTo>
                <a:close/>
                <a:moveTo>
                  <a:pt x="674" y="67"/>
                </a:moveTo>
                <a:lnTo>
                  <a:pt x="673" y="67"/>
                </a:lnTo>
                <a:lnTo>
                  <a:pt x="674" y="67"/>
                </a:lnTo>
                <a:close/>
                <a:moveTo>
                  <a:pt x="675" y="67"/>
                </a:moveTo>
                <a:lnTo>
                  <a:pt x="674" y="67"/>
                </a:lnTo>
                <a:lnTo>
                  <a:pt x="675" y="67"/>
                </a:lnTo>
                <a:close/>
                <a:moveTo>
                  <a:pt x="675" y="67"/>
                </a:moveTo>
                <a:lnTo>
                  <a:pt x="678" y="65"/>
                </a:lnTo>
                <a:lnTo>
                  <a:pt x="682" y="64"/>
                </a:lnTo>
                <a:lnTo>
                  <a:pt x="682" y="65"/>
                </a:lnTo>
                <a:lnTo>
                  <a:pt x="681" y="65"/>
                </a:lnTo>
                <a:lnTo>
                  <a:pt x="680" y="65"/>
                </a:lnTo>
                <a:lnTo>
                  <a:pt x="677" y="65"/>
                </a:lnTo>
                <a:lnTo>
                  <a:pt x="676" y="65"/>
                </a:lnTo>
                <a:lnTo>
                  <a:pt x="675" y="67"/>
                </a:lnTo>
                <a:close/>
                <a:moveTo>
                  <a:pt x="755" y="23"/>
                </a:moveTo>
                <a:lnTo>
                  <a:pt x="754" y="25"/>
                </a:lnTo>
                <a:lnTo>
                  <a:pt x="755" y="25"/>
                </a:lnTo>
                <a:lnTo>
                  <a:pt x="756" y="23"/>
                </a:lnTo>
                <a:lnTo>
                  <a:pt x="758" y="22"/>
                </a:lnTo>
                <a:lnTo>
                  <a:pt x="759" y="22"/>
                </a:lnTo>
                <a:lnTo>
                  <a:pt x="758" y="22"/>
                </a:lnTo>
                <a:lnTo>
                  <a:pt x="758" y="23"/>
                </a:lnTo>
                <a:lnTo>
                  <a:pt x="756" y="23"/>
                </a:lnTo>
                <a:lnTo>
                  <a:pt x="755" y="23"/>
                </a:lnTo>
                <a:close/>
                <a:moveTo>
                  <a:pt x="977" y="22"/>
                </a:moveTo>
                <a:lnTo>
                  <a:pt x="976" y="22"/>
                </a:lnTo>
                <a:lnTo>
                  <a:pt x="976" y="21"/>
                </a:lnTo>
                <a:lnTo>
                  <a:pt x="975" y="21"/>
                </a:lnTo>
                <a:lnTo>
                  <a:pt x="974" y="21"/>
                </a:lnTo>
                <a:lnTo>
                  <a:pt x="974" y="20"/>
                </a:lnTo>
                <a:lnTo>
                  <a:pt x="975" y="20"/>
                </a:lnTo>
                <a:lnTo>
                  <a:pt x="976" y="21"/>
                </a:lnTo>
                <a:lnTo>
                  <a:pt x="977" y="22"/>
                </a:lnTo>
                <a:close/>
                <a:moveTo>
                  <a:pt x="760" y="21"/>
                </a:moveTo>
                <a:lnTo>
                  <a:pt x="759" y="22"/>
                </a:lnTo>
                <a:lnTo>
                  <a:pt x="761" y="21"/>
                </a:lnTo>
                <a:lnTo>
                  <a:pt x="762" y="20"/>
                </a:lnTo>
                <a:lnTo>
                  <a:pt x="763" y="20"/>
                </a:lnTo>
                <a:lnTo>
                  <a:pt x="766" y="19"/>
                </a:lnTo>
                <a:lnTo>
                  <a:pt x="764" y="20"/>
                </a:lnTo>
                <a:lnTo>
                  <a:pt x="762" y="20"/>
                </a:lnTo>
                <a:lnTo>
                  <a:pt x="761" y="21"/>
                </a:lnTo>
                <a:lnTo>
                  <a:pt x="760" y="21"/>
                </a:lnTo>
                <a:close/>
                <a:moveTo>
                  <a:pt x="768" y="19"/>
                </a:moveTo>
                <a:lnTo>
                  <a:pt x="767" y="19"/>
                </a:lnTo>
                <a:lnTo>
                  <a:pt x="768" y="18"/>
                </a:lnTo>
                <a:lnTo>
                  <a:pt x="769" y="18"/>
                </a:lnTo>
                <a:lnTo>
                  <a:pt x="770" y="18"/>
                </a:lnTo>
                <a:lnTo>
                  <a:pt x="771" y="16"/>
                </a:lnTo>
                <a:lnTo>
                  <a:pt x="771" y="18"/>
                </a:lnTo>
                <a:lnTo>
                  <a:pt x="769" y="18"/>
                </a:lnTo>
                <a:lnTo>
                  <a:pt x="768" y="19"/>
                </a:lnTo>
                <a:close/>
                <a:moveTo>
                  <a:pt x="773" y="16"/>
                </a:moveTo>
                <a:lnTo>
                  <a:pt x="774" y="16"/>
                </a:lnTo>
                <a:lnTo>
                  <a:pt x="774" y="15"/>
                </a:lnTo>
                <a:lnTo>
                  <a:pt x="777" y="15"/>
                </a:lnTo>
                <a:lnTo>
                  <a:pt x="780" y="14"/>
                </a:lnTo>
                <a:lnTo>
                  <a:pt x="776" y="15"/>
                </a:lnTo>
                <a:lnTo>
                  <a:pt x="774" y="16"/>
                </a:lnTo>
                <a:lnTo>
                  <a:pt x="773" y="16"/>
                </a:lnTo>
                <a:close/>
                <a:moveTo>
                  <a:pt x="783" y="13"/>
                </a:moveTo>
                <a:lnTo>
                  <a:pt x="787" y="14"/>
                </a:lnTo>
                <a:lnTo>
                  <a:pt x="784" y="14"/>
                </a:lnTo>
                <a:lnTo>
                  <a:pt x="783" y="14"/>
                </a:lnTo>
                <a:lnTo>
                  <a:pt x="782" y="14"/>
                </a:lnTo>
                <a:lnTo>
                  <a:pt x="783" y="14"/>
                </a:lnTo>
                <a:lnTo>
                  <a:pt x="783" y="13"/>
                </a:lnTo>
                <a:close/>
                <a:moveTo>
                  <a:pt x="913" y="11"/>
                </a:moveTo>
                <a:lnTo>
                  <a:pt x="915" y="12"/>
                </a:lnTo>
                <a:lnTo>
                  <a:pt x="916" y="12"/>
                </a:lnTo>
                <a:lnTo>
                  <a:pt x="915" y="12"/>
                </a:lnTo>
                <a:lnTo>
                  <a:pt x="913" y="11"/>
                </a:lnTo>
                <a:lnTo>
                  <a:pt x="912" y="11"/>
                </a:lnTo>
                <a:lnTo>
                  <a:pt x="913" y="11"/>
                </a:lnTo>
                <a:close/>
                <a:moveTo>
                  <a:pt x="859" y="0"/>
                </a:moveTo>
                <a:lnTo>
                  <a:pt x="858" y="0"/>
                </a:lnTo>
                <a:lnTo>
                  <a:pt x="856" y="0"/>
                </a:lnTo>
                <a:lnTo>
                  <a:pt x="855" y="0"/>
                </a:lnTo>
                <a:lnTo>
                  <a:pt x="855" y="1"/>
                </a:lnTo>
                <a:lnTo>
                  <a:pt x="856" y="1"/>
                </a:lnTo>
                <a:lnTo>
                  <a:pt x="855" y="1"/>
                </a:lnTo>
                <a:lnTo>
                  <a:pt x="858" y="1"/>
                </a:lnTo>
                <a:lnTo>
                  <a:pt x="859" y="1"/>
                </a:lnTo>
                <a:lnTo>
                  <a:pt x="858" y="2"/>
                </a:lnTo>
                <a:lnTo>
                  <a:pt x="859" y="2"/>
                </a:lnTo>
                <a:lnTo>
                  <a:pt x="858" y="2"/>
                </a:lnTo>
                <a:lnTo>
                  <a:pt x="859" y="2"/>
                </a:lnTo>
                <a:lnTo>
                  <a:pt x="860" y="2"/>
                </a:lnTo>
                <a:lnTo>
                  <a:pt x="861" y="2"/>
                </a:lnTo>
                <a:lnTo>
                  <a:pt x="862" y="2"/>
                </a:lnTo>
                <a:lnTo>
                  <a:pt x="861" y="4"/>
                </a:lnTo>
                <a:lnTo>
                  <a:pt x="860" y="4"/>
                </a:lnTo>
                <a:lnTo>
                  <a:pt x="859" y="5"/>
                </a:lnTo>
                <a:lnTo>
                  <a:pt x="858" y="5"/>
                </a:lnTo>
                <a:lnTo>
                  <a:pt x="856" y="5"/>
                </a:lnTo>
                <a:lnTo>
                  <a:pt x="854" y="5"/>
                </a:lnTo>
                <a:lnTo>
                  <a:pt x="853" y="6"/>
                </a:lnTo>
                <a:lnTo>
                  <a:pt x="854" y="6"/>
                </a:lnTo>
                <a:lnTo>
                  <a:pt x="853" y="6"/>
                </a:lnTo>
                <a:lnTo>
                  <a:pt x="852" y="6"/>
                </a:lnTo>
                <a:lnTo>
                  <a:pt x="853" y="6"/>
                </a:lnTo>
                <a:lnTo>
                  <a:pt x="852" y="6"/>
                </a:lnTo>
                <a:lnTo>
                  <a:pt x="853" y="6"/>
                </a:lnTo>
                <a:lnTo>
                  <a:pt x="853" y="7"/>
                </a:lnTo>
                <a:lnTo>
                  <a:pt x="852" y="7"/>
                </a:lnTo>
                <a:lnTo>
                  <a:pt x="851" y="8"/>
                </a:lnTo>
                <a:lnTo>
                  <a:pt x="852" y="8"/>
                </a:lnTo>
                <a:lnTo>
                  <a:pt x="852" y="7"/>
                </a:lnTo>
                <a:lnTo>
                  <a:pt x="853" y="7"/>
                </a:lnTo>
                <a:lnTo>
                  <a:pt x="854" y="7"/>
                </a:lnTo>
                <a:lnTo>
                  <a:pt x="855" y="7"/>
                </a:lnTo>
                <a:lnTo>
                  <a:pt x="856" y="7"/>
                </a:lnTo>
                <a:lnTo>
                  <a:pt x="858" y="7"/>
                </a:lnTo>
                <a:lnTo>
                  <a:pt x="858" y="6"/>
                </a:lnTo>
                <a:lnTo>
                  <a:pt x="859" y="6"/>
                </a:lnTo>
                <a:lnTo>
                  <a:pt x="861" y="5"/>
                </a:lnTo>
                <a:lnTo>
                  <a:pt x="862" y="5"/>
                </a:lnTo>
                <a:lnTo>
                  <a:pt x="863" y="5"/>
                </a:lnTo>
                <a:lnTo>
                  <a:pt x="863" y="4"/>
                </a:lnTo>
                <a:lnTo>
                  <a:pt x="865" y="4"/>
                </a:lnTo>
                <a:lnTo>
                  <a:pt x="866" y="4"/>
                </a:lnTo>
                <a:lnTo>
                  <a:pt x="867" y="2"/>
                </a:lnTo>
                <a:lnTo>
                  <a:pt x="867" y="4"/>
                </a:lnTo>
                <a:lnTo>
                  <a:pt x="866" y="4"/>
                </a:lnTo>
                <a:lnTo>
                  <a:pt x="866" y="5"/>
                </a:lnTo>
                <a:lnTo>
                  <a:pt x="865" y="5"/>
                </a:lnTo>
                <a:lnTo>
                  <a:pt x="866" y="4"/>
                </a:lnTo>
                <a:lnTo>
                  <a:pt x="867" y="4"/>
                </a:lnTo>
                <a:lnTo>
                  <a:pt x="868" y="4"/>
                </a:lnTo>
                <a:lnTo>
                  <a:pt x="868" y="5"/>
                </a:lnTo>
                <a:lnTo>
                  <a:pt x="869" y="5"/>
                </a:lnTo>
                <a:lnTo>
                  <a:pt x="868" y="5"/>
                </a:lnTo>
                <a:lnTo>
                  <a:pt x="868" y="6"/>
                </a:lnTo>
                <a:lnTo>
                  <a:pt x="867" y="6"/>
                </a:lnTo>
                <a:lnTo>
                  <a:pt x="866" y="6"/>
                </a:lnTo>
                <a:lnTo>
                  <a:pt x="865" y="6"/>
                </a:lnTo>
                <a:lnTo>
                  <a:pt x="865" y="7"/>
                </a:lnTo>
                <a:lnTo>
                  <a:pt x="866" y="6"/>
                </a:lnTo>
                <a:lnTo>
                  <a:pt x="866" y="7"/>
                </a:lnTo>
                <a:lnTo>
                  <a:pt x="865" y="7"/>
                </a:lnTo>
                <a:lnTo>
                  <a:pt x="866" y="7"/>
                </a:lnTo>
                <a:lnTo>
                  <a:pt x="867" y="7"/>
                </a:lnTo>
                <a:lnTo>
                  <a:pt x="868" y="7"/>
                </a:lnTo>
                <a:lnTo>
                  <a:pt x="868" y="8"/>
                </a:lnTo>
                <a:lnTo>
                  <a:pt x="869" y="8"/>
                </a:lnTo>
                <a:lnTo>
                  <a:pt x="872" y="7"/>
                </a:lnTo>
                <a:lnTo>
                  <a:pt x="873" y="6"/>
                </a:lnTo>
                <a:lnTo>
                  <a:pt x="874" y="6"/>
                </a:lnTo>
                <a:lnTo>
                  <a:pt x="877" y="6"/>
                </a:lnTo>
                <a:lnTo>
                  <a:pt x="879" y="6"/>
                </a:lnTo>
                <a:lnTo>
                  <a:pt x="880" y="6"/>
                </a:lnTo>
                <a:lnTo>
                  <a:pt x="881" y="6"/>
                </a:lnTo>
                <a:lnTo>
                  <a:pt x="882" y="6"/>
                </a:lnTo>
                <a:lnTo>
                  <a:pt x="883" y="6"/>
                </a:lnTo>
                <a:lnTo>
                  <a:pt x="883" y="7"/>
                </a:lnTo>
                <a:lnTo>
                  <a:pt x="884" y="6"/>
                </a:lnTo>
                <a:lnTo>
                  <a:pt x="884" y="7"/>
                </a:lnTo>
                <a:lnTo>
                  <a:pt x="886" y="7"/>
                </a:lnTo>
                <a:lnTo>
                  <a:pt x="884" y="7"/>
                </a:lnTo>
                <a:lnTo>
                  <a:pt x="886" y="6"/>
                </a:lnTo>
                <a:lnTo>
                  <a:pt x="887" y="6"/>
                </a:lnTo>
                <a:lnTo>
                  <a:pt x="889" y="7"/>
                </a:lnTo>
                <a:lnTo>
                  <a:pt x="888" y="7"/>
                </a:lnTo>
                <a:lnTo>
                  <a:pt x="886" y="8"/>
                </a:lnTo>
                <a:lnTo>
                  <a:pt x="884" y="8"/>
                </a:lnTo>
                <a:lnTo>
                  <a:pt x="884" y="9"/>
                </a:lnTo>
                <a:lnTo>
                  <a:pt x="883" y="9"/>
                </a:lnTo>
                <a:lnTo>
                  <a:pt x="884" y="11"/>
                </a:lnTo>
                <a:lnTo>
                  <a:pt x="886" y="11"/>
                </a:lnTo>
                <a:lnTo>
                  <a:pt x="884" y="11"/>
                </a:lnTo>
                <a:lnTo>
                  <a:pt x="882" y="11"/>
                </a:lnTo>
                <a:lnTo>
                  <a:pt x="881" y="11"/>
                </a:lnTo>
                <a:lnTo>
                  <a:pt x="880" y="11"/>
                </a:lnTo>
                <a:lnTo>
                  <a:pt x="881" y="11"/>
                </a:lnTo>
                <a:lnTo>
                  <a:pt x="882" y="11"/>
                </a:lnTo>
                <a:lnTo>
                  <a:pt x="887" y="11"/>
                </a:lnTo>
                <a:lnTo>
                  <a:pt x="888" y="11"/>
                </a:lnTo>
                <a:lnTo>
                  <a:pt x="889" y="11"/>
                </a:lnTo>
                <a:lnTo>
                  <a:pt x="888" y="11"/>
                </a:lnTo>
                <a:lnTo>
                  <a:pt x="888" y="12"/>
                </a:lnTo>
                <a:lnTo>
                  <a:pt x="887" y="12"/>
                </a:lnTo>
                <a:lnTo>
                  <a:pt x="886" y="12"/>
                </a:lnTo>
                <a:lnTo>
                  <a:pt x="884" y="12"/>
                </a:lnTo>
                <a:lnTo>
                  <a:pt x="887" y="12"/>
                </a:lnTo>
                <a:lnTo>
                  <a:pt x="889" y="12"/>
                </a:lnTo>
                <a:lnTo>
                  <a:pt x="890" y="13"/>
                </a:lnTo>
                <a:lnTo>
                  <a:pt x="891" y="13"/>
                </a:lnTo>
                <a:lnTo>
                  <a:pt x="891" y="12"/>
                </a:lnTo>
                <a:lnTo>
                  <a:pt x="892" y="12"/>
                </a:lnTo>
                <a:lnTo>
                  <a:pt x="895" y="12"/>
                </a:lnTo>
                <a:lnTo>
                  <a:pt x="896" y="12"/>
                </a:lnTo>
                <a:lnTo>
                  <a:pt x="897" y="12"/>
                </a:lnTo>
                <a:lnTo>
                  <a:pt x="899" y="12"/>
                </a:lnTo>
                <a:lnTo>
                  <a:pt x="901" y="12"/>
                </a:lnTo>
                <a:lnTo>
                  <a:pt x="899" y="13"/>
                </a:lnTo>
                <a:lnTo>
                  <a:pt x="902" y="12"/>
                </a:lnTo>
                <a:lnTo>
                  <a:pt x="903" y="12"/>
                </a:lnTo>
                <a:lnTo>
                  <a:pt x="906" y="12"/>
                </a:lnTo>
                <a:lnTo>
                  <a:pt x="908" y="12"/>
                </a:lnTo>
                <a:lnTo>
                  <a:pt x="910" y="12"/>
                </a:lnTo>
                <a:lnTo>
                  <a:pt x="911" y="12"/>
                </a:lnTo>
                <a:lnTo>
                  <a:pt x="913" y="12"/>
                </a:lnTo>
                <a:lnTo>
                  <a:pt x="915" y="12"/>
                </a:lnTo>
                <a:lnTo>
                  <a:pt x="913" y="13"/>
                </a:lnTo>
                <a:lnTo>
                  <a:pt x="915" y="13"/>
                </a:lnTo>
                <a:lnTo>
                  <a:pt x="915" y="12"/>
                </a:lnTo>
                <a:lnTo>
                  <a:pt x="916" y="13"/>
                </a:lnTo>
                <a:lnTo>
                  <a:pt x="917" y="13"/>
                </a:lnTo>
                <a:lnTo>
                  <a:pt x="917" y="14"/>
                </a:lnTo>
                <a:lnTo>
                  <a:pt x="918" y="14"/>
                </a:lnTo>
                <a:lnTo>
                  <a:pt x="919" y="13"/>
                </a:lnTo>
                <a:lnTo>
                  <a:pt x="920" y="13"/>
                </a:lnTo>
                <a:lnTo>
                  <a:pt x="920" y="14"/>
                </a:lnTo>
                <a:lnTo>
                  <a:pt x="922" y="14"/>
                </a:lnTo>
                <a:lnTo>
                  <a:pt x="923" y="14"/>
                </a:lnTo>
                <a:lnTo>
                  <a:pt x="923" y="15"/>
                </a:lnTo>
                <a:lnTo>
                  <a:pt x="922" y="15"/>
                </a:lnTo>
                <a:lnTo>
                  <a:pt x="923" y="15"/>
                </a:lnTo>
                <a:lnTo>
                  <a:pt x="925" y="15"/>
                </a:lnTo>
                <a:lnTo>
                  <a:pt x="926" y="15"/>
                </a:lnTo>
                <a:lnTo>
                  <a:pt x="927" y="15"/>
                </a:lnTo>
                <a:lnTo>
                  <a:pt x="927" y="16"/>
                </a:lnTo>
                <a:lnTo>
                  <a:pt x="930" y="15"/>
                </a:lnTo>
                <a:lnTo>
                  <a:pt x="931" y="15"/>
                </a:lnTo>
                <a:lnTo>
                  <a:pt x="932" y="15"/>
                </a:lnTo>
                <a:lnTo>
                  <a:pt x="934" y="15"/>
                </a:lnTo>
                <a:lnTo>
                  <a:pt x="937" y="15"/>
                </a:lnTo>
                <a:lnTo>
                  <a:pt x="938" y="16"/>
                </a:lnTo>
                <a:lnTo>
                  <a:pt x="939" y="16"/>
                </a:lnTo>
                <a:lnTo>
                  <a:pt x="940" y="16"/>
                </a:lnTo>
                <a:lnTo>
                  <a:pt x="940" y="15"/>
                </a:lnTo>
                <a:lnTo>
                  <a:pt x="940" y="16"/>
                </a:lnTo>
                <a:lnTo>
                  <a:pt x="941" y="16"/>
                </a:lnTo>
                <a:lnTo>
                  <a:pt x="941" y="18"/>
                </a:lnTo>
                <a:lnTo>
                  <a:pt x="941" y="16"/>
                </a:lnTo>
                <a:lnTo>
                  <a:pt x="943" y="16"/>
                </a:lnTo>
                <a:lnTo>
                  <a:pt x="943" y="18"/>
                </a:lnTo>
                <a:lnTo>
                  <a:pt x="944" y="18"/>
                </a:lnTo>
                <a:lnTo>
                  <a:pt x="945" y="18"/>
                </a:lnTo>
                <a:lnTo>
                  <a:pt x="944" y="18"/>
                </a:lnTo>
                <a:lnTo>
                  <a:pt x="943" y="18"/>
                </a:lnTo>
                <a:lnTo>
                  <a:pt x="944" y="18"/>
                </a:lnTo>
                <a:lnTo>
                  <a:pt x="945" y="18"/>
                </a:lnTo>
                <a:lnTo>
                  <a:pt x="946" y="19"/>
                </a:lnTo>
                <a:lnTo>
                  <a:pt x="947" y="18"/>
                </a:lnTo>
                <a:lnTo>
                  <a:pt x="947" y="19"/>
                </a:lnTo>
                <a:lnTo>
                  <a:pt x="948" y="19"/>
                </a:lnTo>
                <a:lnTo>
                  <a:pt x="950" y="19"/>
                </a:lnTo>
                <a:lnTo>
                  <a:pt x="951" y="19"/>
                </a:lnTo>
                <a:lnTo>
                  <a:pt x="951" y="18"/>
                </a:lnTo>
                <a:lnTo>
                  <a:pt x="953" y="18"/>
                </a:lnTo>
                <a:lnTo>
                  <a:pt x="955" y="18"/>
                </a:lnTo>
                <a:lnTo>
                  <a:pt x="956" y="18"/>
                </a:lnTo>
                <a:lnTo>
                  <a:pt x="955" y="18"/>
                </a:lnTo>
                <a:lnTo>
                  <a:pt x="955" y="19"/>
                </a:lnTo>
                <a:lnTo>
                  <a:pt x="955" y="18"/>
                </a:lnTo>
                <a:lnTo>
                  <a:pt x="956" y="18"/>
                </a:lnTo>
                <a:lnTo>
                  <a:pt x="956" y="16"/>
                </a:lnTo>
                <a:lnTo>
                  <a:pt x="958" y="16"/>
                </a:lnTo>
                <a:lnTo>
                  <a:pt x="958" y="18"/>
                </a:lnTo>
                <a:lnTo>
                  <a:pt x="959" y="16"/>
                </a:lnTo>
                <a:lnTo>
                  <a:pt x="960" y="16"/>
                </a:lnTo>
                <a:lnTo>
                  <a:pt x="961" y="16"/>
                </a:lnTo>
                <a:lnTo>
                  <a:pt x="962" y="16"/>
                </a:lnTo>
                <a:lnTo>
                  <a:pt x="965" y="16"/>
                </a:lnTo>
                <a:lnTo>
                  <a:pt x="963" y="18"/>
                </a:lnTo>
                <a:lnTo>
                  <a:pt x="965" y="18"/>
                </a:lnTo>
                <a:lnTo>
                  <a:pt x="965" y="16"/>
                </a:lnTo>
                <a:lnTo>
                  <a:pt x="966" y="16"/>
                </a:lnTo>
                <a:lnTo>
                  <a:pt x="967" y="16"/>
                </a:lnTo>
                <a:lnTo>
                  <a:pt x="967" y="18"/>
                </a:lnTo>
                <a:lnTo>
                  <a:pt x="968" y="18"/>
                </a:lnTo>
                <a:lnTo>
                  <a:pt x="969" y="18"/>
                </a:lnTo>
                <a:lnTo>
                  <a:pt x="970" y="18"/>
                </a:lnTo>
                <a:lnTo>
                  <a:pt x="969" y="19"/>
                </a:lnTo>
                <a:lnTo>
                  <a:pt x="970" y="19"/>
                </a:lnTo>
                <a:lnTo>
                  <a:pt x="970" y="20"/>
                </a:lnTo>
                <a:lnTo>
                  <a:pt x="973" y="20"/>
                </a:lnTo>
                <a:lnTo>
                  <a:pt x="973" y="21"/>
                </a:lnTo>
                <a:lnTo>
                  <a:pt x="974" y="21"/>
                </a:lnTo>
                <a:lnTo>
                  <a:pt x="975" y="21"/>
                </a:lnTo>
                <a:lnTo>
                  <a:pt x="976" y="21"/>
                </a:lnTo>
                <a:lnTo>
                  <a:pt x="976" y="22"/>
                </a:lnTo>
                <a:lnTo>
                  <a:pt x="977" y="23"/>
                </a:lnTo>
                <a:lnTo>
                  <a:pt x="977" y="22"/>
                </a:lnTo>
                <a:lnTo>
                  <a:pt x="979" y="22"/>
                </a:lnTo>
                <a:lnTo>
                  <a:pt x="977" y="22"/>
                </a:lnTo>
                <a:lnTo>
                  <a:pt x="980" y="22"/>
                </a:lnTo>
                <a:lnTo>
                  <a:pt x="977" y="25"/>
                </a:lnTo>
                <a:lnTo>
                  <a:pt x="975" y="27"/>
                </a:lnTo>
                <a:lnTo>
                  <a:pt x="973" y="28"/>
                </a:lnTo>
                <a:lnTo>
                  <a:pt x="970" y="30"/>
                </a:lnTo>
                <a:lnTo>
                  <a:pt x="968" y="33"/>
                </a:lnTo>
                <a:lnTo>
                  <a:pt x="966" y="34"/>
                </a:lnTo>
                <a:lnTo>
                  <a:pt x="963" y="36"/>
                </a:lnTo>
                <a:lnTo>
                  <a:pt x="961" y="39"/>
                </a:lnTo>
                <a:lnTo>
                  <a:pt x="959" y="40"/>
                </a:lnTo>
                <a:lnTo>
                  <a:pt x="956" y="42"/>
                </a:lnTo>
                <a:lnTo>
                  <a:pt x="954" y="44"/>
                </a:lnTo>
                <a:lnTo>
                  <a:pt x="952" y="46"/>
                </a:lnTo>
                <a:lnTo>
                  <a:pt x="950" y="48"/>
                </a:lnTo>
                <a:lnTo>
                  <a:pt x="947" y="50"/>
                </a:lnTo>
                <a:lnTo>
                  <a:pt x="945" y="53"/>
                </a:lnTo>
                <a:lnTo>
                  <a:pt x="943" y="54"/>
                </a:lnTo>
                <a:lnTo>
                  <a:pt x="940" y="56"/>
                </a:lnTo>
                <a:lnTo>
                  <a:pt x="938" y="58"/>
                </a:lnTo>
                <a:lnTo>
                  <a:pt x="936" y="60"/>
                </a:lnTo>
                <a:lnTo>
                  <a:pt x="933" y="62"/>
                </a:lnTo>
                <a:lnTo>
                  <a:pt x="931" y="64"/>
                </a:lnTo>
                <a:lnTo>
                  <a:pt x="929" y="67"/>
                </a:lnTo>
                <a:lnTo>
                  <a:pt x="926" y="68"/>
                </a:lnTo>
                <a:lnTo>
                  <a:pt x="924" y="70"/>
                </a:lnTo>
                <a:lnTo>
                  <a:pt x="922" y="72"/>
                </a:lnTo>
                <a:lnTo>
                  <a:pt x="919" y="74"/>
                </a:lnTo>
                <a:lnTo>
                  <a:pt x="917" y="76"/>
                </a:lnTo>
                <a:lnTo>
                  <a:pt x="915" y="78"/>
                </a:lnTo>
                <a:lnTo>
                  <a:pt x="912" y="81"/>
                </a:lnTo>
                <a:lnTo>
                  <a:pt x="910" y="82"/>
                </a:lnTo>
                <a:lnTo>
                  <a:pt x="908" y="84"/>
                </a:lnTo>
                <a:lnTo>
                  <a:pt x="905" y="86"/>
                </a:lnTo>
                <a:lnTo>
                  <a:pt x="903" y="89"/>
                </a:lnTo>
                <a:lnTo>
                  <a:pt x="901" y="90"/>
                </a:lnTo>
                <a:lnTo>
                  <a:pt x="898" y="92"/>
                </a:lnTo>
                <a:lnTo>
                  <a:pt x="896" y="95"/>
                </a:lnTo>
                <a:lnTo>
                  <a:pt x="894" y="97"/>
                </a:lnTo>
                <a:lnTo>
                  <a:pt x="891" y="98"/>
                </a:lnTo>
                <a:lnTo>
                  <a:pt x="889" y="100"/>
                </a:lnTo>
                <a:lnTo>
                  <a:pt x="887" y="103"/>
                </a:lnTo>
                <a:lnTo>
                  <a:pt x="884" y="105"/>
                </a:lnTo>
                <a:lnTo>
                  <a:pt x="882" y="106"/>
                </a:lnTo>
                <a:lnTo>
                  <a:pt x="880" y="109"/>
                </a:lnTo>
                <a:lnTo>
                  <a:pt x="877" y="111"/>
                </a:lnTo>
                <a:lnTo>
                  <a:pt x="875" y="113"/>
                </a:lnTo>
                <a:lnTo>
                  <a:pt x="873" y="114"/>
                </a:lnTo>
                <a:lnTo>
                  <a:pt x="870" y="117"/>
                </a:lnTo>
                <a:lnTo>
                  <a:pt x="869" y="119"/>
                </a:lnTo>
                <a:lnTo>
                  <a:pt x="867" y="121"/>
                </a:lnTo>
                <a:lnTo>
                  <a:pt x="865" y="123"/>
                </a:lnTo>
                <a:lnTo>
                  <a:pt x="862" y="125"/>
                </a:lnTo>
                <a:lnTo>
                  <a:pt x="860" y="127"/>
                </a:lnTo>
                <a:lnTo>
                  <a:pt x="858" y="130"/>
                </a:lnTo>
                <a:lnTo>
                  <a:pt x="855" y="132"/>
                </a:lnTo>
                <a:lnTo>
                  <a:pt x="853" y="133"/>
                </a:lnTo>
                <a:lnTo>
                  <a:pt x="851" y="135"/>
                </a:lnTo>
                <a:lnTo>
                  <a:pt x="848" y="138"/>
                </a:lnTo>
                <a:lnTo>
                  <a:pt x="847" y="140"/>
                </a:lnTo>
                <a:lnTo>
                  <a:pt x="845" y="142"/>
                </a:lnTo>
                <a:lnTo>
                  <a:pt x="842" y="144"/>
                </a:lnTo>
                <a:lnTo>
                  <a:pt x="840" y="146"/>
                </a:lnTo>
                <a:lnTo>
                  <a:pt x="838" y="148"/>
                </a:lnTo>
                <a:lnTo>
                  <a:pt x="835" y="151"/>
                </a:lnTo>
                <a:lnTo>
                  <a:pt x="833" y="153"/>
                </a:lnTo>
                <a:lnTo>
                  <a:pt x="834" y="153"/>
                </a:lnTo>
                <a:lnTo>
                  <a:pt x="835" y="153"/>
                </a:lnTo>
                <a:lnTo>
                  <a:pt x="837" y="154"/>
                </a:lnTo>
                <a:lnTo>
                  <a:pt x="838" y="154"/>
                </a:lnTo>
                <a:lnTo>
                  <a:pt x="839" y="153"/>
                </a:lnTo>
                <a:lnTo>
                  <a:pt x="840" y="153"/>
                </a:lnTo>
                <a:lnTo>
                  <a:pt x="841" y="154"/>
                </a:lnTo>
                <a:lnTo>
                  <a:pt x="842" y="154"/>
                </a:lnTo>
                <a:lnTo>
                  <a:pt x="844" y="154"/>
                </a:lnTo>
                <a:lnTo>
                  <a:pt x="846" y="153"/>
                </a:lnTo>
                <a:lnTo>
                  <a:pt x="847" y="153"/>
                </a:lnTo>
                <a:lnTo>
                  <a:pt x="848" y="153"/>
                </a:lnTo>
                <a:lnTo>
                  <a:pt x="849" y="152"/>
                </a:lnTo>
                <a:lnTo>
                  <a:pt x="851" y="152"/>
                </a:lnTo>
                <a:lnTo>
                  <a:pt x="852" y="152"/>
                </a:lnTo>
                <a:lnTo>
                  <a:pt x="853" y="152"/>
                </a:lnTo>
                <a:lnTo>
                  <a:pt x="855" y="152"/>
                </a:lnTo>
                <a:lnTo>
                  <a:pt x="855" y="153"/>
                </a:lnTo>
                <a:lnTo>
                  <a:pt x="854" y="153"/>
                </a:lnTo>
                <a:lnTo>
                  <a:pt x="853" y="154"/>
                </a:lnTo>
                <a:lnTo>
                  <a:pt x="852" y="155"/>
                </a:lnTo>
                <a:lnTo>
                  <a:pt x="851" y="155"/>
                </a:lnTo>
                <a:lnTo>
                  <a:pt x="851" y="156"/>
                </a:lnTo>
                <a:lnTo>
                  <a:pt x="851" y="158"/>
                </a:lnTo>
                <a:lnTo>
                  <a:pt x="852" y="158"/>
                </a:lnTo>
                <a:lnTo>
                  <a:pt x="853" y="159"/>
                </a:lnTo>
                <a:lnTo>
                  <a:pt x="852" y="160"/>
                </a:lnTo>
                <a:lnTo>
                  <a:pt x="852" y="161"/>
                </a:lnTo>
                <a:lnTo>
                  <a:pt x="853" y="162"/>
                </a:lnTo>
                <a:lnTo>
                  <a:pt x="853" y="163"/>
                </a:lnTo>
                <a:lnTo>
                  <a:pt x="854" y="165"/>
                </a:lnTo>
                <a:lnTo>
                  <a:pt x="854" y="166"/>
                </a:lnTo>
                <a:lnTo>
                  <a:pt x="855" y="167"/>
                </a:lnTo>
                <a:lnTo>
                  <a:pt x="855" y="168"/>
                </a:lnTo>
                <a:lnTo>
                  <a:pt x="854" y="169"/>
                </a:lnTo>
                <a:lnTo>
                  <a:pt x="854" y="170"/>
                </a:lnTo>
                <a:lnTo>
                  <a:pt x="853" y="172"/>
                </a:lnTo>
                <a:lnTo>
                  <a:pt x="852" y="173"/>
                </a:lnTo>
                <a:lnTo>
                  <a:pt x="853" y="173"/>
                </a:lnTo>
                <a:lnTo>
                  <a:pt x="854" y="173"/>
                </a:lnTo>
                <a:lnTo>
                  <a:pt x="855" y="172"/>
                </a:lnTo>
                <a:lnTo>
                  <a:pt x="858" y="172"/>
                </a:lnTo>
                <a:lnTo>
                  <a:pt x="859" y="170"/>
                </a:lnTo>
                <a:lnTo>
                  <a:pt x="860" y="170"/>
                </a:lnTo>
                <a:lnTo>
                  <a:pt x="861" y="170"/>
                </a:lnTo>
                <a:lnTo>
                  <a:pt x="862" y="169"/>
                </a:lnTo>
                <a:lnTo>
                  <a:pt x="863" y="169"/>
                </a:lnTo>
                <a:lnTo>
                  <a:pt x="865" y="169"/>
                </a:lnTo>
                <a:lnTo>
                  <a:pt x="866" y="169"/>
                </a:lnTo>
                <a:lnTo>
                  <a:pt x="868" y="168"/>
                </a:lnTo>
                <a:lnTo>
                  <a:pt x="869" y="167"/>
                </a:lnTo>
                <a:lnTo>
                  <a:pt x="870" y="166"/>
                </a:lnTo>
                <a:lnTo>
                  <a:pt x="872" y="165"/>
                </a:lnTo>
                <a:lnTo>
                  <a:pt x="873" y="165"/>
                </a:lnTo>
                <a:lnTo>
                  <a:pt x="874" y="165"/>
                </a:lnTo>
                <a:lnTo>
                  <a:pt x="875" y="163"/>
                </a:lnTo>
                <a:lnTo>
                  <a:pt x="876" y="162"/>
                </a:lnTo>
                <a:lnTo>
                  <a:pt x="877" y="162"/>
                </a:lnTo>
                <a:lnTo>
                  <a:pt x="880" y="162"/>
                </a:lnTo>
                <a:lnTo>
                  <a:pt x="881" y="162"/>
                </a:lnTo>
                <a:lnTo>
                  <a:pt x="882" y="161"/>
                </a:lnTo>
                <a:lnTo>
                  <a:pt x="884" y="161"/>
                </a:lnTo>
                <a:lnTo>
                  <a:pt x="887" y="160"/>
                </a:lnTo>
                <a:lnTo>
                  <a:pt x="888" y="160"/>
                </a:lnTo>
                <a:lnTo>
                  <a:pt x="888" y="161"/>
                </a:lnTo>
                <a:lnTo>
                  <a:pt x="889" y="162"/>
                </a:lnTo>
                <a:lnTo>
                  <a:pt x="888" y="162"/>
                </a:lnTo>
                <a:lnTo>
                  <a:pt x="889" y="162"/>
                </a:lnTo>
                <a:lnTo>
                  <a:pt x="889" y="163"/>
                </a:lnTo>
                <a:lnTo>
                  <a:pt x="888" y="165"/>
                </a:lnTo>
                <a:lnTo>
                  <a:pt x="887" y="166"/>
                </a:lnTo>
                <a:lnTo>
                  <a:pt x="887" y="167"/>
                </a:lnTo>
                <a:lnTo>
                  <a:pt x="886" y="167"/>
                </a:lnTo>
                <a:lnTo>
                  <a:pt x="886" y="168"/>
                </a:lnTo>
                <a:lnTo>
                  <a:pt x="887" y="168"/>
                </a:lnTo>
                <a:lnTo>
                  <a:pt x="888" y="168"/>
                </a:lnTo>
                <a:lnTo>
                  <a:pt x="888" y="169"/>
                </a:lnTo>
                <a:lnTo>
                  <a:pt x="888" y="170"/>
                </a:lnTo>
                <a:lnTo>
                  <a:pt x="889" y="170"/>
                </a:lnTo>
                <a:lnTo>
                  <a:pt x="889" y="172"/>
                </a:lnTo>
                <a:lnTo>
                  <a:pt x="888" y="172"/>
                </a:lnTo>
                <a:lnTo>
                  <a:pt x="888" y="173"/>
                </a:lnTo>
                <a:lnTo>
                  <a:pt x="888" y="174"/>
                </a:lnTo>
                <a:lnTo>
                  <a:pt x="889" y="174"/>
                </a:lnTo>
                <a:lnTo>
                  <a:pt x="889" y="175"/>
                </a:lnTo>
                <a:lnTo>
                  <a:pt x="890" y="175"/>
                </a:lnTo>
                <a:lnTo>
                  <a:pt x="890" y="176"/>
                </a:lnTo>
                <a:lnTo>
                  <a:pt x="890" y="177"/>
                </a:lnTo>
                <a:lnTo>
                  <a:pt x="890" y="179"/>
                </a:lnTo>
                <a:lnTo>
                  <a:pt x="891" y="179"/>
                </a:lnTo>
                <a:lnTo>
                  <a:pt x="891" y="180"/>
                </a:lnTo>
                <a:lnTo>
                  <a:pt x="891" y="181"/>
                </a:lnTo>
                <a:lnTo>
                  <a:pt x="890" y="181"/>
                </a:lnTo>
                <a:lnTo>
                  <a:pt x="890" y="182"/>
                </a:lnTo>
                <a:lnTo>
                  <a:pt x="890" y="183"/>
                </a:lnTo>
                <a:lnTo>
                  <a:pt x="890" y="184"/>
                </a:lnTo>
                <a:lnTo>
                  <a:pt x="889" y="186"/>
                </a:lnTo>
                <a:lnTo>
                  <a:pt x="889" y="187"/>
                </a:lnTo>
                <a:lnTo>
                  <a:pt x="889" y="188"/>
                </a:lnTo>
                <a:lnTo>
                  <a:pt x="889" y="189"/>
                </a:lnTo>
                <a:lnTo>
                  <a:pt x="889" y="191"/>
                </a:lnTo>
                <a:lnTo>
                  <a:pt x="889" y="193"/>
                </a:lnTo>
                <a:lnTo>
                  <a:pt x="888" y="194"/>
                </a:lnTo>
                <a:lnTo>
                  <a:pt x="889" y="195"/>
                </a:lnTo>
                <a:lnTo>
                  <a:pt x="889" y="196"/>
                </a:lnTo>
                <a:lnTo>
                  <a:pt x="888" y="197"/>
                </a:lnTo>
                <a:lnTo>
                  <a:pt x="888" y="198"/>
                </a:lnTo>
                <a:lnTo>
                  <a:pt x="887" y="198"/>
                </a:lnTo>
                <a:lnTo>
                  <a:pt x="886" y="200"/>
                </a:lnTo>
                <a:lnTo>
                  <a:pt x="887" y="201"/>
                </a:lnTo>
                <a:lnTo>
                  <a:pt x="888" y="201"/>
                </a:lnTo>
                <a:lnTo>
                  <a:pt x="884" y="203"/>
                </a:lnTo>
                <a:lnTo>
                  <a:pt x="887" y="204"/>
                </a:lnTo>
                <a:lnTo>
                  <a:pt x="886" y="204"/>
                </a:lnTo>
                <a:lnTo>
                  <a:pt x="886" y="205"/>
                </a:lnTo>
                <a:lnTo>
                  <a:pt x="886" y="207"/>
                </a:lnTo>
                <a:lnTo>
                  <a:pt x="884" y="207"/>
                </a:lnTo>
                <a:lnTo>
                  <a:pt x="886" y="207"/>
                </a:lnTo>
                <a:lnTo>
                  <a:pt x="888" y="207"/>
                </a:lnTo>
                <a:lnTo>
                  <a:pt x="888" y="208"/>
                </a:lnTo>
                <a:lnTo>
                  <a:pt x="889" y="209"/>
                </a:lnTo>
                <a:lnTo>
                  <a:pt x="890" y="209"/>
                </a:lnTo>
                <a:lnTo>
                  <a:pt x="890" y="210"/>
                </a:lnTo>
                <a:lnTo>
                  <a:pt x="891" y="210"/>
                </a:lnTo>
                <a:lnTo>
                  <a:pt x="894" y="210"/>
                </a:lnTo>
                <a:lnTo>
                  <a:pt x="894" y="211"/>
                </a:lnTo>
                <a:lnTo>
                  <a:pt x="894" y="212"/>
                </a:lnTo>
                <a:lnTo>
                  <a:pt x="895" y="212"/>
                </a:lnTo>
                <a:lnTo>
                  <a:pt x="896" y="212"/>
                </a:lnTo>
                <a:lnTo>
                  <a:pt x="895" y="212"/>
                </a:lnTo>
                <a:lnTo>
                  <a:pt x="895" y="214"/>
                </a:lnTo>
                <a:lnTo>
                  <a:pt x="896" y="215"/>
                </a:lnTo>
                <a:lnTo>
                  <a:pt x="897" y="215"/>
                </a:lnTo>
                <a:lnTo>
                  <a:pt x="898" y="215"/>
                </a:lnTo>
                <a:lnTo>
                  <a:pt x="898" y="216"/>
                </a:lnTo>
                <a:lnTo>
                  <a:pt x="897" y="216"/>
                </a:lnTo>
                <a:lnTo>
                  <a:pt x="897" y="217"/>
                </a:lnTo>
                <a:lnTo>
                  <a:pt x="896" y="217"/>
                </a:lnTo>
                <a:lnTo>
                  <a:pt x="896" y="218"/>
                </a:lnTo>
                <a:lnTo>
                  <a:pt x="895" y="218"/>
                </a:lnTo>
                <a:lnTo>
                  <a:pt x="894" y="218"/>
                </a:lnTo>
                <a:lnTo>
                  <a:pt x="894" y="219"/>
                </a:lnTo>
                <a:lnTo>
                  <a:pt x="892" y="219"/>
                </a:lnTo>
                <a:lnTo>
                  <a:pt x="892" y="221"/>
                </a:lnTo>
                <a:lnTo>
                  <a:pt x="891" y="222"/>
                </a:lnTo>
                <a:lnTo>
                  <a:pt x="890" y="223"/>
                </a:lnTo>
                <a:lnTo>
                  <a:pt x="890" y="224"/>
                </a:lnTo>
                <a:lnTo>
                  <a:pt x="889" y="225"/>
                </a:lnTo>
                <a:lnTo>
                  <a:pt x="889" y="226"/>
                </a:lnTo>
                <a:lnTo>
                  <a:pt x="888" y="226"/>
                </a:lnTo>
                <a:lnTo>
                  <a:pt x="888" y="228"/>
                </a:lnTo>
                <a:lnTo>
                  <a:pt x="887" y="228"/>
                </a:lnTo>
                <a:lnTo>
                  <a:pt x="886" y="228"/>
                </a:lnTo>
                <a:lnTo>
                  <a:pt x="886" y="229"/>
                </a:lnTo>
                <a:lnTo>
                  <a:pt x="884" y="229"/>
                </a:lnTo>
                <a:lnTo>
                  <a:pt x="884" y="230"/>
                </a:lnTo>
                <a:lnTo>
                  <a:pt x="883" y="230"/>
                </a:lnTo>
                <a:lnTo>
                  <a:pt x="882" y="230"/>
                </a:lnTo>
                <a:lnTo>
                  <a:pt x="882" y="231"/>
                </a:lnTo>
                <a:lnTo>
                  <a:pt x="881" y="231"/>
                </a:lnTo>
                <a:lnTo>
                  <a:pt x="880" y="232"/>
                </a:lnTo>
                <a:lnTo>
                  <a:pt x="879" y="232"/>
                </a:lnTo>
                <a:lnTo>
                  <a:pt x="877" y="233"/>
                </a:lnTo>
                <a:lnTo>
                  <a:pt x="876" y="233"/>
                </a:lnTo>
                <a:lnTo>
                  <a:pt x="877" y="233"/>
                </a:lnTo>
                <a:lnTo>
                  <a:pt x="876" y="233"/>
                </a:lnTo>
                <a:lnTo>
                  <a:pt x="875" y="235"/>
                </a:lnTo>
                <a:lnTo>
                  <a:pt x="874" y="235"/>
                </a:lnTo>
                <a:lnTo>
                  <a:pt x="874" y="233"/>
                </a:lnTo>
                <a:lnTo>
                  <a:pt x="875" y="233"/>
                </a:lnTo>
                <a:lnTo>
                  <a:pt x="875" y="232"/>
                </a:lnTo>
                <a:lnTo>
                  <a:pt x="876" y="232"/>
                </a:lnTo>
                <a:lnTo>
                  <a:pt x="876" y="231"/>
                </a:lnTo>
                <a:lnTo>
                  <a:pt x="875" y="232"/>
                </a:lnTo>
                <a:lnTo>
                  <a:pt x="875" y="233"/>
                </a:lnTo>
                <a:lnTo>
                  <a:pt x="874" y="233"/>
                </a:lnTo>
                <a:lnTo>
                  <a:pt x="873" y="235"/>
                </a:lnTo>
                <a:lnTo>
                  <a:pt x="872" y="233"/>
                </a:lnTo>
                <a:lnTo>
                  <a:pt x="873" y="233"/>
                </a:lnTo>
                <a:lnTo>
                  <a:pt x="873" y="232"/>
                </a:lnTo>
                <a:lnTo>
                  <a:pt x="874" y="232"/>
                </a:lnTo>
                <a:lnTo>
                  <a:pt x="874" y="231"/>
                </a:lnTo>
                <a:lnTo>
                  <a:pt x="874" y="230"/>
                </a:lnTo>
                <a:lnTo>
                  <a:pt x="875" y="230"/>
                </a:lnTo>
                <a:lnTo>
                  <a:pt x="876" y="230"/>
                </a:lnTo>
                <a:lnTo>
                  <a:pt x="876" y="229"/>
                </a:lnTo>
                <a:lnTo>
                  <a:pt x="877" y="229"/>
                </a:lnTo>
                <a:lnTo>
                  <a:pt x="877" y="230"/>
                </a:lnTo>
                <a:lnTo>
                  <a:pt x="879" y="229"/>
                </a:lnTo>
                <a:lnTo>
                  <a:pt x="880" y="228"/>
                </a:lnTo>
                <a:lnTo>
                  <a:pt x="882" y="228"/>
                </a:lnTo>
                <a:lnTo>
                  <a:pt x="883" y="226"/>
                </a:lnTo>
                <a:lnTo>
                  <a:pt x="884" y="225"/>
                </a:lnTo>
                <a:lnTo>
                  <a:pt x="883" y="226"/>
                </a:lnTo>
                <a:lnTo>
                  <a:pt x="882" y="226"/>
                </a:lnTo>
                <a:lnTo>
                  <a:pt x="881" y="228"/>
                </a:lnTo>
                <a:lnTo>
                  <a:pt x="880" y="228"/>
                </a:lnTo>
                <a:lnTo>
                  <a:pt x="880" y="229"/>
                </a:lnTo>
                <a:lnTo>
                  <a:pt x="877" y="229"/>
                </a:lnTo>
                <a:lnTo>
                  <a:pt x="877" y="230"/>
                </a:lnTo>
                <a:lnTo>
                  <a:pt x="877" y="229"/>
                </a:lnTo>
                <a:lnTo>
                  <a:pt x="876" y="229"/>
                </a:lnTo>
                <a:lnTo>
                  <a:pt x="875" y="230"/>
                </a:lnTo>
                <a:lnTo>
                  <a:pt x="875" y="229"/>
                </a:lnTo>
                <a:lnTo>
                  <a:pt x="875" y="228"/>
                </a:lnTo>
                <a:lnTo>
                  <a:pt x="876" y="228"/>
                </a:lnTo>
                <a:lnTo>
                  <a:pt x="877" y="226"/>
                </a:lnTo>
                <a:lnTo>
                  <a:pt x="879" y="226"/>
                </a:lnTo>
                <a:lnTo>
                  <a:pt x="882" y="226"/>
                </a:lnTo>
                <a:lnTo>
                  <a:pt x="882" y="225"/>
                </a:lnTo>
                <a:lnTo>
                  <a:pt x="881" y="226"/>
                </a:lnTo>
                <a:lnTo>
                  <a:pt x="880" y="226"/>
                </a:lnTo>
                <a:lnTo>
                  <a:pt x="880" y="225"/>
                </a:lnTo>
                <a:lnTo>
                  <a:pt x="881" y="224"/>
                </a:lnTo>
                <a:lnTo>
                  <a:pt x="882" y="223"/>
                </a:lnTo>
                <a:lnTo>
                  <a:pt x="883" y="222"/>
                </a:lnTo>
                <a:lnTo>
                  <a:pt x="883" y="221"/>
                </a:lnTo>
                <a:lnTo>
                  <a:pt x="884" y="221"/>
                </a:lnTo>
                <a:lnTo>
                  <a:pt x="884" y="219"/>
                </a:lnTo>
                <a:lnTo>
                  <a:pt x="884" y="218"/>
                </a:lnTo>
                <a:lnTo>
                  <a:pt x="884" y="217"/>
                </a:lnTo>
                <a:lnTo>
                  <a:pt x="883" y="217"/>
                </a:lnTo>
                <a:lnTo>
                  <a:pt x="884" y="216"/>
                </a:lnTo>
                <a:lnTo>
                  <a:pt x="886" y="216"/>
                </a:lnTo>
                <a:lnTo>
                  <a:pt x="887" y="215"/>
                </a:lnTo>
                <a:lnTo>
                  <a:pt x="888" y="214"/>
                </a:lnTo>
                <a:lnTo>
                  <a:pt x="887" y="215"/>
                </a:lnTo>
                <a:lnTo>
                  <a:pt x="886" y="215"/>
                </a:lnTo>
                <a:lnTo>
                  <a:pt x="886" y="216"/>
                </a:lnTo>
                <a:lnTo>
                  <a:pt x="884" y="216"/>
                </a:lnTo>
                <a:lnTo>
                  <a:pt x="883" y="216"/>
                </a:lnTo>
                <a:lnTo>
                  <a:pt x="882" y="216"/>
                </a:lnTo>
                <a:lnTo>
                  <a:pt x="881" y="216"/>
                </a:lnTo>
                <a:lnTo>
                  <a:pt x="880" y="217"/>
                </a:lnTo>
                <a:lnTo>
                  <a:pt x="879" y="217"/>
                </a:lnTo>
                <a:lnTo>
                  <a:pt x="877" y="217"/>
                </a:lnTo>
                <a:lnTo>
                  <a:pt x="876" y="217"/>
                </a:lnTo>
                <a:lnTo>
                  <a:pt x="875" y="217"/>
                </a:lnTo>
                <a:lnTo>
                  <a:pt x="875" y="218"/>
                </a:lnTo>
                <a:lnTo>
                  <a:pt x="874" y="218"/>
                </a:lnTo>
                <a:lnTo>
                  <a:pt x="875" y="218"/>
                </a:lnTo>
                <a:lnTo>
                  <a:pt x="875" y="219"/>
                </a:lnTo>
                <a:lnTo>
                  <a:pt x="874" y="219"/>
                </a:lnTo>
                <a:lnTo>
                  <a:pt x="873" y="219"/>
                </a:lnTo>
                <a:lnTo>
                  <a:pt x="873" y="221"/>
                </a:lnTo>
                <a:lnTo>
                  <a:pt x="872" y="221"/>
                </a:lnTo>
                <a:lnTo>
                  <a:pt x="872" y="222"/>
                </a:lnTo>
                <a:lnTo>
                  <a:pt x="870" y="221"/>
                </a:lnTo>
                <a:lnTo>
                  <a:pt x="870" y="222"/>
                </a:lnTo>
                <a:lnTo>
                  <a:pt x="870" y="223"/>
                </a:lnTo>
                <a:lnTo>
                  <a:pt x="869" y="223"/>
                </a:lnTo>
                <a:lnTo>
                  <a:pt x="868" y="222"/>
                </a:lnTo>
                <a:lnTo>
                  <a:pt x="868" y="221"/>
                </a:lnTo>
                <a:lnTo>
                  <a:pt x="868" y="219"/>
                </a:lnTo>
                <a:lnTo>
                  <a:pt x="869" y="219"/>
                </a:lnTo>
                <a:lnTo>
                  <a:pt x="870" y="219"/>
                </a:lnTo>
                <a:lnTo>
                  <a:pt x="870" y="218"/>
                </a:lnTo>
                <a:lnTo>
                  <a:pt x="872" y="218"/>
                </a:lnTo>
                <a:lnTo>
                  <a:pt x="873" y="218"/>
                </a:lnTo>
                <a:lnTo>
                  <a:pt x="873" y="217"/>
                </a:lnTo>
                <a:lnTo>
                  <a:pt x="874" y="217"/>
                </a:lnTo>
                <a:lnTo>
                  <a:pt x="874" y="216"/>
                </a:lnTo>
                <a:lnTo>
                  <a:pt x="875" y="216"/>
                </a:lnTo>
                <a:lnTo>
                  <a:pt x="876" y="215"/>
                </a:lnTo>
                <a:lnTo>
                  <a:pt x="877" y="214"/>
                </a:lnTo>
                <a:lnTo>
                  <a:pt x="879" y="214"/>
                </a:lnTo>
                <a:lnTo>
                  <a:pt x="880" y="212"/>
                </a:lnTo>
                <a:lnTo>
                  <a:pt x="881" y="212"/>
                </a:lnTo>
                <a:lnTo>
                  <a:pt x="882" y="214"/>
                </a:lnTo>
                <a:lnTo>
                  <a:pt x="883" y="212"/>
                </a:lnTo>
                <a:lnTo>
                  <a:pt x="882" y="212"/>
                </a:lnTo>
                <a:lnTo>
                  <a:pt x="881" y="212"/>
                </a:lnTo>
                <a:lnTo>
                  <a:pt x="880" y="212"/>
                </a:lnTo>
                <a:lnTo>
                  <a:pt x="879" y="212"/>
                </a:lnTo>
                <a:lnTo>
                  <a:pt x="880" y="211"/>
                </a:lnTo>
                <a:lnTo>
                  <a:pt x="880" y="210"/>
                </a:lnTo>
                <a:lnTo>
                  <a:pt x="879" y="210"/>
                </a:lnTo>
                <a:lnTo>
                  <a:pt x="879" y="209"/>
                </a:lnTo>
                <a:lnTo>
                  <a:pt x="877" y="208"/>
                </a:lnTo>
                <a:lnTo>
                  <a:pt x="879" y="208"/>
                </a:lnTo>
                <a:lnTo>
                  <a:pt x="879" y="207"/>
                </a:lnTo>
                <a:lnTo>
                  <a:pt x="880" y="207"/>
                </a:lnTo>
                <a:lnTo>
                  <a:pt x="879" y="207"/>
                </a:lnTo>
                <a:lnTo>
                  <a:pt x="877" y="207"/>
                </a:lnTo>
                <a:lnTo>
                  <a:pt x="877" y="205"/>
                </a:lnTo>
                <a:lnTo>
                  <a:pt x="879" y="205"/>
                </a:lnTo>
                <a:lnTo>
                  <a:pt x="880" y="204"/>
                </a:lnTo>
                <a:lnTo>
                  <a:pt x="881" y="204"/>
                </a:lnTo>
                <a:lnTo>
                  <a:pt x="882" y="204"/>
                </a:lnTo>
                <a:lnTo>
                  <a:pt x="881" y="203"/>
                </a:lnTo>
                <a:lnTo>
                  <a:pt x="881" y="204"/>
                </a:lnTo>
                <a:lnTo>
                  <a:pt x="880" y="204"/>
                </a:lnTo>
                <a:lnTo>
                  <a:pt x="879" y="204"/>
                </a:lnTo>
                <a:lnTo>
                  <a:pt x="877" y="204"/>
                </a:lnTo>
                <a:lnTo>
                  <a:pt x="877" y="203"/>
                </a:lnTo>
                <a:lnTo>
                  <a:pt x="877" y="202"/>
                </a:lnTo>
                <a:lnTo>
                  <a:pt x="877" y="201"/>
                </a:lnTo>
                <a:lnTo>
                  <a:pt x="879" y="201"/>
                </a:lnTo>
                <a:lnTo>
                  <a:pt x="877" y="202"/>
                </a:lnTo>
                <a:lnTo>
                  <a:pt x="879" y="202"/>
                </a:lnTo>
                <a:lnTo>
                  <a:pt x="880" y="201"/>
                </a:lnTo>
                <a:lnTo>
                  <a:pt x="880" y="200"/>
                </a:lnTo>
                <a:lnTo>
                  <a:pt x="879" y="201"/>
                </a:lnTo>
                <a:lnTo>
                  <a:pt x="877" y="201"/>
                </a:lnTo>
                <a:lnTo>
                  <a:pt x="877" y="200"/>
                </a:lnTo>
                <a:lnTo>
                  <a:pt x="876" y="200"/>
                </a:lnTo>
                <a:lnTo>
                  <a:pt x="876" y="198"/>
                </a:lnTo>
                <a:lnTo>
                  <a:pt x="877" y="198"/>
                </a:lnTo>
                <a:lnTo>
                  <a:pt x="876" y="198"/>
                </a:lnTo>
                <a:lnTo>
                  <a:pt x="875" y="200"/>
                </a:lnTo>
                <a:lnTo>
                  <a:pt x="874" y="200"/>
                </a:lnTo>
                <a:lnTo>
                  <a:pt x="874" y="198"/>
                </a:lnTo>
                <a:lnTo>
                  <a:pt x="873" y="198"/>
                </a:lnTo>
                <a:lnTo>
                  <a:pt x="874" y="198"/>
                </a:lnTo>
                <a:lnTo>
                  <a:pt x="874" y="197"/>
                </a:lnTo>
                <a:lnTo>
                  <a:pt x="875" y="197"/>
                </a:lnTo>
                <a:lnTo>
                  <a:pt x="877" y="197"/>
                </a:lnTo>
                <a:lnTo>
                  <a:pt x="879" y="196"/>
                </a:lnTo>
                <a:lnTo>
                  <a:pt x="880" y="196"/>
                </a:lnTo>
                <a:lnTo>
                  <a:pt x="881" y="196"/>
                </a:lnTo>
                <a:lnTo>
                  <a:pt x="880" y="196"/>
                </a:lnTo>
                <a:lnTo>
                  <a:pt x="879" y="196"/>
                </a:lnTo>
                <a:lnTo>
                  <a:pt x="877" y="196"/>
                </a:lnTo>
                <a:lnTo>
                  <a:pt x="876" y="196"/>
                </a:lnTo>
                <a:lnTo>
                  <a:pt x="876" y="195"/>
                </a:lnTo>
                <a:lnTo>
                  <a:pt x="877" y="195"/>
                </a:lnTo>
                <a:lnTo>
                  <a:pt x="879" y="195"/>
                </a:lnTo>
                <a:lnTo>
                  <a:pt x="877" y="195"/>
                </a:lnTo>
                <a:lnTo>
                  <a:pt x="877" y="194"/>
                </a:lnTo>
                <a:lnTo>
                  <a:pt x="879" y="194"/>
                </a:lnTo>
                <a:lnTo>
                  <a:pt x="879" y="193"/>
                </a:lnTo>
                <a:lnTo>
                  <a:pt x="880" y="193"/>
                </a:lnTo>
                <a:lnTo>
                  <a:pt x="881" y="193"/>
                </a:lnTo>
                <a:lnTo>
                  <a:pt x="880" y="193"/>
                </a:lnTo>
                <a:lnTo>
                  <a:pt x="879" y="193"/>
                </a:lnTo>
                <a:lnTo>
                  <a:pt x="877" y="193"/>
                </a:lnTo>
                <a:lnTo>
                  <a:pt x="877" y="191"/>
                </a:lnTo>
                <a:lnTo>
                  <a:pt x="879" y="191"/>
                </a:lnTo>
                <a:lnTo>
                  <a:pt x="879" y="190"/>
                </a:lnTo>
                <a:lnTo>
                  <a:pt x="880" y="190"/>
                </a:lnTo>
                <a:lnTo>
                  <a:pt x="880" y="191"/>
                </a:lnTo>
                <a:lnTo>
                  <a:pt x="881" y="191"/>
                </a:lnTo>
                <a:lnTo>
                  <a:pt x="882" y="193"/>
                </a:lnTo>
                <a:lnTo>
                  <a:pt x="883" y="193"/>
                </a:lnTo>
                <a:lnTo>
                  <a:pt x="883" y="194"/>
                </a:lnTo>
                <a:lnTo>
                  <a:pt x="883" y="193"/>
                </a:lnTo>
                <a:lnTo>
                  <a:pt x="883" y="191"/>
                </a:lnTo>
                <a:lnTo>
                  <a:pt x="882" y="191"/>
                </a:lnTo>
                <a:lnTo>
                  <a:pt x="882" y="190"/>
                </a:lnTo>
                <a:lnTo>
                  <a:pt x="881" y="190"/>
                </a:lnTo>
                <a:lnTo>
                  <a:pt x="881" y="189"/>
                </a:lnTo>
                <a:lnTo>
                  <a:pt x="882" y="188"/>
                </a:lnTo>
                <a:lnTo>
                  <a:pt x="883" y="188"/>
                </a:lnTo>
                <a:lnTo>
                  <a:pt x="884" y="188"/>
                </a:lnTo>
                <a:lnTo>
                  <a:pt x="886" y="188"/>
                </a:lnTo>
                <a:lnTo>
                  <a:pt x="887" y="188"/>
                </a:lnTo>
                <a:lnTo>
                  <a:pt x="883" y="187"/>
                </a:lnTo>
                <a:lnTo>
                  <a:pt x="882" y="188"/>
                </a:lnTo>
                <a:lnTo>
                  <a:pt x="881" y="188"/>
                </a:lnTo>
                <a:lnTo>
                  <a:pt x="881" y="189"/>
                </a:lnTo>
                <a:lnTo>
                  <a:pt x="880" y="189"/>
                </a:lnTo>
                <a:lnTo>
                  <a:pt x="880" y="188"/>
                </a:lnTo>
                <a:lnTo>
                  <a:pt x="880" y="187"/>
                </a:lnTo>
                <a:lnTo>
                  <a:pt x="881" y="187"/>
                </a:lnTo>
                <a:lnTo>
                  <a:pt x="882" y="187"/>
                </a:lnTo>
                <a:lnTo>
                  <a:pt x="883" y="186"/>
                </a:lnTo>
                <a:lnTo>
                  <a:pt x="882" y="186"/>
                </a:lnTo>
                <a:lnTo>
                  <a:pt x="883" y="186"/>
                </a:lnTo>
                <a:lnTo>
                  <a:pt x="883" y="184"/>
                </a:lnTo>
                <a:lnTo>
                  <a:pt x="884" y="184"/>
                </a:lnTo>
                <a:lnTo>
                  <a:pt x="883" y="184"/>
                </a:lnTo>
                <a:lnTo>
                  <a:pt x="882" y="186"/>
                </a:lnTo>
                <a:lnTo>
                  <a:pt x="881" y="186"/>
                </a:lnTo>
                <a:lnTo>
                  <a:pt x="880" y="187"/>
                </a:lnTo>
                <a:lnTo>
                  <a:pt x="880" y="186"/>
                </a:lnTo>
                <a:lnTo>
                  <a:pt x="879" y="186"/>
                </a:lnTo>
                <a:lnTo>
                  <a:pt x="880" y="184"/>
                </a:lnTo>
                <a:lnTo>
                  <a:pt x="880" y="183"/>
                </a:lnTo>
                <a:lnTo>
                  <a:pt x="881" y="183"/>
                </a:lnTo>
                <a:lnTo>
                  <a:pt x="882" y="182"/>
                </a:lnTo>
                <a:lnTo>
                  <a:pt x="883" y="182"/>
                </a:lnTo>
                <a:lnTo>
                  <a:pt x="883" y="181"/>
                </a:lnTo>
                <a:lnTo>
                  <a:pt x="884" y="181"/>
                </a:lnTo>
                <a:lnTo>
                  <a:pt x="884" y="180"/>
                </a:lnTo>
                <a:lnTo>
                  <a:pt x="886" y="180"/>
                </a:lnTo>
                <a:lnTo>
                  <a:pt x="887" y="179"/>
                </a:lnTo>
                <a:lnTo>
                  <a:pt x="889" y="179"/>
                </a:lnTo>
                <a:lnTo>
                  <a:pt x="887" y="179"/>
                </a:lnTo>
                <a:lnTo>
                  <a:pt x="886" y="179"/>
                </a:lnTo>
                <a:lnTo>
                  <a:pt x="886" y="180"/>
                </a:lnTo>
                <a:lnTo>
                  <a:pt x="884" y="180"/>
                </a:lnTo>
                <a:lnTo>
                  <a:pt x="883" y="180"/>
                </a:lnTo>
                <a:lnTo>
                  <a:pt x="884" y="180"/>
                </a:lnTo>
                <a:lnTo>
                  <a:pt x="883" y="181"/>
                </a:lnTo>
                <a:lnTo>
                  <a:pt x="882" y="181"/>
                </a:lnTo>
                <a:lnTo>
                  <a:pt x="882" y="182"/>
                </a:lnTo>
                <a:lnTo>
                  <a:pt x="881" y="182"/>
                </a:lnTo>
                <a:lnTo>
                  <a:pt x="881" y="183"/>
                </a:lnTo>
                <a:lnTo>
                  <a:pt x="880" y="183"/>
                </a:lnTo>
                <a:lnTo>
                  <a:pt x="879" y="183"/>
                </a:lnTo>
                <a:lnTo>
                  <a:pt x="879" y="182"/>
                </a:lnTo>
                <a:lnTo>
                  <a:pt x="879" y="181"/>
                </a:lnTo>
                <a:lnTo>
                  <a:pt x="877" y="181"/>
                </a:lnTo>
                <a:lnTo>
                  <a:pt x="876" y="181"/>
                </a:lnTo>
                <a:lnTo>
                  <a:pt x="875" y="181"/>
                </a:lnTo>
                <a:lnTo>
                  <a:pt x="876" y="180"/>
                </a:lnTo>
                <a:lnTo>
                  <a:pt x="876" y="179"/>
                </a:lnTo>
                <a:lnTo>
                  <a:pt x="876" y="177"/>
                </a:lnTo>
                <a:lnTo>
                  <a:pt x="877" y="177"/>
                </a:lnTo>
                <a:lnTo>
                  <a:pt x="877" y="176"/>
                </a:lnTo>
                <a:lnTo>
                  <a:pt x="879" y="176"/>
                </a:lnTo>
                <a:lnTo>
                  <a:pt x="879" y="175"/>
                </a:lnTo>
                <a:lnTo>
                  <a:pt x="880" y="175"/>
                </a:lnTo>
                <a:lnTo>
                  <a:pt x="880" y="174"/>
                </a:lnTo>
                <a:lnTo>
                  <a:pt x="879" y="174"/>
                </a:lnTo>
                <a:lnTo>
                  <a:pt x="879" y="175"/>
                </a:lnTo>
                <a:lnTo>
                  <a:pt x="877" y="175"/>
                </a:lnTo>
                <a:lnTo>
                  <a:pt x="877" y="174"/>
                </a:lnTo>
                <a:lnTo>
                  <a:pt x="879" y="173"/>
                </a:lnTo>
                <a:lnTo>
                  <a:pt x="879" y="172"/>
                </a:lnTo>
                <a:lnTo>
                  <a:pt x="880" y="172"/>
                </a:lnTo>
                <a:lnTo>
                  <a:pt x="880" y="170"/>
                </a:lnTo>
                <a:lnTo>
                  <a:pt x="881" y="170"/>
                </a:lnTo>
                <a:lnTo>
                  <a:pt x="881" y="169"/>
                </a:lnTo>
                <a:lnTo>
                  <a:pt x="881" y="168"/>
                </a:lnTo>
                <a:lnTo>
                  <a:pt x="882" y="167"/>
                </a:lnTo>
                <a:lnTo>
                  <a:pt x="883" y="166"/>
                </a:lnTo>
                <a:lnTo>
                  <a:pt x="884" y="165"/>
                </a:lnTo>
                <a:lnTo>
                  <a:pt x="882" y="166"/>
                </a:lnTo>
                <a:lnTo>
                  <a:pt x="881" y="167"/>
                </a:lnTo>
                <a:lnTo>
                  <a:pt x="880" y="167"/>
                </a:lnTo>
                <a:lnTo>
                  <a:pt x="880" y="168"/>
                </a:lnTo>
                <a:lnTo>
                  <a:pt x="881" y="168"/>
                </a:lnTo>
                <a:lnTo>
                  <a:pt x="880" y="169"/>
                </a:lnTo>
                <a:lnTo>
                  <a:pt x="880" y="170"/>
                </a:lnTo>
                <a:lnTo>
                  <a:pt x="879" y="170"/>
                </a:lnTo>
                <a:lnTo>
                  <a:pt x="879" y="169"/>
                </a:lnTo>
                <a:lnTo>
                  <a:pt x="880" y="169"/>
                </a:lnTo>
                <a:lnTo>
                  <a:pt x="880" y="168"/>
                </a:lnTo>
                <a:lnTo>
                  <a:pt x="879" y="168"/>
                </a:lnTo>
                <a:lnTo>
                  <a:pt x="879" y="169"/>
                </a:lnTo>
                <a:lnTo>
                  <a:pt x="879" y="170"/>
                </a:lnTo>
                <a:lnTo>
                  <a:pt x="877" y="170"/>
                </a:lnTo>
                <a:lnTo>
                  <a:pt x="877" y="172"/>
                </a:lnTo>
                <a:lnTo>
                  <a:pt x="876" y="172"/>
                </a:lnTo>
                <a:lnTo>
                  <a:pt x="876" y="173"/>
                </a:lnTo>
                <a:lnTo>
                  <a:pt x="876" y="174"/>
                </a:lnTo>
                <a:lnTo>
                  <a:pt x="875" y="175"/>
                </a:lnTo>
                <a:lnTo>
                  <a:pt x="875" y="176"/>
                </a:lnTo>
                <a:lnTo>
                  <a:pt x="874" y="177"/>
                </a:lnTo>
                <a:lnTo>
                  <a:pt x="873" y="177"/>
                </a:lnTo>
                <a:lnTo>
                  <a:pt x="873" y="179"/>
                </a:lnTo>
                <a:lnTo>
                  <a:pt x="873" y="180"/>
                </a:lnTo>
                <a:lnTo>
                  <a:pt x="872" y="181"/>
                </a:lnTo>
                <a:lnTo>
                  <a:pt x="872" y="182"/>
                </a:lnTo>
                <a:lnTo>
                  <a:pt x="870" y="182"/>
                </a:lnTo>
                <a:lnTo>
                  <a:pt x="869" y="183"/>
                </a:lnTo>
                <a:lnTo>
                  <a:pt x="868" y="183"/>
                </a:lnTo>
                <a:lnTo>
                  <a:pt x="867" y="182"/>
                </a:lnTo>
                <a:lnTo>
                  <a:pt x="868" y="181"/>
                </a:lnTo>
                <a:lnTo>
                  <a:pt x="868" y="180"/>
                </a:lnTo>
                <a:lnTo>
                  <a:pt x="868" y="181"/>
                </a:lnTo>
                <a:lnTo>
                  <a:pt x="867" y="181"/>
                </a:lnTo>
                <a:lnTo>
                  <a:pt x="867" y="180"/>
                </a:lnTo>
                <a:lnTo>
                  <a:pt x="866" y="180"/>
                </a:lnTo>
                <a:lnTo>
                  <a:pt x="862" y="181"/>
                </a:lnTo>
                <a:lnTo>
                  <a:pt x="863" y="180"/>
                </a:lnTo>
                <a:lnTo>
                  <a:pt x="865" y="180"/>
                </a:lnTo>
                <a:lnTo>
                  <a:pt x="865" y="179"/>
                </a:lnTo>
                <a:lnTo>
                  <a:pt x="866" y="179"/>
                </a:lnTo>
                <a:lnTo>
                  <a:pt x="866" y="177"/>
                </a:lnTo>
                <a:lnTo>
                  <a:pt x="867" y="177"/>
                </a:lnTo>
                <a:lnTo>
                  <a:pt x="866" y="177"/>
                </a:lnTo>
                <a:lnTo>
                  <a:pt x="866" y="176"/>
                </a:lnTo>
                <a:lnTo>
                  <a:pt x="867" y="176"/>
                </a:lnTo>
                <a:lnTo>
                  <a:pt x="867" y="175"/>
                </a:lnTo>
                <a:lnTo>
                  <a:pt x="867" y="174"/>
                </a:lnTo>
                <a:lnTo>
                  <a:pt x="868" y="174"/>
                </a:lnTo>
                <a:lnTo>
                  <a:pt x="869" y="174"/>
                </a:lnTo>
                <a:lnTo>
                  <a:pt x="872" y="173"/>
                </a:lnTo>
                <a:lnTo>
                  <a:pt x="869" y="173"/>
                </a:lnTo>
                <a:lnTo>
                  <a:pt x="868" y="174"/>
                </a:lnTo>
                <a:lnTo>
                  <a:pt x="868" y="173"/>
                </a:lnTo>
                <a:lnTo>
                  <a:pt x="868" y="172"/>
                </a:lnTo>
                <a:lnTo>
                  <a:pt x="869" y="172"/>
                </a:lnTo>
                <a:lnTo>
                  <a:pt x="868" y="172"/>
                </a:lnTo>
                <a:lnTo>
                  <a:pt x="868" y="173"/>
                </a:lnTo>
                <a:lnTo>
                  <a:pt x="867" y="173"/>
                </a:lnTo>
                <a:lnTo>
                  <a:pt x="868" y="173"/>
                </a:lnTo>
                <a:lnTo>
                  <a:pt x="867" y="173"/>
                </a:lnTo>
                <a:lnTo>
                  <a:pt x="867" y="174"/>
                </a:lnTo>
                <a:lnTo>
                  <a:pt x="866" y="174"/>
                </a:lnTo>
                <a:lnTo>
                  <a:pt x="866" y="175"/>
                </a:lnTo>
                <a:lnTo>
                  <a:pt x="865" y="175"/>
                </a:lnTo>
                <a:lnTo>
                  <a:pt x="863" y="175"/>
                </a:lnTo>
                <a:lnTo>
                  <a:pt x="863" y="174"/>
                </a:lnTo>
                <a:lnTo>
                  <a:pt x="865" y="174"/>
                </a:lnTo>
                <a:lnTo>
                  <a:pt x="863" y="174"/>
                </a:lnTo>
                <a:lnTo>
                  <a:pt x="862" y="174"/>
                </a:lnTo>
                <a:lnTo>
                  <a:pt x="863" y="173"/>
                </a:lnTo>
                <a:lnTo>
                  <a:pt x="865" y="173"/>
                </a:lnTo>
                <a:lnTo>
                  <a:pt x="865" y="172"/>
                </a:lnTo>
                <a:lnTo>
                  <a:pt x="863" y="172"/>
                </a:lnTo>
                <a:lnTo>
                  <a:pt x="863" y="173"/>
                </a:lnTo>
                <a:lnTo>
                  <a:pt x="862" y="173"/>
                </a:lnTo>
                <a:lnTo>
                  <a:pt x="862" y="172"/>
                </a:lnTo>
                <a:lnTo>
                  <a:pt x="862" y="173"/>
                </a:lnTo>
                <a:lnTo>
                  <a:pt x="861" y="173"/>
                </a:lnTo>
                <a:lnTo>
                  <a:pt x="860" y="173"/>
                </a:lnTo>
                <a:lnTo>
                  <a:pt x="860" y="172"/>
                </a:lnTo>
                <a:lnTo>
                  <a:pt x="860" y="170"/>
                </a:lnTo>
                <a:lnTo>
                  <a:pt x="859" y="170"/>
                </a:lnTo>
                <a:lnTo>
                  <a:pt x="859" y="172"/>
                </a:lnTo>
                <a:lnTo>
                  <a:pt x="859" y="173"/>
                </a:lnTo>
                <a:lnTo>
                  <a:pt x="858" y="173"/>
                </a:lnTo>
                <a:lnTo>
                  <a:pt x="856" y="174"/>
                </a:lnTo>
                <a:lnTo>
                  <a:pt x="855" y="174"/>
                </a:lnTo>
                <a:lnTo>
                  <a:pt x="856" y="174"/>
                </a:lnTo>
                <a:lnTo>
                  <a:pt x="858" y="173"/>
                </a:lnTo>
                <a:lnTo>
                  <a:pt x="859" y="173"/>
                </a:lnTo>
                <a:lnTo>
                  <a:pt x="859" y="174"/>
                </a:lnTo>
                <a:lnTo>
                  <a:pt x="860" y="174"/>
                </a:lnTo>
                <a:lnTo>
                  <a:pt x="861" y="174"/>
                </a:lnTo>
                <a:lnTo>
                  <a:pt x="862" y="175"/>
                </a:lnTo>
                <a:lnTo>
                  <a:pt x="861" y="175"/>
                </a:lnTo>
                <a:lnTo>
                  <a:pt x="861" y="174"/>
                </a:lnTo>
                <a:lnTo>
                  <a:pt x="860" y="174"/>
                </a:lnTo>
                <a:lnTo>
                  <a:pt x="861" y="175"/>
                </a:lnTo>
                <a:lnTo>
                  <a:pt x="860" y="175"/>
                </a:lnTo>
                <a:lnTo>
                  <a:pt x="861" y="175"/>
                </a:lnTo>
                <a:lnTo>
                  <a:pt x="860" y="175"/>
                </a:lnTo>
                <a:lnTo>
                  <a:pt x="860" y="176"/>
                </a:lnTo>
                <a:lnTo>
                  <a:pt x="861" y="176"/>
                </a:lnTo>
                <a:lnTo>
                  <a:pt x="861" y="175"/>
                </a:lnTo>
                <a:lnTo>
                  <a:pt x="862" y="175"/>
                </a:lnTo>
                <a:lnTo>
                  <a:pt x="862" y="176"/>
                </a:lnTo>
                <a:lnTo>
                  <a:pt x="861" y="176"/>
                </a:lnTo>
                <a:lnTo>
                  <a:pt x="860" y="177"/>
                </a:lnTo>
                <a:lnTo>
                  <a:pt x="859" y="177"/>
                </a:lnTo>
                <a:lnTo>
                  <a:pt x="860" y="177"/>
                </a:lnTo>
                <a:lnTo>
                  <a:pt x="861" y="177"/>
                </a:lnTo>
                <a:lnTo>
                  <a:pt x="862" y="176"/>
                </a:lnTo>
                <a:lnTo>
                  <a:pt x="862" y="177"/>
                </a:lnTo>
                <a:lnTo>
                  <a:pt x="862" y="179"/>
                </a:lnTo>
                <a:lnTo>
                  <a:pt x="861" y="179"/>
                </a:lnTo>
                <a:lnTo>
                  <a:pt x="862" y="179"/>
                </a:lnTo>
                <a:lnTo>
                  <a:pt x="862" y="180"/>
                </a:lnTo>
                <a:lnTo>
                  <a:pt x="861" y="180"/>
                </a:lnTo>
                <a:lnTo>
                  <a:pt x="861" y="181"/>
                </a:lnTo>
                <a:lnTo>
                  <a:pt x="860" y="181"/>
                </a:lnTo>
                <a:lnTo>
                  <a:pt x="859" y="181"/>
                </a:lnTo>
                <a:lnTo>
                  <a:pt x="859" y="182"/>
                </a:lnTo>
                <a:lnTo>
                  <a:pt x="858" y="182"/>
                </a:lnTo>
                <a:lnTo>
                  <a:pt x="858" y="181"/>
                </a:lnTo>
                <a:lnTo>
                  <a:pt x="858" y="180"/>
                </a:lnTo>
                <a:lnTo>
                  <a:pt x="858" y="181"/>
                </a:lnTo>
                <a:lnTo>
                  <a:pt x="856" y="181"/>
                </a:lnTo>
                <a:lnTo>
                  <a:pt x="856" y="180"/>
                </a:lnTo>
                <a:lnTo>
                  <a:pt x="855" y="181"/>
                </a:lnTo>
                <a:lnTo>
                  <a:pt x="856" y="181"/>
                </a:lnTo>
                <a:lnTo>
                  <a:pt x="856" y="182"/>
                </a:lnTo>
                <a:lnTo>
                  <a:pt x="855" y="182"/>
                </a:lnTo>
                <a:lnTo>
                  <a:pt x="855" y="181"/>
                </a:lnTo>
                <a:lnTo>
                  <a:pt x="854" y="181"/>
                </a:lnTo>
                <a:lnTo>
                  <a:pt x="853" y="181"/>
                </a:lnTo>
                <a:lnTo>
                  <a:pt x="853" y="182"/>
                </a:lnTo>
                <a:lnTo>
                  <a:pt x="854" y="182"/>
                </a:lnTo>
                <a:lnTo>
                  <a:pt x="853" y="182"/>
                </a:lnTo>
                <a:lnTo>
                  <a:pt x="853" y="183"/>
                </a:lnTo>
                <a:lnTo>
                  <a:pt x="852" y="183"/>
                </a:lnTo>
                <a:lnTo>
                  <a:pt x="852" y="182"/>
                </a:lnTo>
                <a:lnTo>
                  <a:pt x="853" y="182"/>
                </a:lnTo>
                <a:lnTo>
                  <a:pt x="852" y="182"/>
                </a:lnTo>
                <a:lnTo>
                  <a:pt x="852" y="181"/>
                </a:lnTo>
                <a:lnTo>
                  <a:pt x="851" y="182"/>
                </a:lnTo>
                <a:lnTo>
                  <a:pt x="851" y="181"/>
                </a:lnTo>
                <a:lnTo>
                  <a:pt x="852" y="181"/>
                </a:lnTo>
                <a:lnTo>
                  <a:pt x="851" y="181"/>
                </a:lnTo>
                <a:lnTo>
                  <a:pt x="851" y="180"/>
                </a:lnTo>
                <a:lnTo>
                  <a:pt x="849" y="181"/>
                </a:lnTo>
                <a:lnTo>
                  <a:pt x="848" y="180"/>
                </a:lnTo>
                <a:lnTo>
                  <a:pt x="848" y="179"/>
                </a:lnTo>
                <a:lnTo>
                  <a:pt x="847" y="179"/>
                </a:lnTo>
                <a:lnTo>
                  <a:pt x="847" y="177"/>
                </a:lnTo>
                <a:lnTo>
                  <a:pt x="846" y="177"/>
                </a:lnTo>
                <a:lnTo>
                  <a:pt x="847" y="177"/>
                </a:lnTo>
                <a:lnTo>
                  <a:pt x="848" y="177"/>
                </a:lnTo>
                <a:lnTo>
                  <a:pt x="848" y="176"/>
                </a:lnTo>
                <a:lnTo>
                  <a:pt x="849" y="176"/>
                </a:lnTo>
                <a:lnTo>
                  <a:pt x="848" y="176"/>
                </a:lnTo>
                <a:lnTo>
                  <a:pt x="847" y="176"/>
                </a:lnTo>
                <a:lnTo>
                  <a:pt x="846" y="177"/>
                </a:lnTo>
                <a:lnTo>
                  <a:pt x="846" y="176"/>
                </a:lnTo>
                <a:lnTo>
                  <a:pt x="846" y="175"/>
                </a:lnTo>
                <a:lnTo>
                  <a:pt x="846" y="174"/>
                </a:lnTo>
                <a:lnTo>
                  <a:pt x="847" y="173"/>
                </a:lnTo>
                <a:lnTo>
                  <a:pt x="846" y="172"/>
                </a:lnTo>
                <a:lnTo>
                  <a:pt x="846" y="170"/>
                </a:lnTo>
                <a:lnTo>
                  <a:pt x="845" y="170"/>
                </a:lnTo>
                <a:lnTo>
                  <a:pt x="846" y="170"/>
                </a:lnTo>
                <a:lnTo>
                  <a:pt x="845" y="170"/>
                </a:lnTo>
                <a:lnTo>
                  <a:pt x="844" y="170"/>
                </a:lnTo>
                <a:lnTo>
                  <a:pt x="845" y="170"/>
                </a:lnTo>
                <a:lnTo>
                  <a:pt x="842" y="170"/>
                </a:lnTo>
                <a:lnTo>
                  <a:pt x="842" y="169"/>
                </a:lnTo>
                <a:lnTo>
                  <a:pt x="844" y="170"/>
                </a:lnTo>
                <a:lnTo>
                  <a:pt x="844" y="169"/>
                </a:lnTo>
                <a:lnTo>
                  <a:pt x="845" y="169"/>
                </a:lnTo>
                <a:lnTo>
                  <a:pt x="844" y="169"/>
                </a:lnTo>
                <a:lnTo>
                  <a:pt x="842" y="169"/>
                </a:lnTo>
                <a:lnTo>
                  <a:pt x="841" y="169"/>
                </a:lnTo>
                <a:lnTo>
                  <a:pt x="841" y="168"/>
                </a:lnTo>
                <a:lnTo>
                  <a:pt x="840" y="168"/>
                </a:lnTo>
                <a:lnTo>
                  <a:pt x="839" y="167"/>
                </a:lnTo>
                <a:lnTo>
                  <a:pt x="840" y="167"/>
                </a:lnTo>
                <a:lnTo>
                  <a:pt x="839" y="167"/>
                </a:lnTo>
                <a:lnTo>
                  <a:pt x="839" y="166"/>
                </a:lnTo>
                <a:lnTo>
                  <a:pt x="838" y="167"/>
                </a:lnTo>
                <a:lnTo>
                  <a:pt x="838" y="166"/>
                </a:lnTo>
                <a:lnTo>
                  <a:pt x="837" y="166"/>
                </a:lnTo>
                <a:lnTo>
                  <a:pt x="838" y="166"/>
                </a:lnTo>
                <a:lnTo>
                  <a:pt x="839" y="166"/>
                </a:lnTo>
                <a:lnTo>
                  <a:pt x="838" y="166"/>
                </a:lnTo>
                <a:lnTo>
                  <a:pt x="837" y="166"/>
                </a:lnTo>
                <a:lnTo>
                  <a:pt x="837" y="165"/>
                </a:lnTo>
                <a:lnTo>
                  <a:pt x="834" y="163"/>
                </a:lnTo>
                <a:lnTo>
                  <a:pt x="835" y="163"/>
                </a:lnTo>
                <a:lnTo>
                  <a:pt x="837" y="163"/>
                </a:lnTo>
                <a:lnTo>
                  <a:pt x="838" y="163"/>
                </a:lnTo>
                <a:lnTo>
                  <a:pt x="839" y="162"/>
                </a:lnTo>
                <a:lnTo>
                  <a:pt x="840" y="162"/>
                </a:lnTo>
                <a:lnTo>
                  <a:pt x="841" y="161"/>
                </a:lnTo>
                <a:lnTo>
                  <a:pt x="841" y="160"/>
                </a:lnTo>
                <a:lnTo>
                  <a:pt x="842" y="160"/>
                </a:lnTo>
                <a:lnTo>
                  <a:pt x="842" y="159"/>
                </a:lnTo>
                <a:lnTo>
                  <a:pt x="844" y="158"/>
                </a:lnTo>
                <a:lnTo>
                  <a:pt x="845" y="158"/>
                </a:lnTo>
                <a:lnTo>
                  <a:pt x="846" y="158"/>
                </a:lnTo>
                <a:lnTo>
                  <a:pt x="846" y="159"/>
                </a:lnTo>
                <a:lnTo>
                  <a:pt x="845" y="160"/>
                </a:lnTo>
                <a:lnTo>
                  <a:pt x="844" y="160"/>
                </a:lnTo>
                <a:lnTo>
                  <a:pt x="844" y="161"/>
                </a:lnTo>
                <a:lnTo>
                  <a:pt x="842" y="162"/>
                </a:lnTo>
                <a:lnTo>
                  <a:pt x="841" y="162"/>
                </a:lnTo>
                <a:lnTo>
                  <a:pt x="841" y="163"/>
                </a:lnTo>
                <a:lnTo>
                  <a:pt x="842" y="163"/>
                </a:lnTo>
                <a:lnTo>
                  <a:pt x="842" y="162"/>
                </a:lnTo>
                <a:lnTo>
                  <a:pt x="844" y="162"/>
                </a:lnTo>
                <a:lnTo>
                  <a:pt x="844" y="161"/>
                </a:lnTo>
                <a:lnTo>
                  <a:pt x="845" y="161"/>
                </a:lnTo>
                <a:lnTo>
                  <a:pt x="845" y="160"/>
                </a:lnTo>
                <a:lnTo>
                  <a:pt x="846" y="160"/>
                </a:lnTo>
                <a:lnTo>
                  <a:pt x="847" y="159"/>
                </a:lnTo>
                <a:lnTo>
                  <a:pt x="848" y="159"/>
                </a:lnTo>
                <a:lnTo>
                  <a:pt x="848" y="160"/>
                </a:lnTo>
                <a:lnTo>
                  <a:pt x="849" y="160"/>
                </a:lnTo>
                <a:lnTo>
                  <a:pt x="848" y="159"/>
                </a:lnTo>
                <a:lnTo>
                  <a:pt x="847" y="159"/>
                </a:lnTo>
                <a:lnTo>
                  <a:pt x="847" y="158"/>
                </a:lnTo>
                <a:lnTo>
                  <a:pt x="846" y="158"/>
                </a:lnTo>
                <a:lnTo>
                  <a:pt x="847" y="158"/>
                </a:lnTo>
                <a:lnTo>
                  <a:pt x="846" y="158"/>
                </a:lnTo>
                <a:lnTo>
                  <a:pt x="846" y="156"/>
                </a:lnTo>
                <a:lnTo>
                  <a:pt x="845" y="156"/>
                </a:lnTo>
                <a:lnTo>
                  <a:pt x="845" y="158"/>
                </a:lnTo>
                <a:lnTo>
                  <a:pt x="844" y="158"/>
                </a:lnTo>
                <a:lnTo>
                  <a:pt x="842" y="158"/>
                </a:lnTo>
                <a:lnTo>
                  <a:pt x="842" y="159"/>
                </a:lnTo>
                <a:lnTo>
                  <a:pt x="841" y="159"/>
                </a:lnTo>
                <a:lnTo>
                  <a:pt x="840" y="159"/>
                </a:lnTo>
                <a:lnTo>
                  <a:pt x="839" y="160"/>
                </a:lnTo>
                <a:lnTo>
                  <a:pt x="838" y="160"/>
                </a:lnTo>
                <a:lnTo>
                  <a:pt x="835" y="160"/>
                </a:lnTo>
                <a:lnTo>
                  <a:pt x="834" y="161"/>
                </a:lnTo>
                <a:lnTo>
                  <a:pt x="833" y="161"/>
                </a:lnTo>
                <a:lnTo>
                  <a:pt x="832" y="161"/>
                </a:lnTo>
                <a:lnTo>
                  <a:pt x="830" y="161"/>
                </a:lnTo>
                <a:lnTo>
                  <a:pt x="828" y="161"/>
                </a:lnTo>
                <a:lnTo>
                  <a:pt x="827" y="161"/>
                </a:lnTo>
                <a:lnTo>
                  <a:pt x="826" y="161"/>
                </a:lnTo>
                <a:lnTo>
                  <a:pt x="825" y="160"/>
                </a:lnTo>
                <a:lnTo>
                  <a:pt x="824" y="159"/>
                </a:lnTo>
                <a:lnTo>
                  <a:pt x="823" y="159"/>
                </a:lnTo>
                <a:lnTo>
                  <a:pt x="822" y="159"/>
                </a:lnTo>
                <a:lnTo>
                  <a:pt x="823" y="159"/>
                </a:lnTo>
                <a:lnTo>
                  <a:pt x="823" y="158"/>
                </a:lnTo>
                <a:lnTo>
                  <a:pt x="823" y="159"/>
                </a:lnTo>
                <a:lnTo>
                  <a:pt x="824" y="159"/>
                </a:lnTo>
                <a:lnTo>
                  <a:pt x="824" y="158"/>
                </a:lnTo>
                <a:lnTo>
                  <a:pt x="825" y="158"/>
                </a:lnTo>
                <a:lnTo>
                  <a:pt x="826" y="158"/>
                </a:lnTo>
                <a:lnTo>
                  <a:pt x="826" y="156"/>
                </a:lnTo>
                <a:lnTo>
                  <a:pt x="826" y="155"/>
                </a:lnTo>
                <a:lnTo>
                  <a:pt x="825" y="155"/>
                </a:lnTo>
                <a:lnTo>
                  <a:pt x="825" y="156"/>
                </a:lnTo>
                <a:lnTo>
                  <a:pt x="824" y="156"/>
                </a:lnTo>
                <a:lnTo>
                  <a:pt x="822" y="158"/>
                </a:lnTo>
                <a:lnTo>
                  <a:pt x="820" y="158"/>
                </a:lnTo>
                <a:lnTo>
                  <a:pt x="819" y="156"/>
                </a:lnTo>
                <a:lnTo>
                  <a:pt x="818" y="156"/>
                </a:lnTo>
                <a:lnTo>
                  <a:pt x="817" y="156"/>
                </a:lnTo>
                <a:lnTo>
                  <a:pt x="816" y="156"/>
                </a:lnTo>
                <a:lnTo>
                  <a:pt x="815" y="156"/>
                </a:lnTo>
                <a:lnTo>
                  <a:pt x="813" y="156"/>
                </a:lnTo>
                <a:lnTo>
                  <a:pt x="812" y="155"/>
                </a:lnTo>
                <a:lnTo>
                  <a:pt x="810" y="155"/>
                </a:lnTo>
                <a:lnTo>
                  <a:pt x="808" y="155"/>
                </a:lnTo>
                <a:lnTo>
                  <a:pt x="805" y="156"/>
                </a:lnTo>
                <a:lnTo>
                  <a:pt x="802" y="156"/>
                </a:lnTo>
                <a:lnTo>
                  <a:pt x="801" y="156"/>
                </a:lnTo>
                <a:lnTo>
                  <a:pt x="798" y="156"/>
                </a:lnTo>
                <a:lnTo>
                  <a:pt x="797" y="158"/>
                </a:lnTo>
                <a:lnTo>
                  <a:pt x="796" y="158"/>
                </a:lnTo>
                <a:lnTo>
                  <a:pt x="795" y="156"/>
                </a:lnTo>
                <a:lnTo>
                  <a:pt x="794" y="156"/>
                </a:lnTo>
                <a:lnTo>
                  <a:pt x="795" y="156"/>
                </a:lnTo>
                <a:lnTo>
                  <a:pt x="796" y="156"/>
                </a:lnTo>
                <a:lnTo>
                  <a:pt x="795" y="155"/>
                </a:lnTo>
                <a:lnTo>
                  <a:pt x="796" y="154"/>
                </a:lnTo>
                <a:lnTo>
                  <a:pt x="795" y="154"/>
                </a:lnTo>
                <a:lnTo>
                  <a:pt x="794" y="154"/>
                </a:lnTo>
                <a:lnTo>
                  <a:pt x="792" y="154"/>
                </a:lnTo>
                <a:lnTo>
                  <a:pt x="794" y="154"/>
                </a:lnTo>
                <a:lnTo>
                  <a:pt x="792" y="154"/>
                </a:lnTo>
                <a:lnTo>
                  <a:pt x="791" y="154"/>
                </a:lnTo>
                <a:lnTo>
                  <a:pt x="791" y="153"/>
                </a:lnTo>
                <a:lnTo>
                  <a:pt x="790" y="153"/>
                </a:lnTo>
                <a:lnTo>
                  <a:pt x="791" y="152"/>
                </a:lnTo>
                <a:lnTo>
                  <a:pt x="792" y="152"/>
                </a:lnTo>
                <a:lnTo>
                  <a:pt x="792" y="151"/>
                </a:lnTo>
                <a:lnTo>
                  <a:pt x="794" y="151"/>
                </a:lnTo>
                <a:lnTo>
                  <a:pt x="794" y="149"/>
                </a:lnTo>
                <a:lnTo>
                  <a:pt x="794" y="151"/>
                </a:lnTo>
                <a:lnTo>
                  <a:pt x="792" y="151"/>
                </a:lnTo>
                <a:lnTo>
                  <a:pt x="794" y="149"/>
                </a:lnTo>
                <a:lnTo>
                  <a:pt x="795" y="149"/>
                </a:lnTo>
                <a:lnTo>
                  <a:pt x="795" y="148"/>
                </a:lnTo>
                <a:lnTo>
                  <a:pt x="796" y="148"/>
                </a:lnTo>
                <a:lnTo>
                  <a:pt x="797" y="148"/>
                </a:lnTo>
                <a:lnTo>
                  <a:pt x="797" y="147"/>
                </a:lnTo>
                <a:lnTo>
                  <a:pt x="798" y="147"/>
                </a:lnTo>
                <a:lnTo>
                  <a:pt x="799" y="147"/>
                </a:lnTo>
                <a:lnTo>
                  <a:pt x="798" y="147"/>
                </a:lnTo>
                <a:lnTo>
                  <a:pt x="797" y="147"/>
                </a:lnTo>
                <a:lnTo>
                  <a:pt x="797" y="148"/>
                </a:lnTo>
                <a:lnTo>
                  <a:pt x="796" y="148"/>
                </a:lnTo>
                <a:lnTo>
                  <a:pt x="795" y="148"/>
                </a:lnTo>
                <a:lnTo>
                  <a:pt x="794" y="149"/>
                </a:lnTo>
                <a:lnTo>
                  <a:pt x="792" y="149"/>
                </a:lnTo>
                <a:lnTo>
                  <a:pt x="791" y="149"/>
                </a:lnTo>
                <a:lnTo>
                  <a:pt x="791" y="151"/>
                </a:lnTo>
                <a:lnTo>
                  <a:pt x="790" y="151"/>
                </a:lnTo>
                <a:lnTo>
                  <a:pt x="789" y="151"/>
                </a:lnTo>
                <a:lnTo>
                  <a:pt x="788" y="152"/>
                </a:lnTo>
                <a:lnTo>
                  <a:pt x="787" y="152"/>
                </a:lnTo>
                <a:lnTo>
                  <a:pt x="785" y="152"/>
                </a:lnTo>
                <a:lnTo>
                  <a:pt x="785" y="151"/>
                </a:lnTo>
                <a:lnTo>
                  <a:pt x="784" y="151"/>
                </a:lnTo>
                <a:lnTo>
                  <a:pt x="783" y="151"/>
                </a:lnTo>
                <a:lnTo>
                  <a:pt x="782" y="151"/>
                </a:lnTo>
                <a:lnTo>
                  <a:pt x="781" y="151"/>
                </a:lnTo>
                <a:lnTo>
                  <a:pt x="782" y="151"/>
                </a:lnTo>
                <a:lnTo>
                  <a:pt x="782" y="149"/>
                </a:lnTo>
                <a:lnTo>
                  <a:pt x="783" y="149"/>
                </a:lnTo>
                <a:lnTo>
                  <a:pt x="784" y="149"/>
                </a:lnTo>
                <a:lnTo>
                  <a:pt x="785" y="148"/>
                </a:lnTo>
                <a:lnTo>
                  <a:pt x="787" y="148"/>
                </a:lnTo>
                <a:lnTo>
                  <a:pt x="788" y="147"/>
                </a:lnTo>
                <a:lnTo>
                  <a:pt x="787" y="147"/>
                </a:lnTo>
                <a:lnTo>
                  <a:pt x="784" y="148"/>
                </a:lnTo>
                <a:lnTo>
                  <a:pt x="785" y="148"/>
                </a:lnTo>
                <a:lnTo>
                  <a:pt x="785" y="147"/>
                </a:lnTo>
                <a:lnTo>
                  <a:pt x="784" y="147"/>
                </a:lnTo>
                <a:lnTo>
                  <a:pt x="785" y="147"/>
                </a:lnTo>
                <a:lnTo>
                  <a:pt x="784" y="147"/>
                </a:lnTo>
                <a:lnTo>
                  <a:pt x="784" y="148"/>
                </a:lnTo>
                <a:lnTo>
                  <a:pt x="783" y="148"/>
                </a:lnTo>
                <a:lnTo>
                  <a:pt x="783" y="147"/>
                </a:lnTo>
                <a:lnTo>
                  <a:pt x="784" y="147"/>
                </a:lnTo>
                <a:lnTo>
                  <a:pt x="785" y="147"/>
                </a:lnTo>
                <a:lnTo>
                  <a:pt x="784" y="147"/>
                </a:lnTo>
                <a:lnTo>
                  <a:pt x="783" y="147"/>
                </a:lnTo>
                <a:lnTo>
                  <a:pt x="781" y="148"/>
                </a:lnTo>
                <a:lnTo>
                  <a:pt x="780" y="148"/>
                </a:lnTo>
                <a:lnTo>
                  <a:pt x="781" y="148"/>
                </a:lnTo>
                <a:lnTo>
                  <a:pt x="781" y="147"/>
                </a:lnTo>
                <a:lnTo>
                  <a:pt x="783" y="147"/>
                </a:lnTo>
                <a:lnTo>
                  <a:pt x="784" y="146"/>
                </a:lnTo>
                <a:lnTo>
                  <a:pt x="785" y="146"/>
                </a:lnTo>
                <a:lnTo>
                  <a:pt x="784" y="146"/>
                </a:lnTo>
                <a:lnTo>
                  <a:pt x="783" y="146"/>
                </a:lnTo>
                <a:lnTo>
                  <a:pt x="782" y="146"/>
                </a:lnTo>
                <a:lnTo>
                  <a:pt x="783" y="146"/>
                </a:lnTo>
                <a:lnTo>
                  <a:pt x="782" y="146"/>
                </a:lnTo>
                <a:lnTo>
                  <a:pt x="782" y="147"/>
                </a:lnTo>
                <a:lnTo>
                  <a:pt x="781" y="147"/>
                </a:lnTo>
                <a:lnTo>
                  <a:pt x="781" y="146"/>
                </a:lnTo>
                <a:lnTo>
                  <a:pt x="782" y="146"/>
                </a:lnTo>
                <a:lnTo>
                  <a:pt x="781" y="146"/>
                </a:lnTo>
                <a:lnTo>
                  <a:pt x="780" y="147"/>
                </a:lnTo>
                <a:lnTo>
                  <a:pt x="778" y="147"/>
                </a:lnTo>
                <a:lnTo>
                  <a:pt x="777" y="147"/>
                </a:lnTo>
                <a:lnTo>
                  <a:pt x="776" y="147"/>
                </a:lnTo>
                <a:lnTo>
                  <a:pt x="777" y="147"/>
                </a:lnTo>
                <a:lnTo>
                  <a:pt x="777" y="146"/>
                </a:lnTo>
                <a:lnTo>
                  <a:pt x="777" y="147"/>
                </a:lnTo>
                <a:lnTo>
                  <a:pt x="777" y="146"/>
                </a:lnTo>
                <a:lnTo>
                  <a:pt x="778" y="146"/>
                </a:lnTo>
                <a:lnTo>
                  <a:pt x="780" y="146"/>
                </a:lnTo>
                <a:lnTo>
                  <a:pt x="778" y="146"/>
                </a:lnTo>
                <a:lnTo>
                  <a:pt x="780" y="146"/>
                </a:lnTo>
                <a:lnTo>
                  <a:pt x="781" y="146"/>
                </a:lnTo>
                <a:lnTo>
                  <a:pt x="782" y="146"/>
                </a:lnTo>
                <a:lnTo>
                  <a:pt x="783" y="146"/>
                </a:lnTo>
                <a:lnTo>
                  <a:pt x="783" y="145"/>
                </a:lnTo>
                <a:lnTo>
                  <a:pt x="784" y="145"/>
                </a:lnTo>
                <a:lnTo>
                  <a:pt x="785" y="145"/>
                </a:lnTo>
                <a:lnTo>
                  <a:pt x="784" y="145"/>
                </a:lnTo>
                <a:lnTo>
                  <a:pt x="783" y="145"/>
                </a:lnTo>
                <a:lnTo>
                  <a:pt x="782" y="145"/>
                </a:lnTo>
                <a:lnTo>
                  <a:pt x="781" y="145"/>
                </a:lnTo>
                <a:lnTo>
                  <a:pt x="782" y="145"/>
                </a:lnTo>
                <a:lnTo>
                  <a:pt x="780" y="145"/>
                </a:lnTo>
                <a:lnTo>
                  <a:pt x="778" y="145"/>
                </a:lnTo>
                <a:lnTo>
                  <a:pt x="780" y="145"/>
                </a:lnTo>
                <a:lnTo>
                  <a:pt x="778" y="145"/>
                </a:lnTo>
                <a:lnTo>
                  <a:pt x="780" y="145"/>
                </a:lnTo>
                <a:lnTo>
                  <a:pt x="780" y="144"/>
                </a:lnTo>
                <a:lnTo>
                  <a:pt x="781" y="144"/>
                </a:lnTo>
                <a:lnTo>
                  <a:pt x="781" y="142"/>
                </a:lnTo>
                <a:lnTo>
                  <a:pt x="782" y="142"/>
                </a:lnTo>
                <a:lnTo>
                  <a:pt x="783" y="142"/>
                </a:lnTo>
                <a:lnTo>
                  <a:pt x="782" y="141"/>
                </a:lnTo>
                <a:lnTo>
                  <a:pt x="784" y="141"/>
                </a:lnTo>
                <a:lnTo>
                  <a:pt x="787" y="141"/>
                </a:lnTo>
                <a:lnTo>
                  <a:pt x="788" y="141"/>
                </a:lnTo>
                <a:lnTo>
                  <a:pt x="787" y="141"/>
                </a:lnTo>
                <a:lnTo>
                  <a:pt x="785" y="140"/>
                </a:lnTo>
                <a:lnTo>
                  <a:pt x="785" y="141"/>
                </a:lnTo>
                <a:lnTo>
                  <a:pt x="784" y="141"/>
                </a:lnTo>
                <a:lnTo>
                  <a:pt x="783" y="141"/>
                </a:lnTo>
                <a:lnTo>
                  <a:pt x="782" y="141"/>
                </a:lnTo>
                <a:lnTo>
                  <a:pt x="780" y="142"/>
                </a:lnTo>
                <a:lnTo>
                  <a:pt x="778" y="142"/>
                </a:lnTo>
                <a:lnTo>
                  <a:pt x="778" y="144"/>
                </a:lnTo>
                <a:lnTo>
                  <a:pt x="777" y="144"/>
                </a:lnTo>
                <a:lnTo>
                  <a:pt x="776" y="144"/>
                </a:lnTo>
                <a:lnTo>
                  <a:pt x="777" y="142"/>
                </a:lnTo>
                <a:lnTo>
                  <a:pt x="776" y="142"/>
                </a:lnTo>
                <a:lnTo>
                  <a:pt x="777" y="142"/>
                </a:lnTo>
                <a:lnTo>
                  <a:pt x="776" y="142"/>
                </a:lnTo>
                <a:lnTo>
                  <a:pt x="775" y="142"/>
                </a:lnTo>
                <a:lnTo>
                  <a:pt x="775" y="144"/>
                </a:lnTo>
                <a:lnTo>
                  <a:pt x="775" y="142"/>
                </a:lnTo>
                <a:lnTo>
                  <a:pt x="774" y="142"/>
                </a:lnTo>
                <a:lnTo>
                  <a:pt x="774" y="144"/>
                </a:lnTo>
                <a:lnTo>
                  <a:pt x="773" y="144"/>
                </a:lnTo>
                <a:lnTo>
                  <a:pt x="771" y="145"/>
                </a:lnTo>
                <a:lnTo>
                  <a:pt x="771" y="144"/>
                </a:lnTo>
                <a:lnTo>
                  <a:pt x="773" y="142"/>
                </a:lnTo>
                <a:lnTo>
                  <a:pt x="773" y="144"/>
                </a:lnTo>
                <a:lnTo>
                  <a:pt x="771" y="144"/>
                </a:lnTo>
                <a:lnTo>
                  <a:pt x="773" y="142"/>
                </a:lnTo>
                <a:lnTo>
                  <a:pt x="771" y="144"/>
                </a:lnTo>
                <a:lnTo>
                  <a:pt x="770" y="144"/>
                </a:lnTo>
                <a:lnTo>
                  <a:pt x="771" y="142"/>
                </a:lnTo>
                <a:lnTo>
                  <a:pt x="773" y="142"/>
                </a:lnTo>
                <a:lnTo>
                  <a:pt x="773" y="141"/>
                </a:lnTo>
                <a:lnTo>
                  <a:pt x="774" y="141"/>
                </a:lnTo>
                <a:lnTo>
                  <a:pt x="774" y="140"/>
                </a:lnTo>
                <a:lnTo>
                  <a:pt x="774" y="141"/>
                </a:lnTo>
                <a:lnTo>
                  <a:pt x="773" y="141"/>
                </a:lnTo>
                <a:lnTo>
                  <a:pt x="771" y="141"/>
                </a:lnTo>
                <a:lnTo>
                  <a:pt x="771" y="142"/>
                </a:lnTo>
                <a:lnTo>
                  <a:pt x="770" y="142"/>
                </a:lnTo>
                <a:lnTo>
                  <a:pt x="770" y="144"/>
                </a:lnTo>
                <a:lnTo>
                  <a:pt x="769" y="144"/>
                </a:lnTo>
                <a:lnTo>
                  <a:pt x="769" y="145"/>
                </a:lnTo>
                <a:lnTo>
                  <a:pt x="768" y="145"/>
                </a:lnTo>
                <a:lnTo>
                  <a:pt x="768" y="144"/>
                </a:lnTo>
                <a:lnTo>
                  <a:pt x="768" y="145"/>
                </a:lnTo>
                <a:lnTo>
                  <a:pt x="768" y="144"/>
                </a:lnTo>
                <a:lnTo>
                  <a:pt x="769" y="144"/>
                </a:lnTo>
                <a:lnTo>
                  <a:pt x="768" y="144"/>
                </a:lnTo>
                <a:lnTo>
                  <a:pt x="767" y="144"/>
                </a:lnTo>
                <a:lnTo>
                  <a:pt x="767" y="145"/>
                </a:lnTo>
                <a:lnTo>
                  <a:pt x="766" y="145"/>
                </a:lnTo>
                <a:lnTo>
                  <a:pt x="766" y="144"/>
                </a:lnTo>
                <a:lnTo>
                  <a:pt x="766" y="142"/>
                </a:lnTo>
                <a:lnTo>
                  <a:pt x="767" y="142"/>
                </a:lnTo>
                <a:lnTo>
                  <a:pt x="768" y="142"/>
                </a:lnTo>
                <a:lnTo>
                  <a:pt x="768" y="141"/>
                </a:lnTo>
                <a:lnTo>
                  <a:pt x="769" y="141"/>
                </a:lnTo>
                <a:lnTo>
                  <a:pt x="770" y="140"/>
                </a:lnTo>
                <a:lnTo>
                  <a:pt x="771" y="140"/>
                </a:lnTo>
                <a:lnTo>
                  <a:pt x="773" y="140"/>
                </a:lnTo>
                <a:lnTo>
                  <a:pt x="774" y="139"/>
                </a:lnTo>
                <a:lnTo>
                  <a:pt x="773" y="140"/>
                </a:lnTo>
                <a:lnTo>
                  <a:pt x="774" y="139"/>
                </a:lnTo>
                <a:lnTo>
                  <a:pt x="773" y="139"/>
                </a:lnTo>
                <a:lnTo>
                  <a:pt x="771" y="140"/>
                </a:lnTo>
                <a:lnTo>
                  <a:pt x="770" y="140"/>
                </a:lnTo>
                <a:lnTo>
                  <a:pt x="769" y="141"/>
                </a:lnTo>
                <a:lnTo>
                  <a:pt x="768" y="141"/>
                </a:lnTo>
                <a:lnTo>
                  <a:pt x="767" y="142"/>
                </a:lnTo>
                <a:lnTo>
                  <a:pt x="766" y="142"/>
                </a:lnTo>
                <a:lnTo>
                  <a:pt x="766" y="141"/>
                </a:lnTo>
                <a:lnTo>
                  <a:pt x="767" y="141"/>
                </a:lnTo>
                <a:lnTo>
                  <a:pt x="766" y="141"/>
                </a:lnTo>
                <a:lnTo>
                  <a:pt x="764" y="141"/>
                </a:lnTo>
                <a:lnTo>
                  <a:pt x="763" y="141"/>
                </a:lnTo>
                <a:lnTo>
                  <a:pt x="763" y="142"/>
                </a:lnTo>
                <a:lnTo>
                  <a:pt x="762" y="142"/>
                </a:lnTo>
                <a:lnTo>
                  <a:pt x="761" y="142"/>
                </a:lnTo>
                <a:lnTo>
                  <a:pt x="762" y="142"/>
                </a:lnTo>
                <a:lnTo>
                  <a:pt x="763" y="142"/>
                </a:lnTo>
                <a:lnTo>
                  <a:pt x="764" y="142"/>
                </a:lnTo>
                <a:lnTo>
                  <a:pt x="764" y="141"/>
                </a:lnTo>
                <a:lnTo>
                  <a:pt x="766" y="141"/>
                </a:lnTo>
                <a:lnTo>
                  <a:pt x="766" y="142"/>
                </a:lnTo>
                <a:lnTo>
                  <a:pt x="764" y="142"/>
                </a:lnTo>
                <a:lnTo>
                  <a:pt x="763" y="142"/>
                </a:lnTo>
                <a:lnTo>
                  <a:pt x="763" y="144"/>
                </a:lnTo>
                <a:lnTo>
                  <a:pt x="762" y="144"/>
                </a:lnTo>
                <a:lnTo>
                  <a:pt x="761" y="144"/>
                </a:lnTo>
                <a:lnTo>
                  <a:pt x="761" y="145"/>
                </a:lnTo>
                <a:lnTo>
                  <a:pt x="760" y="145"/>
                </a:lnTo>
                <a:lnTo>
                  <a:pt x="759" y="145"/>
                </a:lnTo>
                <a:lnTo>
                  <a:pt x="758" y="145"/>
                </a:lnTo>
                <a:lnTo>
                  <a:pt x="755" y="146"/>
                </a:lnTo>
                <a:lnTo>
                  <a:pt x="756" y="146"/>
                </a:lnTo>
                <a:lnTo>
                  <a:pt x="758" y="145"/>
                </a:lnTo>
                <a:lnTo>
                  <a:pt x="758" y="146"/>
                </a:lnTo>
                <a:lnTo>
                  <a:pt x="759" y="145"/>
                </a:lnTo>
                <a:lnTo>
                  <a:pt x="759" y="146"/>
                </a:lnTo>
                <a:lnTo>
                  <a:pt x="758" y="146"/>
                </a:lnTo>
                <a:lnTo>
                  <a:pt x="756" y="146"/>
                </a:lnTo>
                <a:lnTo>
                  <a:pt x="755" y="146"/>
                </a:lnTo>
                <a:lnTo>
                  <a:pt x="755" y="147"/>
                </a:lnTo>
                <a:lnTo>
                  <a:pt x="754" y="147"/>
                </a:lnTo>
                <a:lnTo>
                  <a:pt x="755" y="147"/>
                </a:lnTo>
                <a:lnTo>
                  <a:pt x="756" y="146"/>
                </a:lnTo>
                <a:lnTo>
                  <a:pt x="758" y="146"/>
                </a:lnTo>
                <a:lnTo>
                  <a:pt x="759" y="146"/>
                </a:lnTo>
                <a:lnTo>
                  <a:pt x="758" y="146"/>
                </a:lnTo>
                <a:lnTo>
                  <a:pt x="758" y="147"/>
                </a:lnTo>
                <a:lnTo>
                  <a:pt x="756" y="147"/>
                </a:lnTo>
                <a:lnTo>
                  <a:pt x="756" y="148"/>
                </a:lnTo>
                <a:lnTo>
                  <a:pt x="756" y="147"/>
                </a:lnTo>
                <a:lnTo>
                  <a:pt x="758" y="147"/>
                </a:lnTo>
                <a:lnTo>
                  <a:pt x="759" y="146"/>
                </a:lnTo>
                <a:lnTo>
                  <a:pt x="760" y="146"/>
                </a:lnTo>
                <a:lnTo>
                  <a:pt x="759" y="147"/>
                </a:lnTo>
                <a:lnTo>
                  <a:pt x="759" y="148"/>
                </a:lnTo>
                <a:lnTo>
                  <a:pt x="758" y="148"/>
                </a:lnTo>
                <a:lnTo>
                  <a:pt x="756" y="149"/>
                </a:lnTo>
                <a:lnTo>
                  <a:pt x="755" y="149"/>
                </a:lnTo>
                <a:lnTo>
                  <a:pt x="755" y="148"/>
                </a:lnTo>
                <a:lnTo>
                  <a:pt x="754" y="148"/>
                </a:lnTo>
                <a:lnTo>
                  <a:pt x="754" y="149"/>
                </a:lnTo>
                <a:lnTo>
                  <a:pt x="753" y="149"/>
                </a:lnTo>
                <a:lnTo>
                  <a:pt x="752" y="149"/>
                </a:lnTo>
                <a:lnTo>
                  <a:pt x="751" y="151"/>
                </a:lnTo>
                <a:lnTo>
                  <a:pt x="752" y="151"/>
                </a:lnTo>
                <a:lnTo>
                  <a:pt x="753" y="149"/>
                </a:lnTo>
                <a:lnTo>
                  <a:pt x="754" y="149"/>
                </a:lnTo>
                <a:lnTo>
                  <a:pt x="755" y="149"/>
                </a:lnTo>
                <a:lnTo>
                  <a:pt x="754" y="149"/>
                </a:lnTo>
                <a:lnTo>
                  <a:pt x="755" y="149"/>
                </a:lnTo>
                <a:lnTo>
                  <a:pt x="754" y="151"/>
                </a:lnTo>
                <a:lnTo>
                  <a:pt x="755" y="151"/>
                </a:lnTo>
                <a:lnTo>
                  <a:pt x="755" y="149"/>
                </a:lnTo>
                <a:lnTo>
                  <a:pt x="755" y="151"/>
                </a:lnTo>
                <a:lnTo>
                  <a:pt x="756" y="151"/>
                </a:lnTo>
                <a:lnTo>
                  <a:pt x="756" y="149"/>
                </a:lnTo>
                <a:lnTo>
                  <a:pt x="758" y="149"/>
                </a:lnTo>
                <a:lnTo>
                  <a:pt x="756" y="149"/>
                </a:lnTo>
                <a:lnTo>
                  <a:pt x="758" y="149"/>
                </a:lnTo>
                <a:lnTo>
                  <a:pt x="759" y="148"/>
                </a:lnTo>
                <a:lnTo>
                  <a:pt x="760" y="148"/>
                </a:lnTo>
                <a:lnTo>
                  <a:pt x="759" y="148"/>
                </a:lnTo>
                <a:lnTo>
                  <a:pt x="759" y="149"/>
                </a:lnTo>
                <a:lnTo>
                  <a:pt x="759" y="151"/>
                </a:lnTo>
                <a:lnTo>
                  <a:pt x="758" y="151"/>
                </a:lnTo>
                <a:lnTo>
                  <a:pt x="756" y="152"/>
                </a:lnTo>
                <a:lnTo>
                  <a:pt x="756" y="151"/>
                </a:lnTo>
                <a:lnTo>
                  <a:pt x="756" y="152"/>
                </a:lnTo>
                <a:lnTo>
                  <a:pt x="755" y="151"/>
                </a:lnTo>
                <a:lnTo>
                  <a:pt x="755" y="152"/>
                </a:lnTo>
                <a:lnTo>
                  <a:pt x="754" y="152"/>
                </a:lnTo>
                <a:lnTo>
                  <a:pt x="753" y="152"/>
                </a:lnTo>
                <a:lnTo>
                  <a:pt x="754" y="152"/>
                </a:lnTo>
                <a:lnTo>
                  <a:pt x="753" y="153"/>
                </a:lnTo>
                <a:lnTo>
                  <a:pt x="752" y="153"/>
                </a:lnTo>
                <a:lnTo>
                  <a:pt x="751" y="153"/>
                </a:lnTo>
                <a:lnTo>
                  <a:pt x="751" y="154"/>
                </a:lnTo>
                <a:lnTo>
                  <a:pt x="749" y="154"/>
                </a:lnTo>
                <a:lnTo>
                  <a:pt x="748" y="154"/>
                </a:lnTo>
                <a:lnTo>
                  <a:pt x="749" y="154"/>
                </a:lnTo>
                <a:lnTo>
                  <a:pt x="751" y="154"/>
                </a:lnTo>
                <a:lnTo>
                  <a:pt x="752" y="153"/>
                </a:lnTo>
                <a:lnTo>
                  <a:pt x="753" y="153"/>
                </a:lnTo>
                <a:lnTo>
                  <a:pt x="753" y="154"/>
                </a:lnTo>
                <a:lnTo>
                  <a:pt x="752" y="154"/>
                </a:lnTo>
                <a:lnTo>
                  <a:pt x="751" y="155"/>
                </a:lnTo>
                <a:lnTo>
                  <a:pt x="752" y="155"/>
                </a:lnTo>
                <a:lnTo>
                  <a:pt x="753" y="154"/>
                </a:lnTo>
                <a:lnTo>
                  <a:pt x="752" y="155"/>
                </a:lnTo>
                <a:lnTo>
                  <a:pt x="751" y="155"/>
                </a:lnTo>
                <a:lnTo>
                  <a:pt x="749" y="155"/>
                </a:lnTo>
                <a:lnTo>
                  <a:pt x="751" y="155"/>
                </a:lnTo>
                <a:lnTo>
                  <a:pt x="749" y="154"/>
                </a:lnTo>
                <a:lnTo>
                  <a:pt x="748" y="155"/>
                </a:lnTo>
                <a:lnTo>
                  <a:pt x="747" y="156"/>
                </a:lnTo>
                <a:lnTo>
                  <a:pt x="746" y="156"/>
                </a:lnTo>
                <a:lnTo>
                  <a:pt x="747" y="156"/>
                </a:lnTo>
                <a:lnTo>
                  <a:pt x="746" y="156"/>
                </a:lnTo>
                <a:lnTo>
                  <a:pt x="746" y="158"/>
                </a:lnTo>
                <a:lnTo>
                  <a:pt x="745" y="158"/>
                </a:lnTo>
                <a:lnTo>
                  <a:pt x="746" y="156"/>
                </a:lnTo>
                <a:lnTo>
                  <a:pt x="745" y="156"/>
                </a:lnTo>
                <a:lnTo>
                  <a:pt x="745" y="158"/>
                </a:lnTo>
                <a:lnTo>
                  <a:pt x="744" y="158"/>
                </a:lnTo>
                <a:lnTo>
                  <a:pt x="742" y="159"/>
                </a:lnTo>
                <a:lnTo>
                  <a:pt x="742" y="158"/>
                </a:lnTo>
                <a:lnTo>
                  <a:pt x="741" y="158"/>
                </a:lnTo>
                <a:lnTo>
                  <a:pt x="740" y="158"/>
                </a:lnTo>
                <a:lnTo>
                  <a:pt x="739" y="158"/>
                </a:lnTo>
                <a:lnTo>
                  <a:pt x="738" y="158"/>
                </a:lnTo>
                <a:lnTo>
                  <a:pt x="739" y="158"/>
                </a:lnTo>
                <a:lnTo>
                  <a:pt x="740" y="156"/>
                </a:lnTo>
                <a:lnTo>
                  <a:pt x="739" y="156"/>
                </a:lnTo>
                <a:lnTo>
                  <a:pt x="738" y="156"/>
                </a:lnTo>
                <a:lnTo>
                  <a:pt x="738" y="158"/>
                </a:lnTo>
                <a:lnTo>
                  <a:pt x="737" y="158"/>
                </a:lnTo>
                <a:lnTo>
                  <a:pt x="735" y="158"/>
                </a:lnTo>
                <a:lnTo>
                  <a:pt x="735" y="159"/>
                </a:lnTo>
                <a:lnTo>
                  <a:pt x="734" y="159"/>
                </a:lnTo>
                <a:lnTo>
                  <a:pt x="735" y="158"/>
                </a:lnTo>
                <a:lnTo>
                  <a:pt x="737" y="158"/>
                </a:lnTo>
                <a:lnTo>
                  <a:pt x="737" y="156"/>
                </a:lnTo>
                <a:lnTo>
                  <a:pt x="737" y="155"/>
                </a:lnTo>
                <a:lnTo>
                  <a:pt x="738" y="155"/>
                </a:lnTo>
                <a:lnTo>
                  <a:pt x="737" y="155"/>
                </a:lnTo>
                <a:lnTo>
                  <a:pt x="737" y="156"/>
                </a:lnTo>
                <a:lnTo>
                  <a:pt x="735" y="156"/>
                </a:lnTo>
                <a:lnTo>
                  <a:pt x="735" y="158"/>
                </a:lnTo>
                <a:lnTo>
                  <a:pt x="734" y="158"/>
                </a:lnTo>
                <a:lnTo>
                  <a:pt x="733" y="158"/>
                </a:lnTo>
                <a:lnTo>
                  <a:pt x="732" y="159"/>
                </a:lnTo>
                <a:lnTo>
                  <a:pt x="731" y="159"/>
                </a:lnTo>
                <a:lnTo>
                  <a:pt x="730" y="160"/>
                </a:lnTo>
                <a:lnTo>
                  <a:pt x="731" y="160"/>
                </a:lnTo>
                <a:lnTo>
                  <a:pt x="730" y="160"/>
                </a:lnTo>
                <a:lnTo>
                  <a:pt x="730" y="161"/>
                </a:lnTo>
                <a:lnTo>
                  <a:pt x="728" y="161"/>
                </a:lnTo>
                <a:lnTo>
                  <a:pt x="730" y="160"/>
                </a:lnTo>
                <a:lnTo>
                  <a:pt x="731" y="159"/>
                </a:lnTo>
                <a:lnTo>
                  <a:pt x="731" y="158"/>
                </a:lnTo>
                <a:lnTo>
                  <a:pt x="730" y="159"/>
                </a:lnTo>
                <a:lnTo>
                  <a:pt x="728" y="160"/>
                </a:lnTo>
                <a:lnTo>
                  <a:pt x="728" y="159"/>
                </a:lnTo>
                <a:lnTo>
                  <a:pt x="727" y="159"/>
                </a:lnTo>
                <a:lnTo>
                  <a:pt x="727" y="160"/>
                </a:lnTo>
                <a:lnTo>
                  <a:pt x="726" y="161"/>
                </a:lnTo>
                <a:lnTo>
                  <a:pt x="726" y="162"/>
                </a:lnTo>
                <a:lnTo>
                  <a:pt x="726" y="161"/>
                </a:lnTo>
                <a:lnTo>
                  <a:pt x="726" y="160"/>
                </a:lnTo>
                <a:lnTo>
                  <a:pt x="725" y="160"/>
                </a:lnTo>
                <a:lnTo>
                  <a:pt x="725" y="161"/>
                </a:lnTo>
                <a:lnTo>
                  <a:pt x="724" y="162"/>
                </a:lnTo>
                <a:lnTo>
                  <a:pt x="723" y="162"/>
                </a:lnTo>
                <a:lnTo>
                  <a:pt x="723" y="161"/>
                </a:lnTo>
                <a:lnTo>
                  <a:pt x="723" y="162"/>
                </a:lnTo>
                <a:lnTo>
                  <a:pt x="721" y="162"/>
                </a:lnTo>
                <a:lnTo>
                  <a:pt x="721" y="163"/>
                </a:lnTo>
                <a:lnTo>
                  <a:pt x="720" y="163"/>
                </a:lnTo>
                <a:lnTo>
                  <a:pt x="719" y="163"/>
                </a:lnTo>
                <a:lnTo>
                  <a:pt x="718" y="163"/>
                </a:lnTo>
                <a:lnTo>
                  <a:pt x="718" y="165"/>
                </a:lnTo>
                <a:lnTo>
                  <a:pt x="717" y="165"/>
                </a:lnTo>
                <a:lnTo>
                  <a:pt x="716" y="165"/>
                </a:lnTo>
                <a:lnTo>
                  <a:pt x="717" y="165"/>
                </a:lnTo>
                <a:lnTo>
                  <a:pt x="717" y="163"/>
                </a:lnTo>
                <a:lnTo>
                  <a:pt x="718" y="163"/>
                </a:lnTo>
                <a:lnTo>
                  <a:pt x="719" y="163"/>
                </a:lnTo>
                <a:lnTo>
                  <a:pt x="719" y="162"/>
                </a:lnTo>
                <a:lnTo>
                  <a:pt x="720" y="162"/>
                </a:lnTo>
                <a:lnTo>
                  <a:pt x="721" y="161"/>
                </a:lnTo>
                <a:lnTo>
                  <a:pt x="720" y="161"/>
                </a:lnTo>
                <a:lnTo>
                  <a:pt x="718" y="163"/>
                </a:lnTo>
                <a:lnTo>
                  <a:pt x="717" y="163"/>
                </a:lnTo>
                <a:lnTo>
                  <a:pt x="716" y="165"/>
                </a:lnTo>
                <a:lnTo>
                  <a:pt x="714" y="165"/>
                </a:lnTo>
                <a:lnTo>
                  <a:pt x="714" y="163"/>
                </a:lnTo>
                <a:lnTo>
                  <a:pt x="716" y="163"/>
                </a:lnTo>
                <a:lnTo>
                  <a:pt x="717" y="163"/>
                </a:lnTo>
                <a:lnTo>
                  <a:pt x="714" y="163"/>
                </a:lnTo>
                <a:lnTo>
                  <a:pt x="714" y="165"/>
                </a:lnTo>
                <a:lnTo>
                  <a:pt x="713" y="165"/>
                </a:lnTo>
                <a:lnTo>
                  <a:pt x="713" y="166"/>
                </a:lnTo>
                <a:lnTo>
                  <a:pt x="712" y="166"/>
                </a:lnTo>
                <a:lnTo>
                  <a:pt x="711" y="166"/>
                </a:lnTo>
                <a:lnTo>
                  <a:pt x="710" y="166"/>
                </a:lnTo>
                <a:lnTo>
                  <a:pt x="709" y="167"/>
                </a:lnTo>
                <a:lnTo>
                  <a:pt x="707" y="167"/>
                </a:lnTo>
                <a:lnTo>
                  <a:pt x="707" y="168"/>
                </a:lnTo>
                <a:lnTo>
                  <a:pt x="706" y="168"/>
                </a:lnTo>
                <a:lnTo>
                  <a:pt x="705" y="168"/>
                </a:lnTo>
                <a:lnTo>
                  <a:pt x="706" y="168"/>
                </a:lnTo>
                <a:lnTo>
                  <a:pt x="705" y="168"/>
                </a:lnTo>
                <a:lnTo>
                  <a:pt x="705" y="167"/>
                </a:lnTo>
                <a:lnTo>
                  <a:pt x="704" y="167"/>
                </a:lnTo>
                <a:lnTo>
                  <a:pt x="703" y="167"/>
                </a:lnTo>
                <a:lnTo>
                  <a:pt x="704" y="167"/>
                </a:lnTo>
                <a:lnTo>
                  <a:pt x="704" y="168"/>
                </a:lnTo>
                <a:lnTo>
                  <a:pt x="703" y="168"/>
                </a:lnTo>
                <a:lnTo>
                  <a:pt x="702" y="168"/>
                </a:lnTo>
                <a:lnTo>
                  <a:pt x="700" y="168"/>
                </a:lnTo>
                <a:lnTo>
                  <a:pt x="699" y="168"/>
                </a:lnTo>
                <a:lnTo>
                  <a:pt x="699" y="169"/>
                </a:lnTo>
                <a:lnTo>
                  <a:pt x="698" y="168"/>
                </a:lnTo>
                <a:lnTo>
                  <a:pt x="698" y="169"/>
                </a:lnTo>
                <a:lnTo>
                  <a:pt x="697" y="169"/>
                </a:lnTo>
                <a:lnTo>
                  <a:pt x="698" y="169"/>
                </a:lnTo>
                <a:lnTo>
                  <a:pt x="696" y="169"/>
                </a:lnTo>
                <a:lnTo>
                  <a:pt x="696" y="168"/>
                </a:lnTo>
                <a:lnTo>
                  <a:pt x="697" y="168"/>
                </a:lnTo>
                <a:lnTo>
                  <a:pt x="696" y="168"/>
                </a:lnTo>
                <a:lnTo>
                  <a:pt x="695" y="168"/>
                </a:lnTo>
                <a:lnTo>
                  <a:pt x="696" y="168"/>
                </a:lnTo>
                <a:lnTo>
                  <a:pt x="695" y="168"/>
                </a:lnTo>
                <a:lnTo>
                  <a:pt x="695" y="167"/>
                </a:lnTo>
                <a:lnTo>
                  <a:pt x="696" y="167"/>
                </a:lnTo>
                <a:lnTo>
                  <a:pt x="697" y="167"/>
                </a:lnTo>
                <a:lnTo>
                  <a:pt x="698" y="167"/>
                </a:lnTo>
                <a:lnTo>
                  <a:pt x="698" y="166"/>
                </a:lnTo>
                <a:lnTo>
                  <a:pt x="699" y="165"/>
                </a:lnTo>
                <a:lnTo>
                  <a:pt x="700" y="165"/>
                </a:lnTo>
                <a:lnTo>
                  <a:pt x="702" y="165"/>
                </a:lnTo>
                <a:lnTo>
                  <a:pt x="704" y="165"/>
                </a:lnTo>
                <a:lnTo>
                  <a:pt x="705" y="165"/>
                </a:lnTo>
                <a:lnTo>
                  <a:pt x="704" y="165"/>
                </a:lnTo>
                <a:lnTo>
                  <a:pt x="705" y="163"/>
                </a:lnTo>
                <a:lnTo>
                  <a:pt x="706" y="163"/>
                </a:lnTo>
                <a:lnTo>
                  <a:pt x="707" y="163"/>
                </a:lnTo>
                <a:lnTo>
                  <a:pt x="709" y="163"/>
                </a:lnTo>
                <a:lnTo>
                  <a:pt x="709" y="162"/>
                </a:lnTo>
                <a:lnTo>
                  <a:pt x="710" y="162"/>
                </a:lnTo>
                <a:lnTo>
                  <a:pt x="711" y="162"/>
                </a:lnTo>
                <a:lnTo>
                  <a:pt x="711" y="161"/>
                </a:lnTo>
                <a:lnTo>
                  <a:pt x="712" y="161"/>
                </a:lnTo>
                <a:lnTo>
                  <a:pt x="714" y="160"/>
                </a:lnTo>
                <a:lnTo>
                  <a:pt x="713" y="160"/>
                </a:lnTo>
                <a:lnTo>
                  <a:pt x="712" y="161"/>
                </a:lnTo>
                <a:lnTo>
                  <a:pt x="711" y="161"/>
                </a:lnTo>
                <a:lnTo>
                  <a:pt x="707" y="162"/>
                </a:lnTo>
                <a:lnTo>
                  <a:pt x="706" y="162"/>
                </a:lnTo>
                <a:lnTo>
                  <a:pt x="704" y="162"/>
                </a:lnTo>
                <a:lnTo>
                  <a:pt x="704" y="161"/>
                </a:lnTo>
                <a:lnTo>
                  <a:pt x="704" y="160"/>
                </a:lnTo>
                <a:lnTo>
                  <a:pt x="705" y="160"/>
                </a:lnTo>
                <a:lnTo>
                  <a:pt x="706" y="159"/>
                </a:lnTo>
                <a:lnTo>
                  <a:pt x="709" y="158"/>
                </a:lnTo>
                <a:lnTo>
                  <a:pt x="710" y="156"/>
                </a:lnTo>
                <a:lnTo>
                  <a:pt x="716" y="154"/>
                </a:lnTo>
                <a:lnTo>
                  <a:pt x="717" y="153"/>
                </a:lnTo>
                <a:lnTo>
                  <a:pt x="718" y="153"/>
                </a:lnTo>
                <a:lnTo>
                  <a:pt x="718" y="152"/>
                </a:lnTo>
                <a:lnTo>
                  <a:pt x="719" y="152"/>
                </a:lnTo>
                <a:lnTo>
                  <a:pt x="720" y="152"/>
                </a:lnTo>
                <a:lnTo>
                  <a:pt x="720" y="151"/>
                </a:lnTo>
                <a:lnTo>
                  <a:pt x="721" y="151"/>
                </a:lnTo>
                <a:lnTo>
                  <a:pt x="723" y="149"/>
                </a:lnTo>
                <a:lnTo>
                  <a:pt x="723" y="148"/>
                </a:lnTo>
                <a:lnTo>
                  <a:pt x="724" y="148"/>
                </a:lnTo>
                <a:lnTo>
                  <a:pt x="724" y="147"/>
                </a:lnTo>
                <a:lnTo>
                  <a:pt x="725" y="146"/>
                </a:lnTo>
                <a:lnTo>
                  <a:pt x="726" y="146"/>
                </a:lnTo>
                <a:lnTo>
                  <a:pt x="727" y="146"/>
                </a:lnTo>
                <a:lnTo>
                  <a:pt x="730" y="146"/>
                </a:lnTo>
                <a:lnTo>
                  <a:pt x="734" y="144"/>
                </a:lnTo>
                <a:lnTo>
                  <a:pt x="738" y="142"/>
                </a:lnTo>
                <a:lnTo>
                  <a:pt x="740" y="142"/>
                </a:lnTo>
                <a:lnTo>
                  <a:pt x="741" y="142"/>
                </a:lnTo>
                <a:lnTo>
                  <a:pt x="740" y="144"/>
                </a:lnTo>
                <a:lnTo>
                  <a:pt x="741" y="144"/>
                </a:lnTo>
                <a:lnTo>
                  <a:pt x="742" y="144"/>
                </a:lnTo>
                <a:lnTo>
                  <a:pt x="744" y="144"/>
                </a:lnTo>
                <a:lnTo>
                  <a:pt x="745" y="144"/>
                </a:lnTo>
                <a:lnTo>
                  <a:pt x="746" y="144"/>
                </a:lnTo>
                <a:lnTo>
                  <a:pt x="746" y="142"/>
                </a:lnTo>
                <a:lnTo>
                  <a:pt x="747" y="144"/>
                </a:lnTo>
                <a:lnTo>
                  <a:pt x="748" y="144"/>
                </a:lnTo>
                <a:lnTo>
                  <a:pt x="749" y="144"/>
                </a:lnTo>
                <a:lnTo>
                  <a:pt x="752" y="145"/>
                </a:lnTo>
                <a:lnTo>
                  <a:pt x="753" y="145"/>
                </a:lnTo>
                <a:lnTo>
                  <a:pt x="753" y="144"/>
                </a:lnTo>
                <a:lnTo>
                  <a:pt x="752" y="144"/>
                </a:lnTo>
                <a:lnTo>
                  <a:pt x="751" y="144"/>
                </a:lnTo>
                <a:lnTo>
                  <a:pt x="749" y="142"/>
                </a:lnTo>
                <a:lnTo>
                  <a:pt x="748" y="142"/>
                </a:lnTo>
                <a:lnTo>
                  <a:pt x="747" y="142"/>
                </a:lnTo>
                <a:lnTo>
                  <a:pt x="747" y="141"/>
                </a:lnTo>
                <a:lnTo>
                  <a:pt x="746" y="140"/>
                </a:lnTo>
                <a:lnTo>
                  <a:pt x="747" y="140"/>
                </a:lnTo>
                <a:lnTo>
                  <a:pt x="748" y="140"/>
                </a:lnTo>
                <a:lnTo>
                  <a:pt x="749" y="139"/>
                </a:lnTo>
                <a:lnTo>
                  <a:pt x="751" y="139"/>
                </a:lnTo>
                <a:lnTo>
                  <a:pt x="752" y="138"/>
                </a:lnTo>
                <a:lnTo>
                  <a:pt x="753" y="138"/>
                </a:lnTo>
                <a:lnTo>
                  <a:pt x="754" y="137"/>
                </a:lnTo>
                <a:lnTo>
                  <a:pt x="755" y="137"/>
                </a:lnTo>
                <a:lnTo>
                  <a:pt x="760" y="135"/>
                </a:lnTo>
                <a:lnTo>
                  <a:pt x="761" y="135"/>
                </a:lnTo>
                <a:lnTo>
                  <a:pt x="760" y="135"/>
                </a:lnTo>
                <a:lnTo>
                  <a:pt x="759" y="135"/>
                </a:lnTo>
                <a:lnTo>
                  <a:pt x="756" y="135"/>
                </a:lnTo>
                <a:lnTo>
                  <a:pt x="754" y="137"/>
                </a:lnTo>
                <a:lnTo>
                  <a:pt x="753" y="137"/>
                </a:lnTo>
                <a:lnTo>
                  <a:pt x="752" y="137"/>
                </a:lnTo>
                <a:lnTo>
                  <a:pt x="752" y="138"/>
                </a:lnTo>
                <a:lnTo>
                  <a:pt x="751" y="138"/>
                </a:lnTo>
                <a:lnTo>
                  <a:pt x="749" y="139"/>
                </a:lnTo>
                <a:lnTo>
                  <a:pt x="748" y="139"/>
                </a:lnTo>
                <a:lnTo>
                  <a:pt x="746" y="139"/>
                </a:lnTo>
                <a:lnTo>
                  <a:pt x="745" y="139"/>
                </a:lnTo>
                <a:lnTo>
                  <a:pt x="744" y="139"/>
                </a:lnTo>
                <a:lnTo>
                  <a:pt x="744" y="138"/>
                </a:lnTo>
                <a:lnTo>
                  <a:pt x="745" y="138"/>
                </a:lnTo>
                <a:lnTo>
                  <a:pt x="744" y="138"/>
                </a:lnTo>
                <a:lnTo>
                  <a:pt x="742" y="139"/>
                </a:lnTo>
                <a:lnTo>
                  <a:pt x="742" y="138"/>
                </a:lnTo>
                <a:lnTo>
                  <a:pt x="741" y="139"/>
                </a:lnTo>
                <a:lnTo>
                  <a:pt x="740" y="139"/>
                </a:lnTo>
                <a:lnTo>
                  <a:pt x="738" y="140"/>
                </a:lnTo>
                <a:lnTo>
                  <a:pt x="737" y="140"/>
                </a:lnTo>
                <a:lnTo>
                  <a:pt x="735" y="140"/>
                </a:lnTo>
                <a:lnTo>
                  <a:pt x="733" y="141"/>
                </a:lnTo>
                <a:lnTo>
                  <a:pt x="732" y="142"/>
                </a:lnTo>
                <a:lnTo>
                  <a:pt x="731" y="142"/>
                </a:lnTo>
                <a:lnTo>
                  <a:pt x="730" y="142"/>
                </a:lnTo>
                <a:lnTo>
                  <a:pt x="728" y="142"/>
                </a:lnTo>
                <a:lnTo>
                  <a:pt x="727" y="142"/>
                </a:lnTo>
                <a:lnTo>
                  <a:pt x="726" y="144"/>
                </a:lnTo>
                <a:lnTo>
                  <a:pt x="725" y="144"/>
                </a:lnTo>
                <a:lnTo>
                  <a:pt x="724" y="144"/>
                </a:lnTo>
                <a:lnTo>
                  <a:pt x="723" y="145"/>
                </a:lnTo>
                <a:lnTo>
                  <a:pt x="721" y="145"/>
                </a:lnTo>
                <a:lnTo>
                  <a:pt x="721" y="146"/>
                </a:lnTo>
                <a:lnTo>
                  <a:pt x="721" y="147"/>
                </a:lnTo>
                <a:lnTo>
                  <a:pt x="720" y="147"/>
                </a:lnTo>
                <a:lnTo>
                  <a:pt x="720" y="146"/>
                </a:lnTo>
                <a:lnTo>
                  <a:pt x="719" y="146"/>
                </a:lnTo>
                <a:lnTo>
                  <a:pt x="719" y="147"/>
                </a:lnTo>
                <a:lnTo>
                  <a:pt x="718" y="147"/>
                </a:lnTo>
                <a:lnTo>
                  <a:pt x="717" y="147"/>
                </a:lnTo>
                <a:lnTo>
                  <a:pt x="716" y="147"/>
                </a:lnTo>
                <a:lnTo>
                  <a:pt x="714" y="148"/>
                </a:lnTo>
                <a:lnTo>
                  <a:pt x="713" y="148"/>
                </a:lnTo>
                <a:lnTo>
                  <a:pt x="712" y="149"/>
                </a:lnTo>
                <a:lnTo>
                  <a:pt x="711" y="149"/>
                </a:lnTo>
                <a:lnTo>
                  <a:pt x="710" y="151"/>
                </a:lnTo>
                <a:lnTo>
                  <a:pt x="710" y="152"/>
                </a:lnTo>
                <a:lnTo>
                  <a:pt x="707" y="152"/>
                </a:lnTo>
                <a:lnTo>
                  <a:pt x="707" y="153"/>
                </a:lnTo>
                <a:lnTo>
                  <a:pt x="706" y="153"/>
                </a:lnTo>
                <a:lnTo>
                  <a:pt x="705" y="153"/>
                </a:lnTo>
                <a:lnTo>
                  <a:pt x="704" y="153"/>
                </a:lnTo>
                <a:lnTo>
                  <a:pt x="703" y="154"/>
                </a:lnTo>
                <a:lnTo>
                  <a:pt x="700" y="154"/>
                </a:lnTo>
                <a:lnTo>
                  <a:pt x="700" y="153"/>
                </a:lnTo>
                <a:lnTo>
                  <a:pt x="702" y="153"/>
                </a:lnTo>
                <a:lnTo>
                  <a:pt x="700" y="153"/>
                </a:lnTo>
                <a:lnTo>
                  <a:pt x="702" y="153"/>
                </a:lnTo>
                <a:lnTo>
                  <a:pt x="700" y="153"/>
                </a:lnTo>
                <a:lnTo>
                  <a:pt x="699" y="153"/>
                </a:lnTo>
                <a:lnTo>
                  <a:pt x="698" y="153"/>
                </a:lnTo>
                <a:lnTo>
                  <a:pt x="699" y="153"/>
                </a:lnTo>
                <a:lnTo>
                  <a:pt x="700" y="153"/>
                </a:lnTo>
                <a:lnTo>
                  <a:pt x="699" y="154"/>
                </a:lnTo>
                <a:lnTo>
                  <a:pt x="700" y="154"/>
                </a:lnTo>
                <a:lnTo>
                  <a:pt x="702" y="154"/>
                </a:lnTo>
                <a:lnTo>
                  <a:pt x="702" y="155"/>
                </a:lnTo>
                <a:lnTo>
                  <a:pt x="700" y="155"/>
                </a:lnTo>
                <a:lnTo>
                  <a:pt x="702" y="155"/>
                </a:lnTo>
                <a:lnTo>
                  <a:pt x="702" y="156"/>
                </a:lnTo>
                <a:lnTo>
                  <a:pt x="700" y="156"/>
                </a:lnTo>
                <a:lnTo>
                  <a:pt x="699" y="156"/>
                </a:lnTo>
                <a:lnTo>
                  <a:pt x="699" y="158"/>
                </a:lnTo>
                <a:lnTo>
                  <a:pt x="698" y="158"/>
                </a:lnTo>
                <a:lnTo>
                  <a:pt x="697" y="158"/>
                </a:lnTo>
                <a:lnTo>
                  <a:pt x="697" y="159"/>
                </a:lnTo>
                <a:lnTo>
                  <a:pt x="696" y="159"/>
                </a:lnTo>
                <a:lnTo>
                  <a:pt x="695" y="159"/>
                </a:lnTo>
                <a:lnTo>
                  <a:pt x="694" y="159"/>
                </a:lnTo>
                <a:lnTo>
                  <a:pt x="692" y="159"/>
                </a:lnTo>
                <a:lnTo>
                  <a:pt x="690" y="159"/>
                </a:lnTo>
                <a:lnTo>
                  <a:pt x="689" y="160"/>
                </a:lnTo>
                <a:lnTo>
                  <a:pt x="690" y="160"/>
                </a:lnTo>
                <a:lnTo>
                  <a:pt x="691" y="160"/>
                </a:lnTo>
                <a:lnTo>
                  <a:pt x="692" y="160"/>
                </a:lnTo>
                <a:lnTo>
                  <a:pt x="691" y="160"/>
                </a:lnTo>
                <a:lnTo>
                  <a:pt x="691" y="161"/>
                </a:lnTo>
                <a:lnTo>
                  <a:pt x="690" y="161"/>
                </a:lnTo>
                <a:lnTo>
                  <a:pt x="689" y="161"/>
                </a:lnTo>
                <a:lnTo>
                  <a:pt x="688" y="162"/>
                </a:lnTo>
                <a:lnTo>
                  <a:pt x="687" y="162"/>
                </a:lnTo>
                <a:lnTo>
                  <a:pt x="685" y="162"/>
                </a:lnTo>
                <a:lnTo>
                  <a:pt x="684" y="162"/>
                </a:lnTo>
                <a:lnTo>
                  <a:pt x="685" y="162"/>
                </a:lnTo>
                <a:lnTo>
                  <a:pt x="687" y="161"/>
                </a:lnTo>
                <a:lnTo>
                  <a:pt x="687" y="160"/>
                </a:lnTo>
                <a:lnTo>
                  <a:pt x="687" y="161"/>
                </a:lnTo>
                <a:lnTo>
                  <a:pt x="685" y="161"/>
                </a:lnTo>
                <a:lnTo>
                  <a:pt x="684" y="162"/>
                </a:lnTo>
                <a:lnTo>
                  <a:pt x="683" y="162"/>
                </a:lnTo>
                <a:lnTo>
                  <a:pt x="683" y="161"/>
                </a:lnTo>
                <a:lnTo>
                  <a:pt x="683" y="162"/>
                </a:lnTo>
                <a:lnTo>
                  <a:pt x="682" y="162"/>
                </a:lnTo>
                <a:lnTo>
                  <a:pt x="681" y="162"/>
                </a:lnTo>
                <a:lnTo>
                  <a:pt x="682" y="162"/>
                </a:lnTo>
                <a:lnTo>
                  <a:pt x="682" y="163"/>
                </a:lnTo>
                <a:lnTo>
                  <a:pt x="681" y="163"/>
                </a:lnTo>
                <a:lnTo>
                  <a:pt x="678" y="163"/>
                </a:lnTo>
                <a:lnTo>
                  <a:pt x="678" y="165"/>
                </a:lnTo>
                <a:lnTo>
                  <a:pt x="677" y="166"/>
                </a:lnTo>
                <a:lnTo>
                  <a:pt x="676" y="166"/>
                </a:lnTo>
                <a:lnTo>
                  <a:pt x="675" y="166"/>
                </a:lnTo>
                <a:lnTo>
                  <a:pt x="674" y="166"/>
                </a:lnTo>
                <a:lnTo>
                  <a:pt x="673" y="166"/>
                </a:lnTo>
                <a:lnTo>
                  <a:pt x="673" y="167"/>
                </a:lnTo>
                <a:lnTo>
                  <a:pt x="674" y="167"/>
                </a:lnTo>
                <a:lnTo>
                  <a:pt x="674" y="166"/>
                </a:lnTo>
                <a:lnTo>
                  <a:pt x="674" y="167"/>
                </a:lnTo>
                <a:lnTo>
                  <a:pt x="673" y="167"/>
                </a:lnTo>
                <a:lnTo>
                  <a:pt x="671" y="167"/>
                </a:lnTo>
                <a:lnTo>
                  <a:pt x="670" y="168"/>
                </a:lnTo>
                <a:lnTo>
                  <a:pt x="669" y="168"/>
                </a:lnTo>
                <a:lnTo>
                  <a:pt x="669" y="169"/>
                </a:lnTo>
                <a:lnTo>
                  <a:pt x="669" y="168"/>
                </a:lnTo>
                <a:lnTo>
                  <a:pt x="669" y="169"/>
                </a:lnTo>
                <a:lnTo>
                  <a:pt x="668" y="169"/>
                </a:lnTo>
                <a:lnTo>
                  <a:pt x="667" y="169"/>
                </a:lnTo>
                <a:lnTo>
                  <a:pt x="668" y="169"/>
                </a:lnTo>
                <a:lnTo>
                  <a:pt x="668" y="170"/>
                </a:lnTo>
                <a:lnTo>
                  <a:pt x="667" y="170"/>
                </a:lnTo>
                <a:lnTo>
                  <a:pt x="667" y="172"/>
                </a:lnTo>
                <a:lnTo>
                  <a:pt x="667" y="170"/>
                </a:lnTo>
                <a:lnTo>
                  <a:pt x="668" y="170"/>
                </a:lnTo>
                <a:lnTo>
                  <a:pt x="669" y="170"/>
                </a:lnTo>
                <a:lnTo>
                  <a:pt x="670" y="170"/>
                </a:lnTo>
                <a:lnTo>
                  <a:pt x="671" y="170"/>
                </a:lnTo>
                <a:lnTo>
                  <a:pt x="673" y="170"/>
                </a:lnTo>
                <a:lnTo>
                  <a:pt x="673" y="172"/>
                </a:lnTo>
                <a:lnTo>
                  <a:pt x="674" y="172"/>
                </a:lnTo>
                <a:lnTo>
                  <a:pt x="674" y="173"/>
                </a:lnTo>
                <a:lnTo>
                  <a:pt x="674" y="174"/>
                </a:lnTo>
                <a:lnTo>
                  <a:pt x="673" y="174"/>
                </a:lnTo>
                <a:lnTo>
                  <a:pt x="674" y="174"/>
                </a:lnTo>
                <a:lnTo>
                  <a:pt x="673" y="174"/>
                </a:lnTo>
                <a:lnTo>
                  <a:pt x="671" y="175"/>
                </a:lnTo>
                <a:lnTo>
                  <a:pt x="670" y="175"/>
                </a:lnTo>
                <a:lnTo>
                  <a:pt x="668" y="176"/>
                </a:lnTo>
                <a:lnTo>
                  <a:pt x="667" y="176"/>
                </a:lnTo>
                <a:lnTo>
                  <a:pt x="667" y="177"/>
                </a:lnTo>
                <a:lnTo>
                  <a:pt x="666" y="177"/>
                </a:lnTo>
                <a:lnTo>
                  <a:pt x="664" y="177"/>
                </a:lnTo>
                <a:lnTo>
                  <a:pt x="663" y="177"/>
                </a:lnTo>
                <a:lnTo>
                  <a:pt x="662" y="177"/>
                </a:lnTo>
                <a:lnTo>
                  <a:pt x="662" y="179"/>
                </a:lnTo>
                <a:lnTo>
                  <a:pt x="661" y="179"/>
                </a:lnTo>
                <a:lnTo>
                  <a:pt x="660" y="179"/>
                </a:lnTo>
                <a:lnTo>
                  <a:pt x="659" y="179"/>
                </a:lnTo>
                <a:lnTo>
                  <a:pt x="659" y="180"/>
                </a:lnTo>
                <a:lnTo>
                  <a:pt x="657" y="180"/>
                </a:lnTo>
                <a:lnTo>
                  <a:pt x="657" y="181"/>
                </a:lnTo>
                <a:lnTo>
                  <a:pt x="656" y="181"/>
                </a:lnTo>
                <a:lnTo>
                  <a:pt x="655" y="181"/>
                </a:lnTo>
                <a:lnTo>
                  <a:pt x="654" y="181"/>
                </a:lnTo>
                <a:lnTo>
                  <a:pt x="654" y="182"/>
                </a:lnTo>
                <a:lnTo>
                  <a:pt x="653" y="182"/>
                </a:lnTo>
                <a:lnTo>
                  <a:pt x="652" y="182"/>
                </a:lnTo>
                <a:lnTo>
                  <a:pt x="653" y="182"/>
                </a:lnTo>
                <a:lnTo>
                  <a:pt x="654" y="182"/>
                </a:lnTo>
                <a:lnTo>
                  <a:pt x="655" y="182"/>
                </a:lnTo>
                <a:lnTo>
                  <a:pt x="654" y="182"/>
                </a:lnTo>
                <a:lnTo>
                  <a:pt x="653" y="182"/>
                </a:lnTo>
                <a:lnTo>
                  <a:pt x="654" y="182"/>
                </a:lnTo>
                <a:lnTo>
                  <a:pt x="654" y="183"/>
                </a:lnTo>
                <a:lnTo>
                  <a:pt x="653" y="183"/>
                </a:lnTo>
                <a:lnTo>
                  <a:pt x="652" y="183"/>
                </a:lnTo>
                <a:lnTo>
                  <a:pt x="652" y="184"/>
                </a:lnTo>
                <a:lnTo>
                  <a:pt x="650" y="184"/>
                </a:lnTo>
                <a:lnTo>
                  <a:pt x="649" y="184"/>
                </a:lnTo>
                <a:lnTo>
                  <a:pt x="649" y="186"/>
                </a:lnTo>
                <a:lnTo>
                  <a:pt x="649" y="184"/>
                </a:lnTo>
                <a:lnTo>
                  <a:pt x="649" y="183"/>
                </a:lnTo>
                <a:lnTo>
                  <a:pt x="649" y="184"/>
                </a:lnTo>
                <a:lnTo>
                  <a:pt x="648" y="184"/>
                </a:lnTo>
                <a:lnTo>
                  <a:pt x="647" y="184"/>
                </a:lnTo>
                <a:lnTo>
                  <a:pt x="647" y="186"/>
                </a:lnTo>
                <a:lnTo>
                  <a:pt x="646" y="186"/>
                </a:lnTo>
                <a:lnTo>
                  <a:pt x="645" y="186"/>
                </a:lnTo>
                <a:lnTo>
                  <a:pt x="646" y="186"/>
                </a:lnTo>
                <a:lnTo>
                  <a:pt x="645" y="186"/>
                </a:lnTo>
                <a:lnTo>
                  <a:pt x="643" y="186"/>
                </a:lnTo>
                <a:lnTo>
                  <a:pt x="643" y="187"/>
                </a:lnTo>
                <a:lnTo>
                  <a:pt x="642" y="187"/>
                </a:lnTo>
                <a:lnTo>
                  <a:pt x="642" y="186"/>
                </a:lnTo>
                <a:lnTo>
                  <a:pt x="641" y="186"/>
                </a:lnTo>
                <a:lnTo>
                  <a:pt x="640" y="186"/>
                </a:lnTo>
                <a:lnTo>
                  <a:pt x="640" y="187"/>
                </a:lnTo>
                <a:lnTo>
                  <a:pt x="639" y="187"/>
                </a:lnTo>
                <a:lnTo>
                  <a:pt x="639" y="188"/>
                </a:lnTo>
                <a:lnTo>
                  <a:pt x="638" y="188"/>
                </a:lnTo>
                <a:lnTo>
                  <a:pt x="636" y="188"/>
                </a:lnTo>
                <a:lnTo>
                  <a:pt x="635" y="188"/>
                </a:lnTo>
                <a:lnTo>
                  <a:pt x="635" y="189"/>
                </a:lnTo>
                <a:lnTo>
                  <a:pt x="634" y="189"/>
                </a:lnTo>
                <a:lnTo>
                  <a:pt x="633" y="189"/>
                </a:lnTo>
                <a:lnTo>
                  <a:pt x="633" y="190"/>
                </a:lnTo>
                <a:lnTo>
                  <a:pt x="632" y="190"/>
                </a:lnTo>
                <a:lnTo>
                  <a:pt x="631" y="190"/>
                </a:lnTo>
                <a:lnTo>
                  <a:pt x="631" y="189"/>
                </a:lnTo>
                <a:lnTo>
                  <a:pt x="630" y="189"/>
                </a:lnTo>
                <a:lnTo>
                  <a:pt x="630" y="190"/>
                </a:lnTo>
                <a:lnTo>
                  <a:pt x="628" y="190"/>
                </a:lnTo>
                <a:lnTo>
                  <a:pt x="628" y="191"/>
                </a:lnTo>
                <a:lnTo>
                  <a:pt x="627" y="191"/>
                </a:lnTo>
                <a:lnTo>
                  <a:pt x="626" y="191"/>
                </a:lnTo>
                <a:lnTo>
                  <a:pt x="626" y="193"/>
                </a:lnTo>
                <a:lnTo>
                  <a:pt x="625" y="193"/>
                </a:lnTo>
                <a:lnTo>
                  <a:pt x="624" y="193"/>
                </a:lnTo>
                <a:lnTo>
                  <a:pt x="625" y="193"/>
                </a:lnTo>
                <a:lnTo>
                  <a:pt x="624" y="193"/>
                </a:lnTo>
                <a:lnTo>
                  <a:pt x="623" y="193"/>
                </a:lnTo>
                <a:lnTo>
                  <a:pt x="623" y="194"/>
                </a:lnTo>
                <a:lnTo>
                  <a:pt x="623" y="193"/>
                </a:lnTo>
                <a:lnTo>
                  <a:pt x="621" y="193"/>
                </a:lnTo>
                <a:lnTo>
                  <a:pt x="621" y="194"/>
                </a:lnTo>
                <a:lnTo>
                  <a:pt x="621" y="193"/>
                </a:lnTo>
                <a:lnTo>
                  <a:pt x="620" y="194"/>
                </a:lnTo>
                <a:lnTo>
                  <a:pt x="621" y="194"/>
                </a:lnTo>
                <a:lnTo>
                  <a:pt x="620" y="194"/>
                </a:lnTo>
                <a:lnTo>
                  <a:pt x="619" y="195"/>
                </a:lnTo>
                <a:lnTo>
                  <a:pt x="619" y="194"/>
                </a:lnTo>
                <a:lnTo>
                  <a:pt x="618" y="194"/>
                </a:lnTo>
                <a:lnTo>
                  <a:pt x="618" y="195"/>
                </a:lnTo>
                <a:lnTo>
                  <a:pt x="617" y="195"/>
                </a:lnTo>
                <a:lnTo>
                  <a:pt x="616" y="195"/>
                </a:lnTo>
                <a:lnTo>
                  <a:pt x="613" y="196"/>
                </a:lnTo>
                <a:lnTo>
                  <a:pt x="612" y="196"/>
                </a:lnTo>
                <a:lnTo>
                  <a:pt x="611" y="197"/>
                </a:lnTo>
                <a:lnTo>
                  <a:pt x="612" y="197"/>
                </a:lnTo>
                <a:lnTo>
                  <a:pt x="613" y="196"/>
                </a:lnTo>
                <a:lnTo>
                  <a:pt x="614" y="196"/>
                </a:lnTo>
                <a:lnTo>
                  <a:pt x="614" y="197"/>
                </a:lnTo>
                <a:lnTo>
                  <a:pt x="613" y="197"/>
                </a:lnTo>
                <a:lnTo>
                  <a:pt x="612" y="197"/>
                </a:lnTo>
                <a:lnTo>
                  <a:pt x="612" y="198"/>
                </a:lnTo>
                <a:lnTo>
                  <a:pt x="611" y="198"/>
                </a:lnTo>
                <a:lnTo>
                  <a:pt x="610" y="200"/>
                </a:lnTo>
                <a:lnTo>
                  <a:pt x="609" y="200"/>
                </a:lnTo>
                <a:lnTo>
                  <a:pt x="610" y="200"/>
                </a:lnTo>
                <a:lnTo>
                  <a:pt x="609" y="200"/>
                </a:lnTo>
                <a:lnTo>
                  <a:pt x="609" y="201"/>
                </a:lnTo>
                <a:lnTo>
                  <a:pt x="607" y="201"/>
                </a:lnTo>
                <a:lnTo>
                  <a:pt x="607" y="200"/>
                </a:lnTo>
                <a:lnTo>
                  <a:pt x="606" y="200"/>
                </a:lnTo>
                <a:lnTo>
                  <a:pt x="607" y="201"/>
                </a:lnTo>
                <a:lnTo>
                  <a:pt x="606" y="201"/>
                </a:lnTo>
                <a:lnTo>
                  <a:pt x="605" y="201"/>
                </a:lnTo>
                <a:lnTo>
                  <a:pt x="606" y="201"/>
                </a:lnTo>
                <a:lnTo>
                  <a:pt x="605" y="201"/>
                </a:lnTo>
                <a:lnTo>
                  <a:pt x="604" y="201"/>
                </a:lnTo>
                <a:lnTo>
                  <a:pt x="604" y="202"/>
                </a:lnTo>
                <a:lnTo>
                  <a:pt x="603" y="202"/>
                </a:lnTo>
                <a:lnTo>
                  <a:pt x="603" y="203"/>
                </a:lnTo>
                <a:lnTo>
                  <a:pt x="602" y="202"/>
                </a:lnTo>
                <a:lnTo>
                  <a:pt x="603" y="202"/>
                </a:lnTo>
                <a:lnTo>
                  <a:pt x="602" y="202"/>
                </a:lnTo>
                <a:lnTo>
                  <a:pt x="600" y="202"/>
                </a:lnTo>
                <a:lnTo>
                  <a:pt x="599" y="203"/>
                </a:lnTo>
                <a:lnTo>
                  <a:pt x="598" y="203"/>
                </a:lnTo>
                <a:lnTo>
                  <a:pt x="597" y="203"/>
                </a:lnTo>
                <a:lnTo>
                  <a:pt x="597" y="204"/>
                </a:lnTo>
                <a:lnTo>
                  <a:pt x="596" y="204"/>
                </a:lnTo>
                <a:lnTo>
                  <a:pt x="596" y="203"/>
                </a:lnTo>
                <a:lnTo>
                  <a:pt x="595" y="203"/>
                </a:lnTo>
                <a:lnTo>
                  <a:pt x="593" y="203"/>
                </a:lnTo>
                <a:lnTo>
                  <a:pt x="593" y="204"/>
                </a:lnTo>
                <a:lnTo>
                  <a:pt x="592" y="204"/>
                </a:lnTo>
                <a:lnTo>
                  <a:pt x="591" y="205"/>
                </a:lnTo>
                <a:lnTo>
                  <a:pt x="590" y="205"/>
                </a:lnTo>
                <a:lnTo>
                  <a:pt x="591" y="205"/>
                </a:lnTo>
                <a:lnTo>
                  <a:pt x="590" y="205"/>
                </a:lnTo>
                <a:lnTo>
                  <a:pt x="591" y="205"/>
                </a:lnTo>
                <a:lnTo>
                  <a:pt x="590" y="205"/>
                </a:lnTo>
                <a:lnTo>
                  <a:pt x="591" y="205"/>
                </a:lnTo>
                <a:lnTo>
                  <a:pt x="591" y="207"/>
                </a:lnTo>
                <a:lnTo>
                  <a:pt x="590" y="207"/>
                </a:lnTo>
                <a:lnTo>
                  <a:pt x="589" y="207"/>
                </a:lnTo>
                <a:lnTo>
                  <a:pt x="588" y="207"/>
                </a:lnTo>
                <a:lnTo>
                  <a:pt x="588" y="205"/>
                </a:lnTo>
                <a:lnTo>
                  <a:pt x="586" y="205"/>
                </a:lnTo>
                <a:lnTo>
                  <a:pt x="586" y="207"/>
                </a:lnTo>
                <a:lnTo>
                  <a:pt x="585" y="207"/>
                </a:lnTo>
                <a:lnTo>
                  <a:pt x="584" y="207"/>
                </a:lnTo>
                <a:lnTo>
                  <a:pt x="583" y="207"/>
                </a:lnTo>
                <a:lnTo>
                  <a:pt x="583" y="208"/>
                </a:lnTo>
                <a:lnTo>
                  <a:pt x="582" y="208"/>
                </a:lnTo>
                <a:lnTo>
                  <a:pt x="584" y="208"/>
                </a:lnTo>
                <a:lnTo>
                  <a:pt x="585" y="208"/>
                </a:lnTo>
                <a:lnTo>
                  <a:pt x="584" y="208"/>
                </a:lnTo>
                <a:lnTo>
                  <a:pt x="584" y="209"/>
                </a:lnTo>
                <a:lnTo>
                  <a:pt x="583" y="209"/>
                </a:lnTo>
                <a:lnTo>
                  <a:pt x="582" y="208"/>
                </a:lnTo>
                <a:lnTo>
                  <a:pt x="581" y="208"/>
                </a:lnTo>
                <a:lnTo>
                  <a:pt x="581" y="209"/>
                </a:lnTo>
                <a:lnTo>
                  <a:pt x="579" y="209"/>
                </a:lnTo>
                <a:lnTo>
                  <a:pt x="578" y="209"/>
                </a:lnTo>
                <a:lnTo>
                  <a:pt x="577" y="209"/>
                </a:lnTo>
                <a:lnTo>
                  <a:pt x="576" y="209"/>
                </a:lnTo>
                <a:lnTo>
                  <a:pt x="576" y="210"/>
                </a:lnTo>
                <a:lnTo>
                  <a:pt x="575" y="210"/>
                </a:lnTo>
                <a:lnTo>
                  <a:pt x="574" y="211"/>
                </a:lnTo>
                <a:lnTo>
                  <a:pt x="572" y="211"/>
                </a:lnTo>
                <a:lnTo>
                  <a:pt x="571" y="211"/>
                </a:lnTo>
                <a:lnTo>
                  <a:pt x="571" y="212"/>
                </a:lnTo>
                <a:lnTo>
                  <a:pt x="572" y="212"/>
                </a:lnTo>
                <a:lnTo>
                  <a:pt x="572" y="211"/>
                </a:lnTo>
                <a:lnTo>
                  <a:pt x="574" y="211"/>
                </a:lnTo>
                <a:lnTo>
                  <a:pt x="575" y="211"/>
                </a:lnTo>
                <a:lnTo>
                  <a:pt x="576" y="211"/>
                </a:lnTo>
                <a:lnTo>
                  <a:pt x="577" y="211"/>
                </a:lnTo>
                <a:lnTo>
                  <a:pt x="576" y="212"/>
                </a:lnTo>
                <a:lnTo>
                  <a:pt x="575" y="212"/>
                </a:lnTo>
                <a:lnTo>
                  <a:pt x="574" y="212"/>
                </a:lnTo>
                <a:lnTo>
                  <a:pt x="572" y="212"/>
                </a:lnTo>
                <a:lnTo>
                  <a:pt x="574" y="212"/>
                </a:lnTo>
                <a:lnTo>
                  <a:pt x="574" y="214"/>
                </a:lnTo>
                <a:lnTo>
                  <a:pt x="575" y="212"/>
                </a:lnTo>
                <a:lnTo>
                  <a:pt x="576" y="212"/>
                </a:lnTo>
                <a:lnTo>
                  <a:pt x="577" y="212"/>
                </a:lnTo>
                <a:lnTo>
                  <a:pt x="576" y="212"/>
                </a:lnTo>
                <a:lnTo>
                  <a:pt x="575" y="214"/>
                </a:lnTo>
                <a:lnTo>
                  <a:pt x="574" y="214"/>
                </a:lnTo>
                <a:lnTo>
                  <a:pt x="572" y="214"/>
                </a:lnTo>
                <a:lnTo>
                  <a:pt x="571" y="214"/>
                </a:lnTo>
                <a:lnTo>
                  <a:pt x="571" y="215"/>
                </a:lnTo>
                <a:lnTo>
                  <a:pt x="570" y="215"/>
                </a:lnTo>
                <a:lnTo>
                  <a:pt x="571" y="215"/>
                </a:lnTo>
                <a:lnTo>
                  <a:pt x="570" y="215"/>
                </a:lnTo>
                <a:lnTo>
                  <a:pt x="570" y="216"/>
                </a:lnTo>
                <a:lnTo>
                  <a:pt x="570" y="215"/>
                </a:lnTo>
                <a:lnTo>
                  <a:pt x="570" y="216"/>
                </a:lnTo>
                <a:lnTo>
                  <a:pt x="569" y="216"/>
                </a:lnTo>
                <a:lnTo>
                  <a:pt x="569" y="215"/>
                </a:lnTo>
                <a:lnTo>
                  <a:pt x="569" y="216"/>
                </a:lnTo>
                <a:lnTo>
                  <a:pt x="569" y="215"/>
                </a:lnTo>
                <a:lnTo>
                  <a:pt x="570" y="215"/>
                </a:lnTo>
                <a:lnTo>
                  <a:pt x="569" y="215"/>
                </a:lnTo>
                <a:lnTo>
                  <a:pt x="568" y="215"/>
                </a:lnTo>
                <a:lnTo>
                  <a:pt x="569" y="215"/>
                </a:lnTo>
                <a:lnTo>
                  <a:pt x="570" y="214"/>
                </a:lnTo>
                <a:lnTo>
                  <a:pt x="571" y="214"/>
                </a:lnTo>
                <a:lnTo>
                  <a:pt x="572" y="214"/>
                </a:lnTo>
                <a:lnTo>
                  <a:pt x="572" y="212"/>
                </a:lnTo>
                <a:lnTo>
                  <a:pt x="571" y="212"/>
                </a:lnTo>
                <a:lnTo>
                  <a:pt x="570" y="212"/>
                </a:lnTo>
                <a:lnTo>
                  <a:pt x="570" y="214"/>
                </a:lnTo>
                <a:lnTo>
                  <a:pt x="571" y="214"/>
                </a:lnTo>
                <a:lnTo>
                  <a:pt x="570" y="214"/>
                </a:lnTo>
                <a:lnTo>
                  <a:pt x="569" y="214"/>
                </a:lnTo>
                <a:lnTo>
                  <a:pt x="568" y="215"/>
                </a:lnTo>
                <a:lnTo>
                  <a:pt x="569" y="215"/>
                </a:lnTo>
                <a:lnTo>
                  <a:pt x="568" y="215"/>
                </a:lnTo>
                <a:lnTo>
                  <a:pt x="567" y="215"/>
                </a:lnTo>
                <a:lnTo>
                  <a:pt x="567" y="216"/>
                </a:lnTo>
                <a:lnTo>
                  <a:pt x="568" y="216"/>
                </a:lnTo>
                <a:lnTo>
                  <a:pt x="567" y="216"/>
                </a:lnTo>
                <a:lnTo>
                  <a:pt x="566" y="217"/>
                </a:lnTo>
                <a:lnTo>
                  <a:pt x="566" y="216"/>
                </a:lnTo>
                <a:lnTo>
                  <a:pt x="564" y="216"/>
                </a:lnTo>
                <a:lnTo>
                  <a:pt x="563" y="217"/>
                </a:lnTo>
                <a:lnTo>
                  <a:pt x="562" y="217"/>
                </a:lnTo>
                <a:lnTo>
                  <a:pt x="561" y="217"/>
                </a:lnTo>
                <a:lnTo>
                  <a:pt x="560" y="217"/>
                </a:lnTo>
                <a:lnTo>
                  <a:pt x="559" y="217"/>
                </a:lnTo>
                <a:lnTo>
                  <a:pt x="557" y="217"/>
                </a:lnTo>
                <a:lnTo>
                  <a:pt x="557" y="218"/>
                </a:lnTo>
                <a:lnTo>
                  <a:pt x="557" y="217"/>
                </a:lnTo>
                <a:lnTo>
                  <a:pt x="556" y="218"/>
                </a:lnTo>
                <a:lnTo>
                  <a:pt x="555" y="218"/>
                </a:lnTo>
                <a:lnTo>
                  <a:pt x="555" y="219"/>
                </a:lnTo>
                <a:lnTo>
                  <a:pt x="555" y="218"/>
                </a:lnTo>
                <a:lnTo>
                  <a:pt x="556" y="217"/>
                </a:lnTo>
                <a:lnTo>
                  <a:pt x="555" y="217"/>
                </a:lnTo>
                <a:lnTo>
                  <a:pt x="555" y="218"/>
                </a:lnTo>
                <a:lnTo>
                  <a:pt x="554" y="218"/>
                </a:lnTo>
                <a:lnTo>
                  <a:pt x="554" y="219"/>
                </a:lnTo>
                <a:lnTo>
                  <a:pt x="553" y="219"/>
                </a:lnTo>
                <a:lnTo>
                  <a:pt x="552" y="221"/>
                </a:lnTo>
                <a:lnTo>
                  <a:pt x="550" y="221"/>
                </a:lnTo>
                <a:lnTo>
                  <a:pt x="550" y="222"/>
                </a:lnTo>
                <a:lnTo>
                  <a:pt x="549" y="222"/>
                </a:lnTo>
                <a:lnTo>
                  <a:pt x="548" y="222"/>
                </a:lnTo>
                <a:lnTo>
                  <a:pt x="549" y="222"/>
                </a:lnTo>
                <a:lnTo>
                  <a:pt x="548" y="222"/>
                </a:lnTo>
                <a:lnTo>
                  <a:pt x="549" y="222"/>
                </a:lnTo>
                <a:lnTo>
                  <a:pt x="550" y="222"/>
                </a:lnTo>
                <a:lnTo>
                  <a:pt x="550" y="221"/>
                </a:lnTo>
                <a:lnTo>
                  <a:pt x="549" y="221"/>
                </a:lnTo>
                <a:lnTo>
                  <a:pt x="550" y="221"/>
                </a:lnTo>
                <a:lnTo>
                  <a:pt x="552" y="221"/>
                </a:lnTo>
                <a:lnTo>
                  <a:pt x="552" y="219"/>
                </a:lnTo>
                <a:lnTo>
                  <a:pt x="553" y="219"/>
                </a:lnTo>
                <a:lnTo>
                  <a:pt x="553" y="218"/>
                </a:lnTo>
                <a:lnTo>
                  <a:pt x="552" y="218"/>
                </a:lnTo>
                <a:lnTo>
                  <a:pt x="550" y="218"/>
                </a:lnTo>
                <a:lnTo>
                  <a:pt x="550" y="219"/>
                </a:lnTo>
                <a:lnTo>
                  <a:pt x="549" y="219"/>
                </a:lnTo>
                <a:lnTo>
                  <a:pt x="549" y="218"/>
                </a:lnTo>
                <a:lnTo>
                  <a:pt x="548" y="219"/>
                </a:lnTo>
                <a:lnTo>
                  <a:pt x="547" y="219"/>
                </a:lnTo>
                <a:lnTo>
                  <a:pt x="546" y="219"/>
                </a:lnTo>
                <a:lnTo>
                  <a:pt x="546" y="221"/>
                </a:lnTo>
                <a:lnTo>
                  <a:pt x="546" y="219"/>
                </a:lnTo>
                <a:lnTo>
                  <a:pt x="545" y="221"/>
                </a:lnTo>
                <a:lnTo>
                  <a:pt x="543" y="221"/>
                </a:lnTo>
                <a:lnTo>
                  <a:pt x="542" y="221"/>
                </a:lnTo>
                <a:lnTo>
                  <a:pt x="541" y="221"/>
                </a:lnTo>
                <a:lnTo>
                  <a:pt x="541" y="222"/>
                </a:lnTo>
                <a:lnTo>
                  <a:pt x="540" y="222"/>
                </a:lnTo>
                <a:lnTo>
                  <a:pt x="540" y="223"/>
                </a:lnTo>
                <a:lnTo>
                  <a:pt x="539" y="223"/>
                </a:lnTo>
                <a:lnTo>
                  <a:pt x="538" y="223"/>
                </a:lnTo>
                <a:lnTo>
                  <a:pt x="538" y="224"/>
                </a:lnTo>
                <a:lnTo>
                  <a:pt x="538" y="223"/>
                </a:lnTo>
                <a:lnTo>
                  <a:pt x="538" y="222"/>
                </a:lnTo>
                <a:lnTo>
                  <a:pt x="539" y="222"/>
                </a:lnTo>
                <a:lnTo>
                  <a:pt x="538" y="222"/>
                </a:lnTo>
                <a:lnTo>
                  <a:pt x="536" y="223"/>
                </a:lnTo>
                <a:lnTo>
                  <a:pt x="535" y="223"/>
                </a:lnTo>
                <a:lnTo>
                  <a:pt x="536" y="223"/>
                </a:lnTo>
                <a:lnTo>
                  <a:pt x="535" y="224"/>
                </a:lnTo>
                <a:lnTo>
                  <a:pt x="534" y="224"/>
                </a:lnTo>
                <a:lnTo>
                  <a:pt x="533" y="224"/>
                </a:lnTo>
                <a:lnTo>
                  <a:pt x="534" y="224"/>
                </a:lnTo>
                <a:lnTo>
                  <a:pt x="534" y="223"/>
                </a:lnTo>
                <a:lnTo>
                  <a:pt x="533" y="223"/>
                </a:lnTo>
                <a:lnTo>
                  <a:pt x="532" y="224"/>
                </a:lnTo>
                <a:lnTo>
                  <a:pt x="531" y="224"/>
                </a:lnTo>
                <a:lnTo>
                  <a:pt x="529" y="224"/>
                </a:lnTo>
                <a:lnTo>
                  <a:pt x="527" y="225"/>
                </a:lnTo>
                <a:lnTo>
                  <a:pt x="526" y="225"/>
                </a:lnTo>
                <a:lnTo>
                  <a:pt x="525" y="225"/>
                </a:lnTo>
                <a:lnTo>
                  <a:pt x="524" y="225"/>
                </a:lnTo>
                <a:lnTo>
                  <a:pt x="525" y="225"/>
                </a:lnTo>
                <a:lnTo>
                  <a:pt x="525" y="224"/>
                </a:lnTo>
                <a:lnTo>
                  <a:pt x="526" y="224"/>
                </a:lnTo>
                <a:lnTo>
                  <a:pt x="526" y="223"/>
                </a:lnTo>
                <a:lnTo>
                  <a:pt x="527" y="223"/>
                </a:lnTo>
                <a:lnTo>
                  <a:pt x="528" y="223"/>
                </a:lnTo>
                <a:lnTo>
                  <a:pt x="528" y="222"/>
                </a:lnTo>
                <a:lnTo>
                  <a:pt x="529" y="222"/>
                </a:lnTo>
                <a:lnTo>
                  <a:pt x="529" y="223"/>
                </a:lnTo>
                <a:lnTo>
                  <a:pt x="531" y="223"/>
                </a:lnTo>
                <a:lnTo>
                  <a:pt x="531" y="222"/>
                </a:lnTo>
                <a:lnTo>
                  <a:pt x="529" y="222"/>
                </a:lnTo>
                <a:lnTo>
                  <a:pt x="527" y="222"/>
                </a:lnTo>
                <a:lnTo>
                  <a:pt x="526" y="222"/>
                </a:lnTo>
                <a:lnTo>
                  <a:pt x="526" y="223"/>
                </a:lnTo>
                <a:lnTo>
                  <a:pt x="525" y="223"/>
                </a:lnTo>
                <a:lnTo>
                  <a:pt x="524" y="223"/>
                </a:lnTo>
                <a:lnTo>
                  <a:pt x="524" y="224"/>
                </a:lnTo>
                <a:lnTo>
                  <a:pt x="522" y="224"/>
                </a:lnTo>
                <a:lnTo>
                  <a:pt x="522" y="225"/>
                </a:lnTo>
                <a:lnTo>
                  <a:pt x="520" y="226"/>
                </a:lnTo>
                <a:lnTo>
                  <a:pt x="519" y="226"/>
                </a:lnTo>
                <a:lnTo>
                  <a:pt x="518" y="228"/>
                </a:lnTo>
                <a:lnTo>
                  <a:pt x="517" y="228"/>
                </a:lnTo>
                <a:lnTo>
                  <a:pt x="515" y="228"/>
                </a:lnTo>
                <a:lnTo>
                  <a:pt x="515" y="229"/>
                </a:lnTo>
                <a:lnTo>
                  <a:pt x="514" y="229"/>
                </a:lnTo>
                <a:lnTo>
                  <a:pt x="514" y="230"/>
                </a:lnTo>
                <a:lnTo>
                  <a:pt x="513" y="230"/>
                </a:lnTo>
                <a:lnTo>
                  <a:pt x="513" y="229"/>
                </a:lnTo>
                <a:lnTo>
                  <a:pt x="514" y="229"/>
                </a:lnTo>
                <a:lnTo>
                  <a:pt x="513" y="229"/>
                </a:lnTo>
                <a:lnTo>
                  <a:pt x="512" y="229"/>
                </a:lnTo>
                <a:lnTo>
                  <a:pt x="512" y="230"/>
                </a:lnTo>
                <a:lnTo>
                  <a:pt x="511" y="230"/>
                </a:lnTo>
                <a:lnTo>
                  <a:pt x="510" y="230"/>
                </a:lnTo>
                <a:lnTo>
                  <a:pt x="508" y="230"/>
                </a:lnTo>
                <a:lnTo>
                  <a:pt x="507" y="230"/>
                </a:lnTo>
                <a:lnTo>
                  <a:pt x="508" y="230"/>
                </a:lnTo>
                <a:lnTo>
                  <a:pt x="508" y="229"/>
                </a:lnTo>
                <a:lnTo>
                  <a:pt x="510" y="229"/>
                </a:lnTo>
                <a:lnTo>
                  <a:pt x="510" y="228"/>
                </a:lnTo>
                <a:lnTo>
                  <a:pt x="511" y="228"/>
                </a:lnTo>
                <a:lnTo>
                  <a:pt x="511" y="226"/>
                </a:lnTo>
                <a:lnTo>
                  <a:pt x="510" y="226"/>
                </a:lnTo>
                <a:lnTo>
                  <a:pt x="511" y="226"/>
                </a:lnTo>
                <a:lnTo>
                  <a:pt x="510" y="226"/>
                </a:lnTo>
                <a:lnTo>
                  <a:pt x="508" y="226"/>
                </a:lnTo>
                <a:lnTo>
                  <a:pt x="508" y="228"/>
                </a:lnTo>
                <a:lnTo>
                  <a:pt x="507" y="228"/>
                </a:lnTo>
                <a:lnTo>
                  <a:pt x="508" y="228"/>
                </a:lnTo>
                <a:lnTo>
                  <a:pt x="508" y="229"/>
                </a:lnTo>
                <a:lnTo>
                  <a:pt x="507" y="229"/>
                </a:lnTo>
                <a:lnTo>
                  <a:pt x="506" y="230"/>
                </a:lnTo>
                <a:lnTo>
                  <a:pt x="505" y="231"/>
                </a:lnTo>
                <a:lnTo>
                  <a:pt x="505" y="230"/>
                </a:lnTo>
                <a:lnTo>
                  <a:pt x="505" y="231"/>
                </a:lnTo>
                <a:lnTo>
                  <a:pt x="506" y="230"/>
                </a:lnTo>
                <a:lnTo>
                  <a:pt x="505" y="230"/>
                </a:lnTo>
                <a:lnTo>
                  <a:pt x="505" y="231"/>
                </a:lnTo>
                <a:lnTo>
                  <a:pt x="504" y="231"/>
                </a:lnTo>
                <a:lnTo>
                  <a:pt x="503" y="231"/>
                </a:lnTo>
                <a:lnTo>
                  <a:pt x="503" y="232"/>
                </a:lnTo>
                <a:lnTo>
                  <a:pt x="502" y="232"/>
                </a:lnTo>
                <a:lnTo>
                  <a:pt x="502" y="231"/>
                </a:lnTo>
                <a:lnTo>
                  <a:pt x="503" y="230"/>
                </a:lnTo>
                <a:lnTo>
                  <a:pt x="502" y="230"/>
                </a:lnTo>
                <a:lnTo>
                  <a:pt x="502" y="229"/>
                </a:lnTo>
                <a:lnTo>
                  <a:pt x="500" y="229"/>
                </a:lnTo>
                <a:lnTo>
                  <a:pt x="502" y="229"/>
                </a:lnTo>
                <a:lnTo>
                  <a:pt x="500" y="229"/>
                </a:lnTo>
                <a:lnTo>
                  <a:pt x="500" y="230"/>
                </a:lnTo>
                <a:lnTo>
                  <a:pt x="500" y="229"/>
                </a:lnTo>
                <a:lnTo>
                  <a:pt x="499" y="230"/>
                </a:lnTo>
                <a:lnTo>
                  <a:pt x="500" y="230"/>
                </a:lnTo>
                <a:lnTo>
                  <a:pt x="499" y="230"/>
                </a:lnTo>
                <a:lnTo>
                  <a:pt x="499" y="231"/>
                </a:lnTo>
                <a:lnTo>
                  <a:pt x="500" y="231"/>
                </a:lnTo>
                <a:lnTo>
                  <a:pt x="499" y="231"/>
                </a:lnTo>
                <a:lnTo>
                  <a:pt x="499" y="232"/>
                </a:lnTo>
                <a:lnTo>
                  <a:pt x="498" y="232"/>
                </a:lnTo>
                <a:lnTo>
                  <a:pt x="497" y="232"/>
                </a:lnTo>
                <a:lnTo>
                  <a:pt x="496" y="233"/>
                </a:lnTo>
                <a:lnTo>
                  <a:pt x="495" y="233"/>
                </a:lnTo>
                <a:lnTo>
                  <a:pt x="493" y="233"/>
                </a:lnTo>
                <a:lnTo>
                  <a:pt x="495" y="233"/>
                </a:lnTo>
                <a:lnTo>
                  <a:pt x="495" y="232"/>
                </a:lnTo>
                <a:lnTo>
                  <a:pt x="496" y="232"/>
                </a:lnTo>
                <a:lnTo>
                  <a:pt x="497" y="232"/>
                </a:lnTo>
                <a:lnTo>
                  <a:pt x="496" y="232"/>
                </a:lnTo>
                <a:lnTo>
                  <a:pt x="496" y="231"/>
                </a:lnTo>
                <a:lnTo>
                  <a:pt x="497" y="231"/>
                </a:lnTo>
                <a:lnTo>
                  <a:pt x="498" y="231"/>
                </a:lnTo>
                <a:lnTo>
                  <a:pt x="498" y="230"/>
                </a:lnTo>
                <a:lnTo>
                  <a:pt x="499" y="230"/>
                </a:lnTo>
                <a:lnTo>
                  <a:pt x="499" y="229"/>
                </a:lnTo>
                <a:lnTo>
                  <a:pt x="503" y="228"/>
                </a:lnTo>
                <a:lnTo>
                  <a:pt x="505" y="228"/>
                </a:lnTo>
                <a:lnTo>
                  <a:pt x="504" y="228"/>
                </a:lnTo>
                <a:lnTo>
                  <a:pt x="503" y="228"/>
                </a:lnTo>
                <a:lnTo>
                  <a:pt x="504" y="228"/>
                </a:lnTo>
                <a:lnTo>
                  <a:pt x="504" y="229"/>
                </a:lnTo>
                <a:lnTo>
                  <a:pt x="505" y="228"/>
                </a:lnTo>
                <a:lnTo>
                  <a:pt x="506" y="228"/>
                </a:lnTo>
                <a:lnTo>
                  <a:pt x="506" y="226"/>
                </a:lnTo>
                <a:lnTo>
                  <a:pt x="507" y="226"/>
                </a:lnTo>
                <a:lnTo>
                  <a:pt x="508" y="226"/>
                </a:lnTo>
                <a:lnTo>
                  <a:pt x="510" y="226"/>
                </a:lnTo>
                <a:lnTo>
                  <a:pt x="511" y="225"/>
                </a:lnTo>
                <a:lnTo>
                  <a:pt x="512" y="225"/>
                </a:lnTo>
                <a:lnTo>
                  <a:pt x="513" y="225"/>
                </a:lnTo>
                <a:lnTo>
                  <a:pt x="513" y="224"/>
                </a:lnTo>
                <a:lnTo>
                  <a:pt x="512" y="224"/>
                </a:lnTo>
                <a:lnTo>
                  <a:pt x="513" y="224"/>
                </a:lnTo>
                <a:lnTo>
                  <a:pt x="521" y="221"/>
                </a:lnTo>
                <a:lnTo>
                  <a:pt x="522" y="219"/>
                </a:lnTo>
                <a:lnTo>
                  <a:pt x="524" y="219"/>
                </a:lnTo>
                <a:lnTo>
                  <a:pt x="525" y="219"/>
                </a:lnTo>
                <a:lnTo>
                  <a:pt x="527" y="218"/>
                </a:lnTo>
                <a:lnTo>
                  <a:pt x="528" y="217"/>
                </a:lnTo>
                <a:lnTo>
                  <a:pt x="529" y="217"/>
                </a:lnTo>
                <a:lnTo>
                  <a:pt x="531" y="217"/>
                </a:lnTo>
                <a:lnTo>
                  <a:pt x="532" y="217"/>
                </a:lnTo>
                <a:lnTo>
                  <a:pt x="533" y="217"/>
                </a:lnTo>
                <a:lnTo>
                  <a:pt x="534" y="217"/>
                </a:lnTo>
                <a:lnTo>
                  <a:pt x="535" y="216"/>
                </a:lnTo>
                <a:lnTo>
                  <a:pt x="539" y="216"/>
                </a:lnTo>
                <a:lnTo>
                  <a:pt x="538" y="216"/>
                </a:lnTo>
                <a:lnTo>
                  <a:pt x="536" y="216"/>
                </a:lnTo>
                <a:lnTo>
                  <a:pt x="535" y="216"/>
                </a:lnTo>
                <a:lnTo>
                  <a:pt x="536" y="216"/>
                </a:lnTo>
                <a:lnTo>
                  <a:pt x="538" y="217"/>
                </a:lnTo>
                <a:lnTo>
                  <a:pt x="538" y="216"/>
                </a:lnTo>
                <a:lnTo>
                  <a:pt x="539" y="217"/>
                </a:lnTo>
                <a:lnTo>
                  <a:pt x="539" y="216"/>
                </a:lnTo>
                <a:lnTo>
                  <a:pt x="540" y="216"/>
                </a:lnTo>
                <a:lnTo>
                  <a:pt x="541" y="216"/>
                </a:lnTo>
                <a:lnTo>
                  <a:pt x="541" y="217"/>
                </a:lnTo>
                <a:lnTo>
                  <a:pt x="540" y="217"/>
                </a:lnTo>
                <a:lnTo>
                  <a:pt x="539" y="217"/>
                </a:lnTo>
                <a:lnTo>
                  <a:pt x="538" y="217"/>
                </a:lnTo>
                <a:lnTo>
                  <a:pt x="538" y="218"/>
                </a:lnTo>
                <a:lnTo>
                  <a:pt x="539" y="218"/>
                </a:lnTo>
                <a:lnTo>
                  <a:pt x="539" y="217"/>
                </a:lnTo>
                <a:lnTo>
                  <a:pt x="539" y="218"/>
                </a:lnTo>
                <a:lnTo>
                  <a:pt x="538" y="218"/>
                </a:lnTo>
                <a:lnTo>
                  <a:pt x="538" y="219"/>
                </a:lnTo>
                <a:lnTo>
                  <a:pt x="538" y="221"/>
                </a:lnTo>
                <a:lnTo>
                  <a:pt x="539" y="219"/>
                </a:lnTo>
                <a:lnTo>
                  <a:pt x="539" y="221"/>
                </a:lnTo>
                <a:lnTo>
                  <a:pt x="540" y="219"/>
                </a:lnTo>
                <a:lnTo>
                  <a:pt x="540" y="218"/>
                </a:lnTo>
                <a:lnTo>
                  <a:pt x="540" y="217"/>
                </a:lnTo>
                <a:lnTo>
                  <a:pt x="541" y="217"/>
                </a:lnTo>
                <a:lnTo>
                  <a:pt x="541" y="218"/>
                </a:lnTo>
                <a:lnTo>
                  <a:pt x="543" y="218"/>
                </a:lnTo>
                <a:lnTo>
                  <a:pt x="543" y="219"/>
                </a:lnTo>
                <a:lnTo>
                  <a:pt x="543" y="218"/>
                </a:lnTo>
                <a:lnTo>
                  <a:pt x="543" y="219"/>
                </a:lnTo>
                <a:lnTo>
                  <a:pt x="545" y="219"/>
                </a:lnTo>
                <a:lnTo>
                  <a:pt x="546" y="219"/>
                </a:lnTo>
                <a:lnTo>
                  <a:pt x="545" y="219"/>
                </a:lnTo>
                <a:lnTo>
                  <a:pt x="545" y="218"/>
                </a:lnTo>
                <a:lnTo>
                  <a:pt x="546" y="218"/>
                </a:lnTo>
                <a:lnTo>
                  <a:pt x="547" y="218"/>
                </a:lnTo>
                <a:lnTo>
                  <a:pt x="546" y="218"/>
                </a:lnTo>
                <a:lnTo>
                  <a:pt x="545" y="217"/>
                </a:lnTo>
                <a:lnTo>
                  <a:pt x="543" y="217"/>
                </a:lnTo>
                <a:lnTo>
                  <a:pt x="545" y="217"/>
                </a:lnTo>
                <a:lnTo>
                  <a:pt x="545" y="216"/>
                </a:lnTo>
                <a:lnTo>
                  <a:pt x="546" y="215"/>
                </a:lnTo>
                <a:lnTo>
                  <a:pt x="547" y="215"/>
                </a:lnTo>
                <a:lnTo>
                  <a:pt x="548" y="215"/>
                </a:lnTo>
                <a:lnTo>
                  <a:pt x="548" y="214"/>
                </a:lnTo>
                <a:lnTo>
                  <a:pt x="549" y="214"/>
                </a:lnTo>
                <a:lnTo>
                  <a:pt x="549" y="212"/>
                </a:lnTo>
                <a:lnTo>
                  <a:pt x="550" y="212"/>
                </a:lnTo>
                <a:lnTo>
                  <a:pt x="552" y="211"/>
                </a:lnTo>
                <a:lnTo>
                  <a:pt x="554" y="211"/>
                </a:lnTo>
                <a:lnTo>
                  <a:pt x="555" y="210"/>
                </a:lnTo>
                <a:lnTo>
                  <a:pt x="559" y="209"/>
                </a:lnTo>
                <a:lnTo>
                  <a:pt x="560" y="209"/>
                </a:lnTo>
                <a:lnTo>
                  <a:pt x="562" y="208"/>
                </a:lnTo>
                <a:lnTo>
                  <a:pt x="563" y="208"/>
                </a:lnTo>
                <a:lnTo>
                  <a:pt x="568" y="207"/>
                </a:lnTo>
                <a:lnTo>
                  <a:pt x="567" y="207"/>
                </a:lnTo>
                <a:lnTo>
                  <a:pt x="568" y="207"/>
                </a:lnTo>
                <a:lnTo>
                  <a:pt x="570" y="205"/>
                </a:lnTo>
                <a:lnTo>
                  <a:pt x="571" y="205"/>
                </a:lnTo>
                <a:lnTo>
                  <a:pt x="572" y="204"/>
                </a:lnTo>
                <a:lnTo>
                  <a:pt x="574" y="204"/>
                </a:lnTo>
                <a:lnTo>
                  <a:pt x="575" y="204"/>
                </a:lnTo>
                <a:lnTo>
                  <a:pt x="576" y="204"/>
                </a:lnTo>
                <a:lnTo>
                  <a:pt x="576" y="203"/>
                </a:lnTo>
                <a:lnTo>
                  <a:pt x="577" y="203"/>
                </a:lnTo>
                <a:lnTo>
                  <a:pt x="578" y="203"/>
                </a:lnTo>
                <a:lnTo>
                  <a:pt x="577" y="203"/>
                </a:lnTo>
                <a:lnTo>
                  <a:pt x="576" y="203"/>
                </a:lnTo>
                <a:lnTo>
                  <a:pt x="576" y="204"/>
                </a:lnTo>
                <a:lnTo>
                  <a:pt x="575" y="204"/>
                </a:lnTo>
                <a:lnTo>
                  <a:pt x="576" y="204"/>
                </a:lnTo>
                <a:lnTo>
                  <a:pt x="576" y="203"/>
                </a:lnTo>
                <a:lnTo>
                  <a:pt x="577" y="203"/>
                </a:lnTo>
                <a:lnTo>
                  <a:pt x="577" y="204"/>
                </a:lnTo>
                <a:lnTo>
                  <a:pt x="578" y="204"/>
                </a:lnTo>
                <a:lnTo>
                  <a:pt x="579" y="204"/>
                </a:lnTo>
                <a:lnTo>
                  <a:pt x="581" y="203"/>
                </a:lnTo>
                <a:lnTo>
                  <a:pt x="582" y="202"/>
                </a:lnTo>
                <a:lnTo>
                  <a:pt x="582" y="201"/>
                </a:lnTo>
                <a:lnTo>
                  <a:pt x="583" y="201"/>
                </a:lnTo>
                <a:lnTo>
                  <a:pt x="584" y="200"/>
                </a:lnTo>
                <a:lnTo>
                  <a:pt x="585" y="200"/>
                </a:lnTo>
                <a:lnTo>
                  <a:pt x="592" y="196"/>
                </a:lnTo>
                <a:lnTo>
                  <a:pt x="595" y="196"/>
                </a:lnTo>
                <a:lnTo>
                  <a:pt x="596" y="196"/>
                </a:lnTo>
                <a:lnTo>
                  <a:pt x="596" y="195"/>
                </a:lnTo>
                <a:lnTo>
                  <a:pt x="597" y="195"/>
                </a:lnTo>
                <a:lnTo>
                  <a:pt x="598" y="195"/>
                </a:lnTo>
                <a:lnTo>
                  <a:pt x="598" y="194"/>
                </a:lnTo>
                <a:lnTo>
                  <a:pt x="599" y="194"/>
                </a:lnTo>
                <a:lnTo>
                  <a:pt x="600" y="194"/>
                </a:lnTo>
                <a:lnTo>
                  <a:pt x="602" y="193"/>
                </a:lnTo>
                <a:lnTo>
                  <a:pt x="603" y="193"/>
                </a:lnTo>
                <a:lnTo>
                  <a:pt x="603" y="194"/>
                </a:lnTo>
                <a:lnTo>
                  <a:pt x="602" y="194"/>
                </a:lnTo>
                <a:lnTo>
                  <a:pt x="604" y="194"/>
                </a:lnTo>
                <a:lnTo>
                  <a:pt x="603" y="194"/>
                </a:lnTo>
                <a:lnTo>
                  <a:pt x="604" y="194"/>
                </a:lnTo>
                <a:lnTo>
                  <a:pt x="605" y="194"/>
                </a:lnTo>
                <a:lnTo>
                  <a:pt x="605" y="193"/>
                </a:lnTo>
                <a:lnTo>
                  <a:pt x="606" y="193"/>
                </a:lnTo>
                <a:lnTo>
                  <a:pt x="605" y="193"/>
                </a:lnTo>
                <a:lnTo>
                  <a:pt x="605" y="194"/>
                </a:lnTo>
                <a:lnTo>
                  <a:pt x="604" y="194"/>
                </a:lnTo>
                <a:lnTo>
                  <a:pt x="603" y="194"/>
                </a:lnTo>
                <a:lnTo>
                  <a:pt x="604" y="193"/>
                </a:lnTo>
                <a:lnTo>
                  <a:pt x="605" y="193"/>
                </a:lnTo>
                <a:lnTo>
                  <a:pt x="605" y="191"/>
                </a:lnTo>
                <a:lnTo>
                  <a:pt x="604" y="191"/>
                </a:lnTo>
                <a:lnTo>
                  <a:pt x="605" y="190"/>
                </a:lnTo>
                <a:lnTo>
                  <a:pt x="606" y="190"/>
                </a:lnTo>
                <a:lnTo>
                  <a:pt x="607" y="189"/>
                </a:lnTo>
                <a:lnTo>
                  <a:pt x="609" y="188"/>
                </a:lnTo>
                <a:lnTo>
                  <a:pt x="610" y="187"/>
                </a:lnTo>
                <a:lnTo>
                  <a:pt x="611" y="186"/>
                </a:lnTo>
                <a:lnTo>
                  <a:pt x="612" y="184"/>
                </a:lnTo>
                <a:lnTo>
                  <a:pt x="613" y="184"/>
                </a:lnTo>
                <a:lnTo>
                  <a:pt x="614" y="184"/>
                </a:lnTo>
                <a:lnTo>
                  <a:pt x="614" y="183"/>
                </a:lnTo>
                <a:lnTo>
                  <a:pt x="614" y="184"/>
                </a:lnTo>
                <a:lnTo>
                  <a:pt x="616" y="183"/>
                </a:lnTo>
                <a:lnTo>
                  <a:pt x="617" y="183"/>
                </a:lnTo>
                <a:lnTo>
                  <a:pt x="619" y="183"/>
                </a:lnTo>
                <a:lnTo>
                  <a:pt x="618" y="183"/>
                </a:lnTo>
                <a:lnTo>
                  <a:pt x="617" y="183"/>
                </a:lnTo>
                <a:lnTo>
                  <a:pt x="616" y="183"/>
                </a:lnTo>
                <a:lnTo>
                  <a:pt x="616" y="182"/>
                </a:lnTo>
                <a:lnTo>
                  <a:pt x="617" y="182"/>
                </a:lnTo>
                <a:lnTo>
                  <a:pt x="617" y="181"/>
                </a:lnTo>
                <a:lnTo>
                  <a:pt x="619" y="180"/>
                </a:lnTo>
                <a:lnTo>
                  <a:pt x="621" y="179"/>
                </a:lnTo>
                <a:lnTo>
                  <a:pt x="623" y="179"/>
                </a:lnTo>
                <a:lnTo>
                  <a:pt x="625" y="177"/>
                </a:lnTo>
                <a:lnTo>
                  <a:pt x="627" y="176"/>
                </a:lnTo>
                <a:lnTo>
                  <a:pt x="628" y="176"/>
                </a:lnTo>
                <a:lnTo>
                  <a:pt x="630" y="176"/>
                </a:lnTo>
                <a:lnTo>
                  <a:pt x="630" y="175"/>
                </a:lnTo>
                <a:lnTo>
                  <a:pt x="631" y="175"/>
                </a:lnTo>
                <a:lnTo>
                  <a:pt x="630" y="175"/>
                </a:lnTo>
                <a:lnTo>
                  <a:pt x="628" y="175"/>
                </a:lnTo>
                <a:lnTo>
                  <a:pt x="630" y="175"/>
                </a:lnTo>
                <a:lnTo>
                  <a:pt x="632" y="174"/>
                </a:lnTo>
                <a:lnTo>
                  <a:pt x="632" y="173"/>
                </a:lnTo>
                <a:lnTo>
                  <a:pt x="633" y="173"/>
                </a:lnTo>
                <a:lnTo>
                  <a:pt x="634" y="173"/>
                </a:lnTo>
                <a:lnTo>
                  <a:pt x="634" y="172"/>
                </a:lnTo>
                <a:lnTo>
                  <a:pt x="635" y="172"/>
                </a:lnTo>
                <a:lnTo>
                  <a:pt x="636" y="172"/>
                </a:lnTo>
                <a:lnTo>
                  <a:pt x="636" y="170"/>
                </a:lnTo>
                <a:lnTo>
                  <a:pt x="638" y="170"/>
                </a:lnTo>
                <a:lnTo>
                  <a:pt x="639" y="169"/>
                </a:lnTo>
                <a:lnTo>
                  <a:pt x="638" y="170"/>
                </a:lnTo>
                <a:lnTo>
                  <a:pt x="636" y="170"/>
                </a:lnTo>
                <a:lnTo>
                  <a:pt x="636" y="172"/>
                </a:lnTo>
                <a:lnTo>
                  <a:pt x="635" y="172"/>
                </a:lnTo>
                <a:lnTo>
                  <a:pt x="634" y="172"/>
                </a:lnTo>
                <a:lnTo>
                  <a:pt x="633" y="172"/>
                </a:lnTo>
                <a:lnTo>
                  <a:pt x="633" y="173"/>
                </a:lnTo>
                <a:lnTo>
                  <a:pt x="632" y="173"/>
                </a:lnTo>
                <a:lnTo>
                  <a:pt x="631" y="173"/>
                </a:lnTo>
                <a:lnTo>
                  <a:pt x="631" y="174"/>
                </a:lnTo>
                <a:lnTo>
                  <a:pt x="628" y="174"/>
                </a:lnTo>
                <a:lnTo>
                  <a:pt x="627" y="174"/>
                </a:lnTo>
                <a:lnTo>
                  <a:pt x="626" y="174"/>
                </a:lnTo>
                <a:lnTo>
                  <a:pt x="626" y="175"/>
                </a:lnTo>
                <a:lnTo>
                  <a:pt x="625" y="175"/>
                </a:lnTo>
                <a:lnTo>
                  <a:pt x="624" y="175"/>
                </a:lnTo>
                <a:lnTo>
                  <a:pt x="623" y="175"/>
                </a:lnTo>
                <a:lnTo>
                  <a:pt x="620" y="176"/>
                </a:lnTo>
                <a:lnTo>
                  <a:pt x="617" y="176"/>
                </a:lnTo>
                <a:lnTo>
                  <a:pt x="614" y="177"/>
                </a:lnTo>
                <a:lnTo>
                  <a:pt x="613" y="177"/>
                </a:lnTo>
                <a:lnTo>
                  <a:pt x="613" y="176"/>
                </a:lnTo>
                <a:lnTo>
                  <a:pt x="614" y="176"/>
                </a:lnTo>
                <a:lnTo>
                  <a:pt x="614" y="175"/>
                </a:lnTo>
                <a:lnTo>
                  <a:pt x="613" y="175"/>
                </a:lnTo>
                <a:lnTo>
                  <a:pt x="613" y="174"/>
                </a:lnTo>
                <a:lnTo>
                  <a:pt x="614" y="174"/>
                </a:lnTo>
                <a:lnTo>
                  <a:pt x="616" y="174"/>
                </a:lnTo>
                <a:lnTo>
                  <a:pt x="616" y="173"/>
                </a:lnTo>
                <a:lnTo>
                  <a:pt x="617" y="173"/>
                </a:lnTo>
                <a:lnTo>
                  <a:pt x="618" y="172"/>
                </a:lnTo>
                <a:lnTo>
                  <a:pt x="617" y="172"/>
                </a:lnTo>
                <a:lnTo>
                  <a:pt x="618" y="172"/>
                </a:lnTo>
                <a:lnTo>
                  <a:pt x="619" y="172"/>
                </a:lnTo>
                <a:lnTo>
                  <a:pt x="621" y="172"/>
                </a:lnTo>
                <a:lnTo>
                  <a:pt x="621" y="173"/>
                </a:lnTo>
                <a:lnTo>
                  <a:pt x="620" y="173"/>
                </a:lnTo>
                <a:lnTo>
                  <a:pt x="620" y="174"/>
                </a:lnTo>
                <a:lnTo>
                  <a:pt x="620" y="173"/>
                </a:lnTo>
                <a:lnTo>
                  <a:pt x="621" y="173"/>
                </a:lnTo>
                <a:lnTo>
                  <a:pt x="621" y="172"/>
                </a:lnTo>
                <a:lnTo>
                  <a:pt x="620" y="172"/>
                </a:lnTo>
                <a:lnTo>
                  <a:pt x="620" y="170"/>
                </a:lnTo>
                <a:lnTo>
                  <a:pt x="619" y="170"/>
                </a:lnTo>
                <a:lnTo>
                  <a:pt x="619" y="169"/>
                </a:lnTo>
                <a:lnTo>
                  <a:pt x="619" y="170"/>
                </a:lnTo>
                <a:lnTo>
                  <a:pt x="618" y="170"/>
                </a:lnTo>
                <a:lnTo>
                  <a:pt x="618" y="172"/>
                </a:lnTo>
                <a:lnTo>
                  <a:pt x="617" y="172"/>
                </a:lnTo>
                <a:lnTo>
                  <a:pt x="616" y="173"/>
                </a:lnTo>
                <a:lnTo>
                  <a:pt x="614" y="173"/>
                </a:lnTo>
                <a:lnTo>
                  <a:pt x="613" y="173"/>
                </a:lnTo>
                <a:lnTo>
                  <a:pt x="613" y="174"/>
                </a:lnTo>
                <a:lnTo>
                  <a:pt x="612" y="174"/>
                </a:lnTo>
                <a:lnTo>
                  <a:pt x="612" y="173"/>
                </a:lnTo>
                <a:lnTo>
                  <a:pt x="613" y="173"/>
                </a:lnTo>
                <a:lnTo>
                  <a:pt x="614" y="172"/>
                </a:lnTo>
                <a:lnTo>
                  <a:pt x="613" y="172"/>
                </a:lnTo>
                <a:lnTo>
                  <a:pt x="613" y="173"/>
                </a:lnTo>
                <a:lnTo>
                  <a:pt x="612" y="173"/>
                </a:lnTo>
                <a:lnTo>
                  <a:pt x="611" y="174"/>
                </a:lnTo>
                <a:lnTo>
                  <a:pt x="611" y="175"/>
                </a:lnTo>
                <a:lnTo>
                  <a:pt x="610" y="175"/>
                </a:lnTo>
                <a:lnTo>
                  <a:pt x="609" y="175"/>
                </a:lnTo>
                <a:lnTo>
                  <a:pt x="610" y="175"/>
                </a:lnTo>
                <a:lnTo>
                  <a:pt x="611" y="175"/>
                </a:lnTo>
                <a:lnTo>
                  <a:pt x="611" y="174"/>
                </a:lnTo>
                <a:lnTo>
                  <a:pt x="610" y="174"/>
                </a:lnTo>
                <a:lnTo>
                  <a:pt x="610" y="175"/>
                </a:lnTo>
                <a:lnTo>
                  <a:pt x="609" y="175"/>
                </a:lnTo>
                <a:lnTo>
                  <a:pt x="607" y="176"/>
                </a:lnTo>
                <a:lnTo>
                  <a:pt x="607" y="177"/>
                </a:lnTo>
                <a:lnTo>
                  <a:pt x="606" y="177"/>
                </a:lnTo>
                <a:lnTo>
                  <a:pt x="606" y="179"/>
                </a:lnTo>
                <a:lnTo>
                  <a:pt x="606" y="180"/>
                </a:lnTo>
                <a:lnTo>
                  <a:pt x="605" y="180"/>
                </a:lnTo>
                <a:lnTo>
                  <a:pt x="604" y="180"/>
                </a:lnTo>
                <a:lnTo>
                  <a:pt x="604" y="181"/>
                </a:lnTo>
                <a:lnTo>
                  <a:pt x="603" y="181"/>
                </a:lnTo>
                <a:lnTo>
                  <a:pt x="602" y="180"/>
                </a:lnTo>
                <a:lnTo>
                  <a:pt x="603" y="180"/>
                </a:lnTo>
                <a:lnTo>
                  <a:pt x="602" y="180"/>
                </a:lnTo>
                <a:lnTo>
                  <a:pt x="603" y="179"/>
                </a:lnTo>
                <a:lnTo>
                  <a:pt x="602" y="179"/>
                </a:lnTo>
                <a:lnTo>
                  <a:pt x="603" y="177"/>
                </a:lnTo>
                <a:lnTo>
                  <a:pt x="603" y="176"/>
                </a:lnTo>
                <a:lnTo>
                  <a:pt x="603" y="175"/>
                </a:lnTo>
                <a:lnTo>
                  <a:pt x="603" y="174"/>
                </a:lnTo>
                <a:lnTo>
                  <a:pt x="602" y="174"/>
                </a:lnTo>
                <a:lnTo>
                  <a:pt x="603" y="173"/>
                </a:lnTo>
                <a:lnTo>
                  <a:pt x="604" y="173"/>
                </a:lnTo>
                <a:lnTo>
                  <a:pt x="603" y="173"/>
                </a:lnTo>
                <a:lnTo>
                  <a:pt x="602" y="173"/>
                </a:lnTo>
                <a:lnTo>
                  <a:pt x="602" y="174"/>
                </a:lnTo>
                <a:lnTo>
                  <a:pt x="600" y="174"/>
                </a:lnTo>
                <a:lnTo>
                  <a:pt x="599" y="174"/>
                </a:lnTo>
                <a:lnTo>
                  <a:pt x="599" y="175"/>
                </a:lnTo>
                <a:lnTo>
                  <a:pt x="598" y="175"/>
                </a:lnTo>
                <a:lnTo>
                  <a:pt x="597" y="175"/>
                </a:lnTo>
                <a:lnTo>
                  <a:pt x="598" y="175"/>
                </a:lnTo>
                <a:lnTo>
                  <a:pt x="598" y="174"/>
                </a:lnTo>
                <a:lnTo>
                  <a:pt x="597" y="174"/>
                </a:lnTo>
                <a:lnTo>
                  <a:pt x="596" y="174"/>
                </a:lnTo>
                <a:lnTo>
                  <a:pt x="597" y="174"/>
                </a:lnTo>
                <a:lnTo>
                  <a:pt x="597" y="173"/>
                </a:lnTo>
                <a:lnTo>
                  <a:pt x="596" y="173"/>
                </a:lnTo>
                <a:lnTo>
                  <a:pt x="597" y="173"/>
                </a:lnTo>
                <a:lnTo>
                  <a:pt x="596" y="173"/>
                </a:lnTo>
                <a:lnTo>
                  <a:pt x="596" y="172"/>
                </a:lnTo>
                <a:lnTo>
                  <a:pt x="597" y="172"/>
                </a:lnTo>
                <a:lnTo>
                  <a:pt x="597" y="170"/>
                </a:lnTo>
                <a:lnTo>
                  <a:pt x="598" y="170"/>
                </a:lnTo>
                <a:lnTo>
                  <a:pt x="597" y="170"/>
                </a:lnTo>
                <a:lnTo>
                  <a:pt x="595" y="172"/>
                </a:lnTo>
                <a:lnTo>
                  <a:pt x="592" y="173"/>
                </a:lnTo>
                <a:lnTo>
                  <a:pt x="591" y="173"/>
                </a:lnTo>
                <a:lnTo>
                  <a:pt x="590" y="173"/>
                </a:lnTo>
                <a:lnTo>
                  <a:pt x="588" y="174"/>
                </a:lnTo>
                <a:lnTo>
                  <a:pt x="589" y="174"/>
                </a:lnTo>
                <a:lnTo>
                  <a:pt x="589" y="173"/>
                </a:lnTo>
                <a:lnTo>
                  <a:pt x="588" y="174"/>
                </a:lnTo>
                <a:lnTo>
                  <a:pt x="586" y="174"/>
                </a:lnTo>
                <a:lnTo>
                  <a:pt x="585" y="174"/>
                </a:lnTo>
                <a:lnTo>
                  <a:pt x="584" y="174"/>
                </a:lnTo>
                <a:lnTo>
                  <a:pt x="584" y="175"/>
                </a:lnTo>
                <a:lnTo>
                  <a:pt x="583" y="175"/>
                </a:lnTo>
                <a:lnTo>
                  <a:pt x="582" y="175"/>
                </a:lnTo>
                <a:lnTo>
                  <a:pt x="583" y="174"/>
                </a:lnTo>
                <a:lnTo>
                  <a:pt x="582" y="174"/>
                </a:lnTo>
                <a:lnTo>
                  <a:pt x="582" y="175"/>
                </a:lnTo>
                <a:lnTo>
                  <a:pt x="581" y="175"/>
                </a:lnTo>
                <a:lnTo>
                  <a:pt x="579" y="176"/>
                </a:lnTo>
                <a:lnTo>
                  <a:pt x="581" y="176"/>
                </a:lnTo>
                <a:lnTo>
                  <a:pt x="579" y="176"/>
                </a:lnTo>
                <a:lnTo>
                  <a:pt x="577" y="177"/>
                </a:lnTo>
                <a:lnTo>
                  <a:pt x="576" y="177"/>
                </a:lnTo>
                <a:lnTo>
                  <a:pt x="575" y="177"/>
                </a:lnTo>
                <a:lnTo>
                  <a:pt x="574" y="177"/>
                </a:lnTo>
                <a:lnTo>
                  <a:pt x="574" y="179"/>
                </a:lnTo>
                <a:lnTo>
                  <a:pt x="572" y="179"/>
                </a:lnTo>
                <a:lnTo>
                  <a:pt x="574" y="177"/>
                </a:lnTo>
                <a:lnTo>
                  <a:pt x="575" y="177"/>
                </a:lnTo>
                <a:lnTo>
                  <a:pt x="575" y="176"/>
                </a:lnTo>
                <a:lnTo>
                  <a:pt x="575" y="177"/>
                </a:lnTo>
                <a:lnTo>
                  <a:pt x="574" y="177"/>
                </a:lnTo>
                <a:lnTo>
                  <a:pt x="572" y="177"/>
                </a:lnTo>
                <a:lnTo>
                  <a:pt x="571" y="177"/>
                </a:lnTo>
                <a:lnTo>
                  <a:pt x="570" y="177"/>
                </a:lnTo>
                <a:lnTo>
                  <a:pt x="570" y="176"/>
                </a:lnTo>
                <a:lnTo>
                  <a:pt x="571" y="176"/>
                </a:lnTo>
                <a:lnTo>
                  <a:pt x="572" y="176"/>
                </a:lnTo>
                <a:lnTo>
                  <a:pt x="574" y="176"/>
                </a:lnTo>
                <a:lnTo>
                  <a:pt x="575" y="176"/>
                </a:lnTo>
                <a:lnTo>
                  <a:pt x="575" y="175"/>
                </a:lnTo>
                <a:lnTo>
                  <a:pt x="576" y="175"/>
                </a:lnTo>
                <a:lnTo>
                  <a:pt x="577" y="175"/>
                </a:lnTo>
                <a:lnTo>
                  <a:pt x="578" y="174"/>
                </a:lnTo>
                <a:lnTo>
                  <a:pt x="577" y="174"/>
                </a:lnTo>
                <a:lnTo>
                  <a:pt x="577" y="175"/>
                </a:lnTo>
                <a:lnTo>
                  <a:pt x="576" y="175"/>
                </a:lnTo>
                <a:lnTo>
                  <a:pt x="577" y="174"/>
                </a:lnTo>
                <a:lnTo>
                  <a:pt x="578" y="174"/>
                </a:lnTo>
                <a:lnTo>
                  <a:pt x="578" y="173"/>
                </a:lnTo>
                <a:lnTo>
                  <a:pt x="579" y="172"/>
                </a:lnTo>
                <a:lnTo>
                  <a:pt x="581" y="172"/>
                </a:lnTo>
                <a:lnTo>
                  <a:pt x="581" y="170"/>
                </a:lnTo>
                <a:lnTo>
                  <a:pt x="581" y="172"/>
                </a:lnTo>
                <a:lnTo>
                  <a:pt x="582" y="172"/>
                </a:lnTo>
                <a:lnTo>
                  <a:pt x="582" y="170"/>
                </a:lnTo>
                <a:lnTo>
                  <a:pt x="583" y="170"/>
                </a:lnTo>
                <a:lnTo>
                  <a:pt x="584" y="170"/>
                </a:lnTo>
                <a:lnTo>
                  <a:pt x="584" y="169"/>
                </a:lnTo>
                <a:lnTo>
                  <a:pt x="583" y="170"/>
                </a:lnTo>
                <a:lnTo>
                  <a:pt x="582" y="170"/>
                </a:lnTo>
                <a:lnTo>
                  <a:pt x="581" y="170"/>
                </a:lnTo>
                <a:lnTo>
                  <a:pt x="581" y="169"/>
                </a:lnTo>
                <a:lnTo>
                  <a:pt x="582" y="168"/>
                </a:lnTo>
                <a:lnTo>
                  <a:pt x="582" y="167"/>
                </a:lnTo>
                <a:lnTo>
                  <a:pt x="583" y="167"/>
                </a:lnTo>
                <a:lnTo>
                  <a:pt x="582" y="168"/>
                </a:lnTo>
                <a:lnTo>
                  <a:pt x="583" y="168"/>
                </a:lnTo>
                <a:lnTo>
                  <a:pt x="583" y="167"/>
                </a:lnTo>
                <a:lnTo>
                  <a:pt x="584" y="167"/>
                </a:lnTo>
                <a:lnTo>
                  <a:pt x="584" y="166"/>
                </a:lnTo>
                <a:lnTo>
                  <a:pt x="585" y="166"/>
                </a:lnTo>
                <a:lnTo>
                  <a:pt x="586" y="166"/>
                </a:lnTo>
                <a:lnTo>
                  <a:pt x="588" y="166"/>
                </a:lnTo>
                <a:lnTo>
                  <a:pt x="588" y="165"/>
                </a:lnTo>
                <a:lnTo>
                  <a:pt x="589" y="165"/>
                </a:lnTo>
                <a:lnTo>
                  <a:pt x="590" y="165"/>
                </a:lnTo>
                <a:lnTo>
                  <a:pt x="590" y="162"/>
                </a:lnTo>
                <a:lnTo>
                  <a:pt x="591" y="162"/>
                </a:lnTo>
                <a:lnTo>
                  <a:pt x="591" y="161"/>
                </a:lnTo>
                <a:lnTo>
                  <a:pt x="591" y="160"/>
                </a:lnTo>
                <a:lnTo>
                  <a:pt x="592" y="159"/>
                </a:lnTo>
                <a:lnTo>
                  <a:pt x="593" y="158"/>
                </a:lnTo>
                <a:lnTo>
                  <a:pt x="592" y="158"/>
                </a:lnTo>
                <a:lnTo>
                  <a:pt x="592" y="156"/>
                </a:lnTo>
                <a:lnTo>
                  <a:pt x="593" y="156"/>
                </a:lnTo>
                <a:lnTo>
                  <a:pt x="593" y="155"/>
                </a:lnTo>
                <a:lnTo>
                  <a:pt x="595" y="155"/>
                </a:lnTo>
                <a:lnTo>
                  <a:pt x="596" y="155"/>
                </a:lnTo>
                <a:lnTo>
                  <a:pt x="596" y="154"/>
                </a:lnTo>
                <a:lnTo>
                  <a:pt x="597" y="154"/>
                </a:lnTo>
                <a:lnTo>
                  <a:pt x="597" y="153"/>
                </a:lnTo>
                <a:lnTo>
                  <a:pt x="597" y="154"/>
                </a:lnTo>
                <a:lnTo>
                  <a:pt x="596" y="154"/>
                </a:lnTo>
                <a:lnTo>
                  <a:pt x="595" y="154"/>
                </a:lnTo>
                <a:lnTo>
                  <a:pt x="595" y="155"/>
                </a:lnTo>
                <a:lnTo>
                  <a:pt x="593" y="155"/>
                </a:lnTo>
                <a:lnTo>
                  <a:pt x="593" y="154"/>
                </a:lnTo>
                <a:lnTo>
                  <a:pt x="595" y="154"/>
                </a:lnTo>
                <a:lnTo>
                  <a:pt x="595" y="153"/>
                </a:lnTo>
                <a:lnTo>
                  <a:pt x="596" y="153"/>
                </a:lnTo>
                <a:lnTo>
                  <a:pt x="596" y="152"/>
                </a:lnTo>
                <a:lnTo>
                  <a:pt x="598" y="152"/>
                </a:lnTo>
                <a:lnTo>
                  <a:pt x="598" y="151"/>
                </a:lnTo>
                <a:lnTo>
                  <a:pt x="599" y="151"/>
                </a:lnTo>
                <a:lnTo>
                  <a:pt x="600" y="151"/>
                </a:lnTo>
                <a:lnTo>
                  <a:pt x="600" y="149"/>
                </a:lnTo>
                <a:lnTo>
                  <a:pt x="602" y="149"/>
                </a:lnTo>
                <a:lnTo>
                  <a:pt x="603" y="148"/>
                </a:lnTo>
                <a:lnTo>
                  <a:pt x="604" y="148"/>
                </a:lnTo>
                <a:lnTo>
                  <a:pt x="605" y="148"/>
                </a:lnTo>
                <a:lnTo>
                  <a:pt x="606" y="148"/>
                </a:lnTo>
                <a:lnTo>
                  <a:pt x="607" y="147"/>
                </a:lnTo>
                <a:lnTo>
                  <a:pt x="609" y="147"/>
                </a:lnTo>
                <a:lnTo>
                  <a:pt x="607" y="147"/>
                </a:lnTo>
                <a:lnTo>
                  <a:pt x="605" y="147"/>
                </a:lnTo>
                <a:lnTo>
                  <a:pt x="606" y="147"/>
                </a:lnTo>
                <a:lnTo>
                  <a:pt x="606" y="146"/>
                </a:lnTo>
                <a:lnTo>
                  <a:pt x="605" y="147"/>
                </a:lnTo>
                <a:lnTo>
                  <a:pt x="604" y="148"/>
                </a:lnTo>
                <a:lnTo>
                  <a:pt x="603" y="148"/>
                </a:lnTo>
                <a:lnTo>
                  <a:pt x="602" y="148"/>
                </a:lnTo>
                <a:lnTo>
                  <a:pt x="602" y="149"/>
                </a:lnTo>
                <a:lnTo>
                  <a:pt x="600" y="149"/>
                </a:lnTo>
                <a:lnTo>
                  <a:pt x="599" y="151"/>
                </a:lnTo>
                <a:lnTo>
                  <a:pt x="598" y="151"/>
                </a:lnTo>
                <a:lnTo>
                  <a:pt x="597" y="151"/>
                </a:lnTo>
                <a:lnTo>
                  <a:pt x="597" y="152"/>
                </a:lnTo>
                <a:lnTo>
                  <a:pt x="596" y="152"/>
                </a:lnTo>
                <a:lnTo>
                  <a:pt x="597" y="152"/>
                </a:lnTo>
                <a:lnTo>
                  <a:pt x="596" y="152"/>
                </a:lnTo>
                <a:lnTo>
                  <a:pt x="595" y="152"/>
                </a:lnTo>
                <a:lnTo>
                  <a:pt x="593" y="152"/>
                </a:lnTo>
                <a:lnTo>
                  <a:pt x="593" y="153"/>
                </a:lnTo>
                <a:lnTo>
                  <a:pt x="591" y="153"/>
                </a:lnTo>
                <a:lnTo>
                  <a:pt x="592" y="153"/>
                </a:lnTo>
                <a:lnTo>
                  <a:pt x="592" y="154"/>
                </a:lnTo>
                <a:lnTo>
                  <a:pt x="593" y="154"/>
                </a:lnTo>
                <a:lnTo>
                  <a:pt x="592" y="154"/>
                </a:lnTo>
                <a:lnTo>
                  <a:pt x="592" y="155"/>
                </a:lnTo>
                <a:lnTo>
                  <a:pt x="591" y="155"/>
                </a:lnTo>
                <a:lnTo>
                  <a:pt x="591" y="156"/>
                </a:lnTo>
                <a:lnTo>
                  <a:pt x="590" y="156"/>
                </a:lnTo>
                <a:lnTo>
                  <a:pt x="589" y="156"/>
                </a:lnTo>
                <a:lnTo>
                  <a:pt x="589" y="158"/>
                </a:lnTo>
                <a:lnTo>
                  <a:pt x="588" y="158"/>
                </a:lnTo>
                <a:lnTo>
                  <a:pt x="586" y="158"/>
                </a:lnTo>
                <a:lnTo>
                  <a:pt x="586" y="156"/>
                </a:lnTo>
                <a:lnTo>
                  <a:pt x="586" y="158"/>
                </a:lnTo>
                <a:lnTo>
                  <a:pt x="585" y="158"/>
                </a:lnTo>
                <a:lnTo>
                  <a:pt x="581" y="159"/>
                </a:lnTo>
                <a:lnTo>
                  <a:pt x="577" y="160"/>
                </a:lnTo>
                <a:lnTo>
                  <a:pt x="574" y="160"/>
                </a:lnTo>
                <a:lnTo>
                  <a:pt x="570" y="160"/>
                </a:lnTo>
                <a:lnTo>
                  <a:pt x="569" y="160"/>
                </a:lnTo>
                <a:lnTo>
                  <a:pt x="569" y="159"/>
                </a:lnTo>
                <a:lnTo>
                  <a:pt x="569" y="158"/>
                </a:lnTo>
                <a:lnTo>
                  <a:pt x="570" y="158"/>
                </a:lnTo>
                <a:lnTo>
                  <a:pt x="571" y="158"/>
                </a:lnTo>
                <a:lnTo>
                  <a:pt x="571" y="156"/>
                </a:lnTo>
                <a:lnTo>
                  <a:pt x="570" y="156"/>
                </a:lnTo>
                <a:lnTo>
                  <a:pt x="570" y="155"/>
                </a:lnTo>
                <a:lnTo>
                  <a:pt x="570" y="154"/>
                </a:lnTo>
                <a:lnTo>
                  <a:pt x="570" y="153"/>
                </a:lnTo>
                <a:lnTo>
                  <a:pt x="571" y="152"/>
                </a:lnTo>
                <a:lnTo>
                  <a:pt x="570" y="153"/>
                </a:lnTo>
                <a:lnTo>
                  <a:pt x="569" y="153"/>
                </a:lnTo>
                <a:lnTo>
                  <a:pt x="568" y="152"/>
                </a:lnTo>
                <a:lnTo>
                  <a:pt x="568" y="151"/>
                </a:lnTo>
                <a:lnTo>
                  <a:pt x="569" y="151"/>
                </a:lnTo>
                <a:lnTo>
                  <a:pt x="570" y="151"/>
                </a:lnTo>
                <a:lnTo>
                  <a:pt x="570" y="149"/>
                </a:lnTo>
                <a:lnTo>
                  <a:pt x="571" y="149"/>
                </a:lnTo>
                <a:lnTo>
                  <a:pt x="569" y="149"/>
                </a:lnTo>
                <a:lnTo>
                  <a:pt x="568" y="149"/>
                </a:lnTo>
                <a:lnTo>
                  <a:pt x="567" y="149"/>
                </a:lnTo>
                <a:lnTo>
                  <a:pt x="568" y="148"/>
                </a:lnTo>
                <a:lnTo>
                  <a:pt x="569" y="148"/>
                </a:lnTo>
                <a:lnTo>
                  <a:pt x="570" y="148"/>
                </a:lnTo>
                <a:lnTo>
                  <a:pt x="571" y="148"/>
                </a:lnTo>
                <a:lnTo>
                  <a:pt x="571" y="147"/>
                </a:lnTo>
                <a:lnTo>
                  <a:pt x="572" y="147"/>
                </a:lnTo>
                <a:lnTo>
                  <a:pt x="574" y="147"/>
                </a:lnTo>
                <a:lnTo>
                  <a:pt x="575" y="147"/>
                </a:lnTo>
                <a:lnTo>
                  <a:pt x="575" y="146"/>
                </a:lnTo>
                <a:lnTo>
                  <a:pt x="576" y="146"/>
                </a:lnTo>
                <a:lnTo>
                  <a:pt x="577" y="145"/>
                </a:lnTo>
                <a:lnTo>
                  <a:pt x="578" y="145"/>
                </a:lnTo>
                <a:lnTo>
                  <a:pt x="577" y="145"/>
                </a:lnTo>
                <a:lnTo>
                  <a:pt x="578" y="144"/>
                </a:lnTo>
                <a:lnTo>
                  <a:pt x="578" y="145"/>
                </a:lnTo>
                <a:lnTo>
                  <a:pt x="579" y="144"/>
                </a:lnTo>
                <a:lnTo>
                  <a:pt x="581" y="144"/>
                </a:lnTo>
                <a:lnTo>
                  <a:pt x="582" y="144"/>
                </a:lnTo>
                <a:lnTo>
                  <a:pt x="581" y="144"/>
                </a:lnTo>
                <a:lnTo>
                  <a:pt x="579" y="145"/>
                </a:lnTo>
                <a:lnTo>
                  <a:pt x="581" y="145"/>
                </a:lnTo>
                <a:lnTo>
                  <a:pt x="582" y="145"/>
                </a:lnTo>
                <a:lnTo>
                  <a:pt x="582" y="146"/>
                </a:lnTo>
                <a:lnTo>
                  <a:pt x="583" y="146"/>
                </a:lnTo>
                <a:lnTo>
                  <a:pt x="583" y="147"/>
                </a:lnTo>
                <a:lnTo>
                  <a:pt x="582" y="147"/>
                </a:lnTo>
                <a:lnTo>
                  <a:pt x="581" y="147"/>
                </a:lnTo>
                <a:lnTo>
                  <a:pt x="579" y="148"/>
                </a:lnTo>
                <a:lnTo>
                  <a:pt x="578" y="148"/>
                </a:lnTo>
                <a:lnTo>
                  <a:pt x="577" y="149"/>
                </a:lnTo>
                <a:lnTo>
                  <a:pt x="578" y="149"/>
                </a:lnTo>
                <a:lnTo>
                  <a:pt x="579" y="148"/>
                </a:lnTo>
                <a:lnTo>
                  <a:pt x="581" y="148"/>
                </a:lnTo>
                <a:lnTo>
                  <a:pt x="581" y="147"/>
                </a:lnTo>
                <a:lnTo>
                  <a:pt x="582" y="147"/>
                </a:lnTo>
                <a:lnTo>
                  <a:pt x="583" y="147"/>
                </a:lnTo>
                <a:lnTo>
                  <a:pt x="584" y="147"/>
                </a:lnTo>
                <a:lnTo>
                  <a:pt x="584" y="146"/>
                </a:lnTo>
                <a:lnTo>
                  <a:pt x="585" y="146"/>
                </a:lnTo>
                <a:lnTo>
                  <a:pt x="586" y="146"/>
                </a:lnTo>
                <a:lnTo>
                  <a:pt x="588" y="146"/>
                </a:lnTo>
                <a:lnTo>
                  <a:pt x="586" y="147"/>
                </a:lnTo>
                <a:lnTo>
                  <a:pt x="585" y="148"/>
                </a:lnTo>
                <a:lnTo>
                  <a:pt x="586" y="148"/>
                </a:lnTo>
                <a:lnTo>
                  <a:pt x="590" y="147"/>
                </a:lnTo>
                <a:lnTo>
                  <a:pt x="591" y="147"/>
                </a:lnTo>
                <a:lnTo>
                  <a:pt x="591" y="146"/>
                </a:lnTo>
                <a:lnTo>
                  <a:pt x="592" y="146"/>
                </a:lnTo>
                <a:lnTo>
                  <a:pt x="591" y="146"/>
                </a:lnTo>
                <a:lnTo>
                  <a:pt x="589" y="145"/>
                </a:lnTo>
                <a:lnTo>
                  <a:pt x="588" y="145"/>
                </a:lnTo>
                <a:lnTo>
                  <a:pt x="590" y="145"/>
                </a:lnTo>
                <a:lnTo>
                  <a:pt x="591" y="145"/>
                </a:lnTo>
                <a:lnTo>
                  <a:pt x="592" y="145"/>
                </a:lnTo>
                <a:lnTo>
                  <a:pt x="593" y="144"/>
                </a:lnTo>
                <a:lnTo>
                  <a:pt x="592" y="144"/>
                </a:lnTo>
                <a:lnTo>
                  <a:pt x="591" y="144"/>
                </a:lnTo>
                <a:lnTo>
                  <a:pt x="592" y="144"/>
                </a:lnTo>
                <a:lnTo>
                  <a:pt x="593" y="142"/>
                </a:lnTo>
                <a:lnTo>
                  <a:pt x="592" y="142"/>
                </a:lnTo>
                <a:lnTo>
                  <a:pt x="591" y="144"/>
                </a:lnTo>
                <a:lnTo>
                  <a:pt x="590" y="144"/>
                </a:lnTo>
                <a:lnTo>
                  <a:pt x="589" y="144"/>
                </a:lnTo>
                <a:lnTo>
                  <a:pt x="589" y="145"/>
                </a:lnTo>
                <a:lnTo>
                  <a:pt x="588" y="145"/>
                </a:lnTo>
                <a:lnTo>
                  <a:pt x="586" y="145"/>
                </a:lnTo>
                <a:lnTo>
                  <a:pt x="584" y="145"/>
                </a:lnTo>
                <a:lnTo>
                  <a:pt x="581" y="145"/>
                </a:lnTo>
                <a:lnTo>
                  <a:pt x="582" y="144"/>
                </a:lnTo>
                <a:lnTo>
                  <a:pt x="581" y="144"/>
                </a:lnTo>
                <a:lnTo>
                  <a:pt x="579" y="144"/>
                </a:lnTo>
                <a:lnTo>
                  <a:pt x="578" y="144"/>
                </a:lnTo>
                <a:lnTo>
                  <a:pt x="577" y="144"/>
                </a:lnTo>
                <a:lnTo>
                  <a:pt x="576" y="144"/>
                </a:lnTo>
                <a:lnTo>
                  <a:pt x="576" y="142"/>
                </a:lnTo>
                <a:lnTo>
                  <a:pt x="578" y="142"/>
                </a:lnTo>
                <a:lnTo>
                  <a:pt x="579" y="142"/>
                </a:lnTo>
                <a:lnTo>
                  <a:pt x="581" y="141"/>
                </a:lnTo>
                <a:lnTo>
                  <a:pt x="582" y="141"/>
                </a:lnTo>
                <a:lnTo>
                  <a:pt x="583" y="141"/>
                </a:lnTo>
                <a:lnTo>
                  <a:pt x="582" y="141"/>
                </a:lnTo>
                <a:lnTo>
                  <a:pt x="581" y="141"/>
                </a:lnTo>
                <a:lnTo>
                  <a:pt x="579" y="141"/>
                </a:lnTo>
                <a:lnTo>
                  <a:pt x="579" y="140"/>
                </a:lnTo>
                <a:lnTo>
                  <a:pt x="581" y="140"/>
                </a:lnTo>
                <a:lnTo>
                  <a:pt x="582" y="140"/>
                </a:lnTo>
                <a:lnTo>
                  <a:pt x="582" y="139"/>
                </a:lnTo>
                <a:lnTo>
                  <a:pt x="582" y="140"/>
                </a:lnTo>
                <a:lnTo>
                  <a:pt x="581" y="140"/>
                </a:lnTo>
                <a:lnTo>
                  <a:pt x="579" y="140"/>
                </a:lnTo>
                <a:lnTo>
                  <a:pt x="578" y="140"/>
                </a:lnTo>
                <a:lnTo>
                  <a:pt x="579" y="139"/>
                </a:lnTo>
                <a:lnTo>
                  <a:pt x="581" y="139"/>
                </a:lnTo>
                <a:lnTo>
                  <a:pt x="582" y="139"/>
                </a:lnTo>
                <a:lnTo>
                  <a:pt x="582" y="138"/>
                </a:lnTo>
                <a:lnTo>
                  <a:pt x="583" y="138"/>
                </a:lnTo>
                <a:lnTo>
                  <a:pt x="584" y="138"/>
                </a:lnTo>
                <a:lnTo>
                  <a:pt x="584" y="137"/>
                </a:lnTo>
                <a:lnTo>
                  <a:pt x="585" y="137"/>
                </a:lnTo>
                <a:lnTo>
                  <a:pt x="586" y="137"/>
                </a:lnTo>
                <a:lnTo>
                  <a:pt x="586" y="135"/>
                </a:lnTo>
                <a:lnTo>
                  <a:pt x="588" y="135"/>
                </a:lnTo>
                <a:lnTo>
                  <a:pt x="589" y="135"/>
                </a:lnTo>
                <a:lnTo>
                  <a:pt x="590" y="135"/>
                </a:lnTo>
                <a:lnTo>
                  <a:pt x="591" y="135"/>
                </a:lnTo>
                <a:lnTo>
                  <a:pt x="591" y="134"/>
                </a:lnTo>
                <a:lnTo>
                  <a:pt x="592" y="134"/>
                </a:lnTo>
                <a:lnTo>
                  <a:pt x="593" y="134"/>
                </a:lnTo>
                <a:lnTo>
                  <a:pt x="592" y="133"/>
                </a:lnTo>
                <a:lnTo>
                  <a:pt x="592" y="134"/>
                </a:lnTo>
                <a:lnTo>
                  <a:pt x="591" y="134"/>
                </a:lnTo>
                <a:lnTo>
                  <a:pt x="590" y="135"/>
                </a:lnTo>
                <a:lnTo>
                  <a:pt x="589" y="135"/>
                </a:lnTo>
                <a:lnTo>
                  <a:pt x="588" y="135"/>
                </a:lnTo>
                <a:lnTo>
                  <a:pt x="586" y="135"/>
                </a:lnTo>
                <a:lnTo>
                  <a:pt x="586" y="137"/>
                </a:lnTo>
                <a:lnTo>
                  <a:pt x="585" y="137"/>
                </a:lnTo>
                <a:lnTo>
                  <a:pt x="584" y="137"/>
                </a:lnTo>
                <a:lnTo>
                  <a:pt x="583" y="137"/>
                </a:lnTo>
                <a:lnTo>
                  <a:pt x="583" y="138"/>
                </a:lnTo>
                <a:lnTo>
                  <a:pt x="582" y="138"/>
                </a:lnTo>
                <a:lnTo>
                  <a:pt x="582" y="139"/>
                </a:lnTo>
                <a:lnTo>
                  <a:pt x="581" y="139"/>
                </a:lnTo>
                <a:lnTo>
                  <a:pt x="579" y="139"/>
                </a:lnTo>
                <a:lnTo>
                  <a:pt x="578" y="139"/>
                </a:lnTo>
                <a:lnTo>
                  <a:pt x="578" y="140"/>
                </a:lnTo>
                <a:lnTo>
                  <a:pt x="577" y="141"/>
                </a:lnTo>
                <a:lnTo>
                  <a:pt x="576" y="141"/>
                </a:lnTo>
                <a:lnTo>
                  <a:pt x="575" y="141"/>
                </a:lnTo>
                <a:lnTo>
                  <a:pt x="575" y="140"/>
                </a:lnTo>
                <a:lnTo>
                  <a:pt x="576" y="140"/>
                </a:lnTo>
                <a:lnTo>
                  <a:pt x="576" y="139"/>
                </a:lnTo>
                <a:lnTo>
                  <a:pt x="577" y="139"/>
                </a:lnTo>
                <a:lnTo>
                  <a:pt x="576" y="138"/>
                </a:lnTo>
                <a:lnTo>
                  <a:pt x="575" y="138"/>
                </a:lnTo>
                <a:lnTo>
                  <a:pt x="576" y="137"/>
                </a:lnTo>
                <a:lnTo>
                  <a:pt x="577" y="137"/>
                </a:lnTo>
                <a:lnTo>
                  <a:pt x="578" y="137"/>
                </a:lnTo>
                <a:lnTo>
                  <a:pt x="578" y="135"/>
                </a:lnTo>
                <a:lnTo>
                  <a:pt x="579" y="135"/>
                </a:lnTo>
                <a:lnTo>
                  <a:pt x="579" y="134"/>
                </a:lnTo>
                <a:lnTo>
                  <a:pt x="578" y="134"/>
                </a:lnTo>
                <a:lnTo>
                  <a:pt x="577" y="135"/>
                </a:lnTo>
                <a:lnTo>
                  <a:pt x="576" y="135"/>
                </a:lnTo>
                <a:lnTo>
                  <a:pt x="576" y="134"/>
                </a:lnTo>
                <a:lnTo>
                  <a:pt x="577" y="134"/>
                </a:lnTo>
                <a:lnTo>
                  <a:pt x="577" y="133"/>
                </a:lnTo>
                <a:lnTo>
                  <a:pt x="578" y="133"/>
                </a:lnTo>
                <a:lnTo>
                  <a:pt x="578" y="132"/>
                </a:lnTo>
                <a:lnTo>
                  <a:pt x="579" y="132"/>
                </a:lnTo>
                <a:lnTo>
                  <a:pt x="578" y="133"/>
                </a:lnTo>
                <a:lnTo>
                  <a:pt x="579" y="133"/>
                </a:lnTo>
                <a:lnTo>
                  <a:pt x="583" y="133"/>
                </a:lnTo>
                <a:lnTo>
                  <a:pt x="582" y="133"/>
                </a:lnTo>
                <a:lnTo>
                  <a:pt x="581" y="133"/>
                </a:lnTo>
                <a:lnTo>
                  <a:pt x="581" y="132"/>
                </a:lnTo>
                <a:lnTo>
                  <a:pt x="581" y="131"/>
                </a:lnTo>
                <a:lnTo>
                  <a:pt x="582" y="131"/>
                </a:lnTo>
                <a:lnTo>
                  <a:pt x="583" y="131"/>
                </a:lnTo>
                <a:lnTo>
                  <a:pt x="584" y="131"/>
                </a:lnTo>
                <a:lnTo>
                  <a:pt x="585" y="131"/>
                </a:lnTo>
                <a:lnTo>
                  <a:pt x="586" y="131"/>
                </a:lnTo>
                <a:lnTo>
                  <a:pt x="588" y="131"/>
                </a:lnTo>
                <a:lnTo>
                  <a:pt x="588" y="130"/>
                </a:lnTo>
                <a:lnTo>
                  <a:pt x="588" y="128"/>
                </a:lnTo>
                <a:lnTo>
                  <a:pt x="589" y="128"/>
                </a:lnTo>
                <a:lnTo>
                  <a:pt x="590" y="127"/>
                </a:lnTo>
                <a:lnTo>
                  <a:pt x="591" y="127"/>
                </a:lnTo>
                <a:lnTo>
                  <a:pt x="591" y="126"/>
                </a:lnTo>
                <a:lnTo>
                  <a:pt x="592" y="126"/>
                </a:lnTo>
                <a:lnTo>
                  <a:pt x="593" y="126"/>
                </a:lnTo>
                <a:lnTo>
                  <a:pt x="597" y="124"/>
                </a:lnTo>
                <a:lnTo>
                  <a:pt x="599" y="123"/>
                </a:lnTo>
                <a:lnTo>
                  <a:pt x="600" y="123"/>
                </a:lnTo>
                <a:lnTo>
                  <a:pt x="602" y="123"/>
                </a:lnTo>
                <a:lnTo>
                  <a:pt x="603" y="121"/>
                </a:lnTo>
                <a:lnTo>
                  <a:pt x="604" y="121"/>
                </a:lnTo>
                <a:lnTo>
                  <a:pt x="605" y="120"/>
                </a:lnTo>
                <a:lnTo>
                  <a:pt x="606" y="120"/>
                </a:lnTo>
                <a:lnTo>
                  <a:pt x="607" y="120"/>
                </a:lnTo>
                <a:lnTo>
                  <a:pt x="607" y="121"/>
                </a:lnTo>
                <a:lnTo>
                  <a:pt x="606" y="121"/>
                </a:lnTo>
                <a:lnTo>
                  <a:pt x="607" y="121"/>
                </a:lnTo>
                <a:lnTo>
                  <a:pt x="607" y="123"/>
                </a:lnTo>
                <a:lnTo>
                  <a:pt x="609" y="123"/>
                </a:lnTo>
                <a:lnTo>
                  <a:pt x="607" y="123"/>
                </a:lnTo>
                <a:lnTo>
                  <a:pt x="606" y="123"/>
                </a:lnTo>
                <a:lnTo>
                  <a:pt x="607" y="123"/>
                </a:lnTo>
                <a:lnTo>
                  <a:pt x="609" y="123"/>
                </a:lnTo>
                <a:lnTo>
                  <a:pt x="610" y="121"/>
                </a:lnTo>
                <a:lnTo>
                  <a:pt x="609" y="121"/>
                </a:lnTo>
                <a:lnTo>
                  <a:pt x="610" y="121"/>
                </a:lnTo>
                <a:lnTo>
                  <a:pt x="609" y="121"/>
                </a:lnTo>
                <a:lnTo>
                  <a:pt x="607" y="121"/>
                </a:lnTo>
                <a:lnTo>
                  <a:pt x="609" y="121"/>
                </a:lnTo>
                <a:lnTo>
                  <a:pt x="609" y="120"/>
                </a:lnTo>
                <a:lnTo>
                  <a:pt x="610" y="120"/>
                </a:lnTo>
                <a:lnTo>
                  <a:pt x="611" y="119"/>
                </a:lnTo>
                <a:lnTo>
                  <a:pt x="616" y="118"/>
                </a:lnTo>
                <a:lnTo>
                  <a:pt x="614" y="118"/>
                </a:lnTo>
                <a:lnTo>
                  <a:pt x="613" y="118"/>
                </a:lnTo>
                <a:lnTo>
                  <a:pt x="612" y="119"/>
                </a:lnTo>
                <a:lnTo>
                  <a:pt x="611" y="119"/>
                </a:lnTo>
                <a:lnTo>
                  <a:pt x="610" y="119"/>
                </a:lnTo>
                <a:lnTo>
                  <a:pt x="611" y="119"/>
                </a:lnTo>
                <a:lnTo>
                  <a:pt x="611" y="118"/>
                </a:lnTo>
                <a:lnTo>
                  <a:pt x="612" y="118"/>
                </a:lnTo>
                <a:lnTo>
                  <a:pt x="612" y="117"/>
                </a:lnTo>
                <a:lnTo>
                  <a:pt x="613" y="117"/>
                </a:lnTo>
                <a:lnTo>
                  <a:pt x="613" y="116"/>
                </a:lnTo>
                <a:lnTo>
                  <a:pt x="614" y="116"/>
                </a:lnTo>
                <a:lnTo>
                  <a:pt x="616" y="116"/>
                </a:lnTo>
                <a:lnTo>
                  <a:pt x="617" y="114"/>
                </a:lnTo>
                <a:lnTo>
                  <a:pt x="618" y="114"/>
                </a:lnTo>
                <a:lnTo>
                  <a:pt x="618" y="113"/>
                </a:lnTo>
                <a:lnTo>
                  <a:pt x="619" y="113"/>
                </a:lnTo>
                <a:lnTo>
                  <a:pt x="620" y="113"/>
                </a:lnTo>
                <a:lnTo>
                  <a:pt x="620" y="114"/>
                </a:lnTo>
                <a:lnTo>
                  <a:pt x="620" y="113"/>
                </a:lnTo>
                <a:lnTo>
                  <a:pt x="621" y="113"/>
                </a:lnTo>
                <a:lnTo>
                  <a:pt x="621" y="114"/>
                </a:lnTo>
                <a:lnTo>
                  <a:pt x="623" y="114"/>
                </a:lnTo>
                <a:lnTo>
                  <a:pt x="623" y="113"/>
                </a:lnTo>
                <a:lnTo>
                  <a:pt x="621" y="113"/>
                </a:lnTo>
                <a:lnTo>
                  <a:pt x="621" y="112"/>
                </a:lnTo>
                <a:lnTo>
                  <a:pt x="623" y="112"/>
                </a:lnTo>
                <a:lnTo>
                  <a:pt x="625" y="111"/>
                </a:lnTo>
                <a:lnTo>
                  <a:pt x="626" y="111"/>
                </a:lnTo>
                <a:lnTo>
                  <a:pt x="628" y="111"/>
                </a:lnTo>
                <a:lnTo>
                  <a:pt x="630" y="111"/>
                </a:lnTo>
                <a:lnTo>
                  <a:pt x="631" y="111"/>
                </a:lnTo>
                <a:lnTo>
                  <a:pt x="632" y="111"/>
                </a:lnTo>
                <a:lnTo>
                  <a:pt x="632" y="112"/>
                </a:lnTo>
                <a:lnTo>
                  <a:pt x="631" y="112"/>
                </a:lnTo>
                <a:lnTo>
                  <a:pt x="632" y="112"/>
                </a:lnTo>
                <a:lnTo>
                  <a:pt x="633" y="112"/>
                </a:lnTo>
                <a:lnTo>
                  <a:pt x="632" y="112"/>
                </a:lnTo>
                <a:lnTo>
                  <a:pt x="631" y="113"/>
                </a:lnTo>
                <a:lnTo>
                  <a:pt x="628" y="113"/>
                </a:lnTo>
                <a:lnTo>
                  <a:pt x="627" y="114"/>
                </a:lnTo>
                <a:lnTo>
                  <a:pt x="628" y="114"/>
                </a:lnTo>
                <a:lnTo>
                  <a:pt x="630" y="113"/>
                </a:lnTo>
                <a:lnTo>
                  <a:pt x="631" y="113"/>
                </a:lnTo>
                <a:lnTo>
                  <a:pt x="632" y="112"/>
                </a:lnTo>
                <a:lnTo>
                  <a:pt x="633" y="112"/>
                </a:lnTo>
                <a:lnTo>
                  <a:pt x="633" y="113"/>
                </a:lnTo>
                <a:lnTo>
                  <a:pt x="634" y="113"/>
                </a:lnTo>
                <a:lnTo>
                  <a:pt x="636" y="113"/>
                </a:lnTo>
                <a:lnTo>
                  <a:pt x="638" y="113"/>
                </a:lnTo>
                <a:lnTo>
                  <a:pt x="638" y="112"/>
                </a:lnTo>
                <a:lnTo>
                  <a:pt x="639" y="112"/>
                </a:lnTo>
                <a:lnTo>
                  <a:pt x="640" y="112"/>
                </a:lnTo>
                <a:lnTo>
                  <a:pt x="641" y="112"/>
                </a:lnTo>
                <a:lnTo>
                  <a:pt x="641" y="111"/>
                </a:lnTo>
                <a:lnTo>
                  <a:pt x="642" y="111"/>
                </a:lnTo>
                <a:lnTo>
                  <a:pt x="643" y="111"/>
                </a:lnTo>
                <a:lnTo>
                  <a:pt x="646" y="110"/>
                </a:lnTo>
                <a:lnTo>
                  <a:pt x="649" y="109"/>
                </a:lnTo>
                <a:lnTo>
                  <a:pt x="650" y="109"/>
                </a:lnTo>
                <a:lnTo>
                  <a:pt x="650" y="107"/>
                </a:lnTo>
                <a:lnTo>
                  <a:pt x="652" y="107"/>
                </a:lnTo>
                <a:lnTo>
                  <a:pt x="653" y="107"/>
                </a:lnTo>
                <a:lnTo>
                  <a:pt x="653" y="106"/>
                </a:lnTo>
                <a:lnTo>
                  <a:pt x="654" y="106"/>
                </a:lnTo>
                <a:lnTo>
                  <a:pt x="655" y="106"/>
                </a:lnTo>
                <a:lnTo>
                  <a:pt x="655" y="107"/>
                </a:lnTo>
                <a:lnTo>
                  <a:pt x="654" y="107"/>
                </a:lnTo>
                <a:lnTo>
                  <a:pt x="653" y="107"/>
                </a:lnTo>
                <a:lnTo>
                  <a:pt x="653" y="109"/>
                </a:lnTo>
                <a:lnTo>
                  <a:pt x="656" y="107"/>
                </a:lnTo>
                <a:lnTo>
                  <a:pt x="659" y="107"/>
                </a:lnTo>
                <a:lnTo>
                  <a:pt x="660" y="107"/>
                </a:lnTo>
                <a:lnTo>
                  <a:pt x="661" y="107"/>
                </a:lnTo>
                <a:lnTo>
                  <a:pt x="662" y="107"/>
                </a:lnTo>
                <a:lnTo>
                  <a:pt x="664" y="107"/>
                </a:lnTo>
                <a:lnTo>
                  <a:pt x="667" y="106"/>
                </a:lnTo>
                <a:lnTo>
                  <a:pt x="668" y="106"/>
                </a:lnTo>
                <a:lnTo>
                  <a:pt x="668" y="105"/>
                </a:lnTo>
                <a:lnTo>
                  <a:pt x="669" y="105"/>
                </a:lnTo>
                <a:lnTo>
                  <a:pt x="671" y="104"/>
                </a:lnTo>
                <a:lnTo>
                  <a:pt x="673" y="104"/>
                </a:lnTo>
                <a:lnTo>
                  <a:pt x="674" y="104"/>
                </a:lnTo>
                <a:lnTo>
                  <a:pt x="675" y="103"/>
                </a:lnTo>
                <a:lnTo>
                  <a:pt x="676" y="102"/>
                </a:lnTo>
                <a:lnTo>
                  <a:pt x="677" y="99"/>
                </a:lnTo>
                <a:lnTo>
                  <a:pt x="677" y="98"/>
                </a:lnTo>
                <a:lnTo>
                  <a:pt x="680" y="97"/>
                </a:lnTo>
                <a:lnTo>
                  <a:pt x="681" y="97"/>
                </a:lnTo>
                <a:lnTo>
                  <a:pt x="681" y="96"/>
                </a:lnTo>
                <a:lnTo>
                  <a:pt x="680" y="96"/>
                </a:lnTo>
                <a:lnTo>
                  <a:pt x="680" y="95"/>
                </a:lnTo>
                <a:lnTo>
                  <a:pt x="681" y="95"/>
                </a:lnTo>
                <a:lnTo>
                  <a:pt x="680" y="95"/>
                </a:lnTo>
                <a:lnTo>
                  <a:pt x="681" y="95"/>
                </a:lnTo>
                <a:lnTo>
                  <a:pt x="680" y="95"/>
                </a:lnTo>
                <a:lnTo>
                  <a:pt x="678" y="93"/>
                </a:lnTo>
                <a:lnTo>
                  <a:pt x="678" y="95"/>
                </a:lnTo>
                <a:lnTo>
                  <a:pt x="677" y="95"/>
                </a:lnTo>
                <a:lnTo>
                  <a:pt x="677" y="93"/>
                </a:lnTo>
                <a:lnTo>
                  <a:pt x="678" y="93"/>
                </a:lnTo>
                <a:lnTo>
                  <a:pt x="680" y="93"/>
                </a:lnTo>
                <a:lnTo>
                  <a:pt x="680" y="92"/>
                </a:lnTo>
                <a:lnTo>
                  <a:pt x="681" y="92"/>
                </a:lnTo>
                <a:lnTo>
                  <a:pt x="683" y="93"/>
                </a:lnTo>
                <a:lnTo>
                  <a:pt x="684" y="93"/>
                </a:lnTo>
                <a:lnTo>
                  <a:pt x="685" y="92"/>
                </a:lnTo>
                <a:lnTo>
                  <a:pt x="684" y="92"/>
                </a:lnTo>
                <a:lnTo>
                  <a:pt x="685" y="92"/>
                </a:lnTo>
                <a:lnTo>
                  <a:pt x="687" y="92"/>
                </a:lnTo>
                <a:lnTo>
                  <a:pt x="688" y="91"/>
                </a:lnTo>
                <a:lnTo>
                  <a:pt x="689" y="91"/>
                </a:lnTo>
                <a:lnTo>
                  <a:pt x="690" y="90"/>
                </a:lnTo>
                <a:lnTo>
                  <a:pt x="691" y="90"/>
                </a:lnTo>
                <a:lnTo>
                  <a:pt x="691" y="89"/>
                </a:lnTo>
                <a:lnTo>
                  <a:pt x="691" y="88"/>
                </a:lnTo>
                <a:lnTo>
                  <a:pt x="690" y="88"/>
                </a:lnTo>
                <a:lnTo>
                  <a:pt x="691" y="88"/>
                </a:lnTo>
                <a:lnTo>
                  <a:pt x="692" y="86"/>
                </a:lnTo>
                <a:lnTo>
                  <a:pt x="691" y="86"/>
                </a:lnTo>
                <a:lnTo>
                  <a:pt x="690" y="86"/>
                </a:lnTo>
                <a:lnTo>
                  <a:pt x="690" y="88"/>
                </a:lnTo>
                <a:lnTo>
                  <a:pt x="689" y="88"/>
                </a:lnTo>
                <a:lnTo>
                  <a:pt x="688" y="88"/>
                </a:lnTo>
                <a:lnTo>
                  <a:pt x="687" y="89"/>
                </a:lnTo>
                <a:lnTo>
                  <a:pt x="685" y="89"/>
                </a:lnTo>
                <a:lnTo>
                  <a:pt x="684" y="89"/>
                </a:lnTo>
                <a:lnTo>
                  <a:pt x="683" y="89"/>
                </a:lnTo>
                <a:lnTo>
                  <a:pt x="683" y="90"/>
                </a:lnTo>
                <a:lnTo>
                  <a:pt x="683" y="89"/>
                </a:lnTo>
                <a:lnTo>
                  <a:pt x="682" y="89"/>
                </a:lnTo>
                <a:lnTo>
                  <a:pt x="680" y="90"/>
                </a:lnTo>
                <a:lnTo>
                  <a:pt x="678" y="90"/>
                </a:lnTo>
                <a:lnTo>
                  <a:pt x="680" y="90"/>
                </a:lnTo>
                <a:lnTo>
                  <a:pt x="681" y="89"/>
                </a:lnTo>
                <a:lnTo>
                  <a:pt x="681" y="90"/>
                </a:lnTo>
                <a:lnTo>
                  <a:pt x="680" y="90"/>
                </a:lnTo>
                <a:lnTo>
                  <a:pt x="678" y="90"/>
                </a:lnTo>
                <a:lnTo>
                  <a:pt x="677" y="90"/>
                </a:lnTo>
                <a:lnTo>
                  <a:pt x="676" y="90"/>
                </a:lnTo>
                <a:lnTo>
                  <a:pt x="675" y="90"/>
                </a:lnTo>
                <a:lnTo>
                  <a:pt x="675" y="91"/>
                </a:lnTo>
                <a:lnTo>
                  <a:pt x="674" y="91"/>
                </a:lnTo>
                <a:lnTo>
                  <a:pt x="673" y="91"/>
                </a:lnTo>
                <a:lnTo>
                  <a:pt x="669" y="92"/>
                </a:lnTo>
                <a:lnTo>
                  <a:pt x="668" y="92"/>
                </a:lnTo>
                <a:lnTo>
                  <a:pt x="668" y="93"/>
                </a:lnTo>
                <a:lnTo>
                  <a:pt x="667" y="93"/>
                </a:lnTo>
                <a:lnTo>
                  <a:pt x="666" y="93"/>
                </a:lnTo>
                <a:lnTo>
                  <a:pt x="666" y="95"/>
                </a:lnTo>
                <a:lnTo>
                  <a:pt x="664" y="95"/>
                </a:lnTo>
                <a:lnTo>
                  <a:pt x="663" y="95"/>
                </a:lnTo>
                <a:lnTo>
                  <a:pt x="662" y="95"/>
                </a:lnTo>
                <a:lnTo>
                  <a:pt x="663" y="95"/>
                </a:lnTo>
                <a:lnTo>
                  <a:pt x="663" y="93"/>
                </a:lnTo>
                <a:lnTo>
                  <a:pt x="664" y="93"/>
                </a:lnTo>
                <a:lnTo>
                  <a:pt x="664" y="92"/>
                </a:lnTo>
                <a:lnTo>
                  <a:pt x="663" y="92"/>
                </a:lnTo>
                <a:lnTo>
                  <a:pt x="664" y="92"/>
                </a:lnTo>
                <a:lnTo>
                  <a:pt x="664" y="91"/>
                </a:lnTo>
                <a:lnTo>
                  <a:pt x="663" y="91"/>
                </a:lnTo>
                <a:lnTo>
                  <a:pt x="664" y="91"/>
                </a:lnTo>
                <a:lnTo>
                  <a:pt x="663" y="91"/>
                </a:lnTo>
                <a:lnTo>
                  <a:pt x="661" y="91"/>
                </a:lnTo>
                <a:lnTo>
                  <a:pt x="661" y="92"/>
                </a:lnTo>
                <a:lnTo>
                  <a:pt x="662" y="92"/>
                </a:lnTo>
                <a:lnTo>
                  <a:pt x="663" y="92"/>
                </a:lnTo>
                <a:lnTo>
                  <a:pt x="662" y="93"/>
                </a:lnTo>
                <a:lnTo>
                  <a:pt x="661" y="93"/>
                </a:lnTo>
                <a:lnTo>
                  <a:pt x="660" y="95"/>
                </a:lnTo>
                <a:lnTo>
                  <a:pt x="660" y="93"/>
                </a:lnTo>
                <a:lnTo>
                  <a:pt x="660" y="92"/>
                </a:lnTo>
                <a:lnTo>
                  <a:pt x="659" y="92"/>
                </a:lnTo>
                <a:lnTo>
                  <a:pt x="657" y="92"/>
                </a:lnTo>
                <a:lnTo>
                  <a:pt x="656" y="92"/>
                </a:lnTo>
                <a:lnTo>
                  <a:pt x="654" y="92"/>
                </a:lnTo>
                <a:lnTo>
                  <a:pt x="649" y="92"/>
                </a:lnTo>
                <a:lnTo>
                  <a:pt x="650" y="92"/>
                </a:lnTo>
                <a:lnTo>
                  <a:pt x="646" y="93"/>
                </a:lnTo>
                <a:lnTo>
                  <a:pt x="645" y="93"/>
                </a:lnTo>
                <a:lnTo>
                  <a:pt x="646" y="92"/>
                </a:lnTo>
                <a:lnTo>
                  <a:pt x="645" y="92"/>
                </a:lnTo>
                <a:lnTo>
                  <a:pt x="643" y="92"/>
                </a:lnTo>
                <a:lnTo>
                  <a:pt x="642" y="93"/>
                </a:lnTo>
                <a:lnTo>
                  <a:pt x="643" y="92"/>
                </a:lnTo>
                <a:lnTo>
                  <a:pt x="642" y="92"/>
                </a:lnTo>
                <a:lnTo>
                  <a:pt x="642" y="93"/>
                </a:lnTo>
                <a:lnTo>
                  <a:pt x="643" y="93"/>
                </a:lnTo>
                <a:lnTo>
                  <a:pt x="642" y="93"/>
                </a:lnTo>
                <a:lnTo>
                  <a:pt x="640" y="93"/>
                </a:lnTo>
                <a:lnTo>
                  <a:pt x="638" y="92"/>
                </a:lnTo>
                <a:lnTo>
                  <a:pt x="633" y="92"/>
                </a:lnTo>
                <a:lnTo>
                  <a:pt x="632" y="92"/>
                </a:lnTo>
                <a:lnTo>
                  <a:pt x="631" y="92"/>
                </a:lnTo>
                <a:lnTo>
                  <a:pt x="630" y="91"/>
                </a:lnTo>
                <a:lnTo>
                  <a:pt x="630" y="90"/>
                </a:lnTo>
                <a:lnTo>
                  <a:pt x="631" y="90"/>
                </a:lnTo>
                <a:lnTo>
                  <a:pt x="631" y="89"/>
                </a:lnTo>
                <a:lnTo>
                  <a:pt x="632" y="89"/>
                </a:lnTo>
                <a:lnTo>
                  <a:pt x="633" y="89"/>
                </a:lnTo>
                <a:lnTo>
                  <a:pt x="633" y="88"/>
                </a:lnTo>
                <a:lnTo>
                  <a:pt x="634" y="88"/>
                </a:lnTo>
                <a:lnTo>
                  <a:pt x="634" y="86"/>
                </a:lnTo>
                <a:lnTo>
                  <a:pt x="634" y="88"/>
                </a:lnTo>
                <a:lnTo>
                  <a:pt x="634" y="86"/>
                </a:lnTo>
                <a:lnTo>
                  <a:pt x="633" y="86"/>
                </a:lnTo>
                <a:lnTo>
                  <a:pt x="633" y="85"/>
                </a:lnTo>
                <a:lnTo>
                  <a:pt x="634" y="85"/>
                </a:lnTo>
                <a:lnTo>
                  <a:pt x="633" y="85"/>
                </a:lnTo>
                <a:lnTo>
                  <a:pt x="633" y="84"/>
                </a:lnTo>
                <a:lnTo>
                  <a:pt x="633" y="83"/>
                </a:lnTo>
                <a:lnTo>
                  <a:pt x="634" y="83"/>
                </a:lnTo>
                <a:lnTo>
                  <a:pt x="635" y="83"/>
                </a:lnTo>
                <a:lnTo>
                  <a:pt x="635" y="82"/>
                </a:lnTo>
                <a:lnTo>
                  <a:pt x="636" y="82"/>
                </a:lnTo>
                <a:lnTo>
                  <a:pt x="635" y="83"/>
                </a:lnTo>
                <a:lnTo>
                  <a:pt x="634" y="83"/>
                </a:lnTo>
                <a:lnTo>
                  <a:pt x="634" y="84"/>
                </a:lnTo>
                <a:lnTo>
                  <a:pt x="633" y="84"/>
                </a:lnTo>
                <a:lnTo>
                  <a:pt x="634" y="84"/>
                </a:lnTo>
                <a:lnTo>
                  <a:pt x="635" y="84"/>
                </a:lnTo>
                <a:lnTo>
                  <a:pt x="636" y="84"/>
                </a:lnTo>
                <a:lnTo>
                  <a:pt x="638" y="84"/>
                </a:lnTo>
                <a:lnTo>
                  <a:pt x="639" y="84"/>
                </a:lnTo>
                <a:lnTo>
                  <a:pt x="639" y="83"/>
                </a:lnTo>
                <a:lnTo>
                  <a:pt x="640" y="83"/>
                </a:lnTo>
                <a:lnTo>
                  <a:pt x="641" y="83"/>
                </a:lnTo>
                <a:lnTo>
                  <a:pt x="641" y="82"/>
                </a:lnTo>
                <a:lnTo>
                  <a:pt x="641" y="83"/>
                </a:lnTo>
                <a:lnTo>
                  <a:pt x="642" y="83"/>
                </a:lnTo>
                <a:lnTo>
                  <a:pt x="643" y="83"/>
                </a:lnTo>
                <a:lnTo>
                  <a:pt x="645" y="83"/>
                </a:lnTo>
                <a:lnTo>
                  <a:pt x="645" y="82"/>
                </a:lnTo>
                <a:lnTo>
                  <a:pt x="643" y="82"/>
                </a:lnTo>
                <a:lnTo>
                  <a:pt x="642" y="82"/>
                </a:lnTo>
                <a:lnTo>
                  <a:pt x="641" y="82"/>
                </a:lnTo>
                <a:lnTo>
                  <a:pt x="640" y="81"/>
                </a:lnTo>
                <a:lnTo>
                  <a:pt x="638" y="81"/>
                </a:lnTo>
                <a:lnTo>
                  <a:pt x="639" y="81"/>
                </a:lnTo>
                <a:lnTo>
                  <a:pt x="639" y="82"/>
                </a:lnTo>
                <a:lnTo>
                  <a:pt x="640" y="82"/>
                </a:lnTo>
                <a:lnTo>
                  <a:pt x="639" y="82"/>
                </a:lnTo>
                <a:lnTo>
                  <a:pt x="638" y="81"/>
                </a:lnTo>
                <a:lnTo>
                  <a:pt x="636" y="81"/>
                </a:lnTo>
                <a:lnTo>
                  <a:pt x="635" y="81"/>
                </a:lnTo>
                <a:lnTo>
                  <a:pt x="633" y="81"/>
                </a:lnTo>
                <a:lnTo>
                  <a:pt x="632" y="79"/>
                </a:lnTo>
                <a:lnTo>
                  <a:pt x="631" y="78"/>
                </a:lnTo>
                <a:lnTo>
                  <a:pt x="630" y="78"/>
                </a:lnTo>
                <a:lnTo>
                  <a:pt x="630" y="77"/>
                </a:lnTo>
                <a:lnTo>
                  <a:pt x="631" y="77"/>
                </a:lnTo>
                <a:lnTo>
                  <a:pt x="631" y="76"/>
                </a:lnTo>
                <a:lnTo>
                  <a:pt x="632" y="76"/>
                </a:lnTo>
                <a:lnTo>
                  <a:pt x="633" y="76"/>
                </a:lnTo>
                <a:lnTo>
                  <a:pt x="634" y="76"/>
                </a:lnTo>
                <a:lnTo>
                  <a:pt x="633" y="76"/>
                </a:lnTo>
                <a:lnTo>
                  <a:pt x="632" y="76"/>
                </a:lnTo>
                <a:lnTo>
                  <a:pt x="632" y="77"/>
                </a:lnTo>
                <a:lnTo>
                  <a:pt x="631" y="77"/>
                </a:lnTo>
                <a:lnTo>
                  <a:pt x="632" y="77"/>
                </a:lnTo>
                <a:lnTo>
                  <a:pt x="633" y="77"/>
                </a:lnTo>
                <a:lnTo>
                  <a:pt x="633" y="76"/>
                </a:lnTo>
                <a:lnTo>
                  <a:pt x="634" y="76"/>
                </a:lnTo>
                <a:lnTo>
                  <a:pt x="638" y="76"/>
                </a:lnTo>
                <a:lnTo>
                  <a:pt x="639" y="76"/>
                </a:lnTo>
                <a:lnTo>
                  <a:pt x="639" y="75"/>
                </a:lnTo>
                <a:lnTo>
                  <a:pt x="640" y="75"/>
                </a:lnTo>
                <a:lnTo>
                  <a:pt x="643" y="74"/>
                </a:lnTo>
                <a:lnTo>
                  <a:pt x="645" y="74"/>
                </a:lnTo>
                <a:lnTo>
                  <a:pt x="646" y="74"/>
                </a:lnTo>
                <a:lnTo>
                  <a:pt x="647" y="74"/>
                </a:lnTo>
                <a:lnTo>
                  <a:pt x="648" y="74"/>
                </a:lnTo>
                <a:lnTo>
                  <a:pt x="649" y="72"/>
                </a:lnTo>
                <a:lnTo>
                  <a:pt x="648" y="72"/>
                </a:lnTo>
                <a:lnTo>
                  <a:pt x="649" y="72"/>
                </a:lnTo>
                <a:lnTo>
                  <a:pt x="650" y="72"/>
                </a:lnTo>
                <a:lnTo>
                  <a:pt x="649" y="72"/>
                </a:lnTo>
                <a:lnTo>
                  <a:pt x="650" y="72"/>
                </a:lnTo>
                <a:lnTo>
                  <a:pt x="652" y="71"/>
                </a:lnTo>
                <a:lnTo>
                  <a:pt x="653" y="71"/>
                </a:lnTo>
                <a:lnTo>
                  <a:pt x="655" y="70"/>
                </a:lnTo>
                <a:lnTo>
                  <a:pt x="656" y="70"/>
                </a:lnTo>
                <a:lnTo>
                  <a:pt x="657" y="70"/>
                </a:lnTo>
                <a:lnTo>
                  <a:pt x="659" y="70"/>
                </a:lnTo>
                <a:lnTo>
                  <a:pt x="660" y="70"/>
                </a:lnTo>
                <a:lnTo>
                  <a:pt x="661" y="70"/>
                </a:lnTo>
                <a:lnTo>
                  <a:pt x="660" y="70"/>
                </a:lnTo>
                <a:lnTo>
                  <a:pt x="661" y="70"/>
                </a:lnTo>
                <a:lnTo>
                  <a:pt x="663" y="71"/>
                </a:lnTo>
                <a:lnTo>
                  <a:pt x="667" y="70"/>
                </a:lnTo>
                <a:lnTo>
                  <a:pt x="666" y="69"/>
                </a:lnTo>
                <a:lnTo>
                  <a:pt x="664" y="69"/>
                </a:lnTo>
                <a:lnTo>
                  <a:pt x="666" y="69"/>
                </a:lnTo>
                <a:lnTo>
                  <a:pt x="666" y="68"/>
                </a:lnTo>
                <a:lnTo>
                  <a:pt x="668" y="68"/>
                </a:lnTo>
                <a:lnTo>
                  <a:pt x="671" y="67"/>
                </a:lnTo>
                <a:lnTo>
                  <a:pt x="674" y="67"/>
                </a:lnTo>
                <a:lnTo>
                  <a:pt x="675" y="67"/>
                </a:lnTo>
                <a:lnTo>
                  <a:pt x="677" y="67"/>
                </a:lnTo>
                <a:lnTo>
                  <a:pt x="676" y="67"/>
                </a:lnTo>
                <a:lnTo>
                  <a:pt x="677" y="67"/>
                </a:lnTo>
                <a:lnTo>
                  <a:pt x="678" y="67"/>
                </a:lnTo>
                <a:lnTo>
                  <a:pt x="678" y="65"/>
                </a:lnTo>
                <a:lnTo>
                  <a:pt x="680" y="65"/>
                </a:lnTo>
                <a:lnTo>
                  <a:pt x="682" y="64"/>
                </a:lnTo>
                <a:lnTo>
                  <a:pt x="683" y="64"/>
                </a:lnTo>
                <a:lnTo>
                  <a:pt x="685" y="64"/>
                </a:lnTo>
                <a:lnTo>
                  <a:pt x="689" y="64"/>
                </a:lnTo>
                <a:lnTo>
                  <a:pt x="691" y="64"/>
                </a:lnTo>
                <a:lnTo>
                  <a:pt x="694" y="64"/>
                </a:lnTo>
                <a:lnTo>
                  <a:pt x="695" y="64"/>
                </a:lnTo>
                <a:lnTo>
                  <a:pt x="691" y="64"/>
                </a:lnTo>
                <a:lnTo>
                  <a:pt x="692" y="64"/>
                </a:lnTo>
                <a:lnTo>
                  <a:pt x="692" y="65"/>
                </a:lnTo>
                <a:lnTo>
                  <a:pt x="691" y="65"/>
                </a:lnTo>
                <a:lnTo>
                  <a:pt x="690" y="67"/>
                </a:lnTo>
                <a:lnTo>
                  <a:pt x="689" y="67"/>
                </a:lnTo>
                <a:lnTo>
                  <a:pt x="688" y="67"/>
                </a:lnTo>
                <a:lnTo>
                  <a:pt x="688" y="68"/>
                </a:lnTo>
                <a:lnTo>
                  <a:pt x="687" y="68"/>
                </a:lnTo>
                <a:lnTo>
                  <a:pt x="687" y="69"/>
                </a:lnTo>
                <a:lnTo>
                  <a:pt x="685" y="69"/>
                </a:lnTo>
                <a:lnTo>
                  <a:pt x="684" y="69"/>
                </a:lnTo>
                <a:lnTo>
                  <a:pt x="683" y="69"/>
                </a:lnTo>
                <a:lnTo>
                  <a:pt x="682" y="69"/>
                </a:lnTo>
                <a:lnTo>
                  <a:pt x="683" y="69"/>
                </a:lnTo>
                <a:lnTo>
                  <a:pt x="684" y="69"/>
                </a:lnTo>
                <a:lnTo>
                  <a:pt x="683" y="70"/>
                </a:lnTo>
                <a:lnTo>
                  <a:pt x="684" y="70"/>
                </a:lnTo>
                <a:lnTo>
                  <a:pt x="684" y="69"/>
                </a:lnTo>
                <a:lnTo>
                  <a:pt x="685" y="69"/>
                </a:lnTo>
                <a:lnTo>
                  <a:pt x="684" y="70"/>
                </a:lnTo>
                <a:lnTo>
                  <a:pt x="684" y="71"/>
                </a:lnTo>
                <a:lnTo>
                  <a:pt x="689" y="71"/>
                </a:lnTo>
                <a:lnTo>
                  <a:pt x="690" y="71"/>
                </a:lnTo>
                <a:lnTo>
                  <a:pt x="691" y="71"/>
                </a:lnTo>
                <a:lnTo>
                  <a:pt x="692" y="71"/>
                </a:lnTo>
                <a:lnTo>
                  <a:pt x="694" y="71"/>
                </a:lnTo>
                <a:lnTo>
                  <a:pt x="695" y="71"/>
                </a:lnTo>
                <a:lnTo>
                  <a:pt x="695" y="70"/>
                </a:lnTo>
                <a:lnTo>
                  <a:pt x="695" y="71"/>
                </a:lnTo>
                <a:lnTo>
                  <a:pt x="694" y="72"/>
                </a:lnTo>
                <a:lnTo>
                  <a:pt x="695" y="72"/>
                </a:lnTo>
                <a:lnTo>
                  <a:pt x="695" y="71"/>
                </a:lnTo>
                <a:lnTo>
                  <a:pt x="696" y="71"/>
                </a:lnTo>
                <a:lnTo>
                  <a:pt x="697" y="71"/>
                </a:lnTo>
                <a:lnTo>
                  <a:pt x="698" y="71"/>
                </a:lnTo>
                <a:lnTo>
                  <a:pt x="700" y="71"/>
                </a:lnTo>
                <a:lnTo>
                  <a:pt x="703" y="71"/>
                </a:lnTo>
                <a:lnTo>
                  <a:pt x="702" y="71"/>
                </a:lnTo>
                <a:lnTo>
                  <a:pt x="702" y="72"/>
                </a:lnTo>
                <a:lnTo>
                  <a:pt x="702" y="71"/>
                </a:lnTo>
                <a:lnTo>
                  <a:pt x="703" y="71"/>
                </a:lnTo>
                <a:lnTo>
                  <a:pt x="702" y="72"/>
                </a:lnTo>
                <a:lnTo>
                  <a:pt x="703" y="72"/>
                </a:lnTo>
                <a:lnTo>
                  <a:pt x="703" y="71"/>
                </a:lnTo>
                <a:lnTo>
                  <a:pt x="704" y="71"/>
                </a:lnTo>
                <a:lnTo>
                  <a:pt x="705" y="71"/>
                </a:lnTo>
                <a:lnTo>
                  <a:pt x="706" y="70"/>
                </a:lnTo>
                <a:lnTo>
                  <a:pt x="707" y="70"/>
                </a:lnTo>
                <a:lnTo>
                  <a:pt x="709" y="69"/>
                </a:lnTo>
                <a:lnTo>
                  <a:pt x="710" y="69"/>
                </a:lnTo>
                <a:lnTo>
                  <a:pt x="711" y="69"/>
                </a:lnTo>
                <a:lnTo>
                  <a:pt x="711" y="68"/>
                </a:lnTo>
                <a:lnTo>
                  <a:pt x="712" y="69"/>
                </a:lnTo>
                <a:lnTo>
                  <a:pt x="713" y="69"/>
                </a:lnTo>
                <a:lnTo>
                  <a:pt x="714" y="69"/>
                </a:lnTo>
                <a:lnTo>
                  <a:pt x="713" y="69"/>
                </a:lnTo>
                <a:lnTo>
                  <a:pt x="713" y="70"/>
                </a:lnTo>
                <a:lnTo>
                  <a:pt x="712" y="70"/>
                </a:lnTo>
                <a:lnTo>
                  <a:pt x="713" y="70"/>
                </a:lnTo>
                <a:lnTo>
                  <a:pt x="714" y="70"/>
                </a:lnTo>
                <a:lnTo>
                  <a:pt x="714" y="69"/>
                </a:lnTo>
                <a:lnTo>
                  <a:pt x="716" y="69"/>
                </a:lnTo>
                <a:lnTo>
                  <a:pt x="716" y="68"/>
                </a:lnTo>
                <a:lnTo>
                  <a:pt x="717" y="68"/>
                </a:lnTo>
                <a:lnTo>
                  <a:pt x="716" y="67"/>
                </a:lnTo>
                <a:lnTo>
                  <a:pt x="714" y="67"/>
                </a:lnTo>
                <a:lnTo>
                  <a:pt x="713" y="67"/>
                </a:lnTo>
                <a:lnTo>
                  <a:pt x="711" y="67"/>
                </a:lnTo>
                <a:lnTo>
                  <a:pt x="710" y="67"/>
                </a:lnTo>
                <a:lnTo>
                  <a:pt x="709" y="67"/>
                </a:lnTo>
                <a:lnTo>
                  <a:pt x="709" y="68"/>
                </a:lnTo>
                <a:lnTo>
                  <a:pt x="707" y="68"/>
                </a:lnTo>
                <a:lnTo>
                  <a:pt x="709" y="68"/>
                </a:lnTo>
                <a:lnTo>
                  <a:pt x="707" y="68"/>
                </a:lnTo>
                <a:lnTo>
                  <a:pt x="707" y="69"/>
                </a:lnTo>
                <a:lnTo>
                  <a:pt x="707" y="68"/>
                </a:lnTo>
                <a:lnTo>
                  <a:pt x="709" y="67"/>
                </a:lnTo>
                <a:lnTo>
                  <a:pt x="710" y="67"/>
                </a:lnTo>
                <a:lnTo>
                  <a:pt x="711" y="65"/>
                </a:lnTo>
                <a:lnTo>
                  <a:pt x="712" y="65"/>
                </a:lnTo>
                <a:lnTo>
                  <a:pt x="712" y="64"/>
                </a:lnTo>
                <a:lnTo>
                  <a:pt x="711" y="63"/>
                </a:lnTo>
                <a:lnTo>
                  <a:pt x="712" y="63"/>
                </a:lnTo>
                <a:lnTo>
                  <a:pt x="712" y="62"/>
                </a:lnTo>
                <a:lnTo>
                  <a:pt x="711" y="62"/>
                </a:lnTo>
                <a:lnTo>
                  <a:pt x="710" y="62"/>
                </a:lnTo>
                <a:lnTo>
                  <a:pt x="710" y="61"/>
                </a:lnTo>
                <a:lnTo>
                  <a:pt x="711" y="60"/>
                </a:lnTo>
                <a:lnTo>
                  <a:pt x="712" y="60"/>
                </a:lnTo>
                <a:lnTo>
                  <a:pt x="713" y="60"/>
                </a:lnTo>
                <a:lnTo>
                  <a:pt x="713" y="58"/>
                </a:lnTo>
                <a:lnTo>
                  <a:pt x="713" y="60"/>
                </a:lnTo>
                <a:lnTo>
                  <a:pt x="714" y="60"/>
                </a:lnTo>
                <a:lnTo>
                  <a:pt x="716" y="58"/>
                </a:lnTo>
                <a:lnTo>
                  <a:pt x="716" y="60"/>
                </a:lnTo>
                <a:lnTo>
                  <a:pt x="714" y="61"/>
                </a:lnTo>
                <a:lnTo>
                  <a:pt x="714" y="62"/>
                </a:lnTo>
                <a:lnTo>
                  <a:pt x="716" y="62"/>
                </a:lnTo>
                <a:lnTo>
                  <a:pt x="714" y="62"/>
                </a:lnTo>
                <a:lnTo>
                  <a:pt x="713" y="62"/>
                </a:lnTo>
                <a:lnTo>
                  <a:pt x="712" y="63"/>
                </a:lnTo>
                <a:lnTo>
                  <a:pt x="712" y="64"/>
                </a:lnTo>
                <a:lnTo>
                  <a:pt x="713" y="65"/>
                </a:lnTo>
                <a:lnTo>
                  <a:pt x="716" y="65"/>
                </a:lnTo>
                <a:lnTo>
                  <a:pt x="717" y="65"/>
                </a:lnTo>
                <a:lnTo>
                  <a:pt x="718" y="65"/>
                </a:lnTo>
                <a:lnTo>
                  <a:pt x="719" y="64"/>
                </a:lnTo>
                <a:lnTo>
                  <a:pt x="719" y="65"/>
                </a:lnTo>
                <a:lnTo>
                  <a:pt x="720" y="65"/>
                </a:lnTo>
                <a:lnTo>
                  <a:pt x="719" y="67"/>
                </a:lnTo>
                <a:lnTo>
                  <a:pt x="720" y="67"/>
                </a:lnTo>
                <a:lnTo>
                  <a:pt x="721" y="67"/>
                </a:lnTo>
                <a:lnTo>
                  <a:pt x="723" y="67"/>
                </a:lnTo>
                <a:lnTo>
                  <a:pt x="724" y="67"/>
                </a:lnTo>
                <a:lnTo>
                  <a:pt x="726" y="67"/>
                </a:lnTo>
                <a:lnTo>
                  <a:pt x="727" y="67"/>
                </a:lnTo>
                <a:lnTo>
                  <a:pt x="727" y="65"/>
                </a:lnTo>
                <a:lnTo>
                  <a:pt x="728" y="65"/>
                </a:lnTo>
                <a:lnTo>
                  <a:pt x="730" y="64"/>
                </a:lnTo>
                <a:lnTo>
                  <a:pt x="730" y="63"/>
                </a:lnTo>
                <a:lnTo>
                  <a:pt x="731" y="63"/>
                </a:lnTo>
                <a:lnTo>
                  <a:pt x="730" y="63"/>
                </a:lnTo>
                <a:lnTo>
                  <a:pt x="728" y="63"/>
                </a:lnTo>
                <a:lnTo>
                  <a:pt x="727" y="63"/>
                </a:lnTo>
                <a:lnTo>
                  <a:pt x="727" y="64"/>
                </a:lnTo>
                <a:lnTo>
                  <a:pt x="726" y="64"/>
                </a:lnTo>
                <a:lnTo>
                  <a:pt x="725" y="63"/>
                </a:lnTo>
                <a:lnTo>
                  <a:pt x="723" y="63"/>
                </a:lnTo>
                <a:lnTo>
                  <a:pt x="721" y="63"/>
                </a:lnTo>
                <a:lnTo>
                  <a:pt x="720" y="63"/>
                </a:lnTo>
                <a:lnTo>
                  <a:pt x="720" y="64"/>
                </a:lnTo>
                <a:lnTo>
                  <a:pt x="719" y="64"/>
                </a:lnTo>
                <a:lnTo>
                  <a:pt x="718" y="64"/>
                </a:lnTo>
                <a:lnTo>
                  <a:pt x="717" y="64"/>
                </a:lnTo>
                <a:lnTo>
                  <a:pt x="716" y="64"/>
                </a:lnTo>
                <a:lnTo>
                  <a:pt x="717" y="64"/>
                </a:lnTo>
                <a:lnTo>
                  <a:pt x="716" y="64"/>
                </a:lnTo>
                <a:lnTo>
                  <a:pt x="716" y="62"/>
                </a:lnTo>
                <a:lnTo>
                  <a:pt x="717" y="62"/>
                </a:lnTo>
                <a:lnTo>
                  <a:pt x="717" y="61"/>
                </a:lnTo>
                <a:lnTo>
                  <a:pt x="718" y="61"/>
                </a:lnTo>
                <a:lnTo>
                  <a:pt x="719" y="61"/>
                </a:lnTo>
                <a:lnTo>
                  <a:pt x="719" y="60"/>
                </a:lnTo>
                <a:lnTo>
                  <a:pt x="720" y="60"/>
                </a:lnTo>
                <a:lnTo>
                  <a:pt x="721" y="60"/>
                </a:lnTo>
                <a:lnTo>
                  <a:pt x="723" y="58"/>
                </a:lnTo>
                <a:lnTo>
                  <a:pt x="724" y="58"/>
                </a:lnTo>
                <a:lnTo>
                  <a:pt x="723" y="58"/>
                </a:lnTo>
                <a:lnTo>
                  <a:pt x="723" y="57"/>
                </a:lnTo>
                <a:lnTo>
                  <a:pt x="720" y="57"/>
                </a:lnTo>
                <a:lnTo>
                  <a:pt x="717" y="58"/>
                </a:lnTo>
                <a:lnTo>
                  <a:pt x="718" y="57"/>
                </a:lnTo>
                <a:lnTo>
                  <a:pt x="717" y="57"/>
                </a:lnTo>
                <a:lnTo>
                  <a:pt x="717" y="58"/>
                </a:lnTo>
                <a:lnTo>
                  <a:pt x="716" y="58"/>
                </a:lnTo>
                <a:lnTo>
                  <a:pt x="714" y="58"/>
                </a:lnTo>
                <a:lnTo>
                  <a:pt x="716" y="57"/>
                </a:lnTo>
                <a:lnTo>
                  <a:pt x="717" y="57"/>
                </a:lnTo>
                <a:lnTo>
                  <a:pt x="718" y="56"/>
                </a:lnTo>
                <a:lnTo>
                  <a:pt x="719" y="56"/>
                </a:lnTo>
                <a:lnTo>
                  <a:pt x="718" y="56"/>
                </a:lnTo>
                <a:lnTo>
                  <a:pt x="716" y="57"/>
                </a:lnTo>
                <a:lnTo>
                  <a:pt x="714" y="58"/>
                </a:lnTo>
                <a:lnTo>
                  <a:pt x="713" y="58"/>
                </a:lnTo>
                <a:lnTo>
                  <a:pt x="712" y="58"/>
                </a:lnTo>
                <a:lnTo>
                  <a:pt x="713" y="58"/>
                </a:lnTo>
                <a:lnTo>
                  <a:pt x="712" y="57"/>
                </a:lnTo>
                <a:lnTo>
                  <a:pt x="711" y="57"/>
                </a:lnTo>
                <a:lnTo>
                  <a:pt x="710" y="57"/>
                </a:lnTo>
                <a:lnTo>
                  <a:pt x="710" y="58"/>
                </a:lnTo>
                <a:lnTo>
                  <a:pt x="711" y="58"/>
                </a:lnTo>
                <a:lnTo>
                  <a:pt x="710" y="58"/>
                </a:lnTo>
                <a:lnTo>
                  <a:pt x="709" y="58"/>
                </a:lnTo>
                <a:lnTo>
                  <a:pt x="709" y="57"/>
                </a:lnTo>
                <a:lnTo>
                  <a:pt x="706" y="57"/>
                </a:lnTo>
                <a:lnTo>
                  <a:pt x="704" y="57"/>
                </a:lnTo>
                <a:lnTo>
                  <a:pt x="704" y="56"/>
                </a:lnTo>
                <a:lnTo>
                  <a:pt x="705" y="55"/>
                </a:lnTo>
                <a:lnTo>
                  <a:pt x="706" y="55"/>
                </a:lnTo>
                <a:lnTo>
                  <a:pt x="706" y="54"/>
                </a:lnTo>
                <a:lnTo>
                  <a:pt x="707" y="54"/>
                </a:lnTo>
                <a:lnTo>
                  <a:pt x="709" y="51"/>
                </a:lnTo>
                <a:lnTo>
                  <a:pt x="709" y="50"/>
                </a:lnTo>
                <a:lnTo>
                  <a:pt x="707" y="49"/>
                </a:lnTo>
                <a:lnTo>
                  <a:pt x="707" y="48"/>
                </a:lnTo>
                <a:lnTo>
                  <a:pt x="707" y="47"/>
                </a:lnTo>
                <a:lnTo>
                  <a:pt x="706" y="47"/>
                </a:lnTo>
                <a:lnTo>
                  <a:pt x="706" y="48"/>
                </a:lnTo>
                <a:lnTo>
                  <a:pt x="706" y="47"/>
                </a:lnTo>
                <a:lnTo>
                  <a:pt x="705" y="46"/>
                </a:lnTo>
                <a:lnTo>
                  <a:pt x="705" y="44"/>
                </a:lnTo>
                <a:lnTo>
                  <a:pt x="704" y="44"/>
                </a:lnTo>
                <a:lnTo>
                  <a:pt x="703" y="43"/>
                </a:lnTo>
                <a:lnTo>
                  <a:pt x="702" y="43"/>
                </a:lnTo>
                <a:lnTo>
                  <a:pt x="700" y="43"/>
                </a:lnTo>
                <a:lnTo>
                  <a:pt x="700" y="42"/>
                </a:lnTo>
                <a:lnTo>
                  <a:pt x="699" y="41"/>
                </a:lnTo>
                <a:lnTo>
                  <a:pt x="697" y="40"/>
                </a:lnTo>
                <a:lnTo>
                  <a:pt x="696" y="40"/>
                </a:lnTo>
                <a:lnTo>
                  <a:pt x="695" y="40"/>
                </a:lnTo>
                <a:lnTo>
                  <a:pt x="696" y="40"/>
                </a:lnTo>
                <a:lnTo>
                  <a:pt x="698" y="40"/>
                </a:lnTo>
                <a:lnTo>
                  <a:pt x="699" y="39"/>
                </a:lnTo>
                <a:lnTo>
                  <a:pt x="700" y="39"/>
                </a:lnTo>
                <a:lnTo>
                  <a:pt x="699" y="40"/>
                </a:lnTo>
                <a:lnTo>
                  <a:pt x="697" y="40"/>
                </a:lnTo>
                <a:lnTo>
                  <a:pt x="696" y="40"/>
                </a:lnTo>
                <a:lnTo>
                  <a:pt x="697" y="40"/>
                </a:lnTo>
                <a:lnTo>
                  <a:pt x="698" y="40"/>
                </a:lnTo>
                <a:lnTo>
                  <a:pt x="699" y="40"/>
                </a:lnTo>
                <a:lnTo>
                  <a:pt x="700" y="40"/>
                </a:lnTo>
                <a:lnTo>
                  <a:pt x="702" y="40"/>
                </a:lnTo>
                <a:lnTo>
                  <a:pt x="702" y="39"/>
                </a:lnTo>
                <a:lnTo>
                  <a:pt x="703" y="39"/>
                </a:lnTo>
                <a:lnTo>
                  <a:pt x="704" y="39"/>
                </a:lnTo>
                <a:lnTo>
                  <a:pt x="704" y="37"/>
                </a:lnTo>
                <a:lnTo>
                  <a:pt x="705" y="37"/>
                </a:lnTo>
                <a:lnTo>
                  <a:pt x="706" y="37"/>
                </a:lnTo>
                <a:lnTo>
                  <a:pt x="706" y="36"/>
                </a:lnTo>
                <a:lnTo>
                  <a:pt x="707" y="36"/>
                </a:lnTo>
                <a:lnTo>
                  <a:pt x="707" y="35"/>
                </a:lnTo>
                <a:lnTo>
                  <a:pt x="709" y="35"/>
                </a:lnTo>
                <a:lnTo>
                  <a:pt x="710" y="35"/>
                </a:lnTo>
                <a:lnTo>
                  <a:pt x="710" y="34"/>
                </a:lnTo>
                <a:lnTo>
                  <a:pt x="711" y="34"/>
                </a:lnTo>
                <a:lnTo>
                  <a:pt x="711" y="33"/>
                </a:lnTo>
                <a:lnTo>
                  <a:pt x="712" y="33"/>
                </a:lnTo>
                <a:lnTo>
                  <a:pt x="713" y="33"/>
                </a:lnTo>
                <a:lnTo>
                  <a:pt x="716" y="33"/>
                </a:lnTo>
                <a:lnTo>
                  <a:pt x="717" y="33"/>
                </a:lnTo>
                <a:lnTo>
                  <a:pt x="720" y="33"/>
                </a:lnTo>
                <a:lnTo>
                  <a:pt x="724" y="33"/>
                </a:lnTo>
                <a:lnTo>
                  <a:pt x="727" y="33"/>
                </a:lnTo>
                <a:lnTo>
                  <a:pt x="732" y="33"/>
                </a:lnTo>
                <a:lnTo>
                  <a:pt x="733" y="32"/>
                </a:lnTo>
                <a:lnTo>
                  <a:pt x="734" y="32"/>
                </a:lnTo>
                <a:lnTo>
                  <a:pt x="735" y="32"/>
                </a:lnTo>
                <a:lnTo>
                  <a:pt x="737" y="32"/>
                </a:lnTo>
                <a:lnTo>
                  <a:pt x="738" y="32"/>
                </a:lnTo>
                <a:lnTo>
                  <a:pt x="739" y="30"/>
                </a:lnTo>
                <a:lnTo>
                  <a:pt x="742" y="29"/>
                </a:lnTo>
                <a:lnTo>
                  <a:pt x="749" y="27"/>
                </a:lnTo>
                <a:lnTo>
                  <a:pt x="751" y="27"/>
                </a:lnTo>
                <a:lnTo>
                  <a:pt x="753" y="26"/>
                </a:lnTo>
                <a:lnTo>
                  <a:pt x="751" y="27"/>
                </a:lnTo>
                <a:lnTo>
                  <a:pt x="749" y="27"/>
                </a:lnTo>
                <a:lnTo>
                  <a:pt x="752" y="27"/>
                </a:lnTo>
                <a:lnTo>
                  <a:pt x="753" y="26"/>
                </a:lnTo>
                <a:lnTo>
                  <a:pt x="754" y="26"/>
                </a:lnTo>
                <a:lnTo>
                  <a:pt x="754" y="25"/>
                </a:lnTo>
                <a:lnTo>
                  <a:pt x="755" y="25"/>
                </a:lnTo>
                <a:lnTo>
                  <a:pt x="756" y="25"/>
                </a:lnTo>
                <a:lnTo>
                  <a:pt x="756" y="23"/>
                </a:lnTo>
                <a:lnTo>
                  <a:pt x="758" y="23"/>
                </a:lnTo>
                <a:lnTo>
                  <a:pt x="759" y="23"/>
                </a:lnTo>
                <a:lnTo>
                  <a:pt x="759" y="22"/>
                </a:lnTo>
                <a:lnTo>
                  <a:pt x="760" y="22"/>
                </a:lnTo>
                <a:lnTo>
                  <a:pt x="761" y="22"/>
                </a:lnTo>
                <a:lnTo>
                  <a:pt x="761" y="21"/>
                </a:lnTo>
                <a:lnTo>
                  <a:pt x="760" y="21"/>
                </a:lnTo>
                <a:lnTo>
                  <a:pt x="761" y="21"/>
                </a:lnTo>
                <a:lnTo>
                  <a:pt x="762" y="21"/>
                </a:lnTo>
                <a:lnTo>
                  <a:pt x="764" y="20"/>
                </a:lnTo>
                <a:lnTo>
                  <a:pt x="766" y="20"/>
                </a:lnTo>
                <a:lnTo>
                  <a:pt x="767" y="19"/>
                </a:lnTo>
                <a:lnTo>
                  <a:pt x="768" y="19"/>
                </a:lnTo>
                <a:lnTo>
                  <a:pt x="769" y="19"/>
                </a:lnTo>
                <a:lnTo>
                  <a:pt x="770" y="19"/>
                </a:lnTo>
                <a:lnTo>
                  <a:pt x="770" y="18"/>
                </a:lnTo>
                <a:lnTo>
                  <a:pt x="771" y="18"/>
                </a:lnTo>
                <a:lnTo>
                  <a:pt x="773" y="18"/>
                </a:lnTo>
                <a:lnTo>
                  <a:pt x="774" y="18"/>
                </a:lnTo>
                <a:lnTo>
                  <a:pt x="774" y="16"/>
                </a:lnTo>
                <a:lnTo>
                  <a:pt x="775" y="16"/>
                </a:lnTo>
                <a:lnTo>
                  <a:pt x="776" y="16"/>
                </a:lnTo>
                <a:lnTo>
                  <a:pt x="777" y="16"/>
                </a:lnTo>
                <a:lnTo>
                  <a:pt x="777" y="15"/>
                </a:lnTo>
                <a:lnTo>
                  <a:pt x="778" y="15"/>
                </a:lnTo>
                <a:lnTo>
                  <a:pt x="780" y="15"/>
                </a:lnTo>
                <a:lnTo>
                  <a:pt x="781" y="14"/>
                </a:lnTo>
                <a:lnTo>
                  <a:pt x="782" y="14"/>
                </a:lnTo>
                <a:lnTo>
                  <a:pt x="783" y="14"/>
                </a:lnTo>
                <a:lnTo>
                  <a:pt x="784" y="14"/>
                </a:lnTo>
                <a:lnTo>
                  <a:pt x="783" y="15"/>
                </a:lnTo>
                <a:lnTo>
                  <a:pt x="782" y="14"/>
                </a:lnTo>
                <a:lnTo>
                  <a:pt x="782" y="15"/>
                </a:lnTo>
                <a:lnTo>
                  <a:pt x="781" y="15"/>
                </a:lnTo>
                <a:lnTo>
                  <a:pt x="780" y="15"/>
                </a:lnTo>
                <a:lnTo>
                  <a:pt x="778" y="15"/>
                </a:lnTo>
                <a:lnTo>
                  <a:pt x="777" y="16"/>
                </a:lnTo>
                <a:lnTo>
                  <a:pt x="781" y="15"/>
                </a:lnTo>
                <a:lnTo>
                  <a:pt x="782" y="15"/>
                </a:lnTo>
                <a:lnTo>
                  <a:pt x="783" y="15"/>
                </a:lnTo>
                <a:lnTo>
                  <a:pt x="784" y="15"/>
                </a:lnTo>
                <a:lnTo>
                  <a:pt x="788" y="14"/>
                </a:lnTo>
                <a:lnTo>
                  <a:pt x="789" y="14"/>
                </a:lnTo>
                <a:lnTo>
                  <a:pt x="791" y="14"/>
                </a:lnTo>
                <a:lnTo>
                  <a:pt x="792" y="14"/>
                </a:lnTo>
                <a:lnTo>
                  <a:pt x="794" y="13"/>
                </a:lnTo>
                <a:lnTo>
                  <a:pt x="798" y="13"/>
                </a:lnTo>
                <a:lnTo>
                  <a:pt x="798" y="12"/>
                </a:lnTo>
                <a:lnTo>
                  <a:pt x="797" y="13"/>
                </a:lnTo>
                <a:lnTo>
                  <a:pt x="795" y="13"/>
                </a:lnTo>
                <a:lnTo>
                  <a:pt x="796" y="13"/>
                </a:lnTo>
                <a:lnTo>
                  <a:pt x="797" y="13"/>
                </a:lnTo>
                <a:lnTo>
                  <a:pt x="801" y="12"/>
                </a:lnTo>
                <a:lnTo>
                  <a:pt x="805" y="11"/>
                </a:lnTo>
                <a:lnTo>
                  <a:pt x="806" y="11"/>
                </a:lnTo>
                <a:lnTo>
                  <a:pt x="805" y="11"/>
                </a:lnTo>
                <a:lnTo>
                  <a:pt x="806" y="11"/>
                </a:lnTo>
                <a:lnTo>
                  <a:pt x="808" y="11"/>
                </a:lnTo>
                <a:lnTo>
                  <a:pt x="806" y="11"/>
                </a:lnTo>
                <a:lnTo>
                  <a:pt x="808" y="11"/>
                </a:lnTo>
                <a:lnTo>
                  <a:pt x="806" y="12"/>
                </a:lnTo>
                <a:lnTo>
                  <a:pt x="805" y="12"/>
                </a:lnTo>
                <a:lnTo>
                  <a:pt x="804" y="12"/>
                </a:lnTo>
                <a:lnTo>
                  <a:pt x="803" y="12"/>
                </a:lnTo>
                <a:lnTo>
                  <a:pt x="805" y="12"/>
                </a:lnTo>
                <a:lnTo>
                  <a:pt x="806" y="12"/>
                </a:lnTo>
                <a:lnTo>
                  <a:pt x="805" y="12"/>
                </a:lnTo>
                <a:lnTo>
                  <a:pt x="804" y="12"/>
                </a:lnTo>
                <a:lnTo>
                  <a:pt x="804" y="13"/>
                </a:lnTo>
                <a:lnTo>
                  <a:pt x="803" y="13"/>
                </a:lnTo>
                <a:lnTo>
                  <a:pt x="802" y="14"/>
                </a:lnTo>
                <a:lnTo>
                  <a:pt x="801" y="14"/>
                </a:lnTo>
                <a:lnTo>
                  <a:pt x="803" y="13"/>
                </a:lnTo>
                <a:lnTo>
                  <a:pt x="803" y="14"/>
                </a:lnTo>
                <a:lnTo>
                  <a:pt x="802" y="14"/>
                </a:lnTo>
                <a:lnTo>
                  <a:pt x="803" y="14"/>
                </a:lnTo>
                <a:lnTo>
                  <a:pt x="802" y="15"/>
                </a:lnTo>
                <a:lnTo>
                  <a:pt x="803" y="15"/>
                </a:lnTo>
                <a:lnTo>
                  <a:pt x="803" y="14"/>
                </a:lnTo>
                <a:lnTo>
                  <a:pt x="804" y="14"/>
                </a:lnTo>
                <a:lnTo>
                  <a:pt x="804" y="13"/>
                </a:lnTo>
                <a:lnTo>
                  <a:pt x="805" y="13"/>
                </a:lnTo>
                <a:lnTo>
                  <a:pt x="805" y="12"/>
                </a:lnTo>
                <a:lnTo>
                  <a:pt x="806" y="12"/>
                </a:lnTo>
                <a:lnTo>
                  <a:pt x="808" y="12"/>
                </a:lnTo>
                <a:lnTo>
                  <a:pt x="809" y="12"/>
                </a:lnTo>
                <a:lnTo>
                  <a:pt x="810" y="12"/>
                </a:lnTo>
                <a:lnTo>
                  <a:pt x="811" y="12"/>
                </a:lnTo>
                <a:lnTo>
                  <a:pt x="812" y="12"/>
                </a:lnTo>
                <a:lnTo>
                  <a:pt x="812" y="11"/>
                </a:lnTo>
                <a:lnTo>
                  <a:pt x="813" y="11"/>
                </a:lnTo>
                <a:lnTo>
                  <a:pt x="811" y="11"/>
                </a:lnTo>
                <a:lnTo>
                  <a:pt x="810" y="11"/>
                </a:lnTo>
                <a:lnTo>
                  <a:pt x="810" y="12"/>
                </a:lnTo>
                <a:lnTo>
                  <a:pt x="809" y="12"/>
                </a:lnTo>
                <a:lnTo>
                  <a:pt x="808" y="12"/>
                </a:lnTo>
                <a:lnTo>
                  <a:pt x="808" y="11"/>
                </a:lnTo>
                <a:lnTo>
                  <a:pt x="809" y="11"/>
                </a:lnTo>
                <a:lnTo>
                  <a:pt x="809" y="9"/>
                </a:lnTo>
                <a:lnTo>
                  <a:pt x="808" y="9"/>
                </a:lnTo>
                <a:lnTo>
                  <a:pt x="806" y="11"/>
                </a:lnTo>
                <a:lnTo>
                  <a:pt x="806" y="9"/>
                </a:lnTo>
                <a:lnTo>
                  <a:pt x="808" y="9"/>
                </a:lnTo>
                <a:lnTo>
                  <a:pt x="810" y="9"/>
                </a:lnTo>
                <a:lnTo>
                  <a:pt x="811" y="8"/>
                </a:lnTo>
                <a:lnTo>
                  <a:pt x="812" y="8"/>
                </a:lnTo>
                <a:lnTo>
                  <a:pt x="813" y="8"/>
                </a:lnTo>
                <a:lnTo>
                  <a:pt x="815" y="7"/>
                </a:lnTo>
                <a:lnTo>
                  <a:pt x="816" y="7"/>
                </a:lnTo>
                <a:lnTo>
                  <a:pt x="817" y="7"/>
                </a:lnTo>
                <a:lnTo>
                  <a:pt x="818" y="7"/>
                </a:lnTo>
                <a:lnTo>
                  <a:pt x="819" y="7"/>
                </a:lnTo>
                <a:lnTo>
                  <a:pt x="822" y="6"/>
                </a:lnTo>
                <a:lnTo>
                  <a:pt x="820" y="7"/>
                </a:lnTo>
                <a:lnTo>
                  <a:pt x="819" y="7"/>
                </a:lnTo>
                <a:lnTo>
                  <a:pt x="818" y="7"/>
                </a:lnTo>
                <a:lnTo>
                  <a:pt x="820" y="7"/>
                </a:lnTo>
                <a:lnTo>
                  <a:pt x="819" y="7"/>
                </a:lnTo>
                <a:lnTo>
                  <a:pt x="818" y="7"/>
                </a:lnTo>
                <a:lnTo>
                  <a:pt x="817" y="8"/>
                </a:lnTo>
                <a:lnTo>
                  <a:pt x="816" y="8"/>
                </a:lnTo>
                <a:lnTo>
                  <a:pt x="817" y="8"/>
                </a:lnTo>
                <a:lnTo>
                  <a:pt x="817" y="9"/>
                </a:lnTo>
                <a:lnTo>
                  <a:pt x="817" y="8"/>
                </a:lnTo>
                <a:lnTo>
                  <a:pt x="818" y="8"/>
                </a:lnTo>
                <a:lnTo>
                  <a:pt x="819" y="8"/>
                </a:lnTo>
                <a:lnTo>
                  <a:pt x="820" y="8"/>
                </a:lnTo>
                <a:lnTo>
                  <a:pt x="822" y="7"/>
                </a:lnTo>
                <a:lnTo>
                  <a:pt x="820" y="7"/>
                </a:lnTo>
                <a:lnTo>
                  <a:pt x="824" y="8"/>
                </a:lnTo>
                <a:lnTo>
                  <a:pt x="828" y="7"/>
                </a:lnTo>
                <a:lnTo>
                  <a:pt x="827" y="7"/>
                </a:lnTo>
                <a:lnTo>
                  <a:pt x="828" y="7"/>
                </a:lnTo>
                <a:lnTo>
                  <a:pt x="831" y="7"/>
                </a:lnTo>
                <a:lnTo>
                  <a:pt x="833" y="7"/>
                </a:lnTo>
                <a:lnTo>
                  <a:pt x="837" y="6"/>
                </a:lnTo>
                <a:lnTo>
                  <a:pt x="838" y="6"/>
                </a:lnTo>
                <a:lnTo>
                  <a:pt x="844" y="4"/>
                </a:lnTo>
                <a:lnTo>
                  <a:pt x="847" y="2"/>
                </a:lnTo>
                <a:lnTo>
                  <a:pt x="848" y="2"/>
                </a:lnTo>
                <a:lnTo>
                  <a:pt x="853" y="1"/>
                </a:lnTo>
                <a:lnTo>
                  <a:pt x="855" y="0"/>
                </a:lnTo>
                <a:lnTo>
                  <a:pt x="856" y="0"/>
                </a:lnTo>
                <a:lnTo>
                  <a:pt x="858" y="0"/>
                </a:lnTo>
                <a:lnTo>
                  <a:pt x="859" y="0"/>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grpSp>
        <p:nvGrpSpPr>
          <p:cNvPr id="16" name="Group 15"/>
          <p:cNvGrpSpPr/>
          <p:nvPr/>
        </p:nvGrpSpPr>
        <p:grpSpPr>
          <a:xfrm>
            <a:off x="3260987" y="1392241"/>
            <a:ext cx="5882826" cy="2891332"/>
            <a:chOff x="3260987" y="1699200"/>
            <a:chExt cx="5882826" cy="2891332"/>
          </a:xfrm>
        </p:grpSpPr>
        <p:sp>
          <p:nvSpPr>
            <p:cNvPr id="66" name="Freeform 817">
              <a:extLst>
                <a:ext uri="{FF2B5EF4-FFF2-40B4-BE49-F238E27FC236}">
                  <a16:creationId xmlns:a16="http://schemas.microsoft.com/office/drawing/2014/main" id="{AF89BA01-4BD8-4AC9-A47B-709A69AFC47C}"/>
                </a:ext>
              </a:extLst>
            </p:cNvPr>
            <p:cNvSpPr>
              <a:spLocks/>
            </p:cNvSpPr>
            <p:nvPr/>
          </p:nvSpPr>
          <p:spPr bwMode="auto">
            <a:xfrm>
              <a:off x="4511004" y="3081431"/>
              <a:ext cx="2671" cy="4007"/>
            </a:xfrm>
            <a:custGeom>
              <a:avLst/>
              <a:gdLst>
                <a:gd name="T0" fmla="*/ 2 w 2"/>
                <a:gd name="T1" fmla="*/ 3 h 3"/>
                <a:gd name="T2" fmla="*/ 2 w 2"/>
                <a:gd name="T3" fmla="*/ 3 h 3"/>
                <a:gd name="T4" fmla="*/ 2 w 2"/>
                <a:gd name="T5" fmla="*/ 3 h 3"/>
                <a:gd name="T6" fmla="*/ 1 w 2"/>
                <a:gd name="T7" fmla="*/ 3 h 3"/>
                <a:gd name="T8" fmla="*/ 1 w 2"/>
                <a:gd name="T9" fmla="*/ 3 h 3"/>
                <a:gd name="T10" fmla="*/ 2 w 2"/>
                <a:gd name="T11" fmla="*/ 3 h 3"/>
                <a:gd name="T12" fmla="*/ 2 w 2"/>
                <a:gd name="T13" fmla="*/ 2 h 3"/>
                <a:gd name="T14" fmla="*/ 1 w 2"/>
                <a:gd name="T15" fmla="*/ 2 h 3"/>
                <a:gd name="T16" fmla="*/ 0 w 2"/>
                <a:gd name="T17" fmla="*/ 1 h 3"/>
                <a:gd name="T18" fmla="*/ 0 w 2"/>
                <a:gd name="T19" fmla="*/ 1 h 3"/>
                <a:gd name="T20" fmla="*/ 0 w 2"/>
                <a:gd name="T21" fmla="*/ 1 h 3"/>
                <a:gd name="T22" fmla="*/ 0 w 2"/>
                <a:gd name="T23" fmla="*/ 1 h 3"/>
                <a:gd name="T24" fmla="*/ 0 w 2"/>
                <a:gd name="T25" fmla="*/ 1 h 3"/>
                <a:gd name="T26" fmla="*/ 0 w 2"/>
                <a:gd name="T27" fmla="*/ 1 h 3"/>
                <a:gd name="T28" fmla="*/ 0 w 2"/>
                <a:gd name="T29" fmla="*/ 1 h 3"/>
                <a:gd name="T30" fmla="*/ 0 w 2"/>
                <a:gd name="T31" fmla="*/ 0 h 3"/>
                <a:gd name="T32" fmla="*/ 0 w 2"/>
                <a:gd name="T33" fmla="*/ 0 h 3"/>
                <a:gd name="T34" fmla="*/ 0 w 2"/>
                <a:gd name="T35" fmla="*/ 0 h 3"/>
                <a:gd name="T36" fmla="*/ 0 w 2"/>
                <a:gd name="T37" fmla="*/ 0 h 3"/>
                <a:gd name="T38" fmla="*/ 1 w 2"/>
                <a:gd name="T39" fmla="*/ 1 h 3"/>
                <a:gd name="T40" fmla="*/ 1 w 2"/>
                <a:gd name="T41" fmla="*/ 1 h 3"/>
                <a:gd name="T42" fmla="*/ 2 w 2"/>
                <a:gd name="T43" fmla="*/ 1 h 3"/>
                <a:gd name="T44" fmla="*/ 2 w 2"/>
                <a:gd name="T45" fmla="*/ 1 h 3"/>
                <a:gd name="T46" fmla="*/ 2 w 2"/>
                <a:gd name="T47" fmla="*/ 2 h 3"/>
                <a:gd name="T48" fmla="*/ 2 w 2"/>
                <a:gd name="T49" fmla="*/ 2 h 3"/>
                <a:gd name="T50" fmla="*/ 2 w 2"/>
                <a:gd name="T5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 h="3">
                  <a:moveTo>
                    <a:pt x="2" y="3"/>
                  </a:moveTo>
                  <a:lnTo>
                    <a:pt x="2" y="3"/>
                  </a:lnTo>
                  <a:lnTo>
                    <a:pt x="2" y="3"/>
                  </a:lnTo>
                  <a:lnTo>
                    <a:pt x="1" y="3"/>
                  </a:lnTo>
                  <a:lnTo>
                    <a:pt x="1" y="3"/>
                  </a:lnTo>
                  <a:lnTo>
                    <a:pt x="2" y="3"/>
                  </a:lnTo>
                  <a:lnTo>
                    <a:pt x="2" y="2"/>
                  </a:lnTo>
                  <a:lnTo>
                    <a:pt x="1" y="2"/>
                  </a:lnTo>
                  <a:lnTo>
                    <a:pt x="0" y="1"/>
                  </a:lnTo>
                  <a:lnTo>
                    <a:pt x="0" y="1"/>
                  </a:lnTo>
                  <a:lnTo>
                    <a:pt x="0" y="1"/>
                  </a:lnTo>
                  <a:lnTo>
                    <a:pt x="0" y="1"/>
                  </a:lnTo>
                  <a:lnTo>
                    <a:pt x="0" y="1"/>
                  </a:lnTo>
                  <a:lnTo>
                    <a:pt x="0" y="1"/>
                  </a:lnTo>
                  <a:lnTo>
                    <a:pt x="0" y="1"/>
                  </a:lnTo>
                  <a:lnTo>
                    <a:pt x="0" y="0"/>
                  </a:lnTo>
                  <a:lnTo>
                    <a:pt x="0" y="0"/>
                  </a:lnTo>
                  <a:lnTo>
                    <a:pt x="0" y="0"/>
                  </a:lnTo>
                  <a:lnTo>
                    <a:pt x="0" y="0"/>
                  </a:lnTo>
                  <a:lnTo>
                    <a:pt x="1" y="1"/>
                  </a:lnTo>
                  <a:lnTo>
                    <a:pt x="1" y="1"/>
                  </a:lnTo>
                  <a:lnTo>
                    <a:pt x="2" y="1"/>
                  </a:lnTo>
                  <a:lnTo>
                    <a:pt x="2" y="1"/>
                  </a:lnTo>
                  <a:lnTo>
                    <a:pt x="2" y="2"/>
                  </a:lnTo>
                  <a:lnTo>
                    <a:pt x="2" y="2"/>
                  </a:lnTo>
                  <a:lnTo>
                    <a:pt x="2" y="3"/>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7" name="Freeform 818">
              <a:extLst>
                <a:ext uri="{FF2B5EF4-FFF2-40B4-BE49-F238E27FC236}">
                  <a16:creationId xmlns:a16="http://schemas.microsoft.com/office/drawing/2014/main" id="{C79E4AC6-705D-4DA6-8BC2-A896CEC3B9D0}"/>
                </a:ext>
              </a:extLst>
            </p:cNvPr>
            <p:cNvSpPr>
              <a:spLocks/>
            </p:cNvSpPr>
            <p:nvPr/>
          </p:nvSpPr>
          <p:spPr bwMode="auto">
            <a:xfrm>
              <a:off x="6873483" y="2533880"/>
              <a:ext cx="236382" cy="193646"/>
            </a:xfrm>
            <a:custGeom>
              <a:avLst/>
              <a:gdLst>
                <a:gd name="T0" fmla="*/ 170 w 177"/>
                <a:gd name="T1" fmla="*/ 21 h 145"/>
                <a:gd name="T2" fmla="*/ 168 w 177"/>
                <a:gd name="T3" fmla="*/ 26 h 145"/>
                <a:gd name="T4" fmla="*/ 158 w 177"/>
                <a:gd name="T5" fmla="*/ 26 h 145"/>
                <a:gd name="T6" fmla="*/ 149 w 177"/>
                <a:gd name="T7" fmla="*/ 27 h 145"/>
                <a:gd name="T8" fmla="*/ 140 w 177"/>
                <a:gd name="T9" fmla="*/ 32 h 145"/>
                <a:gd name="T10" fmla="*/ 133 w 177"/>
                <a:gd name="T11" fmla="*/ 38 h 145"/>
                <a:gd name="T12" fmla="*/ 139 w 177"/>
                <a:gd name="T13" fmla="*/ 45 h 145"/>
                <a:gd name="T14" fmla="*/ 143 w 177"/>
                <a:gd name="T15" fmla="*/ 53 h 145"/>
                <a:gd name="T16" fmla="*/ 137 w 177"/>
                <a:gd name="T17" fmla="*/ 62 h 145"/>
                <a:gd name="T18" fmla="*/ 139 w 177"/>
                <a:gd name="T19" fmla="*/ 69 h 145"/>
                <a:gd name="T20" fmla="*/ 128 w 177"/>
                <a:gd name="T21" fmla="*/ 72 h 145"/>
                <a:gd name="T22" fmla="*/ 127 w 177"/>
                <a:gd name="T23" fmla="*/ 76 h 145"/>
                <a:gd name="T24" fmla="*/ 129 w 177"/>
                <a:gd name="T25" fmla="*/ 84 h 145"/>
                <a:gd name="T26" fmla="*/ 122 w 177"/>
                <a:gd name="T27" fmla="*/ 90 h 145"/>
                <a:gd name="T28" fmla="*/ 122 w 177"/>
                <a:gd name="T29" fmla="*/ 100 h 145"/>
                <a:gd name="T30" fmla="*/ 117 w 177"/>
                <a:gd name="T31" fmla="*/ 109 h 145"/>
                <a:gd name="T32" fmla="*/ 113 w 177"/>
                <a:gd name="T33" fmla="*/ 108 h 145"/>
                <a:gd name="T34" fmla="*/ 103 w 177"/>
                <a:gd name="T35" fmla="*/ 110 h 145"/>
                <a:gd name="T36" fmla="*/ 102 w 177"/>
                <a:gd name="T37" fmla="*/ 115 h 145"/>
                <a:gd name="T38" fmla="*/ 93 w 177"/>
                <a:gd name="T39" fmla="*/ 115 h 145"/>
                <a:gd name="T40" fmla="*/ 88 w 177"/>
                <a:gd name="T41" fmla="*/ 127 h 145"/>
                <a:gd name="T42" fmla="*/ 85 w 177"/>
                <a:gd name="T43" fmla="*/ 138 h 145"/>
                <a:gd name="T44" fmla="*/ 68 w 177"/>
                <a:gd name="T45" fmla="*/ 141 h 145"/>
                <a:gd name="T46" fmla="*/ 50 w 177"/>
                <a:gd name="T47" fmla="*/ 143 h 145"/>
                <a:gd name="T48" fmla="*/ 37 w 177"/>
                <a:gd name="T49" fmla="*/ 144 h 145"/>
                <a:gd name="T50" fmla="*/ 23 w 177"/>
                <a:gd name="T51" fmla="*/ 139 h 145"/>
                <a:gd name="T52" fmla="*/ 21 w 177"/>
                <a:gd name="T53" fmla="*/ 131 h 145"/>
                <a:gd name="T54" fmla="*/ 25 w 177"/>
                <a:gd name="T55" fmla="*/ 117 h 145"/>
                <a:gd name="T56" fmla="*/ 12 w 177"/>
                <a:gd name="T57" fmla="*/ 111 h 145"/>
                <a:gd name="T58" fmla="*/ 10 w 177"/>
                <a:gd name="T59" fmla="*/ 101 h 145"/>
                <a:gd name="T60" fmla="*/ 4 w 177"/>
                <a:gd name="T61" fmla="*/ 84 h 145"/>
                <a:gd name="T62" fmla="*/ 2 w 177"/>
                <a:gd name="T63" fmla="*/ 79 h 145"/>
                <a:gd name="T64" fmla="*/ 3 w 177"/>
                <a:gd name="T65" fmla="*/ 67 h 145"/>
                <a:gd name="T66" fmla="*/ 3 w 177"/>
                <a:gd name="T67" fmla="*/ 61 h 145"/>
                <a:gd name="T68" fmla="*/ 4 w 177"/>
                <a:gd name="T69" fmla="*/ 52 h 145"/>
                <a:gd name="T70" fmla="*/ 10 w 177"/>
                <a:gd name="T71" fmla="*/ 49 h 145"/>
                <a:gd name="T72" fmla="*/ 19 w 177"/>
                <a:gd name="T73" fmla="*/ 53 h 145"/>
                <a:gd name="T74" fmla="*/ 29 w 177"/>
                <a:gd name="T75" fmla="*/ 48 h 145"/>
                <a:gd name="T76" fmla="*/ 33 w 177"/>
                <a:gd name="T77" fmla="*/ 40 h 145"/>
                <a:gd name="T78" fmla="*/ 43 w 177"/>
                <a:gd name="T79" fmla="*/ 37 h 145"/>
                <a:gd name="T80" fmla="*/ 46 w 177"/>
                <a:gd name="T81" fmla="*/ 25 h 145"/>
                <a:gd name="T82" fmla="*/ 56 w 177"/>
                <a:gd name="T83" fmla="*/ 16 h 145"/>
                <a:gd name="T84" fmla="*/ 67 w 177"/>
                <a:gd name="T85" fmla="*/ 19 h 145"/>
                <a:gd name="T86" fmla="*/ 76 w 177"/>
                <a:gd name="T87" fmla="*/ 20 h 145"/>
                <a:gd name="T88" fmla="*/ 86 w 177"/>
                <a:gd name="T89" fmla="*/ 24 h 145"/>
                <a:gd name="T90" fmla="*/ 93 w 177"/>
                <a:gd name="T91" fmla="*/ 21 h 145"/>
                <a:gd name="T92" fmla="*/ 100 w 177"/>
                <a:gd name="T93" fmla="*/ 19 h 145"/>
                <a:gd name="T94" fmla="*/ 104 w 177"/>
                <a:gd name="T95" fmla="*/ 19 h 145"/>
                <a:gd name="T96" fmla="*/ 110 w 177"/>
                <a:gd name="T97" fmla="*/ 14 h 145"/>
                <a:gd name="T98" fmla="*/ 113 w 177"/>
                <a:gd name="T99" fmla="*/ 10 h 145"/>
                <a:gd name="T100" fmla="*/ 116 w 177"/>
                <a:gd name="T101" fmla="*/ 3 h 145"/>
                <a:gd name="T102" fmla="*/ 124 w 177"/>
                <a:gd name="T103" fmla="*/ 3 h 145"/>
                <a:gd name="T104" fmla="*/ 131 w 177"/>
                <a:gd name="T105" fmla="*/ 10 h 145"/>
                <a:gd name="T106" fmla="*/ 131 w 177"/>
                <a:gd name="T107" fmla="*/ 20 h 145"/>
                <a:gd name="T108" fmla="*/ 138 w 177"/>
                <a:gd name="T109" fmla="*/ 30 h 145"/>
                <a:gd name="T110" fmla="*/ 149 w 177"/>
                <a:gd name="T111" fmla="*/ 20 h 145"/>
                <a:gd name="T112" fmla="*/ 161 w 177"/>
                <a:gd name="T113" fmla="*/ 19 h 145"/>
                <a:gd name="T114" fmla="*/ 167 w 177"/>
                <a:gd name="T115" fmla="*/ 1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7" h="145">
                  <a:moveTo>
                    <a:pt x="177" y="20"/>
                  </a:moveTo>
                  <a:lnTo>
                    <a:pt x="175" y="20"/>
                  </a:lnTo>
                  <a:lnTo>
                    <a:pt x="175" y="21"/>
                  </a:lnTo>
                  <a:lnTo>
                    <a:pt x="175" y="20"/>
                  </a:lnTo>
                  <a:lnTo>
                    <a:pt x="174" y="19"/>
                  </a:lnTo>
                  <a:lnTo>
                    <a:pt x="174" y="20"/>
                  </a:lnTo>
                  <a:lnTo>
                    <a:pt x="173" y="20"/>
                  </a:lnTo>
                  <a:lnTo>
                    <a:pt x="172" y="20"/>
                  </a:lnTo>
                  <a:lnTo>
                    <a:pt x="171" y="20"/>
                  </a:lnTo>
                  <a:lnTo>
                    <a:pt x="171" y="21"/>
                  </a:lnTo>
                  <a:lnTo>
                    <a:pt x="170" y="21"/>
                  </a:lnTo>
                  <a:lnTo>
                    <a:pt x="171" y="23"/>
                  </a:lnTo>
                  <a:lnTo>
                    <a:pt x="172" y="23"/>
                  </a:lnTo>
                  <a:lnTo>
                    <a:pt x="172" y="24"/>
                  </a:lnTo>
                  <a:lnTo>
                    <a:pt x="173" y="24"/>
                  </a:lnTo>
                  <a:lnTo>
                    <a:pt x="173" y="25"/>
                  </a:lnTo>
                  <a:lnTo>
                    <a:pt x="172" y="24"/>
                  </a:lnTo>
                  <a:lnTo>
                    <a:pt x="171" y="24"/>
                  </a:lnTo>
                  <a:lnTo>
                    <a:pt x="171" y="25"/>
                  </a:lnTo>
                  <a:lnTo>
                    <a:pt x="170" y="25"/>
                  </a:lnTo>
                  <a:lnTo>
                    <a:pt x="170" y="26"/>
                  </a:lnTo>
                  <a:lnTo>
                    <a:pt x="168" y="26"/>
                  </a:lnTo>
                  <a:lnTo>
                    <a:pt x="167" y="26"/>
                  </a:lnTo>
                  <a:lnTo>
                    <a:pt x="168" y="27"/>
                  </a:lnTo>
                  <a:lnTo>
                    <a:pt x="167" y="27"/>
                  </a:lnTo>
                  <a:lnTo>
                    <a:pt x="166" y="27"/>
                  </a:lnTo>
                  <a:lnTo>
                    <a:pt x="165" y="26"/>
                  </a:lnTo>
                  <a:lnTo>
                    <a:pt x="164" y="26"/>
                  </a:lnTo>
                  <a:lnTo>
                    <a:pt x="163" y="26"/>
                  </a:lnTo>
                  <a:lnTo>
                    <a:pt x="161" y="26"/>
                  </a:lnTo>
                  <a:lnTo>
                    <a:pt x="160" y="26"/>
                  </a:lnTo>
                  <a:lnTo>
                    <a:pt x="159" y="26"/>
                  </a:lnTo>
                  <a:lnTo>
                    <a:pt x="158" y="26"/>
                  </a:lnTo>
                  <a:lnTo>
                    <a:pt x="157" y="26"/>
                  </a:lnTo>
                  <a:lnTo>
                    <a:pt x="156" y="26"/>
                  </a:lnTo>
                  <a:lnTo>
                    <a:pt x="154" y="26"/>
                  </a:lnTo>
                  <a:lnTo>
                    <a:pt x="153" y="26"/>
                  </a:lnTo>
                  <a:lnTo>
                    <a:pt x="153" y="27"/>
                  </a:lnTo>
                  <a:lnTo>
                    <a:pt x="153" y="26"/>
                  </a:lnTo>
                  <a:lnTo>
                    <a:pt x="152" y="26"/>
                  </a:lnTo>
                  <a:lnTo>
                    <a:pt x="152" y="27"/>
                  </a:lnTo>
                  <a:lnTo>
                    <a:pt x="151" y="27"/>
                  </a:lnTo>
                  <a:lnTo>
                    <a:pt x="150" y="27"/>
                  </a:lnTo>
                  <a:lnTo>
                    <a:pt x="149" y="27"/>
                  </a:lnTo>
                  <a:lnTo>
                    <a:pt x="147" y="27"/>
                  </a:lnTo>
                  <a:lnTo>
                    <a:pt x="146" y="28"/>
                  </a:lnTo>
                  <a:lnTo>
                    <a:pt x="145" y="28"/>
                  </a:lnTo>
                  <a:lnTo>
                    <a:pt x="144" y="28"/>
                  </a:lnTo>
                  <a:lnTo>
                    <a:pt x="143" y="28"/>
                  </a:lnTo>
                  <a:lnTo>
                    <a:pt x="143" y="30"/>
                  </a:lnTo>
                  <a:lnTo>
                    <a:pt x="144" y="30"/>
                  </a:lnTo>
                  <a:lnTo>
                    <a:pt x="143" y="30"/>
                  </a:lnTo>
                  <a:lnTo>
                    <a:pt x="142" y="30"/>
                  </a:lnTo>
                  <a:lnTo>
                    <a:pt x="142" y="31"/>
                  </a:lnTo>
                  <a:lnTo>
                    <a:pt x="140" y="32"/>
                  </a:lnTo>
                  <a:lnTo>
                    <a:pt x="139" y="32"/>
                  </a:lnTo>
                  <a:lnTo>
                    <a:pt x="139" y="33"/>
                  </a:lnTo>
                  <a:lnTo>
                    <a:pt x="139" y="34"/>
                  </a:lnTo>
                  <a:lnTo>
                    <a:pt x="138" y="33"/>
                  </a:lnTo>
                  <a:lnTo>
                    <a:pt x="137" y="33"/>
                  </a:lnTo>
                  <a:lnTo>
                    <a:pt x="137" y="34"/>
                  </a:lnTo>
                  <a:lnTo>
                    <a:pt x="137" y="35"/>
                  </a:lnTo>
                  <a:lnTo>
                    <a:pt x="136" y="35"/>
                  </a:lnTo>
                  <a:lnTo>
                    <a:pt x="135" y="37"/>
                  </a:lnTo>
                  <a:lnTo>
                    <a:pt x="135" y="38"/>
                  </a:lnTo>
                  <a:lnTo>
                    <a:pt x="133" y="38"/>
                  </a:lnTo>
                  <a:lnTo>
                    <a:pt x="133" y="39"/>
                  </a:lnTo>
                  <a:lnTo>
                    <a:pt x="132" y="39"/>
                  </a:lnTo>
                  <a:lnTo>
                    <a:pt x="132" y="40"/>
                  </a:lnTo>
                  <a:lnTo>
                    <a:pt x="133" y="40"/>
                  </a:lnTo>
                  <a:lnTo>
                    <a:pt x="135" y="40"/>
                  </a:lnTo>
                  <a:lnTo>
                    <a:pt x="135" y="41"/>
                  </a:lnTo>
                  <a:lnTo>
                    <a:pt x="136" y="41"/>
                  </a:lnTo>
                  <a:lnTo>
                    <a:pt x="137" y="42"/>
                  </a:lnTo>
                  <a:lnTo>
                    <a:pt x="138" y="44"/>
                  </a:lnTo>
                  <a:lnTo>
                    <a:pt x="138" y="45"/>
                  </a:lnTo>
                  <a:lnTo>
                    <a:pt x="139" y="45"/>
                  </a:lnTo>
                  <a:lnTo>
                    <a:pt x="138" y="46"/>
                  </a:lnTo>
                  <a:lnTo>
                    <a:pt x="139" y="46"/>
                  </a:lnTo>
                  <a:lnTo>
                    <a:pt x="139" y="47"/>
                  </a:lnTo>
                  <a:lnTo>
                    <a:pt x="140" y="47"/>
                  </a:lnTo>
                  <a:lnTo>
                    <a:pt x="140" y="48"/>
                  </a:lnTo>
                  <a:lnTo>
                    <a:pt x="142" y="49"/>
                  </a:lnTo>
                  <a:lnTo>
                    <a:pt x="140" y="51"/>
                  </a:lnTo>
                  <a:lnTo>
                    <a:pt x="140" y="52"/>
                  </a:lnTo>
                  <a:lnTo>
                    <a:pt x="142" y="52"/>
                  </a:lnTo>
                  <a:lnTo>
                    <a:pt x="142" y="53"/>
                  </a:lnTo>
                  <a:lnTo>
                    <a:pt x="143" y="53"/>
                  </a:lnTo>
                  <a:lnTo>
                    <a:pt x="142" y="54"/>
                  </a:lnTo>
                  <a:lnTo>
                    <a:pt x="140" y="54"/>
                  </a:lnTo>
                  <a:lnTo>
                    <a:pt x="142" y="55"/>
                  </a:lnTo>
                  <a:lnTo>
                    <a:pt x="142" y="56"/>
                  </a:lnTo>
                  <a:lnTo>
                    <a:pt x="140" y="56"/>
                  </a:lnTo>
                  <a:lnTo>
                    <a:pt x="139" y="58"/>
                  </a:lnTo>
                  <a:lnTo>
                    <a:pt x="139" y="59"/>
                  </a:lnTo>
                  <a:lnTo>
                    <a:pt x="138" y="59"/>
                  </a:lnTo>
                  <a:lnTo>
                    <a:pt x="138" y="60"/>
                  </a:lnTo>
                  <a:lnTo>
                    <a:pt x="137" y="61"/>
                  </a:lnTo>
                  <a:lnTo>
                    <a:pt x="137" y="62"/>
                  </a:lnTo>
                  <a:lnTo>
                    <a:pt x="137" y="63"/>
                  </a:lnTo>
                  <a:lnTo>
                    <a:pt x="137" y="62"/>
                  </a:lnTo>
                  <a:lnTo>
                    <a:pt x="136" y="62"/>
                  </a:lnTo>
                  <a:lnTo>
                    <a:pt x="136" y="63"/>
                  </a:lnTo>
                  <a:lnTo>
                    <a:pt x="136" y="65"/>
                  </a:lnTo>
                  <a:lnTo>
                    <a:pt x="137" y="65"/>
                  </a:lnTo>
                  <a:lnTo>
                    <a:pt x="138" y="66"/>
                  </a:lnTo>
                  <a:lnTo>
                    <a:pt x="139" y="67"/>
                  </a:lnTo>
                  <a:lnTo>
                    <a:pt x="138" y="67"/>
                  </a:lnTo>
                  <a:lnTo>
                    <a:pt x="139" y="68"/>
                  </a:lnTo>
                  <a:lnTo>
                    <a:pt x="139" y="69"/>
                  </a:lnTo>
                  <a:lnTo>
                    <a:pt x="139" y="70"/>
                  </a:lnTo>
                  <a:lnTo>
                    <a:pt x="138" y="72"/>
                  </a:lnTo>
                  <a:lnTo>
                    <a:pt x="137" y="72"/>
                  </a:lnTo>
                  <a:lnTo>
                    <a:pt x="137" y="73"/>
                  </a:lnTo>
                  <a:lnTo>
                    <a:pt x="136" y="73"/>
                  </a:lnTo>
                  <a:lnTo>
                    <a:pt x="133" y="73"/>
                  </a:lnTo>
                  <a:lnTo>
                    <a:pt x="132" y="73"/>
                  </a:lnTo>
                  <a:lnTo>
                    <a:pt x="131" y="73"/>
                  </a:lnTo>
                  <a:lnTo>
                    <a:pt x="130" y="73"/>
                  </a:lnTo>
                  <a:lnTo>
                    <a:pt x="129" y="72"/>
                  </a:lnTo>
                  <a:lnTo>
                    <a:pt x="128" y="72"/>
                  </a:lnTo>
                  <a:lnTo>
                    <a:pt x="125" y="70"/>
                  </a:lnTo>
                  <a:lnTo>
                    <a:pt x="124" y="70"/>
                  </a:lnTo>
                  <a:lnTo>
                    <a:pt x="124" y="72"/>
                  </a:lnTo>
                  <a:lnTo>
                    <a:pt x="123" y="72"/>
                  </a:lnTo>
                  <a:lnTo>
                    <a:pt x="124" y="72"/>
                  </a:lnTo>
                  <a:lnTo>
                    <a:pt x="123" y="73"/>
                  </a:lnTo>
                  <a:lnTo>
                    <a:pt x="124" y="73"/>
                  </a:lnTo>
                  <a:lnTo>
                    <a:pt x="124" y="74"/>
                  </a:lnTo>
                  <a:lnTo>
                    <a:pt x="125" y="75"/>
                  </a:lnTo>
                  <a:lnTo>
                    <a:pt x="125" y="76"/>
                  </a:lnTo>
                  <a:lnTo>
                    <a:pt x="127" y="76"/>
                  </a:lnTo>
                  <a:lnTo>
                    <a:pt x="128" y="76"/>
                  </a:lnTo>
                  <a:lnTo>
                    <a:pt x="128" y="77"/>
                  </a:lnTo>
                  <a:lnTo>
                    <a:pt x="129" y="77"/>
                  </a:lnTo>
                  <a:lnTo>
                    <a:pt x="129" y="79"/>
                  </a:lnTo>
                  <a:lnTo>
                    <a:pt x="129" y="80"/>
                  </a:lnTo>
                  <a:lnTo>
                    <a:pt x="130" y="80"/>
                  </a:lnTo>
                  <a:lnTo>
                    <a:pt x="130" y="81"/>
                  </a:lnTo>
                  <a:lnTo>
                    <a:pt x="131" y="81"/>
                  </a:lnTo>
                  <a:lnTo>
                    <a:pt x="131" y="82"/>
                  </a:lnTo>
                  <a:lnTo>
                    <a:pt x="130" y="84"/>
                  </a:lnTo>
                  <a:lnTo>
                    <a:pt x="129" y="84"/>
                  </a:lnTo>
                  <a:lnTo>
                    <a:pt x="129" y="86"/>
                  </a:lnTo>
                  <a:lnTo>
                    <a:pt x="128" y="86"/>
                  </a:lnTo>
                  <a:lnTo>
                    <a:pt x="127" y="86"/>
                  </a:lnTo>
                  <a:lnTo>
                    <a:pt x="125" y="86"/>
                  </a:lnTo>
                  <a:lnTo>
                    <a:pt x="124" y="87"/>
                  </a:lnTo>
                  <a:lnTo>
                    <a:pt x="124" y="86"/>
                  </a:lnTo>
                  <a:lnTo>
                    <a:pt x="123" y="87"/>
                  </a:lnTo>
                  <a:lnTo>
                    <a:pt x="122" y="87"/>
                  </a:lnTo>
                  <a:lnTo>
                    <a:pt x="122" y="88"/>
                  </a:lnTo>
                  <a:lnTo>
                    <a:pt x="122" y="89"/>
                  </a:lnTo>
                  <a:lnTo>
                    <a:pt x="122" y="90"/>
                  </a:lnTo>
                  <a:lnTo>
                    <a:pt x="122" y="91"/>
                  </a:lnTo>
                  <a:lnTo>
                    <a:pt x="121" y="91"/>
                  </a:lnTo>
                  <a:lnTo>
                    <a:pt x="122" y="91"/>
                  </a:lnTo>
                  <a:lnTo>
                    <a:pt x="122" y="93"/>
                  </a:lnTo>
                  <a:lnTo>
                    <a:pt x="122" y="94"/>
                  </a:lnTo>
                  <a:lnTo>
                    <a:pt x="122" y="95"/>
                  </a:lnTo>
                  <a:lnTo>
                    <a:pt x="121" y="95"/>
                  </a:lnTo>
                  <a:lnTo>
                    <a:pt x="121" y="96"/>
                  </a:lnTo>
                  <a:lnTo>
                    <a:pt x="121" y="97"/>
                  </a:lnTo>
                  <a:lnTo>
                    <a:pt x="122" y="98"/>
                  </a:lnTo>
                  <a:lnTo>
                    <a:pt x="122" y="100"/>
                  </a:lnTo>
                  <a:lnTo>
                    <a:pt x="122" y="101"/>
                  </a:lnTo>
                  <a:lnTo>
                    <a:pt x="122" y="103"/>
                  </a:lnTo>
                  <a:lnTo>
                    <a:pt x="123" y="104"/>
                  </a:lnTo>
                  <a:lnTo>
                    <a:pt x="122" y="105"/>
                  </a:lnTo>
                  <a:lnTo>
                    <a:pt x="121" y="108"/>
                  </a:lnTo>
                  <a:lnTo>
                    <a:pt x="121" y="109"/>
                  </a:lnTo>
                  <a:lnTo>
                    <a:pt x="120" y="109"/>
                  </a:lnTo>
                  <a:lnTo>
                    <a:pt x="118" y="109"/>
                  </a:lnTo>
                  <a:lnTo>
                    <a:pt x="118" y="110"/>
                  </a:lnTo>
                  <a:lnTo>
                    <a:pt x="117" y="110"/>
                  </a:lnTo>
                  <a:lnTo>
                    <a:pt x="117" y="109"/>
                  </a:lnTo>
                  <a:lnTo>
                    <a:pt x="116" y="109"/>
                  </a:lnTo>
                  <a:lnTo>
                    <a:pt x="116" y="108"/>
                  </a:lnTo>
                  <a:lnTo>
                    <a:pt x="116" y="107"/>
                  </a:lnTo>
                  <a:lnTo>
                    <a:pt x="115" y="107"/>
                  </a:lnTo>
                  <a:lnTo>
                    <a:pt x="114" y="107"/>
                  </a:lnTo>
                  <a:lnTo>
                    <a:pt x="113" y="107"/>
                  </a:lnTo>
                  <a:lnTo>
                    <a:pt x="111" y="107"/>
                  </a:lnTo>
                  <a:lnTo>
                    <a:pt x="113" y="107"/>
                  </a:lnTo>
                  <a:lnTo>
                    <a:pt x="114" y="107"/>
                  </a:lnTo>
                  <a:lnTo>
                    <a:pt x="114" y="108"/>
                  </a:lnTo>
                  <a:lnTo>
                    <a:pt x="113" y="108"/>
                  </a:lnTo>
                  <a:lnTo>
                    <a:pt x="111" y="107"/>
                  </a:lnTo>
                  <a:lnTo>
                    <a:pt x="110" y="107"/>
                  </a:lnTo>
                  <a:lnTo>
                    <a:pt x="109" y="107"/>
                  </a:lnTo>
                  <a:lnTo>
                    <a:pt x="108" y="107"/>
                  </a:lnTo>
                  <a:lnTo>
                    <a:pt x="108" y="108"/>
                  </a:lnTo>
                  <a:lnTo>
                    <a:pt x="107" y="108"/>
                  </a:lnTo>
                  <a:lnTo>
                    <a:pt x="107" y="109"/>
                  </a:lnTo>
                  <a:lnTo>
                    <a:pt x="106" y="109"/>
                  </a:lnTo>
                  <a:lnTo>
                    <a:pt x="104" y="109"/>
                  </a:lnTo>
                  <a:lnTo>
                    <a:pt x="104" y="110"/>
                  </a:lnTo>
                  <a:lnTo>
                    <a:pt x="103" y="110"/>
                  </a:lnTo>
                  <a:lnTo>
                    <a:pt x="103" y="111"/>
                  </a:lnTo>
                  <a:lnTo>
                    <a:pt x="102" y="111"/>
                  </a:lnTo>
                  <a:lnTo>
                    <a:pt x="101" y="111"/>
                  </a:lnTo>
                  <a:lnTo>
                    <a:pt x="102" y="111"/>
                  </a:lnTo>
                  <a:lnTo>
                    <a:pt x="102" y="112"/>
                  </a:lnTo>
                  <a:lnTo>
                    <a:pt x="103" y="112"/>
                  </a:lnTo>
                  <a:lnTo>
                    <a:pt x="104" y="112"/>
                  </a:lnTo>
                  <a:lnTo>
                    <a:pt x="104" y="113"/>
                  </a:lnTo>
                  <a:lnTo>
                    <a:pt x="103" y="113"/>
                  </a:lnTo>
                  <a:lnTo>
                    <a:pt x="103" y="115"/>
                  </a:lnTo>
                  <a:lnTo>
                    <a:pt x="102" y="115"/>
                  </a:lnTo>
                  <a:lnTo>
                    <a:pt x="101" y="115"/>
                  </a:lnTo>
                  <a:lnTo>
                    <a:pt x="101" y="116"/>
                  </a:lnTo>
                  <a:lnTo>
                    <a:pt x="100" y="116"/>
                  </a:lnTo>
                  <a:lnTo>
                    <a:pt x="99" y="116"/>
                  </a:lnTo>
                  <a:lnTo>
                    <a:pt x="97" y="116"/>
                  </a:lnTo>
                  <a:lnTo>
                    <a:pt x="96" y="116"/>
                  </a:lnTo>
                  <a:lnTo>
                    <a:pt x="96" y="115"/>
                  </a:lnTo>
                  <a:lnTo>
                    <a:pt x="95" y="116"/>
                  </a:lnTo>
                  <a:lnTo>
                    <a:pt x="95" y="115"/>
                  </a:lnTo>
                  <a:lnTo>
                    <a:pt x="94" y="113"/>
                  </a:lnTo>
                  <a:lnTo>
                    <a:pt x="93" y="115"/>
                  </a:lnTo>
                  <a:lnTo>
                    <a:pt x="92" y="115"/>
                  </a:lnTo>
                  <a:lnTo>
                    <a:pt x="92" y="116"/>
                  </a:lnTo>
                  <a:lnTo>
                    <a:pt x="90" y="116"/>
                  </a:lnTo>
                  <a:lnTo>
                    <a:pt x="90" y="118"/>
                  </a:lnTo>
                  <a:lnTo>
                    <a:pt x="89" y="119"/>
                  </a:lnTo>
                  <a:lnTo>
                    <a:pt x="87" y="119"/>
                  </a:lnTo>
                  <a:lnTo>
                    <a:pt x="87" y="120"/>
                  </a:lnTo>
                  <a:lnTo>
                    <a:pt x="87" y="125"/>
                  </a:lnTo>
                  <a:lnTo>
                    <a:pt x="87" y="126"/>
                  </a:lnTo>
                  <a:lnTo>
                    <a:pt x="87" y="127"/>
                  </a:lnTo>
                  <a:lnTo>
                    <a:pt x="88" y="127"/>
                  </a:lnTo>
                  <a:lnTo>
                    <a:pt x="88" y="130"/>
                  </a:lnTo>
                  <a:lnTo>
                    <a:pt x="88" y="131"/>
                  </a:lnTo>
                  <a:lnTo>
                    <a:pt x="88" y="133"/>
                  </a:lnTo>
                  <a:lnTo>
                    <a:pt x="88" y="134"/>
                  </a:lnTo>
                  <a:lnTo>
                    <a:pt x="89" y="134"/>
                  </a:lnTo>
                  <a:lnTo>
                    <a:pt x="89" y="136"/>
                  </a:lnTo>
                  <a:lnTo>
                    <a:pt x="89" y="137"/>
                  </a:lnTo>
                  <a:lnTo>
                    <a:pt x="88" y="138"/>
                  </a:lnTo>
                  <a:lnTo>
                    <a:pt x="87" y="138"/>
                  </a:lnTo>
                  <a:lnTo>
                    <a:pt x="86" y="138"/>
                  </a:lnTo>
                  <a:lnTo>
                    <a:pt x="85" y="138"/>
                  </a:lnTo>
                  <a:lnTo>
                    <a:pt x="83" y="139"/>
                  </a:lnTo>
                  <a:lnTo>
                    <a:pt x="82" y="139"/>
                  </a:lnTo>
                  <a:lnTo>
                    <a:pt x="81" y="139"/>
                  </a:lnTo>
                  <a:lnTo>
                    <a:pt x="80" y="140"/>
                  </a:lnTo>
                  <a:lnTo>
                    <a:pt x="79" y="140"/>
                  </a:lnTo>
                  <a:lnTo>
                    <a:pt x="78" y="140"/>
                  </a:lnTo>
                  <a:lnTo>
                    <a:pt x="76" y="141"/>
                  </a:lnTo>
                  <a:lnTo>
                    <a:pt x="75" y="141"/>
                  </a:lnTo>
                  <a:lnTo>
                    <a:pt x="73" y="143"/>
                  </a:lnTo>
                  <a:lnTo>
                    <a:pt x="71" y="141"/>
                  </a:lnTo>
                  <a:lnTo>
                    <a:pt x="68" y="141"/>
                  </a:lnTo>
                  <a:lnTo>
                    <a:pt x="66" y="141"/>
                  </a:lnTo>
                  <a:lnTo>
                    <a:pt x="63" y="143"/>
                  </a:lnTo>
                  <a:lnTo>
                    <a:pt x="61" y="143"/>
                  </a:lnTo>
                  <a:lnTo>
                    <a:pt x="61" y="144"/>
                  </a:lnTo>
                  <a:lnTo>
                    <a:pt x="61" y="145"/>
                  </a:lnTo>
                  <a:lnTo>
                    <a:pt x="59" y="144"/>
                  </a:lnTo>
                  <a:lnTo>
                    <a:pt x="57" y="144"/>
                  </a:lnTo>
                  <a:lnTo>
                    <a:pt x="53" y="143"/>
                  </a:lnTo>
                  <a:lnTo>
                    <a:pt x="52" y="143"/>
                  </a:lnTo>
                  <a:lnTo>
                    <a:pt x="51" y="143"/>
                  </a:lnTo>
                  <a:lnTo>
                    <a:pt x="50" y="143"/>
                  </a:lnTo>
                  <a:lnTo>
                    <a:pt x="49" y="144"/>
                  </a:lnTo>
                  <a:lnTo>
                    <a:pt x="47" y="144"/>
                  </a:lnTo>
                  <a:lnTo>
                    <a:pt x="46" y="144"/>
                  </a:lnTo>
                  <a:lnTo>
                    <a:pt x="45" y="144"/>
                  </a:lnTo>
                  <a:lnTo>
                    <a:pt x="44" y="144"/>
                  </a:lnTo>
                  <a:lnTo>
                    <a:pt x="43" y="144"/>
                  </a:lnTo>
                  <a:lnTo>
                    <a:pt x="42" y="144"/>
                  </a:lnTo>
                  <a:lnTo>
                    <a:pt x="40" y="144"/>
                  </a:lnTo>
                  <a:lnTo>
                    <a:pt x="39" y="144"/>
                  </a:lnTo>
                  <a:lnTo>
                    <a:pt x="38" y="144"/>
                  </a:lnTo>
                  <a:lnTo>
                    <a:pt x="37" y="144"/>
                  </a:lnTo>
                  <a:lnTo>
                    <a:pt x="36" y="143"/>
                  </a:lnTo>
                  <a:lnTo>
                    <a:pt x="35" y="143"/>
                  </a:lnTo>
                  <a:lnTo>
                    <a:pt x="33" y="143"/>
                  </a:lnTo>
                  <a:lnTo>
                    <a:pt x="32" y="141"/>
                  </a:lnTo>
                  <a:lnTo>
                    <a:pt x="31" y="141"/>
                  </a:lnTo>
                  <a:lnTo>
                    <a:pt x="30" y="141"/>
                  </a:lnTo>
                  <a:lnTo>
                    <a:pt x="28" y="141"/>
                  </a:lnTo>
                  <a:lnTo>
                    <a:pt x="26" y="140"/>
                  </a:lnTo>
                  <a:lnTo>
                    <a:pt x="25" y="140"/>
                  </a:lnTo>
                  <a:lnTo>
                    <a:pt x="24" y="140"/>
                  </a:lnTo>
                  <a:lnTo>
                    <a:pt x="23" y="139"/>
                  </a:lnTo>
                  <a:lnTo>
                    <a:pt x="22" y="139"/>
                  </a:lnTo>
                  <a:lnTo>
                    <a:pt x="21" y="139"/>
                  </a:lnTo>
                  <a:lnTo>
                    <a:pt x="19" y="138"/>
                  </a:lnTo>
                  <a:lnTo>
                    <a:pt x="18" y="138"/>
                  </a:lnTo>
                  <a:lnTo>
                    <a:pt x="17" y="138"/>
                  </a:lnTo>
                  <a:lnTo>
                    <a:pt x="17" y="137"/>
                  </a:lnTo>
                  <a:lnTo>
                    <a:pt x="16" y="137"/>
                  </a:lnTo>
                  <a:lnTo>
                    <a:pt x="17" y="136"/>
                  </a:lnTo>
                  <a:lnTo>
                    <a:pt x="17" y="134"/>
                  </a:lnTo>
                  <a:lnTo>
                    <a:pt x="19" y="132"/>
                  </a:lnTo>
                  <a:lnTo>
                    <a:pt x="21" y="131"/>
                  </a:lnTo>
                  <a:lnTo>
                    <a:pt x="21" y="130"/>
                  </a:lnTo>
                  <a:lnTo>
                    <a:pt x="22" y="129"/>
                  </a:lnTo>
                  <a:lnTo>
                    <a:pt x="23" y="127"/>
                  </a:lnTo>
                  <a:lnTo>
                    <a:pt x="24" y="125"/>
                  </a:lnTo>
                  <a:lnTo>
                    <a:pt x="25" y="123"/>
                  </a:lnTo>
                  <a:lnTo>
                    <a:pt x="26" y="122"/>
                  </a:lnTo>
                  <a:lnTo>
                    <a:pt x="26" y="120"/>
                  </a:lnTo>
                  <a:lnTo>
                    <a:pt x="26" y="119"/>
                  </a:lnTo>
                  <a:lnTo>
                    <a:pt x="26" y="118"/>
                  </a:lnTo>
                  <a:lnTo>
                    <a:pt x="25" y="118"/>
                  </a:lnTo>
                  <a:lnTo>
                    <a:pt x="25" y="117"/>
                  </a:lnTo>
                  <a:lnTo>
                    <a:pt x="25" y="116"/>
                  </a:lnTo>
                  <a:lnTo>
                    <a:pt x="24" y="116"/>
                  </a:lnTo>
                  <a:lnTo>
                    <a:pt x="24" y="115"/>
                  </a:lnTo>
                  <a:lnTo>
                    <a:pt x="24" y="113"/>
                  </a:lnTo>
                  <a:lnTo>
                    <a:pt x="23" y="113"/>
                  </a:lnTo>
                  <a:lnTo>
                    <a:pt x="22" y="112"/>
                  </a:lnTo>
                  <a:lnTo>
                    <a:pt x="21" y="112"/>
                  </a:lnTo>
                  <a:lnTo>
                    <a:pt x="18" y="112"/>
                  </a:lnTo>
                  <a:lnTo>
                    <a:pt x="16" y="112"/>
                  </a:lnTo>
                  <a:lnTo>
                    <a:pt x="14" y="111"/>
                  </a:lnTo>
                  <a:lnTo>
                    <a:pt x="12" y="111"/>
                  </a:lnTo>
                  <a:lnTo>
                    <a:pt x="11" y="111"/>
                  </a:lnTo>
                  <a:lnTo>
                    <a:pt x="11" y="110"/>
                  </a:lnTo>
                  <a:lnTo>
                    <a:pt x="10" y="109"/>
                  </a:lnTo>
                  <a:lnTo>
                    <a:pt x="10" y="108"/>
                  </a:lnTo>
                  <a:lnTo>
                    <a:pt x="10" y="107"/>
                  </a:lnTo>
                  <a:lnTo>
                    <a:pt x="10" y="105"/>
                  </a:lnTo>
                  <a:lnTo>
                    <a:pt x="10" y="104"/>
                  </a:lnTo>
                  <a:lnTo>
                    <a:pt x="10" y="103"/>
                  </a:lnTo>
                  <a:lnTo>
                    <a:pt x="9" y="103"/>
                  </a:lnTo>
                  <a:lnTo>
                    <a:pt x="10" y="102"/>
                  </a:lnTo>
                  <a:lnTo>
                    <a:pt x="10" y="101"/>
                  </a:lnTo>
                  <a:lnTo>
                    <a:pt x="9" y="100"/>
                  </a:lnTo>
                  <a:lnTo>
                    <a:pt x="9" y="97"/>
                  </a:lnTo>
                  <a:lnTo>
                    <a:pt x="8" y="95"/>
                  </a:lnTo>
                  <a:lnTo>
                    <a:pt x="7" y="94"/>
                  </a:lnTo>
                  <a:lnTo>
                    <a:pt x="5" y="91"/>
                  </a:lnTo>
                  <a:lnTo>
                    <a:pt x="5" y="90"/>
                  </a:lnTo>
                  <a:lnTo>
                    <a:pt x="4" y="89"/>
                  </a:lnTo>
                  <a:lnTo>
                    <a:pt x="4" y="88"/>
                  </a:lnTo>
                  <a:lnTo>
                    <a:pt x="3" y="87"/>
                  </a:lnTo>
                  <a:lnTo>
                    <a:pt x="3" y="86"/>
                  </a:lnTo>
                  <a:lnTo>
                    <a:pt x="4" y="84"/>
                  </a:lnTo>
                  <a:lnTo>
                    <a:pt x="4" y="83"/>
                  </a:lnTo>
                  <a:lnTo>
                    <a:pt x="4" y="82"/>
                  </a:lnTo>
                  <a:lnTo>
                    <a:pt x="5" y="82"/>
                  </a:lnTo>
                  <a:lnTo>
                    <a:pt x="5" y="81"/>
                  </a:lnTo>
                  <a:lnTo>
                    <a:pt x="5" y="80"/>
                  </a:lnTo>
                  <a:lnTo>
                    <a:pt x="7" y="80"/>
                  </a:lnTo>
                  <a:lnTo>
                    <a:pt x="7" y="79"/>
                  </a:lnTo>
                  <a:lnTo>
                    <a:pt x="5" y="79"/>
                  </a:lnTo>
                  <a:lnTo>
                    <a:pt x="4" y="79"/>
                  </a:lnTo>
                  <a:lnTo>
                    <a:pt x="3" y="79"/>
                  </a:lnTo>
                  <a:lnTo>
                    <a:pt x="2" y="79"/>
                  </a:lnTo>
                  <a:lnTo>
                    <a:pt x="1" y="77"/>
                  </a:lnTo>
                  <a:lnTo>
                    <a:pt x="1" y="76"/>
                  </a:lnTo>
                  <a:lnTo>
                    <a:pt x="1" y="75"/>
                  </a:lnTo>
                  <a:lnTo>
                    <a:pt x="1" y="74"/>
                  </a:lnTo>
                  <a:lnTo>
                    <a:pt x="0" y="72"/>
                  </a:lnTo>
                  <a:lnTo>
                    <a:pt x="0" y="70"/>
                  </a:lnTo>
                  <a:lnTo>
                    <a:pt x="0" y="69"/>
                  </a:lnTo>
                  <a:lnTo>
                    <a:pt x="0" y="68"/>
                  </a:lnTo>
                  <a:lnTo>
                    <a:pt x="1" y="67"/>
                  </a:lnTo>
                  <a:lnTo>
                    <a:pt x="2" y="67"/>
                  </a:lnTo>
                  <a:lnTo>
                    <a:pt x="3" y="67"/>
                  </a:lnTo>
                  <a:lnTo>
                    <a:pt x="4" y="67"/>
                  </a:lnTo>
                  <a:lnTo>
                    <a:pt x="3" y="66"/>
                  </a:lnTo>
                  <a:lnTo>
                    <a:pt x="2" y="65"/>
                  </a:lnTo>
                  <a:lnTo>
                    <a:pt x="1" y="65"/>
                  </a:lnTo>
                  <a:lnTo>
                    <a:pt x="1" y="63"/>
                  </a:lnTo>
                  <a:lnTo>
                    <a:pt x="2" y="63"/>
                  </a:lnTo>
                  <a:lnTo>
                    <a:pt x="2" y="62"/>
                  </a:lnTo>
                  <a:lnTo>
                    <a:pt x="3" y="62"/>
                  </a:lnTo>
                  <a:lnTo>
                    <a:pt x="3" y="61"/>
                  </a:lnTo>
                  <a:lnTo>
                    <a:pt x="4" y="61"/>
                  </a:lnTo>
                  <a:lnTo>
                    <a:pt x="3" y="61"/>
                  </a:lnTo>
                  <a:lnTo>
                    <a:pt x="3" y="60"/>
                  </a:lnTo>
                  <a:lnTo>
                    <a:pt x="4" y="60"/>
                  </a:lnTo>
                  <a:lnTo>
                    <a:pt x="4" y="59"/>
                  </a:lnTo>
                  <a:lnTo>
                    <a:pt x="4" y="58"/>
                  </a:lnTo>
                  <a:lnTo>
                    <a:pt x="4" y="56"/>
                  </a:lnTo>
                  <a:lnTo>
                    <a:pt x="4" y="55"/>
                  </a:lnTo>
                  <a:lnTo>
                    <a:pt x="4" y="54"/>
                  </a:lnTo>
                  <a:lnTo>
                    <a:pt x="4" y="53"/>
                  </a:lnTo>
                  <a:lnTo>
                    <a:pt x="4" y="52"/>
                  </a:lnTo>
                  <a:lnTo>
                    <a:pt x="3" y="52"/>
                  </a:lnTo>
                  <a:lnTo>
                    <a:pt x="4" y="52"/>
                  </a:lnTo>
                  <a:lnTo>
                    <a:pt x="4" y="51"/>
                  </a:lnTo>
                  <a:lnTo>
                    <a:pt x="4" y="49"/>
                  </a:lnTo>
                  <a:lnTo>
                    <a:pt x="4" y="48"/>
                  </a:lnTo>
                  <a:lnTo>
                    <a:pt x="5" y="48"/>
                  </a:lnTo>
                  <a:lnTo>
                    <a:pt x="5" y="47"/>
                  </a:lnTo>
                  <a:lnTo>
                    <a:pt x="4" y="46"/>
                  </a:lnTo>
                  <a:lnTo>
                    <a:pt x="5" y="46"/>
                  </a:lnTo>
                  <a:lnTo>
                    <a:pt x="7" y="47"/>
                  </a:lnTo>
                  <a:lnTo>
                    <a:pt x="8" y="48"/>
                  </a:lnTo>
                  <a:lnTo>
                    <a:pt x="9" y="48"/>
                  </a:lnTo>
                  <a:lnTo>
                    <a:pt x="10" y="49"/>
                  </a:lnTo>
                  <a:lnTo>
                    <a:pt x="11" y="49"/>
                  </a:lnTo>
                  <a:lnTo>
                    <a:pt x="12" y="49"/>
                  </a:lnTo>
                  <a:lnTo>
                    <a:pt x="14" y="48"/>
                  </a:lnTo>
                  <a:lnTo>
                    <a:pt x="15" y="48"/>
                  </a:lnTo>
                  <a:lnTo>
                    <a:pt x="15" y="49"/>
                  </a:lnTo>
                  <a:lnTo>
                    <a:pt x="17" y="51"/>
                  </a:lnTo>
                  <a:lnTo>
                    <a:pt x="18" y="51"/>
                  </a:lnTo>
                  <a:lnTo>
                    <a:pt x="18" y="52"/>
                  </a:lnTo>
                  <a:lnTo>
                    <a:pt x="19" y="53"/>
                  </a:lnTo>
                  <a:lnTo>
                    <a:pt x="19" y="54"/>
                  </a:lnTo>
                  <a:lnTo>
                    <a:pt x="19" y="53"/>
                  </a:lnTo>
                  <a:lnTo>
                    <a:pt x="21" y="52"/>
                  </a:lnTo>
                  <a:lnTo>
                    <a:pt x="22" y="52"/>
                  </a:lnTo>
                  <a:lnTo>
                    <a:pt x="23" y="52"/>
                  </a:lnTo>
                  <a:lnTo>
                    <a:pt x="23" y="53"/>
                  </a:lnTo>
                  <a:lnTo>
                    <a:pt x="24" y="52"/>
                  </a:lnTo>
                  <a:lnTo>
                    <a:pt x="25" y="52"/>
                  </a:lnTo>
                  <a:lnTo>
                    <a:pt x="25" y="51"/>
                  </a:lnTo>
                  <a:lnTo>
                    <a:pt x="26" y="51"/>
                  </a:lnTo>
                  <a:lnTo>
                    <a:pt x="28" y="49"/>
                  </a:lnTo>
                  <a:lnTo>
                    <a:pt x="29" y="49"/>
                  </a:lnTo>
                  <a:lnTo>
                    <a:pt x="29" y="48"/>
                  </a:lnTo>
                  <a:lnTo>
                    <a:pt x="29" y="47"/>
                  </a:lnTo>
                  <a:lnTo>
                    <a:pt x="29" y="46"/>
                  </a:lnTo>
                  <a:lnTo>
                    <a:pt x="30" y="45"/>
                  </a:lnTo>
                  <a:lnTo>
                    <a:pt x="29" y="45"/>
                  </a:lnTo>
                  <a:lnTo>
                    <a:pt x="29" y="44"/>
                  </a:lnTo>
                  <a:lnTo>
                    <a:pt x="28" y="44"/>
                  </a:lnTo>
                  <a:lnTo>
                    <a:pt x="28" y="42"/>
                  </a:lnTo>
                  <a:lnTo>
                    <a:pt x="31" y="42"/>
                  </a:lnTo>
                  <a:lnTo>
                    <a:pt x="32" y="42"/>
                  </a:lnTo>
                  <a:lnTo>
                    <a:pt x="33" y="41"/>
                  </a:lnTo>
                  <a:lnTo>
                    <a:pt x="33" y="40"/>
                  </a:lnTo>
                  <a:lnTo>
                    <a:pt x="35" y="40"/>
                  </a:lnTo>
                  <a:lnTo>
                    <a:pt x="36" y="40"/>
                  </a:lnTo>
                  <a:lnTo>
                    <a:pt x="37" y="40"/>
                  </a:lnTo>
                  <a:lnTo>
                    <a:pt x="38" y="40"/>
                  </a:lnTo>
                  <a:lnTo>
                    <a:pt x="38" y="39"/>
                  </a:lnTo>
                  <a:lnTo>
                    <a:pt x="38" y="40"/>
                  </a:lnTo>
                  <a:lnTo>
                    <a:pt x="39" y="40"/>
                  </a:lnTo>
                  <a:lnTo>
                    <a:pt x="39" y="39"/>
                  </a:lnTo>
                  <a:lnTo>
                    <a:pt x="40" y="38"/>
                  </a:lnTo>
                  <a:lnTo>
                    <a:pt x="42" y="38"/>
                  </a:lnTo>
                  <a:lnTo>
                    <a:pt x="43" y="37"/>
                  </a:lnTo>
                  <a:lnTo>
                    <a:pt x="44" y="37"/>
                  </a:lnTo>
                  <a:lnTo>
                    <a:pt x="44" y="35"/>
                  </a:lnTo>
                  <a:lnTo>
                    <a:pt x="45" y="35"/>
                  </a:lnTo>
                  <a:lnTo>
                    <a:pt x="45" y="34"/>
                  </a:lnTo>
                  <a:lnTo>
                    <a:pt x="45" y="33"/>
                  </a:lnTo>
                  <a:lnTo>
                    <a:pt x="45" y="32"/>
                  </a:lnTo>
                  <a:lnTo>
                    <a:pt x="45" y="31"/>
                  </a:lnTo>
                  <a:lnTo>
                    <a:pt x="45" y="30"/>
                  </a:lnTo>
                  <a:lnTo>
                    <a:pt x="45" y="26"/>
                  </a:lnTo>
                  <a:lnTo>
                    <a:pt x="46" y="26"/>
                  </a:lnTo>
                  <a:lnTo>
                    <a:pt x="46" y="25"/>
                  </a:lnTo>
                  <a:lnTo>
                    <a:pt x="45" y="24"/>
                  </a:lnTo>
                  <a:lnTo>
                    <a:pt x="45" y="23"/>
                  </a:lnTo>
                  <a:lnTo>
                    <a:pt x="47" y="21"/>
                  </a:lnTo>
                  <a:lnTo>
                    <a:pt x="49" y="20"/>
                  </a:lnTo>
                  <a:lnTo>
                    <a:pt x="54" y="20"/>
                  </a:lnTo>
                  <a:lnTo>
                    <a:pt x="54" y="19"/>
                  </a:lnTo>
                  <a:lnTo>
                    <a:pt x="56" y="19"/>
                  </a:lnTo>
                  <a:lnTo>
                    <a:pt x="56" y="18"/>
                  </a:lnTo>
                  <a:lnTo>
                    <a:pt x="54" y="17"/>
                  </a:lnTo>
                  <a:lnTo>
                    <a:pt x="56" y="17"/>
                  </a:lnTo>
                  <a:lnTo>
                    <a:pt x="56" y="16"/>
                  </a:lnTo>
                  <a:lnTo>
                    <a:pt x="57" y="16"/>
                  </a:lnTo>
                  <a:lnTo>
                    <a:pt x="58" y="16"/>
                  </a:lnTo>
                  <a:lnTo>
                    <a:pt x="58" y="17"/>
                  </a:lnTo>
                  <a:lnTo>
                    <a:pt x="61" y="17"/>
                  </a:lnTo>
                  <a:lnTo>
                    <a:pt x="61" y="18"/>
                  </a:lnTo>
                  <a:lnTo>
                    <a:pt x="63" y="18"/>
                  </a:lnTo>
                  <a:lnTo>
                    <a:pt x="64" y="18"/>
                  </a:lnTo>
                  <a:lnTo>
                    <a:pt x="64" y="19"/>
                  </a:lnTo>
                  <a:lnTo>
                    <a:pt x="65" y="19"/>
                  </a:lnTo>
                  <a:lnTo>
                    <a:pt x="66" y="19"/>
                  </a:lnTo>
                  <a:lnTo>
                    <a:pt x="67" y="19"/>
                  </a:lnTo>
                  <a:lnTo>
                    <a:pt x="67" y="18"/>
                  </a:lnTo>
                  <a:lnTo>
                    <a:pt x="68" y="18"/>
                  </a:lnTo>
                  <a:lnTo>
                    <a:pt x="68" y="19"/>
                  </a:lnTo>
                  <a:lnTo>
                    <a:pt x="69" y="19"/>
                  </a:lnTo>
                  <a:lnTo>
                    <a:pt x="69" y="18"/>
                  </a:lnTo>
                  <a:lnTo>
                    <a:pt x="72" y="18"/>
                  </a:lnTo>
                  <a:lnTo>
                    <a:pt x="73" y="18"/>
                  </a:lnTo>
                  <a:lnTo>
                    <a:pt x="74" y="19"/>
                  </a:lnTo>
                  <a:lnTo>
                    <a:pt x="75" y="19"/>
                  </a:lnTo>
                  <a:lnTo>
                    <a:pt x="75" y="20"/>
                  </a:lnTo>
                  <a:lnTo>
                    <a:pt x="76" y="20"/>
                  </a:lnTo>
                  <a:lnTo>
                    <a:pt x="76" y="21"/>
                  </a:lnTo>
                  <a:lnTo>
                    <a:pt x="78" y="21"/>
                  </a:lnTo>
                  <a:lnTo>
                    <a:pt x="79" y="21"/>
                  </a:lnTo>
                  <a:lnTo>
                    <a:pt x="79" y="20"/>
                  </a:lnTo>
                  <a:lnTo>
                    <a:pt x="80" y="20"/>
                  </a:lnTo>
                  <a:lnTo>
                    <a:pt x="81" y="20"/>
                  </a:lnTo>
                  <a:lnTo>
                    <a:pt x="82" y="20"/>
                  </a:lnTo>
                  <a:lnTo>
                    <a:pt x="83" y="20"/>
                  </a:lnTo>
                  <a:lnTo>
                    <a:pt x="83" y="21"/>
                  </a:lnTo>
                  <a:lnTo>
                    <a:pt x="85" y="23"/>
                  </a:lnTo>
                  <a:lnTo>
                    <a:pt x="86" y="24"/>
                  </a:lnTo>
                  <a:lnTo>
                    <a:pt x="87" y="24"/>
                  </a:lnTo>
                  <a:lnTo>
                    <a:pt x="87" y="25"/>
                  </a:lnTo>
                  <a:lnTo>
                    <a:pt x="88" y="25"/>
                  </a:lnTo>
                  <a:lnTo>
                    <a:pt x="89" y="25"/>
                  </a:lnTo>
                  <a:lnTo>
                    <a:pt x="89" y="24"/>
                  </a:lnTo>
                  <a:lnTo>
                    <a:pt x="90" y="24"/>
                  </a:lnTo>
                  <a:lnTo>
                    <a:pt x="92" y="24"/>
                  </a:lnTo>
                  <a:lnTo>
                    <a:pt x="90" y="23"/>
                  </a:lnTo>
                  <a:lnTo>
                    <a:pt x="92" y="23"/>
                  </a:lnTo>
                  <a:lnTo>
                    <a:pt x="93" y="23"/>
                  </a:lnTo>
                  <a:lnTo>
                    <a:pt x="93" y="21"/>
                  </a:lnTo>
                  <a:lnTo>
                    <a:pt x="94" y="21"/>
                  </a:lnTo>
                  <a:lnTo>
                    <a:pt x="95" y="21"/>
                  </a:lnTo>
                  <a:lnTo>
                    <a:pt x="95" y="20"/>
                  </a:lnTo>
                  <a:lnTo>
                    <a:pt x="96" y="20"/>
                  </a:lnTo>
                  <a:lnTo>
                    <a:pt x="97" y="20"/>
                  </a:lnTo>
                  <a:lnTo>
                    <a:pt x="97" y="19"/>
                  </a:lnTo>
                  <a:lnTo>
                    <a:pt x="99" y="20"/>
                  </a:lnTo>
                  <a:lnTo>
                    <a:pt x="99" y="19"/>
                  </a:lnTo>
                  <a:lnTo>
                    <a:pt x="97" y="19"/>
                  </a:lnTo>
                  <a:lnTo>
                    <a:pt x="99" y="19"/>
                  </a:lnTo>
                  <a:lnTo>
                    <a:pt x="100" y="19"/>
                  </a:lnTo>
                  <a:lnTo>
                    <a:pt x="100" y="20"/>
                  </a:lnTo>
                  <a:lnTo>
                    <a:pt x="101" y="20"/>
                  </a:lnTo>
                  <a:lnTo>
                    <a:pt x="101" y="21"/>
                  </a:lnTo>
                  <a:lnTo>
                    <a:pt x="102" y="21"/>
                  </a:lnTo>
                  <a:lnTo>
                    <a:pt x="103" y="23"/>
                  </a:lnTo>
                  <a:lnTo>
                    <a:pt x="104" y="23"/>
                  </a:lnTo>
                  <a:lnTo>
                    <a:pt x="104" y="21"/>
                  </a:lnTo>
                  <a:lnTo>
                    <a:pt x="106" y="21"/>
                  </a:lnTo>
                  <a:lnTo>
                    <a:pt x="106" y="20"/>
                  </a:lnTo>
                  <a:lnTo>
                    <a:pt x="104" y="20"/>
                  </a:lnTo>
                  <a:lnTo>
                    <a:pt x="104" y="19"/>
                  </a:lnTo>
                  <a:lnTo>
                    <a:pt x="104" y="18"/>
                  </a:lnTo>
                  <a:lnTo>
                    <a:pt x="103" y="17"/>
                  </a:lnTo>
                  <a:lnTo>
                    <a:pt x="104" y="17"/>
                  </a:lnTo>
                  <a:lnTo>
                    <a:pt x="104" y="16"/>
                  </a:lnTo>
                  <a:lnTo>
                    <a:pt x="106" y="14"/>
                  </a:lnTo>
                  <a:lnTo>
                    <a:pt x="107" y="16"/>
                  </a:lnTo>
                  <a:lnTo>
                    <a:pt x="108" y="14"/>
                  </a:lnTo>
                  <a:lnTo>
                    <a:pt x="109" y="14"/>
                  </a:lnTo>
                  <a:lnTo>
                    <a:pt x="109" y="16"/>
                  </a:lnTo>
                  <a:lnTo>
                    <a:pt x="109" y="14"/>
                  </a:lnTo>
                  <a:lnTo>
                    <a:pt x="110" y="14"/>
                  </a:lnTo>
                  <a:lnTo>
                    <a:pt x="110" y="16"/>
                  </a:lnTo>
                  <a:lnTo>
                    <a:pt x="111" y="16"/>
                  </a:lnTo>
                  <a:lnTo>
                    <a:pt x="113" y="16"/>
                  </a:lnTo>
                  <a:lnTo>
                    <a:pt x="114" y="16"/>
                  </a:lnTo>
                  <a:lnTo>
                    <a:pt x="114" y="14"/>
                  </a:lnTo>
                  <a:lnTo>
                    <a:pt x="115" y="14"/>
                  </a:lnTo>
                  <a:lnTo>
                    <a:pt x="115" y="13"/>
                  </a:lnTo>
                  <a:lnTo>
                    <a:pt x="114" y="12"/>
                  </a:lnTo>
                  <a:lnTo>
                    <a:pt x="114" y="11"/>
                  </a:lnTo>
                  <a:lnTo>
                    <a:pt x="113" y="11"/>
                  </a:lnTo>
                  <a:lnTo>
                    <a:pt x="113" y="10"/>
                  </a:lnTo>
                  <a:lnTo>
                    <a:pt x="114" y="10"/>
                  </a:lnTo>
                  <a:lnTo>
                    <a:pt x="113" y="10"/>
                  </a:lnTo>
                  <a:lnTo>
                    <a:pt x="113" y="9"/>
                  </a:lnTo>
                  <a:lnTo>
                    <a:pt x="114" y="9"/>
                  </a:lnTo>
                  <a:lnTo>
                    <a:pt x="114" y="7"/>
                  </a:lnTo>
                  <a:lnTo>
                    <a:pt x="115" y="7"/>
                  </a:lnTo>
                  <a:lnTo>
                    <a:pt x="115" y="6"/>
                  </a:lnTo>
                  <a:lnTo>
                    <a:pt x="115" y="5"/>
                  </a:lnTo>
                  <a:lnTo>
                    <a:pt x="116" y="5"/>
                  </a:lnTo>
                  <a:lnTo>
                    <a:pt x="116" y="4"/>
                  </a:lnTo>
                  <a:lnTo>
                    <a:pt x="116" y="3"/>
                  </a:lnTo>
                  <a:lnTo>
                    <a:pt x="117" y="3"/>
                  </a:lnTo>
                  <a:lnTo>
                    <a:pt x="116" y="2"/>
                  </a:lnTo>
                  <a:lnTo>
                    <a:pt x="117" y="2"/>
                  </a:lnTo>
                  <a:lnTo>
                    <a:pt x="118" y="2"/>
                  </a:lnTo>
                  <a:lnTo>
                    <a:pt x="120" y="2"/>
                  </a:lnTo>
                  <a:lnTo>
                    <a:pt x="120" y="0"/>
                  </a:lnTo>
                  <a:lnTo>
                    <a:pt x="121" y="0"/>
                  </a:lnTo>
                  <a:lnTo>
                    <a:pt x="121" y="2"/>
                  </a:lnTo>
                  <a:lnTo>
                    <a:pt x="122" y="2"/>
                  </a:lnTo>
                  <a:lnTo>
                    <a:pt x="123" y="3"/>
                  </a:lnTo>
                  <a:lnTo>
                    <a:pt x="124" y="3"/>
                  </a:lnTo>
                  <a:lnTo>
                    <a:pt x="125" y="4"/>
                  </a:lnTo>
                  <a:lnTo>
                    <a:pt x="127" y="4"/>
                  </a:lnTo>
                  <a:lnTo>
                    <a:pt x="127" y="5"/>
                  </a:lnTo>
                  <a:lnTo>
                    <a:pt x="127" y="6"/>
                  </a:lnTo>
                  <a:lnTo>
                    <a:pt x="127" y="7"/>
                  </a:lnTo>
                  <a:lnTo>
                    <a:pt x="127" y="9"/>
                  </a:lnTo>
                  <a:lnTo>
                    <a:pt x="127" y="10"/>
                  </a:lnTo>
                  <a:lnTo>
                    <a:pt x="128" y="10"/>
                  </a:lnTo>
                  <a:lnTo>
                    <a:pt x="129" y="10"/>
                  </a:lnTo>
                  <a:lnTo>
                    <a:pt x="130" y="10"/>
                  </a:lnTo>
                  <a:lnTo>
                    <a:pt x="131" y="10"/>
                  </a:lnTo>
                  <a:lnTo>
                    <a:pt x="131" y="11"/>
                  </a:lnTo>
                  <a:lnTo>
                    <a:pt x="131" y="12"/>
                  </a:lnTo>
                  <a:lnTo>
                    <a:pt x="130" y="12"/>
                  </a:lnTo>
                  <a:lnTo>
                    <a:pt x="131" y="13"/>
                  </a:lnTo>
                  <a:lnTo>
                    <a:pt x="131" y="14"/>
                  </a:lnTo>
                  <a:lnTo>
                    <a:pt x="131" y="16"/>
                  </a:lnTo>
                  <a:lnTo>
                    <a:pt x="131" y="17"/>
                  </a:lnTo>
                  <a:lnTo>
                    <a:pt x="131" y="18"/>
                  </a:lnTo>
                  <a:lnTo>
                    <a:pt x="132" y="19"/>
                  </a:lnTo>
                  <a:lnTo>
                    <a:pt x="132" y="20"/>
                  </a:lnTo>
                  <a:lnTo>
                    <a:pt x="131" y="20"/>
                  </a:lnTo>
                  <a:lnTo>
                    <a:pt x="132" y="21"/>
                  </a:lnTo>
                  <a:lnTo>
                    <a:pt x="132" y="23"/>
                  </a:lnTo>
                  <a:lnTo>
                    <a:pt x="132" y="24"/>
                  </a:lnTo>
                  <a:lnTo>
                    <a:pt x="132" y="25"/>
                  </a:lnTo>
                  <a:lnTo>
                    <a:pt x="133" y="25"/>
                  </a:lnTo>
                  <a:lnTo>
                    <a:pt x="135" y="26"/>
                  </a:lnTo>
                  <a:lnTo>
                    <a:pt x="135" y="27"/>
                  </a:lnTo>
                  <a:lnTo>
                    <a:pt x="135" y="28"/>
                  </a:lnTo>
                  <a:lnTo>
                    <a:pt x="136" y="28"/>
                  </a:lnTo>
                  <a:lnTo>
                    <a:pt x="137" y="30"/>
                  </a:lnTo>
                  <a:lnTo>
                    <a:pt x="138" y="30"/>
                  </a:lnTo>
                  <a:lnTo>
                    <a:pt x="139" y="28"/>
                  </a:lnTo>
                  <a:lnTo>
                    <a:pt x="142" y="26"/>
                  </a:lnTo>
                  <a:lnTo>
                    <a:pt x="143" y="26"/>
                  </a:lnTo>
                  <a:lnTo>
                    <a:pt x="143" y="25"/>
                  </a:lnTo>
                  <a:lnTo>
                    <a:pt x="144" y="24"/>
                  </a:lnTo>
                  <a:lnTo>
                    <a:pt x="145" y="24"/>
                  </a:lnTo>
                  <a:lnTo>
                    <a:pt x="146" y="24"/>
                  </a:lnTo>
                  <a:lnTo>
                    <a:pt x="149" y="24"/>
                  </a:lnTo>
                  <a:lnTo>
                    <a:pt x="149" y="23"/>
                  </a:lnTo>
                  <a:lnTo>
                    <a:pt x="149" y="21"/>
                  </a:lnTo>
                  <a:lnTo>
                    <a:pt x="149" y="20"/>
                  </a:lnTo>
                  <a:lnTo>
                    <a:pt x="150" y="20"/>
                  </a:lnTo>
                  <a:lnTo>
                    <a:pt x="151" y="20"/>
                  </a:lnTo>
                  <a:lnTo>
                    <a:pt x="151" y="19"/>
                  </a:lnTo>
                  <a:lnTo>
                    <a:pt x="152" y="19"/>
                  </a:lnTo>
                  <a:lnTo>
                    <a:pt x="153" y="18"/>
                  </a:lnTo>
                  <a:lnTo>
                    <a:pt x="154" y="17"/>
                  </a:lnTo>
                  <a:lnTo>
                    <a:pt x="156" y="17"/>
                  </a:lnTo>
                  <a:lnTo>
                    <a:pt x="157" y="17"/>
                  </a:lnTo>
                  <a:lnTo>
                    <a:pt x="159" y="17"/>
                  </a:lnTo>
                  <a:lnTo>
                    <a:pt x="160" y="18"/>
                  </a:lnTo>
                  <a:lnTo>
                    <a:pt x="161" y="19"/>
                  </a:lnTo>
                  <a:lnTo>
                    <a:pt x="160" y="19"/>
                  </a:lnTo>
                  <a:lnTo>
                    <a:pt x="159" y="20"/>
                  </a:lnTo>
                  <a:lnTo>
                    <a:pt x="160" y="20"/>
                  </a:lnTo>
                  <a:lnTo>
                    <a:pt x="161" y="20"/>
                  </a:lnTo>
                  <a:lnTo>
                    <a:pt x="163" y="20"/>
                  </a:lnTo>
                  <a:lnTo>
                    <a:pt x="164" y="20"/>
                  </a:lnTo>
                  <a:lnTo>
                    <a:pt x="164" y="19"/>
                  </a:lnTo>
                  <a:lnTo>
                    <a:pt x="165" y="19"/>
                  </a:lnTo>
                  <a:lnTo>
                    <a:pt x="166" y="19"/>
                  </a:lnTo>
                  <a:lnTo>
                    <a:pt x="167" y="19"/>
                  </a:lnTo>
                  <a:lnTo>
                    <a:pt x="167" y="18"/>
                  </a:lnTo>
                  <a:lnTo>
                    <a:pt x="168" y="18"/>
                  </a:lnTo>
                  <a:lnTo>
                    <a:pt x="170" y="18"/>
                  </a:lnTo>
                  <a:lnTo>
                    <a:pt x="171" y="18"/>
                  </a:lnTo>
                  <a:lnTo>
                    <a:pt x="172" y="18"/>
                  </a:lnTo>
                  <a:lnTo>
                    <a:pt x="173" y="18"/>
                  </a:lnTo>
                  <a:lnTo>
                    <a:pt x="174" y="19"/>
                  </a:lnTo>
                  <a:lnTo>
                    <a:pt x="175" y="19"/>
                  </a:lnTo>
                  <a:lnTo>
                    <a:pt x="177" y="20"/>
                  </a:lnTo>
                  <a:close/>
                </a:path>
              </a:pathLst>
            </a:custGeom>
            <a:solidFill>
              <a:srgbClr val="D2D2D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t-IT" sz="1200" dirty="0"/>
            </a:p>
          </p:txBody>
        </p:sp>
        <p:sp>
          <p:nvSpPr>
            <p:cNvPr id="68" name="Freeform 819">
              <a:extLst>
                <a:ext uri="{FF2B5EF4-FFF2-40B4-BE49-F238E27FC236}">
                  <a16:creationId xmlns:a16="http://schemas.microsoft.com/office/drawing/2014/main" id="{379C8572-EB19-4190-A741-45A5C356977E}"/>
                </a:ext>
              </a:extLst>
            </p:cNvPr>
            <p:cNvSpPr>
              <a:spLocks noEditPoints="1"/>
            </p:cNvSpPr>
            <p:nvPr/>
          </p:nvSpPr>
          <p:spPr bwMode="auto">
            <a:xfrm>
              <a:off x="6021442" y="3440676"/>
              <a:ext cx="229704" cy="288465"/>
            </a:xfrm>
            <a:custGeom>
              <a:avLst/>
              <a:gdLst>
                <a:gd name="T0" fmla="*/ 36 w 172"/>
                <a:gd name="T1" fmla="*/ 24 h 216"/>
                <a:gd name="T2" fmla="*/ 51 w 172"/>
                <a:gd name="T3" fmla="*/ 24 h 216"/>
                <a:gd name="T4" fmla="*/ 66 w 172"/>
                <a:gd name="T5" fmla="*/ 24 h 216"/>
                <a:gd name="T6" fmla="*/ 72 w 172"/>
                <a:gd name="T7" fmla="*/ 29 h 216"/>
                <a:gd name="T8" fmla="*/ 74 w 172"/>
                <a:gd name="T9" fmla="*/ 41 h 216"/>
                <a:gd name="T10" fmla="*/ 78 w 172"/>
                <a:gd name="T11" fmla="*/ 50 h 216"/>
                <a:gd name="T12" fmla="*/ 83 w 172"/>
                <a:gd name="T13" fmla="*/ 57 h 216"/>
                <a:gd name="T14" fmla="*/ 94 w 172"/>
                <a:gd name="T15" fmla="*/ 57 h 216"/>
                <a:gd name="T16" fmla="*/ 108 w 172"/>
                <a:gd name="T17" fmla="*/ 57 h 216"/>
                <a:gd name="T18" fmla="*/ 111 w 172"/>
                <a:gd name="T19" fmla="*/ 43 h 216"/>
                <a:gd name="T20" fmla="*/ 122 w 172"/>
                <a:gd name="T21" fmla="*/ 41 h 216"/>
                <a:gd name="T22" fmla="*/ 128 w 172"/>
                <a:gd name="T23" fmla="*/ 46 h 216"/>
                <a:gd name="T24" fmla="*/ 142 w 172"/>
                <a:gd name="T25" fmla="*/ 46 h 216"/>
                <a:gd name="T26" fmla="*/ 143 w 172"/>
                <a:gd name="T27" fmla="*/ 59 h 216"/>
                <a:gd name="T28" fmla="*/ 143 w 172"/>
                <a:gd name="T29" fmla="*/ 69 h 216"/>
                <a:gd name="T30" fmla="*/ 144 w 172"/>
                <a:gd name="T31" fmla="*/ 84 h 216"/>
                <a:gd name="T32" fmla="*/ 148 w 172"/>
                <a:gd name="T33" fmla="*/ 96 h 216"/>
                <a:gd name="T34" fmla="*/ 148 w 172"/>
                <a:gd name="T35" fmla="*/ 105 h 216"/>
                <a:gd name="T36" fmla="*/ 157 w 172"/>
                <a:gd name="T37" fmla="*/ 106 h 216"/>
                <a:gd name="T38" fmla="*/ 170 w 172"/>
                <a:gd name="T39" fmla="*/ 104 h 216"/>
                <a:gd name="T40" fmla="*/ 171 w 172"/>
                <a:gd name="T41" fmla="*/ 115 h 216"/>
                <a:gd name="T42" fmla="*/ 171 w 172"/>
                <a:gd name="T43" fmla="*/ 130 h 216"/>
                <a:gd name="T44" fmla="*/ 162 w 172"/>
                <a:gd name="T45" fmla="*/ 137 h 216"/>
                <a:gd name="T46" fmla="*/ 143 w 172"/>
                <a:gd name="T47" fmla="*/ 139 h 216"/>
                <a:gd name="T48" fmla="*/ 143 w 172"/>
                <a:gd name="T49" fmla="*/ 165 h 216"/>
                <a:gd name="T50" fmla="*/ 142 w 172"/>
                <a:gd name="T51" fmla="*/ 186 h 216"/>
                <a:gd name="T52" fmla="*/ 144 w 172"/>
                <a:gd name="T53" fmla="*/ 194 h 216"/>
                <a:gd name="T54" fmla="*/ 151 w 172"/>
                <a:gd name="T55" fmla="*/ 200 h 216"/>
                <a:gd name="T56" fmla="*/ 161 w 172"/>
                <a:gd name="T57" fmla="*/ 209 h 216"/>
                <a:gd name="T58" fmla="*/ 133 w 172"/>
                <a:gd name="T59" fmla="*/ 215 h 216"/>
                <a:gd name="T60" fmla="*/ 123 w 172"/>
                <a:gd name="T61" fmla="*/ 215 h 216"/>
                <a:gd name="T62" fmla="*/ 109 w 172"/>
                <a:gd name="T63" fmla="*/ 214 h 216"/>
                <a:gd name="T64" fmla="*/ 94 w 172"/>
                <a:gd name="T65" fmla="*/ 209 h 216"/>
                <a:gd name="T66" fmla="*/ 74 w 172"/>
                <a:gd name="T67" fmla="*/ 206 h 216"/>
                <a:gd name="T68" fmla="*/ 35 w 172"/>
                <a:gd name="T69" fmla="*/ 206 h 216"/>
                <a:gd name="T70" fmla="*/ 23 w 172"/>
                <a:gd name="T71" fmla="*/ 200 h 216"/>
                <a:gd name="T72" fmla="*/ 15 w 172"/>
                <a:gd name="T73" fmla="*/ 202 h 216"/>
                <a:gd name="T74" fmla="*/ 2 w 172"/>
                <a:gd name="T75" fmla="*/ 203 h 216"/>
                <a:gd name="T76" fmla="*/ 2 w 172"/>
                <a:gd name="T77" fmla="*/ 193 h 216"/>
                <a:gd name="T78" fmla="*/ 3 w 172"/>
                <a:gd name="T79" fmla="*/ 179 h 216"/>
                <a:gd name="T80" fmla="*/ 7 w 172"/>
                <a:gd name="T81" fmla="*/ 169 h 216"/>
                <a:gd name="T82" fmla="*/ 9 w 172"/>
                <a:gd name="T83" fmla="*/ 159 h 216"/>
                <a:gd name="T84" fmla="*/ 12 w 172"/>
                <a:gd name="T85" fmla="*/ 151 h 216"/>
                <a:gd name="T86" fmla="*/ 16 w 172"/>
                <a:gd name="T87" fmla="*/ 139 h 216"/>
                <a:gd name="T88" fmla="*/ 23 w 172"/>
                <a:gd name="T89" fmla="*/ 130 h 216"/>
                <a:gd name="T90" fmla="*/ 30 w 172"/>
                <a:gd name="T91" fmla="*/ 120 h 216"/>
                <a:gd name="T92" fmla="*/ 31 w 172"/>
                <a:gd name="T93" fmla="*/ 103 h 216"/>
                <a:gd name="T94" fmla="*/ 24 w 172"/>
                <a:gd name="T95" fmla="*/ 90 h 216"/>
                <a:gd name="T96" fmla="*/ 21 w 172"/>
                <a:gd name="T97" fmla="*/ 76 h 216"/>
                <a:gd name="T98" fmla="*/ 22 w 172"/>
                <a:gd name="T99" fmla="*/ 73 h 216"/>
                <a:gd name="T100" fmla="*/ 24 w 172"/>
                <a:gd name="T101" fmla="*/ 67 h 216"/>
                <a:gd name="T102" fmla="*/ 19 w 172"/>
                <a:gd name="T103" fmla="*/ 47 h 216"/>
                <a:gd name="T104" fmla="*/ 10 w 172"/>
                <a:gd name="T105" fmla="*/ 29 h 216"/>
                <a:gd name="T106" fmla="*/ 21 w 172"/>
                <a:gd name="T107" fmla="*/ 24 h 216"/>
                <a:gd name="T108" fmla="*/ 19 w 172"/>
                <a:gd name="T109" fmla="*/ 1 h 216"/>
                <a:gd name="T110" fmla="*/ 14 w 172"/>
                <a:gd name="T111" fmla="*/ 11 h 216"/>
                <a:gd name="T112" fmla="*/ 9 w 172"/>
                <a:gd name="T113" fmla="*/ 22 h 216"/>
                <a:gd name="T114" fmla="*/ 8 w 172"/>
                <a:gd name="T115" fmla="*/ 10 h 216"/>
                <a:gd name="T116" fmla="*/ 9 w 172"/>
                <a:gd name="T117" fmla="*/ 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2" h="216">
                  <a:moveTo>
                    <a:pt x="1" y="195"/>
                  </a:moveTo>
                  <a:lnTo>
                    <a:pt x="0" y="195"/>
                  </a:lnTo>
                  <a:lnTo>
                    <a:pt x="0" y="194"/>
                  </a:lnTo>
                  <a:lnTo>
                    <a:pt x="0" y="193"/>
                  </a:lnTo>
                  <a:lnTo>
                    <a:pt x="0" y="192"/>
                  </a:lnTo>
                  <a:lnTo>
                    <a:pt x="1" y="192"/>
                  </a:lnTo>
                  <a:lnTo>
                    <a:pt x="1" y="193"/>
                  </a:lnTo>
                  <a:lnTo>
                    <a:pt x="1" y="194"/>
                  </a:lnTo>
                  <a:lnTo>
                    <a:pt x="1" y="195"/>
                  </a:lnTo>
                  <a:close/>
                  <a:moveTo>
                    <a:pt x="34" y="24"/>
                  </a:moveTo>
                  <a:lnTo>
                    <a:pt x="35" y="24"/>
                  </a:lnTo>
                  <a:lnTo>
                    <a:pt x="36" y="24"/>
                  </a:lnTo>
                  <a:lnTo>
                    <a:pt x="37" y="24"/>
                  </a:lnTo>
                  <a:lnTo>
                    <a:pt x="38" y="24"/>
                  </a:lnTo>
                  <a:lnTo>
                    <a:pt x="40" y="24"/>
                  </a:lnTo>
                  <a:lnTo>
                    <a:pt x="41" y="24"/>
                  </a:lnTo>
                  <a:lnTo>
                    <a:pt x="42" y="24"/>
                  </a:lnTo>
                  <a:lnTo>
                    <a:pt x="44" y="24"/>
                  </a:lnTo>
                  <a:lnTo>
                    <a:pt x="45" y="24"/>
                  </a:lnTo>
                  <a:lnTo>
                    <a:pt x="47" y="24"/>
                  </a:lnTo>
                  <a:lnTo>
                    <a:pt x="48" y="24"/>
                  </a:lnTo>
                  <a:lnTo>
                    <a:pt x="49" y="24"/>
                  </a:lnTo>
                  <a:lnTo>
                    <a:pt x="50" y="24"/>
                  </a:lnTo>
                  <a:lnTo>
                    <a:pt x="51" y="24"/>
                  </a:lnTo>
                  <a:lnTo>
                    <a:pt x="52" y="24"/>
                  </a:lnTo>
                  <a:lnTo>
                    <a:pt x="54" y="24"/>
                  </a:lnTo>
                  <a:lnTo>
                    <a:pt x="56" y="24"/>
                  </a:lnTo>
                  <a:lnTo>
                    <a:pt x="57" y="24"/>
                  </a:lnTo>
                  <a:lnTo>
                    <a:pt x="58" y="24"/>
                  </a:lnTo>
                  <a:lnTo>
                    <a:pt x="59" y="24"/>
                  </a:lnTo>
                  <a:lnTo>
                    <a:pt x="61" y="24"/>
                  </a:lnTo>
                  <a:lnTo>
                    <a:pt x="62" y="24"/>
                  </a:lnTo>
                  <a:lnTo>
                    <a:pt x="63" y="24"/>
                  </a:lnTo>
                  <a:lnTo>
                    <a:pt x="64" y="24"/>
                  </a:lnTo>
                  <a:lnTo>
                    <a:pt x="65" y="24"/>
                  </a:lnTo>
                  <a:lnTo>
                    <a:pt x="66" y="24"/>
                  </a:lnTo>
                  <a:lnTo>
                    <a:pt x="67" y="24"/>
                  </a:lnTo>
                  <a:lnTo>
                    <a:pt x="69" y="24"/>
                  </a:lnTo>
                  <a:lnTo>
                    <a:pt x="70" y="24"/>
                  </a:lnTo>
                  <a:lnTo>
                    <a:pt x="70" y="25"/>
                  </a:lnTo>
                  <a:lnTo>
                    <a:pt x="70" y="26"/>
                  </a:lnTo>
                  <a:lnTo>
                    <a:pt x="70" y="27"/>
                  </a:lnTo>
                  <a:lnTo>
                    <a:pt x="71" y="27"/>
                  </a:lnTo>
                  <a:lnTo>
                    <a:pt x="70" y="27"/>
                  </a:lnTo>
                  <a:lnTo>
                    <a:pt x="71" y="27"/>
                  </a:lnTo>
                  <a:lnTo>
                    <a:pt x="71" y="28"/>
                  </a:lnTo>
                  <a:lnTo>
                    <a:pt x="72" y="28"/>
                  </a:lnTo>
                  <a:lnTo>
                    <a:pt x="72" y="29"/>
                  </a:lnTo>
                  <a:lnTo>
                    <a:pt x="72" y="31"/>
                  </a:lnTo>
                  <a:lnTo>
                    <a:pt x="71" y="32"/>
                  </a:lnTo>
                  <a:lnTo>
                    <a:pt x="72" y="32"/>
                  </a:lnTo>
                  <a:lnTo>
                    <a:pt x="72" y="33"/>
                  </a:lnTo>
                  <a:lnTo>
                    <a:pt x="72" y="34"/>
                  </a:lnTo>
                  <a:lnTo>
                    <a:pt x="72" y="35"/>
                  </a:lnTo>
                  <a:lnTo>
                    <a:pt x="72" y="36"/>
                  </a:lnTo>
                  <a:lnTo>
                    <a:pt x="73" y="38"/>
                  </a:lnTo>
                  <a:lnTo>
                    <a:pt x="73" y="39"/>
                  </a:lnTo>
                  <a:lnTo>
                    <a:pt x="74" y="39"/>
                  </a:lnTo>
                  <a:lnTo>
                    <a:pt x="74" y="40"/>
                  </a:lnTo>
                  <a:lnTo>
                    <a:pt x="74" y="41"/>
                  </a:lnTo>
                  <a:lnTo>
                    <a:pt x="76" y="41"/>
                  </a:lnTo>
                  <a:lnTo>
                    <a:pt x="76" y="42"/>
                  </a:lnTo>
                  <a:lnTo>
                    <a:pt x="74" y="42"/>
                  </a:lnTo>
                  <a:lnTo>
                    <a:pt x="74" y="43"/>
                  </a:lnTo>
                  <a:lnTo>
                    <a:pt x="74" y="45"/>
                  </a:lnTo>
                  <a:lnTo>
                    <a:pt x="76" y="45"/>
                  </a:lnTo>
                  <a:lnTo>
                    <a:pt x="76" y="46"/>
                  </a:lnTo>
                  <a:lnTo>
                    <a:pt x="77" y="47"/>
                  </a:lnTo>
                  <a:lnTo>
                    <a:pt x="77" y="48"/>
                  </a:lnTo>
                  <a:lnTo>
                    <a:pt x="78" y="48"/>
                  </a:lnTo>
                  <a:lnTo>
                    <a:pt x="78" y="49"/>
                  </a:lnTo>
                  <a:lnTo>
                    <a:pt x="78" y="50"/>
                  </a:lnTo>
                  <a:lnTo>
                    <a:pt x="79" y="50"/>
                  </a:lnTo>
                  <a:lnTo>
                    <a:pt x="79" y="52"/>
                  </a:lnTo>
                  <a:lnTo>
                    <a:pt x="79" y="53"/>
                  </a:lnTo>
                  <a:lnTo>
                    <a:pt x="80" y="53"/>
                  </a:lnTo>
                  <a:lnTo>
                    <a:pt x="80" y="54"/>
                  </a:lnTo>
                  <a:lnTo>
                    <a:pt x="80" y="55"/>
                  </a:lnTo>
                  <a:lnTo>
                    <a:pt x="81" y="55"/>
                  </a:lnTo>
                  <a:lnTo>
                    <a:pt x="81" y="56"/>
                  </a:lnTo>
                  <a:lnTo>
                    <a:pt x="83" y="56"/>
                  </a:lnTo>
                  <a:lnTo>
                    <a:pt x="81" y="56"/>
                  </a:lnTo>
                  <a:lnTo>
                    <a:pt x="83" y="56"/>
                  </a:lnTo>
                  <a:lnTo>
                    <a:pt x="83" y="57"/>
                  </a:lnTo>
                  <a:lnTo>
                    <a:pt x="83" y="59"/>
                  </a:lnTo>
                  <a:lnTo>
                    <a:pt x="84" y="59"/>
                  </a:lnTo>
                  <a:lnTo>
                    <a:pt x="85" y="59"/>
                  </a:lnTo>
                  <a:lnTo>
                    <a:pt x="86" y="59"/>
                  </a:lnTo>
                  <a:lnTo>
                    <a:pt x="87" y="59"/>
                  </a:lnTo>
                  <a:lnTo>
                    <a:pt x="88" y="59"/>
                  </a:lnTo>
                  <a:lnTo>
                    <a:pt x="90" y="59"/>
                  </a:lnTo>
                  <a:lnTo>
                    <a:pt x="91" y="59"/>
                  </a:lnTo>
                  <a:lnTo>
                    <a:pt x="91" y="57"/>
                  </a:lnTo>
                  <a:lnTo>
                    <a:pt x="92" y="57"/>
                  </a:lnTo>
                  <a:lnTo>
                    <a:pt x="93" y="57"/>
                  </a:lnTo>
                  <a:lnTo>
                    <a:pt x="94" y="57"/>
                  </a:lnTo>
                  <a:lnTo>
                    <a:pt x="95" y="57"/>
                  </a:lnTo>
                  <a:lnTo>
                    <a:pt x="97" y="57"/>
                  </a:lnTo>
                  <a:lnTo>
                    <a:pt x="97" y="56"/>
                  </a:lnTo>
                  <a:lnTo>
                    <a:pt x="98" y="56"/>
                  </a:lnTo>
                  <a:lnTo>
                    <a:pt x="99" y="56"/>
                  </a:lnTo>
                  <a:lnTo>
                    <a:pt x="100" y="56"/>
                  </a:lnTo>
                  <a:lnTo>
                    <a:pt x="100" y="57"/>
                  </a:lnTo>
                  <a:lnTo>
                    <a:pt x="101" y="57"/>
                  </a:lnTo>
                  <a:lnTo>
                    <a:pt x="102" y="57"/>
                  </a:lnTo>
                  <a:lnTo>
                    <a:pt x="105" y="57"/>
                  </a:lnTo>
                  <a:lnTo>
                    <a:pt x="106" y="57"/>
                  </a:lnTo>
                  <a:lnTo>
                    <a:pt x="108" y="57"/>
                  </a:lnTo>
                  <a:lnTo>
                    <a:pt x="108" y="56"/>
                  </a:lnTo>
                  <a:lnTo>
                    <a:pt x="108" y="55"/>
                  </a:lnTo>
                  <a:lnTo>
                    <a:pt x="108" y="54"/>
                  </a:lnTo>
                  <a:lnTo>
                    <a:pt x="108" y="53"/>
                  </a:lnTo>
                  <a:lnTo>
                    <a:pt x="108" y="52"/>
                  </a:lnTo>
                  <a:lnTo>
                    <a:pt x="108" y="50"/>
                  </a:lnTo>
                  <a:lnTo>
                    <a:pt x="109" y="50"/>
                  </a:lnTo>
                  <a:lnTo>
                    <a:pt x="109" y="49"/>
                  </a:lnTo>
                  <a:lnTo>
                    <a:pt x="111" y="49"/>
                  </a:lnTo>
                  <a:lnTo>
                    <a:pt x="111" y="48"/>
                  </a:lnTo>
                  <a:lnTo>
                    <a:pt x="111" y="47"/>
                  </a:lnTo>
                  <a:lnTo>
                    <a:pt x="111" y="43"/>
                  </a:lnTo>
                  <a:lnTo>
                    <a:pt x="111" y="42"/>
                  </a:lnTo>
                  <a:lnTo>
                    <a:pt x="111" y="41"/>
                  </a:lnTo>
                  <a:lnTo>
                    <a:pt x="112" y="41"/>
                  </a:lnTo>
                  <a:lnTo>
                    <a:pt x="113" y="41"/>
                  </a:lnTo>
                  <a:lnTo>
                    <a:pt x="114" y="41"/>
                  </a:lnTo>
                  <a:lnTo>
                    <a:pt x="115" y="41"/>
                  </a:lnTo>
                  <a:lnTo>
                    <a:pt x="116" y="41"/>
                  </a:lnTo>
                  <a:lnTo>
                    <a:pt x="118" y="41"/>
                  </a:lnTo>
                  <a:lnTo>
                    <a:pt x="119" y="41"/>
                  </a:lnTo>
                  <a:lnTo>
                    <a:pt x="120" y="41"/>
                  </a:lnTo>
                  <a:lnTo>
                    <a:pt x="121" y="41"/>
                  </a:lnTo>
                  <a:lnTo>
                    <a:pt x="122" y="41"/>
                  </a:lnTo>
                  <a:lnTo>
                    <a:pt x="122" y="40"/>
                  </a:lnTo>
                  <a:lnTo>
                    <a:pt x="123" y="40"/>
                  </a:lnTo>
                  <a:lnTo>
                    <a:pt x="125" y="40"/>
                  </a:lnTo>
                  <a:lnTo>
                    <a:pt x="126" y="40"/>
                  </a:lnTo>
                  <a:lnTo>
                    <a:pt x="126" y="41"/>
                  </a:lnTo>
                  <a:lnTo>
                    <a:pt x="126" y="42"/>
                  </a:lnTo>
                  <a:lnTo>
                    <a:pt x="125" y="43"/>
                  </a:lnTo>
                  <a:lnTo>
                    <a:pt x="125" y="45"/>
                  </a:lnTo>
                  <a:lnTo>
                    <a:pt x="125" y="46"/>
                  </a:lnTo>
                  <a:lnTo>
                    <a:pt x="126" y="46"/>
                  </a:lnTo>
                  <a:lnTo>
                    <a:pt x="127" y="46"/>
                  </a:lnTo>
                  <a:lnTo>
                    <a:pt x="128" y="46"/>
                  </a:lnTo>
                  <a:lnTo>
                    <a:pt x="129" y="46"/>
                  </a:lnTo>
                  <a:lnTo>
                    <a:pt x="130" y="46"/>
                  </a:lnTo>
                  <a:lnTo>
                    <a:pt x="131" y="46"/>
                  </a:lnTo>
                  <a:lnTo>
                    <a:pt x="133" y="46"/>
                  </a:lnTo>
                  <a:lnTo>
                    <a:pt x="134" y="46"/>
                  </a:lnTo>
                  <a:lnTo>
                    <a:pt x="135" y="46"/>
                  </a:lnTo>
                  <a:lnTo>
                    <a:pt x="136" y="46"/>
                  </a:lnTo>
                  <a:lnTo>
                    <a:pt x="137" y="46"/>
                  </a:lnTo>
                  <a:lnTo>
                    <a:pt x="138" y="46"/>
                  </a:lnTo>
                  <a:lnTo>
                    <a:pt x="140" y="46"/>
                  </a:lnTo>
                  <a:lnTo>
                    <a:pt x="141" y="46"/>
                  </a:lnTo>
                  <a:lnTo>
                    <a:pt x="142" y="46"/>
                  </a:lnTo>
                  <a:lnTo>
                    <a:pt x="143" y="47"/>
                  </a:lnTo>
                  <a:lnTo>
                    <a:pt x="143" y="48"/>
                  </a:lnTo>
                  <a:lnTo>
                    <a:pt x="143" y="49"/>
                  </a:lnTo>
                  <a:lnTo>
                    <a:pt x="143" y="50"/>
                  </a:lnTo>
                  <a:lnTo>
                    <a:pt x="143" y="52"/>
                  </a:lnTo>
                  <a:lnTo>
                    <a:pt x="142" y="53"/>
                  </a:lnTo>
                  <a:lnTo>
                    <a:pt x="142" y="54"/>
                  </a:lnTo>
                  <a:lnTo>
                    <a:pt x="142" y="55"/>
                  </a:lnTo>
                  <a:lnTo>
                    <a:pt x="142" y="56"/>
                  </a:lnTo>
                  <a:lnTo>
                    <a:pt x="142" y="57"/>
                  </a:lnTo>
                  <a:lnTo>
                    <a:pt x="142" y="59"/>
                  </a:lnTo>
                  <a:lnTo>
                    <a:pt x="143" y="59"/>
                  </a:lnTo>
                  <a:lnTo>
                    <a:pt x="143" y="60"/>
                  </a:lnTo>
                  <a:lnTo>
                    <a:pt x="143" y="61"/>
                  </a:lnTo>
                  <a:lnTo>
                    <a:pt x="143" y="62"/>
                  </a:lnTo>
                  <a:lnTo>
                    <a:pt x="144" y="62"/>
                  </a:lnTo>
                  <a:lnTo>
                    <a:pt x="143" y="62"/>
                  </a:lnTo>
                  <a:lnTo>
                    <a:pt x="143" y="63"/>
                  </a:lnTo>
                  <a:lnTo>
                    <a:pt x="144" y="63"/>
                  </a:lnTo>
                  <a:lnTo>
                    <a:pt x="144" y="64"/>
                  </a:lnTo>
                  <a:lnTo>
                    <a:pt x="144" y="66"/>
                  </a:lnTo>
                  <a:lnTo>
                    <a:pt x="144" y="67"/>
                  </a:lnTo>
                  <a:lnTo>
                    <a:pt x="143" y="68"/>
                  </a:lnTo>
                  <a:lnTo>
                    <a:pt x="143" y="69"/>
                  </a:lnTo>
                  <a:lnTo>
                    <a:pt x="143" y="70"/>
                  </a:lnTo>
                  <a:lnTo>
                    <a:pt x="143" y="71"/>
                  </a:lnTo>
                  <a:lnTo>
                    <a:pt x="143" y="73"/>
                  </a:lnTo>
                  <a:lnTo>
                    <a:pt x="143" y="75"/>
                  </a:lnTo>
                  <a:lnTo>
                    <a:pt x="143" y="76"/>
                  </a:lnTo>
                  <a:lnTo>
                    <a:pt x="143" y="77"/>
                  </a:lnTo>
                  <a:lnTo>
                    <a:pt x="142" y="78"/>
                  </a:lnTo>
                  <a:lnTo>
                    <a:pt x="142" y="80"/>
                  </a:lnTo>
                  <a:lnTo>
                    <a:pt x="142" y="81"/>
                  </a:lnTo>
                  <a:lnTo>
                    <a:pt x="142" y="82"/>
                  </a:lnTo>
                  <a:lnTo>
                    <a:pt x="143" y="83"/>
                  </a:lnTo>
                  <a:lnTo>
                    <a:pt x="144" y="84"/>
                  </a:lnTo>
                  <a:lnTo>
                    <a:pt x="144" y="85"/>
                  </a:lnTo>
                  <a:lnTo>
                    <a:pt x="145" y="87"/>
                  </a:lnTo>
                  <a:lnTo>
                    <a:pt x="147" y="88"/>
                  </a:lnTo>
                  <a:lnTo>
                    <a:pt x="147" y="89"/>
                  </a:lnTo>
                  <a:lnTo>
                    <a:pt x="148" y="90"/>
                  </a:lnTo>
                  <a:lnTo>
                    <a:pt x="148" y="91"/>
                  </a:lnTo>
                  <a:lnTo>
                    <a:pt x="148" y="92"/>
                  </a:lnTo>
                  <a:lnTo>
                    <a:pt x="148" y="94"/>
                  </a:lnTo>
                  <a:lnTo>
                    <a:pt x="149" y="94"/>
                  </a:lnTo>
                  <a:lnTo>
                    <a:pt x="149" y="95"/>
                  </a:lnTo>
                  <a:lnTo>
                    <a:pt x="149" y="96"/>
                  </a:lnTo>
                  <a:lnTo>
                    <a:pt x="148" y="96"/>
                  </a:lnTo>
                  <a:lnTo>
                    <a:pt x="148" y="97"/>
                  </a:lnTo>
                  <a:lnTo>
                    <a:pt x="149" y="97"/>
                  </a:lnTo>
                  <a:lnTo>
                    <a:pt x="149" y="98"/>
                  </a:lnTo>
                  <a:lnTo>
                    <a:pt x="149" y="99"/>
                  </a:lnTo>
                  <a:lnTo>
                    <a:pt x="149" y="101"/>
                  </a:lnTo>
                  <a:lnTo>
                    <a:pt x="149" y="102"/>
                  </a:lnTo>
                  <a:lnTo>
                    <a:pt x="148" y="102"/>
                  </a:lnTo>
                  <a:lnTo>
                    <a:pt x="147" y="102"/>
                  </a:lnTo>
                  <a:lnTo>
                    <a:pt x="147" y="103"/>
                  </a:lnTo>
                  <a:lnTo>
                    <a:pt x="147" y="104"/>
                  </a:lnTo>
                  <a:lnTo>
                    <a:pt x="147" y="105"/>
                  </a:lnTo>
                  <a:lnTo>
                    <a:pt x="148" y="105"/>
                  </a:lnTo>
                  <a:lnTo>
                    <a:pt x="148" y="106"/>
                  </a:lnTo>
                  <a:lnTo>
                    <a:pt x="148" y="108"/>
                  </a:lnTo>
                  <a:lnTo>
                    <a:pt x="148" y="109"/>
                  </a:lnTo>
                  <a:lnTo>
                    <a:pt x="149" y="108"/>
                  </a:lnTo>
                  <a:lnTo>
                    <a:pt x="150" y="108"/>
                  </a:lnTo>
                  <a:lnTo>
                    <a:pt x="151" y="106"/>
                  </a:lnTo>
                  <a:lnTo>
                    <a:pt x="151" y="105"/>
                  </a:lnTo>
                  <a:lnTo>
                    <a:pt x="152" y="106"/>
                  </a:lnTo>
                  <a:lnTo>
                    <a:pt x="154" y="106"/>
                  </a:lnTo>
                  <a:lnTo>
                    <a:pt x="155" y="106"/>
                  </a:lnTo>
                  <a:lnTo>
                    <a:pt x="156" y="105"/>
                  </a:lnTo>
                  <a:lnTo>
                    <a:pt x="157" y="106"/>
                  </a:lnTo>
                  <a:lnTo>
                    <a:pt x="158" y="106"/>
                  </a:lnTo>
                  <a:lnTo>
                    <a:pt x="159" y="106"/>
                  </a:lnTo>
                  <a:lnTo>
                    <a:pt x="161" y="106"/>
                  </a:lnTo>
                  <a:lnTo>
                    <a:pt x="163" y="105"/>
                  </a:lnTo>
                  <a:lnTo>
                    <a:pt x="163" y="104"/>
                  </a:lnTo>
                  <a:lnTo>
                    <a:pt x="164" y="104"/>
                  </a:lnTo>
                  <a:lnTo>
                    <a:pt x="165" y="104"/>
                  </a:lnTo>
                  <a:lnTo>
                    <a:pt x="166" y="104"/>
                  </a:lnTo>
                  <a:lnTo>
                    <a:pt x="168" y="105"/>
                  </a:lnTo>
                  <a:lnTo>
                    <a:pt x="169" y="105"/>
                  </a:lnTo>
                  <a:lnTo>
                    <a:pt x="170" y="105"/>
                  </a:lnTo>
                  <a:lnTo>
                    <a:pt x="170" y="104"/>
                  </a:lnTo>
                  <a:lnTo>
                    <a:pt x="171" y="104"/>
                  </a:lnTo>
                  <a:lnTo>
                    <a:pt x="171" y="103"/>
                  </a:lnTo>
                  <a:lnTo>
                    <a:pt x="172" y="104"/>
                  </a:lnTo>
                  <a:lnTo>
                    <a:pt x="172" y="105"/>
                  </a:lnTo>
                  <a:lnTo>
                    <a:pt x="172" y="106"/>
                  </a:lnTo>
                  <a:lnTo>
                    <a:pt x="172" y="109"/>
                  </a:lnTo>
                  <a:lnTo>
                    <a:pt x="172" y="110"/>
                  </a:lnTo>
                  <a:lnTo>
                    <a:pt x="172" y="111"/>
                  </a:lnTo>
                  <a:lnTo>
                    <a:pt x="172" y="112"/>
                  </a:lnTo>
                  <a:lnTo>
                    <a:pt x="172" y="113"/>
                  </a:lnTo>
                  <a:lnTo>
                    <a:pt x="171" y="113"/>
                  </a:lnTo>
                  <a:lnTo>
                    <a:pt x="171" y="115"/>
                  </a:lnTo>
                  <a:lnTo>
                    <a:pt x="171" y="116"/>
                  </a:lnTo>
                  <a:lnTo>
                    <a:pt x="171" y="117"/>
                  </a:lnTo>
                  <a:lnTo>
                    <a:pt x="171" y="118"/>
                  </a:lnTo>
                  <a:lnTo>
                    <a:pt x="171" y="119"/>
                  </a:lnTo>
                  <a:lnTo>
                    <a:pt x="171" y="120"/>
                  </a:lnTo>
                  <a:lnTo>
                    <a:pt x="171" y="123"/>
                  </a:lnTo>
                  <a:lnTo>
                    <a:pt x="171" y="124"/>
                  </a:lnTo>
                  <a:lnTo>
                    <a:pt x="172" y="125"/>
                  </a:lnTo>
                  <a:lnTo>
                    <a:pt x="172" y="126"/>
                  </a:lnTo>
                  <a:lnTo>
                    <a:pt x="172" y="127"/>
                  </a:lnTo>
                  <a:lnTo>
                    <a:pt x="171" y="129"/>
                  </a:lnTo>
                  <a:lnTo>
                    <a:pt x="171" y="130"/>
                  </a:lnTo>
                  <a:lnTo>
                    <a:pt x="170" y="131"/>
                  </a:lnTo>
                  <a:lnTo>
                    <a:pt x="170" y="132"/>
                  </a:lnTo>
                  <a:lnTo>
                    <a:pt x="170" y="133"/>
                  </a:lnTo>
                  <a:lnTo>
                    <a:pt x="170" y="134"/>
                  </a:lnTo>
                  <a:lnTo>
                    <a:pt x="171" y="134"/>
                  </a:lnTo>
                  <a:lnTo>
                    <a:pt x="171" y="136"/>
                  </a:lnTo>
                  <a:lnTo>
                    <a:pt x="171" y="137"/>
                  </a:lnTo>
                  <a:lnTo>
                    <a:pt x="169" y="137"/>
                  </a:lnTo>
                  <a:lnTo>
                    <a:pt x="168" y="137"/>
                  </a:lnTo>
                  <a:lnTo>
                    <a:pt x="165" y="137"/>
                  </a:lnTo>
                  <a:lnTo>
                    <a:pt x="164" y="137"/>
                  </a:lnTo>
                  <a:lnTo>
                    <a:pt x="162" y="137"/>
                  </a:lnTo>
                  <a:lnTo>
                    <a:pt x="161" y="137"/>
                  </a:lnTo>
                  <a:lnTo>
                    <a:pt x="159" y="137"/>
                  </a:lnTo>
                  <a:lnTo>
                    <a:pt x="157" y="137"/>
                  </a:lnTo>
                  <a:lnTo>
                    <a:pt x="156" y="137"/>
                  </a:lnTo>
                  <a:lnTo>
                    <a:pt x="154" y="137"/>
                  </a:lnTo>
                  <a:lnTo>
                    <a:pt x="152" y="137"/>
                  </a:lnTo>
                  <a:lnTo>
                    <a:pt x="150" y="137"/>
                  </a:lnTo>
                  <a:lnTo>
                    <a:pt x="149" y="137"/>
                  </a:lnTo>
                  <a:lnTo>
                    <a:pt x="147" y="137"/>
                  </a:lnTo>
                  <a:lnTo>
                    <a:pt x="145" y="137"/>
                  </a:lnTo>
                  <a:lnTo>
                    <a:pt x="143" y="137"/>
                  </a:lnTo>
                  <a:lnTo>
                    <a:pt x="143" y="139"/>
                  </a:lnTo>
                  <a:lnTo>
                    <a:pt x="143" y="141"/>
                  </a:lnTo>
                  <a:lnTo>
                    <a:pt x="143" y="144"/>
                  </a:lnTo>
                  <a:lnTo>
                    <a:pt x="143" y="146"/>
                  </a:lnTo>
                  <a:lnTo>
                    <a:pt x="143" y="147"/>
                  </a:lnTo>
                  <a:lnTo>
                    <a:pt x="143" y="148"/>
                  </a:lnTo>
                  <a:lnTo>
                    <a:pt x="143" y="151"/>
                  </a:lnTo>
                  <a:lnTo>
                    <a:pt x="143" y="153"/>
                  </a:lnTo>
                  <a:lnTo>
                    <a:pt x="143" y="155"/>
                  </a:lnTo>
                  <a:lnTo>
                    <a:pt x="143" y="158"/>
                  </a:lnTo>
                  <a:lnTo>
                    <a:pt x="143" y="160"/>
                  </a:lnTo>
                  <a:lnTo>
                    <a:pt x="143" y="162"/>
                  </a:lnTo>
                  <a:lnTo>
                    <a:pt x="143" y="165"/>
                  </a:lnTo>
                  <a:lnTo>
                    <a:pt x="143" y="167"/>
                  </a:lnTo>
                  <a:lnTo>
                    <a:pt x="143" y="169"/>
                  </a:lnTo>
                  <a:lnTo>
                    <a:pt x="143" y="172"/>
                  </a:lnTo>
                  <a:lnTo>
                    <a:pt x="142" y="174"/>
                  </a:lnTo>
                  <a:lnTo>
                    <a:pt x="142" y="175"/>
                  </a:lnTo>
                  <a:lnTo>
                    <a:pt x="142" y="176"/>
                  </a:lnTo>
                  <a:lnTo>
                    <a:pt x="142" y="179"/>
                  </a:lnTo>
                  <a:lnTo>
                    <a:pt x="142" y="180"/>
                  </a:lnTo>
                  <a:lnTo>
                    <a:pt x="142" y="181"/>
                  </a:lnTo>
                  <a:lnTo>
                    <a:pt x="142" y="183"/>
                  </a:lnTo>
                  <a:lnTo>
                    <a:pt x="142" y="185"/>
                  </a:lnTo>
                  <a:lnTo>
                    <a:pt x="142" y="186"/>
                  </a:lnTo>
                  <a:lnTo>
                    <a:pt x="142" y="187"/>
                  </a:lnTo>
                  <a:lnTo>
                    <a:pt x="143" y="187"/>
                  </a:lnTo>
                  <a:lnTo>
                    <a:pt x="143" y="188"/>
                  </a:lnTo>
                  <a:lnTo>
                    <a:pt x="143" y="189"/>
                  </a:lnTo>
                  <a:lnTo>
                    <a:pt x="144" y="190"/>
                  </a:lnTo>
                  <a:lnTo>
                    <a:pt x="143" y="190"/>
                  </a:lnTo>
                  <a:lnTo>
                    <a:pt x="143" y="192"/>
                  </a:lnTo>
                  <a:lnTo>
                    <a:pt x="144" y="192"/>
                  </a:lnTo>
                  <a:lnTo>
                    <a:pt x="144" y="193"/>
                  </a:lnTo>
                  <a:lnTo>
                    <a:pt x="143" y="193"/>
                  </a:lnTo>
                  <a:lnTo>
                    <a:pt x="144" y="193"/>
                  </a:lnTo>
                  <a:lnTo>
                    <a:pt x="144" y="194"/>
                  </a:lnTo>
                  <a:lnTo>
                    <a:pt x="145" y="194"/>
                  </a:lnTo>
                  <a:lnTo>
                    <a:pt x="145" y="195"/>
                  </a:lnTo>
                  <a:lnTo>
                    <a:pt x="145" y="194"/>
                  </a:lnTo>
                  <a:lnTo>
                    <a:pt x="147" y="194"/>
                  </a:lnTo>
                  <a:lnTo>
                    <a:pt x="147" y="195"/>
                  </a:lnTo>
                  <a:lnTo>
                    <a:pt x="148" y="195"/>
                  </a:lnTo>
                  <a:lnTo>
                    <a:pt x="148" y="196"/>
                  </a:lnTo>
                  <a:lnTo>
                    <a:pt x="149" y="197"/>
                  </a:lnTo>
                  <a:lnTo>
                    <a:pt x="149" y="199"/>
                  </a:lnTo>
                  <a:lnTo>
                    <a:pt x="150" y="199"/>
                  </a:lnTo>
                  <a:lnTo>
                    <a:pt x="150" y="200"/>
                  </a:lnTo>
                  <a:lnTo>
                    <a:pt x="151" y="200"/>
                  </a:lnTo>
                  <a:lnTo>
                    <a:pt x="151" y="201"/>
                  </a:lnTo>
                  <a:lnTo>
                    <a:pt x="152" y="201"/>
                  </a:lnTo>
                  <a:lnTo>
                    <a:pt x="152" y="202"/>
                  </a:lnTo>
                  <a:lnTo>
                    <a:pt x="154" y="203"/>
                  </a:lnTo>
                  <a:lnTo>
                    <a:pt x="155" y="204"/>
                  </a:lnTo>
                  <a:lnTo>
                    <a:pt x="156" y="204"/>
                  </a:lnTo>
                  <a:lnTo>
                    <a:pt x="156" y="206"/>
                  </a:lnTo>
                  <a:lnTo>
                    <a:pt x="157" y="207"/>
                  </a:lnTo>
                  <a:lnTo>
                    <a:pt x="158" y="207"/>
                  </a:lnTo>
                  <a:lnTo>
                    <a:pt x="158" y="208"/>
                  </a:lnTo>
                  <a:lnTo>
                    <a:pt x="159" y="208"/>
                  </a:lnTo>
                  <a:lnTo>
                    <a:pt x="161" y="209"/>
                  </a:lnTo>
                  <a:lnTo>
                    <a:pt x="161" y="210"/>
                  </a:lnTo>
                  <a:lnTo>
                    <a:pt x="159" y="210"/>
                  </a:lnTo>
                  <a:lnTo>
                    <a:pt x="157" y="210"/>
                  </a:lnTo>
                  <a:lnTo>
                    <a:pt x="154" y="211"/>
                  </a:lnTo>
                  <a:lnTo>
                    <a:pt x="151" y="211"/>
                  </a:lnTo>
                  <a:lnTo>
                    <a:pt x="148" y="213"/>
                  </a:lnTo>
                  <a:lnTo>
                    <a:pt x="144" y="214"/>
                  </a:lnTo>
                  <a:lnTo>
                    <a:pt x="141" y="214"/>
                  </a:lnTo>
                  <a:lnTo>
                    <a:pt x="137" y="215"/>
                  </a:lnTo>
                  <a:lnTo>
                    <a:pt x="134" y="216"/>
                  </a:lnTo>
                  <a:lnTo>
                    <a:pt x="133" y="216"/>
                  </a:lnTo>
                  <a:lnTo>
                    <a:pt x="133" y="215"/>
                  </a:lnTo>
                  <a:lnTo>
                    <a:pt x="131" y="215"/>
                  </a:lnTo>
                  <a:lnTo>
                    <a:pt x="130" y="215"/>
                  </a:lnTo>
                  <a:lnTo>
                    <a:pt x="129" y="215"/>
                  </a:lnTo>
                  <a:lnTo>
                    <a:pt x="128" y="215"/>
                  </a:lnTo>
                  <a:lnTo>
                    <a:pt x="127" y="215"/>
                  </a:lnTo>
                  <a:lnTo>
                    <a:pt x="127" y="216"/>
                  </a:lnTo>
                  <a:lnTo>
                    <a:pt x="126" y="216"/>
                  </a:lnTo>
                  <a:lnTo>
                    <a:pt x="125" y="216"/>
                  </a:lnTo>
                  <a:lnTo>
                    <a:pt x="125" y="215"/>
                  </a:lnTo>
                  <a:lnTo>
                    <a:pt x="125" y="216"/>
                  </a:lnTo>
                  <a:lnTo>
                    <a:pt x="123" y="216"/>
                  </a:lnTo>
                  <a:lnTo>
                    <a:pt x="123" y="215"/>
                  </a:lnTo>
                  <a:lnTo>
                    <a:pt x="122" y="215"/>
                  </a:lnTo>
                  <a:lnTo>
                    <a:pt x="121" y="215"/>
                  </a:lnTo>
                  <a:lnTo>
                    <a:pt x="121" y="214"/>
                  </a:lnTo>
                  <a:lnTo>
                    <a:pt x="120" y="214"/>
                  </a:lnTo>
                  <a:lnTo>
                    <a:pt x="119" y="214"/>
                  </a:lnTo>
                  <a:lnTo>
                    <a:pt x="118" y="214"/>
                  </a:lnTo>
                  <a:lnTo>
                    <a:pt x="116" y="214"/>
                  </a:lnTo>
                  <a:lnTo>
                    <a:pt x="115" y="214"/>
                  </a:lnTo>
                  <a:lnTo>
                    <a:pt x="114" y="214"/>
                  </a:lnTo>
                  <a:lnTo>
                    <a:pt x="112" y="214"/>
                  </a:lnTo>
                  <a:lnTo>
                    <a:pt x="111" y="214"/>
                  </a:lnTo>
                  <a:lnTo>
                    <a:pt x="109" y="214"/>
                  </a:lnTo>
                  <a:lnTo>
                    <a:pt x="109" y="213"/>
                  </a:lnTo>
                  <a:lnTo>
                    <a:pt x="108" y="214"/>
                  </a:lnTo>
                  <a:lnTo>
                    <a:pt x="106" y="214"/>
                  </a:lnTo>
                  <a:lnTo>
                    <a:pt x="104" y="213"/>
                  </a:lnTo>
                  <a:lnTo>
                    <a:pt x="102" y="213"/>
                  </a:lnTo>
                  <a:lnTo>
                    <a:pt x="101" y="213"/>
                  </a:lnTo>
                  <a:lnTo>
                    <a:pt x="99" y="213"/>
                  </a:lnTo>
                  <a:lnTo>
                    <a:pt x="98" y="211"/>
                  </a:lnTo>
                  <a:lnTo>
                    <a:pt x="97" y="211"/>
                  </a:lnTo>
                  <a:lnTo>
                    <a:pt x="95" y="210"/>
                  </a:lnTo>
                  <a:lnTo>
                    <a:pt x="95" y="209"/>
                  </a:lnTo>
                  <a:lnTo>
                    <a:pt x="94" y="209"/>
                  </a:lnTo>
                  <a:lnTo>
                    <a:pt x="94" y="208"/>
                  </a:lnTo>
                  <a:lnTo>
                    <a:pt x="94" y="207"/>
                  </a:lnTo>
                  <a:lnTo>
                    <a:pt x="93" y="207"/>
                  </a:lnTo>
                  <a:lnTo>
                    <a:pt x="93" y="206"/>
                  </a:lnTo>
                  <a:lnTo>
                    <a:pt x="92" y="206"/>
                  </a:lnTo>
                  <a:lnTo>
                    <a:pt x="88" y="206"/>
                  </a:lnTo>
                  <a:lnTo>
                    <a:pt x="87" y="206"/>
                  </a:lnTo>
                  <a:lnTo>
                    <a:pt x="85" y="206"/>
                  </a:lnTo>
                  <a:lnTo>
                    <a:pt x="81" y="206"/>
                  </a:lnTo>
                  <a:lnTo>
                    <a:pt x="78" y="206"/>
                  </a:lnTo>
                  <a:lnTo>
                    <a:pt x="77" y="206"/>
                  </a:lnTo>
                  <a:lnTo>
                    <a:pt x="74" y="206"/>
                  </a:lnTo>
                  <a:lnTo>
                    <a:pt x="71" y="206"/>
                  </a:lnTo>
                  <a:lnTo>
                    <a:pt x="67" y="206"/>
                  </a:lnTo>
                  <a:lnTo>
                    <a:pt x="64" y="206"/>
                  </a:lnTo>
                  <a:lnTo>
                    <a:pt x="61" y="206"/>
                  </a:lnTo>
                  <a:lnTo>
                    <a:pt x="57" y="206"/>
                  </a:lnTo>
                  <a:lnTo>
                    <a:pt x="54" y="206"/>
                  </a:lnTo>
                  <a:lnTo>
                    <a:pt x="50" y="206"/>
                  </a:lnTo>
                  <a:lnTo>
                    <a:pt x="47" y="206"/>
                  </a:lnTo>
                  <a:lnTo>
                    <a:pt x="43" y="206"/>
                  </a:lnTo>
                  <a:lnTo>
                    <a:pt x="40" y="206"/>
                  </a:lnTo>
                  <a:lnTo>
                    <a:pt x="36" y="206"/>
                  </a:lnTo>
                  <a:lnTo>
                    <a:pt x="35" y="206"/>
                  </a:lnTo>
                  <a:lnTo>
                    <a:pt x="35" y="207"/>
                  </a:lnTo>
                  <a:lnTo>
                    <a:pt x="34" y="207"/>
                  </a:lnTo>
                  <a:lnTo>
                    <a:pt x="33" y="207"/>
                  </a:lnTo>
                  <a:lnTo>
                    <a:pt x="31" y="207"/>
                  </a:lnTo>
                  <a:lnTo>
                    <a:pt x="30" y="206"/>
                  </a:lnTo>
                  <a:lnTo>
                    <a:pt x="29" y="204"/>
                  </a:lnTo>
                  <a:lnTo>
                    <a:pt x="28" y="203"/>
                  </a:lnTo>
                  <a:lnTo>
                    <a:pt x="27" y="202"/>
                  </a:lnTo>
                  <a:lnTo>
                    <a:pt x="26" y="202"/>
                  </a:lnTo>
                  <a:lnTo>
                    <a:pt x="26" y="201"/>
                  </a:lnTo>
                  <a:lnTo>
                    <a:pt x="24" y="200"/>
                  </a:lnTo>
                  <a:lnTo>
                    <a:pt x="23" y="200"/>
                  </a:lnTo>
                  <a:lnTo>
                    <a:pt x="22" y="200"/>
                  </a:lnTo>
                  <a:lnTo>
                    <a:pt x="21" y="200"/>
                  </a:lnTo>
                  <a:lnTo>
                    <a:pt x="21" y="199"/>
                  </a:lnTo>
                  <a:lnTo>
                    <a:pt x="21" y="200"/>
                  </a:lnTo>
                  <a:lnTo>
                    <a:pt x="21" y="199"/>
                  </a:lnTo>
                  <a:lnTo>
                    <a:pt x="20" y="199"/>
                  </a:lnTo>
                  <a:lnTo>
                    <a:pt x="19" y="200"/>
                  </a:lnTo>
                  <a:lnTo>
                    <a:pt x="17" y="200"/>
                  </a:lnTo>
                  <a:lnTo>
                    <a:pt x="16" y="200"/>
                  </a:lnTo>
                  <a:lnTo>
                    <a:pt x="16" y="201"/>
                  </a:lnTo>
                  <a:lnTo>
                    <a:pt x="15" y="201"/>
                  </a:lnTo>
                  <a:lnTo>
                    <a:pt x="15" y="202"/>
                  </a:lnTo>
                  <a:lnTo>
                    <a:pt x="14" y="202"/>
                  </a:lnTo>
                  <a:lnTo>
                    <a:pt x="13" y="203"/>
                  </a:lnTo>
                  <a:lnTo>
                    <a:pt x="12" y="203"/>
                  </a:lnTo>
                  <a:lnTo>
                    <a:pt x="10" y="203"/>
                  </a:lnTo>
                  <a:lnTo>
                    <a:pt x="9" y="203"/>
                  </a:lnTo>
                  <a:lnTo>
                    <a:pt x="8" y="203"/>
                  </a:lnTo>
                  <a:lnTo>
                    <a:pt x="7" y="203"/>
                  </a:lnTo>
                  <a:lnTo>
                    <a:pt x="7" y="202"/>
                  </a:lnTo>
                  <a:lnTo>
                    <a:pt x="6" y="202"/>
                  </a:lnTo>
                  <a:lnTo>
                    <a:pt x="5" y="202"/>
                  </a:lnTo>
                  <a:lnTo>
                    <a:pt x="3" y="202"/>
                  </a:lnTo>
                  <a:lnTo>
                    <a:pt x="2" y="203"/>
                  </a:lnTo>
                  <a:lnTo>
                    <a:pt x="2" y="204"/>
                  </a:lnTo>
                  <a:lnTo>
                    <a:pt x="1" y="204"/>
                  </a:lnTo>
                  <a:lnTo>
                    <a:pt x="1" y="203"/>
                  </a:lnTo>
                  <a:lnTo>
                    <a:pt x="1" y="202"/>
                  </a:lnTo>
                  <a:lnTo>
                    <a:pt x="1" y="200"/>
                  </a:lnTo>
                  <a:lnTo>
                    <a:pt x="1" y="199"/>
                  </a:lnTo>
                  <a:lnTo>
                    <a:pt x="1" y="197"/>
                  </a:lnTo>
                  <a:lnTo>
                    <a:pt x="1" y="196"/>
                  </a:lnTo>
                  <a:lnTo>
                    <a:pt x="1" y="197"/>
                  </a:lnTo>
                  <a:lnTo>
                    <a:pt x="2" y="196"/>
                  </a:lnTo>
                  <a:lnTo>
                    <a:pt x="2" y="195"/>
                  </a:lnTo>
                  <a:lnTo>
                    <a:pt x="2" y="193"/>
                  </a:lnTo>
                  <a:lnTo>
                    <a:pt x="2" y="192"/>
                  </a:lnTo>
                  <a:lnTo>
                    <a:pt x="1" y="186"/>
                  </a:lnTo>
                  <a:lnTo>
                    <a:pt x="1" y="185"/>
                  </a:lnTo>
                  <a:lnTo>
                    <a:pt x="2" y="185"/>
                  </a:lnTo>
                  <a:lnTo>
                    <a:pt x="1" y="183"/>
                  </a:lnTo>
                  <a:lnTo>
                    <a:pt x="1" y="182"/>
                  </a:lnTo>
                  <a:lnTo>
                    <a:pt x="1" y="181"/>
                  </a:lnTo>
                  <a:lnTo>
                    <a:pt x="1" y="180"/>
                  </a:lnTo>
                  <a:lnTo>
                    <a:pt x="2" y="180"/>
                  </a:lnTo>
                  <a:lnTo>
                    <a:pt x="2" y="181"/>
                  </a:lnTo>
                  <a:lnTo>
                    <a:pt x="3" y="180"/>
                  </a:lnTo>
                  <a:lnTo>
                    <a:pt x="3" y="179"/>
                  </a:lnTo>
                  <a:lnTo>
                    <a:pt x="5" y="178"/>
                  </a:lnTo>
                  <a:lnTo>
                    <a:pt x="5" y="176"/>
                  </a:lnTo>
                  <a:lnTo>
                    <a:pt x="6" y="175"/>
                  </a:lnTo>
                  <a:lnTo>
                    <a:pt x="5" y="175"/>
                  </a:lnTo>
                  <a:lnTo>
                    <a:pt x="5" y="174"/>
                  </a:lnTo>
                  <a:lnTo>
                    <a:pt x="6" y="174"/>
                  </a:lnTo>
                  <a:lnTo>
                    <a:pt x="6" y="172"/>
                  </a:lnTo>
                  <a:lnTo>
                    <a:pt x="6" y="171"/>
                  </a:lnTo>
                  <a:lnTo>
                    <a:pt x="7" y="171"/>
                  </a:lnTo>
                  <a:lnTo>
                    <a:pt x="7" y="169"/>
                  </a:lnTo>
                  <a:lnTo>
                    <a:pt x="6" y="169"/>
                  </a:lnTo>
                  <a:lnTo>
                    <a:pt x="7" y="169"/>
                  </a:lnTo>
                  <a:lnTo>
                    <a:pt x="7" y="168"/>
                  </a:lnTo>
                  <a:lnTo>
                    <a:pt x="7" y="167"/>
                  </a:lnTo>
                  <a:lnTo>
                    <a:pt x="8" y="167"/>
                  </a:lnTo>
                  <a:lnTo>
                    <a:pt x="8" y="166"/>
                  </a:lnTo>
                  <a:lnTo>
                    <a:pt x="8" y="165"/>
                  </a:lnTo>
                  <a:lnTo>
                    <a:pt x="8" y="166"/>
                  </a:lnTo>
                  <a:lnTo>
                    <a:pt x="8" y="165"/>
                  </a:lnTo>
                  <a:lnTo>
                    <a:pt x="8" y="164"/>
                  </a:lnTo>
                  <a:lnTo>
                    <a:pt x="9" y="162"/>
                  </a:lnTo>
                  <a:lnTo>
                    <a:pt x="9" y="161"/>
                  </a:lnTo>
                  <a:lnTo>
                    <a:pt x="9" y="160"/>
                  </a:lnTo>
                  <a:lnTo>
                    <a:pt x="9" y="159"/>
                  </a:lnTo>
                  <a:lnTo>
                    <a:pt x="9" y="158"/>
                  </a:lnTo>
                  <a:lnTo>
                    <a:pt x="9" y="157"/>
                  </a:lnTo>
                  <a:lnTo>
                    <a:pt x="9" y="155"/>
                  </a:lnTo>
                  <a:lnTo>
                    <a:pt x="10" y="154"/>
                  </a:lnTo>
                  <a:lnTo>
                    <a:pt x="9" y="154"/>
                  </a:lnTo>
                  <a:lnTo>
                    <a:pt x="9" y="153"/>
                  </a:lnTo>
                  <a:lnTo>
                    <a:pt x="10" y="153"/>
                  </a:lnTo>
                  <a:lnTo>
                    <a:pt x="10" y="152"/>
                  </a:lnTo>
                  <a:lnTo>
                    <a:pt x="10" y="151"/>
                  </a:lnTo>
                  <a:lnTo>
                    <a:pt x="12" y="151"/>
                  </a:lnTo>
                  <a:lnTo>
                    <a:pt x="12" y="150"/>
                  </a:lnTo>
                  <a:lnTo>
                    <a:pt x="12" y="151"/>
                  </a:lnTo>
                  <a:lnTo>
                    <a:pt x="12" y="150"/>
                  </a:lnTo>
                  <a:lnTo>
                    <a:pt x="13" y="147"/>
                  </a:lnTo>
                  <a:lnTo>
                    <a:pt x="13" y="146"/>
                  </a:lnTo>
                  <a:lnTo>
                    <a:pt x="13" y="145"/>
                  </a:lnTo>
                  <a:lnTo>
                    <a:pt x="13" y="144"/>
                  </a:lnTo>
                  <a:lnTo>
                    <a:pt x="13" y="143"/>
                  </a:lnTo>
                  <a:lnTo>
                    <a:pt x="14" y="143"/>
                  </a:lnTo>
                  <a:lnTo>
                    <a:pt x="14" y="141"/>
                  </a:lnTo>
                  <a:lnTo>
                    <a:pt x="14" y="140"/>
                  </a:lnTo>
                  <a:lnTo>
                    <a:pt x="15" y="140"/>
                  </a:lnTo>
                  <a:lnTo>
                    <a:pt x="15" y="139"/>
                  </a:lnTo>
                  <a:lnTo>
                    <a:pt x="16" y="139"/>
                  </a:lnTo>
                  <a:lnTo>
                    <a:pt x="16" y="138"/>
                  </a:lnTo>
                  <a:lnTo>
                    <a:pt x="17" y="138"/>
                  </a:lnTo>
                  <a:lnTo>
                    <a:pt x="17" y="137"/>
                  </a:lnTo>
                  <a:lnTo>
                    <a:pt x="19" y="137"/>
                  </a:lnTo>
                  <a:lnTo>
                    <a:pt x="19" y="136"/>
                  </a:lnTo>
                  <a:lnTo>
                    <a:pt x="19" y="134"/>
                  </a:lnTo>
                  <a:lnTo>
                    <a:pt x="19" y="133"/>
                  </a:lnTo>
                  <a:lnTo>
                    <a:pt x="20" y="132"/>
                  </a:lnTo>
                  <a:lnTo>
                    <a:pt x="21" y="131"/>
                  </a:lnTo>
                  <a:lnTo>
                    <a:pt x="21" y="130"/>
                  </a:lnTo>
                  <a:lnTo>
                    <a:pt x="22" y="130"/>
                  </a:lnTo>
                  <a:lnTo>
                    <a:pt x="23" y="130"/>
                  </a:lnTo>
                  <a:lnTo>
                    <a:pt x="24" y="130"/>
                  </a:lnTo>
                  <a:lnTo>
                    <a:pt x="26" y="129"/>
                  </a:lnTo>
                  <a:lnTo>
                    <a:pt x="26" y="127"/>
                  </a:lnTo>
                  <a:lnTo>
                    <a:pt x="27" y="126"/>
                  </a:lnTo>
                  <a:lnTo>
                    <a:pt x="27" y="125"/>
                  </a:lnTo>
                  <a:lnTo>
                    <a:pt x="27" y="126"/>
                  </a:lnTo>
                  <a:lnTo>
                    <a:pt x="28" y="125"/>
                  </a:lnTo>
                  <a:lnTo>
                    <a:pt x="28" y="123"/>
                  </a:lnTo>
                  <a:lnTo>
                    <a:pt x="29" y="123"/>
                  </a:lnTo>
                  <a:lnTo>
                    <a:pt x="29" y="122"/>
                  </a:lnTo>
                  <a:lnTo>
                    <a:pt x="29" y="120"/>
                  </a:lnTo>
                  <a:lnTo>
                    <a:pt x="30" y="120"/>
                  </a:lnTo>
                  <a:lnTo>
                    <a:pt x="30" y="119"/>
                  </a:lnTo>
                  <a:lnTo>
                    <a:pt x="30" y="118"/>
                  </a:lnTo>
                  <a:lnTo>
                    <a:pt x="30" y="117"/>
                  </a:lnTo>
                  <a:lnTo>
                    <a:pt x="30" y="115"/>
                  </a:lnTo>
                  <a:lnTo>
                    <a:pt x="30" y="112"/>
                  </a:lnTo>
                  <a:lnTo>
                    <a:pt x="30" y="111"/>
                  </a:lnTo>
                  <a:lnTo>
                    <a:pt x="30" y="110"/>
                  </a:lnTo>
                  <a:lnTo>
                    <a:pt x="30" y="109"/>
                  </a:lnTo>
                  <a:lnTo>
                    <a:pt x="31" y="106"/>
                  </a:lnTo>
                  <a:lnTo>
                    <a:pt x="31" y="105"/>
                  </a:lnTo>
                  <a:lnTo>
                    <a:pt x="31" y="104"/>
                  </a:lnTo>
                  <a:lnTo>
                    <a:pt x="31" y="103"/>
                  </a:lnTo>
                  <a:lnTo>
                    <a:pt x="30" y="102"/>
                  </a:lnTo>
                  <a:lnTo>
                    <a:pt x="29" y="101"/>
                  </a:lnTo>
                  <a:lnTo>
                    <a:pt x="30" y="101"/>
                  </a:lnTo>
                  <a:lnTo>
                    <a:pt x="30" y="99"/>
                  </a:lnTo>
                  <a:lnTo>
                    <a:pt x="29" y="98"/>
                  </a:lnTo>
                  <a:lnTo>
                    <a:pt x="28" y="97"/>
                  </a:lnTo>
                  <a:lnTo>
                    <a:pt x="27" y="96"/>
                  </a:lnTo>
                  <a:lnTo>
                    <a:pt x="27" y="95"/>
                  </a:lnTo>
                  <a:lnTo>
                    <a:pt x="27" y="94"/>
                  </a:lnTo>
                  <a:lnTo>
                    <a:pt x="26" y="92"/>
                  </a:lnTo>
                  <a:lnTo>
                    <a:pt x="26" y="91"/>
                  </a:lnTo>
                  <a:lnTo>
                    <a:pt x="24" y="90"/>
                  </a:lnTo>
                  <a:lnTo>
                    <a:pt x="24" y="89"/>
                  </a:lnTo>
                  <a:lnTo>
                    <a:pt x="24" y="88"/>
                  </a:lnTo>
                  <a:lnTo>
                    <a:pt x="24" y="87"/>
                  </a:lnTo>
                  <a:lnTo>
                    <a:pt x="23" y="85"/>
                  </a:lnTo>
                  <a:lnTo>
                    <a:pt x="22" y="84"/>
                  </a:lnTo>
                  <a:lnTo>
                    <a:pt x="23" y="83"/>
                  </a:lnTo>
                  <a:lnTo>
                    <a:pt x="22" y="82"/>
                  </a:lnTo>
                  <a:lnTo>
                    <a:pt x="22" y="81"/>
                  </a:lnTo>
                  <a:lnTo>
                    <a:pt x="22" y="80"/>
                  </a:lnTo>
                  <a:lnTo>
                    <a:pt x="22" y="78"/>
                  </a:lnTo>
                  <a:lnTo>
                    <a:pt x="21" y="78"/>
                  </a:lnTo>
                  <a:lnTo>
                    <a:pt x="21" y="76"/>
                  </a:lnTo>
                  <a:lnTo>
                    <a:pt x="20" y="75"/>
                  </a:lnTo>
                  <a:lnTo>
                    <a:pt x="20" y="74"/>
                  </a:lnTo>
                  <a:lnTo>
                    <a:pt x="20" y="73"/>
                  </a:lnTo>
                  <a:lnTo>
                    <a:pt x="21" y="71"/>
                  </a:lnTo>
                  <a:lnTo>
                    <a:pt x="22" y="71"/>
                  </a:lnTo>
                  <a:lnTo>
                    <a:pt x="21" y="71"/>
                  </a:lnTo>
                  <a:lnTo>
                    <a:pt x="21" y="73"/>
                  </a:lnTo>
                  <a:lnTo>
                    <a:pt x="20" y="74"/>
                  </a:lnTo>
                  <a:lnTo>
                    <a:pt x="20" y="75"/>
                  </a:lnTo>
                  <a:lnTo>
                    <a:pt x="20" y="74"/>
                  </a:lnTo>
                  <a:lnTo>
                    <a:pt x="21" y="73"/>
                  </a:lnTo>
                  <a:lnTo>
                    <a:pt x="22" y="73"/>
                  </a:lnTo>
                  <a:lnTo>
                    <a:pt x="22" y="71"/>
                  </a:lnTo>
                  <a:lnTo>
                    <a:pt x="22" y="70"/>
                  </a:lnTo>
                  <a:lnTo>
                    <a:pt x="23" y="69"/>
                  </a:lnTo>
                  <a:lnTo>
                    <a:pt x="23" y="70"/>
                  </a:lnTo>
                  <a:lnTo>
                    <a:pt x="22" y="70"/>
                  </a:lnTo>
                  <a:lnTo>
                    <a:pt x="23" y="70"/>
                  </a:lnTo>
                  <a:lnTo>
                    <a:pt x="23" y="69"/>
                  </a:lnTo>
                  <a:lnTo>
                    <a:pt x="24" y="69"/>
                  </a:lnTo>
                  <a:lnTo>
                    <a:pt x="26" y="69"/>
                  </a:lnTo>
                  <a:lnTo>
                    <a:pt x="26" y="68"/>
                  </a:lnTo>
                  <a:lnTo>
                    <a:pt x="26" y="67"/>
                  </a:lnTo>
                  <a:lnTo>
                    <a:pt x="24" y="67"/>
                  </a:lnTo>
                  <a:lnTo>
                    <a:pt x="24" y="66"/>
                  </a:lnTo>
                  <a:lnTo>
                    <a:pt x="24" y="64"/>
                  </a:lnTo>
                  <a:lnTo>
                    <a:pt x="26" y="64"/>
                  </a:lnTo>
                  <a:lnTo>
                    <a:pt x="26" y="63"/>
                  </a:lnTo>
                  <a:lnTo>
                    <a:pt x="24" y="62"/>
                  </a:lnTo>
                  <a:lnTo>
                    <a:pt x="23" y="60"/>
                  </a:lnTo>
                  <a:lnTo>
                    <a:pt x="23" y="59"/>
                  </a:lnTo>
                  <a:lnTo>
                    <a:pt x="22" y="57"/>
                  </a:lnTo>
                  <a:lnTo>
                    <a:pt x="22" y="55"/>
                  </a:lnTo>
                  <a:lnTo>
                    <a:pt x="20" y="50"/>
                  </a:lnTo>
                  <a:lnTo>
                    <a:pt x="19" y="48"/>
                  </a:lnTo>
                  <a:lnTo>
                    <a:pt x="19" y="47"/>
                  </a:lnTo>
                  <a:lnTo>
                    <a:pt x="19" y="46"/>
                  </a:lnTo>
                  <a:lnTo>
                    <a:pt x="17" y="46"/>
                  </a:lnTo>
                  <a:lnTo>
                    <a:pt x="17" y="45"/>
                  </a:lnTo>
                  <a:lnTo>
                    <a:pt x="17" y="41"/>
                  </a:lnTo>
                  <a:lnTo>
                    <a:pt x="17" y="40"/>
                  </a:lnTo>
                  <a:lnTo>
                    <a:pt x="16" y="39"/>
                  </a:lnTo>
                  <a:lnTo>
                    <a:pt x="15" y="38"/>
                  </a:lnTo>
                  <a:lnTo>
                    <a:pt x="14" y="35"/>
                  </a:lnTo>
                  <a:lnTo>
                    <a:pt x="13" y="33"/>
                  </a:lnTo>
                  <a:lnTo>
                    <a:pt x="12" y="32"/>
                  </a:lnTo>
                  <a:lnTo>
                    <a:pt x="12" y="31"/>
                  </a:lnTo>
                  <a:lnTo>
                    <a:pt x="10" y="29"/>
                  </a:lnTo>
                  <a:lnTo>
                    <a:pt x="10" y="28"/>
                  </a:lnTo>
                  <a:lnTo>
                    <a:pt x="10" y="27"/>
                  </a:lnTo>
                  <a:lnTo>
                    <a:pt x="12" y="27"/>
                  </a:lnTo>
                  <a:lnTo>
                    <a:pt x="13" y="27"/>
                  </a:lnTo>
                  <a:lnTo>
                    <a:pt x="14" y="27"/>
                  </a:lnTo>
                  <a:lnTo>
                    <a:pt x="15" y="26"/>
                  </a:lnTo>
                  <a:lnTo>
                    <a:pt x="16" y="26"/>
                  </a:lnTo>
                  <a:lnTo>
                    <a:pt x="17" y="26"/>
                  </a:lnTo>
                  <a:lnTo>
                    <a:pt x="19" y="26"/>
                  </a:lnTo>
                  <a:lnTo>
                    <a:pt x="20" y="25"/>
                  </a:lnTo>
                  <a:lnTo>
                    <a:pt x="20" y="24"/>
                  </a:lnTo>
                  <a:lnTo>
                    <a:pt x="21" y="24"/>
                  </a:lnTo>
                  <a:lnTo>
                    <a:pt x="22" y="24"/>
                  </a:lnTo>
                  <a:lnTo>
                    <a:pt x="23" y="24"/>
                  </a:lnTo>
                  <a:lnTo>
                    <a:pt x="24" y="24"/>
                  </a:lnTo>
                  <a:lnTo>
                    <a:pt x="26" y="24"/>
                  </a:lnTo>
                  <a:lnTo>
                    <a:pt x="27" y="24"/>
                  </a:lnTo>
                  <a:lnTo>
                    <a:pt x="28" y="24"/>
                  </a:lnTo>
                  <a:lnTo>
                    <a:pt x="29" y="24"/>
                  </a:lnTo>
                  <a:lnTo>
                    <a:pt x="31" y="24"/>
                  </a:lnTo>
                  <a:lnTo>
                    <a:pt x="34" y="24"/>
                  </a:lnTo>
                  <a:close/>
                  <a:moveTo>
                    <a:pt x="17" y="0"/>
                  </a:moveTo>
                  <a:lnTo>
                    <a:pt x="19" y="0"/>
                  </a:lnTo>
                  <a:lnTo>
                    <a:pt x="19" y="1"/>
                  </a:lnTo>
                  <a:lnTo>
                    <a:pt x="20" y="3"/>
                  </a:lnTo>
                  <a:lnTo>
                    <a:pt x="21" y="4"/>
                  </a:lnTo>
                  <a:lnTo>
                    <a:pt x="21" y="5"/>
                  </a:lnTo>
                  <a:lnTo>
                    <a:pt x="17" y="5"/>
                  </a:lnTo>
                  <a:lnTo>
                    <a:pt x="17" y="6"/>
                  </a:lnTo>
                  <a:lnTo>
                    <a:pt x="17" y="7"/>
                  </a:lnTo>
                  <a:lnTo>
                    <a:pt x="16" y="7"/>
                  </a:lnTo>
                  <a:lnTo>
                    <a:pt x="16" y="8"/>
                  </a:lnTo>
                  <a:lnTo>
                    <a:pt x="15" y="8"/>
                  </a:lnTo>
                  <a:lnTo>
                    <a:pt x="15" y="10"/>
                  </a:lnTo>
                  <a:lnTo>
                    <a:pt x="14" y="10"/>
                  </a:lnTo>
                  <a:lnTo>
                    <a:pt x="14" y="11"/>
                  </a:lnTo>
                  <a:lnTo>
                    <a:pt x="13" y="11"/>
                  </a:lnTo>
                  <a:lnTo>
                    <a:pt x="13" y="12"/>
                  </a:lnTo>
                  <a:lnTo>
                    <a:pt x="14" y="12"/>
                  </a:lnTo>
                  <a:lnTo>
                    <a:pt x="14" y="13"/>
                  </a:lnTo>
                  <a:lnTo>
                    <a:pt x="14" y="15"/>
                  </a:lnTo>
                  <a:lnTo>
                    <a:pt x="14" y="17"/>
                  </a:lnTo>
                  <a:lnTo>
                    <a:pt x="14" y="19"/>
                  </a:lnTo>
                  <a:lnTo>
                    <a:pt x="13" y="20"/>
                  </a:lnTo>
                  <a:lnTo>
                    <a:pt x="13" y="21"/>
                  </a:lnTo>
                  <a:lnTo>
                    <a:pt x="10" y="21"/>
                  </a:lnTo>
                  <a:lnTo>
                    <a:pt x="9" y="21"/>
                  </a:lnTo>
                  <a:lnTo>
                    <a:pt x="9" y="22"/>
                  </a:lnTo>
                  <a:lnTo>
                    <a:pt x="8" y="20"/>
                  </a:lnTo>
                  <a:lnTo>
                    <a:pt x="8" y="19"/>
                  </a:lnTo>
                  <a:lnTo>
                    <a:pt x="9" y="19"/>
                  </a:lnTo>
                  <a:lnTo>
                    <a:pt x="9" y="18"/>
                  </a:lnTo>
                  <a:lnTo>
                    <a:pt x="9" y="17"/>
                  </a:lnTo>
                  <a:lnTo>
                    <a:pt x="8" y="15"/>
                  </a:lnTo>
                  <a:lnTo>
                    <a:pt x="8" y="14"/>
                  </a:lnTo>
                  <a:lnTo>
                    <a:pt x="8" y="13"/>
                  </a:lnTo>
                  <a:lnTo>
                    <a:pt x="7" y="12"/>
                  </a:lnTo>
                  <a:lnTo>
                    <a:pt x="7" y="11"/>
                  </a:lnTo>
                  <a:lnTo>
                    <a:pt x="8" y="11"/>
                  </a:lnTo>
                  <a:lnTo>
                    <a:pt x="8" y="10"/>
                  </a:lnTo>
                  <a:lnTo>
                    <a:pt x="8" y="11"/>
                  </a:lnTo>
                  <a:lnTo>
                    <a:pt x="7" y="11"/>
                  </a:lnTo>
                  <a:lnTo>
                    <a:pt x="7" y="10"/>
                  </a:lnTo>
                  <a:lnTo>
                    <a:pt x="7" y="11"/>
                  </a:lnTo>
                  <a:lnTo>
                    <a:pt x="7" y="10"/>
                  </a:lnTo>
                  <a:lnTo>
                    <a:pt x="7" y="11"/>
                  </a:lnTo>
                  <a:lnTo>
                    <a:pt x="7" y="10"/>
                  </a:lnTo>
                  <a:lnTo>
                    <a:pt x="8" y="8"/>
                  </a:lnTo>
                  <a:lnTo>
                    <a:pt x="8" y="7"/>
                  </a:lnTo>
                  <a:lnTo>
                    <a:pt x="9" y="6"/>
                  </a:lnTo>
                  <a:lnTo>
                    <a:pt x="9" y="7"/>
                  </a:lnTo>
                  <a:lnTo>
                    <a:pt x="9" y="6"/>
                  </a:lnTo>
                  <a:lnTo>
                    <a:pt x="10" y="6"/>
                  </a:lnTo>
                  <a:lnTo>
                    <a:pt x="12" y="5"/>
                  </a:lnTo>
                  <a:lnTo>
                    <a:pt x="12" y="4"/>
                  </a:lnTo>
                  <a:lnTo>
                    <a:pt x="13" y="4"/>
                  </a:lnTo>
                  <a:lnTo>
                    <a:pt x="15" y="3"/>
                  </a:lnTo>
                  <a:lnTo>
                    <a:pt x="15" y="1"/>
                  </a:lnTo>
                  <a:lnTo>
                    <a:pt x="16" y="1"/>
                  </a:lnTo>
                  <a:lnTo>
                    <a:pt x="16" y="0"/>
                  </a:lnTo>
                  <a:lnTo>
                    <a:pt x="17" y="0"/>
                  </a:lnTo>
                  <a:close/>
                </a:path>
              </a:pathLst>
            </a:custGeom>
            <a:solidFill>
              <a:srgbClr val="0053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9" name="Freeform 820">
              <a:extLst>
                <a:ext uri="{FF2B5EF4-FFF2-40B4-BE49-F238E27FC236}">
                  <a16:creationId xmlns:a16="http://schemas.microsoft.com/office/drawing/2014/main" id="{A74552C0-BA2D-4CE8-A8C8-F510ED4B9771}"/>
                </a:ext>
              </a:extLst>
            </p:cNvPr>
            <p:cNvSpPr>
              <a:spLocks noEditPoints="1"/>
            </p:cNvSpPr>
            <p:nvPr/>
          </p:nvSpPr>
          <p:spPr bwMode="auto">
            <a:xfrm>
              <a:off x="4643218" y="2954559"/>
              <a:ext cx="8013" cy="9349"/>
            </a:xfrm>
            <a:custGeom>
              <a:avLst/>
              <a:gdLst>
                <a:gd name="T0" fmla="*/ 4 w 6"/>
                <a:gd name="T1" fmla="*/ 6 h 7"/>
                <a:gd name="T2" fmla="*/ 4 w 6"/>
                <a:gd name="T3" fmla="*/ 7 h 7"/>
                <a:gd name="T4" fmla="*/ 4 w 6"/>
                <a:gd name="T5" fmla="*/ 7 h 7"/>
                <a:gd name="T6" fmla="*/ 4 w 6"/>
                <a:gd name="T7" fmla="*/ 7 h 7"/>
                <a:gd name="T8" fmla="*/ 3 w 6"/>
                <a:gd name="T9" fmla="*/ 7 h 7"/>
                <a:gd name="T10" fmla="*/ 3 w 6"/>
                <a:gd name="T11" fmla="*/ 7 h 7"/>
                <a:gd name="T12" fmla="*/ 3 w 6"/>
                <a:gd name="T13" fmla="*/ 7 h 7"/>
                <a:gd name="T14" fmla="*/ 3 w 6"/>
                <a:gd name="T15" fmla="*/ 7 h 7"/>
                <a:gd name="T16" fmla="*/ 3 w 6"/>
                <a:gd name="T17" fmla="*/ 6 h 7"/>
                <a:gd name="T18" fmla="*/ 3 w 6"/>
                <a:gd name="T19" fmla="*/ 6 h 7"/>
                <a:gd name="T20" fmla="*/ 3 w 6"/>
                <a:gd name="T21" fmla="*/ 6 h 7"/>
                <a:gd name="T22" fmla="*/ 4 w 6"/>
                <a:gd name="T23" fmla="*/ 6 h 7"/>
                <a:gd name="T24" fmla="*/ 4 w 6"/>
                <a:gd name="T25" fmla="*/ 6 h 7"/>
                <a:gd name="T26" fmla="*/ 4 w 6"/>
                <a:gd name="T27" fmla="*/ 6 h 7"/>
                <a:gd name="T28" fmla="*/ 4 w 6"/>
                <a:gd name="T29" fmla="*/ 6 h 7"/>
                <a:gd name="T30" fmla="*/ 4 w 6"/>
                <a:gd name="T31" fmla="*/ 5 h 7"/>
                <a:gd name="T32" fmla="*/ 6 w 6"/>
                <a:gd name="T33" fmla="*/ 5 h 7"/>
                <a:gd name="T34" fmla="*/ 6 w 6"/>
                <a:gd name="T35" fmla="*/ 5 h 7"/>
                <a:gd name="T36" fmla="*/ 6 w 6"/>
                <a:gd name="T37" fmla="*/ 5 h 7"/>
                <a:gd name="T38" fmla="*/ 6 w 6"/>
                <a:gd name="T39" fmla="*/ 5 h 7"/>
                <a:gd name="T40" fmla="*/ 6 w 6"/>
                <a:gd name="T41" fmla="*/ 6 h 7"/>
                <a:gd name="T42" fmla="*/ 6 w 6"/>
                <a:gd name="T43" fmla="*/ 6 h 7"/>
                <a:gd name="T44" fmla="*/ 6 w 6"/>
                <a:gd name="T45" fmla="*/ 6 h 7"/>
                <a:gd name="T46" fmla="*/ 4 w 6"/>
                <a:gd name="T47" fmla="*/ 6 h 7"/>
                <a:gd name="T48" fmla="*/ 0 w 6"/>
                <a:gd name="T49" fmla="*/ 0 h 7"/>
                <a:gd name="T50" fmla="*/ 0 w 6"/>
                <a:gd name="T51" fmla="*/ 0 h 7"/>
                <a:gd name="T52" fmla="*/ 0 w 6"/>
                <a:gd name="T53" fmla="*/ 0 h 7"/>
                <a:gd name="T54" fmla="*/ 0 w 6"/>
                <a:gd name="T5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 h="7">
                  <a:moveTo>
                    <a:pt x="4" y="6"/>
                  </a:moveTo>
                  <a:lnTo>
                    <a:pt x="4" y="7"/>
                  </a:lnTo>
                  <a:lnTo>
                    <a:pt x="4" y="7"/>
                  </a:lnTo>
                  <a:lnTo>
                    <a:pt x="4" y="7"/>
                  </a:lnTo>
                  <a:lnTo>
                    <a:pt x="3" y="7"/>
                  </a:lnTo>
                  <a:lnTo>
                    <a:pt x="3" y="7"/>
                  </a:lnTo>
                  <a:lnTo>
                    <a:pt x="3" y="7"/>
                  </a:lnTo>
                  <a:lnTo>
                    <a:pt x="3" y="7"/>
                  </a:lnTo>
                  <a:lnTo>
                    <a:pt x="3" y="6"/>
                  </a:lnTo>
                  <a:lnTo>
                    <a:pt x="3" y="6"/>
                  </a:lnTo>
                  <a:lnTo>
                    <a:pt x="3" y="6"/>
                  </a:lnTo>
                  <a:lnTo>
                    <a:pt x="4" y="6"/>
                  </a:lnTo>
                  <a:lnTo>
                    <a:pt x="4" y="6"/>
                  </a:lnTo>
                  <a:lnTo>
                    <a:pt x="4" y="6"/>
                  </a:lnTo>
                  <a:lnTo>
                    <a:pt x="4" y="6"/>
                  </a:lnTo>
                  <a:lnTo>
                    <a:pt x="4" y="5"/>
                  </a:lnTo>
                  <a:lnTo>
                    <a:pt x="6" y="5"/>
                  </a:lnTo>
                  <a:lnTo>
                    <a:pt x="6" y="5"/>
                  </a:lnTo>
                  <a:lnTo>
                    <a:pt x="6" y="5"/>
                  </a:lnTo>
                  <a:lnTo>
                    <a:pt x="6" y="5"/>
                  </a:lnTo>
                  <a:lnTo>
                    <a:pt x="6" y="6"/>
                  </a:lnTo>
                  <a:lnTo>
                    <a:pt x="6" y="6"/>
                  </a:lnTo>
                  <a:lnTo>
                    <a:pt x="6" y="6"/>
                  </a:lnTo>
                  <a:lnTo>
                    <a:pt x="4" y="6"/>
                  </a:lnTo>
                  <a:close/>
                  <a:moveTo>
                    <a:pt x="0" y="0"/>
                  </a:move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0" name="Freeform 821">
              <a:extLst>
                <a:ext uri="{FF2B5EF4-FFF2-40B4-BE49-F238E27FC236}">
                  <a16:creationId xmlns:a16="http://schemas.microsoft.com/office/drawing/2014/main" id="{65A5F672-84D9-4804-B27A-299667F29218}"/>
                </a:ext>
              </a:extLst>
            </p:cNvPr>
            <p:cNvSpPr>
              <a:spLocks/>
            </p:cNvSpPr>
            <p:nvPr/>
          </p:nvSpPr>
          <p:spPr bwMode="auto">
            <a:xfrm>
              <a:off x="5830466" y="2447073"/>
              <a:ext cx="6678" cy="5342"/>
            </a:xfrm>
            <a:custGeom>
              <a:avLst/>
              <a:gdLst>
                <a:gd name="T0" fmla="*/ 3 w 5"/>
                <a:gd name="T1" fmla="*/ 2 h 4"/>
                <a:gd name="T2" fmla="*/ 3 w 5"/>
                <a:gd name="T3" fmla="*/ 2 h 4"/>
                <a:gd name="T4" fmla="*/ 3 w 5"/>
                <a:gd name="T5" fmla="*/ 2 h 4"/>
                <a:gd name="T6" fmla="*/ 3 w 5"/>
                <a:gd name="T7" fmla="*/ 2 h 4"/>
                <a:gd name="T8" fmla="*/ 3 w 5"/>
                <a:gd name="T9" fmla="*/ 2 h 4"/>
                <a:gd name="T10" fmla="*/ 3 w 5"/>
                <a:gd name="T11" fmla="*/ 2 h 4"/>
                <a:gd name="T12" fmla="*/ 3 w 5"/>
                <a:gd name="T13" fmla="*/ 2 h 4"/>
                <a:gd name="T14" fmla="*/ 3 w 5"/>
                <a:gd name="T15" fmla="*/ 2 h 4"/>
                <a:gd name="T16" fmla="*/ 3 w 5"/>
                <a:gd name="T17" fmla="*/ 2 h 4"/>
                <a:gd name="T18" fmla="*/ 3 w 5"/>
                <a:gd name="T19" fmla="*/ 4 h 4"/>
                <a:gd name="T20" fmla="*/ 2 w 5"/>
                <a:gd name="T21" fmla="*/ 4 h 4"/>
                <a:gd name="T22" fmla="*/ 2 w 5"/>
                <a:gd name="T23" fmla="*/ 4 h 4"/>
                <a:gd name="T24" fmla="*/ 2 w 5"/>
                <a:gd name="T25" fmla="*/ 4 h 4"/>
                <a:gd name="T26" fmla="*/ 2 w 5"/>
                <a:gd name="T27" fmla="*/ 4 h 4"/>
                <a:gd name="T28" fmla="*/ 1 w 5"/>
                <a:gd name="T29" fmla="*/ 4 h 4"/>
                <a:gd name="T30" fmla="*/ 1 w 5"/>
                <a:gd name="T31" fmla="*/ 4 h 4"/>
                <a:gd name="T32" fmla="*/ 1 w 5"/>
                <a:gd name="T33" fmla="*/ 4 h 4"/>
                <a:gd name="T34" fmla="*/ 1 w 5"/>
                <a:gd name="T35" fmla="*/ 4 h 4"/>
                <a:gd name="T36" fmla="*/ 0 w 5"/>
                <a:gd name="T37" fmla="*/ 4 h 4"/>
                <a:gd name="T38" fmla="*/ 0 w 5"/>
                <a:gd name="T39" fmla="*/ 4 h 4"/>
                <a:gd name="T40" fmla="*/ 0 w 5"/>
                <a:gd name="T41" fmla="*/ 2 h 4"/>
                <a:gd name="T42" fmla="*/ 0 w 5"/>
                <a:gd name="T43" fmla="*/ 2 h 4"/>
                <a:gd name="T44" fmla="*/ 0 w 5"/>
                <a:gd name="T45" fmla="*/ 2 h 4"/>
                <a:gd name="T46" fmla="*/ 1 w 5"/>
                <a:gd name="T47" fmla="*/ 2 h 4"/>
                <a:gd name="T48" fmla="*/ 1 w 5"/>
                <a:gd name="T49" fmla="*/ 2 h 4"/>
                <a:gd name="T50" fmla="*/ 0 w 5"/>
                <a:gd name="T51" fmla="*/ 2 h 4"/>
                <a:gd name="T52" fmla="*/ 0 w 5"/>
                <a:gd name="T53" fmla="*/ 2 h 4"/>
                <a:gd name="T54" fmla="*/ 0 w 5"/>
                <a:gd name="T55" fmla="*/ 2 h 4"/>
                <a:gd name="T56" fmla="*/ 0 w 5"/>
                <a:gd name="T57" fmla="*/ 1 h 4"/>
                <a:gd name="T58" fmla="*/ 0 w 5"/>
                <a:gd name="T59" fmla="*/ 1 h 4"/>
                <a:gd name="T60" fmla="*/ 0 w 5"/>
                <a:gd name="T61" fmla="*/ 1 h 4"/>
                <a:gd name="T62" fmla="*/ 0 w 5"/>
                <a:gd name="T63" fmla="*/ 1 h 4"/>
                <a:gd name="T64" fmla="*/ 0 w 5"/>
                <a:gd name="T65" fmla="*/ 1 h 4"/>
                <a:gd name="T66" fmla="*/ 0 w 5"/>
                <a:gd name="T67" fmla="*/ 1 h 4"/>
                <a:gd name="T68" fmla="*/ 1 w 5"/>
                <a:gd name="T69" fmla="*/ 1 h 4"/>
                <a:gd name="T70" fmla="*/ 1 w 5"/>
                <a:gd name="T71" fmla="*/ 0 h 4"/>
                <a:gd name="T72" fmla="*/ 1 w 5"/>
                <a:gd name="T73" fmla="*/ 0 h 4"/>
                <a:gd name="T74" fmla="*/ 1 w 5"/>
                <a:gd name="T75" fmla="*/ 0 h 4"/>
                <a:gd name="T76" fmla="*/ 2 w 5"/>
                <a:gd name="T77" fmla="*/ 0 h 4"/>
                <a:gd name="T78" fmla="*/ 2 w 5"/>
                <a:gd name="T79" fmla="*/ 1 h 4"/>
                <a:gd name="T80" fmla="*/ 2 w 5"/>
                <a:gd name="T81" fmla="*/ 1 h 4"/>
                <a:gd name="T82" fmla="*/ 5 w 5"/>
                <a:gd name="T83" fmla="*/ 1 h 4"/>
                <a:gd name="T84" fmla="*/ 3 w 5"/>
                <a:gd name="T85" fmla="*/ 1 h 4"/>
                <a:gd name="T86" fmla="*/ 5 w 5"/>
                <a:gd name="T87" fmla="*/ 1 h 4"/>
                <a:gd name="T88" fmla="*/ 5 w 5"/>
                <a:gd name="T89" fmla="*/ 1 h 4"/>
                <a:gd name="T90" fmla="*/ 5 w 5"/>
                <a:gd name="T91" fmla="*/ 1 h 4"/>
                <a:gd name="T92" fmla="*/ 5 w 5"/>
                <a:gd name="T93" fmla="*/ 1 h 4"/>
                <a:gd name="T94" fmla="*/ 5 w 5"/>
                <a:gd name="T95" fmla="*/ 1 h 4"/>
                <a:gd name="T96" fmla="*/ 5 w 5"/>
                <a:gd name="T97" fmla="*/ 2 h 4"/>
                <a:gd name="T98" fmla="*/ 3 w 5"/>
                <a:gd name="T99" fmla="*/ 2 h 4"/>
                <a:gd name="T100" fmla="*/ 3 w 5"/>
                <a:gd name="T10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 h="4">
                  <a:moveTo>
                    <a:pt x="3" y="2"/>
                  </a:moveTo>
                  <a:lnTo>
                    <a:pt x="3" y="2"/>
                  </a:lnTo>
                  <a:lnTo>
                    <a:pt x="3" y="2"/>
                  </a:lnTo>
                  <a:lnTo>
                    <a:pt x="3" y="2"/>
                  </a:lnTo>
                  <a:lnTo>
                    <a:pt x="3" y="2"/>
                  </a:lnTo>
                  <a:lnTo>
                    <a:pt x="3" y="2"/>
                  </a:lnTo>
                  <a:lnTo>
                    <a:pt x="3" y="2"/>
                  </a:lnTo>
                  <a:lnTo>
                    <a:pt x="3" y="2"/>
                  </a:lnTo>
                  <a:lnTo>
                    <a:pt x="3" y="2"/>
                  </a:lnTo>
                  <a:lnTo>
                    <a:pt x="3" y="4"/>
                  </a:lnTo>
                  <a:lnTo>
                    <a:pt x="2" y="4"/>
                  </a:lnTo>
                  <a:lnTo>
                    <a:pt x="2" y="4"/>
                  </a:lnTo>
                  <a:lnTo>
                    <a:pt x="2" y="4"/>
                  </a:lnTo>
                  <a:lnTo>
                    <a:pt x="2" y="4"/>
                  </a:lnTo>
                  <a:lnTo>
                    <a:pt x="1" y="4"/>
                  </a:lnTo>
                  <a:lnTo>
                    <a:pt x="1" y="4"/>
                  </a:lnTo>
                  <a:lnTo>
                    <a:pt x="1" y="4"/>
                  </a:lnTo>
                  <a:lnTo>
                    <a:pt x="1" y="4"/>
                  </a:lnTo>
                  <a:lnTo>
                    <a:pt x="0" y="4"/>
                  </a:lnTo>
                  <a:lnTo>
                    <a:pt x="0" y="4"/>
                  </a:lnTo>
                  <a:lnTo>
                    <a:pt x="0" y="2"/>
                  </a:lnTo>
                  <a:lnTo>
                    <a:pt x="0" y="2"/>
                  </a:lnTo>
                  <a:lnTo>
                    <a:pt x="0" y="2"/>
                  </a:lnTo>
                  <a:lnTo>
                    <a:pt x="1" y="2"/>
                  </a:lnTo>
                  <a:lnTo>
                    <a:pt x="1" y="2"/>
                  </a:lnTo>
                  <a:lnTo>
                    <a:pt x="0" y="2"/>
                  </a:lnTo>
                  <a:lnTo>
                    <a:pt x="0" y="2"/>
                  </a:lnTo>
                  <a:lnTo>
                    <a:pt x="0" y="2"/>
                  </a:lnTo>
                  <a:lnTo>
                    <a:pt x="0" y="1"/>
                  </a:lnTo>
                  <a:lnTo>
                    <a:pt x="0" y="1"/>
                  </a:lnTo>
                  <a:lnTo>
                    <a:pt x="0" y="1"/>
                  </a:lnTo>
                  <a:lnTo>
                    <a:pt x="0" y="1"/>
                  </a:lnTo>
                  <a:lnTo>
                    <a:pt x="0" y="1"/>
                  </a:lnTo>
                  <a:lnTo>
                    <a:pt x="0" y="1"/>
                  </a:lnTo>
                  <a:lnTo>
                    <a:pt x="1" y="1"/>
                  </a:lnTo>
                  <a:lnTo>
                    <a:pt x="1" y="0"/>
                  </a:lnTo>
                  <a:lnTo>
                    <a:pt x="1" y="0"/>
                  </a:lnTo>
                  <a:lnTo>
                    <a:pt x="1" y="0"/>
                  </a:lnTo>
                  <a:lnTo>
                    <a:pt x="2" y="0"/>
                  </a:lnTo>
                  <a:lnTo>
                    <a:pt x="2" y="1"/>
                  </a:lnTo>
                  <a:lnTo>
                    <a:pt x="2" y="1"/>
                  </a:lnTo>
                  <a:lnTo>
                    <a:pt x="5" y="1"/>
                  </a:lnTo>
                  <a:lnTo>
                    <a:pt x="3" y="1"/>
                  </a:lnTo>
                  <a:lnTo>
                    <a:pt x="5" y="1"/>
                  </a:lnTo>
                  <a:lnTo>
                    <a:pt x="5" y="1"/>
                  </a:lnTo>
                  <a:lnTo>
                    <a:pt x="5" y="1"/>
                  </a:lnTo>
                  <a:lnTo>
                    <a:pt x="5" y="1"/>
                  </a:lnTo>
                  <a:lnTo>
                    <a:pt x="5" y="1"/>
                  </a:lnTo>
                  <a:lnTo>
                    <a:pt x="5" y="2"/>
                  </a:lnTo>
                  <a:lnTo>
                    <a:pt x="3" y="2"/>
                  </a:lnTo>
                  <a:lnTo>
                    <a:pt x="3"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1" name="Freeform 822">
              <a:extLst>
                <a:ext uri="{FF2B5EF4-FFF2-40B4-BE49-F238E27FC236}">
                  <a16:creationId xmlns:a16="http://schemas.microsoft.com/office/drawing/2014/main" id="{0EB94BA0-00B8-4552-924A-C33C338CA314}"/>
                </a:ext>
              </a:extLst>
            </p:cNvPr>
            <p:cNvSpPr>
              <a:spLocks noEditPoints="1"/>
            </p:cNvSpPr>
            <p:nvPr/>
          </p:nvSpPr>
          <p:spPr bwMode="auto">
            <a:xfrm>
              <a:off x="6742605" y="2796971"/>
              <a:ext cx="85471" cy="72116"/>
            </a:xfrm>
            <a:custGeom>
              <a:avLst/>
              <a:gdLst>
                <a:gd name="T0" fmla="*/ 31 w 64"/>
                <a:gd name="T1" fmla="*/ 30 h 54"/>
                <a:gd name="T2" fmla="*/ 28 w 64"/>
                <a:gd name="T3" fmla="*/ 30 h 54"/>
                <a:gd name="T4" fmla="*/ 31 w 64"/>
                <a:gd name="T5" fmla="*/ 30 h 54"/>
                <a:gd name="T6" fmla="*/ 35 w 64"/>
                <a:gd name="T7" fmla="*/ 27 h 54"/>
                <a:gd name="T8" fmla="*/ 35 w 64"/>
                <a:gd name="T9" fmla="*/ 27 h 54"/>
                <a:gd name="T10" fmla="*/ 14 w 64"/>
                <a:gd name="T11" fmla="*/ 27 h 54"/>
                <a:gd name="T12" fmla="*/ 37 w 64"/>
                <a:gd name="T13" fmla="*/ 26 h 54"/>
                <a:gd name="T14" fmla="*/ 23 w 64"/>
                <a:gd name="T15" fmla="*/ 28 h 54"/>
                <a:gd name="T16" fmla="*/ 24 w 64"/>
                <a:gd name="T17" fmla="*/ 26 h 54"/>
                <a:gd name="T18" fmla="*/ 37 w 64"/>
                <a:gd name="T19" fmla="*/ 26 h 54"/>
                <a:gd name="T20" fmla="*/ 10 w 64"/>
                <a:gd name="T21" fmla="*/ 25 h 54"/>
                <a:gd name="T22" fmla="*/ 62 w 64"/>
                <a:gd name="T23" fmla="*/ 12 h 54"/>
                <a:gd name="T24" fmla="*/ 59 w 64"/>
                <a:gd name="T25" fmla="*/ 4 h 54"/>
                <a:gd name="T26" fmla="*/ 62 w 64"/>
                <a:gd name="T27" fmla="*/ 7 h 54"/>
                <a:gd name="T28" fmla="*/ 63 w 64"/>
                <a:gd name="T29" fmla="*/ 11 h 54"/>
                <a:gd name="T30" fmla="*/ 64 w 64"/>
                <a:gd name="T31" fmla="*/ 17 h 54"/>
                <a:gd name="T32" fmla="*/ 62 w 64"/>
                <a:gd name="T33" fmla="*/ 20 h 54"/>
                <a:gd name="T34" fmla="*/ 59 w 64"/>
                <a:gd name="T35" fmla="*/ 19 h 54"/>
                <a:gd name="T36" fmla="*/ 57 w 64"/>
                <a:gd name="T37" fmla="*/ 19 h 54"/>
                <a:gd name="T38" fmla="*/ 57 w 64"/>
                <a:gd name="T39" fmla="*/ 25 h 54"/>
                <a:gd name="T40" fmla="*/ 58 w 64"/>
                <a:gd name="T41" fmla="*/ 30 h 54"/>
                <a:gd name="T42" fmla="*/ 58 w 64"/>
                <a:gd name="T43" fmla="*/ 33 h 54"/>
                <a:gd name="T44" fmla="*/ 53 w 64"/>
                <a:gd name="T45" fmla="*/ 34 h 54"/>
                <a:gd name="T46" fmla="*/ 53 w 64"/>
                <a:gd name="T47" fmla="*/ 38 h 54"/>
                <a:gd name="T48" fmla="*/ 52 w 64"/>
                <a:gd name="T49" fmla="*/ 45 h 54"/>
                <a:gd name="T50" fmla="*/ 51 w 64"/>
                <a:gd name="T51" fmla="*/ 54 h 54"/>
                <a:gd name="T52" fmla="*/ 43 w 64"/>
                <a:gd name="T53" fmla="*/ 54 h 54"/>
                <a:gd name="T54" fmla="*/ 34 w 64"/>
                <a:gd name="T55" fmla="*/ 52 h 54"/>
                <a:gd name="T56" fmla="*/ 23 w 64"/>
                <a:gd name="T57" fmla="*/ 51 h 54"/>
                <a:gd name="T58" fmla="*/ 14 w 64"/>
                <a:gd name="T59" fmla="*/ 48 h 54"/>
                <a:gd name="T60" fmla="*/ 10 w 64"/>
                <a:gd name="T61" fmla="*/ 44 h 54"/>
                <a:gd name="T62" fmla="*/ 6 w 64"/>
                <a:gd name="T63" fmla="*/ 39 h 54"/>
                <a:gd name="T64" fmla="*/ 2 w 64"/>
                <a:gd name="T65" fmla="*/ 33 h 54"/>
                <a:gd name="T66" fmla="*/ 0 w 64"/>
                <a:gd name="T67" fmla="*/ 28 h 54"/>
                <a:gd name="T68" fmla="*/ 1 w 64"/>
                <a:gd name="T69" fmla="*/ 28 h 54"/>
                <a:gd name="T70" fmla="*/ 3 w 64"/>
                <a:gd name="T71" fmla="*/ 30 h 54"/>
                <a:gd name="T72" fmla="*/ 6 w 64"/>
                <a:gd name="T73" fmla="*/ 33 h 54"/>
                <a:gd name="T74" fmla="*/ 12 w 64"/>
                <a:gd name="T75" fmla="*/ 33 h 54"/>
                <a:gd name="T76" fmla="*/ 14 w 64"/>
                <a:gd name="T77" fmla="*/ 30 h 54"/>
                <a:gd name="T78" fmla="*/ 19 w 64"/>
                <a:gd name="T79" fmla="*/ 31 h 54"/>
                <a:gd name="T80" fmla="*/ 22 w 64"/>
                <a:gd name="T81" fmla="*/ 31 h 54"/>
                <a:gd name="T82" fmla="*/ 26 w 64"/>
                <a:gd name="T83" fmla="*/ 31 h 54"/>
                <a:gd name="T84" fmla="*/ 30 w 64"/>
                <a:gd name="T85" fmla="*/ 32 h 54"/>
                <a:gd name="T86" fmla="*/ 35 w 64"/>
                <a:gd name="T87" fmla="*/ 30 h 54"/>
                <a:gd name="T88" fmla="*/ 39 w 64"/>
                <a:gd name="T89" fmla="*/ 26 h 54"/>
                <a:gd name="T90" fmla="*/ 41 w 64"/>
                <a:gd name="T91" fmla="*/ 26 h 54"/>
                <a:gd name="T92" fmla="*/ 39 w 64"/>
                <a:gd name="T93" fmla="*/ 24 h 54"/>
                <a:gd name="T94" fmla="*/ 39 w 64"/>
                <a:gd name="T95" fmla="*/ 25 h 54"/>
                <a:gd name="T96" fmla="*/ 42 w 64"/>
                <a:gd name="T97" fmla="*/ 21 h 54"/>
                <a:gd name="T98" fmla="*/ 42 w 64"/>
                <a:gd name="T99" fmla="*/ 20 h 54"/>
                <a:gd name="T100" fmla="*/ 45 w 64"/>
                <a:gd name="T101" fmla="*/ 18 h 54"/>
                <a:gd name="T102" fmla="*/ 50 w 64"/>
                <a:gd name="T103" fmla="*/ 13 h 54"/>
                <a:gd name="T104" fmla="*/ 50 w 64"/>
                <a:gd name="T105" fmla="*/ 11 h 54"/>
                <a:gd name="T106" fmla="*/ 51 w 64"/>
                <a:gd name="T107" fmla="*/ 9 h 54"/>
                <a:gd name="T108" fmla="*/ 53 w 64"/>
                <a:gd name="T109" fmla="*/ 7 h 54"/>
                <a:gd name="T110" fmla="*/ 57 w 64"/>
                <a:gd name="T111" fmla="*/ 5 h 54"/>
                <a:gd name="T112" fmla="*/ 58 w 64"/>
                <a:gd name="T113" fmla="*/ 2 h 54"/>
                <a:gd name="T114" fmla="*/ 62 w 64"/>
                <a:gd name="T115" fmla="*/ 1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 h="54">
                  <a:moveTo>
                    <a:pt x="31" y="30"/>
                  </a:moveTo>
                  <a:lnTo>
                    <a:pt x="33" y="30"/>
                  </a:lnTo>
                  <a:lnTo>
                    <a:pt x="33" y="31"/>
                  </a:lnTo>
                  <a:lnTo>
                    <a:pt x="31" y="31"/>
                  </a:lnTo>
                  <a:lnTo>
                    <a:pt x="31" y="30"/>
                  </a:lnTo>
                  <a:lnTo>
                    <a:pt x="31" y="31"/>
                  </a:lnTo>
                  <a:lnTo>
                    <a:pt x="30" y="31"/>
                  </a:lnTo>
                  <a:lnTo>
                    <a:pt x="29" y="31"/>
                  </a:lnTo>
                  <a:lnTo>
                    <a:pt x="28" y="31"/>
                  </a:lnTo>
                  <a:lnTo>
                    <a:pt x="28" y="30"/>
                  </a:lnTo>
                  <a:lnTo>
                    <a:pt x="29" y="30"/>
                  </a:lnTo>
                  <a:lnTo>
                    <a:pt x="30" y="30"/>
                  </a:lnTo>
                  <a:lnTo>
                    <a:pt x="30" y="28"/>
                  </a:lnTo>
                  <a:lnTo>
                    <a:pt x="31" y="28"/>
                  </a:lnTo>
                  <a:lnTo>
                    <a:pt x="31" y="30"/>
                  </a:lnTo>
                  <a:close/>
                  <a:moveTo>
                    <a:pt x="36" y="28"/>
                  </a:moveTo>
                  <a:lnTo>
                    <a:pt x="36" y="30"/>
                  </a:lnTo>
                  <a:lnTo>
                    <a:pt x="36" y="28"/>
                  </a:lnTo>
                  <a:lnTo>
                    <a:pt x="35" y="28"/>
                  </a:lnTo>
                  <a:lnTo>
                    <a:pt x="35" y="27"/>
                  </a:lnTo>
                  <a:lnTo>
                    <a:pt x="35" y="28"/>
                  </a:lnTo>
                  <a:lnTo>
                    <a:pt x="36" y="28"/>
                  </a:lnTo>
                  <a:close/>
                  <a:moveTo>
                    <a:pt x="36" y="28"/>
                  </a:moveTo>
                  <a:lnTo>
                    <a:pt x="36" y="27"/>
                  </a:lnTo>
                  <a:lnTo>
                    <a:pt x="35" y="27"/>
                  </a:lnTo>
                  <a:lnTo>
                    <a:pt x="36" y="27"/>
                  </a:lnTo>
                  <a:lnTo>
                    <a:pt x="37" y="28"/>
                  </a:lnTo>
                  <a:lnTo>
                    <a:pt x="36" y="28"/>
                  </a:lnTo>
                  <a:close/>
                  <a:moveTo>
                    <a:pt x="14" y="28"/>
                  </a:moveTo>
                  <a:lnTo>
                    <a:pt x="14" y="27"/>
                  </a:lnTo>
                  <a:lnTo>
                    <a:pt x="15" y="27"/>
                  </a:lnTo>
                  <a:lnTo>
                    <a:pt x="15" y="28"/>
                  </a:lnTo>
                  <a:lnTo>
                    <a:pt x="14" y="28"/>
                  </a:lnTo>
                  <a:close/>
                  <a:moveTo>
                    <a:pt x="37" y="27"/>
                  </a:moveTo>
                  <a:lnTo>
                    <a:pt x="37" y="26"/>
                  </a:lnTo>
                  <a:lnTo>
                    <a:pt x="37" y="27"/>
                  </a:lnTo>
                  <a:close/>
                  <a:moveTo>
                    <a:pt x="26" y="27"/>
                  </a:moveTo>
                  <a:lnTo>
                    <a:pt x="24" y="27"/>
                  </a:lnTo>
                  <a:lnTo>
                    <a:pt x="24" y="28"/>
                  </a:lnTo>
                  <a:lnTo>
                    <a:pt x="23" y="28"/>
                  </a:lnTo>
                  <a:lnTo>
                    <a:pt x="22" y="28"/>
                  </a:lnTo>
                  <a:lnTo>
                    <a:pt x="23" y="28"/>
                  </a:lnTo>
                  <a:lnTo>
                    <a:pt x="23" y="27"/>
                  </a:lnTo>
                  <a:lnTo>
                    <a:pt x="24" y="27"/>
                  </a:lnTo>
                  <a:lnTo>
                    <a:pt x="24" y="26"/>
                  </a:lnTo>
                  <a:lnTo>
                    <a:pt x="26" y="26"/>
                  </a:lnTo>
                  <a:lnTo>
                    <a:pt x="26" y="27"/>
                  </a:lnTo>
                  <a:close/>
                  <a:moveTo>
                    <a:pt x="39" y="26"/>
                  </a:moveTo>
                  <a:lnTo>
                    <a:pt x="38" y="26"/>
                  </a:lnTo>
                  <a:lnTo>
                    <a:pt x="37" y="26"/>
                  </a:lnTo>
                  <a:lnTo>
                    <a:pt x="37" y="25"/>
                  </a:lnTo>
                  <a:lnTo>
                    <a:pt x="38" y="25"/>
                  </a:lnTo>
                  <a:lnTo>
                    <a:pt x="38" y="26"/>
                  </a:lnTo>
                  <a:lnTo>
                    <a:pt x="39" y="26"/>
                  </a:lnTo>
                  <a:close/>
                  <a:moveTo>
                    <a:pt x="10" y="25"/>
                  </a:moveTo>
                  <a:lnTo>
                    <a:pt x="9" y="25"/>
                  </a:lnTo>
                  <a:lnTo>
                    <a:pt x="9" y="24"/>
                  </a:lnTo>
                  <a:lnTo>
                    <a:pt x="10" y="25"/>
                  </a:lnTo>
                  <a:close/>
                  <a:moveTo>
                    <a:pt x="63" y="13"/>
                  </a:moveTo>
                  <a:lnTo>
                    <a:pt x="62" y="12"/>
                  </a:lnTo>
                  <a:lnTo>
                    <a:pt x="63" y="12"/>
                  </a:lnTo>
                  <a:lnTo>
                    <a:pt x="63" y="13"/>
                  </a:lnTo>
                  <a:close/>
                  <a:moveTo>
                    <a:pt x="59" y="2"/>
                  </a:moveTo>
                  <a:lnTo>
                    <a:pt x="59" y="3"/>
                  </a:lnTo>
                  <a:lnTo>
                    <a:pt x="59" y="4"/>
                  </a:lnTo>
                  <a:lnTo>
                    <a:pt x="60" y="5"/>
                  </a:lnTo>
                  <a:lnTo>
                    <a:pt x="59" y="5"/>
                  </a:lnTo>
                  <a:lnTo>
                    <a:pt x="60" y="6"/>
                  </a:lnTo>
                  <a:lnTo>
                    <a:pt x="60" y="7"/>
                  </a:lnTo>
                  <a:lnTo>
                    <a:pt x="62" y="7"/>
                  </a:lnTo>
                  <a:lnTo>
                    <a:pt x="63" y="7"/>
                  </a:lnTo>
                  <a:lnTo>
                    <a:pt x="63" y="9"/>
                  </a:lnTo>
                  <a:lnTo>
                    <a:pt x="63" y="10"/>
                  </a:lnTo>
                  <a:lnTo>
                    <a:pt x="64" y="11"/>
                  </a:lnTo>
                  <a:lnTo>
                    <a:pt x="63" y="11"/>
                  </a:lnTo>
                  <a:lnTo>
                    <a:pt x="64" y="11"/>
                  </a:lnTo>
                  <a:lnTo>
                    <a:pt x="64" y="12"/>
                  </a:lnTo>
                  <a:lnTo>
                    <a:pt x="64" y="13"/>
                  </a:lnTo>
                  <a:lnTo>
                    <a:pt x="64" y="16"/>
                  </a:lnTo>
                  <a:lnTo>
                    <a:pt x="64" y="17"/>
                  </a:lnTo>
                  <a:lnTo>
                    <a:pt x="64" y="18"/>
                  </a:lnTo>
                  <a:lnTo>
                    <a:pt x="64" y="19"/>
                  </a:lnTo>
                  <a:lnTo>
                    <a:pt x="63" y="19"/>
                  </a:lnTo>
                  <a:lnTo>
                    <a:pt x="62" y="19"/>
                  </a:lnTo>
                  <a:lnTo>
                    <a:pt x="62" y="20"/>
                  </a:lnTo>
                  <a:lnTo>
                    <a:pt x="62" y="21"/>
                  </a:lnTo>
                  <a:lnTo>
                    <a:pt x="60" y="21"/>
                  </a:lnTo>
                  <a:lnTo>
                    <a:pt x="60" y="20"/>
                  </a:lnTo>
                  <a:lnTo>
                    <a:pt x="59" y="20"/>
                  </a:lnTo>
                  <a:lnTo>
                    <a:pt x="59" y="19"/>
                  </a:lnTo>
                  <a:lnTo>
                    <a:pt x="59" y="18"/>
                  </a:lnTo>
                  <a:lnTo>
                    <a:pt x="58" y="17"/>
                  </a:lnTo>
                  <a:lnTo>
                    <a:pt x="58" y="18"/>
                  </a:lnTo>
                  <a:lnTo>
                    <a:pt x="57" y="18"/>
                  </a:lnTo>
                  <a:lnTo>
                    <a:pt x="57" y="19"/>
                  </a:lnTo>
                  <a:lnTo>
                    <a:pt x="57" y="20"/>
                  </a:lnTo>
                  <a:lnTo>
                    <a:pt x="57" y="21"/>
                  </a:lnTo>
                  <a:lnTo>
                    <a:pt x="57" y="23"/>
                  </a:lnTo>
                  <a:lnTo>
                    <a:pt x="57" y="24"/>
                  </a:lnTo>
                  <a:lnTo>
                    <a:pt x="57" y="25"/>
                  </a:lnTo>
                  <a:lnTo>
                    <a:pt x="57" y="26"/>
                  </a:lnTo>
                  <a:lnTo>
                    <a:pt x="57" y="27"/>
                  </a:lnTo>
                  <a:lnTo>
                    <a:pt x="57" y="28"/>
                  </a:lnTo>
                  <a:lnTo>
                    <a:pt x="57" y="30"/>
                  </a:lnTo>
                  <a:lnTo>
                    <a:pt x="58" y="30"/>
                  </a:lnTo>
                  <a:lnTo>
                    <a:pt x="59" y="30"/>
                  </a:lnTo>
                  <a:lnTo>
                    <a:pt x="60" y="31"/>
                  </a:lnTo>
                  <a:lnTo>
                    <a:pt x="60" y="32"/>
                  </a:lnTo>
                  <a:lnTo>
                    <a:pt x="59" y="32"/>
                  </a:lnTo>
                  <a:lnTo>
                    <a:pt x="58" y="33"/>
                  </a:lnTo>
                  <a:lnTo>
                    <a:pt x="57" y="32"/>
                  </a:lnTo>
                  <a:lnTo>
                    <a:pt x="56" y="32"/>
                  </a:lnTo>
                  <a:lnTo>
                    <a:pt x="55" y="33"/>
                  </a:lnTo>
                  <a:lnTo>
                    <a:pt x="53" y="33"/>
                  </a:lnTo>
                  <a:lnTo>
                    <a:pt x="53" y="34"/>
                  </a:lnTo>
                  <a:lnTo>
                    <a:pt x="55" y="34"/>
                  </a:lnTo>
                  <a:lnTo>
                    <a:pt x="55" y="35"/>
                  </a:lnTo>
                  <a:lnTo>
                    <a:pt x="55" y="37"/>
                  </a:lnTo>
                  <a:lnTo>
                    <a:pt x="55" y="38"/>
                  </a:lnTo>
                  <a:lnTo>
                    <a:pt x="53" y="38"/>
                  </a:lnTo>
                  <a:lnTo>
                    <a:pt x="53" y="40"/>
                  </a:lnTo>
                  <a:lnTo>
                    <a:pt x="53" y="41"/>
                  </a:lnTo>
                  <a:lnTo>
                    <a:pt x="52" y="41"/>
                  </a:lnTo>
                  <a:lnTo>
                    <a:pt x="52" y="44"/>
                  </a:lnTo>
                  <a:lnTo>
                    <a:pt x="52" y="45"/>
                  </a:lnTo>
                  <a:lnTo>
                    <a:pt x="51" y="47"/>
                  </a:lnTo>
                  <a:lnTo>
                    <a:pt x="51" y="48"/>
                  </a:lnTo>
                  <a:lnTo>
                    <a:pt x="51" y="51"/>
                  </a:lnTo>
                  <a:lnTo>
                    <a:pt x="51" y="53"/>
                  </a:lnTo>
                  <a:lnTo>
                    <a:pt x="51" y="54"/>
                  </a:lnTo>
                  <a:lnTo>
                    <a:pt x="50" y="54"/>
                  </a:lnTo>
                  <a:lnTo>
                    <a:pt x="49" y="54"/>
                  </a:lnTo>
                  <a:lnTo>
                    <a:pt x="46" y="54"/>
                  </a:lnTo>
                  <a:lnTo>
                    <a:pt x="44" y="54"/>
                  </a:lnTo>
                  <a:lnTo>
                    <a:pt x="43" y="54"/>
                  </a:lnTo>
                  <a:lnTo>
                    <a:pt x="41" y="53"/>
                  </a:lnTo>
                  <a:lnTo>
                    <a:pt x="39" y="53"/>
                  </a:lnTo>
                  <a:lnTo>
                    <a:pt x="37" y="53"/>
                  </a:lnTo>
                  <a:lnTo>
                    <a:pt x="35" y="53"/>
                  </a:lnTo>
                  <a:lnTo>
                    <a:pt x="34" y="52"/>
                  </a:lnTo>
                  <a:lnTo>
                    <a:pt x="31" y="52"/>
                  </a:lnTo>
                  <a:lnTo>
                    <a:pt x="29" y="52"/>
                  </a:lnTo>
                  <a:lnTo>
                    <a:pt x="28" y="52"/>
                  </a:lnTo>
                  <a:lnTo>
                    <a:pt x="26" y="51"/>
                  </a:lnTo>
                  <a:lnTo>
                    <a:pt x="23" y="51"/>
                  </a:lnTo>
                  <a:lnTo>
                    <a:pt x="22" y="51"/>
                  </a:lnTo>
                  <a:lnTo>
                    <a:pt x="20" y="51"/>
                  </a:lnTo>
                  <a:lnTo>
                    <a:pt x="17" y="49"/>
                  </a:lnTo>
                  <a:lnTo>
                    <a:pt x="15" y="49"/>
                  </a:lnTo>
                  <a:lnTo>
                    <a:pt x="14" y="48"/>
                  </a:lnTo>
                  <a:lnTo>
                    <a:pt x="14" y="47"/>
                  </a:lnTo>
                  <a:lnTo>
                    <a:pt x="13" y="46"/>
                  </a:lnTo>
                  <a:lnTo>
                    <a:pt x="12" y="46"/>
                  </a:lnTo>
                  <a:lnTo>
                    <a:pt x="12" y="45"/>
                  </a:lnTo>
                  <a:lnTo>
                    <a:pt x="10" y="44"/>
                  </a:lnTo>
                  <a:lnTo>
                    <a:pt x="9" y="42"/>
                  </a:lnTo>
                  <a:lnTo>
                    <a:pt x="8" y="41"/>
                  </a:lnTo>
                  <a:lnTo>
                    <a:pt x="8" y="40"/>
                  </a:lnTo>
                  <a:lnTo>
                    <a:pt x="7" y="39"/>
                  </a:lnTo>
                  <a:lnTo>
                    <a:pt x="6" y="39"/>
                  </a:lnTo>
                  <a:lnTo>
                    <a:pt x="6" y="38"/>
                  </a:lnTo>
                  <a:lnTo>
                    <a:pt x="5" y="37"/>
                  </a:lnTo>
                  <a:lnTo>
                    <a:pt x="3" y="35"/>
                  </a:lnTo>
                  <a:lnTo>
                    <a:pt x="3" y="34"/>
                  </a:lnTo>
                  <a:lnTo>
                    <a:pt x="2" y="33"/>
                  </a:lnTo>
                  <a:lnTo>
                    <a:pt x="1" y="33"/>
                  </a:lnTo>
                  <a:lnTo>
                    <a:pt x="1" y="32"/>
                  </a:lnTo>
                  <a:lnTo>
                    <a:pt x="0" y="31"/>
                  </a:lnTo>
                  <a:lnTo>
                    <a:pt x="0" y="30"/>
                  </a:lnTo>
                  <a:lnTo>
                    <a:pt x="0" y="28"/>
                  </a:lnTo>
                  <a:lnTo>
                    <a:pt x="0" y="27"/>
                  </a:lnTo>
                  <a:lnTo>
                    <a:pt x="1" y="27"/>
                  </a:lnTo>
                  <a:lnTo>
                    <a:pt x="1" y="28"/>
                  </a:lnTo>
                  <a:lnTo>
                    <a:pt x="1" y="30"/>
                  </a:lnTo>
                  <a:lnTo>
                    <a:pt x="1" y="28"/>
                  </a:lnTo>
                  <a:lnTo>
                    <a:pt x="1" y="30"/>
                  </a:lnTo>
                  <a:lnTo>
                    <a:pt x="2" y="30"/>
                  </a:lnTo>
                  <a:lnTo>
                    <a:pt x="2" y="28"/>
                  </a:lnTo>
                  <a:lnTo>
                    <a:pt x="3" y="28"/>
                  </a:lnTo>
                  <a:lnTo>
                    <a:pt x="3" y="30"/>
                  </a:lnTo>
                  <a:lnTo>
                    <a:pt x="3" y="31"/>
                  </a:lnTo>
                  <a:lnTo>
                    <a:pt x="3" y="32"/>
                  </a:lnTo>
                  <a:lnTo>
                    <a:pt x="3" y="33"/>
                  </a:lnTo>
                  <a:lnTo>
                    <a:pt x="5" y="33"/>
                  </a:lnTo>
                  <a:lnTo>
                    <a:pt x="6" y="33"/>
                  </a:lnTo>
                  <a:lnTo>
                    <a:pt x="7" y="33"/>
                  </a:lnTo>
                  <a:lnTo>
                    <a:pt x="8" y="33"/>
                  </a:lnTo>
                  <a:lnTo>
                    <a:pt x="9" y="33"/>
                  </a:lnTo>
                  <a:lnTo>
                    <a:pt x="10" y="33"/>
                  </a:lnTo>
                  <a:lnTo>
                    <a:pt x="12" y="33"/>
                  </a:lnTo>
                  <a:lnTo>
                    <a:pt x="12" y="32"/>
                  </a:lnTo>
                  <a:lnTo>
                    <a:pt x="13" y="32"/>
                  </a:lnTo>
                  <a:lnTo>
                    <a:pt x="13" y="31"/>
                  </a:lnTo>
                  <a:lnTo>
                    <a:pt x="14" y="31"/>
                  </a:lnTo>
                  <a:lnTo>
                    <a:pt x="14" y="30"/>
                  </a:lnTo>
                  <a:lnTo>
                    <a:pt x="15" y="30"/>
                  </a:lnTo>
                  <a:lnTo>
                    <a:pt x="15" y="31"/>
                  </a:lnTo>
                  <a:lnTo>
                    <a:pt x="16" y="31"/>
                  </a:lnTo>
                  <a:lnTo>
                    <a:pt x="17" y="31"/>
                  </a:lnTo>
                  <a:lnTo>
                    <a:pt x="19" y="31"/>
                  </a:lnTo>
                  <a:lnTo>
                    <a:pt x="20" y="31"/>
                  </a:lnTo>
                  <a:lnTo>
                    <a:pt x="20" y="30"/>
                  </a:lnTo>
                  <a:lnTo>
                    <a:pt x="20" y="31"/>
                  </a:lnTo>
                  <a:lnTo>
                    <a:pt x="21" y="31"/>
                  </a:lnTo>
                  <a:lnTo>
                    <a:pt x="22" y="31"/>
                  </a:lnTo>
                  <a:lnTo>
                    <a:pt x="22" y="30"/>
                  </a:lnTo>
                  <a:lnTo>
                    <a:pt x="22" y="31"/>
                  </a:lnTo>
                  <a:lnTo>
                    <a:pt x="23" y="31"/>
                  </a:lnTo>
                  <a:lnTo>
                    <a:pt x="24" y="31"/>
                  </a:lnTo>
                  <a:lnTo>
                    <a:pt x="26" y="31"/>
                  </a:lnTo>
                  <a:lnTo>
                    <a:pt x="27" y="31"/>
                  </a:lnTo>
                  <a:lnTo>
                    <a:pt x="27" y="32"/>
                  </a:lnTo>
                  <a:lnTo>
                    <a:pt x="28" y="32"/>
                  </a:lnTo>
                  <a:lnTo>
                    <a:pt x="29" y="32"/>
                  </a:lnTo>
                  <a:lnTo>
                    <a:pt x="30" y="32"/>
                  </a:lnTo>
                  <a:lnTo>
                    <a:pt x="31" y="32"/>
                  </a:lnTo>
                  <a:lnTo>
                    <a:pt x="33" y="31"/>
                  </a:lnTo>
                  <a:lnTo>
                    <a:pt x="34" y="31"/>
                  </a:lnTo>
                  <a:lnTo>
                    <a:pt x="35" y="31"/>
                  </a:lnTo>
                  <a:lnTo>
                    <a:pt x="35" y="30"/>
                  </a:lnTo>
                  <a:lnTo>
                    <a:pt x="36" y="30"/>
                  </a:lnTo>
                  <a:lnTo>
                    <a:pt x="37" y="28"/>
                  </a:lnTo>
                  <a:lnTo>
                    <a:pt x="38" y="28"/>
                  </a:lnTo>
                  <a:lnTo>
                    <a:pt x="39" y="27"/>
                  </a:lnTo>
                  <a:lnTo>
                    <a:pt x="39" y="26"/>
                  </a:lnTo>
                  <a:lnTo>
                    <a:pt x="41" y="26"/>
                  </a:lnTo>
                  <a:lnTo>
                    <a:pt x="39" y="26"/>
                  </a:lnTo>
                  <a:lnTo>
                    <a:pt x="39" y="25"/>
                  </a:lnTo>
                  <a:lnTo>
                    <a:pt x="41" y="25"/>
                  </a:lnTo>
                  <a:lnTo>
                    <a:pt x="41" y="26"/>
                  </a:lnTo>
                  <a:lnTo>
                    <a:pt x="41" y="25"/>
                  </a:lnTo>
                  <a:lnTo>
                    <a:pt x="39" y="25"/>
                  </a:lnTo>
                  <a:lnTo>
                    <a:pt x="38" y="25"/>
                  </a:lnTo>
                  <a:lnTo>
                    <a:pt x="38" y="24"/>
                  </a:lnTo>
                  <a:lnTo>
                    <a:pt x="39" y="24"/>
                  </a:lnTo>
                  <a:lnTo>
                    <a:pt x="38" y="24"/>
                  </a:lnTo>
                  <a:lnTo>
                    <a:pt x="39" y="24"/>
                  </a:lnTo>
                  <a:lnTo>
                    <a:pt x="39" y="25"/>
                  </a:lnTo>
                  <a:lnTo>
                    <a:pt x="41" y="25"/>
                  </a:lnTo>
                  <a:lnTo>
                    <a:pt x="39" y="25"/>
                  </a:lnTo>
                  <a:lnTo>
                    <a:pt x="41" y="25"/>
                  </a:lnTo>
                  <a:lnTo>
                    <a:pt x="41" y="24"/>
                  </a:lnTo>
                  <a:lnTo>
                    <a:pt x="41" y="23"/>
                  </a:lnTo>
                  <a:lnTo>
                    <a:pt x="42" y="23"/>
                  </a:lnTo>
                  <a:lnTo>
                    <a:pt x="42" y="21"/>
                  </a:lnTo>
                  <a:lnTo>
                    <a:pt x="41" y="21"/>
                  </a:lnTo>
                  <a:lnTo>
                    <a:pt x="42" y="21"/>
                  </a:lnTo>
                  <a:lnTo>
                    <a:pt x="41" y="21"/>
                  </a:lnTo>
                  <a:lnTo>
                    <a:pt x="41" y="20"/>
                  </a:lnTo>
                  <a:lnTo>
                    <a:pt x="42" y="20"/>
                  </a:lnTo>
                  <a:lnTo>
                    <a:pt x="43" y="20"/>
                  </a:lnTo>
                  <a:lnTo>
                    <a:pt x="43" y="19"/>
                  </a:lnTo>
                  <a:lnTo>
                    <a:pt x="44" y="19"/>
                  </a:lnTo>
                  <a:lnTo>
                    <a:pt x="44" y="18"/>
                  </a:lnTo>
                  <a:lnTo>
                    <a:pt x="45" y="18"/>
                  </a:lnTo>
                  <a:lnTo>
                    <a:pt x="45" y="17"/>
                  </a:lnTo>
                  <a:lnTo>
                    <a:pt x="46" y="17"/>
                  </a:lnTo>
                  <a:lnTo>
                    <a:pt x="48" y="16"/>
                  </a:lnTo>
                  <a:lnTo>
                    <a:pt x="49" y="13"/>
                  </a:lnTo>
                  <a:lnTo>
                    <a:pt x="50" y="13"/>
                  </a:lnTo>
                  <a:lnTo>
                    <a:pt x="49" y="14"/>
                  </a:lnTo>
                  <a:lnTo>
                    <a:pt x="50" y="13"/>
                  </a:lnTo>
                  <a:lnTo>
                    <a:pt x="49" y="12"/>
                  </a:lnTo>
                  <a:lnTo>
                    <a:pt x="50" y="12"/>
                  </a:lnTo>
                  <a:lnTo>
                    <a:pt x="50" y="11"/>
                  </a:lnTo>
                  <a:lnTo>
                    <a:pt x="51" y="11"/>
                  </a:lnTo>
                  <a:lnTo>
                    <a:pt x="51" y="10"/>
                  </a:lnTo>
                  <a:lnTo>
                    <a:pt x="51" y="11"/>
                  </a:lnTo>
                  <a:lnTo>
                    <a:pt x="51" y="10"/>
                  </a:lnTo>
                  <a:lnTo>
                    <a:pt x="51" y="9"/>
                  </a:lnTo>
                  <a:lnTo>
                    <a:pt x="52" y="9"/>
                  </a:lnTo>
                  <a:lnTo>
                    <a:pt x="52" y="7"/>
                  </a:lnTo>
                  <a:lnTo>
                    <a:pt x="52" y="9"/>
                  </a:lnTo>
                  <a:lnTo>
                    <a:pt x="53" y="9"/>
                  </a:lnTo>
                  <a:lnTo>
                    <a:pt x="53" y="7"/>
                  </a:lnTo>
                  <a:lnTo>
                    <a:pt x="55" y="6"/>
                  </a:lnTo>
                  <a:lnTo>
                    <a:pt x="56" y="6"/>
                  </a:lnTo>
                  <a:lnTo>
                    <a:pt x="56" y="5"/>
                  </a:lnTo>
                  <a:lnTo>
                    <a:pt x="57" y="4"/>
                  </a:lnTo>
                  <a:lnTo>
                    <a:pt x="57" y="5"/>
                  </a:lnTo>
                  <a:lnTo>
                    <a:pt x="57" y="4"/>
                  </a:lnTo>
                  <a:lnTo>
                    <a:pt x="58" y="3"/>
                  </a:lnTo>
                  <a:lnTo>
                    <a:pt x="58" y="2"/>
                  </a:lnTo>
                  <a:lnTo>
                    <a:pt x="58" y="3"/>
                  </a:lnTo>
                  <a:lnTo>
                    <a:pt x="58" y="2"/>
                  </a:lnTo>
                  <a:lnTo>
                    <a:pt x="58" y="0"/>
                  </a:lnTo>
                  <a:lnTo>
                    <a:pt x="59" y="0"/>
                  </a:lnTo>
                  <a:lnTo>
                    <a:pt x="59" y="2"/>
                  </a:lnTo>
                  <a:close/>
                  <a:moveTo>
                    <a:pt x="62" y="12"/>
                  </a:moveTo>
                  <a:lnTo>
                    <a:pt x="62" y="13"/>
                  </a:lnTo>
                  <a:lnTo>
                    <a:pt x="63" y="13"/>
                  </a:lnTo>
                  <a:lnTo>
                    <a:pt x="63" y="12"/>
                  </a:lnTo>
                  <a:lnTo>
                    <a:pt x="62" y="1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2" name="Freeform 823">
              <a:extLst>
                <a:ext uri="{FF2B5EF4-FFF2-40B4-BE49-F238E27FC236}">
                  <a16:creationId xmlns:a16="http://schemas.microsoft.com/office/drawing/2014/main" id="{3EF762F2-B45B-4D3A-9A3F-9B04BC33E8F6}"/>
                </a:ext>
              </a:extLst>
            </p:cNvPr>
            <p:cNvSpPr>
              <a:spLocks noEditPoints="1"/>
            </p:cNvSpPr>
            <p:nvPr/>
          </p:nvSpPr>
          <p:spPr bwMode="auto">
            <a:xfrm>
              <a:off x="4549734" y="3809271"/>
              <a:ext cx="287130" cy="694454"/>
            </a:xfrm>
            <a:custGeom>
              <a:avLst/>
              <a:gdLst>
                <a:gd name="T0" fmla="*/ 193 w 215"/>
                <a:gd name="T1" fmla="*/ 515 h 520"/>
                <a:gd name="T2" fmla="*/ 132 w 215"/>
                <a:gd name="T3" fmla="*/ 492 h 520"/>
                <a:gd name="T4" fmla="*/ 165 w 215"/>
                <a:gd name="T5" fmla="*/ 510 h 520"/>
                <a:gd name="T6" fmla="*/ 164 w 215"/>
                <a:gd name="T7" fmla="*/ 519 h 520"/>
                <a:gd name="T8" fmla="*/ 133 w 215"/>
                <a:gd name="T9" fmla="*/ 488 h 520"/>
                <a:gd name="T10" fmla="*/ 138 w 215"/>
                <a:gd name="T11" fmla="*/ 271 h 520"/>
                <a:gd name="T12" fmla="*/ 64 w 215"/>
                <a:gd name="T13" fmla="*/ 17 h 520"/>
                <a:gd name="T14" fmla="*/ 90 w 215"/>
                <a:gd name="T15" fmla="*/ 9 h 520"/>
                <a:gd name="T16" fmla="*/ 108 w 215"/>
                <a:gd name="T17" fmla="*/ 28 h 520"/>
                <a:gd name="T18" fmla="*/ 135 w 215"/>
                <a:gd name="T19" fmla="*/ 42 h 520"/>
                <a:gd name="T20" fmla="*/ 158 w 215"/>
                <a:gd name="T21" fmla="*/ 61 h 520"/>
                <a:gd name="T22" fmla="*/ 154 w 215"/>
                <a:gd name="T23" fmla="*/ 80 h 520"/>
                <a:gd name="T24" fmla="*/ 175 w 215"/>
                <a:gd name="T25" fmla="*/ 89 h 520"/>
                <a:gd name="T26" fmla="*/ 193 w 215"/>
                <a:gd name="T27" fmla="*/ 82 h 520"/>
                <a:gd name="T28" fmla="*/ 204 w 215"/>
                <a:gd name="T29" fmla="*/ 60 h 520"/>
                <a:gd name="T30" fmla="*/ 213 w 215"/>
                <a:gd name="T31" fmla="*/ 67 h 520"/>
                <a:gd name="T32" fmla="*/ 211 w 215"/>
                <a:gd name="T33" fmla="*/ 87 h 520"/>
                <a:gd name="T34" fmla="*/ 198 w 215"/>
                <a:gd name="T35" fmla="*/ 96 h 520"/>
                <a:gd name="T36" fmla="*/ 185 w 215"/>
                <a:gd name="T37" fmla="*/ 113 h 520"/>
                <a:gd name="T38" fmla="*/ 168 w 215"/>
                <a:gd name="T39" fmla="*/ 138 h 520"/>
                <a:gd name="T40" fmla="*/ 169 w 215"/>
                <a:gd name="T41" fmla="*/ 166 h 520"/>
                <a:gd name="T42" fmla="*/ 171 w 215"/>
                <a:gd name="T43" fmla="*/ 194 h 520"/>
                <a:gd name="T44" fmla="*/ 186 w 215"/>
                <a:gd name="T45" fmla="*/ 209 h 520"/>
                <a:gd name="T46" fmla="*/ 202 w 215"/>
                <a:gd name="T47" fmla="*/ 237 h 520"/>
                <a:gd name="T48" fmla="*/ 170 w 215"/>
                <a:gd name="T49" fmla="*/ 268 h 520"/>
                <a:gd name="T50" fmla="*/ 136 w 215"/>
                <a:gd name="T51" fmla="*/ 274 h 520"/>
                <a:gd name="T52" fmla="*/ 140 w 215"/>
                <a:gd name="T53" fmla="*/ 289 h 520"/>
                <a:gd name="T54" fmla="*/ 132 w 215"/>
                <a:gd name="T55" fmla="*/ 305 h 520"/>
                <a:gd name="T56" fmla="*/ 108 w 215"/>
                <a:gd name="T57" fmla="*/ 302 h 520"/>
                <a:gd name="T58" fmla="*/ 122 w 215"/>
                <a:gd name="T59" fmla="*/ 326 h 520"/>
                <a:gd name="T60" fmla="*/ 132 w 215"/>
                <a:gd name="T61" fmla="*/ 332 h 520"/>
                <a:gd name="T62" fmla="*/ 126 w 215"/>
                <a:gd name="T63" fmla="*/ 333 h 520"/>
                <a:gd name="T64" fmla="*/ 121 w 215"/>
                <a:gd name="T65" fmla="*/ 354 h 520"/>
                <a:gd name="T66" fmla="*/ 120 w 215"/>
                <a:gd name="T67" fmla="*/ 367 h 520"/>
                <a:gd name="T68" fmla="*/ 104 w 215"/>
                <a:gd name="T69" fmla="*/ 377 h 520"/>
                <a:gd name="T70" fmla="*/ 121 w 215"/>
                <a:gd name="T71" fmla="*/ 397 h 520"/>
                <a:gd name="T72" fmla="*/ 133 w 215"/>
                <a:gd name="T73" fmla="*/ 410 h 520"/>
                <a:gd name="T74" fmla="*/ 119 w 215"/>
                <a:gd name="T75" fmla="*/ 426 h 520"/>
                <a:gd name="T76" fmla="*/ 116 w 215"/>
                <a:gd name="T77" fmla="*/ 445 h 520"/>
                <a:gd name="T78" fmla="*/ 112 w 215"/>
                <a:gd name="T79" fmla="*/ 444 h 520"/>
                <a:gd name="T80" fmla="*/ 113 w 215"/>
                <a:gd name="T81" fmla="*/ 463 h 520"/>
                <a:gd name="T82" fmla="*/ 127 w 215"/>
                <a:gd name="T83" fmla="*/ 478 h 520"/>
                <a:gd name="T84" fmla="*/ 74 w 215"/>
                <a:gd name="T85" fmla="*/ 467 h 520"/>
                <a:gd name="T86" fmla="*/ 59 w 215"/>
                <a:gd name="T87" fmla="*/ 452 h 520"/>
                <a:gd name="T88" fmla="*/ 50 w 215"/>
                <a:gd name="T89" fmla="*/ 430 h 520"/>
                <a:gd name="T90" fmla="*/ 51 w 215"/>
                <a:gd name="T91" fmla="*/ 404 h 520"/>
                <a:gd name="T92" fmla="*/ 51 w 215"/>
                <a:gd name="T93" fmla="*/ 384 h 520"/>
                <a:gd name="T94" fmla="*/ 43 w 215"/>
                <a:gd name="T95" fmla="*/ 365 h 520"/>
                <a:gd name="T96" fmla="*/ 40 w 215"/>
                <a:gd name="T97" fmla="*/ 353 h 520"/>
                <a:gd name="T98" fmla="*/ 29 w 215"/>
                <a:gd name="T99" fmla="*/ 334 h 520"/>
                <a:gd name="T100" fmla="*/ 24 w 215"/>
                <a:gd name="T101" fmla="*/ 312 h 520"/>
                <a:gd name="T102" fmla="*/ 19 w 215"/>
                <a:gd name="T103" fmla="*/ 291 h 520"/>
                <a:gd name="T104" fmla="*/ 24 w 215"/>
                <a:gd name="T105" fmla="*/ 267 h 520"/>
                <a:gd name="T106" fmla="*/ 13 w 215"/>
                <a:gd name="T107" fmla="*/ 240 h 520"/>
                <a:gd name="T108" fmla="*/ 19 w 215"/>
                <a:gd name="T109" fmla="*/ 222 h 520"/>
                <a:gd name="T110" fmla="*/ 20 w 215"/>
                <a:gd name="T111" fmla="*/ 197 h 520"/>
                <a:gd name="T112" fmla="*/ 10 w 215"/>
                <a:gd name="T113" fmla="*/ 171 h 520"/>
                <a:gd name="T114" fmla="*/ 0 w 215"/>
                <a:gd name="T115" fmla="*/ 149 h 520"/>
                <a:gd name="T116" fmla="*/ 5 w 215"/>
                <a:gd name="T117" fmla="*/ 129 h 520"/>
                <a:gd name="T118" fmla="*/ 6 w 215"/>
                <a:gd name="T119" fmla="*/ 101 h 520"/>
                <a:gd name="T120" fmla="*/ 19 w 215"/>
                <a:gd name="T121" fmla="*/ 82 h 520"/>
                <a:gd name="T122" fmla="*/ 10 w 215"/>
                <a:gd name="T123" fmla="*/ 49 h 520"/>
                <a:gd name="T124" fmla="*/ 26 w 215"/>
                <a:gd name="T125" fmla="*/ 16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5" h="520">
                  <a:moveTo>
                    <a:pt x="141" y="517"/>
                  </a:moveTo>
                  <a:lnTo>
                    <a:pt x="141" y="516"/>
                  </a:lnTo>
                  <a:lnTo>
                    <a:pt x="141" y="515"/>
                  </a:lnTo>
                  <a:lnTo>
                    <a:pt x="141" y="516"/>
                  </a:lnTo>
                  <a:lnTo>
                    <a:pt x="142" y="516"/>
                  </a:lnTo>
                  <a:lnTo>
                    <a:pt x="142" y="517"/>
                  </a:lnTo>
                  <a:lnTo>
                    <a:pt x="141" y="517"/>
                  </a:lnTo>
                  <a:close/>
                  <a:moveTo>
                    <a:pt x="190" y="514"/>
                  </a:moveTo>
                  <a:lnTo>
                    <a:pt x="191" y="514"/>
                  </a:lnTo>
                  <a:lnTo>
                    <a:pt x="191" y="515"/>
                  </a:lnTo>
                  <a:lnTo>
                    <a:pt x="191" y="514"/>
                  </a:lnTo>
                  <a:lnTo>
                    <a:pt x="192" y="514"/>
                  </a:lnTo>
                  <a:lnTo>
                    <a:pt x="192" y="515"/>
                  </a:lnTo>
                  <a:lnTo>
                    <a:pt x="192" y="514"/>
                  </a:lnTo>
                  <a:lnTo>
                    <a:pt x="192" y="515"/>
                  </a:lnTo>
                  <a:lnTo>
                    <a:pt x="193" y="515"/>
                  </a:lnTo>
                  <a:lnTo>
                    <a:pt x="193" y="514"/>
                  </a:lnTo>
                  <a:lnTo>
                    <a:pt x="193" y="515"/>
                  </a:lnTo>
                  <a:lnTo>
                    <a:pt x="194" y="515"/>
                  </a:lnTo>
                  <a:lnTo>
                    <a:pt x="196" y="514"/>
                  </a:lnTo>
                  <a:lnTo>
                    <a:pt x="196" y="515"/>
                  </a:lnTo>
                  <a:lnTo>
                    <a:pt x="196" y="514"/>
                  </a:lnTo>
                  <a:lnTo>
                    <a:pt x="197" y="514"/>
                  </a:lnTo>
                  <a:lnTo>
                    <a:pt x="197" y="515"/>
                  </a:lnTo>
                  <a:lnTo>
                    <a:pt x="196" y="515"/>
                  </a:lnTo>
                  <a:lnTo>
                    <a:pt x="196" y="516"/>
                  </a:lnTo>
                  <a:lnTo>
                    <a:pt x="194" y="516"/>
                  </a:lnTo>
                  <a:lnTo>
                    <a:pt x="194" y="515"/>
                  </a:lnTo>
                  <a:lnTo>
                    <a:pt x="193" y="515"/>
                  </a:lnTo>
                  <a:lnTo>
                    <a:pt x="193" y="516"/>
                  </a:lnTo>
                  <a:lnTo>
                    <a:pt x="192" y="516"/>
                  </a:lnTo>
                  <a:lnTo>
                    <a:pt x="192" y="515"/>
                  </a:lnTo>
                  <a:lnTo>
                    <a:pt x="191" y="515"/>
                  </a:lnTo>
                  <a:lnTo>
                    <a:pt x="190" y="516"/>
                  </a:lnTo>
                  <a:lnTo>
                    <a:pt x="189" y="516"/>
                  </a:lnTo>
                  <a:lnTo>
                    <a:pt x="190" y="516"/>
                  </a:lnTo>
                  <a:lnTo>
                    <a:pt x="189" y="516"/>
                  </a:lnTo>
                  <a:lnTo>
                    <a:pt x="189" y="517"/>
                  </a:lnTo>
                  <a:lnTo>
                    <a:pt x="187" y="517"/>
                  </a:lnTo>
                  <a:lnTo>
                    <a:pt x="187" y="516"/>
                  </a:lnTo>
                  <a:lnTo>
                    <a:pt x="186" y="516"/>
                  </a:lnTo>
                  <a:lnTo>
                    <a:pt x="186" y="515"/>
                  </a:lnTo>
                  <a:lnTo>
                    <a:pt x="187" y="515"/>
                  </a:lnTo>
                  <a:lnTo>
                    <a:pt x="189" y="515"/>
                  </a:lnTo>
                  <a:lnTo>
                    <a:pt x="187" y="515"/>
                  </a:lnTo>
                  <a:lnTo>
                    <a:pt x="187" y="514"/>
                  </a:lnTo>
                  <a:lnTo>
                    <a:pt x="189" y="515"/>
                  </a:lnTo>
                  <a:lnTo>
                    <a:pt x="190" y="515"/>
                  </a:lnTo>
                  <a:lnTo>
                    <a:pt x="190" y="514"/>
                  </a:lnTo>
                  <a:close/>
                  <a:moveTo>
                    <a:pt x="133" y="488"/>
                  </a:moveTo>
                  <a:lnTo>
                    <a:pt x="134" y="489"/>
                  </a:lnTo>
                  <a:lnTo>
                    <a:pt x="134" y="491"/>
                  </a:lnTo>
                  <a:lnTo>
                    <a:pt x="134" y="489"/>
                  </a:lnTo>
                  <a:lnTo>
                    <a:pt x="133" y="488"/>
                  </a:lnTo>
                  <a:lnTo>
                    <a:pt x="132" y="489"/>
                  </a:lnTo>
                  <a:lnTo>
                    <a:pt x="130" y="491"/>
                  </a:lnTo>
                  <a:lnTo>
                    <a:pt x="130" y="492"/>
                  </a:lnTo>
                  <a:lnTo>
                    <a:pt x="132" y="492"/>
                  </a:lnTo>
                  <a:lnTo>
                    <a:pt x="132" y="493"/>
                  </a:lnTo>
                  <a:lnTo>
                    <a:pt x="133" y="493"/>
                  </a:lnTo>
                  <a:lnTo>
                    <a:pt x="134" y="493"/>
                  </a:lnTo>
                  <a:lnTo>
                    <a:pt x="135" y="493"/>
                  </a:lnTo>
                  <a:lnTo>
                    <a:pt x="136" y="493"/>
                  </a:lnTo>
                  <a:lnTo>
                    <a:pt x="137" y="494"/>
                  </a:lnTo>
                  <a:lnTo>
                    <a:pt x="138" y="495"/>
                  </a:lnTo>
                  <a:lnTo>
                    <a:pt x="138" y="496"/>
                  </a:lnTo>
                  <a:lnTo>
                    <a:pt x="140" y="498"/>
                  </a:lnTo>
                  <a:lnTo>
                    <a:pt x="141" y="498"/>
                  </a:lnTo>
                  <a:lnTo>
                    <a:pt x="143" y="500"/>
                  </a:lnTo>
                  <a:lnTo>
                    <a:pt x="144" y="500"/>
                  </a:lnTo>
                  <a:lnTo>
                    <a:pt x="144" y="501"/>
                  </a:lnTo>
                  <a:lnTo>
                    <a:pt x="145" y="501"/>
                  </a:lnTo>
                  <a:lnTo>
                    <a:pt x="147" y="501"/>
                  </a:lnTo>
                  <a:lnTo>
                    <a:pt x="147" y="502"/>
                  </a:lnTo>
                  <a:lnTo>
                    <a:pt x="151" y="505"/>
                  </a:lnTo>
                  <a:lnTo>
                    <a:pt x="154" y="506"/>
                  </a:lnTo>
                  <a:lnTo>
                    <a:pt x="155" y="506"/>
                  </a:lnTo>
                  <a:lnTo>
                    <a:pt x="156" y="506"/>
                  </a:lnTo>
                  <a:lnTo>
                    <a:pt x="156" y="507"/>
                  </a:lnTo>
                  <a:lnTo>
                    <a:pt x="157" y="507"/>
                  </a:lnTo>
                  <a:lnTo>
                    <a:pt x="158" y="507"/>
                  </a:lnTo>
                  <a:lnTo>
                    <a:pt x="159" y="508"/>
                  </a:lnTo>
                  <a:lnTo>
                    <a:pt x="161" y="509"/>
                  </a:lnTo>
                  <a:lnTo>
                    <a:pt x="162" y="509"/>
                  </a:lnTo>
                  <a:lnTo>
                    <a:pt x="163" y="510"/>
                  </a:lnTo>
                  <a:lnTo>
                    <a:pt x="164" y="510"/>
                  </a:lnTo>
                  <a:lnTo>
                    <a:pt x="165" y="510"/>
                  </a:lnTo>
                  <a:lnTo>
                    <a:pt x="166" y="512"/>
                  </a:lnTo>
                  <a:lnTo>
                    <a:pt x="171" y="513"/>
                  </a:lnTo>
                  <a:lnTo>
                    <a:pt x="172" y="513"/>
                  </a:lnTo>
                  <a:lnTo>
                    <a:pt x="173" y="514"/>
                  </a:lnTo>
                  <a:lnTo>
                    <a:pt x="177" y="513"/>
                  </a:lnTo>
                  <a:lnTo>
                    <a:pt x="178" y="513"/>
                  </a:lnTo>
                  <a:lnTo>
                    <a:pt x="180" y="513"/>
                  </a:lnTo>
                  <a:lnTo>
                    <a:pt x="180" y="514"/>
                  </a:lnTo>
                  <a:lnTo>
                    <a:pt x="180" y="515"/>
                  </a:lnTo>
                  <a:lnTo>
                    <a:pt x="180" y="516"/>
                  </a:lnTo>
                  <a:lnTo>
                    <a:pt x="179" y="516"/>
                  </a:lnTo>
                  <a:lnTo>
                    <a:pt x="179" y="517"/>
                  </a:lnTo>
                  <a:lnTo>
                    <a:pt x="178" y="517"/>
                  </a:lnTo>
                  <a:lnTo>
                    <a:pt x="177" y="517"/>
                  </a:lnTo>
                  <a:lnTo>
                    <a:pt x="177" y="519"/>
                  </a:lnTo>
                  <a:lnTo>
                    <a:pt x="176" y="519"/>
                  </a:lnTo>
                  <a:lnTo>
                    <a:pt x="176" y="517"/>
                  </a:lnTo>
                  <a:lnTo>
                    <a:pt x="175" y="517"/>
                  </a:lnTo>
                  <a:lnTo>
                    <a:pt x="173" y="517"/>
                  </a:lnTo>
                  <a:lnTo>
                    <a:pt x="172" y="517"/>
                  </a:lnTo>
                  <a:lnTo>
                    <a:pt x="172" y="519"/>
                  </a:lnTo>
                  <a:lnTo>
                    <a:pt x="171" y="519"/>
                  </a:lnTo>
                  <a:lnTo>
                    <a:pt x="170" y="519"/>
                  </a:lnTo>
                  <a:lnTo>
                    <a:pt x="169" y="519"/>
                  </a:lnTo>
                  <a:lnTo>
                    <a:pt x="169" y="520"/>
                  </a:lnTo>
                  <a:lnTo>
                    <a:pt x="168" y="520"/>
                  </a:lnTo>
                  <a:lnTo>
                    <a:pt x="166" y="520"/>
                  </a:lnTo>
                  <a:lnTo>
                    <a:pt x="165" y="519"/>
                  </a:lnTo>
                  <a:lnTo>
                    <a:pt x="164" y="519"/>
                  </a:lnTo>
                  <a:lnTo>
                    <a:pt x="163" y="517"/>
                  </a:lnTo>
                  <a:lnTo>
                    <a:pt x="161" y="517"/>
                  </a:lnTo>
                  <a:lnTo>
                    <a:pt x="159" y="517"/>
                  </a:lnTo>
                  <a:lnTo>
                    <a:pt x="156" y="517"/>
                  </a:lnTo>
                  <a:lnTo>
                    <a:pt x="154" y="516"/>
                  </a:lnTo>
                  <a:lnTo>
                    <a:pt x="152" y="516"/>
                  </a:lnTo>
                  <a:lnTo>
                    <a:pt x="149" y="516"/>
                  </a:lnTo>
                  <a:lnTo>
                    <a:pt x="148" y="516"/>
                  </a:lnTo>
                  <a:lnTo>
                    <a:pt x="147" y="516"/>
                  </a:lnTo>
                  <a:lnTo>
                    <a:pt x="145" y="516"/>
                  </a:lnTo>
                  <a:lnTo>
                    <a:pt x="144" y="515"/>
                  </a:lnTo>
                  <a:lnTo>
                    <a:pt x="144" y="516"/>
                  </a:lnTo>
                  <a:lnTo>
                    <a:pt x="142" y="516"/>
                  </a:lnTo>
                  <a:lnTo>
                    <a:pt x="141" y="516"/>
                  </a:lnTo>
                  <a:lnTo>
                    <a:pt x="141" y="515"/>
                  </a:lnTo>
                  <a:lnTo>
                    <a:pt x="138" y="512"/>
                  </a:lnTo>
                  <a:lnTo>
                    <a:pt x="137" y="507"/>
                  </a:lnTo>
                  <a:lnTo>
                    <a:pt x="135" y="503"/>
                  </a:lnTo>
                  <a:lnTo>
                    <a:pt x="134" y="499"/>
                  </a:lnTo>
                  <a:lnTo>
                    <a:pt x="132" y="495"/>
                  </a:lnTo>
                  <a:lnTo>
                    <a:pt x="130" y="491"/>
                  </a:lnTo>
                  <a:lnTo>
                    <a:pt x="128" y="487"/>
                  </a:lnTo>
                  <a:lnTo>
                    <a:pt x="127" y="484"/>
                  </a:lnTo>
                  <a:lnTo>
                    <a:pt x="128" y="484"/>
                  </a:lnTo>
                  <a:lnTo>
                    <a:pt x="129" y="485"/>
                  </a:lnTo>
                  <a:lnTo>
                    <a:pt x="130" y="486"/>
                  </a:lnTo>
                  <a:lnTo>
                    <a:pt x="132" y="487"/>
                  </a:lnTo>
                  <a:lnTo>
                    <a:pt x="133" y="487"/>
                  </a:lnTo>
                  <a:lnTo>
                    <a:pt x="133" y="488"/>
                  </a:lnTo>
                  <a:close/>
                  <a:moveTo>
                    <a:pt x="145" y="295"/>
                  </a:moveTo>
                  <a:lnTo>
                    <a:pt x="145" y="296"/>
                  </a:lnTo>
                  <a:lnTo>
                    <a:pt x="144" y="296"/>
                  </a:lnTo>
                  <a:lnTo>
                    <a:pt x="143" y="296"/>
                  </a:lnTo>
                  <a:lnTo>
                    <a:pt x="143" y="295"/>
                  </a:lnTo>
                  <a:lnTo>
                    <a:pt x="143" y="293"/>
                  </a:lnTo>
                  <a:lnTo>
                    <a:pt x="144" y="293"/>
                  </a:lnTo>
                  <a:lnTo>
                    <a:pt x="145" y="293"/>
                  </a:lnTo>
                  <a:lnTo>
                    <a:pt x="145" y="295"/>
                  </a:lnTo>
                  <a:close/>
                  <a:moveTo>
                    <a:pt x="145" y="292"/>
                  </a:moveTo>
                  <a:lnTo>
                    <a:pt x="144" y="292"/>
                  </a:lnTo>
                  <a:lnTo>
                    <a:pt x="144" y="291"/>
                  </a:lnTo>
                  <a:lnTo>
                    <a:pt x="143" y="290"/>
                  </a:lnTo>
                  <a:lnTo>
                    <a:pt x="144" y="290"/>
                  </a:lnTo>
                  <a:lnTo>
                    <a:pt x="145" y="291"/>
                  </a:lnTo>
                  <a:lnTo>
                    <a:pt x="145" y="292"/>
                  </a:lnTo>
                  <a:close/>
                  <a:moveTo>
                    <a:pt x="142" y="274"/>
                  </a:moveTo>
                  <a:lnTo>
                    <a:pt x="142" y="275"/>
                  </a:lnTo>
                  <a:lnTo>
                    <a:pt x="143" y="275"/>
                  </a:lnTo>
                  <a:lnTo>
                    <a:pt x="143" y="276"/>
                  </a:lnTo>
                  <a:lnTo>
                    <a:pt x="142" y="276"/>
                  </a:lnTo>
                  <a:lnTo>
                    <a:pt x="142" y="275"/>
                  </a:lnTo>
                  <a:lnTo>
                    <a:pt x="141" y="275"/>
                  </a:lnTo>
                  <a:lnTo>
                    <a:pt x="140" y="274"/>
                  </a:lnTo>
                  <a:lnTo>
                    <a:pt x="142" y="274"/>
                  </a:lnTo>
                  <a:close/>
                  <a:moveTo>
                    <a:pt x="141" y="272"/>
                  </a:moveTo>
                  <a:lnTo>
                    <a:pt x="140" y="272"/>
                  </a:lnTo>
                  <a:lnTo>
                    <a:pt x="138" y="272"/>
                  </a:lnTo>
                  <a:lnTo>
                    <a:pt x="138" y="271"/>
                  </a:lnTo>
                  <a:lnTo>
                    <a:pt x="140" y="271"/>
                  </a:lnTo>
                  <a:lnTo>
                    <a:pt x="141" y="272"/>
                  </a:lnTo>
                  <a:close/>
                  <a:moveTo>
                    <a:pt x="41" y="2"/>
                  </a:moveTo>
                  <a:lnTo>
                    <a:pt x="43" y="4"/>
                  </a:lnTo>
                  <a:lnTo>
                    <a:pt x="44" y="4"/>
                  </a:lnTo>
                  <a:lnTo>
                    <a:pt x="45" y="4"/>
                  </a:lnTo>
                  <a:lnTo>
                    <a:pt x="47" y="4"/>
                  </a:lnTo>
                  <a:lnTo>
                    <a:pt x="48" y="4"/>
                  </a:lnTo>
                  <a:lnTo>
                    <a:pt x="51" y="4"/>
                  </a:lnTo>
                  <a:lnTo>
                    <a:pt x="54" y="4"/>
                  </a:lnTo>
                  <a:lnTo>
                    <a:pt x="57" y="5"/>
                  </a:lnTo>
                  <a:lnTo>
                    <a:pt x="58" y="5"/>
                  </a:lnTo>
                  <a:lnTo>
                    <a:pt x="59" y="5"/>
                  </a:lnTo>
                  <a:lnTo>
                    <a:pt x="59" y="7"/>
                  </a:lnTo>
                  <a:lnTo>
                    <a:pt x="61" y="7"/>
                  </a:lnTo>
                  <a:lnTo>
                    <a:pt x="61" y="8"/>
                  </a:lnTo>
                  <a:lnTo>
                    <a:pt x="61" y="9"/>
                  </a:lnTo>
                  <a:lnTo>
                    <a:pt x="62" y="9"/>
                  </a:lnTo>
                  <a:lnTo>
                    <a:pt x="61" y="9"/>
                  </a:lnTo>
                  <a:lnTo>
                    <a:pt x="61" y="10"/>
                  </a:lnTo>
                  <a:lnTo>
                    <a:pt x="62" y="10"/>
                  </a:lnTo>
                  <a:lnTo>
                    <a:pt x="62" y="11"/>
                  </a:lnTo>
                  <a:lnTo>
                    <a:pt x="63" y="11"/>
                  </a:lnTo>
                  <a:lnTo>
                    <a:pt x="63" y="12"/>
                  </a:lnTo>
                  <a:lnTo>
                    <a:pt x="63" y="14"/>
                  </a:lnTo>
                  <a:lnTo>
                    <a:pt x="63" y="15"/>
                  </a:lnTo>
                  <a:lnTo>
                    <a:pt x="64" y="15"/>
                  </a:lnTo>
                  <a:lnTo>
                    <a:pt x="64" y="16"/>
                  </a:lnTo>
                  <a:lnTo>
                    <a:pt x="64" y="17"/>
                  </a:lnTo>
                  <a:lnTo>
                    <a:pt x="65" y="17"/>
                  </a:lnTo>
                  <a:lnTo>
                    <a:pt x="64" y="17"/>
                  </a:lnTo>
                  <a:lnTo>
                    <a:pt x="65" y="15"/>
                  </a:lnTo>
                  <a:lnTo>
                    <a:pt x="65" y="14"/>
                  </a:lnTo>
                  <a:lnTo>
                    <a:pt x="65" y="11"/>
                  </a:lnTo>
                  <a:lnTo>
                    <a:pt x="66" y="10"/>
                  </a:lnTo>
                  <a:lnTo>
                    <a:pt x="66" y="7"/>
                  </a:lnTo>
                  <a:lnTo>
                    <a:pt x="68" y="7"/>
                  </a:lnTo>
                  <a:lnTo>
                    <a:pt x="68" y="5"/>
                  </a:lnTo>
                  <a:lnTo>
                    <a:pt x="68" y="4"/>
                  </a:lnTo>
                  <a:lnTo>
                    <a:pt x="69" y="4"/>
                  </a:lnTo>
                  <a:lnTo>
                    <a:pt x="69" y="3"/>
                  </a:lnTo>
                  <a:lnTo>
                    <a:pt x="70" y="3"/>
                  </a:lnTo>
                  <a:lnTo>
                    <a:pt x="71" y="3"/>
                  </a:lnTo>
                  <a:lnTo>
                    <a:pt x="71" y="4"/>
                  </a:lnTo>
                  <a:lnTo>
                    <a:pt x="72" y="3"/>
                  </a:lnTo>
                  <a:lnTo>
                    <a:pt x="77" y="3"/>
                  </a:lnTo>
                  <a:lnTo>
                    <a:pt x="81" y="3"/>
                  </a:lnTo>
                  <a:lnTo>
                    <a:pt x="83" y="3"/>
                  </a:lnTo>
                  <a:lnTo>
                    <a:pt x="84" y="3"/>
                  </a:lnTo>
                  <a:lnTo>
                    <a:pt x="84" y="4"/>
                  </a:lnTo>
                  <a:lnTo>
                    <a:pt x="85" y="5"/>
                  </a:lnTo>
                  <a:lnTo>
                    <a:pt x="86" y="5"/>
                  </a:lnTo>
                  <a:lnTo>
                    <a:pt x="86" y="7"/>
                  </a:lnTo>
                  <a:lnTo>
                    <a:pt x="87" y="7"/>
                  </a:lnTo>
                  <a:lnTo>
                    <a:pt x="87" y="8"/>
                  </a:lnTo>
                  <a:lnTo>
                    <a:pt x="88" y="8"/>
                  </a:lnTo>
                  <a:lnTo>
                    <a:pt x="88" y="9"/>
                  </a:lnTo>
                  <a:lnTo>
                    <a:pt x="90" y="9"/>
                  </a:lnTo>
                  <a:lnTo>
                    <a:pt x="90" y="10"/>
                  </a:lnTo>
                  <a:lnTo>
                    <a:pt x="91" y="10"/>
                  </a:lnTo>
                  <a:lnTo>
                    <a:pt x="92" y="10"/>
                  </a:lnTo>
                  <a:lnTo>
                    <a:pt x="92" y="11"/>
                  </a:lnTo>
                  <a:lnTo>
                    <a:pt x="93" y="11"/>
                  </a:lnTo>
                  <a:lnTo>
                    <a:pt x="93" y="12"/>
                  </a:lnTo>
                  <a:lnTo>
                    <a:pt x="92" y="12"/>
                  </a:lnTo>
                  <a:lnTo>
                    <a:pt x="93" y="12"/>
                  </a:lnTo>
                  <a:lnTo>
                    <a:pt x="93" y="14"/>
                  </a:lnTo>
                  <a:lnTo>
                    <a:pt x="93" y="15"/>
                  </a:lnTo>
                  <a:lnTo>
                    <a:pt x="94" y="15"/>
                  </a:lnTo>
                  <a:lnTo>
                    <a:pt x="94" y="16"/>
                  </a:lnTo>
                  <a:lnTo>
                    <a:pt x="95" y="16"/>
                  </a:lnTo>
                  <a:lnTo>
                    <a:pt x="95" y="17"/>
                  </a:lnTo>
                  <a:lnTo>
                    <a:pt x="97" y="17"/>
                  </a:lnTo>
                  <a:lnTo>
                    <a:pt x="97" y="18"/>
                  </a:lnTo>
                  <a:lnTo>
                    <a:pt x="97" y="19"/>
                  </a:lnTo>
                  <a:lnTo>
                    <a:pt x="99" y="21"/>
                  </a:lnTo>
                  <a:lnTo>
                    <a:pt x="100" y="22"/>
                  </a:lnTo>
                  <a:lnTo>
                    <a:pt x="100" y="23"/>
                  </a:lnTo>
                  <a:lnTo>
                    <a:pt x="101" y="23"/>
                  </a:lnTo>
                  <a:lnTo>
                    <a:pt x="102" y="23"/>
                  </a:lnTo>
                  <a:lnTo>
                    <a:pt x="104" y="24"/>
                  </a:lnTo>
                  <a:lnTo>
                    <a:pt x="104" y="25"/>
                  </a:lnTo>
                  <a:lnTo>
                    <a:pt x="105" y="25"/>
                  </a:lnTo>
                  <a:lnTo>
                    <a:pt x="106" y="26"/>
                  </a:lnTo>
                  <a:lnTo>
                    <a:pt x="107" y="26"/>
                  </a:lnTo>
                  <a:lnTo>
                    <a:pt x="107" y="28"/>
                  </a:lnTo>
                  <a:lnTo>
                    <a:pt x="108" y="28"/>
                  </a:lnTo>
                  <a:lnTo>
                    <a:pt x="109" y="28"/>
                  </a:lnTo>
                  <a:lnTo>
                    <a:pt x="109" y="29"/>
                  </a:lnTo>
                  <a:lnTo>
                    <a:pt x="109" y="30"/>
                  </a:lnTo>
                  <a:lnTo>
                    <a:pt x="111" y="30"/>
                  </a:lnTo>
                  <a:lnTo>
                    <a:pt x="111" y="31"/>
                  </a:lnTo>
                  <a:lnTo>
                    <a:pt x="112" y="31"/>
                  </a:lnTo>
                  <a:lnTo>
                    <a:pt x="112" y="32"/>
                  </a:lnTo>
                  <a:lnTo>
                    <a:pt x="112" y="31"/>
                  </a:lnTo>
                  <a:lnTo>
                    <a:pt x="113" y="32"/>
                  </a:lnTo>
                  <a:lnTo>
                    <a:pt x="114" y="32"/>
                  </a:lnTo>
                  <a:lnTo>
                    <a:pt x="115" y="32"/>
                  </a:lnTo>
                  <a:lnTo>
                    <a:pt x="115" y="33"/>
                  </a:lnTo>
                  <a:lnTo>
                    <a:pt x="116" y="33"/>
                  </a:lnTo>
                  <a:lnTo>
                    <a:pt x="118" y="33"/>
                  </a:lnTo>
                  <a:lnTo>
                    <a:pt x="119" y="33"/>
                  </a:lnTo>
                  <a:lnTo>
                    <a:pt x="119" y="35"/>
                  </a:lnTo>
                  <a:lnTo>
                    <a:pt x="120" y="35"/>
                  </a:lnTo>
                  <a:lnTo>
                    <a:pt x="121" y="35"/>
                  </a:lnTo>
                  <a:lnTo>
                    <a:pt x="122" y="35"/>
                  </a:lnTo>
                  <a:lnTo>
                    <a:pt x="123" y="35"/>
                  </a:lnTo>
                  <a:lnTo>
                    <a:pt x="125" y="35"/>
                  </a:lnTo>
                  <a:lnTo>
                    <a:pt x="130" y="38"/>
                  </a:lnTo>
                  <a:lnTo>
                    <a:pt x="130" y="39"/>
                  </a:lnTo>
                  <a:lnTo>
                    <a:pt x="132" y="39"/>
                  </a:lnTo>
                  <a:lnTo>
                    <a:pt x="133" y="39"/>
                  </a:lnTo>
                  <a:lnTo>
                    <a:pt x="133" y="40"/>
                  </a:lnTo>
                  <a:lnTo>
                    <a:pt x="134" y="40"/>
                  </a:lnTo>
                  <a:lnTo>
                    <a:pt x="134" y="42"/>
                  </a:lnTo>
                  <a:lnTo>
                    <a:pt x="135" y="42"/>
                  </a:lnTo>
                  <a:lnTo>
                    <a:pt x="135" y="43"/>
                  </a:lnTo>
                  <a:lnTo>
                    <a:pt x="136" y="43"/>
                  </a:lnTo>
                  <a:lnTo>
                    <a:pt x="137" y="43"/>
                  </a:lnTo>
                  <a:lnTo>
                    <a:pt x="137" y="44"/>
                  </a:lnTo>
                  <a:lnTo>
                    <a:pt x="138" y="44"/>
                  </a:lnTo>
                  <a:lnTo>
                    <a:pt x="140" y="45"/>
                  </a:lnTo>
                  <a:lnTo>
                    <a:pt x="143" y="47"/>
                  </a:lnTo>
                  <a:lnTo>
                    <a:pt x="144" y="47"/>
                  </a:lnTo>
                  <a:lnTo>
                    <a:pt x="148" y="49"/>
                  </a:lnTo>
                  <a:lnTo>
                    <a:pt x="149" y="50"/>
                  </a:lnTo>
                  <a:lnTo>
                    <a:pt x="150" y="50"/>
                  </a:lnTo>
                  <a:lnTo>
                    <a:pt x="151" y="50"/>
                  </a:lnTo>
                  <a:lnTo>
                    <a:pt x="152" y="51"/>
                  </a:lnTo>
                  <a:lnTo>
                    <a:pt x="154" y="51"/>
                  </a:lnTo>
                  <a:lnTo>
                    <a:pt x="155" y="51"/>
                  </a:lnTo>
                  <a:lnTo>
                    <a:pt x="155" y="52"/>
                  </a:lnTo>
                  <a:lnTo>
                    <a:pt x="156" y="52"/>
                  </a:lnTo>
                  <a:lnTo>
                    <a:pt x="157" y="53"/>
                  </a:lnTo>
                  <a:lnTo>
                    <a:pt x="158" y="53"/>
                  </a:lnTo>
                  <a:lnTo>
                    <a:pt x="158" y="54"/>
                  </a:lnTo>
                  <a:lnTo>
                    <a:pt x="159" y="54"/>
                  </a:lnTo>
                  <a:lnTo>
                    <a:pt x="159" y="56"/>
                  </a:lnTo>
                  <a:lnTo>
                    <a:pt x="159" y="57"/>
                  </a:lnTo>
                  <a:lnTo>
                    <a:pt x="161" y="57"/>
                  </a:lnTo>
                  <a:lnTo>
                    <a:pt x="161" y="58"/>
                  </a:lnTo>
                  <a:lnTo>
                    <a:pt x="161" y="59"/>
                  </a:lnTo>
                  <a:lnTo>
                    <a:pt x="161" y="60"/>
                  </a:lnTo>
                  <a:lnTo>
                    <a:pt x="159" y="60"/>
                  </a:lnTo>
                  <a:lnTo>
                    <a:pt x="158" y="61"/>
                  </a:lnTo>
                  <a:lnTo>
                    <a:pt x="159" y="61"/>
                  </a:lnTo>
                  <a:lnTo>
                    <a:pt x="158" y="62"/>
                  </a:lnTo>
                  <a:lnTo>
                    <a:pt x="158" y="64"/>
                  </a:lnTo>
                  <a:lnTo>
                    <a:pt x="157" y="64"/>
                  </a:lnTo>
                  <a:lnTo>
                    <a:pt x="157" y="65"/>
                  </a:lnTo>
                  <a:lnTo>
                    <a:pt x="158" y="65"/>
                  </a:lnTo>
                  <a:lnTo>
                    <a:pt x="157" y="65"/>
                  </a:lnTo>
                  <a:lnTo>
                    <a:pt x="157" y="66"/>
                  </a:lnTo>
                  <a:lnTo>
                    <a:pt x="158" y="66"/>
                  </a:lnTo>
                  <a:lnTo>
                    <a:pt x="156" y="67"/>
                  </a:lnTo>
                  <a:lnTo>
                    <a:pt x="156" y="68"/>
                  </a:lnTo>
                  <a:lnTo>
                    <a:pt x="155" y="68"/>
                  </a:lnTo>
                  <a:lnTo>
                    <a:pt x="155" y="69"/>
                  </a:lnTo>
                  <a:lnTo>
                    <a:pt x="155" y="71"/>
                  </a:lnTo>
                  <a:lnTo>
                    <a:pt x="154" y="71"/>
                  </a:lnTo>
                  <a:lnTo>
                    <a:pt x="155" y="71"/>
                  </a:lnTo>
                  <a:lnTo>
                    <a:pt x="155" y="72"/>
                  </a:lnTo>
                  <a:lnTo>
                    <a:pt x="154" y="73"/>
                  </a:lnTo>
                  <a:lnTo>
                    <a:pt x="155" y="73"/>
                  </a:lnTo>
                  <a:lnTo>
                    <a:pt x="154" y="74"/>
                  </a:lnTo>
                  <a:lnTo>
                    <a:pt x="154" y="75"/>
                  </a:lnTo>
                  <a:lnTo>
                    <a:pt x="155" y="75"/>
                  </a:lnTo>
                  <a:lnTo>
                    <a:pt x="155" y="76"/>
                  </a:lnTo>
                  <a:lnTo>
                    <a:pt x="154" y="76"/>
                  </a:lnTo>
                  <a:lnTo>
                    <a:pt x="154" y="78"/>
                  </a:lnTo>
                  <a:lnTo>
                    <a:pt x="154" y="79"/>
                  </a:lnTo>
                  <a:lnTo>
                    <a:pt x="152" y="79"/>
                  </a:lnTo>
                  <a:lnTo>
                    <a:pt x="152" y="80"/>
                  </a:lnTo>
                  <a:lnTo>
                    <a:pt x="154" y="80"/>
                  </a:lnTo>
                  <a:lnTo>
                    <a:pt x="152" y="80"/>
                  </a:lnTo>
                  <a:lnTo>
                    <a:pt x="152" y="81"/>
                  </a:lnTo>
                  <a:lnTo>
                    <a:pt x="151" y="81"/>
                  </a:lnTo>
                  <a:lnTo>
                    <a:pt x="151" y="82"/>
                  </a:lnTo>
                  <a:lnTo>
                    <a:pt x="151" y="83"/>
                  </a:lnTo>
                  <a:lnTo>
                    <a:pt x="151" y="82"/>
                  </a:lnTo>
                  <a:lnTo>
                    <a:pt x="150" y="82"/>
                  </a:lnTo>
                  <a:lnTo>
                    <a:pt x="150" y="83"/>
                  </a:lnTo>
                  <a:lnTo>
                    <a:pt x="150" y="85"/>
                  </a:lnTo>
                  <a:lnTo>
                    <a:pt x="149" y="85"/>
                  </a:lnTo>
                  <a:lnTo>
                    <a:pt x="150" y="86"/>
                  </a:lnTo>
                  <a:lnTo>
                    <a:pt x="150" y="87"/>
                  </a:lnTo>
                  <a:lnTo>
                    <a:pt x="151" y="86"/>
                  </a:lnTo>
                  <a:lnTo>
                    <a:pt x="155" y="86"/>
                  </a:lnTo>
                  <a:lnTo>
                    <a:pt x="157" y="86"/>
                  </a:lnTo>
                  <a:lnTo>
                    <a:pt x="158" y="86"/>
                  </a:lnTo>
                  <a:lnTo>
                    <a:pt x="159" y="86"/>
                  </a:lnTo>
                  <a:lnTo>
                    <a:pt x="159" y="87"/>
                  </a:lnTo>
                  <a:lnTo>
                    <a:pt x="161" y="87"/>
                  </a:lnTo>
                  <a:lnTo>
                    <a:pt x="163" y="87"/>
                  </a:lnTo>
                  <a:lnTo>
                    <a:pt x="165" y="88"/>
                  </a:lnTo>
                  <a:lnTo>
                    <a:pt x="168" y="88"/>
                  </a:lnTo>
                  <a:lnTo>
                    <a:pt x="168" y="89"/>
                  </a:lnTo>
                  <a:lnTo>
                    <a:pt x="169" y="89"/>
                  </a:lnTo>
                  <a:lnTo>
                    <a:pt x="170" y="89"/>
                  </a:lnTo>
                  <a:lnTo>
                    <a:pt x="171" y="89"/>
                  </a:lnTo>
                  <a:lnTo>
                    <a:pt x="172" y="89"/>
                  </a:lnTo>
                  <a:lnTo>
                    <a:pt x="173" y="88"/>
                  </a:lnTo>
                  <a:lnTo>
                    <a:pt x="175" y="89"/>
                  </a:lnTo>
                  <a:lnTo>
                    <a:pt x="176" y="90"/>
                  </a:lnTo>
                  <a:lnTo>
                    <a:pt x="176" y="89"/>
                  </a:lnTo>
                  <a:lnTo>
                    <a:pt x="177" y="89"/>
                  </a:lnTo>
                  <a:lnTo>
                    <a:pt x="178" y="89"/>
                  </a:lnTo>
                  <a:lnTo>
                    <a:pt x="179" y="89"/>
                  </a:lnTo>
                  <a:lnTo>
                    <a:pt x="179" y="90"/>
                  </a:lnTo>
                  <a:lnTo>
                    <a:pt x="180" y="90"/>
                  </a:lnTo>
                  <a:lnTo>
                    <a:pt x="180" y="92"/>
                  </a:lnTo>
                  <a:lnTo>
                    <a:pt x="182" y="92"/>
                  </a:lnTo>
                  <a:lnTo>
                    <a:pt x="182" y="90"/>
                  </a:lnTo>
                  <a:lnTo>
                    <a:pt x="182" y="89"/>
                  </a:lnTo>
                  <a:lnTo>
                    <a:pt x="182" y="88"/>
                  </a:lnTo>
                  <a:lnTo>
                    <a:pt x="183" y="88"/>
                  </a:lnTo>
                  <a:lnTo>
                    <a:pt x="184" y="87"/>
                  </a:lnTo>
                  <a:lnTo>
                    <a:pt x="185" y="87"/>
                  </a:lnTo>
                  <a:lnTo>
                    <a:pt x="186" y="87"/>
                  </a:lnTo>
                  <a:lnTo>
                    <a:pt x="187" y="87"/>
                  </a:lnTo>
                  <a:lnTo>
                    <a:pt x="187" y="88"/>
                  </a:lnTo>
                  <a:lnTo>
                    <a:pt x="189" y="88"/>
                  </a:lnTo>
                  <a:lnTo>
                    <a:pt x="190" y="89"/>
                  </a:lnTo>
                  <a:lnTo>
                    <a:pt x="190" y="88"/>
                  </a:lnTo>
                  <a:lnTo>
                    <a:pt x="191" y="88"/>
                  </a:lnTo>
                  <a:lnTo>
                    <a:pt x="191" y="87"/>
                  </a:lnTo>
                  <a:lnTo>
                    <a:pt x="191" y="86"/>
                  </a:lnTo>
                  <a:lnTo>
                    <a:pt x="191" y="85"/>
                  </a:lnTo>
                  <a:lnTo>
                    <a:pt x="191" y="83"/>
                  </a:lnTo>
                  <a:lnTo>
                    <a:pt x="192" y="83"/>
                  </a:lnTo>
                  <a:lnTo>
                    <a:pt x="192" y="82"/>
                  </a:lnTo>
                  <a:lnTo>
                    <a:pt x="193" y="82"/>
                  </a:lnTo>
                  <a:lnTo>
                    <a:pt x="193" y="81"/>
                  </a:lnTo>
                  <a:lnTo>
                    <a:pt x="194" y="81"/>
                  </a:lnTo>
                  <a:lnTo>
                    <a:pt x="196" y="81"/>
                  </a:lnTo>
                  <a:lnTo>
                    <a:pt x="197" y="81"/>
                  </a:lnTo>
                  <a:lnTo>
                    <a:pt x="197" y="80"/>
                  </a:lnTo>
                  <a:lnTo>
                    <a:pt x="198" y="79"/>
                  </a:lnTo>
                  <a:lnTo>
                    <a:pt x="199" y="79"/>
                  </a:lnTo>
                  <a:lnTo>
                    <a:pt x="199" y="78"/>
                  </a:lnTo>
                  <a:lnTo>
                    <a:pt x="199" y="76"/>
                  </a:lnTo>
                  <a:lnTo>
                    <a:pt x="200" y="76"/>
                  </a:lnTo>
                  <a:lnTo>
                    <a:pt x="200" y="75"/>
                  </a:lnTo>
                  <a:lnTo>
                    <a:pt x="200" y="74"/>
                  </a:lnTo>
                  <a:lnTo>
                    <a:pt x="201" y="74"/>
                  </a:lnTo>
                  <a:lnTo>
                    <a:pt x="201" y="73"/>
                  </a:lnTo>
                  <a:lnTo>
                    <a:pt x="201" y="72"/>
                  </a:lnTo>
                  <a:lnTo>
                    <a:pt x="201" y="71"/>
                  </a:lnTo>
                  <a:lnTo>
                    <a:pt x="201" y="69"/>
                  </a:lnTo>
                  <a:lnTo>
                    <a:pt x="201" y="68"/>
                  </a:lnTo>
                  <a:lnTo>
                    <a:pt x="201" y="67"/>
                  </a:lnTo>
                  <a:lnTo>
                    <a:pt x="201" y="66"/>
                  </a:lnTo>
                  <a:lnTo>
                    <a:pt x="201" y="65"/>
                  </a:lnTo>
                  <a:lnTo>
                    <a:pt x="201" y="64"/>
                  </a:lnTo>
                  <a:lnTo>
                    <a:pt x="201" y="62"/>
                  </a:lnTo>
                  <a:lnTo>
                    <a:pt x="201" y="61"/>
                  </a:lnTo>
                  <a:lnTo>
                    <a:pt x="201" y="60"/>
                  </a:lnTo>
                  <a:lnTo>
                    <a:pt x="201" y="59"/>
                  </a:lnTo>
                  <a:lnTo>
                    <a:pt x="202" y="59"/>
                  </a:lnTo>
                  <a:lnTo>
                    <a:pt x="202" y="60"/>
                  </a:lnTo>
                  <a:lnTo>
                    <a:pt x="204" y="60"/>
                  </a:lnTo>
                  <a:lnTo>
                    <a:pt x="204" y="61"/>
                  </a:lnTo>
                  <a:lnTo>
                    <a:pt x="204" y="60"/>
                  </a:lnTo>
                  <a:lnTo>
                    <a:pt x="204" y="59"/>
                  </a:lnTo>
                  <a:lnTo>
                    <a:pt x="205" y="59"/>
                  </a:lnTo>
                  <a:lnTo>
                    <a:pt x="206" y="59"/>
                  </a:lnTo>
                  <a:lnTo>
                    <a:pt x="206" y="60"/>
                  </a:lnTo>
                  <a:lnTo>
                    <a:pt x="206" y="59"/>
                  </a:lnTo>
                  <a:lnTo>
                    <a:pt x="207" y="59"/>
                  </a:lnTo>
                  <a:lnTo>
                    <a:pt x="206" y="59"/>
                  </a:lnTo>
                  <a:lnTo>
                    <a:pt x="207" y="59"/>
                  </a:lnTo>
                  <a:lnTo>
                    <a:pt x="207" y="58"/>
                  </a:lnTo>
                  <a:lnTo>
                    <a:pt x="208" y="58"/>
                  </a:lnTo>
                  <a:lnTo>
                    <a:pt x="208" y="59"/>
                  </a:lnTo>
                  <a:lnTo>
                    <a:pt x="207" y="59"/>
                  </a:lnTo>
                  <a:lnTo>
                    <a:pt x="208" y="59"/>
                  </a:lnTo>
                  <a:lnTo>
                    <a:pt x="208" y="60"/>
                  </a:lnTo>
                  <a:lnTo>
                    <a:pt x="208" y="59"/>
                  </a:lnTo>
                  <a:lnTo>
                    <a:pt x="209" y="59"/>
                  </a:lnTo>
                  <a:lnTo>
                    <a:pt x="209" y="60"/>
                  </a:lnTo>
                  <a:lnTo>
                    <a:pt x="211" y="60"/>
                  </a:lnTo>
                  <a:lnTo>
                    <a:pt x="211" y="61"/>
                  </a:lnTo>
                  <a:lnTo>
                    <a:pt x="212" y="61"/>
                  </a:lnTo>
                  <a:lnTo>
                    <a:pt x="211" y="61"/>
                  </a:lnTo>
                  <a:lnTo>
                    <a:pt x="212" y="62"/>
                  </a:lnTo>
                  <a:lnTo>
                    <a:pt x="212" y="64"/>
                  </a:lnTo>
                  <a:lnTo>
                    <a:pt x="212" y="65"/>
                  </a:lnTo>
                  <a:lnTo>
                    <a:pt x="212" y="66"/>
                  </a:lnTo>
                  <a:lnTo>
                    <a:pt x="213" y="66"/>
                  </a:lnTo>
                  <a:lnTo>
                    <a:pt x="213" y="67"/>
                  </a:lnTo>
                  <a:lnTo>
                    <a:pt x="214" y="67"/>
                  </a:lnTo>
                  <a:lnTo>
                    <a:pt x="214" y="68"/>
                  </a:lnTo>
                  <a:lnTo>
                    <a:pt x="215" y="69"/>
                  </a:lnTo>
                  <a:lnTo>
                    <a:pt x="215" y="71"/>
                  </a:lnTo>
                  <a:lnTo>
                    <a:pt x="214" y="72"/>
                  </a:lnTo>
                  <a:lnTo>
                    <a:pt x="215" y="73"/>
                  </a:lnTo>
                  <a:lnTo>
                    <a:pt x="215" y="74"/>
                  </a:lnTo>
                  <a:lnTo>
                    <a:pt x="214" y="74"/>
                  </a:lnTo>
                  <a:lnTo>
                    <a:pt x="215" y="75"/>
                  </a:lnTo>
                  <a:lnTo>
                    <a:pt x="214" y="75"/>
                  </a:lnTo>
                  <a:lnTo>
                    <a:pt x="215" y="76"/>
                  </a:lnTo>
                  <a:lnTo>
                    <a:pt x="215" y="78"/>
                  </a:lnTo>
                  <a:lnTo>
                    <a:pt x="214" y="78"/>
                  </a:lnTo>
                  <a:lnTo>
                    <a:pt x="215" y="78"/>
                  </a:lnTo>
                  <a:lnTo>
                    <a:pt x="215" y="79"/>
                  </a:lnTo>
                  <a:lnTo>
                    <a:pt x="215" y="80"/>
                  </a:lnTo>
                  <a:lnTo>
                    <a:pt x="215" y="81"/>
                  </a:lnTo>
                  <a:lnTo>
                    <a:pt x="215" y="82"/>
                  </a:lnTo>
                  <a:lnTo>
                    <a:pt x="214" y="82"/>
                  </a:lnTo>
                  <a:lnTo>
                    <a:pt x="215" y="83"/>
                  </a:lnTo>
                  <a:lnTo>
                    <a:pt x="214" y="83"/>
                  </a:lnTo>
                  <a:lnTo>
                    <a:pt x="214" y="85"/>
                  </a:lnTo>
                  <a:lnTo>
                    <a:pt x="214" y="83"/>
                  </a:lnTo>
                  <a:lnTo>
                    <a:pt x="214" y="85"/>
                  </a:lnTo>
                  <a:lnTo>
                    <a:pt x="213" y="85"/>
                  </a:lnTo>
                  <a:lnTo>
                    <a:pt x="212" y="85"/>
                  </a:lnTo>
                  <a:lnTo>
                    <a:pt x="212" y="86"/>
                  </a:lnTo>
                  <a:lnTo>
                    <a:pt x="212" y="87"/>
                  </a:lnTo>
                  <a:lnTo>
                    <a:pt x="211" y="87"/>
                  </a:lnTo>
                  <a:lnTo>
                    <a:pt x="211" y="86"/>
                  </a:lnTo>
                  <a:lnTo>
                    <a:pt x="209" y="86"/>
                  </a:lnTo>
                  <a:lnTo>
                    <a:pt x="209" y="87"/>
                  </a:lnTo>
                  <a:lnTo>
                    <a:pt x="209" y="88"/>
                  </a:lnTo>
                  <a:lnTo>
                    <a:pt x="209" y="89"/>
                  </a:lnTo>
                  <a:lnTo>
                    <a:pt x="208" y="89"/>
                  </a:lnTo>
                  <a:lnTo>
                    <a:pt x="208" y="88"/>
                  </a:lnTo>
                  <a:lnTo>
                    <a:pt x="208" y="89"/>
                  </a:lnTo>
                  <a:lnTo>
                    <a:pt x="207" y="88"/>
                  </a:lnTo>
                  <a:lnTo>
                    <a:pt x="206" y="88"/>
                  </a:lnTo>
                  <a:lnTo>
                    <a:pt x="207" y="89"/>
                  </a:lnTo>
                  <a:lnTo>
                    <a:pt x="206" y="89"/>
                  </a:lnTo>
                  <a:lnTo>
                    <a:pt x="205" y="89"/>
                  </a:lnTo>
                  <a:lnTo>
                    <a:pt x="205" y="90"/>
                  </a:lnTo>
                  <a:lnTo>
                    <a:pt x="204" y="90"/>
                  </a:lnTo>
                  <a:lnTo>
                    <a:pt x="202" y="90"/>
                  </a:lnTo>
                  <a:lnTo>
                    <a:pt x="201" y="90"/>
                  </a:lnTo>
                  <a:lnTo>
                    <a:pt x="201" y="92"/>
                  </a:lnTo>
                  <a:lnTo>
                    <a:pt x="201" y="93"/>
                  </a:lnTo>
                  <a:lnTo>
                    <a:pt x="201" y="94"/>
                  </a:lnTo>
                  <a:lnTo>
                    <a:pt x="200" y="94"/>
                  </a:lnTo>
                  <a:lnTo>
                    <a:pt x="199" y="94"/>
                  </a:lnTo>
                  <a:lnTo>
                    <a:pt x="199" y="95"/>
                  </a:lnTo>
                  <a:lnTo>
                    <a:pt x="200" y="95"/>
                  </a:lnTo>
                  <a:lnTo>
                    <a:pt x="199" y="95"/>
                  </a:lnTo>
                  <a:lnTo>
                    <a:pt x="199" y="96"/>
                  </a:lnTo>
                  <a:lnTo>
                    <a:pt x="198" y="96"/>
                  </a:lnTo>
                  <a:lnTo>
                    <a:pt x="198" y="95"/>
                  </a:lnTo>
                  <a:lnTo>
                    <a:pt x="198" y="96"/>
                  </a:lnTo>
                  <a:lnTo>
                    <a:pt x="197" y="96"/>
                  </a:lnTo>
                  <a:lnTo>
                    <a:pt x="196" y="96"/>
                  </a:lnTo>
                  <a:lnTo>
                    <a:pt x="196" y="97"/>
                  </a:lnTo>
                  <a:lnTo>
                    <a:pt x="196" y="99"/>
                  </a:lnTo>
                  <a:lnTo>
                    <a:pt x="194" y="99"/>
                  </a:lnTo>
                  <a:lnTo>
                    <a:pt x="193" y="99"/>
                  </a:lnTo>
                  <a:lnTo>
                    <a:pt x="193" y="100"/>
                  </a:lnTo>
                  <a:lnTo>
                    <a:pt x="192" y="100"/>
                  </a:lnTo>
                  <a:lnTo>
                    <a:pt x="192" y="101"/>
                  </a:lnTo>
                  <a:lnTo>
                    <a:pt x="191" y="101"/>
                  </a:lnTo>
                  <a:lnTo>
                    <a:pt x="191" y="102"/>
                  </a:lnTo>
                  <a:lnTo>
                    <a:pt x="192" y="102"/>
                  </a:lnTo>
                  <a:lnTo>
                    <a:pt x="192" y="103"/>
                  </a:lnTo>
                  <a:lnTo>
                    <a:pt x="192" y="104"/>
                  </a:lnTo>
                  <a:lnTo>
                    <a:pt x="192" y="103"/>
                  </a:lnTo>
                  <a:lnTo>
                    <a:pt x="191" y="103"/>
                  </a:lnTo>
                  <a:lnTo>
                    <a:pt x="190" y="103"/>
                  </a:lnTo>
                  <a:lnTo>
                    <a:pt x="189" y="103"/>
                  </a:lnTo>
                  <a:lnTo>
                    <a:pt x="190" y="104"/>
                  </a:lnTo>
                  <a:lnTo>
                    <a:pt x="190" y="106"/>
                  </a:lnTo>
                  <a:lnTo>
                    <a:pt x="189" y="106"/>
                  </a:lnTo>
                  <a:lnTo>
                    <a:pt x="187" y="106"/>
                  </a:lnTo>
                  <a:lnTo>
                    <a:pt x="187" y="107"/>
                  </a:lnTo>
                  <a:lnTo>
                    <a:pt x="187" y="108"/>
                  </a:lnTo>
                  <a:lnTo>
                    <a:pt x="186" y="109"/>
                  </a:lnTo>
                  <a:lnTo>
                    <a:pt x="186" y="110"/>
                  </a:lnTo>
                  <a:lnTo>
                    <a:pt x="185" y="110"/>
                  </a:lnTo>
                  <a:lnTo>
                    <a:pt x="185" y="111"/>
                  </a:lnTo>
                  <a:lnTo>
                    <a:pt x="185" y="113"/>
                  </a:lnTo>
                  <a:lnTo>
                    <a:pt x="184" y="113"/>
                  </a:lnTo>
                  <a:lnTo>
                    <a:pt x="184" y="114"/>
                  </a:lnTo>
                  <a:lnTo>
                    <a:pt x="184" y="115"/>
                  </a:lnTo>
                  <a:lnTo>
                    <a:pt x="183" y="115"/>
                  </a:lnTo>
                  <a:lnTo>
                    <a:pt x="182" y="115"/>
                  </a:lnTo>
                  <a:lnTo>
                    <a:pt x="182" y="116"/>
                  </a:lnTo>
                  <a:lnTo>
                    <a:pt x="180" y="116"/>
                  </a:lnTo>
                  <a:lnTo>
                    <a:pt x="180" y="117"/>
                  </a:lnTo>
                  <a:lnTo>
                    <a:pt x="180" y="118"/>
                  </a:lnTo>
                  <a:lnTo>
                    <a:pt x="180" y="120"/>
                  </a:lnTo>
                  <a:lnTo>
                    <a:pt x="179" y="120"/>
                  </a:lnTo>
                  <a:lnTo>
                    <a:pt x="179" y="121"/>
                  </a:lnTo>
                  <a:lnTo>
                    <a:pt x="178" y="122"/>
                  </a:lnTo>
                  <a:lnTo>
                    <a:pt x="178" y="123"/>
                  </a:lnTo>
                  <a:lnTo>
                    <a:pt x="177" y="123"/>
                  </a:lnTo>
                  <a:lnTo>
                    <a:pt x="177" y="124"/>
                  </a:lnTo>
                  <a:lnTo>
                    <a:pt x="176" y="125"/>
                  </a:lnTo>
                  <a:lnTo>
                    <a:pt x="175" y="125"/>
                  </a:lnTo>
                  <a:lnTo>
                    <a:pt x="175" y="127"/>
                  </a:lnTo>
                  <a:lnTo>
                    <a:pt x="173" y="127"/>
                  </a:lnTo>
                  <a:lnTo>
                    <a:pt x="173" y="129"/>
                  </a:lnTo>
                  <a:lnTo>
                    <a:pt x="172" y="130"/>
                  </a:lnTo>
                  <a:lnTo>
                    <a:pt x="171" y="131"/>
                  </a:lnTo>
                  <a:lnTo>
                    <a:pt x="171" y="132"/>
                  </a:lnTo>
                  <a:lnTo>
                    <a:pt x="170" y="132"/>
                  </a:lnTo>
                  <a:lnTo>
                    <a:pt x="170" y="134"/>
                  </a:lnTo>
                  <a:lnTo>
                    <a:pt x="170" y="135"/>
                  </a:lnTo>
                  <a:lnTo>
                    <a:pt x="168" y="137"/>
                  </a:lnTo>
                  <a:lnTo>
                    <a:pt x="168" y="138"/>
                  </a:lnTo>
                  <a:lnTo>
                    <a:pt x="168" y="139"/>
                  </a:lnTo>
                  <a:lnTo>
                    <a:pt x="169" y="139"/>
                  </a:lnTo>
                  <a:lnTo>
                    <a:pt x="169" y="141"/>
                  </a:lnTo>
                  <a:lnTo>
                    <a:pt x="169" y="142"/>
                  </a:lnTo>
                  <a:lnTo>
                    <a:pt x="170" y="142"/>
                  </a:lnTo>
                  <a:lnTo>
                    <a:pt x="170" y="143"/>
                  </a:lnTo>
                  <a:lnTo>
                    <a:pt x="170" y="144"/>
                  </a:lnTo>
                  <a:lnTo>
                    <a:pt x="169" y="144"/>
                  </a:lnTo>
                  <a:lnTo>
                    <a:pt x="169" y="145"/>
                  </a:lnTo>
                  <a:lnTo>
                    <a:pt x="169" y="146"/>
                  </a:lnTo>
                  <a:lnTo>
                    <a:pt x="169" y="148"/>
                  </a:lnTo>
                  <a:lnTo>
                    <a:pt x="169" y="149"/>
                  </a:lnTo>
                  <a:lnTo>
                    <a:pt x="169" y="150"/>
                  </a:lnTo>
                  <a:lnTo>
                    <a:pt x="169" y="151"/>
                  </a:lnTo>
                  <a:lnTo>
                    <a:pt x="168" y="152"/>
                  </a:lnTo>
                  <a:lnTo>
                    <a:pt x="168" y="153"/>
                  </a:lnTo>
                  <a:lnTo>
                    <a:pt x="169" y="153"/>
                  </a:lnTo>
                  <a:lnTo>
                    <a:pt x="169" y="155"/>
                  </a:lnTo>
                  <a:lnTo>
                    <a:pt x="169" y="156"/>
                  </a:lnTo>
                  <a:lnTo>
                    <a:pt x="169" y="158"/>
                  </a:lnTo>
                  <a:lnTo>
                    <a:pt x="168" y="158"/>
                  </a:lnTo>
                  <a:lnTo>
                    <a:pt x="166" y="159"/>
                  </a:lnTo>
                  <a:lnTo>
                    <a:pt x="168" y="159"/>
                  </a:lnTo>
                  <a:lnTo>
                    <a:pt x="168" y="160"/>
                  </a:lnTo>
                  <a:lnTo>
                    <a:pt x="168" y="162"/>
                  </a:lnTo>
                  <a:lnTo>
                    <a:pt x="168" y="163"/>
                  </a:lnTo>
                  <a:lnTo>
                    <a:pt x="168" y="164"/>
                  </a:lnTo>
                  <a:lnTo>
                    <a:pt x="169" y="165"/>
                  </a:lnTo>
                  <a:lnTo>
                    <a:pt x="169" y="166"/>
                  </a:lnTo>
                  <a:lnTo>
                    <a:pt x="169" y="167"/>
                  </a:lnTo>
                  <a:lnTo>
                    <a:pt x="169" y="169"/>
                  </a:lnTo>
                  <a:lnTo>
                    <a:pt x="169" y="170"/>
                  </a:lnTo>
                  <a:lnTo>
                    <a:pt x="169" y="171"/>
                  </a:lnTo>
                  <a:lnTo>
                    <a:pt x="169" y="172"/>
                  </a:lnTo>
                  <a:lnTo>
                    <a:pt x="170" y="174"/>
                  </a:lnTo>
                  <a:lnTo>
                    <a:pt x="170" y="176"/>
                  </a:lnTo>
                  <a:lnTo>
                    <a:pt x="171" y="176"/>
                  </a:lnTo>
                  <a:lnTo>
                    <a:pt x="170" y="177"/>
                  </a:lnTo>
                  <a:lnTo>
                    <a:pt x="171" y="177"/>
                  </a:lnTo>
                  <a:lnTo>
                    <a:pt x="171" y="178"/>
                  </a:lnTo>
                  <a:lnTo>
                    <a:pt x="170" y="178"/>
                  </a:lnTo>
                  <a:lnTo>
                    <a:pt x="168" y="178"/>
                  </a:lnTo>
                  <a:lnTo>
                    <a:pt x="168" y="179"/>
                  </a:lnTo>
                  <a:lnTo>
                    <a:pt x="168" y="180"/>
                  </a:lnTo>
                  <a:lnTo>
                    <a:pt x="168" y="181"/>
                  </a:lnTo>
                  <a:lnTo>
                    <a:pt x="168" y="183"/>
                  </a:lnTo>
                  <a:lnTo>
                    <a:pt x="168" y="184"/>
                  </a:lnTo>
                  <a:lnTo>
                    <a:pt x="166" y="185"/>
                  </a:lnTo>
                  <a:lnTo>
                    <a:pt x="168" y="185"/>
                  </a:lnTo>
                  <a:lnTo>
                    <a:pt x="168" y="186"/>
                  </a:lnTo>
                  <a:lnTo>
                    <a:pt x="168" y="187"/>
                  </a:lnTo>
                  <a:lnTo>
                    <a:pt x="168" y="188"/>
                  </a:lnTo>
                  <a:lnTo>
                    <a:pt x="168" y="190"/>
                  </a:lnTo>
                  <a:lnTo>
                    <a:pt x="169" y="191"/>
                  </a:lnTo>
                  <a:lnTo>
                    <a:pt x="170" y="192"/>
                  </a:lnTo>
                  <a:lnTo>
                    <a:pt x="170" y="193"/>
                  </a:lnTo>
                  <a:lnTo>
                    <a:pt x="171" y="193"/>
                  </a:lnTo>
                  <a:lnTo>
                    <a:pt x="171" y="194"/>
                  </a:lnTo>
                  <a:lnTo>
                    <a:pt x="171" y="195"/>
                  </a:lnTo>
                  <a:lnTo>
                    <a:pt x="171" y="197"/>
                  </a:lnTo>
                  <a:lnTo>
                    <a:pt x="170" y="197"/>
                  </a:lnTo>
                  <a:lnTo>
                    <a:pt x="169" y="197"/>
                  </a:lnTo>
                  <a:lnTo>
                    <a:pt x="169" y="198"/>
                  </a:lnTo>
                  <a:lnTo>
                    <a:pt x="170" y="198"/>
                  </a:lnTo>
                  <a:lnTo>
                    <a:pt x="171" y="199"/>
                  </a:lnTo>
                  <a:lnTo>
                    <a:pt x="170" y="199"/>
                  </a:lnTo>
                  <a:lnTo>
                    <a:pt x="170" y="200"/>
                  </a:lnTo>
                  <a:lnTo>
                    <a:pt x="171" y="200"/>
                  </a:lnTo>
                  <a:lnTo>
                    <a:pt x="171" y="201"/>
                  </a:lnTo>
                  <a:lnTo>
                    <a:pt x="172" y="201"/>
                  </a:lnTo>
                  <a:lnTo>
                    <a:pt x="172" y="202"/>
                  </a:lnTo>
                  <a:lnTo>
                    <a:pt x="173" y="202"/>
                  </a:lnTo>
                  <a:lnTo>
                    <a:pt x="173" y="204"/>
                  </a:lnTo>
                  <a:lnTo>
                    <a:pt x="175" y="204"/>
                  </a:lnTo>
                  <a:lnTo>
                    <a:pt x="176" y="205"/>
                  </a:lnTo>
                  <a:lnTo>
                    <a:pt x="177" y="205"/>
                  </a:lnTo>
                  <a:lnTo>
                    <a:pt x="178" y="205"/>
                  </a:lnTo>
                  <a:lnTo>
                    <a:pt x="178" y="206"/>
                  </a:lnTo>
                  <a:lnTo>
                    <a:pt x="179" y="206"/>
                  </a:lnTo>
                  <a:lnTo>
                    <a:pt x="180" y="206"/>
                  </a:lnTo>
                  <a:lnTo>
                    <a:pt x="180" y="207"/>
                  </a:lnTo>
                  <a:lnTo>
                    <a:pt x="182" y="207"/>
                  </a:lnTo>
                  <a:lnTo>
                    <a:pt x="183" y="207"/>
                  </a:lnTo>
                  <a:lnTo>
                    <a:pt x="184" y="208"/>
                  </a:lnTo>
                  <a:lnTo>
                    <a:pt x="185" y="208"/>
                  </a:lnTo>
                  <a:lnTo>
                    <a:pt x="185" y="209"/>
                  </a:lnTo>
                  <a:lnTo>
                    <a:pt x="186" y="209"/>
                  </a:lnTo>
                  <a:lnTo>
                    <a:pt x="187" y="211"/>
                  </a:lnTo>
                  <a:lnTo>
                    <a:pt x="189" y="212"/>
                  </a:lnTo>
                  <a:lnTo>
                    <a:pt x="190" y="213"/>
                  </a:lnTo>
                  <a:lnTo>
                    <a:pt x="191" y="214"/>
                  </a:lnTo>
                  <a:lnTo>
                    <a:pt x="191" y="215"/>
                  </a:lnTo>
                  <a:lnTo>
                    <a:pt x="192" y="215"/>
                  </a:lnTo>
                  <a:lnTo>
                    <a:pt x="191" y="216"/>
                  </a:lnTo>
                  <a:lnTo>
                    <a:pt x="191" y="218"/>
                  </a:lnTo>
                  <a:lnTo>
                    <a:pt x="190" y="220"/>
                  </a:lnTo>
                  <a:lnTo>
                    <a:pt x="190" y="221"/>
                  </a:lnTo>
                  <a:lnTo>
                    <a:pt x="190" y="222"/>
                  </a:lnTo>
                  <a:lnTo>
                    <a:pt x="190" y="223"/>
                  </a:lnTo>
                  <a:lnTo>
                    <a:pt x="190" y="225"/>
                  </a:lnTo>
                  <a:lnTo>
                    <a:pt x="191" y="225"/>
                  </a:lnTo>
                  <a:lnTo>
                    <a:pt x="191" y="226"/>
                  </a:lnTo>
                  <a:lnTo>
                    <a:pt x="192" y="226"/>
                  </a:lnTo>
                  <a:lnTo>
                    <a:pt x="192" y="227"/>
                  </a:lnTo>
                  <a:lnTo>
                    <a:pt x="194" y="229"/>
                  </a:lnTo>
                  <a:lnTo>
                    <a:pt x="196" y="229"/>
                  </a:lnTo>
                  <a:lnTo>
                    <a:pt x="197" y="229"/>
                  </a:lnTo>
                  <a:lnTo>
                    <a:pt x="197" y="230"/>
                  </a:lnTo>
                  <a:lnTo>
                    <a:pt x="198" y="230"/>
                  </a:lnTo>
                  <a:lnTo>
                    <a:pt x="198" y="229"/>
                  </a:lnTo>
                  <a:lnTo>
                    <a:pt x="199" y="229"/>
                  </a:lnTo>
                  <a:lnTo>
                    <a:pt x="200" y="230"/>
                  </a:lnTo>
                  <a:lnTo>
                    <a:pt x="200" y="233"/>
                  </a:lnTo>
                  <a:lnTo>
                    <a:pt x="201" y="234"/>
                  </a:lnTo>
                  <a:lnTo>
                    <a:pt x="201" y="236"/>
                  </a:lnTo>
                  <a:lnTo>
                    <a:pt x="202" y="237"/>
                  </a:lnTo>
                  <a:lnTo>
                    <a:pt x="202" y="239"/>
                  </a:lnTo>
                  <a:lnTo>
                    <a:pt x="201" y="241"/>
                  </a:lnTo>
                  <a:lnTo>
                    <a:pt x="200" y="243"/>
                  </a:lnTo>
                  <a:lnTo>
                    <a:pt x="199" y="246"/>
                  </a:lnTo>
                  <a:lnTo>
                    <a:pt x="199" y="247"/>
                  </a:lnTo>
                  <a:lnTo>
                    <a:pt x="198" y="249"/>
                  </a:lnTo>
                  <a:lnTo>
                    <a:pt x="197" y="250"/>
                  </a:lnTo>
                  <a:lnTo>
                    <a:pt x="196" y="251"/>
                  </a:lnTo>
                  <a:lnTo>
                    <a:pt x="194" y="253"/>
                  </a:lnTo>
                  <a:lnTo>
                    <a:pt x="194" y="254"/>
                  </a:lnTo>
                  <a:lnTo>
                    <a:pt x="194" y="255"/>
                  </a:lnTo>
                  <a:lnTo>
                    <a:pt x="194" y="256"/>
                  </a:lnTo>
                  <a:lnTo>
                    <a:pt x="194" y="257"/>
                  </a:lnTo>
                  <a:lnTo>
                    <a:pt x="194" y="258"/>
                  </a:lnTo>
                  <a:lnTo>
                    <a:pt x="193" y="260"/>
                  </a:lnTo>
                  <a:lnTo>
                    <a:pt x="192" y="260"/>
                  </a:lnTo>
                  <a:lnTo>
                    <a:pt x="191" y="261"/>
                  </a:lnTo>
                  <a:lnTo>
                    <a:pt x="190" y="262"/>
                  </a:lnTo>
                  <a:lnTo>
                    <a:pt x="189" y="262"/>
                  </a:lnTo>
                  <a:lnTo>
                    <a:pt x="189" y="263"/>
                  </a:lnTo>
                  <a:lnTo>
                    <a:pt x="186" y="263"/>
                  </a:lnTo>
                  <a:lnTo>
                    <a:pt x="185" y="264"/>
                  </a:lnTo>
                  <a:lnTo>
                    <a:pt x="184" y="264"/>
                  </a:lnTo>
                  <a:lnTo>
                    <a:pt x="183" y="264"/>
                  </a:lnTo>
                  <a:lnTo>
                    <a:pt x="182" y="265"/>
                  </a:lnTo>
                  <a:lnTo>
                    <a:pt x="178" y="267"/>
                  </a:lnTo>
                  <a:lnTo>
                    <a:pt x="177" y="267"/>
                  </a:lnTo>
                  <a:lnTo>
                    <a:pt x="173" y="268"/>
                  </a:lnTo>
                  <a:lnTo>
                    <a:pt x="170" y="268"/>
                  </a:lnTo>
                  <a:lnTo>
                    <a:pt x="169" y="269"/>
                  </a:lnTo>
                  <a:lnTo>
                    <a:pt x="168" y="269"/>
                  </a:lnTo>
                  <a:lnTo>
                    <a:pt x="162" y="270"/>
                  </a:lnTo>
                  <a:lnTo>
                    <a:pt x="159" y="270"/>
                  </a:lnTo>
                  <a:lnTo>
                    <a:pt x="157" y="271"/>
                  </a:lnTo>
                  <a:lnTo>
                    <a:pt x="155" y="271"/>
                  </a:lnTo>
                  <a:lnTo>
                    <a:pt x="154" y="271"/>
                  </a:lnTo>
                  <a:lnTo>
                    <a:pt x="152" y="271"/>
                  </a:lnTo>
                  <a:lnTo>
                    <a:pt x="151" y="271"/>
                  </a:lnTo>
                  <a:lnTo>
                    <a:pt x="149" y="271"/>
                  </a:lnTo>
                  <a:lnTo>
                    <a:pt x="148" y="271"/>
                  </a:lnTo>
                  <a:lnTo>
                    <a:pt x="147" y="271"/>
                  </a:lnTo>
                  <a:lnTo>
                    <a:pt x="147" y="272"/>
                  </a:lnTo>
                  <a:lnTo>
                    <a:pt x="144" y="271"/>
                  </a:lnTo>
                  <a:lnTo>
                    <a:pt x="143" y="271"/>
                  </a:lnTo>
                  <a:lnTo>
                    <a:pt x="142" y="271"/>
                  </a:lnTo>
                  <a:lnTo>
                    <a:pt x="140" y="271"/>
                  </a:lnTo>
                  <a:lnTo>
                    <a:pt x="140" y="270"/>
                  </a:lnTo>
                  <a:lnTo>
                    <a:pt x="138" y="270"/>
                  </a:lnTo>
                  <a:lnTo>
                    <a:pt x="138" y="269"/>
                  </a:lnTo>
                  <a:lnTo>
                    <a:pt x="137" y="269"/>
                  </a:lnTo>
                  <a:lnTo>
                    <a:pt x="135" y="269"/>
                  </a:lnTo>
                  <a:lnTo>
                    <a:pt x="135" y="268"/>
                  </a:lnTo>
                  <a:lnTo>
                    <a:pt x="135" y="269"/>
                  </a:lnTo>
                  <a:lnTo>
                    <a:pt x="135" y="270"/>
                  </a:lnTo>
                  <a:lnTo>
                    <a:pt x="136" y="270"/>
                  </a:lnTo>
                  <a:lnTo>
                    <a:pt x="136" y="271"/>
                  </a:lnTo>
                  <a:lnTo>
                    <a:pt x="136" y="272"/>
                  </a:lnTo>
                  <a:lnTo>
                    <a:pt x="136" y="274"/>
                  </a:lnTo>
                  <a:lnTo>
                    <a:pt x="136" y="275"/>
                  </a:lnTo>
                  <a:lnTo>
                    <a:pt x="137" y="275"/>
                  </a:lnTo>
                  <a:lnTo>
                    <a:pt x="137" y="276"/>
                  </a:lnTo>
                  <a:lnTo>
                    <a:pt x="138" y="276"/>
                  </a:lnTo>
                  <a:lnTo>
                    <a:pt x="137" y="276"/>
                  </a:lnTo>
                  <a:lnTo>
                    <a:pt x="138" y="276"/>
                  </a:lnTo>
                  <a:lnTo>
                    <a:pt x="140" y="276"/>
                  </a:lnTo>
                  <a:lnTo>
                    <a:pt x="141" y="277"/>
                  </a:lnTo>
                  <a:lnTo>
                    <a:pt x="142" y="277"/>
                  </a:lnTo>
                  <a:lnTo>
                    <a:pt x="142" y="278"/>
                  </a:lnTo>
                  <a:lnTo>
                    <a:pt x="141" y="278"/>
                  </a:lnTo>
                  <a:lnTo>
                    <a:pt x="140" y="277"/>
                  </a:lnTo>
                  <a:lnTo>
                    <a:pt x="138" y="277"/>
                  </a:lnTo>
                  <a:lnTo>
                    <a:pt x="137" y="277"/>
                  </a:lnTo>
                  <a:lnTo>
                    <a:pt x="138" y="277"/>
                  </a:lnTo>
                  <a:lnTo>
                    <a:pt x="140" y="278"/>
                  </a:lnTo>
                  <a:lnTo>
                    <a:pt x="141" y="278"/>
                  </a:lnTo>
                  <a:lnTo>
                    <a:pt x="142" y="279"/>
                  </a:lnTo>
                  <a:lnTo>
                    <a:pt x="141" y="279"/>
                  </a:lnTo>
                  <a:lnTo>
                    <a:pt x="142" y="281"/>
                  </a:lnTo>
                  <a:lnTo>
                    <a:pt x="142" y="283"/>
                  </a:lnTo>
                  <a:lnTo>
                    <a:pt x="142" y="284"/>
                  </a:lnTo>
                  <a:lnTo>
                    <a:pt x="142" y="285"/>
                  </a:lnTo>
                  <a:lnTo>
                    <a:pt x="141" y="285"/>
                  </a:lnTo>
                  <a:lnTo>
                    <a:pt x="140" y="284"/>
                  </a:lnTo>
                  <a:lnTo>
                    <a:pt x="140" y="285"/>
                  </a:lnTo>
                  <a:lnTo>
                    <a:pt x="140" y="286"/>
                  </a:lnTo>
                  <a:lnTo>
                    <a:pt x="140" y="288"/>
                  </a:lnTo>
                  <a:lnTo>
                    <a:pt x="140" y="289"/>
                  </a:lnTo>
                  <a:lnTo>
                    <a:pt x="141" y="289"/>
                  </a:lnTo>
                  <a:lnTo>
                    <a:pt x="141" y="290"/>
                  </a:lnTo>
                  <a:lnTo>
                    <a:pt x="141" y="291"/>
                  </a:lnTo>
                  <a:lnTo>
                    <a:pt x="140" y="291"/>
                  </a:lnTo>
                  <a:lnTo>
                    <a:pt x="140" y="292"/>
                  </a:lnTo>
                  <a:lnTo>
                    <a:pt x="140" y="293"/>
                  </a:lnTo>
                  <a:lnTo>
                    <a:pt x="141" y="295"/>
                  </a:lnTo>
                  <a:lnTo>
                    <a:pt x="142" y="295"/>
                  </a:lnTo>
                  <a:lnTo>
                    <a:pt x="142" y="296"/>
                  </a:lnTo>
                  <a:lnTo>
                    <a:pt x="143" y="296"/>
                  </a:lnTo>
                  <a:lnTo>
                    <a:pt x="143" y="297"/>
                  </a:lnTo>
                  <a:lnTo>
                    <a:pt x="142" y="297"/>
                  </a:lnTo>
                  <a:lnTo>
                    <a:pt x="143" y="297"/>
                  </a:lnTo>
                  <a:lnTo>
                    <a:pt x="143" y="298"/>
                  </a:lnTo>
                  <a:lnTo>
                    <a:pt x="144" y="297"/>
                  </a:lnTo>
                  <a:lnTo>
                    <a:pt x="144" y="298"/>
                  </a:lnTo>
                  <a:lnTo>
                    <a:pt x="144" y="299"/>
                  </a:lnTo>
                  <a:lnTo>
                    <a:pt x="144" y="300"/>
                  </a:lnTo>
                  <a:lnTo>
                    <a:pt x="143" y="302"/>
                  </a:lnTo>
                  <a:lnTo>
                    <a:pt x="142" y="302"/>
                  </a:lnTo>
                  <a:lnTo>
                    <a:pt x="141" y="303"/>
                  </a:lnTo>
                  <a:lnTo>
                    <a:pt x="140" y="303"/>
                  </a:lnTo>
                  <a:lnTo>
                    <a:pt x="140" y="304"/>
                  </a:lnTo>
                  <a:lnTo>
                    <a:pt x="138" y="304"/>
                  </a:lnTo>
                  <a:lnTo>
                    <a:pt x="137" y="304"/>
                  </a:lnTo>
                  <a:lnTo>
                    <a:pt x="137" y="305"/>
                  </a:lnTo>
                  <a:lnTo>
                    <a:pt x="135" y="305"/>
                  </a:lnTo>
                  <a:lnTo>
                    <a:pt x="133" y="305"/>
                  </a:lnTo>
                  <a:lnTo>
                    <a:pt x="132" y="305"/>
                  </a:lnTo>
                  <a:lnTo>
                    <a:pt x="130" y="305"/>
                  </a:lnTo>
                  <a:lnTo>
                    <a:pt x="128" y="305"/>
                  </a:lnTo>
                  <a:lnTo>
                    <a:pt x="127" y="305"/>
                  </a:lnTo>
                  <a:lnTo>
                    <a:pt x="126" y="305"/>
                  </a:lnTo>
                  <a:lnTo>
                    <a:pt x="125" y="305"/>
                  </a:lnTo>
                  <a:lnTo>
                    <a:pt x="123" y="304"/>
                  </a:lnTo>
                  <a:lnTo>
                    <a:pt x="122" y="304"/>
                  </a:lnTo>
                  <a:lnTo>
                    <a:pt x="122" y="303"/>
                  </a:lnTo>
                  <a:lnTo>
                    <a:pt x="121" y="303"/>
                  </a:lnTo>
                  <a:lnTo>
                    <a:pt x="121" y="304"/>
                  </a:lnTo>
                  <a:lnTo>
                    <a:pt x="121" y="303"/>
                  </a:lnTo>
                  <a:lnTo>
                    <a:pt x="118" y="302"/>
                  </a:lnTo>
                  <a:lnTo>
                    <a:pt x="115" y="302"/>
                  </a:lnTo>
                  <a:lnTo>
                    <a:pt x="114" y="300"/>
                  </a:lnTo>
                  <a:lnTo>
                    <a:pt x="113" y="300"/>
                  </a:lnTo>
                  <a:lnTo>
                    <a:pt x="112" y="300"/>
                  </a:lnTo>
                  <a:lnTo>
                    <a:pt x="111" y="300"/>
                  </a:lnTo>
                  <a:lnTo>
                    <a:pt x="112" y="300"/>
                  </a:lnTo>
                  <a:lnTo>
                    <a:pt x="113" y="300"/>
                  </a:lnTo>
                  <a:lnTo>
                    <a:pt x="112" y="299"/>
                  </a:lnTo>
                  <a:lnTo>
                    <a:pt x="111" y="298"/>
                  </a:lnTo>
                  <a:lnTo>
                    <a:pt x="109" y="298"/>
                  </a:lnTo>
                  <a:lnTo>
                    <a:pt x="109" y="299"/>
                  </a:lnTo>
                  <a:lnTo>
                    <a:pt x="111" y="299"/>
                  </a:lnTo>
                  <a:lnTo>
                    <a:pt x="109" y="299"/>
                  </a:lnTo>
                  <a:lnTo>
                    <a:pt x="108" y="299"/>
                  </a:lnTo>
                  <a:lnTo>
                    <a:pt x="108" y="300"/>
                  </a:lnTo>
                  <a:lnTo>
                    <a:pt x="107" y="300"/>
                  </a:lnTo>
                  <a:lnTo>
                    <a:pt x="108" y="302"/>
                  </a:lnTo>
                  <a:lnTo>
                    <a:pt x="107" y="302"/>
                  </a:lnTo>
                  <a:lnTo>
                    <a:pt x="107" y="303"/>
                  </a:lnTo>
                  <a:lnTo>
                    <a:pt x="108" y="303"/>
                  </a:lnTo>
                  <a:lnTo>
                    <a:pt x="109" y="306"/>
                  </a:lnTo>
                  <a:lnTo>
                    <a:pt x="109" y="307"/>
                  </a:lnTo>
                  <a:lnTo>
                    <a:pt x="111" y="309"/>
                  </a:lnTo>
                  <a:lnTo>
                    <a:pt x="111" y="310"/>
                  </a:lnTo>
                  <a:lnTo>
                    <a:pt x="112" y="310"/>
                  </a:lnTo>
                  <a:lnTo>
                    <a:pt x="112" y="311"/>
                  </a:lnTo>
                  <a:lnTo>
                    <a:pt x="113" y="311"/>
                  </a:lnTo>
                  <a:lnTo>
                    <a:pt x="113" y="312"/>
                  </a:lnTo>
                  <a:lnTo>
                    <a:pt x="113" y="313"/>
                  </a:lnTo>
                  <a:lnTo>
                    <a:pt x="113" y="314"/>
                  </a:lnTo>
                  <a:lnTo>
                    <a:pt x="114" y="316"/>
                  </a:lnTo>
                  <a:lnTo>
                    <a:pt x="114" y="317"/>
                  </a:lnTo>
                  <a:lnTo>
                    <a:pt x="113" y="318"/>
                  </a:lnTo>
                  <a:lnTo>
                    <a:pt x="114" y="319"/>
                  </a:lnTo>
                  <a:lnTo>
                    <a:pt x="115" y="320"/>
                  </a:lnTo>
                  <a:lnTo>
                    <a:pt x="116" y="321"/>
                  </a:lnTo>
                  <a:lnTo>
                    <a:pt x="118" y="321"/>
                  </a:lnTo>
                  <a:lnTo>
                    <a:pt x="118" y="323"/>
                  </a:lnTo>
                  <a:lnTo>
                    <a:pt x="119" y="323"/>
                  </a:lnTo>
                  <a:lnTo>
                    <a:pt x="120" y="323"/>
                  </a:lnTo>
                  <a:lnTo>
                    <a:pt x="121" y="323"/>
                  </a:lnTo>
                  <a:lnTo>
                    <a:pt x="122" y="323"/>
                  </a:lnTo>
                  <a:lnTo>
                    <a:pt x="122" y="324"/>
                  </a:lnTo>
                  <a:lnTo>
                    <a:pt x="121" y="325"/>
                  </a:lnTo>
                  <a:lnTo>
                    <a:pt x="121" y="326"/>
                  </a:lnTo>
                  <a:lnTo>
                    <a:pt x="122" y="326"/>
                  </a:lnTo>
                  <a:lnTo>
                    <a:pt x="123" y="326"/>
                  </a:lnTo>
                  <a:lnTo>
                    <a:pt x="125" y="326"/>
                  </a:lnTo>
                  <a:lnTo>
                    <a:pt x="125" y="325"/>
                  </a:lnTo>
                  <a:lnTo>
                    <a:pt x="128" y="326"/>
                  </a:lnTo>
                  <a:lnTo>
                    <a:pt x="128" y="325"/>
                  </a:lnTo>
                  <a:lnTo>
                    <a:pt x="128" y="324"/>
                  </a:lnTo>
                  <a:lnTo>
                    <a:pt x="128" y="323"/>
                  </a:lnTo>
                  <a:lnTo>
                    <a:pt x="127" y="323"/>
                  </a:lnTo>
                  <a:lnTo>
                    <a:pt x="126" y="323"/>
                  </a:lnTo>
                  <a:lnTo>
                    <a:pt x="125" y="323"/>
                  </a:lnTo>
                  <a:lnTo>
                    <a:pt x="123" y="323"/>
                  </a:lnTo>
                  <a:lnTo>
                    <a:pt x="125" y="323"/>
                  </a:lnTo>
                  <a:lnTo>
                    <a:pt x="126" y="323"/>
                  </a:lnTo>
                  <a:lnTo>
                    <a:pt x="127" y="321"/>
                  </a:lnTo>
                  <a:lnTo>
                    <a:pt x="128" y="320"/>
                  </a:lnTo>
                  <a:lnTo>
                    <a:pt x="129" y="320"/>
                  </a:lnTo>
                  <a:lnTo>
                    <a:pt x="130" y="320"/>
                  </a:lnTo>
                  <a:lnTo>
                    <a:pt x="132" y="320"/>
                  </a:lnTo>
                  <a:lnTo>
                    <a:pt x="132" y="321"/>
                  </a:lnTo>
                  <a:lnTo>
                    <a:pt x="133" y="321"/>
                  </a:lnTo>
                  <a:lnTo>
                    <a:pt x="133" y="323"/>
                  </a:lnTo>
                  <a:lnTo>
                    <a:pt x="134" y="324"/>
                  </a:lnTo>
                  <a:lnTo>
                    <a:pt x="134" y="326"/>
                  </a:lnTo>
                  <a:lnTo>
                    <a:pt x="135" y="328"/>
                  </a:lnTo>
                  <a:lnTo>
                    <a:pt x="135" y="330"/>
                  </a:lnTo>
                  <a:lnTo>
                    <a:pt x="135" y="331"/>
                  </a:lnTo>
                  <a:lnTo>
                    <a:pt x="135" y="332"/>
                  </a:lnTo>
                  <a:lnTo>
                    <a:pt x="134" y="332"/>
                  </a:lnTo>
                  <a:lnTo>
                    <a:pt x="132" y="332"/>
                  </a:lnTo>
                  <a:lnTo>
                    <a:pt x="130" y="332"/>
                  </a:lnTo>
                  <a:lnTo>
                    <a:pt x="130" y="333"/>
                  </a:lnTo>
                  <a:lnTo>
                    <a:pt x="129" y="332"/>
                  </a:lnTo>
                  <a:lnTo>
                    <a:pt x="128" y="332"/>
                  </a:lnTo>
                  <a:lnTo>
                    <a:pt x="128" y="331"/>
                  </a:lnTo>
                  <a:lnTo>
                    <a:pt x="127" y="331"/>
                  </a:lnTo>
                  <a:lnTo>
                    <a:pt x="127" y="330"/>
                  </a:lnTo>
                  <a:lnTo>
                    <a:pt x="128" y="328"/>
                  </a:lnTo>
                  <a:lnTo>
                    <a:pt x="127" y="328"/>
                  </a:lnTo>
                  <a:lnTo>
                    <a:pt x="126" y="328"/>
                  </a:lnTo>
                  <a:lnTo>
                    <a:pt x="126" y="327"/>
                  </a:lnTo>
                  <a:lnTo>
                    <a:pt x="125" y="327"/>
                  </a:lnTo>
                  <a:lnTo>
                    <a:pt x="123" y="327"/>
                  </a:lnTo>
                  <a:lnTo>
                    <a:pt x="122" y="327"/>
                  </a:lnTo>
                  <a:lnTo>
                    <a:pt x="121" y="327"/>
                  </a:lnTo>
                  <a:lnTo>
                    <a:pt x="120" y="327"/>
                  </a:lnTo>
                  <a:lnTo>
                    <a:pt x="120" y="328"/>
                  </a:lnTo>
                  <a:lnTo>
                    <a:pt x="119" y="328"/>
                  </a:lnTo>
                  <a:lnTo>
                    <a:pt x="119" y="330"/>
                  </a:lnTo>
                  <a:lnTo>
                    <a:pt x="118" y="330"/>
                  </a:lnTo>
                  <a:lnTo>
                    <a:pt x="118" y="331"/>
                  </a:lnTo>
                  <a:lnTo>
                    <a:pt x="119" y="331"/>
                  </a:lnTo>
                  <a:lnTo>
                    <a:pt x="119" y="332"/>
                  </a:lnTo>
                  <a:lnTo>
                    <a:pt x="120" y="332"/>
                  </a:lnTo>
                  <a:lnTo>
                    <a:pt x="122" y="332"/>
                  </a:lnTo>
                  <a:lnTo>
                    <a:pt x="122" y="333"/>
                  </a:lnTo>
                  <a:lnTo>
                    <a:pt x="123" y="333"/>
                  </a:lnTo>
                  <a:lnTo>
                    <a:pt x="125" y="333"/>
                  </a:lnTo>
                  <a:lnTo>
                    <a:pt x="126" y="333"/>
                  </a:lnTo>
                  <a:lnTo>
                    <a:pt x="126" y="334"/>
                  </a:lnTo>
                  <a:lnTo>
                    <a:pt x="127" y="334"/>
                  </a:lnTo>
                  <a:lnTo>
                    <a:pt x="128" y="334"/>
                  </a:lnTo>
                  <a:lnTo>
                    <a:pt x="127" y="335"/>
                  </a:lnTo>
                  <a:lnTo>
                    <a:pt x="125" y="337"/>
                  </a:lnTo>
                  <a:lnTo>
                    <a:pt x="122" y="337"/>
                  </a:lnTo>
                  <a:lnTo>
                    <a:pt x="121" y="338"/>
                  </a:lnTo>
                  <a:lnTo>
                    <a:pt x="121" y="339"/>
                  </a:lnTo>
                  <a:lnTo>
                    <a:pt x="120" y="339"/>
                  </a:lnTo>
                  <a:lnTo>
                    <a:pt x="120" y="340"/>
                  </a:lnTo>
                  <a:lnTo>
                    <a:pt x="120" y="341"/>
                  </a:lnTo>
                  <a:lnTo>
                    <a:pt x="120" y="342"/>
                  </a:lnTo>
                  <a:lnTo>
                    <a:pt x="119" y="342"/>
                  </a:lnTo>
                  <a:lnTo>
                    <a:pt x="119" y="344"/>
                  </a:lnTo>
                  <a:lnTo>
                    <a:pt x="119" y="345"/>
                  </a:lnTo>
                  <a:lnTo>
                    <a:pt x="118" y="345"/>
                  </a:lnTo>
                  <a:lnTo>
                    <a:pt x="119" y="346"/>
                  </a:lnTo>
                  <a:lnTo>
                    <a:pt x="119" y="347"/>
                  </a:lnTo>
                  <a:lnTo>
                    <a:pt x="120" y="348"/>
                  </a:lnTo>
                  <a:lnTo>
                    <a:pt x="120" y="349"/>
                  </a:lnTo>
                  <a:lnTo>
                    <a:pt x="121" y="349"/>
                  </a:lnTo>
                  <a:lnTo>
                    <a:pt x="121" y="351"/>
                  </a:lnTo>
                  <a:lnTo>
                    <a:pt x="122" y="351"/>
                  </a:lnTo>
                  <a:lnTo>
                    <a:pt x="121" y="351"/>
                  </a:lnTo>
                  <a:lnTo>
                    <a:pt x="121" y="352"/>
                  </a:lnTo>
                  <a:lnTo>
                    <a:pt x="122" y="352"/>
                  </a:lnTo>
                  <a:lnTo>
                    <a:pt x="121" y="352"/>
                  </a:lnTo>
                  <a:lnTo>
                    <a:pt x="121" y="353"/>
                  </a:lnTo>
                  <a:lnTo>
                    <a:pt x="121" y="354"/>
                  </a:lnTo>
                  <a:lnTo>
                    <a:pt x="122" y="354"/>
                  </a:lnTo>
                  <a:lnTo>
                    <a:pt x="122" y="355"/>
                  </a:lnTo>
                  <a:lnTo>
                    <a:pt x="123" y="355"/>
                  </a:lnTo>
                  <a:lnTo>
                    <a:pt x="122" y="356"/>
                  </a:lnTo>
                  <a:lnTo>
                    <a:pt x="122" y="358"/>
                  </a:lnTo>
                  <a:lnTo>
                    <a:pt x="123" y="358"/>
                  </a:lnTo>
                  <a:lnTo>
                    <a:pt x="122" y="358"/>
                  </a:lnTo>
                  <a:lnTo>
                    <a:pt x="122" y="359"/>
                  </a:lnTo>
                  <a:lnTo>
                    <a:pt x="122" y="358"/>
                  </a:lnTo>
                  <a:lnTo>
                    <a:pt x="122" y="359"/>
                  </a:lnTo>
                  <a:lnTo>
                    <a:pt x="121" y="359"/>
                  </a:lnTo>
                  <a:lnTo>
                    <a:pt x="122" y="359"/>
                  </a:lnTo>
                  <a:lnTo>
                    <a:pt x="122" y="360"/>
                  </a:lnTo>
                  <a:lnTo>
                    <a:pt x="122" y="359"/>
                  </a:lnTo>
                  <a:lnTo>
                    <a:pt x="121" y="359"/>
                  </a:lnTo>
                  <a:lnTo>
                    <a:pt x="121" y="360"/>
                  </a:lnTo>
                  <a:lnTo>
                    <a:pt x="120" y="360"/>
                  </a:lnTo>
                  <a:lnTo>
                    <a:pt x="119" y="360"/>
                  </a:lnTo>
                  <a:lnTo>
                    <a:pt x="119" y="361"/>
                  </a:lnTo>
                  <a:lnTo>
                    <a:pt x="119" y="362"/>
                  </a:lnTo>
                  <a:lnTo>
                    <a:pt x="119" y="363"/>
                  </a:lnTo>
                  <a:lnTo>
                    <a:pt x="120" y="363"/>
                  </a:lnTo>
                  <a:lnTo>
                    <a:pt x="121" y="363"/>
                  </a:lnTo>
                  <a:lnTo>
                    <a:pt x="121" y="365"/>
                  </a:lnTo>
                  <a:lnTo>
                    <a:pt x="122" y="365"/>
                  </a:lnTo>
                  <a:lnTo>
                    <a:pt x="121" y="365"/>
                  </a:lnTo>
                  <a:lnTo>
                    <a:pt x="121" y="366"/>
                  </a:lnTo>
                  <a:lnTo>
                    <a:pt x="121" y="367"/>
                  </a:lnTo>
                  <a:lnTo>
                    <a:pt x="120" y="367"/>
                  </a:lnTo>
                  <a:lnTo>
                    <a:pt x="120" y="366"/>
                  </a:lnTo>
                  <a:lnTo>
                    <a:pt x="119" y="366"/>
                  </a:lnTo>
                  <a:lnTo>
                    <a:pt x="118" y="366"/>
                  </a:lnTo>
                  <a:lnTo>
                    <a:pt x="118" y="367"/>
                  </a:lnTo>
                  <a:lnTo>
                    <a:pt x="116" y="366"/>
                  </a:lnTo>
                  <a:lnTo>
                    <a:pt x="115" y="366"/>
                  </a:lnTo>
                  <a:lnTo>
                    <a:pt x="114" y="366"/>
                  </a:lnTo>
                  <a:lnTo>
                    <a:pt x="113" y="366"/>
                  </a:lnTo>
                  <a:lnTo>
                    <a:pt x="113" y="367"/>
                  </a:lnTo>
                  <a:lnTo>
                    <a:pt x="112" y="367"/>
                  </a:lnTo>
                  <a:lnTo>
                    <a:pt x="111" y="367"/>
                  </a:lnTo>
                  <a:lnTo>
                    <a:pt x="111" y="368"/>
                  </a:lnTo>
                  <a:lnTo>
                    <a:pt x="112" y="368"/>
                  </a:lnTo>
                  <a:lnTo>
                    <a:pt x="109" y="368"/>
                  </a:lnTo>
                  <a:lnTo>
                    <a:pt x="111" y="368"/>
                  </a:lnTo>
                  <a:lnTo>
                    <a:pt x="111" y="369"/>
                  </a:lnTo>
                  <a:lnTo>
                    <a:pt x="109" y="369"/>
                  </a:lnTo>
                  <a:lnTo>
                    <a:pt x="107" y="369"/>
                  </a:lnTo>
                  <a:lnTo>
                    <a:pt x="106" y="369"/>
                  </a:lnTo>
                  <a:lnTo>
                    <a:pt x="106" y="370"/>
                  </a:lnTo>
                  <a:lnTo>
                    <a:pt x="105" y="370"/>
                  </a:lnTo>
                  <a:lnTo>
                    <a:pt x="105" y="372"/>
                  </a:lnTo>
                  <a:lnTo>
                    <a:pt x="105" y="373"/>
                  </a:lnTo>
                  <a:lnTo>
                    <a:pt x="104" y="373"/>
                  </a:lnTo>
                  <a:lnTo>
                    <a:pt x="104" y="374"/>
                  </a:lnTo>
                  <a:lnTo>
                    <a:pt x="104" y="375"/>
                  </a:lnTo>
                  <a:lnTo>
                    <a:pt x="102" y="375"/>
                  </a:lnTo>
                  <a:lnTo>
                    <a:pt x="102" y="376"/>
                  </a:lnTo>
                  <a:lnTo>
                    <a:pt x="104" y="377"/>
                  </a:lnTo>
                  <a:lnTo>
                    <a:pt x="102" y="377"/>
                  </a:lnTo>
                  <a:lnTo>
                    <a:pt x="104" y="377"/>
                  </a:lnTo>
                  <a:lnTo>
                    <a:pt x="104" y="379"/>
                  </a:lnTo>
                  <a:lnTo>
                    <a:pt x="102" y="377"/>
                  </a:lnTo>
                  <a:lnTo>
                    <a:pt x="102" y="379"/>
                  </a:lnTo>
                  <a:lnTo>
                    <a:pt x="102" y="380"/>
                  </a:lnTo>
                  <a:lnTo>
                    <a:pt x="101" y="380"/>
                  </a:lnTo>
                  <a:lnTo>
                    <a:pt x="102" y="381"/>
                  </a:lnTo>
                  <a:lnTo>
                    <a:pt x="101" y="381"/>
                  </a:lnTo>
                  <a:lnTo>
                    <a:pt x="101" y="382"/>
                  </a:lnTo>
                  <a:lnTo>
                    <a:pt x="101" y="383"/>
                  </a:lnTo>
                  <a:lnTo>
                    <a:pt x="102" y="383"/>
                  </a:lnTo>
                  <a:lnTo>
                    <a:pt x="104" y="387"/>
                  </a:lnTo>
                  <a:lnTo>
                    <a:pt x="105" y="388"/>
                  </a:lnTo>
                  <a:lnTo>
                    <a:pt x="107" y="390"/>
                  </a:lnTo>
                  <a:lnTo>
                    <a:pt x="108" y="391"/>
                  </a:lnTo>
                  <a:lnTo>
                    <a:pt x="109" y="391"/>
                  </a:lnTo>
                  <a:lnTo>
                    <a:pt x="111" y="391"/>
                  </a:lnTo>
                  <a:lnTo>
                    <a:pt x="111" y="393"/>
                  </a:lnTo>
                  <a:lnTo>
                    <a:pt x="112" y="393"/>
                  </a:lnTo>
                  <a:lnTo>
                    <a:pt x="113" y="394"/>
                  </a:lnTo>
                  <a:lnTo>
                    <a:pt x="114" y="395"/>
                  </a:lnTo>
                  <a:lnTo>
                    <a:pt x="115" y="395"/>
                  </a:lnTo>
                  <a:lnTo>
                    <a:pt x="116" y="396"/>
                  </a:lnTo>
                  <a:lnTo>
                    <a:pt x="116" y="397"/>
                  </a:lnTo>
                  <a:lnTo>
                    <a:pt x="118" y="397"/>
                  </a:lnTo>
                  <a:lnTo>
                    <a:pt x="119" y="397"/>
                  </a:lnTo>
                  <a:lnTo>
                    <a:pt x="120" y="397"/>
                  </a:lnTo>
                  <a:lnTo>
                    <a:pt x="121" y="397"/>
                  </a:lnTo>
                  <a:lnTo>
                    <a:pt x="122" y="397"/>
                  </a:lnTo>
                  <a:lnTo>
                    <a:pt x="123" y="397"/>
                  </a:lnTo>
                  <a:lnTo>
                    <a:pt x="125" y="398"/>
                  </a:lnTo>
                  <a:lnTo>
                    <a:pt x="126" y="398"/>
                  </a:lnTo>
                  <a:lnTo>
                    <a:pt x="127" y="397"/>
                  </a:lnTo>
                  <a:lnTo>
                    <a:pt x="128" y="398"/>
                  </a:lnTo>
                  <a:lnTo>
                    <a:pt x="129" y="398"/>
                  </a:lnTo>
                  <a:lnTo>
                    <a:pt x="129" y="400"/>
                  </a:lnTo>
                  <a:lnTo>
                    <a:pt x="130" y="400"/>
                  </a:lnTo>
                  <a:lnTo>
                    <a:pt x="132" y="401"/>
                  </a:lnTo>
                  <a:lnTo>
                    <a:pt x="132" y="402"/>
                  </a:lnTo>
                  <a:lnTo>
                    <a:pt x="132" y="403"/>
                  </a:lnTo>
                  <a:lnTo>
                    <a:pt x="133" y="404"/>
                  </a:lnTo>
                  <a:lnTo>
                    <a:pt x="133" y="405"/>
                  </a:lnTo>
                  <a:lnTo>
                    <a:pt x="133" y="407"/>
                  </a:lnTo>
                  <a:lnTo>
                    <a:pt x="133" y="408"/>
                  </a:lnTo>
                  <a:lnTo>
                    <a:pt x="132" y="408"/>
                  </a:lnTo>
                  <a:lnTo>
                    <a:pt x="130" y="408"/>
                  </a:lnTo>
                  <a:lnTo>
                    <a:pt x="129" y="409"/>
                  </a:lnTo>
                  <a:lnTo>
                    <a:pt x="128" y="409"/>
                  </a:lnTo>
                  <a:lnTo>
                    <a:pt x="128" y="410"/>
                  </a:lnTo>
                  <a:lnTo>
                    <a:pt x="127" y="410"/>
                  </a:lnTo>
                  <a:lnTo>
                    <a:pt x="126" y="410"/>
                  </a:lnTo>
                  <a:lnTo>
                    <a:pt x="127" y="410"/>
                  </a:lnTo>
                  <a:lnTo>
                    <a:pt x="128" y="410"/>
                  </a:lnTo>
                  <a:lnTo>
                    <a:pt x="129" y="409"/>
                  </a:lnTo>
                  <a:lnTo>
                    <a:pt x="130" y="409"/>
                  </a:lnTo>
                  <a:lnTo>
                    <a:pt x="132" y="409"/>
                  </a:lnTo>
                  <a:lnTo>
                    <a:pt x="133" y="410"/>
                  </a:lnTo>
                  <a:lnTo>
                    <a:pt x="134" y="410"/>
                  </a:lnTo>
                  <a:lnTo>
                    <a:pt x="134" y="411"/>
                  </a:lnTo>
                  <a:lnTo>
                    <a:pt x="133" y="411"/>
                  </a:lnTo>
                  <a:lnTo>
                    <a:pt x="132" y="411"/>
                  </a:lnTo>
                  <a:lnTo>
                    <a:pt x="132" y="412"/>
                  </a:lnTo>
                  <a:lnTo>
                    <a:pt x="133" y="412"/>
                  </a:lnTo>
                  <a:lnTo>
                    <a:pt x="133" y="414"/>
                  </a:lnTo>
                  <a:lnTo>
                    <a:pt x="134" y="414"/>
                  </a:lnTo>
                  <a:lnTo>
                    <a:pt x="133" y="414"/>
                  </a:lnTo>
                  <a:lnTo>
                    <a:pt x="132" y="414"/>
                  </a:lnTo>
                  <a:lnTo>
                    <a:pt x="130" y="414"/>
                  </a:lnTo>
                  <a:lnTo>
                    <a:pt x="130" y="415"/>
                  </a:lnTo>
                  <a:lnTo>
                    <a:pt x="129" y="416"/>
                  </a:lnTo>
                  <a:lnTo>
                    <a:pt x="129" y="417"/>
                  </a:lnTo>
                  <a:lnTo>
                    <a:pt x="128" y="417"/>
                  </a:lnTo>
                  <a:lnTo>
                    <a:pt x="128" y="418"/>
                  </a:lnTo>
                  <a:lnTo>
                    <a:pt x="127" y="418"/>
                  </a:lnTo>
                  <a:lnTo>
                    <a:pt x="126" y="418"/>
                  </a:lnTo>
                  <a:lnTo>
                    <a:pt x="126" y="419"/>
                  </a:lnTo>
                  <a:lnTo>
                    <a:pt x="125" y="419"/>
                  </a:lnTo>
                  <a:lnTo>
                    <a:pt x="125" y="421"/>
                  </a:lnTo>
                  <a:lnTo>
                    <a:pt x="125" y="422"/>
                  </a:lnTo>
                  <a:lnTo>
                    <a:pt x="123" y="422"/>
                  </a:lnTo>
                  <a:lnTo>
                    <a:pt x="122" y="422"/>
                  </a:lnTo>
                  <a:lnTo>
                    <a:pt x="121" y="423"/>
                  </a:lnTo>
                  <a:lnTo>
                    <a:pt x="121" y="424"/>
                  </a:lnTo>
                  <a:lnTo>
                    <a:pt x="121" y="425"/>
                  </a:lnTo>
                  <a:lnTo>
                    <a:pt x="120" y="425"/>
                  </a:lnTo>
                  <a:lnTo>
                    <a:pt x="119" y="426"/>
                  </a:lnTo>
                  <a:lnTo>
                    <a:pt x="118" y="428"/>
                  </a:lnTo>
                  <a:lnTo>
                    <a:pt x="118" y="429"/>
                  </a:lnTo>
                  <a:lnTo>
                    <a:pt x="118" y="430"/>
                  </a:lnTo>
                  <a:lnTo>
                    <a:pt x="119" y="430"/>
                  </a:lnTo>
                  <a:lnTo>
                    <a:pt x="118" y="430"/>
                  </a:lnTo>
                  <a:lnTo>
                    <a:pt x="118" y="431"/>
                  </a:lnTo>
                  <a:lnTo>
                    <a:pt x="118" y="432"/>
                  </a:lnTo>
                  <a:lnTo>
                    <a:pt x="118" y="433"/>
                  </a:lnTo>
                  <a:lnTo>
                    <a:pt x="116" y="433"/>
                  </a:lnTo>
                  <a:lnTo>
                    <a:pt x="118" y="433"/>
                  </a:lnTo>
                  <a:lnTo>
                    <a:pt x="119" y="433"/>
                  </a:lnTo>
                  <a:lnTo>
                    <a:pt x="119" y="432"/>
                  </a:lnTo>
                  <a:lnTo>
                    <a:pt x="118" y="432"/>
                  </a:lnTo>
                  <a:lnTo>
                    <a:pt x="119" y="432"/>
                  </a:lnTo>
                  <a:lnTo>
                    <a:pt x="118" y="431"/>
                  </a:lnTo>
                  <a:lnTo>
                    <a:pt x="119" y="431"/>
                  </a:lnTo>
                  <a:lnTo>
                    <a:pt x="119" y="432"/>
                  </a:lnTo>
                  <a:lnTo>
                    <a:pt x="119" y="433"/>
                  </a:lnTo>
                  <a:lnTo>
                    <a:pt x="119" y="435"/>
                  </a:lnTo>
                  <a:lnTo>
                    <a:pt x="119" y="436"/>
                  </a:lnTo>
                  <a:lnTo>
                    <a:pt x="120" y="437"/>
                  </a:lnTo>
                  <a:lnTo>
                    <a:pt x="120" y="438"/>
                  </a:lnTo>
                  <a:lnTo>
                    <a:pt x="120" y="439"/>
                  </a:lnTo>
                  <a:lnTo>
                    <a:pt x="120" y="440"/>
                  </a:lnTo>
                  <a:lnTo>
                    <a:pt x="120" y="442"/>
                  </a:lnTo>
                  <a:lnTo>
                    <a:pt x="120" y="443"/>
                  </a:lnTo>
                  <a:lnTo>
                    <a:pt x="119" y="444"/>
                  </a:lnTo>
                  <a:lnTo>
                    <a:pt x="118" y="444"/>
                  </a:lnTo>
                  <a:lnTo>
                    <a:pt x="116" y="445"/>
                  </a:lnTo>
                  <a:lnTo>
                    <a:pt x="115" y="445"/>
                  </a:lnTo>
                  <a:lnTo>
                    <a:pt x="114" y="445"/>
                  </a:lnTo>
                  <a:lnTo>
                    <a:pt x="114" y="444"/>
                  </a:lnTo>
                  <a:lnTo>
                    <a:pt x="113" y="444"/>
                  </a:lnTo>
                  <a:lnTo>
                    <a:pt x="113" y="443"/>
                  </a:lnTo>
                  <a:lnTo>
                    <a:pt x="112" y="443"/>
                  </a:lnTo>
                  <a:lnTo>
                    <a:pt x="112" y="442"/>
                  </a:lnTo>
                  <a:lnTo>
                    <a:pt x="111" y="442"/>
                  </a:lnTo>
                  <a:lnTo>
                    <a:pt x="111" y="440"/>
                  </a:lnTo>
                  <a:lnTo>
                    <a:pt x="109" y="440"/>
                  </a:lnTo>
                  <a:lnTo>
                    <a:pt x="109" y="439"/>
                  </a:lnTo>
                  <a:lnTo>
                    <a:pt x="108" y="439"/>
                  </a:lnTo>
                  <a:lnTo>
                    <a:pt x="107" y="439"/>
                  </a:lnTo>
                  <a:lnTo>
                    <a:pt x="108" y="439"/>
                  </a:lnTo>
                  <a:lnTo>
                    <a:pt x="109" y="439"/>
                  </a:lnTo>
                  <a:lnTo>
                    <a:pt x="109" y="440"/>
                  </a:lnTo>
                  <a:lnTo>
                    <a:pt x="111" y="440"/>
                  </a:lnTo>
                  <a:lnTo>
                    <a:pt x="111" y="442"/>
                  </a:lnTo>
                  <a:lnTo>
                    <a:pt x="111" y="443"/>
                  </a:lnTo>
                  <a:lnTo>
                    <a:pt x="109" y="443"/>
                  </a:lnTo>
                  <a:lnTo>
                    <a:pt x="108" y="443"/>
                  </a:lnTo>
                  <a:lnTo>
                    <a:pt x="107" y="443"/>
                  </a:lnTo>
                  <a:lnTo>
                    <a:pt x="106" y="443"/>
                  </a:lnTo>
                  <a:lnTo>
                    <a:pt x="107" y="443"/>
                  </a:lnTo>
                  <a:lnTo>
                    <a:pt x="108" y="443"/>
                  </a:lnTo>
                  <a:lnTo>
                    <a:pt x="109" y="443"/>
                  </a:lnTo>
                  <a:lnTo>
                    <a:pt x="111" y="443"/>
                  </a:lnTo>
                  <a:lnTo>
                    <a:pt x="112" y="443"/>
                  </a:lnTo>
                  <a:lnTo>
                    <a:pt x="112" y="444"/>
                  </a:lnTo>
                  <a:lnTo>
                    <a:pt x="113" y="444"/>
                  </a:lnTo>
                  <a:lnTo>
                    <a:pt x="113" y="445"/>
                  </a:lnTo>
                  <a:lnTo>
                    <a:pt x="114" y="445"/>
                  </a:lnTo>
                  <a:lnTo>
                    <a:pt x="115" y="445"/>
                  </a:lnTo>
                  <a:lnTo>
                    <a:pt x="114" y="445"/>
                  </a:lnTo>
                  <a:lnTo>
                    <a:pt x="114" y="446"/>
                  </a:lnTo>
                  <a:lnTo>
                    <a:pt x="112" y="446"/>
                  </a:lnTo>
                  <a:lnTo>
                    <a:pt x="111" y="447"/>
                  </a:lnTo>
                  <a:lnTo>
                    <a:pt x="109" y="447"/>
                  </a:lnTo>
                  <a:lnTo>
                    <a:pt x="109" y="449"/>
                  </a:lnTo>
                  <a:lnTo>
                    <a:pt x="108" y="450"/>
                  </a:lnTo>
                  <a:lnTo>
                    <a:pt x="108" y="451"/>
                  </a:lnTo>
                  <a:lnTo>
                    <a:pt x="108" y="452"/>
                  </a:lnTo>
                  <a:lnTo>
                    <a:pt x="108" y="453"/>
                  </a:lnTo>
                  <a:lnTo>
                    <a:pt x="108" y="454"/>
                  </a:lnTo>
                  <a:lnTo>
                    <a:pt x="109" y="454"/>
                  </a:lnTo>
                  <a:lnTo>
                    <a:pt x="109" y="456"/>
                  </a:lnTo>
                  <a:lnTo>
                    <a:pt x="109" y="457"/>
                  </a:lnTo>
                  <a:lnTo>
                    <a:pt x="108" y="458"/>
                  </a:lnTo>
                  <a:lnTo>
                    <a:pt x="107" y="459"/>
                  </a:lnTo>
                  <a:lnTo>
                    <a:pt x="108" y="459"/>
                  </a:lnTo>
                  <a:lnTo>
                    <a:pt x="108" y="458"/>
                  </a:lnTo>
                  <a:lnTo>
                    <a:pt x="109" y="458"/>
                  </a:lnTo>
                  <a:lnTo>
                    <a:pt x="111" y="458"/>
                  </a:lnTo>
                  <a:lnTo>
                    <a:pt x="111" y="459"/>
                  </a:lnTo>
                  <a:lnTo>
                    <a:pt x="112" y="460"/>
                  </a:lnTo>
                  <a:lnTo>
                    <a:pt x="112" y="461"/>
                  </a:lnTo>
                  <a:lnTo>
                    <a:pt x="113" y="461"/>
                  </a:lnTo>
                  <a:lnTo>
                    <a:pt x="113" y="463"/>
                  </a:lnTo>
                  <a:lnTo>
                    <a:pt x="115" y="466"/>
                  </a:lnTo>
                  <a:lnTo>
                    <a:pt x="116" y="466"/>
                  </a:lnTo>
                  <a:lnTo>
                    <a:pt x="116" y="467"/>
                  </a:lnTo>
                  <a:lnTo>
                    <a:pt x="115" y="467"/>
                  </a:lnTo>
                  <a:lnTo>
                    <a:pt x="114" y="467"/>
                  </a:lnTo>
                  <a:lnTo>
                    <a:pt x="112" y="467"/>
                  </a:lnTo>
                  <a:lnTo>
                    <a:pt x="111" y="466"/>
                  </a:lnTo>
                  <a:lnTo>
                    <a:pt x="111" y="467"/>
                  </a:lnTo>
                  <a:lnTo>
                    <a:pt x="109" y="467"/>
                  </a:lnTo>
                  <a:lnTo>
                    <a:pt x="108" y="467"/>
                  </a:lnTo>
                  <a:lnTo>
                    <a:pt x="111" y="467"/>
                  </a:lnTo>
                  <a:lnTo>
                    <a:pt x="112" y="467"/>
                  </a:lnTo>
                  <a:lnTo>
                    <a:pt x="113" y="467"/>
                  </a:lnTo>
                  <a:lnTo>
                    <a:pt x="114" y="467"/>
                  </a:lnTo>
                  <a:lnTo>
                    <a:pt x="114" y="468"/>
                  </a:lnTo>
                  <a:lnTo>
                    <a:pt x="115" y="468"/>
                  </a:lnTo>
                  <a:lnTo>
                    <a:pt x="115" y="467"/>
                  </a:lnTo>
                  <a:lnTo>
                    <a:pt x="116" y="467"/>
                  </a:lnTo>
                  <a:lnTo>
                    <a:pt x="116" y="468"/>
                  </a:lnTo>
                  <a:lnTo>
                    <a:pt x="118" y="470"/>
                  </a:lnTo>
                  <a:lnTo>
                    <a:pt x="119" y="471"/>
                  </a:lnTo>
                  <a:lnTo>
                    <a:pt x="121" y="472"/>
                  </a:lnTo>
                  <a:lnTo>
                    <a:pt x="122" y="473"/>
                  </a:lnTo>
                  <a:lnTo>
                    <a:pt x="125" y="475"/>
                  </a:lnTo>
                  <a:lnTo>
                    <a:pt x="127" y="478"/>
                  </a:lnTo>
                  <a:lnTo>
                    <a:pt x="128" y="478"/>
                  </a:lnTo>
                  <a:lnTo>
                    <a:pt x="128" y="479"/>
                  </a:lnTo>
                  <a:lnTo>
                    <a:pt x="127" y="479"/>
                  </a:lnTo>
                  <a:lnTo>
                    <a:pt x="127" y="478"/>
                  </a:lnTo>
                  <a:lnTo>
                    <a:pt x="126" y="478"/>
                  </a:lnTo>
                  <a:lnTo>
                    <a:pt x="125" y="478"/>
                  </a:lnTo>
                  <a:lnTo>
                    <a:pt x="122" y="477"/>
                  </a:lnTo>
                  <a:lnTo>
                    <a:pt x="121" y="477"/>
                  </a:lnTo>
                  <a:lnTo>
                    <a:pt x="119" y="477"/>
                  </a:lnTo>
                  <a:lnTo>
                    <a:pt x="116" y="475"/>
                  </a:lnTo>
                  <a:lnTo>
                    <a:pt x="113" y="475"/>
                  </a:lnTo>
                  <a:lnTo>
                    <a:pt x="111" y="474"/>
                  </a:lnTo>
                  <a:lnTo>
                    <a:pt x="108" y="474"/>
                  </a:lnTo>
                  <a:lnTo>
                    <a:pt x="107" y="473"/>
                  </a:lnTo>
                  <a:lnTo>
                    <a:pt x="106" y="473"/>
                  </a:lnTo>
                  <a:lnTo>
                    <a:pt x="104" y="473"/>
                  </a:lnTo>
                  <a:lnTo>
                    <a:pt x="100" y="473"/>
                  </a:lnTo>
                  <a:lnTo>
                    <a:pt x="98" y="473"/>
                  </a:lnTo>
                  <a:lnTo>
                    <a:pt x="95" y="473"/>
                  </a:lnTo>
                  <a:lnTo>
                    <a:pt x="92" y="473"/>
                  </a:lnTo>
                  <a:lnTo>
                    <a:pt x="90" y="473"/>
                  </a:lnTo>
                  <a:lnTo>
                    <a:pt x="87" y="473"/>
                  </a:lnTo>
                  <a:lnTo>
                    <a:pt x="84" y="473"/>
                  </a:lnTo>
                  <a:lnTo>
                    <a:pt x="83" y="473"/>
                  </a:lnTo>
                  <a:lnTo>
                    <a:pt x="83" y="472"/>
                  </a:lnTo>
                  <a:lnTo>
                    <a:pt x="81" y="472"/>
                  </a:lnTo>
                  <a:lnTo>
                    <a:pt x="81" y="471"/>
                  </a:lnTo>
                  <a:lnTo>
                    <a:pt x="80" y="470"/>
                  </a:lnTo>
                  <a:lnTo>
                    <a:pt x="79" y="470"/>
                  </a:lnTo>
                  <a:lnTo>
                    <a:pt x="78" y="470"/>
                  </a:lnTo>
                  <a:lnTo>
                    <a:pt x="77" y="468"/>
                  </a:lnTo>
                  <a:lnTo>
                    <a:pt x="76" y="467"/>
                  </a:lnTo>
                  <a:lnTo>
                    <a:pt x="74" y="467"/>
                  </a:lnTo>
                  <a:lnTo>
                    <a:pt x="74" y="466"/>
                  </a:lnTo>
                  <a:lnTo>
                    <a:pt x="74" y="465"/>
                  </a:lnTo>
                  <a:lnTo>
                    <a:pt x="74" y="464"/>
                  </a:lnTo>
                  <a:lnTo>
                    <a:pt x="74" y="463"/>
                  </a:lnTo>
                  <a:lnTo>
                    <a:pt x="74" y="461"/>
                  </a:lnTo>
                  <a:lnTo>
                    <a:pt x="73" y="461"/>
                  </a:lnTo>
                  <a:lnTo>
                    <a:pt x="72" y="460"/>
                  </a:lnTo>
                  <a:lnTo>
                    <a:pt x="72" y="459"/>
                  </a:lnTo>
                  <a:lnTo>
                    <a:pt x="72" y="458"/>
                  </a:lnTo>
                  <a:lnTo>
                    <a:pt x="72" y="457"/>
                  </a:lnTo>
                  <a:lnTo>
                    <a:pt x="72" y="456"/>
                  </a:lnTo>
                  <a:lnTo>
                    <a:pt x="71" y="456"/>
                  </a:lnTo>
                  <a:lnTo>
                    <a:pt x="71" y="454"/>
                  </a:lnTo>
                  <a:lnTo>
                    <a:pt x="70" y="454"/>
                  </a:lnTo>
                  <a:lnTo>
                    <a:pt x="70" y="453"/>
                  </a:lnTo>
                  <a:lnTo>
                    <a:pt x="70" y="452"/>
                  </a:lnTo>
                  <a:lnTo>
                    <a:pt x="69" y="452"/>
                  </a:lnTo>
                  <a:lnTo>
                    <a:pt x="68" y="452"/>
                  </a:lnTo>
                  <a:lnTo>
                    <a:pt x="66" y="452"/>
                  </a:lnTo>
                  <a:lnTo>
                    <a:pt x="66" y="453"/>
                  </a:lnTo>
                  <a:lnTo>
                    <a:pt x="65" y="453"/>
                  </a:lnTo>
                  <a:lnTo>
                    <a:pt x="65" y="452"/>
                  </a:lnTo>
                  <a:lnTo>
                    <a:pt x="64" y="452"/>
                  </a:lnTo>
                  <a:lnTo>
                    <a:pt x="63" y="453"/>
                  </a:lnTo>
                  <a:lnTo>
                    <a:pt x="62" y="454"/>
                  </a:lnTo>
                  <a:lnTo>
                    <a:pt x="61" y="454"/>
                  </a:lnTo>
                  <a:lnTo>
                    <a:pt x="59" y="454"/>
                  </a:lnTo>
                  <a:lnTo>
                    <a:pt x="59" y="453"/>
                  </a:lnTo>
                  <a:lnTo>
                    <a:pt x="59" y="452"/>
                  </a:lnTo>
                  <a:lnTo>
                    <a:pt x="58" y="452"/>
                  </a:lnTo>
                  <a:lnTo>
                    <a:pt x="58" y="451"/>
                  </a:lnTo>
                  <a:lnTo>
                    <a:pt x="57" y="451"/>
                  </a:lnTo>
                  <a:lnTo>
                    <a:pt x="57" y="450"/>
                  </a:lnTo>
                  <a:lnTo>
                    <a:pt x="57" y="449"/>
                  </a:lnTo>
                  <a:lnTo>
                    <a:pt x="56" y="447"/>
                  </a:lnTo>
                  <a:lnTo>
                    <a:pt x="55" y="446"/>
                  </a:lnTo>
                  <a:lnTo>
                    <a:pt x="54" y="446"/>
                  </a:lnTo>
                  <a:lnTo>
                    <a:pt x="52" y="445"/>
                  </a:lnTo>
                  <a:lnTo>
                    <a:pt x="51" y="445"/>
                  </a:lnTo>
                  <a:lnTo>
                    <a:pt x="51" y="444"/>
                  </a:lnTo>
                  <a:lnTo>
                    <a:pt x="52" y="443"/>
                  </a:lnTo>
                  <a:lnTo>
                    <a:pt x="51" y="443"/>
                  </a:lnTo>
                  <a:lnTo>
                    <a:pt x="50" y="442"/>
                  </a:lnTo>
                  <a:lnTo>
                    <a:pt x="50" y="440"/>
                  </a:lnTo>
                  <a:lnTo>
                    <a:pt x="51" y="439"/>
                  </a:lnTo>
                  <a:lnTo>
                    <a:pt x="50" y="439"/>
                  </a:lnTo>
                  <a:lnTo>
                    <a:pt x="49" y="438"/>
                  </a:lnTo>
                  <a:lnTo>
                    <a:pt x="49" y="437"/>
                  </a:lnTo>
                  <a:lnTo>
                    <a:pt x="48" y="436"/>
                  </a:lnTo>
                  <a:lnTo>
                    <a:pt x="48" y="435"/>
                  </a:lnTo>
                  <a:lnTo>
                    <a:pt x="48" y="433"/>
                  </a:lnTo>
                  <a:lnTo>
                    <a:pt x="48" y="432"/>
                  </a:lnTo>
                  <a:lnTo>
                    <a:pt x="51" y="432"/>
                  </a:lnTo>
                  <a:lnTo>
                    <a:pt x="52" y="432"/>
                  </a:lnTo>
                  <a:lnTo>
                    <a:pt x="52" y="431"/>
                  </a:lnTo>
                  <a:lnTo>
                    <a:pt x="51" y="431"/>
                  </a:lnTo>
                  <a:lnTo>
                    <a:pt x="50" y="431"/>
                  </a:lnTo>
                  <a:lnTo>
                    <a:pt x="50" y="430"/>
                  </a:lnTo>
                  <a:lnTo>
                    <a:pt x="51" y="430"/>
                  </a:lnTo>
                  <a:lnTo>
                    <a:pt x="51" y="429"/>
                  </a:lnTo>
                  <a:lnTo>
                    <a:pt x="51" y="428"/>
                  </a:lnTo>
                  <a:lnTo>
                    <a:pt x="51" y="426"/>
                  </a:lnTo>
                  <a:lnTo>
                    <a:pt x="52" y="426"/>
                  </a:lnTo>
                  <a:lnTo>
                    <a:pt x="54" y="426"/>
                  </a:lnTo>
                  <a:lnTo>
                    <a:pt x="55" y="426"/>
                  </a:lnTo>
                  <a:lnTo>
                    <a:pt x="55" y="425"/>
                  </a:lnTo>
                  <a:lnTo>
                    <a:pt x="56" y="424"/>
                  </a:lnTo>
                  <a:lnTo>
                    <a:pt x="55" y="424"/>
                  </a:lnTo>
                  <a:lnTo>
                    <a:pt x="55" y="423"/>
                  </a:lnTo>
                  <a:lnTo>
                    <a:pt x="55" y="422"/>
                  </a:lnTo>
                  <a:lnTo>
                    <a:pt x="54" y="421"/>
                  </a:lnTo>
                  <a:lnTo>
                    <a:pt x="54" y="419"/>
                  </a:lnTo>
                  <a:lnTo>
                    <a:pt x="54" y="418"/>
                  </a:lnTo>
                  <a:lnTo>
                    <a:pt x="55" y="418"/>
                  </a:lnTo>
                  <a:lnTo>
                    <a:pt x="56" y="417"/>
                  </a:lnTo>
                  <a:lnTo>
                    <a:pt x="56" y="416"/>
                  </a:lnTo>
                  <a:lnTo>
                    <a:pt x="55" y="414"/>
                  </a:lnTo>
                  <a:lnTo>
                    <a:pt x="54" y="414"/>
                  </a:lnTo>
                  <a:lnTo>
                    <a:pt x="54" y="412"/>
                  </a:lnTo>
                  <a:lnTo>
                    <a:pt x="52" y="412"/>
                  </a:lnTo>
                  <a:lnTo>
                    <a:pt x="51" y="411"/>
                  </a:lnTo>
                  <a:lnTo>
                    <a:pt x="51" y="410"/>
                  </a:lnTo>
                  <a:lnTo>
                    <a:pt x="51" y="409"/>
                  </a:lnTo>
                  <a:lnTo>
                    <a:pt x="51" y="408"/>
                  </a:lnTo>
                  <a:lnTo>
                    <a:pt x="51" y="407"/>
                  </a:lnTo>
                  <a:lnTo>
                    <a:pt x="51" y="405"/>
                  </a:lnTo>
                  <a:lnTo>
                    <a:pt x="51" y="404"/>
                  </a:lnTo>
                  <a:lnTo>
                    <a:pt x="50" y="404"/>
                  </a:lnTo>
                  <a:lnTo>
                    <a:pt x="50" y="403"/>
                  </a:lnTo>
                  <a:lnTo>
                    <a:pt x="51" y="403"/>
                  </a:lnTo>
                  <a:lnTo>
                    <a:pt x="52" y="403"/>
                  </a:lnTo>
                  <a:lnTo>
                    <a:pt x="54" y="402"/>
                  </a:lnTo>
                  <a:lnTo>
                    <a:pt x="54" y="401"/>
                  </a:lnTo>
                  <a:lnTo>
                    <a:pt x="52" y="400"/>
                  </a:lnTo>
                  <a:lnTo>
                    <a:pt x="54" y="400"/>
                  </a:lnTo>
                  <a:lnTo>
                    <a:pt x="55" y="401"/>
                  </a:lnTo>
                  <a:lnTo>
                    <a:pt x="55" y="400"/>
                  </a:lnTo>
                  <a:lnTo>
                    <a:pt x="55" y="398"/>
                  </a:lnTo>
                  <a:lnTo>
                    <a:pt x="54" y="398"/>
                  </a:lnTo>
                  <a:lnTo>
                    <a:pt x="52" y="398"/>
                  </a:lnTo>
                  <a:lnTo>
                    <a:pt x="52" y="397"/>
                  </a:lnTo>
                  <a:lnTo>
                    <a:pt x="54" y="397"/>
                  </a:lnTo>
                  <a:lnTo>
                    <a:pt x="54" y="396"/>
                  </a:lnTo>
                  <a:lnTo>
                    <a:pt x="52" y="396"/>
                  </a:lnTo>
                  <a:lnTo>
                    <a:pt x="52" y="395"/>
                  </a:lnTo>
                  <a:lnTo>
                    <a:pt x="52" y="394"/>
                  </a:lnTo>
                  <a:lnTo>
                    <a:pt x="54" y="394"/>
                  </a:lnTo>
                  <a:lnTo>
                    <a:pt x="54" y="393"/>
                  </a:lnTo>
                  <a:lnTo>
                    <a:pt x="55" y="393"/>
                  </a:lnTo>
                  <a:lnTo>
                    <a:pt x="55" y="391"/>
                  </a:lnTo>
                  <a:lnTo>
                    <a:pt x="54" y="390"/>
                  </a:lnTo>
                  <a:lnTo>
                    <a:pt x="54" y="389"/>
                  </a:lnTo>
                  <a:lnTo>
                    <a:pt x="52" y="387"/>
                  </a:lnTo>
                  <a:lnTo>
                    <a:pt x="51" y="387"/>
                  </a:lnTo>
                  <a:lnTo>
                    <a:pt x="51" y="386"/>
                  </a:lnTo>
                  <a:lnTo>
                    <a:pt x="51" y="384"/>
                  </a:lnTo>
                  <a:lnTo>
                    <a:pt x="50" y="384"/>
                  </a:lnTo>
                  <a:lnTo>
                    <a:pt x="49" y="383"/>
                  </a:lnTo>
                  <a:lnTo>
                    <a:pt x="50" y="383"/>
                  </a:lnTo>
                  <a:lnTo>
                    <a:pt x="50" y="382"/>
                  </a:lnTo>
                  <a:lnTo>
                    <a:pt x="51" y="381"/>
                  </a:lnTo>
                  <a:lnTo>
                    <a:pt x="51" y="380"/>
                  </a:lnTo>
                  <a:lnTo>
                    <a:pt x="50" y="380"/>
                  </a:lnTo>
                  <a:lnTo>
                    <a:pt x="50" y="379"/>
                  </a:lnTo>
                  <a:lnTo>
                    <a:pt x="49" y="379"/>
                  </a:lnTo>
                  <a:lnTo>
                    <a:pt x="49" y="377"/>
                  </a:lnTo>
                  <a:lnTo>
                    <a:pt x="48" y="377"/>
                  </a:lnTo>
                  <a:lnTo>
                    <a:pt x="48" y="376"/>
                  </a:lnTo>
                  <a:lnTo>
                    <a:pt x="48" y="375"/>
                  </a:lnTo>
                  <a:lnTo>
                    <a:pt x="48" y="374"/>
                  </a:lnTo>
                  <a:lnTo>
                    <a:pt x="49" y="374"/>
                  </a:lnTo>
                  <a:lnTo>
                    <a:pt x="50" y="374"/>
                  </a:lnTo>
                  <a:lnTo>
                    <a:pt x="50" y="373"/>
                  </a:lnTo>
                  <a:lnTo>
                    <a:pt x="50" y="372"/>
                  </a:lnTo>
                  <a:lnTo>
                    <a:pt x="51" y="372"/>
                  </a:lnTo>
                  <a:lnTo>
                    <a:pt x="51" y="370"/>
                  </a:lnTo>
                  <a:lnTo>
                    <a:pt x="51" y="369"/>
                  </a:lnTo>
                  <a:lnTo>
                    <a:pt x="50" y="369"/>
                  </a:lnTo>
                  <a:lnTo>
                    <a:pt x="50" y="368"/>
                  </a:lnTo>
                  <a:lnTo>
                    <a:pt x="49" y="368"/>
                  </a:lnTo>
                  <a:lnTo>
                    <a:pt x="48" y="367"/>
                  </a:lnTo>
                  <a:lnTo>
                    <a:pt x="47" y="366"/>
                  </a:lnTo>
                  <a:lnTo>
                    <a:pt x="45" y="366"/>
                  </a:lnTo>
                  <a:lnTo>
                    <a:pt x="44" y="365"/>
                  </a:lnTo>
                  <a:lnTo>
                    <a:pt x="43" y="365"/>
                  </a:lnTo>
                  <a:lnTo>
                    <a:pt x="42" y="365"/>
                  </a:lnTo>
                  <a:lnTo>
                    <a:pt x="41" y="365"/>
                  </a:lnTo>
                  <a:lnTo>
                    <a:pt x="40" y="365"/>
                  </a:lnTo>
                  <a:lnTo>
                    <a:pt x="40" y="363"/>
                  </a:lnTo>
                  <a:lnTo>
                    <a:pt x="38" y="362"/>
                  </a:lnTo>
                  <a:lnTo>
                    <a:pt x="40" y="362"/>
                  </a:lnTo>
                  <a:lnTo>
                    <a:pt x="42" y="362"/>
                  </a:lnTo>
                  <a:lnTo>
                    <a:pt x="43" y="362"/>
                  </a:lnTo>
                  <a:lnTo>
                    <a:pt x="44" y="362"/>
                  </a:lnTo>
                  <a:lnTo>
                    <a:pt x="45" y="362"/>
                  </a:lnTo>
                  <a:lnTo>
                    <a:pt x="47" y="361"/>
                  </a:lnTo>
                  <a:lnTo>
                    <a:pt x="47" y="362"/>
                  </a:lnTo>
                  <a:lnTo>
                    <a:pt x="48" y="362"/>
                  </a:lnTo>
                  <a:lnTo>
                    <a:pt x="49" y="362"/>
                  </a:lnTo>
                  <a:lnTo>
                    <a:pt x="49" y="361"/>
                  </a:lnTo>
                  <a:lnTo>
                    <a:pt x="49" y="360"/>
                  </a:lnTo>
                  <a:lnTo>
                    <a:pt x="49" y="359"/>
                  </a:lnTo>
                  <a:lnTo>
                    <a:pt x="50" y="359"/>
                  </a:lnTo>
                  <a:lnTo>
                    <a:pt x="49" y="358"/>
                  </a:lnTo>
                  <a:lnTo>
                    <a:pt x="49" y="356"/>
                  </a:lnTo>
                  <a:lnTo>
                    <a:pt x="48" y="356"/>
                  </a:lnTo>
                  <a:lnTo>
                    <a:pt x="47" y="356"/>
                  </a:lnTo>
                  <a:lnTo>
                    <a:pt x="45" y="356"/>
                  </a:lnTo>
                  <a:lnTo>
                    <a:pt x="42" y="356"/>
                  </a:lnTo>
                  <a:lnTo>
                    <a:pt x="41" y="356"/>
                  </a:lnTo>
                  <a:lnTo>
                    <a:pt x="40" y="356"/>
                  </a:lnTo>
                  <a:lnTo>
                    <a:pt x="40" y="355"/>
                  </a:lnTo>
                  <a:lnTo>
                    <a:pt x="40" y="354"/>
                  </a:lnTo>
                  <a:lnTo>
                    <a:pt x="40" y="353"/>
                  </a:lnTo>
                  <a:lnTo>
                    <a:pt x="38" y="353"/>
                  </a:lnTo>
                  <a:lnTo>
                    <a:pt x="38" y="352"/>
                  </a:lnTo>
                  <a:lnTo>
                    <a:pt x="40" y="351"/>
                  </a:lnTo>
                  <a:lnTo>
                    <a:pt x="40" y="349"/>
                  </a:lnTo>
                  <a:lnTo>
                    <a:pt x="38" y="348"/>
                  </a:lnTo>
                  <a:lnTo>
                    <a:pt x="38" y="347"/>
                  </a:lnTo>
                  <a:lnTo>
                    <a:pt x="37" y="347"/>
                  </a:lnTo>
                  <a:lnTo>
                    <a:pt x="37" y="346"/>
                  </a:lnTo>
                  <a:lnTo>
                    <a:pt x="37" y="347"/>
                  </a:lnTo>
                  <a:lnTo>
                    <a:pt x="37" y="346"/>
                  </a:lnTo>
                  <a:lnTo>
                    <a:pt x="37" y="345"/>
                  </a:lnTo>
                  <a:lnTo>
                    <a:pt x="37" y="344"/>
                  </a:lnTo>
                  <a:lnTo>
                    <a:pt x="36" y="344"/>
                  </a:lnTo>
                  <a:lnTo>
                    <a:pt x="36" y="342"/>
                  </a:lnTo>
                  <a:lnTo>
                    <a:pt x="35" y="342"/>
                  </a:lnTo>
                  <a:lnTo>
                    <a:pt x="35" y="341"/>
                  </a:lnTo>
                  <a:lnTo>
                    <a:pt x="34" y="341"/>
                  </a:lnTo>
                  <a:lnTo>
                    <a:pt x="34" y="340"/>
                  </a:lnTo>
                  <a:lnTo>
                    <a:pt x="34" y="339"/>
                  </a:lnTo>
                  <a:lnTo>
                    <a:pt x="35" y="339"/>
                  </a:lnTo>
                  <a:lnTo>
                    <a:pt x="35" y="338"/>
                  </a:lnTo>
                  <a:lnTo>
                    <a:pt x="35" y="337"/>
                  </a:lnTo>
                  <a:lnTo>
                    <a:pt x="34" y="337"/>
                  </a:lnTo>
                  <a:lnTo>
                    <a:pt x="33" y="337"/>
                  </a:lnTo>
                  <a:lnTo>
                    <a:pt x="31" y="337"/>
                  </a:lnTo>
                  <a:lnTo>
                    <a:pt x="30" y="337"/>
                  </a:lnTo>
                  <a:lnTo>
                    <a:pt x="30" y="335"/>
                  </a:lnTo>
                  <a:lnTo>
                    <a:pt x="29" y="335"/>
                  </a:lnTo>
                  <a:lnTo>
                    <a:pt x="29" y="334"/>
                  </a:lnTo>
                  <a:lnTo>
                    <a:pt x="28" y="333"/>
                  </a:lnTo>
                  <a:lnTo>
                    <a:pt x="28" y="332"/>
                  </a:lnTo>
                  <a:lnTo>
                    <a:pt x="28" y="330"/>
                  </a:lnTo>
                  <a:lnTo>
                    <a:pt x="27" y="330"/>
                  </a:lnTo>
                  <a:lnTo>
                    <a:pt x="27" y="328"/>
                  </a:lnTo>
                  <a:lnTo>
                    <a:pt x="27" y="327"/>
                  </a:lnTo>
                  <a:lnTo>
                    <a:pt x="28" y="326"/>
                  </a:lnTo>
                  <a:lnTo>
                    <a:pt x="27" y="326"/>
                  </a:lnTo>
                  <a:lnTo>
                    <a:pt x="27" y="325"/>
                  </a:lnTo>
                  <a:lnTo>
                    <a:pt x="27" y="324"/>
                  </a:lnTo>
                  <a:lnTo>
                    <a:pt x="26" y="324"/>
                  </a:lnTo>
                  <a:lnTo>
                    <a:pt x="26" y="323"/>
                  </a:lnTo>
                  <a:lnTo>
                    <a:pt x="26" y="321"/>
                  </a:lnTo>
                  <a:lnTo>
                    <a:pt x="26" y="320"/>
                  </a:lnTo>
                  <a:lnTo>
                    <a:pt x="27" y="320"/>
                  </a:lnTo>
                  <a:lnTo>
                    <a:pt x="27" y="321"/>
                  </a:lnTo>
                  <a:lnTo>
                    <a:pt x="28" y="321"/>
                  </a:lnTo>
                  <a:lnTo>
                    <a:pt x="29" y="321"/>
                  </a:lnTo>
                  <a:lnTo>
                    <a:pt x="29" y="320"/>
                  </a:lnTo>
                  <a:lnTo>
                    <a:pt x="29" y="319"/>
                  </a:lnTo>
                  <a:lnTo>
                    <a:pt x="28" y="319"/>
                  </a:lnTo>
                  <a:lnTo>
                    <a:pt x="28" y="318"/>
                  </a:lnTo>
                  <a:lnTo>
                    <a:pt x="28" y="317"/>
                  </a:lnTo>
                  <a:lnTo>
                    <a:pt x="27" y="317"/>
                  </a:lnTo>
                  <a:lnTo>
                    <a:pt x="27" y="316"/>
                  </a:lnTo>
                  <a:lnTo>
                    <a:pt x="26" y="316"/>
                  </a:lnTo>
                  <a:lnTo>
                    <a:pt x="26" y="314"/>
                  </a:lnTo>
                  <a:lnTo>
                    <a:pt x="24" y="313"/>
                  </a:lnTo>
                  <a:lnTo>
                    <a:pt x="24" y="312"/>
                  </a:lnTo>
                  <a:lnTo>
                    <a:pt x="26" y="312"/>
                  </a:lnTo>
                  <a:lnTo>
                    <a:pt x="24" y="312"/>
                  </a:lnTo>
                  <a:lnTo>
                    <a:pt x="24" y="311"/>
                  </a:lnTo>
                  <a:lnTo>
                    <a:pt x="24" y="310"/>
                  </a:lnTo>
                  <a:lnTo>
                    <a:pt x="23" y="310"/>
                  </a:lnTo>
                  <a:lnTo>
                    <a:pt x="23" y="309"/>
                  </a:lnTo>
                  <a:lnTo>
                    <a:pt x="23" y="307"/>
                  </a:lnTo>
                  <a:lnTo>
                    <a:pt x="23" y="306"/>
                  </a:lnTo>
                  <a:lnTo>
                    <a:pt x="23" y="305"/>
                  </a:lnTo>
                  <a:lnTo>
                    <a:pt x="23" y="304"/>
                  </a:lnTo>
                  <a:lnTo>
                    <a:pt x="22" y="304"/>
                  </a:lnTo>
                  <a:lnTo>
                    <a:pt x="22" y="303"/>
                  </a:lnTo>
                  <a:lnTo>
                    <a:pt x="22" y="302"/>
                  </a:lnTo>
                  <a:lnTo>
                    <a:pt x="21" y="300"/>
                  </a:lnTo>
                  <a:lnTo>
                    <a:pt x="20" y="299"/>
                  </a:lnTo>
                  <a:lnTo>
                    <a:pt x="20" y="298"/>
                  </a:lnTo>
                  <a:lnTo>
                    <a:pt x="21" y="298"/>
                  </a:lnTo>
                  <a:lnTo>
                    <a:pt x="21" y="297"/>
                  </a:lnTo>
                  <a:lnTo>
                    <a:pt x="20" y="297"/>
                  </a:lnTo>
                  <a:lnTo>
                    <a:pt x="20" y="296"/>
                  </a:lnTo>
                  <a:lnTo>
                    <a:pt x="20" y="295"/>
                  </a:lnTo>
                  <a:lnTo>
                    <a:pt x="20" y="293"/>
                  </a:lnTo>
                  <a:lnTo>
                    <a:pt x="21" y="293"/>
                  </a:lnTo>
                  <a:lnTo>
                    <a:pt x="21" y="295"/>
                  </a:lnTo>
                  <a:lnTo>
                    <a:pt x="21" y="293"/>
                  </a:lnTo>
                  <a:lnTo>
                    <a:pt x="21" y="292"/>
                  </a:lnTo>
                  <a:lnTo>
                    <a:pt x="20" y="292"/>
                  </a:lnTo>
                  <a:lnTo>
                    <a:pt x="20" y="291"/>
                  </a:lnTo>
                  <a:lnTo>
                    <a:pt x="19" y="291"/>
                  </a:lnTo>
                  <a:lnTo>
                    <a:pt x="19" y="290"/>
                  </a:lnTo>
                  <a:lnTo>
                    <a:pt x="19" y="289"/>
                  </a:lnTo>
                  <a:lnTo>
                    <a:pt x="20" y="289"/>
                  </a:lnTo>
                  <a:lnTo>
                    <a:pt x="20" y="288"/>
                  </a:lnTo>
                  <a:lnTo>
                    <a:pt x="20" y="286"/>
                  </a:lnTo>
                  <a:lnTo>
                    <a:pt x="20" y="285"/>
                  </a:lnTo>
                  <a:lnTo>
                    <a:pt x="19" y="285"/>
                  </a:lnTo>
                  <a:lnTo>
                    <a:pt x="19" y="284"/>
                  </a:lnTo>
                  <a:lnTo>
                    <a:pt x="19" y="283"/>
                  </a:lnTo>
                  <a:lnTo>
                    <a:pt x="19" y="282"/>
                  </a:lnTo>
                  <a:lnTo>
                    <a:pt x="17" y="282"/>
                  </a:lnTo>
                  <a:lnTo>
                    <a:pt x="17" y="281"/>
                  </a:lnTo>
                  <a:lnTo>
                    <a:pt x="19" y="281"/>
                  </a:lnTo>
                  <a:lnTo>
                    <a:pt x="19" y="282"/>
                  </a:lnTo>
                  <a:lnTo>
                    <a:pt x="20" y="282"/>
                  </a:lnTo>
                  <a:lnTo>
                    <a:pt x="20" y="281"/>
                  </a:lnTo>
                  <a:lnTo>
                    <a:pt x="20" y="279"/>
                  </a:lnTo>
                  <a:lnTo>
                    <a:pt x="20" y="278"/>
                  </a:lnTo>
                  <a:lnTo>
                    <a:pt x="20" y="277"/>
                  </a:lnTo>
                  <a:lnTo>
                    <a:pt x="20" y="276"/>
                  </a:lnTo>
                  <a:lnTo>
                    <a:pt x="20" y="274"/>
                  </a:lnTo>
                  <a:lnTo>
                    <a:pt x="19" y="272"/>
                  </a:lnTo>
                  <a:lnTo>
                    <a:pt x="19" y="271"/>
                  </a:lnTo>
                  <a:lnTo>
                    <a:pt x="19" y="270"/>
                  </a:lnTo>
                  <a:lnTo>
                    <a:pt x="20" y="269"/>
                  </a:lnTo>
                  <a:lnTo>
                    <a:pt x="21" y="269"/>
                  </a:lnTo>
                  <a:lnTo>
                    <a:pt x="22" y="268"/>
                  </a:lnTo>
                  <a:lnTo>
                    <a:pt x="23" y="268"/>
                  </a:lnTo>
                  <a:lnTo>
                    <a:pt x="24" y="267"/>
                  </a:lnTo>
                  <a:lnTo>
                    <a:pt x="24" y="265"/>
                  </a:lnTo>
                  <a:lnTo>
                    <a:pt x="24" y="264"/>
                  </a:lnTo>
                  <a:lnTo>
                    <a:pt x="23" y="264"/>
                  </a:lnTo>
                  <a:lnTo>
                    <a:pt x="23" y="263"/>
                  </a:lnTo>
                  <a:lnTo>
                    <a:pt x="22" y="263"/>
                  </a:lnTo>
                  <a:lnTo>
                    <a:pt x="21" y="260"/>
                  </a:lnTo>
                  <a:lnTo>
                    <a:pt x="21" y="258"/>
                  </a:lnTo>
                  <a:lnTo>
                    <a:pt x="20" y="258"/>
                  </a:lnTo>
                  <a:lnTo>
                    <a:pt x="20" y="257"/>
                  </a:lnTo>
                  <a:lnTo>
                    <a:pt x="20" y="256"/>
                  </a:lnTo>
                  <a:lnTo>
                    <a:pt x="19" y="256"/>
                  </a:lnTo>
                  <a:lnTo>
                    <a:pt x="19" y="255"/>
                  </a:lnTo>
                  <a:lnTo>
                    <a:pt x="19" y="254"/>
                  </a:lnTo>
                  <a:lnTo>
                    <a:pt x="17" y="254"/>
                  </a:lnTo>
                  <a:lnTo>
                    <a:pt x="16" y="251"/>
                  </a:lnTo>
                  <a:lnTo>
                    <a:pt x="16" y="250"/>
                  </a:lnTo>
                  <a:lnTo>
                    <a:pt x="16" y="249"/>
                  </a:lnTo>
                  <a:lnTo>
                    <a:pt x="16" y="248"/>
                  </a:lnTo>
                  <a:lnTo>
                    <a:pt x="16" y="247"/>
                  </a:lnTo>
                  <a:lnTo>
                    <a:pt x="15" y="247"/>
                  </a:lnTo>
                  <a:lnTo>
                    <a:pt x="14" y="246"/>
                  </a:lnTo>
                  <a:lnTo>
                    <a:pt x="14" y="244"/>
                  </a:lnTo>
                  <a:lnTo>
                    <a:pt x="15" y="243"/>
                  </a:lnTo>
                  <a:lnTo>
                    <a:pt x="14" y="243"/>
                  </a:lnTo>
                  <a:lnTo>
                    <a:pt x="14" y="242"/>
                  </a:lnTo>
                  <a:lnTo>
                    <a:pt x="15" y="242"/>
                  </a:lnTo>
                  <a:lnTo>
                    <a:pt x="14" y="241"/>
                  </a:lnTo>
                  <a:lnTo>
                    <a:pt x="14" y="240"/>
                  </a:lnTo>
                  <a:lnTo>
                    <a:pt x="13" y="240"/>
                  </a:lnTo>
                  <a:lnTo>
                    <a:pt x="14" y="240"/>
                  </a:lnTo>
                  <a:lnTo>
                    <a:pt x="14" y="239"/>
                  </a:lnTo>
                  <a:lnTo>
                    <a:pt x="13" y="239"/>
                  </a:lnTo>
                  <a:lnTo>
                    <a:pt x="13" y="237"/>
                  </a:lnTo>
                  <a:lnTo>
                    <a:pt x="13" y="236"/>
                  </a:lnTo>
                  <a:lnTo>
                    <a:pt x="13" y="235"/>
                  </a:lnTo>
                  <a:lnTo>
                    <a:pt x="14" y="235"/>
                  </a:lnTo>
                  <a:lnTo>
                    <a:pt x="13" y="234"/>
                  </a:lnTo>
                  <a:lnTo>
                    <a:pt x="13" y="233"/>
                  </a:lnTo>
                  <a:lnTo>
                    <a:pt x="13" y="232"/>
                  </a:lnTo>
                  <a:lnTo>
                    <a:pt x="14" y="232"/>
                  </a:lnTo>
                  <a:lnTo>
                    <a:pt x="14" y="230"/>
                  </a:lnTo>
                  <a:lnTo>
                    <a:pt x="15" y="230"/>
                  </a:lnTo>
                  <a:lnTo>
                    <a:pt x="15" y="232"/>
                  </a:lnTo>
                  <a:lnTo>
                    <a:pt x="16" y="232"/>
                  </a:lnTo>
                  <a:lnTo>
                    <a:pt x="17" y="230"/>
                  </a:lnTo>
                  <a:lnTo>
                    <a:pt x="16" y="230"/>
                  </a:lnTo>
                  <a:lnTo>
                    <a:pt x="16" y="229"/>
                  </a:lnTo>
                  <a:lnTo>
                    <a:pt x="16" y="228"/>
                  </a:lnTo>
                  <a:lnTo>
                    <a:pt x="17" y="228"/>
                  </a:lnTo>
                  <a:lnTo>
                    <a:pt x="17" y="227"/>
                  </a:lnTo>
                  <a:lnTo>
                    <a:pt x="19" y="227"/>
                  </a:lnTo>
                  <a:lnTo>
                    <a:pt x="20" y="227"/>
                  </a:lnTo>
                  <a:lnTo>
                    <a:pt x="20" y="226"/>
                  </a:lnTo>
                  <a:lnTo>
                    <a:pt x="20" y="225"/>
                  </a:lnTo>
                  <a:lnTo>
                    <a:pt x="19" y="223"/>
                  </a:lnTo>
                  <a:lnTo>
                    <a:pt x="20" y="223"/>
                  </a:lnTo>
                  <a:lnTo>
                    <a:pt x="19" y="223"/>
                  </a:lnTo>
                  <a:lnTo>
                    <a:pt x="19" y="222"/>
                  </a:lnTo>
                  <a:lnTo>
                    <a:pt x="20" y="221"/>
                  </a:lnTo>
                  <a:lnTo>
                    <a:pt x="19" y="221"/>
                  </a:lnTo>
                  <a:lnTo>
                    <a:pt x="17" y="219"/>
                  </a:lnTo>
                  <a:lnTo>
                    <a:pt x="17" y="218"/>
                  </a:lnTo>
                  <a:lnTo>
                    <a:pt x="17" y="216"/>
                  </a:lnTo>
                  <a:lnTo>
                    <a:pt x="16" y="215"/>
                  </a:lnTo>
                  <a:lnTo>
                    <a:pt x="16" y="214"/>
                  </a:lnTo>
                  <a:lnTo>
                    <a:pt x="16" y="213"/>
                  </a:lnTo>
                  <a:lnTo>
                    <a:pt x="15" y="213"/>
                  </a:lnTo>
                  <a:lnTo>
                    <a:pt x="14" y="213"/>
                  </a:lnTo>
                  <a:lnTo>
                    <a:pt x="14" y="212"/>
                  </a:lnTo>
                  <a:lnTo>
                    <a:pt x="16" y="211"/>
                  </a:lnTo>
                  <a:lnTo>
                    <a:pt x="16" y="209"/>
                  </a:lnTo>
                  <a:lnTo>
                    <a:pt x="16" y="208"/>
                  </a:lnTo>
                  <a:lnTo>
                    <a:pt x="16" y="206"/>
                  </a:lnTo>
                  <a:lnTo>
                    <a:pt x="16" y="205"/>
                  </a:lnTo>
                  <a:lnTo>
                    <a:pt x="15" y="205"/>
                  </a:lnTo>
                  <a:lnTo>
                    <a:pt x="16" y="205"/>
                  </a:lnTo>
                  <a:lnTo>
                    <a:pt x="16" y="204"/>
                  </a:lnTo>
                  <a:lnTo>
                    <a:pt x="16" y="202"/>
                  </a:lnTo>
                  <a:lnTo>
                    <a:pt x="16" y="201"/>
                  </a:lnTo>
                  <a:lnTo>
                    <a:pt x="17" y="201"/>
                  </a:lnTo>
                  <a:lnTo>
                    <a:pt x="17" y="200"/>
                  </a:lnTo>
                  <a:lnTo>
                    <a:pt x="17" y="199"/>
                  </a:lnTo>
                  <a:lnTo>
                    <a:pt x="17" y="198"/>
                  </a:lnTo>
                  <a:lnTo>
                    <a:pt x="17" y="197"/>
                  </a:lnTo>
                  <a:lnTo>
                    <a:pt x="19" y="197"/>
                  </a:lnTo>
                  <a:lnTo>
                    <a:pt x="20" y="198"/>
                  </a:lnTo>
                  <a:lnTo>
                    <a:pt x="20" y="197"/>
                  </a:lnTo>
                  <a:lnTo>
                    <a:pt x="20" y="195"/>
                  </a:lnTo>
                  <a:lnTo>
                    <a:pt x="20" y="194"/>
                  </a:lnTo>
                  <a:lnTo>
                    <a:pt x="19" y="193"/>
                  </a:lnTo>
                  <a:lnTo>
                    <a:pt x="19" y="192"/>
                  </a:lnTo>
                  <a:lnTo>
                    <a:pt x="19" y="191"/>
                  </a:lnTo>
                  <a:lnTo>
                    <a:pt x="17" y="191"/>
                  </a:lnTo>
                  <a:lnTo>
                    <a:pt x="17" y="190"/>
                  </a:lnTo>
                  <a:lnTo>
                    <a:pt x="17" y="188"/>
                  </a:lnTo>
                  <a:lnTo>
                    <a:pt x="17" y="187"/>
                  </a:lnTo>
                  <a:lnTo>
                    <a:pt x="17" y="186"/>
                  </a:lnTo>
                  <a:lnTo>
                    <a:pt x="17" y="185"/>
                  </a:lnTo>
                  <a:lnTo>
                    <a:pt x="17" y="184"/>
                  </a:lnTo>
                  <a:lnTo>
                    <a:pt x="17" y="183"/>
                  </a:lnTo>
                  <a:lnTo>
                    <a:pt x="17" y="181"/>
                  </a:lnTo>
                  <a:lnTo>
                    <a:pt x="16" y="181"/>
                  </a:lnTo>
                  <a:lnTo>
                    <a:pt x="16" y="180"/>
                  </a:lnTo>
                  <a:lnTo>
                    <a:pt x="15" y="180"/>
                  </a:lnTo>
                  <a:lnTo>
                    <a:pt x="15" y="181"/>
                  </a:lnTo>
                  <a:lnTo>
                    <a:pt x="14" y="181"/>
                  </a:lnTo>
                  <a:lnTo>
                    <a:pt x="14" y="180"/>
                  </a:lnTo>
                  <a:lnTo>
                    <a:pt x="13" y="180"/>
                  </a:lnTo>
                  <a:lnTo>
                    <a:pt x="13" y="179"/>
                  </a:lnTo>
                  <a:lnTo>
                    <a:pt x="13" y="178"/>
                  </a:lnTo>
                  <a:lnTo>
                    <a:pt x="13" y="177"/>
                  </a:lnTo>
                  <a:lnTo>
                    <a:pt x="13" y="176"/>
                  </a:lnTo>
                  <a:lnTo>
                    <a:pt x="13" y="174"/>
                  </a:lnTo>
                  <a:lnTo>
                    <a:pt x="12" y="174"/>
                  </a:lnTo>
                  <a:lnTo>
                    <a:pt x="10" y="173"/>
                  </a:lnTo>
                  <a:lnTo>
                    <a:pt x="10" y="171"/>
                  </a:lnTo>
                  <a:lnTo>
                    <a:pt x="9" y="171"/>
                  </a:lnTo>
                  <a:lnTo>
                    <a:pt x="9" y="170"/>
                  </a:lnTo>
                  <a:lnTo>
                    <a:pt x="10" y="170"/>
                  </a:lnTo>
                  <a:lnTo>
                    <a:pt x="9" y="170"/>
                  </a:lnTo>
                  <a:lnTo>
                    <a:pt x="9" y="169"/>
                  </a:lnTo>
                  <a:lnTo>
                    <a:pt x="8" y="167"/>
                  </a:lnTo>
                  <a:lnTo>
                    <a:pt x="8" y="166"/>
                  </a:lnTo>
                  <a:lnTo>
                    <a:pt x="7" y="165"/>
                  </a:lnTo>
                  <a:lnTo>
                    <a:pt x="7" y="164"/>
                  </a:lnTo>
                  <a:lnTo>
                    <a:pt x="6" y="164"/>
                  </a:lnTo>
                  <a:lnTo>
                    <a:pt x="6" y="163"/>
                  </a:lnTo>
                  <a:lnTo>
                    <a:pt x="6" y="162"/>
                  </a:lnTo>
                  <a:lnTo>
                    <a:pt x="5" y="162"/>
                  </a:lnTo>
                  <a:lnTo>
                    <a:pt x="6" y="162"/>
                  </a:lnTo>
                  <a:lnTo>
                    <a:pt x="7" y="162"/>
                  </a:lnTo>
                  <a:lnTo>
                    <a:pt x="7" y="160"/>
                  </a:lnTo>
                  <a:lnTo>
                    <a:pt x="6" y="159"/>
                  </a:lnTo>
                  <a:lnTo>
                    <a:pt x="5" y="159"/>
                  </a:lnTo>
                  <a:lnTo>
                    <a:pt x="4" y="159"/>
                  </a:lnTo>
                  <a:lnTo>
                    <a:pt x="4" y="158"/>
                  </a:lnTo>
                  <a:lnTo>
                    <a:pt x="4" y="157"/>
                  </a:lnTo>
                  <a:lnTo>
                    <a:pt x="2" y="157"/>
                  </a:lnTo>
                  <a:lnTo>
                    <a:pt x="2" y="156"/>
                  </a:lnTo>
                  <a:lnTo>
                    <a:pt x="1" y="155"/>
                  </a:lnTo>
                  <a:lnTo>
                    <a:pt x="1" y="153"/>
                  </a:lnTo>
                  <a:lnTo>
                    <a:pt x="1" y="152"/>
                  </a:lnTo>
                  <a:lnTo>
                    <a:pt x="1" y="151"/>
                  </a:lnTo>
                  <a:lnTo>
                    <a:pt x="0" y="150"/>
                  </a:lnTo>
                  <a:lnTo>
                    <a:pt x="0" y="149"/>
                  </a:lnTo>
                  <a:lnTo>
                    <a:pt x="0" y="148"/>
                  </a:lnTo>
                  <a:lnTo>
                    <a:pt x="1" y="146"/>
                  </a:lnTo>
                  <a:lnTo>
                    <a:pt x="1" y="148"/>
                  </a:lnTo>
                  <a:lnTo>
                    <a:pt x="2" y="148"/>
                  </a:lnTo>
                  <a:lnTo>
                    <a:pt x="2" y="146"/>
                  </a:lnTo>
                  <a:lnTo>
                    <a:pt x="2" y="145"/>
                  </a:lnTo>
                  <a:lnTo>
                    <a:pt x="4" y="146"/>
                  </a:lnTo>
                  <a:lnTo>
                    <a:pt x="4" y="145"/>
                  </a:lnTo>
                  <a:lnTo>
                    <a:pt x="2" y="145"/>
                  </a:lnTo>
                  <a:lnTo>
                    <a:pt x="2" y="144"/>
                  </a:lnTo>
                  <a:lnTo>
                    <a:pt x="2" y="142"/>
                  </a:lnTo>
                  <a:lnTo>
                    <a:pt x="2" y="141"/>
                  </a:lnTo>
                  <a:lnTo>
                    <a:pt x="2" y="139"/>
                  </a:lnTo>
                  <a:lnTo>
                    <a:pt x="2" y="138"/>
                  </a:lnTo>
                  <a:lnTo>
                    <a:pt x="2" y="137"/>
                  </a:lnTo>
                  <a:lnTo>
                    <a:pt x="4" y="137"/>
                  </a:lnTo>
                  <a:lnTo>
                    <a:pt x="4" y="136"/>
                  </a:lnTo>
                  <a:lnTo>
                    <a:pt x="2" y="136"/>
                  </a:lnTo>
                  <a:lnTo>
                    <a:pt x="2" y="135"/>
                  </a:lnTo>
                  <a:lnTo>
                    <a:pt x="4" y="135"/>
                  </a:lnTo>
                  <a:lnTo>
                    <a:pt x="5" y="136"/>
                  </a:lnTo>
                  <a:lnTo>
                    <a:pt x="6" y="135"/>
                  </a:lnTo>
                  <a:lnTo>
                    <a:pt x="6" y="134"/>
                  </a:lnTo>
                  <a:lnTo>
                    <a:pt x="6" y="132"/>
                  </a:lnTo>
                  <a:lnTo>
                    <a:pt x="7" y="132"/>
                  </a:lnTo>
                  <a:lnTo>
                    <a:pt x="6" y="131"/>
                  </a:lnTo>
                  <a:lnTo>
                    <a:pt x="5" y="131"/>
                  </a:lnTo>
                  <a:lnTo>
                    <a:pt x="5" y="130"/>
                  </a:lnTo>
                  <a:lnTo>
                    <a:pt x="5" y="129"/>
                  </a:lnTo>
                  <a:lnTo>
                    <a:pt x="5" y="127"/>
                  </a:lnTo>
                  <a:lnTo>
                    <a:pt x="5" y="125"/>
                  </a:lnTo>
                  <a:lnTo>
                    <a:pt x="4" y="125"/>
                  </a:lnTo>
                  <a:lnTo>
                    <a:pt x="4" y="124"/>
                  </a:lnTo>
                  <a:lnTo>
                    <a:pt x="4" y="123"/>
                  </a:lnTo>
                  <a:lnTo>
                    <a:pt x="2" y="121"/>
                  </a:lnTo>
                  <a:lnTo>
                    <a:pt x="2" y="120"/>
                  </a:lnTo>
                  <a:lnTo>
                    <a:pt x="1" y="120"/>
                  </a:lnTo>
                  <a:lnTo>
                    <a:pt x="1" y="118"/>
                  </a:lnTo>
                  <a:lnTo>
                    <a:pt x="1" y="117"/>
                  </a:lnTo>
                  <a:lnTo>
                    <a:pt x="2" y="117"/>
                  </a:lnTo>
                  <a:lnTo>
                    <a:pt x="2" y="116"/>
                  </a:lnTo>
                  <a:lnTo>
                    <a:pt x="4" y="116"/>
                  </a:lnTo>
                  <a:lnTo>
                    <a:pt x="4" y="115"/>
                  </a:lnTo>
                  <a:lnTo>
                    <a:pt x="4" y="114"/>
                  </a:lnTo>
                  <a:lnTo>
                    <a:pt x="4" y="113"/>
                  </a:lnTo>
                  <a:lnTo>
                    <a:pt x="4" y="111"/>
                  </a:lnTo>
                  <a:lnTo>
                    <a:pt x="5" y="110"/>
                  </a:lnTo>
                  <a:lnTo>
                    <a:pt x="4" y="110"/>
                  </a:lnTo>
                  <a:lnTo>
                    <a:pt x="4" y="109"/>
                  </a:lnTo>
                  <a:lnTo>
                    <a:pt x="4" y="108"/>
                  </a:lnTo>
                  <a:lnTo>
                    <a:pt x="4" y="107"/>
                  </a:lnTo>
                  <a:lnTo>
                    <a:pt x="5" y="107"/>
                  </a:lnTo>
                  <a:lnTo>
                    <a:pt x="4" y="104"/>
                  </a:lnTo>
                  <a:lnTo>
                    <a:pt x="5" y="104"/>
                  </a:lnTo>
                  <a:lnTo>
                    <a:pt x="5" y="103"/>
                  </a:lnTo>
                  <a:lnTo>
                    <a:pt x="6" y="103"/>
                  </a:lnTo>
                  <a:lnTo>
                    <a:pt x="6" y="102"/>
                  </a:lnTo>
                  <a:lnTo>
                    <a:pt x="6" y="101"/>
                  </a:lnTo>
                  <a:lnTo>
                    <a:pt x="7" y="101"/>
                  </a:lnTo>
                  <a:lnTo>
                    <a:pt x="7" y="100"/>
                  </a:lnTo>
                  <a:lnTo>
                    <a:pt x="8" y="99"/>
                  </a:lnTo>
                  <a:lnTo>
                    <a:pt x="8" y="97"/>
                  </a:lnTo>
                  <a:lnTo>
                    <a:pt x="9" y="97"/>
                  </a:lnTo>
                  <a:lnTo>
                    <a:pt x="9" y="96"/>
                  </a:lnTo>
                  <a:lnTo>
                    <a:pt x="9" y="94"/>
                  </a:lnTo>
                  <a:lnTo>
                    <a:pt x="9" y="93"/>
                  </a:lnTo>
                  <a:lnTo>
                    <a:pt x="10" y="93"/>
                  </a:lnTo>
                  <a:lnTo>
                    <a:pt x="9" y="93"/>
                  </a:lnTo>
                  <a:lnTo>
                    <a:pt x="9" y="92"/>
                  </a:lnTo>
                  <a:lnTo>
                    <a:pt x="10" y="92"/>
                  </a:lnTo>
                  <a:lnTo>
                    <a:pt x="10" y="90"/>
                  </a:lnTo>
                  <a:lnTo>
                    <a:pt x="10" y="89"/>
                  </a:lnTo>
                  <a:lnTo>
                    <a:pt x="10" y="88"/>
                  </a:lnTo>
                  <a:lnTo>
                    <a:pt x="12" y="88"/>
                  </a:lnTo>
                  <a:lnTo>
                    <a:pt x="12" y="87"/>
                  </a:lnTo>
                  <a:lnTo>
                    <a:pt x="12" y="86"/>
                  </a:lnTo>
                  <a:lnTo>
                    <a:pt x="12" y="85"/>
                  </a:lnTo>
                  <a:lnTo>
                    <a:pt x="12" y="83"/>
                  </a:lnTo>
                  <a:lnTo>
                    <a:pt x="13" y="83"/>
                  </a:lnTo>
                  <a:lnTo>
                    <a:pt x="14" y="83"/>
                  </a:lnTo>
                  <a:lnTo>
                    <a:pt x="14" y="85"/>
                  </a:lnTo>
                  <a:lnTo>
                    <a:pt x="15" y="85"/>
                  </a:lnTo>
                  <a:lnTo>
                    <a:pt x="15" y="83"/>
                  </a:lnTo>
                  <a:lnTo>
                    <a:pt x="16" y="83"/>
                  </a:lnTo>
                  <a:lnTo>
                    <a:pt x="17" y="83"/>
                  </a:lnTo>
                  <a:lnTo>
                    <a:pt x="17" y="82"/>
                  </a:lnTo>
                  <a:lnTo>
                    <a:pt x="19" y="82"/>
                  </a:lnTo>
                  <a:lnTo>
                    <a:pt x="19" y="81"/>
                  </a:lnTo>
                  <a:lnTo>
                    <a:pt x="19" y="80"/>
                  </a:lnTo>
                  <a:lnTo>
                    <a:pt x="15" y="76"/>
                  </a:lnTo>
                  <a:lnTo>
                    <a:pt x="15" y="75"/>
                  </a:lnTo>
                  <a:lnTo>
                    <a:pt x="14" y="75"/>
                  </a:lnTo>
                  <a:lnTo>
                    <a:pt x="14" y="74"/>
                  </a:lnTo>
                  <a:lnTo>
                    <a:pt x="14" y="73"/>
                  </a:lnTo>
                  <a:lnTo>
                    <a:pt x="14" y="72"/>
                  </a:lnTo>
                  <a:lnTo>
                    <a:pt x="14" y="71"/>
                  </a:lnTo>
                  <a:lnTo>
                    <a:pt x="15" y="69"/>
                  </a:lnTo>
                  <a:lnTo>
                    <a:pt x="15" y="68"/>
                  </a:lnTo>
                  <a:lnTo>
                    <a:pt x="15" y="67"/>
                  </a:lnTo>
                  <a:lnTo>
                    <a:pt x="14" y="64"/>
                  </a:lnTo>
                  <a:lnTo>
                    <a:pt x="13" y="62"/>
                  </a:lnTo>
                  <a:lnTo>
                    <a:pt x="13" y="61"/>
                  </a:lnTo>
                  <a:lnTo>
                    <a:pt x="12" y="60"/>
                  </a:lnTo>
                  <a:lnTo>
                    <a:pt x="12" y="59"/>
                  </a:lnTo>
                  <a:lnTo>
                    <a:pt x="12" y="58"/>
                  </a:lnTo>
                  <a:lnTo>
                    <a:pt x="12" y="57"/>
                  </a:lnTo>
                  <a:lnTo>
                    <a:pt x="12" y="56"/>
                  </a:lnTo>
                  <a:lnTo>
                    <a:pt x="12" y="53"/>
                  </a:lnTo>
                  <a:lnTo>
                    <a:pt x="13" y="53"/>
                  </a:lnTo>
                  <a:lnTo>
                    <a:pt x="14" y="52"/>
                  </a:lnTo>
                  <a:lnTo>
                    <a:pt x="13" y="52"/>
                  </a:lnTo>
                  <a:lnTo>
                    <a:pt x="13" y="51"/>
                  </a:lnTo>
                  <a:lnTo>
                    <a:pt x="13" y="50"/>
                  </a:lnTo>
                  <a:lnTo>
                    <a:pt x="12" y="50"/>
                  </a:lnTo>
                  <a:lnTo>
                    <a:pt x="12" y="49"/>
                  </a:lnTo>
                  <a:lnTo>
                    <a:pt x="10" y="49"/>
                  </a:lnTo>
                  <a:lnTo>
                    <a:pt x="10" y="47"/>
                  </a:lnTo>
                  <a:lnTo>
                    <a:pt x="10" y="46"/>
                  </a:lnTo>
                  <a:lnTo>
                    <a:pt x="10" y="45"/>
                  </a:lnTo>
                  <a:lnTo>
                    <a:pt x="10" y="44"/>
                  </a:lnTo>
                  <a:lnTo>
                    <a:pt x="12" y="44"/>
                  </a:lnTo>
                  <a:lnTo>
                    <a:pt x="12" y="45"/>
                  </a:lnTo>
                  <a:lnTo>
                    <a:pt x="12" y="44"/>
                  </a:lnTo>
                  <a:lnTo>
                    <a:pt x="12" y="43"/>
                  </a:lnTo>
                  <a:lnTo>
                    <a:pt x="13" y="43"/>
                  </a:lnTo>
                  <a:lnTo>
                    <a:pt x="14" y="42"/>
                  </a:lnTo>
                  <a:lnTo>
                    <a:pt x="14" y="40"/>
                  </a:lnTo>
                  <a:lnTo>
                    <a:pt x="15" y="40"/>
                  </a:lnTo>
                  <a:lnTo>
                    <a:pt x="16" y="39"/>
                  </a:lnTo>
                  <a:lnTo>
                    <a:pt x="17" y="39"/>
                  </a:lnTo>
                  <a:lnTo>
                    <a:pt x="19" y="38"/>
                  </a:lnTo>
                  <a:lnTo>
                    <a:pt x="20" y="38"/>
                  </a:lnTo>
                  <a:lnTo>
                    <a:pt x="22" y="37"/>
                  </a:lnTo>
                  <a:lnTo>
                    <a:pt x="23" y="36"/>
                  </a:lnTo>
                  <a:lnTo>
                    <a:pt x="24" y="36"/>
                  </a:lnTo>
                  <a:lnTo>
                    <a:pt x="26" y="35"/>
                  </a:lnTo>
                  <a:lnTo>
                    <a:pt x="26" y="33"/>
                  </a:lnTo>
                  <a:lnTo>
                    <a:pt x="26" y="32"/>
                  </a:lnTo>
                  <a:lnTo>
                    <a:pt x="27" y="30"/>
                  </a:lnTo>
                  <a:lnTo>
                    <a:pt x="27" y="26"/>
                  </a:lnTo>
                  <a:lnTo>
                    <a:pt x="28" y="23"/>
                  </a:lnTo>
                  <a:lnTo>
                    <a:pt x="28" y="21"/>
                  </a:lnTo>
                  <a:lnTo>
                    <a:pt x="28" y="19"/>
                  </a:lnTo>
                  <a:lnTo>
                    <a:pt x="28" y="18"/>
                  </a:lnTo>
                  <a:lnTo>
                    <a:pt x="26" y="16"/>
                  </a:lnTo>
                  <a:lnTo>
                    <a:pt x="26" y="15"/>
                  </a:lnTo>
                  <a:lnTo>
                    <a:pt x="27" y="14"/>
                  </a:lnTo>
                  <a:lnTo>
                    <a:pt x="28" y="14"/>
                  </a:lnTo>
                  <a:lnTo>
                    <a:pt x="28" y="12"/>
                  </a:lnTo>
                  <a:lnTo>
                    <a:pt x="27" y="11"/>
                  </a:lnTo>
                  <a:lnTo>
                    <a:pt x="28" y="11"/>
                  </a:lnTo>
                  <a:lnTo>
                    <a:pt x="28" y="10"/>
                  </a:lnTo>
                  <a:lnTo>
                    <a:pt x="29" y="10"/>
                  </a:lnTo>
                  <a:lnTo>
                    <a:pt x="30" y="10"/>
                  </a:lnTo>
                  <a:lnTo>
                    <a:pt x="30" y="9"/>
                  </a:lnTo>
                  <a:lnTo>
                    <a:pt x="30" y="7"/>
                  </a:lnTo>
                  <a:lnTo>
                    <a:pt x="31" y="7"/>
                  </a:lnTo>
                  <a:lnTo>
                    <a:pt x="33" y="7"/>
                  </a:lnTo>
                  <a:lnTo>
                    <a:pt x="33" y="5"/>
                  </a:lnTo>
                  <a:lnTo>
                    <a:pt x="34" y="5"/>
                  </a:lnTo>
                  <a:lnTo>
                    <a:pt x="35" y="5"/>
                  </a:lnTo>
                  <a:lnTo>
                    <a:pt x="36" y="4"/>
                  </a:lnTo>
                  <a:lnTo>
                    <a:pt x="36" y="2"/>
                  </a:lnTo>
                  <a:lnTo>
                    <a:pt x="37" y="0"/>
                  </a:lnTo>
                  <a:lnTo>
                    <a:pt x="38" y="0"/>
                  </a:lnTo>
                  <a:lnTo>
                    <a:pt x="38" y="1"/>
                  </a:lnTo>
                  <a:lnTo>
                    <a:pt x="40" y="1"/>
                  </a:lnTo>
                  <a:lnTo>
                    <a:pt x="40" y="2"/>
                  </a:lnTo>
                  <a:lnTo>
                    <a:pt x="41"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3" name="Freeform 824">
              <a:extLst>
                <a:ext uri="{FF2B5EF4-FFF2-40B4-BE49-F238E27FC236}">
                  <a16:creationId xmlns:a16="http://schemas.microsoft.com/office/drawing/2014/main" id="{7B7C31EE-9A90-41B3-BA28-5549A9BFD2A2}"/>
                </a:ext>
              </a:extLst>
            </p:cNvPr>
            <p:cNvSpPr>
              <a:spLocks noEditPoints="1"/>
            </p:cNvSpPr>
            <p:nvPr/>
          </p:nvSpPr>
          <p:spPr bwMode="auto">
            <a:xfrm>
              <a:off x="6547624" y="2475119"/>
              <a:ext cx="62768" cy="52084"/>
            </a:xfrm>
            <a:custGeom>
              <a:avLst/>
              <a:gdLst>
                <a:gd name="T0" fmla="*/ 27 w 47"/>
                <a:gd name="T1" fmla="*/ 11 h 39"/>
                <a:gd name="T2" fmla="*/ 20 w 47"/>
                <a:gd name="T3" fmla="*/ 0 h 39"/>
                <a:gd name="T4" fmla="*/ 23 w 47"/>
                <a:gd name="T5" fmla="*/ 2 h 39"/>
                <a:gd name="T6" fmla="*/ 21 w 47"/>
                <a:gd name="T7" fmla="*/ 5 h 39"/>
                <a:gd name="T8" fmla="*/ 23 w 47"/>
                <a:gd name="T9" fmla="*/ 5 h 39"/>
                <a:gd name="T10" fmla="*/ 26 w 47"/>
                <a:gd name="T11" fmla="*/ 5 h 39"/>
                <a:gd name="T12" fmla="*/ 27 w 47"/>
                <a:gd name="T13" fmla="*/ 7 h 39"/>
                <a:gd name="T14" fmla="*/ 28 w 47"/>
                <a:gd name="T15" fmla="*/ 8 h 39"/>
                <a:gd name="T16" fmla="*/ 27 w 47"/>
                <a:gd name="T17" fmla="*/ 12 h 39"/>
                <a:gd name="T18" fmla="*/ 28 w 47"/>
                <a:gd name="T19" fmla="*/ 13 h 39"/>
                <a:gd name="T20" fmla="*/ 34 w 47"/>
                <a:gd name="T21" fmla="*/ 16 h 39"/>
                <a:gd name="T22" fmla="*/ 35 w 47"/>
                <a:gd name="T23" fmla="*/ 18 h 39"/>
                <a:gd name="T24" fmla="*/ 35 w 47"/>
                <a:gd name="T25" fmla="*/ 20 h 39"/>
                <a:gd name="T26" fmla="*/ 31 w 47"/>
                <a:gd name="T27" fmla="*/ 21 h 39"/>
                <a:gd name="T28" fmla="*/ 34 w 47"/>
                <a:gd name="T29" fmla="*/ 23 h 39"/>
                <a:gd name="T30" fmla="*/ 38 w 47"/>
                <a:gd name="T31" fmla="*/ 26 h 39"/>
                <a:gd name="T32" fmla="*/ 40 w 47"/>
                <a:gd name="T33" fmla="*/ 27 h 39"/>
                <a:gd name="T34" fmla="*/ 44 w 47"/>
                <a:gd name="T35" fmla="*/ 28 h 39"/>
                <a:gd name="T36" fmla="*/ 45 w 47"/>
                <a:gd name="T37" fmla="*/ 28 h 39"/>
                <a:gd name="T38" fmla="*/ 45 w 47"/>
                <a:gd name="T39" fmla="*/ 29 h 39"/>
                <a:gd name="T40" fmla="*/ 45 w 47"/>
                <a:gd name="T41" fmla="*/ 32 h 39"/>
                <a:gd name="T42" fmla="*/ 46 w 47"/>
                <a:gd name="T43" fmla="*/ 33 h 39"/>
                <a:gd name="T44" fmla="*/ 45 w 47"/>
                <a:gd name="T45" fmla="*/ 34 h 39"/>
                <a:gd name="T46" fmla="*/ 46 w 47"/>
                <a:gd name="T47" fmla="*/ 35 h 39"/>
                <a:gd name="T48" fmla="*/ 46 w 47"/>
                <a:gd name="T49" fmla="*/ 37 h 39"/>
                <a:gd name="T50" fmla="*/ 45 w 47"/>
                <a:gd name="T51" fmla="*/ 37 h 39"/>
                <a:gd name="T52" fmla="*/ 41 w 47"/>
                <a:gd name="T53" fmla="*/ 39 h 39"/>
                <a:gd name="T54" fmla="*/ 38 w 47"/>
                <a:gd name="T55" fmla="*/ 34 h 39"/>
                <a:gd name="T56" fmla="*/ 38 w 47"/>
                <a:gd name="T57" fmla="*/ 32 h 39"/>
                <a:gd name="T58" fmla="*/ 35 w 47"/>
                <a:gd name="T59" fmla="*/ 30 h 39"/>
                <a:gd name="T60" fmla="*/ 35 w 47"/>
                <a:gd name="T61" fmla="*/ 28 h 39"/>
                <a:gd name="T62" fmla="*/ 32 w 47"/>
                <a:gd name="T63" fmla="*/ 28 h 39"/>
                <a:gd name="T64" fmla="*/ 31 w 47"/>
                <a:gd name="T65" fmla="*/ 29 h 39"/>
                <a:gd name="T66" fmla="*/ 28 w 47"/>
                <a:gd name="T67" fmla="*/ 28 h 39"/>
                <a:gd name="T68" fmla="*/ 26 w 47"/>
                <a:gd name="T69" fmla="*/ 27 h 39"/>
                <a:gd name="T70" fmla="*/ 25 w 47"/>
                <a:gd name="T71" fmla="*/ 25 h 39"/>
                <a:gd name="T72" fmla="*/ 21 w 47"/>
                <a:gd name="T73" fmla="*/ 26 h 39"/>
                <a:gd name="T74" fmla="*/ 20 w 47"/>
                <a:gd name="T75" fmla="*/ 25 h 39"/>
                <a:gd name="T76" fmla="*/ 19 w 47"/>
                <a:gd name="T77" fmla="*/ 23 h 39"/>
                <a:gd name="T78" fmla="*/ 17 w 47"/>
                <a:gd name="T79" fmla="*/ 21 h 39"/>
                <a:gd name="T80" fmla="*/ 12 w 47"/>
                <a:gd name="T81" fmla="*/ 21 h 39"/>
                <a:gd name="T82" fmla="*/ 11 w 47"/>
                <a:gd name="T83" fmla="*/ 21 h 39"/>
                <a:gd name="T84" fmla="*/ 6 w 47"/>
                <a:gd name="T85" fmla="*/ 19 h 39"/>
                <a:gd name="T86" fmla="*/ 6 w 47"/>
                <a:gd name="T87" fmla="*/ 16 h 39"/>
                <a:gd name="T88" fmla="*/ 5 w 47"/>
                <a:gd name="T89" fmla="*/ 14 h 39"/>
                <a:gd name="T90" fmla="*/ 5 w 47"/>
                <a:gd name="T91" fmla="*/ 13 h 39"/>
                <a:gd name="T92" fmla="*/ 5 w 47"/>
                <a:gd name="T93" fmla="*/ 13 h 39"/>
                <a:gd name="T94" fmla="*/ 5 w 47"/>
                <a:gd name="T95" fmla="*/ 11 h 39"/>
                <a:gd name="T96" fmla="*/ 4 w 47"/>
                <a:gd name="T97" fmla="*/ 7 h 39"/>
                <a:gd name="T98" fmla="*/ 0 w 47"/>
                <a:gd name="T99" fmla="*/ 5 h 39"/>
                <a:gd name="T100" fmla="*/ 2 w 47"/>
                <a:gd name="T101" fmla="*/ 4 h 39"/>
                <a:gd name="T102" fmla="*/ 6 w 47"/>
                <a:gd name="T103" fmla="*/ 2 h 39"/>
                <a:gd name="T104" fmla="*/ 9 w 47"/>
                <a:gd name="T105" fmla="*/ 2 h 39"/>
                <a:gd name="T106" fmla="*/ 10 w 47"/>
                <a:gd name="T107" fmla="*/ 1 h 39"/>
                <a:gd name="T108" fmla="*/ 11 w 47"/>
                <a:gd name="T109" fmla="*/ 2 h 39"/>
                <a:gd name="T110" fmla="*/ 13 w 47"/>
                <a:gd name="T111" fmla="*/ 2 h 39"/>
                <a:gd name="T112" fmla="*/ 14 w 47"/>
                <a:gd name="T113" fmla="*/ 2 h 39"/>
                <a:gd name="T114" fmla="*/ 18 w 47"/>
                <a:gd name="T115" fmla="*/ 2 h 39"/>
                <a:gd name="T116" fmla="*/ 19 w 47"/>
                <a:gd name="T117" fmla="*/ 1 h 39"/>
                <a:gd name="T118" fmla="*/ 20 w 47"/>
                <a:gd name="T119" fmla="*/ 5 h 39"/>
                <a:gd name="T120" fmla="*/ 23 w 47"/>
                <a:gd name="T121" fmla="*/ 6 h 39"/>
                <a:gd name="T122" fmla="*/ 23 w 47"/>
                <a:gd name="T123" fmla="*/ 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 h="39">
                  <a:moveTo>
                    <a:pt x="28" y="11"/>
                  </a:moveTo>
                  <a:lnTo>
                    <a:pt x="28" y="12"/>
                  </a:lnTo>
                  <a:lnTo>
                    <a:pt x="28" y="12"/>
                  </a:lnTo>
                  <a:lnTo>
                    <a:pt x="27" y="12"/>
                  </a:lnTo>
                  <a:lnTo>
                    <a:pt x="27" y="11"/>
                  </a:lnTo>
                  <a:lnTo>
                    <a:pt x="27" y="11"/>
                  </a:lnTo>
                  <a:lnTo>
                    <a:pt x="27" y="11"/>
                  </a:lnTo>
                  <a:lnTo>
                    <a:pt x="28" y="11"/>
                  </a:lnTo>
                  <a:lnTo>
                    <a:pt x="28" y="11"/>
                  </a:lnTo>
                  <a:lnTo>
                    <a:pt x="28" y="11"/>
                  </a:lnTo>
                  <a:lnTo>
                    <a:pt x="28" y="11"/>
                  </a:lnTo>
                  <a:lnTo>
                    <a:pt x="28" y="11"/>
                  </a:lnTo>
                  <a:lnTo>
                    <a:pt x="28" y="11"/>
                  </a:lnTo>
                  <a:close/>
                  <a:moveTo>
                    <a:pt x="20" y="0"/>
                  </a:moveTo>
                  <a:lnTo>
                    <a:pt x="20" y="1"/>
                  </a:lnTo>
                  <a:lnTo>
                    <a:pt x="20" y="2"/>
                  </a:lnTo>
                  <a:lnTo>
                    <a:pt x="20" y="2"/>
                  </a:lnTo>
                  <a:lnTo>
                    <a:pt x="20" y="2"/>
                  </a:lnTo>
                  <a:lnTo>
                    <a:pt x="21" y="2"/>
                  </a:lnTo>
                  <a:lnTo>
                    <a:pt x="21" y="2"/>
                  </a:lnTo>
                  <a:lnTo>
                    <a:pt x="23" y="2"/>
                  </a:lnTo>
                  <a:lnTo>
                    <a:pt x="23" y="2"/>
                  </a:lnTo>
                  <a:lnTo>
                    <a:pt x="23" y="4"/>
                  </a:lnTo>
                  <a:lnTo>
                    <a:pt x="23" y="4"/>
                  </a:lnTo>
                  <a:lnTo>
                    <a:pt x="21" y="4"/>
                  </a:lnTo>
                  <a:lnTo>
                    <a:pt x="21" y="4"/>
                  </a:lnTo>
                  <a:lnTo>
                    <a:pt x="21" y="5"/>
                  </a:lnTo>
                  <a:lnTo>
                    <a:pt x="21" y="5"/>
                  </a:lnTo>
                  <a:lnTo>
                    <a:pt x="21" y="5"/>
                  </a:lnTo>
                  <a:lnTo>
                    <a:pt x="21" y="5"/>
                  </a:lnTo>
                  <a:lnTo>
                    <a:pt x="21" y="4"/>
                  </a:lnTo>
                  <a:lnTo>
                    <a:pt x="23" y="4"/>
                  </a:lnTo>
                  <a:lnTo>
                    <a:pt x="23" y="5"/>
                  </a:lnTo>
                  <a:lnTo>
                    <a:pt x="23" y="5"/>
                  </a:lnTo>
                  <a:lnTo>
                    <a:pt x="23" y="5"/>
                  </a:lnTo>
                  <a:lnTo>
                    <a:pt x="24" y="5"/>
                  </a:lnTo>
                  <a:lnTo>
                    <a:pt x="24" y="5"/>
                  </a:lnTo>
                  <a:lnTo>
                    <a:pt x="25" y="5"/>
                  </a:lnTo>
                  <a:lnTo>
                    <a:pt x="25" y="5"/>
                  </a:lnTo>
                  <a:lnTo>
                    <a:pt x="25" y="5"/>
                  </a:lnTo>
                  <a:lnTo>
                    <a:pt x="26" y="5"/>
                  </a:lnTo>
                  <a:lnTo>
                    <a:pt x="26" y="5"/>
                  </a:lnTo>
                  <a:lnTo>
                    <a:pt x="26" y="5"/>
                  </a:lnTo>
                  <a:lnTo>
                    <a:pt x="26" y="6"/>
                  </a:lnTo>
                  <a:lnTo>
                    <a:pt x="26" y="6"/>
                  </a:lnTo>
                  <a:lnTo>
                    <a:pt x="26" y="6"/>
                  </a:lnTo>
                  <a:lnTo>
                    <a:pt x="26" y="6"/>
                  </a:lnTo>
                  <a:lnTo>
                    <a:pt x="27" y="6"/>
                  </a:lnTo>
                  <a:lnTo>
                    <a:pt x="27" y="7"/>
                  </a:lnTo>
                  <a:lnTo>
                    <a:pt x="28" y="7"/>
                  </a:lnTo>
                  <a:lnTo>
                    <a:pt x="28" y="7"/>
                  </a:lnTo>
                  <a:lnTo>
                    <a:pt x="28" y="7"/>
                  </a:lnTo>
                  <a:lnTo>
                    <a:pt x="28" y="7"/>
                  </a:lnTo>
                  <a:lnTo>
                    <a:pt x="28" y="8"/>
                  </a:lnTo>
                  <a:lnTo>
                    <a:pt x="28" y="8"/>
                  </a:lnTo>
                  <a:lnTo>
                    <a:pt x="28" y="8"/>
                  </a:lnTo>
                  <a:lnTo>
                    <a:pt x="27" y="9"/>
                  </a:lnTo>
                  <a:lnTo>
                    <a:pt x="27" y="9"/>
                  </a:lnTo>
                  <a:lnTo>
                    <a:pt x="26" y="9"/>
                  </a:lnTo>
                  <a:lnTo>
                    <a:pt x="26" y="11"/>
                  </a:lnTo>
                  <a:lnTo>
                    <a:pt x="26" y="11"/>
                  </a:lnTo>
                  <a:lnTo>
                    <a:pt x="26" y="11"/>
                  </a:lnTo>
                  <a:lnTo>
                    <a:pt x="27" y="12"/>
                  </a:lnTo>
                  <a:lnTo>
                    <a:pt x="27" y="12"/>
                  </a:lnTo>
                  <a:lnTo>
                    <a:pt x="27" y="12"/>
                  </a:lnTo>
                  <a:lnTo>
                    <a:pt x="27" y="12"/>
                  </a:lnTo>
                  <a:lnTo>
                    <a:pt x="27" y="12"/>
                  </a:lnTo>
                  <a:lnTo>
                    <a:pt x="27" y="13"/>
                  </a:lnTo>
                  <a:lnTo>
                    <a:pt x="28" y="13"/>
                  </a:lnTo>
                  <a:lnTo>
                    <a:pt x="28" y="13"/>
                  </a:lnTo>
                  <a:lnTo>
                    <a:pt x="28" y="13"/>
                  </a:lnTo>
                  <a:lnTo>
                    <a:pt x="28" y="13"/>
                  </a:lnTo>
                  <a:lnTo>
                    <a:pt x="30" y="14"/>
                  </a:lnTo>
                  <a:lnTo>
                    <a:pt x="30" y="14"/>
                  </a:lnTo>
                  <a:lnTo>
                    <a:pt x="33" y="16"/>
                  </a:lnTo>
                  <a:lnTo>
                    <a:pt x="33" y="16"/>
                  </a:lnTo>
                  <a:lnTo>
                    <a:pt x="34" y="16"/>
                  </a:lnTo>
                  <a:lnTo>
                    <a:pt x="34" y="16"/>
                  </a:lnTo>
                  <a:lnTo>
                    <a:pt x="34" y="16"/>
                  </a:lnTo>
                  <a:lnTo>
                    <a:pt x="34" y="16"/>
                  </a:lnTo>
                  <a:lnTo>
                    <a:pt x="34" y="16"/>
                  </a:lnTo>
                  <a:lnTo>
                    <a:pt x="35" y="16"/>
                  </a:lnTo>
                  <a:lnTo>
                    <a:pt x="35" y="16"/>
                  </a:lnTo>
                  <a:lnTo>
                    <a:pt x="35" y="18"/>
                  </a:lnTo>
                  <a:lnTo>
                    <a:pt x="35" y="18"/>
                  </a:lnTo>
                  <a:lnTo>
                    <a:pt x="35" y="18"/>
                  </a:lnTo>
                  <a:lnTo>
                    <a:pt x="35" y="18"/>
                  </a:lnTo>
                  <a:lnTo>
                    <a:pt x="35" y="19"/>
                  </a:lnTo>
                  <a:lnTo>
                    <a:pt x="35" y="19"/>
                  </a:lnTo>
                  <a:lnTo>
                    <a:pt x="35" y="20"/>
                  </a:lnTo>
                  <a:lnTo>
                    <a:pt x="35" y="20"/>
                  </a:lnTo>
                  <a:lnTo>
                    <a:pt x="35" y="20"/>
                  </a:lnTo>
                  <a:lnTo>
                    <a:pt x="35" y="20"/>
                  </a:lnTo>
                  <a:lnTo>
                    <a:pt x="35" y="21"/>
                  </a:lnTo>
                  <a:lnTo>
                    <a:pt x="34" y="21"/>
                  </a:lnTo>
                  <a:lnTo>
                    <a:pt x="34" y="21"/>
                  </a:lnTo>
                  <a:lnTo>
                    <a:pt x="32" y="21"/>
                  </a:lnTo>
                  <a:lnTo>
                    <a:pt x="31" y="21"/>
                  </a:lnTo>
                  <a:lnTo>
                    <a:pt x="31" y="21"/>
                  </a:lnTo>
                  <a:lnTo>
                    <a:pt x="31" y="21"/>
                  </a:lnTo>
                  <a:lnTo>
                    <a:pt x="32" y="21"/>
                  </a:lnTo>
                  <a:lnTo>
                    <a:pt x="33" y="22"/>
                  </a:lnTo>
                  <a:lnTo>
                    <a:pt x="33" y="22"/>
                  </a:lnTo>
                  <a:lnTo>
                    <a:pt x="33" y="22"/>
                  </a:lnTo>
                  <a:lnTo>
                    <a:pt x="34" y="23"/>
                  </a:lnTo>
                  <a:lnTo>
                    <a:pt x="34" y="23"/>
                  </a:lnTo>
                  <a:lnTo>
                    <a:pt x="35" y="23"/>
                  </a:lnTo>
                  <a:lnTo>
                    <a:pt x="35" y="25"/>
                  </a:lnTo>
                  <a:lnTo>
                    <a:pt x="37" y="25"/>
                  </a:lnTo>
                  <a:lnTo>
                    <a:pt x="37" y="25"/>
                  </a:lnTo>
                  <a:lnTo>
                    <a:pt x="38" y="25"/>
                  </a:lnTo>
                  <a:lnTo>
                    <a:pt x="38" y="26"/>
                  </a:lnTo>
                  <a:lnTo>
                    <a:pt x="39" y="26"/>
                  </a:lnTo>
                  <a:lnTo>
                    <a:pt x="39" y="26"/>
                  </a:lnTo>
                  <a:lnTo>
                    <a:pt x="39" y="27"/>
                  </a:lnTo>
                  <a:lnTo>
                    <a:pt x="39" y="27"/>
                  </a:lnTo>
                  <a:lnTo>
                    <a:pt x="40" y="27"/>
                  </a:lnTo>
                  <a:lnTo>
                    <a:pt x="40" y="27"/>
                  </a:lnTo>
                  <a:lnTo>
                    <a:pt x="40" y="27"/>
                  </a:lnTo>
                  <a:lnTo>
                    <a:pt x="41" y="27"/>
                  </a:lnTo>
                  <a:lnTo>
                    <a:pt x="41" y="27"/>
                  </a:lnTo>
                  <a:lnTo>
                    <a:pt x="42" y="27"/>
                  </a:lnTo>
                  <a:lnTo>
                    <a:pt x="42" y="27"/>
                  </a:lnTo>
                  <a:lnTo>
                    <a:pt x="42" y="27"/>
                  </a:lnTo>
                  <a:lnTo>
                    <a:pt x="42" y="28"/>
                  </a:lnTo>
                  <a:lnTo>
                    <a:pt x="44" y="28"/>
                  </a:lnTo>
                  <a:lnTo>
                    <a:pt x="44" y="28"/>
                  </a:lnTo>
                  <a:lnTo>
                    <a:pt x="44" y="28"/>
                  </a:lnTo>
                  <a:lnTo>
                    <a:pt x="45" y="28"/>
                  </a:lnTo>
                  <a:lnTo>
                    <a:pt x="45" y="28"/>
                  </a:lnTo>
                  <a:lnTo>
                    <a:pt x="45" y="28"/>
                  </a:lnTo>
                  <a:lnTo>
                    <a:pt x="45" y="28"/>
                  </a:lnTo>
                  <a:lnTo>
                    <a:pt x="45" y="28"/>
                  </a:lnTo>
                  <a:lnTo>
                    <a:pt x="45" y="28"/>
                  </a:lnTo>
                  <a:lnTo>
                    <a:pt x="45" y="29"/>
                  </a:lnTo>
                  <a:lnTo>
                    <a:pt x="45" y="29"/>
                  </a:lnTo>
                  <a:lnTo>
                    <a:pt x="45" y="29"/>
                  </a:lnTo>
                  <a:lnTo>
                    <a:pt x="45" y="29"/>
                  </a:lnTo>
                  <a:lnTo>
                    <a:pt x="45" y="29"/>
                  </a:lnTo>
                  <a:lnTo>
                    <a:pt x="45" y="29"/>
                  </a:lnTo>
                  <a:lnTo>
                    <a:pt x="44" y="29"/>
                  </a:lnTo>
                  <a:lnTo>
                    <a:pt x="42" y="29"/>
                  </a:lnTo>
                  <a:lnTo>
                    <a:pt x="42" y="30"/>
                  </a:lnTo>
                  <a:lnTo>
                    <a:pt x="44" y="30"/>
                  </a:lnTo>
                  <a:lnTo>
                    <a:pt x="44" y="32"/>
                  </a:lnTo>
                  <a:lnTo>
                    <a:pt x="45" y="32"/>
                  </a:lnTo>
                  <a:lnTo>
                    <a:pt x="45" y="32"/>
                  </a:lnTo>
                  <a:lnTo>
                    <a:pt x="45" y="32"/>
                  </a:lnTo>
                  <a:lnTo>
                    <a:pt x="45" y="32"/>
                  </a:lnTo>
                  <a:lnTo>
                    <a:pt x="45" y="33"/>
                  </a:lnTo>
                  <a:lnTo>
                    <a:pt x="46" y="33"/>
                  </a:lnTo>
                  <a:lnTo>
                    <a:pt x="46" y="33"/>
                  </a:lnTo>
                  <a:lnTo>
                    <a:pt x="46" y="33"/>
                  </a:lnTo>
                  <a:lnTo>
                    <a:pt x="46" y="33"/>
                  </a:lnTo>
                  <a:lnTo>
                    <a:pt x="46" y="33"/>
                  </a:lnTo>
                  <a:lnTo>
                    <a:pt x="47" y="33"/>
                  </a:lnTo>
                  <a:lnTo>
                    <a:pt x="46" y="33"/>
                  </a:lnTo>
                  <a:lnTo>
                    <a:pt x="46" y="34"/>
                  </a:lnTo>
                  <a:lnTo>
                    <a:pt x="46" y="34"/>
                  </a:lnTo>
                  <a:lnTo>
                    <a:pt x="46" y="34"/>
                  </a:lnTo>
                  <a:lnTo>
                    <a:pt x="45" y="34"/>
                  </a:lnTo>
                  <a:lnTo>
                    <a:pt x="44" y="33"/>
                  </a:lnTo>
                  <a:lnTo>
                    <a:pt x="44" y="34"/>
                  </a:lnTo>
                  <a:lnTo>
                    <a:pt x="44" y="34"/>
                  </a:lnTo>
                  <a:lnTo>
                    <a:pt x="45" y="34"/>
                  </a:lnTo>
                  <a:lnTo>
                    <a:pt x="45" y="35"/>
                  </a:lnTo>
                  <a:lnTo>
                    <a:pt x="45" y="35"/>
                  </a:lnTo>
                  <a:lnTo>
                    <a:pt x="46" y="35"/>
                  </a:lnTo>
                  <a:lnTo>
                    <a:pt x="46" y="36"/>
                  </a:lnTo>
                  <a:lnTo>
                    <a:pt x="46" y="36"/>
                  </a:lnTo>
                  <a:lnTo>
                    <a:pt x="46" y="36"/>
                  </a:lnTo>
                  <a:lnTo>
                    <a:pt x="46" y="36"/>
                  </a:lnTo>
                  <a:lnTo>
                    <a:pt x="46" y="37"/>
                  </a:lnTo>
                  <a:lnTo>
                    <a:pt x="46" y="37"/>
                  </a:lnTo>
                  <a:lnTo>
                    <a:pt x="46" y="37"/>
                  </a:lnTo>
                  <a:lnTo>
                    <a:pt x="46" y="37"/>
                  </a:lnTo>
                  <a:lnTo>
                    <a:pt x="46" y="37"/>
                  </a:lnTo>
                  <a:lnTo>
                    <a:pt x="46" y="39"/>
                  </a:lnTo>
                  <a:lnTo>
                    <a:pt x="46" y="39"/>
                  </a:lnTo>
                  <a:lnTo>
                    <a:pt x="45" y="37"/>
                  </a:lnTo>
                  <a:lnTo>
                    <a:pt x="45" y="37"/>
                  </a:lnTo>
                  <a:lnTo>
                    <a:pt x="45" y="37"/>
                  </a:lnTo>
                  <a:lnTo>
                    <a:pt x="44" y="37"/>
                  </a:lnTo>
                  <a:lnTo>
                    <a:pt x="44" y="37"/>
                  </a:lnTo>
                  <a:lnTo>
                    <a:pt x="44" y="39"/>
                  </a:lnTo>
                  <a:lnTo>
                    <a:pt x="44" y="39"/>
                  </a:lnTo>
                  <a:lnTo>
                    <a:pt x="42" y="39"/>
                  </a:lnTo>
                  <a:lnTo>
                    <a:pt x="42" y="39"/>
                  </a:lnTo>
                  <a:lnTo>
                    <a:pt x="41" y="39"/>
                  </a:lnTo>
                  <a:lnTo>
                    <a:pt x="40" y="37"/>
                  </a:lnTo>
                  <a:lnTo>
                    <a:pt x="40" y="35"/>
                  </a:lnTo>
                  <a:lnTo>
                    <a:pt x="39" y="35"/>
                  </a:lnTo>
                  <a:lnTo>
                    <a:pt x="39" y="35"/>
                  </a:lnTo>
                  <a:lnTo>
                    <a:pt x="39" y="34"/>
                  </a:lnTo>
                  <a:lnTo>
                    <a:pt x="38" y="34"/>
                  </a:lnTo>
                  <a:lnTo>
                    <a:pt x="38" y="34"/>
                  </a:lnTo>
                  <a:lnTo>
                    <a:pt x="39" y="33"/>
                  </a:lnTo>
                  <a:lnTo>
                    <a:pt x="39" y="33"/>
                  </a:lnTo>
                  <a:lnTo>
                    <a:pt x="39" y="33"/>
                  </a:lnTo>
                  <a:lnTo>
                    <a:pt x="39" y="33"/>
                  </a:lnTo>
                  <a:lnTo>
                    <a:pt x="39" y="33"/>
                  </a:lnTo>
                  <a:lnTo>
                    <a:pt x="38" y="33"/>
                  </a:lnTo>
                  <a:lnTo>
                    <a:pt x="38" y="32"/>
                  </a:lnTo>
                  <a:lnTo>
                    <a:pt x="37" y="32"/>
                  </a:lnTo>
                  <a:lnTo>
                    <a:pt x="37" y="32"/>
                  </a:lnTo>
                  <a:lnTo>
                    <a:pt x="37" y="32"/>
                  </a:lnTo>
                  <a:lnTo>
                    <a:pt x="37" y="32"/>
                  </a:lnTo>
                  <a:lnTo>
                    <a:pt x="35" y="32"/>
                  </a:lnTo>
                  <a:lnTo>
                    <a:pt x="35" y="32"/>
                  </a:lnTo>
                  <a:lnTo>
                    <a:pt x="35" y="30"/>
                  </a:lnTo>
                  <a:lnTo>
                    <a:pt x="35" y="30"/>
                  </a:lnTo>
                  <a:lnTo>
                    <a:pt x="35" y="30"/>
                  </a:lnTo>
                  <a:lnTo>
                    <a:pt x="35" y="29"/>
                  </a:lnTo>
                  <a:lnTo>
                    <a:pt x="35" y="29"/>
                  </a:lnTo>
                  <a:lnTo>
                    <a:pt x="35" y="29"/>
                  </a:lnTo>
                  <a:lnTo>
                    <a:pt x="35" y="29"/>
                  </a:lnTo>
                  <a:lnTo>
                    <a:pt x="35" y="28"/>
                  </a:lnTo>
                  <a:lnTo>
                    <a:pt x="35" y="28"/>
                  </a:lnTo>
                  <a:lnTo>
                    <a:pt x="35" y="28"/>
                  </a:lnTo>
                  <a:lnTo>
                    <a:pt x="34" y="28"/>
                  </a:lnTo>
                  <a:lnTo>
                    <a:pt x="34" y="28"/>
                  </a:lnTo>
                  <a:lnTo>
                    <a:pt x="34" y="28"/>
                  </a:lnTo>
                  <a:lnTo>
                    <a:pt x="34" y="28"/>
                  </a:lnTo>
                  <a:lnTo>
                    <a:pt x="32" y="28"/>
                  </a:lnTo>
                  <a:lnTo>
                    <a:pt x="32" y="28"/>
                  </a:lnTo>
                  <a:lnTo>
                    <a:pt x="31" y="29"/>
                  </a:lnTo>
                  <a:lnTo>
                    <a:pt x="31" y="29"/>
                  </a:lnTo>
                  <a:lnTo>
                    <a:pt x="31" y="29"/>
                  </a:lnTo>
                  <a:lnTo>
                    <a:pt x="31" y="29"/>
                  </a:lnTo>
                  <a:lnTo>
                    <a:pt x="31" y="29"/>
                  </a:lnTo>
                  <a:lnTo>
                    <a:pt x="31" y="29"/>
                  </a:lnTo>
                  <a:lnTo>
                    <a:pt x="31" y="29"/>
                  </a:lnTo>
                  <a:lnTo>
                    <a:pt x="30" y="28"/>
                  </a:lnTo>
                  <a:lnTo>
                    <a:pt x="30" y="28"/>
                  </a:lnTo>
                  <a:lnTo>
                    <a:pt x="30" y="28"/>
                  </a:lnTo>
                  <a:lnTo>
                    <a:pt x="28" y="28"/>
                  </a:lnTo>
                  <a:lnTo>
                    <a:pt x="28" y="28"/>
                  </a:lnTo>
                  <a:lnTo>
                    <a:pt x="28" y="28"/>
                  </a:lnTo>
                  <a:lnTo>
                    <a:pt x="28" y="27"/>
                  </a:lnTo>
                  <a:lnTo>
                    <a:pt x="28" y="27"/>
                  </a:lnTo>
                  <a:lnTo>
                    <a:pt x="27" y="27"/>
                  </a:lnTo>
                  <a:lnTo>
                    <a:pt x="27" y="28"/>
                  </a:lnTo>
                  <a:lnTo>
                    <a:pt x="27" y="28"/>
                  </a:lnTo>
                  <a:lnTo>
                    <a:pt x="27" y="28"/>
                  </a:lnTo>
                  <a:lnTo>
                    <a:pt x="26" y="27"/>
                  </a:lnTo>
                  <a:lnTo>
                    <a:pt x="26" y="27"/>
                  </a:lnTo>
                  <a:lnTo>
                    <a:pt x="26" y="27"/>
                  </a:lnTo>
                  <a:lnTo>
                    <a:pt x="26" y="26"/>
                  </a:lnTo>
                  <a:lnTo>
                    <a:pt x="26" y="26"/>
                  </a:lnTo>
                  <a:lnTo>
                    <a:pt x="25" y="25"/>
                  </a:lnTo>
                  <a:lnTo>
                    <a:pt x="25" y="25"/>
                  </a:lnTo>
                  <a:lnTo>
                    <a:pt x="25" y="25"/>
                  </a:lnTo>
                  <a:lnTo>
                    <a:pt x="24" y="25"/>
                  </a:lnTo>
                  <a:lnTo>
                    <a:pt x="24" y="25"/>
                  </a:lnTo>
                  <a:lnTo>
                    <a:pt x="24" y="25"/>
                  </a:lnTo>
                  <a:lnTo>
                    <a:pt x="24" y="26"/>
                  </a:lnTo>
                  <a:lnTo>
                    <a:pt x="23" y="26"/>
                  </a:lnTo>
                  <a:lnTo>
                    <a:pt x="23" y="26"/>
                  </a:lnTo>
                  <a:lnTo>
                    <a:pt x="21" y="26"/>
                  </a:lnTo>
                  <a:lnTo>
                    <a:pt x="21" y="26"/>
                  </a:lnTo>
                  <a:lnTo>
                    <a:pt x="21" y="26"/>
                  </a:lnTo>
                  <a:lnTo>
                    <a:pt x="20" y="25"/>
                  </a:lnTo>
                  <a:lnTo>
                    <a:pt x="20" y="25"/>
                  </a:lnTo>
                  <a:lnTo>
                    <a:pt x="20" y="25"/>
                  </a:lnTo>
                  <a:lnTo>
                    <a:pt x="20" y="25"/>
                  </a:lnTo>
                  <a:lnTo>
                    <a:pt x="20" y="25"/>
                  </a:lnTo>
                  <a:lnTo>
                    <a:pt x="20" y="25"/>
                  </a:lnTo>
                  <a:lnTo>
                    <a:pt x="19" y="23"/>
                  </a:lnTo>
                  <a:lnTo>
                    <a:pt x="19" y="23"/>
                  </a:lnTo>
                  <a:lnTo>
                    <a:pt x="19" y="23"/>
                  </a:lnTo>
                  <a:lnTo>
                    <a:pt x="19" y="23"/>
                  </a:lnTo>
                  <a:lnTo>
                    <a:pt x="19" y="23"/>
                  </a:lnTo>
                  <a:lnTo>
                    <a:pt x="19" y="23"/>
                  </a:lnTo>
                  <a:lnTo>
                    <a:pt x="18" y="23"/>
                  </a:lnTo>
                  <a:lnTo>
                    <a:pt x="18" y="23"/>
                  </a:lnTo>
                  <a:lnTo>
                    <a:pt x="18" y="22"/>
                  </a:lnTo>
                  <a:lnTo>
                    <a:pt x="18" y="22"/>
                  </a:lnTo>
                  <a:lnTo>
                    <a:pt x="18" y="22"/>
                  </a:lnTo>
                  <a:lnTo>
                    <a:pt x="18" y="22"/>
                  </a:lnTo>
                  <a:lnTo>
                    <a:pt x="17" y="21"/>
                  </a:lnTo>
                  <a:lnTo>
                    <a:pt x="16" y="21"/>
                  </a:lnTo>
                  <a:lnTo>
                    <a:pt x="14" y="20"/>
                  </a:lnTo>
                  <a:lnTo>
                    <a:pt x="14" y="20"/>
                  </a:lnTo>
                  <a:lnTo>
                    <a:pt x="14" y="20"/>
                  </a:lnTo>
                  <a:lnTo>
                    <a:pt x="13" y="20"/>
                  </a:lnTo>
                  <a:lnTo>
                    <a:pt x="13" y="20"/>
                  </a:lnTo>
                  <a:lnTo>
                    <a:pt x="12" y="21"/>
                  </a:lnTo>
                  <a:lnTo>
                    <a:pt x="12" y="21"/>
                  </a:lnTo>
                  <a:lnTo>
                    <a:pt x="12" y="21"/>
                  </a:lnTo>
                  <a:lnTo>
                    <a:pt x="12" y="20"/>
                  </a:lnTo>
                  <a:lnTo>
                    <a:pt x="12" y="20"/>
                  </a:lnTo>
                  <a:lnTo>
                    <a:pt x="12" y="20"/>
                  </a:lnTo>
                  <a:lnTo>
                    <a:pt x="11" y="21"/>
                  </a:lnTo>
                  <a:lnTo>
                    <a:pt x="11" y="21"/>
                  </a:lnTo>
                  <a:lnTo>
                    <a:pt x="10" y="21"/>
                  </a:lnTo>
                  <a:lnTo>
                    <a:pt x="7" y="20"/>
                  </a:lnTo>
                  <a:lnTo>
                    <a:pt x="6" y="20"/>
                  </a:lnTo>
                  <a:lnTo>
                    <a:pt x="6" y="19"/>
                  </a:lnTo>
                  <a:lnTo>
                    <a:pt x="6" y="19"/>
                  </a:lnTo>
                  <a:lnTo>
                    <a:pt x="6" y="19"/>
                  </a:lnTo>
                  <a:lnTo>
                    <a:pt x="6" y="19"/>
                  </a:lnTo>
                  <a:lnTo>
                    <a:pt x="6" y="19"/>
                  </a:lnTo>
                  <a:lnTo>
                    <a:pt x="6" y="18"/>
                  </a:lnTo>
                  <a:lnTo>
                    <a:pt x="6" y="18"/>
                  </a:lnTo>
                  <a:lnTo>
                    <a:pt x="6" y="18"/>
                  </a:lnTo>
                  <a:lnTo>
                    <a:pt x="6" y="18"/>
                  </a:lnTo>
                  <a:lnTo>
                    <a:pt x="6" y="18"/>
                  </a:lnTo>
                  <a:lnTo>
                    <a:pt x="6" y="16"/>
                  </a:lnTo>
                  <a:lnTo>
                    <a:pt x="5" y="16"/>
                  </a:lnTo>
                  <a:lnTo>
                    <a:pt x="5" y="15"/>
                  </a:lnTo>
                  <a:lnTo>
                    <a:pt x="4" y="15"/>
                  </a:lnTo>
                  <a:lnTo>
                    <a:pt x="4" y="15"/>
                  </a:lnTo>
                  <a:lnTo>
                    <a:pt x="5" y="15"/>
                  </a:lnTo>
                  <a:lnTo>
                    <a:pt x="5" y="14"/>
                  </a:lnTo>
                  <a:lnTo>
                    <a:pt x="5" y="14"/>
                  </a:lnTo>
                  <a:lnTo>
                    <a:pt x="5" y="14"/>
                  </a:lnTo>
                  <a:lnTo>
                    <a:pt x="4" y="14"/>
                  </a:lnTo>
                  <a:lnTo>
                    <a:pt x="4" y="14"/>
                  </a:lnTo>
                  <a:lnTo>
                    <a:pt x="4" y="13"/>
                  </a:lnTo>
                  <a:lnTo>
                    <a:pt x="4" y="13"/>
                  </a:lnTo>
                  <a:lnTo>
                    <a:pt x="4" y="13"/>
                  </a:lnTo>
                  <a:lnTo>
                    <a:pt x="5" y="13"/>
                  </a:lnTo>
                  <a:lnTo>
                    <a:pt x="4" y="13"/>
                  </a:lnTo>
                  <a:lnTo>
                    <a:pt x="4" y="13"/>
                  </a:lnTo>
                  <a:lnTo>
                    <a:pt x="4" y="13"/>
                  </a:lnTo>
                  <a:lnTo>
                    <a:pt x="4" y="13"/>
                  </a:lnTo>
                  <a:lnTo>
                    <a:pt x="5" y="13"/>
                  </a:lnTo>
                  <a:lnTo>
                    <a:pt x="5" y="13"/>
                  </a:lnTo>
                  <a:lnTo>
                    <a:pt x="5" y="13"/>
                  </a:lnTo>
                  <a:lnTo>
                    <a:pt x="5" y="12"/>
                  </a:lnTo>
                  <a:lnTo>
                    <a:pt x="5" y="12"/>
                  </a:lnTo>
                  <a:lnTo>
                    <a:pt x="5" y="12"/>
                  </a:lnTo>
                  <a:lnTo>
                    <a:pt x="5" y="11"/>
                  </a:lnTo>
                  <a:lnTo>
                    <a:pt x="5" y="11"/>
                  </a:lnTo>
                  <a:lnTo>
                    <a:pt x="5" y="11"/>
                  </a:lnTo>
                  <a:lnTo>
                    <a:pt x="5" y="11"/>
                  </a:lnTo>
                  <a:lnTo>
                    <a:pt x="5" y="9"/>
                  </a:lnTo>
                  <a:lnTo>
                    <a:pt x="5" y="9"/>
                  </a:lnTo>
                  <a:lnTo>
                    <a:pt x="5" y="8"/>
                  </a:lnTo>
                  <a:lnTo>
                    <a:pt x="4" y="8"/>
                  </a:lnTo>
                  <a:lnTo>
                    <a:pt x="4" y="7"/>
                  </a:lnTo>
                  <a:lnTo>
                    <a:pt x="4" y="7"/>
                  </a:lnTo>
                  <a:lnTo>
                    <a:pt x="4" y="7"/>
                  </a:lnTo>
                  <a:lnTo>
                    <a:pt x="4" y="7"/>
                  </a:lnTo>
                  <a:lnTo>
                    <a:pt x="3" y="6"/>
                  </a:lnTo>
                  <a:lnTo>
                    <a:pt x="3" y="6"/>
                  </a:lnTo>
                  <a:lnTo>
                    <a:pt x="3" y="6"/>
                  </a:lnTo>
                  <a:lnTo>
                    <a:pt x="2" y="5"/>
                  </a:lnTo>
                  <a:lnTo>
                    <a:pt x="2" y="5"/>
                  </a:lnTo>
                  <a:lnTo>
                    <a:pt x="0" y="5"/>
                  </a:lnTo>
                  <a:lnTo>
                    <a:pt x="0" y="5"/>
                  </a:lnTo>
                  <a:lnTo>
                    <a:pt x="0" y="4"/>
                  </a:lnTo>
                  <a:lnTo>
                    <a:pt x="0" y="4"/>
                  </a:lnTo>
                  <a:lnTo>
                    <a:pt x="0" y="4"/>
                  </a:lnTo>
                  <a:lnTo>
                    <a:pt x="0" y="4"/>
                  </a:lnTo>
                  <a:lnTo>
                    <a:pt x="0" y="4"/>
                  </a:lnTo>
                  <a:lnTo>
                    <a:pt x="2" y="4"/>
                  </a:lnTo>
                  <a:lnTo>
                    <a:pt x="2" y="4"/>
                  </a:lnTo>
                  <a:lnTo>
                    <a:pt x="4" y="4"/>
                  </a:lnTo>
                  <a:lnTo>
                    <a:pt x="4" y="4"/>
                  </a:lnTo>
                  <a:lnTo>
                    <a:pt x="5" y="4"/>
                  </a:lnTo>
                  <a:lnTo>
                    <a:pt x="5" y="2"/>
                  </a:lnTo>
                  <a:lnTo>
                    <a:pt x="5" y="2"/>
                  </a:lnTo>
                  <a:lnTo>
                    <a:pt x="6" y="2"/>
                  </a:lnTo>
                  <a:lnTo>
                    <a:pt x="7" y="2"/>
                  </a:lnTo>
                  <a:lnTo>
                    <a:pt x="7" y="2"/>
                  </a:lnTo>
                  <a:lnTo>
                    <a:pt x="7" y="2"/>
                  </a:lnTo>
                  <a:lnTo>
                    <a:pt x="7" y="2"/>
                  </a:lnTo>
                  <a:lnTo>
                    <a:pt x="7" y="2"/>
                  </a:lnTo>
                  <a:lnTo>
                    <a:pt x="9" y="2"/>
                  </a:lnTo>
                  <a:lnTo>
                    <a:pt x="9" y="2"/>
                  </a:lnTo>
                  <a:lnTo>
                    <a:pt x="9" y="2"/>
                  </a:lnTo>
                  <a:lnTo>
                    <a:pt x="10" y="2"/>
                  </a:lnTo>
                  <a:lnTo>
                    <a:pt x="10" y="2"/>
                  </a:lnTo>
                  <a:lnTo>
                    <a:pt x="10" y="1"/>
                  </a:lnTo>
                  <a:lnTo>
                    <a:pt x="10" y="1"/>
                  </a:lnTo>
                  <a:lnTo>
                    <a:pt x="10" y="1"/>
                  </a:lnTo>
                  <a:lnTo>
                    <a:pt x="10" y="1"/>
                  </a:lnTo>
                  <a:lnTo>
                    <a:pt x="10" y="1"/>
                  </a:lnTo>
                  <a:lnTo>
                    <a:pt x="11" y="2"/>
                  </a:lnTo>
                  <a:lnTo>
                    <a:pt x="11" y="2"/>
                  </a:lnTo>
                  <a:lnTo>
                    <a:pt x="11" y="2"/>
                  </a:lnTo>
                  <a:lnTo>
                    <a:pt x="11" y="2"/>
                  </a:lnTo>
                  <a:lnTo>
                    <a:pt x="11" y="2"/>
                  </a:lnTo>
                  <a:lnTo>
                    <a:pt x="11" y="2"/>
                  </a:lnTo>
                  <a:lnTo>
                    <a:pt x="12" y="2"/>
                  </a:lnTo>
                  <a:lnTo>
                    <a:pt x="12" y="2"/>
                  </a:lnTo>
                  <a:lnTo>
                    <a:pt x="12" y="2"/>
                  </a:lnTo>
                  <a:lnTo>
                    <a:pt x="13" y="2"/>
                  </a:lnTo>
                  <a:lnTo>
                    <a:pt x="13" y="2"/>
                  </a:lnTo>
                  <a:lnTo>
                    <a:pt x="13" y="2"/>
                  </a:lnTo>
                  <a:lnTo>
                    <a:pt x="13" y="2"/>
                  </a:lnTo>
                  <a:lnTo>
                    <a:pt x="13" y="2"/>
                  </a:lnTo>
                  <a:lnTo>
                    <a:pt x="13" y="2"/>
                  </a:lnTo>
                  <a:lnTo>
                    <a:pt x="14" y="2"/>
                  </a:lnTo>
                  <a:lnTo>
                    <a:pt x="14" y="2"/>
                  </a:lnTo>
                  <a:lnTo>
                    <a:pt x="14" y="2"/>
                  </a:lnTo>
                  <a:lnTo>
                    <a:pt x="14" y="2"/>
                  </a:lnTo>
                  <a:lnTo>
                    <a:pt x="14" y="2"/>
                  </a:lnTo>
                  <a:lnTo>
                    <a:pt x="14" y="2"/>
                  </a:lnTo>
                  <a:lnTo>
                    <a:pt x="14" y="1"/>
                  </a:lnTo>
                  <a:lnTo>
                    <a:pt x="14" y="1"/>
                  </a:lnTo>
                  <a:lnTo>
                    <a:pt x="16" y="1"/>
                  </a:lnTo>
                  <a:lnTo>
                    <a:pt x="16" y="2"/>
                  </a:lnTo>
                  <a:lnTo>
                    <a:pt x="18" y="2"/>
                  </a:lnTo>
                  <a:lnTo>
                    <a:pt x="18" y="2"/>
                  </a:lnTo>
                  <a:lnTo>
                    <a:pt x="18" y="1"/>
                  </a:lnTo>
                  <a:lnTo>
                    <a:pt x="18" y="1"/>
                  </a:lnTo>
                  <a:lnTo>
                    <a:pt x="18" y="1"/>
                  </a:lnTo>
                  <a:lnTo>
                    <a:pt x="18" y="1"/>
                  </a:lnTo>
                  <a:lnTo>
                    <a:pt x="17" y="1"/>
                  </a:lnTo>
                  <a:lnTo>
                    <a:pt x="18" y="1"/>
                  </a:lnTo>
                  <a:lnTo>
                    <a:pt x="19" y="1"/>
                  </a:lnTo>
                  <a:lnTo>
                    <a:pt x="19" y="1"/>
                  </a:lnTo>
                  <a:lnTo>
                    <a:pt x="19" y="1"/>
                  </a:lnTo>
                  <a:lnTo>
                    <a:pt x="19" y="1"/>
                  </a:lnTo>
                  <a:lnTo>
                    <a:pt x="20" y="0"/>
                  </a:lnTo>
                  <a:close/>
                  <a:moveTo>
                    <a:pt x="20" y="5"/>
                  </a:moveTo>
                  <a:lnTo>
                    <a:pt x="20" y="5"/>
                  </a:lnTo>
                  <a:lnTo>
                    <a:pt x="20" y="5"/>
                  </a:lnTo>
                  <a:lnTo>
                    <a:pt x="20" y="4"/>
                  </a:lnTo>
                  <a:lnTo>
                    <a:pt x="20" y="4"/>
                  </a:lnTo>
                  <a:lnTo>
                    <a:pt x="20" y="4"/>
                  </a:lnTo>
                  <a:lnTo>
                    <a:pt x="20" y="5"/>
                  </a:lnTo>
                  <a:lnTo>
                    <a:pt x="20" y="5"/>
                  </a:lnTo>
                  <a:lnTo>
                    <a:pt x="20" y="5"/>
                  </a:lnTo>
                  <a:close/>
                  <a:moveTo>
                    <a:pt x="23" y="6"/>
                  </a:moveTo>
                  <a:lnTo>
                    <a:pt x="24" y="6"/>
                  </a:lnTo>
                  <a:lnTo>
                    <a:pt x="24" y="6"/>
                  </a:lnTo>
                  <a:lnTo>
                    <a:pt x="23" y="5"/>
                  </a:lnTo>
                  <a:lnTo>
                    <a:pt x="23" y="5"/>
                  </a:lnTo>
                  <a:lnTo>
                    <a:pt x="23" y="5"/>
                  </a:lnTo>
                  <a:lnTo>
                    <a:pt x="23" y="5"/>
                  </a:lnTo>
                  <a:lnTo>
                    <a:pt x="23" y="5"/>
                  </a:lnTo>
                  <a:lnTo>
                    <a:pt x="23" y="6"/>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4" name="Rectangle 827">
              <a:extLst>
                <a:ext uri="{FF2B5EF4-FFF2-40B4-BE49-F238E27FC236}">
                  <a16:creationId xmlns:a16="http://schemas.microsoft.com/office/drawing/2014/main" id="{F9494F85-0E2A-48C3-A869-49BB23862EBB}"/>
                </a:ext>
              </a:extLst>
            </p:cNvPr>
            <p:cNvSpPr>
              <a:spLocks noChangeArrowheads="1"/>
            </p:cNvSpPr>
            <p:nvPr/>
          </p:nvSpPr>
          <p:spPr bwMode="auto">
            <a:xfrm>
              <a:off x="8092783" y="3610284"/>
              <a:ext cx="1336" cy="1336"/>
            </a:xfrm>
            <a:prstGeom prst="rect">
              <a:avLst/>
            </a:prstGeom>
            <a:solidFill>
              <a:srgbClr val="D2D2D2"/>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it-IT" dirty="0"/>
            </a:p>
          </p:txBody>
        </p:sp>
        <p:sp>
          <p:nvSpPr>
            <p:cNvPr id="75" name="Freeform 828">
              <a:extLst>
                <a:ext uri="{FF2B5EF4-FFF2-40B4-BE49-F238E27FC236}">
                  <a16:creationId xmlns:a16="http://schemas.microsoft.com/office/drawing/2014/main" id="{0E37D527-E87D-4E3F-AD03-63205D49FFDD}"/>
                </a:ext>
              </a:extLst>
            </p:cNvPr>
            <p:cNvSpPr>
              <a:spLocks noEditPoints="1"/>
            </p:cNvSpPr>
            <p:nvPr/>
          </p:nvSpPr>
          <p:spPr bwMode="auto">
            <a:xfrm>
              <a:off x="6542282" y="3709110"/>
              <a:ext cx="610319" cy="685106"/>
            </a:xfrm>
            <a:custGeom>
              <a:avLst/>
              <a:gdLst>
                <a:gd name="T0" fmla="*/ 298 w 457"/>
                <a:gd name="T1" fmla="*/ 511 h 513"/>
                <a:gd name="T2" fmla="*/ 286 w 457"/>
                <a:gd name="T3" fmla="*/ 507 h 513"/>
                <a:gd name="T4" fmla="*/ 285 w 457"/>
                <a:gd name="T5" fmla="*/ 507 h 513"/>
                <a:gd name="T6" fmla="*/ 297 w 457"/>
                <a:gd name="T7" fmla="*/ 505 h 513"/>
                <a:gd name="T8" fmla="*/ 295 w 457"/>
                <a:gd name="T9" fmla="*/ 501 h 513"/>
                <a:gd name="T10" fmla="*/ 293 w 457"/>
                <a:gd name="T11" fmla="*/ 504 h 513"/>
                <a:gd name="T12" fmla="*/ 293 w 457"/>
                <a:gd name="T13" fmla="*/ 501 h 513"/>
                <a:gd name="T14" fmla="*/ 294 w 457"/>
                <a:gd name="T15" fmla="*/ 501 h 513"/>
                <a:gd name="T16" fmla="*/ 292 w 457"/>
                <a:gd name="T17" fmla="*/ 503 h 513"/>
                <a:gd name="T18" fmla="*/ 297 w 457"/>
                <a:gd name="T19" fmla="*/ 500 h 513"/>
                <a:gd name="T20" fmla="*/ 297 w 457"/>
                <a:gd name="T21" fmla="*/ 500 h 513"/>
                <a:gd name="T22" fmla="*/ 291 w 457"/>
                <a:gd name="T23" fmla="*/ 500 h 513"/>
                <a:gd name="T24" fmla="*/ 293 w 457"/>
                <a:gd name="T25" fmla="*/ 500 h 513"/>
                <a:gd name="T26" fmla="*/ 292 w 457"/>
                <a:gd name="T27" fmla="*/ 501 h 513"/>
                <a:gd name="T28" fmla="*/ 290 w 457"/>
                <a:gd name="T29" fmla="*/ 504 h 513"/>
                <a:gd name="T30" fmla="*/ 292 w 457"/>
                <a:gd name="T31" fmla="*/ 504 h 513"/>
                <a:gd name="T32" fmla="*/ 295 w 457"/>
                <a:gd name="T33" fmla="*/ 503 h 513"/>
                <a:gd name="T34" fmla="*/ 298 w 457"/>
                <a:gd name="T35" fmla="*/ 503 h 513"/>
                <a:gd name="T36" fmla="*/ 297 w 457"/>
                <a:gd name="T37" fmla="*/ 504 h 513"/>
                <a:gd name="T38" fmla="*/ 295 w 457"/>
                <a:gd name="T39" fmla="*/ 505 h 513"/>
                <a:gd name="T40" fmla="*/ 293 w 457"/>
                <a:gd name="T41" fmla="*/ 506 h 513"/>
                <a:gd name="T42" fmla="*/ 294 w 457"/>
                <a:gd name="T43" fmla="*/ 505 h 513"/>
                <a:gd name="T44" fmla="*/ 294 w 457"/>
                <a:gd name="T45" fmla="*/ 506 h 513"/>
                <a:gd name="T46" fmla="*/ 297 w 457"/>
                <a:gd name="T47" fmla="*/ 506 h 513"/>
                <a:gd name="T48" fmla="*/ 297 w 457"/>
                <a:gd name="T49" fmla="*/ 507 h 513"/>
                <a:gd name="T50" fmla="*/ 299 w 457"/>
                <a:gd name="T51" fmla="*/ 506 h 513"/>
                <a:gd name="T52" fmla="*/ 302 w 457"/>
                <a:gd name="T53" fmla="*/ 505 h 513"/>
                <a:gd name="T54" fmla="*/ 306 w 457"/>
                <a:gd name="T55" fmla="*/ 504 h 513"/>
                <a:gd name="T56" fmla="*/ 308 w 457"/>
                <a:gd name="T57" fmla="*/ 506 h 513"/>
                <a:gd name="T58" fmla="*/ 305 w 457"/>
                <a:gd name="T59" fmla="*/ 508 h 513"/>
                <a:gd name="T60" fmla="*/ 305 w 457"/>
                <a:gd name="T61" fmla="*/ 508 h 513"/>
                <a:gd name="T62" fmla="*/ 304 w 457"/>
                <a:gd name="T63" fmla="*/ 508 h 513"/>
                <a:gd name="T64" fmla="*/ 299 w 457"/>
                <a:gd name="T65" fmla="*/ 507 h 513"/>
                <a:gd name="T66" fmla="*/ 298 w 457"/>
                <a:gd name="T67" fmla="*/ 510 h 513"/>
                <a:gd name="T68" fmla="*/ 297 w 457"/>
                <a:gd name="T69" fmla="*/ 508 h 513"/>
                <a:gd name="T70" fmla="*/ 299 w 457"/>
                <a:gd name="T71" fmla="*/ 511 h 513"/>
                <a:gd name="T72" fmla="*/ 302 w 457"/>
                <a:gd name="T73" fmla="*/ 511 h 513"/>
                <a:gd name="T74" fmla="*/ 301 w 457"/>
                <a:gd name="T75" fmla="*/ 513 h 513"/>
                <a:gd name="T76" fmla="*/ 297 w 457"/>
                <a:gd name="T77" fmla="*/ 513 h 513"/>
                <a:gd name="T78" fmla="*/ 295 w 457"/>
                <a:gd name="T79" fmla="*/ 512 h 513"/>
                <a:gd name="T80" fmla="*/ 292 w 457"/>
                <a:gd name="T81" fmla="*/ 511 h 513"/>
                <a:gd name="T82" fmla="*/ 290 w 457"/>
                <a:gd name="T83" fmla="*/ 512 h 513"/>
                <a:gd name="T84" fmla="*/ 288 w 457"/>
                <a:gd name="T85" fmla="*/ 511 h 513"/>
                <a:gd name="T86" fmla="*/ 285 w 457"/>
                <a:gd name="T87" fmla="*/ 513 h 513"/>
                <a:gd name="T88" fmla="*/ 285 w 457"/>
                <a:gd name="T89" fmla="*/ 510 h 513"/>
                <a:gd name="T90" fmla="*/ 287 w 457"/>
                <a:gd name="T91" fmla="*/ 507 h 513"/>
                <a:gd name="T92" fmla="*/ 286 w 457"/>
                <a:gd name="T93" fmla="*/ 506 h 513"/>
                <a:gd name="T94" fmla="*/ 287 w 457"/>
                <a:gd name="T95" fmla="*/ 504 h 513"/>
                <a:gd name="T96" fmla="*/ 287 w 457"/>
                <a:gd name="T97" fmla="*/ 504 h 513"/>
                <a:gd name="T98" fmla="*/ 288 w 457"/>
                <a:gd name="T99" fmla="*/ 500 h 513"/>
                <a:gd name="T100" fmla="*/ 291 w 457"/>
                <a:gd name="T101" fmla="*/ 498 h 513"/>
                <a:gd name="T102" fmla="*/ 293 w 457"/>
                <a:gd name="T103" fmla="*/ 498 h 513"/>
                <a:gd name="T104" fmla="*/ 288 w 457"/>
                <a:gd name="T105" fmla="*/ 497 h 513"/>
                <a:gd name="T106" fmla="*/ 291 w 457"/>
                <a:gd name="T107" fmla="*/ 497 h 513"/>
                <a:gd name="T108" fmla="*/ 89 w 457"/>
                <a:gd name="T109" fmla="*/ 463 h 513"/>
                <a:gd name="T110" fmla="*/ 92 w 457"/>
                <a:gd name="T111" fmla="*/ 463 h 513"/>
                <a:gd name="T112" fmla="*/ 73 w 457"/>
                <a:gd name="T113" fmla="*/ 457 h 513"/>
                <a:gd name="T114" fmla="*/ 451 w 457"/>
                <a:gd name="T115" fmla="*/ 342 h 513"/>
                <a:gd name="T116" fmla="*/ 456 w 457"/>
                <a:gd name="T117" fmla="*/ 328 h 513"/>
                <a:gd name="T118" fmla="*/ 0 w 457"/>
                <a:gd name="T119" fmla="*/ 84 h 513"/>
                <a:gd name="T120" fmla="*/ 38 w 457"/>
                <a:gd name="T121" fmla="*/ 0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7" h="513">
                  <a:moveTo>
                    <a:pt x="299" y="511"/>
                  </a:moveTo>
                  <a:lnTo>
                    <a:pt x="299" y="512"/>
                  </a:lnTo>
                  <a:lnTo>
                    <a:pt x="299" y="511"/>
                  </a:lnTo>
                  <a:lnTo>
                    <a:pt x="298" y="511"/>
                  </a:lnTo>
                  <a:lnTo>
                    <a:pt x="298" y="510"/>
                  </a:lnTo>
                  <a:lnTo>
                    <a:pt x="299" y="511"/>
                  </a:lnTo>
                  <a:close/>
                  <a:moveTo>
                    <a:pt x="285" y="507"/>
                  </a:moveTo>
                  <a:lnTo>
                    <a:pt x="286" y="507"/>
                  </a:lnTo>
                  <a:lnTo>
                    <a:pt x="285" y="508"/>
                  </a:lnTo>
                  <a:lnTo>
                    <a:pt x="284" y="508"/>
                  </a:lnTo>
                  <a:lnTo>
                    <a:pt x="284" y="507"/>
                  </a:lnTo>
                  <a:lnTo>
                    <a:pt x="285" y="507"/>
                  </a:lnTo>
                  <a:close/>
                  <a:moveTo>
                    <a:pt x="297" y="505"/>
                  </a:moveTo>
                  <a:lnTo>
                    <a:pt x="297" y="506"/>
                  </a:lnTo>
                  <a:lnTo>
                    <a:pt x="295" y="506"/>
                  </a:lnTo>
                  <a:lnTo>
                    <a:pt x="297" y="505"/>
                  </a:lnTo>
                  <a:lnTo>
                    <a:pt x="298" y="505"/>
                  </a:lnTo>
                  <a:lnTo>
                    <a:pt x="297" y="505"/>
                  </a:lnTo>
                  <a:close/>
                  <a:moveTo>
                    <a:pt x="294" y="501"/>
                  </a:moveTo>
                  <a:lnTo>
                    <a:pt x="295" y="501"/>
                  </a:lnTo>
                  <a:lnTo>
                    <a:pt x="295" y="503"/>
                  </a:lnTo>
                  <a:lnTo>
                    <a:pt x="294" y="503"/>
                  </a:lnTo>
                  <a:lnTo>
                    <a:pt x="294" y="504"/>
                  </a:lnTo>
                  <a:lnTo>
                    <a:pt x="293" y="504"/>
                  </a:lnTo>
                  <a:lnTo>
                    <a:pt x="292" y="504"/>
                  </a:lnTo>
                  <a:lnTo>
                    <a:pt x="292" y="503"/>
                  </a:lnTo>
                  <a:lnTo>
                    <a:pt x="293" y="503"/>
                  </a:lnTo>
                  <a:lnTo>
                    <a:pt x="293" y="501"/>
                  </a:lnTo>
                  <a:lnTo>
                    <a:pt x="294" y="501"/>
                  </a:lnTo>
                  <a:lnTo>
                    <a:pt x="295" y="500"/>
                  </a:lnTo>
                  <a:lnTo>
                    <a:pt x="295" y="501"/>
                  </a:lnTo>
                  <a:lnTo>
                    <a:pt x="294" y="501"/>
                  </a:lnTo>
                  <a:close/>
                  <a:moveTo>
                    <a:pt x="293" y="500"/>
                  </a:moveTo>
                  <a:lnTo>
                    <a:pt x="294" y="500"/>
                  </a:lnTo>
                  <a:lnTo>
                    <a:pt x="293" y="501"/>
                  </a:lnTo>
                  <a:lnTo>
                    <a:pt x="292" y="503"/>
                  </a:lnTo>
                  <a:lnTo>
                    <a:pt x="292" y="501"/>
                  </a:lnTo>
                  <a:lnTo>
                    <a:pt x="293" y="501"/>
                  </a:lnTo>
                  <a:lnTo>
                    <a:pt x="293" y="500"/>
                  </a:lnTo>
                  <a:close/>
                  <a:moveTo>
                    <a:pt x="297" y="500"/>
                  </a:moveTo>
                  <a:lnTo>
                    <a:pt x="295" y="500"/>
                  </a:lnTo>
                  <a:lnTo>
                    <a:pt x="297" y="500"/>
                  </a:lnTo>
                  <a:lnTo>
                    <a:pt x="298" y="500"/>
                  </a:lnTo>
                  <a:lnTo>
                    <a:pt x="297" y="500"/>
                  </a:lnTo>
                  <a:close/>
                  <a:moveTo>
                    <a:pt x="291" y="499"/>
                  </a:moveTo>
                  <a:lnTo>
                    <a:pt x="290" y="501"/>
                  </a:lnTo>
                  <a:lnTo>
                    <a:pt x="290" y="500"/>
                  </a:lnTo>
                  <a:lnTo>
                    <a:pt x="291" y="500"/>
                  </a:lnTo>
                  <a:lnTo>
                    <a:pt x="292" y="499"/>
                  </a:lnTo>
                  <a:lnTo>
                    <a:pt x="293" y="499"/>
                  </a:lnTo>
                  <a:lnTo>
                    <a:pt x="292" y="499"/>
                  </a:lnTo>
                  <a:lnTo>
                    <a:pt x="293" y="500"/>
                  </a:lnTo>
                  <a:lnTo>
                    <a:pt x="293" y="499"/>
                  </a:lnTo>
                  <a:lnTo>
                    <a:pt x="293" y="500"/>
                  </a:lnTo>
                  <a:lnTo>
                    <a:pt x="292" y="500"/>
                  </a:lnTo>
                  <a:lnTo>
                    <a:pt x="292" y="501"/>
                  </a:lnTo>
                  <a:lnTo>
                    <a:pt x="291" y="501"/>
                  </a:lnTo>
                  <a:lnTo>
                    <a:pt x="292" y="501"/>
                  </a:lnTo>
                  <a:lnTo>
                    <a:pt x="291" y="503"/>
                  </a:lnTo>
                  <a:lnTo>
                    <a:pt x="290" y="504"/>
                  </a:lnTo>
                  <a:lnTo>
                    <a:pt x="291" y="504"/>
                  </a:lnTo>
                  <a:lnTo>
                    <a:pt x="291" y="503"/>
                  </a:lnTo>
                  <a:lnTo>
                    <a:pt x="292" y="503"/>
                  </a:lnTo>
                  <a:lnTo>
                    <a:pt x="292" y="504"/>
                  </a:lnTo>
                  <a:lnTo>
                    <a:pt x="292" y="505"/>
                  </a:lnTo>
                  <a:lnTo>
                    <a:pt x="292" y="504"/>
                  </a:lnTo>
                  <a:lnTo>
                    <a:pt x="294" y="504"/>
                  </a:lnTo>
                  <a:lnTo>
                    <a:pt x="295" y="503"/>
                  </a:lnTo>
                  <a:lnTo>
                    <a:pt x="295" y="504"/>
                  </a:lnTo>
                  <a:lnTo>
                    <a:pt x="297" y="503"/>
                  </a:lnTo>
                  <a:lnTo>
                    <a:pt x="298" y="501"/>
                  </a:lnTo>
                  <a:lnTo>
                    <a:pt x="298" y="503"/>
                  </a:lnTo>
                  <a:lnTo>
                    <a:pt x="297" y="503"/>
                  </a:lnTo>
                  <a:lnTo>
                    <a:pt x="297" y="504"/>
                  </a:lnTo>
                  <a:lnTo>
                    <a:pt x="298" y="504"/>
                  </a:lnTo>
                  <a:lnTo>
                    <a:pt x="297" y="504"/>
                  </a:lnTo>
                  <a:lnTo>
                    <a:pt x="298" y="504"/>
                  </a:lnTo>
                  <a:lnTo>
                    <a:pt x="298" y="505"/>
                  </a:lnTo>
                  <a:lnTo>
                    <a:pt x="297" y="505"/>
                  </a:lnTo>
                  <a:lnTo>
                    <a:pt x="295" y="505"/>
                  </a:lnTo>
                  <a:lnTo>
                    <a:pt x="294" y="504"/>
                  </a:lnTo>
                  <a:lnTo>
                    <a:pt x="293" y="505"/>
                  </a:lnTo>
                  <a:lnTo>
                    <a:pt x="292" y="505"/>
                  </a:lnTo>
                  <a:lnTo>
                    <a:pt x="293" y="506"/>
                  </a:lnTo>
                  <a:lnTo>
                    <a:pt x="293" y="505"/>
                  </a:lnTo>
                  <a:lnTo>
                    <a:pt x="294" y="505"/>
                  </a:lnTo>
                  <a:lnTo>
                    <a:pt x="295" y="505"/>
                  </a:lnTo>
                  <a:lnTo>
                    <a:pt x="294" y="505"/>
                  </a:lnTo>
                  <a:lnTo>
                    <a:pt x="293" y="505"/>
                  </a:lnTo>
                  <a:lnTo>
                    <a:pt x="294" y="506"/>
                  </a:lnTo>
                  <a:lnTo>
                    <a:pt x="295" y="506"/>
                  </a:lnTo>
                  <a:lnTo>
                    <a:pt x="294" y="506"/>
                  </a:lnTo>
                  <a:lnTo>
                    <a:pt x="293" y="507"/>
                  </a:lnTo>
                  <a:lnTo>
                    <a:pt x="294" y="507"/>
                  </a:lnTo>
                  <a:lnTo>
                    <a:pt x="295" y="506"/>
                  </a:lnTo>
                  <a:lnTo>
                    <a:pt x="297" y="506"/>
                  </a:lnTo>
                  <a:lnTo>
                    <a:pt x="298" y="506"/>
                  </a:lnTo>
                  <a:lnTo>
                    <a:pt x="297" y="507"/>
                  </a:lnTo>
                  <a:lnTo>
                    <a:pt x="295" y="507"/>
                  </a:lnTo>
                  <a:lnTo>
                    <a:pt x="297" y="507"/>
                  </a:lnTo>
                  <a:lnTo>
                    <a:pt x="298" y="507"/>
                  </a:lnTo>
                  <a:lnTo>
                    <a:pt x="298" y="506"/>
                  </a:lnTo>
                  <a:lnTo>
                    <a:pt x="298" y="507"/>
                  </a:lnTo>
                  <a:lnTo>
                    <a:pt x="299" y="506"/>
                  </a:lnTo>
                  <a:lnTo>
                    <a:pt x="300" y="506"/>
                  </a:lnTo>
                  <a:lnTo>
                    <a:pt x="300" y="505"/>
                  </a:lnTo>
                  <a:lnTo>
                    <a:pt x="301" y="505"/>
                  </a:lnTo>
                  <a:lnTo>
                    <a:pt x="302" y="505"/>
                  </a:lnTo>
                  <a:lnTo>
                    <a:pt x="304" y="505"/>
                  </a:lnTo>
                  <a:lnTo>
                    <a:pt x="305" y="505"/>
                  </a:lnTo>
                  <a:lnTo>
                    <a:pt x="305" y="504"/>
                  </a:lnTo>
                  <a:lnTo>
                    <a:pt x="306" y="504"/>
                  </a:lnTo>
                  <a:lnTo>
                    <a:pt x="307" y="504"/>
                  </a:lnTo>
                  <a:lnTo>
                    <a:pt x="308" y="504"/>
                  </a:lnTo>
                  <a:lnTo>
                    <a:pt x="308" y="505"/>
                  </a:lnTo>
                  <a:lnTo>
                    <a:pt x="308" y="506"/>
                  </a:lnTo>
                  <a:lnTo>
                    <a:pt x="307" y="506"/>
                  </a:lnTo>
                  <a:lnTo>
                    <a:pt x="307" y="507"/>
                  </a:lnTo>
                  <a:lnTo>
                    <a:pt x="306" y="508"/>
                  </a:lnTo>
                  <a:lnTo>
                    <a:pt x="305" y="508"/>
                  </a:lnTo>
                  <a:lnTo>
                    <a:pt x="305" y="507"/>
                  </a:lnTo>
                  <a:lnTo>
                    <a:pt x="305" y="508"/>
                  </a:lnTo>
                  <a:lnTo>
                    <a:pt x="304" y="508"/>
                  </a:lnTo>
                  <a:lnTo>
                    <a:pt x="305" y="508"/>
                  </a:lnTo>
                  <a:lnTo>
                    <a:pt x="306" y="510"/>
                  </a:lnTo>
                  <a:lnTo>
                    <a:pt x="305" y="510"/>
                  </a:lnTo>
                  <a:lnTo>
                    <a:pt x="304" y="510"/>
                  </a:lnTo>
                  <a:lnTo>
                    <a:pt x="304" y="508"/>
                  </a:lnTo>
                  <a:lnTo>
                    <a:pt x="302" y="507"/>
                  </a:lnTo>
                  <a:lnTo>
                    <a:pt x="301" y="508"/>
                  </a:lnTo>
                  <a:lnTo>
                    <a:pt x="300" y="508"/>
                  </a:lnTo>
                  <a:lnTo>
                    <a:pt x="299" y="507"/>
                  </a:lnTo>
                  <a:lnTo>
                    <a:pt x="298" y="508"/>
                  </a:lnTo>
                  <a:lnTo>
                    <a:pt x="299" y="508"/>
                  </a:lnTo>
                  <a:lnTo>
                    <a:pt x="299" y="510"/>
                  </a:lnTo>
                  <a:lnTo>
                    <a:pt x="298" y="510"/>
                  </a:lnTo>
                  <a:lnTo>
                    <a:pt x="298" y="508"/>
                  </a:lnTo>
                  <a:lnTo>
                    <a:pt x="298" y="510"/>
                  </a:lnTo>
                  <a:lnTo>
                    <a:pt x="297" y="510"/>
                  </a:lnTo>
                  <a:lnTo>
                    <a:pt x="297" y="508"/>
                  </a:lnTo>
                  <a:lnTo>
                    <a:pt x="297" y="510"/>
                  </a:lnTo>
                  <a:lnTo>
                    <a:pt x="297" y="511"/>
                  </a:lnTo>
                  <a:lnTo>
                    <a:pt x="298" y="511"/>
                  </a:lnTo>
                  <a:lnTo>
                    <a:pt x="299" y="511"/>
                  </a:lnTo>
                  <a:lnTo>
                    <a:pt x="300" y="512"/>
                  </a:lnTo>
                  <a:lnTo>
                    <a:pt x="300" y="511"/>
                  </a:lnTo>
                  <a:lnTo>
                    <a:pt x="301" y="511"/>
                  </a:lnTo>
                  <a:lnTo>
                    <a:pt x="302" y="511"/>
                  </a:lnTo>
                  <a:lnTo>
                    <a:pt x="302" y="512"/>
                  </a:lnTo>
                  <a:lnTo>
                    <a:pt x="301" y="512"/>
                  </a:lnTo>
                  <a:lnTo>
                    <a:pt x="302" y="513"/>
                  </a:lnTo>
                  <a:lnTo>
                    <a:pt x="301" y="513"/>
                  </a:lnTo>
                  <a:lnTo>
                    <a:pt x="300" y="513"/>
                  </a:lnTo>
                  <a:lnTo>
                    <a:pt x="299" y="513"/>
                  </a:lnTo>
                  <a:lnTo>
                    <a:pt x="298" y="513"/>
                  </a:lnTo>
                  <a:lnTo>
                    <a:pt x="297" y="513"/>
                  </a:lnTo>
                  <a:lnTo>
                    <a:pt x="297" y="512"/>
                  </a:lnTo>
                  <a:lnTo>
                    <a:pt x="297" y="511"/>
                  </a:lnTo>
                  <a:lnTo>
                    <a:pt x="295" y="511"/>
                  </a:lnTo>
                  <a:lnTo>
                    <a:pt x="295" y="512"/>
                  </a:lnTo>
                  <a:lnTo>
                    <a:pt x="294" y="513"/>
                  </a:lnTo>
                  <a:lnTo>
                    <a:pt x="293" y="512"/>
                  </a:lnTo>
                  <a:lnTo>
                    <a:pt x="292" y="512"/>
                  </a:lnTo>
                  <a:lnTo>
                    <a:pt x="292" y="511"/>
                  </a:lnTo>
                  <a:lnTo>
                    <a:pt x="291" y="511"/>
                  </a:lnTo>
                  <a:lnTo>
                    <a:pt x="290" y="510"/>
                  </a:lnTo>
                  <a:lnTo>
                    <a:pt x="290" y="511"/>
                  </a:lnTo>
                  <a:lnTo>
                    <a:pt x="290" y="512"/>
                  </a:lnTo>
                  <a:lnTo>
                    <a:pt x="290" y="511"/>
                  </a:lnTo>
                  <a:lnTo>
                    <a:pt x="288" y="511"/>
                  </a:lnTo>
                  <a:lnTo>
                    <a:pt x="288" y="512"/>
                  </a:lnTo>
                  <a:lnTo>
                    <a:pt x="288" y="511"/>
                  </a:lnTo>
                  <a:lnTo>
                    <a:pt x="287" y="512"/>
                  </a:lnTo>
                  <a:lnTo>
                    <a:pt x="287" y="513"/>
                  </a:lnTo>
                  <a:lnTo>
                    <a:pt x="286" y="513"/>
                  </a:lnTo>
                  <a:lnTo>
                    <a:pt x="285" y="513"/>
                  </a:lnTo>
                  <a:lnTo>
                    <a:pt x="284" y="513"/>
                  </a:lnTo>
                  <a:lnTo>
                    <a:pt x="284" y="512"/>
                  </a:lnTo>
                  <a:lnTo>
                    <a:pt x="285" y="511"/>
                  </a:lnTo>
                  <a:lnTo>
                    <a:pt x="285" y="510"/>
                  </a:lnTo>
                  <a:lnTo>
                    <a:pt x="286" y="510"/>
                  </a:lnTo>
                  <a:lnTo>
                    <a:pt x="286" y="508"/>
                  </a:lnTo>
                  <a:lnTo>
                    <a:pt x="286" y="507"/>
                  </a:lnTo>
                  <a:lnTo>
                    <a:pt x="287" y="507"/>
                  </a:lnTo>
                  <a:lnTo>
                    <a:pt x="286" y="507"/>
                  </a:lnTo>
                  <a:lnTo>
                    <a:pt x="286" y="506"/>
                  </a:lnTo>
                  <a:lnTo>
                    <a:pt x="286" y="505"/>
                  </a:lnTo>
                  <a:lnTo>
                    <a:pt x="286" y="506"/>
                  </a:lnTo>
                  <a:lnTo>
                    <a:pt x="287" y="505"/>
                  </a:lnTo>
                  <a:lnTo>
                    <a:pt x="288" y="505"/>
                  </a:lnTo>
                  <a:lnTo>
                    <a:pt x="287" y="505"/>
                  </a:lnTo>
                  <a:lnTo>
                    <a:pt x="287" y="504"/>
                  </a:lnTo>
                  <a:lnTo>
                    <a:pt x="286" y="504"/>
                  </a:lnTo>
                  <a:lnTo>
                    <a:pt x="287" y="504"/>
                  </a:lnTo>
                  <a:lnTo>
                    <a:pt x="286" y="504"/>
                  </a:lnTo>
                  <a:lnTo>
                    <a:pt x="287" y="504"/>
                  </a:lnTo>
                  <a:lnTo>
                    <a:pt x="287" y="503"/>
                  </a:lnTo>
                  <a:lnTo>
                    <a:pt x="288" y="503"/>
                  </a:lnTo>
                  <a:lnTo>
                    <a:pt x="288" y="501"/>
                  </a:lnTo>
                  <a:lnTo>
                    <a:pt x="288" y="500"/>
                  </a:lnTo>
                  <a:lnTo>
                    <a:pt x="290" y="500"/>
                  </a:lnTo>
                  <a:lnTo>
                    <a:pt x="290" y="499"/>
                  </a:lnTo>
                  <a:lnTo>
                    <a:pt x="291" y="499"/>
                  </a:lnTo>
                  <a:lnTo>
                    <a:pt x="291" y="498"/>
                  </a:lnTo>
                  <a:lnTo>
                    <a:pt x="292" y="498"/>
                  </a:lnTo>
                  <a:lnTo>
                    <a:pt x="292" y="497"/>
                  </a:lnTo>
                  <a:lnTo>
                    <a:pt x="293" y="497"/>
                  </a:lnTo>
                  <a:lnTo>
                    <a:pt x="293" y="498"/>
                  </a:lnTo>
                  <a:lnTo>
                    <a:pt x="291" y="499"/>
                  </a:lnTo>
                  <a:close/>
                  <a:moveTo>
                    <a:pt x="288" y="497"/>
                  </a:moveTo>
                  <a:lnTo>
                    <a:pt x="287" y="497"/>
                  </a:lnTo>
                  <a:lnTo>
                    <a:pt x="288" y="497"/>
                  </a:lnTo>
                  <a:close/>
                  <a:moveTo>
                    <a:pt x="290" y="497"/>
                  </a:moveTo>
                  <a:lnTo>
                    <a:pt x="290" y="496"/>
                  </a:lnTo>
                  <a:lnTo>
                    <a:pt x="291" y="496"/>
                  </a:lnTo>
                  <a:lnTo>
                    <a:pt x="291" y="497"/>
                  </a:lnTo>
                  <a:lnTo>
                    <a:pt x="290" y="497"/>
                  </a:lnTo>
                  <a:close/>
                  <a:moveTo>
                    <a:pt x="92" y="463"/>
                  </a:moveTo>
                  <a:lnTo>
                    <a:pt x="91" y="463"/>
                  </a:lnTo>
                  <a:lnTo>
                    <a:pt x="89" y="463"/>
                  </a:lnTo>
                  <a:lnTo>
                    <a:pt x="89" y="462"/>
                  </a:lnTo>
                  <a:lnTo>
                    <a:pt x="91" y="462"/>
                  </a:lnTo>
                  <a:lnTo>
                    <a:pt x="92" y="462"/>
                  </a:lnTo>
                  <a:lnTo>
                    <a:pt x="92" y="463"/>
                  </a:lnTo>
                  <a:close/>
                  <a:moveTo>
                    <a:pt x="73" y="458"/>
                  </a:moveTo>
                  <a:lnTo>
                    <a:pt x="72" y="458"/>
                  </a:lnTo>
                  <a:lnTo>
                    <a:pt x="72" y="457"/>
                  </a:lnTo>
                  <a:lnTo>
                    <a:pt x="73" y="457"/>
                  </a:lnTo>
                  <a:lnTo>
                    <a:pt x="73" y="458"/>
                  </a:lnTo>
                  <a:close/>
                  <a:moveTo>
                    <a:pt x="452" y="343"/>
                  </a:moveTo>
                  <a:lnTo>
                    <a:pt x="451" y="343"/>
                  </a:lnTo>
                  <a:lnTo>
                    <a:pt x="451" y="342"/>
                  </a:lnTo>
                  <a:lnTo>
                    <a:pt x="452" y="342"/>
                  </a:lnTo>
                  <a:lnTo>
                    <a:pt x="452" y="343"/>
                  </a:lnTo>
                  <a:close/>
                  <a:moveTo>
                    <a:pt x="456" y="329"/>
                  </a:moveTo>
                  <a:lnTo>
                    <a:pt x="456" y="328"/>
                  </a:lnTo>
                  <a:lnTo>
                    <a:pt x="457" y="329"/>
                  </a:lnTo>
                  <a:lnTo>
                    <a:pt x="456" y="329"/>
                  </a:lnTo>
                  <a:close/>
                  <a:moveTo>
                    <a:pt x="0" y="83"/>
                  </a:moveTo>
                  <a:lnTo>
                    <a:pt x="0" y="84"/>
                  </a:lnTo>
                  <a:lnTo>
                    <a:pt x="0" y="83"/>
                  </a:lnTo>
                  <a:lnTo>
                    <a:pt x="0" y="84"/>
                  </a:lnTo>
                  <a:lnTo>
                    <a:pt x="0" y="83"/>
                  </a:lnTo>
                  <a:close/>
                  <a:moveTo>
                    <a:pt x="38" y="0"/>
                  </a:moveTo>
                  <a:lnTo>
                    <a:pt x="37" y="0"/>
                  </a:lnTo>
                  <a:lnTo>
                    <a:pt x="38"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6" name="Freeform 829">
              <a:extLst>
                <a:ext uri="{FF2B5EF4-FFF2-40B4-BE49-F238E27FC236}">
                  <a16:creationId xmlns:a16="http://schemas.microsoft.com/office/drawing/2014/main" id="{E0E9E211-4CF6-4258-9237-20102B0FA89F}"/>
                </a:ext>
              </a:extLst>
            </p:cNvPr>
            <p:cNvSpPr>
              <a:spLocks noEditPoints="1"/>
            </p:cNvSpPr>
            <p:nvPr/>
          </p:nvSpPr>
          <p:spPr bwMode="auto">
            <a:xfrm>
              <a:off x="4669928" y="2973256"/>
              <a:ext cx="2671" cy="16026"/>
            </a:xfrm>
            <a:custGeom>
              <a:avLst/>
              <a:gdLst>
                <a:gd name="T0" fmla="*/ 1 w 2"/>
                <a:gd name="T1" fmla="*/ 10 h 12"/>
                <a:gd name="T2" fmla="*/ 1 w 2"/>
                <a:gd name="T3" fmla="*/ 10 h 12"/>
                <a:gd name="T4" fmla="*/ 1 w 2"/>
                <a:gd name="T5" fmla="*/ 10 h 12"/>
                <a:gd name="T6" fmla="*/ 2 w 2"/>
                <a:gd name="T7" fmla="*/ 10 h 12"/>
                <a:gd name="T8" fmla="*/ 2 w 2"/>
                <a:gd name="T9" fmla="*/ 10 h 12"/>
                <a:gd name="T10" fmla="*/ 2 w 2"/>
                <a:gd name="T11" fmla="*/ 10 h 12"/>
                <a:gd name="T12" fmla="*/ 2 w 2"/>
                <a:gd name="T13" fmla="*/ 10 h 12"/>
                <a:gd name="T14" fmla="*/ 2 w 2"/>
                <a:gd name="T15" fmla="*/ 10 h 12"/>
                <a:gd name="T16" fmla="*/ 2 w 2"/>
                <a:gd name="T17" fmla="*/ 10 h 12"/>
                <a:gd name="T18" fmla="*/ 2 w 2"/>
                <a:gd name="T19" fmla="*/ 10 h 12"/>
                <a:gd name="T20" fmla="*/ 2 w 2"/>
                <a:gd name="T21" fmla="*/ 11 h 12"/>
                <a:gd name="T22" fmla="*/ 2 w 2"/>
                <a:gd name="T23" fmla="*/ 11 h 12"/>
                <a:gd name="T24" fmla="*/ 2 w 2"/>
                <a:gd name="T25" fmla="*/ 11 h 12"/>
                <a:gd name="T26" fmla="*/ 2 w 2"/>
                <a:gd name="T27" fmla="*/ 11 h 12"/>
                <a:gd name="T28" fmla="*/ 2 w 2"/>
                <a:gd name="T29" fmla="*/ 11 h 12"/>
                <a:gd name="T30" fmla="*/ 2 w 2"/>
                <a:gd name="T31" fmla="*/ 11 h 12"/>
                <a:gd name="T32" fmla="*/ 1 w 2"/>
                <a:gd name="T33" fmla="*/ 11 h 12"/>
                <a:gd name="T34" fmla="*/ 1 w 2"/>
                <a:gd name="T35" fmla="*/ 12 h 12"/>
                <a:gd name="T36" fmla="*/ 1 w 2"/>
                <a:gd name="T37" fmla="*/ 12 h 12"/>
                <a:gd name="T38" fmla="*/ 1 w 2"/>
                <a:gd name="T39" fmla="*/ 11 h 12"/>
                <a:gd name="T40" fmla="*/ 0 w 2"/>
                <a:gd name="T41" fmla="*/ 12 h 12"/>
                <a:gd name="T42" fmla="*/ 0 w 2"/>
                <a:gd name="T43" fmla="*/ 12 h 12"/>
                <a:gd name="T44" fmla="*/ 0 w 2"/>
                <a:gd name="T45" fmla="*/ 11 h 12"/>
                <a:gd name="T46" fmla="*/ 0 w 2"/>
                <a:gd name="T47" fmla="*/ 11 h 12"/>
                <a:gd name="T48" fmla="*/ 0 w 2"/>
                <a:gd name="T49" fmla="*/ 11 h 12"/>
                <a:gd name="T50" fmla="*/ 0 w 2"/>
                <a:gd name="T51" fmla="*/ 10 h 12"/>
                <a:gd name="T52" fmla="*/ 0 w 2"/>
                <a:gd name="T53" fmla="*/ 10 h 12"/>
                <a:gd name="T54" fmla="*/ 0 w 2"/>
                <a:gd name="T55" fmla="*/ 10 h 12"/>
                <a:gd name="T56" fmla="*/ 0 w 2"/>
                <a:gd name="T57" fmla="*/ 10 h 12"/>
                <a:gd name="T58" fmla="*/ 1 w 2"/>
                <a:gd name="T59" fmla="*/ 8 h 12"/>
                <a:gd name="T60" fmla="*/ 1 w 2"/>
                <a:gd name="T61" fmla="*/ 10 h 12"/>
                <a:gd name="T62" fmla="*/ 1 w 2"/>
                <a:gd name="T63" fmla="*/ 0 h 12"/>
                <a:gd name="T64" fmla="*/ 1 w 2"/>
                <a:gd name="T65" fmla="*/ 0 h 12"/>
                <a:gd name="T66" fmla="*/ 2 w 2"/>
                <a:gd name="T67" fmla="*/ 0 h 12"/>
                <a:gd name="T68" fmla="*/ 2 w 2"/>
                <a:gd name="T69" fmla="*/ 1 h 12"/>
                <a:gd name="T70" fmla="*/ 2 w 2"/>
                <a:gd name="T71" fmla="*/ 1 h 12"/>
                <a:gd name="T72" fmla="*/ 2 w 2"/>
                <a:gd name="T73" fmla="*/ 3 h 12"/>
                <a:gd name="T74" fmla="*/ 2 w 2"/>
                <a:gd name="T75" fmla="*/ 3 h 12"/>
                <a:gd name="T76" fmla="*/ 2 w 2"/>
                <a:gd name="T77" fmla="*/ 3 h 12"/>
                <a:gd name="T78" fmla="*/ 1 w 2"/>
                <a:gd name="T79" fmla="*/ 3 h 12"/>
                <a:gd name="T80" fmla="*/ 1 w 2"/>
                <a:gd name="T81" fmla="*/ 3 h 12"/>
                <a:gd name="T82" fmla="*/ 1 w 2"/>
                <a:gd name="T83" fmla="*/ 1 h 12"/>
                <a:gd name="T84" fmla="*/ 1 w 2"/>
                <a:gd name="T85" fmla="*/ 1 h 12"/>
                <a:gd name="T86" fmla="*/ 1 w 2"/>
                <a:gd name="T87" fmla="*/ 0 h 12"/>
                <a:gd name="T88" fmla="*/ 1 w 2"/>
                <a:gd name="T89" fmla="*/ 0 h 12"/>
                <a:gd name="T90" fmla="*/ 1 w 2"/>
                <a:gd name="T91" fmla="*/ 0 h 12"/>
                <a:gd name="T92" fmla="*/ 1 w 2"/>
                <a:gd name="T93" fmla="*/ 1 h 12"/>
                <a:gd name="T94" fmla="*/ 1 w 2"/>
                <a:gd name="T95" fmla="*/ 1 h 12"/>
                <a:gd name="T96" fmla="*/ 1 w 2"/>
                <a:gd name="T97" fmla="*/ 1 h 12"/>
                <a:gd name="T98" fmla="*/ 1 w 2"/>
                <a:gd name="T99" fmla="*/ 1 h 12"/>
                <a:gd name="T100" fmla="*/ 1 w 2"/>
                <a:gd name="T101" fmla="*/ 0 h 12"/>
                <a:gd name="T102" fmla="*/ 1 w 2"/>
                <a:gd name="T103" fmla="*/ 0 h 12"/>
                <a:gd name="T104" fmla="*/ 1 w 2"/>
                <a:gd name="T105" fmla="*/ 0 h 12"/>
                <a:gd name="T106" fmla="*/ 1 w 2"/>
                <a:gd name="T10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 h="12">
                  <a:moveTo>
                    <a:pt x="1" y="10"/>
                  </a:moveTo>
                  <a:lnTo>
                    <a:pt x="1" y="10"/>
                  </a:lnTo>
                  <a:lnTo>
                    <a:pt x="1" y="10"/>
                  </a:lnTo>
                  <a:lnTo>
                    <a:pt x="1" y="10"/>
                  </a:lnTo>
                  <a:lnTo>
                    <a:pt x="1" y="10"/>
                  </a:lnTo>
                  <a:lnTo>
                    <a:pt x="1" y="10"/>
                  </a:lnTo>
                  <a:lnTo>
                    <a:pt x="2" y="10"/>
                  </a:lnTo>
                  <a:lnTo>
                    <a:pt x="2" y="10"/>
                  </a:lnTo>
                  <a:lnTo>
                    <a:pt x="2" y="10"/>
                  </a:lnTo>
                  <a:lnTo>
                    <a:pt x="2" y="10"/>
                  </a:lnTo>
                  <a:lnTo>
                    <a:pt x="2" y="10"/>
                  </a:lnTo>
                  <a:lnTo>
                    <a:pt x="2" y="10"/>
                  </a:lnTo>
                  <a:lnTo>
                    <a:pt x="2" y="10"/>
                  </a:lnTo>
                  <a:lnTo>
                    <a:pt x="2" y="10"/>
                  </a:lnTo>
                  <a:lnTo>
                    <a:pt x="2" y="10"/>
                  </a:lnTo>
                  <a:lnTo>
                    <a:pt x="2" y="10"/>
                  </a:lnTo>
                  <a:lnTo>
                    <a:pt x="2" y="10"/>
                  </a:lnTo>
                  <a:lnTo>
                    <a:pt x="2" y="10"/>
                  </a:lnTo>
                  <a:lnTo>
                    <a:pt x="2" y="10"/>
                  </a:lnTo>
                  <a:lnTo>
                    <a:pt x="2" y="10"/>
                  </a:lnTo>
                  <a:lnTo>
                    <a:pt x="2" y="11"/>
                  </a:lnTo>
                  <a:lnTo>
                    <a:pt x="2" y="11"/>
                  </a:lnTo>
                  <a:lnTo>
                    <a:pt x="2" y="11"/>
                  </a:lnTo>
                  <a:lnTo>
                    <a:pt x="2" y="11"/>
                  </a:lnTo>
                  <a:lnTo>
                    <a:pt x="2" y="11"/>
                  </a:lnTo>
                  <a:lnTo>
                    <a:pt x="2" y="11"/>
                  </a:lnTo>
                  <a:lnTo>
                    <a:pt x="2" y="11"/>
                  </a:lnTo>
                  <a:lnTo>
                    <a:pt x="2" y="11"/>
                  </a:lnTo>
                  <a:lnTo>
                    <a:pt x="2" y="11"/>
                  </a:lnTo>
                  <a:lnTo>
                    <a:pt x="2" y="11"/>
                  </a:lnTo>
                  <a:lnTo>
                    <a:pt x="2" y="11"/>
                  </a:lnTo>
                  <a:lnTo>
                    <a:pt x="2" y="11"/>
                  </a:lnTo>
                  <a:lnTo>
                    <a:pt x="1" y="11"/>
                  </a:lnTo>
                  <a:lnTo>
                    <a:pt x="1" y="11"/>
                  </a:lnTo>
                  <a:lnTo>
                    <a:pt x="1" y="12"/>
                  </a:lnTo>
                  <a:lnTo>
                    <a:pt x="1" y="12"/>
                  </a:lnTo>
                  <a:lnTo>
                    <a:pt x="1" y="12"/>
                  </a:lnTo>
                  <a:lnTo>
                    <a:pt x="1" y="12"/>
                  </a:lnTo>
                  <a:lnTo>
                    <a:pt x="1" y="11"/>
                  </a:lnTo>
                  <a:lnTo>
                    <a:pt x="1" y="11"/>
                  </a:lnTo>
                  <a:lnTo>
                    <a:pt x="1" y="12"/>
                  </a:lnTo>
                  <a:lnTo>
                    <a:pt x="0" y="12"/>
                  </a:lnTo>
                  <a:lnTo>
                    <a:pt x="0" y="12"/>
                  </a:lnTo>
                  <a:lnTo>
                    <a:pt x="0" y="12"/>
                  </a:lnTo>
                  <a:lnTo>
                    <a:pt x="0" y="11"/>
                  </a:lnTo>
                  <a:lnTo>
                    <a:pt x="0" y="11"/>
                  </a:lnTo>
                  <a:lnTo>
                    <a:pt x="0" y="11"/>
                  </a:lnTo>
                  <a:lnTo>
                    <a:pt x="0" y="11"/>
                  </a:lnTo>
                  <a:lnTo>
                    <a:pt x="0" y="11"/>
                  </a:lnTo>
                  <a:lnTo>
                    <a:pt x="0" y="11"/>
                  </a:lnTo>
                  <a:lnTo>
                    <a:pt x="0" y="11"/>
                  </a:lnTo>
                  <a:lnTo>
                    <a:pt x="0" y="10"/>
                  </a:lnTo>
                  <a:lnTo>
                    <a:pt x="0" y="10"/>
                  </a:lnTo>
                  <a:lnTo>
                    <a:pt x="0" y="10"/>
                  </a:lnTo>
                  <a:lnTo>
                    <a:pt x="0" y="10"/>
                  </a:lnTo>
                  <a:lnTo>
                    <a:pt x="0" y="10"/>
                  </a:lnTo>
                  <a:lnTo>
                    <a:pt x="0" y="10"/>
                  </a:lnTo>
                  <a:lnTo>
                    <a:pt x="0" y="10"/>
                  </a:lnTo>
                  <a:lnTo>
                    <a:pt x="0" y="10"/>
                  </a:lnTo>
                  <a:lnTo>
                    <a:pt x="1" y="8"/>
                  </a:lnTo>
                  <a:lnTo>
                    <a:pt x="1" y="8"/>
                  </a:lnTo>
                  <a:lnTo>
                    <a:pt x="1" y="10"/>
                  </a:lnTo>
                  <a:lnTo>
                    <a:pt x="1" y="10"/>
                  </a:lnTo>
                  <a:close/>
                  <a:moveTo>
                    <a:pt x="1" y="0"/>
                  </a:moveTo>
                  <a:lnTo>
                    <a:pt x="1" y="0"/>
                  </a:lnTo>
                  <a:lnTo>
                    <a:pt x="1" y="0"/>
                  </a:lnTo>
                  <a:lnTo>
                    <a:pt x="2" y="0"/>
                  </a:lnTo>
                  <a:lnTo>
                    <a:pt x="2" y="0"/>
                  </a:lnTo>
                  <a:lnTo>
                    <a:pt x="2" y="1"/>
                  </a:lnTo>
                  <a:lnTo>
                    <a:pt x="2" y="1"/>
                  </a:lnTo>
                  <a:lnTo>
                    <a:pt x="2" y="1"/>
                  </a:lnTo>
                  <a:lnTo>
                    <a:pt x="2" y="1"/>
                  </a:lnTo>
                  <a:lnTo>
                    <a:pt x="2" y="3"/>
                  </a:lnTo>
                  <a:lnTo>
                    <a:pt x="2" y="3"/>
                  </a:lnTo>
                  <a:lnTo>
                    <a:pt x="2" y="3"/>
                  </a:lnTo>
                  <a:lnTo>
                    <a:pt x="2" y="3"/>
                  </a:lnTo>
                  <a:lnTo>
                    <a:pt x="2" y="3"/>
                  </a:lnTo>
                  <a:lnTo>
                    <a:pt x="2" y="3"/>
                  </a:lnTo>
                  <a:lnTo>
                    <a:pt x="2" y="3"/>
                  </a:lnTo>
                  <a:lnTo>
                    <a:pt x="1" y="3"/>
                  </a:lnTo>
                  <a:lnTo>
                    <a:pt x="1" y="3"/>
                  </a:lnTo>
                  <a:lnTo>
                    <a:pt x="1" y="3"/>
                  </a:lnTo>
                  <a:lnTo>
                    <a:pt x="1" y="3"/>
                  </a:lnTo>
                  <a:lnTo>
                    <a:pt x="1" y="1"/>
                  </a:lnTo>
                  <a:lnTo>
                    <a:pt x="1" y="1"/>
                  </a:lnTo>
                  <a:lnTo>
                    <a:pt x="1" y="1"/>
                  </a:lnTo>
                  <a:lnTo>
                    <a:pt x="1" y="0"/>
                  </a:lnTo>
                  <a:lnTo>
                    <a:pt x="1" y="0"/>
                  </a:lnTo>
                  <a:lnTo>
                    <a:pt x="1" y="0"/>
                  </a:lnTo>
                  <a:lnTo>
                    <a:pt x="1" y="0"/>
                  </a:lnTo>
                  <a:lnTo>
                    <a:pt x="1" y="0"/>
                  </a:lnTo>
                  <a:lnTo>
                    <a:pt x="1" y="0"/>
                  </a:lnTo>
                  <a:lnTo>
                    <a:pt x="1" y="1"/>
                  </a:lnTo>
                  <a:lnTo>
                    <a:pt x="1" y="1"/>
                  </a:lnTo>
                  <a:lnTo>
                    <a:pt x="1" y="1"/>
                  </a:lnTo>
                  <a:lnTo>
                    <a:pt x="1" y="1"/>
                  </a:lnTo>
                  <a:lnTo>
                    <a:pt x="1" y="1"/>
                  </a:lnTo>
                  <a:lnTo>
                    <a:pt x="1" y="1"/>
                  </a:lnTo>
                  <a:lnTo>
                    <a:pt x="1" y="1"/>
                  </a:lnTo>
                  <a:lnTo>
                    <a:pt x="1" y="1"/>
                  </a:lnTo>
                  <a:lnTo>
                    <a:pt x="1" y="0"/>
                  </a:lnTo>
                  <a:lnTo>
                    <a:pt x="1"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7" name="Freeform 830">
              <a:extLst>
                <a:ext uri="{FF2B5EF4-FFF2-40B4-BE49-F238E27FC236}">
                  <a16:creationId xmlns:a16="http://schemas.microsoft.com/office/drawing/2014/main" id="{39F435A6-CBB2-4871-97FC-7A1BDEFD7D99}"/>
                </a:ext>
              </a:extLst>
            </p:cNvPr>
            <p:cNvSpPr>
              <a:spLocks noEditPoints="1"/>
            </p:cNvSpPr>
            <p:nvPr/>
          </p:nvSpPr>
          <p:spPr bwMode="auto">
            <a:xfrm>
              <a:off x="7832364" y="3543509"/>
              <a:ext cx="803964" cy="953538"/>
            </a:xfrm>
            <a:custGeom>
              <a:avLst/>
              <a:gdLst>
                <a:gd name="T0" fmla="*/ 343 w 602"/>
                <a:gd name="T1" fmla="*/ 497 h 714"/>
                <a:gd name="T2" fmla="*/ 373 w 602"/>
                <a:gd name="T3" fmla="*/ 512 h 714"/>
                <a:gd name="T4" fmla="*/ 352 w 602"/>
                <a:gd name="T5" fmla="*/ 532 h 714"/>
                <a:gd name="T6" fmla="*/ 331 w 602"/>
                <a:gd name="T7" fmla="*/ 543 h 714"/>
                <a:gd name="T8" fmla="*/ 329 w 602"/>
                <a:gd name="T9" fmla="*/ 525 h 714"/>
                <a:gd name="T10" fmla="*/ 387 w 602"/>
                <a:gd name="T11" fmla="*/ 492 h 714"/>
                <a:gd name="T12" fmla="*/ 337 w 602"/>
                <a:gd name="T13" fmla="*/ 484 h 714"/>
                <a:gd name="T14" fmla="*/ 273 w 602"/>
                <a:gd name="T15" fmla="*/ 425 h 714"/>
                <a:gd name="T16" fmla="*/ 552 w 602"/>
                <a:gd name="T17" fmla="*/ 289 h 714"/>
                <a:gd name="T18" fmla="*/ 557 w 602"/>
                <a:gd name="T19" fmla="*/ 261 h 714"/>
                <a:gd name="T20" fmla="*/ 536 w 602"/>
                <a:gd name="T21" fmla="*/ 197 h 714"/>
                <a:gd name="T22" fmla="*/ 493 w 602"/>
                <a:gd name="T23" fmla="*/ 141 h 714"/>
                <a:gd name="T24" fmla="*/ 373 w 602"/>
                <a:gd name="T25" fmla="*/ 103 h 714"/>
                <a:gd name="T26" fmla="*/ 273 w 602"/>
                <a:gd name="T27" fmla="*/ 89 h 714"/>
                <a:gd name="T28" fmla="*/ 371 w 602"/>
                <a:gd name="T29" fmla="*/ 71 h 714"/>
                <a:gd name="T30" fmla="*/ 334 w 602"/>
                <a:gd name="T31" fmla="*/ 38 h 714"/>
                <a:gd name="T32" fmla="*/ 300 w 602"/>
                <a:gd name="T33" fmla="*/ 33 h 714"/>
                <a:gd name="T34" fmla="*/ 322 w 602"/>
                <a:gd name="T35" fmla="*/ 31 h 714"/>
                <a:gd name="T36" fmla="*/ 469 w 602"/>
                <a:gd name="T37" fmla="*/ 69 h 714"/>
                <a:gd name="T38" fmla="*/ 490 w 602"/>
                <a:gd name="T39" fmla="*/ 118 h 714"/>
                <a:gd name="T40" fmla="*/ 506 w 602"/>
                <a:gd name="T41" fmla="*/ 166 h 714"/>
                <a:gd name="T42" fmla="*/ 524 w 602"/>
                <a:gd name="T43" fmla="*/ 194 h 714"/>
                <a:gd name="T44" fmla="*/ 538 w 602"/>
                <a:gd name="T45" fmla="*/ 211 h 714"/>
                <a:gd name="T46" fmla="*/ 556 w 602"/>
                <a:gd name="T47" fmla="*/ 257 h 714"/>
                <a:gd name="T48" fmla="*/ 542 w 602"/>
                <a:gd name="T49" fmla="*/ 315 h 714"/>
                <a:gd name="T50" fmla="*/ 502 w 602"/>
                <a:gd name="T51" fmla="*/ 371 h 714"/>
                <a:gd name="T52" fmla="*/ 470 w 602"/>
                <a:gd name="T53" fmla="*/ 400 h 714"/>
                <a:gd name="T54" fmla="*/ 431 w 602"/>
                <a:gd name="T55" fmla="*/ 448 h 714"/>
                <a:gd name="T56" fmla="*/ 366 w 602"/>
                <a:gd name="T57" fmla="*/ 464 h 714"/>
                <a:gd name="T58" fmla="*/ 338 w 602"/>
                <a:gd name="T59" fmla="*/ 468 h 714"/>
                <a:gd name="T60" fmla="*/ 310 w 602"/>
                <a:gd name="T61" fmla="*/ 425 h 714"/>
                <a:gd name="T62" fmla="*/ 305 w 602"/>
                <a:gd name="T63" fmla="*/ 407 h 714"/>
                <a:gd name="T64" fmla="*/ 295 w 602"/>
                <a:gd name="T65" fmla="*/ 397 h 714"/>
                <a:gd name="T66" fmla="*/ 295 w 602"/>
                <a:gd name="T67" fmla="*/ 387 h 714"/>
                <a:gd name="T68" fmla="*/ 265 w 602"/>
                <a:gd name="T69" fmla="*/ 401 h 714"/>
                <a:gd name="T70" fmla="*/ 263 w 602"/>
                <a:gd name="T71" fmla="*/ 366 h 714"/>
                <a:gd name="T72" fmla="*/ 166 w 602"/>
                <a:gd name="T73" fmla="*/ 365 h 714"/>
                <a:gd name="T74" fmla="*/ 95 w 602"/>
                <a:gd name="T75" fmla="*/ 389 h 714"/>
                <a:gd name="T76" fmla="*/ 33 w 602"/>
                <a:gd name="T77" fmla="*/ 407 h 714"/>
                <a:gd name="T78" fmla="*/ 11 w 602"/>
                <a:gd name="T79" fmla="*/ 384 h 714"/>
                <a:gd name="T80" fmla="*/ 24 w 602"/>
                <a:gd name="T81" fmla="*/ 307 h 714"/>
                <a:gd name="T82" fmla="*/ 23 w 602"/>
                <a:gd name="T83" fmla="*/ 271 h 714"/>
                <a:gd name="T84" fmla="*/ 25 w 602"/>
                <a:gd name="T85" fmla="*/ 250 h 714"/>
                <a:gd name="T86" fmla="*/ 44 w 602"/>
                <a:gd name="T87" fmla="*/ 208 h 714"/>
                <a:gd name="T88" fmla="*/ 107 w 602"/>
                <a:gd name="T89" fmla="*/ 175 h 714"/>
                <a:gd name="T90" fmla="*/ 166 w 602"/>
                <a:gd name="T91" fmla="*/ 125 h 714"/>
                <a:gd name="T92" fmla="*/ 189 w 602"/>
                <a:gd name="T93" fmla="*/ 120 h 714"/>
                <a:gd name="T94" fmla="*/ 203 w 602"/>
                <a:gd name="T95" fmla="*/ 113 h 714"/>
                <a:gd name="T96" fmla="*/ 210 w 602"/>
                <a:gd name="T97" fmla="*/ 96 h 714"/>
                <a:gd name="T98" fmla="*/ 218 w 602"/>
                <a:gd name="T99" fmla="*/ 82 h 714"/>
                <a:gd name="T100" fmla="*/ 231 w 602"/>
                <a:gd name="T101" fmla="*/ 76 h 714"/>
                <a:gd name="T102" fmla="*/ 252 w 602"/>
                <a:gd name="T103" fmla="*/ 91 h 714"/>
                <a:gd name="T104" fmla="*/ 274 w 602"/>
                <a:gd name="T105" fmla="*/ 94 h 714"/>
                <a:gd name="T106" fmla="*/ 291 w 602"/>
                <a:gd name="T107" fmla="*/ 54 h 714"/>
                <a:gd name="T108" fmla="*/ 320 w 602"/>
                <a:gd name="T109" fmla="*/ 45 h 714"/>
                <a:gd name="T110" fmla="*/ 324 w 602"/>
                <a:gd name="T111" fmla="*/ 35 h 714"/>
                <a:gd name="T112" fmla="*/ 358 w 602"/>
                <a:gd name="T113" fmla="*/ 48 h 714"/>
                <a:gd name="T114" fmla="*/ 372 w 602"/>
                <a:gd name="T115" fmla="*/ 45 h 714"/>
                <a:gd name="T116" fmla="*/ 367 w 602"/>
                <a:gd name="T117" fmla="*/ 63 h 714"/>
                <a:gd name="T118" fmla="*/ 372 w 602"/>
                <a:gd name="T119" fmla="*/ 105 h 714"/>
                <a:gd name="T120" fmla="*/ 430 w 602"/>
                <a:gd name="T121" fmla="*/ 113 h 714"/>
                <a:gd name="T122" fmla="*/ 446 w 602"/>
                <a:gd name="T123" fmla="*/ 52 h 714"/>
                <a:gd name="T124" fmla="*/ 456 w 602"/>
                <a:gd name="T125" fmla="*/ 13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2" h="714">
                  <a:moveTo>
                    <a:pt x="337" y="714"/>
                  </a:moveTo>
                  <a:lnTo>
                    <a:pt x="337" y="713"/>
                  </a:lnTo>
                  <a:lnTo>
                    <a:pt x="338" y="713"/>
                  </a:lnTo>
                  <a:lnTo>
                    <a:pt x="338" y="712"/>
                  </a:lnTo>
                  <a:lnTo>
                    <a:pt x="339" y="712"/>
                  </a:lnTo>
                  <a:lnTo>
                    <a:pt x="341" y="711"/>
                  </a:lnTo>
                  <a:lnTo>
                    <a:pt x="342" y="711"/>
                  </a:lnTo>
                  <a:lnTo>
                    <a:pt x="342" y="709"/>
                  </a:lnTo>
                  <a:lnTo>
                    <a:pt x="343" y="709"/>
                  </a:lnTo>
                  <a:lnTo>
                    <a:pt x="342" y="709"/>
                  </a:lnTo>
                  <a:lnTo>
                    <a:pt x="342" y="711"/>
                  </a:lnTo>
                  <a:lnTo>
                    <a:pt x="341" y="712"/>
                  </a:lnTo>
                  <a:lnTo>
                    <a:pt x="339" y="712"/>
                  </a:lnTo>
                  <a:lnTo>
                    <a:pt x="339" y="713"/>
                  </a:lnTo>
                  <a:lnTo>
                    <a:pt x="338" y="713"/>
                  </a:lnTo>
                  <a:lnTo>
                    <a:pt x="337" y="714"/>
                  </a:lnTo>
                  <a:close/>
                  <a:moveTo>
                    <a:pt x="343" y="539"/>
                  </a:moveTo>
                  <a:lnTo>
                    <a:pt x="343" y="540"/>
                  </a:lnTo>
                  <a:lnTo>
                    <a:pt x="342" y="540"/>
                  </a:lnTo>
                  <a:lnTo>
                    <a:pt x="342" y="541"/>
                  </a:lnTo>
                  <a:lnTo>
                    <a:pt x="341" y="541"/>
                  </a:lnTo>
                  <a:lnTo>
                    <a:pt x="341" y="540"/>
                  </a:lnTo>
                  <a:lnTo>
                    <a:pt x="339" y="540"/>
                  </a:lnTo>
                  <a:lnTo>
                    <a:pt x="339" y="541"/>
                  </a:lnTo>
                  <a:lnTo>
                    <a:pt x="339" y="540"/>
                  </a:lnTo>
                  <a:lnTo>
                    <a:pt x="341" y="540"/>
                  </a:lnTo>
                  <a:lnTo>
                    <a:pt x="341" y="539"/>
                  </a:lnTo>
                  <a:lnTo>
                    <a:pt x="342" y="539"/>
                  </a:lnTo>
                  <a:lnTo>
                    <a:pt x="342" y="538"/>
                  </a:lnTo>
                  <a:lnTo>
                    <a:pt x="343" y="538"/>
                  </a:lnTo>
                  <a:lnTo>
                    <a:pt x="343" y="539"/>
                  </a:lnTo>
                  <a:close/>
                  <a:moveTo>
                    <a:pt x="345" y="537"/>
                  </a:moveTo>
                  <a:lnTo>
                    <a:pt x="345" y="538"/>
                  </a:lnTo>
                  <a:lnTo>
                    <a:pt x="345" y="537"/>
                  </a:lnTo>
                  <a:lnTo>
                    <a:pt x="344" y="537"/>
                  </a:lnTo>
                  <a:lnTo>
                    <a:pt x="344" y="538"/>
                  </a:lnTo>
                  <a:lnTo>
                    <a:pt x="344" y="537"/>
                  </a:lnTo>
                  <a:lnTo>
                    <a:pt x="345" y="537"/>
                  </a:lnTo>
                  <a:lnTo>
                    <a:pt x="344" y="537"/>
                  </a:lnTo>
                  <a:lnTo>
                    <a:pt x="344" y="536"/>
                  </a:lnTo>
                  <a:lnTo>
                    <a:pt x="345" y="536"/>
                  </a:lnTo>
                  <a:lnTo>
                    <a:pt x="346" y="534"/>
                  </a:lnTo>
                  <a:lnTo>
                    <a:pt x="346" y="536"/>
                  </a:lnTo>
                  <a:lnTo>
                    <a:pt x="345" y="536"/>
                  </a:lnTo>
                  <a:lnTo>
                    <a:pt x="345" y="537"/>
                  </a:lnTo>
                  <a:close/>
                  <a:moveTo>
                    <a:pt x="362" y="527"/>
                  </a:moveTo>
                  <a:lnTo>
                    <a:pt x="360" y="529"/>
                  </a:lnTo>
                  <a:lnTo>
                    <a:pt x="359" y="529"/>
                  </a:lnTo>
                  <a:lnTo>
                    <a:pt x="358" y="530"/>
                  </a:lnTo>
                  <a:lnTo>
                    <a:pt x="358" y="529"/>
                  </a:lnTo>
                  <a:lnTo>
                    <a:pt x="359" y="529"/>
                  </a:lnTo>
                  <a:lnTo>
                    <a:pt x="359" y="527"/>
                  </a:lnTo>
                  <a:lnTo>
                    <a:pt x="360" y="527"/>
                  </a:lnTo>
                  <a:lnTo>
                    <a:pt x="362" y="527"/>
                  </a:lnTo>
                  <a:lnTo>
                    <a:pt x="360" y="527"/>
                  </a:lnTo>
                  <a:lnTo>
                    <a:pt x="362" y="527"/>
                  </a:lnTo>
                  <a:close/>
                  <a:moveTo>
                    <a:pt x="366" y="524"/>
                  </a:moveTo>
                  <a:lnTo>
                    <a:pt x="366" y="523"/>
                  </a:lnTo>
                  <a:lnTo>
                    <a:pt x="365" y="523"/>
                  </a:lnTo>
                  <a:lnTo>
                    <a:pt x="366" y="523"/>
                  </a:lnTo>
                  <a:lnTo>
                    <a:pt x="366" y="524"/>
                  </a:lnTo>
                  <a:close/>
                  <a:moveTo>
                    <a:pt x="337" y="498"/>
                  </a:moveTo>
                  <a:lnTo>
                    <a:pt x="337" y="497"/>
                  </a:lnTo>
                  <a:lnTo>
                    <a:pt x="338" y="498"/>
                  </a:lnTo>
                  <a:lnTo>
                    <a:pt x="339" y="498"/>
                  </a:lnTo>
                  <a:lnTo>
                    <a:pt x="341" y="498"/>
                  </a:lnTo>
                  <a:lnTo>
                    <a:pt x="341" y="499"/>
                  </a:lnTo>
                  <a:lnTo>
                    <a:pt x="342" y="499"/>
                  </a:lnTo>
                  <a:lnTo>
                    <a:pt x="343" y="499"/>
                  </a:lnTo>
                  <a:lnTo>
                    <a:pt x="343" y="498"/>
                  </a:lnTo>
                  <a:lnTo>
                    <a:pt x="343" y="497"/>
                  </a:lnTo>
                  <a:lnTo>
                    <a:pt x="343" y="498"/>
                  </a:lnTo>
                  <a:lnTo>
                    <a:pt x="344" y="498"/>
                  </a:lnTo>
                  <a:lnTo>
                    <a:pt x="343" y="498"/>
                  </a:lnTo>
                  <a:lnTo>
                    <a:pt x="343" y="499"/>
                  </a:lnTo>
                  <a:lnTo>
                    <a:pt x="344" y="499"/>
                  </a:lnTo>
                  <a:lnTo>
                    <a:pt x="344" y="501"/>
                  </a:lnTo>
                  <a:lnTo>
                    <a:pt x="345" y="499"/>
                  </a:lnTo>
                  <a:lnTo>
                    <a:pt x="345" y="501"/>
                  </a:lnTo>
                  <a:lnTo>
                    <a:pt x="346" y="501"/>
                  </a:lnTo>
                  <a:lnTo>
                    <a:pt x="348" y="501"/>
                  </a:lnTo>
                  <a:lnTo>
                    <a:pt x="348" y="502"/>
                  </a:lnTo>
                  <a:lnTo>
                    <a:pt x="348" y="503"/>
                  </a:lnTo>
                  <a:lnTo>
                    <a:pt x="349" y="503"/>
                  </a:lnTo>
                  <a:lnTo>
                    <a:pt x="350" y="503"/>
                  </a:lnTo>
                  <a:lnTo>
                    <a:pt x="350" y="504"/>
                  </a:lnTo>
                  <a:lnTo>
                    <a:pt x="351" y="504"/>
                  </a:lnTo>
                  <a:lnTo>
                    <a:pt x="353" y="505"/>
                  </a:lnTo>
                  <a:lnTo>
                    <a:pt x="355" y="504"/>
                  </a:lnTo>
                  <a:lnTo>
                    <a:pt x="356" y="504"/>
                  </a:lnTo>
                  <a:lnTo>
                    <a:pt x="356" y="505"/>
                  </a:lnTo>
                  <a:lnTo>
                    <a:pt x="356" y="504"/>
                  </a:lnTo>
                  <a:lnTo>
                    <a:pt x="357" y="504"/>
                  </a:lnTo>
                  <a:lnTo>
                    <a:pt x="358" y="504"/>
                  </a:lnTo>
                  <a:lnTo>
                    <a:pt x="358" y="503"/>
                  </a:lnTo>
                  <a:lnTo>
                    <a:pt x="359" y="503"/>
                  </a:lnTo>
                  <a:lnTo>
                    <a:pt x="359" y="504"/>
                  </a:lnTo>
                  <a:lnTo>
                    <a:pt x="359" y="505"/>
                  </a:lnTo>
                  <a:lnTo>
                    <a:pt x="359" y="504"/>
                  </a:lnTo>
                  <a:lnTo>
                    <a:pt x="360" y="504"/>
                  </a:lnTo>
                  <a:lnTo>
                    <a:pt x="360" y="505"/>
                  </a:lnTo>
                  <a:lnTo>
                    <a:pt x="360" y="504"/>
                  </a:lnTo>
                  <a:lnTo>
                    <a:pt x="359" y="504"/>
                  </a:lnTo>
                  <a:lnTo>
                    <a:pt x="360" y="503"/>
                  </a:lnTo>
                  <a:lnTo>
                    <a:pt x="362" y="503"/>
                  </a:lnTo>
                  <a:lnTo>
                    <a:pt x="363" y="502"/>
                  </a:lnTo>
                  <a:lnTo>
                    <a:pt x="364" y="502"/>
                  </a:lnTo>
                  <a:lnTo>
                    <a:pt x="365" y="502"/>
                  </a:lnTo>
                  <a:lnTo>
                    <a:pt x="366" y="502"/>
                  </a:lnTo>
                  <a:lnTo>
                    <a:pt x="367" y="502"/>
                  </a:lnTo>
                  <a:lnTo>
                    <a:pt x="369" y="502"/>
                  </a:lnTo>
                  <a:lnTo>
                    <a:pt x="370" y="502"/>
                  </a:lnTo>
                  <a:lnTo>
                    <a:pt x="372" y="501"/>
                  </a:lnTo>
                  <a:lnTo>
                    <a:pt x="372" y="499"/>
                  </a:lnTo>
                  <a:lnTo>
                    <a:pt x="373" y="499"/>
                  </a:lnTo>
                  <a:lnTo>
                    <a:pt x="373" y="501"/>
                  </a:lnTo>
                  <a:lnTo>
                    <a:pt x="374" y="499"/>
                  </a:lnTo>
                  <a:lnTo>
                    <a:pt x="374" y="501"/>
                  </a:lnTo>
                  <a:lnTo>
                    <a:pt x="376" y="501"/>
                  </a:lnTo>
                  <a:lnTo>
                    <a:pt x="376" y="499"/>
                  </a:lnTo>
                  <a:lnTo>
                    <a:pt x="377" y="499"/>
                  </a:lnTo>
                  <a:lnTo>
                    <a:pt x="378" y="498"/>
                  </a:lnTo>
                  <a:lnTo>
                    <a:pt x="379" y="498"/>
                  </a:lnTo>
                  <a:lnTo>
                    <a:pt x="379" y="499"/>
                  </a:lnTo>
                  <a:lnTo>
                    <a:pt x="380" y="499"/>
                  </a:lnTo>
                  <a:lnTo>
                    <a:pt x="380" y="501"/>
                  </a:lnTo>
                  <a:lnTo>
                    <a:pt x="380" y="502"/>
                  </a:lnTo>
                  <a:lnTo>
                    <a:pt x="379" y="503"/>
                  </a:lnTo>
                  <a:lnTo>
                    <a:pt x="378" y="504"/>
                  </a:lnTo>
                  <a:lnTo>
                    <a:pt x="378" y="505"/>
                  </a:lnTo>
                  <a:lnTo>
                    <a:pt x="377" y="505"/>
                  </a:lnTo>
                  <a:lnTo>
                    <a:pt x="377" y="506"/>
                  </a:lnTo>
                  <a:lnTo>
                    <a:pt x="376" y="506"/>
                  </a:lnTo>
                  <a:lnTo>
                    <a:pt x="376" y="508"/>
                  </a:lnTo>
                  <a:lnTo>
                    <a:pt x="377" y="506"/>
                  </a:lnTo>
                  <a:lnTo>
                    <a:pt x="378" y="506"/>
                  </a:lnTo>
                  <a:lnTo>
                    <a:pt x="377" y="508"/>
                  </a:lnTo>
                  <a:lnTo>
                    <a:pt x="374" y="509"/>
                  </a:lnTo>
                  <a:lnTo>
                    <a:pt x="374" y="510"/>
                  </a:lnTo>
                  <a:lnTo>
                    <a:pt x="374" y="511"/>
                  </a:lnTo>
                  <a:lnTo>
                    <a:pt x="373" y="511"/>
                  </a:lnTo>
                  <a:lnTo>
                    <a:pt x="373" y="512"/>
                  </a:lnTo>
                  <a:lnTo>
                    <a:pt x="372" y="512"/>
                  </a:lnTo>
                  <a:lnTo>
                    <a:pt x="372" y="513"/>
                  </a:lnTo>
                  <a:lnTo>
                    <a:pt x="372" y="515"/>
                  </a:lnTo>
                  <a:lnTo>
                    <a:pt x="371" y="515"/>
                  </a:lnTo>
                  <a:lnTo>
                    <a:pt x="371" y="516"/>
                  </a:lnTo>
                  <a:lnTo>
                    <a:pt x="371" y="517"/>
                  </a:lnTo>
                  <a:lnTo>
                    <a:pt x="370" y="517"/>
                  </a:lnTo>
                  <a:lnTo>
                    <a:pt x="370" y="518"/>
                  </a:lnTo>
                  <a:lnTo>
                    <a:pt x="369" y="518"/>
                  </a:lnTo>
                  <a:lnTo>
                    <a:pt x="369" y="519"/>
                  </a:lnTo>
                  <a:lnTo>
                    <a:pt x="369" y="520"/>
                  </a:lnTo>
                  <a:lnTo>
                    <a:pt x="367" y="520"/>
                  </a:lnTo>
                  <a:lnTo>
                    <a:pt x="369" y="520"/>
                  </a:lnTo>
                  <a:lnTo>
                    <a:pt x="367" y="522"/>
                  </a:lnTo>
                  <a:lnTo>
                    <a:pt x="366" y="522"/>
                  </a:lnTo>
                  <a:lnTo>
                    <a:pt x="367" y="522"/>
                  </a:lnTo>
                  <a:lnTo>
                    <a:pt x="367" y="520"/>
                  </a:lnTo>
                  <a:lnTo>
                    <a:pt x="369" y="520"/>
                  </a:lnTo>
                  <a:lnTo>
                    <a:pt x="369" y="519"/>
                  </a:lnTo>
                  <a:lnTo>
                    <a:pt x="367" y="519"/>
                  </a:lnTo>
                  <a:lnTo>
                    <a:pt x="367" y="518"/>
                  </a:lnTo>
                  <a:lnTo>
                    <a:pt x="369" y="518"/>
                  </a:lnTo>
                  <a:lnTo>
                    <a:pt x="369" y="517"/>
                  </a:lnTo>
                  <a:lnTo>
                    <a:pt x="369" y="518"/>
                  </a:lnTo>
                  <a:lnTo>
                    <a:pt x="367" y="518"/>
                  </a:lnTo>
                  <a:lnTo>
                    <a:pt x="366" y="518"/>
                  </a:lnTo>
                  <a:lnTo>
                    <a:pt x="366" y="519"/>
                  </a:lnTo>
                  <a:lnTo>
                    <a:pt x="367" y="519"/>
                  </a:lnTo>
                  <a:lnTo>
                    <a:pt x="366" y="519"/>
                  </a:lnTo>
                  <a:lnTo>
                    <a:pt x="365" y="519"/>
                  </a:lnTo>
                  <a:lnTo>
                    <a:pt x="365" y="520"/>
                  </a:lnTo>
                  <a:lnTo>
                    <a:pt x="364" y="520"/>
                  </a:lnTo>
                  <a:lnTo>
                    <a:pt x="364" y="522"/>
                  </a:lnTo>
                  <a:lnTo>
                    <a:pt x="363" y="522"/>
                  </a:lnTo>
                  <a:lnTo>
                    <a:pt x="362" y="523"/>
                  </a:lnTo>
                  <a:lnTo>
                    <a:pt x="363" y="523"/>
                  </a:lnTo>
                  <a:lnTo>
                    <a:pt x="362" y="524"/>
                  </a:lnTo>
                  <a:lnTo>
                    <a:pt x="362" y="525"/>
                  </a:lnTo>
                  <a:lnTo>
                    <a:pt x="360" y="525"/>
                  </a:lnTo>
                  <a:lnTo>
                    <a:pt x="360" y="526"/>
                  </a:lnTo>
                  <a:lnTo>
                    <a:pt x="359" y="526"/>
                  </a:lnTo>
                  <a:lnTo>
                    <a:pt x="358" y="526"/>
                  </a:lnTo>
                  <a:lnTo>
                    <a:pt x="358" y="527"/>
                  </a:lnTo>
                  <a:lnTo>
                    <a:pt x="358" y="529"/>
                  </a:lnTo>
                  <a:lnTo>
                    <a:pt x="357" y="529"/>
                  </a:lnTo>
                  <a:lnTo>
                    <a:pt x="357" y="530"/>
                  </a:lnTo>
                  <a:lnTo>
                    <a:pt x="356" y="530"/>
                  </a:lnTo>
                  <a:lnTo>
                    <a:pt x="356" y="531"/>
                  </a:lnTo>
                  <a:lnTo>
                    <a:pt x="355" y="531"/>
                  </a:lnTo>
                  <a:lnTo>
                    <a:pt x="355" y="532"/>
                  </a:lnTo>
                  <a:lnTo>
                    <a:pt x="356" y="532"/>
                  </a:lnTo>
                  <a:lnTo>
                    <a:pt x="355" y="531"/>
                  </a:lnTo>
                  <a:lnTo>
                    <a:pt x="356" y="531"/>
                  </a:lnTo>
                  <a:lnTo>
                    <a:pt x="356" y="532"/>
                  </a:lnTo>
                  <a:lnTo>
                    <a:pt x="356" y="533"/>
                  </a:lnTo>
                  <a:lnTo>
                    <a:pt x="355" y="533"/>
                  </a:lnTo>
                  <a:lnTo>
                    <a:pt x="353" y="534"/>
                  </a:lnTo>
                  <a:lnTo>
                    <a:pt x="353" y="536"/>
                  </a:lnTo>
                  <a:lnTo>
                    <a:pt x="353" y="537"/>
                  </a:lnTo>
                  <a:lnTo>
                    <a:pt x="352" y="537"/>
                  </a:lnTo>
                  <a:lnTo>
                    <a:pt x="352" y="536"/>
                  </a:lnTo>
                  <a:lnTo>
                    <a:pt x="351" y="536"/>
                  </a:lnTo>
                  <a:lnTo>
                    <a:pt x="351" y="537"/>
                  </a:lnTo>
                  <a:lnTo>
                    <a:pt x="350" y="537"/>
                  </a:lnTo>
                  <a:lnTo>
                    <a:pt x="350" y="536"/>
                  </a:lnTo>
                  <a:lnTo>
                    <a:pt x="351" y="536"/>
                  </a:lnTo>
                  <a:lnTo>
                    <a:pt x="350" y="534"/>
                  </a:lnTo>
                  <a:lnTo>
                    <a:pt x="350" y="533"/>
                  </a:lnTo>
                  <a:lnTo>
                    <a:pt x="351" y="533"/>
                  </a:lnTo>
                  <a:lnTo>
                    <a:pt x="351" y="532"/>
                  </a:lnTo>
                  <a:lnTo>
                    <a:pt x="352" y="532"/>
                  </a:lnTo>
                  <a:lnTo>
                    <a:pt x="352" y="533"/>
                  </a:lnTo>
                  <a:lnTo>
                    <a:pt x="351" y="533"/>
                  </a:lnTo>
                  <a:lnTo>
                    <a:pt x="351" y="534"/>
                  </a:lnTo>
                  <a:lnTo>
                    <a:pt x="352" y="534"/>
                  </a:lnTo>
                  <a:lnTo>
                    <a:pt x="353" y="534"/>
                  </a:lnTo>
                  <a:lnTo>
                    <a:pt x="353" y="533"/>
                  </a:lnTo>
                  <a:lnTo>
                    <a:pt x="353" y="532"/>
                  </a:lnTo>
                  <a:lnTo>
                    <a:pt x="355" y="532"/>
                  </a:lnTo>
                  <a:lnTo>
                    <a:pt x="353" y="532"/>
                  </a:lnTo>
                  <a:lnTo>
                    <a:pt x="352" y="532"/>
                  </a:lnTo>
                  <a:lnTo>
                    <a:pt x="352" y="531"/>
                  </a:lnTo>
                  <a:lnTo>
                    <a:pt x="351" y="531"/>
                  </a:lnTo>
                  <a:lnTo>
                    <a:pt x="350" y="531"/>
                  </a:lnTo>
                  <a:lnTo>
                    <a:pt x="350" y="532"/>
                  </a:lnTo>
                  <a:lnTo>
                    <a:pt x="350" y="533"/>
                  </a:lnTo>
                  <a:lnTo>
                    <a:pt x="349" y="533"/>
                  </a:lnTo>
                  <a:lnTo>
                    <a:pt x="349" y="534"/>
                  </a:lnTo>
                  <a:lnTo>
                    <a:pt x="348" y="534"/>
                  </a:lnTo>
                  <a:lnTo>
                    <a:pt x="348" y="533"/>
                  </a:lnTo>
                  <a:lnTo>
                    <a:pt x="349" y="533"/>
                  </a:lnTo>
                  <a:lnTo>
                    <a:pt x="349" y="532"/>
                  </a:lnTo>
                  <a:lnTo>
                    <a:pt x="350" y="532"/>
                  </a:lnTo>
                  <a:lnTo>
                    <a:pt x="349" y="532"/>
                  </a:lnTo>
                  <a:lnTo>
                    <a:pt x="349" y="531"/>
                  </a:lnTo>
                  <a:lnTo>
                    <a:pt x="349" y="530"/>
                  </a:lnTo>
                  <a:lnTo>
                    <a:pt x="348" y="530"/>
                  </a:lnTo>
                  <a:lnTo>
                    <a:pt x="348" y="531"/>
                  </a:lnTo>
                  <a:lnTo>
                    <a:pt x="348" y="532"/>
                  </a:lnTo>
                  <a:lnTo>
                    <a:pt x="348" y="533"/>
                  </a:lnTo>
                  <a:lnTo>
                    <a:pt x="346" y="533"/>
                  </a:lnTo>
                  <a:lnTo>
                    <a:pt x="346" y="534"/>
                  </a:lnTo>
                  <a:lnTo>
                    <a:pt x="345" y="533"/>
                  </a:lnTo>
                  <a:lnTo>
                    <a:pt x="345" y="534"/>
                  </a:lnTo>
                  <a:lnTo>
                    <a:pt x="345" y="536"/>
                  </a:lnTo>
                  <a:lnTo>
                    <a:pt x="344" y="536"/>
                  </a:lnTo>
                  <a:lnTo>
                    <a:pt x="344" y="537"/>
                  </a:lnTo>
                  <a:lnTo>
                    <a:pt x="343" y="537"/>
                  </a:lnTo>
                  <a:lnTo>
                    <a:pt x="343" y="538"/>
                  </a:lnTo>
                  <a:lnTo>
                    <a:pt x="342" y="538"/>
                  </a:lnTo>
                  <a:lnTo>
                    <a:pt x="342" y="537"/>
                  </a:lnTo>
                  <a:lnTo>
                    <a:pt x="341" y="537"/>
                  </a:lnTo>
                  <a:lnTo>
                    <a:pt x="342" y="537"/>
                  </a:lnTo>
                  <a:lnTo>
                    <a:pt x="342" y="536"/>
                  </a:lnTo>
                  <a:lnTo>
                    <a:pt x="342" y="537"/>
                  </a:lnTo>
                  <a:lnTo>
                    <a:pt x="341" y="537"/>
                  </a:lnTo>
                  <a:lnTo>
                    <a:pt x="342" y="536"/>
                  </a:lnTo>
                  <a:lnTo>
                    <a:pt x="341" y="536"/>
                  </a:lnTo>
                  <a:lnTo>
                    <a:pt x="341" y="537"/>
                  </a:lnTo>
                  <a:lnTo>
                    <a:pt x="339" y="537"/>
                  </a:lnTo>
                  <a:lnTo>
                    <a:pt x="341" y="538"/>
                  </a:lnTo>
                  <a:lnTo>
                    <a:pt x="339" y="538"/>
                  </a:lnTo>
                  <a:lnTo>
                    <a:pt x="339" y="539"/>
                  </a:lnTo>
                  <a:lnTo>
                    <a:pt x="339" y="538"/>
                  </a:lnTo>
                  <a:lnTo>
                    <a:pt x="338" y="539"/>
                  </a:lnTo>
                  <a:lnTo>
                    <a:pt x="339" y="539"/>
                  </a:lnTo>
                  <a:lnTo>
                    <a:pt x="338" y="539"/>
                  </a:lnTo>
                  <a:lnTo>
                    <a:pt x="338" y="540"/>
                  </a:lnTo>
                  <a:lnTo>
                    <a:pt x="337" y="540"/>
                  </a:lnTo>
                  <a:lnTo>
                    <a:pt x="337" y="541"/>
                  </a:lnTo>
                  <a:lnTo>
                    <a:pt x="337" y="540"/>
                  </a:lnTo>
                  <a:lnTo>
                    <a:pt x="337" y="541"/>
                  </a:lnTo>
                  <a:lnTo>
                    <a:pt x="336" y="541"/>
                  </a:lnTo>
                  <a:lnTo>
                    <a:pt x="335" y="543"/>
                  </a:lnTo>
                  <a:lnTo>
                    <a:pt x="336" y="543"/>
                  </a:lnTo>
                  <a:lnTo>
                    <a:pt x="335" y="543"/>
                  </a:lnTo>
                  <a:lnTo>
                    <a:pt x="334" y="544"/>
                  </a:lnTo>
                  <a:lnTo>
                    <a:pt x="334" y="543"/>
                  </a:lnTo>
                  <a:lnTo>
                    <a:pt x="332" y="543"/>
                  </a:lnTo>
                  <a:lnTo>
                    <a:pt x="332" y="544"/>
                  </a:lnTo>
                  <a:lnTo>
                    <a:pt x="332" y="543"/>
                  </a:lnTo>
                  <a:lnTo>
                    <a:pt x="331" y="543"/>
                  </a:lnTo>
                  <a:lnTo>
                    <a:pt x="331" y="541"/>
                  </a:lnTo>
                  <a:lnTo>
                    <a:pt x="332" y="541"/>
                  </a:lnTo>
                  <a:lnTo>
                    <a:pt x="331" y="540"/>
                  </a:lnTo>
                  <a:lnTo>
                    <a:pt x="331" y="541"/>
                  </a:lnTo>
                  <a:lnTo>
                    <a:pt x="330" y="541"/>
                  </a:lnTo>
                  <a:lnTo>
                    <a:pt x="329" y="541"/>
                  </a:lnTo>
                  <a:lnTo>
                    <a:pt x="328" y="541"/>
                  </a:lnTo>
                  <a:lnTo>
                    <a:pt x="327" y="541"/>
                  </a:lnTo>
                  <a:lnTo>
                    <a:pt x="325" y="541"/>
                  </a:lnTo>
                  <a:lnTo>
                    <a:pt x="325" y="543"/>
                  </a:lnTo>
                  <a:lnTo>
                    <a:pt x="325" y="541"/>
                  </a:lnTo>
                  <a:lnTo>
                    <a:pt x="324" y="543"/>
                  </a:lnTo>
                  <a:lnTo>
                    <a:pt x="325" y="541"/>
                  </a:lnTo>
                  <a:lnTo>
                    <a:pt x="325" y="540"/>
                  </a:lnTo>
                  <a:lnTo>
                    <a:pt x="325" y="539"/>
                  </a:lnTo>
                  <a:lnTo>
                    <a:pt x="327" y="539"/>
                  </a:lnTo>
                  <a:lnTo>
                    <a:pt x="328" y="539"/>
                  </a:lnTo>
                  <a:lnTo>
                    <a:pt x="328" y="540"/>
                  </a:lnTo>
                  <a:lnTo>
                    <a:pt x="328" y="539"/>
                  </a:lnTo>
                  <a:lnTo>
                    <a:pt x="329" y="539"/>
                  </a:lnTo>
                  <a:lnTo>
                    <a:pt x="329" y="538"/>
                  </a:lnTo>
                  <a:lnTo>
                    <a:pt x="328" y="539"/>
                  </a:lnTo>
                  <a:lnTo>
                    <a:pt x="328" y="538"/>
                  </a:lnTo>
                  <a:lnTo>
                    <a:pt x="327" y="538"/>
                  </a:lnTo>
                  <a:lnTo>
                    <a:pt x="327" y="539"/>
                  </a:lnTo>
                  <a:lnTo>
                    <a:pt x="327" y="538"/>
                  </a:lnTo>
                  <a:lnTo>
                    <a:pt x="327" y="537"/>
                  </a:lnTo>
                  <a:lnTo>
                    <a:pt x="325" y="538"/>
                  </a:lnTo>
                  <a:lnTo>
                    <a:pt x="324" y="538"/>
                  </a:lnTo>
                  <a:lnTo>
                    <a:pt x="324" y="537"/>
                  </a:lnTo>
                  <a:lnTo>
                    <a:pt x="325" y="537"/>
                  </a:lnTo>
                  <a:lnTo>
                    <a:pt x="324" y="537"/>
                  </a:lnTo>
                  <a:lnTo>
                    <a:pt x="324" y="536"/>
                  </a:lnTo>
                  <a:lnTo>
                    <a:pt x="325" y="536"/>
                  </a:lnTo>
                  <a:lnTo>
                    <a:pt x="324" y="536"/>
                  </a:lnTo>
                  <a:lnTo>
                    <a:pt x="325" y="536"/>
                  </a:lnTo>
                  <a:lnTo>
                    <a:pt x="324" y="536"/>
                  </a:lnTo>
                  <a:lnTo>
                    <a:pt x="324" y="534"/>
                  </a:lnTo>
                  <a:lnTo>
                    <a:pt x="325" y="534"/>
                  </a:lnTo>
                  <a:lnTo>
                    <a:pt x="324" y="534"/>
                  </a:lnTo>
                  <a:lnTo>
                    <a:pt x="325" y="533"/>
                  </a:lnTo>
                  <a:lnTo>
                    <a:pt x="324" y="533"/>
                  </a:lnTo>
                  <a:lnTo>
                    <a:pt x="324" y="532"/>
                  </a:lnTo>
                  <a:lnTo>
                    <a:pt x="324" y="531"/>
                  </a:lnTo>
                  <a:lnTo>
                    <a:pt x="324" y="530"/>
                  </a:lnTo>
                  <a:lnTo>
                    <a:pt x="324" y="529"/>
                  </a:lnTo>
                  <a:lnTo>
                    <a:pt x="325" y="529"/>
                  </a:lnTo>
                  <a:lnTo>
                    <a:pt x="324" y="529"/>
                  </a:lnTo>
                  <a:lnTo>
                    <a:pt x="325" y="527"/>
                  </a:lnTo>
                  <a:lnTo>
                    <a:pt x="324" y="527"/>
                  </a:lnTo>
                  <a:lnTo>
                    <a:pt x="325" y="527"/>
                  </a:lnTo>
                  <a:lnTo>
                    <a:pt x="324" y="527"/>
                  </a:lnTo>
                  <a:lnTo>
                    <a:pt x="325" y="526"/>
                  </a:lnTo>
                  <a:lnTo>
                    <a:pt x="325" y="525"/>
                  </a:lnTo>
                  <a:lnTo>
                    <a:pt x="327" y="525"/>
                  </a:lnTo>
                  <a:lnTo>
                    <a:pt x="327" y="524"/>
                  </a:lnTo>
                  <a:lnTo>
                    <a:pt x="327" y="523"/>
                  </a:lnTo>
                  <a:lnTo>
                    <a:pt x="328" y="522"/>
                  </a:lnTo>
                  <a:lnTo>
                    <a:pt x="328" y="520"/>
                  </a:lnTo>
                  <a:lnTo>
                    <a:pt x="328" y="522"/>
                  </a:lnTo>
                  <a:lnTo>
                    <a:pt x="328" y="523"/>
                  </a:lnTo>
                  <a:lnTo>
                    <a:pt x="329" y="523"/>
                  </a:lnTo>
                  <a:lnTo>
                    <a:pt x="328" y="523"/>
                  </a:lnTo>
                  <a:lnTo>
                    <a:pt x="329" y="523"/>
                  </a:lnTo>
                  <a:lnTo>
                    <a:pt x="329" y="524"/>
                  </a:lnTo>
                  <a:lnTo>
                    <a:pt x="329" y="525"/>
                  </a:lnTo>
                  <a:lnTo>
                    <a:pt x="328" y="525"/>
                  </a:lnTo>
                  <a:lnTo>
                    <a:pt x="328" y="526"/>
                  </a:lnTo>
                  <a:lnTo>
                    <a:pt x="329" y="525"/>
                  </a:lnTo>
                  <a:lnTo>
                    <a:pt x="329" y="524"/>
                  </a:lnTo>
                  <a:lnTo>
                    <a:pt x="329" y="525"/>
                  </a:lnTo>
                  <a:lnTo>
                    <a:pt x="330" y="524"/>
                  </a:lnTo>
                  <a:lnTo>
                    <a:pt x="331" y="523"/>
                  </a:lnTo>
                  <a:lnTo>
                    <a:pt x="330" y="523"/>
                  </a:lnTo>
                  <a:lnTo>
                    <a:pt x="330" y="524"/>
                  </a:lnTo>
                  <a:lnTo>
                    <a:pt x="330" y="523"/>
                  </a:lnTo>
                  <a:lnTo>
                    <a:pt x="330" y="522"/>
                  </a:lnTo>
                  <a:lnTo>
                    <a:pt x="330" y="520"/>
                  </a:lnTo>
                  <a:lnTo>
                    <a:pt x="329" y="520"/>
                  </a:lnTo>
                  <a:lnTo>
                    <a:pt x="329" y="522"/>
                  </a:lnTo>
                  <a:lnTo>
                    <a:pt x="328" y="520"/>
                  </a:lnTo>
                  <a:lnTo>
                    <a:pt x="329" y="519"/>
                  </a:lnTo>
                  <a:lnTo>
                    <a:pt x="330" y="518"/>
                  </a:lnTo>
                  <a:lnTo>
                    <a:pt x="330" y="517"/>
                  </a:lnTo>
                  <a:lnTo>
                    <a:pt x="330" y="516"/>
                  </a:lnTo>
                  <a:lnTo>
                    <a:pt x="330" y="515"/>
                  </a:lnTo>
                  <a:lnTo>
                    <a:pt x="330" y="513"/>
                  </a:lnTo>
                  <a:lnTo>
                    <a:pt x="329" y="513"/>
                  </a:lnTo>
                  <a:lnTo>
                    <a:pt x="329" y="512"/>
                  </a:lnTo>
                  <a:lnTo>
                    <a:pt x="330" y="512"/>
                  </a:lnTo>
                  <a:lnTo>
                    <a:pt x="330" y="511"/>
                  </a:lnTo>
                  <a:lnTo>
                    <a:pt x="330" y="510"/>
                  </a:lnTo>
                  <a:lnTo>
                    <a:pt x="330" y="509"/>
                  </a:lnTo>
                  <a:lnTo>
                    <a:pt x="331" y="508"/>
                  </a:lnTo>
                  <a:lnTo>
                    <a:pt x="331" y="506"/>
                  </a:lnTo>
                  <a:lnTo>
                    <a:pt x="331" y="505"/>
                  </a:lnTo>
                  <a:lnTo>
                    <a:pt x="332" y="504"/>
                  </a:lnTo>
                  <a:lnTo>
                    <a:pt x="331" y="504"/>
                  </a:lnTo>
                  <a:lnTo>
                    <a:pt x="332" y="503"/>
                  </a:lnTo>
                  <a:lnTo>
                    <a:pt x="332" y="502"/>
                  </a:lnTo>
                  <a:lnTo>
                    <a:pt x="334" y="502"/>
                  </a:lnTo>
                  <a:lnTo>
                    <a:pt x="334" y="501"/>
                  </a:lnTo>
                  <a:lnTo>
                    <a:pt x="335" y="501"/>
                  </a:lnTo>
                  <a:lnTo>
                    <a:pt x="335" y="499"/>
                  </a:lnTo>
                  <a:lnTo>
                    <a:pt x="336" y="499"/>
                  </a:lnTo>
                  <a:lnTo>
                    <a:pt x="336" y="497"/>
                  </a:lnTo>
                  <a:lnTo>
                    <a:pt x="337" y="497"/>
                  </a:lnTo>
                  <a:lnTo>
                    <a:pt x="337" y="496"/>
                  </a:lnTo>
                  <a:lnTo>
                    <a:pt x="337" y="497"/>
                  </a:lnTo>
                  <a:lnTo>
                    <a:pt x="337" y="498"/>
                  </a:lnTo>
                  <a:close/>
                  <a:moveTo>
                    <a:pt x="341" y="497"/>
                  </a:moveTo>
                  <a:lnTo>
                    <a:pt x="339" y="497"/>
                  </a:lnTo>
                  <a:lnTo>
                    <a:pt x="339" y="498"/>
                  </a:lnTo>
                  <a:lnTo>
                    <a:pt x="338" y="498"/>
                  </a:lnTo>
                  <a:lnTo>
                    <a:pt x="338" y="497"/>
                  </a:lnTo>
                  <a:lnTo>
                    <a:pt x="339" y="497"/>
                  </a:lnTo>
                  <a:lnTo>
                    <a:pt x="339" y="496"/>
                  </a:lnTo>
                  <a:lnTo>
                    <a:pt x="341" y="496"/>
                  </a:lnTo>
                  <a:lnTo>
                    <a:pt x="341" y="497"/>
                  </a:lnTo>
                  <a:close/>
                  <a:moveTo>
                    <a:pt x="382" y="496"/>
                  </a:moveTo>
                  <a:lnTo>
                    <a:pt x="381" y="496"/>
                  </a:lnTo>
                  <a:lnTo>
                    <a:pt x="382" y="496"/>
                  </a:lnTo>
                  <a:lnTo>
                    <a:pt x="381" y="495"/>
                  </a:lnTo>
                  <a:lnTo>
                    <a:pt x="382" y="495"/>
                  </a:lnTo>
                  <a:lnTo>
                    <a:pt x="384" y="494"/>
                  </a:lnTo>
                  <a:lnTo>
                    <a:pt x="384" y="495"/>
                  </a:lnTo>
                  <a:lnTo>
                    <a:pt x="382" y="495"/>
                  </a:lnTo>
                  <a:lnTo>
                    <a:pt x="382" y="496"/>
                  </a:lnTo>
                  <a:close/>
                  <a:moveTo>
                    <a:pt x="341" y="494"/>
                  </a:moveTo>
                  <a:lnTo>
                    <a:pt x="339" y="495"/>
                  </a:lnTo>
                  <a:lnTo>
                    <a:pt x="338" y="496"/>
                  </a:lnTo>
                  <a:lnTo>
                    <a:pt x="338" y="495"/>
                  </a:lnTo>
                  <a:lnTo>
                    <a:pt x="338" y="494"/>
                  </a:lnTo>
                  <a:lnTo>
                    <a:pt x="339" y="494"/>
                  </a:lnTo>
                  <a:lnTo>
                    <a:pt x="341" y="492"/>
                  </a:lnTo>
                  <a:lnTo>
                    <a:pt x="341" y="494"/>
                  </a:lnTo>
                  <a:close/>
                  <a:moveTo>
                    <a:pt x="342" y="494"/>
                  </a:moveTo>
                  <a:lnTo>
                    <a:pt x="341" y="494"/>
                  </a:lnTo>
                  <a:lnTo>
                    <a:pt x="342" y="492"/>
                  </a:lnTo>
                  <a:lnTo>
                    <a:pt x="343" y="492"/>
                  </a:lnTo>
                  <a:lnTo>
                    <a:pt x="342" y="494"/>
                  </a:lnTo>
                  <a:close/>
                  <a:moveTo>
                    <a:pt x="387" y="492"/>
                  </a:moveTo>
                  <a:lnTo>
                    <a:pt x="387" y="494"/>
                  </a:lnTo>
                  <a:lnTo>
                    <a:pt x="386" y="494"/>
                  </a:lnTo>
                  <a:lnTo>
                    <a:pt x="385" y="494"/>
                  </a:lnTo>
                  <a:lnTo>
                    <a:pt x="385" y="495"/>
                  </a:lnTo>
                  <a:lnTo>
                    <a:pt x="385" y="494"/>
                  </a:lnTo>
                  <a:lnTo>
                    <a:pt x="386" y="494"/>
                  </a:lnTo>
                  <a:lnTo>
                    <a:pt x="385" y="494"/>
                  </a:lnTo>
                  <a:lnTo>
                    <a:pt x="384" y="494"/>
                  </a:lnTo>
                  <a:lnTo>
                    <a:pt x="382" y="494"/>
                  </a:lnTo>
                  <a:lnTo>
                    <a:pt x="381" y="494"/>
                  </a:lnTo>
                  <a:lnTo>
                    <a:pt x="381" y="492"/>
                  </a:lnTo>
                  <a:lnTo>
                    <a:pt x="382" y="492"/>
                  </a:lnTo>
                  <a:lnTo>
                    <a:pt x="384" y="492"/>
                  </a:lnTo>
                  <a:lnTo>
                    <a:pt x="385" y="492"/>
                  </a:lnTo>
                  <a:lnTo>
                    <a:pt x="385" y="491"/>
                  </a:lnTo>
                  <a:lnTo>
                    <a:pt x="386" y="491"/>
                  </a:lnTo>
                  <a:lnTo>
                    <a:pt x="387" y="491"/>
                  </a:lnTo>
                  <a:lnTo>
                    <a:pt x="387" y="492"/>
                  </a:lnTo>
                  <a:close/>
                  <a:moveTo>
                    <a:pt x="387" y="482"/>
                  </a:moveTo>
                  <a:lnTo>
                    <a:pt x="388" y="484"/>
                  </a:lnTo>
                  <a:lnTo>
                    <a:pt x="388" y="485"/>
                  </a:lnTo>
                  <a:lnTo>
                    <a:pt x="389" y="485"/>
                  </a:lnTo>
                  <a:lnTo>
                    <a:pt x="389" y="487"/>
                  </a:lnTo>
                  <a:lnTo>
                    <a:pt x="388" y="488"/>
                  </a:lnTo>
                  <a:lnTo>
                    <a:pt x="387" y="488"/>
                  </a:lnTo>
                  <a:lnTo>
                    <a:pt x="387" y="489"/>
                  </a:lnTo>
                  <a:lnTo>
                    <a:pt x="388" y="488"/>
                  </a:lnTo>
                  <a:lnTo>
                    <a:pt x="388" y="489"/>
                  </a:lnTo>
                  <a:lnTo>
                    <a:pt x="387" y="489"/>
                  </a:lnTo>
                  <a:lnTo>
                    <a:pt x="387" y="490"/>
                  </a:lnTo>
                  <a:lnTo>
                    <a:pt x="386" y="490"/>
                  </a:lnTo>
                  <a:lnTo>
                    <a:pt x="385" y="490"/>
                  </a:lnTo>
                  <a:lnTo>
                    <a:pt x="385" y="491"/>
                  </a:lnTo>
                  <a:lnTo>
                    <a:pt x="384" y="490"/>
                  </a:lnTo>
                  <a:lnTo>
                    <a:pt x="385" y="490"/>
                  </a:lnTo>
                  <a:lnTo>
                    <a:pt x="384" y="489"/>
                  </a:lnTo>
                  <a:lnTo>
                    <a:pt x="385" y="489"/>
                  </a:lnTo>
                  <a:lnTo>
                    <a:pt x="385" y="488"/>
                  </a:lnTo>
                  <a:lnTo>
                    <a:pt x="384" y="488"/>
                  </a:lnTo>
                  <a:lnTo>
                    <a:pt x="385" y="487"/>
                  </a:lnTo>
                  <a:lnTo>
                    <a:pt x="384" y="487"/>
                  </a:lnTo>
                  <a:lnTo>
                    <a:pt x="385" y="487"/>
                  </a:lnTo>
                  <a:lnTo>
                    <a:pt x="385" y="485"/>
                  </a:lnTo>
                  <a:lnTo>
                    <a:pt x="385" y="484"/>
                  </a:lnTo>
                  <a:lnTo>
                    <a:pt x="384" y="485"/>
                  </a:lnTo>
                  <a:lnTo>
                    <a:pt x="384" y="484"/>
                  </a:lnTo>
                  <a:lnTo>
                    <a:pt x="385" y="484"/>
                  </a:lnTo>
                  <a:lnTo>
                    <a:pt x="386" y="483"/>
                  </a:lnTo>
                  <a:lnTo>
                    <a:pt x="386" y="482"/>
                  </a:lnTo>
                  <a:lnTo>
                    <a:pt x="386" y="483"/>
                  </a:lnTo>
                  <a:lnTo>
                    <a:pt x="387" y="482"/>
                  </a:lnTo>
                  <a:close/>
                  <a:moveTo>
                    <a:pt x="335" y="488"/>
                  </a:moveTo>
                  <a:lnTo>
                    <a:pt x="334" y="488"/>
                  </a:lnTo>
                  <a:lnTo>
                    <a:pt x="331" y="489"/>
                  </a:lnTo>
                  <a:lnTo>
                    <a:pt x="331" y="488"/>
                  </a:lnTo>
                  <a:lnTo>
                    <a:pt x="332" y="488"/>
                  </a:lnTo>
                  <a:lnTo>
                    <a:pt x="332" y="487"/>
                  </a:lnTo>
                  <a:lnTo>
                    <a:pt x="332" y="485"/>
                  </a:lnTo>
                  <a:lnTo>
                    <a:pt x="334" y="484"/>
                  </a:lnTo>
                  <a:lnTo>
                    <a:pt x="334" y="483"/>
                  </a:lnTo>
                  <a:lnTo>
                    <a:pt x="335" y="483"/>
                  </a:lnTo>
                  <a:lnTo>
                    <a:pt x="335" y="482"/>
                  </a:lnTo>
                  <a:lnTo>
                    <a:pt x="336" y="482"/>
                  </a:lnTo>
                  <a:lnTo>
                    <a:pt x="336" y="481"/>
                  </a:lnTo>
                  <a:lnTo>
                    <a:pt x="337" y="481"/>
                  </a:lnTo>
                  <a:lnTo>
                    <a:pt x="337" y="480"/>
                  </a:lnTo>
                  <a:lnTo>
                    <a:pt x="338" y="480"/>
                  </a:lnTo>
                  <a:lnTo>
                    <a:pt x="338" y="481"/>
                  </a:lnTo>
                  <a:lnTo>
                    <a:pt x="338" y="482"/>
                  </a:lnTo>
                  <a:lnTo>
                    <a:pt x="337" y="483"/>
                  </a:lnTo>
                  <a:lnTo>
                    <a:pt x="337" y="484"/>
                  </a:lnTo>
                  <a:lnTo>
                    <a:pt x="336" y="484"/>
                  </a:lnTo>
                  <a:lnTo>
                    <a:pt x="336" y="485"/>
                  </a:lnTo>
                  <a:lnTo>
                    <a:pt x="337" y="485"/>
                  </a:lnTo>
                  <a:lnTo>
                    <a:pt x="336" y="485"/>
                  </a:lnTo>
                  <a:lnTo>
                    <a:pt x="336" y="487"/>
                  </a:lnTo>
                  <a:lnTo>
                    <a:pt x="335" y="487"/>
                  </a:lnTo>
                  <a:lnTo>
                    <a:pt x="335" y="488"/>
                  </a:lnTo>
                  <a:close/>
                  <a:moveTo>
                    <a:pt x="378" y="467"/>
                  </a:moveTo>
                  <a:lnTo>
                    <a:pt x="379" y="467"/>
                  </a:lnTo>
                  <a:lnTo>
                    <a:pt x="380" y="467"/>
                  </a:lnTo>
                  <a:lnTo>
                    <a:pt x="379" y="467"/>
                  </a:lnTo>
                  <a:lnTo>
                    <a:pt x="378" y="468"/>
                  </a:lnTo>
                  <a:lnTo>
                    <a:pt x="378" y="467"/>
                  </a:lnTo>
                  <a:lnTo>
                    <a:pt x="377" y="467"/>
                  </a:lnTo>
                  <a:lnTo>
                    <a:pt x="378" y="467"/>
                  </a:lnTo>
                  <a:close/>
                  <a:moveTo>
                    <a:pt x="365" y="463"/>
                  </a:moveTo>
                  <a:lnTo>
                    <a:pt x="364" y="464"/>
                  </a:lnTo>
                  <a:lnTo>
                    <a:pt x="364" y="463"/>
                  </a:lnTo>
                  <a:lnTo>
                    <a:pt x="363" y="463"/>
                  </a:lnTo>
                  <a:lnTo>
                    <a:pt x="362" y="463"/>
                  </a:lnTo>
                  <a:lnTo>
                    <a:pt x="363" y="463"/>
                  </a:lnTo>
                  <a:lnTo>
                    <a:pt x="363" y="462"/>
                  </a:lnTo>
                  <a:lnTo>
                    <a:pt x="364" y="462"/>
                  </a:lnTo>
                  <a:lnTo>
                    <a:pt x="365" y="462"/>
                  </a:lnTo>
                  <a:lnTo>
                    <a:pt x="365" y="463"/>
                  </a:lnTo>
                  <a:close/>
                  <a:moveTo>
                    <a:pt x="366" y="460"/>
                  </a:moveTo>
                  <a:lnTo>
                    <a:pt x="367" y="460"/>
                  </a:lnTo>
                  <a:lnTo>
                    <a:pt x="369" y="460"/>
                  </a:lnTo>
                  <a:lnTo>
                    <a:pt x="369" y="461"/>
                  </a:lnTo>
                  <a:lnTo>
                    <a:pt x="367" y="461"/>
                  </a:lnTo>
                  <a:lnTo>
                    <a:pt x="366" y="461"/>
                  </a:lnTo>
                  <a:lnTo>
                    <a:pt x="366" y="462"/>
                  </a:lnTo>
                  <a:lnTo>
                    <a:pt x="365" y="462"/>
                  </a:lnTo>
                  <a:lnTo>
                    <a:pt x="365" y="461"/>
                  </a:lnTo>
                  <a:lnTo>
                    <a:pt x="366" y="460"/>
                  </a:lnTo>
                  <a:close/>
                  <a:moveTo>
                    <a:pt x="288" y="417"/>
                  </a:moveTo>
                  <a:lnTo>
                    <a:pt x="288" y="418"/>
                  </a:lnTo>
                  <a:lnTo>
                    <a:pt x="287" y="418"/>
                  </a:lnTo>
                  <a:lnTo>
                    <a:pt x="288" y="418"/>
                  </a:lnTo>
                  <a:lnTo>
                    <a:pt x="287" y="419"/>
                  </a:lnTo>
                  <a:lnTo>
                    <a:pt x="288" y="419"/>
                  </a:lnTo>
                  <a:lnTo>
                    <a:pt x="289" y="419"/>
                  </a:lnTo>
                  <a:lnTo>
                    <a:pt x="289" y="420"/>
                  </a:lnTo>
                  <a:lnTo>
                    <a:pt x="288" y="420"/>
                  </a:lnTo>
                  <a:lnTo>
                    <a:pt x="289" y="420"/>
                  </a:lnTo>
                  <a:lnTo>
                    <a:pt x="291" y="420"/>
                  </a:lnTo>
                  <a:lnTo>
                    <a:pt x="291" y="419"/>
                  </a:lnTo>
                  <a:lnTo>
                    <a:pt x="292" y="419"/>
                  </a:lnTo>
                  <a:lnTo>
                    <a:pt x="293" y="419"/>
                  </a:lnTo>
                  <a:lnTo>
                    <a:pt x="293" y="420"/>
                  </a:lnTo>
                  <a:lnTo>
                    <a:pt x="293" y="421"/>
                  </a:lnTo>
                  <a:lnTo>
                    <a:pt x="292" y="421"/>
                  </a:lnTo>
                  <a:lnTo>
                    <a:pt x="292" y="422"/>
                  </a:lnTo>
                  <a:lnTo>
                    <a:pt x="291" y="422"/>
                  </a:lnTo>
                  <a:lnTo>
                    <a:pt x="291" y="421"/>
                  </a:lnTo>
                  <a:lnTo>
                    <a:pt x="289" y="421"/>
                  </a:lnTo>
                  <a:lnTo>
                    <a:pt x="288" y="421"/>
                  </a:lnTo>
                  <a:lnTo>
                    <a:pt x="286" y="421"/>
                  </a:lnTo>
                  <a:lnTo>
                    <a:pt x="286" y="422"/>
                  </a:lnTo>
                  <a:lnTo>
                    <a:pt x="285" y="422"/>
                  </a:lnTo>
                  <a:lnTo>
                    <a:pt x="285" y="424"/>
                  </a:lnTo>
                  <a:lnTo>
                    <a:pt x="284" y="424"/>
                  </a:lnTo>
                  <a:lnTo>
                    <a:pt x="282" y="425"/>
                  </a:lnTo>
                  <a:lnTo>
                    <a:pt x="281" y="424"/>
                  </a:lnTo>
                  <a:lnTo>
                    <a:pt x="280" y="424"/>
                  </a:lnTo>
                  <a:lnTo>
                    <a:pt x="279" y="424"/>
                  </a:lnTo>
                  <a:lnTo>
                    <a:pt x="278" y="424"/>
                  </a:lnTo>
                  <a:lnTo>
                    <a:pt x="277" y="424"/>
                  </a:lnTo>
                  <a:lnTo>
                    <a:pt x="275" y="424"/>
                  </a:lnTo>
                  <a:lnTo>
                    <a:pt x="274" y="424"/>
                  </a:lnTo>
                  <a:lnTo>
                    <a:pt x="273" y="425"/>
                  </a:lnTo>
                  <a:lnTo>
                    <a:pt x="273" y="424"/>
                  </a:lnTo>
                  <a:lnTo>
                    <a:pt x="273" y="422"/>
                  </a:lnTo>
                  <a:lnTo>
                    <a:pt x="272" y="422"/>
                  </a:lnTo>
                  <a:lnTo>
                    <a:pt x="272" y="421"/>
                  </a:lnTo>
                  <a:lnTo>
                    <a:pt x="272" y="420"/>
                  </a:lnTo>
                  <a:lnTo>
                    <a:pt x="273" y="420"/>
                  </a:lnTo>
                  <a:lnTo>
                    <a:pt x="273" y="419"/>
                  </a:lnTo>
                  <a:lnTo>
                    <a:pt x="274" y="419"/>
                  </a:lnTo>
                  <a:lnTo>
                    <a:pt x="275" y="419"/>
                  </a:lnTo>
                  <a:lnTo>
                    <a:pt x="277" y="419"/>
                  </a:lnTo>
                  <a:lnTo>
                    <a:pt x="280" y="418"/>
                  </a:lnTo>
                  <a:lnTo>
                    <a:pt x="281" y="418"/>
                  </a:lnTo>
                  <a:lnTo>
                    <a:pt x="284" y="418"/>
                  </a:lnTo>
                  <a:lnTo>
                    <a:pt x="284" y="417"/>
                  </a:lnTo>
                  <a:lnTo>
                    <a:pt x="285" y="417"/>
                  </a:lnTo>
                  <a:lnTo>
                    <a:pt x="286" y="418"/>
                  </a:lnTo>
                  <a:lnTo>
                    <a:pt x="286" y="417"/>
                  </a:lnTo>
                  <a:lnTo>
                    <a:pt x="287" y="417"/>
                  </a:lnTo>
                  <a:lnTo>
                    <a:pt x="288" y="417"/>
                  </a:lnTo>
                  <a:close/>
                  <a:moveTo>
                    <a:pt x="277" y="411"/>
                  </a:moveTo>
                  <a:lnTo>
                    <a:pt x="275" y="411"/>
                  </a:lnTo>
                  <a:lnTo>
                    <a:pt x="275" y="410"/>
                  </a:lnTo>
                  <a:lnTo>
                    <a:pt x="277" y="410"/>
                  </a:lnTo>
                  <a:lnTo>
                    <a:pt x="277" y="411"/>
                  </a:lnTo>
                  <a:close/>
                  <a:moveTo>
                    <a:pt x="273" y="408"/>
                  </a:moveTo>
                  <a:lnTo>
                    <a:pt x="273" y="407"/>
                  </a:lnTo>
                  <a:lnTo>
                    <a:pt x="273" y="406"/>
                  </a:lnTo>
                  <a:lnTo>
                    <a:pt x="273" y="407"/>
                  </a:lnTo>
                  <a:lnTo>
                    <a:pt x="273" y="408"/>
                  </a:lnTo>
                  <a:close/>
                  <a:moveTo>
                    <a:pt x="293" y="400"/>
                  </a:moveTo>
                  <a:lnTo>
                    <a:pt x="293" y="399"/>
                  </a:lnTo>
                  <a:lnTo>
                    <a:pt x="293" y="400"/>
                  </a:lnTo>
                  <a:close/>
                  <a:moveTo>
                    <a:pt x="260" y="389"/>
                  </a:moveTo>
                  <a:lnTo>
                    <a:pt x="260" y="387"/>
                  </a:lnTo>
                  <a:lnTo>
                    <a:pt x="261" y="387"/>
                  </a:lnTo>
                  <a:lnTo>
                    <a:pt x="260" y="387"/>
                  </a:lnTo>
                  <a:lnTo>
                    <a:pt x="260" y="389"/>
                  </a:lnTo>
                  <a:close/>
                  <a:moveTo>
                    <a:pt x="258" y="365"/>
                  </a:moveTo>
                  <a:lnTo>
                    <a:pt x="257" y="365"/>
                  </a:lnTo>
                  <a:lnTo>
                    <a:pt x="258" y="364"/>
                  </a:lnTo>
                  <a:lnTo>
                    <a:pt x="259" y="364"/>
                  </a:lnTo>
                  <a:lnTo>
                    <a:pt x="258" y="364"/>
                  </a:lnTo>
                  <a:lnTo>
                    <a:pt x="258" y="365"/>
                  </a:lnTo>
                  <a:close/>
                  <a:moveTo>
                    <a:pt x="21" y="363"/>
                  </a:moveTo>
                  <a:lnTo>
                    <a:pt x="21" y="364"/>
                  </a:lnTo>
                  <a:lnTo>
                    <a:pt x="21" y="363"/>
                  </a:lnTo>
                  <a:close/>
                  <a:moveTo>
                    <a:pt x="19" y="361"/>
                  </a:moveTo>
                  <a:lnTo>
                    <a:pt x="18" y="361"/>
                  </a:lnTo>
                  <a:lnTo>
                    <a:pt x="19" y="361"/>
                  </a:lnTo>
                  <a:lnTo>
                    <a:pt x="19" y="359"/>
                  </a:lnTo>
                  <a:lnTo>
                    <a:pt x="19" y="361"/>
                  </a:lnTo>
                  <a:close/>
                  <a:moveTo>
                    <a:pt x="602" y="352"/>
                  </a:moveTo>
                  <a:lnTo>
                    <a:pt x="602" y="354"/>
                  </a:lnTo>
                  <a:lnTo>
                    <a:pt x="601" y="354"/>
                  </a:lnTo>
                  <a:lnTo>
                    <a:pt x="602" y="354"/>
                  </a:lnTo>
                  <a:lnTo>
                    <a:pt x="602" y="352"/>
                  </a:lnTo>
                  <a:close/>
                  <a:moveTo>
                    <a:pt x="12" y="305"/>
                  </a:moveTo>
                  <a:lnTo>
                    <a:pt x="12" y="303"/>
                  </a:lnTo>
                  <a:lnTo>
                    <a:pt x="14" y="303"/>
                  </a:lnTo>
                  <a:lnTo>
                    <a:pt x="12" y="303"/>
                  </a:lnTo>
                  <a:lnTo>
                    <a:pt x="12" y="305"/>
                  </a:lnTo>
                  <a:close/>
                  <a:moveTo>
                    <a:pt x="554" y="287"/>
                  </a:moveTo>
                  <a:lnTo>
                    <a:pt x="555" y="287"/>
                  </a:lnTo>
                  <a:lnTo>
                    <a:pt x="554" y="288"/>
                  </a:lnTo>
                  <a:lnTo>
                    <a:pt x="554" y="289"/>
                  </a:lnTo>
                  <a:lnTo>
                    <a:pt x="551" y="292"/>
                  </a:lnTo>
                  <a:lnTo>
                    <a:pt x="551" y="293"/>
                  </a:lnTo>
                  <a:lnTo>
                    <a:pt x="551" y="292"/>
                  </a:lnTo>
                  <a:lnTo>
                    <a:pt x="551" y="291"/>
                  </a:lnTo>
                  <a:lnTo>
                    <a:pt x="551" y="289"/>
                  </a:lnTo>
                  <a:lnTo>
                    <a:pt x="552" y="289"/>
                  </a:lnTo>
                  <a:lnTo>
                    <a:pt x="552" y="288"/>
                  </a:lnTo>
                  <a:lnTo>
                    <a:pt x="552" y="287"/>
                  </a:lnTo>
                  <a:lnTo>
                    <a:pt x="554" y="287"/>
                  </a:lnTo>
                  <a:close/>
                  <a:moveTo>
                    <a:pt x="554" y="287"/>
                  </a:moveTo>
                  <a:lnTo>
                    <a:pt x="552" y="286"/>
                  </a:lnTo>
                  <a:lnTo>
                    <a:pt x="554" y="286"/>
                  </a:lnTo>
                  <a:lnTo>
                    <a:pt x="554" y="285"/>
                  </a:lnTo>
                  <a:lnTo>
                    <a:pt x="554" y="284"/>
                  </a:lnTo>
                  <a:lnTo>
                    <a:pt x="554" y="282"/>
                  </a:lnTo>
                  <a:lnTo>
                    <a:pt x="554" y="281"/>
                  </a:lnTo>
                  <a:lnTo>
                    <a:pt x="555" y="281"/>
                  </a:lnTo>
                  <a:lnTo>
                    <a:pt x="556" y="281"/>
                  </a:lnTo>
                  <a:lnTo>
                    <a:pt x="555" y="282"/>
                  </a:lnTo>
                  <a:lnTo>
                    <a:pt x="554" y="284"/>
                  </a:lnTo>
                  <a:lnTo>
                    <a:pt x="554" y="285"/>
                  </a:lnTo>
                  <a:lnTo>
                    <a:pt x="554" y="286"/>
                  </a:lnTo>
                  <a:lnTo>
                    <a:pt x="554" y="287"/>
                  </a:lnTo>
                  <a:close/>
                  <a:moveTo>
                    <a:pt x="15" y="257"/>
                  </a:moveTo>
                  <a:lnTo>
                    <a:pt x="15" y="258"/>
                  </a:lnTo>
                  <a:lnTo>
                    <a:pt x="15" y="259"/>
                  </a:lnTo>
                  <a:lnTo>
                    <a:pt x="15" y="260"/>
                  </a:lnTo>
                  <a:lnTo>
                    <a:pt x="15" y="261"/>
                  </a:lnTo>
                  <a:lnTo>
                    <a:pt x="15" y="263"/>
                  </a:lnTo>
                  <a:lnTo>
                    <a:pt x="15" y="264"/>
                  </a:lnTo>
                  <a:lnTo>
                    <a:pt x="15" y="265"/>
                  </a:lnTo>
                  <a:lnTo>
                    <a:pt x="15" y="264"/>
                  </a:lnTo>
                  <a:lnTo>
                    <a:pt x="15" y="265"/>
                  </a:lnTo>
                  <a:lnTo>
                    <a:pt x="16" y="265"/>
                  </a:lnTo>
                  <a:lnTo>
                    <a:pt x="16" y="266"/>
                  </a:lnTo>
                  <a:lnTo>
                    <a:pt x="16" y="267"/>
                  </a:lnTo>
                  <a:lnTo>
                    <a:pt x="15" y="267"/>
                  </a:lnTo>
                  <a:lnTo>
                    <a:pt x="15" y="266"/>
                  </a:lnTo>
                  <a:lnTo>
                    <a:pt x="15" y="265"/>
                  </a:lnTo>
                  <a:lnTo>
                    <a:pt x="14" y="264"/>
                  </a:lnTo>
                  <a:lnTo>
                    <a:pt x="14" y="263"/>
                  </a:lnTo>
                  <a:lnTo>
                    <a:pt x="14" y="261"/>
                  </a:lnTo>
                  <a:lnTo>
                    <a:pt x="14" y="260"/>
                  </a:lnTo>
                  <a:lnTo>
                    <a:pt x="14" y="259"/>
                  </a:lnTo>
                  <a:lnTo>
                    <a:pt x="14" y="258"/>
                  </a:lnTo>
                  <a:lnTo>
                    <a:pt x="14" y="257"/>
                  </a:lnTo>
                  <a:lnTo>
                    <a:pt x="15" y="257"/>
                  </a:lnTo>
                  <a:close/>
                  <a:moveTo>
                    <a:pt x="558" y="255"/>
                  </a:moveTo>
                  <a:lnTo>
                    <a:pt x="557" y="255"/>
                  </a:lnTo>
                  <a:lnTo>
                    <a:pt x="557" y="253"/>
                  </a:lnTo>
                  <a:lnTo>
                    <a:pt x="558" y="255"/>
                  </a:lnTo>
                  <a:close/>
                  <a:moveTo>
                    <a:pt x="17" y="253"/>
                  </a:moveTo>
                  <a:lnTo>
                    <a:pt x="16" y="253"/>
                  </a:lnTo>
                  <a:lnTo>
                    <a:pt x="17" y="252"/>
                  </a:lnTo>
                  <a:lnTo>
                    <a:pt x="17" y="251"/>
                  </a:lnTo>
                  <a:lnTo>
                    <a:pt x="17" y="250"/>
                  </a:lnTo>
                  <a:lnTo>
                    <a:pt x="18" y="250"/>
                  </a:lnTo>
                  <a:lnTo>
                    <a:pt x="18" y="251"/>
                  </a:lnTo>
                  <a:lnTo>
                    <a:pt x="17" y="251"/>
                  </a:lnTo>
                  <a:lnTo>
                    <a:pt x="17" y="252"/>
                  </a:lnTo>
                  <a:lnTo>
                    <a:pt x="17" y="253"/>
                  </a:lnTo>
                  <a:close/>
                  <a:moveTo>
                    <a:pt x="18" y="249"/>
                  </a:moveTo>
                  <a:lnTo>
                    <a:pt x="19" y="246"/>
                  </a:lnTo>
                  <a:lnTo>
                    <a:pt x="19" y="245"/>
                  </a:lnTo>
                  <a:lnTo>
                    <a:pt x="19" y="246"/>
                  </a:lnTo>
                  <a:lnTo>
                    <a:pt x="18" y="248"/>
                  </a:lnTo>
                  <a:lnTo>
                    <a:pt x="19" y="249"/>
                  </a:lnTo>
                  <a:lnTo>
                    <a:pt x="18" y="249"/>
                  </a:lnTo>
                  <a:close/>
                  <a:moveTo>
                    <a:pt x="564" y="245"/>
                  </a:moveTo>
                  <a:lnTo>
                    <a:pt x="564" y="248"/>
                  </a:lnTo>
                  <a:lnTo>
                    <a:pt x="564" y="249"/>
                  </a:lnTo>
                  <a:lnTo>
                    <a:pt x="564" y="250"/>
                  </a:lnTo>
                  <a:lnTo>
                    <a:pt x="564" y="251"/>
                  </a:lnTo>
                  <a:lnTo>
                    <a:pt x="562" y="253"/>
                  </a:lnTo>
                  <a:lnTo>
                    <a:pt x="559" y="257"/>
                  </a:lnTo>
                  <a:lnTo>
                    <a:pt x="557" y="260"/>
                  </a:lnTo>
                  <a:lnTo>
                    <a:pt x="557" y="261"/>
                  </a:lnTo>
                  <a:lnTo>
                    <a:pt x="556" y="261"/>
                  </a:lnTo>
                  <a:lnTo>
                    <a:pt x="556" y="260"/>
                  </a:lnTo>
                  <a:lnTo>
                    <a:pt x="556" y="259"/>
                  </a:lnTo>
                  <a:lnTo>
                    <a:pt x="556" y="258"/>
                  </a:lnTo>
                  <a:lnTo>
                    <a:pt x="557" y="258"/>
                  </a:lnTo>
                  <a:lnTo>
                    <a:pt x="557" y="257"/>
                  </a:lnTo>
                  <a:lnTo>
                    <a:pt x="557" y="256"/>
                  </a:lnTo>
                  <a:lnTo>
                    <a:pt x="558" y="256"/>
                  </a:lnTo>
                  <a:lnTo>
                    <a:pt x="558" y="255"/>
                  </a:lnTo>
                  <a:lnTo>
                    <a:pt x="559" y="253"/>
                  </a:lnTo>
                  <a:lnTo>
                    <a:pt x="558" y="253"/>
                  </a:lnTo>
                  <a:lnTo>
                    <a:pt x="558" y="252"/>
                  </a:lnTo>
                  <a:lnTo>
                    <a:pt x="559" y="252"/>
                  </a:lnTo>
                  <a:lnTo>
                    <a:pt x="561" y="251"/>
                  </a:lnTo>
                  <a:lnTo>
                    <a:pt x="562" y="251"/>
                  </a:lnTo>
                  <a:lnTo>
                    <a:pt x="562" y="250"/>
                  </a:lnTo>
                  <a:lnTo>
                    <a:pt x="563" y="250"/>
                  </a:lnTo>
                  <a:lnTo>
                    <a:pt x="563" y="249"/>
                  </a:lnTo>
                  <a:lnTo>
                    <a:pt x="563" y="248"/>
                  </a:lnTo>
                  <a:lnTo>
                    <a:pt x="563" y="246"/>
                  </a:lnTo>
                  <a:lnTo>
                    <a:pt x="562" y="246"/>
                  </a:lnTo>
                  <a:lnTo>
                    <a:pt x="563" y="245"/>
                  </a:lnTo>
                  <a:lnTo>
                    <a:pt x="564" y="245"/>
                  </a:lnTo>
                  <a:lnTo>
                    <a:pt x="564" y="244"/>
                  </a:lnTo>
                  <a:lnTo>
                    <a:pt x="564" y="245"/>
                  </a:lnTo>
                  <a:close/>
                  <a:moveTo>
                    <a:pt x="542" y="231"/>
                  </a:moveTo>
                  <a:lnTo>
                    <a:pt x="542" y="230"/>
                  </a:lnTo>
                  <a:lnTo>
                    <a:pt x="542" y="231"/>
                  </a:lnTo>
                  <a:close/>
                  <a:moveTo>
                    <a:pt x="540" y="225"/>
                  </a:moveTo>
                  <a:lnTo>
                    <a:pt x="540" y="224"/>
                  </a:lnTo>
                  <a:lnTo>
                    <a:pt x="540" y="225"/>
                  </a:lnTo>
                  <a:lnTo>
                    <a:pt x="541" y="225"/>
                  </a:lnTo>
                  <a:lnTo>
                    <a:pt x="541" y="227"/>
                  </a:lnTo>
                  <a:lnTo>
                    <a:pt x="541" y="225"/>
                  </a:lnTo>
                  <a:lnTo>
                    <a:pt x="542" y="225"/>
                  </a:lnTo>
                  <a:lnTo>
                    <a:pt x="541" y="227"/>
                  </a:lnTo>
                  <a:lnTo>
                    <a:pt x="541" y="228"/>
                  </a:lnTo>
                  <a:lnTo>
                    <a:pt x="542" y="228"/>
                  </a:lnTo>
                  <a:lnTo>
                    <a:pt x="542" y="229"/>
                  </a:lnTo>
                  <a:lnTo>
                    <a:pt x="542" y="230"/>
                  </a:lnTo>
                  <a:lnTo>
                    <a:pt x="541" y="230"/>
                  </a:lnTo>
                  <a:lnTo>
                    <a:pt x="540" y="230"/>
                  </a:lnTo>
                  <a:lnTo>
                    <a:pt x="540" y="229"/>
                  </a:lnTo>
                  <a:lnTo>
                    <a:pt x="540" y="228"/>
                  </a:lnTo>
                  <a:lnTo>
                    <a:pt x="538" y="228"/>
                  </a:lnTo>
                  <a:lnTo>
                    <a:pt x="538" y="227"/>
                  </a:lnTo>
                  <a:lnTo>
                    <a:pt x="538" y="225"/>
                  </a:lnTo>
                  <a:lnTo>
                    <a:pt x="538" y="224"/>
                  </a:lnTo>
                  <a:lnTo>
                    <a:pt x="540" y="225"/>
                  </a:lnTo>
                  <a:close/>
                  <a:moveTo>
                    <a:pt x="526" y="209"/>
                  </a:moveTo>
                  <a:lnTo>
                    <a:pt x="524" y="209"/>
                  </a:lnTo>
                  <a:lnTo>
                    <a:pt x="526" y="208"/>
                  </a:lnTo>
                  <a:lnTo>
                    <a:pt x="526" y="207"/>
                  </a:lnTo>
                  <a:lnTo>
                    <a:pt x="526" y="208"/>
                  </a:lnTo>
                  <a:lnTo>
                    <a:pt x="526" y="209"/>
                  </a:lnTo>
                  <a:close/>
                  <a:moveTo>
                    <a:pt x="537" y="207"/>
                  </a:moveTo>
                  <a:lnTo>
                    <a:pt x="536" y="207"/>
                  </a:lnTo>
                  <a:lnTo>
                    <a:pt x="536" y="208"/>
                  </a:lnTo>
                  <a:lnTo>
                    <a:pt x="536" y="207"/>
                  </a:lnTo>
                  <a:lnTo>
                    <a:pt x="536" y="206"/>
                  </a:lnTo>
                  <a:lnTo>
                    <a:pt x="537" y="206"/>
                  </a:lnTo>
                  <a:lnTo>
                    <a:pt x="537" y="207"/>
                  </a:lnTo>
                  <a:close/>
                  <a:moveTo>
                    <a:pt x="528" y="206"/>
                  </a:moveTo>
                  <a:lnTo>
                    <a:pt x="528" y="204"/>
                  </a:lnTo>
                  <a:lnTo>
                    <a:pt x="528" y="203"/>
                  </a:lnTo>
                  <a:lnTo>
                    <a:pt x="529" y="203"/>
                  </a:lnTo>
                  <a:lnTo>
                    <a:pt x="529" y="202"/>
                  </a:lnTo>
                  <a:lnTo>
                    <a:pt x="529" y="203"/>
                  </a:lnTo>
                  <a:lnTo>
                    <a:pt x="529" y="204"/>
                  </a:lnTo>
                  <a:lnTo>
                    <a:pt x="528" y="206"/>
                  </a:lnTo>
                  <a:close/>
                  <a:moveTo>
                    <a:pt x="536" y="197"/>
                  </a:moveTo>
                  <a:lnTo>
                    <a:pt x="536" y="199"/>
                  </a:lnTo>
                  <a:lnTo>
                    <a:pt x="536" y="197"/>
                  </a:lnTo>
                  <a:close/>
                  <a:moveTo>
                    <a:pt x="536" y="196"/>
                  </a:moveTo>
                  <a:lnTo>
                    <a:pt x="536" y="197"/>
                  </a:lnTo>
                  <a:lnTo>
                    <a:pt x="535" y="196"/>
                  </a:lnTo>
                  <a:lnTo>
                    <a:pt x="536" y="196"/>
                  </a:lnTo>
                  <a:close/>
                  <a:moveTo>
                    <a:pt x="61" y="183"/>
                  </a:moveTo>
                  <a:lnTo>
                    <a:pt x="61" y="185"/>
                  </a:lnTo>
                  <a:lnTo>
                    <a:pt x="61" y="183"/>
                  </a:lnTo>
                  <a:lnTo>
                    <a:pt x="60" y="183"/>
                  </a:lnTo>
                  <a:lnTo>
                    <a:pt x="60" y="185"/>
                  </a:lnTo>
                  <a:lnTo>
                    <a:pt x="60" y="183"/>
                  </a:lnTo>
                  <a:lnTo>
                    <a:pt x="61" y="182"/>
                  </a:lnTo>
                  <a:lnTo>
                    <a:pt x="62" y="181"/>
                  </a:lnTo>
                  <a:lnTo>
                    <a:pt x="62" y="182"/>
                  </a:lnTo>
                  <a:lnTo>
                    <a:pt x="62" y="183"/>
                  </a:lnTo>
                  <a:lnTo>
                    <a:pt x="61" y="183"/>
                  </a:lnTo>
                  <a:close/>
                  <a:moveTo>
                    <a:pt x="523" y="178"/>
                  </a:moveTo>
                  <a:lnTo>
                    <a:pt x="523" y="179"/>
                  </a:lnTo>
                  <a:lnTo>
                    <a:pt x="523" y="178"/>
                  </a:lnTo>
                  <a:lnTo>
                    <a:pt x="524" y="176"/>
                  </a:lnTo>
                  <a:lnTo>
                    <a:pt x="524" y="178"/>
                  </a:lnTo>
                  <a:lnTo>
                    <a:pt x="523" y="178"/>
                  </a:lnTo>
                  <a:close/>
                  <a:moveTo>
                    <a:pt x="523" y="174"/>
                  </a:moveTo>
                  <a:lnTo>
                    <a:pt x="524" y="175"/>
                  </a:lnTo>
                  <a:lnTo>
                    <a:pt x="523" y="175"/>
                  </a:lnTo>
                  <a:lnTo>
                    <a:pt x="522" y="175"/>
                  </a:lnTo>
                  <a:lnTo>
                    <a:pt x="523" y="175"/>
                  </a:lnTo>
                  <a:lnTo>
                    <a:pt x="522" y="175"/>
                  </a:lnTo>
                  <a:lnTo>
                    <a:pt x="522" y="174"/>
                  </a:lnTo>
                  <a:lnTo>
                    <a:pt x="523" y="174"/>
                  </a:lnTo>
                  <a:lnTo>
                    <a:pt x="522" y="174"/>
                  </a:lnTo>
                  <a:lnTo>
                    <a:pt x="523" y="174"/>
                  </a:lnTo>
                  <a:lnTo>
                    <a:pt x="523" y="173"/>
                  </a:lnTo>
                  <a:lnTo>
                    <a:pt x="523" y="174"/>
                  </a:lnTo>
                  <a:close/>
                  <a:moveTo>
                    <a:pt x="523" y="171"/>
                  </a:moveTo>
                  <a:lnTo>
                    <a:pt x="523" y="172"/>
                  </a:lnTo>
                  <a:lnTo>
                    <a:pt x="523" y="173"/>
                  </a:lnTo>
                  <a:lnTo>
                    <a:pt x="522" y="173"/>
                  </a:lnTo>
                  <a:lnTo>
                    <a:pt x="522" y="172"/>
                  </a:lnTo>
                  <a:lnTo>
                    <a:pt x="523" y="172"/>
                  </a:lnTo>
                  <a:lnTo>
                    <a:pt x="522" y="172"/>
                  </a:lnTo>
                  <a:lnTo>
                    <a:pt x="523" y="172"/>
                  </a:lnTo>
                  <a:lnTo>
                    <a:pt x="523" y="171"/>
                  </a:lnTo>
                  <a:close/>
                  <a:moveTo>
                    <a:pt x="517" y="171"/>
                  </a:moveTo>
                  <a:lnTo>
                    <a:pt x="516" y="171"/>
                  </a:lnTo>
                  <a:lnTo>
                    <a:pt x="516" y="169"/>
                  </a:lnTo>
                  <a:lnTo>
                    <a:pt x="517" y="169"/>
                  </a:lnTo>
                  <a:lnTo>
                    <a:pt x="517" y="171"/>
                  </a:lnTo>
                  <a:close/>
                  <a:moveTo>
                    <a:pt x="499" y="157"/>
                  </a:moveTo>
                  <a:lnTo>
                    <a:pt x="498" y="157"/>
                  </a:lnTo>
                  <a:lnTo>
                    <a:pt x="498" y="158"/>
                  </a:lnTo>
                  <a:lnTo>
                    <a:pt x="497" y="157"/>
                  </a:lnTo>
                  <a:lnTo>
                    <a:pt x="498" y="157"/>
                  </a:lnTo>
                  <a:lnTo>
                    <a:pt x="499" y="157"/>
                  </a:lnTo>
                  <a:close/>
                  <a:moveTo>
                    <a:pt x="497" y="151"/>
                  </a:moveTo>
                  <a:lnTo>
                    <a:pt x="495" y="151"/>
                  </a:lnTo>
                  <a:lnTo>
                    <a:pt x="495" y="150"/>
                  </a:lnTo>
                  <a:lnTo>
                    <a:pt x="497" y="150"/>
                  </a:lnTo>
                  <a:lnTo>
                    <a:pt x="497" y="151"/>
                  </a:lnTo>
                  <a:close/>
                  <a:moveTo>
                    <a:pt x="493" y="143"/>
                  </a:moveTo>
                  <a:lnTo>
                    <a:pt x="493" y="144"/>
                  </a:lnTo>
                  <a:lnTo>
                    <a:pt x="493" y="145"/>
                  </a:lnTo>
                  <a:lnTo>
                    <a:pt x="493" y="146"/>
                  </a:lnTo>
                  <a:lnTo>
                    <a:pt x="492" y="146"/>
                  </a:lnTo>
                  <a:lnTo>
                    <a:pt x="492" y="145"/>
                  </a:lnTo>
                  <a:lnTo>
                    <a:pt x="492" y="144"/>
                  </a:lnTo>
                  <a:lnTo>
                    <a:pt x="491" y="144"/>
                  </a:lnTo>
                  <a:lnTo>
                    <a:pt x="491" y="143"/>
                  </a:lnTo>
                  <a:lnTo>
                    <a:pt x="492" y="143"/>
                  </a:lnTo>
                  <a:lnTo>
                    <a:pt x="493" y="141"/>
                  </a:lnTo>
                  <a:lnTo>
                    <a:pt x="493" y="143"/>
                  </a:lnTo>
                  <a:close/>
                  <a:moveTo>
                    <a:pt x="405" y="124"/>
                  </a:moveTo>
                  <a:lnTo>
                    <a:pt x="403" y="124"/>
                  </a:lnTo>
                  <a:lnTo>
                    <a:pt x="403" y="125"/>
                  </a:lnTo>
                  <a:lnTo>
                    <a:pt x="403" y="124"/>
                  </a:lnTo>
                  <a:lnTo>
                    <a:pt x="402" y="124"/>
                  </a:lnTo>
                  <a:lnTo>
                    <a:pt x="402" y="125"/>
                  </a:lnTo>
                  <a:lnTo>
                    <a:pt x="402" y="124"/>
                  </a:lnTo>
                  <a:lnTo>
                    <a:pt x="403" y="124"/>
                  </a:lnTo>
                  <a:lnTo>
                    <a:pt x="403" y="123"/>
                  </a:lnTo>
                  <a:lnTo>
                    <a:pt x="405" y="123"/>
                  </a:lnTo>
                  <a:lnTo>
                    <a:pt x="405" y="124"/>
                  </a:lnTo>
                  <a:close/>
                  <a:moveTo>
                    <a:pt x="399" y="120"/>
                  </a:moveTo>
                  <a:lnTo>
                    <a:pt x="399" y="119"/>
                  </a:lnTo>
                  <a:lnTo>
                    <a:pt x="400" y="119"/>
                  </a:lnTo>
                  <a:lnTo>
                    <a:pt x="400" y="120"/>
                  </a:lnTo>
                  <a:lnTo>
                    <a:pt x="399" y="120"/>
                  </a:lnTo>
                  <a:close/>
                  <a:moveTo>
                    <a:pt x="408" y="115"/>
                  </a:moveTo>
                  <a:lnTo>
                    <a:pt x="408" y="113"/>
                  </a:lnTo>
                  <a:lnTo>
                    <a:pt x="408" y="115"/>
                  </a:lnTo>
                  <a:lnTo>
                    <a:pt x="408" y="116"/>
                  </a:lnTo>
                  <a:lnTo>
                    <a:pt x="408" y="115"/>
                  </a:lnTo>
                  <a:lnTo>
                    <a:pt x="407" y="115"/>
                  </a:lnTo>
                  <a:lnTo>
                    <a:pt x="407" y="116"/>
                  </a:lnTo>
                  <a:lnTo>
                    <a:pt x="406" y="115"/>
                  </a:lnTo>
                  <a:lnTo>
                    <a:pt x="405" y="115"/>
                  </a:lnTo>
                  <a:lnTo>
                    <a:pt x="405" y="116"/>
                  </a:lnTo>
                  <a:lnTo>
                    <a:pt x="406" y="116"/>
                  </a:lnTo>
                  <a:lnTo>
                    <a:pt x="405" y="116"/>
                  </a:lnTo>
                  <a:lnTo>
                    <a:pt x="405" y="117"/>
                  </a:lnTo>
                  <a:lnTo>
                    <a:pt x="403" y="117"/>
                  </a:lnTo>
                  <a:lnTo>
                    <a:pt x="403" y="118"/>
                  </a:lnTo>
                  <a:lnTo>
                    <a:pt x="403" y="117"/>
                  </a:lnTo>
                  <a:lnTo>
                    <a:pt x="403" y="118"/>
                  </a:lnTo>
                  <a:lnTo>
                    <a:pt x="402" y="118"/>
                  </a:lnTo>
                  <a:lnTo>
                    <a:pt x="401" y="118"/>
                  </a:lnTo>
                  <a:lnTo>
                    <a:pt x="400" y="118"/>
                  </a:lnTo>
                  <a:lnTo>
                    <a:pt x="400" y="117"/>
                  </a:lnTo>
                  <a:lnTo>
                    <a:pt x="400" y="118"/>
                  </a:lnTo>
                  <a:lnTo>
                    <a:pt x="400" y="119"/>
                  </a:lnTo>
                  <a:lnTo>
                    <a:pt x="400" y="118"/>
                  </a:lnTo>
                  <a:lnTo>
                    <a:pt x="400" y="117"/>
                  </a:lnTo>
                  <a:lnTo>
                    <a:pt x="401" y="116"/>
                  </a:lnTo>
                  <a:lnTo>
                    <a:pt x="401" y="115"/>
                  </a:lnTo>
                  <a:lnTo>
                    <a:pt x="402" y="115"/>
                  </a:lnTo>
                  <a:lnTo>
                    <a:pt x="403" y="115"/>
                  </a:lnTo>
                  <a:lnTo>
                    <a:pt x="406" y="113"/>
                  </a:lnTo>
                  <a:lnTo>
                    <a:pt x="407" y="113"/>
                  </a:lnTo>
                  <a:lnTo>
                    <a:pt x="408" y="113"/>
                  </a:lnTo>
                  <a:lnTo>
                    <a:pt x="408" y="115"/>
                  </a:lnTo>
                  <a:close/>
                  <a:moveTo>
                    <a:pt x="369" y="103"/>
                  </a:moveTo>
                  <a:lnTo>
                    <a:pt x="367" y="103"/>
                  </a:lnTo>
                  <a:lnTo>
                    <a:pt x="367" y="102"/>
                  </a:lnTo>
                  <a:lnTo>
                    <a:pt x="369" y="102"/>
                  </a:lnTo>
                  <a:lnTo>
                    <a:pt x="369" y="103"/>
                  </a:lnTo>
                  <a:close/>
                  <a:moveTo>
                    <a:pt x="371" y="102"/>
                  </a:moveTo>
                  <a:lnTo>
                    <a:pt x="370" y="102"/>
                  </a:lnTo>
                  <a:lnTo>
                    <a:pt x="370" y="103"/>
                  </a:lnTo>
                  <a:lnTo>
                    <a:pt x="369" y="103"/>
                  </a:lnTo>
                  <a:lnTo>
                    <a:pt x="370" y="103"/>
                  </a:lnTo>
                  <a:lnTo>
                    <a:pt x="370" y="102"/>
                  </a:lnTo>
                  <a:lnTo>
                    <a:pt x="371" y="102"/>
                  </a:lnTo>
                  <a:close/>
                  <a:moveTo>
                    <a:pt x="373" y="101"/>
                  </a:moveTo>
                  <a:lnTo>
                    <a:pt x="373" y="102"/>
                  </a:lnTo>
                  <a:lnTo>
                    <a:pt x="374" y="101"/>
                  </a:lnTo>
                  <a:lnTo>
                    <a:pt x="374" y="102"/>
                  </a:lnTo>
                  <a:lnTo>
                    <a:pt x="374" y="103"/>
                  </a:lnTo>
                  <a:lnTo>
                    <a:pt x="374" y="104"/>
                  </a:lnTo>
                  <a:lnTo>
                    <a:pt x="373" y="104"/>
                  </a:lnTo>
                  <a:lnTo>
                    <a:pt x="372" y="103"/>
                  </a:lnTo>
                  <a:lnTo>
                    <a:pt x="373" y="103"/>
                  </a:lnTo>
                  <a:lnTo>
                    <a:pt x="372" y="103"/>
                  </a:lnTo>
                  <a:lnTo>
                    <a:pt x="372" y="102"/>
                  </a:lnTo>
                  <a:lnTo>
                    <a:pt x="373" y="102"/>
                  </a:lnTo>
                  <a:lnTo>
                    <a:pt x="373" y="101"/>
                  </a:lnTo>
                  <a:close/>
                  <a:moveTo>
                    <a:pt x="367" y="101"/>
                  </a:moveTo>
                  <a:lnTo>
                    <a:pt x="366" y="101"/>
                  </a:lnTo>
                  <a:lnTo>
                    <a:pt x="366" y="102"/>
                  </a:lnTo>
                  <a:lnTo>
                    <a:pt x="366" y="101"/>
                  </a:lnTo>
                  <a:lnTo>
                    <a:pt x="366" y="99"/>
                  </a:lnTo>
                  <a:lnTo>
                    <a:pt x="367" y="99"/>
                  </a:lnTo>
                  <a:lnTo>
                    <a:pt x="366" y="99"/>
                  </a:lnTo>
                  <a:lnTo>
                    <a:pt x="367" y="99"/>
                  </a:lnTo>
                  <a:lnTo>
                    <a:pt x="369" y="99"/>
                  </a:lnTo>
                  <a:lnTo>
                    <a:pt x="367" y="101"/>
                  </a:lnTo>
                  <a:close/>
                  <a:moveTo>
                    <a:pt x="371" y="101"/>
                  </a:moveTo>
                  <a:lnTo>
                    <a:pt x="371" y="99"/>
                  </a:lnTo>
                  <a:lnTo>
                    <a:pt x="372" y="99"/>
                  </a:lnTo>
                  <a:lnTo>
                    <a:pt x="372" y="101"/>
                  </a:lnTo>
                  <a:lnTo>
                    <a:pt x="371" y="101"/>
                  </a:lnTo>
                  <a:close/>
                  <a:moveTo>
                    <a:pt x="201" y="96"/>
                  </a:moveTo>
                  <a:lnTo>
                    <a:pt x="200" y="96"/>
                  </a:lnTo>
                  <a:lnTo>
                    <a:pt x="199" y="96"/>
                  </a:lnTo>
                  <a:lnTo>
                    <a:pt x="200" y="96"/>
                  </a:lnTo>
                  <a:lnTo>
                    <a:pt x="201" y="95"/>
                  </a:lnTo>
                  <a:lnTo>
                    <a:pt x="201" y="96"/>
                  </a:lnTo>
                  <a:close/>
                  <a:moveTo>
                    <a:pt x="202" y="95"/>
                  </a:moveTo>
                  <a:lnTo>
                    <a:pt x="202" y="96"/>
                  </a:lnTo>
                  <a:lnTo>
                    <a:pt x="203" y="97"/>
                  </a:lnTo>
                  <a:lnTo>
                    <a:pt x="202" y="98"/>
                  </a:lnTo>
                  <a:lnTo>
                    <a:pt x="201" y="98"/>
                  </a:lnTo>
                  <a:lnTo>
                    <a:pt x="201" y="97"/>
                  </a:lnTo>
                  <a:lnTo>
                    <a:pt x="202" y="98"/>
                  </a:lnTo>
                  <a:lnTo>
                    <a:pt x="202" y="97"/>
                  </a:lnTo>
                  <a:lnTo>
                    <a:pt x="201" y="97"/>
                  </a:lnTo>
                  <a:lnTo>
                    <a:pt x="201" y="96"/>
                  </a:lnTo>
                  <a:lnTo>
                    <a:pt x="202" y="96"/>
                  </a:lnTo>
                  <a:lnTo>
                    <a:pt x="201" y="96"/>
                  </a:lnTo>
                  <a:lnTo>
                    <a:pt x="202" y="96"/>
                  </a:lnTo>
                  <a:lnTo>
                    <a:pt x="202" y="95"/>
                  </a:lnTo>
                  <a:close/>
                  <a:moveTo>
                    <a:pt x="253" y="94"/>
                  </a:moveTo>
                  <a:lnTo>
                    <a:pt x="252" y="94"/>
                  </a:lnTo>
                  <a:lnTo>
                    <a:pt x="252" y="92"/>
                  </a:lnTo>
                  <a:lnTo>
                    <a:pt x="252" y="91"/>
                  </a:lnTo>
                  <a:lnTo>
                    <a:pt x="252" y="92"/>
                  </a:lnTo>
                  <a:lnTo>
                    <a:pt x="253" y="92"/>
                  </a:lnTo>
                  <a:lnTo>
                    <a:pt x="253" y="94"/>
                  </a:lnTo>
                  <a:close/>
                  <a:moveTo>
                    <a:pt x="208" y="90"/>
                  </a:moveTo>
                  <a:lnTo>
                    <a:pt x="208" y="91"/>
                  </a:lnTo>
                  <a:lnTo>
                    <a:pt x="207" y="91"/>
                  </a:lnTo>
                  <a:lnTo>
                    <a:pt x="208" y="90"/>
                  </a:lnTo>
                  <a:close/>
                  <a:moveTo>
                    <a:pt x="257" y="91"/>
                  </a:moveTo>
                  <a:lnTo>
                    <a:pt x="256" y="91"/>
                  </a:lnTo>
                  <a:lnTo>
                    <a:pt x="256" y="90"/>
                  </a:lnTo>
                  <a:lnTo>
                    <a:pt x="256" y="89"/>
                  </a:lnTo>
                  <a:lnTo>
                    <a:pt x="257" y="90"/>
                  </a:lnTo>
                  <a:lnTo>
                    <a:pt x="257" y="91"/>
                  </a:lnTo>
                  <a:close/>
                  <a:moveTo>
                    <a:pt x="358" y="89"/>
                  </a:moveTo>
                  <a:lnTo>
                    <a:pt x="358" y="90"/>
                  </a:lnTo>
                  <a:lnTo>
                    <a:pt x="358" y="89"/>
                  </a:lnTo>
                  <a:lnTo>
                    <a:pt x="357" y="89"/>
                  </a:lnTo>
                  <a:lnTo>
                    <a:pt x="357" y="90"/>
                  </a:lnTo>
                  <a:lnTo>
                    <a:pt x="357" y="89"/>
                  </a:lnTo>
                  <a:lnTo>
                    <a:pt x="358" y="89"/>
                  </a:lnTo>
                  <a:close/>
                  <a:moveTo>
                    <a:pt x="273" y="89"/>
                  </a:moveTo>
                  <a:lnTo>
                    <a:pt x="273" y="88"/>
                  </a:lnTo>
                  <a:lnTo>
                    <a:pt x="273" y="89"/>
                  </a:lnTo>
                  <a:close/>
                  <a:moveTo>
                    <a:pt x="273" y="90"/>
                  </a:moveTo>
                  <a:lnTo>
                    <a:pt x="272" y="90"/>
                  </a:lnTo>
                  <a:lnTo>
                    <a:pt x="272" y="89"/>
                  </a:lnTo>
                  <a:lnTo>
                    <a:pt x="272" y="88"/>
                  </a:lnTo>
                  <a:lnTo>
                    <a:pt x="273" y="89"/>
                  </a:lnTo>
                  <a:lnTo>
                    <a:pt x="273" y="90"/>
                  </a:lnTo>
                  <a:close/>
                  <a:moveTo>
                    <a:pt x="213" y="83"/>
                  </a:moveTo>
                  <a:lnTo>
                    <a:pt x="213" y="84"/>
                  </a:lnTo>
                  <a:lnTo>
                    <a:pt x="213" y="85"/>
                  </a:lnTo>
                  <a:lnTo>
                    <a:pt x="211" y="85"/>
                  </a:lnTo>
                  <a:lnTo>
                    <a:pt x="211" y="84"/>
                  </a:lnTo>
                  <a:lnTo>
                    <a:pt x="213" y="83"/>
                  </a:lnTo>
                  <a:lnTo>
                    <a:pt x="211" y="83"/>
                  </a:lnTo>
                  <a:lnTo>
                    <a:pt x="213" y="83"/>
                  </a:lnTo>
                  <a:lnTo>
                    <a:pt x="213" y="82"/>
                  </a:lnTo>
                  <a:lnTo>
                    <a:pt x="213" y="83"/>
                  </a:lnTo>
                  <a:close/>
                  <a:moveTo>
                    <a:pt x="234" y="74"/>
                  </a:moveTo>
                  <a:lnTo>
                    <a:pt x="232" y="74"/>
                  </a:lnTo>
                  <a:lnTo>
                    <a:pt x="234" y="74"/>
                  </a:lnTo>
                  <a:close/>
                  <a:moveTo>
                    <a:pt x="374" y="73"/>
                  </a:moveTo>
                  <a:lnTo>
                    <a:pt x="376" y="73"/>
                  </a:lnTo>
                  <a:lnTo>
                    <a:pt x="374" y="73"/>
                  </a:lnTo>
                  <a:close/>
                  <a:moveTo>
                    <a:pt x="367" y="71"/>
                  </a:moveTo>
                  <a:lnTo>
                    <a:pt x="367" y="73"/>
                  </a:lnTo>
                  <a:lnTo>
                    <a:pt x="366" y="73"/>
                  </a:lnTo>
                  <a:lnTo>
                    <a:pt x="366" y="71"/>
                  </a:lnTo>
                  <a:lnTo>
                    <a:pt x="366" y="73"/>
                  </a:lnTo>
                  <a:lnTo>
                    <a:pt x="365" y="73"/>
                  </a:lnTo>
                  <a:lnTo>
                    <a:pt x="365" y="71"/>
                  </a:lnTo>
                  <a:lnTo>
                    <a:pt x="366" y="71"/>
                  </a:lnTo>
                  <a:lnTo>
                    <a:pt x="366" y="70"/>
                  </a:lnTo>
                  <a:lnTo>
                    <a:pt x="367" y="70"/>
                  </a:lnTo>
                  <a:lnTo>
                    <a:pt x="369" y="70"/>
                  </a:lnTo>
                  <a:lnTo>
                    <a:pt x="367" y="70"/>
                  </a:lnTo>
                  <a:lnTo>
                    <a:pt x="369" y="71"/>
                  </a:lnTo>
                  <a:lnTo>
                    <a:pt x="367" y="71"/>
                  </a:lnTo>
                  <a:close/>
                  <a:moveTo>
                    <a:pt x="374" y="70"/>
                  </a:moveTo>
                  <a:lnTo>
                    <a:pt x="373" y="71"/>
                  </a:lnTo>
                  <a:lnTo>
                    <a:pt x="374" y="71"/>
                  </a:lnTo>
                  <a:lnTo>
                    <a:pt x="373" y="71"/>
                  </a:lnTo>
                  <a:lnTo>
                    <a:pt x="373" y="73"/>
                  </a:lnTo>
                  <a:lnTo>
                    <a:pt x="374" y="73"/>
                  </a:lnTo>
                  <a:lnTo>
                    <a:pt x="376" y="73"/>
                  </a:lnTo>
                  <a:lnTo>
                    <a:pt x="376" y="71"/>
                  </a:lnTo>
                  <a:lnTo>
                    <a:pt x="377" y="71"/>
                  </a:lnTo>
                  <a:lnTo>
                    <a:pt x="377" y="73"/>
                  </a:lnTo>
                  <a:lnTo>
                    <a:pt x="376" y="73"/>
                  </a:lnTo>
                  <a:lnTo>
                    <a:pt x="376" y="74"/>
                  </a:lnTo>
                  <a:lnTo>
                    <a:pt x="374" y="74"/>
                  </a:lnTo>
                  <a:lnTo>
                    <a:pt x="374" y="75"/>
                  </a:lnTo>
                  <a:lnTo>
                    <a:pt x="374" y="76"/>
                  </a:lnTo>
                  <a:lnTo>
                    <a:pt x="373" y="76"/>
                  </a:lnTo>
                  <a:lnTo>
                    <a:pt x="373" y="77"/>
                  </a:lnTo>
                  <a:lnTo>
                    <a:pt x="373" y="78"/>
                  </a:lnTo>
                  <a:lnTo>
                    <a:pt x="374" y="77"/>
                  </a:lnTo>
                  <a:lnTo>
                    <a:pt x="374" y="78"/>
                  </a:lnTo>
                  <a:lnTo>
                    <a:pt x="376" y="78"/>
                  </a:lnTo>
                  <a:lnTo>
                    <a:pt x="376" y="77"/>
                  </a:lnTo>
                  <a:lnTo>
                    <a:pt x="377" y="77"/>
                  </a:lnTo>
                  <a:lnTo>
                    <a:pt x="377" y="78"/>
                  </a:lnTo>
                  <a:lnTo>
                    <a:pt x="376" y="78"/>
                  </a:lnTo>
                  <a:lnTo>
                    <a:pt x="376" y="80"/>
                  </a:lnTo>
                  <a:lnTo>
                    <a:pt x="374" y="80"/>
                  </a:lnTo>
                  <a:lnTo>
                    <a:pt x="373" y="80"/>
                  </a:lnTo>
                  <a:lnTo>
                    <a:pt x="372" y="80"/>
                  </a:lnTo>
                  <a:lnTo>
                    <a:pt x="370" y="78"/>
                  </a:lnTo>
                  <a:lnTo>
                    <a:pt x="369" y="78"/>
                  </a:lnTo>
                  <a:lnTo>
                    <a:pt x="367" y="78"/>
                  </a:lnTo>
                  <a:lnTo>
                    <a:pt x="369" y="78"/>
                  </a:lnTo>
                  <a:lnTo>
                    <a:pt x="369" y="77"/>
                  </a:lnTo>
                  <a:lnTo>
                    <a:pt x="369" y="76"/>
                  </a:lnTo>
                  <a:lnTo>
                    <a:pt x="369" y="75"/>
                  </a:lnTo>
                  <a:lnTo>
                    <a:pt x="370" y="74"/>
                  </a:lnTo>
                  <a:lnTo>
                    <a:pt x="370" y="73"/>
                  </a:lnTo>
                  <a:lnTo>
                    <a:pt x="371" y="73"/>
                  </a:lnTo>
                  <a:lnTo>
                    <a:pt x="371" y="71"/>
                  </a:lnTo>
                  <a:lnTo>
                    <a:pt x="371" y="73"/>
                  </a:lnTo>
                  <a:lnTo>
                    <a:pt x="372" y="73"/>
                  </a:lnTo>
                  <a:lnTo>
                    <a:pt x="372" y="71"/>
                  </a:lnTo>
                  <a:lnTo>
                    <a:pt x="372" y="70"/>
                  </a:lnTo>
                  <a:lnTo>
                    <a:pt x="373" y="70"/>
                  </a:lnTo>
                  <a:lnTo>
                    <a:pt x="374" y="70"/>
                  </a:lnTo>
                  <a:close/>
                  <a:moveTo>
                    <a:pt x="367" y="67"/>
                  </a:moveTo>
                  <a:lnTo>
                    <a:pt x="366" y="67"/>
                  </a:lnTo>
                  <a:lnTo>
                    <a:pt x="366" y="68"/>
                  </a:lnTo>
                  <a:lnTo>
                    <a:pt x="366" y="67"/>
                  </a:lnTo>
                  <a:lnTo>
                    <a:pt x="366" y="66"/>
                  </a:lnTo>
                  <a:lnTo>
                    <a:pt x="367" y="66"/>
                  </a:lnTo>
                  <a:lnTo>
                    <a:pt x="367" y="67"/>
                  </a:lnTo>
                  <a:close/>
                  <a:moveTo>
                    <a:pt x="379" y="46"/>
                  </a:moveTo>
                  <a:lnTo>
                    <a:pt x="378" y="46"/>
                  </a:lnTo>
                  <a:lnTo>
                    <a:pt x="379" y="45"/>
                  </a:lnTo>
                  <a:lnTo>
                    <a:pt x="379" y="46"/>
                  </a:lnTo>
                  <a:close/>
                  <a:moveTo>
                    <a:pt x="317" y="46"/>
                  </a:moveTo>
                  <a:lnTo>
                    <a:pt x="316" y="46"/>
                  </a:lnTo>
                  <a:lnTo>
                    <a:pt x="317" y="45"/>
                  </a:lnTo>
                  <a:lnTo>
                    <a:pt x="317" y="46"/>
                  </a:lnTo>
                  <a:close/>
                  <a:moveTo>
                    <a:pt x="352" y="46"/>
                  </a:moveTo>
                  <a:lnTo>
                    <a:pt x="352" y="45"/>
                  </a:lnTo>
                  <a:lnTo>
                    <a:pt x="351" y="45"/>
                  </a:lnTo>
                  <a:lnTo>
                    <a:pt x="352" y="45"/>
                  </a:lnTo>
                  <a:lnTo>
                    <a:pt x="352" y="46"/>
                  </a:lnTo>
                  <a:close/>
                  <a:moveTo>
                    <a:pt x="353" y="45"/>
                  </a:moveTo>
                  <a:lnTo>
                    <a:pt x="352" y="45"/>
                  </a:lnTo>
                  <a:lnTo>
                    <a:pt x="352" y="43"/>
                  </a:lnTo>
                  <a:lnTo>
                    <a:pt x="353" y="43"/>
                  </a:lnTo>
                  <a:lnTo>
                    <a:pt x="353" y="45"/>
                  </a:lnTo>
                  <a:close/>
                  <a:moveTo>
                    <a:pt x="372" y="43"/>
                  </a:moveTo>
                  <a:lnTo>
                    <a:pt x="371" y="45"/>
                  </a:lnTo>
                  <a:lnTo>
                    <a:pt x="370" y="45"/>
                  </a:lnTo>
                  <a:lnTo>
                    <a:pt x="370" y="43"/>
                  </a:lnTo>
                  <a:lnTo>
                    <a:pt x="370" y="45"/>
                  </a:lnTo>
                  <a:lnTo>
                    <a:pt x="370" y="43"/>
                  </a:lnTo>
                  <a:lnTo>
                    <a:pt x="371" y="43"/>
                  </a:lnTo>
                  <a:lnTo>
                    <a:pt x="371" y="45"/>
                  </a:lnTo>
                  <a:lnTo>
                    <a:pt x="371" y="43"/>
                  </a:lnTo>
                  <a:lnTo>
                    <a:pt x="372" y="43"/>
                  </a:lnTo>
                  <a:close/>
                  <a:moveTo>
                    <a:pt x="355" y="42"/>
                  </a:moveTo>
                  <a:lnTo>
                    <a:pt x="355" y="43"/>
                  </a:lnTo>
                  <a:lnTo>
                    <a:pt x="355" y="42"/>
                  </a:lnTo>
                  <a:lnTo>
                    <a:pt x="356" y="42"/>
                  </a:lnTo>
                  <a:lnTo>
                    <a:pt x="355" y="42"/>
                  </a:lnTo>
                  <a:close/>
                  <a:moveTo>
                    <a:pt x="374" y="42"/>
                  </a:moveTo>
                  <a:lnTo>
                    <a:pt x="374" y="41"/>
                  </a:lnTo>
                  <a:lnTo>
                    <a:pt x="374" y="40"/>
                  </a:lnTo>
                  <a:lnTo>
                    <a:pt x="374" y="41"/>
                  </a:lnTo>
                  <a:lnTo>
                    <a:pt x="374" y="42"/>
                  </a:lnTo>
                  <a:close/>
                  <a:moveTo>
                    <a:pt x="377" y="40"/>
                  </a:moveTo>
                  <a:lnTo>
                    <a:pt x="376" y="40"/>
                  </a:lnTo>
                  <a:lnTo>
                    <a:pt x="377" y="40"/>
                  </a:lnTo>
                  <a:close/>
                  <a:moveTo>
                    <a:pt x="369" y="39"/>
                  </a:moveTo>
                  <a:lnTo>
                    <a:pt x="367" y="39"/>
                  </a:lnTo>
                  <a:lnTo>
                    <a:pt x="369" y="39"/>
                  </a:lnTo>
                  <a:lnTo>
                    <a:pt x="369" y="38"/>
                  </a:lnTo>
                  <a:lnTo>
                    <a:pt x="369" y="39"/>
                  </a:lnTo>
                  <a:close/>
                  <a:moveTo>
                    <a:pt x="321" y="38"/>
                  </a:moveTo>
                  <a:lnTo>
                    <a:pt x="322" y="38"/>
                  </a:lnTo>
                  <a:lnTo>
                    <a:pt x="322" y="39"/>
                  </a:lnTo>
                  <a:lnTo>
                    <a:pt x="321" y="39"/>
                  </a:lnTo>
                  <a:lnTo>
                    <a:pt x="320" y="39"/>
                  </a:lnTo>
                  <a:lnTo>
                    <a:pt x="320" y="38"/>
                  </a:lnTo>
                  <a:lnTo>
                    <a:pt x="321" y="38"/>
                  </a:lnTo>
                  <a:close/>
                  <a:moveTo>
                    <a:pt x="332" y="39"/>
                  </a:moveTo>
                  <a:lnTo>
                    <a:pt x="331" y="39"/>
                  </a:lnTo>
                  <a:lnTo>
                    <a:pt x="331" y="38"/>
                  </a:lnTo>
                  <a:lnTo>
                    <a:pt x="332" y="38"/>
                  </a:lnTo>
                  <a:lnTo>
                    <a:pt x="334" y="38"/>
                  </a:lnTo>
                  <a:lnTo>
                    <a:pt x="332" y="38"/>
                  </a:lnTo>
                  <a:lnTo>
                    <a:pt x="332" y="39"/>
                  </a:lnTo>
                  <a:close/>
                  <a:moveTo>
                    <a:pt x="374" y="36"/>
                  </a:moveTo>
                  <a:lnTo>
                    <a:pt x="373" y="38"/>
                  </a:lnTo>
                  <a:lnTo>
                    <a:pt x="372" y="38"/>
                  </a:lnTo>
                  <a:lnTo>
                    <a:pt x="372" y="39"/>
                  </a:lnTo>
                  <a:lnTo>
                    <a:pt x="372" y="38"/>
                  </a:lnTo>
                  <a:lnTo>
                    <a:pt x="371" y="39"/>
                  </a:lnTo>
                  <a:lnTo>
                    <a:pt x="371" y="38"/>
                  </a:lnTo>
                  <a:lnTo>
                    <a:pt x="372" y="38"/>
                  </a:lnTo>
                  <a:lnTo>
                    <a:pt x="372" y="36"/>
                  </a:lnTo>
                  <a:lnTo>
                    <a:pt x="372" y="38"/>
                  </a:lnTo>
                  <a:lnTo>
                    <a:pt x="373" y="38"/>
                  </a:lnTo>
                  <a:lnTo>
                    <a:pt x="373" y="36"/>
                  </a:lnTo>
                  <a:lnTo>
                    <a:pt x="374" y="36"/>
                  </a:lnTo>
                  <a:lnTo>
                    <a:pt x="374" y="35"/>
                  </a:lnTo>
                  <a:lnTo>
                    <a:pt x="376" y="35"/>
                  </a:lnTo>
                  <a:lnTo>
                    <a:pt x="374" y="36"/>
                  </a:lnTo>
                  <a:close/>
                  <a:moveTo>
                    <a:pt x="334" y="35"/>
                  </a:moveTo>
                  <a:lnTo>
                    <a:pt x="334" y="36"/>
                  </a:lnTo>
                  <a:lnTo>
                    <a:pt x="334" y="35"/>
                  </a:lnTo>
                  <a:lnTo>
                    <a:pt x="332" y="36"/>
                  </a:lnTo>
                  <a:lnTo>
                    <a:pt x="332" y="35"/>
                  </a:lnTo>
                  <a:lnTo>
                    <a:pt x="334" y="35"/>
                  </a:lnTo>
                  <a:close/>
                  <a:moveTo>
                    <a:pt x="291" y="35"/>
                  </a:moveTo>
                  <a:lnTo>
                    <a:pt x="291" y="36"/>
                  </a:lnTo>
                  <a:lnTo>
                    <a:pt x="292" y="36"/>
                  </a:lnTo>
                  <a:lnTo>
                    <a:pt x="292" y="38"/>
                  </a:lnTo>
                  <a:lnTo>
                    <a:pt x="292" y="39"/>
                  </a:lnTo>
                  <a:lnTo>
                    <a:pt x="293" y="39"/>
                  </a:lnTo>
                  <a:lnTo>
                    <a:pt x="294" y="40"/>
                  </a:lnTo>
                  <a:lnTo>
                    <a:pt x="294" y="41"/>
                  </a:lnTo>
                  <a:lnTo>
                    <a:pt x="293" y="41"/>
                  </a:lnTo>
                  <a:lnTo>
                    <a:pt x="292" y="41"/>
                  </a:lnTo>
                  <a:lnTo>
                    <a:pt x="291" y="41"/>
                  </a:lnTo>
                  <a:lnTo>
                    <a:pt x="291" y="40"/>
                  </a:lnTo>
                  <a:lnTo>
                    <a:pt x="289" y="40"/>
                  </a:lnTo>
                  <a:lnTo>
                    <a:pt x="288" y="40"/>
                  </a:lnTo>
                  <a:lnTo>
                    <a:pt x="287" y="41"/>
                  </a:lnTo>
                  <a:lnTo>
                    <a:pt x="286" y="41"/>
                  </a:lnTo>
                  <a:lnTo>
                    <a:pt x="285" y="41"/>
                  </a:lnTo>
                  <a:lnTo>
                    <a:pt x="285" y="40"/>
                  </a:lnTo>
                  <a:lnTo>
                    <a:pt x="286" y="40"/>
                  </a:lnTo>
                  <a:lnTo>
                    <a:pt x="286" y="39"/>
                  </a:lnTo>
                  <a:lnTo>
                    <a:pt x="287" y="39"/>
                  </a:lnTo>
                  <a:lnTo>
                    <a:pt x="288" y="38"/>
                  </a:lnTo>
                  <a:lnTo>
                    <a:pt x="288" y="36"/>
                  </a:lnTo>
                  <a:lnTo>
                    <a:pt x="288" y="35"/>
                  </a:lnTo>
                  <a:lnTo>
                    <a:pt x="287" y="35"/>
                  </a:lnTo>
                  <a:lnTo>
                    <a:pt x="288" y="35"/>
                  </a:lnTo>
                  <a:lnTo>
                    <a:pt x="288" y="34"/>
                  </a:lnTo>
                  <a:lnTo>
                    <a:pt x="289" y="33"/>
                  </a:lnTo>
                  <a:lnTo>
                    <a:pt x="291" y="33"/>
                  </a:lnTo>
                  <a:lnTo>
                    <a:pt x="291" y="34"/>
                  </a:lnTo>
                  <a:lnTo>
                    <a:pt x="291" y="35"/>
                  </a:lnTo>
                  <a:close/>
                  <a:moveTo>
                    <a:pt x="293" y="32"/>
                  </a:moveTo>
                  <a:lnTo>
                    <a:pt x="293" y="33"/>
                  </a:lnTo>
                  <a:lnTo>
                    <a:pt x="293" y="32"/>
                  </a:lnTo>
                  <a:lnTo>
                    <a:pt x="294" y="32"/>
                  </a:lnTo>
                  <a:lnTo>
                    <a:pt x="294" y="33"/>
                  </a:lnTo>
                  <a:lnTo>
                    <a:pt x="293" y="34"/>
                  </a:lnTo>
                  <a:lnTo>
                    <a:pt x="294" y="34"/>
                  </a:lnTo>
                  <a:lnTo>
                    <a:pt x="294" y="33"/>
                  </a:lnTo>
                  <a:lnTo>
                    <a:pt x="295" y="33"/>
                  </a:lnTo>
                  <a:lnTo>
                    <a:pt x="295" y="34"/>
                  </a:lnTo>
                  <a:lnTo>
                    <a:pt x="296" y="34"/>
                  </a:lnTo>
                  <a:lnTo>
                    <a:pt x="298" y="33"/>
                  </a:lnTo>
                  <a:lnTo>
                    <a:pt x="299" y="33"/>
                  </a:lnTo>
                  <a:lnTo>
                    <a:pt x="300" y="33"/>
                  </a:lnTo>
                  <a:lnTo>
                    <a:pt x="300" y="34"/>
                  </a:lnTo>
                  <a:lnTo>
                    <a:pt x="300" y="33"/>
                  </a:lnTo>
                  <a:lnTo>
                    <a:pt x="301" y="33"/>
                  </a:lnTo>
                  <a:lnTo>
                    <a:pt x="301" y="32"/>
                  </a:lnTo>
                  <a:lnTo>
                    <a:pt x="302" y="32"/>
                  </a:lnTo>
                  <a:lnTo>
                    <a:pt x="302" y="33"/>
                  </a:lnTo>
                  <a:lnTo>
                    <a:pt x="302" y="34"/>
                  </a:lnTo>
                  <a:lnTo>
                    <a:pt x="302" y="33"/>
                  </a:lnTo>
                  <a:lnTo>
                    <a:pt x="302" y="32"/>
                  </a:lnTo>
                  <a:lnTo>
                    <a:pt x="303" y="31"/>
                  </a:lnTo>
                  <a:lnTo>
                    <a:pt x="303" y="32"/>
                  </a:lnTo>
                  <a:lnTo>
                    <a:pt x="305" y="32"/>
                  </a:lnTo>
                  <a:lnTo>
                    <a:pt x="306" y="32"/>
                  </a:lnTo>
                  <a:lnTo>
                    <a:pt x="306" y="33"/>
                  </a:lnTo>
                  <a:lnTo>
                    <a:pt x="306" y="34"/>
                  </a:lnTo>
                  <a:lnTo>
                    <a:pt x="307" y="34"/>
                  </a:lnTo>
                  <a:lnTo>
                    <a:pt x="307" y="35"/>
                  </a:lnTo>
                  <a:lnTo>
                    <a:pt x="306" y="35"/>
                  </a:lnTo>
                  <a:lnTo>
                    <a:pt x="306" y="36"/>
                  </a:lnTo>
                  <a:lnTo>
                    <a:pt x="306" y="38"/>
                  </a:lnTo>
                  <a:lnTo>
                    <a:pt x="306" y="36"/>
                  </a:lnTo>
                  <a:lnTo>
                    <a:pt x="306" y="38"/>
                  </a:lnTo>
                  <a:lnTo>
                    <a:pt x="305" y="38"/>
                  </a:lnTo>
                  <a:lnTo>
                    <a:pt x="305" y="36"/>
                  </a:lnTo>
                  <a:lnTo>
                    <a:pt x="305" y="38"/>
                  </a:lnTo>
                  <a:lnTo>
                    <a:pt x="303" y="39"/>
                  </a:lnTo>
                  <a:lnTo>
                    <a:pt x="302" y="39"/>
                  </a:lnTo>
                  <a:lnTo>
                    <a:pt x="302" y="40"/>
                  </a:lnTo>
                  <a:lnTo>
                    <a:pt x="301" y="40"/>
                  </a:lnTo>
                  <a:lnTo>
                    <a:pt x="300" y="41"/>
                  </a:lnTo>
                  <a:lnTo>
                    <a:pt x="299" y="42"/>
                  </a:lnTo>
                  <a:lnTo>
                    <a:pt x="298" y="42"/>
                  </a:lnTo>
                  <a:lnTo>
                    <a:pt x="296" y="41"/>
                  </a:lnTo>
                  <a:lnTo>
                    <a:pt x="295" y="41"/>
                  </a:lnTo>
                  <a:lnTo>
                    <a:pt x="295" y="40"/>
                  </a:lnTo>
                  <a:lnTo>
                    <a:pt x="294" y="40"/>
                  </a:lnTo>
                  <a:lnTo>
                    <a:pt x="293" y="39"/>
                  </a:lnTo>
                  <a:lnTo>
                    <a:pt x="292" y="39"/>
                  </a:lnTo>
                  <a:lnTo>
                    <a:pt x="292" y="38"/>
                  </a:lnTo>
                  <a:lnTo>
                    <a:pt x="292" y="36"/>
                  </a:lnTo>
                  <a:lnTo>
                    <a:pt x="292" y="35"/>
                  </a:lnTo>
                  <a:lnTo>
                    <a:pt x="292" y="34"/>
                  </a:lnTo>
                  <a:lnTo>
                    <a:pt x="292" y="33"/>
                  </a:lnTo>
                  <a:lnTo>
                    <a:pt x="291" y="33"/>
                  </a:lnTo>
                  <a:lnTo>
                    <a:pt x="292" y="33"/>
                  </a:lnTo>
                  <a:lnTo>
                    <a:pt x="291" y="32"/>
                  </a:lnTo>
                  <a:lnTo>
                    <a:pt x="291" y="31"/>
                  </a:lnTo>
                  <a:lnTo>
                    <a:pt x="292" y="31"/>
                  </a:lnTo>
                  <a:lnTo>
                    <a:pt x="293" y="32"/>
                  </a:lnTo>
                  <a:close/>
                  <a:moveTo>
                    <a:pt x="380" y="28"/>
                  </a:moveTo>
                  <a:lnTo>
                    <a:pt x="380" y="29"/>
                  </a:lnTo>
                  <a:lnTo>
                    <a:pt x="379" y="29"/>
                  </a:lnTo>
                  <a:lnTo>
                    <a:pt x="379" y="31"/>
                  </a:lnTo>
                  <a:lnTo>
                    <a:pt x="379" y="32"/>
                  </a:lnTo>
                  <a:lnTo>
                    <a:pt x="378" y="32"/>
                  </a:lnTo>
                  <a:lnTo>
                    <a:pt x="378" y="33"/>
                  </a:lnTo>
                  <a:lnTo>
                    <a:pt x="377" y="34"/>
                  </a:lnTo>
                  <a:lnTo>
                    <a:pt x="376" y="35"/>
                  </a:lnTo>
                  <a:lnTo>
                    <a:pt x="376" y="34"/>
                  </a:lnTo>
                  <a:lnTo>
                    <a:pt x="376" y="35"/>
                  </a:lnTo>
                  <a:lnTo>
                    <a:pt x="376" y="34"/>
                  </a:lnTo>
                  <a:lnTo>
                    <a:pt x="377" y="34"/>
                  </a:lnTo>
                  <a:lnTo>
                    <a:pt x="377" y="33"/>
                  </a:lnTo>
                  <a:lnTo>
                    <a:pt x="377" y="32"/>
                  </a:lnTo>
                  <a:lnTo>
                    <a:pt x="378" y="32"/>
                  </a:lnTo>
                  <a:lnTo>
                    <a:pt x="378" y="31"/>
                  </a:lnTo>
                  <a:lnTo>
                    <a:pt x="379" y="31"/>
                  </a:lnTo>
                  <a:lnTo>
                    <a:pt x="379" y="29"/>
                  </a:lnTo>
                  <a:lnTo>
                    <a:pt x="379" y="28"/>
                  </a:lnTo>
                  <a:lnTo>
                    <a:pt x="380" y="28"/>
                  </a:lnTo>
                  <a:close/>
                  <a:moveTo>
                    <a:pt x="322" y="28"/>
                  </a:moveTo>
                  <a:lnTo>
                    <a:pt x="322" y="29"/>
                  </a:lnTo>
                  <a:lnTo>
                    <a:pt x="322" y="31"/>
                  </a:lnTo>
                  <a:lnTo>
                    <a:pt x="322" y="32"/>
                  </a:lnTo>
                  <a:lnTo>
                    <a:pt x="322" y="33"/>
                  </a:lnTo>
                  <a:lnTo>
                    <a:pt x="321" y="33"/>
                  </a:lnTo>
                  <a:lnTo>
                    <a:pt x="321" y="32"/>
                  </a:lnTo>
                  <a:lnTo>
                    <a:pt x="321" y="31"/>
                  </a:lnTo>
                  <a:lnTo>
                    <a:pt x="321" y="29"/>
                  </a:lnTo>
                  <a:lnTo>
                    <a:pt x="321" y="28"/>
                  </a:lnTo>
                  <a:lnTo>
                    <a:pt x="322" y="28"/>
                  </a:lnTo>
                  <a:lnTo>
                    <a:pt x="322" y="27"/>
                  </a:lnTo>
                  <a:lnTo>
                    <a:pt x="322" y="28"/>
                  </a:lnTo>
                  <a:close/>
                  <a:moveTo>
                    <a:pt x="460" y="24"/>
                  </a:moveTo>
                  <a:lnTo>
                    <a:pt x="462" y="24"/>
                  </a:lnTo>
                  <a:lnTo>
                    <a:pt x="462" y="25"/>
                  </a:lnTo>
                  <a:lnTo>
                    <a:pt x="460" y="25"/>
                  </a:lnTo>
                  <a:lnTo>
                    <a:pt x="460" y="26"/>
                  </a:lnTo>
                  <a:lnTo>
                    <a:pt x="460" y="27"/>
                  </a:lnTo>
                  <a:lnTo>
                    <a:pt x="459" y="27"/>
                  </a:lnTo>
                  <a:lnTo>
                    <a:pt x="460" y="27"/>
                  </a:lnTo>
                  <a:lnTo>
                    <a:pt x="460" y="26"/>
                  </a:lnTo>
                  <a:lnTo>
                    <a:pt x="462" y="26"/>
                  </a:lnTo>
                  <a:lnTo>
                    <a:pt x="462" y="27"/>
                  </a:lnTo>
                  <a:lnTo>
                    <a:pt x="462" y="28"/>
                  </a:lnTo>
                  <a:lnTo>
                    <a:pt x="462" y="27"/>
                  </a:lnTo>
                  <a:lnTo>
                    <a:pt x="463" y="27"/>
                  </a:lnTo>
                  <a:lnTo>
                    <a:pt x="463" y="28"/>
                  </a:lnTo>
                  <a:lnTo>
                    <a:pt x="464" y="29"/>
                  </a:lnTo>
                  <a:lnTo>
                    <a:pt x="464" y="31"/>
                  </a:lnTo>
                  <a:lnTo>
                    <a:pt x="463" y="31"/>
                  </a:lnTo>
                  <a:lnTo>
                    <a:pt x="463" y="32"/>
                  </a:lnTo>
                  <a:lnTo>
                    <a:pt x="464" y="33"/>
                  </a:lnTo>
                  <a:lnTo>
                    <a:pt x="464" y="34"/>
                  </a:lnTo>
                  <a:lnTo>
                    <a:pt x="463" y="35"/>
                  </a:lnTo>
                  <a:lnTo>
                    <a:pt x="463" y="36"/>
                  </a:lnTo>
                  <a:lnTo>
                    <a:pt x="464" y="38"/>
                  </a:lnTo>
                  <a:lnTo>
                    <a:pt x="463" y="40"/>
                  </a:lnTo>
                  <a:lnTo>
                    <a:pt x="463" y="41"/>
                  </a:lnTo>
                  <a:lnTo>
                    <a:pt x="464" y="42"/>
                  </a:lnTo>
                  <a:lnTo>
                    <a:pt x="465" y="42"/>
                  </a:lnTo>
                  <a:lnTo>
                    <a:pt x="466" y="42"/>
                  </a:lnTo>
                  <a:lnTo>
                    <a:pt x="467" y="43"/>
                  </a:lnTo>
                  <a:lnTo>
                    <a:pt x="469" y="43"/>
                  </a:lnTo>
                  <a:lnTo>
                    <a:pt x="467" y="43"/>
                  </a:lnTo>
                  <a:lnTo>
                    <a:pt x="466" y="46"/>
                  </a:lnTo>
                  <a:lnTo>
                    <a:pt x="465" y="46"/>
                  </a:lnTo>
                  <a:lnTo>
                    <a:pt x="465" y="47"/>
                  </a:lnTo>
                  <a:lnTo>
                    <a:pt x="465" y="48"/>
                  </a:lnTo>
                  <a:lnTo>
                    <a:pt x="465" y="49"/>
                  </a:lnTo>
                  <a:lnTo>
                    <a:pt x="466" y="49"/>
                  </a:lnTo>
                  <a:lnTo>
                    <a:pt x="467" y="49"/>
                  </a:lnTo>
                  <a:lnTo>
                    <a:pt x="467" y="50"/>
                  </a:lnTo>
                  <a:lnTo>
                    <a:pt x="467" y="52"/>
                  </a:lnTo>
                  <a:lnTo>
                    <a:pt x="467" y="53"/>
                  </a:lnTo>
                  <a:lnTo>
                    <a:pt x="469" y="53"/>
                  </a:lnTo>
                  <a:lnTo>
                    <a:pt x="470" y="53"/>
                  </a:lnTo>
                  <a:lnTo>
                    <a:pt x="470" y="54"/>
                  </a:lnTo>
                  <a:lnTo>
                    <a:pt x="469" y="54"/>
                  </a:lnTo>
                  <a:lnTo>
                    <a:pt x="469" y="55"/>
                  </a:lnTo>
                  <a:lnTo>
                    <a:pt x="467" y="56"/>
                  </a:lnTo>
                  <a:lnTo>
                    <a:pt x="467" y="57"/>
                  </a:lnTo>
                  <a:lnTo>
                    <a:pt x="469" y="57"/>
                  </a:lnTo>
                  <a:lnTo>
                    <a:pt x="470" y="57"/>
                  </a:lnTo>
                  <a:lnTo>
                    <a:pt x="470" y="56"/>
                  </a:lnTo>
                  <a:lnTo>
                    <a:pt x="470" y="59"/>
                  </a:lnTo>
                  <a:lnTo>
                    <a:pt x="470" y="60"/>
                  </a:lnTo>
                  <a:lnTo>
                    <a:pt x="470" y="61"/>
                  </a:lnTo>
                  <a:lnTo>
                    <a:pt x="470" y="62"/>
                  </a:lnTo>
                  <a:lnTo>
                    <a:pt x="469" y="64"/>
                  </a:lnTo>
                  <a:lnTo>
                    <a:pt x="470" y="66"/>
                  </a:lnTo>
                  <a:lnTo>
                    <a:pt x="470" y="67"/>
                  </a:lnTo>
                  <a:lnTo>
                    <a:pt x="470" y="68"/>
                  </a:lnTo>
                  <a:lnTo>
                    <a:pt x="469" y="69"/>
                  </a:lnTo>
                  <a:lnTo>
                    <a:pt x="469" y="70"/>
                  </a:lnTo>
                  <a:lnTo>
                    <a:pt x="469" y="71"/>
                  </a:lnTo>
                  <a:lnTo>
                    <a:pt x="467" y="71"/>
                  </a:lnTo>
                  <a:lnTo>
                    <a:pt x="469" y="71"/>
                  </a:lnTo>
                  <a:lnTo>
                    <a:pt x="469" y="73"/>
                  </a:lnTo>
                  <a:lnTo>
                    <a:pt x="469" y="74"/>
                  </a:lnTo>
                  <a:lnTo>
                    <a:pt x="469" y="75"/>
                  </a:lnTo>
                  <a:lnTo>
                    <a:pt x="470" y="75"/>
                  </a:lnTo>
                  <a:lnTo>
                    <a:pt x="470" y="76"/>
                  </a:lnTo>
                  <a:lnTo>
                    <a:pt x="470" y="77"/>
                  </a:lnTo>
                  <a:lnTo>
                    <a:pt x="470" y="78"/>
                  </a:lnTo>
                  <a:lnTo>
                    <a:pt x="470" y="81"/>
                  </a:lnTo>
                  <a:lnTo>
                    <a:pt x="470" y="82"/>
                  </a:lnTo>
                  <a:lnTo>
                    <a:pt x="471" y="83"/>
                  </a:lnTo>
                  <a:lnTo>
                    <a:pt x="472" y="83"/>
                  </a:lnTo>
                  <a:lnTo>
                    <a:pt x="473" y="83"/>
                  </a:lnTo>
                  <a:lnTo>
                    <a:pt x="473" y="82"/>
                  </a:lnTo>
                  <a:lnTo>
                    <a:pt x="474" y="82"/>
                  </a:lnTo>
                  <a:lnTo>
                    <a:pt x="476" y="81"/>
                  </a:lnTo>
                  <a:lnTo>
                    <a:pt x="476" y="80"/>
                  </a:lnTo>
                  <a:lnTo>
                    <a:pt x="477" y="80"/>
                  </a:lnTo>
                  <a:lnTo>
                    <a:pt x="478" y="81"/>
                  </a:lnTo>
                  <a:lnTo>
                    <a:pt x="479" y="80"/>
                  </a:lnTo>
                  <a:lnTo>
                    <a:pt x="480" y="78"/>
                  </a:lnTo>
                  <a:lnTo>
                    <a:pt x="480" y="77"/>
                  </a:lnTo>
                  <a:lnTo>
                    <a:pt x="480" y="78"/>
                  </a:lnTo>
                  <a:lnTo>
                    <a:pt x="481" y="78"/>
                  </a:lnTo>
                  <a:lnTo>
                    <a:pt x="481" y="80"/>
                  </a:lnTo>
                  <a:lnTo>
                    <a:pt x="481" y="81"/>
                  </a:lnTo>
                  <a:lnTo>
                    <a:pt x="481" y="82"/>
                  </a:lnTo>
                  <a:lnTo>
                    <a:pt x="481" y="83"/>
                  </a:lnTo>
                  <a:lnTo>
                    <a:pt x="481" y="84"/>
                  </a:lnTo>
                  <a:lnTo>
                    <a:pt x="483" y="84"/>
                  </a:lnTo>
                  <a:lnTo>
                    <a:pt x="484" y="84"/>
                  </a:lnTo>
                  <a:lnTo>
                    <a:pt x="484" y="85"/>
                  </a:lnTo>
                  <a:lnTo>
                    <a:pt x="485" y="85"/>
                  </a:lnTo>
                  <a:lnTo>
                    <a:pt x="485" y="87"/>
                  </a:lnTo>
                  <a:lnTo>
                    <a:pt x="486" y="88"/>
                  </a:lnTo>
                  <a:lnTo>
                    <a:pt x="487" y="88"/>
                  </a:lnTo>
                  <a:lnTo>
                    <a:pt x="487" y="89"/>
                  </a:lnTo>
                  <a:lnTo>
                    <a:pt x="488" y="89"/>
                  </a:lnTo>
                  <a:lnTo>
                    <a:pt x="490" y="90"/>
                  </a:lnTo>
                  <a:lnTo>
                    <a:pt x="488" y="92"/>
                  </a:lnTo>
                  <a:lnTo>
                    <a:pt x="488" y="94"/>
                  </a:lnTo>
                  <a:lnTo>
                    <a:pt x="488" y="95"/>
                  </a:lnTo>
                  <a:lnTo>
                    <a:pt x="490" y="95"/>
                  </a:lnTo>
                  <a:lnTo>
                    <a:pt x="490" y="96"/>
                  </a:lnTo>
                  <a:lnTo>
                    <a:pt x="488" y="96"/>
                  </a:lnTo>
                  <a:lnTo>
                    <a:pt x="488" y="97"/>
                  </a:lnTo>
                  <a:lnTo>
                    <a:pt x="487" y="97"/>
                  </a:lnTo>
                  <a:lnTo>
                    <a:pt x="487" y="98"/>
                  </a:lnTo>
                  <a:lnTo>
                    <a:pt x="487" y="99"/>
                  </a:lnTo>
                  <a:lnTo>
                    <a:pt x="488" y="101"/>
                  </a:lnTo>
                  <a:lnTo>
                    <a:pt x="487" y="101"/>
                  </a:lnTo>
                  <a:lnTo>
                    <a:pt x="487" y="102"/>
                  </a:lnTo>
                  <a:lnTo>
                    <a:pt x="488" y="103"/>
                  </a:lnTo>
                  <a:lnTo>
                    <a:pt x="488" y="104"/>
                  </a:lnTo>
                  <a:lnTo>
                    <a:pt x="487" y="105"/>
                  </a:lnTo>
                  <a:lnTo>
                    <a:pt x="488" y="106"/>
                  </a:lnTo>
                  <a:lnTo>
                    <a:pt x="488" y="108"/>
                  </a:lnTo>
                  <a:lnTo>
                    <a:pt x="488" y="109"/>
                  </a:lnTo>
                  <a:lnTo>
                    <a:pt x="488" y="110"/>
                  </a:lnTo>
                  <a:lnTo>
                    <a:pt x="488" y="111"/>
                  </a:lnTo>
                  <a:lnTo>
                    <a:pt x="487" y="112"/>
                  </a:lnTo>
                  <a:lnTo>
                    <a:pt x="487" y="113"/>
                  </a:lnTo>
                  <a:lnTo>
                    <a:pt x="487" y="115"/>
                  </a:lnTo>
                  <a:lnTo>
                    <a:pt x="487" y="116"/>
                  </a:lnTo>
                  <a:lnTo>
                    <a:pt x="488" y="116"/>
                  </a:lnTo>
                  <a:lnTo>
                    <a:pt x="488" y="117"/>
                  </a:lnTo>
                  <a:lnTo>
                    <a:pt x="488" y="118"/>
                  </a:lnTo>
                  <a:lnTo>
                    <a:pt x="490" y="118"/>
                  </a:lnTo>
                  <a:lnTo>
                    <a:pt x="490" y="119"/>
                  </a:lnTo>
                  <a:lnTo>
                    <a:pt x="491" y="120"/>
                  </a:lnTo>
                  <a:lnTo>
                    <a:pt x="491" y="122"/>
                  </a:lnTo>
                  <a:lnTo>
                    <a:pt x="490" y="122"/>
                  </a:lnTo>
                  <a:lnTo>
                    <a:pt x="491" y="122"/>
                  </a:lnTo>
                  <a:lnTo>
                    <a:pt x="491" y="123"/>
                  </a:lnTo>
                  <a:lnTo>
                    <a:pt x="491" y="122"/>
                  </a:lnTo>
                  <a:lnTo>
                    <a:pt x="492" y="120"/>
                  </a:lnTo>
                  <a:lnTo>
                    <a:pt x="492" y="122"/>
                  </a:lnTo>
                  <a:lnTo>
                    <a:pt x="492" y="120"/>
                  </a:lnTo>
                  <a:lnTo>
                    <a:pt x="493" y="120"/>
                  </a:lnTo>
                  <a:lnTo>
                    <a:pt x="493" y="122"/>
                  </a:lnTo>
                  <a:lnTo>
                    <a:pt x="492" y="122"/>
                  </a:lnTo>
                  <a:lnTo>
                    <a:pt x="492" y="123"/>
                  </a:lnTo>
                  <a:lnTo>
                    <a:pt x="492" y="124"/>
                  </a:lnTo>
                  <a:lnTo>
                    <a:pt x="492" y="125"/>
                  </a:lnTo>
                  <a:lnTo>
                    <a:pt x="492" y="126"/>
                  </a:lnTo>
                  <a:lnTo>
                    <a:pt x="492" y="127"/>
                  </a:lnTo>
                  <a:lnTo>
                    <a:pt x="493" y="129"/>
                  </a:lnTo>
                  <a:lnTo>
                    <a:pt x="493" y="130"/>
                  </a:lnTo>
                  <a:lnTo>
                    <a:pt x="493" y="131"/>
                  </a:lnTo>
                  <a:lnTo>
                    <a:pt x="493" y="132"/>
                  </a:lnTo>
                  <a:lnTo>
                    <a:pt x="493" y="133"/>
                  </a:lnTo>
                  <a:lnTo>
                    <a:pt x="492" y="134"/>
                  </a:lnTo>
                  <a:lnTo>
                    <a:pt x="492" y="136"/>
                  </a:lnTo>
                  <a:lnTo>
                    <a:pt x="492" y="137"/>
                  </a:lnTo>
                  <a:lnTo>
                    <a:pt x="492" y="138"/>
                  </a:lnTo>
                  <a:lnTo>
                    <a:pt x="491" y="139"/>
                  </a:lnTo>
                  <a:lnTo>
                    <a:pt x="490" y="140"/>
                  </a:lnTo>
                  <a:lnTo>
                    <a:pt x="490" y="141"/>
                  </a:lnTo>
                  <a:lnTo>
                    <a:pt x="490" y="143"/>
                  </a:lnTo>
                  <a:lnTo>
                    <a:pt x="491" y="144"/>
                  </a:lnTo>
                  <a:lnTo>
                    <a:pt x="491" y="145"/>
                  </a:lnTo>
                  <a:lnTo>
                    <a:pt x="492" y="145"/>
                  </a:lnTo>
                  <a:lnTo>
                    <a:pt x="491" y="145"/>
                  </a:lnTo>
                  <a:lnTo>
                    <a:pt x="492" y="146"/>
                  </a:lnTo>
                  <a:lnTo>
                    <a:pt x="491" y="147"/>
                  </a:lnTo>
                  <a:lnTo>
                    <a:pt x="492" y="146"/>
                  </a:lnTo>
                  <a:lnTo>
                    <a:pt x="492" y="147"/>
                  </a:lnTo>
                  <a:lnTo>
                    <a:pt x="493" y="147"/>
                  </a:lnTo>
                  <a:lnTo>
                    <a:pt x="493" y="148"/>
                  </a:lnTo>
                  <a:lnTo>
                    <a:pt x="492" y="148"/>
                  </a:lnTo>
                  <a:lnTo>
                    <a:pt x="492" y="150"/>
                  </a:lnTo>
                  <a:lnTo>
                    <a:pt x="491" y="152"/>
                  </a:lnTo>
                  <a:lnTo>
                    <a:pt x="491" y="153"/>
                  </a:lnTo>
                  <a:lnTo>
                    <a:pt x="492" y="153"/>
                  </a:lnTo>
                  <a:lnTo>
                    <a:pt x="492" y="154"/>
                  </a:lnTo>
                  <a:lnTo>
                    <a:pt x="492" y="155"/>
                  </a:lnTo>
                  <a:lnTo>
                    <a:pt x="493" y="155"/>
                  </a:lnTo>
                  <a:lnTo>
                    <a:pt x="494" y="157"/>
                  </a:lnTo>
                  <a:lnTo>
                    <a:pt x="495" y="158"/>
                  </a:lnTo>
                  <a:lnTo>
                    <a:pt x="497" y="157"/>
                  </a:lnTo>
                  <a:lnTo>
                    <a:pt x="497" y="158"/>
                  </a:lnTo>
                  <a:lnTo>
                    <a:pt x="497" y="159"/>
                  </a:lnTo>
                  <a:lnTo>
                    <a:pt x="498" y="159"/>
                  </a:lnTo>
                  <a:lnTo>
                    <a:pt x="499" y="159"/>
                  </a:lnTo>
                  <a:lnTo>
                    <a:pt x="500" y="159"/>
                  </a:lnTo>
                  <a:lnTo>
                    <a:pt x="500" y="158"/>
                  </a:lnTo>
                  <a:lnTo>
                    <a:pt x="500" y="159"/>
                  </a:lnTo>
                  <a:lnTo>
                    <a:pt x="500" y="160"/>
                  </a:lnTo>
                  <a:lnTo>
                    <a:pt x="501" y="161"/>
                  </a:lnTo>
                  <a:lnTo>
                    <a:pt x="502" y="161"/>
                  </a:lnTo>
                  <a:lnTo>
                    <a:pt x="505" y="161"/>
                  </a:lnTo>
                  <a:lnTo>
                    <a:pt x="505" y="160"/>
                  </a:lnTo>
                  <a:lnTo>
                    <a:pt x="505" y="159"/>
                  </a:lnTo>
                  <a:lnTo>
                    <a:pt x="506" y="160"/>
                  </a:lnTo>
                  <a:lnTo>
                    <a:pt x="506" y="161"/>
                  </a:lnTo>
                  <a:lnTo>
                    <a:pt x="506" y="162"/>
                  </a:lnTo>
                  <a:lnTo>
                    <a:pt x="506" y="164"/>
                  </a:lnTo>
                  <a:lnTo>
                    <a:pt x="506" y="165"/>
                  </a:lnTo>
                  <a:lnTo>
                    <a:pt x="506" y="166"/>
                  </a:lnTo>
                  <a:lnTo>
                    <a:pt x="507" y="167"/>
                  </a:lnTo>
                  <a:lnTo>
                    <a:pt x="508" y="167"/>
                  </a:lnTo>
                  <a:lnTo>
                    <a:pt x="508" y="166"/>
                  </a:lnTo>
                  <a:lnTo>
                    <a:pt x="509" y="166"/>
                  </a:lnTo>
                  <a:lnTo>
                    <a:pt x="509" y="167"/>
                  </a:lnTo>
                  <a:lnTo>
                    <a:pt x="509" y="168"/>
                  </a:lnTo>
                  <a:lnTo>
                    <a:pt x="510" y="168"/>
                  </a:lnTo>
                  <a:lnTo>
                    <a:pt x="510" y="169"/>
                  </a:lnTo>
                  <a:lnTo>
                    <a:pt x="512" y="168"/>
                  </a:lnTo>
                  <a:lnTo>
                    <a:pt x="513" y="169"/>
                  </a:lnTo>
                  <a:lnTo>
                    <a:pt x="514" y="169"/>
                  </a:lnTo>
                  <a:lnTo>
                    <a:pt x="514" y="171"/>
                  </a:lnTo>
                  <a:lnTo>
                    <a:pt x="515" y="171"/>
                  </a:lnTo>
                  <a:lnTo>
                    <a:pt x="514" y="171"/>
                  </a:lnTo>
                  <a:lnTo>
                    <a:pt x="514" y="172"/>
                  </a:lnTo>
                  <a:lnTo>
                    <a:pt x="514" y="173"/>
                  </a:lnTo>
                  <a:lnTo>
                    <a:pt x="515" y="173"/>
                  </a:lnTo>
                  <a:lnTo>
                    <a:pt x="516" y="173"/>
                  </a:lnTo>
                  <a:lnTo>
                    <a:pt x="515" y="173"/>
                  </a:lnTo>
                  <a:lnTo>
                    <a:pt x="516" y="173"/>
                  </a:lnTo>
                  <a:lnTo>
                    <a:pt x="516" y="172"/>
                  </a:lnTo>
                  <a:lnTo>
                    <a:pt x="516" y="171"/>
                  </a:lnTo>
                  <a:lnTo>
                    <a:pt x="516" y="172"/>
                  </a:lnTo>
                  <a:lnTo>
                    <a:pt x="517" y="172"/>
                  </a:lnTo>
                  <a:lnTo>
                    <a:pt x="517" y="171"/>
                  </a:lnTo>
                  <a:lnTo>
                    <a:pt x="519" y="172"/>
                  </a:lnTo>
                  <a:lnTo>
                    <a:pt x="517" y="172"/>
                  </a:lnTo>
                  <a:lnTo>
                    <a:pt x="517" y="173"/>
                  </a:lnTo>
                  <a:lnTo>
                    <a:pt x="519" y="173"/>
                  </a:lnTo>
                  <a:lnTo>
                    <a:pt x="519" y="174"/>
                  </a:lnTo>
                  <a:lnTo>
                    <a:pt x="519" y="173"/>
                  </a:lnTo>
                  <a:lnTo>
                    <a:pt x="519" y="174"/>
                  </a:lnTo>
                  <a:lnTo>
                    <a:pt x="520" y="174"/>
                  </a:lnTo>
                  <a:lnTo>
                    <a:pt x="521" y="174"/>
                  </a:lnTo>
                  <a:lnTo>
                    <a:pt x="520" y="175"/>
                  </a:lnTo>
                  <a:lnTo>
                    <a:pt x="521" y="175"/>
                  </a:lnTo>
                  <a:lnTo>
                    <a:pt x="521" y="176"/>
                  </a:lnTo>
                  <a:lnTo>
                    <a:pt x="521" y="178"/>
                  </a:lnTo>
                  <a:lnTo>
                    <a:pt x="521" y="179"/>
                  </a:lnTo>
                  <a:lnTo>
                    <a:pt x="520" y="179"/>
                  </a:lnTo>
                  <a:lnTo>
                    <a:pt x="520" y="178"/>
                  </a:lnTo>
                  <a:lnTo>
                    <a:pt x="519" y="178"/>
                  </a:lnTo>
                  <a:lnTo>
                    <a:pt x="519" y="179"/>
                  </a:lnTo>
                  <a:lnTo>
                    <a:pt x="517" y="179"/>
                  </a:lnTo>
                  <a:lnTo>
                    <a:pt x="517" y="180"/>
                  </a:lnTo>
                  <a:lnTo>
                    <a:pt x="519" y="180"/>
                  </a:lnTo>
                  <a:lnTo>
                    <a:pt x="519" y="181"/>
                  </a:lnTo>
                  <a:lnTo>
                    <a:pt x="517" y="181"/>
                  </a:lnTo>
                  <a:lnTo>
                    <a:pt x="519" y="181"/>
                  </a:lnTo>
                  <a:lnTo>
                    <a:pt x="519" y="182"/>
                  </a:lnTo>
                  <a:lnTo>
                    <a:pt x="520" y="182"/>
                  </a:lnTo>
                  <a:lnTo>
                    <a:pt x="520" y="183"/>
                  </a:lnTo>
                  <a:lnTo>
                    <a:pt x="519" y="183"/>
                  </a:lnTo>
                  <a:lnTo>
                    <a:pt x="519" y="185"/>
                  </a:lnTo>
                  <a:lnTo>
                    <a:pt x="520" y="183"/>
                  </a:lnTo>
                  <a:lnTo>
                    <a:pt x="520" y="185"/>
                  </a:lnTo>
                  <a:lnTo>
                    <a:pt x="521" y="185"/>
                  </a:lnTo>
                  <a:lnTo>
                    <a:pt x="522" y="185"/>
                  </a:lnTo>
                  <a:lnTo>
                    <a:pt x="521" y="185"/>
                  </a:lnTo>
                  <a:lnTo>
                    <a:pt x="521" y="186"/>
                  </a:lnTo>
                  <a:lnTo>
                    <a:pt x="522" y="186"/>
                  </a:lnTo>
                  <a:lnTo>
                    <a:pt x="523" y="186"/>
                  </a:lnTo>
                  <a:lnTo>
                    <a:pt x="523" y="187"/>
                  </a:lnTo>
                  <a:lnTo>
                    <a:pt x="523" y="188"/>
                  </a:lnTo>
                  <a:lnTo>
                    <a:pt x="522" y="189"/>
                  </a:lnTo>
                  <a:lnTo>
                    <a:pt x="522" y="190"/>
                  </a:lnTo>
                  <a:lnTo>
                    <a:pt x="523" y="190"/>
                  </a:lnTo>
                  <a:lnTo>
                    <a:pt x="523" y="192"/>
                  </a:lnTo>
                  <a:lnTo>
                    <a:pt x="523" y="193"/>
                  </a:lnTo>
                  <a:lnTo>
                    <a:pt x="523" y="194"/>
                  </a:lnTo>
                  <a:lnTo>
                    <a:pt x="524" y="194"/>
                  </a:lnTo>
                  <a:lnTo>
                    <a:pt x="524" y="195"/>
                  </a:lnTo>
                  <a:lnTo>
                    <a:pt x="526" y="195"/>
                  </a:lnTo>
                  <a:lnTo>
                    <a:pt x="526" y="194"/>
                  </a:lnTo>
                  <a:lnTo>
                    <a:pt x="526" y="195"/>
                  </a:lnTo>
                  <a:lnTo>
                    <a:pt x="524" y="196"/>
                  </a:lnTo>
                  <a:lnTo>
                    <a:pt x="524" y="197"/>
                  </a:lnTo>
                  <a:lnTo>
                    <a:pt x="523" y="197"/>
                  </a:lnTo>
                  <a:lnTo>
                    <a:pt x="523" y="199"/>
                  </a:lnTo>
                  <a:lnTo>
                    <a:pt x="523" y="200"/>
                  </a:lnTo>
                  <a:lnTo>
                    <a:pt x="524" y="200"/>
                  </a:lnTo>
                  <a:lnTo>
                    <a:pt x="523" y="200"/>
                  </a:lnTo>
                  <a:lnTo>
                    <a:pt x="523" y="201"/>
                  </a:lnTo>
                  <a:lnTo>
                    <a:pt x="524" y="202"/>
                  </a:lnTo>
                  <a:lnTo>
                    <a:pt x="523" y="203"/>
                  </a:lnTo>
                  <a:lnTo>
                    <a:pt x="524" y="204"/>
                  </a:lnTo>
                  <a:lnTo>
                    <a:pt x="523" y="204"/>
                  </a:lnTo>
                  <a:lnTo>
                    <a:pt x="524" y="204"/>
                  </a:lnTo>
                  <a:lnTo>
                    <a:pt x="524" y="206"/>
                  </a:lnTo>
                  <a:lnTo>
                    <a:pt x="524" y="207"/>
                  </a:lnTo>
                  <a:lnTo>
                    <a:pt x="523" y="207"/>
                  </a:lnTo>
                  <a:lnTo>
                    <a:pt x="524" y="207"/>
                  </a:lnTo>
                  <a:lnTo>
                    <a:pt x="524" y="208"/>
                  </a:lnTo>
                  <a:lnTo>
                    <a:pt x="526" y="208"/>
                  </a:lnTo>
                  <a:lnTo>
                    <a:pt x="524" y="209"/>
                  </a:lnTo>
                  <a:lnTo>
                    <a:pt x="524" y="210"/>
                  </a:lnTo>
                  <a:lnTo>
                    <a:pt x="524" y="209"/>
                  </a:lnTo>
                  <a:lnTo>
                    <a:pt x="526" y="209"/>
                  </a:lnTo>
                  <a:lnTo>
                    <a:pt x="527" y="208"/>
                  </a:lnTo>
                  <a:lnTo>
                    <a:pt x="527" y="209"/>
                  </a:lnTo>
                  <a:lnTo>
                    <a:pt x="528" y="210"/>
                  </a:lnTo>
                  <a:lnTo>
                    <a:pt x="528" y="211"/>
                  </a:lnTo>
                  <a:lnTo>
                    <a:pt x="529" y="213"/>
                  </a:lnTo>
                  <a:lnTo>
                    <a:pt x="529" y="210"/>
                  </a:lnTo>
                  <a:lnTo>
                    <a:pt x="528" y="208"/>
                  </a:lnTo>
                  <a:lnTo>
                    <a:pt x="528" y="207"/>
                  </a:lnTo>
                  <a:lnTo>
                    <a:pt x="529" y="208"/>
                  </a:lnTo>
                  <a:lnTo>
                    <a:pt x="529" y="207"/>
                  </a:lnTo>
                  <a:lnTo>
                    <a:pt x="528" y="207"/>
                  </a:lnTo>
                  <a:lnTo>
                    <a:pt x="529" y="207"/>
                  </a:lnTo>
                  <a:lnTo>
                    <a:pt x="529" y="206"/>
                  </a:lnTo>
                  <a:lnTo>
                    <a:pt x="529" y="204"/>
                  </a:lnTo>
                  <a:lnTo>
                    <a:pt x="530" y="204"/>
                  </a:lnTo>
                  <a:lnTo>
                    <a:pt x="531" y="204"/>
                  </a:lnTo>
                  <a:lnTo>
                    <a:pt x="531" y="206"/>
                  </a:lnTo>
                  <a:lnTo>
                    <a:pt x="531" y="207"/>
                  </a:lnTo>
                  <a:lnTo>
                    <a:pt x="531" y="208"/>
                  </a:lnTo>
                  <a:lnTo>
                    <a:pt x="533" y="209"/>
                  </a:lnTo>
                  <a:lnTo>
                    <a:pt x="534" y="209"/>
                  </a:lnTo>
                  <a:lnTo>
                    <a:pt x="535" y="210"/>
                  </a:lnTo>
                  <a:lnTo>
                    <a:pt x="536" y="210"/>
                  </a:lnTo>
                  <a:lnTo>
                    <a:pt x="536" y="211"/>
                  </a:lnTo>
                  <a:lnTo>
                    <a:pt x="536" y="210"/>
                  </a:lnTo>
                  <a:lnTo>
                    <a:pt x="536" y="209"/>
                  </a:lnTo>
                  <a:lnTo>
                    <a:pt x="536" y="208"/>
                  </a:lnTo>
                  <a:lnTo>
                    <a:pt x="537" y="207"/>
                  </a:lnTo>
                  <a:lnTo>
                    <a:pt x="537" y="208"/>
                  </a:lnTo>
                  <a:lnTo>
                    <a:pt x="537" y="207"/>
                  </a:lnTo>
                  <a:lnTo>
                    <a:pt x="538" y="208"/>
                  </a:lnTo>
                  <a:lnTo>
                    <a:pt x="537" y="208"/>
                  </a:lnTo>
                  <a:lnTo>
                    <a:pt x="538" y="208"/>
                  </a:lnTo>
                  <a:lnTo>
                    <a:pt x="538" y="209"/>
                  </a:lnTo>
                  <a:lnTo>
                    <a:pt x="538" y="208"/>
                  </a:lnTo>
                  <a:lnTo>
                    <a:pt x="538" y="209"/>
                  </a:lnTo>
                  <a:lnTo>
                    <a:pt x="540" y="209"/>
                  </a:lnTo>
                  <a:lnTo>
                    <a:pt x="538" y="209"/>
                  </a:lnTo>
                  <a:lnTo>
                    <a:pt x="538" y="210"/>
                  </a:lnTo>
                  <a:lnTo>
                    <a:pt x="537" y="210"/>
                  </a:lnTo>
                  <a:lnTo>
                    <a:pt x="538" y="210"/>
                  </a:lnTo>
                  <a:lnTo>
                    <a:pt x="537" y="210"/>
                  </a:lnTo>
                  <a:lnTo>
                    <a:pt x="538" y="210"/>
                  </a:lnTo>
                  <a:lnTo>
                    <a:pt x="538" y="211"/>
                  </a:lnTo>
                  <a:lnTo>
                    <a:pt x="538" y="210"/>
                  </a:lnTo>
                  <a:lnTo>
                    <a:pt x="540" y="210"/>
                  </a:lnTo>
                  <a:lnTo>
                    <a:pt x="540" y="211"/>
                  </a:lnTo>
                  <a:lnTo>
                    <a:pt x="538" y="211"/>
                  </a:lnTo>
                  <a:lnTo>
                    <a:pt x="538" y="213"/>
                  </a:lnTo>
                  <a:lnTo>
                    <a:pt x="540" y="213"/>
                  </a:lnTo>
                  <a:lnTo>
                    <a:pt x="540" y="214"/>
                  </a:lnTo>
                  <a:lnTo>
                    <a:pt x="538" y="214"/>
                  </a:lnTo>
                  <a:lnTo>
                    <a:pt x="538" y="215"/>
                  </a:lnTo>
                  <a:lnTo>
                    <a:pt x="538" y="216"/>
                  </a:lnTo>
                  <a:lnTo>
                    <a:pt x="537" y="216"/>
                  </a:lnTo>
                  <a:lnTo>
                    <a:pt x="537" y="217"/>
                  </a:lnTo>
                  <a:lnTo>
                    <a:pt x="537" y="218"/>
                  </a:lnTo>
                  <a:lnTo>
                    <a:pt x="536" y="220"/>
                  </a:lnTo>
                  <a:lnTo>
                    <a:pt x="536" y="221"/>
                  </a:lnTo>
                  <a:lnTo>
                    <a:pt x="537" y="221"/>
                  </a:lnTo>
                  <a:lnTo>
                    <a:pt x="537" y="222"/>
                  </a:lnTo>
                  <a:lnTo>
                    <a:pt x="536" y="222"/>
                  </a:lnTo>
                  <a:lnTo>
                    <a:pt x="536" y="223"/>
                  </a:lnTo>
                  <a:lnTo>
                    <a:pt x="536" y="224"/>
                  </a:lnTo>
                  <a:lnTo>
                    <a:pt x="537" y="225"/>
                  </a:lnTo>
                  <a:lnTo>
                    <a:pt x="536" y="225"/>
                  </a:lnTo>
                  <a:lnTo>
                    <a:pt x="536" y="227"/>
                  </a:lnTo>
                  <a:lnTo>
                    <a:pt x="537" y="227"/>
                  </a:lnTo>
                  <a:lnTo>
                    <a:pt x="538" y="227"/>
                  </a:lnTo>
                  <a:lnTo>
                    <a:pt x="538" y="228"/>
                  </a:lnTo>
                  <a:lnTo>
                    <a:pt x="540" y="228"/>
                  </a:lnTo>
                  <a:lnTo>
                    <a:pt x="540" y="229"/>
                  </a:lnTo>
                  <a:lnTo>
                    <a:pt x="540" y="230"/>
                  </a:lnTo>
                  <a:lnTo>
                    <a:pt x="541" y="231"/>
                  </a:lnTo>
                  <a:lnTo>
                    <a:pt x="542" y="231"/>
                  </a:lnTo>
                  <a:lnTo>
                    <a:pt x="542" y="232"/>
                  </a:lnTo>
                  <a:lnTo>
                    <a:pt x="542" y="234"/>
                  </a:lnTo>
                  <a:lnTo>
                    <a:pt x="543" y="234"/>
                  </a:lnTo>
                  <a:lnTo>
                    <a:pt x="543" y="235"/>
                  </a:lnTo>
                  <a:lnTo>
                    <a:pt x="544" y="235"/>
                  </a:lnTo>
                  <a:lnTo>
                    <a:pt x="545" y="235"/>
                  </a:lnTo>
                  <a:lnTo>
                    <a:pt x="545" y="234"/>
                  </a:lnTo>
                  <a:lnTo>
                    <a:pt x="544" y="234"/>
                  </a:lnTo>
                  <a:lnTo>
                    <a:pt x="545" y="234"/>
                  </a:lnTo>
                  <a:lnTo>
                    <a:pt x="547" y="234"/>
                  </a:lnTo>
                  <a:lnTo>
                    <a:pt x="545" y="235"/>
                  </a:lnTo>
                  <a:lnTo>
                    <a:pt x="547" y="235"/>
                  </a:lnTo>
                  <a:lnTo>
                    <a:pt x="547" y="234"/>
                  </a:lnTo>
                  <a:lnTo>
                    <a:pt x="547" y="235"/>
                  </a:lnTo>
                  <a:lnTo>
                    <a:pt x="547" y="236"/>
                  </a:lnTo>
                  <a:lnTo>
                    <a:pt x="548" y="236"/>
                  </a:lnTo>
                  <a:lnTo>
                    <a:pt x="548" y="237"/>
                  </a:lnTo>
                  <a:lnTo>
                    <a:pt x="548" y="241"/>
                  </a:lnTo>
                  <a:lnTo>
                    <a:pt x="549" y="242"/>
                  </a:lnTo>
                  <a:lnTo>
                    <a:pt x="549" y="243"/>
                  </a:lnTo>
                  <a:lnTo>
                    <a:pt x="551" y="245"/>
                  </a:lnTo>
                  <a:lnTo>
                    <a:pt x="552" y="245"/>
                  </a:lnTo>
                  <a:lnTo>
                    <a:pt x="554" y="246"/>
                  </a:lnTo>
                  <a:lnTo>
                    <a:pt x="554" y="248"/>
                  </a:lnTo>
                  <a:lnTo>
                    <a:pt x="552" y="249"/>
                  </a:lnTo>
                  <a:lnTo>
                    <a:pt x="552" y="250"/>
                  </a:lnTo>
                  <a:lnTo>
                    <a:pt x="554" y="251"/>
                  </a:lnTo>
                  <a:lnTo>
                    <a:pt x="554" y="252"/>
                  </a:lnTo>
                  <a:lnTo>
                    <a:pt x="552" y="252"/>
                  </a:lnTo>
                  <a:lnTo>
                    <a:pt x="554" y="252"/>
                  </a:lnTo>
                  <a:lnTo>
                    <a:pt x="554" y="253"/>
                  </a:lnTo>
                  <a:lnTo>
                    <a:pt x="555" y="253"/>
                  </a:lnTo>
                  <a:lnTo>
                    <a:pt x="556" y="253"/>
                  </a:lnTo>
                  <a:lnTo>
                    <a:pt x="557" y="253"/>
                  </a:lnTo>
                  <a:lnTo>
                    <a:pt x="557" y="255"/>
                  </a:lnTo>
                  <a:lnTo>
                    <a:pt x="556" y="256"/>
                  </a:lnTo>
                  <a:lnTo>
                    <a:pt x="556" y="257"/>
                  </a:lnTo>
                  <a:lnTo>
                    <a:pt x="557" y="256"/>
                  </a:lnTo>
                  <a:lnTo>
                    <a:pt x="557" y="257"/>
                  </a:lnTo>
                  <a:lnTo>
                    <a:pt x="556" y="257"/>
                  </a:lnTo>
                  <a:lnTo>
                    <a:pt x="557" y="257"/>
                  </a:lnTo>
                  <a:lnTo>
                    <a:pt x="556" y="258"/>
                  </a:lnTo>
                  <a:lnTo>
                    <a:pt x="555" y="258"/>
                  </a:lnTo>
                  <a:lnTo>
                    <a:pt x="555" y="259"/>
                  </a:lnTo>
                  <a:lnTo>
                    <a:pt x="555" y="260"/>
                  </a:lnTo>
                  <a:lnTo>
                    <a:pt x="555" y="261"/>
                  </a:lnTo>
                  <a:lnTo>
                    <a:pt x="556" y="261"/>
                  </a:lnTo>
                  <a:lnTo>
                    <a:pt x="556" y="263"/>
                  </a:lnTo>
                  <a:lnTo>
                    <a:pt x="556" y="264"/>
                  </a:lnTo>
                  <a:lnTo>
                    <a:pt x="555" y="264"/>
                  </a:lnTo>
                  <a:lnTo>
                    <a:pt x="555" y="265"/>
                  </a:lnTo>
                  <a:lnTo>
                    <a:pt x="556" y="264"/>
                  </a:lnTo>
                  <a:lnTo>
                    <a:pt x="556" y="263"/>
                  </a:lnTo>
                  <a:lnTo>
                    <a:pt x="556" y="264"/>
                  </a:lnTo>
                  <a:lnTo>
                    <a:pt x="557" y="264"/>
                  </a:lnTo>
                  <a:lnTo>
                    <a:pt x="557" y="265"/>
                  </a:lnTo>
                  <a:lnTo>
                    <a:pt x="556" y="266"/>
                  </a:lnTo>
                  <a:lnTo>
                    <a:pt x="556" y="267"/>
                  </a:lnTo>
                  <a:lnTo>
                    <a:pt x="555" y="267"/>
                  </a:lnTo>
                  <a:lnTo>
                    <a:pt x="555" y="268"/>
                  </a:lnTo>
                  <a:lnTo>
                    <a:pt x="554" y="270"/>
                  </a:lnTo>
                  <a:lnTo>
                    <a:pt x="554" y="271"/>
                  </a:lnTo>
                  <a:lnTo>
                    <a:pt x="555" y="271"/>
                  </a:lnTo>
                  <a:lnTo>
                    <a:pt x="554" y="272"/>
                  </a:lnTo>
                  <a:lnTo>
                    <a:pt x="552" y="275"/>
                  </a:lnTo>
                  <a:lnTo>
                    <a:pt x="554" y="275"/>
                  </a:lnTo>
                  <a:lnTo>
                    <a:pt x="552" y="277"/>
                  </a:lnTo>
                  <a:lnTo>
                    <a:pt x="552" y="278"/>
                  </a:lnTo>
                  <a:lnTo>
                    <a:pt x="552" y="279"/>
                  </a:lnTo>
                  <a:lnTo>
                    <a:pt x="551" y="280"/>
                  </a:lnTo>
                  <a:lnTo>
                    <a:pt x="551" y="281"/>
                  </a:lnTo>
                  <a:lnTo>
                    <a:pt x="551" y="282"/>
                  </a:lnTo>
                  <a:lnTo>
                    <a:pt x="550" y="282"/>
                  </a:lnTo>
                  <a:lnTo>
                    <a:pt x="549" y="284"/>
                  </a:lnTo>
                  <a:lnTo>
                    <a:pt x="550" y="284"/>
                  </a:lnTo>
                  <a:lnTo>
                    <a:pt x="549" y="285"/>
                  </a:lnTo>
                  <a:lnTo>
                    <a:pt x="549" y="286"/>
                  </a:lnTo>
                  <a:lnTo>
                    <a:pt x="550" y="287"/>
                  </a:lnTo>
                  <a:lnTo>
                    <a:pt x="549" y="288"/>
                  </a:lnTo>
                  <a:lnTo>
                    <a:pt x="550" y="288"/>
                  </a:lnTo>
                  <a:lnTo>
                    <a:pt x="550" y="289"/>
                  </a:lnTo>
                  <a:lnTo>
                    <a:pt x="550" y="291"/>
                  </a:lnTo>
                  <a:lnTo>
                    <a:pt x="550" y="292"/>
                  </a:lnTo>
                  <a:lnTo>
                    <a:pt x="550" y="293"/>
                  </a:lnTo>
                  <a:lnTo>
                    <a:pt x="550" y="294"/>
                  </a:lnTo>
                  <a:lnTo>
                    <a:pt x="551" y="293"/>
                  </a:lnTo>
                  <a:lnTo>
                    <a:pt x="551" y="294"/>
                  </a:lnTo>
                  <a:lnTo>
                    <a:pt x="550" y="294"/>
                  </a:lnTo>
                  <a:lnTo>
                    <a:pt x="550" y="295"/>
                  </a:lnTo>
                  <a:lnTo>
                    <a:pt x="549" y="296"/>
                  </a:lnTo>
                  <a:lnTo>
                    <a:pt x="550" y="296"/>
                  </a:lnTo>
                  <a:lnTo>
                    <a:pt x="549" y="298"/>
                  </a:lnTo>
                  <a:lnTo>
                    <a:pt x="549" y="299"/>
                  </a:lnTo>
                  <a:lnTo>
                    <a:pt x="550" y="299"/>
                  </a:lnTo>
                  <a:lnTo>
                    <a:pt x="550" y="300"/>
                  </a:lnTo>
                  <a:lnTo>
                    <a:pt x="550" y="301"/>
                  </a:lnTo>
                  <a:lnTo>
                    <a:pt x="550" y="302"/>
                  </a:lnTo>
                  <a:lnTo>
                    <a:pt x="549" y="305"/>
                  </a:lnTo>
                  <a:lnTo>
                    <a:pt x="548" y="306"/>
                  </a:lnTo>
                  <a:lnTo>
                    <a:pt x="548" y="307"/>
                  </a:lnTo>
                  <a:lnTo>
                    <a:pt x="549" y="307"/>
                  </a:lnTo>
                  <a:lnTo>
                    <a:pt x="548" y="307"/>
                  </a:lnTo>
                  <a:lnTo>
                    <a:pt x="548" y="308"/>
                  </a:lnTo>
                  <a:lnTo>
                    <a:pt x="548" y="309"/>
                  </a:lnTo>
                  <a:lnTo>
                    <a:pt x="547" y="309"/>
                  </a:lnTo>
                  <a:lnTo>
                    <a:pt x="547" y="310"/>
                  </a:lnTo>
                  <a:lnTo>
                    <a:pt x="545" y="312"/>
                  </a:lnTo>
                  <a:lnTo>
                    <a:pt x="544" y="313"/>
                  </a:lnTo>
                  <a:lnTo>
                    <a:pt x="543" y="314"/>
                  </a:lnTo>
                  <a:lnTo>
                    <a:pt x="543" y="315"/>
                  </a:lnTo>
                  <a:lnTo>
                    <a:pt x="542" y="315"/>
                  </a:lnTo>
                  <a:lnTo>
                    <a:pt x="542" y="316"/>
                  </a:lnTo>
                  <a:lnTo>
                    <a:pt x="541" y="317"/>
                  </a:lnTo>
                  <a:lnTo>
                    <a:pt x="541" y="319"/>
                  </a:lnTo>
                  <a:lnTo>
                    <a:pt x="540" y="319"/>
                  </a:lnTo>
                  <a:lnTo>
                    <a:pt x="540" y="320"/>
                  </a:lnTo>
                  <a:lnTo>
                    <a:pt x="540" y="321"/>
                  </a:lnTo>
                  <a:lnTo>
                    <a:pt x="538" y="321"/>
                  </a:lnTo>
                  <a:lnTo>
                    <a:pt x="538" y="322"/>
                  </a:lnTo>
                  <a:lnTo>
                    <a:pt x="538" y="323"/>
                  </a:lnTo>
                  <a:lnTo>
                    <a:pt x="537" y="324"/>
                  </a:lnTo>
                  <a:lnTo>
                    <a:pt x="537" y="326"/>
                  </a:lnTo>
                  <a:lnTo>
                    <a:pt x="536" y="326"/>
                  </a:lnTo>
                  <a:lnTo>
                    <a:pt x="536" y="327"/>
                  </a:lnTo>
                  <a:lnTo>
                    <a:pt x="535" y="328"/>
                  </a:lnTo>
                  <a:lnTo>
                    <a:pt x="534" y="329"/>
                  </a:lnTo>
                  <a:lnTo>
                    <a:pt x="534" y="330"/>
                  </a:lnTo>
                  <a:lnTo>
                    <a:pt x="533" y="331"/>
                  </a:lnTo>
                  <a:lnTo>
                    <a:pt x="531" y="333"/>
                  </a:lnTo>
                  <a:lnTo>
                    <a:pt x="531" y="334"/>
                  </a:lnTo>
                  <a:lnTo>
                    <a:pt x="530" y="335"/>
                  </a:lnTo>
                  <a:lnTo>
                    <a:pt x="529" y="336"/>
                  </a:lnTo>
                  <a:lnTo>
                    <a:pt x="528" y="337"/>
                  </a:lnTo>
                  <a:lnTo>
                    <a:pt x="528" y="338"/>
                  </a:lnTo>
                  <a:lnTo>
                    <a:pt x="527" y="340"/>
                  </a:lnTo>
                  <a:lnTo>
                    <a:pt x="527" y="341"/>
                  </a:lnTo>
                  <a:lnTo>
                    <a:pt x="526" y="342"/>
                  </a:lnTo>
                  <a:lnTo>
                    <a:pt x="527" y="342"/>
                  </a:lnTo>
                  <a:lnTo>
                    <a:pt x="527" y="343"/>
                  </a:lnTo>
                  <a:lnTo>
                    <a:pt x="527" y="342"/>
                  </a:lnTo>
                  <a:lnTo>
                    <a:pt x="527" y="343"/>
                  </a:lnTo>
                  <a:lnTo>
                    <a:pt x="526" y="343"/>
                  </a:lnTo>
                  <a:lnTo>
                    <a:pt x="526" y="344"/>
                  </a:lnTo>
                  <a:lnTo>
                    <a:pt x="526" y="345"/>
                  </a:lnTo>
                  <a:lnTo>
                    <a:pt x="524" y="345"/>
                  </a:lnTo>
                  <a:lnTo>
                    <a:pt x="524" y="347"/>
                  </a:lnTo>
                  <a:lnTo>
                    <a:pt x="523" y="347"/>
                  </a:lnTo>
                  <a:lnTo>
                    <a:pt x="523" y="348"/>
                  </a:lnTo>
                  <a:lnTo>
                    <a:pt x="522" y="349"/>
                  </a:lnTo>
                  <a:lnTo>
                    <a:pt x="522" y="350"/>
                  </a:lnTo>
                  <a:lnTo>
                    <a:pt x="521" y="350"/>
                  </a:lnTo>
                  <a:lnTo>
                    <a:pt x="521" y="351"/>
                  </a:lnTo>
                  <a:lnTo>
                    <a:pt x="521" y="352"/>
                  </a:lnTo>
                  <a:lnTo>
                    <a:pt x="520" y="352"/>
                  </a:lnTo>
                  <a:lnTo>
                    <a:pt x="519" y="354"/>
                  </a:lnTo>
                  <a:lnTo>
                    <a:pt x="519" y="355"/>
                  </a:lnTo>
                  <a:lnTo>
                    <a:pt x="517" y="355"/>
                  </a:lnTo>
                  <a:lnTo>
                    <a:pt x="517" y="356"/>
                  </a:lnTo>
                  <a:lnTo>
                    <a:pt x="516" y="356"/>
                  </a:lnTo>
                  <a:lnTo>
                    <a:pt x="516" y="357"/>
                  </a:lnTo>
                  <a:lnTo>
                    <a:pt x="515" y="357"/>
                  </a:lnTo>
                  <a:lnTo>
                    <a:pt x="516" y="357"/>
                  </a:lnTo>
                  <a:lnTo>
                    <a:pt x="515" y="358"/>
                  </a:lnTo>
                  <a:lnTo>
                    <a:pt x="514" y="358"/>
                  </a:lnTo>
                  <a:lnTo>
                    <a:pt x="513" y="359"/>
                  </a:lnTo>
                  <a:lnTo>
                    <a:pt x="512" y="361"/>
                  </a:lnTo>
                  <a:lnTo>
                    <a:pt x="512" y="362"/>
                  </a:lnTo>
                  <a:lnTo>
                    <a:pt x="510" y="362"/>
                  </a:lnTo>
                  <a:lnTo>
                    <a:pt x="510" y="363"/>
                  </a:lnTo>
                  <a:lnTo>
                    <a:pt x="510" y="364"/>
                  </a:lnTo>
                  <a:lnTo>
                    <a:pt x="509" y="364"/>
                  </a:lnTo>
                  <a:lnTo>
                    <a:pt x="509" y="365"/>
                  </a:lnTo>
                  <a:lnTo>
                    <a:pt x="509" y="366"/>
                  </a:lnTo>
                  <a:lnTo>
                    <a:pt x="508" y="366"/>
                  </a:lnTo>
                  <a:lnTo>
                    <a:pt x="508" y="368"/>
                  </a:lnTo>
                  <a:lnTo>
                    <a:pt x="507" y="368"/>
                  </a:lnTo>
                  <a:lnTo>
                    <a:pt x="506" y="369"/>
                  </a:lnTo>
                  <a:lnTo>
                    <a:pt x="505" y="369"/>
                  </a:lnTo>
                  <a:lnTo>
                    <a:pt x="505" y="370"/>
                  </a:lnTo>
                  <a:lnTo>
                    <a:pt x="504" y="370"/>
                  </a:lnTo>
                  <a:lnTo>
                    <a:pt x="502" y="370"/>
                  </a:lnTo>
                  <a:lnTo>
                    <a:pt x="502" y="371"/>
                  </a:lnTo>
                  <a:lnTo>
                    <a:pt x="501" y="371"/>
                  </a:lnTo>
                  <a:lnTo>
                    <a:pt x="500" y="371"/>
                  </a:lnTo>
                  <a:lnTo>
                    <a:pt x="501" y="371"/>
                  </a:lnTo>
                  <a:lnTo>
                    <a:pt x="502" y="371"/>
                  </a:lnTo>
                  <a:lnTo>
                    <a:pt x="502" y="372"/>
                  </a:lnTo>
                  <a:lnTo>
                    <a:pt x="501" y="372"/>
                  </a:lnTo>
                  <a:lnTo>
                    <a:pt x="500" y="372"/>
                  </a:lnTo>
                  <a:lnTo>
                    <a:pt x="499" y="372"/>
                  </a:lnTo>
                  <a:lnTo>
                    <a:pt x="498" y="373"/>
                  </a:lnTo>
                  <a:lnTo>
                    <a:pt x="497" y="373"/>
                  </a:lnTo>
                  <a:lnTo>
                    <a:pt x="495" y="375"/>
                  </a:lnTo>
                  <a:lnTo>
                    <a:pt x="494" y="375"/>
                  </a:lnTo>
                  <a:lnTo>
                    <a:pt x="494" y="376"/>
                  </a:lnTo>
                  <a:lnTo>
                    <a:pt x="493" y="376"/>
                  </a:lnTo>
                  <a:lnTo>
                    <a:pt x="493" y="377"/>
                  </a:lnTo>
                  <a:lnTo>
                    <a:pt x="492" y="377"/>
                  </a:lnTo>
                  <a:lnTo>
                    <a:pt x="492" y="378"/>
                  </a:lnTo>
                  <a:lnTo>
                    <a:pt x="491" y="378"/>
                  </a:lnTo>
                  <a:lnTo>
                    <a:pt x="491" y="379"/>
                  </a:lnTo>
                  <a:lnTo>
                    <a:pt x="490" y="379"/>
                  </a:lnTo>
                  <a:lnTo>
                    <a:pt x="490" y="380"/>
                  </a:lnTo>
                  <a:lnTo>
                    <a:pt x="488" y="380"/>
                  </a:lnTo>
                  <a:lnTo>
                    <a:pt x="488" y="382"/>
                  </a:lnTo>
                  <a:lnTo>
                    <a:pt x="488" y="380"/>
                  </a:lnTo>
                  <a:lnTo>
                    <a:pt x="490" y="380"/>
                  </a:lnTo>
                  <a:lnTo>
                    <a:pt x="488" y="380"/>
                  </a:lnTo>
                  <a:lnTo>
                    <a:pt x="487" y="380"/>
                  </a:lnTo>
                  <a:lnTo>
                    <a:pt x="488" y="382"/>
                  </a:lnTo>
                  <a:lnTo>
                    <a:pt x="487" y="382"/>
                  </a:lnTo>
                  <a:lnTo>
                    <a:pt x="488" y="382"/>
                  </a:lnTo>
                  <a:lnTo>
                    <a:pt x="487" y="382"/>
                  </a:lnTo>
                  <a:lnTo>
                    <a:pt x="487" y="383"/>
                  </a:lnTo>
                  <a:lnTo>
                    <a:pt x="486" y="383"/>
                  </a:lnTo>
                  <a:lnTo>
                    <a:pt x="486" y="384"/>
                  </a:lnTo>
                  <a:lnTo>
                    <a:pt x="485" y="384"/>
                  </a:lnTo>
                  <a:lnTo>
                    <a:pt x="485" y="385"/>
                  </a:lnTo>
                  <a:lnTo>
                    <a:pt x="484" y="385"/>
                  </a:lnTo>
                  <a:lnTo>
                    <a:pt x="484" y="384"/>
                  </a:lnTo>
                  <a:lnTo>
                    <a:pt x="483" y="384"/>
                  </a:lnTo>
                  <a:lnTo>
                    <a:pt x="483" y="385"/>
                  </a:lnTo>
                  <a:lnTo>
                    <a:pt x="484" y="385"/>
                  </a:lnTo>
                  <a:lnTo>
                    <a:pt x="483" y="386"/>
                  </a:lnTo>
                  <a:lnTo>
                    <a:pt x="484" y="386"/>
                  </a:lnTo>
                  <a:lnTo>
                    <a:pt x="484" y="385"/>
                  </a:lnTo>
                  <a:lnTo>
                    <a:pt x="484" y="386"/>
                  </a:lnTo>
                  <a:lnTo>
                    <a:pt x="483" y="387"/>
                  </a:lnTo>
                  <a:lnTo>
                    <a:pt x="483" y="389"/>
                  </a:lnTo>
                  <a:lnTo>
                    <a:pt x="481" y="389"/>
                  </a:lnTo>
                  <a:lnTo>
                    <a:pt x="481" y="390"/>
                  </a:lnTo>
                  <a:lnTo>
                    <a:pt x="480" y="390"/>
                  </a:lnTo>
                  <a:lnTo>
                    <a:pt x="481" y="390"/>
                  </a:lnTo>
                  <a:lnTo>
                    <a:pt x="480" y="391"/>
                  </a:lnTo>
                  <a:lnTo>
                    <a:pt x="480" y="392"/>
                  </a:lnTo>
                  <a:lnTo>
                    <a:pt x="479" y="392"/>
                  </a:lnTo>
                  <a:lnTo>
                    <a:pt x="479" y="391"/>
                  </a:lnTo>
                  <a:lnTo>
                    <a:pt x="479" y="392"/>
                  </a:lnTo>
                  <a:lnTo>
                    <a:pt x="478" y="392"/>
                  </a:lnTo>
                  <a:lnTo>
                    <a:pt x="479" y="392"/>
                  </a:lnTo>
                  <a:lnTo>
                    <a:pt x="478" y="392"/>
                  </a:lnTo>
                  <a:lnTo>
                    <a:pt x="478" y="393"/>
                  </a:lnTo>
                  <a:lnTo>
                    <a:pt x="477" y="394"/>
                  </a:lnTo>
                  <a:lnTo>
                    <a:pt x="476" y="394"/>
                  </a:lnTo>
                  <a:lnTo>
                    <a:pt x="474" y="396"/>
                  </a:lnTo>
                  <a:lnTo>
                    <a:pt x="473" y="397"/>
                  </a:lnTo>
                  <a:lnTo>
                    <a:pt x="472" y="398"/>
                  </a:lnTo>
                  <a:lnTo>
                    <a:pt x="472" y="399"/>
                  </a:lnTo>
                  <a:lnTo>
                    <a:pt x="471" y="399"/>
                  </a:lnTo>
                  <a:lnTo>
                    <a:pt x="471" y="400"/>
                  </a:lnTo>
                  <a:lnTo>
                    <a:pt x="470" y="400"/>
                  </a:lnTo>
                  <a:lnTo>
                    <a:pt x="471" y="400"/>
                  </a:lnTo>
                  <a:lnTo>
                    <a:pt x="470" y="400"/>
                  </a:lnTo>
                  <a:lnTo>
                    <a:pt x="470" y="401"/>
                  </a:lnTo>
                  <a:lnTo>
                    <a:pt x="471" y="401"/>
                  </a:lnTo>
                  <a:lnTo>
                    <a:pt x="470" y="401"/>
                  </a:lnTo>
                  <a:lnTo>
                    <a:pt x="469" y="404"/>
                  </a:lnTo>
                  <a:lnTo>
                    <a:pt x="467" y="404"/>
                  </a:lnTo>
                  <a:lnTo>
                    <a:pt x="467" y="405"/>
                  </a:lnTo>
                  <a:lnTo>
                    <a:pt x="466" y="405"/>
                  </a:lnTo>
                  <a:lnTo>
                    <a:pt x="466" y="406"/>
                  </a:lnTo>
                  <a:lnTo>
                    <a:pt x="466" y="407"/>
                  </a:lnTo>
                  <a:lnTo>
                    <a:pt x="465" y="407"/>
                  </a:lnTo>
                  <a:lnTo>
                    <a:pt x="466" y="407"/>
                  </a:lnTo>
                  <a:lnTo>
                    <a:pt x="466" y="408"/>
                  </a:lnTo>
                  <a:lnTo>
                    <a:pt x="465" y="408"/>
                  </a:lnTo>
                  <a:lnTo>
                    <a:pt x="465" y="410"/>
                  </a:lnTo>
                  <a:lnTo>
                    <a:pt x="465" y="408"/>
                  </a:lnTo>
                  <a:lnTo>
                    <a:pt x="465" y="407"/>
                  </a:lnTo>
                  <a:lnTo>
                    <a:pt x="464" y="408"/>
                  </a:lnTo>
                  <a:lnTo>
                    <a:pt x="464" y="410"/>
                  </a:lnTo>
                  <a:lnTo>
                    <a:pt x="464" y="411"/>
                  </a:lnTo>
                  <a:lnTo>
                    <a:pt x="463" y="411"/>
                  </a:lnTo>
                  <a:lnTo>
                    <a:pt x="462" y="411"/>
                  </a:lnTo>
                  <a:lnTo>
                    <a:pt x="460" y="411"/>
                  </a:lnTo>
                  <a:lnTo>
                    <a:pt x="460" y="412"/>
                  </a:lnTo>
                  <a:lnTo>
                    <a:pt x="459" y="412"/>
                  </a:lnTo>
                  <a:lnTo>
                    <a:pt x="459" y="413"/>
                  </a:lnTo>
                  <a:lnTo>
                    <a:pt x="458" y="413"/>
                  </a:lnTo>
                  <a:lnTo>
                    <a:pt x="458" y="414"/>
                  </a:lnTo>
                  <a:lnTo>
                    <a:pt x="457" y="414"/>
                  </a:lnTo>
                  <a:lnTo>
                    <a:pt x="457" y="415"/>
                  </a:lnTo>
                  <a:lnTo>
                    <a:pt x="456" y="417"/>
                  </a:lnTo>
                  <a:lnTo>
                    <a:pt x="455" y="418"/>
                  </a:lnTo>
                  <a:lnTo>
                    <a:pt x="453" y="419"/>
                  </a:lnTo>
                  <a:lnTo>
                    <a:pt x="452" y="419"/>
                  </a:lnTo>
                  <a:lnTo>
                    <a:pt x="452" y="420"/>
                  </a:lnTo>
                  <a:lnTo>
                    <a:pt x="451" y="421"/>
                  </a:lnTo>
                  <a:lnTo>
                    <a:pt x="450" y="421"/>
                  </a:lnTo>
                  <a:lnTo>
                    <a:pt x="450" y="422"/>
                  </a:lnTo>
                  <a:lnTo>
                    <a:pt x="449" y="424"/>
                  </a:lnTo>
                  <a:lnTo>
                    <a:pt x="449" y="425"/>
                  </a:lnTo>
                  <a:lnTo>
                    <a:pt x="448" y="424"/>
                  </a:lnTo>
                  <a:lnTo>
                    <a:pt x="448" y="425"/>
                  </a:lnTo>
                  <a:lnTo>
                    <a:pt x="448" y="426"/>
                  </a:lnTo>
                  <a:lnTo>
                    <a:pt x="446" y="426"/>
                  </a:lnTo>
                  <a:lnTo>
                    <a:pt x="446" y="427"/>
                  </a:lnTo>
                  <a:lnTo>
                    <a:pt x="446" y="428"/>
                  </a:lnTo>
                  <a:lnTo>
                    <a:pt x="445" y="429"/>
                  </a:lnTo>
                  <a:lnTo>
                    <a:pt x="444" y="429"/>
                  </a:lnTo>
                  <a:lnTo>
                    <a:pt x="444" y="431"/>
                  </a:lnTo>
                  <a:lnTo>
                    <a:pt x="443" y="432"/>
                  </a:lnTo>
                  <a:lnTo>
                    <a:pt x="443" y="433"/>
                  </a:lnTo>
                  <a:lnTo>
                    <a:pt x="442" y="433"/>
                  </a:lnTo>
                  <a:lnTo>
                    <a:pt x="441" y="434"/>
                  </a:lnTo>
                  <a:lnTo>
                    <a:pt x="441" y="435"/>
                  </a:lnTo>
                  <a:lnTo>
                    <a:pt x="440" y="436"/>
                  </a:lnTo>
                  <a:lnTo>
                    <a:pt x="438" y="438"/>
                  </a:lnTo>
                  <a:lnTo>
                    <a:pt x="438" y="439"/>
                  </a:lnTo>
                  <a:lnTo>
                    <a:pt x="437" y="439"/>
                  </a:lnTo>
                  <a:lnTo>
                    <a:pt x="437" y="440"/>
                  </a:lnTo>
                  <a:lnTo>
                    <a:pt x="436" y="440"/>
                  </a:lnTo>
                  <a:lnTo>
                    <a:pt x="436" y="441"/>
                  </a:lnTo>
                  <a:lnTo>
                    <a:pt x="437" y="441"/>
                  </a:lnTo>
                  <a:lnTo>
                    <a:pt x="437" y="442"/>
                  </a:lnTo>
                  <a:lnTo>
                    <a:pt x="437" y="443"/>
                  </a:lnTo>
                  <a:lnTo>
                    <a:pt x="436" y="443"/>
                  </a:lnTo>
                  <a:lnTo>
                    <a:pt x="435" y="443"/>
                  </a:lnTo>
                  <a:lnTo>
                    <a:pt x="435" y="445"/>
                  </a:lnTo>
                  <a:lnTo>
                    <a:pt x="435" y="446"/>
                  </a:lnTo>
                  <a:lnTo>
                    <a:pt x="434" y="446"/>
                  </a:lnTo>
                  <a:lnTo>
                    <a:pt x="434" y="447"/>
                  </a:lnTo>
                  <a:lnTo>
                    <a:pt x="433" y="448"/>
                  </a:lnTo>
                  <a:lnTo>
                    <a:pt x="431" y="448"/>
                  </a:lnTo>
                  <a:lnTo>
                    <a:pt x="431" y="447"/>
                  </a:lnTo>
                  <a:lnTo>
                    <a:pt x="430" y="447"/>
                  </a:lnTo>
                  <a:lnTo>
                    <a:pt x="430" y="448"/>
                  </a:lnTo>
                  <a:lnTo>
                    <a:pt x="429" y="449"/>
                  </a:lnTo>
                  <a:lnTo>
                    <a:pt x="428" y="450"/>
                  </a:lnTo>
                  <a:lnTo>
                    <a:pt x="427" y="450"/>
                  </a:lnTo>
                  <a:lnTo>
                    <a:pt x="426" y="450"/>
                  </a:lnTo>
                  <a:lnTo>
                    <a:pt x="426" y="452"/>
                  </a:lnTo>
                  <a:lnTo>
                    <a:pt x="424" y="452"/>
                  </a:lnTo>
                  <a:lnTo>
                    <a:pt x="423" y="452"/>
                  </a:lnTo>
                  <a:lnTo>
                    <a:pt x="422" y="452"/>
                  </a:lnTo>
                  <a:lnTo>
                    <a:pt x="421" y="452"/>
                  </a:lnTo>
                  <a:lnTo>
                    <a:pt x="420" y="452"/>
                  </a:lnTo>
                  <a:lnTo>
                    <a:pt x="417" y="452"/>
                  </a:lnTo>
                  <a:lnTo>
                    <a:pt x="416" y="452"/>
                  </a:lnTo>
                  <a:lnTo>
                    <a:pt x="415" y="452"/>
                  </a:lnTo>
                  <a:lnTo>
                    <a:pt x="413" y="452"/>
                  </a:lnTo>
                  <a:lnTo>
                    <a:pt x="409" y="452"/>
                  </a:lnTo>
                  <a:lnTo>
                    <a:pt x="407" y="453"/>
                  </a:lnTo>
                  <a:lnTo>
                    <a:pt x="403" y="454"/>
                  </a:lnTo>
                  <a:lnTo>
                    <a:pt x="401" y="455"/>
                  </a:lnTo>
                  <a:lnTo>
                    <a:pt x="398" y="456"/>
                  </a:lnTo>
                  <a:lnTo>
                    <a:pt x="394" y="459"/>
                  </a:lnTo>
                  <a:lnTo>
                    <a:pt x="389" y="461"/>
                  </a:lnTo>
                  <a:lnTo>
                    <a:pt x="387" y="462"/>
                  </a:lnTo>
                  <a:lnTo>
                    <a:pt x="386" y="464"/>
                  </a:lnTo>
                  <a:lnTo>
                    <a:pt x="384" y="464"/>
                  </a:lnTo>
                  <a:lnTo>
                    <a:pt x="384" y="466"/>
                  </a:lnTo>
                  <a:lnTo>
                    <a:pt x="382" y="466"/>
                  </a:lnTo>
                  <a:lnTo>
                    <a:pt x="380" y="466"/>
                  </a:lnTo>
                  <a:lnTo>
                    <a:pt x="379" y="466"/>
                  </a:lnTo>
                  <a:lnTo>
                    <a:pt x="378" y="466"/>
                  </a:lnTo>
                  <a:lnTo>
                    <a:pt x="377" y="467"/>
                  </a:lnTo>
                  <a:lnTo>
                    <a:pt x="377" y="466"/>
                  </a:lnTo>
                  <a:lnTo>
                    <a:pt x="376" y="466"/>
                  </a:lnTo>
                  <a:lnTo>
                    <a:pt x="374" y="466"/>
                  </a:lnTo>
                  <a:lnTo>
                    <a:pt x="373" y="467"/>
                  </a:lnTo>
                  <a:lnTo>
                    <a:pt x="373" y="468"/>
                  </a:lnTo>
                  <a:lnTo>
                    <a:pt x="374" y="468"/>
                  </a:lnTo>
                  <a:lnTo>
                    <a:pt x="373" y="468"/>
                  </a:lnTo>
                  <a:lnTo>
                    <a:pt x="373" y="469"/>
                  </a:lnTo>
                  <a:lnTo>
                    <a:pt x="374" y="469"/>
                  </a:lnTo>
                  <a:lnTo>
                    <a:pt x="376" y="468"/>
                  </a:lnTo>
                  <a:lnTo>
                    <a:pt x="377" y="468"/>
                  </a:lnTo>
                  <a:lnTo>
                    <a:pt x="377" y="469"/>
                  </a:lnTo>
                  <a:lnTo>
                    <a:pt x="376" y="469"/>
                  </a:lnTo>
                  <a:lnTo>
                    <a:pt x="376" y="470"/>
                  </a:lnTo>
                  <a:lnTo>
                    <a:pt x="374" y="470"/>
                  </a:lnTo>
                  <a:lnTo>
                    <a:pt x="374" y="471"/>
                  </a:lnTo>
                  <a:lnTo>
                    <a:pt x="373" y="473"/>
                  </a:lnTo>
                  <a:lnTo>
                    <a:pt x="372" y="473"/>
                  </a:lnTo>
                  <a:lnTo>
                    <a:pt x="372" y="471"/>
                  </a:lnTo>
                  <a:lnTo>
                    <a:pt x="373" y="471"/>
                  </a:lnTo>
                  <a:lnTo>
                    <a:pt x="372" y="471"/>
                  </a:lnTo>
                  <a:lnTo>
                    <a:pt x="372" y="470"/>
                  </a:lnTo>
                  <a:lnTo>
                    <a:pt x="373" y="470"/>
                  </a:lnTo>
                  <a:lnTo>
                    <a:pt x="372" y="469"/>
                  </a:lnTo>
                  <a:lnTo>
                    <a:pt x="372" y="468"/>
                  </a:lnTo>
                  <a:lnTo>
                    <a:pt x="371" y="468"/>
                  </a:lnTo>
                  <a:lnTo>
                    <a:pt x="370" y="469"/>
                  </a:lnTo>
                  <a:lnTo>
                    <a:pt x="369" y="469"/>
                  </a:lnTo>
                  <a:lnTo>
                    <a:pt x="370" y="468"/>
                  </a:lnTo>
                  <a:lnTo>
                    <a:pt x="370" y="467"/>
                  </a:lnTo>
                  <a:lnTo>
                    <a:pt x="369" y="466"/>
                  </a:lnTo>
                  <a:lnTo>
                    <a:pt x="370" y="466"/>
                  </a:lnTo>
                  <a:lnTo>
                    <a:pt x="370" y="464"/>
                  </a:lnTo>
                  <a:lnTo>
                    <a:pt x="369" y="464"/>
                  </a:lnTo>
                  <a:lnTo>
                    <a:pt x="369" y="466"/>
                  </a:lnTo>
                  <a:lnTo>
                    <a:pt x="367" y="466"/>
                  </a:lnTo>
                  <a:lnTo>
                    <a:pt x="366" y="466"/>
                  </a:lnTo>
                  <a:lnTo>
                    <a:pt x="366" y="464"/>
                  </a:lnTo>
                  <a:lnTo>
                    <a:pt x="366" y="463"/>
                  </a:lnTo>
                  <a:lnTo>
                    <a:pt x="365" y="463"/>
                  </a:lnTo>
                  <a:lnTo>
                    <a:pt x="366" y="463"/>
                  </a:lnTo>
                  <a:lnTo>
                    <a:pt x="366" y="462"/>
                  </a:lnTo>
                  <a:lnTo>
                    <a:pt x="367" y="461"/>
                  </a:lnTo>
                  <a:lnTo>
                    <a:pt x="367" y="462"/>
                  </a:lnTo>
                  <a:lnTo>
                    <a:pt x="369" y="461"/>
                  </a:lnTo>
                  <a:lnTo>
                    <a:pt x="369" y="460"/>
                  </a:lnTo>
                  <a:lnTo>
                    <a:pt x="369" y="459"/>
                  </a:lnTo>
                  <a:lnTo>
                    <a:pt x="367" y="459"/>
                  </a:lnTo>
                  <a:lnTo>
                    <a:pt x="366" y="459"/>
                  </a:lnTo>
                  <a:lnTo>
                    <a:pt x="366" y="460"/>
                  </a:lnTo>
                  <a:lnTo>
                    <a:pt x="365" y="460"/>
                  </a:lnTo>
                  <a:lnTo>
                    <a:pt x="365" y="461"/>
                  </a:lnTo>
                  <a:lnTo>
                    <a:pt x="364" y="461"/>
                  </a:lnTo>
                  <a:lnTo>
                    <a:pt x="363" y="461"/>
                  </a:lnTo>
                  <a:lnTo>
                    <a:pt x="363" y="462"/>
                  </a:lnTo>
                  <a:lnTo>
                    <a:pt x="362" y="462"/>
                  </a:lnTo>
                  <a:lnTo>
                    <a:pt x="360" y="463"/>
                  </a:lnTo>
                  <a:lnTo>
                    <a:pt x="359" y="463"/>
                  </a:lnTo>
                  <a:lnTo>
                    <a:pt x="359" y="462"/>
                  </a:lnTo>
                  <a:lnTo>
                    <a:pt x="358" y="461"/>
                  </a:lnTo>
                  <a:lnTo>
                    <a:pt x="358" y="460"/>
                  </a:lnTo>
                  <a:lnTo>
                    <a:pt x="359" y="461"/>
                  </a:lnTo>
                  <a:lnTo>
                    <a:pt x="360" y="461"/>
                  </a:lnTo>
                  <a:lnTo>
                    <a:pt x="362" y="461"/>
                  </a:lnTo>
                  <a:lnTo>
                    <a:pt x="362" y="460"/>
                  </a:lnTo>
                  <a:lnTo>
                    <a:pt x="363" y="460"/>
                  </a:lnTo>
                  <a:lnTo>
                    <a:pt x="363" y="459"/>
                  </a:lnTo>
                  <a:lnTo>
                    <a:pt x="364" y="459"/>
                  </a:lnTo>
                  <a:lnTo>
                    <a:pt x="365" y="457"/>
                  </a:lnTo>
                  <a:lnTo>
                    <a:pt x="366" y="456"/>
                  </a:lnTo>
                  <a:lnTo>
                    <a:pt x="366" y="455"/>
                  </a:lnTo>
                  <a:lnTo>
                    <a:pt x="365" y="455"/>
                  </a:lnTo>
                  <a:lnTo>
                    <a:pt x="365" y="454"/>
                  </a:lnTo>
                  <a:lnTo>
                    <a:pt x="365" y="453"/>
                  </a:lnTo>
                  <a:lnTo>
                    <a:pt x="364" y="453"/>
                  </a:lnTo>
                  <a:lnTo>
                    <a:pt x="363" y="454"/>
                  </a:lnTo>
                  <a:lnTo>
                    <a:pt x="362" y="454"/>
                  </a:lnTo>
                  <a:lnTo>
                    <a:pt x="360" y="455"/>
                  </a:lnTo>
                  <a:lnTo>
                    <a:pt x="359" y="455"/>
                  </a:lnTo>
                  <a:lnTo>
                    <a:pt x="358" y="456"/>
                  </a:lnTo>
                  <a:lnTo>
                    <a:pt x="357" y="456"/>
                  </a:lnTo>
                  <a:lnTo>
                    <a:pt x="356" y="456"/>
                  </a:lnTo>
                  <a:lnTo>
                    <a:pt x="356" y="457"/>
                  </a:lnTo>
                  <a:lnTo>
                    <a:pt x="357" y="457"/>
                  </a:lnTo>
                  <a:lnTo>
                    <a:pt x="358" y="457"/>
                  </a:lnTo>
                  <a:lnTo>
                    <a:pt x="359" y="457"/>
                  </a:lnTo>
                  <a:lnTo>
                    <a:pt x="360" y="457"/>
                  </a:lnTo>
                  <a:lnTo>
                    <a:pt x="359" y="457"/>
                  </a:lnTo>
                  <a:lnTo>
                    <a:pt x="359" y="459"/>
                  </a:lnTo>
                  <a:lnTo>
                    <a:pt x="358" y="459"/>
                  </a:lnTo>
                  <a:lnTo>
                    <a:pt x="358" y="460"/>
                  </a:lnTo>
                  <a:lnTo>
                    <a:pt x="357" y="460"/>
                  </a:lnTo>
                  <a:lnTo>
                    <a:pt x="356" y="460"/>
                  </a:lnTo>
                  <a:lnTo>
                    <a:pt x="355" y="460"/>
                  </a:lnTo>
                  <a:lnTo>
                    <a:pt x="352" y="461"/>
                  </a:lnTo>
                  <a:lnTo>
                    <a:pt x="351" y="461"/>
                  </a:lnTo>
                  <a:lnTo>
                    <a:pt x="351" y="462"/>
                  </a:lnTo>
                  <a:lnTo>
                    <a:pt x="350" y="462"/>
                  </a:lnTo>
                  <a:lnTo>
                    <a:pt x="349" y="462"/>
                  </a:lnTo>
                  <a:lnTo>
                    <a:pt x="348" y="463"/>
                  </a:lnTo>
                  <a:lnTo>
                    <a:pt x="346" y="464"/>
                  </a:lnTo>
                  <a:lnTo>
                    <a:pt x="345" y="464"/>
                  </a:lnTo>
                  <a:lnTo>
                    <a:pt x="345" y="466"/>
                  </a:lnTo>
                  <a:lnTo>
                    <a:pt x="344" y="466"/>
                  </a:lnTo>
                  <a:lnTo>
                    <a:pt x="342" y="467"/>
                  </a:lnTo>
                  <a:lnTo>
                    <a:pt x="341" y="467"/>
                  </a:lnTo>
                  <a:lnTo>
                    <a:pt x="341" y="468"/>
                  </a:lnTo>
                  <a:lnTo>
                    <a:pt x="339" y="468"/>
                  </a:lnTo>
                  <a:lnTo>
                    <a:pt x="338" y="468"/>
                  </a:lnTo>
                  <a:lnTo>
                    <a:pt x="337" y="467"/>
                  </a:lnTo>
                  <a:lnTo>
                    <a:pt x="336" y="467"/>
                  </a:lnTo>
                  <a:lnTo>
                    <a:pt x="335" y="467"/>
                  </a:lnTo>
                  <a:lnTo>
                    <a:pt x="335" y="466"/>
                  </a:lnTo>
                  <a:lnTo>
                    <a:pt x="334" y="464"/>
                  </a:lnTo>
                  <a:lnTo>
                    <a:pt x="332" y="464"/>
                  </a:lnTo>
                  <a:lnTo>
                    <a:pt x="331" y="464"/>
                  </a:lnTo>
                  <a:lnTo>
                    <a:pt x="331" y="463"/>
                  </a:lnTo>
                  <a:lnTo>
                    <a:pt x="330" y="462"/>
                  </a:lnTo>
                  <a:lnTo>
                    <a:pt x="329" y="462"/>
                  </a:lnTo>
                  <a:lnTo>
                    <a:pt x="329" y="461"/>
                  </a:lnTo>
                  <a:lnTo>
                    <a:pt x="328" y="461"/>
                  </a:lnTo>
                  <a:lnTo>
                    <a:pt x="327" y="461"/>
                  </a:lnTo>
                  <a:lnTo>
                    <a:pt x="325" y="461"/>
                  </a:lnTo>
                  <a:lnTo>
                    <a:pt x="324" y="461"/>
                  </a:lnTo>
                  <a:lnTo>
                    <a:pt x="323" y="460"/>
                  </a:lnTo>
                  <a:lnTo>
                    <a:pt x="322" y="460"/>
                  </a:lnTo>
                  <a:lnTo>
                    <a:pt x="321" y="459"/>
                  </a:lnTo>
                  <a:lnTo>
                    <a:pt x="320" y="459"/>
                  </a:lnTo>
                  <a:lnTo>
                    <a:pt x="320" y="460"/>
                  </a:lnTo>
                  <a:lnTo>
                    <a:pt x="318" y="460"/>
                  </a:lnTo>
                  <a:lnTo>
                    <a:pt x="318" y="461"/>
                  </a:lnTo>
                  <a:lnTo>
                    <a:pt x="317" y="461"/>
                  </a:lnTo>
                  <a:lnTo>
                    <a:pt x="316" y="462"/>
                  </a:lnTo>
                  <a:lnTo>
                    <a:pt x="316" y="461"/>
                  </a:lnTo>
                  <a:lnTo>
                    <a:pt x="315" y="461"/>
                  </a:lnTo>
                  <a:lnTo>
                    <a:pt x="315" y="460"/>
                  </a:lnTo>
                  <a:lnTo>
                    <a:pt x="314" y="457"/>
                  </a:lnTo>
                  <a:lnTo>
                    <a:pt x="313" y="456"/>
                  </a:lnTo>
                  <a:lnTo>
                    <a:pt x="312" y="456"/>
                  </a:lnTo>
                  <a:lnTo>
                    <a:pt x="309" y="456"/>
                  </a:lnTo>
                  <a:lnTo>
                    <a:pt x="308" y="456"/>
                  </a:lnTo>
                  <a:lnTo>
                    <a:pt x="308" y="455"/>
                  </a:lnTo>
                  <a:lnTo>
                    <a:pt x="307" y="455"/>
                  </a:lnTo>
                  <a:lnTo>
                    <a:pt x="307" y="454"/>
                  </a:lnTo>
                  <a:lnTo>
                    <a:pt x="306" y="454"/>
                  </a:lnTo>
                  <a:lnTo>
                    <a:pt x="306" y="453"/>
                  </a:lnTo>
                  <a:lnTo>
                    <a:pt x="306" y="452"/>
                  </a:lnTo>
                  <a:lnTo>
                    <a:pt x="306" y="450"/>
                  </a:lnTo>
                  <a:lnTo>
                    <a:pt x="306" y="449"/>
                  </a:lnTo>
                  <a:lnTo>
                    <a:pt x="306" y="448"/>
                  </a:lnTo>
                  <a:lnTo>
                    <a:pt x="305" y="448"/>
                  </a:lnTo>
                  <a:lnTo>
                    <a:pt x="306" y="448"/>
                  </a:lnTo>
                  <a:lnTo>
                    <a:pt x="306" y="447"/>
                  </a:lnTo>
                  <a:lnTo>
                    <a:pt x="305" y="447"/>
                  </a:lnTo>
                  <a:lnTo>
                    <a:pt x="303" y="443"/>
                  </a:lnTo>
                  <a:lnTo>
                    <a:pt x="303" y="442"/>
                  </a:lnTo>
                  <a:lnTo>
                    <a:pt x="305" y="441"/>
                  </a:lnTo>
                  <a:lnTo>
                    <a:pt x="305" y="440"/>
                  </a:lnTo>
                  <a:lnTo>
                    <a:pt x="305" y="439"/>
                  </a:lnTo>
                  <a:lnTo>
                    <a:pt x="306" y="438"/>
                  </a:lnTo>
                  <a:lnTo>
                    <a:pt x="307" y="438"/>
                  </a:lnTo>
                  <a:lnTo>
                    <a:pt x="307" y="436"/>
                  </a:lnTo>
                  <a:lnTo>
                    <a:pt x="308" y="436"/>
                  </a:lnTo>
                  <a:lnTo>
                    <a:pt x="308" y="435"/>
                  </a:lnTo>
                  <a:lnTo>
                    <a:pt x="309" y="433"/>
                  </a:lnTo>
                  <a:lnTo>
                    <a:pt x="309" y="429"/>
                  </a:lnTo>
                  <a:lnTo>
                    <a:pt x="310" y="427"/>
                  </a:lnTo>
                  <a:lnTo>
                    <a:pt x="310" y="425"/>
                  </a:lnTo>
                  <a:lnTo>
                    <a:pt x="309" y="424"/>
                  </a:lnTo>
                  <a:lnTo>
                    <a:pt x="309" y="422"/>
                  </a:lnTo>
                  <a:lnTo>
                    <a:pt x="308" y="420"/>
                  </a:lnTo>
                  <a:lnTo>
                    <a:pt x="308" y="419"/>
                  </a:lnTo>
                  <a:lnTo>
                    <a:pt x="307" y="419"/>
                  </a:lnTo>
                  <a:lnTo>
                    <a:pt x="307" y="418"/>
                  </a:lnTo>
                  <a:lnTo>
                    <a:pt x="306" y="418"/>
                  </a:lnTo>
                  <a:lnTo>
                    <a:pt x="306" y="417"/>
                  </a:lnTo>
                  <a:lnTo>
                    <a:pt x="309" y="421"/>
                  </a:lnTo>
                  <a:lnTo>
                    <a:pt x="309" y="422"/>
                  </a:lnTo>
                  <a:lnTo>
                    <a:pt x="310" y="424"/>
                  </a:lnTo>
                  <a:lnTo>
                    <a:pt x="310" y="425"/>
                  </a:lnTo>
                  <a:lnTo>
                    <a:pt x="310" y="427"/>
                  </a:lnTo>
                  <a:lnTo>
                    <a:pt x="310" y="426"/>
                  </a:lnTo>
                  <a:lnTo>
                    <a:pt x="310" y="425"/>
                  </a:lnTo>
                  <a:lnTo>
                    <a:pt x="310" y="424"/>
                  </a:lnTo>
                  <a:lnTo>
                    <a:pt x="310" y="421"/>
                  </a:lnTo>
                  <a:lnTo>
                    <a:pt x="309" y="421"/>
                  </a:lnTo>
                  <a:lnTo>
                    <a:pt x="309" y="420"/>
                  </a:lnTo>
                  <a:lnTo>
                    <a:pt x="308" y="419"/>
                  </a:lnTo>
                  <a:lnTo>
                    <a:pt x="307" y="418"/>
                  </a:lnTo>
                  <a:lnTo>
                    <a:pt x="307" y="417"/>
                  </a:lnTo>
                  <a:lnTo>
                    <a:pt x="308" y="417"/>
                  </a:lnTo>
                  <a:lnTo>
                    <a:pt x="308" y="415"/>
                  </a:lnTo>
                  <a:lnTo>
                    <a:pt x="309" y="415"/>
                  </a:lnTo>
                  <a:lnTo>
                    <a:pt x="309" y="417"/>
                  </a:lnTo>
                  <a:lnTo>
                    <a:pt x="309" y="418"/>
                  </a:lnTo>
                  <a:lnTo>
                    <a:pt x="308" y="418"/>
                  </a:lnTo>
                  <a:lnTo>
                    <a:pt x="308" y="419"/>
                  </a:lnTo>
                  <a:lnTo>
                    <a:pt x="309" y="419"/>
                  </a:lnTo>
                  <a:lnTo>
                    <a:pt x="310" y="419"/>
                  </a:lnTo>
                  <a:lnTo>
                    <a:pt x="310" y="418"/>
                  </a:lnTo>
                  <a:lnTo>
                    <a:pt x="310" y="417"/>
                  </a:lnTo>
                  <a:lnTo>
                    <a:pt x="310" y="415"/>
                  </a:lnTo>
                  <a:lnTo>
                    <a:pt x="309" y="415"/>
                  </a:lnTo>
                  <a:lnTo>
                    <a:pt x="310" y="415"/>
                  </a:lnTo>
                  <a:lnTo>
                    <a:pt x="312" y="415"/>
                  </a:lnTo>
                  <a:lnTo>
                    <a:pt x="313" y="415"/>
                  </a:lnTo>
                  <a:lnTo>
                    <a:pt x="312" y="414"/>
                  </a:lnTo>
                  <a:lnTo>
                    <a:pt x="313" y="414"/>
                  </a:lnTo>
                  <a:lnTo>
                    <a:pt x="313" y="413"/>
                  </a:lnTo>
                  <a:lnTo>
                    <a:pt x="312" y="414"/>
                  </a:lnTo>
                  <a:lnTo>
                    <a:pt x="312" y="413"/>
                  </a:lnTo>
                  <a:lnTo>
                    <a:pt x="310" y="413"/>
                  </a:lnTo>
                  <a:lnTo>
                    <a:pt x="309" y="413"/>
                  </a:lnTo>
                  <a:lnTo>
                    <a:pt x="309" y="414"/>
                  </a:lnTo>
                  <a:lnTo>
                    <a:pt x="308" y="414"/>
                  </a:lnTo>
                  <a:lnTo>
                    <a:pt x="308" y="413"/>
                  </a:lnTo>
                  <a:lnTo>
                    <a:pt x="307" y="414"/>
                  </a:lnTo>
                  <a:lnTo>
                    <a:pt x="307" y="415"/>
                  </a:lnTo>
                  <a:lnTo>
                    <a:pt x="306" y="415"/>
                  </a:lnTo>
                  <a:lnTo>
                    <a:pt x="305" y="415"/>
                  </a:lnTo>
                  <a:lnTo>
                    <a:pt x="306" y="415"/>
                  </a:lnTo>
                  <a:lnTo>
                    <a:pt x="306" y="417"/>
                  </a:lnTo>
                  <a:lnTo>
                    <a:pt x="306" y="415"/>
                  </a:lnTo>
                  <a:lnTo>
                    <a:pt x="307" y="415"/>
                  </a:lnTo>
                  <a:lnTo>
                    <a:pt x="307" y="417"/>
                  </a:lnTo>
                  <a:lnTo>
                    <a:pt x="306" y="417"/>
                  </a:lnTo>
                  <a:lnTo>
                    <a:pt x="305" y="417"/>
                  </a:lnTo>
                  <a:lnTo>
                    <a:pt x="303" y="415"/>
                  </a:lnTo>
                  <a:lnTo>
                    <a:pt x="303" y="417"/>
                  </a:lnTo>
                  <a:lnTo>
                    <a:pt x="302" y="417"/>
                  </a:lnTo>
                  <a:lnTo>
                    <a:pt x="301" y="417"/>
                  </a:lnTo>
                  <a:lnTo>
                    <a:pt x="300" y="418"/>
                  </a:lnTo>
                  <a:lnTo>
                    <a:pt x="299" y="418"/>
                  </a:lnTo>
                  <a:lnTo>
                    <a:pt x="296" y="418"/>
                  </a:lnTo>
                  <a:lnTo>
                    <a:pt x="295" y="418"/>
                  </a:lnTo>
                  <a:lnTo>
                    <a:pt x="294" y="418"/>
                  </a:lnTo>
                  <a:lnTo>
                    <a:pt x="294" y="417"/>
                  </a:lnTo>
                  <a:lnTo>
                    <a:pt x="295" y="417"/>
                  </a:lnTo>
                  <a:lnTo>
                    <a:pt x="295" y="415"/>
                  </a:lnTo>
                  <a:lnTo>
                    <a:pt x="298" y="415"/>
                  </a:lnTo>
                  <a:lnTo>
                    <a:pt x="299" y="414"/>
                  </a:lnTo>
                  <a:lnTo>
                    <a:pt x="300" y="413"/>
                  </a:lnTo>
                  <a:lnTo>
                    <a:pt x="301" y="413"/>
                  </a:lnTo>
                  <a:lnTo>
                    <a:pt x="301" y="412"/>
                  </a:lnTo>
                  <a:lnTo>
                    <a:pt x="302" y="412"/>
                  </a:lnTo>
                  <a:lnTo>
                    <a:pt x="302" y="411"/>
                  </a:lnTo>
                  <a:lnTo>
                    <a:pt x="302" y="410"/>
                  </a:lnTo>
                  <a:lnTo>
                    <a:pt x="303" y="410"/>
                  </a:lnTo>
                  <a:lnTo>
                    <a:pt x="303" y="408"/>
                  </a:lnTo>
                  <a:lnTo>
                    <a:pt x="305" y="408"/>
                  </a:lnTo>
                  <a:lnTo>
                    <a:pt x="305" y="407"/>
                  </a:lnTo>
                  <a:lnTo>
                    <a:pt x="305" y="406"/>
                  </a:lnTo>
                  <a:lnTo>
                    <a:pt x="306" y="404"/>
                  </a:lnTo>
                  <a:lnTo>
                    <a:pt x="306" y="405"/>
                  </a:lnTo>
                  <a:lnTo>
                    <a:pt x="307" y="404"/>
                  </a:lnTo>
                  <a:lnTo>
                    <a:pt x="306" y="404"/>
                  </a:lnTo>
                  <a:lnTo>
                    <a:pt x="306" y="403"/>
                  </a:lnTo>
                  <a:lnTo>
                    <a:pt x="306" y="401"/>
                  </a:lnTo>
                  <a:lnTo>
                    <a:pt x="306" y="400"/>
                  </a:lnTo>
                  <a:lnTo>
                    <a:pt x="305" y="400"/>
                  </a:lnTo>
                  <a:lnTo>
                    <a:pt x="305" y="399"/>
                  </a:lnTo>
                  <a:lnTo>
                    <a:pt x="306" y="397"/>
                  </a:lnTo>
                  <a:lnTo>
                    <a:pt x="306" y="396"/>
                  </a:lnTo>
                  <a:lnTo>
                    <a:pt x="305" y="396"/>
                  </a:lnTo>
                  <a:lnTo>
                    <a:pt x="306" y="396"/>
                  </a:lnTo>
                  <a:lnTo>
                    <a:pt x="306" y="394"/>
                  </a:lnTo>
                  <a:lnTo>
                    <a:pt x="305" y="393"/>
                  </a:lnTo>
                  <a:lnTo>
                    <a:pt x="305" y="394"/>
                  </a:lnTo>
                  <a:lnTo>
                    <a:pt x="303" y="396"/>
                  </a:lnTo>
                  <a:lnTo>
                    <a:pt x="303" y="397"/>
                  </a:lnTo>
                  <a:lnTo>
                    <a:pt x="302" y="398"/>
                  </a:lnTo>
                  <a:lnTo>
                    <a:pt x="301" y="398"/>
                  </a:lnTo>
                  <a:lnTo>
                    <a:pt x="300" y="400"/>
                  </a:lnTo>
                  <a:lnTo>
                    <a:pt x="299" y="400"/>
                  </a:lnTo>
                  <a:lnTo>
                    <a:pt x="299" y="401"/>
                  </a:lnTo>
                  <a:lnTo>
                    <a:pt x="299" y="403"/>
                  </a:lnTo>
                  <a:lnTo>
                    <a:pt x="298" y="404"/>
                  </a:lnTo>
                  <a:lnTo>
                    <a:pt x="296" y="405"/>
                  </a:lnTo>
                  <a:lnTo>
                    <a:pt x="296" y="406"/>
                  </a:lnTo>
                  <a:lnTo>
                    <a:pt x="295" y="406"/>
                  </a:lnTo>
                  <a:lnTo>
                    <a:pt x="295" y="407"/>
                  </a:lnTo>
                  <a:lnTo>
                    <a:pt x="294" y="407"/>
                  </a:lnTo>
                  <a:lnTo>
                    <a:pt x="294" y="408"/>
                  </a:lnTo>
                  <a:lnTo>
                    <a:pt x="293" y="410"/>
                  </a:lnTo>
                  <a:lnTo>
                    <a:pt x="292" y="411"/>
                  </a:lnTo>
                  <a:lnTo>
                    <a:pt x="292" y="410"/>
                  </a:lnTo>
                  <a:lnTo>
                    <a:pt x="291" y="410"/>
                  </a:lnTo>
                  <a:lnTo>
                    <a:pt x="289" y="410"/>
                  </a:lnTo>
                  <a:lnTo>
                    <a:pt x="288" y="410"/>
                  </a:lnTo>
                  <a:lnTo>
                    <a:pt x="287" y="411"/>
                  </a:lnTo>
                  <a:lnTo>
                    <a:pt x="287" y="410"/>
                  </a:lnTo>
                  <a:lnTo>
                    <a:pt x="286" y="411"/>
                  </a:lnTo>
                  <a:lnTo>
                    <a:pt x="285" y="411"/>
                  </a:lnTo>
                  <a:lnTo>
                    <a:pt x="285" y="412"/>
                  </a:lnTo>
                  <a:lnTo>
                    <a:pt x="284" y="411"/>
                  </a:lnTo>
                  <a:lnTo>
                    <a:pt x="282" y="412"/>
                  </a:lnTo>
                  <a:lnTo>
                    <a:pt x="281" y="412"/>
                  </a:lnTo>
                  <a:lnTo>
                    <a:pt x="280" y="412"/>
                  </a:lnTo>
                  <a:lnTo>
                    <a:pt x="281" y="411"/>
                  </a:lnTo>
                  <a:lnTo>
                    <a:pt x="282" y="410"/>
                  </a:lnTo>
                  <a:lnTo>
                    <a:pt x="284" y="410"/>
                  </a:lnTo>
                  <a:lnTo>
                    <a:pt x="284" y="408"/>
                  </a:lnTo>
                  <a:lnTo>
                    <a:pt x="284" y="407"/>
                  </a:lnTo>
                  <a:lnTo>
                    <a:pt x="285" y="407"/>
                  </a:lnTo>
                  <a:lnTo>
                    <a:pt x="285" y="406"/>
                  </a:lnTo>
                  <a:lnTo>
                    <a:pt x="286" y="406"/>
                  </a:lnTo>
                  <a:lnTo>
                    <a:pt x="287" y="406"/>
                  </a:lnTo>
                  <a:lnTo>
                    <a:pt x="288" y="406"/>
                  </a:lnTo>
                  <a:lnTo>
                    <a:pt x="289" y="406"/>
                  </a:lnTo>
                  <a:lnTo>
                    <a:pt x="289" y="407"/>
                  </a:lnTo>
                  <a:lnTo>
                    <a:pt x="291" y="406"/>
                  </a:lnTo>
                  <a:lnTo>
                    <a:pt x="292" y="406"/>
                  </a:lnTo>
                  <a:lnTo>
                    <a:pt x="292" y="405"/>
                  </a:lnTo>
                  <a:lnTo>
                    <a:pt x="292" y="404"/>
                  </a:lnTo>
                  <a:lnTo>
                    <a:pt x="293" y="404"/>
                  </a:lnTo>
                  <a:lnTo>
                    <a:pt x="293" y="403"/>
                  </a:lnTo>
                  <a:lnTo>
                    <a:pt x="294" y="401"/>
                  </a:lnTo>
                  <a:lnTo>
                    <a:pt x="294" y="400"/>
                  </a:lnTo>
                  <a:lnTo>
                    <a:pt x="294" y="399"/>
                  </a:lnTo>
                  <a:lnTo>
                    <a:pt x="294" y="398"/>
                  </a:lnTo>
                  <a:lnTo>
                    <a:pt x="295" y="398"/>
                  </a:lnTo>
                  <a:lnTo>
                    <a:pt x="295" y="397"/>
                  </a:lnTo>
                  <a:lnTo>
                    <a:pt x="296" y="397"/>
                  </a:lnTo>
                  <a:lnTo>
                    <a:pt x="296" y="396"/>
                  </a:lnTo>
                  <a:lnTo>
                    <a:pt x="296" y="394"/>
                  </a:lnTo>
                  <a:lnTo>
                    <a:pt x="298" y="394"/>
                  </a:lnTo>
                  <a:lnTo>
                    <a:pt x="299" y="393"/>
                  </a:lnTo>
                  <a:lnTo>
                    <a:pt x="299" y="392"/>
                  </a:lnTo>
                  <a:lnTo>
                    <a:pt x="299" y="391"/>
                  </a:lnTo>
                  <a:lnTo>
                    <a:pt x="300" y="391"/>
                  </a:lnTo>
                  <a:lnTo>
                    <a:pt x="301" y="391"/>
                  </a:lnTo>
                  <a:lnTo>
                    <a:pt x="301" y="390"/>
                  </a:lnTo>
                  <a:lnTo>
                    <a:pt x="300" y="390"/>
                  </a:lnTo>
                  <a:lnTo>
                    <a:pt x="301" y="390"/>
                  </a:lnTo>
                  <a:lnTo>
                    <a:pt x="301" y="389"/>
                  </a:lnTo>
                  <a:lnTo>
                    <a:pt x="302" y="389"/>
                  </a:lnTo>
                  <a:lnTo>
                    <a:pt x="303" y="387"/>
                  </a:lnTo>
                  <a:lnTo>
                    <a:pt x="305" y="387"/>
                  </a:lnTo>
                  <a:lnTo>
                    <a:pt x="306" y="386"/>
                  </a:lnTo>
                  <a:lnTo>
                    <a:pt x="306" y="385"/>
                  </a:lnTo>
                  <a:lnTo>
                    <a:pt x="307" y="385"/>
                  </a:lnTo>
                  <a:lnTo>
                    <a:pt x="306" y="385"/>
                  </a:lnTo>
                  <a:lnTo>
                    <a:pt x="306" y="386"/>
                  </a:lnTo>
                  <a:lnTo>
                    <a:pt x="307" y="385"/>
                  </a:lnTo>
                  <a:lnTo>
                    <a:pt x="307" y="384"/>
                  </a:lnTo>
                  <a:lnTo>
                    <a:pt x="307" y="383"/>
                  </a:lnTo>
                  <a:lnTo>
                    <a:pt x="307" y="382"/>
                  </a:lnTo>
                  <a:lnTo>
                    <a:pt x="308" y="382"/>
                  </a:lnTo>
                  <a:lnTo>
                    <a:pt x="308" y="380"/>
                  </a:lnTo>
                  <a:lnTo>
                    <a:pt x="307" y="380"/>
                  </a:lnTo>
                  <a:lnTo>
                    <a:pt x="308" y="380"/>
                  </a:lnTo>
                  <a:lnTo>
                    <a:pt x="308" y="379"/>
                  </a:lnTo>
                  <a:lnTo>
                    <a:pt x="309" y="379"/>
                  </a:lnTo>
                  <a:lnTo>
                    <a:pt x="310" y="378"/>
                  </a:lnTo>
                  <a:lnTo>
                    <a:pt x="312" y="378"/>
                  </a:lnTo>
                  <a:lnTo>
                    <a:pt x="312" y="377"/>
                  </a:lnTo>
                  <a:lnTo>
                    <a:pt x="312" y="376"/>
                  </a:lnTo>
                  <a:lnTo>
                    <a:pt x="312" y="372"/>
                  </a:lnTo>
                  <a:lnTo>
                    <a:pt x="313" y="372"/>
                  </a:lnTo>
                  <a:lnTo>
                    <a:pt x="313" y="371"/>
                  </a:lnTo>
                  <a:lnTo>
                    <a:pt x="312" y="371"/>
                  </a:lnTo>
                  <a:lnTo>
                    <a:pt x="313" y="370"/>
                  </a:lnTo>
                  <a:lnTo>
                    <a:pt x="312" y="370"/>
                  </a:lnTo>
                  <a:lnTo>
                    <a:pt x="312" y="369"/>
                  </a:lnTo>
                  <a:lnTo>
                    <a:pt x="313" y="369"/>
                  </a:lnTo>
                  <a:lnTo>
                    <a:pt x="312" y="369"/>
                  </a:lnTo>
                  <a:lnTo>
                    <a:pt x="312" y="370"/>
                  </a:lnTo>
                  <a:lnTo>
                    <a:pt x="310" y="371"/>
                  </a:lnTo>
                  <a:lnTo>
                    <a:pt x="312" y="371"/>
                  </a:lnTo>
                  <a:lnTo>
                    <a:pt x="312" y="372"/>
                  </a:lnTo>
                  <a:lnTo>
                    <a:pt x="310" y="372"/>
                  </a:lnTo>
                  <a:lnTo>
                    <a:pt x="310" y="373"/>
                  </a:lnTo>
                  <a:lnTo>
                    <a:pt x="309" y="375"/>
                  </a:lnTo>
                  <a:lnTo>
                    <a:pt x="309" y="376"/>
                  </a:lnTo>
                  <a:lnTo>
                    <a:pt x="308" y="376"/>
                  </a:lnTo>
                  <a:lnTo>
                    <a:pt x="308" y="375"/>
                  </a:lnTo>
                  <a:lnTo>
                    <a:pt x="307" y="376"/>
                  </a:lnTo>
                  <a:lnTo>
                    <a:pt x="306" y="376"/>
                  </a:lnTo>
                  <a:lnTo>
                    <a:pt x="306" y="377"/>
                  </a:lnTo>
                  <a:lnTo>
                    <a:pt x="305" y="378"/>
                  </a:lnTo>
                  <a:lnTo>
                    <a:pt x="303" y="378"/>
                  </a:lnTo>
                  <a:lnTo>
                    <a:pt x="303" y="379"/>
                  </a:lnTo>
                  <a:lnTo>
                    <a:pt x="302" y="380"/>
                  </a:lnTo>
                  <a:lnTo>
                    <a:pt x="301" y="380"/>
                  </a:lnTo>
                  <a:lnTo>
                    <a:pt x="301" y="382"/>
                  </a:lnTo>
                  <a:lnTo>
                    <a:pt x="301" y="383"/>
                  </a:lnTo>
                  <a:lnTo>
                    <a:pt x="300" y="383"/>
                  </a:lnTo>
                  <a:lnTo>
                    <a:pt x="300" y="384"/>
                  </a:lnTo>
                  <a:lnTo>
                    <a:pt x="299" y="384"/>
                  </a:lnTo>
                  <a:lnTo>
                    <a:pt x="298" y="385"/>
                  </a:lnTo>
                  <a:lnTo>
                    <a:pt x="298" y="386"/>
                  </a:lnTo>
                  <a:lnTo>
                    <a:pt x="296" y="386"/>
                  </a:lnTo>
                  <a:lnTo>
                    <a:pt x="295" y="387"/>
                  </a:lnTo>
                  <a:lnTo>
                    <a:pt x="294" y="387"/>
                  </a:lnTo>
                  <a:lnTo>
                    <a:pt x="293" y="386"/>
                  </a:lnTo>
                  <a:lnTo>
                    <a:pt x="293" y="387"/>
                  </a:lnTo>
                  <a:lnTo>
                    <a:pt x="292" y="387"/>
                  </a:lnTo>
                  <a:lnTo>
                    <a:pt x="292" y="389"/>
                  </a:lnTo>
                  <a:lnTo>
                    <a:pt x="293" y="387"/>
                  </a:lnTo>
                  <a:lnTo>
                    <a:pt x="292" y="389"/>
                  </a:lnTo>
                  <a:lnTo>
                    <a:pt x="291" y="389"/>
                  </a:lnTo>
                  <a:lnTo>
                    <a:pt x="289" y="389"/>
                  </a:lnTo>
                  <a:lnTo>
                    <a:pt x="289" y="390"/>
                  </a:lnTo>
                  <a:lnTo>
                    <a:pt x="288" y="390"/>
                  </a:lnTo>
                  <a:lnTo>
                    <a:pt x="287" y="390"/>
                  </a:lnTo>
                  <a:lnTo>
                    <a:pt x="287" y="391"/>
                  </a:lnTo>
                  <a:lnTo>
                    <a:pt x="286" y="391"/>
                  </a:lnTo>
                  <a:lnTo>
                    <a:pt x="285" y="392"/>
                  </a:lnTo>
                  <a:lnTo>
                    <a:pt x="284" y="392"/>
                  </a:lnTo>
                  <a:lnTo>
                    <a:pt x="282" y="393"/>
                  </a:lnTo>
                  <a:lnTo>
                    <a:pt x="281" y="394"/>
                  </a:lnTo>
                  <a:lnTo>
                    <a:pt x="281" y="396"/>
                  </a:lnTo>
                  <a:lnTo>
                    <a:pt x="279" y="397"/>
                  </a:lnTo>
                  <a:lnTo>
                    <a:pt x="278" y="397"/>
                  </a:lnTo>
                  <a:lnTo>
                    <a:pt x="278" y="398"/>
                  </a:lnTo>
                  <a:lnTo>
                    <a:pt x="277" y="398"/>
                  </a:lnTo>
                  <a:lnTo>
                    <a:pt x="277" y="399"/>
                  </a:lnTo>
                  <a:lnTo>
                    <a:pt x="277" y="400"/>
                  </a:lnTo>
                  <a:lnTo>
                    <a:pt x="275" y="400"/>
                  </a:lnTo>
                  <a:lnTo>
                    <a:pt x="275" y="399"/>
                  </a:lnTo>
                  <a:lnTo>
                    <a:pt x="274" y="400"/>
                  </a:lnTo>
                  <a:lnTo>
                    <a:pt x="273" y="400"/>
                  </a:lnTo>
                  <a:lnTo>
                    <a:pt x="273" y="401"/>
                  </a:lnTo>
                  <a:lnTo>
                    <a:pt x="273" y="403"/>
                  </a:lnTo>
                  <a:lnTo>
                    <a:pt x="273" y="401"/>
                  </a:lnTo>
                  <a:lnTo>
                    <a:pt x="272" y="401"/>
                  </a:lnTo>
                  <a:lnTo>
                    <a:pt x="272" y="403"/>
                  </a:lnTo>
                  <a:lnTo>
                    <a:pt x="272" y="404"/>
                  </a:lnTo>
                  <a:lnTo>
                    <a:pt x="271" y="404"/>
                  </a:lnTo>
                  <a:lnTo>
                    <a:pt x="270" y="405"/>
                  </a:lnTo>
                  <a:lnTo>
                    <a:pt x="271" y="405"/>
                  </a:lnTo>
                  <a:lnTo>
                    <a:pt x="272" y="405"/>
                  </a:lnTo>
                  <a:lnTo>
                    <a:pt x="272" y="404"/>
                  </a:lnTo>
                  <a:lnTo>
                    <a:pt x="273" y="404"/>
                  </a:lnTo>
                  <a:lnTo>
                    <a:pt x="273" y="405"/>
                  </a:lnTo>
                  <a:lnTo>
                    <a:pt x="272" y="405"/>
                  </a:lnTo>
                  <a:lnTo>
                    <a:pt x="272" y="406"/>
                  </a:lnTo>
                  <a:lnTo>
                    <a:pt x="272" y="407"/>
                  </a:lnTo>
                  <a:lnTo>
                    <a:pt x="271" y="407"/>
                  </a:lnTo>
                  <a:lnTo>
                    <a:pt x="271" y="406"/>
                  </a:lnTo>
                  <a:lnTo>
                    <a:pt x="270" y="406"/>
                  </a:lnTo>
                  <a:lnTo>
                    <a:pt x="270" y="405"/>
                  </a:lnTo>
                  <a:lnTo>
                    <a:pt x="268" y="405"/>
                  </a:lnTo>
                  <a:lnTo>
                    <a:pt x="268" y="406"/>
                  </a:lnTo>
                  <a:lnTo>
                    <a:pt x="267" y="406"/>
                  </a:lnTo>
                  <a:lnTo>
                    <a:pt x="267" y="407"/>
                  </a:lnTo>
                  <a:lnTo>
                    <a:pt x="266" y="407"/>
                  </a:lnTo>
                  <a:lnTo>
                    <a:pt x="266" y="406"/>
                  </a:lnTo>
                  <a:lnTo>
                    <a:pt x="267" y="406"/>
                  </a:lnTo>
                  <a:lnTo>
                    <a:pt x="266" y="404"/>
                  </a:lnTo>
                  <a:lnTo>
                    <a:pt x="266" y="403"/>
                  </a:lnTo>
                  <a:lnTo>
                    <a:pt x="265" y="403"/>
                  </a:lnTo>
                  <a:lnTo>
                    <a:pt x="265" y="401"/>
                  </a:lnTo>
                  <a:lnTo>
                    <a:pt x="265" y="400"/>
                  </a:lnTo>
                  <a:lnTo>
                    <a:pt x="264" y="400"/>
                  </a:lnTo>
                  <a:lnTo>
                    <a:pt x="263" y="401"/>
                  </a:lnTo>
                  <a:lnTo>
                    <a:pt x="264" y="400"/>
                  </a:lnTo>
                  <a:lnTo>
                    <a:pt x="264" y="399"/>
                  </a:lnTo>
                  <a:lnTo>
                    <a:pt x="265" y="399"/>
                  </a:lnTo>
                  <a:lnTo>
                    <a:pt x="265" y="400"/>
                  </a:lnTo>
                  <a:lnTo>
                    <a:pt x="266" y="400"/>
                  </a:lnTo>
                  <a:lnTo>
                    <a:pt x="265" y="400"/>
                  </a:lnTo>
                  <a:lnTo>
                    <a:pt x="266" y="401"/>
                  </a:lnTo>
                  <a:lnTo>
                    <a:pt x="265" y="401"/>
                  </a:lnTo>
                  <a:lnTo>
                    <a:pt x="266" y="401"/>
                  </a:lnTo>
                  <a:lnTo>
                    <a:pt x="267" y="401"/>
                  </a:lnTo>
                  <a:lnTo>
                    <a:pt x="267" y="400"/>
                  </a:lnTo>
                  <a:lnTo>
                    <a:pt x="266" y="400"/>
                  </a:lnTo>
                  <a:lnTo>
                    <a:pt x="266" y="401"/>
                  </a:lnTo>
                  <a:lnTo>
                    <a:pt x="266" y="400"/>
                  </a:lnTo>
                  <a:lnTo>
                    <a:pt x="267" y="400"/>
                  </a:lnTo>
                  <a:lnTo>
                    <a:pt x="267" y="399"/>
                  </a:lnTo>
                  <a:lnTo>
                    <a:pt x="267" y="398"/>
                  </a:lnTo>
                  <a:lnTo>
                    <a:pt x="267" y="396"/>
                  </a:lnTo>
                  <a:lnTo>
                    <a:pt x="268" y="396"/>
                  </a:lnTo>
                  <a:lnTo>
                    <a:pt x="268" y="394"/>
                  </a:lnTo>
                  <a:lnTo>
                    <a:pt x="267" y="394"/>
                  </a:lnTo>
                  <a:lnTo>
                    <a:pt x="267" y="393"/>
                  </a:lnTo>
                  <a:lnTo>
                    <a:pt x="268" y="393"/>
                  </a:lnTo>
                  <a:lnTo>
                    <a:pt x="268" y="392"/>
                  </a:lnTo>
                  <a:lnTo>
                    <a:pt x="268" y="391"/>
                  </a:lnTo>
                  <a:lnTo>
                    <a:pt x="268" y="390"/>
                  </a:lnTo>
                  <a:lnTo>
                    <a:pt x="267" y="389"/>
                  </a:lnTo>
                  <a:lnTo>
                    <a:pt x="267" y="387"/>
                  </a:lnTo>
                  <a:lnTo>
                    <a:pt x="266" y="387"/>
                  </a:lnTo>
                  <a:lnTo>
                    <a:pt x="266" y="386"/>
                  </a:lnTo>
                  <a:lnTo>
                    <a:pt x="266" y="385"/>
                  </a:lnTo>
                  <a:lnTo>
                    <a:pt x="266" y="384"/>
                  </a:lnTo>
                  <a:lnTo>
                    <a:pt x="267" y="384"/>
                  </a:lnTo>
                  <a:lnTo>
                    <a:pt x="267" y="383"/>
                  </a:lnTo>
                  <a:lnTo>
                    <a:pt x="267" y="382"/>
                  </a:lnTo>
                  <a:lnTo>
                    <a:pt x="267" y="380"/>
                  </a:lnTo>
                  <a:lnTo>
                    <a:pt x="266" y="380"/>
                  </a:lnTo>
                  <a:lnTo>
                    <a:pt x="266" y="379"/>
                  </a:lnTo>
                  <a:lnTo>
                    <a:pt x="267" y="379"/>
                  </a:lnTo>
                  <a:lnTo>
                    <a:pt x="267" y="378"/>
                  </a:lnTo>
                  <a:lnTo>
                    <a:pt x="266" y="378"/>
                  </a:lnTo>
                  <a:lnTo>
                    <a:pt x="265" y="378"/>
                  </a:lnTo>
                  <a:lnTo>
                    <a:pt x="265" y="379"/>
                  </a:lnTo>
                  <a:lnTo>
                    <a:pt x="266" y="379"/>
                  </a:lnTo>
                  <a:lnTo>
                    <a:pt x="265" y="379"/>
                  </a:lnTo>
                  <a:lnTo>
                    <a:pt x="264" y="378"/>
                  </a:lnTo>
                  <a:lnTo>
                    <a:pt x="263" y="378"/>
                  </a:lnTo>
                  <a:lnTo>
                    <a:pt x="263" y="379"/>
                  </a:lnTo>
                  <a:lnTo>
                    <a:pt x="263" y="378"/>
                  </a:lnTo>
                  <a:lnTo>
                    <a:pt x="263" y="379"/>
                  </a:lnTo>
                  <a:lnTo>
                    <a:pt x="261" y="379"/>
                  </a:lnTo>
                  <a:lnTo>
                    <a:pt x="261" y="378"/>
                  </a:lnTo>
                  <a:lnTo>
                    <a:pt x="261" y="377"/>
                  </a:lnTo>
                  <a:lnTo>
                    <a:pt x="260" y="377"/>
                  </a:lnTo>
                  <a:lnTo>
                    <a:pt x="260" y="376"/>
                  </a:lnTo>
                  <a:lnTo>
                    <a:pt x="261" y="376"/>
                  </a:lnTo>
                  <a:lnTo>
                    <a:pt x="261" y="375"/>
                  </a:lnTo>
                  <a:lnTo>
                    <a:pt x="260" y="375"/>
                  </a:lnTo>
                  <a:lnTo>
                    <a:pt x="261" y="373"/>
                  </a:lnTo>
                  <a:lnTo>
                    <a:pt x="261" y="372"/>
                  </a:lnTo>
                  <a:lnTo>
                    <a:pt x="261" y="371"/>
                  </a:lnTo>
                  <a:lnTo>
                    <a:pt x="263" y="371"/>
                  </a:lnTo>
                  <a:lnTo>
                    <a:pt x="264" y="371"/>
                  </a:lnTo>
                  <a:lnTo>
                    <a:pt x="264" y="372"/>
                  </a:lnTo>
                  <a:lnTo>
                    <a:pt x="263" y="372"/>
                  </a:lnTo>
                  <a:lnTo>
                    <a:pt x="264" y="372"/>
                  </a:lnTo>
                  <a:lnTo>
                    <a:pt x="264" y="371"/>
                  </a:lnTo>
                  <a:lnTo>
                    <a:pt x="265" y="371"/>
                  </a:lnTo>
                  <a:lnTo>
                    <a:pt x="265" y="370"/>
                  </a:lnTo>
                  <a:lnTo>
                    <a:pt x="265" y="369"/>
                  </a:lnTo>
                  <a:lnTo>
                    <a:pt x="265" y="368"/>
                  </a:lnTo>
                  <a:lnTo>
                    <a:pt x="264" y="368"/>
                  </a:lnTo>
                  <a:lnTo>
                    <a:pt x="263" y="368"/>
                  </a:lnTo>
                  <a:lnTo>
                    <a:pt x="261" y="368"/>
                  </a:lnTo>
                  <a:lnTo>
                    <a:pt x="260" y="369"/>
                  </a:lnTo>
                  <a:lnTo>
                    <a:pt x="260" y="368"/>
                  </a:lnTo>
                  <a:lnTo>
                    <a:pt x="260" y="366"/>
                  </a:lnTo>
                  <a:lnTo>
                    <a:pt x="261" y="366"/>
                  </a:lnTo>
                  <a:lnTo>
                    <a:pt x="263" y="366"/>
                  </a:lnTo>
                  <a:lnTo>
                    <a:pt x="261" y="365"/>
                  </a:lnTo>
                  <a:lnTo>
                    <a:pt x="261" y="364"/>
                  </a:lnTo>
                  <a:lnTo>
                    <a:pt x="260" y="364"/>
                  </a:lnTo>
                  <a:lnTo>
                    <a:pt x="260" y="363"/>
                  </a:lnTo>
                  <a:lnTo>
                    <a:pt x="260" y="362"/>
                  </a:lnTo>
                  <a:lnTo>
                    <a:pt x="259" y="362"/>
                  </a:lnTo>
                  <a:lnTo>
                    <a:pt x="259" y="363"/>
                  </a:lnTo>
                  <a:lnTo>
                    <a:pt x="258" y="363"/>
                  </a:lnTo>
                  <a:lnTo>
                    <a:pt x="258" y="362"/>
                  </a:lnTo>
                  <a:lnTo>
                    <a:pt x="257" y="362"/>
                  </a:lnTo>
                  <a:lnTo>
                    <a:pt x="257" y="363"/>
                  </a:lnTo>
                  <a:lnTo>
                    <a:pt x="256" y="363"/>
                  </a:lnTo>
                  <a:lnTo>
                    <a:pt x="254" y="363"/>
                  </a:lnTo>
                  <a:lnTo>
                    <a:pt x="254" y="364"/>
                  </a:lnTo>
                  <a:lnTo>
                    <a:pt x="254" y="363"/>
                  </a:lnTo>
                  <a:lnTo>
                    <a:pt x="253" y="363"/>
                  </a:lnTo>
                  <a:lnTo>
                    <a:pt x="252" y="363"/>
                  </a:lnTo>
                  <a:lnTo>
                    <a:pt x="252" y="362"/>
                  </a:lnTo>
                  <a:lnTo>
                    <a:pt x="251" y="362"/>
                  </a:lnTo>
                  <a:lnTo>
                    <a:pt x="251" y="361"/>
                  </a:lnTo>
                  <a:lnTo>
                    <a:pt x="250" y="361"/>
                  </a:lnTo>
                  <a:lnTo>
                    <a:pt x="250" y="359"/>
                  </a:lnTo>
                  <a:lnTo>
                    <a:pt x="249" y="359"/>
                  </a:lnTo>
                  <a:lnTo>
                    <a:pt x="248" y="359"/>
                  </a:lnTo>
                  <a:lnTo>
                    <a:pt x="246" y="359"/>
                  </a:lnTo>
                  <a:lnTo>
                    <a:pt x="245" y="359"/>
                  </a:lnTo>
                  <a:lnTo>
                    <a:pt x="245" y="361"/>
                  </a:lnTo>
                  <a:lnTo>
                    <a:pt x="244" y="361"/>
                  </a:lnTo>
                  <a:lnTo>
                    <a:pt x="243" y="361"/>
                  </a:lnTo>
                  <a:lnTo>
                    <a:pt x="242" y="361"/>
                  </a:lnTo>
                  <a:lnTo>
                    <a:pt x="241" y="359"/>
                  </a:lnTo>
                  <a:lnTo>
                    <a:pt x="241" y="358"/>
                  </a:lnTo>
                  <a:lnTo>
                    <a:pt x="238" y="357"/>
                  </a:lnTo>
                  <a:lnTo>
                    <a:pt x="237" y="356"/>
                  </a:lnTo>
                  <a:lnTo>
                    <a:pt x="235" y="354"/>
                  </a:lnTo>
                  <a:lnTo>
                    <a:pt x="232" y="352"/>
                  </a:lnTo>
                  <a:lnTo>
                    <a:pt x="231" y="351"/>
                  </a:lnTo>
                  <a:lnTo>
                    <a:pt x="230" y="351"/>
                  </a:lnTo>
                  <a:lnTo>
                    <a:pt x="230" y="352"/>
                  </a:lnTo>
                  <a:lnTo>
                    <a:pt x="228" y="352"/>
                  </a:lnTo>
                  <a:lnTo>
                    <a:pt x="225" y="354"/>
                  </a:lnTo>
                  <a:lnTo>
                    <a:pt x="224" y="354"/>
                  </a:lnTo>
                  <a:lnTo>
                    <a:pt x="222" y="354"/>
                  </a:lnTo>
                  <a:lnTo>
                    <a:pt x="218" y="354"/>
                  </a:lnTo>
                  <a:lnTo>
                    <a:pt x="217" y="354"/>
                  </a:lnTo>
                  <a:lnTo>
                    <a:pt x="216" y="354"/>
                  </a:lnTo>
                  <a:lnTo>
                    <a:pt x="214" y="354"/>
                  </a:lnTo>
                  <a:lnTo>
                    <a:pt x="211" y="354"/>
                  </a:lnTo>
                  <a:lnTo>
                    <a:pt x="208" y="354"/>
                  </a:lnTo>
                  <a:lnTo>
                    <a:pt x="207" y="355"/>
                  </a:lnTo>
                  <a:lnTo>
                    <a:pt x="206" y="355"/>
                  </a:lnTo>
                  <a:lnTo>
                    <a:pt x="204" y="355"/>
                  </a:lnTo>
                  <a:lnTo>
                    <a:pt x="203" y="355"/>
                  </a:lnTo>
                  <a:lnTo>
                    <a:pt x="202" y="355"/>
                  </a:lnTo>
                  <a:lnTo>
                    <a:pt x="201" y="355"/>
                  </a:lnTo>
                  <a:lnTo>
                    <a:pt x="200" y="356"/>
                  </a:lnTo>
                  <a:lnTo>
                    <a:pt x="197" y="357"/>
                  </a:lnTo>
                  <a:lnTo>
                    <a:pt x="196" y="357"/>
                  </a:lnTo>
                  <a:lnTo>
                    <a:pt x="195" y="357"/>
                  </a:lnTo>
                  <a:lnTo>
                    <a:pt x="188" y="361"/>
                  </a:lnTo>
                  <a:lnTo>
                    <a:pt x="185" y="362"/>
                  </a:lnTo>
                  <a:lnTo>
                    <a:pt x="181" y="362"/>
                  </a:lnTo>
                  <a:lnTo>
                    <a:pt x="179" y="363"/>
                  </a:lnTo>
                  <a:lnTo>
                    <a:pt x="178" y="363"/>
                  </a:lnTo>
                  <a:lnTo>
                    <a:pt x="174" y="364"/>
                  </a:lnTo>
                  <a:lnTo>
                    <a:pt x="172" y="365"/>
                  </a:lnTo>
                  <a:lnTo>
                    <a:pt x="171" y="365"/>
                  </a:lnTo>
                  <a:lnTo>
                    <a:pt x="170" y="365"/>
                  </a:lnTo>
                  <a:lnTo>
                    <a:pt x="168" y="365"/>
                  </a:lnTo>
                  <a:lnTo>
                    <a:pt x="167" y="365"/>
                  </a:lnTo>
                  <a:lnTo>
                    <a:pt x="166" y="365"/>
                  </a:lnTo>
                  <a:lnTo>
                    <a:pt x="163" y="364"/>
                  </a:lnTo>
                  <a:lnTo>
                    <a:pt x="161" y="364"/>
                  </a:lnTo>
                  <a:lnTo>
                    <a:pt x="160" y="364"/>
                  </a:lnTo>
                  <a:lnTo>
                    <a:pt x="159" y="364"/>
                  </a:lnTo>
                  <a:lnTo>
                    <a:pt x="158" y="364"/>
                  </a:lnTo>
                  <a:lnTo>
                    <a:pt x="157" y="364"/>
                  </a:lnTo>
                  <a:lnTo>
                    <a:pt x="156" y="365"/>
                  </a:lnTo>
                  <a:lnTo>
                    <a:pt x="154" y="366"/>
                  </a:lnTo>
                  <a:lnTo>
                    <a:pt x="152" y="368"/>
                  </a:lnTo>
                  <a:lnTo>
                    <a:pt x="150" y="369"/>
                  </a:lnTo>
                  <a:lnTo>
                    <a:pt x="149" y="369"/>
                  </a:lnTo>
                  <a:lnTo>
                    <a:pt x="146" y="370"/>
                  </a:lnTo>
                  <a:lnTo>
                    <a:pt x="145" y="370"/>
                  </a:lnTo>
                  <a:lnTo>
                    <a:pt x="143" y="371"/>
                  </a:lnTo>
                  <a:lnTo>
                    <a:pt x="142" y="371"/>
                  </a:lnTo>
                  <a:lnTo>
                    <a:pt x="142" y="372"/>
                  </a:lnTo>
                  <a:lnTo>
                    <a:pt x="139" y="373"/>
                  </a:lnTo>
                  <a:lnTo>
                    <a:pt x="138" y="373"/>
                  </a:lnTo>
                  <a:lnTo>
                    <a:pt x="137" y="375"/>
                  </a:lnTo>
                  <a:lnTo>
                    <a:pt x="136" y="375"/>
                  </a:lnTo>
                  <a:lnTo>
                    <a:pt x="133" y="375"/>
                  </a:lnTo>
                  <a:lnTo>
                    <a:pt x="131" y="375"/>
                  </a:lnTo>
                  <a:lnTo>
                    <a:pt x="131" y="376"/>
                  </a:lnTo>
                  <a:lnTo>
                    <a:pt x="130" y="376"/>
                  </a:lnTo>
                  <a:lnTo>
                    <a:pt x="129" y="376"/>
                  </a:lnTo>
                  <a:lnTo>
                    <a:pt x="129" y="377"/>
                  </a:lnTo>
                  <a:lnTo>
                    <a:pt x="128" y="377"/>
                  </a:lnTo>
                  <a:lnTo>
                    <a:pt x="128" y="378"/>
                  </a:lnTo>
                  <a:lnTo>
                    <a:pt x="126" y="378"/>
                  </a:lnTo>
                  <a:lnTo>
                    <a:pt x="126" y="379"/>
                  </a:lnTo>
                  <a:lnTo>
                    <a:pt x="125" y="379"/>
                  </a:lnTo>
                  <a:lnTo>
                    <a:pt x="125" y="380"/>
                  </a:lnTo>
                  <a:lnTo>
                    <a:pt x="124" y="382"/>
                  </a:lnTo>
                  <a:lnTo>
                    <a:pt x="124" y="383"/>
                  </a:lnTo>
                  <a:lnTo>
                    <a:pt x="123" y="383"/>
                  </a:lnTo>
                  <a:lnTo>
                    <a:pt x="123" y="384"/>
                  </a:lnTo>
                  <a:lnTo>
                    <a:pt x="122" y="385"/>
                  </a:lnTo>
                  <a:lnTo>
                    <a:pt x="121" y="385"/>
                  </a:lnTo>
                  <a:lnTo>
                    <a:pt x="121" y="386"/>
                  </a:lnTo>
                  <a:lnTo>
                    <a:pt x="120" y="386"/>
                  </a:lnTo>
                  <a:lnTo>
                    <a:pt x="118" y="387"/>
                  </a:lnTo>
                  <a:lnTo>
                    <a:pt x="118" y="389"/>
                  </a:lnTo>
                  <a:lnTo>
                    <a:pt x="117" y="389"/>
                  </a:lnTo>
                  <a:lnTo>
                    <a:pt x="116" y="390"/>
                  </a:lnTo>
                  <a:lnTo>
                    <a:pt x="115" y="390"/>
                  </a:lnTo>
                  <a:lnTo>
                    <a:pt x="114" y="391"/>
                  </a:lnTo>
                  <a:lnTo>
                    <a:pt x="114" y="390"/>
                  </a:lnTo>
                  <a:lnTo>
                    <a:pt x="113" y="390"/>
                  </a:lnTo>
                  <a:lnTo>
                    <a:pt x="111" y="391"/>
                  </a:lnTo>
                  <a:lnTo>
                    <a:pt x="110" y="391"/>
                  </a:lnTo>
                  <a:lnTo>
                    <a:pt x="110" y="392"/>
                  </a:lnTo>
                  <a:lnTo>
                    <a:pt x="109" y="392"/>
                  </a:lnTo>
                  <a:lnTo>
                    <a:pt x="109" y="391"/>
                  </a:lnTo>
                  <a:lnTo>
                    <a:pt x="109" y="390"/>
                  </a:lnTo>
                  <a:lnTo>
                    <a:pt x="108" y="390"/>
                  </a:lnTo>
                  <a:lnTo>
                    <a:pt x="107" y="390"/>
                  </a:lnTo>
                  <a:lnTo>
                    <a:pt x="106" y="390"/>
                  </a:lnTo>
                  <a:lnTo>
                    <a:pt x="104" y="390"/>
                  </a:lnTo>
                  <a:lnTo>
                    <a:pt x="103" y="390"/>
                  </a:lnTo>
                  <a:lnTo>
                    <a:pt x="102" y="390"/>
                  </a:lnTo>
                  <a:lnTo>
                    <a:pt x="102" y="391"/>
                  </a:lnTo>
                  <a:lnTo>
                    <a:pt x="101" y="391"/>
                  </a:lnTo>
                  <a:lnTo>
                    <a:pt x="100" y="391"/>
                  </a:lnTo>
                  <a:lnTo>
                    <a:pt x="99" y="391"/>
                  </a:lnTo>
                  <a:lnTo>
                    <a:pt x="97" y="391"/>
                  </a:lnTo>
                  <a:lnTo>
                    <a:pt x="97" y="392"/>
                  </a:lnTo>
                  <a:lnTo>
                    <a:pt x="96" y="392"/>
                  </a:lnTo>
                  <a:lnTo>
                    <a:pt x="95" y="392"/>
                  </a:lnTo>
                  <a:lnTo>
                    <a:pt x="95" y="391"/>
                  </a:lnTo>
                  <a:lnTo>
                    <a:pt x="95" y="390"/>
                  </a:lnTo>
                  <a:lnTo>
                    <a:pt x="95" y="389"/>
                  </a:lnTo>
                  <a:lnTo>
                    <a:pt x="94" y="389"/>
                  </a:lnTo>
                  <a:lnTo>
                    <a:pt x="93" y="390"/>
                  </a:lnTo>
                  <a:lnTo>
                    <a:pt x="92" y="390"/>
                  </a:lnTo>
                  <a:lnTo>
                    <a:pt x="90" y="390"/>
                  </a:lnTo>
                  <a:lnTo>
                    <a:pt x="89" y="390"/>
                  </a:lnTo>
                  <a:lnTo>
                    <a:pt x="89" y="389"/>
                  </a:lnTo>
                  <a:lnTo>
                    <a:pt x="88" y="389"/>
                  </a:lnTo>
                  <a:lnTo>
                    <a:pt x="86" y="389"/>
                  </a:lnTo>
                  <a:lnTo>
                    <a:pt x="85" y="389"/>
                  </a:lnTo>
                  <a:lnTo>
                    <a:pt x="85" y="390"/>
                  </a:lnTo>
                  <a:lnTo>
                    <a:pt x="83" y="390"/>
                  </a:lnTo>
                  <a:lnTo>
                    <a:pt x="82" y="390"/>
                  </a:lnTo>
                  <a:lnTo>
                    <a:pt x="81" y="390"/>
                  </a:lnTo>
                  <a:lnTo>
                    <a:pt x="80" y="390"/>
                  </a:lnTo>
                  <a:lnTo>
                    <a:pt x="79" y="390"/>
                  </a:lnTo>
                  <a:lnTo>
                    <a:pt x="78" y="390"/>
                  </a:lnTo>
                  <a:lnTo>
                    <a:pt x="75" y="390"/>
                  </a:lnTo>
                  <a:lnTo>
                    <a:pt x="75" y="391"/>
                  </a:lnTo>
                  <a:lnTo>
                    <a:pt x="74" y="391"/>
                  </a:lnTo>
                  <a:lnTo>
                    <a:pt x="73" y="391"/>
                  </a:lnTo>
                  <a:lnTo>
                    <a:pt x="72" y="391"/>
                  </a:lnTo>
                  <a:lnTo>
                    <a:pt x="69" y="391"/>
                  </a:lnTo>
                  <a:lnTo>
                    <a:pt x="68" y="391"/>
                  </a:lnTo>
                  <a:lnTo>
                    <a:pt x="67" y="391"/>
                  </a:lnTo>
                  <a:lnTo>
                    <a:pt x="66" y="391"/>
                  </a:lnTo>
                  <a:lnTo>
                    <a:pt x="65" y="391"/>
                  </a:lnTo>
                  <a:lnTo>
                    <a:pt x="65" y="392"/>
                  </a:lnTo>
                  <a:lnTo>
                    <a:pt x="64" y="392"/>
                  </a:lnTo>
                  <a:lnTo>
                    <a:pt x="62" y="393"/>
                  </a:lnTo>
                  <a:lnTo>
                    <a:pt x="61" y="393"/>
                  </a:lnTo>
                  <a:lnTo>
                    <a:pt x="60" y="394"/>
                  </a:lnTo>
                  <a:lnTo>
                    <a:pt x="60" y="396"/>
                  </a:lnTo>
                  <a:lnTo>
                    <a:pt x="59" y="396"/>
                  </a:lnTo>
                  <a:lnTo>
                    <a:pt x="59" y="397"/>
                  </a:lnTo>
                  <a:lnTo>
                    <a:pt x="58" y="397"/>
                  </a:lnTo>
                  <a:lnTo>
                    <a:pt x="58" y="398"/>
                  </a:lnTo>
                  <a:lnTo>
                    <a:pt x="59" y="398"/>
                  </a:lnTo>
                  <a:lnTo>
                    <a:pt x="58" y="398"/>
                  </a:lnTo>
                  <a:lnTo>
                    <a:pt x="57" y="398"/>
                  </a:lnTo>
                  <a:lnTo>
                    <a:pt x="57" y="399"/>
                  </a:lnTo>
                  <a:lnTo>
                    <a:pt x="55" y="399"/>
                  </a:lnTo>
                  <a:lnTo>
                    <a:pt x="54" y="399"/>
                  </a:lnTo>
                  <a:lnTo>
                    <a:pt x="54" y="400"/>
                  </a:lnTo>
                  <a:lnTo>
                    <a:pt x="53" y="400"/>
                  </a:lnTo>
                  <a:lnTo>
                    <a:pt x="53" y="399"/>
                  </a:lnTo>
                  <a:lnTo>
                    <a:pt x="51" y="399"/>
                  </a:lnTo>
                  <a:lnTo>
                    <a:pt x="50" y="399"/>
                  </a:lnTo>
                  <a:lnTo>
                    <a:pt x="49" y="399"/>
                  </a:lnTo>
                  <a:lnTo>
                    <a:pt x="50" y="399"/>
                  </a:lnTo>
                  <a:lnTo>
                    <a:pt x="50" y="400"/>
                  </a:lnTo>
                  <a:lnTo>
                    <a:pt x="49" y="400"/>
                  </a:lnTo>
                  <a:lnTo>
                    <a:pt x="47" y="400"/>
                  </a:lnTo>
                  <a:lnTo>
                    <a:pt x="46" y="401"/>
                  </a:lnTo>
                  <a:lnTo>
                    <a:pt x="47" y="401"/>
                  </a:lnTo>
                  <a:lnTo>
                    <a:pt x="46" y="401"/>
                  </a:lnTo>
                  <a:lnTo>
                    <a:pt x="45" y="403"/>
                  </a:lnTo>
                  <a:lnTo>
                    <a:pt x="44" y="403"/>
                  </a:lnTo>
                  <a:lnTo>
                    <a:pt x="43" y="403"/>
                  </a:lnTo>
                  <a:lnTo>
                    <a:pt x="42" y="404"/>
                  </a:lnTo>
                  <a:lnTo>
                    <a:pt x="42" y="405"/>
                  </a:lnTo>
                  <a:lnTo>
                    <a:pt x="40" y="405"/>
                  </a:lnTo>
                  <a:lnTo>
                    <a:pt x="40" y="406"/>
                  </a:lnTo>
                  <a:lnTo>
                    <a:pt x="39" y="406"/>
                  </a:lnTo>
                  <a:lnTo>
                    <a:pt x="38" y="406"/>
                  </a:lnTo>
                  <a:lnTo>
                    <a:pt x="37" y="406"/>
                  </a:lnTo>
                  <a:lnTo>
                    <a:pt x="37" y="407"/>
                  </a:lnTo>
                  <a:lnTo>
                    <a:pt x="37" y="408"/>
                  </a:lnTo>
                  <a:lnTo>
                    <a:pt x="37" y="407"/>
                  </a:lnTo>
                  <a:lnTo>
                    <a:pt x="36" y="407"/>
                  </a:lnTo>
                  <a:lnTo>
                    <a:pt x="35" y="407"/>
                  </a:lnTo>
                  <a:lnTo>
                    <a:pt x="33" y="407"/>
                  </a:lnTo>
                  <a:lnTo>
                    <a:pt x="33" y="408"/>
                  </a:lnTo>
                  <a:lnTo>
                    <a:pt x="32" y="408"/>
                  </a:lnTo>
                  <a:lnTo>
                    <a:pt x="33" y="408"/>
                  </a:lnTo>
                  <a:lnTo>
                    <a:pt x="35" y="408"/>
                  </a:lnTo>
                  <a:lnTo>
                    <a:pt x="33" y="410"/>
                  </a:lnTo>
                  <a:lnTo>
                    <a:pt x="32" y="410"/>
                  </a:lnTo>
                  <a:lnTo>
                    <a:pt x="31" y="408"/>
                  </a:lnTo>
                  <a:lnTo>
                    <a:pt x="30" y="408"/>
                  </a:lnTo>
                  <a:lnTo>
                    <a:pt x="29" y="408"/>
                  </a:lnTo>
                  <a:lnTo>
                    <a:pt x="29" y="410"/>
                  </a:lnTo>
                  <a:lnTo>
                    <a:pt x="28" y="408"/>
                  </a:lnTo>
                  <a:lnTo>
                    <a:pt x="26" y="408"/>
                  </a:lnTo>
                  <a:lnTo>
                    <a:pt x="25" y="407"/>
                  </a:lnTo>
                  <a:lnTo>
                    <a:pt x="25" y="408"/>
                  </a:lnTo>
                  <a:lnTo>
                    <a:pt x="25" y="407"/>
                  </a:lnTo>
                  <a:lnTo>
                    <a:pt x="24" y="407"/>
                  </a:lnTo>
                  <a:lnTo>
                    <a:pt x="24" y="408"/>
                  </a:lnTo>
                  <a:lnTo>
                    <a:pt x="24" y="407"/>
                  </a:lnTo>
                  <a:lnTo>
                    <a:pt x="23" y="408"/>
                  </a:lnTo>
                  <a:lnTo>
                    <a:pt x="22" y="408"/>
                  </a:lnTo>
                  <a:lnTo>
                    <a:pt x="21" y="408"/>
                  </a:lnTo>
                  <a:lnTo>
                    <a:pt x="21" y="407"/>
                  </a:lnTo>
                  <a:lnTo>
                    <a:pt x="21" y="408"/>
                  </a:lnTo>
                  <a:lnTo>
                    <a:pt x="19" y="408"/>
                  </a:lnTo>
                  <a:lnTo>
                    <a:pt x="18" y="408"/>
                  </a:lnTo>
                  <a:lnTo>
                    <a:pt x="18" y="407"/>
                  </a:lnTo>
                  <a:lnTo>
                    <a:pt x="18" y="408"/>
                  </a:lnTo>
                  <a:lnTo>
                    <a:pt x="17" y="408"/>
                  </a:lnTo>
                  <a:lnTo>
                    <a:pt x="16" y="408"/>
                  </a:lnTo>
                  <a:lnTo>
                    <a:pt x="15" y="407"/>
                  </a:lnTo>
                  <a:lnTo>
                    <a:pt x="14" y="407"/>
                  </a:lnTo>
                  <a:lnTo>
                    <a:pt x="14" y="406"/>
                  </a:lnTo>
                  <a:lnTo>
                    <a:pt x="15" y="406"/>
                  </a:lnTo>
                  <a:lnTo>
                    <a:pt x="15" y="407"/>
                  </a:lnTo>
                  <a:lnTo>
                    <a:pt x="15" y="406"/>
                  </a:lnTo>
                  <a:lnTo>
                    <a:pt x="15" y="405"/>
                  </a:lnTo>
                  <a:lnTo>
                    <a:pt x="14" y="405"/>
                  </a:lnTo>
                  <a:lnTo>
                    <a:pt x="14" y="406"/>
                  </a:lnTo>
                  <a:lnTo>
                    <a:pt x="12" y="406"/>
                  </a:lnTo>
                  <a:lnTo>
                    <a:pt x="10" y="405"/>
                  </a:lnTo>
                  <a:lnTo>
                    <a:pt x="9" y="405"/>
                  </a:lnTo>
                  <a:lnTo>
                    <a:pt x="9" y="404"/>
                  </a:lnTo>
                  <a:lnTo>
                    <a:pt x="9" y="403"/>
                  </a:lnTo>
                  <a:lnTo>
                    <a:pt x="8" y="400"/>
                  </a:lnTo>
                  <a:lnTo>
                    <a:pt x="7" y="399"/>
                  </a:lnTo>
                  <a:lnTo>
                    <a:pt x="7" y="398"/>
                  </a:lnTo>
                  <a:lnTo>
                    <a:pt x="5" y="398"/>
                  </a:lnTo>
                  <a:lnTo>
                    <a:pt x="4" y="397"/>
                  </a:lnTo>
                  <a:lnTo>
                    <a:pt x="3" y="397"/>
                  </a:lnTo>
                  <a:lnTo>
                    <a:pt x="2" y="397"/>
                  </a:lnTo>
                  <a:lnTo>
                    <a:pt x="1" y="397"/>
                  </a:lnTo>
                  <a:lnTo>
                    <a:pt x="1" y="398"/>
                  </a:lnTo>
                  <a:lnTo>
                    <a:pt x="1" y="397"/>
                  </a:lnTo>
                  <a:lnTo>
                    <a:pt x="0" y="396"/>
                  </a:lnTo>
                  <a:lnTo>
                    <a:pt x="1" y="394"/>
                  </a:lnTo>
                  <a:lnTo>
                    <a:pt x="1" y="393"/>
                  </a:lnTo>
                  <a:lnTo>
                    <a:pt x="1" y="391"/>
                  </a:lnTo>
                  <a:lnTo>
                    <a:pt x="2" y="390"/>
                  </a:lnTo>
                  <a:lnTo>
                    <a:pt x="2" y="389"/>
                  </a:lnTo>
                  <a:lnTo>
                    <a:pt x="2" y="387"/>
                  </a:lnTo>
                  <a:lnTo>
                    <a:pt x="2" y="386"/>
                  </a:lnTo>
                  <a:lnTo>
                    <a:pt x="3" y="386"/>
                  </a:lnTo>
                  <a:lnTo>
                    <a:pt x="3" y="385"/>
                  </a:lnTo>
                  <a:lnTo>
                    <a:pt x="4" y="384"/>
                  </a:lnTo>
                  <a:lnTo>
                    <a:pt x="4" y="385"/>
                  </a:lnTo>
                  <a:lnTo>
                    <a:pt x="5" y="385"/>
                  </a:lnTo>
                  <a:lnTo>
                    <a:pt x="5" y="386"/>
                  </a:lnTo>
                  <a:lnTo>
                    <a:pt x="7" y="386"/>
                  </a:lnTo>
                  <a:lnTo>
                    <a:pt x="8" y="386"/>
                  </a:lnTo>
                  <a:lnTo>
                    <a:pt x="9" y="385"/>
                  </a:lnTo>
                  <a:lnTo>
                    <a:pt x="11" y="384"/>
                  </a:lnTo>
                  <a:lnTo>
                    <a:pt x="12" y="383"/>
                  </a:lnTo>
                  <a:lnTo>
                    <a:pt x="12" y="382"/>
                  </a:lnTo>
                  <a:lnTo>
                    <a:pt x="14" y="380"/>
                  </a:lnTo>
                  <a:lnTo>
                    <a:pt x="15" y="380"/>
                  </a:lnTo>
                  <a:lnTo>
                    <a:pt x="15" y="379"/>
                  </a:lnTo>
                  <a:lnTo>
                    <a:pt x="15" y="380"/>
                  </a:lnTo>
                  <a:lnTo>
                    <a:pt x="15" y="378"/>
                  </a:lnTo>
                  <a:lnTo>
                    <a:pt x="16" y="376"/>
                  </a:lnTo>
                  <a:lnTo>
                    <a:pt x="16" y="375"/>
                  </a:lnTo>
                  <a:lnTo>
                    <a:pt x="16" y="373"/>
                  </a:lnTo>
                  <a:lnTo>
                    <a:pt x="17" y="371"/>
                  </a:lnTo>
                  <a:lnTo>
                    <a:pt x="17" y="370"/>
                  </a:lnTo>
                  <a:lnTo>
                    <a:pt x="18" y="370"/>
                  </a:lnTo>
                  <a:lnTo>
                    <a:pt x="18" y="369"/>
                  </a:lnTo>
                  <a:lnTo>
                    <a:pt x="19" y="368"/>
                  </a:lnTo>
                  <a:lnTo>
                    <a:pt x="18" y="369"/>
                  </a:lnTo>
                  <a:lnTo>
                    <a:pt x="18" y="370"/>
                  </a:lnTo>
                  <a:lnTo>
                    <a:pt x="17" y="370"/>
                  </a:lnTo>
                  <a:lnTo>
                    <a:pt x="17" y="371"/>
                  </a:lnTo>
                  <a:lnTo>
                    <a:pt x="17" y="372"/>
                  </a:lnTo>
                  <a:lnTo>
                    <a:pt x="18" y="372"/>
                  </a:lnTo>
                  <a:lnTo>
                    <a:pt x="18" y="371"/>
                  </a:lnTo>
                  <a:lnTo>
                    <a:pt x="18" y="370"/>
                  </a:lnTo>
                  <a:lnTo>
                    <a:pt x="19" y="370"/>
                  </a:lnTo>
                  <a:lnTo>
                    <a:pt x="19" y="369"/>
                  </a:lnTo>
                  <a:lnTo>
                    <a:pt x="19" y="368"/>
                  </a:lnTo>
                  <a:lnTo>
                    <a:pt x="21" y="366"/>
                  </a:lnTo>
                  <a:lnTo>
                    <a:pt x="19" y="366"/>
                  </a:lnTo>
                  <a:lnTo>
                    <a:pt x="21" y="365"/>
                  </a:lnTo>
                  <a:lnTo>
                    <a:pt x="21" y="364"/>
                  </a:lnTo>
                  <a:lnTo>
                    <a:pt x="22" y="364"/>
                  </a:lnTo>
                  <a:lnTo>
                    <a:pt x="22" y="363"/>
                  </a:lnTo>
                  <a:lnTo>
                    <a:pt x="22" y="362"/>
                  </a:lnTo>
                  <a:lnTo>
                    <a:pt x="22" y="361"/>
                  </a:lnTo>
                  <a:lnTo>
                    <a:pt x="23" y="359"/>
                  </a:lnTo>
                  <a:lnTo>
                    <a:pt x="23" y="356"/>
                  </a:lnTo>
                  <a:lnTo>
                    <a:pt x="24" y="355"/>
                  </a:lnTo>
                  <a:lnTo>
                    <a:pt x="23" y="352"/>
                  </a:lnTo>
                  <a:lnTo>
                    <a:pt x="23" y="351"/>
                  </a:lnTo>
                  <a:lnTo>
                    <a:pt x="23" y="349"/>
                  </a:lnTo>
                  <a:lnTo>
                    <a:pt x="22" y="347"/>
                  </a:lnTo>
                  <a:lnTo>
                    <a:pt x="22" y="344"/>
                  </a:lnTo>
                  <a:lnTo>
                    <a:pt x="22" y="342"/>
                  </a:lnTo>
                  <a:lnTo>
                    <a:pt x="21" y="342"/>
                  </a:lnTo>
                  <a:lnTo>
                    <a:pt x="22" y="341"/>
                  </a:lnTo>
                  <a:lnTo>
                    <a:pt x="22" y="340"/>
                  </a:lnTo>
                  <a:lnTo>
                    <a:pt x="21" y="338"/>
                  </a:lnTo>
                  <a:lnTo>
                    <a:pt x="21" y="336"/>
                  </a:lnTo>
                  <a:lnTo>
                    <a:pt x="22" y="336"/>
                  </a:lnTo>
                  <a:lnTo>
                    <a:pt x="22" y="335"/>
                  </a:lnTo>
                  <a:lnTo>
                    <a:pt x="22" y="334"/>
                  </a:lnTo>
                  <a:lnTo>
                    <a:pt x="22" y="333"/>
                  </a:lnTo>
                  <a:lnTo>
                    <a:pt x="22" y="331"/>
                  </a:lnTo>
                  <a:lnTo>
                    <a:pt x="22" y="330"/>
                  </a:lnTo>
                  <a:lnTo>
                    <a:pt x="22" y="329"/>
                  </a:lnTo>
                  <a:lnTo>
                    <a:pt x="23" y="327"/>
                  </a:lnTo>
                  <a:lnTo>
                    <a:pt x="23" y="326"/>
                  </a:lnTo>
                  <a:lnTo>
                    <a:pt x="23" y="324"/>
                  </a:lnTo>
                  <a:lnTo>
                    <a:pt x="24" y="323"/>
                  </a:lnTo>
                  <a:lnTo>
                    <a:pt x="24" y="322"/>
                  </a:lnTo>
                  <a:lnTo>
                    <a:pt x="25" y="321"/>
                  </a:lnTo>
                  <a:lnTo>
                    <a:pt x="25" y="320"/>
                  </a:lnTo>
                  <a:lnTo>
                    <a:pt x="25" y="319"/>
                  </a:lnTo>
                  <a:lnTo>
                    <a:pt x="25" y="317"/>
                  </a:lnTo>
                  <a:lnTo>
                    <a:pt x="25" y="316"/>
                  </a:lnTo>
                  <a:lnTo>
                    <a:pt x="25" y="314"/>
                  </a:lnTo>
                  <a:lnTo>
                    <a:pt x="23" y="312"/>
                  </a:lnTo>
                  <a:lnTo>
                    <a:pt x="23" y="310"/>
                  </a:lnTo>
                  <a:lnTo>
                    <a:pt x="23" y="309"/>
                  </a:lnTo>
                  <a:lnTo>
                    <a:pt x="23" y="308"/>
                  </a:lnTo>
                  <a:lnTo>
                    <a:pt x="24" y="307"/>
                  </a:lnTo>
                  <a:lnTo>
                    <a:pt x="23" y="305"/>
                  </a:lnTo>
                  <a:lnTo>
                    <a:pt x="23" y="303"/>
                  </a:lnTo>
                  <a:lnTo>
                    <a:pt x="22" y="302"/>
                  </a:lnTo>
                  <a:lnTo>
                    <a:pt x="22" y="301"/>
                  </a:lnTo>
                  <a:lnTo>
                    <a:pt x="22" y="300"/>
                  </a:lnTo>
                  <a:lnTo>
                    <a:pt x="21" y="300"/>
                  </a:lnTo>
                  <a:lnTo>
                    <a:pt x="21" y="299"/>
                  </a:lnTo>
                  <a:lnTo>
                    <a:pt x="21" y="298"/>
                  </a:lnTo>
                  <a:lnTo>
                    <a:pt x="21" y="295"/>
                  </a:lnTo>
                  <a:lnTo>
                    <a:pt x="21" y="294"/>
                  </a:lnTo>
                  <a:lnTo>
                    <a:pt x="21" y="293"/>
                  </a:lnTo>
                  <a:lnTo>
                    <a:pt x="22" y="293"/>
                  </a:lnTo>
                  <a:lnTo>
                    <a:pt x="22" y="292"/>
                  </a:lnTo>
                  <a:lnTo>
                    <a:pt x="22" y="288"/>
                  </a:lnTo>
                  <a:lnTo>
                    <a:pt x="22" y="286"/>
                  </a:lnTo>
                  <a:lnTo>
                    <a:pt x="21" y="284"/>
                  </a:lnTo>
                  <a:lnTo>
                    <a:pt x="19" y="280"/>
                  </a:lnTo>
                  <a:lnTo>
                    <a:pt x="18" y="278"/>
                  </a:lnTo>
                  <a:lnTo>
                    <a:pt x="18" y="275"/>
                  </a:lnTo>
                  <a:lnTo>
                    <a:pt x="17" y="274"/>
                  </a:lnTo>
                  <a:lnTo>
                    <a:pt x="16" y="272"/>
                  </a:lnTo>
                  <a:lnTo>
                    <a:pt x="16" y="271"/>
                  </a:lnTo>
                  <a:lnTo>
                    <a:pt x="16" y="270"/>
                  </a:lnTo>
                  <a:lnTo>
                    <a:pt x="16" y="268"/>
                  </a:lnTo>
                  <a:lnTo>
                    <a:pt x="15" y="268"/>
                  </a:lnTo>
                  <a:lnTo>
                    <a:pt x="15" y="267"/>
                  </a:lnTo>
                  <a:lnTo>
                    <a:pt x="16" y="268"/>
                  </a:lnTo>
                  <a:lnTo>
                    <a:pt x="16" y="267"/>
                  </a:lnTo>
                  <a:lnTo>
                    <a:pt x="16" y="266"/>
                  </a:lnTo>
                  <a:lnTo>
                    <a:pt x="17" y="266"/>
                  </a:lnTo>
                  <a:lnTo>
                    <a:pt x="17" y="265"/>
                  </a:lnTo>
                  <a:lnTo>
                    <a:pt x="17" y="267"/>
                  </a:lnTo>
                  <a:lnTo>
                    <a:pt x="17" y="268"/>
                  </a:lnTo>
                  <a:lnTo>
                    <a:pt x="16" y="270"/>
                  </a:lnTo>
                  <a:lnTo>
                    <a:pt x="16" y="271"/>
                  </a:lnTo>
                  <a:lnTo>
                    <a:pt x="17" y="271"/>
                  </a:lnTo>
                  <a:lnTo>
                    <a:pt x="17" y="270"/>
                  </a:lnTo>
                  <a:lnTo>
                    <a:pt x="17" y="268"/>
                  </a:lnTo>
                  <a:lnTo>
                    <a:pt x="18" y="266"/>
                  </a:lnTo>
                  <a:lnTo>
                    <a:pt x="17" y="266"/>
                  </a:lnTo>
                  <a:lnTo>
                    <a:pt x="18" y="265"/>
                  </a:lnTo>
                  <a:lnTo>
                    <a:pt x="18" y="266"/>
                  </a:lnTo>
                  <a:lnTo>
                    <a:pt x="17" y="268"/>
                  </a:lnTo>
                  <a:lnTo>
                    <a:pt x="18" y="267"/>
                  </a:lnTo>
                  <a:lnTo>
                    <a:pt x="18" y="268"/>
                  </a:lnTo>
                  <a:lnTo>
                    <a:pt x="18" y="270"/>
                  </a:lnTo>
                  <a:lnTo>
                    <a:pt x="18" y="271"/>
                  </a:lnTo>
                  <a:lnTo>
                    <a:pt x="18" y="272"/>
                  </a:lnTo>
                  <a:lnTo>
                    <a:pt x="17" y="273"/>
                  </a:lnTo>
                  <a:lnTo>
                    <a:pt x="18" y="273"/>
                  </a:lnTo>
                  <a:lnTo>
                    <a:pt x="18" y="272"/>
                  </a:lnTo>
                  <a:lnTo>
                    <a:pt x="18" y="271"/>
                  </a:lnTo>
                  <a:lnTo>
                    <a:pt x="18" y="270"/>
                  </a:lnTo>
                  <a:lnTo>
                    <a:pt x="19" y="270"/>
                  </a:lnTo>
                  <a:lnTo>
                    <a:pt x="19" y="271"/>
                  </a:lnTo>
                  <a:lnTo>
                    <a:pt x="19" y="272"/>
                  </a:lnTo>
                  <a:lnTo>
                    <a:pt x="18" y="273"/>
                  </a:lnTo>
                  <a:lnTo>
                    <a:pt x="18" y="274"/>
                  </a:lnTo>
                  <a:lnTo>
                    <a:pt x="19" y="274"/>
                  </a:lnTo>
                  <a:lnTo>
                    <a:pt x="19" y="273"/>
                  </a:lnTo>
                  <a:lnTo>
                    <a:pt x="19" y="272"/>
                  </a:lnTo>
                  <a:lnTo>
                    <a:pt x="19" y="273"/>
                  </a:lnTo>
                  <a:lnTo>
                    <a:pt x="19" y="274"/>
                  </a:lnTo>
                  <a:lnTo>
                    <a:pt x="19" y="275"/>
                  </a:lnTo>
                  <a:lnTo>
                    <a:pt x="19" y="274"/>
                  </a:lnTo>
                  <a:lnTo>
                    <a:pt x="21" y="274"/>
                  </a:lnTo>
                  <a:lnTo>
                    <a:pt x="22" y="274"/>
                  </a:lnTo>
                  <a:lnTo>
                    <a:pt x="23" y="274"/>
                  </a:lnTo>
                  <a:lnTo>
                    <a:pt x="23" y="273"/>
                  </a:lnTo>
                  <a:lnTo>
                    <a:pt x="23" y="272"/>
                  </a:lnTo>
                  <a:lnTo>
                    <a:pt x="23" y="271"/>
                  </a:lnTo>
                  <a:lnTo>
                    <a:pt x="24" y="271"/>
                  </a:lnTo>
                  <a:lnTo>
                    <a:pt x="23" y="270"/>
                  </a:lnTo>
                  <a:lnTo>
                    <a:pt x="23" y="268"/>
                  </a:lnTo>
                  <a:lnTo>
                    <a:pt x="22" y="268"/>
                  </a:lnTo>
                  <a:lnTo>
                    <a:pt x="22" y="267"/>
                  </a:lnTo>
                  <a:lnTo>
                    <a:pt x="21" y="266"/>
                  </a:lnTo>
                  <a:lnTo>
                    <a:pt x="21" y="265"/>
                  </a:lnTo>
                  <a:lnTo>
                    <a:pt x="21" y="264"/>
                  </a:lnTo>
                  <a:lnTo>
                    <a:pt x="21" y="263"/>
                  </a:lnTo>
                  <a:lnTo>
                    <a:pt x="21" y="261"/>
                  </a:lnTo>
                  <a:lnTo>
                    <a:pt x="19" y="261"/>
                  </a:lnTo>
                  <a:lnTo>
                    <a:pt x="19" y="260"/>
                  </a:lnTo>
                  <a:lnTo>
                    <a:pt x="19" y="259"/>
                  </a:lnTo>
                  <a:lnTo>
                    <a:pt x="21" y="259"/>
                  </a:lnTo>
                  <a:lnTo>
                    <a:pt x="21" y="258"/>
                  </a:lnTo>
                  <a:lnTo>
                    <a:pt x="22" y="258"/>
                  </a:lnTo>
                  <a:lnTo>
                    <a:pt x="22" y="257"/>
                  </a:lnTo>
                  <a:lnTo>
                    <a:pt x="22" y="258"/>
                  </a:lnTo>
                  <a:lnTo>
                    <a:pt x="22" y="259"/>
                  </a:lnTo>
                  <a:lnTo>
                    <a:pt x="22" y="260"/>
                  </a:lnTo>
                  <a:lnTo>
                    <a:pt x="23" y="261"/>
                  </a:lnTo>
                  <a:lnTo>
                    <a:pt x="24" y="261"/>
                  </a:lnTo>
                  <a:lnTo>
                    <a:pt x="23" y="263"/>
                  </a:lnTo>
                  <a:lnTo>
                    <a:pt x="23" y="264"/>
                  </a:lnTo>
                  <a:lnTo>
                    <a:pt x="24" y="264"/>
                  </a:lnTo>
                  <a:lnTo>
                    <a:pt x="23" y="264"/>
                  </a:lnTo>
                  <a:lnTo>
                    <a:pt x="23" y="265"/>
                  </a:lnTo>
                  <a:lnTo>
                    <a:pt x="23" y="266"/>
                  </a:lnTo>
                  <a:lnTo>
                    <a:pt x="22" y="267"/>
                  </a:lnTo>
                  <a:lnTo>
                    <a:pt x="22" y="268"/>
                  </a:lnTo>
                  <a:lnTo>
                    <a:pt x="23" y="268"/>
                  </a:lnTo>
                  <a:lnTo>
                    <a:pt x="24" y="267"/>
                  </a:lnTo>
                  <a:lnTo>
                    <a:pt x="24" y="266"/>
                  </a:lnTo>
                  <a:lnTo>
                    <a:pt x="25" y="266"/>
                  </a:lnTo>
                  <a:lnTo>
                    <a:pt x="24" y="265"/>
                  </a:lnTo>
                  <a:lnTo>
                    <a:pt x="25" y="265"/>
                  </a:lnTo>
                  <a:lnTo>
                    <a:pt x="24" y="265"/>
                  </a:lnTo>
                  <a:lnTo>
                    <a:pt x="25" y="264"/>
                  </a:lnTo>
                  <a:lnTo>
                    <a:pt x="25" y="265"/>
                  </a:lnTo>
                  <a:lnTo>
                    <a:pt x="25" y="266"/>
                  </a:lnTo>
                  <a:lnTo>
                    <a:pt x="25" y="267"/>
                  </a:lnTo>
                  <a:lnTo>
                    <a:pt x="25" y="268"/>
                  </a:lnTo>
                  <a:lnTo>
                    <a:pt x="25" y="270"/>
                  </a:lnTo>
                  <a:lnTo>
                    <a:pt x="25" y="271"/>
                  </a:lnTo>
                  <a:lnTo>
                    <a:pt x="25" y="272"/>
                  </a:lnTo>
                  <a:lnTo>
                    <a:pt x="26" y="272"/>
                  </a:lnTo>
                  <a:lnTo>
                    <a:pt x="28" y="271"/>
                  </a:lnTo>
                  <a:lnTo>
                    <a:pt x="29" y="270"/>
                  </a:lnTo>
                  <a:lnTo>
                    <a:pt x="29" y="268"/>
                  </a:lnTo>
                  <a:lnTo>
                    <a:pt x="29" y="267"/>
                  </a:lnTo>
                  <a:lnTo>
                    <a:pt x="29" y="266"/>
                  </a:lnTo>
                  <a:lnTo>
                    <a:pt x="30" y="266"/>
                  </a:lnTo>
                  <a:lnTo>
                    <a:pt x="29" y="266"/>
                  </a:lnTo>
                  <a:lnTo>
                    <a:pt x="29" y="265"/>
                  </a:lnTo>
                  <a:lnTo>
                    <a:pt x="30" y="265"/>
                  </a:lnTo>
                  <a:lnTo>
                    <a:pt x="30" y="264"/>
                  </a:lnTo>
                  <a:lnTo>
                    <a:pt x="31" y="263"/>
                  </a:lnTo>
                  <a:lnTo>
                    <a:pt x="30" y="263"/>
                  </a:lnTo>
                  <a:lnTo>
                    <a:pt x="30" y="261"/>
                  </a:lnTo>
                  <a:lnTo>
                    <a:pt x="29" y="261"/>
                  </a:lnTo>
                  <a:lnTo>
                    <a:pt x="30" y="261"/>
                  </a:lnTo>
                  <a:lnTo>
                    <a:pt x="29" y="260"/>
                  </a:lnTo>
                  <a:lnTo>
                    <a:pt x="29" y="259"/>
                  </a:lnTo>
                  <a:lnTo>
                    <a:pt x="29" y="258"/>
                  </a:lnTo>
                  <a:lnTo>
                    <a:pt x="28" y="257"/>
                  </a:lnTo>
                  <a:lnTo>
                    <a:pt x="28" y="255"/>
                  </a:lnTo>
                  <a:lnTo>
                    <a:pt x="28" y="253"/>
                  </a:lnTo>
                  <a:lnTo>
                    <a:pt x="26" y="252"/>
                  </a:lnTo>
                  <a:lnTo>
                    <a:pt x="26" y="251"/>
                  </a:lnTo>
                  <a:lnTo>
                    <a:pt x="25" y="251"/>
                  </a:lnTo>
                  <a:lnTo>
                    <a:pt x="25" y="250"/>
                  </a:lnTo>
                  <a:lnTo>
                    <a:pt x="25" y="249"/>
                  </a:lnTo>
                  <a:lnTo>
                    <a:pt x="25" y="248"/>
                  </a:lnTo>
                  <a:lnTo>
                    <a:pt x="25" y="246"/>
                  </a:lnTo>
                  <a:lnTo>
                    <a:pt x="25" y="245"/>
                  </a:lnTo>
                  <a:lnTo>
                    <a:pt x="25" y="244"/>
                  </a:lnTo>
                  <a:lnTo>
                    <a:pt x="24" y="242"/>
                  </a:lnTo>
                  <a:lnTo>
                    <a:pt x="24" y="241"/>
                  </a:lnTo>
                  <a:lnTo>
                    <a:pt x="24" y="237"/>
                  </a:lnTo>
                  <a:lnTo>
                    <a:pt x="25" y="237"/>
                  </a:lnTo>
                  <a:lnTo>
                    <a:pt x="25" y="236"/>
                  </a:lnTo>
                  <a:lnTo>
                    <a:pt x="25" y="235"/>
                  </a:lnTo>
                  <a:lnTo>
                    <a:pt x="25" y="234"/>
                  </a:lnTo>
                  <a:lnTo>
                    <a:pt x="26" y="234"/>
                  </a:lnTo>
                  <a:lnTo>
                    <a:pt x="26" y="232"/>
                  </a:lnTo>
                  <a:lnTo>
                    <a:pt x="26" y="231"/>
                  </a:lnTo>
                  <a:lnTo>
                    <a:pt x="28" y="230"/>
                  </a:lnTo>
                  <a:lnTo>
                    <a:pt x="28" y="229"/>
                  </a:lnTo>
                  <a:lnTo>
                    <a:pt x="29" y="228"/>
                  </a:lnTo>
                  <a:lnTo>
                    <a:pt x="30" y="228"/>
                  </a:lnTo>
                  <a:lnTo>
                    <a:pt x="30" y="227"/>
                  </a:lnTo>
                  <a:lnTo>
                    <a:pt x="31" y="227"/>
                  </a:lnTo>
                  <a:lnTo>
                    <a:pt x="31" y="225"/>
                  </a:lnTo>
                  <a:lnTo>
                    <a:pt x="32" y="225"/>
                  </a:lnTo>
                  <a:lnTo>
                    <a:pt x="32" y="224"/>
                  </a:lnTo>
                  <a:lnTo>
                    <a:pt x="32" y="223"/>
                  </a:lnTo>
                  <a:lnTo>
                    <a:pt x="32" y="222"/>
                  </a:lnTo>
                  <a:lnTo>
                    <a:pt x="32" y="221"/>
                  </a:lnTo>
                  <a:lnTo>
                    <a:pt x="32" y="220"/>
                  </a:lnTo>
                  <a:lnTo>
                    <a:pt x="33" y="220"/>
                  </a:lnTo>
                  <a:lnTo>
                    <a:pt x="33" y="218"/>
                  </a:lnTo>
                  <a:lnTo>
                    <a:pt x="33" y="216"/>
                  </a:lnTo>
                  <a:lnTo>
                    <a:pt x="33" y="215"/>
                  </a:lnTo>
                  <a:lnTo>
                    <a:pt x="33" y="214"/>
                  </a:lnTo>
                  <a:lnTo>
                    <a:pt x="32" y="214"/>
                  </a:lnTo>
                  <a:lnTo>
                    <a:pt x="32" y="213"/>
                  </a:lnTo>
                  <a:lnTo>
                    <a:pt x="32" y="211"/>
                  </a:lnTo>
                  <a:lnTo>
                    <a:pt x="32" y="210"/>
                  </a:lnTo>
                  <a:lnTo>
                    <a:pt x="33" y="210"/>
                  </a:lnTo>
                  <a:lnTo>
                    <a:pt x="35" y="209"/>
                  </a:lnTo>
                  <a:lnTo>
                    <a:pt x="35" y="208"/>
                  </a:lnTo>
                  <a:lnTo>
                    <a:pt x="36" y="208"/>
                  </a:lnTo>
                  <a:lnTo>
                    <a:pt x="36" y="207"/>
                  </a:lnTo>
                  <a:lnTo>
                    <a:pt x="37" y="203"/>
                  </a:lnTo>
                  <a:lnTo>
                    <a:pt x="38" y="203"/>
                  </a:lnTo>
                  <a:lnTo>
                    <a:pt x="38" y="202"/>
                  </a:lnTo>
                  <a:lnTo>
                    <a:pt x="38" y="201"/>
                  </a:lnTo>
                  <a:lnTo>
                    <a:pt x="39" y="200"/>
                  </a:lnTo>
                  <a:lnTo>
                    <a:pt x="40" y="200"/>
                  </a:lnTo>
                  <a:lnTo>
                    <a:pt x="40" y="199"/>
                  </a:lnTo>
                  <a:lnTo>
                    <a:pt x="42" y="199"/>
                  </a:lnTo>
                  <a:lnTo>
                    <a:pt x="42" y="200"/>
                  </a:lnTo>
                  <a:lnTo>
                    <a:pt x="42" y="201"/>
                  </a:lnTo>
                  <a:lnTo>
                    <a:pt x="40" y="203"/>
                  </a:lnTo>
                  <a:lnTo>
                    <a:pt x="40" y="204"/>
                  </a:lnTo>
                  <a:lnTo>
                    <a:pt x="39" y="204"/>
                  </a:lnTo>
                  <a:lnTo>
                    <a:pt x="40" y="206"/>
                  </a:lnTo>
                  <a:lnTo>
                    <a:pt x="40" y="207"/>
                  </a:lnTo>
                  <a:lnTo>
                    <a:pt x="39" y="207"/>
                  </a:lnTo>
                  <a:lnTo>
                    <a:pt x="40" y="207"/>
                  </a:lnTo>
                  <a:lnTo>
                    <a:pt x="40" y="208"/>
                  </a:lnTo>
                  <a:lnTo>
                    <a:pt x="39" y="208"/>
                  </a:lnTo>
                  <a:lnTo>
                    <a:pt x="39" y="209"/>
                  </a:lnTo>
                  <a:lnTo>
                    <a:pt x="39" y="210"/>
                  </a:lnTo>
                  <a:lnTo>
                    <a:pt x="40" y="210"/>
                  </a:lnTo>
                  <a:lnTo>
                    <a:pt x="40" y="209"/>
                  </a:lnTo>
                  <a:lnTo>
                    <a:pt x="42" y="209"/>
                  </a:lnTo>
                  <a:lnTo>
                    <a:pt x="43" y="209"/>
                  </a:lnTo>
                  <a:lnTo>
                    <a:pt x="43" y="210"/>
                  </a:lnTo>
                  <a:lnTo>
                    <a:pt x="43" y="209"/>
                  </a:lnTo>
                  <a:lnTo>
                    <a:pt x="43" y="208"/>
                  </a:lnTo>
                  <a:lnTo>
                    <a:pt x="44" y="208"/>
                  </a:lnTo>
                  <a:lnTo>
                    <a:pt x="44" y="207"/>
                  </a:lnTo>
                  <a:lnTo>
                    <a:pt x="45" y="206"/>
                  </a:lnTo>
                  <a:lnTo>
                    <a:pt x="45" y="204"/>
                  </a:lnTo>
                  <a:lnTo>
                    <a:pt x="46" y="204"/>
                  </a:lnTo>
                  <a:lnTo>
                    <a:pt x="46" y="203"/>
                  </a:lnTo>
                  <a:lnTo>
                    <a:pt x="46" y="202"/>
                  </a:lnTo>
                  <a:lnTo>
                    <a:pt x="47" y="201"/>
                  </a:lnTo>
                  <a:lnTo>
                    <a:pt x="49" y="201"/>
                  </a:lnTo>
                  <a:lnTo>
                    <a:pt x="49" y="200"/>
                  </a:lnTo>
                  <a:lnTo>
                    <a:pt x="50" y="199"/>
                  </a:lnTo>
                  <a:lnTo>
                    <a:pt x="51" y="199"/>
                  </a:lnTo>
                  <a:lnTo>
                    <a:pt x="53" y="197"/>
                  </a:lnTo>
                  <a:lnTo>
                    <a:pt x="54" y="197"/>
                  </a:lnTo>
                  <a:lnTo>
                    <a:pt x="54" y="196"/>
                  </a:lnTo>
                  <a:lnTo>
                    <a:pt x="55" y="196"/>
                  </a:lnTo>
                  <a:lnTo>
                    <a:pt x="57" y="195"/>
                  </a:lnTo>
                  <a:lnTo>
                    <a:pt x="60" y="194"/>
                  </a:lnTo>
                  <a:lnTo>
                    <a:pt x="61" y="194"/>
                  </a:lnTo>
                  <a:lnTo>
                    <a:pt x="61" y="193"/>
                  </a:lnTo>
                  <a:lnTo>
                    <a:pt x="62" y="192"/>
                  </a:lnTo>
                  <a:lnTo>
                    <a:pt x="64" y="192"/>
                  </a:lnTo>
                  <a:lnTo>
                    <a:pt x="64" y="190"/>
                  </a:lnTo>
                  <a:lnTo>
                    <a:pt x="66" y="189"/>
                  </a:lnTo>
                  <a:lnTo>
                    <a:pt x="67" y="188"/>
                  </a:lnTo>
                  <a:lnTo>
                    <a:pt x="68" y="187"/>
                  </a:lnTo>
                  <a:lnTo>
                    <a:pt x="69" y="187"/>
                  </a:lnTo>
                  <a:lnTo>
                    <a:pt x="71" y="186"/>
                  </a:lnTo>
                  <a:lnTo>
                    <a:pt x="72" y="186"/>
                  </a:lnTo>
                  <a:lnTo>
                    <a:pt x="72" y="185"/>
                  </a:lnTo>
                  <a:lnTo>
                    <a:pt x="72" y="183"/>
                  </a:lnTo>
                  <a:lnTo>
                    <a:pt x="73" y="183"/>
                  </a:lnTo>
                  <a:lnTo>
                    <a:pt x="74" y="183"/>
                  </a:lnTo>
                  <a:lnTo>
                    <a:pt x="75" y="183"/>
                  </a:lnTo>
                  <a:lnTo>
                    <a:pt x="76" y="183"/>
                  </a:lnTo>
                  <a:lnTo>
                    <a:pt x="76" y="182"/>
                  </a:lnTo>
                  <a:lnTo>
                    <a:pt x="78" y="182"/>
                  </a:lnTo>
                  <a:lnTo>
                    <a:pt x="80" y="181"/>
                  </a:lnTo>
                  <a:lnTo>
                    <a:pt x="81" y="180"/>
                  </a:lnTo>
                  <a:lnTo>
                    <a:pt x="81" y="179"/>
                  </a:lnTo>
                  <a:lnTo>
                    <a:pt x="82" y="179"/>
                  </a:lnTo>
                  <a:lnTo>
                    <a:pt x="81" y="180"/>
                  </a:lnTo>
                  <a:lnTo>
                    <a:pt x="81" y="181"/>
                  </a:lnTo>
                  <a:lnTo>
                    <a:pt x="82" y="181"/>
                  </a:lnTo>
                  <a:lnTo>
                    <a:pt x="83" y="181"/>
                  </a:lnTo>
                  <a:lnTo>
                    <a:pt x="85" y="180"/>
                  </a:lnTo>
                  <a:lnTo>
                    <a:pt x="86" y="180"/>
                  </a:lnTo>
                  <a:lnTo>
                    <a:pt x="87" y="180"/>
                  </a:lnTo>
                  <a:lnTo>
                    <a:pt x="86" y="180"/>
                  </a:lnTo>
                  <a:lnTo>
                    <a:pt x="86" y="181"/>
                  </a:lnTo>
                  <a:lnTo>
                    <a:pt x="87" y="181"/>
                  </a:lnTo>
                  <a:lnTo>
                    <a:pt x="88" y="181"/>
                  </a:lnTo>
                  <a:lnTo>
                    <a:pt x="88" y="182"/>
                  </a:lnTo>
                  <a:lnTo>
                    <a:pt x="89" y="182"/>
                  </a:lnTo>
                  <a:lnTo>
                    <a:pt x="90" y="181"/>
                  </a:lnTo>
                  <a:lnTo>
                    <a:pt x="92" y="181"/>
                  </a:lnTo>
                  <a:lnTo>
                    <a:pt x="93" y="181"/>
                  </a:lnTo>
                  <a:lnTo>
                    <a:pt x="94" y="181"/>
                  </a:lnTo>
                  <a:lnTo>
                    <a:pt x="95" y="180"/>
                  </a:lnTo>
                  <a:lnTo>
                    <a:pt x="96" y="180"/>
                  </a:lnTo>
                  <a:lnTo>
                    <a:pt x="96" y="179"/>
                  </a:lnTo>
                  <a:lnTo>
                    <a:pt x="97" y="179"/>
                  </a:lnTo>
                  <a:lnTo>
                    <a:pt x="97" y="178"/>
                  </a:lnTo>
                  <a:lnTo>
                    <a:pt x="101" y="176"/>
                  </a:lnTo>
                  <a:lnTo>
                    <a:pt x="101" y="175"/>
                  </a:lnTo>
                  <a:lnTo>
                    <a:pt x="101" y="176"/>
                  </a:lnTo>
                  <a:lnTo>
                    <a:pt x="102" y="176"/>
                  </a:lnTo>
                  <a:lnTo>
                    <a:pt x="102" y="175"/>
                  </a:lnTo>
                  <a:lnTo>
                    <a:pt x="103" y="175"/>
                  </a:lnTo>
                  <a:lnTo>
                    <a:pt x="103" y="176"/>
                  </a:lnTo>
                  <a:lnTo>
                    <a:pt x="104" y="175"/>
                  </a:lnTo>
                  <a:lnTo>
                    <a:pt x="107" y="175"/>
                  </a:lnTo>
                  <a:lnTo>
                    <a:pt x="108" y="175"/>
                  </a:lnTo>
                  <a:lnTo>
                    <a:pt x="109" y="175"/>
                  </a:lnTo>
                  <a:lnTo>
                    <a:pt x="110" y="175"/>
                  </a:lnTo>
                  <a:lnTo>
                    <a:pt x="110" y="174"/>
                  </a:lnTo>
                  <a:lnTo>
                    <a:pt x="111" y="173"/>
                  </a:lnTo>
                  <a:lnTo>
                    <a:pt x="113" y="172"/>
                  </a:lnTo>
                  <a:lnTo>
                    <a:pt x="113" y="171"/>
                  </a:lnTo>
                  <a:lnTo>
                    <a:pt x="114" y="171"/>
                  </a:lnTo>
                  <a:lnTo>
                    <a:pt x="114" y="169"/>
                  </a:lnTo>
                  <a:lnTo>
                    <a:pt x="115" y="169"/>
                  </a:lnTo>
                  <a:lnTo>
                    <a:pt x="116" y="171"/>
                  </a:lnTo>
                  <a:lnTo>
                    <a:pt x="116" y="169"/>
                  </a:lnTo>
                  <a:lnTo>
                    <a:pt x="117" y="171"/>
                  </a:lnTo>
                  <a:lnTo>
                    <a:pt x="118" y="171"/>
                  </a:lnTo>
                  <a:lnTo>
                    <a:pt x="120" y="171"/>
                  </a:lnTo>
                  <a:lnTo>
                    <a:pt x="121" y="171"/>
                  </a:lnTo>
                  <a:lnTo>
                    <a:pt x="121" y="172"/>
                  </a:lnTo>
                  <a:lnTo>
                    <a:pt x="122" y="171"/>
                  </a:lnTo>
                  <a:lnTo>
                    <a:pt x="123" y="171"/>
                  </a:lnTo>
                  <a:lnTo>
                    <a:pt x="123" y="169"/>
                  </a:lnTo>
                  <a:lnTo>
                    <a:pt x="124" y="169"/>
                  </a:lnTo>
                  <a:lnTo>
                    <a:pt x="125" y="169"/>
                  </a:lnTo>
                  <a:lnTo>
                    <a:pt x="128" y="169"/>
                  </a:lnTo>
                  <a:lnTo>
                    <a:pt x="130" y="168"/>
                  </a:lnTo>
                  <a:lnTo>
                    <a:pt x="132" y="168"/>
                  </a:lnTo>
                  <a:lnTo>
                    <a:pt x="137" y="167"/>
                  </a:lnTo>
                  <a:lnTo>
                    <a:pt x="139" y="166"/>
                  </a:lnTo>
                  <a:lnTo>
                    <a:pt x="142" y="165"/>
                  </a:lnTo>
                  <a:lnTo>
                    <a:pt x="144" y="162"/>
                  </a:lnTo>
                  <a:lnTo>
                    <a:pt x="145" y="162"/>
                  </a:lnTo>
                  <a:lnTo>
                    <a:pt x="147" y="160"/>
                  </a:lnTo>
                  <a:lnTo>
                    <a:pt x="149" y="158"/>
                  </a:lnTo>
                  <a:lnTo>
                    <a:pt x="151" y="155"/>
                  </a:lnTo>
                  <a:lnTo>
                    <a:pt x="151" y="154"/>
                  </a:lnTo>
                  <a:lnTo>
                    <a:pt x="152" y="154"/>
                  </a:lnTo>
                  <a:lnTo>
                    <a:pt x="152" y="153"/>
                  </a:lnTo>
                  <a:lnTo>
                    <a:pt x="152" y="152"/>
                  </a:lnTo>
                  <a:lnTo>
                    <a:pt x="153" y="152"/>
                  </a:lnTo>
                  <a:lnTo>
                    <a:pt x="153" y="151"/>
                  </a:lnTo>
                  <a:lnTo>
                    <a:pt x="153" y="150"/>
                  </a:lnTo>
                  <a:lnTo>
                    <a:pt x="154" y="150"/>
                  </a:lnTo>
                  <a:lnTo>
                    <a:pt x="156" y="150"/>
                  </a:lnTo>
                  <a:lnTo>
                    <a:pt x="156" y="148"/>
                  </a:lnTo>
                  <a:lnTo>
                    <a:pt x="154" y="147"/>
                  </a:lnTo>
                  <a:lnTo>
                    <a:pt x="156" y="147"/>
                  </a:lnTo>
                  <a:lnTo>
                    <a:pt x="156" y="146"/>
                  </a:lnTo>
                  <a:lnTo>
                    <a:pt x="157" y="146"/>
                  </a:lnTo>
                  <a:lnTo>
                    <a:pt x="158" y="146"/>
                  </a:lnTo>
                  <a:lnTo>
                    <a:pt x="159" y="145"/>
                  </a:lnTo>
                  <a:lnTo>
                    <a:pt x="160" y="144"/>
                  </a:lnTo>
                  <a:lnTo>
                    <a:pt x="161" y="144"/>
                  </a:lnTo>
                  <a:lnTo>
                    <a:pt x="161" y="143"/>
                  </a:lnTo>
                  <a:lnTo>
                    <a:pt x="163" y="143"/>
                  </a:lnTo>
                  <a:lnTo>
                    <a:pt x="163" y="141"/>
                  </a:lnTo>
                  <a:lnTo>
                    <a:pt x="164" y="141"/>
                  </a:lnTo>
                  <a:lnTo>
                    <a:pt x="165" y="140"/>
                  </a:lnTo>
                  <a:lnTo>
                    <a:pt x="165" y="139"/>
                  </a:lnTo>
                  <a:lnTo>
                    <a:pt x="165" y="138"/>
                  </a:lnTo>
                  <a:lnTo>
                    <a:pt x="164" y="138"/>
                  </a:lnTo>
                  <a:lnTo>
                    <a:pt x="163" y="139"/>
                  </a:lnTo>
                  <a:lnTo>
                    <a:pt x="163" y="138"/>
                  </a:lnTo>
                  <a:lnTo>
                    <a:pt x="164" y="137"/>
                  </a:lnTo>
                  <a:lnTo>
                    <a:pt x="164" y="136"/>
                  </a:lnTo>
                  <a:lnTo>
                    <a:pt x="164" y="134"/>
                  </a:lnTo>
                  <a:lnTo>
                    <a:pt x="164" y="133"/>
                  </a:lnTo>
                  <a:lnTo>
                    <a:pt x="164" y="132"/>
                  </a:lnTo>
                  <a:lnTo>
                    <a:pt x="164" y="130"/>
                  </a:lnTo>
                  <a:lnTo>
                    <a:pt x="164" y="129"/>
                  </a:lnTo>
                  <a:lnTo>
                    <a:pt x="165" y="127"/>
                  </a:lnTo>
                  <a:lnTo>
                    <a:pt x="165" y="126"/>
                  </a:lnTo>
                  <a:lnTo>
                    <a:pt x="166" y="125"/>
                  </a:lnTo>
                  <a:lnTo>
                    <a:pt x="166" y="124"/>
                  </a:lnTo>
                  <a:lnTo>
                    <a:pt x="168" y="123"/>
                  </a:lnTo>
                  <a:lnTo>
                    <a:pt x="170" y="122"/>
                  </a:lnTo>
                  <a:lnTo>
                    <a:pt x="170" y="123"/>
                  </a:lnTo>
                  <a:lnTo>
                    <a:pt x="170" y="122"/>
                  </a:lnTo>
                  <a:lnTo>
                    <a:pt x="171" y="122"/>
                  </a:lnTo>
                  <a:lnTo>
                    <a:pt x="171" y="123"/>
                  </a:lnTo>
                  <a:lnTo>
                    <a:pt x="171" y="122"/>
                  </a:lnTo>
                  <a:lnTo>
                    <a:pt x="171" y="120"/>
                  </a:lnTo>
                  <a:lnTo>
                    <a:pt x="171" y="119"/>
                  </a:lnTo>
                  <a:lnTo>
                    <a:pt x="172" y="119"/>
                  </a:lnTo>
                  <a:lnTo>
                    <a:pt x="173" y="119"/>
                  </a:lnTo>
                  <a:lnTo>
                    <a:pt x="174" y="119"/>
                  </a:lnTo>
                  <a:lnTo>
                    <a:pt x="174" y="118"/>
                  </a:lnTo>
                  <a:lnTo>
                    <a:pt x="174" y="117"/>
                  </a:lnTo>
                  <a:lnTo>
                    <a:pt x="174" y="116"/>
                  </a:lnTo>
                  <a:lnTo>
                    <a:pt x="175" y="116"/>
                  </a:lnTo>
                  <a:lnTo>
                    <a:pt x="177" y="115"/>
                  </a:lnTo>
                  <a:lnTo>
                    <a:pt x="177" y="113"/>
                  </a:lnTo>
                  <a:lnTo>
                    <a:pt x="178" y="113"/>
                  </a:lnTo>
                  <a:lnTo>
                    <a:pt x="179" y="113"/>
                  </a:lnTo>
                  <a:lnTo>
                    <a:pt x="178" y="113"/>
                  </a:lnTo>
                  <a:lnTo>
                    <a:pt x="179" y="113"/>
                  </a:lnTo>
                  <a:lnTo>
                    <a:pt x="179" y="115"/>
                  </a:lnTo>
                  <a:lnTo>
                    <a:pt x="178" y="115"/>
                  </a:lnTo>
                  <a:lnTo>
                    <a:pt x="178" y="116"/>
                  </a:lnTo>
                  <a:lnTo>
                    <a:pt x="177" y="116"/>
                  </a:lnTo>
                  <a:lnTo>
                    <a:pt x="178" y="117"/>
                  </a:lnTo>
                  <a:lnTo>
                    <a:pt x="178" y="118"/>
                  </a:lnTo>
                  <a:lnTo>
                    <a:pt x="179" y="118"/>
                  </a:lnTo>
                  <a:lnTo>
                    <a:pt x="179" y="119"/>
                  </a:lnTo>
                  <a:lnTo>
                    <a:pt x="179" y="120"/>
                  </a:lnTo>
                  <a:lnTo>
                    <a:pt x="179" y="122"/>
                  </a:lnTo>
                  <a:lnTo>
                    <a:pt x="180" y="122"/>
                  </a:lnTo>
                  <a:lnTo>
                    <a:pt x="180" y="123"/>
                  </a:lnTo>
                  <a:lnTo>
                    <a:pt x="180" y="124"/>
                  </a:lnTo>
                  <a:lnTo>
                    <a:pt x="180" y="125"/>
                  </a:lnTo>
                  <a:lnTo>
                    <a:pt x="181" y="125"/>
                  </a:lnTo>
                  <a:lnTo>
                    <a:pt x="181" y="126"/>
                  </a:lnTo>
                  <a:lnTo>
                    <a:pt x="181" y="127"/>
                  </a:lnTo>
                  <a:lnTo>
                    <a:pt x="181" y="129"/>
                  </a:lnTo>
                  <a:lnTo>
                    <a:pt x="182" y="129"/>
                  </a:lnTo>
                  <a:lnTo>
                    <a:pt x="182" y="130"/>
                  </a:lnTo>
                  <a:lnTo>
                    <a:pt x="182" y="131"/>
                  </a:lnTo>
                  <a:lnTo>
                    <a:pt x="182" y="132"/>
                  </a:lnTo>
                  <a:lnTo>
                    <a:pt x="184" y="132"/>
                  </a:lnTo>
                  <a:lnTo>
                    <a:pt x="184" y="131"/>
                  </a:lnTo>
                  <a:lnTo>
                    <a:pt x="184" y="130"/>
                  </a:lnTo>
                  <a:lnTo>
                    <a:pt x="184" y="129"/>
                  </a:lnTo>
                  <a:lnTo>
                    <a:pt x="184" y="127"/>
                  </a:lnTo>
                  <a:lnTo>
                    <a:pt x="185" y="127"/>
                  </a:lnTo>
                  <a:lnTo>
                    <a:pt x="185" y="126"/>
                  </a:lnTo>
                  <a:lnTo>
                    <a:pt x="185" y="125"/>
                  </a:lnTo>
                  <a:lnTo>
                    <a:pt x="185" y="124"/>
                  </a:lnTo>
                  <a:lnTo>
                    <a:pt x="185" y="123"/>
                  </a:lnTo>
                  <a:lnTo>
                    <a:pt x="186" y="123"/>
                  </a:lnTo>
                  <a:lnTo>
                    <a:pt x="186" y="124"/>
                  </a:lnTo>
                  <a:lnTo>
                    <a:pt x="187" y="124"/>
                  </a:lnTo>
                  <a:lnTo>
                    <a:pt x="187" y="125"/>
                  </a:lnTo>
                  <a:lnTo>
                    <a:pt x="188" y="125"/>
                  </a:lnTo>
                  <a:lnTo>
                    <a:pt x="188" y="126"/>
                  </a:lnTo>
                  <a:lnTo>
                    <a:pt x="188" y="125"/>
                  </a:lnTo>
                  <a:lnTo>
                    <a:pt x="188" y="124"/>
                  </a:lnTo>
                  <a:lnTo>
                    <a:pt x="187" y="123"/>
                  </a:lnTo>
                  <a:lnTo>
                    <a:pt x="188" y="123"/>
                  </a:lnTo>
                  <a:lnTo>
                    <a:pt x="188" y="122"/>
                  </a:lnTo>
                  <a:lnTo>
                    <a:pt x="189" y="122"/>
                  </a:lnTo>
                  <a:lnTo>
                    <a:pt x="189" y="120"/>
                  </a:lnTo>
                  <a:lnTo>
                    <a:pt x="190" y="120"/>
                  </a:lnTo>
                  <a:lnTo>
                    <a:pt x="190" y="119"/>
                  </a:lnTo>
                  <a:lnTo>
                    <a:pt x="189" y="120"/>
                  </a:lnTo>
                  <a:lnTo>
                    <a:pt x="188" y="120"/>
                  </a:lnTo>
                  <a:lnTo>
                    <a:pt x="188" y="122"/>
                  </a:lnTo>
                  <a:lnTo>
                    <a:pt x="187" y="120"/>
                  </a:lnTo>
                  <a:lnTo>
                    <a:pt x="187" y="119"/>
                  </a:lnTo>
                  <a:lnTo>
                    <a:pt x="187" y="118"/>
                  </a:lnTo>
                  <a:lnTo>
                    <a:pt x="186" y="118"/>
                  </a:lnTo>
                  <a:lnTo>
                    <a:pt x="186" y="117"/>
                  </a:lnTo>
                  <a:lnTo>
                    <a:pt x="185" y="117"/>
                  </a:lnTo>
                  <a:lnTo>
                    <a:pt x="186" y="117"/>
                  </a:lnTo>
                  <a:lnTo>
                    <a:pt x="185" y="117"/>
                  </a:lnTo>
                  <a:lnTo>
                    <a:pt x="186" y="116"/>
                  </a:lnTo>
                  <a:lnTo>
                    <a:pt x="185" y="116"/>
                  </a:lnTo>
                  <a:lnTo>
                    <a:pt x="184" y="115"/>
                  </a:lnTo>
                  <a:lnTo>
                    <a:pt x="185" y="115"/>
                  </a:lnTo>
                  <a:lnTo>
                    <a:pt x="186" y="115"/>
                  </a:lnTo>
                  <a:lnTo>
                    <a:pt x="186" y="116"/>
                  </a:lnTo>
                  <a:lnTo>
                    <a:pt x="187" y="116"/>
                  </a:lnTo>
                  <a:lnTo>
                    <a:pt x="187" y="115"/>
                  </a:lnTo>
                  <a:lnTo>
                    <a:pt x="186" y="115"/>
                  </a:lnTo>
                  <a:lnTo>
                    <a:pt x="187" y="115"/>
                  </a:lnTo>
                  <a:lnTo>
                    <a:pt x="186" y="113"/>
                  </a:lnTo>
                  <a:lnTo>
                    <a:pt x="185" y="113"/>
                  </a:lnTo>
                  <a:lnTo>
                    <a:pt x="186" y="113"/>
                  </a:lnTo>
                  <a:lnTo>
                    <a:pt x="187" y="113"/>
                  </a:lnTo>
                  <a:lnTo>
                    <a:pt x="188" y="113"/>
                  </a:lnTo>
                  <a:lnTo>
                    <a:pt x="187" y="113"/>
                  </a:lnTo>
                  <a:lnTo>
                    <a:pt x="187" y="112"/>
                  </a:lnTo>
                  <a:lnTo>
                    <a:pt x="187" y="113"/>
                  </a:lnTo>
                  <a:lnTo>
                    <a:pt x="188" y="113"/>
                  </a:lnTo>
                  <a:lnTo>
                    <a:pt x="188" y="112"/>
                  </a:lnTo>
                  <a:lnTo>
                    <a:pt x="187" y="112"/>
                  </a:lnTo>
                  <a:lnTo>
                    <a:pt x="187" y="111"/>
                  </a:lnTo>
                  <a:lnTo>
                    <a:pt x="187" y="112"/>
                  </a:lnTo>
                  <a:lnTo>
                    <a:pt x="186" y="112"/>
                  </a:lnTo>
                  <a:lnTo>
                    <a:pt x="186" y="111"/>
                  </a:lnTo>
                  <a:lnTo>
                    <a:pt x="187" y="111"/>
                  </a:lnTo>
                  <a:lnTo>
                    <a:pt x="186" y="110"/>
                  </a:lnTo>
                  <a:lnTo>
                    <a:pt x="187" y="110"/>
                  </a:lnTo>
                  <a:lnTo>
                    <a:pt x="188" y="109"/>
                  </a:lnTo>
                  <a:lnTo>
                    <a:pt x="188" y="110"/>
                  </a:lnTo>
                  <a:lnTo>
                    <a:pt x="188" y="109"/>
                  </a:lnTo>
                  <a:lnTo>
                    <a:pt x="189" y="109"/>
                  </a:lnTo>
                  <a:lnTo>
                    <a:pt x="189" y="110"/>
                  </a:lnTo>
                  <a:lnTo>
                    <a:pt x="189" y="111"/>
                  </a:lnTo>
                  <a:lnTo>
                    <a:pt x="190" y="111"/>
                  </a:lnTo>
                  <a:lnTo>
                    <a:pt x="189" y="111"/>
                  </a:lnTo>
                  <a:lnTo>
                    <a:pt x="188" y="111"/>
                  </a:lnTo>
                  <a:lnTo>
                    <a:pt x="189" y="112"/>
                  </a:lnTo>
                  <a:lnTo>
                    <a:pt x="190" y="112"/>
                  </a:lnTo>
                  <a:lnTo>
                    <a:pt x="189" y="112"/>
                  </a:lnTo>
                  <a:lnTo>
                    <a:pt x="189" y="113"/>
                  </a:lnTo>
                  <a:lnTo>
                    <a:pt x="190" y="113"/>
                  </a:lnTo>
                  <a:lnTo>
                    <a:pt x="190" y="112"/>
                  </a:lnTo>
                  <a:lnTo>
                    <a:pt x="192" y="112"/>
                  </a:lnTo>
                  <a:lnTo>
                    <a:pt x="192" y="113"/>
                  </a:lnTo>
                  <a:lnTo>
                    <a:pt x="192" y="112"/>
                  </a:lnTo>
                  <a:lnTo>
                    <a:pt x="192" y="111"/>
                  </a:lnTo>
                  <a:lnTo>
                    <a:pt x="192" y="110"/>
                  </a:lnTo>
                  <a:lnTo>
                    <a:pt x="192" y="111"/>
                  </a:lnTo>
                  <a:lnTo>
                    <a:pt x="193" y="111"/>
                  </a:lnTo>
                  <a:lnTo>
                    <a:pt x="194" y="111"/>
                  </a:lnTo>
                  <a:lnTo>
                    <a:pt x="194" y="112"/>
                  </a:lnTo>
                  <a:lnTo>
                    <a:pt x="195" y="113"/>
                  </a:lnTo>
                  <a:lnTo>
                    <a:pt x="196" y="113"/>
                  </a:lnTo>
                  <a:lnTo>
                    <a:pt x="197" y="112"/>
                  </a:lnTo>
                  <a:lnTo>
                    <a:pt x="197" y="113"/>
                  </a:lnTo>
                  <a:lnTo>
                    <a:pt x="199" y="113"/>
                  </a:lnTo>
                  <a:lnTo>
                    <a:pt x="200" y="113"/>
                  </a:lnTo>
                  <a:lnTo>
                    <a:pt x="201" y="113"/>
                  </a:lnTo>
                  <a:lnTo>
                    <a:pt x="202" y="113"/>
                  </a:lnTo>
                  <a:lnTo>
                    <a:pt x="203" y="113"/>
                  </a:lnTo>
                  <a:lnTo>
                    <a:pt x="204" y="113"/>
                  </a:lnTo>
                  <a:lnTo>
                    <a:pt x="203" y="113"/>
                  </a:lnTo>
                  <a:lnTo>
                    <a:pt x="202" y="113"/>
                  </a:lnTo>
                  <a:lnTo>
                    <a:pt x="202" y="112"/>
                  </a:lnTo>
                  <a:lnTo>
                    <a:pt x="200" y="112"/>
                  </a:lnTo>
                  <a:lnTo>
                    <a:pt x="199" y="112"/>
                  </a:lnTo>
                  <a:lnTo>
                    <a:pt x="197" y="112"/>
                  </a:lnTo>
                  <a:lnTo>
                    <a:pt x="197" y="111"/>
                  </a:lnTo>
                  <a:lnTo>
                    <a:pt x="197" y="110"/>
                  </a:lnTo>
                  <a:lnTo>
                    <a:pt x="199" y="110"/>
                  </a:lnTo>
                  <a:lnTo>
                    <a:pt x="199" y="109"/>
                  </a:lnTo>
                  <a:lnTo>
                    <a:pt x="199" y="108"/>
                  </a:lnTo>
                  <a:lnTo>
                    <a:pt x="199" y="109"/>
                  </a:lnTo>
                  <a:lnTo>
                    <a:pt x="200" y="109"/>
                  </a:lnTo>
                  <a:lnTo>
                    <a:pt x="200" y="110"/>
                  </a:lnTo>
                  <a:lnTo>
                    <a:pt x="200" y="109"/>
                  </a:lnTo>
                  <a:lnTo>
                    <a:pt x="201" y="109"/>
                  </a:lnTo>
                  <a:lnTo>
                    <a:pt x="201" y="108"/>
                  </a:lnTo>
                  <a:lnTo>
                    <a:pt x="201" y="106"/>
                  </a:lnTo>
                  <a:lnTo>
                    <a:pt x="201" y="105"/>
                  </a:lnTo>
                  <a:lnTo>
                    <a:pt x="202" y="105"/>
                  </a:lnTo>
                  <a:lnTo>
                    <a:pt x="203" y="104"/>
                  </a:lnTo>
                  <a:lnTo>
                    <a:pt x="202" y="104"/>
                  </a:lnTo>
                  <a:lnTo>
                    <a:pt x="201" y="104"/>
                  </a:lnTo>
                  <a:lnTo>
                    <a:pt x="201" y="105"/>
                  </a:lnTo>
                  <a:lnTo>
                    <a:pt x="200" y="106"/>
                  </a:lnTo>
                  <a:lnTo>
                    <a:pt x="200" y="105"/>
                  </a:lnTo>
                  <a:lnTo>
                    <a:pt x="200" y="104"/>
                  </a:lnTo>
                  <a:lnTo>
                    <a:pt x="199" y="104"/>
                  </a:lnTo>
                  <a:lnTo>
                    <a:pt x="199" y="105"/>
                  </a:lnTo>
                  <a:lnTo>
                    <a:pt x="199" y="104"/>
                  </a:lnTo>
                  <a:lnTo>
                    <a:pt x="199" y="103"/>
                  </a:lnTo>
                  <a:lnTo>
                    <a:pt x="199" y="102"/>
                  </a:lnTo>
                  <a:lnTo>
                    <a:pt x="200" y="102"/>
                  </a:lnTo>
                  <a:lnTo>
                    <a:pt x="200" y="101"/>
                  </a:lnTo>
                  <a:lnTo>
                    <a:pt x="200" y="102"/>
                  </a:lnTo>
                  <a:lnTo>
                    <a:pt x="200" y="101"/>
                  </a:lnTo>
                  <a:lnTo>
                    <a:pt x="200" y="99"/>
                  </a:lnTo>
                  <a:lnTo>
                    <a:pt x="199" y="99"/>
                  </a:lnTo>
                  <a:lnTo>
                    <a:pt x="200" y="99"/>
                  </a:lnTo>
                  <a:lnTo>
                    <a:pt x="201" y="98"/>
                  </a:lnTo>
                  <a:lnTo>
                    <a:pt x="202" y="98"/>
                  </a:lnTo>
                  <a:lnTo>
                    <a:pt x="202" y="99"/>
                  </a:lnTo>
                  <a:lnTo>
                    <a:pt x="203" y="99"/>
                  </a:lnTo>
                  <a:lnTo>
                    <a:pt x="203" y="98"/>
                  </a:lnTo>
                  <a:lnTo>
                    <a:pt x="203" y="97"/>
                  </a:lnTo>
                  <a:lnTo>
                    <a:pt x="204" y="97"/>
                  </a:lnTo>
                  <a:lnTo>
                    <a:pt x="204" y="96"/>
                  </a:lnTo>
                  <a:lnTo>
                    <a:pt x="203" y="97"/>
                  </a:lnTo>
                  <a:lnTo>
                    <a:pt x="203" y="96"/>
                  </a:lnTo>
                  <a:lnTo>
                    <a:pt x="204" y="96"/>
                  </a:lnTo>
                  <a:lnTo>
                    <a:pt x="203" y="96"/>
                  </a:lnTo>
                  <a:lnTo>
                    <a:pt x="203" y="95"/>
                  </a:lnTo>
                  <a:lnTo>
                    <a:pt x="204" y="95"/>
                  </a:lnTo>
                  <a:lnTo>
                    <a:pt x="204" y="96"/>
                  </a:lnTo>
                  <a:lnTo>
                    <a:pt x="206" y="96"/>
                  </a:lnTo>
                  <a:lnTo>
                    <a:pt x="204" y="96"/>
                  </a:lnTo>
                  <a:lnTo>
                    <a:pt x="206" y="96"/>
                  </a:lnTo>
                  <a:lnTo>
                    <a:pt x="206" y="97"/>
                  </a:lnTo>
                  <a:lnTo>
                    <a:pt x="207" y="97"/>
                  </a:lnTo>
                  <a:lnTo>
                    <a:pt x="208" y="97"/>
                  </a:lnTo>
                  <a:lnTo>
                    <a:pt x="208" y="98"/>
                  </a:lnTo>
                  <a:lnTo>
                    <a:pt x="208" y="99"/>
                  </a:lnTo>
                  <a:lnTo>
                    <a:pt x="209" y="99"/>
                  </a:lnTo>
                  <a:lnTo>
                    <a:pt x="209" y="98"/>
                  </a:lnTo>
                  <a:lnTo>
                    <a:pt x="210" y="99"/>
                  </a:lnTo>
                  <a:lnTo>
                    <a:pt x="210" y="98"/>
                  </a:lnTo>
                  <a:lnTo>
                    <a:pt x="209" y="98"/>
                  </a:lnTo>
                  <a:lnTo>
                    <a:pt x="209" y="97"/>
                  </a:lnTo>
                  <a:lnTo>
                    <a:pt x="209" y="96"/>
                  </a:lnTo>
                  <a:lnTo>
                    <a:pt x="210" y="96"/>
                  </a:lnTo>
                  <a:lnTo>
                    <a:pt x="209" y="96"/>
                  </a:lnTo>
                  <a:lnTo>
                    <a:pt x="208" y="96"/>
                  </a:lnTo>
                  <a:lnTo>
                    <a:pt x="207" y="96"/>
                  </a:lnTo>
                  <a:lnTo>
                    <a:pt x="207" y="95"/>
                  </a:lnTo>
                  <a:lnTo>
                    <a:pt x="208" y="95"/>
                  </a:lnTo>
                  <a:lnTo>
                    <a:pt x="209" y="95"/>
                  </a:lnTo>
                  <a:lnTo>
                    <a:pt x="209" y="94"/>
                  </a:lnTo>
                  <a:lnTo>
                    <a:pt x="208" y="94"/>
                  </a:lnTo>
                  <a:lnTo>
                    <a:pt x="208" y="95"/>
                  </a:lnTo>
                  <a:lnTo>
                    <a:pt x="207" y="95"/>
                  </a:lnTo>
                  <a:lnTo>
                    <a:pt x="207" y="94"/>
                  </a:lnTo>
                  <a:lnTo>
                    <a:pt x="207" y="92"/>
                  </a:lnTo>
                  <a:lnTo>
                    <a:pt x="208" y="92"/>
                  </a:lnTo>
                  <a:lnTo>
                    <a:pt x="208" y="94"/>
                  </a:lnTo>
                  <a:lnTo>
                    <a:pt x="209" y="92"/>
                  </a:lnTo>
                  <a:lnTo>
                    <a:pt x="209" y="91"/>
                  </a:lnTo>
                  <a:lnTo>
                    <a:pt x="209" y="90"/>
                  </a:lnTo>
                  <a:lnTo>
                    <a:pt x="209" y="91"/>
                  </a:lnTo>
                  <a:lnTo>
                    <a:pt x="210" y="91"/>
                  </a:lnTo>
                  <a:lnTo>
                    <a:pt x="210" y="90"/>
                  </a:lnTo>
                  <a:lnTo>
                    <a:pt x="210" y="91"/>
                  </a:lnTo>
                  <a:lnTo>
                    <a:pt x="210" y="92"/>
                  </a:lnTo>
                  <a:lnTo>
                    <a:pt x="210" y="91"/>
                  </a:lnTo>
                  <a:lnTo>
                    <a:pt x="210" y="92"/>
                  </a:lnTo>
                  <a:lnTo>
                    <a:pt x="210" y="94"/>
                  </a:lnTo>
                  <a:lnTo>
                    <a:pt x="211" y="94"/>
                  </a:lnTo>
                  <a:lnTo>
                    <a:pt x="211" y="92"/>
                  </a:lnTo>
                  <a:lnTo>
                    <a:pt x="211" y="91"/>
                  </a:lnTo>
                  <a:lnTo>
                    <a:pt x="211" y="92"/>
                  </a:lnTo>
                  <a:lnTo>
                    <a:pt x="213" y="92"/>
                  </a:lnTo>
                  <a:lnTo>
                    <a:pt x="213" y="94"/>
                  </a:lnTo>
                  <a:lnTo>
                    <a:pt x="214" y="94"/>
                  </a:lnTo>
                  <a:lnTo>
                    <a:pt x="215" y="94"/>
                  </a:lnTo>
                  <a:lnTo>
                    <a:pt x="215" y="92"/>
                  </a:lnTo>
                  <a:lnTo>
                    <a:pt x="214" y="94"/>
                  </a:lnTo>
                  <a:lnTo>
                    <a:pt x="214" y="92"/>
                  </a:lnTo>
                  <a:lnTo>
                    <a:pt x="214" y="91"/>
                  </a:lnTo>
                  <a:lnTo>
                    <a:pt x="215" y="91"/>
                  </a:lnTo>
                  <a:lnTo>
                    <a:pt x="214" y="91"/>
                  </a:lnTo>
                  <a:lnTo>
                    <a:pt x="213" y="91"/>
                  </a:lnTo>
                  <a:lnTo>
                    <a:pt x="213" y="90"/>
                  </a:lnTo>
                  <a:lnTo>
                    <a:pt x="211" y="90"/>
                  </a:lnTo>
                  <a:lnTo>
                    <a:pt x="213" y="90"/>
                  </a:lnTo>
                  <a:lnTo>
                    <a:pt x="214" y="90"/>
                  </a:lnTo>
                  <a:lnTo>
                    <a:pt x="214" y="89"/>
                  </a:lnTo>
                  <a:lnTo>
                    <a:pt x="213" y="89"/>
                  </a:lnTo>
                  <a:lnTo>
                    <a:pt x="213" y="88"/>
                  </a:lnTo>
                  <a:lnTo>
                    <a:pt x="211" y="88"/>
                  </a:lnTo>
                  <a:lnTo>
                    <a:pt x="211" y="87"/>
                  </a:lnTo>
                  <a:lnTo>
                    <a:pt x="213" y="87"/>
                  </a:lnTo>
                  <a:lnTo>
                    <a:pt x="213" y="85"/>
                  </a:lnTo>
                  <a:lnTo>
                    <a:pt x="214" y="85"/>
                  </a:lnTo>
                  <a:lnTo>
                    <a:pt x="213" y="85"/>
                  </a:lnTo>
                  <a:lnTo>
                    <a:pt x="214" y="84"/>
                  </a:lnTo>
                  <a:lnTo>
                    <a:pt x="215" y="84"/>
                  </a:lnTo>
                  <a:lnTo>
                    <a:pt x="215" y="83"/>
                  </a:lnTo>
                  <a:lnTo>
                    <a:pt x="215" y="84"/>
                  </a:lnTo>
                  <a:lnTo>
                    <a:pt x="215" y="85"/>
                  </a:lnTo>
                  <a:lnTo>
                    <a:pt x="215" y="84"/>
                  </a:lnTo>
                  <a:lnTo>
                    <a:pt x="216" y="84"/>
                  </a:lnTo>
                  <a:lnTo>
                    <a:pt x="216" y="85"/>
                  </a:lnTo>
                  <a:lnTo>
                    <a:pt x="216" y="84"/>
                  </a:lnTo>
                  <a:lnTo>
                    <a:pt x="216" y="83"/>
                  </a:lnTo>
                  <a:lnTo>
                    <a:pt x="217" y="84"/>
                  </a:lnTo>
                  <a:lnTo>
                    <a:pt x="217" y="83"/>
                  </a:lnTo>
                  <a:lnTo>
                    <a:pt x="218" y="83"/>
                  </a:lnTo>
                  <a:lnTo>
                    <a:pt x="217" y="83"/>
                  </a:lnTo>
                  <a:lnTo>
                    <a:pt x="217" y="84"/>
                  </a:lnTo>
                  <a:lnTo>
                    <a:pt x="218" y="84"/>
                  </a:lnTo>
                  <a:lnTo>
                    <a:pt x="218" y="83"/>
                  </a:lnTo>
                  <a:lnTo>
                    <a:pt x="218" y="82"/>
                  </a:lnTo>
                  <a:lnTo>
                    <a:pt x="218" y="81"/>
                  </a:lnTo>
                  <a:lnTo>
                    <a:pt x="218" y="80"/>
                  </a:lnTo>
                  <a:lnTo>
                    <a:pt x="220" y="80"/>
                  </a:lnTo>
                  <a:lnTo>
                    <a:pt x="220" y="78"/>
                  </a:lnTo>
                  <a:lnTo>
                    <a:pt x="220" y="80"/>
                  </a:lnTo>
                  <a:lnTo>
                    <a:pt x="221" y="80"/>
                  </a:lnTo>
                  <a:lnTo>
                    <a:pt x="221" y="81"/>
                  </a:lnTo>
                  <a:lnTo>
                    <a:pt x="220" y="81"/>
                  </a:lnTo>
                  <a:lnTo>
                    <a:pt x="220" y="83"/>
                  </a:lnTo>
                  <a:lnTo>
                    <a:pt x="218" y="84"/>
                  </a:lnTo>
                  <a:lnTo>
                    <a:pt x="218" y="85"/>
                  </a:lnTo>
                  <a:lnTo>
                    <a:pt x="220" y="83"/>
                  </a:lnTo>
                  <a:lnTo>
                    <a:pt x="221" y="82"/>
                  </a:lnTo>
                  <a:lnTo>
                    <a:pt x="221" y="83"/>
                  </a:lnTo>
                  <a:lnTo>
                    <a:pt x="221" y="82"/>
                  </a:lnTo>
                  <a:lnTo>
                    <a:pt x="222" y="82"/>
                  </a:lnTo>
                  <a:lnTo>
                    <a:pt x="222" y="83"/>
                  </a:lnTo>
                  <a:lnTo>
                    <a:pt x="222" y="82"/>
                  </a:lnTo>
                  <a:lnTo>
                    <a:pt x="222" y="83"/>
                  </a:lnTo>
                  <a:lnTo>
                    <a:pt x="222" y="84"/>
                  </a:lnTo>
                  <a:lnTo>
                    <a:pt x="222" y="85"/>
                  </a:lnTo>
                  <a:lnTo>
                    <a:pt x="223" y="85"/>
                  </a:lnTo>
                  <a:lnTo>
                    <a:pt x="223" y="84"/>
                  </a:lnTo>
                  <a:lnTo>
                    <a:pt x="223" y="83"/>
                  </a:lnTo>
                  <a:lnTo>
                    <a:pt x="223" y="84"/>
                  </a:lnTo>
                  <a:lnTo>
                    <a:pt x="224" y="84"/>
                  </a:lnTo>
                  <a:lnTo>
                    <a:pt x="224" y="83"/>
                  </a:lnTo>
                  <a:lnTo>
                    <a:pt x="224" y="82"/>
                  </a:lnTo>
                  <a:lnTo>
                    <a:pt x="224" y="81"/>
                  </a:lnTo>
                  <a:lnTo>
                    <a:pt x="224" y="82"/>
                  </a:lnTo>
                  <a:lnTo>
                    <a:pt x="224" y="81"/>
                  </a:lnTo>
                  <a:lnTo>
                    <a:pt x="225" y="81"/>
                  </a:lnTo>
                  <a:lnTo>
                    <a:pt x="225" y="80"/>
                  </a:lnTo>
                  <a:lnTo>
                    <a:pt x="225" y="78"/>
                  </a:lnTo>
                  <a:lnTo>
                    <a:pt x="227" y="78"/>
                  </a:lnTo>
                  <a:lnTo>
                    <a:pt x="227" y="77"/>
                  </a:lnTo>
                  <a:lnTo>
                    <a:pt x="227" y="76"/>
                  </a:lnTo>
                  <a:lnTo>
                    <a:pt x="225" y="76"/>
                  </a:lnTo>
                  <a:lnTo>
                    <a:pt x="224" y="76"/>
                  </a:lnTo>
                  <a:lnTo>
                    <a:pt x="224" y="75"/>
                  </a:lnTo>
                  <a:lnTo>
                    <a:pt x="225" y="75"/>
                  </a:lnTo>
                  <a:lnTo>
                    <a:pt x="225" y="76"/>
                  </a:lnTo>
                  <a:lnTo>
                    <a:pt x="225" y="75"/>
                  </a:lnTo>
                  <a:lnTo>
                    <a:pt x="227" y="76"/>
                  </a:lnTo>
                  <a:lnTo>
                    <a:pt x="227" y="75"/>
                  </a:lnTo>
                  <a:lnTo>
                    <a:pt x="225" y="75"/>
                  </a:lnTo>
                  <a:lnTo>
                    <a:pt x="225" y="74"/>
                  </a:lnTo>
                  <a:lnTo>
                    <a:pt x="227" y="74"/>
                  </a:lnTo>
                  <a:lnTo>
                    <a:pt x="228" y="74"/>
                  </a:lnTo>
                  <a:lnTo>
                    <a:pt x="228" y="75"/>
                  </a:lnTo>
                  <a:lnTo>
                    <a:pt x="227" y="75"/>
                  </a:lnTo>
                  <a:lnTo>
                    <a:pt x="228" y="75"/>
                  </a:lnTo>
                  <a:lnTo>
                    <a:pt x="227" y="75"/>
                  </a:lnTo>
                  <a:lnTo>
                    <a:pt x="227" y="76"/>
                  </a:lnTo>
                  <a:lnTo>
                    <a:pt x="227" y="75"/>
                  </a:lnTo>
                  <a:lnTo>
                    <a:pt x="228" y="75"/>
                  </a:lnTo>
                  <a:lnTo>
                    <a:pt x="228" y="76"/>
                  </a:lnTo>
                  <a:lnTo>
                    <a:pt x="228" y="77"/>
                  </a:lnTo>
                  <a:lnTo>
                    <a:pt x="228" y="78"/>
                  </a:lnTo>
                  <a:lnTo>
                    <a:pt x="229" y="78"/>
                  </a:lnTo>
                  <a:lnTo>
                    <a:pt x="229" y="77"/>
                  </a:lnTo>
                  <a:lnTo>
                    <a:pt x="229" y="76"/>
                  </a:lnTo>
                  <a:lnTo>
                    <a:pt x="230" y="76"/>
                  </a:lnTo>
                  <a:lnTo>
                    <a:pt x="230" y="75"/>
                  </a:lnTo>
                  <a:lnTo>
                    <a:pt x="231" y="75"/>
                  </a:lnTo>
                  <a:lnTo>
                    <a:pt x="232" y="75"/>
                  </a:lnTo>
                  <a:lnTo>
                    <a:pt x="232" y="74"/>
                  </a:lnTo>
                  <a:lnTo>
                    <a:pt x="234" y="75"/>
                  </a:lnTo>
                  <a:lnTo>
                    <a:pt x="232" y="75"/>
                  </a:lnTo>
                  <a:lnTo>
                    <a:pt x="232" y="76"/>
                  </a:lnTo>
                  <a:lnTo>
                    <a:pt x="231" y="76"/>
                  </a:lnTo>
                  <a:lnTo>
                    <a:pt x="232" y="76"/>
                  </a:lnTo>
                  <a:lnTo>
                    <a:pt x="231" y="77"/>
                  </a:lnTo>
                  <a:lnTo>
                    <a:pt x="232" y="77"/>
                  </a:lnTo>
                  <a:lnTo>
                    <a:pt x="232" y="78"/>
                  </a:lnTo>
                  <a:lnTo>
                    <a:pt x="234" y="78"/>
                  </a:lnTo>
                  <a:lnTo>
                    <a:pt x="234" y="77"/>
                  </a:lnTo>
                  <a:lnTo>
                    <a:pt x="234" y="76"/>
                  </a:lnTo>
                  <a:lnTo>
                    <a:pt x="235" y="76"/>
                  </a:lnTo>
                  <a:lnTo>
                    <a:pt x="235" y="77"/>
                  </a:lnTo>
                  <a:lnTo>
                    <a:pt x="235" y="76"/>
                  </a:lnTo>
                  <a:lnTo>
                    <a:pt x="236" y="76"/>
                  </a:lnTo>
                  <a:lnTo>
                    <a:pt x="236" y="75"/>
                  </a:lnTo>
                  <a:lnTo>
                    <a:pt x="235" y="75"/>
                  </a:lnTo>
                  <a:lnTo>
                    <a:pt x="235" y="76"/>
                  </a:lnTo>
                  <a:lnTo>
                    <a:pt x="235" y="75"/>
                  </a:lnTo>
                  <a:lnTo>
                    <a:pt x="236" y="75"/>
                  </a:lnTo>
                  <a:lnTo>
                    <a:pt x="237" y="75"/>
                  </a:lnTo>
                  <a:lnTo>
                    <a:pt x="236" y="75"/>
                  </a:lnTo>
                  <a:lnTo>
                    <a:pt x="237" y="75"/>
                  </a:lnTo>
                  <a:lnTo>
                    <a:pt x="237" y="74"/>
                  </a:lnTo>
                  <a:lnTo>
                    <a:pt x="236" y="74"/>
                  </a:lnTo>
                  <a:lnTo>
                    <a:pt x="236" y="73"/>
                  </a:lnTo>
                  <a:lnTo>
                    <a:pt x="236" y="71"/>
                  </a:lnTo>
                  <a:lnTo>
                    <a:pt x="237" y="71"/>
                  </a:lnTo>
                  <a:lnTo>
                    <a:pt x="237" y="73"/>
                  </a:lnTo>
                  <a:lnTo>
                    <a:pt x="238" y="73"/>
                  </a:lnTo>
                  <a:lnTo>
                    <a:pt x="238" y="71"/>
                  </a:lnTo>
                  <a:lnTo>
                    <a:pt x="237" y="71"/>
                  </a:lnTo>
                  <a:lnTo>
                    <a:pt x="238" y="71"/>
                  </a:lnTo>
                  <a:lnTo>
                    <a:pt x="239" y="71"/>
                  </a:lnTo>
                  <a:lnTo>
                    <a:pt x="239" y="73"/>
                  </a:lnTo>
                  <a:lnTo>
                    <a:pt x="241" y="73"/>
                  </a:lnTo>
                  <a:lnTo>
                    <a:pt x="239" y="73"/>
                  </a:lnTo>
                  <a:lnTo>
                    <a:pt x="241" y="73"/>
                  </a:lnTo>
                  <a:lnTo>
                    <a:pt x="241" y="74"/>
                  </a:lnTo>
                  <a:lnTo>
                    <a:pt x="239" y="74"/>
                  </a:lnTo>
                  <a:lnTo>
                    <a:pt x="241" y="74"/>
                  </a:lnTo>
                  <a:lnTo>
                    <a:pt x="241" y="75"/>
                  </a:lnTo>
                  <a:lnTo>
                    <a:pt x="242" y="74"/>
                  </a:lnTo>
                  <a:lnTo>
                    <a:pt x="242" y="75"/>
                  </a:lnTo>
                  <a:lnTo>
                    <a:pt x="242" y="74"/>
                  </a:lnTo>
                  <a:lnTo>
                    <a:pt x="243" y="74"/>
                  </a:lnTo>
                  <a:lnTo>
                    <a:pt x="243" y="75"/>
                  </a:lnTo>
                  <a:lnTo>
                    <a:pt x="244" y="75"/>
                  </a:lnTo>
                  <a:lnTo>
                    <a:pt x="244" y="74"/>
                  </a:lnTo>
                  <a:lnTo>
                    <a:pt x="244" y="75"/>
                  </a:lnTo>
                  <a:lnTo>
                    <a:pt x="245" y="75"/>
                  </a:lnTo>
                  <a:lnTo>
                    <a:pt x="245" y="76"/>
                  </a:lnTo>
                  <a:lnTo>
                    <a:pt x="246" y="76"/>
                  </a:lnTo>
                  <a:lnTo>
                    <a:pt x="246" y="77"/>
                  </a:lnTo>
                  <a:lnTo>
                    <a:pt x="248" y="77"/>
                  </a:lnTo>
                  <a:lnTo>
                    <a:pt x="248" y="78"/>
                  </a:lnTo>
                  <a:lnTo>
                    <a:pt x="248" y="80"/>
                  </a:lnTo>
                  <a:lnTo>
                    <a:pt x="249" y="80"/>
                  </a:lnTo>
                  <a:lnTo>
                    <a:pt x="249" y="81"/>
                  </a:lnTo>
                  <a:lnTo>
                    <a:pt x="250" y="81"/>
                  </a:lnTo>
                  <a:lnTo>
                    <a:pt x="250" y="82"/>
                  </a:lnTo>
                  <a:lnTo>
                    <a:pt x="250" y="83"/>
                  </a:lnTo>
                  <a:lnTo>
                    <a:pt x="251" y="83"/>
                  </a:lnTo>
                  <a:lnTo>
                    <a:pt x="251" y="84"/>
                  </a:lnTo>
                  <a:lnTo>
                    <a:pt x="252" y="84"/>
                  </a:lnTo>
                  <a:lnTo>
                    <a:pt x="252" y="85"/>
                  </a:lnTo>
                  <a:lnTo>
                    <a:pt x="253" y="85"/>
                  </a:lnTo>
                  <a:lnTo>
                    <a:pt x="253" y="87"/>
                  </a:lnTo>
                  <a:lnTo>
                    <a:pt x="254" y="87"/>
                  </a:lnTo>
                  <a:lnTo>
                    <a:pt x="253" y="87"/>
                  </a:lnTo>
                  <a:lnTo>
                    <a:pt x="253" y="88"/>
                  </a:lnTo>
                  <a:lnTo>
                    <a:pt x="253" y="89"/>
                  </a:lnTo>
                  <a:lnTo>
                    <a:pt x="252" y="89"/>
                  </a:lnTo>
                  <a:lnTo>
                    <a:pt x="252" y="90"/>
                  </a:lnTo>
                  <a:lnTo>
                    <a:pt x="252" y="91"/>
                  </a:lnTo>
                  <a:lnTo>
                    <a:pt x="252" y="92"/>
                  </a:lnTo>
                  <a:lnTo>
                    <a:pt x="251" y="92"/>
                  </a:lnTo>
                  <a:lnTo>
                    <a:pt x="251" y="94"/>
                  </a:lnTo>
                  <a:lnTo>
                    <a:pt x="251" y="96"/>
                  </a:lnTo>
                  <a:lnTo>
                    <a:pt x="250" y="96"/>
                  </a:lnTo>
                  <a:lnTo>
                    <a:pt x="251" y="97"/>
                  </a:lnTo>
                  <a:lnTo>
                    <a:pt x="250" y="98"/>
                  </a:lnTo>
                  <a:lnTo>
                    <a:pt x="250" y="99"/>
                  </a:lnTo>
                  <a:lnTo>
                    <a:pt x="250" y="98"/>
                  </a:lnTo>
                  <a:lnTo>
                    <a:pt x="251" y="98"/>
                  </a:lnTo>
                  <a:lnTo>
                    <a:pt x="251" y="97"/>
                  </a:lnTo>
                  <a:lnTo>
                    <a:pt x="251" y="96"/>
                  </a:lnTo>
                  <a:lnTo>
                    <a:pt x="251" y="95"/>
                  </a:lnTo>
                  <a:lnTo>
                    <a:pt x="251" y="94"/>
                  </a:lnTo>
                  <a:lnTo>
                    <a:pt x="252" y="94"/>
                  </a:lnTo>
                  <a:lnTo>
                    <a:pt x="252" y="95"/>
                  </a:lnTo>
                  <a:lnTo>
                    <a:pt x="253" y="95"/>
                  </a:lnTo>
                  <a:lnTo>
                    <a:pt x="253" y="96"/>
                  </a:lnTo>
                  <a:lnTo>
                    <a:pt x="253" y="97"/>
                  </a:lnTo>
                  <a:lnTo>
                    <a:pt x="253" y="96"/>
                  </a:lnTo>
                  <a:lnTo>
                    <a:pt x="253" y="95"/>
                  </a:lnTo>
                  <a:lnTo>
                    <a:pt x="253" y="94"/>
                  </a:lnTo>
                  <a:lnTo>
                    <a:pt x="253" y="92"/>
                  </a:lnTo>
                  <a:lnTo>
                    <a:pt x="253" y="91"/>
                  </a:lnTo>
                  <a:lnTo>
                    <a:pt x="254" y="90"/>
                  </a:lnTo>
                  <a:lnTo>
                    <a:pt x="256" y="90"/>
                  </a:lnTo>
                  <a:lnTo>
                    <a:pt x="256" y="91"/>
                  </a:lnTo>
                  <a:lnTo>
                    <a:pt x="256" y="92"/>
                  </a:lnTo>
                  <a:lnTo>
                    <a:pt x="256" y="91"/>
                  </a:lnTo>
                  <a:lnTo>
                    <a:pt x="257" y="92"/>
                  </a:lnTo>
                  <a:lnTo>
                    <a:pt x="257" y="91"/>
                  </a:lnTo>
                  <a:lnTo>
                    <a:pt x="257" y="90"/>
                  </a:lnTo>
                  <a:lnTo>
                    <a:pt x="257" y="89"/>
                  </a:lnTo>
                  <a:lnTo>
                    <a:pt x="257" y="88"/>
                  </a:lnTo>
                  <a:lnTo>
                    <a:pt x="258" y="88"/>
                  </a:lnTo>
                  <a:lnTo>
                    <a:pt x="259" y="88"/>
                  </a:lnTo>
                  <a:lnTo>
                    <a:pt x="260" y="88"/>
                  </a:lnTo>
                  <a:lnTo>
                    <a:pt x="261" y="89"/>
                  </a:lnTo>
                  <a:lnTo>
                    <a:pt x="261" y="88"/>
                  </a:lnTo>
                  <a:lnTo>
                    <a:pt x="261" y="89"/>
                  </a:lnTo>
                  <a:lnTo>
                    <a:pt x="263" y="89"/>
                  </a:lnTo>
                  <a:lnTo>
                    <a:pt x="264" y="89"/>
                  </a:lnTo>
                  <a:lnTo>
                    <a:pt x="265" y="89"/>
                  </a:lnTo>
                  <a:lnTo>
                    <a:pt x="266" y="89"/>
                  </a:lnTo>
                  <a:lnTo>
                    <a:pt x="266" y="90"/>
                  </a:lnTo>
                  <a:lnTo>
                    <a:pt x="267" y="90"/>
                  </a:lnTo>
                  <a:lnTo>
                    <a:pt x="267" y="91"/>
                  </a:lnTo>
                  <a:lnTo>
                    <a:pt x="266" y="91"/>
                  </a:lnTo>
                  <a:lnTo>
                    <a:pt x="266" y="92"/>
                  </a:lnTo>
                  <a:lnTo>
                    <a:pt x="267" y="92"/>
                  </a:lnTo>
                  <a:lnTo>
                    <a:pt x="266" y="94"/>
                  </a:lnTo>
                  <a:lnTo>
                    <a:pt x="266" y="95"/>
                  </a:lnTo>
                  <a:lnTo>
                    <a:pt x="266" y="94"/>
                  </a:lnTo>
                  <a:lnTo>
                    <a:pt x="267" y="94"/>
                  </a:lnTo>
                  <a:lnTo>
                    <a:pt x="266" y="95"/>
                  </a:lnTo>
                  <a:lnTo>
                    <a:pt x="267" y="92"/>
                  </a:lnTo>
                  <a:lnTo>
                    <a:pt x="267" y="91"/>
                  </a:lnTo>
                  <a:lnTo>
                    <a:pt x="267" y="90"/>
                  </a:lnTo>
                  <a:lnTo>
                    <a:pt x="267" y="89"/>
                  </a:lnTo>
                  <a:lnTo>
                    <a:pt x="268" y="89"/>
                  </a:lnTo>
                  <a:lnTo>
                    <a:pt x="270" y="89"/>
                  </a:lnTo>
                  <a:lnTo>
                    <a:pt x="270" y="90"/>
                  </a:lnTo>
                  <a:lnTo>
                    <a:pt x="271" y="90"/>
                  </a:lnTo>
                  <a:lnTo>
                    <a:pt x="271" y="91"/>
                  </a:lnTo>
                  <a:lnTo>
                    <a:pt x="272" y="91"/>
                  </a:lnTo>
                  <a:lnTo>
                    <a:pt x="272" y="92"/>
                  </a:lnTo>
                  <a:lnTo>
                    <a:pt x="272" y="94"/>
                  </a:lnTo>
                  <a:lnTo>
                    <a:pt x="273" y="94"/>
                  </a:lnTo>
                  <a:lnTo>
                    <a:pt x="273" y="95"/>
                  </a:lnTo>
                  <a:lnTo>
                    <a:pt x="274" y="95"/>
                  </a:lnTo>
                  <a:lnTo>
                    <a:pt x="274" y="94"/>
                  </a:lnTo>
                  <a:lnTo>
                    <a:pt x="273" y="92"/>
                  </a:lnTo>
                  <a:lnTo>
                    <a:pt x="273" y="91"/>
                  </a:lnTo>
                  <a:lnTo>
                    <a:pt x="273" y="90"/>
                  </a:lnTo>
                  <a:lnTo>
                    <a:pt x="273" y="89"/>
                  </a:lnTo>
                  <a:lnTo>
                    <a:pt x="274" y="89"/>
                  </a:lnTo>
                  <a:lnTo>
                    <a:pt x="275" y="89"/>
                  </a:lnTo>
                  <a:lnTo>
                    <a:pt x="277" y="89"/>
                  </a:lnTo>
                  <a:lnTo>
                    <a:pt x="277" y="88"/>
                  </a:lnTo>
                  <a:lnTo>
                    <a:pt x="278" y="88"/>
                  </a:lnTo>
                  <a:lnTo>
                    <a:pt x="279" y="87"/>
                  </a:lnTo>
                  <a:lnTo>
                    <a:pt x="278" y="88"/>
                  </a:lnTo>
                  <a:lnTo>
                    <a:pt x="277" y="88"/>
                  </a:lnTo>
                  <a:lnTo>
                    <a:pt x="275" y="88"/>
                  </a:lnTo>
                  <a:lnTo>
                    <a:pt x="274" y="88"/>
                  </a:lnTo>
                  <a:lnTo>
                    <a:pt x="274" y="87"/>
                  </a:lnTo>
                  <a:lnTo>
                    <a:pt x="273" y="87"/>
                  </a:lnTo>
                  <a:lnTo>
                    <a:pt x="273" y="85"/>
                  </a:lnTo>
                  <a:lnTo>
                    <a:pt x="274" y="84"/>
                  </a:lnTo>
                  <a:lnTo>
                    <a:pt x="275" y="84"/>
                  </a:lnTo>
                  <a:lnTo>
                    <a:pt x="277" y="84"/>
                  </a:lnTo>
                  <a:lnTo>
                    <a:pt x="275" y="84"/>
                  </a:lnTo>
                  <a:lnTo>
                    <a:pt x="274" y="84"/>
                  </a:lnTo>
                  <a:lnTo>
                    <a:pt x="273" y="84"/>
                  </a:lnTo>
                  <a:lnTo>
                    <a:pt x="272" y="83"/>
                  </a:lnTo>
                  <a:lnTo>
                    <a:pt x="271" y="82"/>
                  </a:lnTo>
                  <a:lnTo>
                    <a:pt x="271" y="81"/>
                  </a:lnTo>
                  <a:lnTo>
                    <a:pt x="272" y="80"/>
                  </a:lnTo>
                  <a:lnTo>
                    <a:pt x="272" y="78"/>
                  </a:lnTo>
                  <a:lnTo>
                    <a:pt x="273" y="78"/>
                  </a:lnTo>
                  <a:lnTo>
                    <a:pt x="273" y="77"/>
                  </a:lnTo>
                  <a:lnTo>
                    <a:pt x="273" y="76"/>
                  </a:lnTo>
                  <a:lnTo>
                    <a:pt x="274" y="76"/>
                  </a:lnTo>
                  <a:lnTo>
                    <a:pt x="274" y="77"/>
                  </a:lnTo>
                  <a:lnTo>
                    <a:pt x="274" y="76"/>
                  </a:lnTo>
                  <a:lnTo>
                    <a:pt x="274" y="75"/>
                  </a:lnTo>
                  <a:lnTo>
                    <a:pt x="275" y="75"/>
                  </a:lnTo>
                  <a:lnTo>
                    <a:pt x="275" y="76"/>
                  </a:lnTo>
                  <a:lnTo>
                    <a:pt x="277" y="76"/>
                  </a:lnTo>
                  <a:lnTo>
                    <a:pt x="277" y="75"/>
                  </a:lnTo>
                  <a:lnTo>
                    <a:pt x="277" y="74"/>
                  </a:lnTo>
                  <a:lnTo>
                    <a:pt x="277" y="73"/>
                  </a:lnTo>
                  <a:lnTo>
                    <a:pt x="278" y="71"/>
                  </a:lnTo>
                  <a:lnTo>
                    <a:pt x="278" y="70"/>
                  </a:lnTo>
                  <a:lnTo>
                    <a:pt x="279" y="69"/>
                  </a:lnTo>
                  <a:lnTo>
                    <a:pt x="279" y="68"/>
                  </a:lnTo>
                  <a:lnTo>
                    <a:pt x="280" y="67"/>
                  </a:lnTo>
                  <a:lnTo>
                    <a:pt x="280" y="68"/>
                  </a:lnTo>
                  <a:lnTo>
                    <a:pt x="281" y="68"/>
                  </a:lnTo>
                  <a:lnTo>
                    <a:pt x="282" y="68"/>
                  </a:lnTo>
                  <a:lnTo>
                    <a:pt x="282" y="67"/>
                  </a:lnTo>
                  <a:lnTo>
                    <a:pt x="284" y="67"/>
                  </a:lnTo>
                  <a:lnTo>
                    <a:pt x="285" y="66"/>
                  </a:lnTo>
                  <a:lnTo>
                    <a:pt x="285" y="64"/>
                  </a:lnTo>
                  <a:lnTo>
                    <a:pt x="286" y="64"/>
                  </a:lnTo>
                  <a:lnTo>
                    <a:pt x="285" y="64"/>
                  </a:lnTo>
                  <a:lnTo>
                    <a:pt x="285" y="63"/>
                  </a:lnTo>
                  <a:lnTo>
                    <a:pt x="285" y="62"/>
                  </a:lnTo>
                  <a:lnTo>
                    <a:pt x="284" y="62"/>
                  </a:lnTo>
                  <a:lnTo>
                    <a:pt x="284" y="60"/>
                  </a:lnTo>
                  <a:lnTo>
                    <a:pt x="285" y="60"/>
                  </a:lnTo>
                  <a:lnTo>
                    <a:pt x="285" y="59"/>
                  </a:lnTo>
                  <a:lnTo>
                    <a:pt x="285" y="57"/>
                  </a:lnTo>
                  <a:lnTo>
                    <a:pt x="286" y="59"/>
                  </a:lnTo>
                  <a:lnTo>
                    <a:pt x="287" y="59"/>
                  </a:lnTo>
                  <a:lnTo>
                    <a:pt x="287" y="57"/>
                  </a:lnTo>
                  <a:lnTo>
                    <a:pt x="288" y="57"/>
                  </a:lnTo>
                  <a:lnTo>
                    <a:pt x="288" y="56"/>
                  </a:lnTo>
                  <a:lnTo>
                    <a:pt x="288" y="55"/>
                  </a:lnTo>
                  <a:lnTo>
                    <a:pt x="288" y="54"/>
                  </a:lnTo>
                  <a:lnTo>
                    <a:pt x="289" y="54"/>
                  </a:lnTo>
                  <a:lnTo>
                    <a:pt x="291" y="54"/>
                  </a:lnTo>
                  <a:lnTo>
                    <a:pt x="291" y="53"/>
                  </a:lnTo>
                  <a:lnTo>
                    <a:pt x="291" y="54"/>
                  </a:lnTo>
                  <a:lnTo>
                    <a:pt x="291" y="55"/>
                  </a:lnTo>
                  <a:lnTo>
                    <a:pt x="292" y="55"/>
                  </a:lnTo>
                  <a:lnTo>
                    <a:pt x="293" y="55"/>
                  </a:lnTo>
                  <a:lnTo>
                    <a:pt x="292" y="54"/>
                  </a:lnTo>
                  <a:lnTo>
                    <a:pt x="291" y="54"/>
                  </a:lnTo>
                  <a:lnTo>
                    <a:pt x="292" y="54"/>
                  </a:lnTo>
                  <a:lnTo>
                    <a:pt x="292" y="53"/>
                  </a:lnTo>
                  <a:lnTo>
                    <a:pt x="292" y="52"/>
                  </a:lnTo>
                  <a:lnTo>
                    <a:pt x="292" y="50"/>
                  </a:lnTo>
                  <a:lnTo>
                    <a:pt x="292" y="49"/>
                  </a:lnTo>
                  <a:lnTo>
                    <a:pt x="293" y="49"/>
                  </a:lnTo>
                  <a:lnTo>
                    <a:pt x="293" y="50"/>
                  </a:lnTo>
                  <a:lnTo>
                    <a:pt x="294" y="50"/>
                  </a:lnTo>
                  <a:lnTo>
                    <a:pt x="294" y="52"/>
                  </a:lnTo>
                  <a:lnTo>
                    <a:pt x="294" y="53"/>
                  </a:lnTo>
                  <a:lnTo>
                    <a:pt x="295" y="52"/>
                  </a:lnTo>
                  <a:lnTo>
                    <a:pt x="295" y="53"/>
                  </a:lnTo>
                  <a:lnTo>
                    <a:pt x="295" y="54"/>
                  </a:lnTo>
                  <a:lnTo>
                    <a:pt x="295" y="53"/>
                  </a:lnTo>
                  <a:lnTo>
                    <a:pt x="296" y="53"/>
                  </a:lnTo>
                  <a:lnTo>
                    <a:pt x="296" y="54"/>
                  </a:lnTo>
                  <a:lnTo>
                    <a:pt x="296" y="53"/>
                  </a:lnTo>
                  <a:lnTo>
                    <a:pt x="295" y="53"/>
                  </a:lnTo>
                  <a:lnTo>
                    <a:pt x="295" y="52"/>
                  </a:lnTo>
                  <a:lnTo>
                    <a:pt x="296" y="52"/>
                  </a:lnTo>
                  <a:lnTo>
                    <a:pt x="296" y="50"/>
                  </a:lnTo>
                  <a:lnTo>
                    <a:pt x="295" y="50"/>
                  </a:lnTo>
                  <a:lnTo>
                    <a:pt x="295" y="49"/>
                  </a:lnTo>
                  <a:lnTo>
                    <a:pt x="296" y="49"/>
                  </a:lnTo>
                  <a:lnTo>
                    <a:pt x="298" y="49"/>
                  </a:lnTo>
                  <a:lnTo>
                    <a:pt x="299" y="49"/>
                  </a:lnTo>
                  <a:lnTo>
                    <a:pt x="298" y="48"/>
                  </a:lnTo>
                  <a:lnTo>
                    <a:pt x="299" y="48"/>
                  </a:lnTo>
                  <a:lnTo>
                    <a:pt x="299" y="47"/>
                  </a:lnTo>
                  <a:lnTo>
                    <a:pt x="298" y="47"/>
                  </a:lnTo>
                  <a:lnTo>
                    <a:pt x="298" y="46"/>
                  </a:lnTo>
                  <a:lnTo>
                    <a:pt x="299" y="46"/>
                  </a:lnTo>
                  <a:lnTo>
                    <a:pt x="300" y="46"/>
                  </a:lnTo>
                  <a:lnTo>
                    <a:pt x="300" y="47"/>
                  </a:lnTo>
                  <a:lnTo>
                    <a:pt x="301" y="47"/>
                  </a:lnTo>
                  <a:lnTo>
                    <a:pt x="301" y="46"/>
                  </a:lnTo>
                  <a:lnTo>
                    <a:pt x="302" y="46"/>
                  </a:lnTo>
                  <a:lnTo>
                    <a:pt x="302" y="45"/>
                  </a:lnTo>
                  <a:lnTo>
                    <a:pt x="302" y="46"/>
                  </a:lnTo>
                  <a:lnTo>
                    <a:pt x="302" y="47"/>
                  </a:lnTo>
                  <a:lnTo>
                    <a:pt x="303" y="48"/>
                  </a:lnTo>
                  <a:lnTo>
                    <a:pt x="305" y="48"/>
                  </a:lnTo>
                  <a:lnTo>
                    <a:pt x="306" y="48"/>
                  </a:lnTo>
                  <a:lnTo>
                    <a:pt x="307" y="48"/>
                  </a:lnTo>
                  <a:lnTo>
                    <a:pt x="308" y="48"/>
                  </a:lnTo>
                  <a:lnTo>
                    <a:pt x="309" y="48"/>
                  </a:lnTo>
                  <a:lnTo>
                    <a:pt x="310" y="47"/>
                  </a:lnTo>
                  <a:lnTo>
                    <a:pt x="310" y="48"/>
                  </a:lnTo>
                  <a:lnTo>
                    <a:pt x="312" y="48"/>
                  </a:lnTo>
                  <a:lnTo>
                    <a:pt x="313" y="48"/>
                  </a:lnTo>
                  <a:lnTo>
                    <a:pt x="314" y="48"/>
                  </a:lnTo>
                  <a:lnTo>
                    <a:pt x="314" y="47"/>
                  </a:lnTo>
                  <a:lnTo>
                    <a:pt x="315" y="47"/>
                  </a:lnTo>
                  <a:lnTo>
                    <a:pt x="315" y="46"/>
                  </a:lnTo>
                  <a:lnTo>
                    <a:pt x="315" y="47"/>
                  </a:lnTo>
                  <a:lnTo>
                    <a:pt x="316" y="47"/>
                  </a:lnTo>
                  <a:lnTo>
                    <a:pt x="317" y="47"/>
                  </a:lnTo>
                  <a:lnTo>
                    <a:pt x="317" y="48"/>
                  </a:lnTo>
                  <a:lnTo>
                    <a:pt x="317" y="49"/>
                  </a:lnTo>
                  <a:lnTo>
                    <a:pt x="317" y="48"/>
                  </a:lnTo>
                  <a:lnTo>
                    <a:pt x="317" y="47"/>
                  </a:lnTo>
                  <a:lnTo>
                    <a:pt x="318" y="46"/>
                  </a:lnTo>
                  <a:lnTo>
                    <a:pt x="320" y="46"/>
                  </a:lnTo>
                  <a:lnTo>
                    <a:pt x="320" y="45"/>
                  </a:lnTo>
                  <a:lnTo>
                    <a:pt x="321" y="46"/>
                  </a:lnTo>
                  <a:lnTo>
                    <a:pt x="322" y="46"/>
                  </a:lnTo>
                  <a:lnTo>
                    <a:pt x="321" y="45"/>
                  </a:lnTo>
                  <a:lnTo>
                    <a:pt x="321" y="43"/>
                  </a:lnTo>
                  <a:lnTo>
                    <a:pt x="322" y="41"/>
                  </a:lnTo>
                  <a:lnTo>
                    <a:pt x="321" y="41"/>
                  </a:lnTo>
                  <a:lnTo>
                    <a:pt x="321" y="40"/>
                  </a:lnTo>
                  <a:lnTo>
                    <a:pt x="322" y="39"/>
                  </a:lnTo>
                  <a:lnTo>
                    <a:pt x="322" y="38"/>
                  </a:lnTo>
                  <a:lnTo>
                    <a:pt x="321" y="38"/>
                  </a:lnTo>
                  <a:lnTo>
                    <a:pt x="321" y="36"/>
                  </a:lnTo>
                  <a:lnTo>
                    <a:pt x="320" y="35"/>
                  </a:lnTo>
                  <a:lnTo>
                    <a:pt x="318" y="35"/>
                  </a:lnTo>
                  <a:lnTo>
                    <a:pt x="317" y="35"/>
                  </a:lnTo>
                  <a:lnTo>
                    <a:pt x="316" y="35"/>
                  </a:lnTo>
                  <a:lnTo>
                    <a:pt x="315" y="35"/>
                  </a:lnTo>
                  <a:lnTo>
                    <a:pt x="315" y="36"/>
                  </a:lnTo>
                  <a:lnTo>
                    <a:pt x="314" y="36"/>
                  </a:lnTo>
                  <a:lnTo>
                    <a:pt x="314" y="35"/>
                  </a:lnTo>
                  <a:lnTo>
                    <a:pt x="314" y="34"/>
                  </a:lnTo>
                  <a:lnTo>
                    <a:pt x="313" y="34"/>
                  </a:lnTo>
                  <a:lnTo>
                    <a:pt x="313" y="33"/>
                  </a:lnTo>
                  <a:lnTo>
                    <a:pt x="312" y="33"/>
                  </a:lnTo>
                  <a:lnTo>
                    <a:pt x="310" y="33"/>
                  </a:lnTo>
                  <a:lnTo>
                    <a:pt x="310" y="32"/>
                  </a:lnTo>
                  <a:lnTo>
                    <a:pt x="312" y="32"/>
                  </a:lnTo>
                  <a:lnTo>
                    <a:pt x="312" y="31"/>
                  </a:lnTo>
                  <a:lnTo>
                    <a:pt x="312" y="32"/>
                  </a:lnTo>
                  <a:lnTo>
                    <a:pt x="312" y="31"/>
                  </a:lnTo>
                  <a:lnTo>
                    <a:pt x="313" y="31"/>
                  </a:lnTo>
                  <a:lnTo>
                    <a:pt x="313" y="32"/>
                  </a:lnTo>
                  <a:lnTo>
                    <a:pt x="314" y="32"/>
                  </a:lnTo>
                  <a:lnTo>
                    <a:pt x="314" y="31"/>
                  </a:lnTo>
                  <a:lnTo>
                    <a:pt x="313" y="31"/>
                  </a:lnTo>
                  <a:lnTo>
                    <a:pt x="314" y="31"/>
                  </a:lnTo>
                  <a:lnTo>
                    <a:pt x="314" y="29"/>
                  </a:lnTo>
                  <a:lnTo>
                    <a:pt x="314" y="31"/>
                  </a:lnTo>
                  <a:lnTo>
                    <a:pt x="315" y="31"/>
                  </a:lnTo>
                  <a:lnTo>
                    <a:pt x="315" y="32"/>
                  </a:lnTo>
                  <a:lnTo>
                    <a:pt x="315" y="31"/>
                  </a:lnTo>
                  <a:lnTo>
                    <a:pt x="315" y="32"/>
                  </a:lnTo>
                  <a:lnTo>
                    <a:pt x="315" y="33"/>
                  </a:lnTo>
                  <a:lnTo>
                    <a:pt x="315" y="34"/>
                  </a:lnTo>
                  <a:lnTo>
                    <a:pt x="316" y="34"/>
                  </a:lnTo>
                  <a:lnTo>
                    <a:pt x="316" y="33"/>
                  </a:lnTo>
                  <a:lnTo>
                    <a:pt x="316" y="34"/>
                  </a:lnTo>
                  <a:lnTo>
                    <a:pt x="316" y="33"/>
                  </a:lnTo>
                  <a:lnTo>
                    <a:pt x="316" y="32"/>
                  </a:lnTo>
                  <a:lnTo>
                    <a:pt x="316" y="31"/>
                  </a:lnTo>
                  <a:lnTo>
                    <a:pt x="316" y="29"/>
                  </a:lnTo>
                  <a:lnTo>
                    <a:pt x="316" y="31"/>
                  </a:lnTo>
                  <a:lnTo>
                    <a:pt x="317" y="31"/>
                  </a:lnTo>
                  <a:lnTo>
                    <a:pt x="317" y="32"/>
                  </a:lnTo>
                  <a:lnTo>
                    <a:pt x="317" y="31"/>
                  </a:lnTo>
                  <a:lnTo>
                    <a:pt x="318" y="31"/>
                  </a:lnTo>
                  <a:lnTo>
                    <a:pt x="318" y="29"/>
                  </a:lnTo>
                  <a:lnTo>
                    <a:pt x="318" y="31"/>
                  </a:lnTo>
                  <a:lnTo>
                    <a:pt x="318" y="32"/>
                  </a:lnTo>
                  <a:lnTo>
                    <a:pt x="318" y="33"/>
                  </a:lnTo>
                  <a:lnTo>
                    <a:pt x="320" y="32"/>
                  </a:lnTo>
                  <a:lnTo>
                    <a:pt x="320" y="31"/>
                  </a:lnTo>
                  <a:lnTo>
                    <a:pt x="320" y="32"/>
                  </a:lnTo>
                  <a:lnTo>
                    <a:pt x="321" y="32"/>
                  </a:lnTo>
                  <a:lnTo>
                    <a:pt x="321" y="33"/>
                  </a:lnTo>
                  <a:lnTo>
                    <a:pt x="321" y="34"/>
                  </a:lnTo>
                  <a:lnTo>
                    <a:pt x="322" y="34"/>
                  </a:lnTo>
                  <a:lnTo>
                    <a:pt x="322" y="35"/>
                  </a:lnTo>
                  <a:lnTo>
                    <a:pt x="322" y="36"/>
                  </a:lnTo>
                  <a:lnTo>
                    <a:pt x="323" y="36"/>
                  </a:lnTo>
                  <a:lnTo>
                    <a:pt x="323" y="35"/>
                  </a:lnTo>
                  <a:lnTo>
                    <a:pt x="324" y="35"/>
                  </a:lnTo>
                  <a:lnTo>
                    <a:pt x="324" y="34"/>
                  </a:lnTo>
                  <a:lnTo>
                    <a:pt x="325" y="34"/>
                  </a:lnTo>
                  <a:lnTo>
                    <a:pt x="325" y="33"/>
                  </a:lnTo>
                  <a:lnTo>
                    <a:pt x="327" y="33"/>
                  </a:lnTo>
                  <a:lnTo>
                    <a:pt x="327" y="34"/>
                  </a:lnTo>
                  <a:lnTo>
                    <a:pt x="328" y="34"/>
                  </a:lnTo>
                  <a:lnTo>
                    <a:pt x="328" y="35"/>
                  </a:lnTo>
                  <a:lnTo>
                    <a:pt x="328" y="36"/>
                  </a:lnTo>
                  <a:lnTo>
                    <a:pt x="328" y="38"/>
                  </a:lnTo>
                  <a:lnTo>
                    <a:pt x="329" y="39"/>
                  </a:lnTo>
                  <a:lnTo>
                    <a:pt x="330" y="40"/>
                  </a:lnTo>
                  <a:lnTo>
                    <a:pt x="330" y="39"/>
                  </a:lnTo>
                  <a:lnTo>
                    <a:pt x="331" y="39"/>
                  </a:lnTo>
                  <a:lnTo>
                    <a:pt x="331" y="40"/>
                  </a:lnTo>
                  <a:lnTo>
                    <a:pt x="332" y="40"/>
                  </a:lnTo>
                  <a:lnTo>
                    <a:pt x="332" y="39"/>
                  </a:lnTo>
                  <a:lnTo>
                    <a:pt x="332" y="40"/>
                  </a:lnTo>
                  <a:lnTo>
                    <a:pt x="334" y="40"/>
                  </a:lnTo>
                  <a:lnTo>
                    <a:pt x="334" y="41"/>
                  </a:lnTo>
                  <a:lnTo>
                    <a:pt x="335" y="40"/>
                  </a:lnTo>
                  <a:lnTo>
                    <a:pt x="335" y="41"/>
                  </a:lnTo>
                  <a:lnTo>
                    <a:pt x="336" y="41"/>
                  </a:lnTo>
                  <a:lnTo>
                    <a:pt x="336" y="40"/>
                  </a:lnTo>
                  <a:lnTo>
                    <a:pt x="337" y="40"/>
                  </a:lnTo>
                  <a:lnTo>
                    <a:pt x="337" y="39"/>
                  </a:lnTo>
                  <a:lnTo>
                    <a:pt x="338" y="39"/>
                  </a:lnTo>
                  <a:lnTo>
                    <a:pt x="338" y="40"/>
                  </a:lnTo>
                  <a:lnTo>
                    <a:pt x="339" y="40"/>
                  </a:lnTo>
                  <a:lnTo>
                    <a:pt x="339" y="39"/>
                  </a:lnTo>
                  <a:lnTo>
                    <a:pt x="339" y="40"/>
                  </a:lnTo>
                  <a:lnTo>
                    <a:pt x="338" y="40"/>
                  </a:lnTo>
                  <a:lnTo>
                    <a:pt x="338" y="41"/>
                  </a:lnTo>
                  <a:lnTo>
                    <a:pt x="338" y="42"/>
                  </a:lnTo>
                  <a:lnTo>
                    <a:pt x="339" y="42"/>
                  </a:lnTo>
                  <a:lnTo>
                    <a:pt x="341" y="42"/>
                  </a:lnTo>
                  <a:lnTo>
                    <a:pt x="341" y="41"/>
                  </a:lnTo>
                  <a:lnTo>
                    <a:pt x="342" y="42"/>
                  </a:lnTo>
                  <a:lnTo>
                    <a:pt x="341" y="42"/>
                  </a:lnTo>
                  <a:lnTo>
                    <a:pt x="342" y="42"/>
                  </a:lnTo>
                  <a:lnTo>
                    <a:pt x="343" y="42"/>
                  </a:lnTo>
                  <a:lnTo>
                    <a:pt x="343" y="43"/>
                  </a:lnTo>
                  <a:lnTo>
                    <a:pt x="342" y="43"/>
                  </a:lnTo>
                  <a:lnTo>
                    <a:pt x="343" y="43"/>
                  </a:lnTo>
                  <a:lnTo>
                    <a:pt x="343" y="45"/>
                  </a:lnTo>
                  <a:lnTo>
                    <a:pt x="342" y="45"/>
                  </a:lnTo>
                  <a:lnTo>
                    <a:pt x="343" y="45"/>
                  </a:lnTo>
                  <a:lnTo>
                    <a:pt x="343" y="43"/>
                  </a:lnTo>
                  <a:lnTo>
                    <a:pt x="344" y="43"/>
                  </a:lnTo>
                  <a:lnTo>
                    <a:pt x="345" y="45"/>
                  </a:lnTo>
                  <a:lnTo>
                    <a:pt x="346" y="45"/>
                  </a:lnTo>
                  <a:lnTo>
                    <a:pt x="348" y="45"/>
                  </a:lnTo>
                  <a:lnTo>
                    <a:pt x="349" y="45"/>
                  </a:lnTo>
                  <a:lnTo>
                    <a:pt x="350" y="43"/>
                  </a:lnTo>
                  <a:lnTo>
                    <a:pt x="350" y="42"/>
                  </a:lnTo>
                  <a:lnTo>
                    <a:pt x="351" y="42"/>
                  </a:lnTo>
                  <a:lnTo>
                    <a:pt x="351" y="43"/>
                  </a:lnTo>
                  <a:lnTo>
                    <a:pt x="351" y="45"/>
                  </a:lnTo>
                  <a:lnTo>
                    <a:pt x="351" y="46"/>
                  </a:lnTo>
                  <a:lnTo>
                    <a:pt x="352" y="46"/>
                  </a:lnTo>
                  <a:lnTo>
                    <a:pt x="353" y="46"/>
                  </a:lnTo>
                  <a:lnTo>
                    <a:pt x="353" y="47"/>
                  </a:lnTo>
                  <a:lnTo>
                    <a:pt x="355" y="48"/>
                  </a:lnTo>
                  <a:lnTo>
                    <a:pt x="355" y="47"/>
                  </a:lnTo>
                  <a:lnTo>
                    <a:pt x="356" y="47"/>
                  </a:lnTo>
                  <a:lnTo>
                    <a:pt x="356" y="48"/>
                  </a:lnTo>
                  <a:lnTo>
                    <a:pt x="357" y="48"/>
                  </a:lnTo>
                  <a:lnTo>
                    <a:pt x="356" y="48"/>
                  </a:lnTo>
                  <a:lnTo>
                    <a:pt x="356" y="47"/>
                  </a:lnTo>
                  <a:lnTo>
                    <a:pt x="357" y="47"/>
                  </a:lnTo>
                  <a:lnTo>
                    <a:pt x="357" y="48"/>
                  </a:lnTo>
                  <a:lnTo>
                    <a:pt x="358" y="48"/>
                  </a:lnTo>
                  <a:lnTo>
                    <a:pt x="358" y="47"/>
                  </a:lnTo>
                  <a:lnTo>
                    <a:pt x="357" y="47"/>
                  </a:lnTo>
                  <a:lnTo>
                    <a:pt x="358" y="46"/>
                  </a:lnTo>
                  <a:lnTo>
                    <a:pt x="358" y="45"/>
                  </a:lnTo>
                  <a:lnTo>
                    <a:pt x="359" y="45"/>
                  </a:lnTo>
                  <a:lnTo>
                    <a:pt x="359" y="46"/>
                  </a:lnTo>
                  <a:lnTo>
                    <a:pt x="360" y="46"/>
                  </a:lnTo>
                  <a:lnTo>
                    <a:pt x="360" y="45"/>
                  </a:lnTo>
                  <a:lnTo>
                    <a:pt x="362" y="45"/>
                  </a:lnTo>
                  <a:lnTo>
                    <a:pt x="362" y="46"/>
                  </a:lnTo>
                  <a:lnTo>
                    <a:pt x="363" y="45"/>
                  </a:lnTo>
                  <a:lnTo>
                    <a:pt x="364" y="43"/>
                  </a:lnTo>
                  <a:lnTo>
                    <a:pt x="363" y="43"/>
                  </a:lnTo>
                  <a:lnTo>
                    <a:pt x="362" y="45"/>
                  </a:lnTo>
                  <a:lnTo>
                    <a:pt x="362" y="43"/>
                  </a:lnTo>
                  <a:lnTo>
                    <a:pt x="363" y="43"/>
                  </a:lnTo>
                  <a:lnTo>
                    <a:pt x="363" y="42"/>
                  </a:lnTo>
                  <a:lnTo>
                    <a:pt x="364" y="42"/>
                  </a:lnTo>
                  <a:lnTo>
                    <a:pt x="365" y="42"/>
                  </a:lnTo>
                  <a:lnTo>
                    <a:pt x="365" y="41"/>
                  </a:lnTo>
                  <a:lnTo>
                    <a:pt x="366" y="41"/>
                  </a:lnTo>
                  <a:lnTo>
                    <a:pt x="366" y="40"/>
                  </a:lnTo>
                  <a:lnTo>
                    <a:pt x="367" y="40"/>
                  </a:lnTo>
                  <a:lnTo>
                    <a:pt x="367" y="41"/>
                  </a:lnTo>
                  <a:lnTo>
                    <a:pt x="366" y="41"/>
                  </a:lnTo>
                  <a:lnTo>
                    <a:pt x="365" y="42"/>
                  </a:lnTo>
                  <a:lnTo>
                    <a:pt x="365" y="43"/>
                  </a:lnTo>
                  <a:lnTo>
                    <a:pt x="364" y="43"/>
                  </a:lnTo>
                  <a:lnTo>
                    <a:pt x="365" y="43"/>
                  </a:lnTo>
                  <a:lnTo>
                    <a:pt x="366" y="43"/>
                  </a:lnTo>
                  <a:lnTo>
                    <a:pt x="365" y="43"/>
                  </a:lnTo>
                  <a:lnTo>
                    <a:pt x="365" y="45"/>
                  </a:lnTo>
                  <a:lnTo>
                    <a:pt x="364" y="45"/>
                  </a:lnTo>
                  <a:lnTo>
                    <a:pt x="364" y="46"/>
                  </a:lnTo>
                  <a:lnTo>
                    <a:pt x="363" y="46"/>
                  </a:lnTo>
                  <a:lnTo>
                    <a:pt x="363" y="47"/>
                  </a:lnTo>
                  <a:lnTo>
                    <a:pt x="363" y="48"/>
                  </a:lnTo>
                  <a:lnTo>
                    <a:pt x="364" y="48"/>
                  </a:lnTo>
                  <a:lnTo>
                    <a:pt x="364" y="47"/>
                  </a:lnTo>
                  <a:lnTo>
                    <a:pt x="365" y="47"/>
                  </a:lnTo>
                  <a:lnTo>
                    <a:pt x="365" y="46"/>
                  </a:lnTo>
                  <a:lnTo>
                    <a:pt x="366" y="46"/>
                  </a:lnTo>
                  <a:lnTo>
                    <a:pt x="366" y="47"/>
                  </a:lnTo>
                  <a:lnTo>
                    <a:pt x="366" y="46"/>
                  </a:lnTo>
                  <a:lnTo>
                    <a:pt x="367" y="46"/>
                  </a:lnTo>
                  <a:lnTo>
                    <a:pt x="367" y="45"/>
                  </a:lnTo>
                  <a:lnTo>
                    <a:pt x="369" y="45"/>
                  </a:lnTo>
                  <a:lnTo>
                    <a:pt x="367" y="46"/>
                  </a:lnTo>
                  <a:lnTo>
                    <a:pt x="366" y="47"/>
                  </a:lnTo>
                  <a:lnTo>
                    <a:pt x="366" y="48"/>
                  </a:lnTo>
                  <a:lnTo>
                    <a:pt x="367" y="48"/>
                  </a:lnTo>
                  <a:lnTo>
                    <a:pt x="367" y="47"/>
                  </a:lnTo>
                  <a:lnTo>
                    <a:pt x="369" y="47"/>
                  </a:lnTo>
                  <a:lnTo>
                    <a:pt x="369" y="48"/>
                  </a:lnTo>
                  <a:lnTo>
                    <a:pt x="367" y="48"/>
                  </a:lnTo>
                  <a:lnTo>
                    <a:pt x="366" y="49"/>
                  </a:lnTo>
                  <a:lnTo>
                    <a:pt x="366" y="50"/>
                  </a:lnTo>
                  <a:lnTo>
                    <a:pt x="367" y="49"/>
                  </a:lnTo>
                  <a:lnTo>
                    <a:pt x="367" y="50"/>
                  </a:lnTo>
                  <a:lnTo>
                    <a:pt x="369" y="50"/>
                  </a:lnTo>
                  <a:lnTo>
                    <a:pt x="370" y="50"/>
                  </a:lnTo>
                  <a:lnTo>
                    <a:pt x="371" y="50"/>
                  </a:lnTo>
                  <a:lnTo>
                    <a:pt x="371" y="49"/>
                  </a:lnTo>
                  <a:lnTo>
                    <a:pt x="372" y="48"/>
                  </a:lnTo>
                  <a:lnTo>
                    <a:pt x="372" y="47"/>
                  </a:lnTo>
                  <a:lnTo>
                    <a:pt x="371" y="47"/>
                  </a:lnTo>
                  <a:lnTo>
                    <a:pt x="370" y="47"/>
                  </a:lnTo>
                  <a:lnTo>
                    <a:pt x="370" y="46"/>
                  </a:lnTo>
                  <a:lnTo>
                    <a:pt x="371" y="46"/>
                  </a:lnTo>
                  <a:lnTo>
                    <a:pt x="371" y="45"/>
                  </a:lnTo>
                  <a:lnTo>
                    <a:pt x="372" y="45"/>
                  </a:lnTo>
                  <a:lnTo>
                    <a:pt x="372" y="43"/>
                  </a:lnTo>
                  <a:lnTo>
                    <a:pt x="373" y="43"/>
                  </a:lnTo>
                  <a:lnTo>
                    <a:pt x="374" y="42"/>
                  </a:lnTo>
                  <a:lnTo>
                    <a:pt x="374" y="43"/>
                  </a:lnTo>
                  <a:lnTo>
                    <a:pt x="374" y="42"/>
                  </a:lnTo>
                  <a:lnTo>
                    <a:pt x="376" y="42"/>
                  </a:lnTo>
                  <a:lnTo>
                    <a:pt x="374" y="43"/>
                  </a:lnTo>
                  <a:lnTo>
                    <a:pt x="376" y="43"/>
                  </a:lnTo>
                  <a:lnTo>
                    <a:pt x="376" y="45"/>
                  </a:lnTo>
                  <a:lnTo>
                    <a:pt x="376" y="46"/>
                  </a:lnTo>
                  <a:lnTo>
                    <a:pt x="376" y="47"/>
                  </a:lnTo>
                  <a:lnTo>
                    <a:pt x="377" y="47"/>
                  </a:lnTo>
                  <a:lnTo>
                    <a:pt x="377" y="48"/>
                  </a:lnTo>
                  <a:lnTo>
                    <a:pt x="378" y="48"/>
                  </a:lnTo>
                  <a:lnTo>
                    <a:pt x="378" y="47"/>
                  </a:lnTo>
                  <a:lnTo>
                    <a:pt x="377" y="47"/>
                  </a:lnTo>
                  <a:lnTo>
                    <a:pt x="378" y="47"/>
                  </a:lnTo>
                  <a:lnTo>
                    <a:pt x="378" y="46"/>
                  </a:lnTo>
                  <a:lnTo>
                    <a:pt x="378" y="47"/>
                  </a:lnTo>
                  <a:lnTo>
                    <a:pt x="379" y="47"/>
                  </a:lnTo>
                  <a:lnTo>
                    <a:pt x="380" y="48"/>
                  </a:lnTo>
                  <a:lnTo>
                    <a:pt x="380" y="49"/>
                  </a:lnTo>
                  <a:lnTo>
                    <a:pt x="379" y="49"/>
                  </a:lnTo>
                  <a:lnTo>
                    <a:pt x="379" y="50"/>
                  </a:lnTo>
                  <a:lnTo>
                    <a:pt x="378" y="52"/>
                  </a:lnTo>
                  <a:lnTo>
                    <a:pt x="377" y="53"/>
                  </a:lnTo>
                  <a:lnTo>
                    <a:pt x="377" y="52"/>
                  </a:lnTo>
                  <a:lnTo>
                    <a:pt x="378" y="52"/>
                  </a:lnTo>
                  <a:lnTo>
                    <a:pt x="378" y="50"/>
                  </a:lnTo>
                  <a:lnTo>
                    <a:pt x="377" y="52"/>
                  </a:lnTo>
                  <a:lnTo>
                    <a:pt x="377" y="53"/>
                  </a:lnTo>
                  <a:lnTo>
                    <a:pt x="376" y="54"/>
                  </a:lnTo>
                  <a:lnTo>
                    <a:pt x="376" y="55"/>
                  </a:lnTo>
                  <a:lnTo>
                    <a:pt x="374" y="55"/>
                  </a:lnTo>
                  <a:lnTo>
                    <a:pt x="374" y="56"/>
                  </a:lnTo>
                  <a:lnTo>
                    <a:pt x="374" y="55"/>
                  </a:lnTo>
                  <a:lnTo>
                    <a:pt x="373" y="55"/>
                  </a:lnTo>
                  <a:lnTo>
                    <a:pt x="373" y="56"/>
                  </a:lnTo>
                  <a:lnTo>
                    <a:pt x="372" y="56"/>
                  </a:lnTo>
                  <a:lnTo>
                    <a:pt x="372" y="57"/>
                  </a:lnTo>
                  <a:lnTo>
                    <a:pt x="373" y="57"/>
                  </a:lnTo>
                  <a:lnTo>
                    <a:pt x="373" y="59"/>
                  </a:lnTo>
                  <a:lnTo>
                    <a:pt x="374" y="59"/>
                  </a:lnTo>
                  <a:lnTo>
                    <a:pt x="374" y="60"/>
                  </a:lnTo>
                  <a:lnTo>
                    <a:pt x="374" y="59"/>
                  </a:lnTo>
                  <a:lnTo>
                    <a:pt x="374" y="60"/>
                  </a:lnTo>
                  <a:lnTo>
                    <a:pt x="373" y="60"/>
                  </a:lnTo>
                  <a:lnTo>
                    <a:pt x="373" y="59"/>
                  </a:lnTo>
                  <a:lnTo>
                    <a:pt x="372" y="59"/>
                  </a:lnTo>
                  <a:lnTo>
                    <a:pt x="372" y="60"/>
                  </a:lnTo>
                  <a:lnTo>
                    <a:pt x="373" y="60"/>
                  </a:lnTo>
                  <a:lnTo>
                    <a:pt x="373" y="61"/>
                  </a:lnTo>
                  <a:lnTo>
                    <a:pt x="372" y="62"/>
                  </a:lnTo>
                  <a:lnTo>
                    <a:pt x="372" y="63"/>
                  </a:lnTo>
                  <a:lnTo>
                    <a:pt x="371" y="63"/>
                  </a:lnTo>
                  <a:lnTo>
                    <a:pt x="370" y="64"/>
                  </a:lnTo>
                  <a:lnTo>
                    <a:pt x="370" y="63"/>
                  </a:lnTo>
                  <a:lnTo>
                    <a:pt x="371" y="63"/>
                  </a:lnTo>
                  <a:lnTo>
                    <a:pt x="370" y="62"/>
                  </a:lnTo>
                  <a:lnTo>
                    <a:pt x="371" y="62"/>
                  </a:lnTo>
                  <a:lnTo>
                    <a:pt x="370" y="62"/>
                  </a:lnTo>
                  <a:lnTo>
                    <a:pt x="371" y="61"/>
                  </a:lnTo>
                  <a:lnTo>
                    <a:pt x="371" y="60"/>
                  </a:lnTo>
                  <a:lnTo>
                    <a:pt x="370" y="60"/>
                  </a:lnTo>
                  <a:lnTo>
                    <a:pt x="370" y="61"/>
                  </a:lnTo>
                  <a:lnTo>
                    <a:pt x="370" y="62"/>
                  </a:lnTo>
                  <a:lnTo>
                    <a:pt x="369" y="62"/>
                  </a:lnTo>
                  <a:lnTo>
                    <a:pt x="369" y="61"/>
                  </a:lnTo>
                  <a:lnTo>
                    <a:pt x="369" y="62"/>
                  </a:lnTo>
                  <a:lnTo>
                    <a:pt x="369" y="63"/>
                  </a:lnTo>
                  <a:lnTo>
                    <a:pt x="367" y="63"/>
                  </a:lnTo>
                  <a:lnTo>
                    <a:pt x="367" y="62"/>
                  </a:lnTo>
                  <a:lnTo>
                    <a:pt x="367" y="61"/>
                  </a:lnTo>
                  <a:lnTo>
                    <a:pt x="366" y="62"/>
                  </a:lnTo>
                  <a:lnTo>
                    <a:pt x="366" y="63"/>
                  </a:lnTo>
                  <a:lnTo>
                    <a:pt x="366" y="64"/>
                  </a:lnTo>
                  <a:lnTo>
                    <a:pt x="365" y="64"/>
                  </a:lnTo>
                  <a:lnTo>
                    <a:pt x="365" y="63"/>
                  </a:lnTo>
                  <a:lnTo>
                    <a:pt x="364" y="64"/>
                  </a:lnTo>
                  <a:lnTo>
                    <a:pt x="364" y="63"/>
                  </a:lnTo>
                  <a:lnTo>
                    <a:pt x="364" y="64"/>
                  </a:lnTo>
                  <a:lnTo>
                    <a:pt x="363" y="64"/>
                  </a:lnTo>
                  <a:lnTo>
                    <a:pt x="363" y="66"/>
                  </a:lnTo>
                  <a:lnTo>
                    <a:pt x="364" y="66"/>
                  </a:lnTo>
                  <a:lnTo>
                    <a:pt x="364" y="67"/>
                  </a:lnTo>
                  <a:lnTo>
                    <a:pt x="363" y="67"/>
                  </a:lnTo>
                  <a:lnTo>
                    <a:pt x="363" y="68"/>
                  </a:lnTo>
                  <a:lnTo>
                    <a:pt x="363" y="69"/>
                  </a:lnTo>
                  <a:lnTo>
                    <a:pt x="362" y="69"/>
                  </a:lnTo>
                  <a:lnTo>
                    <a:pt x="363" y="69"/>
                  </a:lnTo>
                  <a:lnTo>
                    <a:pt x="363" y="70"/>
                  </a:lnTo>
                  <a:lnTo>
                    <a:pt x="363" y="71"/>
                  </a:lnTo>
                  <a:lnTo>
                    <a:pt x="364" y="71"/>
                  </a:lnTo>
                  <a:lnTo>
                    <a:pt x="365" y="70"/>
                  </a:lnTo>
                  <a:lnTo>
                    <a:pt x="364" y="71"/>
                  </a:lnTo>
                  <a:lnTo>
                    <a:pt x="364" y="73"/>
                  </a:lnTo>
                  <a:lnTo>
                    <a:pt x="364" y="74"/>
                  </a:lnTo>
                  <a:lnTo>
                    <a:pt x="363" y="74"/>
                  </a:lnTo>
                  <a:lnTo>
                    <a:pt x="363" y="75"/>
                  </a:lnTo>
                  <a:lnTo>
                    <a:pt x="362" y="77"/>
                  </a:lnTo>
                  <a:lnTo>
                    <a:pt x="362" y="78"/>
                  </a:lnTo>
                  <a:lnTo>
                    <a:pt x="360" y="78"/>
                  </a:lnTo>
                  <a:lnTo>
                    <a:pt x="360" y="80"/>
                  </a:lnTo>
                  <a:lnTo>
                    <a:pt x="359" y="80"/>
                  </a:lnTo>
                  <a:lnTo>
                    <a:pt x="358" y="82"/>
                  </a:lnTo>
                  <a:lnTo>
                    <a:pt x="357" y="82"/>
                  </a:lnTo>
                  <a:lnTo>
                    <a:pt x="356" y="84"/>
                  </a:lnTo>
                  <a:lnTo>
                    <a:pt x="356" y="85"/>
                  </a:lnTo>
                  <a:lnTo>
                    <a:pt x="355" y="85"/>
                  </a:lnTo>
                  <a:lnTo>
                    <a:pt x="355" y="87"/>
                  </a:lnTo>
                  <a:lnTo>
                    <a:pt x="353" y="87"/>
                  </a:lnTo>
                  <a:lnTo>
                    <a:pt x="353" y="88"/>
                  </a:lnTo>
                  <a:lnTo>
                    <a:pt x="353" y="90"/>
                  </a:lnTo>
                  <a:lnTo>
                    <a:pt x="355" y="91"/>
                  </a:lnTo>
                  <a:lnTo>
                    <a:pt x="356" y="92"/>
                  </a:lnTo>
                  <a:lnTo>
                    <a:pt x="356" y="91"/>
                  </a:lnTo>
                  <a:lnTo>
                    <a:pt x="356" y="92"/>
                  </a:lnTo>
                  <a:lnTo>
                    <a:pt x="357" y="92"/>
                  </a:lnTo>
                  <a:lnTo>
                    <a:pt x="358" y="94"/>
                  </a:lnTo>
                  <a:lnTo>
                    <a:pt x="359" y="95"/>
                  </a:lnTo>
                  <a:lnTo>
                    <a:pt x="360" y="96"/>
                  </a:lnTo>
                  <a:lnTo>
                    <a:pt x="362" y="96"/>
                  </a:lnTo>
                  <a:lnTo>
                    <a:pt x="362" y="97"/>
                  </a:lnTo>
                  <a:lnTo>
                    <a:pt x="363" y="97"/>
                  </a:lnTo>
                  <a:lnTo>
                    <a:pt x="363" y="98"/>
                  </a:lnTo>
                  <a:lnTo>
                    <a:pt x="363" y="99"/>
                  </a:lnTo>
                  <a:lnTo>
                    <a:pt x="364" y="101"/>
                  </a:lnTo>
                  <a:lnTo>
                    <a:pt x="365" y="101"/>
                  </a:lnTo>
                  <a:lnTo>
                    <a:pt x="366" y="102"/>
                  </a:lnTo>
                  <a:lnTo>
                    <a:pt x="366" y="103"/>
                  </a:lnTo>
                  <a:lnTo>
                    <a:pt x="367" y="103"/>
                  </a:lnTo>
                  <a:lnTo>
                    <a:pt x="367" y="102"/>
                  </a:lnTo>
                  <a:lnTo>
                    <a:pt x="367" y="103"/>
                  </a:lnTo>
                  <a:lnTo>
                    <a:pt x="369" y="104"/>
                  </a:lnTo>
                  <a:lnTo>
                    <a:pt x="369" y="105"/>
                  </a:lnTo>
                  <a:lnTo>
                    <a:pt x="369" y="106"/>
                  </a:lnTo>
                  <a:lnTo>
                    <a:pt x="369" y="105"/>
                  </a:lnTo>
                  <a:lnTo>
                    <a:pt x="370" y="105"/>
                  </a:lnTo>
                  <a:lnTo>
                    <a:pt x="371" y="105"/>
                  </a:lnTo>
                  <a:lnTo>
                    <a:pt x="371" y="106"/>
                  </a:lnTo>
                  <a:lnTo>
                    <a:pt x="371" y="105"/>
                  </a:lnTo>
                  <a:lnTo>
                    <a:pt x="372" y="105"/>
                  </a:lnTo>
                  <a:lnTo>
                    <a:pt x="373" y="105"/>
                  </a:lnTo>
                  <a:lnTo>
                    <a:pt x="373" y="106"/>
                  </a:lnTo>
                  <a:lnTo>
                    <a:pt x="374" y="106"/>
                  </a:lnTo>
                  <a:lnTo>
                    <a:pt x="376" y="108"/>
                  </a:lnTo>
                  <a:lnTo>
                    <a:pt x="377" y="109"/>
                  </a:lnTo>
                  <a:lnTo>
                    <a:pt x="378" y="109"/>
                  </a:lnTo>
                  <a:lnTo>
                    <a:pt x="378" y="110"/>
                  </a:lnTo>
                  <a:lnTo>
                    <a:pt x="379" y="110"/>
                  </a:lnTo>
                  <a:lnTo>
                    <a:pt x="380" y="110"/>
                  </a:lnTo>
                  <a:lnTo>
                    <a:pt x="381" y="111"/>
                  </a:lnTo>
                  <a:lnTo>
                    <a:pt x="382" y="112"/>
                  </a:lnTo>
                  <a:lnTo>
                    <a:pt x="382" y="113"/>
                  </a:lnTo>
                  <a:lnTo>
                    <a:pt x="384" y="115"/>
                  </a:lnTo>
                  <a:lnTo>
                    <a:pt x="385" y="116"/>
                  </a:lnTo>
                  <a:lnTo>
                    <a:pt x="385" y="117"/>
                  </a:lnTo>
                  <a:lnTo>
                    <a:pt x="386" y="117"/>
                  </a:lnTo>
                  <a:lnTo>
                    <a:pt x="386" y="118"/>
                  </a:lnTo>
                  <a:lnTo>
                    <a:pt x="387" y="118"/>
                  </a:lnTo>
                  <a:lnTo>
                    <a:pt x="388" y="119"/>
                  </a:lnTo>
                  <a:lnTo>
                    <a:pt x="389" y="119"/>
                  </a:lnTo>
                  <a:lnTo>
                    <a:pt x="391" y="119"/>
                  </a:lnTo>
                  <a:lnTo>
                    <a:pt x="392" y="119"/>
                  </a:lnTo>
                  <a:lnTo>
                    <a:pt x="393" y="119"/>
                  </a:lnTo>
                  <a:lnTo>
                    <a:pt x="393" y="120"/>
                  </a:lnTo>
                  <a:lnTo>
                    <a:pt x="394" y="120"/>
                  </a:lnTo>
                  <a:lnTo>
                    <a:pt x="395" y="120"/>
                  </a:lnTo>
                  <a:lnTo>
                    <a:pt x="396" y="120"/>
                  </a:lnTo>
                  <a:lnTo>
                    <a:pt x="398" y="122"/>
                  </a:lnTo>
                  <a:lnTo>
                    <a:pt x="398" y="123"/>
                  </a:lnTo>
                  <a:lnTo>
                    <a:pt x="399" y="123"/>
                  </a:lnTo>
                  <a:lnTo>
                    <a:pt x="399" y="124"/>
                  </a:lnTo>
                  <a:lnTo>
                    <a:pt x="399" y="125"/>
                  </a:lnTo>
                  <a:lnTo>
                    <a:pt x="399" y="126"/>
                  </a:lnTo>
                  <a:lnTo>
                    <a:pt x="399" y="127"/>
                  </a:lnTo>
                  <a:lnTo>
                    <a:pt x="400" y="129"/>
                  </a:lnTo>
                  <a:lnTo>
                    <a:pt x="401" y="129"/>
                  </a:lnTo>
                  <a:lnTo>
                    <a:pt x="402" y="129"/>
                  </a:lnTo>
                  <a:lnTo>
                    <a:pt x="402" y="130"/>
                  </a:lnTo>
                  <a:lnTo>
                    <a:pt x="403" y="130"/>
                  </a:lnTo>
                  <a:lnTo>
                    <a:pt x="403" y="131"/>
                  </a:lnTo>
                  <a:lnTo>
                    <a:pt x="405" y="131"/>
                  </a:lnTo>
                  <a:lnTo>
                    <a:pt x="406" y="132"/>
                  </a:lnTo>
                  <a:lnTo>
                    <a:pt x="407" y="132"/>
                  </a:lnTo>
                  <a:lnTo>
                    <a:pt x="408" y="132"/>
                  </a:lnTo>
                  <a:lnTo>
                    <a:pt x="408" y="133"/>
                  </a:lnTo>
                  <a:lnTo>
                    <a:pt x="408" y="134"/>
                  </a:lnTo>
                  <a:lnTo>
                    <a:pt x="410" y="134"/>
                  </a:lnTo>
                  <a:lnTo>
                    <a:pt x="412" y="134"/>
                  </a:lnTo>
                  <a:lnTo>
                    <a:pt x="414" y="133"/>
                  </a:lnTo>
                  <a:lnTo>
                    <a:pt x="415" y="133"/>
                  </a:lnTo>
                  <a:lnTo>
                    <a:pt x="416" y="133"/>
                  </a:lnTo>
                  <a:lnTo>
                    <a:pt x="416" y="132"/>
                  </a:lnTo>
                  <a:lnTo>
                    <a:pt x="417" y="132"/>
                  </a:lnTo>
                  <a:lnTo>
                    <a:pt x="419" y="131"/>
                  </a:lnTo>
                  <a:lnTo>
                    <a:pt x="420" y="131"/>
                  </a:lnTo>
                  <a:lnTo>
                    <a:pt x="420" y="130"/>
                  </a:lnTo>
                  <a:lnTo>
                    <a:pt x="421" y="130"/>
                  </a:lnTo>
                  <a:lnTo>
                    <a:pt x="422" y="129"/>
                  </a:lnTo>
                  <a:lnTo>
                    <a:pt x="422" y="127"/>
                  </a:lnTo>
                  <a:lnTo>
                    <a:pt x="422" y="126"/>
                  </a:lnTo>
                  <a:lnTo>
                    <a:pt x="423" y="126"/>
                  </a:lnTo>
                  <a:lnTo>
                    <a:pt x="423" y="125"/>
                  </a:lnTo>
                  <a:lnTo>
                    <a:pt x="423" y="124"/>
                  </a:lnTo>
                  <a:lnTo>
                    <a:pt x="423" y="123"/>
                  </a:lnTo>
                  <a:lnTo>
                    <a:pt x="426" y="120"/>
                  </a:lnTo>
                  <a:lnTo>
                    <a:pt x="427" y="119"/>
                  </a:lnTo>
                  <a:lnTo>
                    <a:pt x="428" y="118"/>
                  </a:lnTo>
                  <a:lnTo>
                    <a:pt x="429" y="117"/>
                  </a:lnTo>
                  <a:lnTo>
                    <a:pt x="429" y="116"/>
                  </a:lnTo>
                  <a:lnTo>
                    <a:pt x="430" y="115"/>
                  </a:lnTo>
                  <a:lnTo>
                    <a:pt x="430" y="113"/>
                  </a:lnTo>
                  <a:lnTo>
                    <a:pt x="430" y="112"/>
                  </a:lnTo>
                  <a:lnTo>
                    <a:pt x="431" y="112"/>
                  </a:lnTo>
                  <a:lnTo>
                    <a:pt x="431" y="111"/>
                  </a:lnTo>
                  <a:lnTo>
                    <a:pt x="431" y="110"/>
                  </a:lnTo>
                  <a:lnTo>
                    <a:pt x="433" y="109"/>
                  </a:lnTo>
                  <a:lnTo>
                    <a:pt x="433" y="108"/>
                  </a:lnTo>
                  <a:lnTo>
                    <a:pt x="433" y="106"/>
                  </a:lnTo>
                  <a:lnTo>
                    <a:pt x="433" y="105"/>
                  </a:lnTo>
                  <a:lnTo>
                    <a:pt x="434" y="105"/>
                  </a:lnTo>
                  <a:lnTo>
                    <a:pt x="434" y="104"/>
                  </a:lnTo>
                  <a:lnTo>
                    <a:pt x="435" y="102"/>
                  </a:lnTo>
                  <a:lnTo>
                    <a:pt x="435" y="98"/>
                  </a:lnTo>
                  <a:lnTo>
                    <a:pt x="437" y="96"/>
                  </a:lnTo>
                  <a:lnTo>
                    <a:pt x="437" y="95"/>
                  </a:lnTo>
                  <a:lnTo>
                    <a:pt x="438" y="95"/>
                  </a:lnTo>
                  <a:lnTo>
                    <a:pt x="437" y="94"/>
                  </a:lnTo>
                  <a:lnTo>
                    <a:pt x="438" y="94"/>
                  </a:lnTo>
                  <a:lnTo>
                    <a:pt x="438" y="92"/>
                  </a:lnTo>
                  <a:lnTo>
                    <a:pt x="440" y="91"/>
                  </a:lnTo>
                  <a:lnTo>
                    <a:pt x="440" y="90"/>
                  </a:lnTo>
                  <a:lnTo>
                    <a:pt x="438" y="90"/>
                  </a:lnTo>
                  <a:lnTo>
                    <a:pt x="440" y="90"/>
                  </a:lnTo>
                  <a:lnTo>
                    <a:pt x="438" y="89"/>
                  </a:lnTo>
                  <a:lnTo>
                    <a:pt x="438" y="85"/>
                  </a:lnTo>
                  <a:lnTo>
                    <a:pt x="438" y="84"/>
                  </a:lnTo>
                  <a:lnTo>
                    <a:pt x="438" y="83"/>
                  </a:lnTo>
                  <a:lnTo>
                    <a:pt x="438" y="82"/>
                  </a:lnTo>
                  <a:lnTo>
                    <a:pt x="440" y="80"/>
                  </a:lnTo>
                  <a:lnTo>
                    <a:pt x="441" y="78"/>
                  </a:lnTo>
                  <a:lnTo>
                    <a:pt x="441" y="77"/>
                  </a:lnTo>
                  <a:lnTo>
                    <a:pt x="441" y="76"/>
                  </a:lnTo>
                  <a:lnTo>
                    <a:pt x="440" y="76"/>
                  </a:lnTo>
                  <a:lnTo>
                    <a:pt x="440" y="75"/>
                  </a:lnTo>
                  <a:lnTo>
                    <a:pt x="440" y="73"/>
                  </a:lnTo>
                  <a:lnTo>
                    <a:pt x="440" y="71"/>
                  </a:lnTo>
                  <a:lnTo>
                    <a:pt x="441" y="68"/>
                  </a:lnTo>
                  <a:lnTo>
                    <a:pt x="442" y="68"/>
                  </a:lnTo>
                  <a:lnTo>
                    <a:pt x="442" y="67"/>
                  </a:lnTo>
                  <a:lnTo>
                    <a:pt x="443" y="66"/>
                  </a:lnTo>
                  <a:lnTo>
                    <a:pt x="443" y="64"/>
                  </a:lnTo>
                  <a:lnTo>
                    <a:pt x="443" y="66"/>
                  </a:lnTo>
                  <a:lnTo>
                    <a:pt x="443" y="64"/>
                  </a:lnTo>
                  <a:lnTo>
                    <a:pt x="444" y="63"/>
                  </a:lnTo>
                  <a:lnTo>
                    <a:pt x="443" y="62"/>
                  </a:lnTo>
                  <a:lnTo>
                    <a:pt x="443" y="61"/>
                  </a:lnTo>
                  <a:lnTo>
                    <a:pt x="443" y="60"/>
                  </a:lnTo>
                  <a:lnTo>
                    <a:pt x="443" y="59"/>
                  </a:lnTo>
                  <a:lnTo>
                    <a:pt x="444" y="59"/>
                  </a:lnTo>
                  <a:lnTo>
                    <a:pt x="444" y="57"/>
                  </a:lnTo>
                  <a:lnTo>
                    <a:pt x="445" y="57"/>
                  </a:lnTo>
                  <a:lnTo>
                    <a:pt x="445" y="56"/>
                  </a:lnTo>
                  <a:lnTo>
                    <a:pt x="446" y="55"/>
                  </a:lnTo>
                  <a:lnTo>
                    <a:pt x="446" y="54"/>
                  </a:lnTo>
                  <a:lnTo>
                    <a:pt x="446" y="55"/>
                  </a:lnTo>
                  <a:lnTo>
                    <a:pt x="446" y="54"/>
                  </a:lnTo>
                  <a:lnTo>
                    <a:pt x="448" y="54"/>
                  </a:lnTo>
                  <a:lnTo>
                    <a:pt x="448" y="55"/>
                  </a:lnTo>
                  <a:lnTo>
                    <a:pt x="448" y="56"/>
                  </a:lnTo>
                  <a:lnTo>
                    <a:pt x="448" y="57"/>
                  </a:lnTo>
                  <a:lnTo>
                    <a:pt x="448" y="56"/>
                  </a:lnTo>
                  <a:lnTo>
                    <a:pt x="448" y="55"/>
                  </a:lnTo>
                  <a:lnTo>
                    <a:pt x="449" y="55"/>
                  </a:lnTo>
                  <a:lnTo>
                    <a:pt x="448" y="55"/>
                  </a:lnTo>
                  <a:lnTo>
                    <a:pt x="448" y="54"/>
                  </a:lnTo>
                  <a:lnTo>
                    <a:pt x="446" y="54"/>
                  </a:lnTo>
                  <a:lnTo>
                    <a:pt x="448" y="54"/>
                  </a:lnTo>
                  <a:lnTo>
                    <a:pt x="448" y="53"/>
                  </a:lnTo>
                  <a:lnTo>
                    <a:pt x="449" y="53"/>
                  </a:lnTo>
                  <a:lnTo>
                    <a:pt x="448" y="53"/>
                  </a:lnTo>
                  <a:lnTo>
                    <a:pt x="446" y="53"/>
                  </a:lnTo>
                  <a:lnTo>
                    <a:pt x="446" y="52"/>
                  </a:lnTo>
                  <a:lnTo>
                    <a:pt x="445" y="52"/>
                  </a:lnTo>
                  <a:lnTo>
                    <a:pt x="446" y="52"/>
                  </a:lnTo>
                  <a:lnTo>
                    <a:pt x="446" y="50"/>
                  </a:lnTo>
                  <a:lnTo>
                    <a:pt x="445" y="50"/>
                  </a:lnTo>
                  <a:lnTo>
                    <a:pt x="445" y="52"/>
                  </a:lnTo>
                  <a:lnTo>
                    <a:pt x="445" y="53"/>
                  </a:lnTo>
                  <a:lnTo>
                    <a:pt x="444" y="53"/>
                  </a:lnTo>
                  <a:lnTo>
                    <a:pt x="444" y="52"/>
                  </a:lnTo>
                  <a:lnTo>
                    <a:pt x="445" y="48"/>
                  </a:lnTo>
                  <a:lnTo>
                    <a:pt x="446" y="48"/>
                  </a:lnTo>
                  <a:lnTo>
                    <a:pt x="446" y="47"/>
                  </a:lnTo>
                  <a:lnTo>
                    <a:pt x="448" y="47"/>
                  </a:lnTo>
                  <a:lnTo>
                    <a:pt x="446" y="47"/>
                  </a:lnTo>
                  <a:lnTo>
                    <a:pt x="448" y="46"/>
                  </a:lnTo>
                  <a:lnTo>
                    <a:pt x="448" y="45"/>
                  </a:lnTo>
                  <a:lnTo>
                    <a:pt x="449" y="43"/>
                  </a:lnTo>
                  <a:lnTo>
                    <a:pt x="450" y="43"/>
                  </a:lnTo>
                  <a:lnTo>
                    <a:pt x="449" y="43"/>
                  </a:lnTo>
                  <a:lnTo>
                    <a:pt x="450" y="45"/>
                  </a:lnTo>
                  <a:lnTo>
                    <a:pt x="449" y="46"/>
                  </a:lnTo>
                  <a:lnTo>
                    <a:pt x="450" y="45"/>
                  </a:lnTo>
                  <a:lnTo>
                    <a:pt x="451" y="45"/>
                  </a:lnTo>
                  <a:lnTo>
                    <a:pt x="451" y="43"/>
                  </a:lnTo>
                  <a:lnTo>
                    <a:pt x="450" y="43"/>
                  </a:lnTo>
                  <a:lnTo>
                    <a:pt x="450" y="42"/>
                  </a:lnTo>
                  <a:lnTo>
                    <a:pt x="451" y="41"/>
                  </a:lnTo>
                  <a:lnTo>
                    <a:pt x="451" y="40"/>
                  </a:lnTo>
                  <a:lnTo>
                    <a:pt x="451" y="39"/>
                  </a:lnTo>
                  <a:lnTo>
                    <a:pt x="453" y="33"/>
                  </a:lnTo>
                  <a:lnTo>
                    <a:pt x="453" y="32"/>
                  </a:lnTo>
                  <a:lnTo>
                    <a:pt x="455" y="32"/>
                  </a:lnTo>
                  <a:lnTo>
                    <a:pt x="455" y="31"/>
                  </a:lnTo>
                  <a:lnTo>
                    <a:pt x="455" y="29"/>
                  </a:lnTo>
                  <a:lnTo>
                    <a:pt x="455" y="27"/>
                  </a:lnTo>
                  <a:lnTo>
                    <a:pt x="456" y="27"/>
                  </a:lnTo>
                  <a:lnTo>
                    <a:pt x="456" y="26"/>
                  </a:lnTo>
                  <a:lnTo>
                    <a:pt x="457" y="26"/>
                  </a:lnTo>
                  <a:lnTo>
                    <a:pt x="458" y="26"/>
                  </a:lnTo>
                  <a:lnTo>
                    <a:pt x="458" y="25"/>
                  </a:lnTo>
                  <a:lnTo>
                    <a:pt x="459" y="25"/>
                  </a:lnTo>
                  <a:lnTo>
                    <a:pt x="459" y="24"/>
                  </a:lnTo>
                  <a:lnTo>
                    <a:pt x="460" y="24"/>
                  </a:lnTo>
                  <a:lnTo>
                    <a:pt x="460" y="22"/>
                  </a:lnTo>
                  <a:lnTo>
                    <a:pt x="460" y="24"/>
                  </a:lnTo>
                  <a:close/>
                  <a:moveTo>
                    <a:pt x="457" y="24"/>
                  </a:moveTo>
                  <a:lnTo>
                    <a:pt x="456" y="24"/>
                  </a:lnTo>
                  <a:lnTo>
                    <a:pt x="455" y="24"/>
                  </a:lnTo>
                  <a:lnTo>
                    <a:pt x="455" y="22"/>
                  </a:lnTo>
                  <a:lnTo>
                    <a:pt x="456" y="22"/>
                  </a:lnTo>
                  <a:lnTo>
                    <a:pt x="456" y="21"/>
                  </a:lnTo>
                  <a:lnTo>
                    <a:pt x="457" y="21"/>
                  </a:lnTo>
                  <a:lnTo>
                    <a:pt x="457" y="22"/>
                  </a:lnTo>
                  <a:lnTo>
                    <a:pt x="457" y="24"/>
                  </a:lnTo>
                  <a:close/>
                  <a:moveTo>
                    <a:pt x="458" y="22"/>
                  </a:moveTo>
                  <a:lnTo>
                    <a:pt x="457" y="22"/>
                  </a:lnTo>
                  <a:lnTo>
                    <a:pt x="457" y="21"/>
                  </a:lnTo>
                  <a:lnTo>
                    <a:pt x="458" y="21"/>
                  </a:lnTo>
                  <a:lnTo>
                    <a:pt x="458" y="22"/>
                  </a:lnTo>
                  <a:close/>
                  <a:moveTo>
                    <a:pt x="458" y="15"/>
                  </a:moveTo>
                  <a:lnTo>
                    <a:pt x="458" y="17"/>
                  </a:lnTo>
                  <a:lnTo>
                    <a:pt x="458" y="15"/>
                  </a:lnTo>
                  <a:lnTo>
                    <a:pt x="457" y="15"/>
                  </a:lnTo>
                  <a:lnTo>
                    <a:pt x="457" y="14"/>
                  </a:lnTo>
                  <a:lnTo>
                    <a:pt x="458" y="14"/>
                  </a:lnTo>
                  <a:lnTo>
                    <a:pt x="459" y="14"/>
                  </a:lnTo>
                  <a:lnTo>
                    <a:pt x="459" y="15"/>
                  </a:lnTo>
                  <a:lnTo>
                    <a:pt x="458" y="15"/>
                  </a:lnTo>
                  <a:close/>
                  <a:moveTo>
                    <a:pt x="457" y="15"/>
                  </a:moveTo>
                  <a:lnTo>
                    <a:pt x="456" y="15"/>
                  </a:lnTo>
                  <a:lnTo>
                    <a:pt x="456" y="14"/>
                  </a:lnTo>
                  <a:lnTo>
                    <a:pt x="456" y="13"/>
                  </a:lnTo>
                  <a:lnTo>
                    <a:pt x="457" y="13"/>
                  </a:lnTo>
                  <a:lnTo>
                    <a:pt x="457" y="14"/>
                  </a:lnTo>
                  <a:lnTo>
                    <a:pt x="457" y="15"/>
                  </a:lnTo>
                  <a:close/>
                  <a:moveTo>
                    <a:pt x="466" y="3"/>
                  </a:moveTo>
                  <a:lnTo>
                    <a:pt x="465" y="3"/>
                  </a:lnTo>
                  <a:lnTo>
                    <a:pt x="464" y="3"/>
                  </a:lnTo>
                  <a:lnTo>
                    <a:pt x="465" y="3"/>
                  </a:lnTo>
                  <a:lnTo>
                    <a:pt x="466" y="1"/>
                  </a:lnTo>
                  <a:lnTo>
                    <a:pt x="466" y="3"/>
                  </a:lnTo>
                  <a:close/>
                  <a:moveTo>
                    <a:pt x="459" y="0"/>
                  </a:moveTo>
                  <a:lnTo>
                    <a:pt x="458" y="0"/>
                  </a:lnTo>
                  <a:lnTo>
                    <a:pt x="459"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8" name="Freeform 831">
              <a:extLst>
                <a:ext uri="{FF2B5EF4-FFF2-40B4-BE49-F238E27FC236}">
                  <a16:creationId xmlns:a16="http://schemas.microsoft.com/office/drawing/2014/main" id="{79803792-047B-4281-8C0D-8961E24A8AE2}"/>
                </a:ext>
              </a:extLst>
            </p:cNvPr>
            <p:cNvSpPr>
              <a:spLocks/>
            </p:cNvSpPr>
            <p:nvPr/>
          </p:nvSpPr>
          <p:spPr bwMode="auto">
            <a:xfrm>
              <a:off x="5964015" y="2316195"/>
              <a:ext cx="124201" cy="53420"/>
            </a:xfrm>
            <a:custGeom>
              <a:avLst/>
              <a:gdLst>
                <a:gd name="T0" fmla="*/ 88 w 93"/>
                <a:gd name="T1" fmla="*/ 9 h 40"/>
                <a:gd name="T2" fmla="*/ 91 w 93"/>
                <a:gd name="T3" fmla="*/ 13 h 40"/>
                <a:gd name="T4" fmla="*/ 92 w 93"/>
                <a:gd name="T5" fmla="*/ 15 h 40"/>
                <a:gd name="T6" fmla="*/ 92 w 93"/>
                <a:gd name="T7" fmla="*/ 19 h 40"/>
                <a:gd name="T8" fmla="*/ 87 w 93"/>
                <a:gd name="T9" fmla="*/ 20 h 40"/>
                <a:gd name="T10" fmla="*/ 84 w 93"/>
                <a:gd name="T11" fmla="*/ 21 h 40"/>
                <a:gd name="T12" fmla="*/ 87 w 93"/>
                <a:gd name="T13" fmla="*/ 23 h 40"/>
                <a:gd name="T14" fmla="*/ 85 w 93"/>
                <a:gd name="T15" fmla="*/ 28 h 40"/>
                <a:gd name="T16" fmla="*/ 86 w 93"/>
                <a:gd name="T17" fmla="*/ 30 h 40"/>
                <a:gd name="T18" fmla="*/ 83 w 93"/>
                <a:gd name="T19" fmla="*/ 30 h 40"/>
                <a:gd name="T20" fmla="*/ 79 w 93"/>
                <a:gd name="T21" fmla="*/ 34 h 40"/>
                <a:gd name="T22" fmla="*/ 80 w 93"/>
                <a:gd name="T23" fmla="*/ 35 h 40"/>
                <a:gd name="T24" fmla="*/ 76 w 93"/>
                <a:gd name="T25" fmla="*/ 36 h 40"/>
                <a:gd name="T26" fmla="*/ 72 w 93"/>
                <a:gd name="T27" fmla="*/ 36 h 40"/>
                <a:gd name="T28" fmla="*/ 66 w 93"/>
                <a:gd name="T29" fmla="*/ 37 h 40"/>
                <a:gd name="T30" fmla="*/ 63 w 93"/>
                <a:gd name="T31" fmla="*/ 40 h 40"/>
                <a:gd name="T32" fmla="*/ 57 w 93"/>
                <a:gd name="T33" fmla="*/ 39 h 40"/>
                <a:gd name="T34" fmla="*/ 51 w 93"/>
                <a:gd name="T35" fmla="*/ 39 h 40"/>
                <a:gd name="T36" fmla="*/ 45 w 93"/>
                <a:gd name="T37" fmla="*/ 37 h 40"/>
                <a:gd name="T38" fmla="*/ 37 w 93"/>
                <a:gd name="T39" fmla="*/ 36 h 40"/>
                <a:gd name="T40" fmla="*/ 34 w 93"/>
                <a:gd name="T41" fmla="*/ 33 h 40"/>
                <a:gd name="T42" fmla="*/ 33 w 93"/>
                <a:gd name="T43" fmla="*/ 30 h 40"/>
                <a:gd name="T44" fmla="*/ 28 w 93"/>
                <a:gd name="T45" fmla="*/ 30 h 40"/>
                <a:gd name="T46" fmla="*/ 23 w 93"/>
                <a:gd name="T47" fmla="*/ 30 h 40"/>
                <a:gd name="T48" fmla="*/ 19 w 93"/>
                <a:gd name="T49" fmla="*/ 33 h 40"/>
                <a:gd name="T50" fmla="*/ 15 w 93"/>
                <a:gd name="T51" fmla="*/ 33 h 40"/>
                <a:gd name="T52" fmla="*/ 10 w 93"/>
                <a:gd name="T53" fmla="*/ 32 h 40"/>
                <a:gd name="T54" fmla="*/ 8 w 93"/>
                <a:gd name="T55" fmla="*/ 33 h 40"/>
                <a:gd name="T56" fmla="*/ 3 w 93"/>
                <a:gd name="T57" fmla="*/ 30 h 40"/>
                <a:gd name="T58" fmla="*/ 1 w 93"/>
                <a:gd name="T59" fmla="*/ 29 h 40"/>
                <a:gd name="T60" fmla="*/ 0 w 93"/>
                <a:gd name="T61" fmla="*/ 25 h 40"/>
                <a:gd name="T62" fmla="*/ 0 w 93"/>
                <a:gd name="T63" fmla="*/ 23 h 40"/>
                <a:gd name="T64" fmla="*/ 2 w 93"/>
                <a:gd name="T65" fmla="*/ 21 h 40"/>
                <a:gd name="T66" fmla="*/ 5 w 93"/>
                <a:gd name="T67" fmla="*/ 22 h 40"/>
                <a:gd name="T68" fmla="*/ 8 w 93"/>
                <a:gd name="T69" fmla="*/ 25 h 40"/>
                <a:gd name="T70" fmla="*/ 8 w 93"/>
                <a:gd name="T71" fmla="*/ 26 h 40"/>
                <a:gd name="T72" fmla="*/ 10 w 93"/>
                <a:gd name="T73" fmla="*/ 21 h 40"/>
                <a:gd name="T74" fmla="*/ 15 w 93"/>
                <a:gd name="T75" fmla="*/ 22 h 40"/>
                <a:gd name="T76" fmla="*/ 19 w 93"/>
                <a:gd name="T77" fmla="*/ 25 h 40"/>
                <a:gd name="T78" fmla="*/ 22 w 93"/>
                <a:gd name="T79" fmla="*/ 22 h 40"/>
                <a:gd name="T80" fmla="*/ 27 w 93"/>
                <a:gd name="T81" fmla="*/ 21 h 40"/>
                <a:gd name="T82" fmla="*/ 33 w 93"/>
                <a:gd name="T83" fmla="*/ 21 h 40"/>
                <a:gd name="T84" fmla="*/ 35 w 93"/>
                <a:gd name="T85" fmla="*/ 20 h 40"/>
                <a:gd name="T86" fmla="*/ 38 w 93"/>
                <a:gd name="T87" fmla="*/ 20 h 40"/>
                <a:gd name="T88" fmla="*/ 41 w 93"/>
                <a:gd name="T89" fmla="*/ 23 h 40"/>
                <a:gd name="T90" fmla="*/ 43 w 93"/>
                <a:gd name="T91" fmla="*/ 20 h 40"/>
                <a:gd name="T92" fmla="*/ 41 w 93"/>
                <a:gd name="T93" fmla="*/ 16 h 40"/>
                <a:gd name="T94" fmla="*/ 40 w 93"/>
                <a:gd name="T95" fmla="*/ 12 h 40"/>
                <a:gd name="T96" fmla="*/ 44 w 93"/>
                <a:gd name="T97" fmla="*/ 11 h 40"/>
                <a:gd name="T98" fmla="*/ 46 w 93"/>
                <a:gd name="T99" fmla="*/ 6 h 40"/>
                <a:gd name="T100" fmla="*/ 50 w 93"/>
                <a:gd name="T101" fmla="*/ 6 h 40"/>
                <a:gd name="T102" fmla="*/ 50 w 93"/>
                <a:gd name="T103" fmla="*/ 4 h 40"/>
                <a:gd name="T104" fmla="*/ 55 w 93"/>
                <a:gd name="T105" fmla="*/ 6 h 40"/>
                <a:gd name="T106" fmla="*/ 59 w 93"/>
                <a:gd name="T107" fmla="*/ 6 h 40"/>
                <a:gd name="T108" fmla="*/ 64 w 93"/>
                <a:gd name="T109" fmla="*/ 4 h 40"/>
                <a:gd name="T110" fmla="*/ 65 w 93"/>
                <a:gd name="T111" fmla="*/ 0 h 40"/>
                <a:gd name="T112" fmla="*/ 69 w 93"/>
                <a:gd name="T113" fmla="*/ 0 h 40"/>
                <a:gd name="T114" fmla="*/ 73 w 93"/>
                <a:gd name="T115" fmla="*/ 2 h 40"/>
                <a:gd name="T116" fmla="*/ 77 w 93"/>
                <a:gd name="T117" fmla="*/ 2 h 40"/>
                <a:gd name="T118" fmla="*/ 83 w 93"/>
                <a:gd name="T119" fmla="*/ 2 h 40"/>
                <a:gd name="T120" fmla="*/ 88 w 93"/>
                <a:gd name="T121"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 h="40">
                  <a:moveTo>
                    <a:pt x="90" y="6"/>
                  </a:moveTo>
                  <a:lnTo>
                    <a:pt x="90" y="7"/>
                  </a:lnTo>
                  <a:lnTo>
                    <a:pt x="88" y="7"/>
                  </a:lnTo>
                  <a:lnTo>
                    <a:pt x="88" y="8"/>
                  </a:lnTo>
                  <a:lnTo>
                    <a:pt x="88" y="9"/>
                  </a:lnTo>
                  <a:lnTo>
                    <a:pt x="90" y="9"/>
                  </a:lnTo>
                  <a:lnTo>
                    <a:pt x="90" y="11"/>
                  </a:lnTo>
                  <a:lnTo>
                    <a:pt x="90" y="12"/>
                  </a:lnTo>
                  <a:lnTo>
                    <a:pt x="91" y="12"/>
                  </a:lnTo>
                  <a:lnTo>
                    <a:pt x="91" y="13"/>
                  </a:lnTo>
                  <a:lnTo>
                    <a:pt x="92" y="13"/>
                  </a:lnTo>
                  <a:lnTo>
                    <a:pt x="92" y="14"/>
                  </a:lnTo>
                  <a:lnTo>
                    <a:pt x="92" y="15"/>
                  </a:lnTo>
                  <a:lnTo>
                    <a:pt x="93" y="15"/>
                  </a:lnTo>
                  <a:lnTo>
                    <a:pt x="92" y="15"/>
                  </a:lnTo>
                  <a:lnTo>
                    <a:pt x="92" y="16"/>
                  </a:lnTo>
                  <a:lnTo>
                    <a:pt x="92" y="18"/>
                  </a:lnTo>
                  <a:lnTo>
                    <a:pt x="91" y="18"/>
                  </a:lnTo>
                  <a:lnTo>
                    <a:pt x="92" y="18"/>
                  </a:lnTo>
                  <a:lnTo>
                    <a:pt x="92" y="19"/>
                  </a:lnTo>
                  <a:lnTo>
                    <a:pt x="92" y="20"/>
                  </a:lnTo>
                  <a:lnTo>
                    <a:pt x="91" y="20"/>
                  </a:lnTo>
                  <a:lnTo>
                    <a:pt x="90" y="20"/>
                  </a:lnTo>
                  <a:lnTo>
                    <a:pt x="88" y="20"/>
                  </a:lnTo>
                  <a:lnTo>
                    <a:pt x="87" y="20"/>
                  </a:lnTo>
                  <a:lnTo>
                    <a:pt x="86" y="19"/>
                  </a:lnTo>
                  <a:lnTo>
                    <a:pt x="85" y="19"/>
                  </a:lnTo>
                  <a:lnTo>
                    <a:pt x="85" y="20"/>
                  </a:lnTo>
                  <a:lnTo>
                    <a:pt x="84" y="20"/>
                  </a:lnTo>
                  <a:lnTo>
                    <a:pt x="84" y="21"/>
                  </a:lnTo>
                  <a:lnTo>
                    <a:pt x="85" y="21"/>
                  </a:lnTo>
                  <a:lnTo>
                    <a:pt x="86" y="21"/>
                  </a:lnTo>
                  <a:lnTo>
                    <a:pt x="87" y="21"/>
                  </a:lnTo>
                  <a:lnTo>
                    <a:pt x="87" y="22"/>
                  </a:lnTo>
                  <a:lnTo>
                    <a:pt x="87" y="23"/>
                  </a:lnTo>
                  <a:lnTo>
                    <a:pt x="86" y="25"/>
                  </a:lnTo>
                  <a:lnTo>
                    <a:pt x="85" y="25"/>
                  </a:lnTo>
                  <a:lnTo>
                    <a:pt x="85" y="26"/>
                  </a:lnTo>
                  <a:lnTo>
                    <a:pt x="85" y="27"/>
                  </a:lnTo>
                  <a:lnTo>
                    <a:pt x="85" y="28"/>
                  </a:lnTo>
                  <a:lnTo>
                    <a:pt x="86" y="28"/>
                  </a:lnTo>
                  <a:lnTo>
                    <a:pt x="86" y="29"/>
                  </a:lnTo>
                  <a:lnTo>
                    <a:pt x="85" y="29"/>
                  </a:lnTo>
                  <a:lnTo>
                    <a:pt x="86" y="29"/>
                  </a:lnTo>
                  <a:lnTo>
                    <a:pt x="86" y="30"/>
                  </a:lnTo>
                  <a:lnTo>
                    <a:pt x="85" y="30"/>
                  </a:lnTo>
                  <a:lnTo>
                    <a:pt x="86" y="30"/>
                  </a:lnTo>
                  <a:lnTo>
                    <a:pt x="85" y="30"/>
                  </a:lnTo>
                  <a:lnTo>
                    <a:pt x="84" y="30"/>
                  </a:lnTo>
                  <a:lnTo>
                    <a:pt x="83" y="30"/>
                  </a:lnTo>
                  <a:lnTo>
                    <a:pt x="83" y="32"/>
                  </a:lnTo>
                  <a:lnTo>
                    <a:pt x="81" y="32"/>
                  </a:lnTo>
                  <a:lnTo>
                    <a:pt x="81" y="33"/>
                  </a:lnTo>
                  <a:lnTo>
                    <a:pt x="80" y="33"/>
                  </a:lnTo>
                  <a:lnTo>
                    <a:pt x="79" y="34"/>
                  </a:lnTo>
                  <a:lnTo>
                    <a:pt x="80" y="34"/>
                  </a:lnTo>
                  <a:lnTo>
                    <a:pt x="79" y="34"/>
                  </a:lnTo>
                  <a:lnTo>
                    <a:pt x="80" y="35"/>
                  </a:lnTo>
                  <a:lnTo>
                    <a:pt x="80" y="36"/>
                  </a:lnTo>
                  <a:lnTo>
                    <a:pt x="80" y="35"/>
                  </a:lnTo>
                  <a:lnTo>
                    <a:pt x="79" y="35"/>
                  </a:lnTo>
                  <a:lnTo>
                    <a:pt x="78" y="35"/>
                  </a:lnTo>
                  <a:lnTo>
                    <a:pt x="77" y="35"/>
                  </a:lnTo>
                  <a:lnTo>
                    <a:pt x="76" y="35"/>
                  </a:lnTo>
                  <a:lnTo>
                    <a:pt x="76" y="36"/>
                  </a:lnTo>
                  <a:lnTo>
                    <a:pt x="76" y="35"/>
                  </a:lnTo>
                  <a:lnTo>
                    <a:pt x="74" y="35"/>
                  </a:lnTo>
                  <a:lnTo>
                    <a:pt x="74" y="36"/>
                  </a:lnTo>
                  <a:lnTo>
                    <a:pt x="73" y="36"/>
                  </a:lnTo>
                  <a:lnTo>
                    <a:pt x="72" y="36"/>
                  </a:lnTo>
                  <a:lnTo>
                    <a:pt x="70" y="36"/>
                  </a:lnTo>
                  <a:lnTo>
                    <a:pt x="69" y="36"/>
                  </a:lnTo>
                  <a:lnTo>
                    <a:pt x="67" y="36"/>
                  </a:lnTo>
                  <a:lnTo>
                    <a:pt x="66" y="36"/>
                  </a:lnTo>
                  <a:lnTo>
                    <a:pt x="66" y="37"/>
                  </a:lnTo>
                  <a:lnTo>
                    <a:pt x="65" y="37"/>
                  </a:lnTo>
                  <a:lnTo>
                    <a:pt x="65" y="39"/>
                  </a:lnTo>
                  <a:lnTo>
                    <a:pt x="64" y="39"/>
                  </a:lnTo>
                  <a:lnTo>
                    <a:pt x="64" y="40"/>
                  </a:lnTo>
                  <a:lnTo>
                    <a:pt x="63" y="40"/>
                  </a:lnTo>
                  <a:lnTo>
                    <a:pt x="62" y="40"/>
                  </a:lnTo>
                  <a:lnTo>
                    <a:pt x="60" y="40"/>
                  </a:lnTo>
                  <a:lnTo>
                    <a:pt x="58" y="40"/>
                  </a:lnTo>
                  <a:lnTo>
                    <a:pt x="57" y="40"/>
                  </a:lnTo>
                  <a:lnTo>
                    <a:pt x="57" y="39"/>
                  </a:lnTo>
                  <a:lnTo>
                    <a:pt x="56" y="39"/>
                  </a:lnTo>
                  <a:lnTo>
                    <a:pt x="55" y="39"/>
                  </a:lnTo>
                  <a:lnTo>
                    <a:pt x="53" y="39"/>
                  </a:lnTo>
                  <a:lnTo>
                    <a:pt x="52" y="39"/>
                  </a:lnTo>
                  <a:lnTo>
                    <a:pt x="51" y="39"/>
                  </a:lnTo>
                  <a:lnTo>
                    <a:pt x="50" y="37"/>
                  </a:lnTo>
                  <a:lnTo>
                    <a:pt x="49" y="37"/>
                  </a:lnTo>
                  <a:lnTo>
                    <a:pt x="48" y="37"/>
                  </a:lnTo>
                  <a:lnTo>
                    <a:pt x="46" y="37"/>
                  </a:lnTo>
                  <a:lnTo>
                    <a:pt x="45" y="37"/>
                  </a:lnTo>
                  <a:lnTo>
                    <a:pt x="44" y="37"/>
                  </a:lnTo>
                  <a:lnTo>
                    <a:pt x="41" y="36"/>
                  </a:lnTo>
                  <a:lnTo>
                    <a:pt x="40" y="36"/>
                  </a:lnTo>
                  <a:lnTo>
                    <a:pt x="38" y="36"/>
                  </a:lnTo>
                  <a:lnTo>
                    <a:pt x="37" y="36"/>
                  </a:lnTo>
                  <a:lnTo>
                    <a:pt x="36" y="35"/>
                  </a:lnTo>
                  <a:lnTo>
                    <a:pt x="35" y="35"/>
                  </a:lnTo>
                  <a:lnTo>
                    <a:pt x="35" y="34"/>
                  </a:lnTo>
                  <a:lnTo>
                    <a:pt x="34" y="34"/>
                  </a:lnTo>
                  <a:lnTo>
                    <a:pt x="34" y="33"/>
                  </a:lnTo>
                  <a:lnTo>
                    <a:pt x="33" y="33"/>
                  </a:lnTo>
                  <a:lnTo>
                    <a:pt x="33" y="32"/>
                  </a:lnTo>
                  <a:lnTo>
                    <a:pt x="31" y="32"/>
                  </a:lnTo>
                  <a:lnTo>
                    <a:pt x="31" y="30"/>
                  </a:lnTo>
                  <a:lnTo>
                    <a:pt x="33" y="30"/>
                  </a:lnTo>
                  <a:lnTo>
                    <a:pt x="33" y="29"/>
                  </a:lnTo>
                  <a:lnTo>
                    <a:pt x="31" y="29"/>
                  </a:lnTo>
                  <a:lnTo>
                    <a:pt x="30" y="30"/>
                  </a:lnTo>
                  <a:lnTo>
                    <a:pt x="29" y="30"/>
                  </a:lnTo>
                  <a:lnTo>
                    <a:pt x="28" y="30"/>
                  </a:lnTo>
                  <a:lnTo>
                    <a:pt x="27" y="32"/>
                  </a:lnTo>
                  <a:lnTo>
                    <a:pt x="27" y="30"/>
                  </a:lnTo>
                  <a:lnTo>
                    <a:pt x="26" y="30"/>
                  </a:lnTo>
                  <a:lnTo>
                    <a:pt x="24" y="30"/>
                  </a:lnTo>
                  <a:lnTo>
                    <a:pt x="23" y="30"/>
                  </a:lnTo>
                  <a:lnTo>
                    <a:pt x="23" y="32"/>
                  </a:lnTo>
                  <a:lnTo>
                    <a:pt x="22" y="30"/>
                  </a:lnTo>
                  <a:lnTo>
                    <a:pt x="21" y="30"/>
                  </a:lnTo>
                  <a:lnTo>
                    <a:pt x="20" y="32"/>
                  </a:lnTo>
                  <a:lnTo>
                    <a:pt x="19" y="33"/>
                  </a:lnTo>
                  <a:lnTo>
                    <a:pt x="19" y="34"/>
                  </a:lnTo>
                  <a:lnTo>
                    <a:pt x="17" y="34"/>
                  </a:lnTo>
                  <a:lnTo>
                    <a:pt x="16" y="34"/>
                  </a:lnTo>
                  <a:lnTo>
                    <a:pt x="15" y="34"/>
                  </a:lnTo>
                  <a:lnTo>
                    <a:pt x="15" y="33"/>
                  </a:lnTo>
                  <a:lnTo>
                    <a:pt x="14" y="33"/>
                  </a:lnTo>
                  <a:lnTo>
                    <a:pt x="13" y="33"/>
                  </a:lnTo>
                  <a:lnTo>
                    <a:pt x="12" y="33"/>
                  </a:lnTo>
                  <a:lnTo>
                    <a:pt x="12" y="32"/>
                  </a:lnTo>
                  <a:lnTo>
                    <a:pt x="10" y="32"/>
                  </a:lnTo>
                  <a:lnTo>
                    <a:pt x="10" y="30"/>
                  </a:lnTo>
                  <a:lnTo>
                    <a:pt x="9" y="30"/>
                  </a:lnTo>
                  <a:lnTo>
                    <a:pt x="9" y="32"/>
                  </a:lnTo>
                  <a:lnTo>
                    <a:pt x="8" y="32"/>
                  </a:lnTo>
                  <a:lnTo>
                    <a:pt x="8" y="33"/>
                  </a:lnTo>
                  <a:lnTo>
                    <a:pt x="7" y="33"/>
                  </a:lnTo>
                  <a:lnTo>
                    <a:pt x="6" y="33"/>
                  </a:lnTo>
                  <a:lnTo>
                    <a:pt x="5" y="32"/>
                  </a:lnTo>
                  <a:lnTo>
                    <a:pt x="3" y="32"/>
                  </a:lnTo>
                  <a:lnTo>
                    <a:pt x="3" y="30"/>
                  </a:lnTo>
                  <a:lnTo>
                    <a:pt x="5" y="30"/>
                  </a:lnTo>
                  <a:lnTo>
                    <a:pt x="3" y="30"/>
                  </a:lnTo>
                  <a:lnTo>
                    <a:pt x="1" y="29"/>
                  </a:lnTo>
                  <a:lnTo>
                    <a:pt x="0" y="29"/>
                  </a:lnTo>
                  <a:lnTo>
                    <a:pt x="1" y="29"/>
                  </a:lnTo>
                  <a:lnTo>
                    <a:pt x="1" y="28"/>
                  </a:lnTo>
                  <a:lnTo>
                    <a:pt x="0" y="28"/>
                  </a:lnTo>
                  <a:lnTo>
                    <a:pt x="0" y="27"/>
                  </a:lnTo>
                  <a:lnTo>
                    <a:pt x="0" y="26"/>
                  </a:lnTo>
                  <a:lnTo>
                    <a:pt x="0" y="25"/>
                  </a:lnTo>
                  <a:lnTo>
                    <a:pt x="1" y="25"/>
                  </a:lnTo>
                  <a:lnTo>
                    <a:pt x="1" y="23"/>
                  </a:lnTo>
                  <a:lnTo>
                    <a:pt x="0" y="23"/>
                  </a:lnTo>
                  <a:lnTo>
                    <a:pt x="0" y="22"/>
                  </a:lnTo>
                  <a:lnTo>
                    <a:pt x="0" y="23"/>
                  </a:lnTo>
                  <a:lnTo>
                    <a:pt x="1" y="22"/>
                  </a:lnTo>
                  <a:lnTo>
                    <a:pt x="1" y="23"/>
                  </a:lnTo>
                  <a:lnTo>
                    <a:pt x="1" y="22"/>
                  </a:lnTo>
                  <a:lnTo>
                    <a:pt x="2" y="22"/>
                  </a:lnTo>
                  <a:lnTo>
                    <a:pt x="2" y="21"/>
                  </a:lnTo>
                  <a:lnTo>
                    <a:pt x="2" y="22"/>
                  </a:lnTo>
                  <a:lnTo>
                    <a:pt x="3" y="22"/>
                  </a:lnTo>
                  <a:lnTo>
                    <a:pt x="2" y="22"/>
                  </a:lnTo>
                  <a:lnTo>
                    <a:pt x="3" y="22"/>
                  </a:lnTo>
                  <a:lnTo>
                    <a:pt x="5" y="22"/>
                  </a:lnTo>
                  <a:lnTo>
                    <a:pt x="5" y="23"/>
                  </a:lnTo>
                  <a:lnTo>
                    <a:pt x="6" y="23"/>
                  </a:lnTo>
                  <a:lnTo>
                    <a:pt x="6" y="25"/>
                  </a:lnTo>
                  <a:lnTo>
                    <a:pt x="7" y="25"/>
                  </a:lnTo>
                  <a:lnTo>
                    <a:pt x="8" y="25"/>
                  </a:lnTo>
                  <a:lnTo>
                    <a:pt x="8" y="26"/>
                  </a:lnTo>
                  <a:lnTo>
                    <a:pt x="7" y="26"/>
                  </a:lnTo>
                  <a:lnTo>
                    <a:pt x="7" y="27"/>
                  </a:lnTo>
                  <a:lnTo>
                    <a:pt x="8" y="27"/>
                  </a:lnTo>
                  <a:lnTo>
                    <a:pt x="8" y="26"/>
                  </a:lnTo>
                  <a:lnTo>
                    <a:pt x="9" y="26"/>
                  </a:lnTo>
                  <a:lnTo>
                    <a:pt x="10" y="25"/>
                  </a:lnTo>
                  <a:lnTo>
                    <a:pt x="10" y="23"/>
                  </a:lnTo>
                  <a:lnTo>
                    <a:pt x="10" y="22"/>
                  </a:lnTo>
                  <a:lnTo>
                    <a:pt x="10" y="21"/>
                  </a:lnTo>
                  <a:lnTo>
                    <a:pt x="10" y="22"/>
                  </a:lnTo>
                  <a:lnTo>
                    <a:pt x="12" y="22"/>
                  </a:lnTo>
                  <a:lnTo>
                    <a:pt x="13" y="22"/>
                  </a:lnTo>
                  <a:lnTo>
                    <a:pt x="14" y="22"/>
                  </a:lnTo>
                  <a:lnTo>
                    <a:pt x="15" y="22"/>
                  </a:lnTo>
                  <a:lnTo>
                    <a:pt x="16" y="22"/>
                  </a:lnTo>
                  <a:lnTo>
                    <a:pt x="16" y="23"/>
                  </a:lnTo>
                  <a:lnTo>
                    <a:pt x="17" y="23"/>
                  </a:lnTo>
                  <a:lnTo>
                    <a:pt x="17" y="25"/>
                  </a:lnTo>
                  <a:lnTo>
                    <a:pt x="19" y="25"/>
                  </a:lnTo>
                  <a:lnTo>
                    <a:pt x="20" y="25"/>
                  </a:lnTo>
                  <a:lnTo>
                    <a:pt x="21" y="25"/>
                  </a:lnTo>
                  <a:lnTo>
                    <a:pt x="21" y="23"/>
                  </a:lnTo>
                  <a:lnTo>
                    <a:pt x="22" y="23"/>
                  </a:lnTo>
                  <a:lnTo>
                    <a:pt x="22" y="22"/>
                  </a:lnTo>
                  <a:lnTo>
                    <a:pt x="23" y="22"/>
                  </a:lnTo>
                  <a:lnTo>
                    <a:pt x="23" y="23"/>
                  </a:lnTo>
                  <a:lnTo>
                    <a:pt x="24" y="22"/>
                  </a:lnTo>
                  <a:lnTo>
                    <a:pt x="26" y="21"/>
                  </a:lnTo>
                  <a:lnTo>
                    <a:pt x="27" y="21"/>
                  </a:lnTo>
                  <a:lnTo>
                    <a:pt x="28" y="22"/>
                  </a:lnTo>
                  <a:lnTo>
                    <a:pt x="28" y="21"/>
                  </a:lnTo>
                  <a:lnTo>
                    <a:pt x="29" y="21"/>
                  </a:lnTo>
                  <a:lnTo>
                    <a:pt x="31" y="21"/>
                  </a:lnTo>
                  <a:lnTo>
                    <a:pt x="33" y="21"/>
                  </a:lnTo>
                  <a:lnTo>
                    <a:pt x="33" y="20"/>
                  </a:lnTo>
                  <a:lnTo>
                    <a:pt x="31" y="20"/>
                  </a:lnTo>
                  <a:lnTo>
                    <a:pt x="33" y="20"/>
                  </a:lnTo>
                  <a:lnTo>
                    <a:pt x="34" y="20"/>
                  </a:lnTo>
                  <a:lnTo>
                    <a:pt x="35" y="20"/>
                  </a:lnTo>
                  <a:lnTo>
                    <a:pt x="35" y="21"/>
                  </a:lnTo>
                  <a:lnTo>
                    <a:pt x="36" y="21"/>
                  </a:lnTo>
                  <a:lnTo>
                    <a:pt x="37" y="21"/>
                  </a:lnTo>
                  <a:lnTo>
                    <a:pt x="37" y="20"/>
                  </a:lnTo>
                  <a:lnTo>
                    <a:pt x="38" y="20"/>
                  </a:lnTo>
                  <a:lnTo>
                    <a:pt x="40" y="20"/>
                  </a:lnTo>
                  <a:lnTo>
                    <a:pt x="40" y="21"/>
                  </a:lnTo>
                  <a:lnTo>
                    <a:pt x="40" y="22"/>
                  </a:lnTo>
                  <a:lnTo>
                    <a:pt x="41" y="22"/>
                  </a:lnTo>
                  <a:lnTo>
                    <a:pt x="41" y="23"/>
                  </a:lnTo>
                  <a:lnTo>
                    <a:pt x="42" y="23"/>
                  </a:lnTo>
                  <a:lnTo>
                    <a:pt x="43" y="23"/>
                  </a:lnTo>
                  <a:lnTo>
                    <a:pt x="43" y="22"/>
                  </a:lnTo>
                  <a:lnTo>
                    <a:pt x="43" y="21"/>
                  </a:lnTo>
                  <a:lnTo>
                    <a:pt x="43" y="20"/>
                  </a:lnTo>
                  <a:lnTo>
                    <a:pt x="42" y="20"/>
                  </a:lnTo>
                  <a:lnTo>
                    <a:pt x="41" y="20"/>
                  </a:lnTo>
                  <a:lnTo>
                    <a:pt x="41" y="19"/>
                  </a:lnTo>
                  <a:lnTo>
                    <a:pt x="42" y="18"/>
                  </a:lnTo>
                  <a:lnTo>
                    <a:pt x="41" y="16"/>
                  </a:lnTo>
                  <a:lnTo>
                    <a:pt x="40" y="15"/>
                  </a:lnTo>
                  <a:lnTo>
                    <a:pt x="38" y="14"/>
                  </a:lnTo>
                  <a:lnTo>
                    <a:pt x="38" y="13"/>
                  </a:lnTo>
                  <a:lnTo>
                    <a:pt x="40" y="13"/>
                  </a:lnTo>
                  <a:lnTo>
                    <a:pt x="40" y="12"/>
                  </a:lnTo>
                  <a:lnTo>
                    <a:pt x="41" y="12"/>
                  </a:lnTo>
                  <a:lnTo>
                    <a:pt x="42" y="12"/>
                  </a:lnTo>
                  <a:lnTo>
                    <a:pt x="42" y="11"/>
                  </a:lnTo>
                  <a:lnTo>
                    <a:pt x="43" y="11"/>
                  </a:lnTo>
                  <a:lnTo>
                    <a:pt x="44" y="11"/>
                  </a:lnTo>
                  <a:lnTo>
                    <a:pt x="45" y="11"/>
                  </a:lnTo>
                  <a:lnTo>
                    <a:pt x="46" y="9"/>
                  </a:lnTo>
                  <a:lnTo>
                    <a:pt x="46" y="8"/>
                  </a:lnTo>
                  <a:lnTo>
                    <a:pt x="46" y="7"/>
                  </a:lnTo>
                  <a:lnTo>
                    <a:pt x="46" y="6"/>
                  </a:lnTo>
                  <a:lnTo>
                    <a:pt x="48" y="6"/>
                  </a:lnTo>
                  <a:lnTo>
                    <a:pt x="49" y="6"/>
                  </a:lnTo>
                  <a:lnTo>
                    <a:pt x="49" y="7"/>
                  </a:lnTo>
                  <a:lnTo>
                    <a:pt x="50" y="7"/>
                  </a:lnTo>
                  <a:lnTo>
                    <a:pt x="50" y="6"/>
                  </a:lnTo>
                  <a:lnTo>
                    <a:pt x="51" y="6"/>
                  </a:lnTo>
                  <a:lnTo>
                    <a:pt x="51" y="5"/>
                  </a:lnTo>
                  <a:lnTo>
                    <a:pt x="50" y="4"/>
                  </a:lnTo>
                  <a:lnTo>
                    <a:pt x="50" y="5"/>
                  </a:lnTo>
                  <a:lnTo>
                    <a:pt x="50" y="4"/>
                  </a:lnTo>
                  <a:lnTo>
                    <a:pt x="51" y="4"/>
                  </a:lnTo>
                  <a:lnTo>
                    <a:pt x="52" y="4"/>
                  </a:lnTo>
                  <a:lnTo>
                    <a:pt x="53" y="5"/>
                  </a:lnTo>
                  <a:lnTo>
                    <a:pt x="53" y="6"/>
                  </a:lnTo>
                  <a:lnTo>
                    <a:pt x="55" y="6"/>
                  </a:lnTo>
                  <a:lnTo>
                    <a:pt x="56" y="6"/>
                  </a:lnTo>
                  <a:lnTo>
                    <a:pt x="57" y="7"/>
                  </a:lnTo>
                  <a:lnTo>
                    <a:pt x="58" y="6"/>
                  </a:lnTo>
                  <a:lnTo>
                    <a:pt x="59" y="5"/>
                  </a:lnTo>
                  <a:lnTo>
                    <a:pt x="59" y="6"/>
                  </a:lnTo>
                  <a:lnTo>
                    <a:pt x="60" y="6"/>
                  </a:lnTo>
                  <a:lnTo>
                    <a:pt x="62" y="6"/>
                  </a:lnTo>
                  <a:lnTo>
                    <a:pt x="62" y="5"/>
                  </a:lnTo>
                  <a:lnTo>
                    <a:pt x="63" y="4"/>
                  </a:lnTo>
                  <a:lnTo>
                    <a:pt x="64" y="4"/>
                  </a:lnTo>
                  <a:lnTo>
                    <a:pt x="65" y="4"/>
                  </a:lnTo>
                  <a:lnTo>
                    <a:pt x="64" y="2"/>
                  </a:lnTo>
                  <a:lnTo>
                    <a:pt x="65" y="2"/>
                  </a:lnTo>
                  <a:lnTo>
                    <a:pt x="65" y="1"/>
                  </a:lnTo>
                  <a:lnTo>
                    <a:pt x="65" y="0"/>
                  </a:lnTo>
                  <a:lnTo>
                    <a:pt x="66" y="0"/>
                  </a:lnTo>
                  <a:lnTo>
                    <a:pt x="66" y="1"/>
                  </a:lnTo>
                  <a:lnTo>
                    <a:pt x="67" y="1"/>
                  </a:lnTo>
                  <a:lnTo>
                    <a:pt x="67" y="0"/>
                  </a:lnTo>
                  <a:lnTo>
                    <a:pt x="69" y="0"/>
                  </a:lnTo>
                  <a:lnTo>
                    <a:pt x="70" y="0"/>
                  </a:lnTo>
                  <a:lnTo>
                    <a:pt x="71" y="0"/>
                  </a:lnTo>
                  <a:lnTo>
                    <a:pt x="71" y="1"/>
                  </a:lnTo>
                  <a:lnTo>
                    <a:pt x="72" y="1"/>
                  </a:lnTo>
                  <a:lnTo>
                    <a:pt x="73" y="2"/>
                  </a:lnTo>
                  <a:lnTo>
                    <a:pt x="74" y="2"/>
                  </a:lnTo>
                  <a:lnTo>
                    <a:pt x="74" y="1"/>
                  </a:lnTo>
                  <a:lnTo>
                    <a:pt x="76" y="1"/>
                  </a:lnTo>
                  <a:lnTo>
                    <a:pt x="76" y="2"/>
                  </a:lnTo>
                  <a:lnTo>
                    <a:pt x="77" y="2"/>
                  </a:lnTo>
                  <a:lnTo>
                    <a:pt x="78" y="4"/>
                  </a:lnTo>
                  <a:lnTo>
                    <a:pt x="79" y="4"/>
                  </a:lnTo>
                  <a:lnTo>
                    <a:pt x="81" y="4"/>
                  </a:lnTo>
                  <a:lnTo>
                    <a:pt x="83" y="4"/>
                  </a:lnTo>
                  <a:lnTo>
                    <a:pt x="83" y="2"/>
                  </a:lnTo>
                  <a:lnTo>
                    <a:pt x="84" y="2"/>
                  </a:lnTo>
                  <a:lnTo>
                    <a:pt x="85" y="4"/>
                  </a:lnTo>
                  <a:lnTo>
                    <a:pt x="86" y="4"/>
                  </a:lnTo>
                  <a:lnTo>
                    <a:pt x="87" y="5"/>
                  </a:lnTo>
                  <a:lnTo>
                    <a:pt x="88" y="4"/>
                  </a:lnTo>
                  <a:lnTo>
                    <a:pt x="88" y="5"/>
                  </a:lnTo>
                  <a:lnTo>
                    <a:pt x="88" y="6"/>
                  </a:lnTo>
                  <a:lnTo>
                    <a:pt x="90" y="6"/>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9" name="Freeform 832">
              <a:extLst>
                <a:ext uri="{FF2B5EF4-FFF2-40B4-BE49-F238E27FC236}">
                  <a16:creationId xmlns:a16="http://schemas.microsoft.com/office/drawing/2014/main" id="{AC0388AC-CFE4-4F9D-AE01-136307878ECC}"/>
                </a:ext>
              </a:extLst>
            </p:cNvPr>
            <p:cNvSpPr>
              <a:spLocks noEditPoints="1"/>
            </p:cNvSpPr>
            <p:nvPr/>
          </p:nvSpPr>
          <p:spPr bwMode="auto">
            <a:xfrm>
              <a:off x="6574334" y="2463099"/>
              <a:ext cx="100162" cy="74787"/>
            </a:xfrm>
            <a:custGeom>
              <a:avLst/>
              <a:gdLst>
                <a:gd name="T0" fmla="*/ 8 w 75"/>
                <a:gd name="T1" fmla="*/ 36 h 56"/>
                <a:gd name="T2" fmla="*/ 15 w 75"/>
                <a:gd name="T3" fmla="*/ 37 h 56"/>
                <a:gd name="T4" fmla="*/ 18 w 75"/>
                <a:gd name="T5" fmla="*/ 42 h 56"/>
                <a:gd name="T6" fmla="*/ 20 w 75"/>
                <a:gd name="T7" fmla="*/ 46 h 56"/>
                <a:gd name="T8" fmla="*/ 13 w 75"/>
                <a:gd name="T9" fmla="*/ 46 h 56"/>
                <a:gd name="T10" fmla="*/ 8 w 75"/>
                <a:gd name="T11" fmla="*/ 42 h 56"/>
                <a:gd name="T12" fmla="*/ 5 w 75"/>
                <a:gd name="T13" fmla="*/ 38 h 56"/>
                <a:gd name="T14" fmla="*/ 3 w 75"/>
                <a:gd name="T15" fmla="*/ 35 h 56"/>
                <a:gd name="T16" fmla="*/ 74 w 75"/>
                <a:gd name="T17" fmla="*/ 24 h 56"/>
                <a:gd name="T18" fmla="*/ 70 w 75"/>
                <a:gd name="T19" fmla="*/ 22 h 56"/>
                <a:gd name="T20" fmla="*/ 0 w 75"/>
                <a:gd name="T21" fmla="*/ 13 h 56"/>
                <a:gd name="T22" fmla="*/ 19 w 75"/>
                <a:gd name="T23" fmla="*/ 1 h 56"/>
                <a:gd name="T24" fmla="*/ 24 w 75"/>
                <a:gd name="T25" fmla="*/ 3 h 56"/>
                <a:gd name="T26" fmla="*/ 27 w 75"/>
                <a:gd name="T27" fmla="*/ 7 h 56"/>
                <a:gd name="T28" fmla="*/ 33 w 75"/>
                <a:gd name="T29" fmla="*/ 11 h 56"/>
                <a:gd name="T30" fmla="*/ 36 w 75"/>
                <a:gd name="T31" fmla="*/ 10 h 56"/>
                <a:gd name="T32" fmla="*/ 39 w 75"/>
                <a:gd name="T33" fmla="*/ 7 h 56"/>
                <a:gd name="T34" fmla="*/ 43 w 75"/>
                <a:gd name="T35" fmla="*/ 2 h 56"/>
                <a:gd name="T36" fmla="*/ 47 w 75"/>
                <a:gd name="T37" fmla="*/ 4 h 56"/>
                <a:gd name="T38" fmla="*/ 51 w 75"/>
                <a:gd name="T39" fmla="*/ 8 h 56"/>
                <a:gd name="T40" fmla="*/ 54 w 75"/>
                <a:gd name="T41" fmla="*/ 13 h 56"/>
                <a:gd name="T42" fmla="*/ 60 w 75"/>
                <a:gd name="T43" fmla="*/ 18 h 56"/>
                <a:gd name="T44" fmla="*/ 64 w 75"/>
                <a:gd name="T45" fmla="*/ 21 h 56"/>
                <a:gd name="T46" fmla="*/ 71 w 75"/>
                <a:gd name="T47" fmla="*/ 23 h 56"/>
                <a:gd name="T48" fmla="*/ 70 w 75"/>
                <a:gd name="T49" fmla="*/ 24 h 56"/>
                <a:gd name="T50" fmla="*/ 64 w 75"/>
                <a:gd name="T51" fmla="*/ 25 h 56"/>
                <a:gd name="T52" fmla="*/ 61 w 75"/>
                <a:gd name="T53" fmla="*/ 30 h 56"/>
                <a:gd name="T54" fmla="*/ 60 w 75"/>
                <a:gd name="T55" fmla="*/ 37 h 56"/>
                <a:gd name="T56" fmla="*/ 61 w 75"/>
                <a:gd name="T57" fmla="*/ 43 h 56"/>
                <a:gd name="T58" fmla="*/ 60 w 75"/>
                <a:gd name="T59" fmla="*/ 45 h 56"/>
                <a:gd name="T60" fmla="*/ 57 w 75"/>
                <a:gd name="T61" fmla="*/ 45 h 56"/>
                <a:gd name="T62" fmla="*/ 57 w 75"/>
                <a:gd name="T63" fmla="*/ 52 h 56"/>
                <a:gd name="T64" fmla="*/ 54 w 75"/>
                <a:gd name="T65" fmla="*/ 53 h 56"/>
                <a:gd name="T66" fmla="*/ 49 w 75"/>
                <a:gd name="T67" fmla="*/ 51 h 56"/>
                <a:gd name="T68" fmla="*/ 48 w 75"/>
                <a:gd name="T69" fmla="*/ 46 h 56"/>
                <a:gd name="T70" fmla="*/ 46 w 75"/>
                <a:gd name="T71" fmla="*/ 41 h 56"/>
                <a:gd name="T72" fmla="*/ 43 w 75"/>
                <a:gd name="T73" fmla="*/ 35 h 56"/>
                <a:gd name="T74" fmla="*/ 36 w 75"/>
                <a:gd name="T75" fmla="*/ 38 h 56"/>
                <a:gd name="T76" fmla="*/ 32 w 75"/>
                <a:gd name="T77" fmla="*/ 43 h 56"/>
                <a:gd name="T78" fmla="*/ 28 w 75"/>
                <a:gd name="T79" fmla="*/ 46 h 56"/>
                <a:gd name="T80" fmla="*/ 26 w 75"/>
                <a:gd name="T81" fmla="*/ 44 h 56"/>
                <a:gd name="T82" fmla="*/ 26 w 75"/>
                <a:gd name="T83" fmla="*/ 43 h 56"/>
                <a:gd name="T84" fmla="*/ 24 w 75"/>
                <a:gd name="T85" fmla="*/ 41 h 56"/>
                <a:gd name="T86" fmla="*/ 25 w 75"/>
                <a:gd name="T87" fmla="*/ 37 h 56"/>
                <a:gd name="T88" fmla="*/ 19 w 75"/>
                <a:gd name="T89" fmla="*/ 36 h 56"/>
                <a:gd name="T90" fmla="*/ 15 w 75"/>
                <a:gd name="T91" fmla="*/ 32 h 56"/>
                <a:gd name="T92" fmla="*/ 14 w 75"/>
                <a:gd name="T93" fmla="*/ 30 h 56"/>
                <a:gd name="T94" fmla="*/ 14 w 75"/>
                <a:gd name="T95" fmla="*/ 25 h 56"/>
                <a:gd name="T96" fmla="*/ 6 w 75"/>
                <a:gd name="T97" fmla="*/ 20 h 56"/>
                <a:gd name="T98" fmla="*/ 7 w 75"/>
                <a:gd name="T99" fmla="*/ 15 h 56"/>
                <a:gd name="T100" fmla="*/ 3 w 75"/>
                <a:gd name="T101" fmla="*/ 13 h 56"/>
                <a:gd name="T102" fmla="*/ 1 w 75"/>
                <a:gd name="T103" fmla="*/ 11 h 56"/>
                <a:gd name="T104" fmla="*/ 4 w 75"/>
                <a:gd name="T105" fmla="*/ 8 h 56"/>
                <a:gd name="T106" fmla="*/ 8 w 75"/>
                <a:gd name="T107" fmla="*/ 10 h 56"/>
                <a:gd name="T108" fmla="*/ 15 w 75"/>
                <a:gd name="T109" fmla="*/ 11 h 56"/>
                <a:gd name="T110" fmla="*/ 20 w 75"/>
                <a:gd name="T111" fmla="*/ 13 h 56"/>
                <a:gd name="T112" fmla="*/ 20 w 75"/>
                <a:gd name="T113" fmla="*/ 8 h 56"/>
                <a:gd name="T114" fmla="*/ 14 w 75"/>
                <a:gd name="T115" fmla="*/ 4 h 56"/>
                <a:gd name="T116" fmla="*/ 15 w 75"/>
                <a:gd name="T117" fmla="*/ 1 h 56"/>
                <a:gd name="T118" fmla="*/ 8 w 75"/>
                <a:gd name="T119" fmla="*/ 2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 h="56">
                  <a:moveTo>
                    <a:pt x="5" y="34"/>
                  </a:moveTo>
                  <a:lnTo>
                    <a:pt x="6" y="35"/>
                  </a:lnTo>
                  <a:lnTo>
                    <a:pt x="6" y="36"/>
                  </a:lnTo>
                  <a:lnTo>
                    <a:pt x="7" y="37"/>
                  </a:lnTo>
                  <a:lnTo>
                    <a:pt x="7" y="36"/>
                  </a:lnTo>
                  <a:lnTo>
                    <a:pt x="8" y="36"/>
                  </a:lnTo>
                  <a:lnTo>
                    <a:pt x="8" y="37"/>
                  </a:lnTo>
                  <a:lnTo>
                    <a:pt x="10" y="37"/>
                  </a:lnTo>
                  <a:lnTo>
                    <a:pt x="11" y="38"/>
                  </a:lnTo>
                  <a:lnTo>
                    <a:pt x="12" y="37"/>
                  </a:lnTo>
                  <a:lnTo>
                    <a:pt x="14" y="37"/>
                  </a:lnTo>
                  <a:lnTo>
                    <a:pt x="15" y="37"/>
                  </a:lnTo>
                  <a:lnTo>
                    <a:pt x="15" y="38"/>
                  </a:lnTo>
                  <a:lnTo>
                    <a:pt x="15" y="39"/>
                  </a:lnTo>
                  <a:lnTo>
                    <a:pt x="15" y="41"/>
                  </a:lnTo>
                  <a:lnTo>
                    <a:pt x="17" y="41"/>
                  </a:lnTo>
                  <a:lnTo>
                    <a:pt x="18" y="41"/>
                  </a:lnTo>
                  <a:lnTo>
                    <a:pt x="18" y="42"/>
                  </a:lnTo>
                  <a:lnTo>
                    <a:pt x="19" y="42"/>
                  </a:lnTo>
                  <a:lnTo>
                    <a:pt x="18" y="43"/>
                  </a:lnTo>
                  <a:lnTo>
                    <a:pt x="19" y="43"/>
                  </a:lnTo>
                  <a:lnTo>
                    <a:pt x="19" y="44"/>
                  </a:lnTo>
                  <a:lnTo>
                    <a:pt x="20" y="44"/>
                  </a:lnTo>
                  <a:lnTo>
                    <a:pt x="20" y="46"/>
                  </a:lnTo>
                  <a:lnTo>
                    <a:pt x="21" y="48"/>
                  </a:lnTo>
                  <a:lnTo>
                    <a:pt x="20" y="48"/>
                  </a:lnTo>
                  <a:lnTo>
                    <a:pt x="17" y="46"/>
                  </a:lnTo>
                  <a:lnTo>
                    <a:pt x="15" y="46"/>
                  </a:lnTo>
                  <a:lnTo>
                    <a:pt x="14" y="46"/>
                  </a:lnTo>
                  <a:lnTo>
                    <a:pt x="13" y="46"/>
                  </a:lnTo>
                  <a:lnTo>
                    <a:pt x="12" y="45"/>
                  </a:lnTo>
                  <a:lnTo>
                    <a:pt x="12" y="44"/>
                  </a:lnTo>
                  <a:lnTo>
                    <a:pt x="11" y="44"/>
                  </a:lnTo>
                  <a:lnTo>
                    <a:pt x="11" y="43"/>
                  </a:lnTo>
                  <a:lnTo>
                    <a:pt x="10" y="43"/>
                  </a:lnTo>
                  <a:lnTo>
                    <a:pt x="8" y="42"/>
                  </a:lnTo>
                  <a:lnTo>
                    <a:pt x="7" y="42"/>
                  </a:lnTo>
                  <a:lnTo>
                    <a:pt x="7" y="41"/>
                  </a:lnTo>
                  <a:lnTo>
                    <a:pt x="6" y="41"/>
                  </a:lnTo>
                  <a:lnTo>
                    <a:pt x="6" y="39"/>
                  </a:lnTo>
                  <a:lnTo>
                    <a:pt x="5" y="39"/>
                  </a:lnTo>
                  <a:lnTo>
                    <a:pt x="5" y="38"/>
                  </a:lnTo>
                  <a:lnTo>
                    <a:pt x="4" y="38"/>
                  </a:lnTo>
                  <a:lnTo>
                    <a:pt x="4" y="36"/>
                  </a:lnTo>
                  <a:lnTo>
                    <a:pt x="3" y="36"/>
                  </a:lnTo>
                  <a:lnTo>
                    <a:pt x="1" y="36"/>
                  </a:lnTo>
                  <a:lnTo>
                    <a:pt x="1" y="35"/>
                  </a:lnTo>
                  <a:lnTo>
                    <a:pt x="3" y="35"/>
                  </a:lnTo>
                  <a:lnTo>
                    <a:pt x="4" y="35"/>
                  </a:lnTo>
                  <a:lnTo>
                    <a:pt x="4" y="34"/>
                  </a:lnTo>
                  <a:lnTo>
                    <a:pt x="5" y="34"/>
                  </a:lnTo>
                  <a:close/>
                  <a:moveTo>
                    <a:pt x="75" y="24"/>
                  </a:moveTo>
                  <a:lnTo>
                    <a:pt x="75" y="25"/>
                  </a:lnTo>
                  <a:lnTo>
                    <a:pt x="74" y="24"/>
                  </a:lnTo>
                  <a:lnTo>
                    <a:pt x="75" y="24"/>
                  </a:lnTo>
                  <a:close/>
                  <a:moveTo>
                    <a:pt x="70" y="22"/>
                  </a:moveTo>
                  <a:lnTo>
                    <a:pt x="71" y="22"/>
                  </a:lnTo>
                  <a:lnTo>
                    <a:pt x="71" y="23"/>
                  </a:lnTo>
                  <a:lnTo>
                    <a:pt x="70" y="23"/>
                  </a:lnTo>
                  <a:lnTo>
                    <a:pt x="70" y="22"/>
                  </a:lnTo>
                  <a:close/>
                  <a:moveTo>
                    <a:pt x="4" y="15"/>
                  </a:moveTo>
                  <a:lnTo>
                    <a:pt x="3" y="15"/>
                  </a:lnTo>
                  <a:lnTo>
                    <a:pt x="3" y="14"/>
                  </a:lnTo>
                  <a:lnTo>
                    <a:pt x="4" y="15"/>
                  </a:lnTo>
                  <a:close/>
                  <a:moveTo>
                    <a:pt x="0" y="14"/>
                  </a:moveTo>
                  <a:lnTo>
                    <a:pt x="0" y="13"/>
                  </a:lnTo>
                  <a:lnTo>
                    <a:pt x="0" y="14"/>
                  </a:lnTo>
                  <a:close/>
                  <a:moveTo>
                    <a:pt x="17" y="0"/>
                  </a:moveTo>
                  <a:lnTo>
                    <a:pt x="18" y="1"/>
                  </a:lnTo>
                  <a:lnTo>
                    <a:pt x="18" y="2"/>
                  </a:lnTo>
                  <a:lnTo>
                    <a:pt x="19" y="2"/>
                  </a:lnTo>
                  <a:lnTo>
                    <a:pt x="19" y="1"/>
                  </a:lnTo>
                  <a:lnTo>
                    <a:pt x="20" y="1"/>
                  </a:lnTo>
                  <a:lnTo>
                    <a:pt x="20" y="2"/>
                  </a:lnTo>
                  <a:lnTo>
                    <a:pt x="21" y="2"/>
                  </a:lnTo>
                  <a:lnTo>
                    <a:pt x="21" y="3"/>
                  </a:lnTo>
                  <a:lnTo>
                    <a:pt x="22" y="3"/>
                  </a:lnTo>
                  <a:lnTo>
                    <a:pt x="24" y="3"/>
                  </a:lnTo>
                  <a:lnTo>
                    <a:pt x="24" y="4"/>
                  </a:lnTo>
                  <a:lnTo>
                    <a:pt x="25" y="4"/>
                  </a:lnTo>
                  <a:lnTo>
                    <a:pt x="25" y="6"/>
                  </a:lnTo>
                  <a:lnTo>
                    <a:pt x="26" y="6"/>
                  </a:lnTo>
                  <a:lnTo>
                    <a:pt x="27" y="6"/>
                  </a:lnTo>
                  <a:lnTo>
                    <a:pt x="27" y="7"/>
                  </a:lnTo>
                  <a:lnTo>
                    <a:pt x="28" y="8"/>
                  </a:lnTo>
                  <a:lnTo>
                    <a:pt x="28" y="9"/>
                  </a:lnTo>
                  <a:lnTo>
                    <a:pt x="29" y="10"/>
                  </a:lnTo>
                  <a:lnTo>
                    <a:pt x="31" y="10"/>
                  </a:lnTo>
                  <a:lnTo>
                    <a:pt x="32" y="10"/>
                  </a:lnTo>
                  <a:lnTo>
                    <a:pt x="33" y="11"/>
                  </a:lnTo>
                  <a:lnTo>
                    <a:pt x="33" y="10"/>
                  </a:lnTo>
                  <a:lnTo>
                    <a:pt x="34" y="10"/>
                  </a:lnTo>
                  <a:lnTo>
                    <a:pt x="34" y="11"/>
                  </a:lnTo>
                  <a:lnTo>
                    <a:pt x="35" y="11"/>
                  </a:lnTo>
                  <a:lnTo>
                    <a:pt x="36" y="11"/>
                  </a:lnTo>
                  <a:lnTo>
                    <a:pt x="36" y="10"/>
                  </a:lnTo>
                  <a:lnTo>
                    <a:pt x="37" y="10"/>
                  </a:lnTo>
                  <a:lnTo>
                    <a:pt x="36" y="10"/>
                  </a:lnTo>
                  <a:lnTo>
                    <a:pt x="36" y="9"/>
                  </a:lnTo>
                  <a:lnTo>
                    <a:pt x="37" y="9"/>
                  </a:lnTo>
                  <a:lnTo>
                    <a:pt x="37" y="8"/>
                  </a:lnTo>
                  <a:lnTo>
                    <a:pt x="39" y="7"/>
                  </a:lnTo>
                  <a:lnTo>
                    <a:pt x="40" y="7"/>
                  </a:lnTo>
                  <a:lnTo>
                    <a:pt x="41" y="6"/>
                  </a:lnTo>
                  <a:lnTo>
                    <a:pt x="42" y="6"/>
                  </a:lnTo>
                  <a:lnTo>
                    <a:pt x="42" y="4"/>
                  </a:lnTo>
                  <a:lnTo>
                    <a:pt x="42" y="3"/>
                  </a:lnTo>
                  <a:lnTo>
                    <a:pt x="43" y="2"/>
                  </a:lnTo>
                  <a:lnTo>
                    <a:pt x="43" y="1"/>
                  </a:lnTo>
                  <a:lnTo>
                    <a:pt x="44" y="1"/>
                  </a:lnTo>
                  <a:lnTo>
                    <a:pt x="44" y="2"/>
                  </a:lnTo>
                  <a:lnTo>
                    <a:pt x="46" y="3"/>
                  </a:lnTo>
                  <a:lnTo>
                    <a:pt x="47" y="3"/>
                  </a:lnTo>
                  <a:lnTo>
                    <a:pt x="47" y="4"/>
                  </a:lnTo>
                  <a:lnTo>
                    <a:pt x="48" y="6"/>
                  </a:lnTo>
                  <a:lnTo>
                    <a:pt x="49" y="6"/>
                  </a:lnTo>
                  <a:lnTo>
                    <a:pt x="49" y="7"/>
                  </a:lnTo>
                  <a:lnTo>
                    <a:pt x="50" y="7"/>
                  </a:lnTo>
                  <a:lnTo>
                    <a:pt x="50" y="8"/>
                  </a:lnTo>
                  <a:lnTo>
                    <a:pt x="51" y="8"/>
                  </a:lnTo>
                  <a:lnTo>
                    <a:pt x="51" y="9"/>
                  </a:lnTo>
                  <a:lnTo>
                    <a:pt x="53" y="9"/>
                  </a:lnTo>
                  <a:lnTo>
                    <a:pt x="53" y="10"/>
                  </a:lnTo>
                  <a:lnTo>
                    <a:pt x="53" y="11"/>
                  </a:lnTo>
                  <a:lnTo>
                    <a:pt x="54" y="11"/>
                  </a:lnTo>
                  <a:lnTo>
                    <a:pt x="54" y="13"/>
                  </a:lnTo>
                  <a:lnTo>
                    <a:pt x="54" y="14"/>
                  </a:lnTo>
                  <a:lnTo>
                    <a:pt x="55" y="14"/>
                  </a:lnTo>
                  <a:lnTo>
                    <a:pt x="57" y="16"/>
                  </a:lnTo>
                  <a:lnTo>
                    <a:pt x="58" y="17"/>
                  </a:lnTo>
                  <a:lnTo>
                    <a:pt x="60" y="17"/>
                  </a:lnTo>
                  <a:lnTo>
                    <a:pt x="60" y="18"/>
                  </a:lnTo>
                  <a:lnTo>
                    <a:pt x="60" y="20"/>
                  </a:lnTo>
                  <a:lnTo>
                    <a:pt x="61" y="20"/>
                  </a:lnTo>
                  <a:lnTo>
                    <a:pt x="61" y="21"/>
                  </a:lnTo>
                  <a:lnTo>
                    <a:pt x="62" y="21"/>
                  </a:lnTo>
                  <a:lnTo>
                    <a:pt x="63" y="21"/>
                  </a:lnTo>
                  <a:lnTo>
                    <a:pt x="64" y="21"/>
                  </a:lnTo>
                  <a:lnTo>
                    <a:pt x="65" y="21"/>
                  </a:lnTo>
                  <a:lnTo>
                    <a:pt x="67" y="21"/>
                  </a:lnTo>
                  <a:lnTo>
                    <a:pt x="68" y="22"/>
                  </a:lnTo>
                  <a:lnTo>
                    <a:pt x="69" y="22"/>
                  </a:lnTo>
                  <a:lnTo>
                    <a:pt x="70" y="23"/>
                  </a:lnTo>
                  <a:lnTo>
                    <a:pt x="71" y="23"/>
                  </a:lnTo>
                  <a:lnTo>
                    <a:pt x="71" y="24"/>
                  </a:lnTo>
                  <a:lnTo>
                    <a:pt x="71" y="25"/>
                  </a:lnTo>
                  <a:lnTo>
                    <a:pt x="72" y="25"/>
                  </a:lnTo>
                  <a:lnTo>
                    <a:pt x="72" y="27"/>
                  </a:lnTo>
                  <a:lnTo>
                    <a:pt x="71" y="25"/>
                  </a:lnTo>
                  <a:lnTo>
                    <a:pt x="70" y="24"/>
                  </a:lnTo>
                  <a:lnTo>
                    <a:pt x="69" y="24"/>
                  </a:lnTo>
                  <a:lnTo>
                    <a:pt x="68" y="24"/>
                  </a:lnTo>
                  <a:lnTo>
                    <a:pt x="67" y="24"/>
                  </a:lnTo>
                  <a:lnTo>
                    <a:pt x="65" y="24"/>
                  </a:lnTo>
                  <a:lnTo>
                    <a:pt x="64" y="24"/>
                  </a:lnTo>
                  <a:lnTo>
                    <a:pt x="64" y="25"/>
                  </a:lnTo>
                  <a:lnTo>
                    <a:pt x="63" y="25"/>
                  </a:lnTo>
                  <a:lnTo>
                    <a:pt x="63" y="27"/>
                  </a:lnTo>
                  <a:lnTo>
                    <a:pt x="62" y="27"/>
                  </a:lnTo>
                  <a:lnTo>
                    <a:pt x="61" y="28"/>
                  </a:lnTo>
                  <a:lnTo>
                    <a:pt x="61" y="29"/>
                  </a:lnTo>
                  <a:lnTo>
                    <a:pt x="61" y="30"/>
                  </a:lnTo>
                  <a:lnTo>
                    <a:pt x="61" y="31"/>
                  </a:lnTo>
                  <a:lnTo>
                    <a:pt x="61" y="32"/>
                  </a:lnTo>
                  <a:lnTo>
                    <a:pt x="61" y="34"/>
                  </a:lnTo>
                  <a:lnTo>
                    <a:pt x="61" y="35"/>
                  </a:lnTo>
                  <a:lnTo>
                    <a:pt x="61" y="36"/>
                  </a:lnTo>
                  <a:lnTo>
                    <a:pt x="60" y="37"/>
                  </a:lnTo>
                  <a:lnTo>
                    <a:pt x="61" y="38"/>
                  </a:lnTo>
                  <a:lnTo>
                    <a:pt x="62" y="39"/>
                  </a:lnTo>
                  <a:lnTo>
                    <a:pt x="62" y="41"/>
                  </a:lnTo>
                  <a:lnTo>
                    <a:pt x="61" y="41"/>
                  </a:lnTo>
                  <a:lnTo>
                    <a:pt x="61" y="42"/>
                  </a:lnTo>
                  <a:lnTo>
                    <a:pt x="61" y="43"/>
                  </a:lnTo>
                  <a:lnTo>
                    <a:pt x="61" y="44"/>
                  </a:lnTo>
                  <a:lnTo>
                    <a:pt x="61" y="45"/>
                  </a:lnTo>
                  <a:lnTo>
                    <a:pt x="60" y="46"/>
                  </a:lnTo>
                  <a:lnTo>
                    <a:pt x="58" y="46"/>
                  </a:lnTo>
                  <a:lnTo>
                    <a:pt x="58" y="45"/>
                  </a:lnTo>
                  <a:lnTo>
                    <a:pt x="60" y="45"/>
                  </a:lnTo>
                  <a:lnTo>
                    <a:pt x="60" y="44"/>
                  </a:lnTo>
                  <a:lnTo>
                    <a:pt x="58" y="44"/>
                  </a:lnTo>
                  <a:lnTo>
                    <a:pt x="58" y="43"/>
                  </a:lnTo>
                  <a:lnTo>
                    <a:pt x="57" y="43"/>
                  </a:lnTo>
                  <a:lnTo>
                    <a:pt x="57" y="44"/>
                  </a:lnTo>
                  <a:lnTo>
                    <a:pt x="57" y="45"/>
                  </a:lnTo>
                  <a:lnTo>
                    <a:pt x="57" y="46"/>
                  </a:lnTo>
                  <a:lnTo>
                    <a:pt x="57" y="48"/>
                  </a:lnTo>
                  <a:lnTo>
                    <a:pt x="56" y="48"/>
                  </a:lnTo>
                  <a:lnTo>
                    <a:pt x="56" y="49"/>
                  </a:lnTo>
                  <a:lnTo>
                    <a:pt x="57" y="50"/>
                  </a:lnTo>
                  <a:lnTo>
                    <a:pt x="57" y="52"/>
                  </a:lnTo>
                  <a:lnTo>
                    <a:pt x="58" y="55"/>
                  </a:lnTo>
                  <a:lnTo>
                    <a:pt x="57" y="55"/>
                  </a:lnTo>
                  <a:lnTo>
                    <a:pt x="56" y="55"/>
                  </a:lnTo>
                  <a:lnTo>
                    <a:pt x="55" y="56"/>
                  </a:lnTo>
                  <a:lnTo>
                    <a:pt x="54" y="55"/>
                  </a:lnTo>
                  <a:lnTo>
                    <a:pt x="54" y="53"/>
                  </a:lnTo>
                  <a:lnTo>
                    <a:pt x="53" y="53"/>
                  </a:lnTo>
                  <a:lnTo>
                    <a:pt x="53" y="52"/>
                  </a:lnTo>
                  <a:lnTo>
                    <a:pt x="51" y="52"/>
                  </a:lnTo>
                  <a:lnTo>
                    <a:pt x="50" y="52"/>
                  </a:lnTo>
                  <a:lnTo>
                    <a:pt x="50" y="51"/>
                  </a:lnTo>
                  <a:lnTo>
                    <a:pt x="49" y="51"/>
                  </a:lnTo>
                  <a:lnTo>
                    <a:pt x="49" y="50"/>
                  </a:lnTo>
                  <a:lnTo>
                    <a:pt x="47" y="49"/>
                  </a:lnTo>
                  <a:lnTo>
                    <a:pt x="46" y="49"/>
                  </a:lnTo>
                  <a:lnTo>
                    <a:pt x="46" y="48"/>
                  </a:lnTo>
                  <a:lnTo>
                    <a:pt x="46" y="46"/>
                  </a:lnTo>
                  <a:lnTo>
                    <a:pt x="48" y="46"/>
                  </a:lnTo>
                  <a:lnTo>
                    <a:pt x="49" y="45"/>
                  </a:lnTo>
                  <a:lnTo>
                    <a:pt x="48" y="44"/>
                  </a:lnTo>
                  <a:lnTo>
                    <a:pt x="47" y="43"/>
                  </a:lnTo>
                  <a:lnTo>
                    <a:pt x="46" y="43"/>
                  </a:lnTo>
                  <a:lnTo>
                    <a:pt x="46" y="42"/>
                  </a:lnTo>
                  <a:lnTo>
                    <a:pt x="46" y="41"/>
                  </a:lnTo>
                  <a:lnTo>
                    <a:pt x="47" y="41"/>
                  </a:lnTo>
                  <a:lnTo>
                    <a:pt x="48" y="39"/>
                  </a:lnTo>
                  <a:lnTo>
                    <a:pt x="48" y="38"/>
                  </a:lnTo>
                  <a:lnTo>
                    <a:pt x="47" y="38"/>
                  </a:lnTo>
                  <a:lnTo>
                    <a:pt x="43" y="36"/>
                  </a:lnTo>
                  <a:lnTo>
                    <a:pt x="43" y="35"/>
                  </a:lnTo>
                  <a:lnTo>
                    <a:pt x="42" y="35"/>
                  </a:lnTo>
                  <a:lnTo>
                    <a:pt x="41" y="35"/>
                  </a:lnTo>
                  <a:lnTo>
                    <a:pt x="40" y="36"/>
                  </a:lnTo>
                  <a:lnTo>
                    <a:pt x="39" y="37"/>
                  </a:lnTo>
                  <a:lnTo>
                    <a:pt x="37" y="37"/>
                  </a:lnTo>
                  <a:lnTo>
                    <a:pt x="36" y="38"/>
                  </a:lnTo>
                  <a:lnTo>
                    <a:pt x="35" y="38"/>
                  </a:lnTo>
                  <a:lnTo>
                    <a:pt x="35" y="39"/>
                  </a:lnTo>
                  <a:lnTo>
                    <a:pt x="34" y="39"/>
                  </a:lnTo>
                  <a:lnTo>
                    <a:pt x="33" y="41"/>
                  </a:lnTo>
                  <a:lnTo>
                    <a:pt x="32" y="42"/>
                  </a:lnTo>
                  <a:lnTo>
                    <a:pt x="32" y="43"/>
                  </a:lnTo>
                  <a:lnTo>
                    <a:pt x="31" y="43"/>
                  </a:lnTo>
                  <a:lnTo>
                    <a:pt x="29" y="43"/>
                  </a:lnTo>
                  <a:lnTo>
                    <a:pt x="29" y="44"/>
                  </a:lnTo>
                  <a:lnTo>
                    <a:pt x="29" y="45"/>
                  </a:lnTo>
                  <a:lnTo>
                    <a:pt x="28" y="45"/>
                  </a:lnTo>
                  <a:lnTo>
                    <a:pt x="28" y="46"/>
                  </a:lnTo>
                  <a:lnTo>
                    <a:pt x="27" y="46"/>
                  </a:lnTo>
                  <a:lnTo>
                    <a:pt x="27" y="48"/>
                  </a:lnTo>
                  <a:lnTo>
                    <a:pt x="26" y="48"/>
                  </a:lnTo>
                  <a:lnTo>
                    <a:pt x="26" y="46"/>
                  </a:lnTo>
                  <a:lnTo>
                    <a:pt x="26" y="45"/>
                  </a:lnTo>
                  <a:lnTo>
                    <a:pt x="26" y="44"/>
                  </a:lnTo>
                  <a:lnTo>
                    <a:pt x="25" y="44"/>
                  </a:lnTo>
                  <a:lnTo>
                    <a:pt x="25" y="43"/>
                  </a:lnTo>
                  <a:lnTo>
                    <a:pt x="24" y="43"/>
                  </a:lnTo>
                  <a:lnTo>
                    <a:pt x="24" y="42"/>
                  </a:lnTo>
                  <a:lnTo>
                    <a:pt x="25" y="43"/>
                  </a:lnTo>
                  <a:lnTo>
                    <a:pt x="26" y="43"/>
                  </a:lnTo>
                  <a:lnTo>
                    <a:pt x="26" y="42"/>
                  </a:lnTo>
                  <a:lnTo>
                    <a:pt x="27" y="42"/>
                  </a:lnTo>
                  <a:lnTo>
                    <a:pt x="26" y="42"/>
                  </a:lnTo>
                  <a:lnTo>
                    <a:pt x="25" y="42"/>
                  </a:lnTo>
                  <a:lnTo>
                    <a:pt x="25" y="41"/>
                  </a:lnTo>
                  <a:lnTo>
                    <a:pt x="24" y="41"/>
                  </a:lnTo>
                  <a:lnTo>
                    <a:pt x="24" y="39"/>
                  </a:lnTo>
                  <a:lnTo>
                    <a:pt x="22" y="39"/>
                  </a:lnTo>
                  <a:lnTo>
                    <a:pt x="22" y="38"/>
                  </a:lnTo>
                  <a:lnTo>
                    <a:pt x="24" y="38"/>
                  </a:lnTo>
                  <a:lnTo>
                    <a:pt x="25" y="38"/>
                  </a:lnTo>
                  <a:lnTo>
                    <a:pt x="25" y="37"/>
                  </a:lnTo>
                  <a:lnTo>
                    <a:pt x="24" y="37"/>
                  </a:lnTo>
                  <a:lnTo>
                    <a:pt x="22" y="37"/>
                  </a:lnTo>
                  <a:lnTo>
                    <a:pt x="22" y="36"/>
                  </a:lnTo>
                  <a:lnTo>
                    <a:pt x="21" y="36"/>
                  </a:lnTo>
                  <a:lnTo>
                    <a:pt x="20" y="36"/>
                  </a:lnTo>
                  <a:lnTo>
                    <a:pt x="19" y="36"/>
                  </a:lnTo>
                  <a:lnTo>
                    <a:pt x="19" y="35"/>
                  </a:lnTo>
                  <a:lnTo>
                    <a:pt x="18" y="35"/>
                  </a:lnTo>
                  <a:lnTo>
                    <a:pt x="18" y="34"/>
                  </a:lnTo>
                  <a:lnTo>
                    <a:pt x="17" y="34"/>
                  </a:lnTo>
                  <a:lnTo>
                    <a:pt x="15" y="34"/>
                  </a:lnTo>
                  <a:lnTo>
                    <a:pt x="15" y="32"/>
                  </a:lnTo>
                  <a:lnTo>
                    <a:pt x="14" y="32"/>
                  </a:lnTo>
                  <a:lnTo>
                    <a:pt x="13" y="31"/>
                  </a:lnTo>
                  <a:lnTo>
                    <a:pt x="12" y="30"/>
                  </a:lnTo>
                  <a:lnTo>
                    <a:pt x="11" y="30"/>
                  </a:lnTo>
                  <a:lnTo>
                    <a:pt x="12" y="30"/>
                  </a:lnTo>
                  <a:lnTo>
                    <a:pt x="14" y="30"/>
                  </a:lnTo>
                  <a:lnTo>
                    <a:pt x="15" y="30"/>
                  </a:lnTo>
                  <a:lnTo>
                    <a:pt x="15" y="29"/>
                  </a:lnTo>
                  <a:lnTo>
                    <a:pt x="15" y="28"/>
                  </a:lnTo>
                  <a:lnTo>
                    <a:pt x="15" y="27"/>
                  </a:lnTo>
                  <a:lnTo>
                    <a:pt x="15" y="25"/>
                  </a:lnTo>
                  <a:lnTo>
                    <a:pt x="14" y="25"/>
                  </a:lnTo>
                  <a:lnTo>
                    <a:pt x="13" y="25"/>
                  </a:lnTo>
                  <a:lnTo>
                    <a:pt x="10" y="23"/>
                  </a:lnTo>
                  <a:lnTo>
                    <a:pt x="8" y="22"/>
                  </a:lnTo>
                  <a:lnTo>
                    <a:pt x="7" y="22"/>
                  </a:lnTo>
                  <a:lnTo>
                    <a:pt x="7" y="21"/>
                  </a:lnTo>
                  <a:lnTo>
                    <a:pt x="6" y="20"/>
                  </a:lnTo>
                  <a:lnTo>
                    <a:pt x="6" y="18"/>
                  </a:lnTo>
                  <a:lnTo>
                    <a:pt x="7" y="18"/>
                  </a:lnTo>
                  <a:lnTo>
                    <a:pt x="8" y="17"/>
                  </a:lnTo>
                  <a:lnTo>
                    <a:pt x="8" y="16"/>
                  </a:lnTo>
                  <a:lnTo>
                    <a:pt x="7" y="16"/>
                  </a:lnTo>
                  <a:lnTo>
                    <a:pt x="7" y="15"/>
                  </a:lnTo>
                  <a:lnTo>
                    <a:pt x="6" y="15"/>
                  </a:lnTo>
                  <a:lnTo>
                    <a:pt x="6" y="14"/>
                  </a:lnTo>
                  <a:lnTo>
                    <a:pt x="5" y="14"/>
                  </a:lnTo>
                  <a:lnTo>
                    <a:pt x="4" y="14"/>
                  </a:lnTo>
                  <a:lnTo>
                    <a:pt x="3" y="14"/>
                  </a:lnTo>
                  <a:lnTo>
                    <a:pt x="3" y="13"/>
                  </a:lnTo>
                  <a:lnTo>
                    <a:pt x="1" y="13"/>
                  </a:lnTo>
                  <a:lnTo>
                    <a:pt x="1" y="14"/>
                  </a:lnTo>
                  <a:lnTo>
                    <a:pt x="1" y="13"/>
                  </a:lnTo>
                  <a:lnTo>
                    <a:pt x="3" y="13"/>
                  </a:lnTo>
                  <a:lnTo>
                    <a:pt x="3" y="11"/>
                  </a:lnTo>
                  <a:lnTo>
                    <a:pt x="1" y="11"/>
                  </a:lnTo>
                  <a:lnTo>
                    <a:pt x="0" y="11"/>
                  </a:lnTo>
                  <a:lnTo>
                    <a:pt x="0" y="10"/>
                  </a:lnTo>
                  <a:lnTo>
                    <a:pt x="0" y="9"/>
                  </a:lnTo>
                  <a:lnTo>
                    <a:pt x="3" y="7"/>
                  </a:lnTo>
                  <a:lnTo>
                    <a:pt x="4" y="7"/>
                  </a:lnTo>
                  <a:lnTo>
                    <a:pt x="4" y="8"/>
                  </a:lnTo>
                  <a:lnTo>
                    <a:pt x="5" y="8"/>
                  </a:lnTo>
                  <a:lnTo>
                    <a:pt x="6" y="8"/>
                  </a:lnTo>
                  <a:lnTo>
                    <a:pt x="8" y="9"/>
                  </a:lnTo>
                  <a:lnTo>
                    <a:pt x="10" y="9"/>
                  </a:lnTo>
                  <a:lnTo>
                    <a:pt x="8" y="9"/>
                  </a:lnTo>
                  <a:lnTo>
                    <a:pt x="8" y="10"/>
                  </a:lnTo>
                  <a:lnTo>
                    <a:pt x="10" y="10"/>
                  </a:lnTo>
                  <a:lnTo>
                    <a:pt x="11" y="11"/>
                  </a:lnTo>
                  <a:lnTo>
                    <a:pt x="12" y="11"/>
                  </a:lnTo>
                  <a:lnTo>
                    <a:pt x="13" y="11"/>
                  </a:lnTo>
                  <a:lnTo>
                    <a:pt x="14" y="11"/>
                  </a:lnTo>
                  <a:lnTo>
                    <a:pt x="15" y="11"/>
                  </a:lnTo>
                  <a:lnTo>
                    <a:pt x="17" y="11"/>
                  </a:lnTo>
                  <a:lnTo>
                    <a:pt x="18" y="13"/>
                  </a:lnTo>
                  <a:lnTo>
                    <a:pt x="19" y="13"/>
                  </a:lnTo>
                  <a:lnTo>
                    <a:pt x="19" y="14"/>
                  </a:lnTo>
                  <a:lnTo>
                    <a:pt x="20" y="14"/>
                  </a:lnTo>
                  <a:lnTo>
                    <a:pt x="20" y="13"/>
                  </a:lnTo>
                  <a:lnTo>
                    <a:pt x="21" y="13"/>
                  </a:lnTo>
                  <a:lnTo>
                    <a:pt x="21" y="11"/>
                  </a:lnTo>
                  <a:lnTo>
                    <a:pt x="21" y="10"/>
                  </a:lnTo>
                  <a:lnTo>
                    <a:pt x="21" y="9"/>
                  </a:lnTo>
                  <a:lnTo>
                    <a:pt x="20" y="9"/>
                  </a:lnTo>
                  <a:lnTo>
                    <a:pt x="20" y="8"/>
                  </a:lnTo>
                  <a:lnTo>
                    <a:pt x="19" y="8"/>
                  </a:lnTo>
                  <a:lnTo>
                    <a:pt x="18" y="8"/>
                  </a:lnTo>
                  <a:lnTo>
                    <a:pt x="17" y="7"/>
                  </a:lnTo>
                  <a:lnTo>
                    <a:pt x="15" y="7"/>
                  </a:lnTo>
                  <a:lnTo>
                    <a:pt x="15" y="6"/>
                  </a:lnTo>
                  <a:lnTo>
                    <a:pt x="14" y="4"/>
                  </a:lnTo>
                  <a:lnTo>
                    <a:pt x="13" y="4"/>
                  </a:lnTo>
                  <a:lnTo>
                    <a:pt x="13" y="3"/>
                  </a:lnTo>
                  <a:lnTo>
                    <a:pt x="13" y="2"/>
                  </a:lnTo>
                  <a:lnTo>
                    <a:pt x="14" y="2"/>
                  </a:lnTo>
                  <a:lnTo>
                    <a:pt x="15" y="2"/>
                  </a:lnTo>
                  <a:lnTo>
                    <a:pt x="15" y="1"/>
                  </a:lnTo>
                  <a:lnTo>
                    <a:pt x="17" y="0"/>
                  </a:lnTo>
                  <a:close/>
                  <a:moveTo>
                    <a:pt x="8" y="21"/>
                  </a:moveTo>
                  <a:lnTo>
                    <a:pt x="8" y="20"/>
                  </a:lnTo>
                  <a:lnTo>
                    <a:pt x="7" y="20"/>
                  </a:lnTo>
                  <a:lnTo>
                    <a:pt x="7" y="21"/>
                  </a:lnTo>
                  <a:lnTo>
                    <a:pt x="8" y="2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0" name="Freeform 833">
              <a:extLst>
                <a:ext uri="{FF2B5EF4-FFF2-40B4-BE49-F238E27FC236}">
                  <a16:creationId xmlns:a16="http://schemas.microsoft.com/office/drawing/2014/main" id="{218879CB-EDD9-43ED-AD0F-706645EBFFCB}"/>
                </a:ext>
              </a:extLst>
            </p:cNvPr>
            <p:cNvSpPr>
              <a:spLocks/>
            </p:cNvSpPr>
            <p:nvPr/>
          </p:nvSpPr>
          <p:spPr bwMode="auto">
            <a:xfrm>
              <a:off x="6345965" y="3397941"/>
              <a:ext cx="34723" cy="44072"/>
            </a:xfrm>
            <a:custGeom>
              <a:avLst/>
              <a:gdLst>
                <a:gd name="T0" fmla="*/ 21 w 26"/>
                <a:gd name="T1" fmla="*/ 4 h 33"/>
                <a:gd name="T2" fmla="*/ 21 w 26"/>
                <a:gd name="T3" fmla="*/ 5 h 33"/>
                <a:gd name="T4" fmla="*/ 21 w 26"/>
                <a:gd name="T5" fmla="*/ 7 h 33"/>
                <a:gd name="T6" fmla="*/ 20 w 26"/>
                <a:gd name="T7" fmla="*/ 8 h 33"/>
                <a:gd name="T8" fmla="*/ 21 w 26"/>
                <a:gd name="T9" fmla="*/ 9 h 33"/>
                <a:gd name="T10" fmla="*/ 22 w 26"/>
                <a:gd name="T11" fmla="*/ 9 h 33"/>
                <a:gd name="T12" fmla="*/ 23 w 26"/>
                <a:gd name="T13" fmla="*/ 10 h 33"/>
                <a:gd name="T14" fmla="*/ 25 w 26"/>
                <a:gd name="T15" fmla="*/ 10 h 33"/>
                <a:gd name="T16" fmla="*/ 26 w 26"/>
                <a:gd name="T17" fmla="*/ 10 h 33"/>
                <a:gd name="T18" fmla="*/ 26 w 26"/>
                <a:gd name="T19" fmla="*/ 11 h 33"/>
                <a:gd name="T20" fmla="*/ 26 w 26"/>
                <a:gd name="T21" fmla="*/ 12 h 33"/>
                <a:gd name="T22" fmla="*/ 26 w 26"/>
                <a:gd name="T23" fmla="*/ 14 h 33"/>
                <a:gd name="T24" fmla="*/ 25 w 26"/>
                <a:gd name="T25" fmla="*/ 15 h 33"/>
                <a:gd name="T26" fmla="*/ 22 w 26"/>
                <a:gd name="T27" fmla="*/ 16 h 33"/>
                <a:gd name="T28" fmla="*/ 22 w 26"/>
                <a:gd name="T29" fmla="*/ 18 h 33"/>
                <a:gd name="T30" fmla="*/ 21 w 26"/>
                <a:gd name="T31" fmla="*/ 18 h 33"/>
                <a:gd name="T32" fmla="*/ 21 w 26"/>
                <a:gd name="T33" fmla="*/ 18 h 33"/>
                <a:gd name="T34" fmla="*/ 20 w 26"/>
                <a:gd name="T35" fmla="*/ 19 h 33"/>
                <a:gd name="T36" fmla="*/ 20 w 26"/>
                <a:gd name="T37" fmla="*/ 22 h 33"/>
                <a:gd name="T38" fmla="*/ 18 w 26"/>
                <a:gd name="T39" fmla="*/ 24 h 33"/>
                <a:gd name="T40" fmla="*/ 15 w 26"/>
                <a:gd name="T41" fmla="*/ 28 h 33"/>
                <a:gd name="T42" fmla="*/ 14 w 26"/>
                <a:gd name="T43" fmla="*/ 31 h 33"/>
                <a:gd name="T44" fmla="*/ 12 w 26"/>
                <a:gd name="T45" fmla="*/ 32 h 33"/>
                <a:gd name="T46" fmla="*/ 11 w 26"/>
                <a:gd name="T47" fmla="*/ 32 h 33"/>
                <a:gd name="T48" fmla="*/ 11 w 26"/>
                <a:gd name="T49" fmla="*/ 33 h 33"/>
                <a:gd name="T50" fmla="*/ 8 w 26"/>
                <a:gd name="T51" fmla="*/ 31 h 33"/>
                <a:gd name="T52" fmla="*/ 7 w 26"/>
                <a:gd name="T53" fmla="*/ 29 h 33"/>
                <a:gd name="T54" fmla="*/ 7 w 26"/>
                <a:gd name="T55" fmla="*/ 28 h 33"/>
                <a:gd name="T56" fmla="*/ 6 w 26"/>
                <a:gd name="T57" fmla="*/ 26 h 33"/>
                <a:gd name="T58" fmla="*/ 6 w 26"/>
                <a:gd name="T59" fmla="*/ 25 h 33"/>
                <a:gd name="T60" fmla="*/ 5 w 26"/>
                <a:gd name="T61" fmla="*/ 22 h 33"/>
                <a:gd name="T62" fmla="*/ 4 w 26"/>
                <a:gd name="T63" fmla="*/ 15 h 33"/>
                <a:gd name="T64" fmla="*/ 4 w 26"/>
                <a:gd name="T65" fmla="*/ 12 h 33"/>
                <a:gd name="T66" fmla="*/ 4 w 26"/>
                <a:gd name="T67" fmla="*/ 11 h 33"/>
                <a:gd name="T68" fmla="*/ 3 w 26"/>
                <a:gd name="T69" fmla="*/ 10 h 33"/>
                <a:gd name="T70" fmla="*/ 1 w 26"/>
                <a:gd name="T71" fmla="*/ 9 h 33"/>
                <a:gd name="T72" fmla="*/ 1 w 26"/>
                <a:gd name="T73" fmla="*/ 8 h 33"/>
                <a:gd name="T74" fmla="*/ 0 w 26"/>
                <a:gd name="T75" fmla="*/ 7 h 33"/>
                <a:gd name="T76" fmla="*/ 3 w 26"/>
                <a:gd name="T77" fmla="*/ 4 h 33"/>
                <a:gd name="T78" fmla="*/ 5 w 26"/>
                <a:gd name="T79" fmla="*/ 4 h 33"/>
                <a:gd name="T80" fmla="*/ 5 w 26"/>
                <a:gd name="T81" fmla="*/ 5 h 33"/>
                <a:gd name="T82" fmla="*/ 5 w 26"/>
                <a:gd name="T83" fmla="*/ 7 h 33"/>
                <a:gd name="T84" fmla="*/ 7 w 26"/>
                <a:gd name="T85" fmla="*/ 8 h 33"/>
                <a:gd name="T86" fmla="*/ 8 w 26"/>
                <a:gd name="T87" fmla="*/ 7 h 33"/>
                <a:gd name="T88" fmla="*/ 11 w 26"/>
                <a:gd name="T89" fmla="*/ 7 h 33"/>
                <a:gd name="T90" fmla="*/ 11 w 26"/>
                <a:gd name="T91" fmla="*/ 7 h 33"/>
                <a:gd name="T92" fmla="*/ 13 w 26"/>
                <a:gd name="T93" fmla="*/ 5 h 33"/>
                <a:gd name="T94" fmla="*/ 13 w 26"/>
                <a:gd name="T95" fmla="*/ 2 h 33"/>
                <a:gd name="T96" fmla="*/ 14 w 26"/>
                <a:gd name="T97" fmla="*/ 0 h 33"/>
                <a:gd name="T98" fmla="*/ 14 w 26"/>
                <a:gd name="T99" fmla="*/ 0 h 33"/>
                <a:gd name="T100" fmla="*/ 16 w 26"/>
                <a:gd name="T101" fmla="*/ 1 h 33"/>
                <a:gd name="T102" fmla="*/ 18 w 26"/>
                <a:gd name="T103" fmla="*/ 0 h 33"/>
                <a:gd name="T104" fmla="*/ 19 w 26"/>
                <a:gd name="T105" fmla="*/ 0 h 33"/>
                <a:gd name="T106" fmla="*/ 20 w 26"/>
                <a:gd name="T107" fmla="*/ 0 h 33"/>
                <a:gd name="T108" fmla="*/ 20 w 26"/>
                <a:gd name="T10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 h="33">
                  <a:moveTo>
                    <a:pt x="22" y="1"/>
                  </a:moveTo>
                  <a:lnTo>
                    <a:pt x="21" y="1"/>
                  </a:lnTo>
                  <a:lnTo>
                    <a:pt x="21" y="2"/>
                  </a:lnTo>
                  <a:lnTo>
                    <a:pt x="21" y="3"/>
                  </a:lnTo>
                  <a:lnTo>
                    <a:pt x="21" y="3"/>
                  </a:lnTo>
                  <a:lnTo>
                    <a:pt x="21" y="4"/>
                  </a:lnTo>
                  <a:lnTo>
                    <a:pt x="21" y="4"/>
                  </a:lnTo>
                  <a:lnTo>
                    <a:pt x="20" y="4"/>
                  </a:lnTo>
                  <a:lnTo>
                    <a:pt x="20" y="4"/>
                  </a:lnTo>
                  <a:lnTo>
                    <a:pt x="20" y="5"/>
                  </a:lnTo>
                  <a:lnTo>
                    <a:pt x="20" y="5"/>
                  </a:lnTo>
                  <a:lnTo>
                    <a:pt x="21" y="5"/>
                  </a:lnTo>
                  <a:lnTo>
                    <a:pt x="21" y="5"/>
                  </a:lnTo>
                  <a:lnTo>
                    <a:pt x="21" y="4"/>
                  </a:lnTo>
                  <a:lnTo>
                    <a:pt x="21" y="4"/>
                  </a:lnTo>
                  <a:lnTo>
                    <a:pt x="21" y="5"/>
                  </a:lnTo>
                  <a:lnTo>
                    <a:pt x="21" y="5"/>
                  </a:lnTo>
                  <a:lnTo>
                    <a:pt x="21" y="7"/>
                  </a:lnTo>
                  <a:lnTo>
                    <a:pt x="21" y="7"/>
                  </a:lnTo>
                  <a:lnTo>
                    <a:pt x="21" y="7"/>
                  </a:lnTo>
                  <a:lnTo>
                    <a:pt x="20" y="8"/>
                  </a:lnTo>
                  <a:lnTo>
                    <a:pt x="20" y="8"/>
                  </a:lnTo>
                  <a:lnTo>
                    <a:pt x="20" y="8"/>
                  </a:lnTo>
                  <a:lnTo>
                    <a:pt x="20" y="8"/>
                  </a:lnTo>
                  <a:lnTo>
                    <a:pt x="21" y="9"/>
                  </a:lnTo>
                  <a:lnTo>
                    <a:pt x="21" y="9"/>
                  </a:lnTo>
                  <a:lnTo>
                    <a:pt x="21" y="9"/>
                  </a:lnTo>
                  <a:lnTo>
                    <a:pt x="21" y="9"/>
                  </a:lnTo>
                  <a:lnTo>
                    <a:pt x="21" y="9"/>
                  </a:lnTo>
                  <a:lnTo>
                    <a:pt x="21" y="9"/>
                  </a:lnTo>
                  <a:lnTo>
                    <a:pt x="21" y="9"/>
                  </a:lnTo>
                  <a:lnTo>
                    <a:pt x="21" y="9"/>
                  </a:lnTo>
                  <a:lnTo>
                    <a:pt x="21" y="9"/>
                  </a:lnTo>
                  <a:lnTo>
                    <a:pt x="21" y="9"/>
                  </a:lnTo>
                  <a:lnTo>
                    <a:pt x="22" y="9"/>
                  </a:lnTo>
                  <a:lnTo>
                    <a:pt x="22" y="9"/>
                  </a:lnTo>
                  <a:lnTo>
                    <a:pt x="22" y="9"/>
                  </a:lnTo>
                  <a:lnTo>
                    <a:pt x="23" y="9"/>
                  </a:lnTo>
                  <a:lnTo>
                    <a:pt x="23" y="9"/>
                  </a:lnTo>
                  <a:lnTo>
                    <a:pt x="23" y="9"/>
                  </a:lnTo>
                  <a:lnTo>
                    <a:pt x="23" y="10"/>
                  </a:lnTo>
                  <a:lnTo>
                    <a:pt x="23" y="10"/>
                  </a:lnTo>
                  <a:lnTo>
                    <a:pt x="23" y="10"/>
                  </a:lnTo>
                  <a:lnTo>
                    <a:pt x="23" y="10"/>
                  </a:lnTo>
                  <a:lnTo>
                    <a:pt x="23" y="10"/>
                  </a:lnTo>
                  <a:lnTo>
                    <a:pt x="23" y="10"/>
                  </a:lnTo>
                  <a:lnTo>
                    <a:pt x="25" y="10"/>
                  </a:lnTo>
                  <a:lnTo>
                    <a:pt x="25" y="10"/>
                  </a:lnTo>
                  <a:lnTo>
                    <a:pt x="25" y="10"/>
                  </a:lnTo>
                  <a:lnTo>
                    <a:pt x="25" y="10"/>
                  </a:lnTo>
                  <a:lnTo>
                    <a:pt x="26" y="10"/>
                  </a:lnTo>
                  <a:lnTo>
                    <a:pt x="26" y="10"/>
                  </a:lnTo>
                  <a:lnTo>
                    <a:pt x="26" y="10"/>
                  </a:lnTo>
                  <a:lnTo>
                    <a:pt x="26" y="10"/>
                  </a:lnTo>
                  <a:lnTo>
                    <a:pt x="26" y="10"/>
                  </a:lnTo>
                  <a:lnTo>
                    <a:pt x="25" y="11"/>
                  </a:lnTo>
                  <a:lnTo>
                    <a:pt x="26" y="11"/>
                  </a:lnTo>
                  <a:lnTo>
                    <a:pt x="26" y="11"/>
                  </a:lnTo>
                  <a:lnTo>
                    <a:pt x="26" y="11"/>
                  </a:lnTo>
                  <a:lnTo>
                    <a:pt x="26" y="11"/>
                  </a:lnTo>
                  <a:lnTo>
                    <a:pt x="26" y="12"/>
                  </a:lnTo>
                  <a:lnTo>
                    <a:pt x="26" y="12"/>
                  </a:lnTo>
                  <a:lnTo>
                    <a:pt x="26" y="12"/>
                  </a:lnTo>
                  <a:lnTo>
                    <a:pt x="26" y="12"/>
                  </a:lnTo>
                  <a:lnTo>
                    <a:pt x="26" y="12"/>
                  </a:lnTo>
                  <a:lnTo>
                    <a:pt x="26" y="12"/>
                  </a:lnTo>
                  <a:lnTo>
                    <a:pt x="26" y="12"/>
                  </a:lnTo>
                  <a:lnTo>
                    <a:pt x="26" y="14"/>
                  </a:lnTo>
                  <a:lnTo>
                    <a:pt x="26" y="14"/>
                  </a:lnTo>
                  <a:lnTo>
                    <a:pt x="26" y="14"/>
                  </a:lnTo>
                  <a:lnTo>
                    <a:pt x="26" y="14"/>
                  </a:lnTo>
                  <a:lnTo>
                    <a:pt x="26" y="14"/>
                  </a:lnTo>
                  <a:lnTo>
                    <a:pt x="26" y="15"/>
                  </a:lnTo>
                  <a:lnTo>
                    <a:pt x="25" y="15"/>
                  </a:lnTo>
                  <a:lnTo>
                    <a:pt x="25" y="15"/>
                  </a:lnTo>
                  <a:lnTo>
                    <a:pt x="25" y="15"/>
                  </a:lnTo>
                  <a:lnTo>
                    <a:pt x="25" y="15"/>
                  </a:lnTo>
                  <a:lnTo>
                    <a:pt x="25" y="15"/>
                  </a:lnTo>
                  <a:lnTo>
                    <a:pt x="25" y="15"/>
                  </a:lnTo>
                  <a:lnTo>
                    <a:pt x="23" y="15"/>
                  </a:lnTo>
                  <a:lnTo>
                    <a:pt x="23" y="15"/>
                  </a:lnTo>
                  <a:lnTo>
                    <a:pt x="23" y="16"/>
                  </a:lnTo>
                  <a:lnTo>
                    <a:pt x="23" y="16"/>
                  </a:lnTo>
                  <a:lnTo>
                    <a:pt x="22" y="16"/>
                  </a:lnTo>
                  <a:lnTo>
                    <a:pt x="22" y="16"/>
                  </a:lnTo>
                  <a:lnTo>
                    <a:pt x="23" y="16"/>
                  </a:lnTo>
                  <a:lnTo>
                    <a:pt x="23" y="17"/>
                  </a:lnTo>
                  <a:lnTo>
                    <a:pt x="22" y="17"/>
                  </a:lnTo>
                  <a:lnTo>
                    <a:pt x="22" y="17"/>
                  </a:lnTo>
                  <a:lnTo>
                    <a:pt x="22" y="18"/>
                  </a:lnTo>
                  <a:lnTo>
                    <a:pt x="22" y="18"/>
                  </a:lnTo>
                  <a:lnTo>
                    <a:pt x="22" y="18"/>
                  </a:lnTo>
                  <a:lnTo>
                    <a:pt x="21" y="18"/>
                  </a:lnTo>
                  <a:lnTo>
                    <a:pt x="21" y="18"/>
                  </a:lnTo>
                  <a:lnTo>
                    <a:pt x="21" y="18"/>
                  </a:lnTo>
                  <a:lnTo>
                    <a:pt x="21" y="18"/>
                  </a:lnTo>
                  <a:lnTo>
                    <a:pt x="21" y="18"/>
                  </a:lnTo>
                  <a:lnTo>
                    <a:pt x="21" y="18"/>
                  </a:lnTo>
                  <a:lnTo>
                    <a:pt x="21" y="18"/>
                  </a:lnTo>
                  <a:lnTo>
                    <a:pt x="21" y="18"/>
                  </a:lnTo>
                  <a:lnTo>
                    <a:pt x="21" y="18"/>
                  </a:lnTo>
                  <a:lnTo>
                    <a:pt x="21" y="18"/>
                  </a:lnTo>
                  <a:lnTo>
                    <a:pt x="21" y="18"/>
                  </a:lnTo>
                  <a:lnTo>
                    <a:pt x="20" y="19"/>
                  </a:lnTo>
                  <a:lnTo>
                    <a:pt x="20" y="19"/>
                  </a:lnTo>
                  <a:lnTo>
                    <a:pt x="20" y="19"/>
                  </a:lnTo>
                  <a:lnTo>
                    <a:pt x="20" y="19"/>
                  </a:lnTo>
                  <a:lnTo>
                    <a:pt x="20" y="19"/>
                  </a:lnTo>
                  <a:lnTo>
                    <a:pt x="20" y="21"/>
                  </a:lnTo>
                  <a:lnTo>
                    <a:pt x="20" y="22"/>
                  </a:lnTo>
                  <a:lnTo>
                    <a:pt x="20" y="22"/>
                  </a:lnTo>
                  <a:lnTo>
                    <a:pt x="20" y="22"/>
                  </a:lnTo>
                  <a:lnTo>
                    <a:pt x="20" y="22"/>
                  </a:lnTo>
                  <a:lnTo>
                    <a:pt x="20" y="22"/>
                  </a:lnTo>
                  <a:lnTo>
                    <a:pt x="20" y="23"/>
                  </a:lnTo>
                  <a:lnTo>
                    <a:pt x="20" y="23"/>
                  </a:lnTo>
                  <a:lnTo>
                    <a:pt x="19" y="23"/>
                  </a:lnTo>
                  <a:lnTo>
                    <a:pt x="19" y="23"/>
                  </a:lnTo>
                  <a:lnTo>
                    <a:pt x="18" y="24"/>
                  </a:lnTo>
                  <a:lnTo>
                    <a:pt x="18" y="24"/>
                  </a:lnTo>
                  <a:lnTo>
                    <a:pt x="18" y="25"/>
                  </a:lnTo>
                  <a:lnTo>
                    <a:pt x="16" y="26"/>
                  </a:lnTo>
                  <a:lnTo>
                    <a:pt x="16" y="26"/>
                  </a:lnTo>
                  <a:lnTo>
                    <a:pt x="16" y="26"/>
                  </a:lnTo>
                  <a:lnTo>
                    <a:pt x="16" y="28"/>
                  </a:lnTo>
                  <a:lnTo>
                    <a:pt x="15" y="28"/>
                  </a:lnTo>
                  <a:lnTo>
                    <a:pt x="15" y="29"/>
                  </a:lnTo>
                  <a:lnTo>
                    <a:pt x="14" y="29"/>
                  </a:lnTo>
                  <a:lnTo>
                    <a:pt x="14" y="30"/>
                  </a:lnTo>
                  <a:lnTo>
                    <a:pt x="14" y="30"/>
                  </a:lnTo>
                  <a:lnTo>
                    <a:pt x="14" y="30"/>
                  </a:lnTo>
                  <a:lnTo>
                    <a:pt x="14" y="31"/>
                  </a:lnTo>
                  <a:lnTo>
                    <a:pt x="13" y="31"/>
                  </a:lnTo>
                  <a:lnTo>
                    <a:pt x="13" y="31"/>
                  </a:lnTo>
                  <a:lnTo>
                    <a:pt x="12" y="32"/>
                  </a:lnTo>
                  <a:lnTo>
                    <a:pt x="12" y="32"/>
                  </a:lnTo>
                  <a:lnTo>
                    <a:pt x="12" y="32"/>
                  </a:lnTo>
                  <a:lnTo>
                    <a:pt x="12" y="32"/>
                  </a:lnTo>
                  <a:lnTo>
                    <a:pt x="12" y="32"/>
                  </a:lnTo>
                  <a:lnTo>
                    <a:pt x="11" y="32"/>
                  </a:lnTo>
                  <a:lnTo>
                    <a:pt x="11" y="32"/>
                  </a:lnTo>
                  <a:lnTo>
                    <a:pt x="11" y="32"/>
                  </a:lnTo>
                  <a:lnTo>
                    <a:pt x="11" y="32"/>
                  </a:lnTo>
                  <a:lnTo>
                    <a:pt x="11" y="32"/>
                  </a:lnTo>
                  <a:lnTo>
                    <a:pt x="11" y="32"/>
                  </a:lnTo>
                  <a:lnTo>
                    <a:pt x="11" y="32"/>
                  </a:lnTo>
                  <a:lnTo>
                    <a:pt x="11" y="33"/>
                  </a:lnTo>
                  <a:lnTo>
                    <a:pt x="11" y="33"/>
                  </a:lnTo>
                  <a:lnTo>
                    <a:pt x="11" y="33"/>
                  </a:lnTo>
                  <a:lnTo>
                    <a:pt x="11" y="33"/>
                  </a:lnTo>
                  <a:lnTo>
                    <a:pt x="10" y="33"/>
                  </a:lnTo>
                  <a:lnTo>
                    <a:pt x="10" y="33"/>
                  </a:lnTo>
                  <a:lnTo>
                    <a:pt x="10" y="32"/>
                  </a:lnTo>
                  <a:lnTo>
                    <a:pt x="10" y="32"/>
                  </a:lnTo>
                  <a:lnTo>
                    <a:pt x="10" y="32"/>
                  </a:lnTo>
                  <a:lnTo>
                    <a:pt x="8" y="31"/>
                  </a:lnTo>
                  <a:lnTo>
                    <a:pt x="8" y="31"/>
                  </a:lnTo>
                  <a:lnTo>
                    <a:pt x="8" y="30"/>
                  </a:lnTo>
                  <a:lnTo>
                    <a:pt x="8" y="30"/>
                  </a:lnTo>
                  <a:lnTo>
                    <a:pt x="7" y="30"/>
                  </a:lnTo>
                  <a:lnTo>
                    <a:pt x="7" y="29"/>
                  </a:lnTo>
                  <a:lnTo>
                    <a:pt x="7" y="29"/>
                  </a:lnTo>
                  <a:lnTo>
                    <a:pt x="7" y="29"/>
                  </a:lnTo>
                  <a:lnTo>
                    <a:pt x="7" y="29"/>
                  </a:lnTo>
                  <a:lnTo>
                    <a:pt x="7" y="29"/>
                  </a:lnTo>
                  <a:lnTo>
                    <a:pt x="7" y="28"/>
                  </a:lnTo>
                  <a:lnTo>
                    <a:pt x="7" y="28"/>
                  </a:lnTo>
                  <a:lnTo>
                    <a:pt x="7" y="28"/>
                  </a:lnTo>
                  <a:lnTo>
                    <a:pt x="7" y="28"/>
                  </a:lnTo>
                  <a:lnTo>
                    <a:pt x="7" y="28"/>
                  </a:lnTo>
                  <a:lnTo>
                    <a:pt x="7" y="26"/>
                  </a:lnTo>
                  <a:lnTo>
                    <a:pt x="6" y="26"/>
                  </a:lnTo>
                  <a:lnTo>
                    <a:pt x="6" y="26"/>
                  </a:lnTo>
                  <a:lnTo>
                    <a:pt x="6" y="26"/>
                  </a:lnTo>
                  <a:lnTo>
                    <a:pt x="6" y="26"/>
                  </a:lnTo>
                  <a:lnTo>
                    <a:pt x="6" y="25"/>
                  </a:lnTo>
                  <a:lnTo>
                    <a:pt x="6" y="25"/>
                  </a:lnTo>
                  <a:lnTo>
                    <a:pt x="6" y="25"/>
                  </a:lnTo>
                  <a:lnTo>
                    <a:pt x="6" y="25"/>
                  </a:lnTo>
                  <a:lnTo>
                    <a:pt x="6" y="25"/>
                  </a:lnTo>
                  <a:lnTo>
                    <a:pt x="6" y="24"/>
                  </a:lnTo>
                  <a:lnTo>
                    <a:pt x="6" y="24"/>
                  </a:lnTo>
                  <a:lnTo>
                    <a:pt x="6" y="24"/>
                  </a:lnTo>
                  <a:lnTo>
                    <a:pt x="6" y="24"/>
                  </a:lnTo>
                  <a:lnTo>
                    <a:pt x="5" y="24"/>
                  </a:lnTo>
                  <a:lnTo>
                    <a:pt x="5" y="22"/>
                  </a:lnTo>
                  <a:lnTo>
                    <a:pt x="5" y="17"/>
                  </a:lnTo>
                  <a:lnTo>
                    <a:pt x="5" y="16"/>
                  </a:lnTo>
                  <a:lnTo>
                    <a:pt x="5" y="16"/>
                  </a:lnTo>
                  <a:lnTo>
                    <a:pt x="4" y="16"/>
                  </a:lnTo>
                  <a:lnTo>
                    <a:pt x="4" y="16"/>
                  </a:lnTo>
                  <a:lnTo>
                    <a:pt x="4" y="15"/>
                  </a:lnTo>
                  <a:lnTo>
                    <a:pt x="4" y="15"/>
                  </a:lnTo>
                  <a:lnTo>
                    <a:pt x="4" y="15"/>
                  </a:lnTo>
                  <a:lnTo>
                    <a:pt x="4" y="15"/>
                  </a:lnTo>
                  <a:lnTo>
                    <a:pt x="4" y="14"/>
                  </a:lnTo>
                  <a:lnTo>
                    <a:pt x="4" y="14"/>
                  </a:lnTo>
                  <a:lnTo>
                    <a:pt x="4" y="12"/>
                  </a:lnTo>
                  <a:lnTo>
                    <a:pt x="4" y="12"/>
                  </a:lnTo>
                  <a:lnTo>
                    <a:pt x="4" y="12"/>
                  </a:lnTo>
                  <a:lnTo>
                    <a:pt x="4" y="12"/>
                  </a:lnTo>
                  <a:lnTo>
                    <a:pt x="4" y="12"/>
                  </a:lnTo>
                  <a:lnTo>
                    <a:pt x="4" y="11"/>
                  </a:lnTo>
                  <a:lnTo>
                    <a:pt x="4" y="11"/>
                  </a:lnTo>
                  <a:lnTo>
                    <a:pt x="4" y="10"/>
                  </a:lnTo>
                  <a:lnTo>
                    <a:pt x="4" y="10"/>
                  </a:lnTo>
                  <a:lnTo>
                    <a:pt x="4" y="10"/>
                  </a:lnTo>
                  <a:lnTo>
                    <a:pt x="3" y="10"/>
                  </a:lnTo>
                  <a:lnTo>
                    <a:pt x="3" y="10"/>
                  </a:lnTo>
                  <a:lnTo>
                    <a:pt x="3" y="10"/>
                  </a:lnTo>
                  <a:lnTo>
                    <a:pt x="3" y="10"/>
                  </a:lnTo>
                  <a:lnTo>
                    <a:pt x="3" y="9"/>
                  </a:lnTo>
                  <a:lnTo>
                    <a:pt x="3" y="9"/>
                  </a:lnTo>
                  <a:lnTo>
                    <a:pt x="1" y="9"/>
                  </a:lnTo>
                  <a:lnTo>
                    <a:pt x="1" y="9"/>
                  </a:lnTo>
                  <a:lnTo>
                    <a:pt x="1" y="9"/>
                  </a:lnTo>
                  <a:lnTo>
                    <a:pt x="1" y="9"/>
                  </a:lnTo>
                  <a:lnTo>
                    <a:pt x="1" y="8"/>
                  </a:lnTo>
                  <a:lnTo>
                    <a:pt x="1" y="8"/>
                  </a:lnTo>
                  <a:lnTo>
                    <a:pt x="1" y="8"/>
                  </a:lnTo>
                  <a:lnTo>
                    <a:pt x="1" y="8"/>
                  </a:lnTo>
                  <a:lnTo>
                    <a:pt x="1" y="8"/>
                  </a:lnTo>
                  <a:lnTo>
                    <a:pt x="0" y="8"/>
                  </a:lnTo>
                  <a:lnTo>
                    <a:pt x="0" y="8"/>
                  </a:lnTo>
                  <a:lnTo>
                    <a:pt x="0" y="7"/>
                  </a:lnTo>
                  <a:lnTo>
                    <a:pt x="0" y="7"/>
                  </a:lnTo>
                  <a:lnTo>
                    <a:pt x="0" y="7"/>
                  </a:lnTo>
                  <a:lnTo>
                    <a:pt x="0" y="7"/>
                  </a:lnTo>
                  <a:lnTo>
                    <a:pt x="1" y="7"/>
                  </a:lnTo>
                  <a:lnTo>
                    <a:pt x="0" y="5"/>
                  </a:lnTo>
                  <a:lnTo>
                    <a:pt x="1" y="4"/>
                  </a:lnTo>
                  <a:lnTo>
                    <a:pt x="1" y="4"/>
                  </a:lnTo>
                  <a:lnTo>
                    <a:pt x="3" y="4"/>
                  </a:lnTo>
                  <a:lnTo>
                    <a:pt x="3" y="4"/>
                  </a:lnTo>
                  <a:lnTo>
                    <a:pt x="4" y="4"/>
                  </a:lnTo>
                  <a:lnTo>
                    <a:pt x="4" y="4"/>
                  </a:lnTo>
                  <a:lnTo>
                    <a:pt x="4" y="4"/>
                  </a:lnTo>
                  <a:lnTo>
                    <a:pt x="5" y="4"/>
                  </a:lnTo>
                  <a:lnTo>
                    <a:pt x="5" y="4"/>
                  </a:lnTo>
                  <a:lnTo>
                    <a:pt x="5" y="4"/>
                  </a:lnTo>
                  <a:lnTo>
                    <a:pt x="5" y="5"/>
                  </a:lnTo>
                  <a:lnTo>
                    <a:pt x="5" y="5"/>
                  </a:lnTo>
                  <a:lnTo>
                    <a:pt x="5" y="5"/>
                  </a:lnTo>
                  <a:lnTo>
                    <a:pt x="5" y="5"/>
                  </a:lnTo>
                  <a:lnTo>
                    <a:pt x="5" y="5"/>
                  </a:lnTo>
                  <a:lnTo>
                    <a:pt x="5" y="5"/>
                  </a:lnTo>
                  <a:lnTo>
                    <a:pt x="5" y="5"/>
                  </a:lnTo>
                  <a:lnTo>
                    <a:pt x="5" y="7"/>
                  </a:lnTo>
                  <a:lnTo>
                    <a:pt x="5" y="7"/>
                  </a:lnTo>
                  <a:lnTo>
                    <a:pt x="5" y="7"/>
                  </a:lnTo>
                  <a:lnTo>
                    <a:pt x="5" y="7"/>
                  </a:lnTo>
                  <a:lnTo>
                    <a:pt x="5" y="7"/>
                  </a:lnTo>
                  <a:lnTo>
                    <a:pt x="5" y="8"/>
                  </a:lnTo>
                  <a:lnTo>
                    <a:pt x="6" y="8"/>
                  </a:lnTo>
                  <a:lnTo>
                    <a:pt x="6" y="7"/>
                  </a:lnTo>
                  <a:lnTo>
                    <a:pt x="6" y="7"/>
                  </a:lnTo>
                  <a:lnTo>
                    <a:pt x="7" y="7"/>
                  </a:lnTo>
                  <a:lnTo>
                    <a:pt x="7" y="8"/>
                  </a:lnTo>
                  <a:lnTo>
                    <a:pt x="7" y="8"/>
                  </a:lnTo>
                  <a:lnTo>
                    <a:pt x="7" y="8"/>
                  </a:lnTo>
                  <a:lnTo>
                    <a:pt x="8" y="7"/>
                  </a:lnTo>
                  <a:lnTo>
                    <a:pt x="8" y="7"/>
                  </a:lnTo>
                  <a:lnTo>
                    <a:pt x="8" y="7"/>
                  </a:lnTo>
                  <a:lnTo>
                    <a:pt x="8" y="7"/>
                  </a:lnTo>
                  <a:lnTo>
                    <a:pt x="8" y="7"/>
                  </a:lnTo>
                  <a:lnTo>
                    <a:pt x="10" y="7"/>
                  </a:lnTo>
                  <a:lnTo>
                    <a:pt x="10" y="7"/>
                  </a:lnTo>
                  <a:lnTo>
                    <a:pt x="10" y="7"/>
                  </a:lnTo>
                  <a:lnTo>
                    <a:pt x="10" y="7"/>
                  </a:lnTo>
                  <a:lnTo>
                    <a:pt x="11" y="7"/>
                  </a:lnTo>
                  <a:lnTo>
                    <a:pt x="11" y="7"/>
                  </a:lnTo>
                  <a:lnTo>
                    <a:pt x="11" y="7"/>
                  </a:lnTo>
                  <a:lnTo>
                    <a:pt x="11" y="7"/>
                  </a:lnTo>
                  <a:lnTo>
                    <a:pt x="11" y="7"/>
                  </a:lnTo>
                  <a:lnTo>
                    <a:pt x="11" y="7"/>
                  </a:lnTo>
                  <a:lnTo>
                    <a:pt x="11" y="7"/>
                  </a:lnTo>
                  <a:lnTo>
                    <a:pt x="12" y="7"/>
                  </a:lnTo>
                  <a:lnTo>
                    <a:pt x="12" y="7"/>
                  </a:lnTo>
                  <a:lnTo>
                    <a:pt x="12" y="7"/>
                  </a:lnTo>
                  <a:lnTo>
                    <a:pt x="12" y="7"/>
                  </a:lnTo>
                  <a:lnTo>
                    <a:pt x="13" y="5"/>
                  </a:lnTo>
                  <a:lnTo>
                    <a:pt x="13" y="5"/>
                  </a:lnTo>
                  <a:lnTo>
                    <a:pt x="13" y="5"/>
                  </a:lnTo>
                  <a:lnTo>
                    <a:pt x="13" y="5"/>
                  </a:lnTo>
                  <a:lnTo>
                    <a:pt x="13" y="4"/>
                  </a:lnTo>
                  <a:lnTo>
                    <a:pt x="13" y="4"/>
                  </a:lnTo>
                  <a:lnTo>
                    <a:pt x="13" y="3"/>
                  </a:lnTo>
                  <a:lnTo>
                    <a:pt x="13" y="2"/>
                  </a:lnTo>
                  <a:lnTo>
                    <a:pt x="13" y="1"/>
                  </a:lnTo>
                  <a:lnTo>
                    <a:pt x="13" y="0"/>
                  </a:lnTo>
                  <a:lnTo>
                    <a:pt x="13" y="0"/>
                  </a:lnTo>
                  <a:lnTo>
                    <a:pt x="13" y="0"/>
                  </a:lnTo>
                  <a:lnTo>
                    <a:pt x="14" y="0"/>
                  </a:lnTo>
                  <a:lnTo>
                    <a:pt x="14" y="0"/>
                  </a:lnTo>
                  <a:lnTo>
                    <a:pt x="14" y="0"/>
                  </a:lnTo>
                  <a:lnTo>
                    <a:pt x="14" y="0"/>
                  </a:lnTo>
                  <a:lnTo>
                    <a:pt x="14" y="0"/>
                  </a:lnTo>
                  <a:lnTo>
                    <a:pt x="14" y="0"/>
                  </a:lnTo>
                  <a:lnTo>
                    <a:pt x="14" y="0"/>
                  </a:lnTo>
                  <a:lnTo>
                    <a:pt x="14" y="0"/>
                  </a:lnTo>
                  <a:lnTo>
                    <a:pt x="14" y="0"/>
                  </a:lnTo>
                  <a:lnTo>
                    <a:pt x="15" y="0"/>
                  </a:lnTo>
                  <a:lnTo>
                    <a:pt x="15" y="1"/>
                  </a:lnTo>
                  <a:lnTo>
                    <a:pt x="15" y="1"/>
                  </a:lnTo>
                  <a:lnTo>
                    <a:pt x="15" y="1"/>
                  </a:lnTo>
                  <a:lnTo>
                    <a:pt x="16" y="1"/>
                  </a:lnTo>
                  <a:lnTo>
                    <a:pt x="16" y="1"/>
                  </a:lnTo>
                  <a:lnTo>
                    <a:pt x="16" y="1"/>
                  </a:lnTo>
                  <a:lnTo>
                    <a:pt x="18" y="0"/>
                  </a:lnTo>
                  <a:lnTo>
                    <a:pt x="18" y="0"/>
                  </a:lnTo>
                  <a:lnTo>
                    <a:pt x="18" y="0"/>
                  </a:lnTo>
                  <a:lnTo>
                    <a:pt x="18" y="0"/>
                  </a:lnTo>
                  <a:lnTo>
                    <a:pt x="18" y="0"/>
                  </a:lnTo>
                  <a:lnTo>
                    <a:pt x="18" y="0"/>
                  </a:lnTo>
                  <a:lnTo>
                    <a:pt x="18" y="0"/>
                  </a:lnTo>
                  <a:lnTo>
                    <a:pt x="19" y="0"/>
                  </a:lnTo>
                  <a:lnTo>
                    <a:pt x="19" y="0"/>
                  </a:lnTo>
                  <a:lnTo>
                    <a:pt x="19" y="0"/>
                  </a:lnTo>
                  <a:lnTo>
                    <a:pt x="19" y="0"/>
                  </a:lnTo>
                  <a:lnTo>
                    <a:pt x="19" y="0"/>
                  </a:lnTo>
                  <a:lnTo>
                    <a:pt x="19" y="0"/>
                  </a:lnTo>
                  <a:lnTo>
                    <a:pt x="19" y="0"/>
                  </a:lnTo>
                  <a:lnTo>
                    <a:pt x="20" y="0"/>
                  </a:lnTo>
                  <a:lnTo>
                    <a:pt x="20" y="0"/>
                  </a:lnTo>
                  <a:lnTo>
                    <a:pt x="20" y="0"/>
                  </a:lnTo>
                  <a:lnTo>
                    <a:pt x="20" y="0"/>
                  </a:lnTo>
                  <a:lnTo>
                    <a:pt x="20" y="0"/>
                  </a:lnTo>
                  <a:lnTo>
                    <a:pt x="20" y="0"/>
                  </a:lnTo>
                  <a:lnTo>
                    <a:pt x="20" y="0"/>
                  </a:lnTo>
                  <a:lnTo>
                    <a:pt x="20" y="0"/>
                  </a:lnTo>
                  <a:lnTo>
                    <a:pt x="21" y="1"/>
                  </a:lnTo>
                  <a:lnTo>
                    <a:pt x="21" y="1"/>
                  </a:lnTo>
                  <a:lnTo>
                    <a:pt x="2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1" name="Freeform 834">
              <a:extLst>
                <a:ext uri="{FF2B5EF4-FFF2-40B4-BE49-F238E27FC236}">
                  <a16:creationId xmlns:a16="http://schemas.microsoft.com/office/drawing/2014/main" id="{AA8AD71A-CECF-4C3D-B980-1EA56B234BC9}"/>
                </a:ext>
              </a:extLst>
            </p:cNvPr>
            <p:cNvSpPr>
              <a:spLocks/>
            </p:cNvSpPr>
            <p:nvPr/>
          </p:nvSpPr>
          <p:spPr bwMode="auto">
            <a:xfrm>
              <a:off x="5847828" y="2265447"/>
              <a:ext cx="61432" cy="40065"/>
            </a:xfrm>
            <a:custGeom>
              <a:avLst/>
              <a:gdLst>
                <a:gd name="T0" fmla="*/ 44 w 46"/>
                <a:gd name="T1" fmla="*/ 12 h 30"/>
                <a:gd name="T2" fmla="*/ 44 w 46"/>
                <a:gd name="T3" fmla="*/ 14 h 30"/>
                <a:gd name="T4" fmla="*/ 44 w 46"/>
                <a:gd name="T5" fmla="*/ 15 h 30"/>
                <a:gd name="T6" fmla="*/ 46 w 46"/>
                <a:gd name="T7" fmla="*/ 16 h 30"/>
                <a:gd name="T8" fmla="*/ 45 w 46"/>
                <a:gd name="T9" fmla="*/ 18 h 30"/>
                <a:gd name="T10" fmla="*/ 43 w 46"/>
                <a:gd name="T11" fmla="*/ 19 h 30"/>
                <a:gd name="T12" fmla="*/ 43 w 46"/>
                <a:gd name="T13" fmla="*/ 21 h 30"/>
                <a:gd name="T14" fmla="*/ 42 w 46"/>
                <a:gd name="T15" fmla="*/ 21 h 30"/>
                <a:gd name="T16" fmla="*/ 39 w 46"/>
                <a:gd name="T17" fmla="*/ 22 h 30"/>
                <a:gd name="T18" fmla="*/ 39 w 46"/>
                <a:gd name="T19" fmla="*/ 23 h 30"/>
                <a:gd name="T20" fmla="*/ 38 w 46"/>
                <a:gd name="T21" fmla="*/ 24 h 30"/>
                <a:gd name="T22" fmla="*/ 38 w 46"/>
                <a:gd name="T23" fmla="*/ 25 h 30"/>
                <a:gd name="T24" fmla="*/ 40 w 46"/>
                <a:gd name="T25" fmla="*/ 26 h 30"/>
                <a:gd name="T26" fmla="*/ 39 w 46"/>
                <a:gd name="T27" fmla="*/ 30 h 30"/>
                <a:gd name="T28" fmla="*/ 36 w 46"/>
                <a:gd name="T29" fmla="*/ 30 h 30"/>
                <a:gd name="T30" fmla="*/ 33 w 46"/>
                <a:gd name="T31" fmla="*/ 28 h 30"/>
                <a:gd name="T32" fmla="*/ 31 w 46"/>
                <a:gd name="T33" fmla="*/ 26 h 30"/>
                <a:gd name="T34" fmla="*/ 29 w 46"/>
                <a:gd name="T35" fmla="*/ 25 h 30"/>
                <a:gd name="T36" fmla="*/ 28 w 46"/>
                <a:gd name="T37" fmla="*/ 23 h 30"/>
                <a:gd name="T38" fmla="*/ 28 w 46"/>
                <a:gd name="T39" fmla="*/ 19 h 30"/>
                <a:gd name="T40" fmla="*/ 25 w 46"/>
                <a:gd name="T41" fmla="*/ 22 h 30"/>
                <a:gd name="T42" fmla="*/ 21 w 46"/>
                <a:gd name="T43" fmla="*/ 23 h 30"/>
                <a:gd name="T44" fmla="*/ 21 w 46"/>
                <a:gd name="T45" fmla="*/ 22 h 30"/>
                <a:gd name="T46" fmla="*/ 19 w 46"/>
                <a:gd name="T47" fmla="*/ 19 h 30"/>
                <a:gd name="T48" fmla="*/ 18 w 46"/>
                <a:gd name="T49" fmla="*/ 17 h 30"/>
                <a:gd name="T50" fmla="*/ 15 w 46"/>
                <a:gd name="T51" fmla="*/ 17 h 30"/>
                <a:gd name="T52" fmla="*/ 14 w 46"/>
                <a:gd name="T53" fmla="*/ 17 h 30"/>
                <a:gd name="T54" fmla="*/ 11 w 46"/>
                <a:gd name="T55" fmla="*/ 15 h 30"/>
                <a:gd name="T56" fmla="*/ 9 w 46"/>
                <a:gd name="T57" fmla="*/ 14 h 30"/>
                <a:gd name="T58" fmla="*/ 7 w 46"/>
                <a:gd name="T59" fmla="*/ 11 h 30"/>
                <a:gd name="T60" fmla="*/ 4 w 46"/>
                <a:gd name="T61" fmla="*/ 11 h 30"/>
                <a:gd name="T62" fmla="*/ 2 w 46"/>
                <a:gd name="T63" fmla="*/ 10 h 30"/>
                <a:gd name="T64" fmla="*/ 0 w 46"/>
                <a:gd name="T65" fmla="*/ 9 h 30"/>
                <a:gd name="T66" fmla="*/ 0 w 46"/>
                <a:gd name="T67" fmla="*/ 5 h 30"/>
                <a:gd name="T68" fmla="*/ 7 w 46"/>
                <a:gd name="T69" fmla="*/ 2 h 30"/>
                <a:gd name="T70" fmla="*/ 10 w 46"/>
                <a:gd name="T71" fmla="*/ 3 h 30"/>
                <a:gd name="T72" fmla="*/ 15 w 46"/>
                <a:gd name="T73" fmla="*/ 3 h 30"/>
                <a:gd name="T74" fmla="*/ 17 w 46"/>
                <a:gd name="T75" fmla="*/ 4 h 30"/>
                <a:gd name="T76" fmla="*/ 19 w 46"/>
                <a:gd name="T77" fmla="*/ 3 h 30"/>
                <a:gd name="T78" fmla="*/ 21 w 46"/>
                <a:gd name="T79" fmla="*/ 3 h 30"/>
                <a:gd name="T80" fmla="*/ 22 w 46"/>
                <a:gd name="T81" fmla="*/ 1 h 30"/>
                <a:gd name="T82" fmla="*/ 23 w 46"/>
                <a:gd name="T83" fmla="*/ 1 h 30"/>
                <a:gd name="T84" fmla="*/ 25 w 46"/>
                <a:gd name="T85" fmla="*/ 0 h 30"/>
                <a:gd name="T86" fmla="*/ 28 w 46"/>
                <a:gd name="T87" fmla="*/ 1 h 30"/>
                <a:gd name="T88" fmla="*/ 30 w 46"/>
                <a:gd name="T89" fmla="*/ 0 h 30"/>
                <a:gd name="T90" fmla="*/ 31 w 46"/>
                <a:gd name="T91" fmla="*/ 2 h 30"/>
                <a:gd name="T92" fmla="*/ 35 w 46"/>
                <a:gd name="T93" fmla="*/ 3 h 30"/>
                <a:gd name="T94" fmla="*/ 37 w 46"/>
                <a:gd name="T95" fmla="*/ 4 h 30"/>
                <a:gd name="T96" fmla="*/ 39 w 46"/>
                <a:gd name="T97" fmla="*/ 4 h 30"/>
                <a:gd name="T98" fmla="*/ 38 w 46"/>
                <a:gd name="T99" fmla="*/ 7 h 30"/>
                <a:gd name="T100" fmla="*/ 37 w 46"/>
                <a:gd name="T101" fmla="*/ 9 h 30"/>
                <a:gd name="T102" fmla="*/ 38 w 46"/>
                <a:gd name="T103" fmla="*/ 11 h 30"/>
                <a:gd name="T104" fmla="*/ 40 w 46"/>
                <a:gd name="T105" fmla="*/ 1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 h="30">
                  <a:moveTo>
                    <a:pt x="42" y="11"/>
                  </a:moveTo>
                  <a:lnTo>
                    <a:pt x="43" y="11"/>
                  </a:lnTo>
                  <a:lnTo>
                    <a:pt x="44" y="12"/>
                  </a:lnTo>
                  <a:lnTo>
                    <a:pt x="43" y="12"/>
                  </a:lnTo>
                  <a:lnTo>
                    <a:pt x="44" y="12"/>
                  </a:lnTo>
                  <a:lnTo>
                    <a:pt x="44" y="14"/>
                  </a:lnTo>
                  <a:lnTo>
                    <a:pt x="45" y="14"/>
                  </a:lnTo>
                  <a:lnTo>
                    <a:pt x="44" y="14"/>
                  </a:lnTo>
                  <a:lnTo>
                    <a:pt x="44" y="15"/>
                  </a:lnTo>
                  <a:lnTo>
                    <a:pt x="45" y="15"/>
                  </a:lnTo>
                  <a:lnTo>
                    <a:pt x="45" y="16"/>
                  </a:lnTo>
                  <a:lnTo>
                    <a:pt x="46" y="16"/>
                  </a:lnTo>
                  <a:lnTo>
                    <a:pt x="46" y="17"/>
                  </a:lnTo>
                  <a:lnTo>
                    <a:pt x="46" y="18"/>
                  </a:lnTo>
                  <a:lnTo>
                    <a:pt x="45" y="18"/>
                  </a:lnTo>
                  <a:lnTo>
                    <a:pt x="44" y="18"/>
                  </a:lnTo>
                  <a:lnTo>
                    <a:pt x="44" y="19"/>
                  </a:lnTo>
                  <a:lnTo>
                    <a:pt x="43" y="19"/>
                  </a:lnTo>
                  <a:lnTo>
                    <a:pt x="43" y="21"/>
                  </a:lnTo>
                  <a:lnTo>
                    <a:pt x="43" y="19"/>
                  </a:lnTo>
                  <a:lnTo>
                    <a:pt x="43" y="21"/>
                  </a:lnTo>
                  <a:lnTo>
                    <a:pt x="42" y="21"/>
                  </a:lnTo>
                  <a:lnTo>
                    <a:pt x="42" y="19"/>
                  </a:lnTo>
                  <a:lnTo>
                    <a:pt x="42" y="21"/>
                  </a:lnTo>
                  <a:lnTo>
                    <a:pt x="40" y="21"/>
                  </a:lnTo>
                  <a:lnTo>
                    <a:pt x="40" y="22"/>
                  </a:lnTo>
                  <a:lnTo>
                    <a:pt x="39" y="22"/>
                  </a:lnTo>
                  <a:lnTo>
                    <a:pt x="40" y="22"/>
                  </a:lnTo>
                  <a:lnTo>
                    <a:pt x="39" y="22"/>
                  </a:lnTo>
                  <a:lnTo>
                    <a:pt x="39" y="23"/>
                  </a:lnTo>
                  <a:lnTo>
                    <a:pt x="38" y="24"/>
                  </a:lnTo>
                  <a:lnTo>
                    <a:pt x="39" y="24"/>
                  </a:lnTo>
                  <a:lnTo>
                    <a:pt x="38" y="24"/>
                  </a:lnTo>
                  <a:lnTo>
                    <a:pt x="38" y="25"/>
                  </a:lnTo>
                  <a:lnTo>
                    <a:pt x="39" y="25"/>
                  </a:lnTo>
                  <a:lnTo>
                    <a:pt x="38" y="25"/>
                  </a:lnTo>
                  <a:lnTo>
                    <a:pt x="39" y="25"/>
                  </a:lnTo>
                  <a:lnTo>
                    <a:pt x="39" y="26"/>
                  </a:lnTo>
                  <a:lnTo>
                    <a:pt x="40" y="26"/>
                  </a:lnTo>
                  <a:lnTo>
                    <a:pt x="40" y="28"/>
                  </a:lnTo>
                  <a:lnTo>
                    <a:pt x="40" y="29"/>
                  </a:lnTo>
                  <a:lnTo>
                    <a:pt x="39" y="30"/>
                  </a:lnTo>
                  <a:lnTo>
                    <a:pt x="38" y="30"/>
                  </a:lnTo>
                  <a:lnTo>
                    <a:pt x="37" y="30"/>
                  </a:lnTo>
                  <a:lnTo>
                    <a:pt x="36" y="30"/>
                  </a:lnTo>
                  <a:lnTo>
                    <a:pt x="35" y="29"/>
                  </a:lnTo>
                  <a:lnTo>
                    <a:pt x="33" y="29"/>
                  </a:lnTo>
                  <a:lnTo>
                    <a:pt x="33" y="28"/>
                  </a:lnTo>
                  <a:lnTo>
                    <a:pt x="32" y="28"/>
                  </a:lnTo>
                  <a:lnTo>
                    <a:pt x="31" y="28"/>
                  </a:lnTo>
                  <a:lnTo>
                    <a:pt x="31" y="26"/>
                  </a:lnTo>
                  <a:lnTo>
                    <a:pt x="30" y="26"/>
                  </a:lnTo>
                  <a:lnTo>
                    <a:pt x="30" y="25"/>
                  </a:lnTo>
                  <a:lnTo>
                    <a:pt x="29" y="25"/>
                  </a:lnTo>
                  <a:lnTo>
                    <a:pt x="28" y="25"/>
                  </a:lnTo>
                  <a:lnTo>
                    <a:pt x="28" y="24"/>
                  </a:lnTo>
                  <a:lnTo>
                    <a:pt x="28" y="23"/>
                  </a:lnTo>
                  <a:lnTo>
                    <a:pt x="28" y="22"/>
                  </a:lnTo>
                  <a:lnTo>
                    <a:pt x="28" y="21"/>
                  </a:lnTo>
                  <a:lnTo>
                    <a:pt x="28" y="19"/>
                  </a:lnTo>
                  <a:lnTo>
                    <a:pt x="28" y="21"/>
                  </a:lnTo>
                  <a:lnTo>
                    <a:pt x="25" y="21"/>
                  </a:lnTo>
                  <a:lnTo>
                    <a:pt x="25" y="22"/>
                  </a:lnTo>
                  <a:lnTo>
                    <a:pt x="25" y="23"/>
                  </a:lnTo>
                  <a:lnTo>
                    <a:pt x="23" y="23"/>
                  </a:lnTo>
                  <a:lnTo>
                    <a:pt x="21" y="23"/>
                  </a:lnTo>
                  <a:lnTo>
                    <a:pt x="19" y="23"/>
                  </a:lnTo>
                  <a:lnTo>
                    <a:pt x="19" y="22"/>
                  </a:lnTo>
                  <a:lnTo>
                    <a:pt x="21" y="22"/>
                  </a:lnTo>
                  <a:lnTo>
                    <a:pt x="19" y="22"/>
                  </a:lnTo>
                  <a:lnTo>
                    <a:pt x="19" y="21"/>
                  </a:lnTo>
                  <a:lnTo>
                    <a:pt x="19" y="19"/>
                  </a:lnTo>
                  <a:lnTo>
                    <a:pt x="19" y="18"/>
                  </a:lnTo>
                  <a:lnTo>
                    <a:pt x="18" y="18"/>
                  </a:lnTo>
                  <a:lnTo>
                    <a:pt x="18" y="17"/>
                  </a:lnTo>
                  <a:lnTo>
                    <a:pt x="17" y="17"/>
                  </a:lnTo>
                  <a:lnTo>
                    <a:pt x="16" y="17"/>
                  </a:lnTo>
                  <a:lnTo>
                    <a:pt x="15" y="17"/>
                  </a:lnTo>
                  <a:lnTo>
                    <a:pt x="14" y="17"/>
                  </a:lnTo>
                  <a:lnTo>
                    <a:pt x="14" y="18"/>
                  </a:lnTo>
                  <a:lnTo>
                    <a:pt x="14" y="17"/>
                  </a:lnTo>
                  <a:lnTo>
                    <a:pt x="14" y="16"/>
                  </a:lnTo>
                  <a:lnTo>
                    <a:pt x="12" y="15"/>
                  </a:lnTo>
                  <a:lnTo>
                    <a:pt x="11" y="15"/>
                  </a:lnTo>
                  <a:lnTo>
                    <a:pt x="10" y="15"/>
                  </a:lnTo>
                  <a:lnTo>
                    <a:pt x="9" y="15"/>
                  </a:lnTo>
                  <a:lnTo>
                    <a:pt x="9" y="14"/>
                  </a:lnTo>
                  <a:lnTo>
                    <a:pt x="8" y="12"/>
                  </a:lnTo>
                  <a:lnTo>
                    <a:pt x="8" y="11"/>
                  </a:lnTo>
                  <a:lnTo>
                    <a:pt x="7" y="11"/>
                  </a:lnTo>
                  <a:lnTo>
                    <a:pt x="7" y="10"/>
                  </a:lnTo>
                  <a:lnTo>
                    <a:pt x="5" y="11"/>
                  </a:lnTo>
                  <a:lnTo>
                    <a:pt x="4" y="11"/>
                  </a:lnTo>
                  <a:lnTo>
                    <a:pt x="3" y="11"/>
                  </a:lnTo>
                  <a:lnTo>
                    <a:pt x="2" y="11"/>
                  </a:lnTo>
                  <a:lnTo>
                    <a:pt x="2" y="10"/>
                  </a:lnTo>
                  <a:lnTo>
                    <a:pt x="1" y="10"/>
                  </a:lnTo>
                  <a:lnTo>
                    <a:pt x="1" y="9"/>
                  </a:lnTo>
                  <a:lnTo>
                    <a:pt x="0" y="9"/>
                  </a:lnTo>
                  <a:lnTo>
                    <a:pt x="1" y="8"/>
                  </a:lnTo>
                  <a:lnTo>
                    <a:pt x="0" y="7"/>
                  </a:lnTo>
                  <a:lnTo>
                    <a:pt x="0" y="5"/>
                  </a:lnTo>
                  <a:lnTo>
                    <a:pt x="2" y="4"/>
                  </a:lnTo>
                  <a:lnTo>
                    <a:pt x="4" y="3"/>
                  </a:lnTo>
                  <a:lnTo>
                    <a:pt x="7" y="2"/>
                  </a:lnTo>
                  <a:lnTo>
                    <a:pt x="9" y="2"/>
                  </a:lnTo>
                  <a:lnTo>
                    <a:pt x="9" y="3"/>
                  </a:lnTo>
                  <a:lnTo>
                    <a:pt x="10" y="3"/>
                  </a:lnTo>
                  <a:lnTo>
                    <a:pt x="11" y="3"/>
                  </a:lnTo>
                  <a:lnTo>
                    <a:pt x="12" y="3"/>
                  </a:lnTo>
                  <a:lnTo>
                    <a:pt x="15" y="3"/>
                  </a:lnTo>
                  <a:lnTo>
                    <a:pt x="15" y="4"/>
                  </a:lnTo>
                  <a:lnTo>
                    <a:pt x="16" y="4"/>
                  </a:lnTo>
                  <a:lnTo>
                    <a:pt x="17" y="4"/>
                  </a:lnTo>
                  <a:lnTo>
                    <a:pt x="17" y="3"/>
                  </a:lnTo>
                  <a:lnTo>
                    <a:pt x="18" y="3"/>
                  </a:lnTo>
                  <a:lnTo>
                    <a:pt x="19" y="3"/>
                  </a:lnTo>
                  <a:lnTo>
                    <a:pt x="19" y="2"/>
                  </a:lnTo>
                  <a:lnTo>
                    <a:pt x="21" y="2"/>
                  </a:lnTo>
                  <a:lnTo>
                    <a:pt x="21" y="3"/>
                  </a:lnTo>
                  <a:lnTo>
                    <a:pt x="21" y="2"/>
                  </a:lnTo>
                  <a:lnTo>
                    <a:pt x="22" y="2"/>
                  </a:lnTo>
                  <a:lnTo>
                    <a:pt x="22" y="1"/>
                  </a:lnTo>
                  <a:lnTo>
                    <a:pt x="22" y="0"/>
                  </a:lnTo>
                  <a:lnTo>
                    <a:pt x="23" y="0"/>
                  </a:lnTo>
                  <a:lnTo>
                    <a:pt x="23" y="1"/>
                  </a:lnTo>
                  <a:lnTo>
                    <a:pt x="24" y="1"/>
                  </a:lnTo>
                  <a:lnTo>
                    <a:pt x="25" y="1"/>
                  </a:lnTo>
                  <a:lnTo>
                    <a:pt x="25" y="0"/>
                  </a:lnTo>
                  <a:lnTo>
                    <a:pt x="26" y="0"/>
                  </a:lnTo>
                  <a:lnTo>
                    <a:pt x="26" y="1"/>
                  </a:lnTo>
                  <a:lnTo>
                    <a:pt x="28" y="1"/>
                  </a:lnTo>
                  <a:lnTo>
                    <a:pt x="29" y="1"/>
                  </a:lnTo>
                  <a:lnTo>
                    <a:pt x="29" y="0"/>
                  </a:lnTo>
                  <a:lnTo>
                    <a:pt x="30" y="0"/>
                  </a:lnTo>
                  <a:lnTo>
                    <a:pt x="30" y="1"/>
                  </a:lnTo>
                  <a:lnTo>
                    <a:pt x="30" y="2"/>
                  </a:lnTo>
                  <a:lnTo>
                    <a:pt x="31" y="2"/>
                  </a:lnTo>
                  <a:lnTo>
                    <a:pt x="32" y="3"/>
                  </a:lnTo>
                  <a:lnTo>
                    <a:pt x="33" y="3"/>
                  </a:lnTo>
                  <a:lnTo>
                    <a:pt x="35" y="3"/>
                  </a:lnTo>
                  <a:lnTo>
                    <a:pt x="36" y="3"/>
                  </a:lnTo>
                  <a:lnTo>
                    <a:pt x="36" y="4"/>
                  </a:lnTo>
                  <a:lnTo>
                    <a:pt x="37" y="4"/>
                  </a:lnTo>
                  <a:lnTo>
                    <a:pt x="38" y="4"/>
                  </a:lnTo>
                  <a:lnTo>
                    <a:pt x="38" y="5"/>
                  </a:lnTo>
                  <a:lnTo>
                    <a:pt x="39" y="4"/>
                  </a:lnTo>
                  <a:lnTo>
                    <a:pt x="39" y="5"/>
                  </a:lnTo>
                  <a:lnTo>
                    <a:pt x="39" y="7"/>
                  </a:lnTo>
                  <a:lnTo>
                    <a:pt x="38" y="7"/>
                  </a:lnTo>
                  <a:lnTo>
                    <a:pt x="38" y="8"/>
                  </a:lnTo>
                  <a:lnTo>
                    <a:pt x="38" y="9"/>
                  </a:lnTo>
                  <a:lnTo>
                    <a:pt x="37" y="9"/>
                  </a:lnTo>
                  <a:lnTo>
                    <a:pt x="37" y="10"/>
                  </a:lnTo>
                  <a:lnTo>
                    <a:pt x="38" y="10"/>
                  </a:lnTo>
                  <a:lnTo>
                    <a:pt x="38" y="11"/>
                  </a:lnTo>
                  <a:lnTo>
                    <a:pt x="38" y="10"/>
                  </a:lnTo>
                  <a:lnTo>
                    <a:pt x="39" y="11"/>
                  </a:lnTo>
                  <a:lnTo>
                    <a:pt x="40" y="11"/>
                  </a:lnTo>
                  <a:lnTo>
                    <a:pt x="42" y="1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2" name="Freeform 835">
              <a:extLst>
                <a:ext uri="{FF2B5EF4-FFF2-40B4-BE49-F238E27FC236}">
                  <a16:creationId xmlns:a16="http://schemas.microsoft.com/office/drawing/2014/main" id="{AF1B0DF4-666A-41A0-9A67-6F7DC62495A3}"/>
                </a:ext>
              </a:extLst>
            </p:cNvPr>
            <p:cNvSpPr>
              <a:spLocks/>
            </p:cNvSpPr>
            <p:nvPr/>
          </p:nvSpPr>
          <p:spPr bwMode="auto">
            <a:xfrm>
              <a:off x="5821118" y="3085437"/>
              <a:ext cx="57426" cy="130878"/>
            </a:xfrm>
            <a:custGeom>
              <a:avLst/>
              <a:gdLst>
                <a:gd name="T0" fmla="*/ 37 w 43"/>
                <a:gd name="T1" fmla="*/ 14 h 98"/>
                <a:gd name="T2" fmla="*/ 41 w 43"/>
                <a:gd name="T3" fmla="*/ 20 h 98"/>
                <a:gd name="T4" fmla="*/ 42 w 43"/>
                <a:gd name="T5" fmla="*/ 25 h 98"/>
                <a:gd name="T6" fmla="*/ 42 w 43"/>
                <a:gd name="T7" fmla="*/ 27 h 98"/>
                <a:gd name="T8" fmla="*/ 42 w 43"/>
                <a:gd name="T9" fmla="*/ 31 h 98"/>
                <a:gd name="T10" fmla="*/ 39 w 43"/>
                <a:gd name="T11" fmla="*/ 33 h 98"/>
                <a:gd name="T12" fmla="*/ 41 w 43"/>
                <a:gd name="T13" fmla="*/ 35 h 98"/>
                <a:gd name="T14" fmla="*/ 39 w 43"/>
                <a:gd name="T15" fmla="*/ 39 h 98"/>
                <a:gd name="T16" fmla="*/ 36 w 43"/>
                <a:gd name="T17" fmla="*/ 41 h 98"/>
                <a:gd name="T18" fmla="*/ 35 w 43"/>
                <a:gd name="T19" fmla="*/ 45 h 98"/>
                <a:gd name="T20" fmla="*/ 34 w 43"/>
                <a:gd name="T21" fmla="*/ 46 h 98"/>
                <a:gd name="T22" fmla="*/ 32 w 43"/>
                <a:gd name="T23" fmla="*/ 50 h 98"/>
                <a:gd name="T24" fmla="*/ 29 w 43"/>
                <a:gd name="T25" fmla="*/ 53 h 98"/>
                <a:gd name="T26" fmla="*/ 28 w 43"/>
                <a:gd name="T27" fmla="*/ 55 h 98"/>
                <a:gd name="T28" fmla="*/ 28 w 43"/>
                <a:gd name="T29" fmla="*/ 62 h 98"/>
                <a:gd name="T30" fmla="*/ 27 w 43"/>
                <a:gd name="T31" fmla="*/ 67 h 98"/>
                <a:gd name="T32" fmla="*/ 27 w 43"/>
                <a:gd name="T33" fmla="*/ 71 h 98"/>
                <a:gd name="T34" fmla="*/ 27 w 43"/>
                <a:gd name="T35" fmla="*/ 76 h 98"/>
                <a:gd name="T36" fmla="*/ 28 w 43"/>
                <a:gd name="T37" fmla="*/ 83 h 98"/>
                <a:gd name="T38" fmla="*/ 28 w 43"/>
                <a:gd name="T39" fmla="*/ 85 h 98"/>
                <a:gd name="T40" fmla="*/ 27 w 43"/>
                <a:gd name="T41" fmla="*/ 89 h 98"/>
                <a:gd name="T42" fmla="*/ 27 w 43"/>
                <a:gd name="T43" fmla="*/ 92 h 98"/>
                <a:gd name="T44" fmla="*/ 27 w 43"/>
                <a:gd name="T45" fmla="*/ 96 h 98"/>
                <a:gd name="T46" fmla="*/ 12 w 43"/>
                <a:gd name="T47" fmla="*/ 98 h 98"/>
                <a:gd name="T48" fmla="*/ 13 w 43"/>
                <a:gd name="T49" fmla="*/ 95 h 98"/>
                <a:gd name="T50" fmla="*/ 12 w 43"/>
                <a:gd name="T51" fmla="*/ 91 h 98"/>
                <a:gd name="T52" fmla="*/ 10 w 43"/>
                <a:gd name="T53" fmla="*/ 88 h 98"/>
                <a:gd name="T54" fmla="*/ 12 w 43"/>
                <a:gd name="T55" fmla="*/ 83 h 98"/>
                <a:gd name="T56" fmla="*/ 12 w 43"/>
                <a:gd name="T57" fmla="*/ 76 h 98"/>
                <a:gd name="T58" fmla="*/ 12 w 43"/>
                <a:gd name="T59" fmla="*/ 66 h 98"/>
                <a:gd name="T60" fmla="*/ 12 w 43"/>
                <a:gd name="T61" fmla="*/ 61 h 98"/>
                <a:gd name="T62" fmla="*/ 12 w 43"/>
                <a:gd name="T63" fmla="*/ 54 h 98"/>
                <a:gd name="T64" fmla="*/ 8 w 43"/>
                <a:gd name="T65" fmla="*/ 48 h 98"/>
                <a:gd name="T66" fmla="*/ 8 w 43"/>
                <a:gd name="T67" fmla="*/ 43 h 98"/>
                <a:gd name="T68" fmla="*/ 6 w 43"/>
                <a:gd name="T69" fmla="*/ 38 h 98"/>
                <a:gd name="T70" fmla="*/ 1 w 43"/>
                <a:gd name="T71" fmla="*/ 33 h 98"/>
                <a:gd name="T72" fmla="*/ 0 w 43"/>
                <a:gd name="T73" fmla="*/ 29 h 98"/>
                <a:gd name="T74" fmla="*/ 1 w 43"/>
                <a:gd name="T75" fmla="*/ 25 h 98"/>
                <a:gd name="T76" fmla="*/ 3 w 43"/>
                <a:gd name="T77" fmla="*/ 21 h 98"/>
                <a:gd name="T78" fmla="*/ 5 w 43"/>
                <a:gd name="T79" fmla="*/ 20 h 98"/>
                <a:gd name="T80" fmla="*/ 5 w 43"/>
                <a:gd name="T81" fmla="*/ 19 h 98"/>
                <a:gd name="T82" fmla="*/ 6 w 43"/>
                <a:gd name="T83" fmla="*/ 18 h 98"/>
                <a:gd name="T84" fmla="*/ 8 w 43"/>
                <a:gd name="T85" fmla="*/ 17 h 98"/>
                <a:gd name="T86" fmla="*/ 12 w 43"/>
                <a:gd name="T87" fmla="*/ 15 h 98"/>
                <a:gd name="T88" fmla="*/ 15 w 43"/>
                <a:gd name="T89" fmla="*/ 15 h 98"/>
                <a:gd name="T90" fmla="*/ 20 w 43"/>
                <a:gd name="T91" fmla="*/ 13 h 98"/>
                <a:gd name="T92" fmla="*/ 22 w 43"/>
                <a:gd name="T93" fmla="*/ 10 h 98"/>
                <a:gd name="T94" fmla="*/ 23 w 43"/>
                <a:gd name="T95" fmla="*/ 6 h 98"/>
                <a:gd name="T96" fmla="*/ 22 w 43"/>
                <a:gd name="T97" fmla="*/ 3 h 98"/>
                <a:gd name="T98" fmla="*/ 25 w 43"/>
                <a:gd name="T99" fmla="*/ 1 h 98"/>
                <a:gd name="T100" fmla="*/ 28 w 43"/>
                <a:gd name="T101" fmla="*/ 0 h 98"/>
                <a:gd name="T102" fmla="*/ 30 w 43"/>
                <a:gd name="T103" fmla="*/ 3 h 98"/>
                <a:gd name="T104" fmla="*/ 35 w 43"/>
                <a:gd name="T105" fmla="*/ 6 h 98"/>
                <a:gd name="T106" fmla="*/ 37 w 43"/>
                <a:gd name="T107" fmla="*/ 8 h 98"/>
                <a:gd name="T108" fmla="*/ 39 w 43"/>
                <a:gd name="T109" fmla="*/ 1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 h="98">
                  <a:moveTo>
                    <a:pt x="39" y="12"/>
                  </a:moveTo>
                  <a:lnTo>
                    <a:pt x="38" y="12"/>
                  </a:lnTo>
                  <a:lnTo>
                    <a:pt x="38" y="14"/>
                  </a:lnTo>
                  <a:lnTo>
                    <a:pt x="37" y="14"/>
                  </a:lnTo>
                  <a:lnTo>
                    <a:pt x="37" y="15"/>
                  </a:lnTo>
                  <a:lnTo>
                    <a:pt x="37" y="17"/>
                  </a:lnTo>
                  <a:lnTo>
                    <a:pt x="39" y="20"/>
                  </a:lnTo>
                  <a:lnTo>
                    <a:pt x="41" y="20"/>
                  </a:lnTo>
                  <a:lnTo>
                    <a:pt x="41" y="21"/>
                  </a:lnTo>
                  <a:lnTo>
                    <a:pt x="41" y="22"/>
                  </a:lnTo>
                  <a:lnTo>
                    <a:pt x="42" y="24"/>
                  </a:lnTo>
                  <a:lnTo>
                    <a:pt x="42" y="25"/>
                  </a:lnTo>
                  <a:lnTo>
                    <a:pt x="41" y="25"/>
                  </a:lnTo>
                  <a:lnTo>
                    <a:pt x="41" y="26"/>
                  </a:lnTo>
                  <a:lnTo>
                    <a:pt x="42" y="26"/>
                  </a:lnTo>
                  <a:lnTo>
                    <a:pt x="42" y="27"/>
                  </a:lnTo>
                  <a:lnTo>
                    <a:pt x="43" y="28"/>
                  </a:lnTo>
                  <a:lnTo>
                    <a:pt x="43" y="29"/>
                  </a:lnTo>
                  <a:lnTo>
                    <a:pt x="42" y="29"/>
                  </a:lnTo>
                  <a:lnTo>
                    <a:pt x="42" y="31"/>
                  </a:lnTo>
                  <a:lnTo>
                    <a:pt x="42" y="32"/>
                  </a:lnTo>
                  <a:lnTo>
                    <a:pt x="41" y="32"/>
                  </a:lnTo>
                  <a:lnTo>
                    <a:pt x="39" y="32"/>
                  </a:lnTo>
                  <a:lnTo>
                    <a:pt x="39" y="33"/>
                  </a:lnTo>
                  <a:lnTo>
                    <a:pt x="38" y="34"/>
                  </a:lnTo>
                  <a:lnTo>
                    <a:pt x="39" y="34"/>
                  </a:lnTo>
                  <a:lnTo>
                    <a:pt x="39" y="35"/>
                  </a:lnTo>
                  <a:lnTo>
                    <a:pt x="41" y="35"/>
                  </a:lnTo>
                  <a:lnTo>
                    <a:pt x="41" y="36"/>
                  </a:lnTo>
                  <a:lnTo>
                    <a:pt x="39" y="36"/>
                  </a:lnTo>
                  <a:lnTo>
                    <a:pt x="39" y="38"/>
                  </a:lnTo>
                  <a:lnTo>
                    <a:pt x="39" y="39"/>
                  </a:lnTo>
                  <a:lnTo>
                    <a:pt x="38" y="40"/>
                  </a:lnTo>
                  <a:lnTo>
                    <a:pt x="38" y="41"/>
                  </a:lnTo>
                  <a:lnTo>
                    <a:pt x="37" y="41"/>
                  </a:lnTo>
                  <a:lnTo>
                    <a:pt x="36" y="41"/>
                  </a:lnTo>
                  <a:lnTo>
                    <a:pt x="35" y="41"/>
                  </a:lnTo>
                  <a:lnTo>
                    <a:pt x="35" y="42"/>
                  </a:lnTo>
                  <a:lnTo>
                    <a:pt x="36" y="43"/>
                  </a:lnTo>
                  <a:lnTo>
                    <a:pt x="35" y="45"/>
                  </a:lnTo>
                  <a:lnTo>
                    <a:pt x="34" y="45"/>
                  </a:lnTo>
                  <a:lnTo>
                    <a:pt x="35" y="45"/>
                  </a:lnTo>
                  <a:lnTo>
                    <a:pt x="34" y="45"/>
                  </a:lnTo>
                  <a:lnTo>
                    <a:pt x="34" y="46"/>
                  </a:lnTo>
                  <a:lnTo>
                    <a:pt x="32" y="47"/>
                  </a:lnTo>
                  <a:lnTo>
                    <a:pt x="32" y="48"/>
                  </a:lnTo>
                  <a:lnTo>
                    <a:pt x="32" y="49"/>
                  </a:lnTo>
                  <a:lnTo>
                    <a:pt x="32" y="50"/>
                  </a:lnTo>
                  <a:lnTo>
                    <a:pt x="32" y="53"/>
                  </a:lnTo>
                  <a:lnTo>
                    <a:pt x="31" y="53"/>
                  </a:lnTo>
                  <a:lnTo>
                    <a:pt x="30" y="53"/>
                  </a:lnTo>
                  <a:lnTo>
                    <a:pt x="29" y="53"/>
                  </a:lnTo>
                  <a:lnTo>
                    <a:pt x="29" y="54"/>
                  </a:lnTo>
                  <a:lnTo>
                    <a:pt x="28" y="53"/>
                  </a:lnTo>
                  <a:lnTo>
                    <a:pt x="28" y="54"/>
                  </a:lnTo>
                  <a:lnTo>
                    <a:pt x="28" y="55"/>
                  </a:lnTo>
                  <a:lnTo>
                    <a:pt x="28" y="56"/>
                  </a:lnTo>
                  <a:lnTo>
                    <a:pt x="28" y="57"/>
                  </a:lnTo>
                  <a:lnTo>
                    <a:pt x="27" y="57"/>
                  </a:lnTo>
                  <a:lnTo>
                    <a:pt x="28" y="62"/>
                  </a:lnTo>
                  <a:lnTo>
                    <a:pt x="27" y="63"/>
                  </a:lnTo>
                  <a:lnTo>
                    <a:pt x="27" y="64"/>
                  </a:lnTo>
                  <a:lnTo>
                    <a:pt x="27" y="66"/>
                  </a:lnTo>
                  <a:lnTo>
                    <a:pt x="27" y="67"/>
                  </a:lnTo>
                  <a:lnTo>
                    <a:pt x="27" y="68"/>
                  </a:lnTo>
                  <a:lnTo>
                    <a:pt x="27" y="69"/>
                  </a:lnTo>
                  <a:lnTo>
                    <a:pt x="27" y="70"/>
                  </a:lnTo>
                  <a:lnTo>
                    <a:pt x="27" y="71"/>
                  </a:lnTo>
                  <a:lnTo>
                    <a:pt x="27" y="73"/>
                  </a:lnTo>
                  <a:lnTo>
                    <a:pt x="27" y="74"/>
                  </a:lnTo>
                  <a:lnTo>
                    <a:pt x="27" y="75"/>
                  </a:lnTo>
                  <a:lnTo>
                    <a:pt x="27" y="76"/>
                  </a:lnTo>
                  <a:lnTo>
                    <a:pt x="28" y="77"/>
                  </a:lnTo>
                  <a:lnTo>
                    <a:pt x="28" y="78"/>
                  </a:lnTo>
                  <a:lnTo>
                    <a:pt x="28" y="80"/>
                  </a:lnTo>
                  <a:lnTo>
                    <a:pt x="28" y="83"/>
                  </a:lnTo>
                  <a:lnTo>
                    <a:pt x="28" y="84"/>
                  </a:lnTo>
                  <a:lnTo>
                    <a:pt x="27" y="84"/>
                  </a:lnTo>
                  <a:lnTo>
                    <a:pt x="28" y="84"/>
                  </a:lnTo>
                  <a:lnTo>
                    <a:pt x="28" y="85"/>
                  </a:lnTo>
                  <a:lnTo>
                    <a:pt x="27" y="87"/>
                  </a:lnTo>
                  <a:lnTo>
                    <a:pt x="27" y="88"/>
                  </a:lnTo>
                  <a:lnTo>
                    <a:pt x="28" y="88"/>
                  </a:lnTo>
                  <a:lnTo>
                    <a:pt x="27" y="89"/>
                  </a:lnTo>
                  <a:lnTo>
                    <a:pt x="28" y="90"/>
                  </a:lnTo>
                  <a:lnTo>
                    <a:pt x="28" y="91"/>
                  </a:lnTo>
                  <a:lnTo>
                    <a:pt x="27" y="91"/>
                  </a:lnTo>
                  <a:lnTo>
                    <a:pt x="27" y="92"/>
                  </a:lnTo>
                  <a:lnTo>
                    <a:pt x="28" y="92"/>
                  </a:lnTo>
                  <a:lnTo>
                    <a:pt x="27" y="94"/>
                  </a:lnTo>
                  <a:lnTo>
                    <a:pt x="27" y="95"/>
                  </a:lnTo>
                  <a:lnTo>
                    <a:pt x="27" y="96"/>
                  </a:lnTo>
                  <a:lnTo>
                    <a:pt x="21" y="96"/>
                  </a:lnTo>
                  <a:lnTo>
                    <a:pt x="20" y="97"/>
                  </a:lnTo>
                  <a:lnTo>
                    <a:pt x="15" y="97"/>
                  </a:lnTo>
                  <a:lnTo>
                    <a:pt x="12" y="98"/>
                  </a:lnTo>
                  <a:lnTo>
                    <a:pt x="14" y="97"/>
                  </a:lnTo>
                  <a:lnTo>
                    <a:pt x="14" y="96"/>
                  </a:lnTo>
                  <a:lnTo>
                    <a:pt x="14" y="95"/>
                  </a:lnTo>
                  <a:lnTo>
                    <a:pt x="13" y="95"/>
                  </a:lnTo>
                  <a:lnTo>
                    <a:pt x="13" y="94"/>
                  </a:lnTo>
                  <a:lnTo>
                    <a:pt x="13" y="92"/>
                  </a:lnTo>
                  <a:lnTo>
                    <a:pt x="12" y="92"/>
                  </a:lnTo>
                  <a:lnTo>
                    <a:pt x="12" y="91"/>
                  </a:lnTo>
                  <a:lnTo>
                    <a:pt x="12" y="90"/>
                  </a:lnTo>
                  <a:lnTo>
                    <a:pt x="12" y="89"/>
                  </a:lnTo>
                  <a:lnTo>
                    <a:pt x="12" y="88"/>
                  </a:lnTo>
                  <a:lnTo>
                    <a:pt x="10" y="88"/>
                  </a:lnTo>
                  <a:lnTo>
                    <a:pt x="10" y="87"/>
                  </a:lnTo>
                  <a:lnTo>
                    <a:pt x="10" y="85"/>
                  </a:lnTo>
                  <a:lnTo>
                    <a:pt x="12" y="85"/>
                  </a:lnTo>
                  <a:lnTo>
                    <a:pt x="12" y="83"/>
                  </a:lnTo>
                  <a:lnTo>
                    <a:pt x="12" y="81"/>
                  </a:lnTo>
                  <a:lnTo>
                    <a:pt x="12" y="78"/>
                  </a:lnTo>
                  <a:lnTo>
                    <a:pt x="12" y="77"/>
                  </a:lnTo>
                  <a:lnTo>
                    <a:pt x="12" y="76"/>
                  </a:lnTo>
                  <a:lnTo>
                    <a:pt x="12" y="73"/>
                  </a:lnTo>
                  <a:lnTo>
                    <a:pt x="12" y="70"/>
                  </a:lnTo>
                  <a:lnTo>
                    <a:pt x="12" y="68"/>
                  </a:lnTo>
                  <a:lnTo>
                    <a:pt x="12" y="66"/>
                  </a:lnTo>
                  <a:lnTo>
                    <a:pt x="12" y="64"/>
                  </a:lnTo>
                  <a:lnTo>
                    <a:pt x="12" y="63"/>
                  </a:lnTo>
                  <a:lnTo>
                    <a:pt x="12" y="62"/>
                  </a:lnTo>
                  <a:lnTo>
                    <a:pt x="12" y="61"/>
                  </a:lnTo>
                  <a:lnTo>
                    <a:pt x="12" y="59"/>
                  </a:lnTo>
                  <a:lnTo>
                    <a:pt x="12" y="57"/>
                  </a:lnTo>
                  <a:lnTo>
                    <a:pt x="12" y="55"/>
                  </a:lnTo>
                  <a:lnTo>
                    <a:pt x="12" y="54"/>
                  </a:lnTo>
                  <a:lnTo>
                    <a:pt x="12" y="53"/>
                  </a:lnTo>
                  <a:lnTo>
                    <a:pt x="10" y="52"/>
                  </a:lnTo>
                  <a:lnTo>
                    <a:pt x="9" y="49"/>
                  </a:lnTo>
                  <a:lnTo>
                    <a:pt x="8" y="48"/>
                  </a:lnTo>
                  <a:lnTo>
                    <a:pt x="8" y="47"/>
                  </a:lnTo>
                  <a:lnTo>
                    <a:pt x="8" y="46"/>
                  </a:lnTo>
                  <a:lnTo>
                    <a:pt x="8" y="45"/>
                  </a:lnTo>
                  <a:lnTo>
                    <a:pt x="8" y="43"/>
                  </a:lnTo>
                  <a:lnTo>
                    <a:pt x="8" y="42"/>
                  </a:lnTo>
                  <a:lnTo>
                    <a:pt x="8" y="40"/>
                  </a:lnTo>
                  <a:lnTo>
                    <a:pt x="8" y="39"/>
                  </a:lnTo>
                  <a:lnTo>
                    <a:pt x="6" y="38"/>
                  </a:lnTo>
                  <a:lnTo>
                    <a:pt x="5" y="35"/>
                  </a:lnTo>
                  <a:lnTo>
                    <a:pt x="3" y="35"/>
                  </a:lnTo>
                  <a:lnTo>
                    <a:pt x="2" y="34"/>
                  </a:lnTo>
                  <a:lnTo>
                    <a:pt x="1" y="33"/>
                  </a:lnTo>
                  <a:lnTo>
                    <a:pt x="0" y="33"/>
                  </a:lnTo>
                  <a:lnTo>
                    <a:pt x="0" y="32"/>
                  </a:lnTo>
                  <a:lnTo>
                    <a:pt x="0" y="31"/>
                  </a:lnTo>
                  <a:lnTo>
                    <a:pt x="0" y="29"/>
                  </a:lnTo>
                  <a:lnTo>
                    <a:pt x="0" y="28"/>
                  </a:lnTo>
                  <a:lnTo>
                    <a:pt x="0" y="27"/>
                  </a:lnTo>
                  <a:lnTo>
                    <a:pt x="1" y="26"/>
                  </a:lnTo>
                  <a:lnTo>
                    <a:pt x="1" y="25"/>
                  </a:lnTo>
                  <a:lnTo>
                    <a:pt x="1" y="24"/>
                  </a:lnTo>
                  <a:lnTo>
                    <a:pt x="2" y="22"/>
                  </a:lnTo>
                  <a:lnTo>
                    <a:pt x="2" y="21"/>
                  </a:lnTo>
                  <a:lnTo>
                    <a:pt x="3" y="21"/>
                  </a:lnTo>
                  <a:lnTo>
                    <a:pt x="5" y="21"/>
                  </a:lnTo>
                  <a:lnTo>
                    <a:pt x="5" y="22"/>
                  </a:lnTo>
                  <a:lnTo>
                    <a:pt x="5" y="21"/>
                  </a:lnTo>
                  <a:lnTo>
                    <a:pt x="5" y="20"/>
                  </a:lnTo>
                  <a:lnTo>
                    <a:pt x="3" y="20"/>
                  </a:lnTo>
                  <a:lnTo>
                    <a:pt x="5" y="20"/>
                  </a:lnTo>
                  <a:lnTo>
                    <a:pt x="6" y="20"/>
                  </a:lnTo>
                  <a:lnTo>
                    <a:pt x="5" y="19"/>
                  </a:lnTo>
                  <a:lnTo>
                    <a:pt x="5" y="18"/>
                  </a:lnTo>
                  <a:lnTo>
                    <a:pt x="6" y="18"/>
                  </a:lnTo>
                  <a:lnTo>
                    <a:pt x="6" y="19"/>
                  </a:lnTo>
                  <a:lnTo>
                    <a:pt x="6" y="18"/>
                  </a:lnTo>
                  <a:lnTo>
                    <a:pt x="7" y="19"/>
                  </a:lnTo>
                  <a:lnTo>
                    <a:pt x="7" y="18"/>
                  </a:lnTo>
                  <a:lnTo>
                    <a:pt x="8" y="18"/>
                  </a:lnTo>
                  <a:lnTo>
                    <a:pt x="8" y="17"/>
                  </a:lnTo>
                  <a:lnTo>
                    <a:pt x="8" y="15"/>
                  </a:lnTo>
                  <a:lnTo>
                    <a:pt x="9" y="15"/>
                  </a:lnTo>
                  <a:lnTo>
                    <a:pt x="10" y="15"/>
                  </a:lnTo>
                  <a:lnTo>
                    <a:pt x="12" y="15"/>
                  </a:lnTo>
                  <a:lnTo>
                    <a:pt x="12" y="17"/>
                  </a:lnTo>
                  <a:lnTo>
                    <a:pt x="13" y="15"/>
                  </a:lnTo>
                  <a:lnTo>
                    <a:pt x="14" y="15"/>
                  </a:lnTo>
                  <a:lnTo>
                    <a:pt x="15" y="15"/>
                  </a:lnTo>
                  <a:lnTo>
                    <a:pt x="16" y="15"/>
                  </a:lnTo>
                  <a:lnTo>
                    <a:pt x="17" y="15"/>
                  </a:lnTo>
                  <a:lnTo>
                    <a:pt x="19" y="13"/>
                  </a:lnTo>
                  <a:lnTo>
                    <a:pt x="20" y="13"/>
                  </a:lnTo>
                  <a:lnTo>
                    <a:pt x="21" y="12"/>
                  </a:lnTo>
                  <a:lnTo>
                    <a:pt x="21" y="11"/>
                  </a:lnTo>
                  <a:lnTo>
                    <a:pt x="22" y="11"/>
                  </a:lnTo>
                  <a:lnTo>
                    <a:pt x="22" y="10"/>
                  </a:lnTo>
                  <a:lnTo>
                    <a:pt x="22" y="8"/>
                  </a:lnTo>
                  <a:lnTo>
                    <a:pt x="22" y="7"/>
                  </a:lnTo>
                  <a:lnTo>
                    <a:pt x="23" y="7"/>
                  </a:lnTo>
                  <a:lnTo>
                    <a:pt x="23" y="6"/>
                  </a:lnTo>
                  <a:lnTo>
                    <a:pt x="22" y="6"/>
                  </a:lnTo>
                  <a:lnTo>
                    <a:pt x="22" y="5"/>
                  </a:lnTo>
                  <a:lnTo>
                    <a:pt x="22" y="4"/>
                  </a:lnTo>
                  <a:lnTo>
                    <a:pt x="22" y="3"/>
                  </a:lnTo>
                  <a:lnTo>
                    <a:pt x="23" y="3"/>
                  </a:lnTo>
                  <a:lnTo>
                    <a:pt x="24" y="3"/>
                  </a:lnTo>
                  <a:lnTo>
                    <a:pt x="25" y="3"/>
                  </a:lnTo>
                  <a:lnTo>
                    <a:pt x="25" y="1"/>
                  </a:lnTo>
                  <a:lnTo>
                    <a:pt x="25" y="3"/>
                  </a:lnTo>
                  <a:lnTo>
                    <a:pt x="27" y="3"/>
                  </a:lnTo>
                  <a:lnTo>
                    <a:pt x="27" y="1"/>
                  </a:lnTo>
                  <a:lnTo>
                    <a:pt x="28" y="0"/>
                  </a:lnTo>
                  <a:lnTo>
                    <a:pt x="29" y="0"/>
                  </a:lnTo>
                  <a:lnTo>
                    <a:pt x="29" y="1"/>
                  </a:lnTo>
                  <a:lnTo>
                    <a:pt x="30" y="1"/>
                  </a:lnTo>
                  <a:lnTo>
                    <a:pt x="30" y="3"/>
                  </a:lnTo>
                  <a:lnTo>
                    <a:pt x="31" y="3"/>
                  </a:lnTo>
                  <a:lnTo>
                    <a:pt x="31" y="4"/>
                  </a:lnTo>
                  <a:lnTo>
                    <a:pt x="34" y="6"/>
                  </a:lnTo>
                  <a:lnTo>
                    <a:pt x="35" y="6"/>
                  </a:lnTo>
                  <a:lnTo>
                    <a:pt x="35" y="7"/>
                  </a:lnTo>
                  <a:lnTo>
                    <a:pt x="35" y="8"/>
                  </a:lnTo>
                  <a:lnTo>
                    <a:pt x="36" y="8"/>
                  </a:lnTo>
                  <a:lnTo>
                    <a:pt x="37" y="8"/>
                  </a:lnTo>
                  <a:lnTo>
                    <a:pt x="37" y="10"/>
                  </a:lnTo>
                  <a:lnTo>
                    <a:pt x="38" y="10"/>
                  </a:lnTo>
                  <a:lnTo>
                    <a:pt x="38" y="11"/>
                  </a:lnTo>
                  <a:lnTo>
                    <a:pt x="39" y="1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3" name="Freeform 836">
              <a:extLst>
                <a:ext uri="{FF2B5EF4-FFF2-40B4-BE49-F238E27FC236}">
                  <a16:creationId xmlns:a16="http://schemas.microsoft.com/office/drawing/2014/main" id="{1B998B8A-15DE-4E6D-8B88-4511C4E9EED3}"/>
                </a:ext>
              </a:extLst>
            </p:cNvPr>
            <p:cNvSpPr>
              <a:spLocks/>
            </p:cNvSpPr>
            <p:nvPr/>
          </p:nvSpPr>
          <p:spPr bwMode="auto">
            <a:xfrm>
              <a:off x="5704931" y="3029346"/>
              <a:ext cx="145569" cy="120194"/>
            </a:xfrm>
            <a:custGeom>
              <a:avLst/>
              <a:gdLst>
                <a:gd name="T0" fmla="*/ 81 w 109"/>
                <a:gd name="T1" fmla="*/ 12 h 90"/>
                <a:gd name="T2" fmla="*/ 82 w 109"/>
                <a:gd name="T3" fmla="*/ 18 h 90"/>
                <a:gd name="T4" fmla="*/ 85 w 109"/>
                <a:gd name="T5" fmla="*/ 22 h 90"/>
                <a:gd name="T6" fmla="*/ 90 w 109"/>
                <a:gd name="T7" fmla="*/ 26 h 90"/>
                <a:gd name="T8" fmla="*/ 92 w 109"/>
                <a:gd name="T9" fmla="*/ 27 h 90"/>
                <a:gd name="T10" fmla="*/ 89 w 109"/>
                <a:gd name="T11" fmla="*/ 32 h 90"/>
                <a:gd name="T12" fmla="*/ 95 w 109"/>
                <a:gd name="T13" fmla="*/ 35 h 90"/>
                <a:gd name="T14" fmla="*/ 102 w 109"/>
                <a:gd name="T15" fmla="*/ 39 h 90"/>
                <a:gd name="T16" fmla="*/ 107 w 109"/>
                <a:gd name="T17" fmla="*/ 39 h 90"/>
                <a:gd name="T18" fmla="*/ 107 w 109"/>
                <a:gd name="T19" fmla="*/ 42 h 90"/>
                <a:gd name="T20" fmla="*/ 108 w 109"/>
                <a:gd name="T21" fmla="*/ 48 h 90"/>
                <a:gd name="T22" fmla="*/ 108 w 109"/>
                <a:gd name="T23" fmla="*/ 54 h 90"/>
                <a:gd name="T24" fmla="*/ 101 w 109"/>
                <a:gd name="T25" fmla="*/ 57 h 90"/>
                <a:gd name="T26" fmla="*/ 95 w 109"/>
                <a:gd name="T27" fmla="*/ 57 h 90"/>
                <a:gd name="T28" fmla="*/ 93 w 109"/>
                <a:gd name="T29" fmla="*/ 61 h 90"/>
                <a:gd name="T30" fmla="*/ 90 w 109"/>
                <a:gd name="T31" fmla="*/ 62 h 90"/>
                <a:gd name="T32" fmla="*/ 89 w 109"/>
                <a:gd name="T33" fmla="*/ 63 h 90"/>
                <a:gd name="T34" fmla="*/ 83 w 109"/>
                <a:gd name="T35" fmla="*/ 64 h 90"/>
                <a:gd name="T36" fmla="*/ 72 w 109"/>
                <a:gd name="T37" fmla="*/ 62 h 90"/>
                <a:gd name="T38" fmla="*/ 68 w 109"/>
                <a:gd name="T39" fmla="*/ 66 h 90"/>
                <a:gd name="T40" fmla="*/ 64 w 109"/>
                <a:gd name="T41" fmla="*/ 64 h 90"/>
                <a:gd name="T42" fmla="*/ 52 w 109"/>
                <a:gd name="T43" fmla="*/ 64 h 90"/>
                <a:gd name="T44" fmla="*/ 37 w 109"/>
                <a:gd name="T45" fmla="*/ 64 h 90"/>
                <a:gd name="T46" fmla="*/ 36 w 109"/>
                <a:gd name="T47" fmla="*/ 71 h 90"/>
                <a:gd name="T48" fmla="*/ 37 w 109"/>
                <a:gd name="T49" fmla="*/ 75 h 90"/>
                <a:gd name="T50" fmla="*/ 38 w 109"/>
                <a:gd name="T51" fmla="*/ 80 h 90"/>
                <a:gd name="T52" fmla="*/ 38 w 109"/>
                <a:gd name="T53" fmla="*/ 85 h 90"/>
                <a:gd name="T54" fmla="*/ 37 w 109"/>
                <a:gd name="T55" fmla="*/ 90 h 90"/>
                <a:gd name="T56" fmla="*/ 33 w 109"/>
                <a:gd name="T57" fmla="*/ 83 h 90"/>
                <a:gd name="T58" fmla="*/ 30 w 109"/>
                <a:gd name="T59" fmla="*/ 82 h 90"/>
                <a:gd name="T60" fmla="*/ 25 w 109"/>
                <a:gd name="T61" fmla="*/ 81 h 90"/>
                <a:gd name="T62" fmla="*/ 19 w 109"/>
                <a:gd name="T63" fmla="*/ 83 h 90"/>
                <a:gd name="T64" fmla="*/ 16 w 109"/>
                <a:gd name="T65" fmla="*/ 87 h 90"/>
                <a:gd name="T66" fmla="*/ 12 w 109"/>
                <a:gd name="T67" fmla="*/ 85 h 90"/>
                <a:gd name="T68" fmla="*/ 9 w 109"/>
                <a:gd name="T69" fmla="*/ 84 h 90"/>
                <a:gd name="T70" fmla="*/ 8 w 109"/>
                <a:gd name="T71" fmla="*/ 81 h 90"/>
                <a:gd name="T72" fmla="*/ 7 w 109"/>
                <a:gd name="T73" fmla="*/ 80 h 90"/>
                <a:gd name="T74" fmla="*/ 5 w 109"/>
                <a:gd name="T75" fmla="*/ 77 h 90"/>
                <a:gd name="T76" fmla="*/ 2 w 109"/>
                <a:gd name="T77" fmla="*/ 76 h 90"/>
                <a:gd name="T78" fmla="*/ 0 w 109"/>
                <a:gd name="T79" fmla="*/ 74 h 90"/>
                <a:gd name="T80" fmla="*/ 0 w 109"/>
                <a:gd name="T81" fmla="*/ 70 h 90"/>
                <a:gd name="T82" fmla="*/ 0 w 109"/>
                <a:gd name="T83" fmla="*/ 64 h 90"/>
                <a:gd name="T84" fmla="*/ 3 w 109"/>
                <a:gd name="T85" fmla="*/ 61 h 90"/>
                <a:gd name="T86" fmla="*/ 3 w 109"/>
                <a:gd name="T87" fmla="*/ 54 h 90"/>
                <a:gd name="T88" fmla="*/ 3 w 109"/>
                <a:gd name="T89" fmla="*/ 50 h 90"/>
                <a:gd name="T90" fmla="*/ 8 w 109"/>
                <a:gd name="T91" fmla="*/ 48 h 90"/>
                <a:gd name="T92" fmla="*/ 11 w 109"/>
                <a:gd name="T93" fmla="*/ 48 h 90"/>
                <a:gd name="T94" fmla="*/ 15 w 109"/>
                <a:gd name="T95" fmla="*/ 43 h 90"/>
                <a:gd name="T96" fmla="*/ 15 w 109"/>
                <a:gd name="T97" fmla="*/ 39 h 90"/>
                <a:gd name="T98" fmla="*/ 17 w 109"/>
                <a:gd name="T99" fmla="*/ 36 h 90"/>
                <a:gd name="T100" fmla="*/ 16 w 109"/>
                <a:gd name="T101" fmla="*/ 32 h 90"/>
                <a:gd name="T102" fmla="*/ 19 w 109"/>
                <a:gd name="T103" fmla="*/ 28 h 90"/>
                <a:gd name="T104" fmla="*/ 22 w 109"/>
                <a:gd name="T105" fmla="*/ 25 h 90"/>
                <a:gd name="T106" fmla="*/ 25 w 109"/>
                <a:gd name="T107" fmla="*/ 28 h 90"/>
                <a:gd name="T108" fmla="*/ 31 w 109"/>
                <a:gd name="T109" fmla="*/ 28 h 90"/>
                <a:gd name="T110" fmla="*/ 33 w 109"/>
                <a:gd name="T111" fmla="*/ 22 h 90"/>
                <a:gd name="T112" fmla="*/ 36 w 109"/>
                <a:gd name="T113" fmla="*/ 19 h 90"/>
                <a:gd name="T114" fmla="*/ 42 w 109"/>
                <a:gd name="T115" fmla="*/ 13 h 90"/>
                <a:gd name="T116" fmla="*/ 50 w 109"/>
                <a:gd name="T117" fmla="*/ 10 h 90"/>
                <a:gd name="T118" fmla="*/ 61 w 109"/>
                <a:gd name="T119" fmla="*/ 5 h 90"/>
                <a:gd name="T120" fmla="*/ 72 w 109"/>
                <a:gd name="T12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9" h="90">
                  <a:moveTo>
                    <a:pt x="79" y="3"/>
                  </a:moveTo>
                  <a:lnTo>
                    <a:pt x="79" y="4"/>
                  </a:lnTo>
                  <a:lnTo>
                    <a:pt x="79" y="5"/>
                  </a:lnTo>
                  <a:lnTo>
                    <a:pt x="79" y="8"/>
                  </a:lnTo>
                  <a:lnTo>
                    <a:pt x="79" y="10"/>
                  </a:lnTo>
                  <a:lnTo>
                    <a:pt x="81" y="12"/>
                  </a:lnTo>
                  <a:lnTo>
                    <a:pt x="81" y="13"/>
                  </a:lnTo>
                  <a:lnTo>
                    <a:pt x="81" y="14"/>
                  </a:lnTo>
                  <a:lnTo>
                    <a:pt x="81" y="15"/>
                  </a:lnTo>
                  <a:lnTo>
                    <a:pt x="81" y="17"/>
                  </a:lnTo>
                  <a:lnTo>
                    <a:pt x="82" y="17"/>
                  </a:lnTo>
                  <a:lnTo>
                    <a:pt x="82" y="18"/>
                  </a:lnTo>
                  <a:lnTo>
                    <a:pt x="82" y="19"/>
                  </a:lnTo>
                  <a:lnTo>
                    <a:pt x="83" y="19"/>
                  </a:lnTo>
                  <a:lnTo>
                    <a:pt x="83" y="20"/>
                  </a:lnTo>
                  <a:lnTo>
                    <a:pt x="85" y="20"/>
                  </a:lnTo>
                  <a:lnTo>
                    <a:pt x="85" y="21"/>
                  </a:lnTo>
                  <a:lnTo>
                    <a:pt x="85" y="22"/>
                  </a:lnTo>
                  <a:lnTo>
                    <a:pt x="87" y="22"/>
                  </a:lnTo>
                  <a:lnTo>
                    <a:pt x="88" y="22"/>
                  </a:lnTo>
                  <a:lnTo>
                    <a:pt x="88" y="24"/>
                  </a:lnTo>
                  <a:lnTo>
                    <a:pt x="89" y="24"/>
                  </a:lnTo>
                  <a:lnTo>
                    <a:pt x="90" y="25"/>
                  </a:lnTo>
                  <a:lnTo>
                    <a:pt x="90" y="26"/>
                  </a:lnTo>
                  <a:lnTo>
                    <a:pt x="93" y="27"/>
                  </a:lnTo>
                  <a:lnTo>
                    <a:pt x="94" y="27"/>
                  </a:lnTo>
                  <a:lnTo>
                    <a:pt x="93" y="27"/>
                  </a:lnTo>
                  <a:lnTo>
                    <a:pt x="93" y="28"/>
                  </a:lnTo>
                  <a:lnTo>
                    <a:pt x="92" y="28"/>
                  </a:lnTo>
                  <a:lnTo>
                    <a:pt x="92" y="27"/>
                  </a:lnTo>
                  <a:lnTo>
                    <a:pt x="90" y="27"/>
                  </a:lnTo>
                  <a:lnTo>
                    <a:pt x="89" y="27"/>
                  </a:lnTo>
                  <a:lnTo>
                    <a:pt x="89" y="28"/>
                  </a:lnTo>
                  <a:lnTo>
                    <a:pt x="89" y="29"/>
                  </a:lnTo>
                  <a:lnTo>
                    <a:pt x="89" y="31"/>
                  </a:lnTo>
                  <a:lnTo>
                    <a:pt x="89" y="32"/>
                  </a:lnTo>
                  <a:lnTo>
                    <a:pt x="89" y="33"/>
                  </a:lnTo>
                  <a:lnTo>
                    <a:pt x="90" y="33"/>
                  </a:lnTo>
                  <a:lnTo>
                    <a:pt x="92" y="33"/>
                  </a:lnTo>
                  <a:lnTo>
                    <a:pt x="93" y="34"/>
                  </a:lnTo>
                  <a:lnTo>
                    <a:pt x="94" y="35"/>
                  </a:lnTo>
                  <a:lnTo>
                    <a:pt x="95" y="35"/>
                  </a:lnTo>
                  <a:lnTo>
                    <a:pt x="96" y="36"/>
                  </a:lnTo>
                  <a:lnTo>
                    <a:pt x="96" y="38"/>
                  </a:lnTo>
                  <a:lnTo>
                    <a:pt x="97" y="39"/>
                  </a:lnTo>
                  <a:lnTo>
                    <a:pt x="99" y="39"/>
                  </a:lnTo>
                  <a:lnTo>
                    <a:pt x="100" y="39"/>
                  </a:lnTo>
                  <a:lnTo>
                    <a:pt x="102" y="39"/>
                  </a:lnTo>
                  <a:lnTo>
                    <a:pt x="102" y="38"/>
                  </a:lnTo>
                  <a:lnTo>
                    <a:pt x="103" y="38"/>
                  </a:lnTo>
                  <a:lnTo>
                    <a:pt x="104" y="38"/>
                  </a:lnTo>
                  <a:lnTo>
                    <a:pt x="106" y="38"/>
                  </a:lnTo>
                  <a:lnTo>
                    <a:pt x="106" y="39"/>
                  </a:lnTo>
                  <a:lnTo>
                    <a:pt x="107" y="39"/>
                  </a:lnTo>
                  <a:lnTo>
                    <a:pt x="107" y="40"/>
                  </a:lnTo>
                  <a:lnTo>
                    <a:pt x="107" y="41"/>
                  </a:lnTo>
                  <a:lnTo>
                    <a:pt x="108" y="41"/>
                  </a:lnTo>
                  <a:lnTo>
                    <a:pt x="107" y="41"/>
                  </a:lnTo>
                  <a:lnTo>
                    <a:pt x="108" y="42"/>
                  </a:lnTo>
                  <a:lnTo>
                    <a:pt x="107" y="42"/>
                  </a:lnTo>
                  <a:lnTo>
                    <a:pt x="106" y="42"/>
                  </a:lnTo>
                  <a:lnTo>
                    <a:pt x="104" y="42"/>
                  </a:lnTo>
                  <a:lnTo>
                    <a:pt x="104" y="43"/>
                  </a:lnTo>
                  <a:lnTo>
                    <a:pt x="106" y="45"/>
                  </a:lnTo>
                  <a:lnTo>
                    <a:pt x="107" y="47"/>
                  </a:lnTo>
                  <a:lnTo>
                    <a:pt x="108" y="48"/>
                  </a:lnTo>
                  <a:lnTo>
                    <a:pt x="109" y="49"/>
                  </a:lnTo>
                  <a:lnTo>
                    <a:pt x="109" y="50"/>
                  </a:lnTo>
                  <a:lnTo>
                    <a:pt x="109" y="52"/>
                  </a:lnTo>
                  <a:lnTo>
                    <a:pt x="109" y="53"/>
                  </a:lnTo>
                  <a:lnTo>
                    <a:pt x="108" y="53"/>
                  </a:lnTo>
                  <a:lnTo>
                    <a:pt x="108" y="54"/>
                  </a:lnTo>
                  <a:lnTo>
                    <a:pt x="107" y="55"/>
                  </a:lnTo>
                  <a:lnTo>
                    <a:pt x="106" y="55"/>
                  </a:lnTo>
                  <a:lnTo>
                    <a:pt x="104" y="57"/>
                  </a:lnTo>
                  <a:lnTo>
                    <a:pt x="103" y="57"/>
                  </a:lnTo>
                  <a:lnTo>
                    <a:pt x="102" y="57"/>
                  </a:lnTo>
                  <a:lnTo>
                    <a:pt x="101" y="57"/>
                  </a:lnTo>
                  <a:lnTo>
                    <a:pt x="100" y="57"/>
                  </a:lnTo>
                  <a:lnTo>
                    <a:pt x="99" y="59"/>
                  </a:lnTo>
                  <a:lnTo>
                    <a:pt x="99" y="57"/>
                  </a:lnTo>
                  <a:lnTo>
                    <a:pt x="97" y="57"/>
                  </a:lnTo>
                  <a:lnTo>
                    <a:pt x="96" y="57"/>
                  </a:lnTo>
                  <a:lnTo>
                    <a:pt x="95" y="57"/>
                  </a:lnTo>
                  <a:lnTo>
                    <a:pt x="95" y="59"/>
                  </a:lnTo>
                  <a:lnTo>
                    <a:pt x="95" y="60"/>
                  </a:lnTo>
                  <a:lnTo>
                    <a:pt x="94" y="60"/>
                  </a:lnTo>
                  <a:lnTo>
                    <a:pt x="94" y="61"/>
                  </a:lnTo>
                  <a:lnTo>
                    <a:pt x="93" y="60"/>
                  </a:lnTo>
                  <a:lnTo>
                    <a:pt x="93" y="61"/>
                  </a:lnTo>
                  <a:lnTo>
                    <a:pt x="93" y="60"/>
                  </a:lnTo>
                  <a:lnTo>
                    <a:pt x="92" y="60"/>
                  </a:lnTo>
                  <a:lnTo>
                    <a:pt x="92" y="61"/>
                  </a:lnTo>
                  <a:lnTo>
                    <a:pt x="93" y="62"/>
                  </a:lnTo>
                  <a:lnTo>
                    <a:pt x="92" y="62"/>
                  </a:lnTo>
                  <a:lnTo>
                    <a:pt x="90" y="62"/>
                  </a:lnTo>
                  <a:lnTo>
                    <a:pt x="92" y="62"/>
                  </a:lnTo>
                  <a:lnTo>
                    <a:pt x="92" y="63"/>
                  </a:lnTo>
                  <a:lnTo>
                    <a:pt x="92" y="64"/>
                  </a:lnTo>
                  <a:lnTo>
                    <a:pt x="92" y="63"/>
                  </a:lnTo>
                  <a:lnTo>
                    <a:pt x="90" y="63"/>
                  </a:lnTo>
                  <a:lnTo>
                    <a:pt x="89" y="63"/>
                  </a:lnTo>
                  <a:lnTo>
                    <a:pt x="89" y="64"/>
                  </a:lnTo>
                  <a:lnTo>
                    <a:pt x="87" y="64"/>
                  </a:lnTo>
                  <a:lnTo>
                    <a:pt x="86" y="64"/>
                  </a:lnTo>
                  <a:lnTo>
                    <a:pt x="85" y="64"/>
                  </a:lnTo>
                  <a:lnTo>
                    <a:pt x="83" y="66"/>
                  </a:lnTo>
                  <a:lnTo>
                    <a:pt x="83" y="64"/>
                  </a:lnTo>
                  <a:lnTo>
                    <a:pt x="81" y="64"/>
                  </a:lnTo>
                  <a:lnTo>
                    <a:pt x="80" y="64"/>
                  </a:lnTo>
                  <a:lnTo>
                    <a:pt x="76" y="63"/>
                  </a:lnTo>
                  <a:lnTo>
                    <a:pt x="75" y="63"/>
                  </a:lnTo>
                  <a:lnTo>
                    <a:pt x="74" y="62"/>
                  </a:lnTo>
                  <a:lnTo>
                    <a:pt x="72" y="62"/>
                  </a:lnTo>
                  <a:lnTo>
                    <a:pt x="72" y="63"/>
                  </a:lnTo>
                  <a:lnTo>
                    <a:pt x="71" y="63"/>
                  </a:lnTo>
                  <a:lnTo>
                    <a:pt x="69" y="63"/>
                  </a:lnTo>
                  <a:lnTo>
                    <a:pt x="69" y="64"/>
                  </a:lnTo>
                  <a:lnTo>
                    <a:pt x="68" y="64"/>
                  </a:lnTo>
                  <a:lnTo>
                    <a:pt x="68" y="66"/>
                  </a:lnTo>
                  <a:lnTo>
                    <a:pt x="67" y="66"/>
                  </a:lnTo>
                  <a:lnTo>
                    <a:pt x="67" y="64"/>
                  </a:lnTo>
                  <a:lnTo>
                    <a:pt x="66" y="64"/>
                  </a:lnTo>
                  <a:lnTo>
                    <a:pt x="65" y="64"/>
                  </a:lnTo>
                  <a:lnTo>
                    <a:pt x="64" y="66"/>
                  </a:lnTo>
                  <a:lnTo>
                    <a:pt x="64" y="64"/>
                  </a:lnTo>
                  <a:lnTo>
                    <a:pt x="61" y="64"/>
                  </a:lnTo>
                  <a:lnTo>
                    <a:pt x="59" y="64"/>
                  </a:lnTo>
                  <a:lnTo>
                    <a:pt x="58" y="64"/>
                  </a:lnTo>
                  <a:lnTo>
                    <a:pt x="57" y="64"/>
                  </a:lnTo>
                  <a:lnTo>
                    <a:pt x="54" y="64"/>
                  </a:lnTo>
                  <a:lnTo>
                    <a:pt x="52" y="64"/>
                  </a:lnTo>
                  <a:lnTo>
                    <a:pt x="48" y="64"/>
                  </a:lnTo>
                  <a:lnTo>
                    <a:pt x="46" y="64"/>
                  </a:lnTo>
                  <a:lnTo>
                    <a:pt x="43" y="64"/>
                  </a:lnTo>
                  <a:lnTo>
                    <a:pt x="39" y="64"/>
                  </a:lnTo>
                  <a:lnTo>
                    <a:pt x="38" y="64"/>
                  </a:lnTo>
                  <a:lnTo>
                    <a:pt x="37" y="64"/>
                  </a:lnTo>
                  <a:lnTo>
                    <a:pt x="37" y="66"/>
                  </a:lnTo>
                  <a:lnTo>
                    <a:pt x="37" y="67"/>
                  </a:lnTo>
                  <a:lnTo>
                    <a:pt x="36" y="68"/>
                  </a:lnTo>
                  <a:lnTo>
                    <a:pt x="36" y="69"/>
                  </a:lnTo>
                  <a:lnTo>
                    <a:pt x="36" y="70"/>
                  </a:lnTo>
                  <a:lnTo>
                    <a:pt x="36" y="71"/>
                  </a:lnTo>
                  <a:lnTo>
                    <a:pt x="36" y="73"/>
                  </a:lnTo>
                  <a:lnTo>
                    <a:pt x="37" y="73"/>
                  </a:lnTo>
                  <a:lnTo>
                    <a:pt x="37" y="74"/>
                  </a:lnTo>
                  <a:lnTo>
                    <a:pt x="38" y="74"/>
                  </a:lnTo>
                  <a:lnTo>
                    <a:pt x="37" y="74"/>
                  </a:lnTo>
                  <a:lnTo>
                    <a:pt x="37" y="75"/>
                  </a:lnTo>
                  <a:lnTo>
                    <a:pt x="37" y="76"/>
                  </a:lnTo>
                  <a:lnTo>
                    <a:pt x="38" y="76"/>
                  </a:lnTo>
                  <a:lnTo>
                    <a:pt x="38" y="77"/>
                  </a:lnTo>
                  <a:lnTo>
                    <a:pt x="37" y="77"/>
                  </a:lnTo>
                  <a:lnTo>
                    <a:pt x="38" y="78"/>
                  </a:lnTo>
                  <a:lnTo>
                    <a:pt x="38" y="80"/>
                  </a:lnTo>
                  <a:lnTo>
                    <a:pt x="38" y="81"/>
                  </a:lnTo>
                  <a:lnTo>
                    <a:pt x="38" y="82"/>
                  </a:lnTo>
                  <a:lnTo>
                    <a:pt x="38" y="83"/>
                  </a:lnTo>
                  <a:lnTo>
                    <a:pt x="38" y="84"/>
                  </a:lnTo>
                  <a:lnTo>
                    <a:pt x="37" y="84"/>
                  </a:lnTo>
                  <a:lnTo>
                    <a:pt x="38" y="85"/>
                  </a:lnTo>
                  <a:lnTo>
                    <a:pt x="38" y="87"/>
                  </a:lnTo>
                  <a:lnTo>
                    <a:pt x="38" y="88"/>
                  </a:lnTo>
                  <a:lnTo>
                    <a:pt x="39" y="89"/>
                  </a:lnTo>
                  <a:lnTo>
                    <a:pt x="38" y="89"/>
                  </a:lnTo>
                  <a:lnTo>
                    <a:pt x="38" y="90"/>
                  </a:lnTo>
                  <a:lnTo>
                    <a:pt x="37" y="90"/>
                  </a:lnTo>
                  <a:lnTo>
                    <a:pt x="36" y="88"/>
                  </a:lnTo>
                  <a:lnTo>
                    <a:pt x="35" y="87"/>
                  </a:lnTo>
                  <a:lnTo>
                    <a:pt x="35" y="85"/>
                  </a:lnTo>
                  <a:lnTo>
                    <a:pt x="35" y="84"/>
                  </a:lnTo>
                  <a:lnTo>
                    <a:pt x="33" y="84"/>
                  </a:lnTo>
                  <a:lnTo>
                    <a:pt x="33" y="83"/>
                  </a:lnTo>
                  <a:lnTo>
                    <a:pt x="32" y="83"/>
                  </a:lnTo>
                  <a:lnTo>
                    <a:pt x="32" y="82"/>
                  </a:lnTo>
                  <a:lnTo>
                    <a:pt x="31" y="82"/>
                  </a:lnTo>
                  <a:lnTo>
                    <a:pt x="31" y="83"/>
                  </a:lnTo>
                  <a:lnTo>
                    <a:pt x="30" y="83"/>
                  </a:lnTo>
                  <a:lnTo>
                    <a:pt x="30" y="82"/>
                  </a:lnTo>
                  <a:lnTo>
                    <a:pt x="29" y="82"/>
                  </a:lnTo>
                  <a:lnTo>
                    <a:pt x="26" y="82"/>
                  </a:lnTo>
                  <a:lnTo>
                    <a:pt x="25" y="82"/>
                  </a:lnTo>
                  <a:lnTo>
                    <a:pt x="25" y="81"/>
                  </a:lnTo>
                  <a:lnTo>
                    <a:pt x="25" y="82"/>
                  </a:lnTo>
                  <a:lnTo>
                    <a:pt x="25" y="81"/>
                  </a:lnTo>
                  <a:lnTo>
                    <a:pt x="24" y="82"/>
                  </a:lnTo>
                  <a:lnTo>
                    <a:pt x="23" y="82"/>
                  </a:lnTo>
                  <a:lnTo>
                    <a:pt x="22" y="82"/>
                  </a:lnTo>
                  <a:lnTo>
                    <a:pt x="22" y="83"/>
                  </a:lnTo>
                  <a:lnTo>
                    <a:pt x="21" y="83"/>
                  </a:lnTo>
                  <a:lnTo>
                    <a:pt x="19" y="83"/>
                  </a:lnTo>
                  <a:lnTo>
                    <a:pt x="18" y="83"/>
                  </a:lnTo>
                  <a:lnTo>
                    <a:pt x="18" y="84"/>
                  </a:lnTo>
                  <a:lnTo>
                    <a:pt x="17" y="84"/>
                  </a:lnTo>
                  <a:lnTo>
                    <a:pt x="17" y="85"/>
                  </a:lnTo>
                  <a:lnTo>
                    <a:pt x="16" y="85"/>
                  </a:lnTo>
                  <a:lnTo>
                    <a:pt x="16" y="87"/>
                  </a:lnTo>
                  <a:lnTo>
                    <a:pt x="15" y="87"/>
                  </a:lnTo>
                  <a:lnTo>
                    <a:pt x="15" y="85"/>
                  </a:lnTo>
                  <a:lnTo>
                    <a:pt x="14" y="85"/>
                  </a:lnTo>
                  <a:lnTo>
                    <a:pt x="14" y="84"/>
                  </a:lnTo>
                  <a:lnTo>
                    <a:pt x="14" y="85"/>
                  </a:lnTo>
                  <a:lnTo>
                    <a:pt x="12" y="85"/>
                  </a:lnTo>
                  <a:lnTo>
                    <a:pt x="12" y="84"/>
                  </a:lnTo>
                  <a:lnTo>
                    <a:pt x="12" y="85"/>
                  </a:lnTo>
                  <a:lnTo>
                    <a:pt x="11" y="85"/>
                  </a:lnTo>
                  <a:lnTo>
                    <a:pt x="11" y="84"/>
                  </a:lnTo>
                  <a:lnTo>
                    <a:pt x="10" y="84"/>
                  </a:lnTo>
                  <a:lnTo>
                    <a:pt x="9" y="84"/>
                  </a:lnTo>
                  <a:lnTo>
                    <a:pt x="10" y="84"/>
                  </a:lnTo>
                  <a:lnTo>
                    <a:pt x="10" y="83"/>
                  </a:lnTo>
                  <a:lnTo>
                    <a:pt x="9" y="83"/>
                  </a:lnTo>
                  <a:lnTo>
                    <a:pt x="9" y="82"/>
                  </a:lnTo>
                  <a:lnTo>
                    <a:pt x="8" y="82"/>
                  </a:lnTo>
                  <a:lnTo>
                    <a:pt x="8" y="81"/>
                  </a:lnTo>
                  <a:lnTo>
                    <a:pt x="7" y="81"/>
                  </a:lnTo>
                  <a:lnTo>
                    <a:pt x="8" y="81"/>
                  </a:lnTo>
                  <a:lnTo>
                    <a:pt x="8" y="80"/>
                  </a:lnTo>
                  <a:lnTo>
                    <a:pt x="7" y="80"/>
                  </a:lnTo>
                  <a:lnTo>
                    <a:pt x="7" y="78"/>
                  </a:lnTo>
                  <a:lnTo>
                    <a:pt x="7" y="80"/>
                  </a:lnTo>
                  <a:lnTo>
                    <a:pt x="5" y="78"/>
                  </a:lnTo>
                  <a:lnTo>
                    <a:pt x="7" y="78"/>
                  </a:lnTo>
                  <a:lnTo>
                    <a:pt x="5" y="78"/>
                  </a:lnTo>
                  <a:lnTo>
                    <a:pt x="7" y="78"/>
                  </a:lnTo>
                  <a:lnTo>
                    <a:pt x="5" y="78"/>
                  </a:lnTo>
                  <a:lnTo>
                    <a:pt x="5" y="77"/>
                  </a:lnTo>
                  <a:lnTo>
                    <a:pt x="5" y="76"/>
                  </a:lnTo>
                  <a:lnTo>
                    <a:pt x="4" y="76"/>
                  </a:lnTo>
                  <a:lnTo>
                    <a:pt x="4" y="75"/>
                  </a:lnTo>
                  <a:lnTo>
                    <a:pt x="3" y="75"/>
                  </a:lnTo>
                  <a:lnTo>
                    <a:pt x="2" y="75"/>
                  </a:lnTo>
                  <a:lnTo>
                    <a:pt x="2" y="76"/>
                  </a:lnTo>
                  <a:lnTo>
                    <a:pt x="2" y="75"/>
                  </a:lnTo>
                  <a:lnTo>
                    <a:pt x="2" y="76"/>
                  </a:lnTo>
                  <a:lnTo>
                    <a:pt x="1" y="76"/>
                  </a:lnTo>
                  <a:lnTo>
                    <a:pt x="1" y="75"/>
                  </a:lnTo>
                  <a:lnTo>
                    <a:pt x="0" y="75"/>
                  </a:lnTo>
                  <a:lnTo>
                    <a:pt x="0" y="74"/>
                  </a:lnTo>
                  <a:lnTo>
                    <a:pt x="0" y="73"/>
                  </a:lnTo>
                  <a:lnTo>
                    <a:pt x="0" y="71"/>
                  </a:lnTo>
                  <a:lnTo>
                    <a:pt x="1" y="71"/>
                  </a:lnTo>
                  <a:lnTo>
                    <a:pt x="0" y="70"/>
                  </a:lnTo>
                  <a:lnTo>
                    <a:pt x="1" y="70"/>
                  </a:lnTo>
                  <a:lnTo>
                    <a:pt x="0" y="70"/>
                  </a:lnTo>
                  <a:lnTo>
                    <a:pt x="0" y="69"/>
                  </a:lnTo>
                  <a:lnTo>
                    <a:pt x="1" y="69"/>
                  </a:lnTo>
                  <a:lnTo>
                    <a:pt x="1" y="68"/>
                  </a:lnTo>
                  <a:lnTo>
                    <a:pt x="1" y="67"/>
                  </a:lnTo>
                  <a:lnTo>
                    <a:pt x="1" y="66"/>
                  </a:lnTo>
                  <a:lnTo>
                    <a:pt x="0" y="64"/>
                  </a:lnTo>
                  <a:lnTo>
                    <a:pt x="0" y="66"/>
                  </a:lnTo>
                  <a:lnTo>
                    <a:pt x="0" y="64"/>
                  </a:lnTo>
                  <a:lnTo>
                    <a:pt x="0" y="63"/>
                  </a:lnTo>
                  <a:lnTo>
                    <a:pt x="2" y="63"/>
                  </a:lnTo>
                  <a:lnTo>
                    <a:pt x="2" y="62"/>
                  </a:lnTo>
                  <a:lnTo>
                    <a:pt x="3" y="61"/>
                  </a:lnTo>
                  <a:lnTo>
                    <a:pt x="3" y="60"/>
                  </a:lnTo>
                  <a:lnTo>
                    <a:pt x="3" y="59"/>
                  </a:lnTo>
                  <a:lnTo>
                    <a:pt x="4" y="57"/>
                  </a:lnTo>
                  <a:lnTo>
                    <a:pt x="4" y="56"/>
                  </a:lnTo>
                  <a:lnTo>
                    <a:pt x="3" y="55"/>
                  </a:lnTo>
                  <a:lnTo>
                    <a:pt x="3" y="54"/>
                  </a:lnTo>
                  <a:lnTo>
                    <a:pt x="3" y="53"/>
                  </a:lnTo>
                  <a:lnTo>
                    <a:pt x="2" y="52"/>
                  </a:lnTo>
                  <a:lnTo>
                    <a:pt x="1" y="52"/>
                  </a:lnTo>
                  <a:lnTo>
                    <a:pt x="2" y="52"/>
                  </a:lnTo>
                  <a:lnTo>
                    <a:pt x="3" y="52"/>
                  </a:lnTo>
                  <a:lnTo>
                    <a:pt x="3" y="50"/>
                  </a:lnTo>
                  <a:lnTo>
                    <a:pt x="4" y="50"/>
                  </a:lnTo>
                  <a:lnTo>
                    <a:pt x="4" y="49"/>
                  </a:lnTo>
                  <a:lnTo>
                    <a:pt x="5" y="49"/>
                  </a:lnTo>
                  <a:lnTo>
                    <a:pt x="7" y="49"/>
                  </a:lnTo>
                  <a:lnTo>
                    <a:pt x="8" y="49"/>
                  </a:lnTo>
                  <a:lnTo>
                    <a:pt x="8" y="48"/>
                  </a:lnTo>
                  <a:lnTo>
                    <a:pt x="8" y="49"/>
                  </a:lnTo>
                  <a:lnTo>
                    <a:pt x="9" y="49"/>
                  </a:lnTo>
                  <a:lnTo>
                    <a:pt x="9" y="48"/>
                  </a:lnTo>
                  <a:lnTo>
                    <a:pt x="10" y="49"/>
                  </a:lnTo>
                  <a:lnTo>
                    <a:pt x="10" y="48"/>
                  </a:lnTo>
                  <a:lnTo>
                    <a:pt x="11" y="48"/>
                  </a:lnTo>
                  <a:lnTo>
                    <a:pt x="11" y="47"/>
                  </a:lnTo>
                  <a:lnTo>
                    <a:pt x="12" y="47"/>
                  </a:lnTo>
                  <a:lnTo>
                    <a:pt x="12" y="46"/>
                  </a:lnTo>
                  <a:lnTo>
                    <a:pt x="14" y="45"/>
                  </a:lnTo>
                  <a:lnTo>
                    <a:pt x="14" y="43"/>
                  </a:lnTo>
                  <a:lnTo>
                    <a:pt x="15" y="43"/>
                  </a:lnTo>
                  <a:lnTo>
                    <a:pt x="15" y="42"/>
                  </a:lnTo>
                  <a:lnTo>
                    <a:pt x="15" y="41"/>
                  </a:lnTo>
                  <a:lnTo>
                    <a:pt x="16" y="41"/>
                  </a:lnTo>
                  <a:lnTo>
                    <a:pt x="16" y="40"/>
                  </a:lnTo>
                  <a:lnTo>
                    <a:pt x="15" y="40"/>
                  </a:lnTo>
                  <a:lnTo>
                    <a:pt x="15" y="39"/>
                  </a:lnTo>
                  <a:lnTo>
                    <a:pt x="14" y="39"/>
                  </a:lnTo>
                  <a:lnTo>
                    <a:pt x="14" y="38"/>
                  </a:lnTo>
                  <a:lnTo>
                    <a:pt x="15" y="38"/>
                  </a:lnTo>
                  <a:lnTo>
                    <a:pt x="16" y="38"/>
                  </a:lnTo>
                  <a:lnTo>
                    <a:pt x="17" y="38"/>
                  </a:lnTo>
                  <a:lnTo>
                    <a:pt x="17" y="36"/>
                  </a:lnTo>
                  <a:lnTo>
                    <a:pt x="18" y="36"/>
                  </a:lnTo>
                  <a:lnTo>
                    <a:pt x="18" y="35"/>
                  </a:lnTo>
                  <a:lnTo>
                    <a:pt x="18" y="34"/>
                  </a:lnTo>
                  <a:lnTo>
                    <a:pt x="17" y="34"/>
                  </a:lnTo>
                  <a:lnTo>
                    <a:pt x="17" y="33"/>
                  </a:lnTo>
                  <a:lnTo>
                    <a:pt x="16" y="32"/>
                  </a:lnTo>
                  <a:lnTo>
                    <a:pt x="16" y="31"/>
                  </a:lnTo>
                  <a:lnTo>
                    <a:pt x="17" y="31"/>
                  </a:lnTo>
                  <a:lnTo>
                    <a:pt x="18" y="29"/>
                  </a:lnTo>
                  <a:lnTo>
                    <a:pt x="17" y="29"/>
                  </a:lnTo>
                  <a:lnTo>
                    <a:pt x="18" y="28"/>
                  </a:lnTo>
                  <a:lnTo>
                    <a:pt x="19" y="28"/>
                  </a:lnTo>
                  <a:lnTo>
                    <a:pt x="19" y="27"/>
                  </a:lnTo>
                  <a:lnTo>
                    <a:pt x="21" y="26"/>
                  </a:lnTo>
                  <a:lnTo>
                    <a:pt x="22" y="26"/>
                  </a:lnTo>
                  <a:lnTo>
                    <a:pt x="21" y="26"/>
                  </a:lnTo>
                  <a:lnTo>
                    <a:pt x="21" y="25"/>
                  </a:lnTo>
                  <a:lnTo>
                    <a:pt x="22" y="25"/>
                  </a:lnTo>
                  <a:lnTo>
                    <a:pt x="22" y="26"/>
                  </a:lnTo>
                  <a:lnTo>
                    <a:pt x="21" y="27"/>
                  </a:lnTo>
                  <a:lnTo>
                    <a:pt x="22" y="27"/>
                  </a:lnTo>
                  <a:lnTo>
                    <a:pt x="23" y="27"/>
                  </a:lnTo>
                  <a:lnTo>
                    <a:pt x="24" y="27"/>
                  </a:lnTo>
                  <a:lnTo>
                    <a:pt x="25" y="28"/>
                  </a:lnTo>
                  <a:lnTo>
                    <a:pt x="26" y="29"/>
                  </a:lnTo>
                  <a:lnTo>
                    <a:pt x="28" y="31"/>
                  </a:lnTo>
                  <a:lnTo>
                    <a:pt x="29" y="31"/>
                  </a:lnTo>
                  <a:lnTo>
                    <a:pt x="29" y="29"/>
                  </a:lnTo>
                  <a:lnTo>
                    <a:pt x="29" y="28"/>
                  </a:lnTo>
                  <a:lnTo>
                    <a:pt x="31" y="28"/>
                  </a:lnTo>
                  <a:lnTo>
                    <a:pt x="31" y="25"/>
                  </a:lnTo>
                  <a:lnTo>
                    <a:pt x="31" y="24"/>
                  </a:lnTo>
                  <a:lnTo>
                    <a:pt x="31" y="22"/>
                  </a:lnTo>
                  <a:lnTo>
                    <a:pt x="31" y="21"/>
                  </a:lnTo>
                  <a:lnTo>
                    <a:pt x="32" y="22"/>
                  </a:lnTo>
                  <a:lnTo>
                    <a:pt x="33" y="22"/>
                  </a:lnTo>
                  <a:lnTo>
                    <a:pt x="33" y="24"/>
                  </a:lnTo>
                  <a:lnTo>
                    <a:pt x="35" y="22"/>
                  </a:lnTo>
                  <a:lnTo>
                    <a:pt x="36" y="22"/>
                  </a:lnTo>
                  <a:lnTo>
                    <a:pt x="36" y="21"/>
                  </a:lnTo>
                  <a:lnTo>
                    <a:pt x="36" y="20"/>
                  </a:lnTo>
                  <a:lnTo>
                    <a:pt x="36" y="19"/>
                  </a:lnTo>
                  <a:lnTo>
                    <a:pt x="37" y="17"/>
                  </a:lnTo>
                  <a:lnTo>
                    <a:pt x="39" y="15"/>
                  </a:lnTo>
                  <a:lnTo>
                    <a:pt x="39" y="14"/>
                  </a:lnTo>
                  <a:lnTo>
                    <a:pt x="40" y="14"/>
                  </a:lnTo>
                  <a:lnTo>
                    <a:pt x="40" y="13"/>
                  </a:lnTo>
                  <a:lnTo>
                    <a:pt x="42" y="13"/>
                  </a:lnTo>
                  <a:lnTo>
                    <a:pt x="43" y="13"/>
                  </a:lnTo>
                  <a:lnTo>
                    <a:pt x="46" y="14"/>
                  </a:lnTo>
                  <a:lnTo>
                    <a:pt x="47" y="14"/>
                  </a:lnTo>
                  <a:lnTo>
                    <a:pt x="48" y="14"/>
                  </a:lnTo>
                  <a:lnTo>
                    <a:pt x="48" y="10"/>
                  </a:lnTo>
                  <a:lnTo>
                    <a:pt x="50" y="10"/>
                  </a:lnTo>
                  <a:lnTo>
                    <a:pt x="51" y="10"/>
                  </a:lnTo>
                  <a:lnTo>
                    <a:pt x="52" y="10"/>
                  </a:lnTo>
                  <a:lnTo>
                    <a:pt x="53" y="10"/>
                  </a:lnTo>
                  <a:lnTo>
                    <a:pt x="58" y="6"/>
                  </a:lnTo>
                  <a:lnTo>
                    <a:pt x="58" y="5"/>
                  </a:lnTo>
                  <a:lnTo>
                    <a:pt x="61" y="5"/>
                  </a:lnTo>
                  <a:lnTo>
                    <a:pt x="61" y="4"/>
                  </a:lnTo>
                  <a:lnTo>
                    <a:pt x="65" y="1"/>
                  </a:lnTo>
                  <a:lnTo>
                    <a:pt x="66" y="0"/>
                  </a:lnTo>
                  <a:lnTo>
                    <a:pt x="69" y="0"/>
                  </a:lnTo>
                  <a:lnTo>
                    <a:pt x="71" y="1"/>
                  </a:lnTo>
                  <a:lnTo>
                    <a:pt x="72" y="0"/>
                  </a:lnTo>
                  <a:lnTo>
                    <a:pt x="73" y="0"/>
                  </a:lnTo>
                  <a:lnTo>
                    <a:pt x="74" y="0"/>
                  </a:lnTo>
                  <a:lnTo>
                    <a:pt x="75" y="1"/>
                  </a:lnTo>
                  <a:lnTo>
                    <a:pt x="79" y="3"/>
                  </a:lnTo>
                  <a:close/>
                </a:path>
              </a:pathLst>
            </a:custGeom>
            <a:solidFill>
              <a:srgbClr val="D2D2D2"/>
            </a:solidFill>
            <a:ln w="317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t-IT" sz="1200" dirty="0">
                <a:solidFill>
                  <a:schemeClr val="lt1"/>
                </a:solidFill>
              </a:endParaRPr>
            </a:p>
          </p:txBody>
        </p:sp>
        <p:sp>
          <p:nvSpPr>
            <p:cNvPr id="84" name="Freeform 837">
              <a:extLst>
                <a:ext uri="{FF2B5EF4-FFF2-40B4-BE49-F238E27FC236}">
                  <a16:creationId xmlns:a16="http://schemas.microsoft.com/office/drawing/2014/main" id="{F79D42ED-456C-4A05-A33B-BDB73B42BFF1}"/>
                </a:ext>
              </a:extLst>
            </p:cNvPr>
            <p:cNvSpPr>
              <a:spLocks noEditPoints="1"/>
            </p:cNvSpPr>
            <p:nvPr/>
          </p:nvSpPr>
          <p:spPr bwMode="auto">
            <a:xfrm>
              <a:off x="7399665" y="2784952"/>
              <a:ext cx="97491" cy="124201"/>
            </a:xfrm>
            <a:custGeom>
              <a:avLst/>
              <a:gdLst>
                <a:gd name="T0" fmla="*/ 62 w 73"/>
                <a:gd name="T1" fmla="*/ 78 h 93"/>
                <a:gd name="T2" fmla="*/ 23 w 73"/>
                <a:gd name="T3" fmla="*/ 77 h 93"/>
                <a:gd name="T4" fmla="*/ 43 w 73"/>
                <a:gd name="T5" fmla="*/ 76 h 93"/>
                <a:gd name="T6" fmla="*/ 41 w 73"/>
                <a:gd name="T7" fmla="*/ 74 h 93"/>
                <a:gd name="T8" fmla="*/ 43 w 73"/>
                <a:gd name="T9" fmla="*/ 72 h 93"/>
                <a:gd name="T10" fmla="*/ 49 w 73"/>
                <a:gd name="T11" fmla="*/ 69 h 93"/>
                <a:gd name="T12" fmla="*/ 49 w 73"/>
                <a:gd name="T13" fmla="*/ 68 h 93"/>
                <a:gd name="T14" fmla="*/ 43 w 73"/>
                <a:gd name="T15" fmla="*/ 67 h 93"/>
                <a:gd name="T16" fmla="*/ 55 w 73"/>
                <a:gd name="T17" fmla="*/ 64 h 93"/>
                <a:gd name="T18" fmla="*/ 44 w 73"/>
                <a:gd name="T19" fmla="*/ 71 h 93"/>
                <a:gd name="T20" fmla="*/ 42 w 73"/>
                <a:gd name="T21" fmla="*/ 61 h 93"/>
                <a:gd name="T22" fmla="*/ 47 w 73"/>
                <a:gd name="T23" fmla="*/ 71 h 93"/>
                <a:gd name="T24" fmla="*/ 40 w 73"/>
                <a:gd name="T25" fmla="*/ 58 h 93"/>
                <a:gd name="T26" fmla="*/ 40 w 73"/>
                <a:gd name="T27" fmla="*/ 53 h 93"/>
                <a:gd name="T28" fmla="*/ 9 w 73"/>
                <a:gd name="T29" fmla="*/ 6 h 93"/>
                <a:gd name="T30" fmla="*/ 12 w 73"/>
                <a:gd name="T31" fmla="*/ 5 h 93"/>
                <a:gd name="T32" fmla="*/ 19 w 73"/>
                <a:gd name="T33" fmla="*/ 11 h 93"/>
                <a:gd name="T34" fmla="*/ 22 w 73"/>
                <a:gd name="T35" fmla="*/ 9 h 93"/>
                <a:gd name="T36" fmla="*/ 27 w 73"/>
                <a:gd name="T37" fmla="*/ 21 h 93"/>
                <a:gd name="T38" fmla="*/ 44 w 73"/>
                <a:gd name="T39" fmla="*/ 23 h 93"/>
                <a:gd name="T40" fmla="*/ 58 w 73"/>
                <a:gd name="T41" fmla="*/ 25 h 93"/>
                <a:gd name="T42" fmla="*/ 59 w 73"/>
                <a:gd name="T43" fmla="*/ 28 h 93"/>
                <a:gd name="T44" fmla="*/ 56 w 73"/>
                <a:gd name="T45" fmla="*/ 37 h 93"/>
                <a:gd name="T46" fmla="*/ 49 w 73"/>
                <a:gd name="T47" fmla="*/ 42 h 93"/>
                <a:gd name="T48" fmla="*/ 48 w 73"/>
                <a:gd name="T49" fmla="*/ 50 h 93"/>
                <a:gd name="T50" fmla="*/ 54 w 73"/>
                <a:gd name="T51" fmla="*/ 57 h 93"/>
                <a:gd name="T52" fmla="*/ 58 w 73"/>
                <a:gd name="T53" fmla="*/ 47 h 93"/>
                <a:gd name="T54" fmla="*/ 62 w 73"/>
                <a:gd name="T55" fmla="*/ 48 h 93"/>
                <a:gd name="T56" fmla="*/ 66 w 73"/>
                <a:gd name="T57" fmla="*/ 61 h 93"/>
                <a:gd name="T58" fmla="*/ 73 w 73"/>
                <a:gd name="T59" fmla="*/ 84 h 93"/>
                <a:gd name="T60" fmla="*/ 66 w 73"/>
                <a:gd name="T61" fmla="*/ 84 h 93"/>
                <a:gd name="T62" fmla="*/ 68 w 73"/>
                <a:gd name="T63" fmla="*/ 90 h 93"/>
                <a:gd name="T64" fmla="*/ 64 w 73"/>
                <a:gd name="T65" fmla="*/ 78 h 93"/>
                <a:gd name="T66" fmla="*/ 62 w 73"/>
                <a:gd name="T67" fmla="*/ 74 h 93"/>
                <a:gd name="T68" fmla="*/ 59 w 73"/>
                <a:gd name="T69" fmla="*/ 70 h 93"/>
                <a:gd name="T70" fmla="*/ 53 w 73"/>
                <a:gd name="T71" fmla="*/ 61 h 93"/>
                <a:gd name="T72" fmla="*/ 49 w 73"/>
                <a:gd name="T73" fmla="*/ 63 h 93"/>
                <a:gd name="T74" fmla="*/ 42 w 73"/>
                <a:gd name="T75" fmla="*/ 57 h 93"/>
                <a:gd name="T76" fmla="*/ 42 w 73"/>
                <a:gd name="T77" fmla="*/ 49 h 93"/>
                <a:gd name="T78" fmla="*/ 40 w 73"/>
                <a:gd name="T79" fmla="*/ 50 h 93"/>
                <a:gd name="T80" fmla="*/ 41 w 73"/>
                <a:gd name="T81" fmla="*/ 55 h 93"/>
                <a:gd name="T82" fmla="*/ 40 w 73"/>
                <a:gd name="T83" fmla="*/ 62 h 93"/>
                <a:gd name="T84" fmla="*/ 43 w 73"/>
                <a:gd name="T85" fmla="*/ 68 h 93"/>
                <a:gd name="T86" fmla="*/ 41 w 73"/>
                <a:gd name="T87" fmla="*/ 72 h 93"/>
                <a:gd name="T88" fmla="*/ 36 w 73"/>
                <a:gd name="T89" fmla="*/ 74 h 93"/>
                <a:gd name="T90" fmla="*/ 36 w 73"/>
                <a:gd name="T91" fmla="*/ 72 h 93"/>
                <a:gd name="T92" fmla="*/ 34 w 73"/>
                <a:gd name="T93" fmla="*/ 67 h 93"/>
                <a:gd name="T94" fmla="*/ 34 w 73"/>
                <a:gd name="T95" fmla="*/ 72 h 93"/>
                <a:gd name="T96" fmla="*/ 32 w 73"/>
                <a:gd name="T97" fmla="*/ 77 h 93"/>
                <a:gd name="T98" fmla="*/ 29 w 73"/>
                <a:gd name="T99" fmla="*/ 71 h 93"/>
                <a:gd name="T100" fmla="*/ 28 w 73"/>
                <a:gd name="T101" fmla="*/ 70 h 93"/>
                <a:gd name="T102" fmla="*/ 28 w 73"/>
                <a:gd name="T103" fmla="*/ 78 h 93"/>
                <a:gd name="T104" fmla="*/ 27 w 73"/>
                <a:gd name="T105" fmla="*/ 79 h 93"/>
                <a:gd name="T106" fmla="*/ 21 w 73"/>
                <a:gd name="T107" fmla="*/ 69 h 93"/>
                <a:gd name="T108" fmla="*/ 18 w 73"/>
                <a:gd name="T109" fmla="*/ 56 h 93"/>
                <a:gd name="T110" fmla="*/ 12 w 73"/>
                <a:gd name="T111" fmla="*/ 48 h 93"/>
                <a:gd name="T112" fmla="*/ 13 w 73"/>
                <a:gd name="T113" fmla="*/ 37 h 93"/>
                <a:gd name="T114" fmla="*/ 2 w 73"/>
                <a:gd name="T115" fmla="*/ 32 h 93"/>
                <a:gd name="T116" fmla="*/ 7 w 73"/>
                <a:gd name="T117" fmla="*/ 25 h 93"/>
                <a:gd name="T118" fmla="*/ 13 w 73"/>
                <a:gd name="T119" fmla="*/ 21 h 93"/>
                <a:gd name="T120" fmla="*/ 6 w 73"/>
                <a:gd name="T121" fmla="*/ 16 h 93"/>
                <a:gd name="T122" fmla="*/ 1 w 73"/>
                <a:gd name="T123" fmla="*/ 7 h 93"/>
                <a:gd name="T124" fmla="*/ 1 w 73"/>
                <a:gd name="T12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 h="93">
                  <a:moveTo>
                    <a:pt x="63" y="78"/>
                  </a:moveTo>
                  <a:lnTo>
                    <a:pt x="63" y="79"/>
                  </a:lnTo>
                  <a:lnTo>
                    <a:pt x="64" y="79"/>
                  </a:lnTo>
                  <a:lnTo>
                    <a:pt x="63" y="81"/>
                  </a:lnTo>
                  <a:lnTo>
                    <a:pt x="64" y="81"/>
                  </a:lnTo>
                  <a:lnTo>
                    <a:pt x="63" y="82"/>
                  </a:lnTo>
                  <a:lnTo>
                    <a:pt x="62" y="82"/>
                  </a:lnTo>
                  <a:lnTo>
                    <a:pt x="62" y="81"/>
                  </a:lnTo>
                  <a:lnTo>
                    <a:pt x="62" y="79"/>
                  </a:lnTo>
                  <a:lnTo>
                    <a:pt x="62" y="78"/>
                  </a:lnTo>
                  <a:lnTo>
                    <a:pt x="62" y="77"/>
                  </a:lnTo>
                  <a:lnTo>
                    <a:pt x="62" y="78"/>
                  </a:lnTo>
                  <a:lnTo>
                    <a:pt x="62" y="77"/>
                  </a:lnTo>
                  <a:lnTo>
                    <a:pt x="63" y="77"/>
                  </a:lnTo>
                  <a:lnTo>
                    <a:pt x="63" y="78"/>
                  </a:lnTo>
                  <a:close/>
                  <a:moveTo>
                    <a:pt x="25" y="77"/>
                  </a:moveTo>
                  <a:lnTo>
                    <a:pt x="25" y="78"/>
                  </a:lnTo>
                  <a:lnTo>
                    <a:pt x="23" y="77"/>
                  </a:lnTo>
                  <a:lnTo>
                    <a:pt x="23" y="76"/>
                  </a:lnTo>
                  <a:lnTo>
                    <a:pt x="23" y="75"/>
                  </a:lnTo>
                  <a:lnTo>
                    <a:pt x="22" y="75"/>
                  </a:lnTo>
                  <a:lnTo>
                    <a:pt x="23" y="75"/>
                  </a:lnTo>
                  <a:lnTo>
                    <a:pt x="23" y="76"/>
                  </a:lnTo>
                  <a:lnTo>
                    <a:pt x="23" y="77"/>
                  </a:lnTo>
                  <a:lnTo>
                    <a:pt x="25" y="77"/>
                  </a:lnTo>
                  <a:close/>
                  <a:moveTo>
                    <a:pt x="62" y="77"/>
                  </a:moveTo>
                  <a:lnTo>
                    <a:pt x="62" y="78"/>
                  </a:lnTo>
                  <a:lnTo>
                    <a:pt x="61" y="77"/>
                  </a:lnTo>
                  <a:lnTo>
                    <a:pt x="61" y="76"/>
                  </a:lnTo>
                  <a:lnTo>
                    <a:pt x="61" y="75"/>
                  </a:lnTo>
                  <a:lnTo>
                    <a:pt x="62" y="75"/>
                  </a:lnTo>
                  <a:lnTo>
                    <a:pt x="62" y="76"/>
                  </a:lnTo>
                  <a:lnTo>
                    <a:pt x="62" y="77"/>
                  </a:lnTo>
                  <a:close/>
                  <a:moveTo>
                    <a:pt x="44" y="75"/>
                  </a:moveTo>
                  <a:lnTo>
                    <a:pt x="43" y="75"/>
                  </a:lnTo>
                  <a:lnTo>
                    <a:pt x="43" y="76"/>
                  </a:lnTo>
                  <a:lnTo>
                    <a:pt x="43" y="75"/>
                  </a:lnTo>
                  <a:lnTo>
                    <a:pt x="43" y="74"/>
                  </a:lnTo>
                  <a:lnTo>
                    <a:pt x="44" y="74"/>
                  </a:lnTo>
                  <a:lnTo>
                    <a:pt x="44" y="75"/>
                  </a:lnTo>
                  <a:close/>
                  <a:moveTo>
                    <a:pt x="41" y="76"/>
                  </a:moveTo>
                  <a:lnTo>
                    <a:pt x="40" y="75"/>
                  </a:lnTo>
                  <a:lnTo>
                    <a:pt x="41" y="74"/>
                  </a:lnTo>
                  <a:lnTo>
                    <a:pt x="41" y="75"/>
                  </a:lnTo>
                  <a:lnTo>
                    <a:pt x="41" y="76"/>
                  </a:lnTo>
                  <a:close/>
                  <a:moveTo>
                    <a:pt x="41" y="74"/>
                  </a:moveTo>
                  <a:lnTo>
                    <a:pt x="41" y="72"/>
                  </a:lnTo>
                  <a:lnTo>
                    <a:pt x="41" y="74"/>
                  </a:lnTo>
                  <a:close/>
                  <a:moveTo>
                    <a:pt x="42" y="75"/>
                  </a:moveTo>
                  <a:lnTo>
                    <a:pt x="41" y="75"/>
                  </a:lnTo>
                  <a:lnTo>
                    <a:pt x="41" y="74"/>
                  </a:lnTo>
                  <a:lnTo>
                    <a:pt x="41" y="72"/>
                  </a:lnTo>
                  <a:lnTo>
                    <a:pt x="42" y="74"/>
                  </a:lnTo>
                  <a:lnTo>
                    <a:pt x="42" y="75"/>
                  </a:lnTo>
                  <a:close/>
                  <a:moveTo>
                    <a:pt x="43" y="71"/>
                  </a:moveTo>
                  <a:lnTo>
                    <a:pt x="43" y="72"/>
                  </a:lnTo>
                  <a:lnTo>
                    <a:pt x="43" y="74"/>
                  </a:lnTo>
                  <a:lnTo>
                    <a:pt x="42" y="74"/>
                  </a:lnTo>
                  <a:lnTo>
                    <a:pt x="42" y="72"/>
                  </a:lnTo>
                  <a:lnTo>
                    <a:pt x="43" y="72"/>
                  </a:lnTo>
                  <a:lnTo>
                    <a:pt x="42" y="72"/>
                  </a:lnTo>
                  <a:lnTo>
                    <a:pt x="42" y="71"/>
                  </a:lnTo>
                  <a:lnTo>
                    <a:pt x="43" y="71"/>
                  </a:lnTo>
                  <a:close/>
                  <a:moveTo>
                    <a:pt x="48" y="70"/>
                  </a:moveTo>
                  <a:lnTo>
                    <a:pt x="48" y="71"/>
                  </a:lnTo>
                  <a:lnTo>
                    <a:pt x="48" y="70"/>
                  </a:lnTo>
                  <a:close/>
                  <a:moveTo>
                    <a:pt x="49" y="70"/>
                  </a:moveTo>
                  <a:lnTo>
                    <a:pt x="48" y="70"/>
                  </a:lnTo>
                  <a:lnTo>
                    <a:pt x="48" y="69"/>
                  </a:lnTo>
                  <a:lnTo>
                    <a:pt x="49" y="69"/>
                  </a:lnTo>
                  <a:lnTo>
                    <a:pt x="49" y="70"/>
                  </a:lnTo>
                  <a:close/>
                  <a:moveTo>
                    <a:pt x="49" y="69"/>
                  </a:moveTo>
                  <a:lnTo>
                    <a:pt x="48" y="70"/>
                  </a:lnTo>
                  <a:lnTo>
                    <a:pt x="48" y="69"/>
                  </a:lnTo>
                  <a:lnTo>
                    <a:pt x="48" y="68"/>
                  </a:lnTo>
                  <a:lnTo>
                    <a:pt x="49" y="69"/>
                  </a:lnTo>
                  <a:close/>
                  <a:moveTo>
                    <a:pt x="50" y="71"/>
                  </a:moveTo>
                  <a:lnTo>
                    <a:pt x="50" y="72"/>
                  </a:lnTo>
                  <a:lnTo>
                    <a:pt x="49" y="72"/>
                  </a:lnTo>
                  <a:lnTo>
                    <a:pt x="49" y="71"/>
                  </a:lnTo>
                  <a:lnTo>
                    <a:pt x="49" y="70"/>
                  </a:lnTo>
                  <a:lnTo>
                    <a:pt x="50" y="70"/>
                  </a:lnTo>
                  <a:lnTo>
                    <a:pt x="49" y="69"/>
                  </a:lnTo>
                  <a:lnTo>
                    <a:pt x="49" y="68"/>
                  </a:lnTo>
                  <a:lnTo>
                    <a:pt x="50" y="68"/>
                  </a:lnTo>
                  <a:lnTo>
                    <a:pt x="51" y="69"/>
                  </a:lnTo>
                  <a:lnTo>
                    <a:pt x="51" y="70"/>
                  </a:lnTo>
                  <a:lnTo>
                    <a:pt x="51" y="71"/>
                  </a:lnTo>
                  <a:lnTo>
                    <a:pt x="50" y="71"/>
                  </a:lnTo>
                  <a:close/>
                  <a:moveTo>
                    <a:pt x="43" y="67"/>
                  </a:moveTo>
                  <a:lnTo>
                    <a:pt x="43" y="68"/>
                  </a:lnTo>
                  <a:lnTo>
                    <a:pt x="44" y="68"/>
                  </a:lnTo>
                  <a:lnTo>
                    <a:pt x="43" y="68"/>
                  </a:lnTo>
                  <a:lnTo>
                    <a:pt x="43" y="69"/>
                  </a:lnTo>
                  <a:lnTo>
                    <a:pt x="43" y="68"/>
                  </a:lnTo>
                  <a:lnTo>
                    <a:pt x="43" y="67"/>
                  </a:lnTo>
                  <a:close/>
                  <a:moveTo>
                    <a:pt x="43" y="67"/>
                  </a:moveTo>
                  <a:lnTo>
                    <a:pt x="43" y="65"/>
                  </a:lnTo>
                  <a:lnTo>
                    <a:pt x="43" y="67"/>
                  </a:lnTo>
                  <a:close/>
                  <a:moveTo>
                    <a:pt x="50" y="67"/>
                  </a:moveTo>
                  <a:lnTo>
                    <a:pt x="50" y="65"/>
                  </a:lnTo>
                  <a:lnTo>
                    <a:pt x="51" y="65"/>
                  </a:lnTo>
                  <a:lnTo>
                    <a:pt x="50" y="67"/>
                  </a:lnTo>
                  <a:close/>
                  <a:moveTo>
                    <a:pt x="56" y="67"/>
                  </a:moveTo>
                  <a:lnTo>
                    <a:pt x="55" y="67"/>
                  </a:lnTo>
                  <a:lnTo>
                    <a:pt x="54" y="65"/>
                  </a:lnTo>
                  <a:lnTo>
                    <a:pt x="54" y="64"/>
                  </a:lnTo>
                  <a:lnTo>
                    <a:pt x="55" y="64"/>
                  </a:lnTo>
                  <a:lnTo>
                    <a:pt x="56" y="65"/>
                  </a:lnTo>
                  <a:lnTo>
                    <a:pt x="56" y="67"/>
                  </a:lnTo>
                  <a:close/>
                  <a:moveTo>
                    <a:pt x="47" y="71"/>
                  </a:moveTo>
                  <a:lnTo>
                    <a:pt x="46" y="72"/>
                  </a:lnTo>
                  <a:lnTo>
                    <a:pt x="46" y="74"/>
                  </a:lnTo>
                  <a:lnTo>
                    <a:pt x="44" y="74"/>
                  </a:lnTo>
                  <a:lnTo>
                    <a:pt x="44" y="72"/>
                  </a:lnTo>
                  <a:lnTo>
                    <a:pt x="44" y="71"/>
                  </a:lnTo>
                  <a:lnTo>
                    <a:pt x="44" y="72"/>
                  </a:lnTo>
                  <a:lnTo>
                    <a:pt x="44" y="74"/>
                  </a:lnTo>
                  <a:lnTo>
                    <a:pt x="43" y="72"/>
                  </a:lnTo>
                  <a:lnTo>
                    <a:pt x="44" y="71"/>
                  </a:lnTo>
                  <a:lnTo>
                    <a:pt x="43" y="71"/>
                  </a:lnTo>
                  <a:lnTo>
                    <a:pt x="44" y="70"/>
                  </a:lnTo>
                  <a:lnTo>
                    <a:pt x="44" y="69"/>
                  </a:lnTo>
                  <a:lnTo>
                    <a:pt x="44" y="68"/>
                  </a:lnTo>
                  <a:lnTo>
                    <a:pt x="44" y="67"/>
                  </a:lnTo>
                  <a:lnTo>
                    <a:pt x="43" y="67"/>
                  </a:lnTo>
                  <a:lnTo>
                    <a:pt x="43" y="65"/>
                  </a:lnTo>
                  <a:lnTo>
                    <a:pt x="43" y="64"/>
                  </a:lnTo>
                  <a:lnTo>
                    <a:pt x="42" y="64"/>
                  </a:lnTo>
                  <a:lnTo>
                    <a:pt x="42" y="63"/>
                  </a:lnTo>
                  <a:lnTo>
                    <a:pt x="42" y="62"/>
                  </a:lnTo>
                  <a:lnTo>
                    <a:pt x="42" y="61"/>
                  </a:lnTo>
                  <a:lnTo>
                    <a:pt x="43" y="61"/>
                  </a:lnTo>
                  <a:lnTo>
                    <a:pt x="43" y="62"/>
                  </a:lnTo>
                  <a:lnTo>
                    <a:pt x="43" y="63"/>
                  </a:lnTo>
                  <a:lnTo>
                    <a:pt x="44" y="63"/>
                  </a:lnTo>
                  <a:lnTo>
                    <a:pt x="44" y="64"/>
                  </a:lnTo>
                  <a:lnTo>
                    <a:pt x="44" y="65"/>
                  </a:lnTo>
                  <a:lnTo>
                    <a:pt x="46" y="65"/>
                  </a:lnTo>
                  <a:lnTo>
                    <a:pt x="46" y="67"/>
                  </a:lnTo>
                  <a:lnTo>
                    <a:pt x="47" y="67"/>
                  </a:lnTo>
                  <a:lnTo>
                    <a:pt x="47" y="68"/>
                  </a:lnTo>
                  <a:lnTo>
                    <a:pt x="47" y="70"/>
                  </a:lnTo>
                  <a:lnTo>
                    <a:pt x="47" y="71"/>
                  </a:lnTo>
                  <a:close/>
                  <a:moveTo>
                    <a:pt x="42" y="60"/>
                  </a:moveTo>
                  <a:lnTo>
                    <a:pt x="43" y="61"/>
                  </a:lnTo>
                  <a:lnTo>
                    <a:pt x="42" y="61"/>
                  </a:lnTo>
                  <a:lnTo>
                    <a:pt x="41" y="61"/>
                  </a:lnTo>
                  <a:lnTo>
                    <a:pt x="41" y="62"/>
                  </a:lnTo>
                  <a:lnTo>
                    <a:pt x="40" y="61"/>
                  </a:lnTo>
                  <a:lnTo>
                    <a:pt x="40" y="60"/>
                  </a:lnTo>
                  <a:lnTo>
                    <a:pt x="41" y="60"/>
                  </a:lnTo>
                  <a:lnTo>
                    <a:pt x="42" y="60"/>
                  </a:lnTo>
                  <a:close/>
                  <a:moveTo>
                    <a:pt x="42" y="58"/>
                  </a:moveTo>
                  <a:lnTo>
                    <a:pt x="41" y="58"/>
                  </a:lnTo>
                  <a:lnTo>
                    <a:pt x="40" y="58"/>
                  </a:lnTo>
                  <a:lnTo>
                    <a:pt x="41" y="57"/>
                  </a:lnTo>
                  <a:lnTo>
                    <a:pt x="42" y="57"/>
                  </a:lnTo>
                  <a:lnTo>
                    <a:pt x="42" y="58"/>
                  </a:lnTo>
                  <a:close/>
                  <a:moveTo>
                    <a:pt x="40" y="57"/>
                  </a:moveTo>
                  <a:lnTo>
                    <a:pt x="40" y="56"/>
                  </a:lnTo>
                  <a:lnTo>
                    <a:pt x="40" y="57"/>
                  </a:lnTo>
                  <a:close/>
                  <a:moveTo>
                    <a:pt x="40" y="53"/>
                  </a:moveTo>
                  <a:lnTo>
                    <a:pt x="41" y="53"/>
                  </a:lnTo>
                  <a:lnTo>
                    <a:pt x="40" y="53"/>
                  </a:lnTo>
                  <a:lnTo>
                    <a:pt x="39" y="53"/>
                  </a:lnTo>
                  <a:lnTo>
                    <a:pt x="39" y="51"/>
                  </a:lnTo>
                  <a:lnTo>
                    <a:pt x="40" y="53"/>
                  </a:lnTo>
                  <a:close/>
                  <a:moveTo>
                    <a:pt x="4" y="2"/>
                  </a:moveTo>
                  <a:lnTo>
                    <a:pt x="5" y="2"/>
                  </a:lnTo>
                  <a:lnTo>
                    <a:pt x="5" y="4"/>
                  </a:lnTo>
                  <a:lnTo>
                    <a:pt x="6" y="4"/>
                  </a:lnTo>
                  <a:lnTo>
                    <a:pt x="6" y="5"/>
                  </a:lnTo>
                  <a:lnTo>
                    <a:pt x="7" y="5"/>
                  </a:lnTo>
                  <a:lnTo>
                    <a:pt x="7" y="6"/>
                  </a:lnTo>
                  <a:lnTo>
                    <a:pt x="6" y="6"/>
                  </a:lnTo>
                  <a:lnTo>
                    <a:pt x="7" y="6"/>
                  </a:lnTo>
                  <a:lnTo>
                    <a:pt x="8" y="6"/>
                  </a:lnTo>
                  <a:lnTo>
                    <a:pt x="9" y="7"/>
                  </a:lnTo>
                  <a:lnTo>
                    <a:pt x="9" y="6"/>
                  </a:lnTo>
                  <a:lnTo>
                    <a:pt x="11" y="6"/>
                  </a:lnTo>
                  <a:lnTo>
                    <a:pt x="11" y="7"/>
                  </a:lnTo>
                  <a:lnTo>
                    <a:pt x="12" y="6"/>
                  </a:lnTo>
                  <a:lnTo>
                    <a:pt x="11" y="6"/>
                  </a:lnTo>
                  <a:lnTo>
                    <a:pt x="11" y="5"/>
                  </a:lnTo>
                  <a:lnTo>
                    <a:pt x="9" y="5"/>
                  </a:lnTo>
                  <a:lnTo>
                    <a:pt x="9" y="4"/>
                  </a:lnTo>
                  <a:lnTo>
                    <a:pt x="11" y="4"/>
                  </a:lnTo>
                  <a:lnTo>
                    <a:pt x="12" y="4"/>
                  </a:lnTo>
                  <a:lnTo>
                    <a:pt x="12" y="5"/>
                  </a:lnTo>
                  <a:lnTo>
                    <a:pt x="13" y="5"/>
                  </a:lnTo>
                  <a:lnTo>
                    <a:pt x="12" y="5"/>
                  </a:lnTo>
                  <a:lnTo>
                    <a:pt x="12" y="6"/>
                  </a:lnTo>
                  <a:lnTo>
                    <a:pt x="13" y="6"/>
                  </a:lnTo>
                  <a:lnTo>
                    <a:pt x="13" y="7"/>
                  </a:lnTo>
                  <a:lnTo>
                    <a:pt x="13" y="8"/>
                  </a:lnTo>
                  <a:lnTo>
                    <a:pt x="14" y="8"/>
                  </a:lnTo>
                  <a:lnTo>
                    <a:pt x="15" y="8"/>
                  </a:lnTo>
                  <a:lnTo>
                    <a:pt x="15" y="9"/>
                  </a:lnTo>
                  <a:lnTo>
                    <a:pt x="16" y="9"/>
                  </a:lnTo>
                  <a:lnTo>
                    <a:pt x="16" y="11"/>
                  </a:lnTo>
                  <a:lnTo>
                    <a:pt x="18" y="9"/>
                  </a:lnTo>
                  <a:lnTo>
                    <a:pt x="18" y="11"/>
                  </a:lnTo>
                  <a:lnTo>
                    <a:pt x="19" y="11"/>
                  </a:lnTo>
                  <a:lnTo>
                    <a:pt x="20" y="11"/>
                  </a:lnTo>
                  <a:lnTo>
                    <a:pt x="20" y="9"/>
                  </a:lnTo>
                  <a:lnTo>
                    <a:pt x="20" y="8"/>
                  </a:lnTo>
                  <a:lnTo>
                    <a:pt x="19" y="8"/>
                  </a:lnTo>
                  <a:lnTo>
                    <a:pt x="19" y="7"/>
                  </a:lnTo>
                  <a:lnTo>
                    <a:pt x="20" y="7"/>
                  </a:lnTo>
                  <a:lnTo>
                    <a:pt x="21" y="7"/>
                  </a:lnTo>
                  <a:lnTo>
                    <a:pt x="21" y="8"/>
                  </a:lnTo>
                  <a:lnTo>
                    <a:pt x="21" y="7"/>
                  </a:lnTo>
                  <a:lnTo>
                    <a:pt x="21" y="8"/>
                  </a:lnTo>
                  <a:lnTo>
                    <a:pt x="22" y="8"/>
                  </a:lnTo>
                  <a:lnTo>
                    <a:pt x="22" y="9"/>
                  </a:lnTo>
                  <a:lnTo>
                    <a:pt x="22" y="11"/>
                  </a:lnTo>
                  <a:lnTo>
                    <a:pt x="23" y="11"/>
                  </a:lnTo>
                  <a:lnTo>
                    <a:pt x="23" y="12"/>
                  </a:lnTo>
                  <a:lnTo>
                    <a:pt x="23" y="13"/>
                  </a:lnTo>
                  <a:lnTo>
                    <a:pt x="23" y="14"/>
                  </a:lnTo>
                  <a:lnTo>
                    <a:pt x="25" y="15"/>
                  </a:lnTo>
                  <a:lnTo>
                    <a:pt x="25" y="16"/>
                  </a:lnTo>
                  <a:lnTo>
                    <a:pt x="25" y="19"/>
                  </a:lnTo>
                  <a:lnTo>
                    <a:pt x="25" y="20"/>
                  </a:lnTo>
                  <a:lnTo>
                    <a:pt x="25" y="21"/>
                  </a:lnTo>
                  <a:lnTo>
                    <a:pt x="26" y="21"/>
                  </a:lnTo>
                  <a:lnTo>
                    <a:pt x="27" y="21"/>
                  </a:lnTo>
                  <a:lnTo>
                    <a:pt x="29" y="22"/>
                  </a:lnTo>
                  <a:lnTo>
                    <a:pt x="32" y="23"/>
                  </a:lnTo>
                  <a:lnTo>
                    <a:pt x="33" y="23"/>
                  </a:lnTo>
                  <a:lnTo>
                    <a:pt x="34" y="23"/>
                  </a:lnTo>
                  <a:lnTo>
                    <a:pt x="35" y="23"/>
                  </a:lnTo>
                  <a:lnTo>
                    <a:pt x="36" y="23"/>
                  </a:lnTo>
                  <a:lnTo>
                    <a:pt x="37" y="23"/>
                  </a:lnTo>
                  <a:lnTo>
                    <a:pt x="39" y="23"/>
                  </a:lnTo>
                  <a:lnTo>
                    <a:pt x="40" y="23"/>
                  </a:lnTo>
                  <a:lnTo>
                    <a:pt x="41" y="23"/>
                  </a:lnTo>
                  <a:lnTo>
                    <a:pt x="43" y="23"/>
                  </a:lnTo>
                  <a:lnTo>
                    <a:pt x="44" y="23"/>
                  </a:lnTo>
                  <a:lnTo>
                    <a:pt x="44" y="22"/>
                  </a:lnTo>
                  <a:lnTo>
                    <a:pt x="46" y="23"/>
                  </a:lnTo>
                  <a:lnTo>
                    <a:pt x="48" y="23"/>
                  </a:lnTo>
                  <a:lnTo>
                    <a:pt x="49" y="23"/>
                  </a:lnTo>
                  <a:lnTo>
                    <a:pt x="50" y="23"/>
                  </a:lnTo>
                  <a:lnTo>
                    <a:pt x="51" y="23"/>
                  </a:lnTo>
                  <a:lnTo>
                    <a:pt x="53" y="23"/>
                  </a:lnTo>
                  <a:lnTo>
                    <a:pt x="54" y="23"/>
                  </a:lnTo>
                  <a:lnTo>
                    <a:pt x="55" y="23"/>
                  </a:lnTo>
                  <a:lnTo>
                    <a:pt x="56" y="23"/>
                  </a:lnTo>
                  <a:lnTo>
                    <a:pt x="57" y="23"/>
                  </a:lnTo>
                  <a:lnTo>
                    <a:pt x="58" y="25"/>
                  </a:lnTo>
                  <a:lnTo>
                    <a:pt x="59" y="25"/>
                  </a:lnTo>
                  <a:lnTo>
                    <a:pt x="59" y="26"/>
                  </a:lnTo>
                  <a:lnTo>
                    <a:pt x="61" y="26"/>
                  </a:lnTo>
                  <a:lnTo>
                    <a:pt x="62" y="27"/>
                  </a:lnTo>
                  <a:lnTo>
                    <a:pt x="63" y="27"/>
                  </a:lnTo>
                  <a:lnTo>
                    <a:pt x="63" y="28"/>
                  </a:lnTo>
                  <a:lnTo>
                    <a:pt x="62" y="28"/>
                  </a:lnTo>
                  <a:lnTo>
                    <a:pt x="61" y="28"/>
                  </a:lnTo>
                  <a:lnTo>
                    <a:pt x="59" y="28"/>
                  </a:lnTo>
                  <a:lnTo>
                    <a:pt x="59" y="27"/>
                  </a:lnTo>
                  <a:lnTo>
                    <a:pt x="58" y="28"/>
                  </a:lnTo>
                  <a:lnTo>
                    <a:pt x="59" y="28"/>
                  </a:lnTo>
                  <a:lnTo>
                    <a:pt x="59" y="29"/>
                  </a:lnTo>
                  <a:lnTo>
                    <a:pt x="59" y="32"/>
                  </a:lnTo>
                  <a:lnTo>
                    <a:pt x="59" y="33"/>
                  </a:lnTo>
                  <a:lnTo>
                    <a:pt x="58" y="33"/>
                  </a:lnTo>
                  <a:lnTo>
                    <a:pt x="58" y="34"/>
                  </a:lnTo>
                  <a:lnTo>
                    <a:pt x="58" y="35"/>
                  </a:lnTo>
                  <a:lnTo>
                    <a:pt x="58" y="36"/>
                  </a:lnTo>
                  <a:lnTo>
                    <a:pt x="57" y="36"/>
                  </a:lnTo>
                  <a:lnTo>
                    <a:pt x="56" y="36"/>
                  </a:lnTo>
                  <a:lnTo>
                    <a:pt x="57" y="36"/>
                  </a:lnTo>
                  <a:lnTo>
                    <a:pt x="56" y="36"/>
                  </a:lnTo>
                  <a:lnTo>
                    <a:pt x="56" y="37"/>
                  </a:lnTo>
                  <a:lnTo>
                    <a:pt x="56" y="39"/>
                  </a:lnTo>
                  <a:lnTo>
                    <a:pt x="56" y="40"/>
                  </a:lnTo>
                  <a:lnTo>
                    <a:pt x="55" y="39"/>
                  </a:lnTo>
                  <a:lnTo>
                    <a:pt x="54" y="39"/>
                  </a:lnTo>
                  <a:lnTo>
                    <a:pt x="54" y="40"/>
                  </a:lnTo>
                  <a:lnTo>
                    <a:pt x="53" y="39"/>
                  </a:lnTo>
                  <a:lnTo>
                    <a:pt x="53" y="40"/>
                  </a:lnTo>
                  <a:lnTo>
                    <a:pt x="51" y="41"/>
                  </a:lnTo>
                  <a:lnTo>
                    <a:pt x="50" y="40"/>
                  </a:lnTo>
                  <a:lnTo>
                    <a:pt x="49" y="40"/>
                  </a:lnTo>
                  <a:lnTo>
                    <a:pt x="49" y="41"/>
                  </a:lnTo>
                  <a:lnTo>
                    <a:pt x="49" y="42"/>
                  </a:lnTo>
                  <a:lnTo>
                    <a:pt x="48" y="42"/>
                  </a:lnTo>
                  <a:lnTo>
                    <a:pt x="48" y="43"/>
                  </a:lnTo>
                  <a:lnTo>
                    <a:pt x="48" y="44"/>
                  </a:lnTo>
                  <a:lnTo>
                    <a:pt x="48" y="46"/>
                  </a:lnTo>
                  <a:lnTo>
                    <a:pt x="47" y="46"/>
                  </a:lnTo>
                  <a:lnTo>
                    <a:pt x="47" y="47"/>
                  </a:lnTo>
                  <a:lnTo>
                    <a:pt x="48" y="47"/>
                  </a:lnTo>
                  <a:lnTo>
                    <a:pt x="47" y="47"/>
                  </a:lnTo>
                  <a:lnTo>
                    <a:pt x="47" y="48"/>
                  </a:lnTo>
                  <a:lnTo>
                    <a:pt x="48" y="48"/>
                  </a:lnTo>
                  <a:lnTo>
                    <a:pt x="48" y="49"/>
                  </a:lnTo>
                  <a:lnTo>
                    <a:pt x="48" y="50"/>
                  </a:lnTo>
                  <a:lnTo>
                    <a:pt x="49" y="50"/>
                  </a:lnTo>
                  <a:lnTo>
                    <a:pt x="49" y="51"/>
                  </a:lnTo>
                  <a:lnTo>
                    <a:pt x="50" y="51"/>
                  </a:lnTo>
                  <a:lnTo>
                    <a:pt x="50" y="53"/>
                  </a:lnTo>
                  <a:lnTo>
                    <a:pt x="50" y="55"/>
                  </a:lnTo>
                  <a:lnTo>
                    <a:pt x="51" y="56"/>
                  </a:lnTo>
                  <a:lnTo>
                    <a:pt x="51" y="55"/>
                  </a:lnTo>
                  <a:lnTo>
                    <a:pt x="51" y="54"/>
                  </a:lnTo>
                  <a:lnTo>
                    <a:pt x="53" y="54"/>
                  </a:lnTo>
                  <a:lnTo>
                    <a:pt x="53" y="55"/>
                  </a:lnTo>
                  <a:lnTo>
                    <a:pt x="54" y="56"/>
                  </a:lnTo>
                  <a:lnTo>
                    <a:pt x="54" y="57"/>
                  </a:lnTo>
                  <a:lnTo>
                    <a:pt x="55" y="58"/>
                  </a:lnTo>
                  <a:lnTo>
                    <a:pt x="56" y="58"/>
                  </a:lnTo>
                  <a:lnTo>
                    <a:pt x="56" y="57"/>
                  </a:lnTo>
                  <a:lnTo>
                    <a:pt x="57" y="57"/>
                  </a:lnTo>
                  <a:lnTo>
                    <a:pt x="57" y="56"/>
                  </a:lnTo>
                  <a:lnTo>
                    <a:pt x="57" y="55"/>
                  </a:lnTo>
                  <a:lnTo>
                    <a:pt x="56" y="54"/>
                  </a:lnTo>
                  <a:lnTo>
                    <a:pt x="56" y="53"/>
                  </a:lnTo>
                  <a:lnTo>
                    <a:pt x="57" y="51"/>
                  </a:lnTo>
                  <a:lnTo>
                    <a:pt x="58" y="50"/>
                  </a:lnTo>
                  <a:lnTo>
                    <a:pt x="58" y="49"/>
                  </a:lnTo>
                  <a:lnTo>
                    <a:pt x="58" y="47"/>
                  </a:lnTo>
                  <a:lnTo>
                    <a:pt x="57" y="47"/>
                  </a:lnTo>
                  <a:lnTo>
                    <a:pt x="57" y="46"/>
                  </a:lnTo>
                  <a:lnTo>
                    <a:pt x="58" y="46"/>
                  </a:lnTo>
                  <a:lnTo>
                    <a:pt x="58" y="47"/>
                  </a:lnTo>
                  <a:lnTo>
                    <a:pt x="59" y="48"/>
                  </a:lnTo>
                  <a:lnTo>
                    <a:pt x="59" y="47"/>
                  </a:lnTo>
                  <a:lnTo>
                    <a:pt x="61" y="47"/>
                  </a:lnTo>
                  <a:lnTo>
                    <a:pt x="61" y="46"/>
                  </a:lnTo>
                  <a:lnTo>
                    <a:pt x="61" y="47"/>
                  </a:lnTo>
                  <a:lnTo>
                    <a:pt x="62" y="47"/>
                  </a:lnTo>
                  <a:lnTo>
                    <a:pt x="63" y="47"/>
                  </a:lnTo>
                  <a:lnTo>
                    <a:pt x="62" y="48"/>
                  </a:lnTo>
                  <a:lnTo>
                    <a:pt x="63" y="48"/>
                  </a:lnTo>
                  <a:lnTo>
                    <a:pt x="63" y="50"/>
                  </a:lnTo>
                  <a:lnTo>
                    <a:pt x="64" y="50"/>
                  </a:lnTo>
                  <a:lnTo>
                    <a:pt x="64" y="51"/>
                  </a:lnTo>
                  <a:lnTo>
                    <a:pt x="64" y="53"/>
                  </a:lnTo>
                  <a:lnTo>
                    <a:pt x="65" y="54"/>
                  </a:lnTo>
                  <a:lnTo>
                    <a:pt x="64" y="54"/>
                  </a:lnTo>
                  <a:lnTo>
                    <a:pt x="64" y="55"/>
                  </a:lnTo>
                  <a:lnTo>
                    <a:pt x="65" y="57"/>
                  </a:lnTo>
                  <a:lnTo>
                    <a:pt x="65" y="58"/>
                  </a:lnTo>
                  <a:lnTo>
                    <a:pt x="66" y="60"/>
                  </a:lnTo>
                  <a:lnTo>
                    <a:pt x="66" y="61"/>
                  </a:lnTo>
                  <a:lnTo>
                    <a:pt x="68" y="62"/>
                  </a:lnTo>
                  <a:lnTo>
                    <a:pt x="69" y="63"/>
                  </a:lnTo>
                  <a:lnTo>
                    <a:pt x="69" y="64"/>
                  </a:lnTo>
                  <a:lnTo>
                    <a:pt x="69" y="65"/>
                  </a:lnTo>
                  <a:lnTo>
                    <a:pt x="70" y="71"/>
                  </a:lnTo>
                  <a:lnTo>
                    <a:pt x="70" y="72"/>
                  </a:lnTo>
                  <a:lnTo>
                    <a:pt x="71" y="74"/>
                  </a:lnTo>
                  <a:lnTo>
                    <a:pt x="71" y="75"/>
                  </a:lnTo>
                  <a:lnTo>
                    <a:pt x="71" y="77"/>
                  </a:lnTo>
                  <a:lnTo>
                    <a:pt x="72" y="82"/>
                  </a:lnTo>
                  <a:lnTo>
                    <a:pt x="72" y="83"/>
                  </a:lnTo>
                  <a:lnTo>
                    <a:pt x="73" y="84"/>
                  </a:lnTo>
                  <a:lnTo>
                    <a:pt x="73" y="85"/>
                  </a:lnTo>
                  <a:lnTo>
                    <a:pt x="72" y="85"/>
                  </a:lnTo>
                  <a:lnTo>
                    <a:pt x="72" y="84"/>
                  </a:lnTo>
                  <a:lnTo>
                    <a:pt x="71" y="84"/>
                  </a:lnTo>
                  <a:lnTo>
                    <a:pt x="71" y="83"/>
                  </a:lnTo>
                  <a:lnTo>
                    <a:pt x="71" y="84"/>
                  </a:lnTo>
                  <a:lnTo>
                    <a:pt x="70" y="83"/>
                  </a:lnTo>
                  <a:lnTo>
                    <a:pt x="69" y="83"/>
                  </a:lnTo>
                  <a:lnTo>
                    <a:pt x="69" y="82"/>
                  </a:lnTo>
                  <a:lnTo>
                    <a:pt x="68" y="83"/>
                  </a:lnTo>
                  <a:lnTo>
                    <a:pt x="68" y="84"/>
                  </a:lnTo>
                  <a:lnTo>
                    <a:pt x="66" y="84"/>
                  </a:lnTo>
                  <a:lnTo>
                    <a:pt x="66" y="85"/>
                  </a:lnTo>
                  <a:lnTo>
                    <a:pt x="68" y="85"/>
                  </a:lnTo>
                  <a:lnTo>
                    <a:pt x="68" y="86"/>
                  </a:lnTo>
                  <a:lnTo>
                    <a:pt x="68" y="88"/>
                  </a:lnTo>
                  <a:lnTo>
                    <a:pt x="69" y="89"/>
                  </a:lnTo>
                  <a:lnTo>
                    <a:pt x="69" y="90"/>
                  </a:lnTo>
                  <a:lnTo>
                    <a:pt x="69" y="91"/>
                  </a:lnTo>
                  <a:lnTo>
                    <a:pt x="70" y="91"/>
                  </a:lnTo>
                  <a:lnTo>
                    <a:pt x="70" y="92"/>
                  </a:lnTo>
                  <a:lnTo>
                    <a:pt x="70" y="93"/>
                  </a:lnTo>
                  <a:lnTo>
                    <a:pt x="70" y="92"/>
                  </a:lnTo>
                  <a:lnTo>
                    <a:pt x="68" y="90"/>
                  </a:lnTo>
                  <a:lnTo>
                    <a:pt x="68" y="89"/>
                  </a:lnTo>
                  <a:lnTo>
                    <a:pt x="66" y="89"/>
                  </a:lnTo>
                  <a:lnTo>
                    <a:pt x="66" y="88"/>
                  </a:lnTo>
                  <a:lnTo>
                    <a:pt x="65" y="86"/>
                  </a:lnTo>
                  <a:lnTo>
                    <a:pt x="65" y="85"/>
                  </a:lnTo>
                  <a:lnTo>
                    <a:pt x="65" y="84"/>
                  </a:lnTo>
                  <a:lnTo>
                    <a:pt x="64" y="83"/>
                  </a:lnTo>
                  <a:lnTo>
                    <a:pt x="63" y="82"/>
                  </a:lnTo>
                  <a:lnTo>
                    <a:pt x="64" y="82"/>
                  </a:lnTo>
                  <a:lnTo>
                    <a:pt x="64" y="81"/>
                  </a:lnTo>
                  <a:lnTo>
                    <a:pt x="64" y="79"/>
                  </a:lnTo>
                  <a:lnTo>
                    <a:pt x="64" y="78"/>
                  </a:lnTo>
                  <a:lnTo>
                    <a:pt x="64" y="79"/>
                  </a:lnTo>
                  <a:lnTo>
                    <a:pt x="63" y="79"/>
                  </a:lnTo>
                  <a:lnTo>
                    <a:pt x="63" y="78"/>
                  </a:lnTo>
                  <a:lnTo>
                    <a:pt x="63" y="77"/>
                  </a:lnTo>
                  <a:lnTo>
                    <a:pt x="62" y="77"/>
                  </a:lnTo>
                  <a:lnTo>
                    <a:pt x="62" y="76"/>
                  </a:lnTo>
                  <a:lnTo>
                    <a:pt x="63" y="76"/>
                  </a:lnTo>
                  <a:lnTo>
                    <a:pt x="63" y="75"/>
                  </a:lnTo>
                  <a:lnTo>
                    <a:pt x="62" y="75"/>
                  </a:lnTo>
                  <a:lnTo>
                    <a:pt x="62" y="76"/>
                  </a:lnTo>
                  <a:lnTo>
                    <a:pt x="62" y="75"/>
                  </a:lnTo>
                  <a:lnTo>
                    <a:pt x="62" y="74"/>
                  </a:lnTo>
                  <a:lnTo>
                    <a:pt x="61" y="71"/>
                  </a:lnTo>
                  <a:lnTo>
                    <a:pt x="59" y="71"/>
                  </a:lnTo>
                  <a:lnTo>
                    <a:pt x="59" y="70"/>
                  </a:lnTo>
                  <a:lnTo>
                    <a:pt x="61" y="70"/>
                  </a:lnTo>
                  <a:lnTo>
                    <a:pt x="61" y="69"/>
                  </a:lnTo>
                  <a:lnTo>
                    <a:pt x="59" y="69"/>
                  </a:lnTo>
                  <a:lnTo>
                    <a:pt x="61" y="68"/>
                  </a:lnTo>
                  <a:lnTo>
                    <a:pt x="61" y="67"/>
                  </a:lnTo>
                  <a:lnTo>
                    <a:pt x="61" y="68"/>
                  </a:lnTo>
                  <a:lnTo>
                    <a:pt x="59" y="68"/>
                  </a:lnTo>
                  <a:lnTo>
                    <a:pt x="59" y="69"/>
                  </a:lnTo>
                  <a:lnTo>
                    <a:pt x="59" y="70"/>
                  </a:lnTo>
                  <a:lnTo>
                    <a:pt x="59" y="69"/>
                  </a:lnTo>
                  <a:lnTo>
                    <a:pt x="58" y="68"/>
                  </a:lnTo>
                  <a:lnTo>
                    <a:pt x="58" y="67"/>
                  </a:lnTo>
                  <a:lnTo>
                    <a:pt x="57" y="65"/>
                  </a:lnTo>
                  <a:lnTo>
                    <a:pt x="55" y="62"/>
                  </a:lnTo>
                  <a:lnTo>
                    <a:pt x="54" y="62"/>
                  </a:lnTo>
                  <a:lnTo>
                    <a:pt x="54" y="61"/>
                  </a:lnTo>
                  <a:lnTo>
                    <a:pt x="54" y="60"/>
                  </a:lnTo>
                  <a:lnTo>
                    <a:pt x="54" y="61"/>
                  </a:lnTo>
                  <a:lnTo>
                    <a:pt x="53" y="61"/>
                  </a:lnTo>
                  <a:lnTo>
                    <a:pt x="54" y="62"/>
                  </a:lnTo>
                  <a:lnTo>
                    <a:pt x="53" y="61"/>
                  </a:lnTo>
                  <a:lnTo>
                    <a:pt x="53" y="62"/>
                  </a:lnTo>
                  <a:lnTo>
                    <a:pt x="51" y="62"/>
                  </a:lnTo>
                  <a:lnTo>
                    <a:pt x="53" y="62"/>
                  </a:lnTo>
                  <a:lnTo>
                    <a:pt x="51" y="62"/>
                  </a:lnTo>
                  <a:lnTo>
                    <a:pt x="50" y="62"/>
                  </a:lnTo>
                  <a:lnTo>
                    <a:pt x="50" y="63"/>
                  </a:lnTo>
                  <a:lnTo>
                    <a:pt x="51" y="63"/>
                  </a:lnTo>
                  <a:lnTo>
                    <a:pt x="51" y="64"/>
                  </a:lnTo>
                  <a:lnTo>
                    <a:pt x="50" y="64"/>
                  </a:lnTo>
                  <a:lnTo>
                    <a:pt x="50" y="65"/>
                  </a:lnTo>
                  <a:lnTo>
                    <a:pt x="49" y="64"/>
                  </a:lnTo>
                  <a:lnTo>
                    <a:pt x="49" y="63"/>
                  </a:lnTo>
                  <a:lnTo>
                    <a:pt x="48" y="63"/>
                  </a:lnTo>
                  <a:lnTo>
                    <a:pt x="48" y="64"/>
                  </a:lnTo>
                  <a:lnTo>
                    <a:pt x="47" y="64"/>
                  </a:lnTo>
                  <a:lnTo>
                    <a:pt x="47" y="63"/>
                  </a:lnTo>
                  <a:lnTo>
                    <a:pt x="46" y="63"/>
                  </a:lnTo>
                  <a:lnTo>
                    <a:pt x="46" y="62"/>
                  </a:lnTo>
                  <a:lnTo>
                    <a:pt x="44" y="62"/>
                  </a:lnTo>
                  <a:lnTo>
                    <a:pt x="44" y="61"/>
                  </a:lnTo>
                  <a:lnTo>
                    <a:pt x="44" y="60"/>
                  </a:lnTo>
                  <a:lnTo>
                    <a:pt x="43" y="60"/>
                  </a:lnTo>
                  <a:lnTo>
                    <a:pt x="43" y="58"/>
                  </a:lnTo>
                  <a:lnTo>
                    <a:pt x="42" y="57"/>
                  </a:lnTo>
                  <a:lnTo>
                    <a:pt x="42" y="56"/>
                  </a:lnTo>
                  <a:lnTo>
                    <a:pt x="42" y="55"/>
                  </a:lnTo>
                  <a:lnTo>
                    <a:pt x="42" y="54"/>
                  </a:lnTo>
                  <a:lnTo>
                    <a:pt x="41" y="53"/>
                  </a:lnTo>
                  <a:lnTo>
                    <a:pt x="42" y="53"/>
                  </a:lnTo>
                  <a:lnTo>
                    <a:pt x="41" y="53"/>
                  </a:lnTo>
                  <a:lnTo>
                    <a:pt x="41" y="51"/>
                  </a:lnTo>
                  <a:lnTo>
                    <a:pt x="41" y="50"/>
                  </a:lnTo>
                  <a:lnTo>
                    <a:pt x="42" y="50"/>
                  </a:lnTo>
                  <a:lnTo>
                    <a:pt x="42" y="49"/>
                  </a:lnTo>
                  <a:lnTo>
                    <a:pt x="41" y="49"/>
                  </a:lnTo>
                  <a:lnTo>
                    <a:pt x="42" y="49"/>
                  </a:lnTo>
                  <a:lnTo>
                    <a:pt x="41" y="49"/>
                  </a:lnTo>
                  <a:lnTo>
                    <a:pt x="41" y="50"/>
                  </a:lnTo>
                  <a:lnTo>
                    <a:pt x="40" y="49"/>
                  </a:lnTo>
                  <a:lnTo>
                    <a:pt x="40" y="48"/>
                  </a:lnTo>
                  <a:lnTo>
                    <a:pt x="41" y="48"/>
                  </a:lnTo>
                  <a:lnTo>
                    <a:pt x="40" y="48"/>
                  </a:lnTo>
                  <a:lnTo>
                    <a:pt x="40" y="49"/>
                  </a:lnTo>
                  <a:lnTo>
                    <a:pt x="39" y="49"/>
                  </a:lnTo>
                  <a:lnTo>
                    <a:pt x="39" y="48"/>
                  </a:lnTo>
                  <a:lnTo>
                    <a:pt x="39" y="49"/>
                  </a:lnTo>
                  <a:lnTo>
                    <a:pt x="40" y="49"/>
                  </a:lnTo>
                  <a:lnTo>
                    <a:pt x="40" y="50"/>
                  </a:lnTo>
                  <a:lnTo>
                    <a:pt x="40" y="51"/>
                  </a:lnTo>
                  <a:lnTo>
                    <a:pt x="36" y="50"/>
                  </a:lnTo>
                  <a:lnTo>
                    <a:pt x="35" y="50"/>
                  </a:lnTo>
                  <a:lnTo>
                    <a:pt x="36" y="50"/>
                  </a:lnTo>
                  <a:lnTo>
                    <a:pt x="37" y="51"/>
                  </a:lnTo>
                  <a:lnTo>
                    <a:pt x="39" y="53"/>
                  </a:lnTo>
                  <a:lnTo>
                    <a:pt x="40" y="53"/>
                  </a:lnTo>
                  <a:lnTo>
                    <a:pt x="41" y="53"/>
                  </a:lnTo>
                  <a:lnTo>
                    <a:pt x="41" y="54"/>
                  </a:lnTo>
                  <a:lnTo>
                    <a:pt x="41" y="55"/>
                  </a:lnTo>
                  <a:lnTo>
                    <a:pt x="41" y="54"/>
                  </a:lnTo>
                  <a:lnTo>
                    <a:pt x="41" y="55"/>
                  </a:lnTo>
                  <a:lnTo>
                    <a:pt x="41" y="56"/>
                  </a:lnTo>
                  <a:lnTo>
                    <a:pt x="40" y="56"/>
                  </a:lnTo>
                  <a:lnTo>
                    <a:pt x="40" y="57"/>
                  </a:lnTo>
                  <a:lnTo>
                    <a:pt x="40" y="58"/>
                  </a:lnTo>
                  <a:lnTo>
                    <a:pt x="41" y="58"/>
                  </a:lnTo>
                  <a:lnTo>
                    <a:pt x="41" y="60"/>
                  </a:lnTo>
                  <a:lnTo>
                    <a:pt x="40" y="60"/>
                  </a:lnTo>
                  <a:lnTo>
                    <a:pt x="40" y="61"/>
                  </a:lnTo>
                  <a:lnTo>
                    <a:pt x="40" y="62"/>
                  </a:lnTo>
                  <a:lnTo>
                    <a:pt x="40" y="61"/>
                  </a:lnTo>
                  <a:lnTo>
                    <a:pt x="39" y="62"/>
                  </a:lnTo>
                  <a:lnTo>
                    <a:pt x="40" y="62"/>
                  </a:lnTo>
                  <a:lnTo>
                    <a:pt x="41" y="62"/>
                  </a:lnTo>
                  <a:lnTo>
                    <a:pt x="41" y="63"/>
                  </a:lnTo>
                  <a:lnTo>
                    <a:pt x="41" y="64"/>
                  </a:lnTo>
                  <a:lnTo>
                    <a:pt x="41" y="65"/>
                  </a:lnTo>
                  <a:lnTo>
                    <a:pt x="41" y="64"/>
                  </a:lnTo>
                  <a:lnTo>
                    <a:pt x="42" y="64"/>
                  </a:lnTo>
                  <a:lnTo>
                    <a:pt x="42" y="65"/>
                  </a:lnTo>
                  <a:lnTo>
                    <a:pt x="43" y="67"/>
                  </a:lnTo>
                  <a:lnTo>
                    <a:pt x="42" y="65"/>
                  </a:lnTo>
                  <a:lnTo>
                    <a:pt x="42" y="67"/>
                  </a:lnTo>
                  <a:lnTo>
                    <a:pt x="43" y="67"/>
                  </a:lnTo>
                  <a:lnTo>
                    <a:pt x="43" y="68"/>
                  </a:lnTo>
                  <a:lnTo>
                    <a:pt x="43" y="69"/>
                  </a:lnTo>
                  <a:lnTo>
                    <a:pt x="43" y="70"/>
                  </a:lnTo>
                  <a:lnTo>
                    <a:pt x="42" y="70"/>
                  </a:lnTo>
                  <a:lnTo>
                    <a:pt x="42" y="71"/>
                  </a:lnTo>
                  <a:lnTo>
                    <a:pt x="42" y="72"/>
                  </a:lnTo>
                  <a:lnTo>
                    <a:pt x="41" y="72"/>
                  </a:lnTo>
                  <a:lnTo>
                    <a:pt x="41" y="71"/>
                  </a:lnTo>
                  <a:lnTo>
                    <a:pt x="41" y="70"/>
                  </a:lnTo>
                  <a:lnTo>
                    <a:pt x="41" y="69"/>
                  </a:lnTo>
                  <a:lnTo>
                    <a:pt x="41" y="70"/>
                  </a:lnTo>
                  <a:lnTo>
                    <a:pt x="41" y="71"/>
                  </a:lnTo>
                  <a:lnTo>
                    <a:pt x="41" y="72"/>
                  </a:lnTo>
                  <a:lnTo>
                    <a:pt x="40" y="72"/>
                  </a:lnTo>
                  <a:lnTo>
                    <a:pt x="40" y="74"/>
                  </a:lnTo>
                  <a:lnTo>
                    <a:pt x="40" y="75"/>
                  </a:lnTo>
                  <a:lnTo>
                    <a:pt x="40" y="76"/>
                  </a:lnTo>
                  <a:lnTo>
                    <a:pt x="39" y="76"/>
                  </a:lnTo>
                  <a:lnTo>
                    <a:pt x="39" y="77"/>
                  </a:lnTo>
                  <a:lnTo>
                    <a:pt x="37" y="76"/>
                  </a:lnTo>
                  <a:lnTo>
                    <a:pt x="37" y="75"/>
                  </a:lnTo>
                  <a:lnTo>
                    <a:pt x="37" y="76"/>
                  </a:lnTo>
                  <a:lnTo>
                    <a:pt x="36" y="76"/>
                  </a:lnTo>
                  <a:lnTo>
                    <a:pt x="36" y="75"/>
                  </a:lnTo>
                  <a:lnTo>
                    <a:pt x="36" y="74"/>
                  </a:lnTo>
                  <a:lnTo>
                    <a:pt x="36" y="72"/>
                  </a:lnTo>
                  <a:lnTo>
                    <a:pt x="37" y="72"/>
                  </a:lnTo>
                  <a:lnTo>
                    <a:pt x="37" y="71"/>
                  </a:lnTo>
                  <a:lnTo>
                    <a:pt x="39" y="71"/>
                  </a:lnTo>
                  <a:lnTo>
                    <a:pt x="39" y="70"/>
                  </a:lnTo>
                  <a:lnTo>
                    <a:pt x="39" y="71"/>
                  </a:lnTo>
                  <a:lnTo>
                    <a:pt x="37" y="71"/>
                  </a:lnTo>
                  <a:lnTo>
                    <a:pt x="36" y="72"/>
                  </a:lnTo>
                  <a:lnTo>
                    <a:pt x="36" y="74"/>
                  </a:lnTo>
                  <a:lnTo>
                    <a:pt x="35" y="74"/>
                  </a:lnTo>
                  <a:lnTo>
                    <a:pt x="35" y="72"/>
                  </a:lnTo>
                  <a:lnTo>
                    <a:pt x="36" y="72"/>
                  </a:lnTo>
                  <a:lnTo>
                    <a:pt x="36" y="71"/>
                  </a:lnTo>
                  <a:lnTo>
                    <a:pt x="36" y="72"/>
                  </a:lnTo>
                  <a:lnTo>
                    <a:pt x="35" y="72"/>
                  </a:lnTo>
                  <a:lnTo>
                    <a:pt x="35" y="74"/>
                  </a:lnTo>
                  <a:lnTo>
                    <a:pt x="35" y="72"/>
                  </a:lnTo>
                  <a:lnTo>
                    <a:pt x="34" y="72"/>
                  </a:lnTo>
                  <a:lnTo>
                    <a:pt x="34" y="71"/>
                  </a:lnTo>
                  <a:lnTo>
                    <a:pt x="34" y="70"/>
                  </a:lnTo>
                  <a:lnTo>
                    <a:pt x="34" y="69"/>
                  </a:lnTo>
                  <a:lnTo>
                    <a:pt x="33" y="69"/>
                  </a:lnTo>
                  <a:lnTo>
                    <a:pt x="34" y="68"/>
                  </a:lnTo>
                  <a:lnTo>
                    <a:pt x="34" y="67"/>
                  </a:lnTo>
                  <a:lnTo>
                    <a:pt x="34" y="65"/>
                  </a:lnTo>
                  <a:lnTo>
                    <a:pt x="35" y="65"/>
                  </a:lnTo>
                  <a:lnTo>
                    <a:pt x="34" y="65"/>
                  </a:lnTo>
                  <a:lnTo>
                    <a:pt x="34" y="67"/>
                  </a:lnTo>
                  <a:lnTo>
                    <a:pt x="34" y="68"/>
                  </a:lnTo>
                  <a:lnTo>
                    <a:pt x="34" y="67"/>
                  </a:lnTo>
                  <a:lnTo>
                    <a:pt x="33" y="67"/>
                  </a:lnTo>
                  <a:lnTo>
                    <a:pt x="33" y="68"/>
                  </a:lnTo>
                  <a:lnTo>
                    <a:pt x="33" y="69"/>
                  </a:lnTo>
                  <a:lnTo>
                    <a:pt x="33" y="70"/>
                  </a:lnTo>
                  <a:lnTo>
                    <a:pt x="34" y="71"/>
                  </a:lnTo>
                  <a:lnTo>
                    <a:pt x="34" y="72"/>
                  </a:lnTo>
                  <a:lnTo>
                    <a:pt x="33" y="72"/>
                  </a:lnTo>
                  <a:lnTo>
                    <a:pt x="34" y="72"/>
                  </a:lnTo>
                  <a:lnTo>
                    <a:pt x="34" y="74"/>
                  </a:lnTo>
                  <a:lnTo>
                    <a:pt x="34" y="75"/>
                  </a:lnTo>
                  <a:lnTo>
                    <a:pt x="34" y="76"/>
                  </a:lnTo>
                  <a:lnTo>
                    <a:pt x="33" y="76"/>
                  </a:lnTo>
                  <a:lnTo>
                    <a:pt x="32" y="76"/>
                  </a:lnTo>
                  <a:lnTo>
                    <a:pt x="32" y="75"/>
                  </a:lnTo>
                  <a:lnTo>
                    <a:pt x="30" y="75"/>
                  </a:lnTo>
                  <a:lnTo>
                    <a:pt x="30" y="76"/>
                  </a:lnTo>
                  <a:lnTo>
                    <a:pt x="32" y="76"/>
                  </a:lnTo>
                  <a:lnTo>
                    <a:pt x="32" y="77"/>
                  </a:lnTo>
                  <a:lnTo>
                    <a:pt x="30" y="77"/>
                  </a:lnTo>
                  <a:lnTo>
                    <a:pt x="30" y="78"/>
                  </a:lnTo>
                  <a:lnTo>
                    <a:pt x="30" y="77"/>
                  </a:lnTo>
                  <a:lnTo>
                    <a:pt x="29" y="77"/>
                  </a:lnTo>
                  <a:lnTo>
                    <a:pt x="29" y="76"/>
                  </a:lnTo>
                  <a:lnTo>
                    <a:pt x="30" y="76"/>
                  </a:lnTo>
                  <a:lnTo>
                    <a:pt x="30" y="75"/>
                  </a:lnTo>
                  <a:lnTo>
                    <a:pt x="29" y="74"/>
                  </a:lnTo>
                  <a:lnTo>
                    <a:pt x="29" y="72"/>
                  </a:lnTo>
                  <a:lnTo>
                    <a:pt x="30" y="72"/>
                  </a:lnTo>
                  <a:lnTo>
                    <a:pt x="30" y="71"/>
                  </a:lnTo>
                  <a:lnTo>
                    <a:pt x="29" y="71"/>
                  </a:lnTo>
                  <a:lnTo>
                    <a:pt x="29" y="70"/>
                  </a:lnTo>
                  <a:lnTo>
                    <a:pt x="29" y="69"/>
                  </a:lnTo>
                  <a:lnTo>
                    <a:pt x="29" y="68"/>
                  </a:lnTo>
                  <a:lnTo>
                    <a:pt x="29" y="69"/>
                  </a:lnTo>
                  <a:lnTo>
                    <a:pt x="29" y="70"/>
                  </a:lnTo>
                  <a:lnTo>
                    <a:pt x="29" y="71"/>
                  </a:lnTo>
                  <a:lnTo>
                    <a:pt x="29" y="72"/>
                  </a:lnTo>
                  <a:lnTo>
                    <a:pt x="29" y="74"/>
                  </a:lnTo>
                  <a:lnTo>
                    <a:pt x="29" y="72"/>
                  </a:lnTo>
                  <a:lnTo>
                    <a:pt x="28" y="70"/>
                  </a:lnTo>
                  <a:lnTo>
                    <a:pt x="28" y="69"/>
                  </a:lnTo>
                  <a:lnTo>
                    <a:pt x="28" y="70"/>
                  </a:lnTo>
                  <a:lnTo>
                    <a:pt x="28" y="71"/>
                  </a:lnTo>
                  <a:lnTo>
                    <a:pt x="29" y="72"/>
                  </a:lnTo>
                  <a:lnTo>
                    <a:pt x="28" y="72"/>
                  </a:lnTo>
                  <a:lnTo>
                    <a:pt x="28" y="74"/>
                  </a:lnTo>
                  <a:lnTo>
                    <a:pt x="29" y="74"/>
                  </a:lnTo>
                  <a:lnTo>
                    <a:pt x="29" y="75"/>
                  </a:lnTo>
                  <a:lnTo>
                    <a:pt x="29" y="76"/>
                  </a:lnTo>
                  <a:lnTo>
                    <a:pt x="28" y="76"/>
                  </a:lnTo>
                  <a:lnTo>
                    <a:pt x="29" y="76"/>
                  </a:lnTo>
                  <a:lnTo>
                    <a:pt x="29" y="77"/>
                  </a:lnTo>
                  <a:lnTo>
                    <a:pt x="28" y="77"/>
                  </a:lnTo>
                  <a:lnTo>
                    <a:pt x="28" y="78"/>
                  </a:lnTo>
                  <a:lnTo>
                    <a:pt x="28" y="77"/>
                  </a:lnTo>
                  <a:lnTo>
                    <a:pt x="27" y="77"/>
                  </a:lnTo>
                  <a:lnTo>
                    <a:pt x="27" y="76"/>
                  </a:lnTo>
                  <a:lnTo>
                    <a:pt x="27" y="75"/>
                  </a:lnTo>
                  <a:lnTo>
                    <a:pt x="27" y="74"/>
                  </a:lnTo>
                  <a:lnTo>
                    <a:pt x="27" y="75"/>
                  </a:lnTo>
                  <a:lnTo>
                    <a:pt x="27" y="76"/>
                  </a:lnTo>
                  <a:lnTo>
                    <a:pt x="26" y="76"/>
                  </a:lnTo>
                  <a:lnTo>
                    <a:pt x="26" y="77"/>
                  </a:lnTo>
                  <a:lnTo>
                    <a:pt x="27" y="77"/>
                  </a:lnTo>
                  <a:lnTo>
                    <a:pt x="27" y="78"/>
                  </a:lnTo>
                  <a:lnTo>
                    <a:pt x="27" y="79"/>
                  </a:lnTo>
                  <a:lnTo>
                    <a:pt x="26" y="79"/>
                  </a:lnTo>
                  <a:lnTo>
                    <a:pt x="26" y="78"/>
                  </a:lnTo>
                  <a:lnTo>
                    <a:pt x="25" y="77"/>
                  </a:lnTo>
                  <a:lnTo>
                    <a:pt x="25" y="76"/>
                  </a:lnTo>
                  <a:lnTo>
                    <a:pt x="25" y="77"/>
                  </a:lnTo>
                  <a:lnTo>
                    <a:pt x="23" y="76"/>
                  </a:lnTo>
                  <a:lnTo>
                    <a:pt x="23" y="75"/>
                  </a:lnTo>
                  <a:lnTo>
                    <a:pt x="23" y="74"/>
                  </a:lnTo>
                  <a:lnTo>
                    <a:pt x="22" y="72"/>
                  </a:lnTo>
                  <a:lnTo>
                    <a:pt x="22" y="71"/>
                  </a:lnTo>
                  <a:lnTo>
                    <a:pt x="22" y="70"/>
                  </a:lnTo>
                  <a:lnTo>
                    <a:pt x="21" y="69"/>
                  </a:lnTo>
                  <a:lnTo>
                    <a:pt x="21" y="68"/>
                  </a:lnTo>
                  <a:lnTo>
                    <a:pt x="21" y="67"/>
                  </a:lnTo>
                  <a:lnTo>
                    <a:pt x="21" y="65"/>
                  </a:lnTo>
                  <a:lnTo>
                    <a:pt x="20" y="65"/>
                  </a:lnTo>
                  <a:lnTo>
                    <a:pt x="20" y="64"/>
                  </a:lnTo>
                  <a:lnTo>
                    <a:pt x="20" y="63"/>
                  </a:lnTo>
                  <a:lnTo>
                    <a:pt x="19" y="62"/>
                  </a:lnTo>
                  <a:lnTo>
                    <a:pt x="19" y="61"/>
                  </a:lnTo>
                  <a:lnTo>
                    <a:pt x="19" y="60"/>
                  </a:lnTo>
                  <a:lnTo>
                    <a:pt x="18" y="58"/>
                  </a:lnTo>
                  <a:lnTo>
                    <a:pt x="18" y="57"/>
                  </a:lnTo>
                  <a:lnTo>
                    <a:pt x="18" y="56"/>
                  </a:lnTo>
                  <a:lnTo>
                    <a:pt x="19" y="55"/>
                  </a:lnTo>
                  <a:lnTo>
                    <a:pt x="19" y="54"/>
                  </a:lnTo>
                  <a:lnTo>
                    <a:pt x="18" y="54"/>
                  </a:lnTo>
                  <a:lnTo>
                    <a:pt x="16" y="54"/>
                  </a:lnTo>
                  <a:lnTo>
                    <a:pt x="15" y="54"/>
                  </a:lnTo>
                  <a:lnTo>
                    <a:pt x="15" y="53"/>
                  </a:lnTo>
                  <a:lnTo>
                    <a:pt x="15" y="50"/>
                  </a:lnTo>
                  <a:lnTo>
                    <a:pt x="14" y="50"/>
                  </a:lnTo>
                  <a:lnTo>
                    <a:pt x="14" y="49"/>
                  </a:lnTo>
                  <a:lnTo>
                    <a:pt x="13" y="49"/>
                  </a:lnTo>
                  <a:lnTo>
                    <a:pt x="13" y="48"/>
                  </a:lnTo>
                  <a:lnTo>
                    <a:pt x="12" y="48"/>
                  </a:lnTo>
                  <a:lnTo>
                    <a:pt x="12" y="47"/>
                  </a:lnTo>
                  <a:lnTo>
                    <a:pt x="12" y="46"/>
                  </a:lnTo>
                  <a:lnTo>
                    <a:pt x="12" y="44"/>
                  </a:lnTo>
                  <a:lnTo>
                    <a:pt x="13" y="44"/>
                  </a:lnTo>
                  <a:lnTo>
                    <a:pt x="13" y="43"/>
                  </a:lnTo>
                  <a:lnTo>
                    <a:pt x="14" y="43"/>
                  </a:lnTo>
                  <a:lnTo>
                    <a:pt x="14" y="42"/>
                  </a:lnTo>
                  <a:lnTo>
                    <a:pt x="13" y="42"/>
                  </a:lnTo>
                  <a:lnTo>
                    <a:pt x="13" y="41"/>
                  </a:lnTo>
                  <a:lnTo>
                    <a:pt x="13" y="40"/>
                  </a:lnTo>
                  <a:lnTo>
                    <a:pt x="13" y="39"/>
                  </a:lnTo>
                  <a:lnTo>
                    <a:pt x="13" y="37"/>
                  </a:lnTo>
                  <a:lnTo>
                    <a:pt x="13" y="36"/>
                  </a:lnTo>
                  <a:lnTo>
                    <a:pt x="12" y="36"/>
                  </a:lnTo>
                  <a:lnTo>
                    <a:pt x="12" y="37"/>
                  </a:lnTo>
                  <a:lnTo>
                    <a:pt x="11" y="37"/>
                  </a:lnTo>
                  <a:lnTo>
                    <a:pt x="9" y="37"/>
                  </a:lnTo>
                  <a:lnTo>
                    <a:pt x="9" y="36"/>
                  </a:lnTo>
                  <a:lnTo>
                    <a:pt x="8" y="36"/>
                  </a:lnTo>
                  <a:lnTo>
                    <a:pt x="5" y="34"/>
                  </a:lnTo>
                  <a:lnTo>
                    <a:pt x="4" y="34"/>
                  </a:lnTo>
                  <a:lnTo>
                    <a:pt x="4" y="33"/>
                  </a:lnTo>
                  <a:lnTo>
                    <a:pt x="4" y="32"/>
                  </a:lnTo>
                  <a:lnTo>
                    <a:pt x="2" y="32"/>
                  </a:lnTo>
                  <a:lnTo>
                    <a:pt x="2" y="30"/>
                  </a:lnTo>
                  <a:lnTo>
                    <a:pt x="2" y="29"/>
                  </a:lnTo>
                  <a:lnTo>
                    <a:pt x="4" y="29"/>
                  </a:lnTo>
                  <a:lnTo>
                    <a:pt x="4" y="28"/>
                  </a:lnTo>
                  <a:lnTo>
                    <a:pt x="4" y="27"/>
                  </a:lnTo>
                  <a:lnTo>
                    <a:pt x="5" y="27"/>
                  </a:lnTo>
                  <a:lnTo>
                    <a:pt x="5" y="28"/>
                  </a:lnTo>
                  <a:lnTo>
                    <a:pt x="6" y="28"/>
                  </a:lnTo>
                  <a:lnTo>
                    <a:pt x="6" y="27"/>
                  </a:lnTo>
                  <a:lnTo>
                    <a:pt x="7" y="27"/>
                  </a:lnTo>
                  <a:lnTo>
                    <a:pt x="7" y="26"/>
                  </a:lnTo>
                  <a:lnTo>
                    <a:pt x="7" y="25"/>
                  </a:lnTo>
                  <a:lnTo>
                    <a:pt x="7" y="23"/>
                  </a:lnTo>
                  <a:lnTo>
                    <a:pt x="8" y="23"/>
                  </a:lnTo>
                  <a:lnTo>
                    <a:pt x="9" y="23"/>
                  </a:lnTo>
                  <a:lnTo>
                    <a:pt x="11" y="23"/>
                  </a:lnTo>
                  <a:lnTo>
                    <a:pt x="12" y="23"/>
                  </a:lnTo>
                  <a:lnTo>
                    <a:pt x="12" y="22"/>
                  </a:lnTo>
                  <a:lnTo>
                    <a:pt x="12" y="23"/>
                  </a:lnTo>
                  <a:lnTo>
                    <a:pt x="13" y="23"/>
                  </a:lnTo>
                  <a:lnTo>
                    <a:pt x="13" y="22"/>
                  </a:lnTo>
                  <a:lnTo>
                    <a:pt x="14" y="22"/>
                  </a:lnTo>
                  <a:lnTo>
                    <a:pt x="14" y="21"/>
                  </a:lnTo>
                  <a:lnTo>
                    <a:pt x="13" y="21"/>
                  </a:lnTo>
                  <a:lnTo>
                    <a:pt x="12" y="21"/>
                  </a:lnTo>
                  <a:lnTo>
                    <a:pt x="12" y="20"/>
                  </a:lnTo>
                  <a:lnTo>
                    <a:pt x="11" y="20"/>
                  </a:lnTo>
                  <a:lnTo>
                    <a:pt x="11" y="19"/>
                  </a:lnTo>
                  <a:lnTo>
                    <a:pt x="11" y="18"/>
                  </a:lnTo>
                  <a:lnTo>
                    <a:pt x="9" y="18"/>
                  </a:lnTo>
                  <a:lnTo>
                    <a:pt x="9" y="19"/>
                  </a:lnTo>
                  <a:lnTo>
                    <a:pt x="8" y="19"/>
                  </a:lnTo>
                  <a:lnTo>
                    <a:pt x="8" y="18"/>
                  </a:lnTo>
                  <a:lnTo>
                    <a:pt x="7" y="18"/>
                  </a:lnTo>
                  <a:lnTo>
                    <a:pt x="6" y="18"/>
                  </a:lnTo>
                  <a:lnTo>
                    <a:pt x="6" y="16"/>
                  </a:lnTo>
                  <a:lnTo>
                    <a:pt x="5" y="15"/>
                  </a:lnTo>
                  <a:lnTo>
                    <a:pt x="4" y="14"/>
                  </a:lnTo>
                  <a:lnTo>
                    <a:pt x="2" y="13"/>
                  </a:lnTo>
                  <a:lnTo>
                    <a:pt x="1" y="13"/>
                  </a:lnTo>
                  <a:lnTo>
                    <a:pt x="1" y="14"/>
                  </a:lnTo>
                  <a:lnTo>
                    <a:pt x="0" y="13"/>
                  </a:lnTo>
                  <a:lnTo>
                    <a:pt x="0" y="12"/>
                  </a:lnTo>
                  <a:lnTo>
                    <a:pt x="0" y="11"/>
                  </a:lnTo>
                  <a:lnTo>
                    <a:pt x="0" y="9"/>
                  </a:lnTo>
                  <a:lnTo>
                    <a:pt x="0" y="8"/>
                  </a:lnTo>
                  <a:lnTo>
                    <a:pt x="0" y="7"/>
                  </a:lnTo>
                  <a:lnTo>
                    <a:pt x="1" y="7"/>
                  </a:lnTo>
                  <a:lnTo>
                    <a:pt x="2" y="7"/>
                  </a:lnTo>
                  <a:lnTo>
                    <a:pt x="2" y="6"/>
                  </a:lnTo>
                  <a:lnTo>
                    <a:pt x="2" y="5"/>
                  </a:lnTo>
                  <a:lnTo>
                    <a:pt x="4" y="5"/>
                  </a:lnTo>
                  <a:lnTo>
                    <a:pt x="4" y="4"/>
                  </a:lnTo>
                  <a:lnTo>
                    <a:pt x="4" y="2"/>
                  </a:lnTo>
                  <a:lnTo>
                    <a:pt x="2" y="2"/>
                  </a:lnTo>
                  <a:lnTo>
                    <a:pt x="1" y="2"/>
                  </a:lnTo>
                  <a:lnTo>
                    <a:pt x="1" y="4"/>
                  </a:lnTo>
                  <a:lnTo>
                    <a:pt x="1" y="2"/>
                  </a:lnTo>
                  <a:lnTo>
                    <a:pt x="1" y="1"/>
                  </a:lnTo>
                  <a:lnTo>
                    <a:pt x="1" y="0"/>
                  </a:lnTo>
                  <a:lnTo>
                    <a:pt x="2" y="0"/>
                  </a:lnTo>
                  <a:lnTo>
                    <a:pt x="2" y="1"/>
                  </a:lnTo>
                  <a:lnTo>
                    <a:pt x="4" y="1"/>
                  </a:lnTo>
                  <a:lnTo>
                    <a:pt x="4" y="2"/>
                  </a:lnTo>
                  <a:close/>
                </a:path>
              </a:pathLst>
            </a:custGeom>
            <a:solidFill>
              <a:srgbClr val="0053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5" name="Freeform 838">
              <a:extLst>
                <a:ext uri="{FF2B5EF4-FFF2-40B4-BE49-F238E27FC236}">
                  <a16:creationId xmlns:a16="http://schemas.microsoft.com/office/drawing/2014/main" id="{2A58C45E-F228-45DD-8003-F3FDEC32A5E2}"/>
                </a:ext>
              </a:extLst>
            </p:cNvPr>
            <p:cNvSpPr>
              <a:spLocks/>
            </p:cNvSpPr>
            <p:nvPr/>
          </p:nvSpPr>
          <p:spPr bwMode="auto">
            <a:xfrm>
              <a:off x="6183035" y="2415022"/>
              <a:ext cx="105504" cy="61432"/>
            </a:xfrm>
            <a:custGeom>
              <a:avLst/>
              <a:gdLst>
                <a:gd name="T0" fmla="*/ 79 w 79"/>
                <a:gd name="T1" fmla="*/ 10 h 46"/>
                <a:gd name="T2" fmla="*/ 78 w 79"/>
                <a:gd name="T3" fmla="*/ 14 h 46"/>
                <a:gd name="T4" fmla="*/ 73 w 79"/>
                <a:gd name="T5" fmla="*/ 12 h 46"/>
                <a:gd name="T6" fmla="*/ 71 w 79"/>
                <a:gd name="T7" fmla="*/ 16 h 46"/>
                <a:gd name="T8" fmla="*/ 71 w 79"/>
                <a:gd name="T9" fmla="*/ 21 h 46"/>
                <a:gd name="T10" fmla="*/ 70 w 79"/>
                <a:gd name="T11" fmla="*/ 24 h 46"/>
                <a:gd name="T12" fmla="*/ 68 w 79"/>
                <a:gd name="T13" fmla="*/ 26 h 46"/>
                <a:gd name="T14" fmla="*/ 69 w 79"/>
                <a:gd name="T15" fmla="*/ 28 h 46"/>
                <a:gd name="T16" fmla="*/ 71 w 79"/>
                <a:gd name="T17" fmla="*/ 30 h 46"/>
                <a:gd name="T18" fmla="*/ 73 w 79"/>
                <a:gd name="T19" fmla="*/ 32 h 46"/>
                <a:gd name="T20" fmla="*/ 73 w 79"/>
                <a:gd name="T21" fmla="*/ 35 h 46"/>
                <a:gd name="T22" fmla="*/ 71 w 79"/>
                <a:gd name="T23" fmla="*/ 35 h 46"/>
                <a:gd name="T24" fmla="*/ 68 w 79"/>
                <a:gd name="T25" fmla="*/ 36 h 46"/>
                <a:gd name="T26" fmla="*/ 64 w 79"/>
                <a:gd name="T27" fmla="*/ 33 h 46"/>
                <a:gd name="T28" fmla="*/ 61 w 79"/>
                <a:gd name="T29" fmla="*/ 35 h 46"/>
                <a:gd name="T30" fmla="*/ 57 w 79"/>
                <a:gd name="T31" fmla="*/ 35 h 46"/>
                <a:gd name="T32" fmla="*/ 54 w 79"/>
                <a:gd name="T33" fmla="*/ 37 h 46"/>
                <a:gd name="T34" fmla="*/ 52 w 79"/>
                <a:gd name="T35" fmla="*/ 38 h 46"/>
                <a:gd name="T36" fmla="*/ 51 w 79"/>
                <a:gd name="T37" fmla="*/ 40 h 46"/>
                <a:gd name="T38" fmla="*/ 51 w 79"/>
                <a:gd name="T39" fmla="*/ 43 h 46"/>
                <a:gd name="T40" fmla="*/ 51 w 79"/>
                <a:gd name="T41" fmla="*/ 45 h 46"/>
                <a:gd name="T42" fmla="*/ 47 w 79"/>
                <a:gd name="T43" fmla="*/ 45 h 46"/>
                <a:gd name="T44" fmla="*/ 43 w 79"/>
                <a:gd name="T45" fmla="*/ 46 h 46"/>
                <a:gd name="T46" fmla="*/ 36 w 79"/>
                <a:gd name="T47" fmla="*/ 44 h 46"/>
                <a:gd name="T48" fmla="*/ 34 w 79"/>
                <a:gd name="T49" fmla="*/ 44 h 46"/>
                <a:gd name="T50" fmla="*/ 31 w 79"/>
                <a:gd name="T51" fmla="*/ 42 h 46"/>
                <a:gd name="T52" fmla="*/ 27 w 79"/>
                <a:gd name="T53" fmla="*/ 42 h 46"/>
                <a:gd name="T54" fmla="*/ 24 w 79"/>
                <a:gd name="T55" fmla="*/ 42 h 46"/>
                <a:gd name="T56" fmla="*/ 23 w 79"/>
                <a:gd name="T57" fmla="*/ 43 h 46"/>
                <a:gd name="T58" fmla="*/ 20 w 79"/>
                <a:gd name="T59" fmla="*/ 44 h 46"/>
                <a:gd name="T60" fmla="*/ 15 w 79"/>
                <a:gd name="T61" fmla="*/ 44 h 46"/>
                <a:gd name="T62" fmla="*/ 10 w 79"/>
                <a:gd name="T63" fmla="*/ 45 h 46"/>
                <a:gd name="T64" fmla="*/ 10 w 79"/>
                <a:gd name="T65" fmla="*/ 40 h 46"/>
                <a:gd name="T66" fmla="*/ 10 w 79"/>
                <a:gd name="T67" fmla="*/ 38 h 46"/>
                <a:gd name="T68" fmla="*/ 9 w 79"/>
                <a:gd name="T69" fmla="*/ 35 h 46"/>
                <a:gd name="T70" fmla="*/ 6 w 79"/>
                <a:gd name="T71" fmla="*/ 33 h 46"/>
                <a:gd name="T72" fmla="*/ 2 w 79"/>
                <a:gd name="T73" fmla="*/ 30 h 46"/>
                <a:gd name="T74" fmla="*/ 2 w 79"/>
                <a:gd name="T75" fmla="*/ 25 h 46"/>
                <a:gd name="T76" fmla="*/ 2 w 79"/>
                <a:gd name="T77" fmla="*/ 23 h 46"/>
                <a:gd name="T78" fmla="*/ 5 w 79"/>
                <a:gd name="T79" fmla="*/ 21 h 46"/>
                <a:gd name="T80" fmla="*/ 7 w 79"/>
                <a:gd name="T81" fmla="*/ 18 h 46"/>
                <a:gd name="T82" fmla="*/ 7 w 79"/>
                <a:gd name="T83" fmla="*/ 16 h 46"/>
                <a:gd name="T84" fmla="*/ 5 w 79"/>
                <a:gd name="T85" fmla="*/ 12 h 46"/>
                <a:gd name="T86" fmla="*/ 1 w 79"/>
                <a:gd name="T87" fmla="*/ 9 h 46"/>
                <a:gd name="T88" fmla="*/ 0 w 79"/>
                <a:gd name="T89" fmla="*/ 4 h 46"/>
                <a:gd name="T90" fmla="*/ 2 w 79"/>
                <a:gd name="T91" fmla="*/ 2 h 46"/>
                <a:gd name="T92" fmla="*/ 6 w 79"/>
                <a:gd name="T93" fmla="*/ 2 h 46"/>
                <a:gd name="T94" fmla="*/ 7 w 79"/>
                <a:gd name="T95" fmla="*/ 3 h 46"/>
                <a:gd name="T96" fmla="*/ 7 w 79"/>
                <a:gd name="T97" fmla="*/ 5 h 46"/>
                <a:gd name="T98" fmla="*/ 12 w 79"/>
                <a:gd name="T99" fmla="*/ 5 h 46"/>
                <a:gd name="T100" fmla="*/ 17 w 79"/>
                <a:gd name="T101" fmla="*/ 5 h 46"/>
                <a:gd name="T102" fmla="*/ 26 w 79"/>
                <a:gd name="T103" fmla="*/ 7 h 46"/>
                <a:gd name="T104" fmla="*/ 30 w 79"/>
                <a:gd name="T105" fmla="*/ 8 h 46"/>
                <a:gd name="T106" fmla="*/ 37 w 79"/>
                <a:gd name="T107" fmla="*/ 8 h 46"/>
                <a:gd name="T108" fmla="*/ 41 w 79"/>
                <a:gd name="T109" fmla="*/ 8 h 46"/>
                <a:gd name="T110" fmla="*/ 44 w 79"/>
                <a:gd name="T111" fmla="*/ 7 h 46"/>
                <a:gd name="T112" fmla="*/ 47 w 79"/>
                <a:gd name="T113" fmla="*/ 3 h 46"/>
                <a:gd name="T114" fmla="*/ 52 w 79"/>
                <a:gd name="T115" fmla="*/ 2 h 46"/>
                <a:gd name="T116" fmla="*/ 57 w 79"/>
                <a:gd name="T117" fmla="*/ 1 h 46"/>
                <a:gd name="T118" fmla="*/ 62 w 79"/>
                <a:gd name="T119" fmla="*/ 2 h 46"/>
                <a:gd name="T120" fmla="*/ 66 w 79"/>
                <a:gd name="T121" fmla="*/ 3 h 46"/>
                <a:gd name="T122" fmla="*/ 70 w 79"/>
                <a:gd name="T123" fmla="*/ 4 h 46"/>
                <a:gd name="T124" fmla="*/ 77 w 79"/>
                <a:gd name="T125"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9" h="46">
                  <a:moveTo>
                    <a:pt x="78" y="8"/>
                  </a:moveTo>
                  <a:lnTo>
                    <a:pt x="78" y="9"/>
                  </a:lnTo>
                  <a:lnTo>
                    <a:pt x="78" y="10"/>
                  </a:lnTo>
                  <a:lnTo>
                    <a:pt x="79" y="10"/>
                  </a:lnTo>
                  <a:lnTo>
                    <a:pt x="79" y="11"/>
                  </a:lnTo>
                  <a:lnTo>
                    <a:pt x="78" y="11"/>
                  </a:lnTo>
                  <a:lnTo>
                    <a:pt x="78" y="12"/>
                  </a:lnTo>
                  <a:lnTo>
                    <a:pt x="78" y="14"/>
                  </a:lnTo>
                  <a:lnTo>
                    <a:pt x="77" y="12"/>
                  </a:lnTo>
                  <a:lnTo>
                    <a:pt x="76" y="12"/>
                  </a:lnTo>
                  <a:lnTo>
                    <a:pt x="74" y="12"/>
                  </a:lnTo>
                  <a:lnTo>
                    <a:pt x="73" y="12"/>
                  </a:lnTo>
                  <a:lnTo>
                    <a:pt x="72" y="14"/>
                  </a:lnTo>
                  <a:lnTo>
                    <a:pt x="72" y="15"/>
                  </a:lnTo>
                  <a:lnTo>
                    <a:pt x="72" y="16"/>
                  </a:lnTo>
                  <a:lnTo>
                    <a:pt x="71" y="16"/>
                  </a:lnTo>
                  <a:lnTo>
                    <a:pt x="71" y="17"/>
                  </a:lnTo>
                  <a:lnTo>
                    <a:pt x="71" y="18"/>
                  </a:lnTo>
                  <a:lnTo>
                    <a:pt x="71" y="19"/>
                  </a:lnTo>
                  <a:lnTo>
                    <a:pt x="71" y="21"/>
                  </a:lnTo>
                  <a:lnTo>
                    <a:pt x="71" y="22"/>
                  </a:lnTo>
                  <a:lnTo>
                    <a:pt x="71" y="23"/>
                  </a:lnTo>
                  <a:lnTo>
                    <a:pt x="70" y="23"/>
                  </a:lnTo>
                  <a:lnTo>
                    <a:pt x="70" y="24"/>
                  </a:lnTo>
                  <a:lnTo>
                    <a:pt x="69" y="24"/>
                  </a:lnTo>
                  <a:lnTo>
                    <a:pt x="69" y="25"/>
                  </a:lnTo>
                  <a:lnTo>
                    <a:pt x="68" y="25"/>
                  </a:lnTo>
                  <a:lnTo>
                    <a:pt x="68" y="26"/>
                  </a:lnTo>
                  <a:lnTo>
                    <a:pt x="66" y="26"/>
                  </a:lnTo>
                  <a:lnTo>
                    <a:pt x="66" y="28"/>
                  </a:lnTo>
                  <a:lnTo>
                    <a:pt x="68" y="28"/>
                  </a:lnTo>
                  <a:lnTo>
                    <a:pt x="69" y="28"/>
                  </a:lnTo>
                  <a:lnTo>
                    <a:pt x="70" y="28"/>
                  </a:lnTo>
                  <a:lnTo>
                    <a:pt x="70" y="29"/>
                  </a:lnTo>
                  <a:lnTo>
                    <a:pt x="71" y="29"/>
                  </a:lnTo>
                  <a:lnTo>
                    <a:pt x="71" y="30"/>
                  </a:lnTo>
                  <a:lnTo>
                    <a:pt x="71" y="31"/>
                  </a:lnTo>
                  <a:lnTo>
                    <a:pt x="72" y="31"/>
                  </a:lnTo>
                  <a:lnTo>
                    <a:pt x="72" y="32"/>
                  </a:lnTo>
                  <a:lnTo>
                    <a:pt x="73" y="32"/>
                  </a:lnTo>
                  <a:lnTo>
                    <a:pt x="73" y="33"/>
                  </a:lnTo>
                  <a:lnTo>
                    <a:pt x="74" y="33"/>
                  </a:lnTo>
                  <a:lnTo>
                    <a:pt x="74" y="35"/>
                  </a:lnTo>
                  <a:lnTo>
                    <a:pt x="73" y="35"/>
                  </a:lnTo>
                  <a:lnTo>
                    <a:pt x="72" y="35"/>
                  </a:lnTo>
                  <a:lnTo>
                    <a:pt x="72" y="36"/>
                  </a:lnTo>
                  <a:lnTo>
                    <a:pt x="71" y="36"/>
                  </a:lnTo>
                  <a:lnTo>
                    <a:pt x="71" y="35"/>
                  </a:lnTo>
                  <a:lnTo>
                    <a:pt x="70" y="35"/>
                  </a:lnTo>
                  <a:lnTo>
                    <a:pt x="70" y="36"/>
                  </a:lnTo>
                  <a:lnTo>
                    <a:pt x="69" y="36"/>
                  </a:lnTo>
                  <a:lnTo>
                    <a:pt x="68" y="36"/>
                  </a:lnTo>
                  <a:lnTo>
                    <a:pt x="68" y="35"/>
                  </a:lnTo>
                  <a:lnTo>
                    <a:pt x="66" y="35"/>
                  </a:lnTo>
                  <a:lnTo>
                    <a:pt x="65" y="33"/>
                  </a:lnTo>
                  <a:lnTo>
                    <a:pt x="64" y="33"/>
                  </a:lnTo>
                  <a:lnTo>
                    <a:pt x="63" y="33"/>
                  </a:lnTo>
                  <a:lnTo>
                    <a:pt x="62" y="33"/>
                  </a:lnTo>
                  <a:lnTo>
                    <a:pt x="62" y="35"/>
                  </a:lnTo>
                  <a:lnTo>
                    <a:pt x="61" y="35"/>
                  </a:lnTo>
                  <a:lnTo>
                    <a:pt x="59" y="35"/>
                  </a:lnTo>
                  <a:lnTo>
                    <a:pt x="58" y="35"/>
                  </a:lnTo>
                  <a:lnTo>
                    <a:pt x="58" y="36"/>
                  </a:lnTo>
                  <a:lnTo>
                    <a:pt x="57" y="35"/>
                  </a:lnTo>
                  <a:lnTo>
                    <a:pt x="56" y="36"/>
                  </a:lnTo>
                  <a:lnTo>
                    <a:pt x="56" y="37"/>
                  </a:lnTo>
                  <a:lnTo>
                    <a:pt x="55" y="37"/>
                  </a:lnTo>
                  <a:lnTo>
                    <a:pt x="54" y="37"/>
                  </a:lnTo>
                  <a:lnTo>
                    <a:pt x="54" y="38"/>
                  </a:lnTo>
                  <a:lnTo>
                    <a:pt x="54" y="39"/>
                  </a:lnTo>
                  <a:lnTo>
                    <a:pt x="52" y="39"/>
                  </a:lnTo>
                  <a:lnTo>
                    <a:pt x="52" y="38"/>
                  </a:lnTo>
                  <a:lnTo>
                    <a:pt x="51" y="39"/>
                  </a:lnTo>
                  <a:lnTo>
                    <a:pt x="50" y="39"/>
                  </a:lnTo>
                  <a:lnTo>
                    <a:pt x="50" y="40"/>
                  </a:lnTo>
                  <a:lnTo>
                    <a:pt x="51" y="40"/>
                  </a:lnTo>
                  <a:lnTo>
                    <a:pt x="51" y="42"/>
                  </a:lnTo>
                  <a:lnTo>
                    <a:pt x="52" y="42"/>
                  </a:lnTo>
                  <a:lnTo>
                    <a:pt x="52" y="43"/>
                  </a:lnTo>
                  <a:lnTo>
                    <a:pt x="51" y="43"/>
                  </a:lnTo>
                  <a:lnTo>
                    <a:pt x="52" y="43"/>
                  </a:lnTo>
                  <a:lnTo>
                    <a:pt x="52" y="44"/>
                  </a:lnTo>
                  <a:lnTo>
                    <a:pt x="51" y="44"/>
                  </a:lnTo>
                  <a:lnTo>
                    <a:pt x="51" y="45"/>
                  </a:lnTo>
                  <a:lnTo>
                    <a:pt x="50" y="45"/>
                  </a:lnTo>
                  <a:lnTo>
                    <a:pt x="49" y="45"/>
                  </a:lnTo>
                  <a:lnTo>
                    <a:pt x="48" y="45"/>
                  </a:lnTo>
                  <a:lnTo>
                    <a:pt x="47" y="45"/>
                  </a:lnTo>
                  <a:lnTo>
                    <a:pt x="45" y="45"/>
                  </a:lnTo>
                  <a:lnTo>
                    <a:pt x="44" y="45"/>
                  </a:lnTo>
                  <a:lnTo>
                    <a:pt x="44" y="46"/>
                  </a:lnTo>
                  <a:lnTo>
                    <a:pt x="43" y="46"/>
                  </a:lnTo>
                  <a:lnTo>
                    <a:pt x="41" y="46"/>
                  </a:lnTo>
                  <a:lnTo>
                    <a:pt x="40" y="45"/>
                  </a:lnTo>
                  <a:lnTo>
                    <a:pt x="38" y="45"/>
                  </a:lnTo>
                  <a:lnTo>
                    <a:pt x="36" y="44"/>
                  </a:lnTo>
                  <a:lnTo>
                    <a:pt x="35" y="44"/>
                  </a:lnTo>
                  <a:lnTo>
                    <a:pt x="35" y="45"/>
                  </a:lnTo>
                  <a:lnTo>
                    <a:pt x="34" y="45"/>
                  </a:lnTo>
                  <a:lnTo>
                    <a:pt x="34" y="44"/>
                  </a:lnTo>
                  <a:lnTo>
                    <a:pt x="33" y="44"/>
                  </a:lnTo>
                  <a:lnTo>
                    <a:pt x="31" y="44"/>
                  </a:lnTo>
                  <a:lnTo>
                    <a:pt x="31" y="43"/>
                  </a:lnTo>
                  <a:lnTo>
                    <a:pt x="31" y="42"/>
                  </a:lnTo>
                  <a:lnTo>
                    <a:pt x="30" y="42"/>
                  </a:lnTo>
                  <a:lnTo>
                    <a:pt x="29" y="42"/>
                  </a:lnTo>
                  <a:lnTo>
                    <a:pt x="28" y="42"/>
                  </a:lnTo>
                  <a:lnTo>
                    <a:pt x="27" y="42"/>
                  </a:lnTo>
                  <a:lnTo>
                    <a:pt x="27" y="43"/>
                  </a:lnTo>
                  <a:lnTo>
                    <a:pt x="27" y="42"/>
                  </a:lnTo>
                  <a:lnTo>
                    <a:pt x="26" y="42"/>
                  </a:lnTo>
                  <a:lnTo>
                    <a:pt x="24" y="42"/>
                  </a:lnTo>
                  <a:lnTo>
                    <a:pt x="24" y="43"/>
                  </a:lnTo>
                  <a:lnTo>
                    <a:pt x="24" y="44"/>
                  </a:lnTo>
                  <a:lnTo>
                    <a:pt x="23" y="44"/>
                  </a:lnTo>
                  <a:lnTo>
                    <a:pt x="23" y="43"/>
                  </a:lnTo>
                  <a:lnTo>
                    <a:pt x="22" y="43"/>
                  </a:lnTo>
                  <a:lnTo>
                    <a:pt x="22" y="44"/>
                  </a:lnTo>
                  <a:lnTo>
                    <a:pt x="21" y="44"/>
                  </a:lnTo>
                  <a:lnTo>
                    <a:pt x="20" y="44"/>
                  </a:lnTo>
                  <a:lnTo>
                    <a:pt x="19" y="44"/>
                  </a:lnTo>
                  <a:lnTo>
                    <a:pt x="17" y="44"/>
                  </a:lnTo>
                  <a:lnTo>
                    <a:pt x="16" y="44"/>
                  </a:lnTo>
                  <a:lnTo>
                    <a:pt x="15" y="44"/>
                  </a:lnTo>
                  <a:lnTo>
                    <a:pt x="14" y="44"/>
                  </a:lnTo>
                  <a:lnTo>
                    <a:pt x="14" y="45"/>
                  </a:lnTo>
                  <a:lnTo>
                    <a:pt x="13" y="45"/>
                  </a:lnTo>
                  <a:lnTo>
                    <a:pt x="10" y="45"/>
                  </a:lnTo>
                  <a:lnTo>
                    <a:pt x="10" y="44"/>
                  </a:lnTo>
                  <a:lnTo>
                    <a:pt x="10" y="43"/>
                  </a:lnTo>
                  <a:lnTo>
                    <a:pt x="10" y="42"/>
                  </a:lnTo>
                  <a:lnTo>
                    <a:pt x="10" y="40"/>
                  </a:lnTo>
                  <a:lnTo>
                    <a:pt x="10" y="39"/>
                  </a:lnTo>
                  <a:lnTo>
                    <a:pt x="12" y="39"/>
                  </a:lnTo>
                  <a:lnTo>
                    <a:pt x="12" y="38"/>
                  </a:lnTo>
                  <a:lnTo>
                    <a:pt x="10" y="38"/>
                  </a:lnTo>
                  <a:lnTo>
                    <a:pt x="10" y="37"/>
                  </a:lnTo>
                  <a:lnTo>
                    <a:pt x="9" y="37"/>
                  </a:lnTo>
                  <a:lnTo>
                    <a:pt x="9" y="36"/>
                  </a:lnTo>
                  <a:lnTo>
                    <a:pt x="9" y="35"/>
                  </a:lnTo>
                  <a:lnTo>
                    <a:pt x="8" y="35"/>
                  </a:lnTo>
                  <a:lnTo>
                    <a:pt x="8" y="33"/>
                  </a:lnTo>
                  <a:lnTo>
                    <a:pt x="7" y="33"/>
                  </a:lnTo>
                  <a:lnTo>
                    <a:pt x="6" y="33"/>
                  </a:lnTo>
                  <a:lnTo>
                    <a:pt x="5" y="32"/>
                  </a:lnTo>
                  <a:lnTo>
                    <a:pt x="4" y="32"/>
                  </a:lnTo>
                  <a:lnTo>
                    <a:pt x="4" y="31"/>
                  </a:lnTo>
                  <a:lnTo>
                    <a:pt x="2" y="30"/>
                  </a:lnTo>
                  <a:lnTo>
                    <a:pt x="4" y="29"/>
                  </a:lnTo>
                  <a:lnTo>
                    <a:pt x="4" y="28"/>
                  </a:lnTo>
                  <a:lnTo>
                    <a:pt x="4" y="26"/>
                  </a:lnTo>
                  <a:lnTo>
                    <a:pt x="2" y="25"/>
                  </a:lnTo>
                  <a:lnTo>
                    <a:pt x="2" y="24"/>
                  </a:lnTo>
                  <a:lnTo>
                    <a:pt x="2" y="23"/>
                  </a:lnTo>
                  <a:lnTo>
                    <a:pt x="4" y="23"/>
                  </a:lnTo>
                  <a:lnTo>
                    <a:pt x="2" y="23"/>
                  </a:lnTo>
                  <a:lnTo>
                    <a:pt x="2" y="22"/>
                  </a:lnTo>
                  <a:lnTo>
                    <a:pt x="2" y="21"/>
                  </a:lnTo>
                  <a:lnTo>
                    <a:pt x="4" y="21"/>
                  </a:lnTo>
                  <a:lnTo>
                    <a:pt x="5" y="21"/>
                  </a:lnTo>
                  <a:lnTo>
                    <a:pt x="6" y="21"/>
                  </a:lnTo>
                  <a:lnTo>
                    <a:pt x="6" y="19"/>
                  </a:lnTo>
                  <a:lnTo>
                    <a:pt x="7" y="19"/>
                  </a:lnTo>
                  <a:lnTo>
                    <a:pt x="7" y="18"/>
                  </a:lnTo>
                  <a:lnTo>
                    <a:pt x="8" y="18"/>
                  </a:lnTo>
                  <a:lnTo>
                    <a:pt x="8" y="17"/>
                  </a:lnTo>
                  <a:lnTo>
                    <a:pt x="8" y="16"/>
                  </a:lnTo>
                  <a:lnTo>
                    <a:pt x="7" y="16"/>
                  </a:lnTo>
                  <a:lnTo>
                    <a:pt x="7" y="15"/>
                  </a:lnTo>
                  <a:lnTo>
                    <a:pt x="6" y="15"/>
                  </a:lnTo>
                  <a:lnTo>
                    <a:pt x="6" y="14"/>
                  </a:lnTo>
                  <a:lnTo>
                    <a:pt x="5" y="12"/>
                  </a:lnTo>
                  <a:lnTo>
                    <a:pt x="4" y="12"/>
                  </a:lnTo>
                  <a:lnTo>
                    <a:pt x="2" y="11"/>
                  </a:lnTo>
                  <a:lnTo>
                    <a:pt x="1" y="10"/>
                  </a:lnTo>
                  <a:lnTo>
                    <a:pt x="1" y="9"/>
                  </a:lnTo>
                  <a:lnTo>
                    <a:pt x="0" y="8"/>
                  </a:lnTo>
                  <a:lnTo>
                    <a:pt x="0" y="7"/>
                  </a:lnTo>
                  <a:lnTo>
                    <a:pt x="0" y="5"/>
                  </a:lnTo>
                  <a:lnTo>
                    <a:pt x="0" y="4"/>
                  </a:lnTo>
                  <a:lnTo>
                    <a:pt x="0" y="3"/>
                  </a:lnTo>
                  <a:lnTo>
                    <a:pt x="1" y="3"/>
                  </a:lnTo>
                  <a:lnTo>
                    <a:pt x="1" y="2"/>
                  </a:lnTo>
                  <a:lnTo>
                    <a:pt x="2" y="2"/>
                  </a:lnTo>
                  <a:lnTo>
                    <a:pt x="2" y="1"/>
                  </a:lnTo>
                  <a:lnTo>
                    <a:pt x="2" y="0"/>
                  </a:lnTo>
                  <a:lnTo>
                    <a:pt x="4" y="0"/>
                  </a:lnTo>
                  <a:lnTo>
                    <a:pt x="6" y="2"/>
                  </a:lnTo>
                  <a:lnTo>
                    <a:pt x="7" y="2"/>
                  </a:lnTo>
                  <a:lnTo>
                    <a:pt x="8" y="2"/>
                  </a:lnTo>
                  <a:lnTo>
                    <a:pt x="8" y="3"/>
                  </a:lnTo>
                  <a:lnTo>
                    <a:pt x="7" y="3"/>
                  </a:lnTo>
                  <a:lnTo>
                    <a:pt x="6" y="3"/>
                  </a:lnTo>
                  <a:lnTo>
                    <a:pt x="6" y="4"/>
                  </a:lnTo>
                  <a:lnTo>
                    <a:pt x="6" y="5"/>
                  </a:lnTo>
                  <a:lnTo>
                    <a:pt x="7" y="5"/>
                  </a:lnTo>
                  <a:lnTo>
                    <a:pt x="8" y="5"/>
                  </a:lnTo>
                  <a:lnTo>
                    <a:pt x="9" y="5"/>
                  </a:lnTo>
                  <a:lnTo>
                    <a:pt x="10" y="5"/>
                  </a:lnTo>
                  <a:lnTo>
                    <a:pt x="12" y="5"/>
                  </a:lnTo>
                  <a:lnTo>
                    <a:pt x="14" y="5"/>
                  </a:lnTo>
                  <a:lnTo>
                    <a:pt x="15" y="5"/>
                  </a:lnTo>
                  <a:lnTo>
                    <a:pt x="16" y="5"/>
                  </a:lnTo>
                  <a:lnTo>
                    <a:pt x="17" y="5"/>
                  </a:lnTo>
                  <a:lnTo>
                    <a:pt x="17" y="7"/>
                  </a:lnTo>
                  <a:lnTo>
                    <a:pt x="22" y="7"/>
                  </a:lnTo>
                  <a:lnTo>
                    <a:pt x="24" y="7"/>
                  </a:lnTo>
                  <a:lnTo>
                    <a:pt x="26" y="7"/>
                  </a:lnTo>
                  <a:lnTo>
                    <a:pt x="27" y="7"/>
                  </a:lnTo>
                  <a:lnTo>
                    <a:pt x="29" y="7"/>
                  </a:lnTo>
                  <a:lnTo>
                    <a:pt x="29" y="8"/>
                  </a:lnTo>
                  <a:lnTo>
                    <a:pt x="30" y="8"/>
                  </a:lnTo>
                  <a:lnTo>
                    <a:pt x="33" y="8"/>
                  </a:lnTo>
                  <a:lnTo>
                    <a:pt x="34" y="8"/>
                  </a:lnTo>
                  <a:lnTo>
                    <a:pt x="36" y="8"/>
                  </a:lnTo>
                  <a:lnTo>
                    <a:pt x="37" y="8"/>
                  </a:lnTo>
                  <a:lnTo>
                    <a:pt x="37" y="9"/>
                  </a:lnTo>
                  <a:lnTo>
                    <a:pt x="38" y="9"/>
                  </a:lnTo>
                  <a:lnTo>
                    <a:pt x="40" y="9"/>
                  </a:lnTo>
                  <a:lnTo>
                    <a:pt x="41" y="8"/>
                  </a:lnTo>
                  <a:lnTo>
                    <a:pt x="42" y="8"/>
                  </a:lnTo>
                  <a:lnTo>
                    <a:pt x="43" y="8"/>
                  </a:lnTo>
                  <a:lnTo>
                    <a:pt x="43" y="7"/>
                  </a:lnTo>
                  <a:lnTo>
                    <a:pt x="44" y="7"/>
                  </a:lnTo>
                  <a:lnTo>
                    <a:pt x="44" y="5"/>
                  </a:lnTo>
                  <a:lnTo>
                    <a:pt x="45" y="4"/>
                  </a:lnTo>
                  <a:lnTo>
                    <a:pt x="47" y="4"/>
                  </a:lnTo>
                  <a:lnTo>
                    <a:pt x="47" y="3"/>
                  </a:lnTo>
                  <a:lnTo>
                    <a:pt x="48" y="3"/>
                  </a:lnTo>
                  <a:lnTo>
                    <a:pt x="49" y="2"/>
                  </a:lnTo>
                  <a:lnTo>
                    <a:pt x="50" y="2"/>
                  </a:lnTo>
                  <a:lnTo>
                    <a:pt x="52" y="2"/>
                  </a:lnTo>
                  <a:lnTo>
                    <a:pt x="54" y="2"/>
                  </a:lnTo>
                  <a:lnTo>
                    <a:pt x="55" y="2"/>
                  </a:lnTo>
                  <a:lnTo>
                    <a:pt x="56" y="1"/>
                  </a:lnTo>
                  <a:lnTo>
                    <a:pt x="57" y="1"/>
                  </a:lnTo>
                  <a:lnTo>
                    <a:pt x="58" y="1"/>
                  </a:lnTo>
                  <a:lnTo>
                    <a:pt x="61" y="1"/>
                  </a:lnTo>
                  <a:lnTo>
                    <a:pt x="61" y="2"/>
                  </a:lnTo>
                  <a:lnTo>
                    <a:pt x="62" y="2"/>
                  </a:lnTo>
                  <a:lnTo>
                    <a:pt x="62" y="3"/>
                  </a:lnTo>
                  <a:lnTo>
                    <a:pt x="63" y="3"/>
                  </a:lnTo>
                  <a:lnTo>
                    <a:pt x="65" y="3"/>
                  </a:lnTo>
                  <a:lnTo>
                    <a:pt x="66" y="3"/>
                  </a:lnTo>
                  <a:lnTo>
                    <a:pt x="66" y="4"/>
                  </a:lnTo>
                  <a:lnTo>
                    <a:pt x="68" y="4"/>
                  </a:lnTo>
                  <a:lnTo>
                    <a:pt x="69" y="3"/>
                  </a:lnTo>
                  <a:lnTo>
                    <a:pt x="70" y="4"/>
                  </a:lnTo>
                  <a:lnTo>
                    <a:pt x="70" y="5"/>
                  </a:lnTo>
                  <a:lnTo>
                    <a:pt x="71" y="5"/>
                  </a:lnTo>
                  <a:lnTo>
                    <a:pt x="73" y="7"/>
                  </a:lnTo>
                  <a:lnTo>
                    <a:pt x="77" y="8"/>
                  </a:lnTo>
                  <a:lnTo>
                    <a:pt x="78" y="8"/>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6" name="Freeform 839">
              <a:extLst>
                <a:ext uri="{FF2B5EF4-FFF2-40B4-BE49-F238E27FC236}">
                  <a16:creationId xmlns:a16="http://schemas.microsoft.com/office/drawing/2014/main" id="{4097125D-3A07-4E0D-895E-C9FAFAE8B730}"/>
                </a:ext>
              </a:extLst>
            </p:cNvPr>
            <p:cNvSpPr>
              <a:spLocks/>
            </p:cNvSpPr>
            <p:nvPr/>
          </p:nvSpPr>
          <p:spPr bwMode="auto">
            <a:xfrm>
              <a:off x="6717231" y="2792965"/>
              <a:ext cx="5342" cy="9349"/>
            </a:xfrm>
            <a:custGeom>
              <a:avLst/>
              <a:gdLst>
                <a:gd name="T0" fmla="*/ 1 w 4"/>
                <a:gd name="T1" fmla="*/ 0 h 7"/>
                <a:gd name="T2" fmla="*/ 1 w 4"/>
                <a:gd name="T3" fmla="*/ 0 h 7"/>
                <a:gd name="T4" fmla="*/ 1 w 4"/>
                <a:gd name="T5" fmla="*/ 0 h 7"/>
                <a:gd name="T6" fmla="*/ 1 w 4"/>
                <a:gd name="T7" fmla="*/ 0 h 7"/>
                <a:gd name="T8" fmla="*/ 1 w 4"/>
                <a:gd name="T9" fmla="*/ 0 h 7"/>
                <a:gd name="T10" fmla="*/ 1 w 4"/>
                <a:gd name="T11" fmla="*/ 0 h 7"/>
                <a:gd name="T12" fmla="*/ 3 w 4"/>
                <a:gd name="T13" fmla="*/ 0 h 7"/>
                <a:gd name="T14" fmla="*/ 3 w 4"/>
                <a:gd name="T15" fmla="*/ 0 h 7"/>
                <a:gd name="T16" fmla="*/ 3 w 4"/>
                <a:gd name="T17" fmla="*/ 0 h 7"/>
                <a:gd name="T18" fmla="*/ 3 w 4"/>
                <a:gd name="T19" fmla="*/ 0 h 7"/>
                <a:gd name="T20" fmla="*/ 3 w 4"/>
                <a:gd name="T21" fmla="*/ 1 h 7"/>
                <a:gd name="T22" fmla="*/ 3 w 4"/>
                <a:gd name="T23" fmla="*/ 1 h 7"/>
                <a:gd name="T24" fmla="*/ 3 w 4"/>
                <a:gd name="T25" fmla="*/ 1 h 7"/>
                <a:gd name="T26" fmla="*/ 3 w 4"/>
                <a:gd name="T27" fmla="*/ 1 h 7"/>
                <a:gd name="T28" fmla="*/ 3 w 4"/>
                <a:gd name="T29" fmla="*/ 1 h 7"/>
                <a:gd name="T30" fmla="*/ 3 w 4"/>
                <a:gd name="T31" fmla="*/ 1 h 7"/>
                <a:gd name="T32" fmla="*/ 3 w 4"/>
                <a:gd name="T33" fmla="*/ 1 h 7"/>
                <a:gd name="T34" fmla="*/ 3 w 4"/>
                <a:gd name="T35" fmla="*/ 1 h 7"/>
                <a:gd name="T36" fmla="*/ 3 w 4"/>
                <a:gd name="T37" fmla="*/ 1 h 7"/>
                <a:gd name="T38" fmla="*/ 3 w 4"/>
                <a:gd name="T39" fmla="*/ 1 h 7"/>
                <a:gd name="T40" fmla="*/ 3 w 4"/>
                <a:gd name="T41" fmla="*/ 1 h 7"/>
                <a:gd name="T42" fmla="*/ 3 w 4"/>
                <a:gd name="T43" fmla="*/ 1 h 7"/>
                <a:gd name="T44" fmla="*/ 4 w 4"/>
                <a:gd name="T45" fmla="*/ 1 h 7"/>
                <a:gd name="T46" fmla="*/ 4 w 4"/>
                <a:gd name="T47" fmla="*/ 2 h 7"/>
                <a:gd name="T48" fmla="*/ 4 w 4"/>
                <a:gd name="T49" fmla="*/ 2 h 7"/>
                <a:gd name="T50" fmla="*/ 4 w 4"/>
                <a:gd name="T51" fmla="*/ 2 h 7"/>
                <a:gd name="T52" fmla="*/ 4 w 4"/>
                <a:gd name="T53" fmla="*/ 2 h 7"/>
                <a:gd name="T54" fmla="*/ 3 w 4"/>
                <a:gd name="T55" fmla="*/ 2 h 7"/>
                <a:gd name="T56" fmla="*/ 4 w 4"/>
                <a:gd name="T57" fmla="*/ 3 h 7"/>
                <a:gd name="T58" fmla="*/ 4 w 4"/>
                <a:gd name="T59" fmla="*/ 5 h 7"/>
                <a:gd name="T60" fmla="*/ 4 w 4"/>
                <a:gd name="T61" fmla="*/ 7 h 7"/>
                <a:gd name="T62" fmla="*/ 4 w 4"/>
                <a:gd name="T63" fmla="*/ 7 h 7"/>
                <a:gd name="T64" fmla="*/ 3 w 4"/>
                <a:gd name="T65" fmla="*/ 7 h 7"/>
                <a:gd name="T66" fmla="*/ 3 w 4"/>
                <a:gd name="T67" fmla="*/ 7 h 7"/>
                <a:gd name="T68" fmla="*/ 3 w 4"/>
                <a:gd name="T69" fmla="*/ 7 h 7"/>
                <a:gd name="T70" fmla="*/ 3 w 4"/>
                <a:gd name="T71" fmla="*/ 7 h 7"/>
                <a:gd name="T72" fmla="*/ 3 w 4"/>
                <a:gd name="T73" fmla="*/ 6 h 7"/>
                <a:gd name="T74" fmla="*/ 3 w 4"/>
                <a:gd name="T75" fmla="*/ 6 h 7"/>
                <a:gd name="T76" fmla="*/ 1 w 4"/>
                <a:gd name="T77" fmla="*/ 5 h 7"/>
                <a:gd name="T78" fmla="*/ 1 w 4"/>
                <a:gd name="T79" fmla="*/ 5 h 7"/>
                <a:gd name="T80" fmla="*/ 1 w 4"/>
                <a:gd name="T81" fmla="*/ 5 h 7"/>
                <a:gd name="T82" fmla="*/ 1 w 4"/>
                <a:gd name="T83" fmla="*/ 3 h 7"/>
                <a:gd name="T84" fmla="*/ 1 w 4"/>
                <a:gd name="T85" fmla="*/ 3 h 7"/>
                <a:gd name="T86" fmla="*/ 1 w 4"/>
                <a:gd name="T87" fmla="*/ 3 h 7"/>
                <a:gd name="T88" fmla="*/ 1 w 4"/>
                <a:gd name="T89" fmla="*/ 3 h 7"/>
                <a:gd name="T90" fmla="*/ 1 w 4"/>
                <a:gd name="T91" fmla="*/ 2 h 7"/>
                <a:gd name="T92" fmla="*/ 1 w 4"/>
                <a:gd name="T93" fmla="*/ 2 h 7"/>
                <a:gd name="T94" fmla="*/ 1 w 4"/>
                <a:gd name="T95" fmla="*/ 2 h 7"/>
                <a:gd name="T96" fmla="*/ 0 w 4"/>
                <a:gd name="T97" fmla="*/ 1 h 7"/>
                <a:gd name="T98" fmla="*/ 0 w 4"/>
                <a:gd name="T99" fmla="*/ 1 h 7"/>
                <a:gd name="T100" fmla="*/ 1 w 4"/>
                <a:gd name="T101" fmla="*/ 1 h 7"/>
                <a:gd name="T102" fmla="*/ 1 w 4"/>
                <a:gd name="T103" fmla="*/ 0 h 7"/>
                <a:gd name="T104" fmla="*/ 1 w 4"/>
                <a:gd name="T10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 h="7">
                  <a:moveTo>
                    <a:pt x="1" y="0"/>
                  </a:moveTo>
                  <a:lnTo>
                    <a:pt x="1" y="0"/>
                  </a:lnTo>
                  <a:lnTo>
                    <a:pt x="1" y="0"/>
                  </a:lnTo>
                  <a:lnTo>
                    <a:pt x="1" y="0"/>
                  </a:lnTo>
                  <a:lnTo>
                    <a:pt x="1" y="0"/>
                  </a:lnTo>
                  <a:lnTo>
                    <a:pt x="1" y="0"/>
                  </a:lnTo>
                  <a:lnTo>
                    <a:pt x="3" y="0"/>
                  </a:lnTo>
                  <a:lnTo>
                    <a:pt x="3" y="0"/>
                  </a:lnTo>
                  <a:lnTo>
                    <a:pt x="3" y="0"/>
                  </a:lnTo>
                  <a:lnTo>
                    <a:pt x="3" y="0"/>
                  </a:lnTo>
                  <a:lnTo>
                    <a:pt x="3" y="1"/>
                  </a:lnTo>
                  <a:lnTo>
                    <a:pt x="3" y="1"/>
                  </a:lnTo>
                  <a:lnTo>
                    <a:pt x="3" y="1"/>
                  </a:lnTo>
                  <a:lnTo>
                    <a:pt x="3" y="1"/>
                  </a:lnTo>
                  <a:lnTo>
                    <a:pt x="3" y="1"/>
                  </a:lnTo>
                  <a:lnTo>
                    <a:pt x="3" y="1"/>
                  </a:lnTo>
                  <a:lnTo>
                    <a:pt x="3" y="1"/>
                  </a:lnTo>
                  <a:lnTo>
                    <a:pt x="3" y="1"/>
                  </a:lnTo>
                  <a:lnTo>
                    <a:pt x="3" y="1"/>
                  </a:lnTo>
                  <a:lnTo>
                    <a:pt x="3" y="1"/>
                  </a:lnTo>
                  <a:lnTo>
                    <a:pt x="3" y="1"/>
                  </a:lnTo>
                  <a:lnTo>
                    <a:pt x="3" y="1"/>
                  </a:lnTo>
                  <a:lnTo>
                    <a:pt x="4" y="1"/>
                  </a:lnTo>
                  <a:lnTo>
                    <a:pt x="4" y="2"/>
                  </a:lnTo>
                  <a:lnTo>
                    <a:pt x="4" y="2"/>
                  </a:lnTo>
                  <a:lnTo>
                    <a:pt x="4" y="2"/>
                  </a:lnTo>
                  <a:lnTo>
                    <a:pt x="4" y="2"/>
                  </a:lnTo>
                  <a:lnTo>
                    <a:pt x="3" y="2"/>
                  </a:lnTo>
                  <a:lnTo>
                    <a:pt x="4" y="3"/>
                  </a:lnTo>
                  <a:lnTo>
                    <a:pt x="4" y="5"/>
                  </a:lnTo>
                  <a:lnTo>
                    <a:pt x="4" y="7"/>
                  </a:lnTo>
                  <a:lnTo>
                    <a:pt x="4" y="7"/>
                  </a:lnTo>
                  <a:lnTo>
                    <a:pt x="3" y="7"/>
                  </a:lnTo>
                  <a:lnTo>
                    <a:pt x="3" y="7"/>
                  </a:lnTo>
                  <a:lnTo>
                    <a:pt x="3" y="7"/>
                  </a:lnTo>
                  <a:lnTo>
                    <a:pt x="3" y="7"/>
                  </a:lnTo>
                  <a:lnTo>
                    <a:pt x="3" y="6"/>
                  </a:lnTo>
                  <a:lnTo>
                    <a:pt x="3" y="6"/>
                  </a:lnTo>
                  <a:lnTo>
                    <a:pt x="1" y="5"/>
                  </a:lnTo>
                  <a:lnTo>
                    <a:pt x="1" y="5"/>
                  </a:lnTo>
                  <a:lnTo>
                    <a:pt x="1" y="5"/>
                  </a:lnTo>
                  <a:lnTo>
                    <a:pt x="1" y="3"/>
                  </a:lnTo>
                  <a:lnTo>
                    <a:pt x="1" y="3"/>
                  </a:lnTo>
                  <a:lnTo>
                    <a:pt x="1" y="3"/>
                  </a:lnTo>
                  <a:lnTo>
                    <a:pt x="1" y="3"/>
                  </a:lnTo>
                  <a:lnTo>
                    <a:pt x="1" y="2"/>
                  </a:lnTo>
                  <a:lnTo>
                    <a:pt x="1" y="2"/>
                  </a:lnTo>
                  <a:lnTo>
                    <a:pt x="1" y="2"/>
                  </a:lnTo>
                  <a:lnTo>
                    <a:pt x="0" y="1"/>
                  </a:lnTo>
                  <a:lnTo>
                    <a:pt x="0" y="1"/>
                  </a:lnTo>
                  <a:lnTo>
                    <a:pt x="1" y="1"/>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7" name="Freeform 840">
              <a:extLst>
                <a:ext uri="{FF2B5EF4-FFF2-40B4-BE49-F238E27FC236}">
                  <a16:creationId xmlns:a16="http://schemas.microsoft.com/office/drawing/2014/main" id="{43DAC563-235A-4DC6-832E-05EC1BBC29C5}"/>
                </a:ext>
              </a:extLst>
            </p:cNvPr>
            <p:cNvSpPr>
              <a:spLocks noEditPoints="1"/>
            </p:cNvSpPr>
            <p:nvPr/>
          </p:nvSpPr>
          <p:spPr bwMode="auto">
            <a:xfrm>
              <a:off x="4360094" y="2778274"/>
              <a:ext cx="121530" cy="128207"/>
            </a:xfrm>
            <a:custGeom>
              <a:avLst/>
              <a:gdLst>
                <a:gd name="T0" fmla="*/ 76 w 91"/>
                <a:gd name="T1" fmla="*/ 95 h 96"/>
                <a:gd name="T2" fmla="*/ 79 w 91"/>
                <a:gd name="T3" fmla="*/ 91 h 96"/>
                <a:gd name="T4" fmla="*/ 85 w 91"/>
                <a:gd name="T5" fmla="*/ 91 h 96"/>
                <a:gd name="T6" fmla="*/ 50 w 91"/>
                <a:gd name="T7" fmla="*/ 75 h 96"/>
                <a:gd name="T8" fmla="*/ 90 w 91"/>
                <a:gd name="T9" fmla="*/ 74 h 96"/>
                <a:gd name="T10" fmla="*/ 80 w 91"/>
                <a:gd name="T11" fmla="*/ 69 h 96"/>
                <a:gd name="T12" fmla="*/ 70 w 91"/>
                <a:gd name="T13" fmla="*/ 69 h 96"/>
                <a:gd name="T14" fmla="*/ 77 w 91"/>
                <a:gd name="T15" fmla="*/ 68 h 96"/>
                <a:gd name="T16" fmla="*/ 72 w 91"/>
                <a:gd name="T17" fmla="*/ 74 h 96"/>
                <a:gd name="T18" fmla="*/ 75 w 91"/>
                <a:gd name="T19" fmla="*/ 72 h 96"/>
                <a:gd name="T20" fmla="*/ 76 w 91"/>
                <a:gd name="T21" fmla="*/ 67 h 96"/>
                <a:gd name="T22" fmla="*/ 70 w 91"/>
                <a:gd name="T23" fmla="*/ 65 h 96"/>
                <a:gd name="T24" fmla="*/ 55 w 91"/>
                <a:gd name="T25" fmla="*/ 56 h 96"/>
                <a:gd name="T26" fmla="*/ 0 w 91"/>
                <a:gd name="T27" fmla="*/ 53 h 96"/>
                <a:gd name="T28" fmla="*/ 51 w 91"/>
                <a:gd name="T29" fmla="*/ 55 h 96"/>
                <a:gd name="T30" fmla="*/ 59 w 91"/>
                <a:gd name="T31" fmla="*/ 55 h 96"/>
                <a:gd name="T32" fmla="*/ 63 w 91"/>
                <a:gd name="T33" fmla="*/ 63 h 96"/>
                <a:gd name="T34" fmla="*/ 59 w 91"/>
                <a:gd name="T35" fmla="*/ 60 h 96"/>
                <a:gd name="T36" fmla="*/ 59 w 91"/>
                <a:gd name="T37" fmla="*/ 55 h 96"/>
                <a:gd name="T38" fmla="*/ 66 w 91"/>
                <a:gd name="T39" fmla="*/ 52 h 96"/>
                <a:gd name="T40" fmla="*/ 71 w 91"/>
                <a:gd name="T41" fmla="*/ 47 h 96"/>
                <a:gd name="T42" fmla="*/ 71 w 91"/>
                <a:gd name="T43" fmla="*/ 46 h 96"/>
                <a:gd name="T44" fmla="*/ 26 w 91"/>
                <a:gd name="T45" fmla="*/ 42 h 96"/>
                <a:gd name="T46" fmla="*/ 43 w 91"/>
                <a:gd name="T47" fmla="*/ 42 h 96"/>
                <a:gd name="T48" fmla="*/ 29 w 91"/>
                <a:gd name="T49" fmla="*/ 44 h 96"/>
                <a:gd name="T50" fmla="*/ 28 w 91"/>
                <a:gd name="T51" fmla="*/ 51 h 96"/>
                <a:gd name="T52" fmla="*/ 26 w 91"/>
                <a:gd name="T53" fmla="*/ 51 h 96"/>
                <a:gd name="T54" fmla="*/ 24 w 91"/>
                <a:gd name="T55" fmla="*/ 48 h 96"/>
                <a:gd name="T56" fmla="*/ 28 w 91"/>
                <a:gd name="T57" fmla="*/ 42 h 96"/>
                <a:gd name="T58" fmla="*/ 24 w 91"/>
                <a:gd name="T59" fmla="*/ 41 h 96"/>
                <a:gd name="T60" fmla="*/ 40 w 91"/>
                <a:gd name="T61" fmla="*/ 38 h 96"/>
                <a:gd name="T62" fmla="*/ 58 w 91"/>
                <a:gd name="T63" fmla="*/ 42 h 96"/>
                <a:gd name="T64" fmla="*/ 56 w 91"/>
                <a:gd name="T65" fmla="*/ 38 h 96"/>
                <a:gd name="T66" fmla="*/ 35 w 91"/>
                <a:gd name="T67" fmla="*/ 31 h 96"/>
                <a:gd name="T68" fmla="*/ 24 w 91"/>
                <a:gd name="T69" fmla="*/ 28 h 96"/>
                <a:gd name="T70" fmla="*/ 28 w 91"/>
                <a:gd name="T71" fmla="*/ 35 h 96"/>
                <a:gd name="T72" fmla="*/ 26 w 91"/>
                <a:gd name="T73" fmla="*/ 41 h 96"/>
                <a:gd name="T74" fmla="*/ 19 w 91"/>
                <a:gd name="T75" fmla="*/ 39 h 96"/>
                <a:gd name="T76" fmla="*/ 20 w 91"/>
                <a:gd name="T77" fmla="*/ 37 h 96"/>
                <a:gd name="T78" fmla="*/ 20 w 91"/>
                <a:gd name="T79" fmla="*/ 35 h 96"/>
                <a:gd name="T80" fmla="*/ 22 w 91"/>
                <a:gd name="T81" fmla="*/ 31 h 96"/>
                <a:gd name="T82" fmla="*/ 27 w 91"/>
                <a:gd name="T83" fmla="*/ 24 h 96"/>
                <a:gd name="T84" fmla="*/ 48 w 91"/>
                <a:gd name="T85" fmla="*/ 26 h 96"/>
                <a:gd name="T86" fmla="*/ 49 w 91"/>
                <a:gd name="T87" fmla="*/ 37 h 96"/>
                <a:gd name="T88" fmla="*/ 50 w 91"/>
                <a:gd name="T89" fmla="*/ 28 h 96"/>
                <a:gd name="T90" fmla="*/ 43 w 91"/>
                <a:gd name="T91" fmla="*/ 24 h 96"/>
                <a:gd name="T92" fmla="*/ 28 w 91"/>
                <a:gd name="T93" fmla="*/ 19 h 96"/>
                <a:gd name="T94" fmla="*/ 38 w 91"/>
                <a:gd name="T95" fmla="*/ 7 h 96"/>
                <a:gd name="T96" fmla="*/ 24 w 91"/>
                <a:gd name="T97" fmla="*/ 4 h 96"/>
                <a:gd name="T98" fmla="*/ 29 w 91"/>
                <a:gd name="T99" fmla="*/ 5 h 96"/>
                <a:gd name="T100" fmla="*/ 18 w 91"/>
                <a:gd name="T101" fmla="*/ 6 h 96"/>
                <a:gd name="T102" fmla="*/ 21 w 91"/>
                <a:gd name="T103" fmla="*/ 5 h 96"/>
                <a:gd name="T104" fmla="*/ 36 w 91"/>
                <a:gd name="T105" fmla="*/ 2 h 96"/>
                <a:gd name="T106" fmla="*/ 41 w 91"/>
                <a:gd name="T107" fmla="*/ 7 h 96"/>
                <a:gd name="T108" fmla="*/ 38 w 91"/>
                <a:gd name="T109" fmla="*/ 14 h 96"/>
                <a:gd name="T110" fmla="*/ 38 w 91"/>
                <a:gd name="T111" fmla="*/ 13 h 96"/>
                <a:gd name="T112" fmla="*/ 38 w 91"/>
                <a:gd name="T113" fmla="*/ 6 h 96"/>
                <a:gd name="T114" fmla="*/ 31 w 91"/>
                <a:gd name="T11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1" h="96">
                  <a:moveTo>
                    <a:pt x="85" y="91"/>
                  </a:moveTo>
                  <a:lnTo>
                    <a:pt x="84" y="93"/>
                  </a:lnTo>
                  <a:lnTo>
                    <a:pt x="83" y="95"/>
                  </a:lnTo>
                  <a:lnTo>
                    <a:pt x="82" y="95"/>
                  </a:lnTo>
                  <a:lnTo>
                    <a:pt x="80" y="95"/>
                  </a:lnTo>
                  <a:lnTo>
                    <a:pt x="79" y="95"/>
                  </a:lnTo>
                  <a:lnTo>
                    <a:pt x="78" y="95"/>
                  </a:lnTo>
                  <a:lnTo>
                    <a:pt x="77" y="95"/>
                  </a:lnTo>
                  <a:lnTo>
                    <a:pt x="76" y="95"/>
                  </a:lnTo>
                  <a:lnTo>
                    <a:pt x="76" y="96"/>
                  </a:lnTo>
                  <a:lnTo>
                    <a:pt x="76" y="95"/>
                  </a:lnTo>
                  <a:lnTo>
                    <a:pt x="76" y="94"/>
                  </a:lnTo>
                  <a:lnTo>
                    <a:pt x="77" y="93"/>
                  </a:lnTo>
                  <a:lnTo>
                    <a:pt x="76" y="93"/>
                  </a:lnTo>
                  <a:lnTo>
                    <a:pt x="77" y="93"/>
                  </a:lnTo>
                  <a:lnTo>
                    <a:pt x="78" y="93"/>
                  </a:lnTo>
                  <a:lnTo>
                    <a:pt x="78" y="91"/>
                  </a:lnTo>
                  <a:lnTo>
                    <a:pt x="79" y="91"/>
                  </a:lnTo>
                  <a:lnTo>
                    <a:pt x="80" y="90"/>
                  </a:lnTo>
                  <a:lnTo>
                    <a:pt x="80" y="91"/>
                  </a:lnTo>
                  <a:lnTo>
                    <a:pt x="82" y="93"/>
                  </a:lnTo>
                  <a:lnTo>
                    <a:pt x="82" y="91"/>
                  </a:lnTo>
                  <a:lnTo>
                    <a:pt x="83" y="91"/>
                  </a:lnTo>
                  <a:lnTo>
                    <a:pt x="84" y="91"/>
                  </a:lnTo>
                  <a:lnTo>
                    <a:pt x="84" y="90"/>
                  </a:lnTo>
                  <a:lnTo>
                    <a:pt x="85" y="89"/>
                  </a:lnTo>
                  <a:lnTo>
                    <a:pt x="85" y="91"/>
                  </a:lnTo>
                  <a:close/>
                  <a:moveTo>
                    <a:pt x="85" y="88"/>
                  </a:moveTo>
                  <a:lnTo>
                    <a:pt x="85" y="87"/>
                  </a:lnTo>
                  <a:lnTo>
                    <a:pt x="85" y="86"/>
                  </a:lnTo>
                  <a:lnTo>
                    <a:pt x="86" y="86"/>
                  </a:lnTo>
                  <a:lnTo>
                    <a:pt x="87" y="86"/>
                  </a:lnTo>
                  <a:lnTo>
                    <a:pt x="87" y="87"/>
                  </a:lnTo>
                  <a:lnTo>
                    <a:pt x="86" y="87"/>
                  </a:lnTo>
                  <a:lnTo>
                    <a:pt x="85" y="88"/>
                  </a:lnTo>
                  <a:close/>
                  <a:moveTo>
                    <a:pt x="50" y="75"/>
                  </a:moveTo>
                  <a:lnTo>
                    <a:pt x="50" y="74"/>
                  </a:lnTo>
                  <a:lnTo>
                    <a:pt x="50" y="75"/>
                  </a:lnTo>
                  <a:close/>
                  <a:moveTo>
                    <a:pt x="86" y="72"/>
                  </a:moveTo>
                  <a:lnTo>
                    <a:pt x="87" y="72"/>
                  </a:lnTo>
                  <a:lnTo>
                    <a:pt x="88" y="72"/>
                  </a:lnTo>
                  <a:lnTo>
                    <a:pt x="90" y="73"/>
                  </a:lnTo>
                  <a:lnTo>
                    <a:pt x="91" y="73"/>
                  </a:lnTo>
                  <a:lnTo>
                    <a:pt x="91" y="74"/>
                  </a:lnTo>
                  <a:lnTo>
                    <a:pt x="90" y="74"/>
                  </a:lnTo>
                  <a:lnTo>
                    <a:pt x="90" y="73"/>
                  </a:lnTo>
                  <a:lnTo>
                    <a:pt x="88" y="73"/>
                  </a:lnTo>
                  <a:lnTo>
                    <a:pt x="87" y="73"/>
                  </a:lnTo>
                  <a:lnTo>
                    <a:pt x="86" y="73"/>
                  </a:lnTo>
                  <a:lnTo>
                    <a:pt x="85" y="73"/>
                  </a:lnTo>
                  <a:lnTo>
                    <a:pt x="85" y="72"/>
                  </a:lnTo>
                  <a:lnTo>
                    <a:pt x="86" y="72"/>
                  </a:lnTo>
                  <a:close/>
                  <a:moveTo>
                    <a:pt x="79" y="69"/>
                  </a:moveTo>
                  <a:lnTo>
                    <a:pt x="80" y="69"/>
                  </a:lnTo>
                  <a:lnTo>
                    <a:pt x="79" y="69"/>
                  </a:lnTo>
                  <a:close/>
                  <a:moveTo>
                    <a:pt x="82" y="69"/>
                  </a:moveTo>
                  <a:lnTo>
                    <a:pt x="80" y="69"/>
                  </a:lnTo>
                  <a:lnTo>
                    <a:pt x="80" y="68"/>
                  </a:lnTo>
                  <a:lnTo>
                    <a:pt x="82" y="69"/>
                  </a:lnTo>
                  <a:close/>
                  <a:moveTo>
                    <a:pt x="70" y="69"/>
                  </a:moveTo>
                  <a:lnTo>
                    <a:pt x="69" y="70"/>
                  </a:lnTo>
                  <a:lnTo>
                    <a:pt x="69" y="69"/>
                  </a:lnTo>
                  <a:lnTo>
                    <a:pt x="70" y="69"/>
                  </a:lnTo>
                  <a:lnTo>
                    <a:pt x="70" y="68"/>
                  </a:lnTo>
                  <a:lnTo>
                    <a:pt x="71" y="68"/>
                  </a:lnTo>
                  <a:lnTo>
                    <a:pt x="70" y="68"/>
                  </a:lnTo>
                  <a:lnTo>
                    <a:pt x="70" y="69"/>
                  </a:lnTo>
                  <a:close/>
                  <a:moveTo>
                    <a:pt x="77" y="67"/>
                  </a:moveTo>
                  <a:lnTo>
                    <a:pt x="76" y="68"/>
                  </a:lnTo>
                  <a:lnTo>
                    <a:pt x="76" y="67"/>
                  </a:lnTo>
                  <a:lnTo>
                    <a:pt x="76" y="68"/>
                  </a:lnTo>
                  <a:lnTo>
                    <a:pt x="77" y="68"/>
                  </a:lnTo>
                  <a:lnTo>
                    <a:pt x="76" y="69"/>
                  </a:lnTo>
                  <a:lnTo>
                    <a:pt x="77" y="69"/>
                  </a:lnTo>
                  <a:lnTo>
                    <a:pt x="77" y="70"/>
                  </a:lnTo>
                  <a:lnTo>
                    <a:pt x="76" y="70"/>
                  </a:lnTo>
                  <a:lnTo>
                    <a:pt x="76" y="72"/>
                  </a:lnTo>
                  <a:lnTo>
                    <a:pt x="75" y="72"/>
                  </a:lnTo>
                  <a:lnTo>
                    <a:pt x="75" y="73"/>
                  </a:lnTo>
                  <a:lnTo>
                    <a:pt x="73" y="73"/>
                  </a:lnTo>
                  <a:lnTo>
                    <a:pt x="72" y="74"/>
                  </a:lnTo>
                  <a:lnTo>
                    <a:pt x="71" y="75"/>
                  </a:lnTo>
                  <a:lnTo>
                    <a:pt x="70" y="75"/>
                  </a:lnTo>
                  <a:lnTo>
                    <a:pt x="70" y="76"/>
                  </a:lnTo>
                  <a:lnTo>
                    <a:pt x="70" y="75"/>
                  </a:lnTo>
                  <a:lnTo>
                    <a:pt x="71" y="75"/>
                  </a:lnTo>
                  <a:lnTo>
                    <a:pt x="71" y="74"/>
                  </a:lnTo>
                  <a:lnTo>
                    <a:pt x="72" y="73"/>
                  </a:lnTo>
                  <a:lnTo>
                    <a:pt x="73" y="72"/>
                  </a:lnTo>
                  <a:lnTo>
                    <a:pt x="75" y="72"/>
                  </a:lnTo>
                  <a:lnTo>
                    <a:pt x="76" y="70"/>
                  </a:lnTo>
                  <a:lnTo>
                    <a:pt x="76" y="69"/>
                  </a:lnTo>
                  <a:lnTo>
                    <a:pt x="75" y="69"/>
                  </a:lnTo>
                  <a:lnTo>
                    <a:pt x="73" y="68"/>
                  </a:lnTo>
                  <a:lnTo>
                    <a:pt x="75" y="68"/>
                  </a:lnTo>
                  <a:lnTo>
                    <a:pt x="75" y="67"/>
                  </a:lnTo>
                  <a:lnTo>
                    <a:pt x="76" y="67"/>
                  </a:lnTo>
                  <a:lnTo>
                    <a:pt x="75" y="67"/>
                  </a:lnTo>
                  <a:lnTo>
                    <a:pt x="76" y="67"/>
                  </a:lnTo>
                  <a:lnTo>
                    <a:pt x="77" y="67"/>
                  </a:lnTo>
                  <a:close/>
                  <a:moveTo>
                    <a:pt x="72" y="67"/>
                  </a:moveTo>
                  <a:lnTo>
                    <a:pt x="73" y="67"/>
                  </a:lnTo>
                  <a:lnTo>
                    <a:pt x="75" y="67"/>
                  </a:lnTo>
                  <a:lnTo>
                    <a:pt x="73" y="68"/>
                  </a:lnTo>
                  <a:lnTo>
                    <a:pt x="72" y="68"/>
                  </a:lnTo>
                  <a:lnTo>
                    <a:pt x="71" y="67"/>
                  </a:lnTo>
                  <a:lnTo>
                    <a:pt x="70" y="66"/>
                  </a:lnTo>
                  <a:lnTo>
                    <a:pt x="70" y="65"/>
                  </a:lnTo>
                  <a:lnTo>
                    <a:pt x="71" y="65"/>
                  </a:lnTo>
                  <a:lnTo>
                    <a:pt x="71" y="66"/>
                  </a:lnTo>
                  <a:lnTo>
                    <a:pt x="72" y="66"/>
                  </a:lnTo>
                  <a:lnTo>
                    <a:pt x="72" y="67"/>
                  </a:lnTo>
                  <a:close/>
                  <a:moveTo>
                    <a:pt x="78" y="61"/>
                  </a:moveTo>
                  <a:lnTo>
                    <a:pt x="79" y="61"/>
                  </a:lnTo>
                  <a:lnTo>
                    <a:pt x="78" y="61"/>
                  </a:lnTo>
                  <a:close/>
                  <a:moveTo>
                    <a:pt x="55" y="55"/>
                  </a:moveTo>
                  <a:lnTo>
                    <a:pt x="55" y="56"/>
                  </a:lnTo>
                  <a:lnTo>
                    <a:pt x="54" y="56"/>
                  </a:lnTo>
                  <a:lnTo>
                    <a:pt x="54" y="55"/>
                  </a:lnTo>
                  <a:lnTo>
                    <a:pt x="55" y="55"/>
                  </a:lnTo>
                  <a:close/>
                  <a:moveTo>
                    <a:pt x="1" y="55"/>
                  </a:moveTo>
                  <a:lnTo>
                    <a:pt x="1" y="54"/>
                  </a:lnTo>
                  <a:lnTo>
                    <a:pt x="0" y="54"/>
                  </a:lnTo>
                  <a:lnTo>
                    <a:pt x="1" y="55"/>
                  </a:lnTo>
                  <a:close/>
                  <a:moveTo>
                    <a:pt x="0" y="54"/>
                  </a:moveTo>
                  <a:lnTo>
                    <a:pt x="0" y="53"/>
                  </a:lnTo>
                  <a:lnTo>
                    <a:pt x="0" y="54"/>
                  </a:lnTo>
                  <a:close/>
                  <a:moveTo>
                    <a:pt x="49" y="52"/>
                  </a:moveTo>
                  <a:lnTo>
                    <a:pt x="50" y="52"/>
                  </a:lnTo>
                  <a:lnTo>
                    <a:pt x="50" y="53"/>
                  </a:lnTo>
                  <a:lnTo>
                    <a:pt x="51" y="54"/>
                  </a:lnTo>
                  <a:lnTo>
                    <a:pt x="52" y="55"/>
                  </a:lnTo>
                  <a:lnTo>
                    <a:pt x="54" y="55"/>
                  </a:lnTo>
                  <a:lnTo>
                    <a:pt x="52" y="55"/>
                  </a:lnTo>
                  <a:lnTo>
                    <a:pt x="51" y="55"/>
                  </a:lnTo>
                  <a:lnTo>
                    <a:pt x="51" y="54"/>
                  </a:lnTo>
                  <a:lnTo>
                    <a:pt x="50" y="54"/>
                  </a:lnTo>
                  <a:lnTo>
                    <a:pt x="50" y="53"/>
                  </a:lnTo>
                  <a:lnTo>
                    <a:pt x="49" y="53"/>
                  </a:lnTo>
                  <a:lnTo>
                    <a:pt x="49" y="52"/>
                  </a:lnTo>
                  <a:close/>
                  <a:moveTo>
                    <a:pt x="58" y="52"/>
                  </a:moveTo>
                  <a:lnTo>
                    <a:pt x="59" y="53"/>
                  </a:lnTo>
                  <a:lnTo>
                    <a:pt x="59" y="54"/>
                  </a:lnTo>
                  <a:lnTo>
                    <a:pt x="59" y="55"/>
                  </a:lnTo>
                  <a:lnTo>
                    <a:pt x="61" y="56"/>
                  </a:lnTo>
                  <a:lnTo>
                    <a:pt x="61" y="58"/>
                  </a:lnTo>
                  <a:lnTo>
                    <a:pt x="61" y="59"/>
                  </a:lnTo>
                  <a:lnTo>
                    <a:pt x="61" y="60"/>
                  </a:lnTo>
                  <a:lnTo>
                    <a:pt x="62" y="61"/>
                  </a:lnTo>
                  <a:lnTo>
                    <a:pt x="63" y="61"/>
                  </a:lnTo>
                  <a:lnTo>
                    <a:pt x="64" y="62"/>
                  </a:lnTo>
                  <a:lnTo>
                    <a:pt x="63" y="62"/>
                  </a:lnTo>
                  <a:lnTo>
                    <a:pt x="63" y="63"/>
                  </a:lnTo>
                  <a:lnTo>
                    <a:pt x="64" y="63"/>
                  </a:lnTo>
                  <a:lnTo>
                    <a:pt x="63" y="65"/>
                  </a:lnTo>
                  <a:lnTo>
                    <a:pt x="63" y="63"/>
                  </a:lnTo>
                  <a:lnTo>
                    <a:pt x="63" y="62"/>
                  </a:lnTo>
                  <a:lnTo>
                    <a:pt x="62" y="61"/>
                  </a:lnTo>
                  <a:lnTo>
                    <a:pt x="61" y="61"/>
                  </a:lnTo>
                  <a:lnTo>
                    <a:pt x="59" y="61"/>
                  </a:lnTo>
                  <a:lnTo>
                    <a:pt x="58" y="60"/>
                  </a:lnTo>
                  <a:lnTo>
                    <a:pt x="59" y="60"/>
                  </a:lnTo>
                  <a:lnTo>
                    <a:pt x="59" y="59"/>
                  </a:lnTo>
                  <a:lnTo>
                    <a:pt x="59" y="60"/>
                  </a:lnTo>
                  <a:lnTo>
                    <a:pt x="61" y="61"/>
                  </a:lnTo>
                  <a:lnTo>
                    <a:pt x="59" y="60"/>
                  </a:lnTo>
                  <a:lnTo>
                    <a:pt x="61" y="59"/>
                  </a:lnTo>
                  <a:lnTo>
                    <a:pt x="61" y="58"/>
                  </a:lnTo>
                  <a:lnTo>
                    <a:pt x="61" y="56"/>
                  </a:lnTo>
                  <a:lnTo>
                    <a:pt x="59" y="56"/>
                  </a:lnTo>
                  <a:lnTo>
                    <a:pt x="59" y="55"/>
                  </a:lnTo>
                  <a:lnTo>
                    <a:pt x="59" y="54"/>
                  </a:lnTo>
                  <a:lnTo>
                    <a:pt x="58" y="53"/>
                  </a:lnTo>
                  <a:lnTo>
                    <a:pt x="58" y="52"/>
                  </a:lnTo>
                  <a:lnTo>
                    <a:pt x="58" y="53"/>
                  </a:lnTo>
                  <a:lnTo>
                    <a:pt x="58" y="52"/>
                  </a:lnTo>
                  <a:close/>
                  <a:moveTo>
                    <a:pt x="65" y="52"/>
                  </a:moveTo>
                  <a:lnTo>
                    <a:pt x="64" y="52"/>
                  </a:lnTo>
                  <a:lnTo>
                    <a:pt x="65" y="52"/>
                  </a:lnTo>
                  <a:lnTo>
                    <a:pt x="66" y="52"/>
                  </a:lnTo>
                  <a:lnTo>
                    <a:pt x="65" y="52"/>
                  </a:lnTo>
                  <a:close/>
                  <a:moveTo>
                    <a:pt x="45" y="47"/>
                  </a:moveTo>
                  <a:lnTo>
                    <a:pt x="45" y="46"/>
                  </a:lnTo>
                  <a:lnTo>
                    <a:pt x="44" y="46"/>
                  </a:lnTo>
                  <a:lnTo>
                    <a:pt x="44" y="45"/>
                  </a:lnTo>
                  <a:lnTo>
                    <a:pt x="45" y="45"/>
                  </a:lnTo>
                  <a:lnTo>
                    <a:pt x="45" y="47"/>
                  </a:lnTo>
                  <a:close/>
                  <a:moveTo>
                    <a:pt x="71" y="46"/>
                  </a:moveTo>
                  <a:lnTo>
                    <a:pt x="71" y="47"/>
                  </a:lnTo>
                  <a:lnTo>
                    <a:pt x="70" y="47"/>
                  </a:lnTo>
                  <a:lnTo>
                    <a:pt x="71" y="47"/>
                  </a:lnTo>
                  <a:lnTo>
                    <a:pt x="71" y="46"/>
                  </a:lnTo>
                  <a:lnTo>
                    <a:pt x="71" y="47"/>
                  </a:lnTo>
                  <a:lnTo>
                    <a:pt x="70" y="47"/>
                  </a:lnTo>
                  <a:lnTo>
                    <a:pt x="70" y="46"/>
                  </a:lnTo>
                  <a:lnTo>
                    <a:pt x="70" y="45"/>
                  </a:lnTo>
                  <a:lnTo>
                    <a:pt x="71" y="45"/>
                  </a:lnTo>
                  <a:lnTo>
                    <a:pt x="71" y="46"/>
                  </a:lnTo>
                  <a:close/>
                  <a:moveTo>
                    <a:pt x="26" y="42"/>
                  </a:moveTo>
                  <a:lnTo>
                    <a:pt x="26" y="44"/>
                  </a:lnTo>
                  <a:lnTo>
                    <a:pt x="26" y="42"/>
                  </a:lnTo>
                  <a:lnTo>
                    <a:pt x="24" y="44"/>
                  </a:lnTo>
                  <a:lnTo>
                    <a:pt x="23" y="45"/>
                  </a:lnTo>
                  <a:lnTo>
                    <a:pt x="23" y="44"/>
                  </a:lnTo>
                  <a:lnTo>
                    <a:pt x="24" y="44"/>
                  </a:lnTo>
                  <a:lnTo>
                    <a:pt x="24" y="42"/>
                  </a:lnTo>
                  <a:lnTo>
                    <a:pt x="26" y="42"/>
                  </a:lnTo>
                  <a:close/>
                  <a:moveTo>
                    <a:pt x="23" y="42"/>
                  </a:moveTo>
                  <a:lnTo>
                    <a:pt x="24" y="44"/>
                  </a:lnTo>
                  <a:lnTo>
                    <a:pt x="23" y="44"/>
                  </a:lnTo>
                  <a:lnTo>
                    <a:pt x="23" y="42"/>
                  </a:lnTo>
                  <a:lnTo>
                    <a:pt x="24" y="42"/>
                  </a:lnTo>
                  <a:lnTo>
                    <a:pt x="23" y="42"/>
                  </a:lnTo>
                  <a:close/>
                  <a:moveTo>
                    <a:pt x="44" y="44"/>
                  </a:moveTo>
                  <a:lnTo>
                    <a:pt x="43" y="44"/>
                  </a:lnTo>
                  <a:lnTo>
                    <a:pt x="43" y="42"/>
                  </a:lnTo>
                  <a:lnTo>
                    <a:pt x="44" y="44"/>
                  </a:lnTo>
                  <a:close/>
                  <a:moveTo>
                    <a:pt x="27" y="45"/>
                  </a:moveTo>
                  <a:lnTo>
                    <a:pt x="27" y="46"/>
                  </a:lnTo>
                  <a:lnTo>
                    <a:pt x="26" y="46"/>
                  </a:lnTo>
                  <a:lnTo>
                    <a:pt x="27" y="46"/>
                  </a:lnTo>
                  <a:lnTo>
                    <a:pt x="27" y="45"/>
                  </a:lnTo>
                  <a:lnTo>
                    <a:pt x="28" y="45"/>
                  </a:lnTo>
                  <a:lnTo>
                    <a:pt x="28" y="44"/>
                  </a:lnTo>
                  <a:lnTo>
                    <a:pt x="29" y="44"/>
                  </a:lnTo>
                  <a:lnTo>
                    <a:pt x="29" y="45"/>
                  </a:lnTo>
                  <a:lnTo>
                    <a:pt x="29" y="46"/>
                  </a:lnTo>
                  <a:lnTo>
                    <a:pt x="29" y="47"/>
                  </a:lnTo>
                  <a:lnTo>
                    <a:pt x="29" y="48"/>
                  </a:lnTo>
                  <a:lnTo>
                    <a:pt x="28" y="48"/>
                  </a:lnTo>
                  <a:lnTo>
                    <a:pt x="29" y="48"/>
                  </a:lnTo>
                  <a:lnTo>
                    <a:pt x="29" y="49"/>
                  </a:lnTo>
                  <a:lnTo>
                    <a:pt x="28" y="49"/>
                  </a:lnTo>
                  <a:lnTo>
                    <a:pt x="28" y="51"/>
                  </a:lnTo>
                  <a:lnTo>
                    <a:pt x="27" y="51"/>
                  </a:lnTo>
                  <a:lnTo>
                    <a:pt x="27" y="52"/>
                  </a:lnTo>
                  <a:lnTo>
                    <a:pt x="27" y="51"/>
                  </a:lnTo>
                  <a:lnTo>
                    <a:pt x="26" y="51"/>
                  </a:lnTo>
                  <a:lnTo>
                    <a:pt x="27" y="51"/>
                  </a:lnTo>
                  <a:lnTo>
                    <a:pt x="27" y="49"/>
                  </a:lnTo>
                  <a:lnTo>
                    <a:pt x="28" y="49"/>
                  </a:lnTo>
                  <a:lnTo>
                    <a:pt x="27" y="49"/>
                  </a:lnTo>
                  <a:lnTo>
                    <a:pt x="26" y="51"/>
                  </a:lnTo>
                  <a:lnTo>
                    <a:pt x="27" y="51"/>
                  </a:lnTo>
                  <a:lnTo>
                    <a:pt x="26" y="51"/>
                  </a:lnTo>
                  <a:lnTo>
                    <a:pt x="26" y="49"/>
                  </a:lnTo>
                  <a:lnTo>
                    <a:pt x="27" y="49"/>
                  </a:lnTo>
                  <a:lnTo>
                    <a:pt x="27" y="48"/>
                  </a:lnTo>
                  <a:lnTo>
                    <a:pt x="27" y="49"/>
                  </a:lnTo>
                  <a:lnTo>
                    <a:pt x="26" y="49"/>
                  </a:lnTo>
                  <a:lnTo>
                    <a:pt x="24" y="49"/>
                  </a:lnTo>
                  <a:lnTo>
                    <a:pt x="24" y="48"/>
                  </a:lnTo>
                  <a:lnTo>
                    <a:pt x="24" y="47"/>
                  </a:lnTo>
                  <a:lnTo>
                    <a:pt x="24" y="46"/>
                  </a:lnTo>
                  <a:lnTo>
                    <a:pt x="23" y="45"/>
                  </a:lnTo>
                  <a:lnTo>
                    <a:pt x="24" y="45"/>
                  </a:lnTo>
                  <a:lnTo>
                    <a:pt x="24" y="44"/>
                  </a:lnTo>
                  <a:lnTo>
                    <a:pt x="26" y="44"/>
                  </a:lnTo>
                  <a:lnTo>
                    <a:pt x="26" y="42"/>
                  </a:lnTo>
                  <a:lnTo>
                    <a:pt x="27" y="42"/>
                  </a:lnTo>
                  <a:lnTo>
                    <a:pt x="28" y="42"/>
                  </a:lnTo>
                  <a:lnTo>
                    <a:pt x="28" y="44"/>
                  </a:lnTo>
                  <a:lnTo>
                    <a:pt x="27" y="44"/>
                  </a:lnTo>
                  <a:lnTo>
                    <a:pt x="26" y="44"/>
                  </a:lnTo>
                  <a:lnTo>
                    <a:pt x="27" y="44"/>
                  </a:lnTo>
                  <a:lnTo>
                    <a:pt x="27" y="45"/>
                  </a:lnTo>
                  <a:lnTo>
                    <a:pt x="26" y="45"/>
                  </a:lnTo>
                  <a:lnTo>
                    <a:pt x="27" y="45"/>
                  </a:lnTo>
                  <a:close/>
                  <a:moveTo>
                    <a:pt x="26" y="41"/>
                  </a:moveTo>
                  <a:lnTo>
                    <a:pt x="24" y="41"/>
                  </a:lnTo>
                  <a:lnTo>
                    <a:pt x="26" y="41"/>
                  </a:lnTo>
                  <a:close/>
                  <a:moveTo>
                    <a:pt x="28" y="41"/>
                  </a:moveTo>
                  <a:lnTo>
                    <a:pt x="27" y="41"/>
                  </a:lnTo>
                  <a:lnTo>
                    <a:pt x="26" y="41"/>
                  </a:lnTo>
                  <a:lnTo>
                    <a:pt x="27" y="41"/>
                  </a:lnTo>
                  <a:lnTo>
                    <a:pt x="28" y="41"/>
                  </a:lnTo>
                  <a:close/>
                  <a:moveTo>
                    <a:pt x="41" y="39"/>
                  </a:moveTo>
                  <a:lnTo>
                    <a:pt x="40" y="39"/>
                  </a:lnTo>
                  <a:lnTo>
                    <a:pt x="40" y="38"/>
                  </a:lnTo>
                  <a:lnTo>
                    <a:pt x="41" y="38"/>
                  </a:lnTo>
                  <a:lnTo>
                    <a:pt x="41" y="39"/>
                  </a:lnTo>
                  <a:close/>
                  <a:moveTo>
                    <a:pt x="59" y="44"/>
                  </a:moveTo>
                  <a:lnTo>
                    <a:pt x="59" y="45"/>
                  </a:lnTo>
                  <a:lnTo>
                    <a:pt x="58" y="45"/>
                  </a:lnTo>
                  <a:lnTo>
                    <a:pt x="57" y="45"/>
                  </a:lnTo>
                  <a:lnTo>
                    <a:pt x="57" y="44"/>
                  </a:lnTo>
                  <a:lnTo>
                    <a:pt x="58" y="44"/>
                  </a:lnTo>
                  <a:lnTo>
                    <a:pt x="58" y="42"/>
                  </a:lnTo>
                  <a:lnTo>
                    <a:pt x="57" y="42"/>
                  </a:lnTo>
                  <a:lnTo>
                    <a:pt x="57" y="40"/>
                  </a:lnTo>
                  <a:lnTo>
                    <a:pt x="57" y="39"/>
                  </a:lnTo>
                  <a:lnTo>
                    <a:pt x="56" y="39"/>
                  </a:lnTo>
                  <a:lnTo>
                    <a:pt x="56" y="38"/>
                  </a:lnTo>
                  <a:lnTo>
                    <a:pt x="55" y="37"/>
                  </a:lnTo>
                  <a:lnTo>
                    <a:pt x="55" y="35"/>
                  </a:lnTo>
                  <a:lnTo>
                    <a:pt x="56" y="37"/>
                  </a:lnTo>
                  <a:lnTo>
                    <a:pt x="56" y="38"/>
                  </a:lnTo>
                  <a:lnTo>
                    <a:pt x="57" y="38"/>
                  </a:lnTo>
                  <a:lnTo>
                    <a:pt x="57" y="39"/>
                  </a:lnTo>
                  <a:lnTo>
                    <a:pt x="57" y="40"/>
                  </a:lnTo>
                  <a:lnTo>
                    <a:pt x="58" y="41"/>
                  </a:lnTo>
                  <a:lnTo>
                    <a:pt x="59" y="42"/>
                  </a:lnTo>
                  <a:lnTo>
                    <a:pt x="59" y="44"/>
                  </a:lnTo>
                  <a:close/>
                  <a:moveTo>
                    <a:pt x="34" y="30"/>
                  </a:moveTo>
                  <a:lnTo>
                    <a:pt x="35" y="30"/>
                  </a:lnTo>
                  <a:lnTo>
                    <a:pt x="35" y="31"/>
                  </a:lnTo>
                  <a:lnTo>
                    <a:pt x="33" y="31"/>
                  </a:lnTo>
                  <a:lnTo>
                    <a:pt x="31" y="31"/>
                  </a:lnTo>
                  <a:lnTo>
                    <a:pt x="30" y="31"/>
                  </a:lnTo>
                  <a:lnTo>
                    <a:pt x="31" y="31"/>
                  </a:lnTo>
                  <a:lnTo>
                    <a:pt x="31" y="30"/>
                  </a:lnTo>
                  <a:lnTo>
                    <a:pt x="33" y="30"/>
                  </a:lnTo>
                  <a:lnTo>
                    <a:pt x="34" y="30"/>
                  </a:lnTo>
                  <a:close/>
                  <a:moveTo>
                    <a:pt x="23" y="28"/>
                  </a:moveTo>
                  <a:lnTo>
                    <a:pt x="24" y="28"/>
                  </a:lnTo>
                  <a:lnTo>
                    <a:pt x="26" y="28"/>
                  </a:lnTo>
                  <a:lnTo>
                    <a:pt x="24" y="30"/>
                  </a:lnTo>
                  <a:lnTo>
                    <a:pt x="26" y="30"/>
                  </a:lnTo>
                  <a:lnTo>
                    <a:pt x="24" y="31"/>
                  </a:lnTo>
                  <a:lnTo>
                    <a:pt x="26" y="31"/>
                  </a:lnTo>
                  <a:lnTo>
                    <a:pt x="26" y="33"/>
                  </a:lnTo>
                  <a:lnTo>
                    <a:pt x="27" y="34"/>
                  </a:lnTo>
                  <a:lnTo>
                    <a:pt x="27" y="35"/>
                  </a:lnTo>
                  <a:lnTo>
                    <a:pt x="28" y="35"/>
                  </a:lnTo>
                  <a:lnTo>
                    <a:pt x="28" y="37"/>
                  </a:lnTo>
                  <a:lnTo>
                    <a:pt x="27" y="37"/>
                  </a:lnTo>
                  <a:lnTo>
                    <a:pt x="27" y="38"/>
                  </a:lnTo>
                  <a:lnTo>
                    <a:pt x="28" y="38"/>
                  </a:lnTo>
                  <a:lnTo>
                    <a:pt x="28" y="39"/>
                  </a:lnTo>
                  <a:lnTo>
                    <a:pt x="27" y="39"/>
                  </a:lnTo>
                  <a:lnTo>
                    <a:pt x="27" y="40"/>
                  </a:lnTo>
                  <a:lnTo>
                    <a:pt x="26" y="40"/>
                  </a:lnTo>
                  <a:lnTo>
                    <a:pt x="26" y="41"/>
                  </a:lnTo>
                  <a:lnTo>
                    <a:pt x="24" y="41"/>
                  </a:lnTo>
                  <a:lnTo>
                    <a:pt x="23" y="41"/>
                  </a:lnTo>
                  <a:lnTo>
                    <a:pt x="23" y="42"/>
                  </a:lnTo>
                  <a:lnTo>
                    <a:pt x="22" y="42"/>
                  </a:lnTo>
                  <a:lnTo>
                    <a:pt x="22" y="41"/>
                  </a:lnTo>
                  <a:lnTo>
                    <a:pt x="22" y="40"/>
                  </a:lnTo>
                  <a:lnTo>
                    <a:pt x="22" y="39"/>
                  </a:lnTo>
                  <a:lnTo>
                    <a:pt x="21" y="39"/>
                  </a:lnTo>
                  <a:lnTo>
                    <a:pt x="19" y="39"/>
                  </a:lnTo>
                  <a:lnTo>
                    <a:pt x="19" y="38"/>
                  </a:lnTo>
                  <a:lnTo>
                    <a:pt x="18" y="38"/>
                  </a:lnTo>
                  <a:lnTo>
                    <a:pt x="18" y="37"/>
                  </a:lnTo>
                  <a:lnTo>
                    <a:pt x="19" y="37"/>
                  </a:lnTo>
                  <a:lnTo>
                    <a:pt x="20" y="37"/>
                  </a:lnTo>
                  <a:lnTo>
                    <a:pt x="20" y="35"/>
                  </a:lnTo>
                  <a:lnTo>
                    <a:pt x="20" y="37"/>
                  </a:lnTo>
                  <a:lnTo>
                    <a:pt x="20" y="38"/>
                  </a:lnTo>
                  <a:lnTo>
                    <a:pt x="20" y="37"/>
                  </a:lnTo>
                  <a:lnTo>
                    <a:pt x="21" y="37"/>
                  </a:lnTo>
                  <a:lnTo>
                    <a:pt x="21" y="38"/>
                  </a:lnTo>
                  <a:lnTo>
                    <a:pt x="20" y="38"/>
                  </a:lnTo>
                  <a:lnTo>
                    <a:pt x="21" y="38"/>
                  </a:lnTo>
                  <a:lnTo>
                    <a:pt x="21" y="37"/>
                  </a:lnTo>
                  <a:lnTo>
                    <a:pt x="21" y="38"/>
                  </a:lnTo>
                  <a:lnTo>
                    <a:pt x="21" y="37"/>
                  </a:lnTo>
                  <a:lnTo>
                    <a:pt x="21" y="35"/>
                  </a:lnTo>
                  <a:lnTo>
                    <a:pt x="20" y="35"/>
                  </a:lnTo>
                  <a:lnTo>
                    <a:pt x="21" y="35"/>
                  </a:lnTo>
                  <a:lnTo>
                    <a:pt x="20" y="37"/>
                  </a:lnTo>
                  <a:lnTo>
                    <a:pt x="20" y="35"/>
                  </a:lnTo>
                  <a:lnTo>
                    <a:pt x="20" y="34"/>
                  </a:lnTo>
                  <a:lnTo>
                    <a:pt x="21" y="34"/>
                  </a:lnTo>
                  <a:lnTo>
                    <a:pt x="21" y="33"/>
                  </a:lnTo>
                  <a:lnTo>
                    <a:pt x="22" y="33"/>
                  </a:lnTo>
                  <a:lnTo>
                    <a:pt x="22" y="32"/>
                  </a:lnTo>
                  <a:lnTo>
                    <a:pt x="22" y="31"/>
                  </a:lnTo>
                  <a:lnTo>
                    <a:pt x="22" y="30"/>
                  </a:lnTo>
                  <a:lnTo>
                    <a:pt x="22" y="28"/>
                  </a:lnTo>
                  <a:lnTo>
                    <a:pt x="22" y="27"/>
                  </a:lnTo>
                  <a:lnTo>
                    <a:pt x="23" y="27"/>
                  </a:lnTo>
                  <a:lnTo>
                    <a:pt x="23" y="28"/>
                  </a:lnTo>
                  <a:close/>
                  <a:moveTo>
                    <a:pt x="28" y="24"/>
                  </a:moveTo>
                  <a:lnTo>
                    <a:pt x="28" y="25"/>
                  </a:lnTo>
                  <a:lnTo>
                    <a:pt x="27" y="25"/>
                  </a:lnTo>
                  <a:lnTo>
                    <a:pt x="27" y="24"/>
                  </a:lnTo>
                  <a:lnTo>
                    <a:pt x="28" y="24"/>
                  </a:lnTo>
                  <a:close/>
                  <a:moveTo>
                    <a:pt x="43" y="23"/>
                  </a:moveTo>
                  <a:lnTo>
                    <a:pt x="44" y="23"/>
                  </a:lnTo>
                  <a:lnTo>
                    <a:pt x="43" y="24"/>
                  </a:lnTo>
                  <a:lnTo>
                    <a:pt x="44" y="23"/>
                  </a:lnTo>
                  <a:lnTo>
                    <a:pt x="44" y="24"/>
                  </a:lnTo>
                  <a:lnTo>
                    <a:pt x="45" y="25"/>
                  </a:lnTo>
                  <a:lnTo>
                    <a:pt x="47" y="25"/>
                  </a:lnTo>
                  <a:lnTo>
                    <a:pt x="48" y="26"/>
                  </a:lnTo>
                  <a:lnTo>
                    <a:pt x="49" y="27"/>
                  </a:lnTo>
                  <a:lnTo>
                    <a:pt x="50" y="28"/>
                  </a:lnTo>
                  <a:lnTo>
                    <a:pt x="50" y="30"/>
                  </a:lnTo>
                  <a:lnTo>
                    <a:pt x="50" y="31"/>
                  </a:lnTo>
                  <a:lnTo>
                    <a:pt x="50" y="32"/>
                  </a:lnTo>
                  <a:lnTo>
                    <a:pt x="50" y="33"/>
                  </a:lnTo>
                  <a:lnTo>
                    <a:pt x="49" y="34"/>
                  </a:lnTo>
                  <a:lnTo>
                    <a:pt x="49" y="35"/>
                  </a:lnTo>
                  <a:lnTo>
                    <a:pt x="49" y="37"/>
                  </a:lnTo>
                  <a:lnTo>
                    <a:pt x="48" y="35"/>
                  </a:lnTo>
                  <a:lnTo>
                    <a:pt x="48" y="34"/>
                  </a:lnTo>
                  <a:lnTo>
                    <a:pt x="47" y="34"/>
                  </a:lnTo>
                  <a:lnTo>
                    <a:pt x="49" y="34"/>
                  </a:lnTo>
                  <a:lnTo>
                    <a:pt x="49" y="33"/>
                  </a:lnTo>
                  <a:lnTo>
                    <a:pt x="49" y="32"/>
                  </a:lnTo>
                  <a:lnTo>
                    <a:pt x="50" y="31"/>
                  </a:lnTo>
                  <a:lnTo>
                    <a:pt x="50" y="30"/>
                  </a:lnTo>
                  <a:lnTo>
                    <a:pt x="50" y="28"/>
                  </a:lnTo>
                  <a:lnTo>
                    <a:pt x="49" y="28"/>
                  </a:lnTo>
                  <a:lnTo>
                    <a:pt x="48" y="26"/>
                  </a:lnTo>
                  <a:lnTo>
                    <a:pt x="47" y="26"/>
                  </a:lnTo>
                  <a:lnTo>
                    <a:pt x="47" y="25"/>
                  </a:lnTo>
                  <a:lnTo>
                    <a:pt x="45" y="25"/>
                  </a:lnTo>
                  <a:lnTo>
                    <a:pt x="44" y="24"/>
                  </a:lnTo>
                  <a:lnTo>
                    <a:pt x="43" y="24"/>
                  </a:lnTo>
                  <a:lnTo>
                    <a:pt x="42" y="24"/>
                  </a:lnTo>
                  <a:lnTo>
                    <a:pt x="43" y="24"/>
                  </a:lnTo>
                  <a:lnTo>
                    <a:pt x="43" y="23"/>
                  </a:lnTo>
                  <a:close/>
                  <a:moveTo>
                    <a:pt x="9" y="19"/>
                  </a:moveTo>
                  <a:lnTo>
                    <a:pt x="9" y="20"/>
                  </a:lnTo>
                  <a:lnTo>
                    <a:pt x="8" y="20"/>
                  </a:lnTo>
                  <a:lnTo>
                    <a:pt x="9" y="19"/>
                  </a:lnTo>
                  <a:close/>
                  <a:moveTo>
                    <a:pt x="29" y="19"/>
                  </a:moveTo>
                  <a:lnTo>
                    <a:pt x="29" y="20"/>
                  </a:lnTo>
                  <a:lnTo>
                    <a:pt x="29" y="19"/>
                  </a:lnTo>
                  <a:lnTo>
                    <a:pt x="28" y="19"/>
                  </a:lnTo>
                  <a:lnTo>
                    <a:pt x="28" y="18"/>
                  </a:lnTo>
                  <a:lnTo>
                    <a:pt x="28" y="19"/>
                  </a:lnTo>
                  <a:lnTo>
                    <a:pt x="29" y="19"/>
                  </a:lnTo>
                  <a:close/>
                  <a:moveTo>
                    <a:pt x="34" y="11"/>
                  </a:moveTo>
                  <a:lnTo>
                    <a:pt x="34" y="10"/>
                  </a:lnTo>
                  <a:lnTo>
                    <a:pt x="34" y="11"/>
                  </a:lnTo>
                  <a:close/>
                  <a:moveTo>
                    <a:pt x="38" y="7"/>
                  </a:moveTo>
                  <a:lnTo>
                    <a:pt x="38" y="9"/>
                  </a:lnTo>
                  <a:lnTo>
                    <a:pt x="38" y="7"/>
                  </a:lnTo>
                  <a:close/>
                  <a:moveTo>
                    <a:pt x="30" y="6"/>
                  </a:moveTo>
                  <a:lnTo>
                    <a:pt x="30" y="5"/>
                  </a:lnTo>
                  <a:lnTo>
                    <a:pt x="30" y="6"/>
                  </a:lnTo>
                  <a:lnTo>
                    <a:pt x="30" y="5"/>
                  </a:lnTo>
                  <a:lnTo>
                    <a:pt x="31" y="5"/>
                  </a:lnTo>
                  <a:lnTo>
                    <a:pt x="30" y="6"/>
                  </a:lnTo>
                  <a:close/>
                  <a:moveTo>
                    <a:pt x="22" y="4"/>
                  </a:moveTo>
                  <a:lnTo>
                    <a:pt x="23" y="4"/>
                  </a:lnTo>
                  <a:lnTo>
                    <a:pt x="24" y="4"/>
                  </a:lnTo>
                  <a:lnTo>
                    <a:pt x="26" y="4"/>
                  </a:lnTo>
                  <a:lnTo>
                    <a:pt x="27" y="4"/>
                  </a:lnTo>
                  <a:lnTo>
                    <a:pt x="28" y="4"/>
                  </a:lnTo>
                  <a:lnTo>
                    <a:pt x="29" y="4"/>
                  </a:lnTo>
                  <a:lnTo>
                    <a:pt x="30" y="4"/>
                  </a:lnTo>
                  <a:lnTo>
                    <a:pt x="30" y="3"/>
                  </a:lnTo>
                  <a:lnTo>
                    <a:pt x="30" y="4"/>
                  </a:lnTo>
                  <a:lnTo>
                    <a:pt x="30" y="5"/>
                  </a:lnTo>
                  <a:lnTo>
                    <a:pt x="29" y="5"/>
                  </a:lnTo>
                  <a:lnTo>
                    <a:pt x="28" y="5"/>
                  </a:lnTo>
                  <a:lnTo>
                    <a:pt x="26" y="5"/>
                  </a:lnTo>
                  <a:lnTo>
                    <a:pt x="24" y="5"/>
                  </a:lnTo>
                  <a:lnTo>
                    <a:pt x="22" y="6"/>
                  </a:lnTo>
                  <a:lnTo>
                    <a:pt x="21" y="6"/>
                  </a:lnTo>
                  <a:lnTo>
                    <a:pt x="20" y="6"/>
                  </a:lnTo>
                  <a:lnTo>
                    <a:pt x="20" y="7"/>
                  </a:lnTo>
                  <a:lnTo>
                    <a:pt x="19" y="7"/>
                  </a:lnTo>
                  <a:lnTo>
                    <a:pt x="18" y="6"/>
                  </a:lnTo>
                  <a:lnTo>
                    <a:pt x="16" y="5"/>
                  </a:lnTo>
                  <a:lnTo>
                    <a:pt x="15" y="4"/>
                  </a:lnTo>
                  <a:lnTo>
                    <a:pt x="16" y="4"/>
                  </a:lnTo>
                  <a:lnTo>
                    <a:pt x="18" y="5"/>
                  </a:lnTo>
                  <a:lnTo>
                    <a:pt x="18" y="6"/>
                  </a:lnTo>
                  <a:lnTo>
                    <a:pt x="19" y="6"/>
                  </a:lnTo>
                  <a:lnTo>
                    <a:pt x="20" y="6"/>
                  </a:lnTo>
                  <a:lnTo>
                    <a:pt x="20" y="5"/>
                  </a:lnTo>
                  <a:lnTo>
                    <a:pt x="21" y="5"/>
                  </a:lnTo>
                  <a:lnTo>
                    <a:pt x="21" y="4"/>
                  </a:lnTo>
                  <a:lnTo>
                    <a:pt x="21" y="3"/>
                  </a:lnTo>
                  <a:lnTo>
                    <a:pt x="22" y="3"/>
                  </a:lnTo>
                  <a:lnTo>
                    <a:pt x="22" y="4"/>
                  </a:lnTo>
                  <a:close/>
                  <a:moveTo>
                    <a:pt x="33" y="0"/>
                  </a:moveTo>
                  <a:lnTo>
                    <a:pt x="34" y="0"/>
                  </a:lnTo>
                  <a:lnTo>
                    <a:pt x="35" y="0"/>
                  </a:lnTo>
                  <a:lnTo>
                    <a:pt x="36" y="0"/>
                  </a:lnTo>
                  <a:lnTo>
                    <a:pt x="36" y="2"/>
                  </a:lnTo>
                  <a:lnTo>
                    <a:pt x="38" y="4"/>
                  </a:lnTo>
                  <a:lnTo>
                    <a:pt x="40" y="4"/>
                  </a:lnTo>
                  <a:lnTo>
                    <a:pt x="38" y="4"/>
                  </a:lnTo>
                  <a:lnTo>
                    <a:pt x="38" y="5"/>
                  </a:lnTo>
                  <a:lnTo>
                    <a:pt x="40" y="5"/>
                  </a:lnTo>
                  <a:lnTo>
                    <a:pt x="40" y="6"/>
                  </a:lnTo>
                  <a:lnTo>
                    <a:pt x="41" y="6"/>
                  </a:lnTo>
                  <a:lnTo>
                    <a:pt x="42" y="7"/>
                  </a:lnTo>
                  <a:lnTo>
                    <a:pt x="41" y="7"/>
                  </a:lnTo>
                  <a:lnTo>
                    <a:pt x="41" y="9"/>
                  </a:lnTo>
                  <a:lnTo>
                    <a:pt x="42" y="9"/>
                  </a:lnTo>
                  <a:lnTo>
                    <a:pt x="41" y="10"/>
                  </a:lnTo>
                  <a:lnTo>
                    <a:pt x="41" y="11"/>
                  </a:lnTo>
                  <a:lnTo>
                    <a:pt x="41" y="10"/>
                  </a:lnTo>
                  <a:lnTo>
                    <a:pt x="40" y="11"/>
                  </a:lnTo>
                  <a:lnTo>
                    <a:pt x="38" y="12"/>
                  </a:lnTo>
                  <a:lnTo>
                    <a:pt x="38" y="13"/>
                  </a:lnTo>
                  <a:lnTo>
                    <a:pt x="38" y="14"/>
                  </a:lnTo>
                  <a:lnTo>
                    <a:pt x="38" y="16"/>
                  </a:lnTo>
                  <a:lnTo>
                    <a:pt x="38" y="17"/>
                  </a:lnTo>
                  <a:lnTo>
                    <a:pt x="37" y="17"/>
                  </a:lnTo>
                  <a:lnTo>
                    <a:pt x="36" y="16"/>
                  </a:lnTo>
                  <a:lnTo>
                    <a:pt x="35" y="16"/>
                  </a:lnTo>
                  <a:lnTo>
                    <a:pt x="35" y="14"/>
                  </a:lnTo>
                  <a:lnTo>
                    <a:pt x="36" y="14"/>
                  </a:lnTo>
                  <a:lnTo>
                    <a:pt x="37" y="13"/>
                  </a:lnTo>
                  <a:lnTo>
                    <a:pt x="38" y="13"/>
                  </a:lnTo>
                  <a:lnTo>
                    <a:pt x="38" y="12"/>
                  </a:lnTo>
                  <a:lnTo>
                    <a:pt x="37" y="12"/>
                  </a:lnTo>
                  <a:lnTo>
                    <a:pt x="38" y="12"/>
                  </a:lnTo>
                  <a:lnTo>
                    <a:pt x="38" y="11"/>
                  </a:lnTo>
                  <a:lnTo>
                    <a:pt x="38" y="10"/>
                  </a:lnTo>
                  <a:lnTo>
                    <a:pt x="38" y="9"/>
                  </a:lnTo>
                  <a:lnTo>
                    <a:pt x="40" y="7"/>
                  </a:lnTo>
                  <a:lnTo>
                    <a:pt x="40" y="6"/>
                  </a:lnTo>
                  <a:lnTo>
                    <a:pt x="38" y="6"/>
                  </a:lnTo>
                  <a:lnTo>
                    <a:pt x="37" y="5"/>
                  </a:lnTo>
                  <a:lnTo>
                    <a:pt x="37" y="4"/>
                  </a:lnTo>
                  <a:lnTo>
                    <a:pt x="36" y="3"/>
                  </a:lnTo>
                  <a:lnTo>
                    <a:pt x="36" y="2"/>
                  </a:lnTo>
                  <a:lnTo>
                    <a:pt x="35" y="2"/>
                  </a:lnTo>
                  <a:lnTo>
                    <a:pt x="34" y="2"/>
                  </a:lnTo>
                  <a:lnTo>
                    <a:pt x="33" y="2"/>
                  </a:lnTo>
                  <a:lnTo>
                    <a:pt x="33" y="0"/>
                  </a:lnTo>
                  <a:lnTo>
                    <a:pt x="31" y="0"/>
                  </a:lnTo>
                  <a:lnTo>
                    <a:pt x="30" y="0"/>
                  </a:lnTo>
                  <a:lnTo>
                    <a:pt x="31" y="0"/>
                  </a:lnTo>
                  <a:lnTo>
                    <a:pt x="33"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8" name="Rectangle 841">
              <a:extLst>
                <a:ext uri="{FF2B5EF4-FFF2-40B4-BE49-F238E27FC236}">
                  <a16:creationId xmlns:a16="http://schemas.microsoft.com/office/drawing/2014/main" id="{02B70BAF-E0D3-4DF7-8E64-6F848AD556FB}"/>
                </a:ext>
              </a:extLst>
            </p:cNvPr>
            <p:cNvSpPr>
              <a:spLocks noChangeArrowheads="1"/>
            </p:cNvSpPr>
            <p:nvPr/>
          </p:nvSpPr>
          <p:spPr bwMode="auto">
            <a:xfrm>
              <a:off x="4333385" y="3014656"/>
              <a:ext cx="1336" cy="1336"/>
            </a:xfrm>
            <a:prstGeom prst="rect">
              <a:avLst/>
            </a:prstGeom>
            <a:solidFill>
              <a:srgbClr val="D2D2D2"/>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it-IT" dirty="0"/>
            </a:p>
          </p:txBody>
        </p:sp>
        <p:sp>
          <p:nvSpPr>
            <p:cNvPr id="89" name="Freeform 842">
              <a:extLst>
                <a:ext uri="{FF2B5EF4-FFF2-40B4-BE49-F238E27FC236}">
                  <a16:creationId xmlns:a16="http://schemas.microsoft.com/office/drawing/2014/main" id="{F982719E-7188-4EDC-AEFC-BDB69EA1FEEE}"/>
                </a:ext>
              </a:extLst>
            </p:cNvPr>
            <p:cNvSpPr>
              <a:spLocks/>
            </p:cNvSpPr>
            <p:nvPr/>
          </p:nvSpPr>
          <p:spPr bwMode="auto">
            <a:xfrm>
              <a:off x="4652566" y="2969250"/>
              <a:ext cx="1336" cy="1336"/>
            </a:xfrm>
            <a:custGeom>
              <a:avLst/>
              <a:gdLst>
                <a:gd name="T0" fmla="*/ 1 w 1"/>
                <a:gd name="T1" fmla="*/ 1 h 1"/>
                <a:gd name="T2" fmla="*/ 0 w 1"/>
                <a:gd name="T3" fmla="*/ 1 h 1"/>
                <a:gd name="T4" fmla="*/ 0 w 1"/>
                <a:gd name="T5" fmla="*/ 1 h 1"/>
                <a:gd name="T6" fmla="*/ 0 w 1"/>
                <a:gd name="T7" fmla="*/ 0 h 1"/>
                <a:gd name="T8" fmla="*/ 0 w 1"/>
                <a:gd name="T9" fmla="*/ 0 h 1"/>
                <a:gd name="T10" fmla="*/ 0 w 1"/>
                <a:gd name="T11" fmla="*/ 0 h 1"/>
                <a:gd name="T12" fmla="*/ 0 w 1"/>
                <a:gd name="T13" fmla="*/ 0 h 1"/>
                <a:gd name="T14" fmla="*/ 1 w 1"/>
                <a:gd name="T15" fmla="*/ 0 h 1"/>
                <a:gd name="T16" fmla="*/ 1 w 1"/>
                <a:gd name="T17" fmla="*/ 0 h 1"/>
                <a:gd name="T18" fmla="*/ 1 w 1"/>
                <a:gd name="T19" fmla="*/ 1 h 1"/>
                <a:gd name="T20" fmla="*/ 1 w 1"/>
                <a:gd name="T2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1">
                  <a:moveTo>
                    <a:pt x="1" y="1"/>
                  </a:moveTo>
                  <a:lnTo>
                    <a:pt x="0" y="1"/>
                  </a:lnTo>
                  <a:lnTo>
                    <a:pt x="0" y="1"/>
                  </a:lnTo>
                  <a:lnTo>
                    <a:pt x="0" y="0"/>
                  </a:lnTo>
                  <a:lnTo>
                    <a:pt x="0" y="0"/>
                  </a:lnTo>
                  <a:lnTo>
                    <a:pt x="0" y="0"/>
                  </a:lnTo>
                  <a:lnTo>
                    <a:pt x="0" y="0"/>
                  </a:lnTo>
                  <a:lnTo>
                    <a:pt x="1" y="0"/>
                  </a:lnTo>
                  <a:lnTo>
                    <a:pt x="1" y="0"/>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90" name="Freeform 843">
              <a:extLst>
                <a:ext uri="{FF2B5EF4-FFF2-40B4-BE49-F238E27FC236}">
                  <a16:creationId xmlns:a16="http://schemas.microsoft.com/office/drawing/2014/main" id="{B9D32692-DAA0-4085-8F7F-C089F39BE0CF}"/>
                </a:ext>
              </a:extLst>
            </p:cNvPr>
            <p:cNvSpPr>
              <a:spLocks/>
            </p:cNvSpPr>
            <p:nvPr/>
          </p:nvSpPr>
          <p:spPr bwMode="auto">
            <a:xfrm>
              <a:off x="6175022" y="2171963"/>
              <a:ext cx="148240" cy="97491"/>
            </a:xfrm>
            <a:custGeom>
              <a:avLst/>
              <a:gdLst>
                <a:gd name="T0" fmla="*/ 56 w 111"/>
                <a:gd name="T1" fmla="*/ 2 h 73"/>
                <a:gd name="T2" fmla="*/ 62 w 111"/>
                <a:gd name="T3" fmla="*/ 2 h 73"/>
                <a:gd name="T4" fmla="*/ 68 w 111"/>
                <a:gd name="T5" fmla="*/ 5 h 73"/>
                <a:gd name="T6" fmla="*/ 75 w 111"/>
                <a:gd name="T7" fmla="*/ 4 h 73"/>
                <a:gd name="T8" fmla="*/ 83 w 111"/>
                <a:gd name="T9" fmla="*/ 8 h 73"/>
                <a:gd name="T10" fmla="*/ 84 w 111"/>
                <a:gd name="T11" fmla="*/ 14 h 73"/>
                <a:gd name="T12" fmla="*/ 84 w 111"/>
                <a:gd name="T13" fmla="*/ 17 h 73"/>
                <a:gd name="T14" fmla="*/ 86 w 111"/>
                <a:gd name="T15" fmla="*/ 21 h 73"/>
                <a:gd name="T16" fmla="*/ 90 w 111"/>
                <a:gd name="T17" fmla="*/ 26 h 73"/>
                <a:gd name="T18" fmla="*/ 97 w 111"/>
                <a:gd name="T19" fmla="*/ 30 h 73"/>
                <a:gd name="T20" fmla="*/ 101 w 111"/>
                <a:gd name="T21" fmla="*/ 35 h 73"/>
                <a:gd name="T22" fmla="*/ 106 w 111"/>
                <a:gd name="T23" fmla="*/ 37 h 73"/>
                <a:gd name="T24" fmla="*/ 111 w 111"/>
                <a:gd name="T25" fmla="*/ 42 h 73"/>
                <a:gd name="T26" fmla="*/ 106 w 111"/>
                <a:gd name="T27" fmla="*/ 44 h 73"/>
                <a:gd name="T28" fmla="*/ 100 w 111"/>
                <a:gd name="T29" fmla="*/ 44 h 73"/>
                <a:gd name="T30" fmla="*/ 94 w 111"/>
                <a:gd name="T31" fmla="*/ 45 h 73"/>
                <a:gd name="T32" fmla="*/ 98 w 111"/>
                <a:gd name="T33" fmla="*/ 50 h 73"/>
                <a:gd name="T34" fmla="*/ 99 w 111"/>
                <a:gd name="T35" fmla="*/ 54 h 73"/>
                <a:gd name="T36" fmla="*/ 101 w 111"/>
                <a:gd name="T37" fmla="*/ 58 h 73"/>
                <a:gd name="T38" fmla="*/ 97 w 111"/>
                <a:gd name="T39" fmla="*/ 60 h 73"/>
                <a:gd name="T40" fmla="*/ 93 w 111"/>
                <a:gd name="T41" fmla="*/ 63 h 73"/>
                <a:gd name="T42" fmla="*/ 90 w 111"/>
                <a:gd name="T43" fmla="*/ 66 h 73"/>
                <a:gd name="T44" fmla="*/ 90 w 111"/>
                <a:gd name="T45" fmla="*/ 70 h 73"/>
                <a:gd name="T46" fmla="*/ 90 w 111"/>
                <a:gd name="T47" fmla="*/ 73 h 73"/>
                <a:gd name="T48" fmla="*/ 84 w 111"/>
                <a:gd name="T49" fmla="*/ 70 h 73"/>
                <a:gd name="T50" fmla="*/ 79 w 111"/>
                <a:gd name="T51" fmla="*/ 70 h 73"/>
                <a:gd name="T52" fmla="*/ 75 w 111"/>
                <a:gd name="T53" fmla="*/ 70 h 73"/>
                <a:gd name="T54" fmla="*/ 69 w 111"/>
                <a:gd name="T55" fmla="*/ 68 h 73"/>
                <a:gd name="T56" fmla="*/ 64 w 111"/>
                <a:gd name="T57" fmla="*/ 68 h 73"/>
                <a:gd name="T58" fmla="*/ 61 w 111"/>
                <a:gd name="T59" fmla="*/ 68 h 73"/>
                <a:gd name="T60" fmla="*/ 56 w 111"/>
                <a:gd name="T61" fmla="*/ 70 h 73"/>
                <a:gd name="T62" fmla="*/ 51 w 111"/>
                <a:gd name="T63" fmla="*/ 68 h 73"/>
                <a:gd name="T64" fmla="*/ 46 w 111"/>
                <a:gd name="T65" fmla="*/ 66 h 73"/>
                <a:gd name="T66" fmla="*/ 32 w 111"/>
                <a:gd name="T67" fmla="*/ 63 h 73"/>
                <a:gd name="T68" fmla="*/ 19 w 111"/>
                <a:gd name="T69" fmla="*/ 64 h 73"/>
                <a:gd name="T70" fmla="*/ 8 w 111"/>
                <a:gd name="T71" fmla="*/ 67 h 73"/>
                <a:gd name="T72" fmla="*/ 6 w 111"/>
                <a:gd name="T73" fmla="*/ 68 h 73"/>
                <a:gd name="T74" fmla="*/ 6 w 111"/>
                <a:gd name="T75" fmla="*/ 61 h 73"/>
                <a:gd name="T76" fmla="*/ 0 w 111"/>
                <a:gd name="T77" fmla="*/ 57 h 73"/>
                <a:gd name="T78" fmla="*/ 8 w 111"/>
                <a:gd name="T79" fmla="*/ 51 h 73"/>
                <a:gd name="T80" fmla="*/ 7 w 111"/>
                <a:gd name="T81" fmla="*/ 45 h 73"/>
                <a:gd name="T82" fmla="*/ 1 w 111"/>
                <a:gd name="T83" fmla="*/ 36 h 73"/>
                <a:gd name="T84" fmla="*/ 4 w 111"/>
                <a:gd name="T85" fmla="*/ 33 h 73"/>
                <a:gd name="T86" fmla="*/ 10 w 111"/>
                <a:gd name="T87" fmla="*/ 33 h 73"/>
                <a:gd name="T88" fmla="*/ 15 w 111"/>
                <a:gd name="T89" fmla="*/ 30 h 73"/>
                <a:gd name="T90" fmla="*/ 22 w 111"/>
                <a:gd name="T91" fmla="*/ 28 h 73"/>
                <a:gd name="T92" fmla="*/ 26 w 111"/>
                <a:gd name="T93" fmla="*/ 28 h 73"/>
                <a:gd name="T94" fmla="*/ 23 w 111"/>
                <a:gd name="T95" fmla="*/ 24 h 73"/>
                <a:gd name="T96" fmla="*/ 26 w 111"/>
                <a:gd name="T97" fmla="*/ 18 h 73"/>
                <a:gd name="T98" fmla="*/ 30 w 111"/>
                <a:gd name="T99" fmla="*/ 15 h 73"/>
                <a:gd name="T100" fmla="*/ 32 w 111"/>
                <a:gd name="T101" fmla="*/ 12 h 73"/>
                <a:gd name="T102" fmla="*/ 32 w 111"/>
                <a:gd name="T103" fmla="*/ 7 h 73"/>
                <a:gd name="T104" fmla="*/ 39 w 111"/>
                <a:gd name="T105" fmla="*/ 4 h 73"/>
                <a:gd name="T106" fmla="*/ 43 w 111"/>
                <a:gd name="T107"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1" h="73">
                  <a:moveTo>
                    <a:pt x="49" y="0"/>
                  </a:moveTo>
                  <a:lnTo>
                    <a:pt x="50" y="1"/>
                  </a:lnTo>
                  <a:lnTo>
                    <a:pt x="51" y="1"/>
                  </a:lnTo>
                  <a:lnTo>
                    <a:pt x="54" y="1"/>
                  </a:lnTo>
                  <a:lnTo>
                    <a:pt x="55" y="1"/>
                  </a:lnTo>
                  <a:lnTo>
                    <a:pt x="55" y="2"/>
                  </a:lnTo>
                  <a:lnTo>
                    <a:pt x="56" y="2"/>
                  </a:lnTo>
                  <a:lnTo>
                    <a:pt x="56" y="3"/>
                  </a:lnTo>
                  <a:lnTo>
                    <a:pt x="57" y="3"/>
                  </a:lnTo>
                  <a:lnTo>
                    <a:pt x="57" y="2"/>
                  </a:lnTo>
                  <a:lnTo>
                    <a:pt x="58" y="2"/>
                  </a:lnTo>
                  <a:lnTo>
                    <a:pt x="60" y="2"/>
                  </a:lnTo>
                  <a:lnTo>
                    <a:pt x="61" y="2"/>
                  </a:lnTo>
                  <a:lnTo>
                    <a:pt x="62" y="2"/>
                  </a:lnTo>
                  <a:lnTo>
                    <a:pt x="63" y="3"/>
                  </a:lnTo>
                  <a:lnTo>
                    <a:pt x="64" y="3"/>
                  </a:lnTo>
                  <a:lnTo>
                    <a:pt x="64" y="4"/>
                  </a:lnTo>
                  <a:lnTo>
                    <a:pt x="64" y="5"/>
                  </a:lnTo>
                  <a:lnTo>
                    <a:pt x="65" y="7"/>
                  </a:lnTo>
                  <a:lnTo>
                    <a:pt x="67" y="5"/>
                  </a:lnTo>
                  <a:lnTo>
                    <a:pt x="68" y="5"/>
                  </a:lnTo>
                  <a:lnTo>
                    <a:pt x="69" y="5"/>
                  </a:lnTo>
                  <a:lnTo>
                    <a:pt x="69" y="4"/>
                  </a:lnTo>
                  <a:lnTo>
                    <a:pt x="70" y="4"/>
                  </a:lnTo>
                  <a:lnTo>
                    <a:pt x="71" y="4"/>
                  </a:lnTo>
                  <a:lnTo>
                    <a:pt x="72" y="4"/>
                  </a:lnTo>
                  <a:lnTo>
                    <a:pt x="74" y="4"/>
                  </a:lnTo>
                  <a:lnTo>
                    <a:pt x="75" y="4"/>
                  </a:lnTo>
                  <a:lnTo>
                    <a:pt x="77" y="5"/>
                  </a:lnTo>
                  <a:lnTo>
                    <a:pt x="78" y="5"/>
                  </a:lnTo>
                  <a:lnTo>
                    <a:pt x="78" y="7"/>
                  </a:lnTo>
                  <a:lnTo>
                    <a:pt x="79" y="7"/>
                  </a:lnTo>
                  <a:lnTo>
                    <a:pt x="80" y="8"/>
                  </a:lnTo>
                  <a:lnTo>
                    <a:pt x="82" y="8"/>
                  </a:lnTo>
                  <a:lnTo>
                    <a:pt x="83" y="8"/>
                  </a:lnTo>
                  <a:lnTo>
                    <a:pt x="83" y="9"/>
                  </a:lnTo>
                  <a:lnTo>
                    <a:pt x="83" y="10"/>
                  </a:lnTo>
                  <a:lnTo>
                    <a:pt x="83" y="11"/>
                  </a:lnTo>
                  <a:lnTo>
                    <a:pt x="82" y="12"/>
                  </a:lnTo>
                  <a:lnTo>
                    <a:pt x="83" y="12"/>
                  </a:lnTo>
                  <a:lnTo>
                    <a:pt x="83" y="14"/>
                  </a:lnTo>
                  <a:lnTo>
                    <a:pt x="84" y="14"/>
                  </a:lnTo>
                  <a:lnTo>
                    <a:pt x="84" y="15"/>
                  </a:lnTo>
                  <a:lnTo>
                    <a:pt x="85" y="15"/>
                  </a:lnTo>
                  <a:lnTo>
                    <a:pt x="84" y="15"/>
                  </a:lnTo>
                  <a:lnTo>
                    <a:pt x="85" y="15"/>
                  </a:lnTo>
                  <a:lnTo>
                    <a:pt x="85" y="16"/>
                  </a:lnTo>
                  <a:lnTo>
                    <a:pt x="84" y="16"/>
                  </a:lnTo>
                  <a:lnTo>
                    <a:pt x="84" y="17"/>
                  </a:lnTo>
                  <a:lnTo>
                    <a:pt x="83" y="18"/>
                  </a:lnTo>
                  <a:lnTo>
                    <a:pt x="84" y="18"/>
                  </a:lnTo>
                  <a:lnTo>
                    <a:pt x="83" y="18"/>
                  </a:lnTo>
                  <a:lnTo>
                    <a:pt x="83" y="19"/>
                  </a:lnTo>
                  <a:lnTo>
                    <a:pt x="83" y="21"/>
                  </a:lnTo>
                  <a:lnTo>
                    <a:pt x="84" y="21"/>
                  </a:lnTo>
                  <a:lnTo>
                    <a:pt x="86" y="21"/>
                  </a:lnTo>
                  <a:lnTo>
                    <a:pt x="86" y="22"/>
                  </a:lnTo>
                  <a:lnTo>
                    <a:pt x="87" y="22"/>
                  </a:lnTo>
                  <a:lnTo>
                    <a:pt x="89" y="23"/>
                  </a:lnTo>
                  <a:lnTo>
                    <a:pt x="87" y="24"/>
                  </a:lnTo>
                  <a:lnTo>
                    <a:pt x="89" y="25"/>
                  </a:lnTo>
                  <a:lnTo>
                    <a:pt x="90" y="25"/>
                  </a:lnTo>
                  <a:lnTo>
                    <a:pt x="90" y="26"/>
                  </a:lnTo>
                  <a:lnTo>
                    <a:pt x="91" y="26"/>
                  </a:lnTo>
                  <a:lnTo>
                    <a:pt x="91" y="28"/>
                  </a:lnTo>
                  <a:lnTo>
                    <a:pt x="91" y="29"/>
                  </a:lnTo>
                  <a:lnTo>
                    <a:pt x="93" y="30"/>
                  </a:lnTo>
                  <a:lnTo>
                    <a:pt x="94" y="30"/>
                  </a:lnTo>
                  <a:lnTo>
                    <a:pt x="96" y="30"/>
                  </a:lnTo>
                  <a:lnTo>
                    <a:pt x="97" y="30"/>
                  </a:lnTo>
                  <a:lnTo>
                    <a:pt x="97" y="31"/>
                  </a:lnTo>
                  <a:lnTo>
                    <a:pt x="98" y="31"/>
                  </a:lnTo>
                  <a:lnTo>
                    <a:pt x="98" y="32"/>
                  </a:lnTo>
                  <a:lnTo>
                    <a:pt x="98" y="33"/>
                  </a:lnTo>
                  <a:lnTo>
                    <a:pt x="98" y="35"/>
                  </a:lnTo>
                  <a:lnTo>
                    <a:pt x="99" y="35"/>
                  </a:lnTo>
                  <a:lnTo>
                    <a:pt x="101" y="35"/>
                  </a:lnTo>
                  <a:lnTo>
                    <a:pt x="103" y="35"/>
                  </a:lnTo>
                  <a:lnTo>
                    <a:pt x="104" y="36"/>
                  </a:lnTo>
                  <a:lnTo>
                    <a:pt x="105" y="36"/>
                  </a:lnTo>
                  <a:lnTo>
                    <a:pt x="106" y="36"/>
                  </a:lnTo>
                  <a:lnTo>
                    <a:pt x="106" y="37"/>
                  </a:lnTo>
                  <a:lnTo>
                    <a:pt x="107" y="37"/>
                  </a:lnTo>
                  <a:lnTo>
                    <a:pt x="106" y="37"/>
                  </a:lnTo>
                  <a:lnTo>
                    <a:pt x="106" y="38"/>
                  </a:lnTo>
                  <a:lnTo>
                    <a:pt x="107" y="39"/>
                  </a:lnTo>
                  <a:lnTo>
                    <a:pt x="108" y="39"/>
                  </a:lnTo>
                  <a:lnTo>
                    <a:pt x="110" y="39"/>
                  </a:lnTo>
                  <a:lnTo>
                    <a:pt x="110" y="40"/>
                  </a:lnTo>
                  <a:lnTo>
                    <a:pt x="110" y="42"/>
                  </a:lnTo>
                  <a:lnTo>
                    <a:pt x="111" y="42"/>
                  </a:lnTo>
                  <a:lnTo>
                    <a:pt x="110" y="42"/>
                  </a:lnTo>
                  <a:lnTo>
                    <a:pt x="108" y="42"/>
                  </a:lnTo>
                  <a:lnTo>
                    <a:pt x="110" y="43"/>
                  </a:lnTo>
                  <a:lnTo>
                    <a:pt x="108" y="43"/>
                  </a:lnTo>
                  <a:lnTo>
                    <a:pt x="107" y="43"/>
                  </a:lnTo>
                  <a:lnTo>
                    <a:pt x="107" y="44"/>
                  </a:lnTo>
                  <a:lnTo>
                    <a:pt x="106" y="44"/>
                  </a:lnTo>
                  <a:lnTo>
                    <a:pt x="106" y="45"/>
                  </a:lnTo>
                  <a:lnTo>
                    <a:pt x="105" y="45"/>
                  </a:lnTo>
                  <a:lnTo>
                    <a:pt x="104" y="45"/>
                  </a:lnTo>
                  <a:lnTo>
                    <a:pt x="103" y="45"/>
                  </a:lnTo>
                  <a:lnTo>
                    <a:pt x="101" y="45"/>
                  </a:lnTo>
                  <a:lnTo>
                    <a:pt x="100" y="45"/>
                  </a:lnTo>
                  <a:lnTo>
                    <a:pt x="100" y="44"/>
                  </a:lnTo>
                  <a:lnTo>
                    <a:pt x="99" y="44"/>
                  </a:lnTo>
                  <a:lnTo>
                    <a:pt x="98" y="44"/>
                  </a:lnTo>
                  <a:lnTo>
                    <a:pt x="97" y="44"/>
                  </a:lnTo>
                  <a:lnTo>
                    <a:pt x="96" y="44"/>
                  </a:lnTo>
                  <a:lnTo>
                    <a:pt x="94" y="45"/>
                  </a:lnTo>
                  <a:lnTo>
                    <a:pt x="96" y="45"/>
                  </a:lnTo>
                  <a:lnTo>
                    <a:pt x="94" y="45"/>
                  </a:lnTo>
                  <a:lnTo>
                    <a:pt x="94" y="46"/>
                  </a:lnTo>
                  <a:lnTo>
                    <a:pt x="94" y="47"/>
                  </a:lnTo>
                  <a:lnTo>
                    <a:pt x="96" y="47"/>
                  </a:lnTo>
                  <a:lnTo>
                    <a:pt x="96" y="49"/>
                  </a:lnTo>
                  <a:lnTo>
                    <a:pt x="97" y="49"/>
                  </a:lnTo>
                  <a:lnTo>
                    <a:pt x="98" y="49"/>
                  </a:lnTo>
                  <a:lnTo>
                    <a:pt x="98" y="50"/>
                  </a:lnTo>
                  <a:lnTo>
                    <a:pt x="98" y="51"/>
                  </a:lnTo>
                  <a:lnTo>
                    <a:pt x="99" y="51"/>
                  </a:lnTo>
                  <a:lnTo>
                    <a:pt x="98" y="51"/>
                  </a:lnTo>
                  <a:lnTo>
                    <a:pt x="98" y="52"/>
                  </a:lnTo>
                  <a:lnTo>
                    <a:pt x="99" y="53"/>
                  </a:lnTo>
                  <a:lnTo>
                    <a:pt x="100" y="53"/>
                  </a:lnTo>
                  <a:lnTo>
                    <a:pt x="99" y="54"/>
                  </a:lnTo>
                  <a:lnTo>
                    <a:pt x="99" y="53"/>
                  </a:lnTo>
                  <a:lnTo>
                    <a:pt x="99" y="54"/>
                  </a:lnTo>
                  <a:lnTo>
                    <a:pt x="99" y="56"/>
                  </a:lnTo>
                  <a:lnTo>
                    <a:pt x="100" y="56"/>
                  </a:lnTo>
                  <a:lnTo>
                    <a:pt x="100" y="57"/>
                  </a:lnTo>
                  <a:lnTo>
                    <a:pt x="100" y="58"/>
                  </a:lnTo>
                  <a:lnTo>
                    <a:pt x="101" y="58"/>
                  </a:lnTo>
                  <a:lnTo>
                    <a:pt x="101" y="59"/>
                  </a:lnTo>
                  <a:lnTo>
                    <a:pt x="103" y="59"/>
                  </a:lnTo>
                  <a:lnTo>
                    <a:pt x="103" y="60"/>
                  </a:lnTo>
                  <a:lnTo>
                    <a:pt x="101" y="60"/>
                  </a:lnTo>
                  <a:lnTo>
                    <a:pt x="99" y="60"/>
                  </a:lnTo>
                  <a:lnTo>
                    <a:pt x="98" y="60"/>
                  </a:lnTo>
                  <a:lnTo>
                    <a:pt x="97" y="60"/>
                  </a:lnTo>
                  <a:lnTo>
                    <a:pt x="97" y="61"/>
                  </a:lnTo>
                  <a:lnTo>
                    <a:pt x="96" y="61"/>
                  </a:lnTo>
                  <a:lnTo>
                    <a:pt x="96" y="60"/>
                  </a:lnTo>
                  <a:lnTo>
                    <a:pt x="94" y="60"/>
                  </a:lnTo>
                  <a:lnTo>
                    <a:pt x="93" y="60"/>
                  </a:lnTo>
                  <a:lnTo>
                    <a:pt x="93" y="61"/>
                  </a:lnTo>
                  <a:lnTo>
                    <a:pt x="93" y="63"/>
                  </a:lnTo>
                  <a:lnTo>
                    <a:pt x="93" y="61"/>
                  </a:lnTo>
                  <a:lnTo>
                    <a:pt x="92" y="63"/>
                  </a:lnTo>
                  <a:lnTo>
                    <a:pt x="92" y="64"/>
                  </a:lnTo>
                  <a:lnTo>
                    <a:pt x="91" y="64"/>
                  </a:lnTo>
                  <a:lnTo>
                    <a:pt x="91" y="65"/>
                  </a:lnTo>
                  <a:lnTo>
                    <a:pt x="90" y="65"/>
                  </a:lnTo>
                  <a:lnTo>
                    <a:pt x="90" y="66"/>
                  </a:lnTo>
                  <a:lnTo>
                    <a:pt x="91" y="66"/>
                  </a:lnTo>
                  <a:lnTo>
                    <a:pt x="90" y="66"/>
                  </a:lnTo>
                  <a:lnTo>
                    <a:pt x="90" y="67"/>
                  </a:lnTo>
                  <a:lnTo>
                    <a:pt x="90" y="68"/>
                  </a:lnTo>
                  <a:lnTo>
                    <a:pt x="90" y="70"/>
                  </a:lnTo>
                  <a:lnTo>
                    <a:pt x="91" y="70"/>
                  </a:lnTo>
                  <a:lnTo>
                    <a:pt x="90" y="70"/>
                  </a:lnTo>
                  <a:lnTo>
                    <a:pt x="91" y="70"/>
                  </a:lnTo>
                  <a:lnTo>
                    <a:pt x="91" y="71"/>
                  </a:lnTo>
                  <a:lnTo>
                    <a:pt x="91" y="70"/>
                  </a:lnTo>
                  <a:lnTo>
                    <a:pt x="91" y="71"/>
                  </a:lnTo>
                  <a:lnTo>
                    <a:pt x="91" y="72"/>
                  </a:lnTo>
                  <a:lnTo>
                    <a:pt x="91" y="73"/>
                  </a:lnTo>
                  <a:lnTo>
                    <a:pt x="90" y="73"/>
                  </a:lnTo>
                  <a:lnTo>
                    <a:pt x="89" y="73"/>
                  </a:lnTo>
                  <a:lnTo>
                    <a:pt x="87" y="72"/>
                  </a:lnTo>
                  <a:lnTo>
                    <a:pt x="87" y="71"/>
                  </a:lnTo>
                  <a:lnTo>
                    <a:pt x="86" y="71"/>
                  </a:lnTo>
                  <a:lnTo>
                    <a:pt x="86" y="70"/>
                  </a:lnTo>
                  <a:lnTo>
                    <a:pt x="85" y="70"/>
                  </a:lnTo>
                  <a:lnTo>
                    <a:pt x="84" y="70"/>
                  </a:lnTo>
                  <a:lnTo>
                    <a:pt x="83" y="70"/>
                  </a:lnTo>
                  <a:lnTo>
                    <a:pt x="83" y="71"/>
                  </a:lnTo>
                  <a:lnTo>
                    <a:pt x="82" y="70"/>
                  </a:lnTo>
                  <a:lnTo>
                    <a:pt x="82" y="71"/>
                  </a:lnTo>
                  <a:lnTo>
                    <a:pt x="80" y="71"/>
                  </a:lnTo>
                  <a:lnTo>
                    <a:pt x="80" y="70"/>
                  </a:lnTo>
                  <a:lnTo>
                    <a:pt x="79" y="70"/>
                  </a:lnTo>
                  <a:lnTo>
                    <a:pt x="78" y="70"/>
                  </a:lnTo>
                  <a:lnTo>
                    <a:pt x="78" y="71"/>
                  </a:lnTo>
                  <a:lnTo>
                    <a:pt x="77" y="71"/>
                  </a:lnTo>
                  <a:lnTo>
                    <a:pt x="76" y="71"/>
                  </a:lnTo>
                  <a:lnTo>
                    <a:pt x="76" y="72"/>
                  </a:lnTo>
                  <a:lnTo>
                    <a:pt x="75" y="71"/>
                  </a:lnTo>
                  <a:lnTo>
                    <a:pt x="75" y="70"/>
                  </a:lnTo>
                  <a:lnTo>
                    <a:pt x="74" y="70"/>
                  </a:lnTo>
                  <a:lnTo>
                    <a:pt x="74" y="68"/>
                  </a:lnTo>
                  <a:lnTo>
                    <a:pt x="72" y="67"/>
                  </a:lnTo>
                  <a:lnTo>
                    <a:pt x="71" y="67"/>
                  </a:lnTo>
                  <a:lnTo>
                    <a:pt x="71" y="68"/>
                  </a:lnTo>
                  <a:lnTo>
                    <a:pt x="70" y="68"/>
                  </a:lnTo>
                  <a:lnTo>
                    <a:pt x="69" y="68"/>
                  </a:lnTo>
                  <a:lnTo>
                    <a:pt x="69" y="70"/>
                  </a:lnTo>
                  <a:lnTo>
                    <a:pt x="69" y="71"/>
                  </a:lnTo>
                  <a:lnTo>
                    <a:pt x="68" y="71"/>
                  </a:lnTo>
                  <a:lnTo>
                    <a:pt x="67" y="70"/>
                  </a:lnTo>
                  <a:lnTo>
                    <a:pt x="67" y="68"/>
                  </a:lnTo>
                  <a:lnTo>
                    <a:pt x="65" y="68"/>
                  </a:lnTo>
                  <a:lnTo>
                    <a:pt x="64" y="68"/>
                  </a:lnTo>
                  <a:lnTo>
                    <a:pt x="64" y="70"/>
                  </a:lnTo>
                  <a:lnTo>
                    <a:pt x="63" y="70"/>
                  </a:lnTo>
                  <a:lnTo>
                    <a:pt x="63" y="68"/>
                  </a:lnTo>
                  <a:lnTo>
                    <a:pt x="62" y="68"/>
                  </a:lnTo>
                  <a:lnTo>
                    <a:pt x="62" y="67"/>
                  </a:lnTo>
                  <a:lnTo>
                    <a:pt x="61" y="67"/>
                  </a:lnTo>
                  <a:lnTo>
                    <a:pt x="61" y="68"/>
                  </a:lnTo>
                  <a:lnTo>
                    <a:pt x="60" y="68"/>
                  </a:lnTo>
                  <a:lnTo>
                    <a:pt x="58" y="68"/>
                  </a:lnTo>
                  <a:lnTo>
                    <a:pt x="57" y="68"/>
                  </a:lnTo>
                  <a:lnTo>
                    <a:pt x="57" y="67"/>
                  </a:lnTo>
                  <a:lnTo>
                    <a:pt x="57" y="68"/>
                  </a:lnTo>
                  <a:lnTo>
                    <a:pt x="57" y="70"/>
                  </a:lnTo>
                  <a:lnTo>
                    <a:pt x="56" y="70"/>
                  </a:lnTo>
                  <a:lnTo>
                    <a:pt x="55" y="70"/>
                  </a:lnTo>
                  <a:lnTo>
                    <a:pt x="56" y="68"/>
                  </a:lnTo>
                  <a:lnTo>
                    <a:pt x="55" y="68"/>
                  </a:lnTo>
                  <a:lnTo>
                    <a:pt x="54" y="67"/>
                  </a:lnTo>
                  <a:lnTo>
                    <a:pt x="53" y="67"/>
                  </a:lnTo>
                  <a:lnTo>
                    <a:pt x="53" y="68"/>
                  </a:lnTo>
                  <a:lnTo>
                    <a:pt x="51" y="68"/>
                  </a:lnTo>
                  <a:lnTo>
                    <a:pt x="50" y="68"/>
                  </a:lnTo>
                  <a:lnTo>
                    <a:pt x="50" y="67"/>
                  </a:lnTo>
                  <a:lnTo>
                    <a:pt x="49" y="67"/>
                  </a:lnTo>
                  <a:lnTo>
                    <a:pt x="49" y="66"/>
                  </a:lnTo>
                  <a:lnTo>
                    <a:pt x="48" y="66"/>
                  </a:lnTo>
                  <a:lnTo>
                    <a:pt x="47" y="66"/>
                  </a:lnTo>
                  <a:lnTo>
                    <a:pt x="46" y="66"/>
                  </a:lnTo>
                  <a:lnTo>
                    <a:pt x="43" y="65"/>
                  </a:lnTo>
                  <a:lnTo>
                    <a:pt x="40" y="65"/>
                  </a:lnTo>
                  <a:lnTo>
                    <a:pt x="40" y="64"/>
                  </a:lnTo>
                  <a:lnTo>
                    <a:pt x="36" y="64"/>
                  </a:lnTo>
                  <a:lnTo>
                    <a:pt x="35" y="64"/>
                  </a:lnTo>
                  <a:lnTo>
                    <a:pt x="34" y="64"/>
                  </a:lnTo>
                  <a:lnTo>
                    <a:pt x="32" y="63"/>
                  </a:lnTo>
                  <a:lnTo>
                    <a:pt x="30" y="64"/>
                  </a:lnTo>
                  <a:lnTo>
                    <a:pt x="29" y="64"/>
                  </a:lnTo>
                  <a:lnTo>
                    <a:pt x="27" y="63"/>
                  </a:lnTo>
                  <a:lnTo>
                    <a:pt x="25" y="63"/>
                  </a:lnTo>
                  <a:lnTo>
                    <a:pt x="23" y="63"/>
                  </a:lnTo>
                  <a:lnTo>
                    <a:pt x="22" y="64"/>
                  </a:lnTo>
                  <a:lnTo>
                    <a:pt x="19" y="64"/>
                  </a:lnTo>
                  <a:lnTo>
                    <a:pt x="15" y="64"/>
                  </a:lnTo>
                  <a:lnTo>
                    <a:pt x="14" y="65"/>
                  </a:lnTo>
                  <a:lnTo>
                    <a:pt x="14" y="66"/>
                  </a:lnTo>
                  <a:lnTo>
                    <a:pt x="13" y="67"/>
                  </a:lnTo>
                  <a:lnTo>
                    <a:pt x="11" y="68"/>
                  </a:lnTo>
                  <a:lnTo>
                    <a:pt x="10" y="67"/>
                  </a:lnTo>
                  <a:lnTo>
                    <a:pt x="8" y="67"/>
                  </a:lnTo>
                  <a:lnTo>
                    <a:pt x="7" y="67"/>
                  </a:lnTo>
                  <a:lnTo>
                    <a:pt x="6" y="67"/>
                  </a:lnTo>
                  <a:lnTo>
                    <a:pt x="6" y="68"/>
                  </a:lnTo>
                  <a:lnTo>
                    <a:pt x="7" y="68"/>
                  </a:lnTo>
                  <a:lnTo>
                    <a:pt x="7" y="70"/>
                  </a:lnTo>
                  <a:lnTo>
                    <a:pt x="6" y="70"/>
                  </a:lnTo>
                  <a:lnTo>
                    <a:pt x="6" y="68"/>
                  </a:lnTo>
                  <a:lnTo>
                    <a:pt x="6" y="67"/>
                  </a:lnTo>
                  <a:lnTo>
                    <a:pt x="6" y="66"/>
                  </a:lnTo>
                  <a:lnTo>
                    <a:pt x="6" y="65"/>
                  </a:lnTo>
                  <a:lnTo>
                    <a:pt x="6" y="64"/>
                  </a:lnTo>
                  <a:lnTo>
                    <a:pt x="6" y="63"/>
                  </a:lnTo>
                  <a:lnTo>
                    <a:pt x="7" y="63"/>
                  </a:lnTo>
                  <a:lnTo>
                    <a:pt x="6" y="61"/>
                  </a:lnTo>
                  <a:lnTo>
                    <a:pt x="6" y="60"/>
                  </a:lnTo>
                  <a:lnTo>
                    <a:pt x="5" y="60"/>
                  </a:lnTo>
                  <a:lnTo>
                    <a:pt x="4" y="59"/>
                  </a:lnTo>
                  <a:lnTo>
                    <a:pt x="3" y="59"/>
                  </a:lnTo>
                  <a:lnTo>
                    <a:pt x="1" y="59"/>
                  </a:lnTo>
                  <a:lnTo>
                    <a:pt x="0" y="58"/>
                  </a:lnTo>
                  <a:lnTo>
                    <a:pt x="0" y="57"/>
                  </a:lnTo>
                  <a:lnTo>
                    <a:pt x="1" y="56"/>
                  </a:lnTo>
                  <a:lnTo>
                    <a:pt x="3" y="54"/>
                  </a:lnTo>
                  <a:lnTo>
                    <a:pt x="3" y="53"/>
                  </a:lnTo>
                  <a:lnTo>
                    <a:pt x="4" y="53"/>
                  </a:lnTo>
                  <a:lnTo>
                    <a:pt x="6" y="52"/>
                  </a:lnTo>
                  <a:lnTo>
                    <a:pt x="7" y="52"/>
                  </a:lnTo>
                  <a:lnTo>
                    <a:pt x="8" y="51"/>
                  </a:lnTo>
                  <a:lnTo>
                    <a:pt x="8" y="50"/>
                  </a:lnTo>
                  <a:lnTo>
                    <a:pt x="7" y="49"/>
                  </a:lnTo>
                  <a:lnTo>
                    <a:pt x="7" y="47"/>
                  </a:lnTo>
                  <a:lnTo>
                    <a:pt x="7" y="46"/>
                  </a:lnTo>
                  <a:lnTo>
                    <a:pt x="6" y="46"/>
                  </a:lnTo>
                  <a:lnTo>
                    <a:pt x="6" y="45"/>
                  </a:lnTo>
                  <a:lnTo>
                    <a:pt x="7" y="45"/>
                  </a:lnTo>
                  <a:lnTo>
                    <a:pt x="6" y="44"/>
                  </a:lnTo>
                  <a:lnTo>
                    <a:pt x="5" y="43"/>
                  </a:lnTo>
                  <a:lnTo>
                    <a:pt x="5" y="42"/>
                  </a:lnTo>
                  <a:lnTo>
                    <a:pt x="4" y="40"/>
                  </a:lnTo>
                  <a:lnTo>
                    <a:pt x="3" y="38"/>
                  </a:lnTo>
                  <a:lnTo>
                    <a:pt x="1" y="37"/>
                  </a:lnTo>
                  <a:lnTo>
                    <a:pt x="1" y="36"/>
                  </a:lnTo>
                  <a:lnTo>
                    <a:pt x="1" y="35"/>
                  </a:lnTo>
                  <a:lnTo>
                    <a:pt x="0" y="35"/>
                  </a:lnTo>
                  <a:lnTo>
                    <a:pt x="0" y="33"/>
                  </a:lnTo>
                  <a:lnTo>
                    <a:pt x="0" y="32"/>
                  </a:lnTo>
                  <a:lnTo>
                    <a:pt x="1" y="33"/>
                  </a:lnTo>
                  <a:lnTo>
                    <a:pt x="3" y="33"/>
                  </a:lnTo>
                  <a:lnTo>
                    <a:pt x="4" y="33"/>
                  </a:lnTo>
                  <a:lnTo>
                    <a:pt x="4" y="32"/>
                  </a:lnTo>
                  <a:lnTo>
                    <a:pt x="4" y="33"/>
                  </a:lnTo>
                  <a:lnTo>
                    <a:pt x="5" y="32"/>
                  </a:lnTo>
                  <a:lnTo>
                    <a:pt x="6" y="32"/>
                  </a:lnTo>
                  <a:lnTo>
                    <a:pt x="7" y="32"/>
                  </a:lnTo>
                  <a:lnTo>
                    <a:pt x="8" y="32"/>
                  </a:lnTo>
                  <a:lnTo>
                    <a:pt x="10" y="33"/>
                  </a:lnTo>
                  <a:lnTo>
                    <a:pt x="11" y="33"/>
                  </a:lnTo>
                  <a:lnTo>
                    <a:pt x="12" y="32"/>
                  </a:lnTo>
                  <a:lnTo>
                    <a:pt x="13" y="32"/>
                  </a:lnTo>
                  <a:lnTo>
                    <a:pt x="14" y="32"/>
                  </a:lnTo>
                  <a:lnTo>
                    <a:pt x="15" y="32"/>
                  </a:lnTo>
                  <a:lnTo>
                    <a:pt x="15" y="31"/>
                  </a:lnTo>
                  <a:lnTo>
                    <a:pt x="15" y="30"/>
                  </a:lnTo>
                  <a:lnTo>
                    <a:pt x="16" y="30"/>
                  </a:lnTo>
                  <a:lnTo>
                    <a:pt x="18" y="30"/>
                  </a:lnTo>
                  <a:lnTo>
                    <a:pt x="19" y="30"/>
                  </a:lnTo>
                  <a:lnTo>
                    <a:pt x="19" y="29"/>
                  </a:lnTo>
                  <a:lnTo>
                    <a:pt x="20" y="28"/>
                  </a:lnTo>
                  <a:lnTo>
                    <a:pt x="21" y="28"/>
                  </a:lnTo>
                  <a:lnTo>
                    <a:pt x="22" y="28"/>
                  </a:lnTo>
                  <a:lnTo>
                    <a:pt x="23" y="29"/>
                  </a:lnTo>
                  <a:lnTo>
                    <a:pt x="23" y="30"/>
                  </a:lnTo>
                  <a:lnTo>
                    <a:pt x="25" y="30"/>
                  </a:lnTo>
                  <a:lnTo>
                    <a:pt x="26" y="30"/>
                  </a:lnTo>
                  <a:lnTo>
                    <a:pt x="26" y="29"/>
                  </a:lnTo>
                  <a:lnTo>
                    <a:pt x="27" y="29"/>
                  </a:lnTo>
                  <a:lnTo>
                    <a:pt x="26" y="28"/>
                  </a:lnTo>
                  <a:lnTo>
                    <a:pt x="25" y="28"/>
                  </a:lnTo>
                  <a:lnTo>
                    <a:pt x="25" y="26"/>
                  </a:lnTo>
                  <a:lnTo>
                    <a:pt x="25" y="28"/>
                  </a:lnTo>
                  <a:lnTo>
                    <a:pt x="23" y="28"/>
                  </a:lnTo>
                  <a:lnTo>
                    <a:pt x="23" y="26"/>
                  </a:lnTo>
                  <a:lnTo>
                    <a:pt x="23" y="25"/>
                  </a:lnTo>
                  <a:lnTo>
                    <a:pt x="23" y="24"/>
                  </a:lnTo>
                  <a:lnTo>
                    <a:pt x="25" y="24"/>
                  </a:lnTo>
                  <a:lnTo>
                    <a:pt x="25" y="23"/>
                  </a:lnTo>
                  <a:lnTo>
                    <a:pt x="25" y="22"/>
                  </a:lnTo>
                  <a:lnTo>
                    <a:pt x="25" y="21"/>
                  </a:lnTo>
                  <a:lnTo>
                    <a:pt x="25" y="19"/>
                  </a:lnTo>
                  <a:lnTo>
                    <a:pt x="25" y="18"/>
                  </a:lnTo>
                  <a:lnTo>
                    <a:pt x="26" y="18"/>
                  </a:lnTo>
                  <a:lnTo>
                    <a:pt x="26" y="17"/>
                  </a:lnTo>
                  <a:lnTo>
                    <a:pt x="27" y="17"/>
                  </a:lnTo>
                  <a:lnTo>
                    <a:pt x="28" y="17"/>
                  </a:lnTo>
                  <a:lnTo>
                    <a:pt x="29" y="17"/>
                  </a:lnTo>
                  <a:lnTo>
                    <a:pt x="29" y="16"/>
                  </a:lnTo>
                  <a:lnTo>
                    <a:pt x="29" y="15"/>
                  </a:lnTo>
                  <a:lnTo>
                    <a:pt x="30" y="15"/>
                  </a:lnTo>
                  <a:lnTo>
                    <a:pt x="32" y="15"/>
                  </a:lnTo>
                  <a:lnTo>
                    <a:pt x="34" y="15"/>
                  </a:lnTo>
                  <a:lnTo>
                    <a:pt x="34" y="14"/>
                  </a:lnTo>
                  <a:lnTo>
                    <a:pt x="35" y="14"/>
                  </a:lnTo>
                  <a:lnTo>
                    <a:pt x="35" y="12"/>
                  </a:lnTo>
                  <a:lnTo>
                    <a:pt x="33" y="12"/>
                  </a:lnTo>
                  <a:lnTo>
                    <a:pt x="32" y="12"/>
                  </a:lnTo>
                  <a:lnTo>
                    <a:pt x="32" y="11"/>
                  </a:lnTo>
                  <a:lnTo>
                    <a:pt x="32" y="10"/>
                  </a:lnTo>
                  <a:lnTo>
                    <a:pt x="32" y="9"/>
                  </a:lnTo>
                  <a:lnTo>
                    <a:pt x="33" y="9"/>
                  </a:lnTo>
                  <a:lnTo>
                    <a:pt x="33" y="8"/>
                  </a:lnTo>
                  <a:lnTo>
                    <a:pt x="33" y="7"/>
                  </a:lnTo>
                  <a:lnTo>
                    <a:pt x="32" y="7"/>
                  </a:lnTo>
                  <a:lnTo>
                    <a:pt x="33" y="7"/>
                  </a:lnTo>
                  <a:lnTo>
                    <a:pt x="34" y="7"/>
                  </a:lnTo>
                  <a:lnTo>
                    <a:pt x="35" y="7"/>
                  </a:lnTo>
                  <a:lnTo>
                    <a:pt x="35" y="5"/>
                  </a:lnTo>
                  <a:lnTo>
                    <a:pt x="36" y="4"/>
                  </a:lnTo>
                  <a:lnTo>
                    <a:pt x="37" y="4"/>
                  </a:lnTo>
                  <a:lnTo>
                    <a:pt x="39" y="4"/>
                  </a:lnTo>
                  <a:lnTo>
                    <a:pt x="40" y="5"/>
                  </a:lnTo>
                  <a:lnTo>
                    <a:pt x="40" y="4"/>
                  </a:lnTo>
                  <a:lnTo>
                    <a:pt x="41" y="4"/>
                  </a:lnTo>
                  <a:lnTo>
                    <a:pt x="42" y="4"/>
                  </a:lnTo>
                  <a:lnTo>
                    <a:pt x="43" y="5"/>
                  </a:lnTo>
                  <a:lnTo>
                    <a:pt x="43" y="4"/>
                  </a:lnTo>
                  <a:lnTo>
                    <a:pt x="43" y="3"/>
                  </a:lnTo>
                  <a:lnTo>
                    <a:pt x="44" y="2"/>
                  </a:lnTo>
                  <a:lnTo>
                    <a:pt x="46" y="1"/>
                  </a:lnTo>
                  <a:lnTo>
                    <a:pt x="47" y="1"/>
                  </a:lnTo>
                  <a:lnTo>
                    <a:pt x="47" y="0"/>
                  </a:lnTo>
                  <a:lnTo>
                    <a:pt x="48" y="0"/>
                  </a:lnTo>
                  <a:lnTo>
                    <a:pt x="49"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91" name="Freeform 844">
              <a:extLst>
                <a:ext uri="{FF2B5EF4-FFF2-40B4-BE49-F238E27FC236}">
                  <a16:creationId xmlns:a16="http://schemas.microsoft.com/office/drawing/2014/main" id="{58D43DF7-C3A1-413E-BF94-E498E22C00CB}"/>
                </a:ext>
              </a:extLst>
            </p:cNvPr>
            <p:cNvSpPr>
              <a:spLocks noEditPoints="1"/>
            </p:cNvSpPr>
            <p:nvPr/>
          </p:nvSpPr>
          <p:spPr bwMode="auto">
            <a:xfrm>
              <a:off x="4162442" y="2955895"/>
              <a:ext cx="32052" cy="56090"/>
            </a:xfrm>
            <a:custGeom>
              <a:avLst/>
              <a:gdLst>
                <a:gd name="T0" fmla="*/ 22 w 24"/>
                <a:gd name="T1" fmla="*/ 20 h 42"/>
                <a:gd name="T2" fmla="*/ 22 w 24"/>
                <a:gd name="T3" fmla="*/ 19 h 42"/>
                <a:gd name="T4" fmla="*/ 19 w 24"/>
                <a:gd name="T5" fmla="*/ 17 h 42"/>
                <a:gd name="T6" fmla="*/ 19 w 24"/>
                <a:gd name="T7" fmla="*/ 17 h 42"/>
                <a:gd name="T8" fmla="*/ 24 w 24"/>
                <a:gd name="T9" fmla="*/ 17 h 42"/>
                <a:gd name="T10" fmla="*/ 21 w 24"/>
                <a:gd name="T11" fmla="*/ 19 h 42"/>
                <a:gd name="T12" fmla="*/ 21 w 24"/>
                <a:gd name="T13" fmla="*/ 20 h 42"/>
                <a:gd name="T14" fmla="*/ 22 w 24"/>
                <a:gd name="T15" fmla="*/ 18 h 42"/>
                <a:gd name="T16" fmla="*/ 24 w 24"/>
                <a:gd name="T17" fmla="*/ 17 h 42"/>
                <a:gd name="T18" fmla="*/ 24 w 24"/>
                <a:gd name="T19" fmla="*/ 16 h 42"/>
                <a:gd name="T20" fmla="*/ 20 w 24"/>
                <a:gd name="T21" fmla="*/ 16 h 42"/>
                <a:gd name="T22" fmla="*/ 20 w 24"/>
                <a:gd name="T23" fmla="*/ 13 h 42"/>
                <a:gd name="T24" fmla="*/ 22 w 24"/>
                <a:gd name="T25" fmla="*/ 7 h 42"/>
                <a:gd name="T26" fmla="*/ 22 w 24"/>
                <a:gd name="T27" fmla="*/ 7 h 42"/>
                <a:gd name="T28" fmla="*/ 22 w 24"/>
                <a:gd name="T29" fmla="*/ 7 h 42"/>
                <a:gd name="T30" fmla="*/ 24 w 24"/>
                <a:gd name="T31" fmla="*/ 7 h 42"/>
                <a:gd name="T32" fmla="*/ 22 w 24"/>
                <a:gd name="T33" fmla="*/ 9 h 42"/>
                <a:gd name="T34" fmla="*/ 22 w 24"/>
                <a:gd name="T35" fmla="*/ 10 h 42"/>
                <a:gd name="T36" fmla="*/ 22 w 24"/>
                <a:gd name="T37" fmla="*/ 9 h 42"/>
                <a:gd name="T38" fmla="*/ 24 w 24"/>
                <a:gd name="T39" fmla="*/ 6 h 42"/>
                <a:gd name="T40" fmla="*/ 24 w 24"/>
                <a:gd name="T41" fmla="*/ 6 h 42"/>
                <a:gd name="T42" fmla="*/ 24 w 24"/>
                <a:gd name="T43" fmla="*/ 5 h 42"/>
                <a:gd name="T44" fmla="*/ 18 w 24"/>
                <a:gd name="T45" fmla="*/ 2 h 42"/>
                <a:gd name="T46" fmla="*/ 17 w 24"/>
                <a:gd name="T47" fmla="*/ 3 h 42"/>
                <a:gd name="T48" fmla="*/ 18 w 24"/>
                <a:gd name="T49" fmla="*/ 4 h 42"/>
                <a:gd name="T50" fmla="*/ 19 w 24"/>
                <a:gd name="T51" fmla="*/ 3 h 42"/>
                <a:gd name="T52" fmla="*/ 21 w 24"/>
                <a:gd name="T53" fmla="*/ 3 h 42"/>
                <a:gd name="T54" fmla="*/ 20 w 24"/>
                <a:gd name="T55" fmla="*/ 4 h 42"/>
                <a:gd name="T56" fmla="*/ 20 w 24"/>
                <a:gd name="T57" fmla="*/ 7 h 42"/>
                <a:gd name="T58" fmla="*/ 18 w 24"/>
                <a:gd name="T59" fmla="*/ 14 h 42"/>
                <a:gd name="T60" fmla="*/ 18 w 24"/>
                <a:gd name="T61" fmla="*/ 17 h 42"/>
                <a:gd name="T62" fmla="*/ 17 w 24"/>
                <a:gd name="T63" fmla="*/ 18 h 42"/>
                <a:gd name="T64" fmla="*/ 15 w 24"/>
                <a:gd name="T65" fmla="*/ 23 h 42"/>
                <a:gd name="T66" fmla="*/ 17 w 24"/>
                <a:gd name="T67" fmla="*/ 25 h 42"/>
                <a:gd name="T68" fmla="*/ 15 w 24"/>
                <a:gd name="T69" fmla="*/ 26 h 42"/>
                <a:gd name="T70" fmla="*/ 15 w 24"/>
                <a:gd name="T71" fmla="*/ 27 h 42"/>
                <a:gd name="T72" fmla="*/ 15 w 24"/>
                <a:gd name="T73" fmla="*/ 28 h 42"/>
                <a:gd name="T74" fmla="*/ 14 w 24"/>
                <a:gd name="T75" fmla="*/ 31 h 42"/>
                <a:gd name="T76" fmla="*/ 14 w 24"/>
                <a:gd name="T77" fmla="*/ 32 h 42"/>
                <a:gd name="T78" fmla="*/ 13 w 24"/>
                <a:gd name="T79" fmla="*/ 32 h 42"/>
                <a:gd name="T80" fmla="*/ 13 w 24"/>
                <a:gd name="T81" fmla="*/ 32 h 42"/>
                <a:gd name="T82" fmla="*/ 13 w 24"/>
                <a:gd name="T83" fmla="*/ 33 h 42"/>
                <a:gd name="T84" fmla="*/ 12 w 24"/>
                <a:gd name="T85" fmla="*/ 34 h 42"/>
                <a:gd name="T86" fmla="*/ 12 w 24"/>
                <a:gd name="T87" fmla="*/ 35 h 42"/>
                <a:gd name="T88" fmla="*/ 11 w 24"/>
                <a:gd name="T89" fmla="*/ 37 h 42"/>
                <a:gd name="T90" fmla="*/ 11 w 24"/>
                <a:gd name="T91" fmla="*/ 35 h 42"/>
                <a:gd name="T92" fmla="*/ 10 w 24"/>
                <a:gd name="T93" fmla="*/ 35 h 42"/>
                <a:gd name="T94" fmla="*/ 8 w 24"/>
                <a:gd name="T95" fmla="*/ 37 h 42"/>
                <a:gd name="T96" fmla="*/ 7 w 24"/>
                <a:gd name="T97" fmla="*/ 38 h 42"/>
                <a:gd name="T98" fmla="*/ 6 w 24"/>
                <a:gd name="T99" fmla="*/ 39 h 42"/>
                <a:gd name="T100" fmla="*/ 5 w 24"/>
                <a:gd name="T101" fmla="*/ 40 h 42"/>
                <a:gd name="T102" fmla="*/ 3 w 24"/>
                <a:gd name="T103" fmla="*/ 42 h 42"/>
                <a:gd name="T104" fmla="*/ 0 w 24"/>
                <a:gd name="T105" fmla="*/ 42 h 42"/>
                <a:gd name="T106" fmla="*/ 5 w 24"/>
                <a:gd name="T107" fmla="*/ 19 h 42"/>
                <a:gd name="T108" fmla="*/ 7 w 24"/>
                <a:gd name="T109" fmla="*/ 9 h 42"/>
                <a:gd name="T110" fmla="*/ 10 w 24"/>
                <a:gd name="T111" fmla="*/ 11 h 42"/>
                <a:gd name="T112" fmla="*/ 11 w 24"/>
                <a:gd name="T113" fmla="*/ 9 h 42"/>
                <a:gd name="T114" fmla="*/ 12 w 24"/>
                <a:gd name="T115" fmla="*/ 6 h 42"/>
                <a:gd name="T116" fmla="*/ 13 w 24"/>
                <a:gd name="T117" fmla="*/ 5 h 42"/>
                <a:gd name="T118" fmla="*/ 14 w 24"/>
                <a:gd name="T119" fmla="*/ 3 h 42"/>
                <a:gd name="T120" fmla="*/ 17 w 24"/>
                <a:gd name="T121" fmla="*/ 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42">
                  <a:moveTo>
                    <a:pt x="22" y="19"/>
                  </a:moveTo>
                  <a:lnTo>
                    <a:pt x="22" y="20"/>
                  </a:lnTo>
                  <a:lnTo>
                    <a:pt x="22" y="20"/>
                  </a:lnTo>
                  <a:lnTo>
                    <a:pt x="22" y="20"/>
                  </a:lnTo>
                  <a:lnTo>
                    <a:pt x="22" y="20"/>
                  </a:lnTo>
                  <a:lnTo>
                    <a:pt x="22" y="20"/>
                  </a:lnTo>
                  <a:lnTo>
                    <a:pt x="22" y="20"/>
                  </a:lnTo>
                  <a:lnTo>
                    <a:pt x="22" y="20"/>
                  </a:lnTo>
                  <a:lnTo>
                    <a:pt x="22" y="20"/>
                  </a:lnTo>
                  <a:lnTo>
                    <a:pt x="22" y="19"/>
                  </a:lnTo>
                  <a:lnTo>
                    <a:pt x="22" y="19"/>
                  </a:lnTo>
                  <a:lnTo>
                    <a:pt x="22" y="18"/>
                  </a:lnTo>
                  <a:lnTo>
                    <a:pt x="22" y="18"/>
                  </a:lnTo>
                  <a:lnTo>
                    <a:pt x="22" y="19"/>
                  </a:lnTo>
                  <a:lnTo>
                    <a:pt x="24" y="19"/>
                  </a:lnTo>
                  <a:lnTo>
                    <a:pt x="22" y="19"/>
                  </a:lnTo>
                  <a:lnTo>
                    <a:pt x="22" y="19"/>
                  </a:lnTo>
                  <a:close/>
                  <a:moveTo>
                    <a:pt x="20" y="17"/>
                  </a:moveTo>
                  <a:lnTo>
                    <a:pt x="20" y="17"/>
                  </a:lnTo>
                  <a:lnTo>
                    <a:pt x="20" y="17"/>
                  </a:lnTo>
                  <a:lnTo>
                    <a:pt x="20" y="17"/>
                  </a:lnTo>
                  <a:lnTo>
                    <a:pt x="20" y="17"/>
                  </a:lnTo>
                  <a:lnTo>
                    <a:pt x="19" y="17"/>
                  </a:lnTo>
                  <a:lnTo>
                    <a:pt x="19" y="17"/>
                  </a:lnTo>
                  <a:lnTo>
                    <a:pt x="19" y="17"/>
                  </a:lnTo>
                  <a:lnTo>
                    <a:pt x="19" y="17"/>
                  </a:lnTo>
                  <a:lnTo>
                    <a:pt x="19" y="17"/>
                  </a:lnTo>
                  <a:lnTo>
                    <a:pt x="19" y="17"/>
                  </a:lnTo>
                  <a:lnTo>
                    <a:pt x="19" y="17"/>
                  </a:lnTo>
                  <a:lnTo>
                    <a:pt x="19" y="17"/>
                  </a:lnTo>
                  <a:lnTo>
                    <a:pt x="19" y="17"/>
                  </a:lnTo>
                  <a:lnTo>
                    <a:pt x="19" y="17"/>
                  </a:lnTo>
                  <a:lnTo>
                    <a:pt x="19" y="17"/>
                  </a:lnTo>
                  <a:lnTo>
                    <a:pt x="19" y="17"/>
                  </a:lnTo>
                  <a:lnTo>
                    <a:pt x="19" y="17"/>
                  </a:lnTo>
                  <a:lnTo>
                    <a:pt x="20" y="17"/>
                  </a:lnTo>
                  <a:close/>
                  <a:moveTo>
                    <a:pt x="24" y="16"/>
                  </a:moveTo>
                  <a:lnTo>
                    <a:pt x="24" y="17"/>
                  </a:lnTo>
                  <a:lnTo>
                    <a:pt x="24" y="17"/>
                  </a:lnTo>
                  <a:lnTo>
                    <a:pt x="24" y="17"/>
                  </a:lnTo>
                  <a:lnTo>
                    <a:pt x="22" y="18"/>
                  </a:lnTo>
                  <a:lnTo>
                    <a:pt x="22" y="18"/>
                  </a:lnTo>
                  <a:lnTo>
                    <a:pt x="22" y="18"/>
                  </a:lnTo>
                  <a:lnTo>
                    <a:pt x="22" y="18"/>
                  </a:lnTo>
                  <a:lnTo>
                    <a:pt x="22" y="18"/>
                  </a:lnTo>
                  <a:lnTo>
                    <a:pt x="22" y="18"/>
                  </a:lnTo>
                  <a:lnTo>
                    <a:pt x="21" y="18"/>
                  </a:lnTo>
                  <a:lnTo>
                    <a:pt x="21" y="19"/>
                  </a:lnTo>
                  <a:lnTo>
                    <a:pt x="21" y="19"/>
                  </a:lnTo>
                  <a:lnTo>
                    <a:pt x="21" y="19"/>
                  </a:lnTo>
                  <a:lnTo>
                    <a:pt x="21" y="20"/>
                  </a:lnTo>
                  <a:lnTo>
                    <a:pt x="21" y="20"/>
                  </a:lnTo>
                  <a:lnTo>
                    <a:pt x="21" y="20"/>
                  </a:lnTo>
                  <a:lnTo>
                    <a:pt x="21" y="20"/>
                  </a:lnTo>
                  <a:lnTo>
                    <a:pt x="21" y="20"/>
                  </a:lnTo>
                  <a:lnTo>
                    <a:pt x="21" y="20"/>
                  </a:lnTo>
                  <a:lnTo>
                    <a:pt x="21" y="20"/>
                  </a:lnTo>
                  <a:lnTo>
                    <a:pt x="21" y="20"/>
                  </a:lnTo>
                  <a:lnTo>
                    <a:pt x="21" y="19"/>
                  </a:lnTo>
                  <a:lnTo>
                    <a:pt x="21" y="19"/>
                  </a:lnTo>
                  <a:lnTo>
                    <a:pt x="21" y="18"/>
                  </a:lnTo>
                  <a:lnTo>
                    <a:pt x="21" y="18"/>
                  </a:lnTo>
                  <a:lnTo>
                    <a:pt x="22" y="18"/>
                  </a:lnTo>
                  <a:lnTo>
                    <a:pt x="22" y="18"/>
                  </a:lnTo>
                  <a:lnTo>
                    <a:pt x="22" y="17"/>
                  </a:lnTo>
                  <a:lnTo>
                    <a:pt x="22" y="17"/>
                  </a:lnTo>
                  <a:lnTo>
                    <a:pt x="22" y="17"/>
                  </a:lnTo>
                  <a:lnTo>
                    <a:pt x="22" y="17"/>
                  </a:lnTo>
                  <a:lnTo>
                    <a:pt x="24" y="17"/>
                  </a:lnTo>
                  <a:lnTo>
                    <a:pt x="24" y="17"/>
                  </a:lnTo>
                  <a:lnTo>
                    <a:pt x="24" y="17"/>
                  </a:lnTo>
                  <a:lnTo>
                    <a:pt x="24" y="17"/>
                  </a:lnTo>
                  <a:lnTo>
                    <a:pt x="24" y="17"/>
                  </a:lnTo>
                  <a:lnTo>
                    <a:pt x="22" y="17"/>
                  </a:lnTo>
                  <a:lnTo>
                    <a:pt x="22" y="17"/>
                  </a:lnTo>
                  <a:lnTo>
                    <a:pt x="22" y="17"/>
                  </a:lnTo>
                  <a:lnTo>
                    <a:pt x="24" y="16"/>
                  </a:lnTo>
                  <a:lnTo>
                    <a:pt x="24" y="16"/>
                  </a:lnTo>
                  <a:lnTo>
                    <a:pt x="24" y="16"/>
                  </a:lnTo>
                  <a:lnTo>
                    <a:pt x="24" y="16"/>
                  </a:lnTo>
                  <a:close/>
                  <a:moveTo>
                    <a:pt x="20" y="16"/>
                  </a:moveTo>
                  <a:lnTo>
                    <a:pt x="20" y="16"/>
                  </a:lnTo>
                  <a:lnTo>
                    <a:pt x="20" y="16"/>
                  </a:lnTo>
                  <a:lnTo>
                    <a:pt x="20" y="16"/>
                  </a:lnTo>
                  <a:lnTo>
                    <a:pt x="20" y="14"/>
                  </a:lnTo>
                  <a:lnTo>
                    <a:pt x="20" y="14"/>
                  </a:lnTo>
                  <a:lnTo>
                    <a:pt x="20" y="14"/>
                  </a:lnTo>
                  <a:lnTo>
                    <a:pt x="20" y="16"/>
                  </a:lnTo>
                  <a:close/>
                  <a:moveTo>
                    <a:pt x="19" y="14"/>
                  </a:moveTo>
                  <a:lnTo>
                    <a:pt x="19" y="14"/>
                  </a:lnTo>
                  <a:lnTo>
                    <a:pt x="19" y="14"/>
                  </a:lnTo>
                  <a:lnTo>
                    <a:pt x="19" y="14"/>
                  </a:lnTo>
                  <a:lnTo>
                    <a:pt x="19" y="13"/>
                  </a:lnTo>
                  <a:lnTo>
                    <a:pt x="19" y="13"/>
                  </a:lnTo>
                  <a:lnTo>
                    <a:pt x="20" y="13"/>
                  </a:lnTo>
                  <a:lnTo>
                    <a:pt x="20" y="13"/>
                  </a:lnTo>
                  <a:lnTo>
                    <a:pt x="20" y="13"/>
                  </a:lnTo>
                  <a:lnTo>
                    <a:pt x="20" y="13"/>
                  </a:lnTo>
                  <a:lnTo>
                    <a:pt x="19" y="14"/>
                  </a:lnTo>
                  <a:close/>
                  <a:moveTo>
                    <a:pt x="22" y="7"/>
                  </a:moveTo>
                  <a:lnTo>
                    <a:pt x="22" y="7"/>
                  </a:lnTo>
                  <a:lnTo>
                    <a:pt x="22" y="7"/>
                  </a:lnTo>
                  <a:lnTo>
                    <a:pt x="22" y="7"/>
                  </a:lnTo>
                  <a:lnTo>
                    <a:pt x="22" y="7"/>
                  </a:lnTo>
                  <a:lnTo>
                    <a:pt x="22" y="7"/>
                  </a:lnTo>
                  <a:lnTo>
                    <a:pt x="22" y="7"/>
                  </a:lnTo>
                  <a:lnTo>
                    <a:pt x="22" y="7"/>
                  </a:lnTo>
                  <a:lnTo>
                    <a:pt x="22" y="7"/>
                  </a:lnTo>
                  <a:lnTo>
                    <a:pt x="22" y="7"/>
                  </a:lnTo>
                  <a:close/>
                  <a:moveTo>
                    <a:pt x="22" y="7"/>
                  </a:moveTo>
                  <a:lnTo>
                    <a:pt x="22" y="7"/>
                  </a:lnTo>
                  <a:lnTo>
                    <a:pt x="22" y="7"/>
                  </a:lnTo>
                  <a:lnTo>
                    <a:pt x="22" y="7"/>
                  </a:lnTo>
                  <a:lnTo>
                    <a:pt x="22" y="7"/>
                  </a:lnTo>
                  <a:lnTo>
                    <a:pt x="22" y="7"/>
                  </a:lnTo>
                  <a:lnTo>
                    <a:pt x="22" y="7"/>
                  </a:lnTo>
                  <a:lnTo>
                    <a:pt x="22" y="7"/>
                  </a:lnTo>
                  <a:lnTo>
                    <a:pt x="22" y="7"/>
                  </a:lnTo>
                  <a:lnTo>
                    <a:pt x="22" y="7"/>
                  </a:lnTo>
                  <a:lnTo>
                    <a:pt x="22" y="7"/>
                  </a:lnTo>
                  <a:lnTo>
                    <a:pt x="22" y="7"/>
                  </a:lnTo>
                  <a:lnTo>
                    <a:pt x="22" y="7"/>
                  </a:lnTo>
                  <a:lnTo>
                    <a:pt x="22" y="7"/>
                  </a:lnTo>
                  <a:close/>
                  <a:moveTo>
                    <a:pt x="24" y="6"/>
                  </a:moveTo>
                  <a:lnTo>
                    <a:pt x="24" y="6"/>
                  </a:lnTo>
                  <a:lnTo>
                    <a:pt x="24" y="6"/>
                  </a:lnTo>
                  <a:lnTo>
                    <a:pt x="24" y="7"/>
                  </a:lnTo>
                  <a:lnTo>
                    <a:pt x="24" y="7"/>
                  </a:lnTo>
                  <a:lnTo>
                    <a:pt x="24" y="9"/>
                  </a:lnTo>
                  <a:lnTo>
                    <a:pt x="22" y="9"/>
                  </a:lnTo>
                  <a:lnTo>
                    <a:pt x="22" y="9"/>
                  </a:lnTo>
                  <a:lnTo>
                    <a:pt x="22" y="9"/>
                  </a:lnTo>
                  <a:lnTo>
                    <a:pt x="22" y="9"/>
                  </a:lnTo>
                  <a:lnTo>
                    <a:pt x="22" y="9"/>
                  </a:lnTo>
                  <a:lnTo>
                    <a:pt x="22" y="9"/>
                  </a:lnTo>
                  <a:lnTo>
                    <a:pt x="22" y="9"/>
                  </a:lnTo>
                  <a:lnTo>
                    <a:pt x="22" y="9"/>
                  </a:lnTo>
                  <a:lnTo>
                    <a:pt x="22" y="9"/>
                  </a:lnTo>
                  <a:lnTo>
                    <a:pt x="22" y="9"/>
                  </a:lnTo>
                  <a:lnTo>
                    <a:pt x="22" y="9"/>
                  </a:lnTo>
                  <a:lnTo>
                    <a:pt x="22" y="9"/>
                  </a:lnTo>
                  <a:lnTo>
                    <a:pt x="22" y="9"/>
                  </a:lnTo>
                  <a:lnTo>
                    <a:pt x="22" y="10"/>
                  </a:lnTo>
                  <a:lnTo>
                    <a:pt x="22" y="10"/>
                  </a:lnTo>
                  <a:lnTo>
                    <a:pt x="21" y="10"/>
                  </a:lnTo>
                  <a:lnTo>
                    <a:pt x="21" y="10"/>
                  </a:lnTo>
                  <a:lnTo>
                    <a:pt x="21" y="10"/>
                  </a:lnTo>
                  <a:lnTo>
                    <a:pt x="21" y="10"/>
                  </a:lnTo>
                  <a:lnTo>
                    <a:pt x="22" y="10"/>
                  </a:lnTo>
                  <a:lnTo>
                    <a:pt x="22" y="10"/>
                  </a:lnTo>
                  <a:lnTo>
                    <a:pt x="22" y="9"/>
                  </a:lnTo>
                  <a:lnTo>
                    <a:pt x="22" y="9"/>
                  </a:lnTo>
                  <a:lnTo>
                    <a:pt x="22" y="9"/>
                  </a:lnTo>
                  <a:lnTo>
                    <a:pt x="22" y="7"/>
                  </a:lnTo>
                  <a:lnTo>
                    <a:pt x="22" y="7"/>
                  </a:lnTo>
                  <a:lnTo>
                    <a:pt x="22" y="7"/>
                  </a:lnTo>
                  <a:lnTo>
                    <a:pt x="22" y="7"/>
                  </a:lnTo>
                  <a:lnTo>
                    <a:pt x="22" y="7"/>
                  </a:lnTo>
                  <a:lnTo>
                    <a:pt x="22" y="7"/>
                  </a:lnTo>
                  <a:lnTo>
                    <a:pt x="24" y="6"/>
                  </a:lnTo>
                  <a:lnTo>
                    <a:pt x="24" y="6"/>
                  </a:lnTo>
                  <a:lnTo>
                    <a:pt x="24" y="6"/>
                  </a:lnTo>
                  <a:lnTo>
                    <a:pt x="24" y="6"/>
                  </a:lnTo>
                  <a:lnTo>
                    <a:pt x="24" y="6"/>
                  </a:lnTo>
                  <a:close/>
                  <a:moveTo>
                    <a:pt x="24" y="5"/>
                  </a:moveTo>
                  <a:lnTo>
                    <a:pt x="24" y="5"/>
                  </a:lnTo>
                  <a:lnTo>
                    <a:pt x="24" y="6"/>
                  </a:lnTo>
                  <a:lnTo>
                    <a:pt x="24" y="6"/>
                  </a:lnTo>
                  <a:lnTo>
                    <a:pt x="24" y="6"/>
                  </a:lnTo>
                  <a:lnTo>
                    <a:pt x="24" y="5"/>
                  </a:lnTo>
                  <a:lnTo>
                    <a:pt x="24" y="5"/>
                  </a:lnTo>
                  <a:lnTo>
                    <a:pt x="24" y="5"/>
                  </a:lnTo>
                  <a:lnTo>
                    <a:pt x="24" y="5"/>
                  </a:lnTo>
                  <a:lnTo>
                    <a:pt x="24" y="5"/>
                  </a:lnTo>
                  <a:lnTo>
                    <a:pt x="24" y="5"/>
                  </a:lnTo>
                  <a:lnTo>
                    <a:pt x="24" y="5"/>
                  </a:lnTo>
                  <a:lnTo>
                    <a:pt x="24" y="5"/>
                  </a:lnTo>
                  <a:lnTo>
                    <a:pt x="24" y="5"/>
                  </a:lnTo>
                  <a:lnTo>
                    <a:pt x="24" y="5"/>
                  </a:lnTo>
                  <a:close/>
                  <a:moveTo>
                    <a:pt x="17" y="2"/>
                  </a:moveTo>
                  <a:lnTo>
                    <a:pt x="17" y="2"/>
                  </a:lnTo>
                  <a:lnTo>
                    <a:pt x="18" y="2"/>
                  </a:lnTo>
                  <a:lnTo>
                    <a:pt x="18" y="2"/>
                  </a:lnTo>
                  <a:lnTo>
                    <a:pt x="18" y="2"/>
                  </a:lnTo>
                  <a:lnTo>
                    <a:pt x="18" y="2"/>
                  </a:lnTo>
                  <a:lnTo>
                    <a:pt x="19" y="2"/>
                  </a:lnTo>
                  <a:lnTo>
                    <a:pt x="19" y="2"/>
                  </a:lnTo>
                  <a:lnTo>
                    <a:pt x="19" y="2"/>
                  </a:lnTo>
                  <a:lnTo>
                    <a:pt x="19" y="2"/>
                  </a:lnTo>
                  <a:lnTo>
                    <a:pt x="18" y="2"/>
                  </a:lnTo>
                  <a:lnTo>
                    <a:pt x="17" y="3"/>
                  </a:lnTo>
                  <a:lnTo>
                    <a:pt x="17" y="3"/>
                  </a:lnTo>
                  <a:lnTo>
                    <a:pt x="17" y="3"/>
                  </a:lnTo>
                  <a:lnTo>
                    <a:pt x="18" y="3"/>
                  </a:lnTo>
                  <a:lnTo>
                    <a:pt x="18" y="3"/>
                  </a:lnTo>
                  <a:lnTo>
                    <a:pt x="18" y="3"/>
                  </a:lnTo>
                  <a:lnTo>
                    <a:pt x="18" y="3"/>
                  </a:lnTo>
                  <a:lnTo>
                    <a:pt x="18" y="4"/>
                  </a:lnTo>
                  <a:lnTo>
                    <a:pt x="18" y="4"/>
                  </a:lnTo>
                  <a:lnTo>
                    <a:pt x="18" y="4"/>
                  </a:lnTo>
                  <a:lnTo>
                    <a:pt x="18" y="4"/>
                  </a:lnTo>
                  <a:lnTo>
                    <a:pt x="18" y="4"/>
                  </a:lnTo>
                  <a:lnTo>
                    <a:pt x="18" y="4"/>
                  </a:lnTo>
                  <a:lnTo>
                    <a:pt x="18" y="3"/>
                  </a:lnTo>
                  <a:lnTo>
                    <a:pt x="19" y="3"/>
                  </a:lnTo>
                  <a:lnTo>
                    <a:pt x="19" y="3"/>
                  </a:lnTo>
                  <a:lnTo>
                    <a:pt x="19" y="3"/>
                  </a:lnTo>
                  <a:lnTo>
                    <a:pt x="19" y="3"/>
                  </a:lnTo>
                  <a:lnTo>
                    <a:pt x="20" y="4"/>
                  </a:lnTo>
                  <a:lnTo>
                    <a:pt x="20" y="3"/>
                  </a:lnTo>
                  <a:lnTo>
                    <a:pt x="20" y="3"/>
                  </a:lnTo>
                  <a:lnTo>
                    <a:pt x="21" y="3"/>
                  </a:lnTo>
                  <a:lnTo>
                    <a:pt x="21" y="3"/>
                  </a:lnTo>
                  <a:lnTo>
                    <a:pt x="21" y="3"/>
                  </a:lnTo>
                  <a:lnTo>
                    <a:pt x="21" y="3"/>
                  </a:lnTo>
                  <a:lnTo>
                    <a:pt x="21" y="3"/>
                  </a:lnTo>
                  <a:lnTo>
                    <a:pt x="20" y="4"/>
                  </a:lnTo>
                  <a:lnTo>
                    <a:pt x="20" y="4"/>
                  </a:lnTo>
                  <a:lnTo>
                    <a:pt x="20" y="4"/>
                  </a:lnTo>
                  <a:lnTo>
                    <a:pt x="20" y="4"/>
                  </a:lnTo>
                  <a:lnTo>
                    <a:pt x="20" y="4"/>
                  </a:lnTo>
                  <a:lnTo>
                    <a:pt x="20" y="4"/>
                  </a:lnTo>
                  <a:lnTo>
                    <a:pt x="20" y="4"/>
                  </a:lnTo>
                  <a:lnTo>
                    <a:pt x="20" y="4"/>
                  </a:lnTo>
                  <a:lnTo>
                    <a:pt x="21" y="4"/>
                  </a:lnTo>
                  <a:lnTo>
                    <a:pt x="21" y="4"/>
                  </a:lnTo>
                  <a:lnTo>
                    <a:pt x="21" y="4"/>
                  </a:lnTo>
                  <a:lnTo>
                    <a:pt x="21" y="5"/>
                  </a:lnTo>
                  <a:lnTo>
                    <a:pt x="20" y="7"/>
                  </a:lnTo>
                  <a:lnTo>
                    <a:pt x="20" y="7"/>
                  </a:lnTo>
                  <a:lnTo>
                    <a:pt x="20" y="7"/>
                  </a:lnTo>
                  <a:lnTo>
                    <a:pt x="20" y="7"/>
                  </a:lnTo>
                  <a:lnTo>
                    <a:pt x="19" y="10"/>
                  </a:lnTo>
                  <a:lnTo>
                    <a:pt x="19" y="10"/>
                  </a:lnTo>
                  <a:lnTo>
                    <a:pt x="19" y="10"/>
                  </a:lnTo>
                  <a:lnTo>
                    <a:pt x="19" y="11"/>
                  </a:lnTo>
                  <a:lnTo>
                    <a:pt x="19" y="11"/>
                  </a:lnTo>
                  <a:lnTo>
                    <a:pt x="18" y="12"/>
                  </a:lnTo>
                  <a:lnTo>
                    <a:pt x="18" y="13"/>
                  </a:lnTo>
                  <a:lnTo>
                    <a:pt x="18" y="14"/>
                  </a:lnTo>
                  <a:lnTo>
                    <a:pt x="17" y="14"/>
                  </a:lnTo>
                  <a:lnTo>
                    <a:pt x="17" y="14"/>
                  </a:lnTo>
                  <a:lnTo>
                    <a:pt x="17" y="16"/>
                  </a:lnTo>
                  <a:lnTo>
                    <a:pt x="17" y="16"/>
                  </a:lnTo>
                  <a:lnTo>
                    <a:pt x="17" y="16"/>
                  </a:lnTo>
                  <a:lnTo>
                    <a:pt x="18" y="16"/>
                  </a:lnTo>
                  <a:lnTo>
                    <a:pt x="18" y="16"/>
                  </a:lnTo>
                  <a:lnTo>
                    <a:pt x="18" y="17"/>
                  </a:lnTo>
                  <a:lnTo>
                    <a:pt x="18" y="17"/>
                  </a:lnTo>
                  <a:lnTo>
                    <a:pt x="18" y="17"/>
                  </a:lnTo>
                  <a:lnTo>
                    <a:pt x="18" y="17"/>
                  </a:lnTo>
                  <a:lnTo>
                    <a:pt x="18" y="17"/>
                  </a:lnTo>
                  <a:lnTo>
                    <a:pt x="18" y="17"/>
                  </a:lnTo>
                  <a:lnTo>
                    <a:pt x="18" y="17"/>
                  </a:lnTo>
                  <a:lnTo>
                    <a:pt x="17" y="17"/>
                  </a:lnTo>
                  <a:lnTo>
                    <a:pt x="17" y="18"/>
                  </a:lnTo>
                  <a:lnTo>
                    <a:pt x="17" y="19"/>
                  </a:lnTo>
                  <a:lnTo>
                    <a:pt x="17" y="20"/>
                  </a:lnTo>
                  <a:lnTo>
                    <a:pt x="15" y="21"/>
                  </a:lnTo>
                  <a:lnTo>
                    <a:pt x="15" y="21"/>
                  </a:lnTo>
                  <a:lnTo>
                    <a:pt x="15" y="23"/>
                  </a:lnTo>
                  <a:lnTo>
                    <a:pt x="15" y="23"/>
                  </a:lnTo>
                  <a:lnTo>
                    <a:pt x="15" y="23"/>
                  </a:lnTo>
                  <a:lnTo>
                    <a:pt x="15" y="23"/>
                  </a:lnTo>
                  <a:lnTo>
                    <a:pt x="15" y="23"/>
                  </a:lnTo>
                  <a:lnTo>
                    <a:pt x="15" y="23"/>
                  </a:lnTo>
                  <a:lnTo>
                    <a:pt x="17" y="24"/>
                  </a:lnTo>
                  <a:lnTo>
                    <a:pt x="17" y="24"/>
                  </a:lnTo>
                  <a:lnTo>
                    <a:pt x="17" y="24"/>
                  </a:lnTo>
                  <a:lnTo>
                    <a:pt x="17" y="24"/>
                  </a:lnTo>
                  <a:lnTo>
                    <a:pt x="17" y="24"/>
                  </a:lnTo>
                  <a:lnTo>
                    <a:pt x="17" y="25"/>
                  </a:lnTo>
                  <a:lnTo>
                    <a:pt x="17" y="25"/>
                  </a:lnTo>
                  <a:lnTo>
                    <a:pt x="17" y="25"/>
                  </a:lnTo>
                  <a:lnTo>
                    <a:pt x="17" y="25"/>
                  </a:lnTo>
                  <a:lnTo>
                    <a:pt x="17" y="25"/>
                  </a:lnTo>
                  <a:lnTo>
                    <a:pt x="17" y="25"/>
                  </a:lnTo>
                  <a:lnTo>
                    <a:pt x="17" y="26"/>
                  </a:lnTo>
                  <a:lnTo>
                    <a:pt x="15" y="26"/>
                  </a:lnTo>
                  <a:lnTo>
                    <a:pt x="15" y="26"/>
                  </a:lnTo>
                  <a:lnTo>
                    <a:pt x="15" y="26"/>
                  </a:lnTo>
                  <a:lnTo>
                    <a:pt x="15" y="26"/>
                  </a:lnTo>
                  <a:lnTo>
                    <a:pt x="15" y="27"/>
                  </a:lnTo>
                  <a:lnTo>
                    <a:pt x="15" y="27"/>
                  </a:lnTo>
                  <a:lnTo>
                    <a:pt x="15" y="27"/>
                  </a:lnTo>
                  <a:lnTo>
                    <a:pt x="15" y="27"/>
                  </a:lnTo>
                  <a:lnTo>
                    <a:pt x="15" y="27"/>
                  </a:lnTo>
                  <a:lnTo>
                    <a:pt x="15" y="27"/>
                  </a:lnTo>
                  <a:lnTo>
                    <a:pt x="15" y="27"/>
                  </a:lnTo>
                  <a:lnTo>
                    <a:pt x="15" y="27"/>
                  </a:lnTo>
                  <a:lnTo>
                    <a:pt x="15" y="27"/>
                  </a:lnTo>
                  <a:lnTo>
                    <a:pt x="15" y="27"/>
                  </a:lnTo>
                  <a:lnTo>
                    <a:pt x="15" y="27"/>
                  </a:lnTo>
                  <a:lnTo>
                    <a:pt x="15" y="28"/>
                  </a:lnTo>
                  <a:lnTo>
                    <a:pt x="15" y="28"/>
                  </a:lnTo>
                  <a:lnTo>
                    <a:pt x="15" y="28"/>
                  </a:lnTo>
                  <a:lnTo>
                    <a:pt x="15" y="28"/>
                  </a:lnTo>
                  <a:lnTo>
                    <a:pt x="15" y="28"/>
                  </a:lnTo>
                  <a:lnTo>
                    <a:pt x="15" y="28"/>
                  </a:lnTo>
                  <a:lnTo>
                    <a:pt x="15" y="28"/>
                  </a:lnTo>
                  <a:lnTo>
                    <a:pt x="15" y="28"/>
                  </a:lnTo>
                  <a:lnTo>
                    <a:pt x="14" y="30"/>
                  </a:lnTo>
                  <a:lnTo>
                    <a:pt x="14" y="31"/>
                  </a:lnTo>
                  <a:lnTo>
                    <a:pt x="14" y="31"/>
                  </a:lnTo>
                  <a:lnTo>
                    <a:pt x="14" y="31"/>
                  </a:lnTo>
                  <a:lnTo>
                    <a:pt x="14" y="31"/>
                  </a:lnTo>
                  <a:lnTo>
                    <a:pt x="14" y="32"/>
                  </a:lnTo>
                  <a:lnTo>
                    <a:pt x="14" y="32"/>
                  </a:lnTo>
                  <a:lnTo>
                    <a:pt x="14" y="32"/>
                  </a:lnTo>
                  <a:lnTo>
                    <a:pt x="14" y="32"/>
                  </a:lnTo>
                  <a:lnTo>
                    <a:pt x="14" y="32"/>
                  </a:lnTo>
                  <a:lnTo>
                    <a:pt x="14" y="32"/>
                  </a:lnTo>
                  <a:lnTo>
                    <a:pt x="14" y="32"/>
                  </a:lnTo>
                  <a:lnTo>
                    <a:pt x="14" y="31"/>
                  </a:lnTo>
                  <a:lnTo>
                    <a:pt x="14" y="30"/>
                  </a:lnTo>
                  <a:lnTo>
                    <a:pt x="14" y="30"/>
                  </a:lnTo>
                  <a:lnTo>
                    <a:pt x="14" y="30"/>
                  </a:lnTo>
                  <a:lnTo>
                    <a:pt x="14" y="31"/>
                  </a:lnTo>
                  <a:lnTo>
                    <a:pt x="13" y="32"/>
                  </a:lnTo>
                  <a:lnTo>
                    <a:pt x="13" y="32"/>
                  </a:lnTo>
                  <a:lnTo>
                    <a:pt x="14" y="32"/>
                  </a:lnTo>
                  <a:lnTo>
                    <a:pt x="14" y="32"/>
                  </a:lnTo>
                  <a:lnTo>
                    <a:pt x="13" y="32"/>
                  </a:lnTo>
                  <a:lnTo>
                    <a:pt x="13" y="32"/>
                  </a:lnTo>
                  <a:lnTo>
                    <a:pt x="13" y="32"/>
                  </a:lnTo>
                  <a:lnTo>
                    <a:pt x="13" y="32"/>
                  </a:lnTo>
                  <a:lnTo>
                    <a:pt x="13" y="32"/>
                  </a:lnTo>
                  <a:lnTo>
                    <a:pt x="13" y="32"/>
                  </a:lnTo>
                  <a:lnTo>
                    <a:pt x="13" y="32"/>
                  </a:lnTo>
                  <a:lnTo>
                    <a:pt x="13" y="32"/>
                  </a:lnTo>
                  <a:lnTo>
                    <a:pt x="13" y="32"/>
                  </a:lnTo>
                  <a:lnTo>
                    <a:pt x="13" y="32"/>
                  </a:lnTo>
                  <a:lnTo>
                    <a:pt x="13" y="32"/>
                  </a:lnTo>
                  <a:lnTo>
                    <a:pt x="13" y="33"/>
                  </a:lnTo>
                  <a:lnTo>
                    <a:pt x="13" y="33"/>
                  </a:lnTo>
                  <a:lnTo>
                    <a:pt x="13" y="33"/>
                  </a:lnTo>
                  <a:lnTo>
                    <a:pt x="13" y="33"/>
                  </a:lnTo>
                  <a:lnTo>
                    <a:pt x="12" y="33"/>
                  </a:lnTo>
                  <a:lnTo>
                    <a:pt x="12" y="34"/>
                  </a:lnTo>
                  <a:lnTo>
                    <a:pt x="12" y="34"/>
                  </a:lnTo>
                  <a:lnTo>
                    <a:pt x="12" y="34"/>
                  </a:lnTo>
                  <a:lnTo>
                    <a:pt x="12" y="34"/>
                  </a:lnTo>
                  <a:lnTo>
                    <a:pt x="12" y="34"/>
                  </a:lnTo>
                  <a:lnTo>
                    <a:pt x="12" y="34"/>
                  </a:lnTo>
                  <a:lnTo>
                    <a:pt x="12" y="34"/>
                  </a:lnTo>
                  <a:lnTo>
                    <a:pt x="12" y="34"/>
                  </a:lnTo>
                  <a:lnTo>
                    <a:pt x="12" y="34"/>
                  </a:lnTo>
                  <a:lnTo>
                    <a:pt x="12" y="34"/>
                  </a:lnTo>
                  <a:lnTo>
                    <a:pt x="12" y="34"/>
                  </a:lnTo>
                  <a:lnTo>
                    <a:pt x="12" y="35"/>
                  </a:lnTo>
                  <a:lnTo>
                    <a:pt x="12" y="35"/>
                  </a:lnTo>
                  <a:lnTo>
                    <a:pt x="12" y="35"/>
                  </a:lnTo>
                  <a:lnTo>
                    <a:pt x="11" y="35"/>
                  </a:lnTo>
                  <a:lnTo>
                    <a:pt x="11" y="35"/>
                  </a:lnTo>
                  <a:lnTo>
                    <a:pt x="11" y="35"/>
                  </a:lnTo>
                  <a:lnTo>
                    <a:pt x="11" y="35"/>
                  </a:lnTo>
                  <a:lnTo>
                    <a:pt x="11" y="35"/>
                  </a:lnTo>
                  <a:lnTo>
                    <a:pt x="11" y="37"/>
                  </a:lnTo>
                  <a:lnTo>
                    <a:pt x="11" y="37"/>
                  </a:lnTo>
                  <a:lnTo>
                    <a:pt x="11" y="37"/>
                  </a:lnTo>
                  <a:lnTo>
                    <a:pt x="11" y="37"/>
                  </a:lnTo>
                  <a:lnTo>
                    <a:pt x="11" y="37"/>
                  </a:lnTo>
                  <a:lnTo>
                    <a:pt x="11" y="37"/>
                  </a:lnTo>
                  <a:lnTo>
                    <a:pt x="11" y="37"/>
                  </a:lnTo>
                  <a:lnTo>
                    <a:pt x="11" y="37"/>
                  </a:lnTo>
                  <a:lnTo>
                    <a:pt x="11" y="37"/>
                  </a:lnTo>
                  <a:lnTo>
                    <a:pt x="11" y="37"/>
                  </a:lnTo>
                  <a:lnTo>
                    <a:pt x="11" y="35"/>
                  </a:lnTo>
                  <a:lnTo>
                    <a:pt x="11" y="35"/>
                  </a:lnTo>
                  <a:lnTo>
                    <a:pt x="10" y="37"/>
                  </a:lnTo>
                  <a:lnTo>
                    <a:pt x="10" y="37"/>
                  </a:lnTo>
                  <a:lnTo>
                    <a:pt x="10" y="37"/>
                  </a:lnTo>
                  <a:lnTo>
                    <a:pt x="10" y="35"/>
                  </a:lnTo>
                  <a:lnTo>
                    <a:pt x="10" y="35"/>
                  </a:lnTo>
                  <a:lnTo>
                    <a:pt x="10" y="35"/>
                  </a:lnTo>
                  <a:lnTo>
                    <a:pt x="10" y="35"/>
                  </a:lnTo>
                  <a:lnTo>
                    <a:pt x="10" y="35"/>
                  </a:lnTo>
                  <a:lnTo>
                    <a:pt x="10" y="35"/>
                  </a:lnTo>
                  <a:lnTo>
                    <a:pt x="10" y="37"/>
                  </a:lnTo>
                  <a:lnTo>
                    <a:pt x="10" y="37"/>
                  </a:lnTo>
                  <a:lnTo>
                    <a:pt x="10" y="37"/>
                  </a:lnTo>
                  <a:lnTo>
                    <a:pt x="8" y="37"/>
                  </a:lnTo>
                  <a:lnTo>
                    <a:pt x="8" y="37"/>
                  </a:lnTo>
                  <a:lnTo>
                    <a:pt x="8" y="37"/>
                  </a:lnTo>
                  <a:lnTo>
                    <a:pt x="8" y="37"/>
                  </a:lnTo>
                  <a:lnTo>
                    <a:pt x="8" y="37"/>
                  </a:lnTo>
                  <a:lnTo>
                    <a:pt x="8" y="37"/>
                  </a:lnTo>
                  <a:lnTo>
                    <a:pt x="8" y="37"/>
                  </a:lnTo>
                  <a:lnTo>
                    <a:pt x="8" y="38"/>
                  </a:lnTo>
                  <a:lnTo>
                    <a:pt x="7" y="38"/>
                  </a:lnTo>
                  <a:lnTo>
                    <a:pt x="7" y="38"/>
                  </a:lnTo>
                  <a:lnTo>
                    <a:pt x="7" y="38"/>
                  </a:lnTo>
                  <a:lnTo>
                    <a:pt x="7" y="39"/>
                  </a:lnTo>
                  <a:lnTo>
                    <a:pt x="7" y="39"/>
                  </a:lnTo>
                  <a:lnTo>
                    <a:pt x="7" y="39"/>
                  </a:lnTo>
                  <a:lnTo>
                    <a:pt x="7" y="39"/>
                  </a:lnTo>
                  <a:lnTo>
                    <a:pt x="7" y="39"/>
                  </a:lnTo>
                  <a:lnTo>
                    <a:pt x="7" y="39"/>
                  </a:lnTo>
                  <a:lnTo>
                    <a:pt x="6" y="39"/>
                  </a:lnTo>
                  <a:lnTo>
                    <a:pt x="6" y="39"/>
                  </a:lnTo>
                  <a:lnTo>
                    <a:pt x="6" y="39"/>
                  </a:lnTo>
                  <a:lnTo>
                    <a:pt x="6" y="39"/>
                  </a:lnTo>
                  <a:lnTo>
                    <a:pt x="6" y="39"/>
                  </a:lnTo>
                  <a:lnTo>
                    <a:pt x="6" y="40"/>
                  </a:lnTo>
                  <a:lnTo>
                    <a:pt x="6" y="40"/>
                  </a:lnTo>
                  <a:lnTo>
                    <a:pt x="6" y="40"/>
                  </a:lnTo>
                  <a:lnTo>
                    <a:pt x="6" y="40"/>
                  </a:lnTo>
                  <a:lnTo>
                    <a:pt x="5" y="40"/>
                  </a:lnTo>
                  <a:lnTo>
                    <a:pt x="5" y="40"/>
                  </a:lnTo>
                  <a:lnTo>
                    <a:pt x="5" y="40"/>
                  </a:lnTo>
                  <a:lnTo>
                    <a:pt x="5" y="41"/>
                  </a:lnTo>
                  <a:lnTo>
                    <a:pt x="5" y="41"/>
                  </a:lnTo>
                  <a:lnTo>
                    <a:pt x="5" y="42"/>
                  </a:lnTo>
                  <a:lnTo>
                    <a:pt x="5" y="42"/>
                  </a:lnTo>
                  <a:lnTo>
                    <a:pt x="4" y="42"/>
                  </a:lnTo>
                  <a:lnTo>
                    <a:pt x="3" y="42"/>
                  </a:lnTo>
                  <a:lnTo>
                    <a:pt x="3" y="42"/>
                  </a:lnTo>
                  <a:lnTo>
                    <a:pt x="1" y="42"/>
                  </a:lnTo>
                  <a:lnTo>
                    <a:pt x="1" y="42"/>
                  </a:lnTo>
                  <a:lnTo>
                    <a:pt x="1" y="42"/>
                  </a:lnTo>
                  <a:lnTo>
                    <a:pt x="1" y="42"/>
                  </a:lnTo>
                  <a:lnTo>
                    <a:pt x="0" y="42"/>
                  </a:lnTo>
                  <a:lnTo>
                    <a:pt x="0" y="42"/>
                  </a:lnTo>
                  <a:lnTo>
                    <a:pt x="0" y="42"/>
                  </a:lnTo>
                  <a:lnTo>
                    <a:pt x="0" y="42"/>
                  </a:lnTo>
                  <a:lnTo>
                    <a:pt x="0" y="41"/>
                  </a:lnTo>
                  <a:lnTo>
                    <a:pt x="1" y="38"/>
                  </a:lnTo>
                  <a:lnTo>
                    <a:pt x="3" y="34"/>
                  </a:lnTo>
                  <a:lnTo>
                    <a:pt x="3" y="33"/>
                  </a:lnTo>
                  <a:lnTo>
                    <a:pt x="3" y="28"/>
                  </a:lnTo>
                  <a:lnTo>
                    <a:pt x="4" y="24"/>
                  </a:lnTo>
                  <a:lnTo>
                    <a:pt x="5" y="19"/>
                  </a:lnTo>
                  <a:lnTo>
                    <a:pt x="5" y="16"/>
                  </a:lnTo>
                  <a:lnTo>
                    <a:pt x="5" y="12"/>
                  </a:lnTo>
                  <a:lnTo>
                    <a:pt x="5" y="10"/>
                  </a:lnTo>
                  <a:lnTo>
                    <a:pt x="6" y="10"/>
                  </a:lnTo>
                  <a:lnTo>
                    <a:pt x="6" y="10"/>
                  </a:lnTo>
                  <a:lnTo>
                    <a:pt x="7" y="9"/>
                  </a:lnTo>
                  <a:lnTo>
                    <a:pt x="7" y="9"/>
                  </a:lnTo>
                  <a:lnTo>
                    <a:pt x="7" y="9"/>
                  </a:lnTo>
                  <a:lnTo>
                    <a:pt x="7" y="10"/>
                  </a:lnTo>
                  <a:lnTo>
                    <a:pt x="8" y="10"/>
                  </a:lnTo>
                  <a:lnTo>
                    <a:pt x="8" y="10"/>
                  </a:lnTo>
                  <a:lnTo>
                    <a:pt x="8" y="10"/>
                  </a:lnTo>
                  <a:lnTo>
                    <a:pt x="8" y="10"/>
                  </a:lnTo>
                  <a:lnTo>
                    <a:pt x="8" y="10"/>
                  </a:lnTo>
                  <a:lnTo>
                    <a:pt x="8" y="10"/>
                  </a:lnTo>
                  <a:lnTo>
                    <a:pt x="10" y="11"/>
                  </a:lnTo>
                  <a:lnTo>
                    <a:pt x="10" y="11"/>
                  </a:lnTo>
                  <a:lnTo>
                    <a:pt x="10" y="11"/>
                  </a:lnTo>
                  <a:lnTo>
                    <a:pt x="10" y="10"/>
                  </a:lnTo>
                  <a:lnTo>
                    <a:pt x="10" y="10"/>
                  </a:lnTo>
                  <a:lnTo>
                    <a:pt x="11" y="10"/>
                  </a:lnTo>
                  <a:lnTo>
                    <a:pt x="11" y="9"/>
                  </a:lnTo>
                  <a:lnTo>
                    <a:pt x="11" y="9"/>
                  </a:lnTo>
                  <a:lnTo>
                    <a:pt x="11" y="9"/>
                  </a:lnTo>
                  <a:lnTo>
                    <a:pt x="11" y="9"/>
                  </a:lnTo>
                  <a:lnTo>
                    <a:pt x="12" y="9"/>
                  </a:lnTo>
                  <a:lnTo>
                    <a:pt x="12" y="7"/>
                  </a:lnTo>
                  <a:lnTo>
                    <a:pt x="12" y="7"/>
                  </a:lnTo>
                  <a:lnTo>
                    <a:pt x="12" y="7"/>
                  </a:lnTo>
                  <a:lnTo>
                    <a:pt x="12" y="7"/>
                  </a:lnTo>
                  <a:lnTo>
                    <a:pt x="12" y="7"/>
                  </a:lnTo>
                  <a:lnTo>
                    <a:pt x="12" y="6"/>
                  </a:lnTo>
                  <a:lnTo>
                    <a:pt x="12" y="6"/>
                  </a:lnTo>
                  <a:lnTo>
                    <a:pt x="12" y="6"/>
                  </a:lnTo>
                  <a:lnTo>
                    <a:pt x="12" y="6"/>
                  </a:lnTo>
                  <a:lnTo>
                    <a:pt x="13" y="5"/>
                  </a:lnTo>
                  <a:lnTo>
                    <a:pt x="13" y="5"/>
                  </a:lnTo>
                  <a:lnTo>
                    <a:pt x="13" y="5"/>
                  </a:lnTo>
                  <a:lnTo>
                    <a:pt x="13" y="5"/>
                  </a:lnTo>
                  <a:lnTo>
                    <a:pt x="13" y="5"/>
                  </a:lnTo>
                  <a:lnTo>
                    <a:pt x="13" y="5"/>
                  </a:lnTo>
                  <a:lnTo>
                    <a:pt x="14" y="5"/>
                  </a:lnTo>
                  <a:lnTo>
                    <a:pt x="14" y="4"/>
                  </a:lnTo>
                  <a:lnTo>
                    <a:pt x="14" y="4"/>
                  </a:lnTo>
                  <a:lnTo>
                    <a:pt x="14" y="4"/>
                  </a:lnTo>
                  <a:lnTo>
                    <a:pt x="14" y="3"/>
                  </a:lnTo>
                  <a:lnTo>
                    <a:pt x="14" y="3"/>
                  </a:lnTo>
                  <a:lnTo>
                    <a:pt x="14" y="3"/>
                  </a:lnTo>
                  <a:lnTo>
                    <a:pt x="15" y="3"/>
                  </a:lnTo>
                  <a:lnTo>
                    <a:pt x="15" y="2"/>
                  </a:lnTo>
                  <a:lnTo>
                    <a:pt x="15" y="2"/>
                  </a:lnTo>
                  <a:lnTo>
                    <a:pt x="15" y="2"/>
                  </a:lnTo>
                  <a:lnTo>
                    <a:pt x="15" y="2"/>
                  </a:lnTo>
                  <a:lnTo>
                    <a:pt x="15" y="2"/>
                  </a:lnTo>
                  <a:lnTo>
                    <a:pt x="17" y="2"/>
                  </a:lnTo>
                  <a:lnTo>
                    <a:pt x="17" y="2"/>
                  </a:lnTo>
                  <a:lnTo>
                    <a:pt x="17" y="2"/>
                  </a:lnTo>
                  <a:lnTo>
                    <a:pt x="17" y="2"/>
                  </a:lnTo>
                  <a:lnTo>
                    <a:pt x="17" y="0"/>
                  </a:lnTo>
                  <a:lnTo>
                    <a:pt x="17" y="0"/>
                  </a:lnTo>
                  <a:lnTo>
                    <a:pt x="17" y="0"/>
                  </a:lnTo>
                  <a:lnTo>
                    <a:pt x="17"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92" name="Freeform 845">
              <a:extLst>
                <a:ext uri="{FF2B5EF4-FFF2-40B4-BE49-F238E27FC236}">
                  <a16:creationId xmlns:a16="http://schemas.microsoft.com/office/drawing/2014/main" id="{CF6EBF5C-7638-4353-9564-38302A2EF500}"/>
                </a:ext>
              </a:extLst>
            </p:cNvPr>
            <p:cNvSpPr>
              <a:spLocks noEditPoints="1"/>
            </p:cNvSpPr>
            <p:nvPr/>
          </p:nvSpPr>
          <p:spPr bwMode="auto">
            <a:xfrm>
              <a:off x="4655237" y="2663422"/>
              <a:ext cx="5342" cy="4007"/>
            </a:xfrm>
            <a:custGeom>
              <a:avLst/>
              <a:gdLst>
                <a:gd name="T0" fmla="*/ 1 w 4"/>
                <a:gd name="T1" fmla="*/ 1 h 3"/>
                <a:gd name="T2" fmla="*/ 1 w 4"/>
                <a:gd name="T3" fmla="*/ 1 h 3"/>
                <a:gd name="T4" fmla="*/ 1 w 4"/>
                <a:gd name="T5" fmla="*/ 1 h 3"/>
                <a:gd name="T6" fmla="*/ 1 w 4"/>
                <a:gd name="T7" fmla="*/ 1 h 3"/>
                <a:gd name="T8" fmla="*/ 1 w 4"/>
                <a:gd name="T9" fmla="*/ 1 h 3"/>
                <a:gd name="T10" fmla="*/ 1 w 4"/>
                <a:gd name="T11" fmla="*/ 1 h 3"/>
                <a:gd name="T12" fmla="*/ 4 w 4"/>
                <a:gd name="T13" fmla="*/ 0 h 3"/>
                <a:gd name="T14" fmla="*/ 4 w 4"/>
                <a:gd name="T15" fmla="*/ 0 h 3"/>
                <a:gd name="T16" fmla="*/ 4 w 4"/>
                <a:gd name="T17" fmla="*/ 0 h 3"/>
                <a:gd name="T18" fmla="*/ 2 w 4"/>
                <a:gd name="T19" fmla="*/ 0 h 3"/>
                <a:gd name="T20" fmla="*/ 2 w 4"/>
                <a:gd name="T21" fmla="*/ 1 h 3"/>
                <a:gd name="T22" fmla="*/ 2 w 4"/>
                <a:gd name="T23" fmla="*/ 1 h 3"/>
                <a:gd name="T24" fmla="*/ 2 w 4"/>
                <a:gd name="T25" fmla="*/ 1 h 3"/>
                <a:gd name="T26" fmla="*/ 1 w 4"/>
                <a:gd name="T27" fmla="*/ 1 h 3"/>
                <a:gd name="T28" fmla="*/ 1 w 4"/>
                <a:gd name="T29" fmla="*/ 3 h 3"/>
                <a:gd name="T30" fmla="*/ 0 w 4"/>
                <a:gd name="T31" fmla="*/ 3 h 3"/>
                <a:gd name="T32" fmla="*/ 0 w 4"/>
                <a:gd name="T33" fmla="*/ 3 h 3"/>
                <a:gd name="T34" fmla="*/ 0 w 4"/>
                <a:gd name="T35" fmla="*/ 1 h 3"/>
                <a:gd name="T36" fmla="*/ 0 w 4"/>
                <a:gd name="T37" fmla="*/ 1 h 3"/>
                <a:gd name="T38" fmla="*/ 0 w 4"/>
                <a:gd name="T39" fmla="*/ 1 h 3"/>
                <a:gd name="T40" fmla="*/ 0 w 4"/>
                <a:gd name="T41" fmla="*/ 1 h 3"/>
                <a:gd name="T42" fmla="*/ 0 w 4"/>
                <a:gd name="T43" fmla="*/ 1 h 3"/>
                <a:gd name="T44" fmla="*/ 0 w 4"/>
                <a:gd name="T45" fmla="*/ 1 h 3"/>
                <a:gd name="T46" fmla="*/ 0 w 4"/>
                <a:gd name="T47" fmla="*/ 1 h 3"/>
                <a:gd name="T48" fmla="*/ 0 w 4"/>
                <a:gd name="T49" fmla="*/ 3 h 3"/>
                <a:gd name="T50" fmla="*/ 0 w 4"/>
                <a:gd name="T51" fmla="*/ 3 h 3"/>
                <a:gd name="T52" fmla="*/ 0 w 4"/>
                <a:gd name="T53" fmla="*/ 3 h 3"/>
                <a:gd name="T54" fmla="*/ 0 w 4"/>
                <a:gd name="T55" fmla="*/ 3 h 3"/>
                <a:gd name="T56" fmla="*/ 1 w 4"/>
                <a:gd name="T57" fmla="*/ 3 h 3"/>
                <a:gd name="T58" fmla="*/ 1 w 4"/>
                <a:gd name="T59" fmla="*/ 1 h 3"/>
                <a:gd name="T60" fmla="*/ 1 w 4"/>
                <a:gd name="T61" fmla="*/ 1 h 3"/>
                <a:gd name="T62" fmla="*/ 1 w 4"/>
                <a:gd name="T63" fmla="*/ 1 h 3"/>
                <a:gd name="T64" fmla="*/ 1 w 4"/>
                <a:gd name="T65" fmla="*/ 1 h 3"/>
                <a:gd name="T66" fmla="*/ 2 w 4"/>
                <a:gd name="T67" fmla="*/ 1 h 3"/>
                <a:gd name="T68" fmla="*/ 2 w 4"/>
                <a:gd name="T69" fmla="*/ 1 h 3"/>
                <a:gd name="T70" fmla="*/ 2 w 4"/>
                <a:gd name="T71" fmla="*/ 1 h 3"/>
                <a:gd name="T72" fmla="*/ 2 w 4"/>
                <a:gd name="T73" fmla="*/ 1 h 3"/>
                <a:gd name="T74" fmla="*/ 2 w 4"/>
                <a:gd name="T75" fmla="*/ 1 h 3"/>
                <a:gd name="T76" fmla="*/ 2 w 4"/>
                <a:gd name="T77" fmla="*/ 1 h 3"/>
                <a:gd name="T78" fmla="*/ 2 w 4"/>
                <a:gd name="T79" fmla="*/ 1 h 3"/>
                <a:gd name="T80" fmla="*/ 2 w 4"/>
                <a:gd name="T81" fmla="*/ 0 h 3"/>
                <a:gd name="T82" fmla="*/ 4 w 4"/>
                <a:gd name="T8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 h="3">
                  <a:moveTo>
                    <a:pt x="1" y="1"/>
                  </a:moveTo>
                  <a:lnTo>
                    <a:pt x="1" y="1"/>
                  </a:lnTo>
                  <a:lnTo>
                    <a:pt x="1" y="1"/>
                  </a:lnTo>
                  <a:lnTo>
                    <a:pt x="1" y="1"/>
                  </a:lnTo>
                  <a:lnTo>
                    <a:pt x="1" y="1"/>
                  </a:lnTo>
                  <a:lnTo>
                    <a:pt x="1" y="1"/>
                  </a:lnTo>
                  <a:lnTo>
                    <a:pt x="1" y="1"/>
                  </a:lnTo>
                  <a:lnTo>
                    <a:pt x="1" y="1"/>
                  </a:lnTo>
                  <a:lnTo>
                    <a:pt x="1" y="1"/>
                  </a:lnTo>
                  <a:lnTo>
                    <a:pt x="1" y="1"/>
                  </a:lnTo>
                  <a:lnTo>
                    <a:pt x="1" y="1"/>
                  </a:lnTo>
                  <a:lnTo>
                    <a:pt x="1" y="1"/>
                  </a:lnTo>
                  <a:close/>
                  <a:moveTo>
                    <a:pt x="4" y="0"/>
                  </a:moveTo>
                  <a:lnTo>
                    <a:pt x="4" y="0"/>
                  </a:lnTo>
                  <a:lnTo>
                    <a:pt x="4" y="0"/>
                  </a:lnTo>
                  <a:lnTo>
                    <a:pt x="4" y="0"/>
                  </a:lnTo>
                  <a:lnTo>
                    <a:pt x="4" y="0"/>
                  </a:lnTo>
                  <a:lnTo>
                    <a:pt x="4" y="0"/>
                  </a:lnTo>
                  <a:lnTo>
                    <a:pt x="2" y="0"/>
                  </a:lnTo>
                  <a:lnTo>
                    <a:pt x="2" y="0"/>
                  </a:lnTo>
                  <a:lnTo>
                    <a:pt x="2" y="0"/>
                  </a:lnTo>
                  <a:lnTo>
                    <a:pt x="2" y="1"/>
                  </a:lnTo>
                  <a:lnTo>
                    <a:pt x="2" y="1"/>
                  </a:lnTo>
                  <a:lnTo>
                    <a:pt x="2" y="1"/>
                  </a:lnTo>
                  <a:lnTo>
                    <a:pt x="2" y="1"/>
                  </a:lnTo>
                  <a:lnTo>
                    <a:pt x="2" y="1"/>
                  </a:lnTo>
                  <a:lnTo>
                    <a:pt x="2" y="1"/>
                  </a:lnTo>
                  <a:lnTo>
                    <a:pt x="1" y="1"/>
                  </a:lnTo>
                  <a:lnTo>
                    <a:pt x="1" y="1"/>
                  </a:lnTo>
                  <a:lnTo>
                    <a:pt x="1" y="3"/>
                  </a:lnTo>
                  <a:lnTo>
                    <a:pt x="1" y="3"/>
                  </a:lnTo>
                  <a:lnTo>
                    <a:pt x="0" y="3"/>
                  </a:lnTo>
                  <a:lnTo>
                    <a:pt x="0" y="3"/>
                  </a:lnTo>
                  <a:lnTo>
                    <a:pt x="0" y="3"/>
                  </a:lnTo>
                  <a:lnTo>
                    <a:pt x="0" y="3"/>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3"/>
                  </a:lnTo>
                  <a:lnTo>
                    <a:pt x="0" y="3"/>
                  </a:lnTo>
                  <a:lnTo>
                    <a:pt x="0" y="3"/>
                  </a:lnTo>
                  <a:lnTo>
                    <a:pt x="0" y="3"/>
                  </a:lnTo>
                  <a:lnTo>
                    <a:pt x="0" y="3"/>
                  </a:lnTo>
                  <a:lnTo>
                    <a:pt x="0" y="3"/>
                  </a:lnTo>
                  <a:lnTo>
                    <a:pt x="0" y="3"/>
                  </a:lnTo>
                  <a:lnTo>
                    <a:pt x="1" y="3"/>
                  </a:lnTo>
                  <a:lnTo>
                    <a:pt x="1" y="3"/>
                  </a:lnTo>
                  <a:lnTo>
                    <a:pt x="1" y="1"/>
                  </a:lnTo>
                  <a:lnTo>
                    <a:pt x="1" y="1"/>
                  </a:lnTo>
                  <a:lnTo>
                    <a:pt x="1" y="1"/>
                  </a:lnTo>
                  <a:lnTo>
                    <a:pt x="1" y="1"/>
                  </a:lnTo>
                  <a:lnTo>
                    <a:pt x="1" y="1"/>
                  </a:lnTo>
                  <a:lnTo>
                    <a:pt x="1" y="1"/>
                  </a:lnTo>
                  <a:lnTo>
                    <a:pt x="1" y="1"/>
                  </a:lnTo>
                  <a:lnTo>
                    <a:pt x="1" y="1"/>
                  </a:lnTo>
                  <a:lnTo>
                    <a:pt x="1" y="1"/>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0"/>
                  </a:lnTo>
                  <a:lnTo>
                    <a:pt x="2" y="0"/>
                  </a:lnTo>
                  <a:lnTo>
                    <a:pt x="2" y="0"/>
                  </a:lnTo>
                  <a:lnTo>
                    <a:pt x="4" y="0"/>
                  </a:lnTo>
                  <a:lnTo>
                    <a:pt x="4"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93" name="Freeform 846">
              <a:extLst>
                <a:ext uri="{FF2B5EF4-FFF2-40B4-BE49-F238E27FC236}">
                  <a16:creationId xmlns:a16="http://schemas.microsoft.com/office/drawing/2014/main" id="{38361413-07C3-4BFD-B221-7953759501F2}"/>
                </a:ext>
              </a:extLst>
            </p:cNvPr>
            <p:cNvSpPr>
              <a:spLocks noEditPoints="1"/>
            </p:cNvSpPr>
            <p:nvPr/>
          </p:nvSpPr>
          <p:spPr bwMode="auto">
            <a:xfrm>
              <a:off x="4517682" y="3552857"/>
              <a:ext cx="233711" cy="279117"/>
            </a:xfrm>
            <a:custGeom>
              <a:avLst/>
              <a:gdLst>
                <a:gd name="T0" fmla="*/ 59 w 175"/>
                <a:gd name="T1" fmla="*/ 3 h 209"/>
                <a:gd name="T2" fmla="*/ 58 w 175"/>
                <a:gd name="T3" fmla="*/ 13 h 209"/>
                <a:gd name="T4" fmla="*/ 59 w 175"/>
                <a:gd name="T5" fmla="*/ 24 h 209"/>
                <a:gd name="T6" fmla="*/ 62 w 175"/>
                <a:gd name="T7" fmla="*/ 33 h 209"/>
                <a:gd name="T8" fmla="*/ 67 w 175"/>
                <a:gd name="T9" fmla="*/ 38 h 209"/>
                <a:gd name="T10" fmla="*/ 74 w 175"/>
                <a:gd name="T11" fmla="*/ 43 h 209"/>
                <a:gd name="T12" fmla="*/ 81 w 175"/>
                <a:gd name="T13" fmla="*/ 45 h 209"/>
                <a:gd name="T14" fmla="*/ 92 w 175"/>
                <a:gd name="T15" fmla="*/ 47 h 209"/>
                <a:gd name="T16" fmla="*/ 100 w 175"/>
                <a:gd name="T17" fmla="*/ 54 h 209"/>
                <a:gd name="T18" fmla="*/ 107 w 175"/>
                <a:gd name="T19" fmla="*/ 57 h 209"/>
                <a:gd name="T20" fmla="*/ 118 w 175"/>
                <a:gd name="T21" fmla="*/ 61 h 209"/>
                <a:gd name="T22" fmla="*/ 126 w 175"/>
                <a:gd name="T23" fmla="*/ 64 h 209"/>
                <a:gd name="T24" fmla="*/ 130 w 175"/>
                <a:gd name="T25" fmla="*/ 71 h 209"/>
                <a:gd name="T26" fmla="*/ 133 w 175"/>
                <a:gd name="T27" fmla="*/ 84 h 209"/>
                <a:gd name="T28" fmla="*/ 136 w 175"/>
                <a:gd name="T29" fmla="*/ 99 h 209"/>
                <a:gd name="T30" fmla="*/ 156 w 175"/>
                <a:gd name="T31" fmla="*/ 105 h 209"/>
                <a:gd name="T32" fmla="*/ 160 w 175"/>
                <a:gd name="T33" fmla="*/ 115 h 209"/>
                <a:gd name="T34" fmla="*/ 166 w 175"/>
                <a:gd name="T35" fmla="*/ 123 h 209"/>
                <a:gd name="T36" fmla="*/ 174 w 175"/>
                <a:gd name="T37" fmla="*/ 134 h 209"/>
                <a:gd name="T38" fmla="*/ 173 w 175"/>
                <a:gd name="T39" fmla="*/ 147 h 209"/>
                <a:gd name="T40" fmla="*/ 171 w 175"/>
                <a:gd name="T41" fmla="*/ 161 h 209"/>
                <a:gd name="T42" fmla="*/ 168 w 175"/>
                <a:gd name="T43" fmla="*/ 162 h 209"/>
                <a:gd name="T44" fmla="*/ 157 w 175"/>
                <a:gd name="T45" fmla="*/ 153 h 209"/>
                <a:gd name="T46" fmla="*/ 131 w 175"/>
                <a:gd name="T47" fmla="*/ 154 h 209"/>
                <a:gd name="T48" fmla="*/ 117 w 175"/>
                <a:gd name="T49" fmla="*/ 165 h 209"/>
                <a:gd name="T50" fmla="*/ 114 w 175"/>
                <a:gd name="T51" fmla="*/ 176 h 209"/>
                <a:gd name="T52" fmla="*/ 111 w 175"/>
                <a:gd name="T53" fmla="*/ 196 h 209"/>
                <a:gd name="T54" fmla="*/ 95 w 175"/>
                <a:gd name="T55" fmla="*/ 196 h 209"/>
                <a:gd name="T56" fmla="*/ 89 w 175"/>
                <a:gd name="T57" fmla="*/ 206 h 209"/>
                <a:gd name="T58" fmla="*/ 86 w 175"/>
                <a:gd name="T59" fmla="*/ 203 h 209"/>
                <a:gd name="T60" fmla="*/ 81 w 175"/>
                <a:gd name="T61" fmla="*/ 197 h 209"/>
                <a:gd name="T62" fmla="*/ 62 w 175"/>
                <a:gd name="T63" fmla="*/ 193 h 209"/>
                <a:gd name="T64" fmla="*/ 54 w 175"/>
                <a:gd name="T65" fmla="*/ 201 h 209"/>
                <a:gd name="T66" fmla="*/ 45 w 175"/>
                <a:gd name="T67" fmla="*/ 209 h 209"/>
                <a:gd name="T68" fmla="*/ 38 w 175"/>
                <a:gd name="T69" fmla="*/ 199 h 209"/>
                <a:gd name="T70" fmla="*/ 33 w 175"/>
                <a:gd name="T71" fmla="*/ 185 h 209"/>
                <a:gd name="T72" fmla="*/ 24 w 175"/>
                <a:gd name="T73" fmla="*/ 171 h 209"/>
                <a:gd name="T74" fmla="*/ 25 w 175"/>
                <a:gd name="T75" fmla="*/ 161 h 209"/>
                <a:gd name="T76" fmla="*/ 23 w 175"/>
                <a:gd name="T77" fmla="*/ 152 h 209"/>
                <a:gd name="T78" fmla="*/ 17 w 175"/>
                <a:gd name="T79" fmla="*/ 141 h 209"/>
                <a:gd name="T80" fmla="*/ 14 w 175"/>
                <a:gd name="T81" fmla="*/ 132 h 209"/>
                <a:gd name="T82" fmla="*/ 8 w 175"/>
                <a:gd name="T83" fmla="*/ 122 h 209"/>
                <a:gd name="T84" fmla="*/ 12 w 175"/>
                <a:gd name="T85" fmla="*/ 112 h 209"/>
                <a:gd name="T86" fmla="*/ 15 w 175"/>
                <a:gd name="T87" fmla="*/ 108 h 209"/>
                <a:gd name="T88" fmla="*/ 19 w 175"/>
                <a:gd name="T89" fmla="*/ 104 h 209"/>
                <a:gd name="T90" fmla="*/ 15 w 175"/>
                <a:gd name="T91" fmla="*/ 99 h 209"/>
                <a:gd name="T92" fmla="*/ 9 w 175"/>
                <a:gd name="T93" fmla="*/ 91 h 209"/>
                <a:gd name="T94" fmla="*/ 8 w 175"/>
                <a:gd name="T95" fmla="*/ 83 h 209"/>
                <a:gd name="T96" fmla="*/ 11 w 175"/>
                <a:gd name="T97" fmla="*/ 73 h 209"/>
                <a:gd name="T98" fmla="*/ 10 w 175"/>
                <a:gd name="T99" fmla="*/ 64 h 209"/>
                <a:gd name="T100" fmla="*/ 10 w 175"/>
                <a:gd name="T101" fmla="*/ 52 h 209"/>
                <a:gd name="T102" fmla="*/ 14 w 175"/>
                <a:gd name="T103" fmla="*/ 45 h 209"/>
                <a:gd name="T104" fmla="*/ 0 w 175"/>
                <a:gd name="T105" fmla="*/ 20 h 209"/>
                <a:gd name="T106" fmla="*/ 11 w 175"/>
                <a:gd name="T107" fmla="*/ 22 h 209"/>
                <a:gd name="T108" fmla="*/ 21 w 175"/>
                <a:gd name="T109" fmla="*/ 17 h 209"/>
                <a:gd name="T110" fmla="*/ 30 w 175"/>
                <a:gd name="T111" fmla="*/ 11 h 209"/>
                <a:gd name="T112" fmla="*/ 43 w 175"/>
                <a:gd name="T113" fmla="*/ 4 h 209"/>
                <a:gd name="T114" fmla="*/ 52 w 175"/>
                <a:gd name="T115" fmla="*/ 1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5" h="209">
                  <a:moveTo>
                    <a:pt x="15" y="103"/>
                  </a:moveTo>
                  <a:lnTo>
                    <a:pt x="16" y="104"/>
                  </a:lnTo>
                  <a:lnTo>
                    <a:pt x="15" y="103"/>
                  </a:lnTo>
                  <a:lnTo>
                    <a:pt x="14" y="103"/>
                  </a:lnTo>
                  <a:lnTo>
                    <a:pt x="12" y="104"/>
                  </a:lnTo>
                  <a:lnTo>
                    <a:pt x="12" y="103"/>
                  </a:lnTo>
                  <a:lnTo>
                    <a:pt x="12" y="102"/>
                  </a:lnTo>
                  <a:lnTo>
                    <a:pt x="12" y="101"/>
                  </a:lnTo>
                  <a:lnTo>
                    <a:pt x="14" y="102"/>
                  </a:lnTo>
                  <a:lnTo>
                    <a:pt x="15" y="103"/>
                  </a:lnTo>
                  <a:close/>
                  <a:moveTo>
                    <a:pt x="59" y="3"/>
                  </a:moveTo>
                  <a:lnTo>
                    <a:pt x="58" y="4"/>
                  </a:lnTo>
                  <a:lnTo>
                    <a:pt x="58" y="5"/>
                  </a:lnTo>
                  <a:lnTo>
                    <a:pt x="59" y="6"/>
                  </a:lnTo>
                  <a:lnTo>
                    <a:pt x="59" y="7"/>
                  </a:lnTo>
                  <a:lnTo>
                    <a:pt x="59" y="8"/>
                  </a:lnTo>
                  <a:lnTo>
                    <a:pt x="59" y="10"/>
                  </a:lnTo>
                  <a:lnTo>
                    <a:pt x="58" y="11"/>
                  </a:lnTo>
                  <a:lnTo>
                    <a:pt x="58" y="12"/>
                  </a:lnTo>
                  <a:lnTo>
                    <a:pt x="57" y="12"/>
                  </a:lnTo>
                  <a:lnTo>
                    <a:pt x="57" y="13"/>
                  </a:lnTo>
                  <a:lnTo>
                    <a:pt x="58" y="13"/>
                  </a:lnTo>
                  <a:lnTo>
                    <a:pt x="58" y="14"/>
                  </a:lnTo>
                  <a:lnTo>
                    <a:pt x="58" y="15"/>
                  </a:lnTo>
                  <a:lnTo>
                    <a:pt x="58" y="17"/>
                  </a:lnTo>
                  <a:lnTo>
                    <a:pt x="58" y="18"/>
                  </a:lnTo>
                  <a:lnTo>
                    <a:pt x="59" y="18"/>
                  </a:lnTo>
                  <a:lnTo>
                    <a:pt x="59" y="19"/>
                  </a:lnTo>
                  <a:lnTo>
                    <a:pt x="59" y="20"/>
                  </a:lnTo>
                  <a:lnTo>
                    <a:pt x="59" y="21"/>
                  </a:lnTo>
                  <a:lnTo>
                    <a:pt x="59" y="22"/>
                  </a:lnTo>
                  <a:lnTo>
                    <a:pt x="58" y="24"/>
                  </a:lnTo>
                  <a:lnTo>
                    <a:pt x="59" y="24"/>
                  </a:lnTo>
                  <a:lnTo>
                    <a:pt x="59" y="25"/>
                  </a:lnTo>
                  <a:lnTo>
                    <a:pt x="59" y="26"/>
                  </a:lnTo>
                  <a:lnTo>
                    <a:pt x="59" y="27"/>
                  </a:lnTo>
                  <a:lnTo>
                    <a:pt x="60" y="28"/>
                  </a:lnTo>
                  <a:lnTo>
                    <a:pt x="61" y="29"/>
                  </a:lnTo>
                  <a:lnTo>
                    <a:pt x="61" y="31"/>
                  </a:lnTo>
                  <a:lnTo>
                    <a:pt x="62" y="31"/>
                  </a:lnTo>
                  <a:lnTo>
                    <a:pt x="61" y="31"/>
                  </a:lnTo>
                  <a:lnTo>
                    <a:pt x="61" y="32"/>
                  </a:lnTo>
                  <a:lnTo>
                    <a:pt x="61" y="33"/>
                  </a:lnTo>
                  <a:lnTo>
                    <a:pt x="62" y="33"/>
                  </a:lnTo>
                  <a:lnTo>
                    <a:pt x="62" y="32"/>
                  </a:lnTo>
                  <a:lnTo>
                    <a:pt x="62" y="33"/>
                  </a:lnTo>
                  <a:lnTo>
                    <a:pt x="64" y="33"/>
                  </a:lnTo>
                  <a:lnTo>
                    <a:pt x="64" y="34"/>
                  </a:lnTo>
                  <a:lnTo>
                    <a:pt x="64" y="35"/>
                  </a:lnTo>
                  <a:lnTo>
                    <a:pt x="65" y="35"/>
                  </a:lnTo>
                  <a:lnTo>
                    <a:pt x="65" y="36"/>
                  </a:lnTo>
                  <a:lnTo>
                    <a:pt x="66" y="36"/>
                  </a:lnTo>
                  <a:lnTo>
                    <a:pt x="66" y="38"/>
                  </a:lnTo>
                  <a:lnTo>
                    <a:pt x="67" y="36"/>
                  </a:lnTo>
                  <a:lnTo>
                    <a:pt x="67" y="38"/>
                  </a:lnTo>
                  <a:lnTo>
                    <a:pt x="68" y="38"/>
                  </a:lnTo>
                  <a:lnTo>
                    <a:pt x="68" y="39"/>
                  </a:lnTo>
                  <a:lnTo>
                    <a:pt x="69" y="39"/>
                  </a:lnTo>
                  <a:lnTo>
                    <a:pt x="69" y="40"/>
                  </a:lnTo>
                  <a:lnTo>
                    <a:pt x="71" y="40"/>
                  </a:lnTo>
                  <a:lnTo>
                    <a:pt x="72" y="40"/>
                  </a:lnTo>
                  <a:lnTo>
                    <a:pt x="72" y="41"/>
                  </a:lnTo>
                  <a:lnTo>
                    <a:pt x="72" y="42"/>
                  </a:lnTo>
                  <a:lnTo>
                    <a:pt x="73" y="42"/>
                  </a:lnTo>
                  <a:lnTo>
                    <a:pt x="73" y="43"/>
                  </a:lnTo>
                  <a:lnTo>
                    <a:pt x="74" y="43"/>
                  </a:lnTo>
                  <a:lnTo>
                    <a:pt x="74" y="45"/>
                  </a:lnTo>
                  <a:lnTo>
                    <a:pt x="74" y="43"/>
                  </a:lnTo>
                  <a:lnTo>
                    <a:pt x="75" y="43"/>
                  </a:lnTo>
                  <a:lnTo>
                    <a:pt x="75" y="45"/>
                  </a:lnTo>
                  <a:lnTo>
                    <a:pt x="76" y="45"/>
                  </a:lnTo>
                  <a:lnTo>
                    <a:pt x="78" y="45"/>
                  </a:lnTo>
                  <a:lnTo>
                    <a:pt x="79" y="45"/>
                  </a:lnTo>
                  <a:lnTo>
                    <a:pt x="80" y="45"/>
                  </a:lnTo>
                  <a:lnTo>
                    <a:pt x="80" y="46"/>
                  </a:lnTo>
                  <a:lnTo>
                    <a:pt x="80" y="45"/>
                  </a:lnTo>
                  <a:lnTo>
                    <a:pt x="81" y="45"/>
                  </a:lnTo>
                  <a:lnTo>
                    <a:pt x="81" y="43"/>
                  </a:lnTo>
                  <a:lnTo>
                    <a:pt x="83" y="45"/>
                  </a:lnTo>
                  <a:lnTo>
                    <a:pt x="85" y="45"/>
                  </a:lnTo>
                  <a:lnTo>
                    <a:pt x="86" y="46"/>
                  </a:lnTo>
                  <a:lnTo>
                    <a:pt x="87" y="46"/>
                  </a:lnTo>
                  <a:lnTo>
                    <a:pt x="87" y="47"/>
                  </a:lnTo>
                  <a:lnTo>
                    <a:pt x="88" y="47"/>
                  </a:lnTo>
                  <a:lnTo>
                    <a:pt x="88" y="48"/>
                  </a:lnTo>
                  <a:lnTo>
                    <a:pt x="89" y="48"/>
                  </a:lnTo>
                  <a:lnTo>
                    <a:pt x="90" y="47"/>
                  </a:lnTo>
                  <a:lnTo>
                    <a:pt x="92" y="47"/>
                  </a:lnTo>
                  <a:lnTo>
                    <a:pt x="93" y="48"/>
                  </a:lnTo>
                  <a:lnTo>
                    <a:pt x="93" y="49"/>
                  </a:lnTo>
                  <a:lnTo>
                    <a:pt x="93" y="50"/>
                  </a:lnTo>
                  <a:lnTo>
                    <a:pt x="94" y="50"/>
                  </a:lnTo>
                  <a:lnTo>
                    <a:pt x="95" y="52"/>
                  </a:lnTo>
                  <a:lnTo>
                    <a:pt x="96" y="52"/>
                  </a:lnTo>
                  <a:lnTo>
                    <a:pt x="96" y="53"/>
                  </a:lnTo>
                  <a:lnTo>
                    <a:pt x="97" y="53"/>
                  </a:lnTo>
                  <a:lnTo>
                    <a:pt x="97" y="52"/>
                  </a:lnTo>
                  <a:lnTo>
                    <a:pt x="98" y="53"/>
                  </a:lnTo>
                  <a:lnTo>
                    <a:pt x="100" y="54"/>
                  </a:lnTo>
                  <a:lnTo>
                    <a:pt x="101" y="54"/>
                  </a:lnTo>
                  <a:lnTo>
                    <a:pt x="102" y="54"/>
                  </a:lnTo>
                  <a:lnTo>
                    <a:pt x="102" y="55"/>
                  </a:lnTo>
                  <a:lnTo>
                    <a:pt x="103" y="55"/>
                  </a:lnTo>
                  <a:lnTo>
                    <a:pt x="104" y="54"/>
                  </a:lnTo>
                  <a:lnTo>
                    <a:pt x="104" y="55"/>
                  </a:lnTo>
                  <a:lnTo>
                    <a:pt x="104" y="54"/>
                  </a:lnTo>
                  <a:lnTo>
                    <a:pt x="105" y="54"/>
                  </a:lnTo>
                  <a:lnTo>
                    <a:pt x="105" y="55"/>
                  </a:lnTo>
                  <a:lnTo>
                    <a:pt x="105" y="56"/>
                  </a:lnTo>
                  <a:lnTo>
                    <a:pt x="107" y="57"/>
                  </a:lnTo>
                  <a:lnTo>
                    <a:pt x="108" y="59"/>
                  </a:lnTo>
                  <a:lnTo>
                    <a:pt x="109" y="60"/>
                  </a:lnTo>
                  <a:lnTo>
                    <a:pt x="110" y="61"/>
                  </a:lnTo>
                  <a:lnTo>
                    <a:pt x="111" y="61"/>
                  </a:lnTo>
                  <a:lnTo>
                    <a:pt x="112" y="61"/>
                  </a:lnTo>
                  <a:lnTo>
                    <a:pt x="114" y="61"/>
                  </a:lnTo>
                  <a:lnTo>
                    <a:pt x="115" y="61"/>
                  </a:lnTo>
                  <a:lnTo>
                    <a:pt x="116" y="61"/>
                  </a:lnTo>
                  <a:lnTo>
                    <a:pt x="117" y="60"/>
                  </a:lnTo>
                  <a:lnTo>
                    <a:pt x="117" y="61"/>
                  </a:lnTo>
                  <a:lnTo>
                    <a:pt x="118" y="61"/>
                  </a:lnTo>
                  <a:lnTo>
                    <a:pt x="119" y="61"/>
                  </a:lnTo>
                  <a:lnTo>
                    <a:pt x="119" y="60"/>
                  </a:lnTo>
                  <a:lnTo>
                    <a:pt x="121" y="60"/>
                  </a:lnTo>
                  <a:lnTo>
                    <a:pt x="121" y="61"/>
                  </a:lnTo>
                  <a:lnTo>
                    <a:pt x="122" y="61"/>
                  </a:lnTo>
                  <a:lnTo>
                    <a:pt x="123" y="61"/>
                  </a:lnTo>
                  <a:lnTo>
                    <a:pt x="123" y="62"/>
                  </a:lnTo>
                  <a:lnTo>
                    <a:pt x="124" y="62"/>
                  </a:lnTo>
                  <a:lnTo>
                    <a:pt x="125" y="63"/>
                  </a:lnTo>
                  <a:lnTo>
                    <a:pt x="126" y="63"/>
                  </a:lnTo>
                  <a:lnTo>
                    <a:pt x="126" y="64"/>
                  </a:lnTo>
                  <a:lnTo>
                    <a:pt x="128" y="64"/>
                  </a:lnTo>
                  <a:lnTo>
                    <a:pt x="129" y="64"/>
                  </a:lnTo>
                  <a:lnTo>
                    <a:pt x="129" y="66"/>
                  </a:lnTo>
                  <a:lnTo>
                    <a:pt x="129" y="67"/>
                  </a:lnTo>
                  <a:lnTo>
                    <a:pt x="130" y="67"/>
                  </a:lnTo>
                  <a:lnTo>
                    <a:pt x="130" y="68"/>
                  </a:lnTo>
                  <a:lnTo>
                    <a:pt x="130" y="69"/>
                  </a:lnTo>
                  <a:lnTo>
                    <a:pt x="130" y="70"/>
                  </a:lnTo>
                  <a:lnTo>
                    <a:pt x="129" y="70"/>
                  </a:lnTo>
                  <a:lnTo>
                    <a:pt x="129" y="71"/>
                  </a:lnTo>
                  <a:lnTo>
                    <a:pt x="130" y="71"/>
                  </a:lnTo>
                  <a:lnTo>
                    <a:pt x="130" y="73"/>
                  </a:lnTo>
                  <a:lnTo>
                    <a:pt x="131" y="74"/>
                  </a:lnTo>
                  <a:lnTo>
                    <a:pt x="131" y="75"/>
                  </a:lnTo>
                  <a:lnTo>
                    <a:pt x="131" y="76"/>
                  </a:lnTo>
                  <a:lnTo>
                    <a:pt x="131" y="77"/>
                  </a:lnTo>
                  <a:lnTo>
                    <a:pt x="132" y="78"/>
                  </a:lnTo>
                  <a:lnTo>
                    <a:pt x="132" y="80"/>
                  </a:lnTo>
                  <a:lnTo>
                    <a:pt x="132" y="81"/>
                  </a:lnTo>
                  <a:lnTo>
                    <a:pt x="132" y="82"/>
                  </a:lnTo>
                  <a:lnTo>
                    <a:pt x="133" y="83"/>
                  </a:lnTo>
                  <a:lnTo>
                    <a:pt x="133" y="84"/>
                  </a:lnTo>
                  <a:lnTo>
                    <a:pt x="133" y="85"/>
                  </a:lnTo>
                  <a:lnTo>
                    <a:pt x="131" y="85"/>
                  </a:lnTo>
                  <a:lnTo>
                    <a:pt x="129" y="85"/>
                  </a:lnTo>
                  <a:lnTo>
                    <a:pt x="130" y="87"/>
                  </a:lnTo>
                  <a:lnTo>
                    <a:pt x="131" y="88"/>
                  </a:lnTo>
                  <a:lnTo>
                    <a:pt x="132" y="90"/>
                  </a:lnTo>
                  <a:lnTo>
                    <a:pt x="133" y="91"/>
                  </a:lnTo>
                  <a:lnTo>
                    <a:pt x="135" y="92"/>
                  </a:lnTo>
                  <a:lnTo>
                    <a:pt x="135" y="95"/>
                  </a:lnTo>
                  <a:lnTo>
                    <a:pt x="135" y="97"/>
                  </a:lnTo>
                  <a:lnTo>
                    <a:pt x="136" y="99"/>
                  </a:lnTo>
                  <a:lnTo>
                    <a:pt x="136" y="102"/>
                  </a:lnTo>
                  <a:lnTo>
                    <a:pt x="136" y="103"/>
                  </a:lnTo>
                  <a:lnTo>
                    <a:pt x="136" y="104"/>
                  </a:lnTo>
                  <a:lnTo>
                    <a:pt x="137" y="104"/>
                  </a:lnTo>
                  <a:lnTo>
                    <a:pt x="140" y="104"/>
                  </a:lnTo>
                  <a:lnTo>
                    <a:pt x="143" y="104"/>
                  </a:lnTo>
                  <a:lnTo>
                    <a:pt x="145" y="104"/>
                  </a:lnTo>
                  <a:lnTo>
                    <a:pt x="147" y="105"/>
                  </a:lnTo>
                  <a:lnTo>
                    <a:pt x="151" y="105"/>
                  </a:lnTo>
                  <a:lnTo>
                    <a:pt x="153" y="105"/>
                  </a:lnTo>
                  <a:lnTo>
                    <a:pt x="156" y="105"/>
                  </a:lnTo>
                  <a:lnTo>
                    <a:pt x="159" y="105"/>
                  </a:lnTo>
                  <a:lnTo>
                    <a:pt x="160" y="105"/>
                  </a:lnTo>
                  <a:lnTo>
                    <a:pt x="160" y="104"/>
                  </a:lnTo>
                  <a:lnTo>
                    <a:pt x="161" y="104"/>
                  </a:lnTo>
                  <a:lnTo>
                    <a:pt x="161" y="106"/>
                  </a:lnTo>
                  <a:lnTo>
                    <a:pt x="161" y="108"/>
                  </a:lnTo>
                  <a:lnTo>
                    <a:pt x="160" y="110"/>
                  </a:lnTo>
                  <a:lnTo>
                    <a:pt x="160" y="111"/>
                  </a:lnTo>
                  <a:lnTo>
                    <a:pt x="160" y="112"/>
                  </a:lnTo>
                  <a:lnTo>
                    <a:pt x="160" y="113"/>
                  </a:lnTo>
                  <a:lnTo>
                    <a:pt x="160" y="115"/>
                  </a:lnTo>
                  <a:lnTo>
                    <a:pt x="160" y="116"/>
                  </a:lnTo>
                  <a:lnTo>
                    <a:pt x="161" y="117"/>
                  </a:lnTo>
                  <a:lnTo>
                    <a:pt x="161" y="118"/>
                  </a:lnTo>
                  <a:lnTo>
                    <a:pt x="161" y="119"/>
                  </a:lnTo>
                  <a:lnTo>
                    <a:pt x="161" y="120"/>
                  </a:lnTo>
                  <a:lnTo>
                    <a:pt x="162" y="120"/>
                  </a:lnTo>
                  <a:lnTo>
                    <a:pt x="164" y="120"/>
                  </a:lnTo>
                  <a:lnTo>
                    <a:pt x="164" y="122"/>
                  </a:lnTo>
                  <a:lnTo>
                    <a:pt x="165" y="122"/>
                  </a:lnTo>
                  <a:lnTo>
                    <a:pt x="165" y="123"/>
                  </a:lnTo>
                  <a:lnTo>
                    <a:pt x="166" y="123"/>
                  </a:lnTo>
                  <a:lnTo>
                    <a:pt x="167" y="124"/>
                  </a:lnTo>
                  <a:lnTo>
                    <a:pt x="168" y="124"/>
                  </a:lnTo>
                  <a:lnTo>
                    <a:pt x="169" y="124"/>
                  </a:lnTo>
                  <a:lnTo>
                    <a:pt x="171" y="125"/>
                  </a:lnTo>
                  <a:lnTo>
                    <a:pt x="171" y="126"/>
                  </a:lnTo>
                  <a:lnTo>
                    <a:pt x="171" y="127"/>
                  </a:lnTo>
                  <a:lnTo>
                    <a:pt x="172" y="127"/>
                  </a:lnTo>
                  <a:lnTo>
                    <a:pt x="172" y="129"/>
                  </a:lnTo>
                  <a:lnTo>
                    <a:pt x="173" y="132"/>
                  </a:lnTo>
                  <a:lnTo>
                    <a:pt x="174" y="133"/>
                  </a:lnTo>
                  <a:lnTo>
                    <a:pt x="174" y="134"/>
                  </a:lnTo>
                  <a:lnTo>
                    <a:pt x="175" y="134"/>
                  </a:lnTo>
                  <a:lnTo>
                    <a:pt x="175" y="136"/>
                  </a:lnTo>
                  <a:lnTo>
                    <a:pt x="174" y="136"/>
                  </a:lnTo>
                  <a:lnTo>
                    <a:pt x="174" y="137"/>
                  </a:lnTo>
                  <a:lnTo>
                    <a:pt x="174" y="139"/>
                  </a:lnTo>
                  <a:lnTo>
                    <a:pt x="173" y="141"/>
                  </a:lnTo>
                  <a:lnTo>
                    <a:pt x="173" y="144"/>
                  </a:lnTo>
                  <a:lnTo>
                    <a:pt x="172" y="145"/>
                  </a:lnTo>
                  <a:lnTo>
                    <a:pt x="172" y="146"/>
                  </a:lnTo>
                  <a:lnTo>
                    <a:pt x="173" y="146"/>
                  </a:lnTo>
                  <a:lnTo>
                    <a:pt x="173" y="147"/>
                  </a:lnTo>
                  <a:lnTo>
                    <a:pt x="173" y="148"/>
                  </a:lnTo>
                  <a:lnTo>
                    <a:pt x="172" y="148"/>
                  </a:lnTo>
                  <a:lnTo>
                    <a:pt x="172" y="150"/>
                  </a:lnTo>
                  <a:lnTo>
                    <a:pt x="171" y="152"/>
                  </a:lnTo>
                  <a:lnTo>
                    <a:pt x="171" y="154"/>
                  </a:lnTo>
                  <a:lnTo>
                    <a:pt x="169" y="155"/>
                  </a:lnTo>
                  <a:lnTo>
                    <a:pt x="169" y="157"/>
                  </a:lnTo>
                  <a:lnTo>
                    <a:pt x="169" y="158"/>
                  </a:lnTo>
                  <a:lnTo>
                    <a:pt x="168" y="159"/>
                  </a:lnTo>
                  <a:lnTo>
                    <a:pt x="169" y="160"/>
                  </a:lnTo>
                  <a:lnTo>
                    <a:pt x="171" y="161"/>
                  </a:lnTo>
                  <a:lnTo>
                    <a:pt x="173" y="162"/>
                  </a:lnTo>
                  <a:lnTo>
                    <a:pt x="173" y="164"/>
                  </a:lnTo>
                  <a:lnTo>
                    <a:pt x="172" y="164"/>
                  </a:lnTo>
                  <a:lnTo>
                    <a:pt x="171" y="164"/>
                  </a:lnTo>
                  <a:lnTo>
                    <a:pt x="171" y="165"/>
                  </a:lnTo>
                  <a:lnTo>
                    <a:pt x="169" y="165"/>
                  </a:lnTo>
                  <a:lnTo>
                    <a:pt x="169" y="166"/>
                  </a:lnTo>
                  <a:lnTo>
                    <a:pt x="168" y="166"/>
                  </a:lnTo>
                  <a:lnTo>
                    <a:pt x="168" y="165"/>
                  </a:lnTo>
                  <a:lnTo>
                    <a:pt x="168" y="164"/>
                  </a:lnTo>
                  <a:lnTo>
                    <a:pt x="168" y="162"/>
                  </a:lnTo>
                  <a:lnTo>
                    <a:pt x="168" y="161"/>
                  </a:lnTo>
                  <a:lnTo>
                    <a:pt x="168" y="160"/>
                  </a:lnTo>
                  <a:lnTo>
                    <a:pt x="167" y="160"/>
                  </a:lnTo>
                  <a:lnTo>
                    <a:pt x="166" y="159"/>
                  </a:lnTo>
                  <a:lnTo>
                    <a:pt x="165" y="158"/>
                  </a:lnTo>
                  <a:lnTo>
                    <a:pt x="164" y="158"/>
                  </a:lnTo>
                  <a:lnTo>
                    <a:pt x="162" y="157"/>
                  </a:lnTo>
                  <a:lnTo>
                    <a:pt x="160" y="155"/>
                  </a:lnTo>
                  <a:lnTo>
                    <a:pt x="159" y="155"/>
                  </a:lnTo>
                  <a:lnTo>
                    <a:pt x="158" y="154"/>
                  </a:lnTo>
                  <a:lnTo>
                    <a:pt x="157" y="153"/>
                  </a:lnTo>
                  <a:lnTo>
                    <a:pt x="156" y="153"/>
                  </a:lnTo>
                  <a:lnTo>
                    <a:pt x="156" y="152"/>
                  </a:lnTo>
                  <a:lnTo>
                    <a:pt x="154" y="152"/>
                  </a:lnTo>
                  <a:lnTo>
                    <a:pt x="153" y="152"/>
                  </a:lnTo>
                  <a:lnTo>
                    <a:pt x="151" y="152"/>
                  </a:lnTo>
                  <a:lnTo>
                    <a:pt x="149" y="152"/>
                  </a:lnTo>
                  <a:lnTo>
                    <a:pt x="146" y="152"/>
                  </a:lnTo>
                  <a:lnTo>
                    <a:pt x="143" y="152"/>
                  </a:lnTo>
                  <a:lnTo>
                    <a:pt x="140" y="153"/>
                  </a:lnTo>
                  <a:lnTo>
                    <a:pt x="136" y="154"/>
                  </a:lnTo>
                  <a:lnTo>
                    <a:pt x="131" y="154"/>
                  </a:lnTo>
                  <a:lnTo>
                    <a:pt x="126" y="155"/>
                  </a:lnTo>
                  <a:lnTo>
                    <a:pt x="122" y="157"/>
                  </a:lnTo>
                  <a:lnTo>
                    <a:pt x="121" y="158"/>
                  </a:lnTo>
                  <a:lnTo>
                    <a:pt x="119" y="158"/>
                  </a:lnTo>
                  <a:lnTo>
                    <a:pt x="118" y="158"/>
                  </a:lnTo>
                  <a:lnTo>
                    <a:pt x="118" y="159"/>
                  </a:lnTo>
                  <a:lnTo>
                    <a:pt x="118" y="160"/>
                  </a:lnTo>
                  <a:lnTo>
                    <a:pt x="118" y="161"/>
                  </a:lnTo>
                  <a:lnTo>
                    <a:pt x="117" y="162"/>
                  </a:lnTo>
                  <a:lnTo>
                    <a:pt x="117" y="164"/>
                  </a:lnTo>
                  <a:lnTo>
                    <a:pt x="117" y="165"/>
                  </a:lnTo>
                  <a:lnTo>
                    <a:pt x="116" y="166"/>
                  </a:lnTo>
                  <a:lnTo>
                    <a:pt x="116" y="167"/>
                  </a:lnTo>
                  <a:lnTo>
                    <a:pt x="115" y="168"/>
                  </a:lnTo>
                  <a:lnTo>
                    <a:pt x="115" y="169"/>
                  </a:lnTo>
                  <a:lnTo>
                    <a:pt x="114" y="171"/>
                  </a:lnTo>
                  <a:lnTo>
                    <a:pt x="114" y="172"/>
                  </a:lnTo>
                  <a:lnTo>
                    <a:pt x="112" y="172"/>
                  </a:lnTo>
                  <a:lnTo>
                    <a:pt x="112" y="173"/>
                  </a:lnTo>
                  <a:lnTo>
                    <a:pt x="114" y="174"/>
                  </a:lnTo>
                  <a:lnTo>
                    <a:pt x="114" y="175"/>
                  </a:lnTo>
                  <a:lnTo>
                    <a:pt x="114" y="176"/>
                  </a:lnTo>
                  <a:lnTo>
                    <a:pt x="114" y="179"/>
                  </a:lnTo>
                  <a:lnTo>
                    <a:pt x="114" y="180"/>
                  </a:lnTo>
                  <a:lnTo>
                    <a:pt x="114" y="182"/>
                  </a:lnTo>
                  <a:lnTo>
                    <a:pt x="114" y="183"/>
                  </a:lnTo>
                  <a:lnTo>
                    <a:pt x="112" y="186"/>
                  </a:lnTo>
                  <a:lnTo>
                    <a:pt x="112" y="187"/>
                  </a:lnTo>
                  <a:lnTo>
                    <a:pt x="112" y="189"/>
                  </a:lnTo>
                  <a:lnTo>
                    <a:pt x="111" y="190"/>
                  </a:lnTo>
                  <a:lnTo>
                    <a:pt x="111" y="193"/>
                  </a:lnTo>
                  <a:lnTo>
                    <a:pt x="111" y="195"/>
                  </a:lnTo>
                  <a:lnTo>
                    <a:pt x="111" y="196"/>
                  </a:lnTo>
                  <a:lnTo>
                    <a:pt x="110" y="197"/>
                  </a:lnTo>
                  <a:lnTo>
                    <a:pt x="110" y="199"/>
                  </a:lnTo>
                  <a:lnTo>
                    <a:pt x="110" y="197"/>
                  </a:lnTo>
                  <a:lnTo>
                    <a:pt x="109" y="197"/>
                  </a:lnTo>
                  <a:lnTo>
                    <a:pt x="108" y="196"/>
                  </a:lnTo>
                  <a:lnTo>
                    <a:pt x="108" y="195"/>
                  </a:lnTo>
                  <a:lnTo>
                    <a:pt x="107" y="195"/>
                  </a:lnTo>
                  <a:lnTo>
                    <a:pt x="105" y="195"/>
                  </a:lnTo>
                  <a:lnTo>
                    <a:pt x="101" y="195"/>
                  </a:lnTo>
                  <a:lnTo>
                    <a:pt x="96" y="195"/>
                  </a:lnTo>
                  <a:lnTo>
                    <a:pt x="95" y="196"/>
                  </a:lnTo>
                  <a:lnTo>
                    <a:pt x="95" y="195"/>
                  </a:lnTo>
                  <a:lnTo>
                    <a:pt x="94" y="195"/>
                  </a:lnTo>
                  <a:lnTo>
                    <a:pt x="93" y="195"/>
                  </a:lnTo>
                  <a:lnTo>
                    <a:pt x="93" y="196"/>
                  </a:lnTo>
                  <a:lnTo>
                    <a:pt x="92" y="196"/>
                  </a:lnTo>
                  <a:lnTo>
                    <a:pt x="92" y="197"/>
                  </a:lnTo>
                  <a:lnTo>
                    <a:pt x="92" y="199"/>
                  </a:lnTo>
                  <a:lnTo>
                    <a:pt x="90" y="199"/>
                  </a:lnTo>
                  <a:lnTo>
                    <a:pt x="90" y="202"/>
                  </a:lnTo>
                  <a:lnTo>
                    <a:pt x="89" y="203"/>
                  </a:lnTo>
                  <a:lnTo>
                    <a:pt x="89" y="206"/>
                  </a:lnTo>
                  <a:lnTo>
                    <a:pt x="89" y="207"/>
                  </a:lnTo>
                  <a:lnTo>
                    <a:pt x="88" y="209"/>
                  </a:lnTo>
                  <a:lnTo>
                    <a:pt x="89" y="209"/>
                  </a:lnTo>
                  <a:lnTo>
                    <a:pt x="88" y="209"/>
                  </a:lnTo>
                  <a:lnTo>
                    <a:pt x="88" y="208"/>
                  </a:lnTo>
                  <a:lnTo>
                    <a:pt x="88" y="207"/>
                  </a:lnTo>
                  <a:lnTo>
                    <a:pt x="87" y="207"/>
                  </a:lnTo>
                  <a:lnTo>
                    <a:pt x="87" y="206"/>
                  </a:lnTo>
                  <a:lnTo>
                    <a:pt x="87" y="204"/>
                  </a:lnTo>
                  <a:lnTo>
                    <a:pt x="87" y="203"/>
                  </a:lnTo>
                  <a:lnTo>
                    <a:pt x="86" y="203"/>
                  </a:lnTo>
                  <a:lnTo>
                    <a:pt x="86" y="202"/>
                  </a:lnTo>
                  <a:lnTo>
                    <a:pt x="85" y="202"/>
                  </a:lnTo>
                  <a:lnTo>
                    <a:pt x="85" y="201"/>
                  </a:lnTo>
                  <a:lnTo>
                    <a:pt x="86" y="201"/>
                  </a:lnTo>
                  <a:lnTo>
                    <a:pt x="85" y="201"/>
                  </a:lnTo>
                  <a:lnTo>
                    <a:pt x="85" y="200"/>
                  </a:lnTo>
                  <a:lnTo>
                    <a:pt x="85" y="199"/>
                  </a:lnTo>
                  <a:lnTo>
                    <a:pt x="83" y="199"/>
                  </a:lnTo>
                  <a:lnTo>
                    <a:pt x="83" y="197"/>
                  </a:lnTo>
                  <a:lnTo>
                    <a:pt x="82" y="197"/>
                  </a:lnTo>
                  <a:lnTo>
                    <a:pt x="81" y="197"/>
                  </a:lnTo>
                  <a:lnTo>
                    <a:pt x="78" y="196"/>
                  </a:lnTo>
                  <a:lnTo>
                    <a:pt x="75" y="196"/>
                  </a:lnTo>
                  <a:lnTo>
                    <a:pt x="72" y="196"/>
                  </a:lnTo>
                  <a:lnTo>
                    <a:pt x="71" y="196"/>
                  </a:lnTo>
                  <a:lnTo>
                    <a:pt x="69" y="196"/>
                  </a:lnTo>
                  <a:lnTo>
                    <a:pt x="68" y="196"/>
                  </a:lnTo>
                  <a:lnTo>
                    <a:pt x="67" y="196"/>
                  </a:lnTo>
                  <a:lnTo>
                    <a:pt x="65" y="194"/>
                  </a:lnTo>
                  <a:lnTo>
                    <a:pt x="64" y="194"/>
                  </a:lnTo>
                  <a:lnTo>
                    <a:pt x="64" y="193"/>
                  </a:lnTo>
                  <a:lnTo>
                    <a:pt x="62" y="193"/>
                  </a:lnTo>
                  <a:lnTo>
                    <a:pt x="62" y="192"/>
                  </a:lnTo>
                  <a:lnTo>
                    <a:pt x="61" y="192"/>
                  </a:lnTo>
                  <a:lnTo>
                    <a:pt x="60" y="194"/>
                  </a:lnTo>
                  <a:lnTo>
                    <a:pt x="60" y="196"/>
                  </a:lnTo>
                  <a:lnTo>
                    <a:pt x="59" y="197"/>
                  </a:lnTo>
                  <a:lnTo>
                    <a:pt x="58" y="197"/>
                  </a:lnTo>
                  <a:lnTo>
                    <a:pt x="57" y="197"/>
                  </a:lnTo>
                  <a:lnTo>
                    <a:pt x="57" y="199"/>
                  </a:lnTo>
                  <a:lnTo>
                    <a:pt x="55" y="199"/>
                  </a:lnTo>
                  <a:lnTo>
                    <a:pt x="54" y="199"/>
                  </a:lnTo>
                  <a:lnTo>
                    <a:pt x="54" y="201"/>
                  </a:lnTo>
                  <a:lnTo>
                    <a:pt x="54" y="202"/>
                  </a:lnTo>
                  <a:lnTo>
                    <a:pt x="53" y="202"/>
                  </a:lnTo>
                  <a:lnTo>
                    <a:pt x="52" y="202"/>
                  </a:lnTo>
                  <a:lnTo>
                    <a:pt x="52" y="203"/>
                  </a:lnTo>
                  <a:lnTo>
                    <a:pt x="51" y="203"/>
                  </a:lnTo>
                  <a:lnTo>
                    <a:pt x="52" y="204"/>
                  </a:lnTo>
                  <a:lnTo>
                    <a:pt x="52" y="206"/>
                  </a:lnTo>
                  <a:lnTo>
                    <a:pt x="51" y="206"/>
                  </a:lnTo>
                  <a:lnTo>
                    <a:pt x="50" y="207"/>
                  </a:lnTo>
                  <a:lnTo>
                    <a:pt x="50" y="208"/>
                  </a:lnTo>
                  <a:lnTo>
                    <a:pt x="45" y="209"/>
                  </a:lnTo>
                  <a:lnTo>
                    <a:pt x="44" y="209"/>
                  </a:lnTo>
                  <a:lnTo>
                    <a:pt x="41" y="209"/>
                  </a:lnTo>
                  <a:lnTo>
                    <a:pt x="40" y="208"/>
                  </a:lnTo>
                  <a:lnTo>
                    <a:pt x="40" y="207"/>
                  </a:lnTo>
                  <a:lnTo>
                    <a:pt x="40" y="204"/>
                  </a:lnTo>
                  <a:lnTo>
                    <a:pt x="40" y="203"/>
                  </a:lnTo>
                  <a:lnTo>
                    <a:pt x="39" y="203"/>
                  </a:lnTo>
                  <a:lnTo>
                    <a:pt x="39" y="202"/>
                  </a:lnTo>
                  <a:lnTo>
                    <a:pt x="38" y="201"/>
                  </a:lnTo>
                  <a:lnTo>
                    <a:pt x="38" y="200"/>
                  </a:lnTo>
                  <a:lnTo>
                    <a:pt x="38" y="199"/>
                  </a:lnTo>
                  <a:lnTo>
                    <a:pt x="38" y="197"/>
                  </a:lnTo>
                  <a:lnTo>
                    <a:pt x="38" y="196"/>
                  </a:lnTo>
                  <a:lnTo>
                    <a:pt x="37" y="196"/>
                  </a:lnTo>
                  <a:lnTo>
                    <a:pt x="37" y="195"/>
                  </a:lnTo>
                  <a:lnTo>
                    <a:pt x="36" y="195"/>
                  </a:lnTo>
                  <a:lnTo>
                    <a:pt x="36" y="194"/>
                  </a:lnTo>
                  <a:lnTo>
                    <a:pt x="36" y="192"/>
                  </a:lnTo>
                  <a:lnTo>
                    <a:pt x="34" y="190"/>
                  </a:lnTo>
                  <a:lnTo>
                    <a:pt x="33" y="189"/>
                  </a:lnTo>
                  <a:lnTo>
                    <a:pt x="33" y="188"/>
                  </a:lnTo>
                  <a:lnTo>
                    <a:pt x="33" y="185"/>
                  </a:lnTo>
                  <a:lnTo>
                    <a:pt x="33" y="183"/>
                  </a:lnTo>
                  <a:lnTo>
                    <a:pt x="30" y="179"/>
                  </a:lnTo>
                  <a:lnTo>
                    <a:pt x="29" y="178"/>
                  </a:lnTo>
                  <a:lnTo>
                    <a:pt x="28" y="178"/>
                  </a:lnTo>
                  <a:lnTo>
                    <a:pt x="28" y="175"/>
                  </a:lnTo>
                  <a:lnTo>
                    <a:pt x="28" y="174"/>
                  </a:lnTo>
                  <a:lnTo>
                    <a:pt x="29" y="173"/>
                  </a:lnTo>
                  <a:lnTo>
                    <a:pt x="28" y="173"/>
                  </a:lnTo>
                  <a:lnTo>
                    <a:pt x="26" y="172"/>
                  </a:lnTo>
                  <a:lnTo>
                    <a:pt x="25" y="172"/>
                  </a:lnTo>
                  <a:lnTo>
                    <a:pt x="24" y="171"/>
                  </a:lnTo>
                  <a:lnTo>
                    <a:pt x="24" y="169"/>
                  </a:lnTo>
                  <a:lnTo>
                    <a:pt x="24" y="168"/>
                  </a:lnTo>
                  <a:lnTo>
                    <a:pt x="25" y="168"/>
                  </a:lnTo>
                  <a:lnTo>
                    <a:pt x="24" y="167"/>
                  </a:lnTo>
                  <a:lnTo>
                    <a:pt x="24" y="166"/>
                  </a:lnTo>
                  <a:lnTo>
                    <a:pt x="23" y="165"/>
                  </a:lnTo>
                  <a:lnTo>
                    <a:pt x="25" y="164"/>
                  </a:lnTo>
                  <a:lnTo>
                    <a:pt x="26" y="164"/>
                  </a:lnTo>
                  <a:lnTo>
                    <a:pt x="26" y="162"/>
                  </a:lnTo>
                  <a:lnTo>
                    <a:pt x="26" y="161"/>
                  </a:lnTo>
                  <a:lnTo>
                    <a:pt x="25" y="161"/>
                  </a:lnTo>
                  <a:lnTo>
                    <a:pt x="25" y="160"/>
                  </a:lnTo>
                  <a:lnTo>
                    <a:pt x="24" y="160"/>
                  </a:lnTo>
                  <a:lnTo>
                    <a:pt x="24" y="159"/>
                  </a:lnTo>
                  <a:lnTo>
                    <a:pt x="24" y="158"/>
                  </a:lnTo>
                  <a:lnTo>
                    <a:pt x="25" y="157"/>
                  </a:lnTo>
                  <a:lnTo>
                    <a:pt x="25" y="155"/>
                  </a:lnTo>
                  <a:lnTo>
                    <a:pt x="26" y="155"/>
                  </a:lnTo>
                  <a:lnTo>
                    <a:pt x="26" y="154"/>
                  </a:lnTo>
                  <a:lnTo>
                    <a:pt x="26" y="153"/>
                  </a:lnTo>
                  <a:lnTo>
                    <a:pt x="24" y="152"/>
                  </a:lnTo>
                  <a:lnTo>
                    <a:pt x="23" y="152"/>
                  </a:lnTo>
                  <a:lnTo>
                    <a:pt x="23" y="151"/>
                  </a:lnTo>
                  <a:lnTo>
                    <a:pt x="21" y="150"/>
                  </a:lnTo>
                  <a:lnTo>
                    <a:pt x="21" y="148"/>
                  </a:lnTo>
                  <a:lnTo>
                    <a:pt x="19" y="148"/>
                  </a:lnTo>
                  <a:lnTo>
                    <a:pt x="19" y="147"/>
                  </a:lnTo>
                  <a:lnTo>
                    <a:pt x="18" y="147"/>
                  </a:lnTo>
                  <a:lnTo>
                    <a:pt x="18" y="146"/>
                  </a:lnTo>
                  <a:lnTo>
                    <a:pt x="18" y="145"/>
                  </a:lnTo>
                  <a:lnTo>
                    <a:pt x="18" y="144"/>
                  </a:lnTo>
                  <a:lnTo>
                    <a:pt x="18" y="143"/>
                  </a:lnTo>
                  <a:lnTo>
                    <a:pt x="17" y="141"/>
                  </a:lnTo>
                  <a:lnTo>
                    <a:pt x="17" y="140"/>
                  </a:lnTo>
                  <a:lnTo>
                    <a:pt x="17" y="139"/>
                  </a:lnTo>
                  <a:lnTo>
                    <a:pt x="16" y="138"/>
                  </a:lnTo>
                  <a:lnTo>
                    <a:pt x="16" y="137"/>
                  </a:lnTo>
                  <a:lnTo>
                    <a:pt x="16" y="136"/>
                  </a:lnTo>
                  <a:lnTo>
                    <a:pt x="15" y="134"/>
                  </a:lnTo>
                  <a:lnTo>
                    <a:pt x="15" y="133"/>
                  </a:lnTo>
                  <a:lnTo>
                    <a:pt x="16" y="133"/>
                  </a:lnTo>
                  <a:lnTo>
                    <a:pt x="16" y="132"/>
                  </a:lnTo>
                  <a:lnTo>
                    <a:pt x="15" y="132"/>
                  </a:lnTo>
                  <a:lnTo>
                    <a:pt x="14" y="132"/>
                  </a:lnTo>
                  <a:lnTo>
                    <a:pt x="14" y="131"/>
                  </a:lnTo>
                  <a:lnTo>
                    <a:pt x="12" y="131"/>
                  </a:lnTo>
                  <a:lnTo>
                    <a:pt x="12" y="130"/>
                  </a:lnTo>
                  <a:lnTo>
                    <a:pt x="12" y="129"/>
                  </a:lnTo>
                  <a:lnTo>
                    <a:pt x="11" y="127"/>
                  </a:lnTo>
                  <a:lnTo>
                    <a:pt x="10" y="126"/>
                  </a:lnTo>
                  <a:lnTo>
                    <a:pt x="9" y="125"/>
                  </a:lnTo>
                  <a:lnTo>
                    <a:pt x="9" y="124"/>
                  </a:lnTo>
                  <a:lnTo>
                    <a:pt x="9" y="123"/>
                  </a:lnTo>
                  <a:lnTo>
                    <a:pt x="9" y="122"/>
                  </a:lnTo>
                  <a:lnTo>
                    <a:pt x="8" y="122"/>
                  </a:lnTo>
                  <a:lnTo>
                    <a:pt x="8" y="120"/>
                  </a:lnTo>
                  <a:lnTo>
                    <a:pt x="7" y="120"/>
                  </a:lnTo>
                  <a:lnTo>
                    <a:pt x="7" y="119"/>
                  </a:lnTo>
                  <a:lnTo>
                    <a:pt x="8" y="118"/>
                  </a:lnTo>
                  <a:lnTo>
                    <a:pt x="9" y="118"/>
                  </a:lnTo>
                  <a:lnTo>
                    <a:pt x="9" y="117"/>
                  </a:lnTo>
                  <a:lnTo>
                    <a:pt x="10" y="117"/>
                  </a:lnTo>
                  <a:lnTo>
                    <a:pt x="10" y="116"/>
                  </a:lnTo>
                  <a:lnTo>
                    <a:pt x="10" y="115"/>
                  </a:lnTo>
                  <a:lnTo>
                    <a:pt x="12" y="113"/>
                  </a:lnTo>
                  <a:lnTo>
                    <a:pt x="12" y="112"/>
                  </a:lnTo>
                  <a:lnTo>
                    <a:pt x="12" y="111"/>
                  </a:lnTo>
                  <a:lnTo>
                    <a:pt x="14" y="111"/>
                  </a:lnTo>
                  <a:lnTo>
                    <a:pt x="15" y="111"/>
                  </a:lnTo>
                  <a:lnTo>
                    <a:pt x="15" y="110"/>
                  </a:lnTo>
                  <a:lnTo>
                    <a:pt x="14" y="109"/>
                  </a:lnTo>
                  <a:lnTo>
                    <a:pt x="15" y="109"/>
                  </a:lnTo>
                  <a:lnTo>
                    <a:pt x="16" y="109"/>
                  </a:lnTo>
                  <a:lnTo>
                    <a:pt x="17" y="110"/>
                  </a:lnTo>
                  <a:lnTo>
                    <a:pt x="17" y="109"/>
                  </a:lnTo>
                  <a:lnTo>
                    <a:pt x="16" y="108"/>
                  </a:lnTo>
                  <a:lnTo>
                    <a:pt x="15" y="108"/>
                  </a:lnTo>
                  <a:lnTo>
                    <a:pt x="15" y="106"/>
                  </a:lnTo>
                  <a:lnTo>
                    <a:pt x="16" y="106"/>
                  </a:lnTo>
                  <a:lnTo>
                    <a:pt x="17" y="106"/>
                  </a:lnTo>
                  <a:lnTo>
                    <a:pt x="18" y="106"/>
                  </a:lnTo>
                  <a:lnTo>
                    <a:pt x="18" y="105"/>
                  </a:lnTo>
                  <a:lnTo>
                    <a:pt x="19" y="105"/>
                  </a:lnTo>
                  <a:lnTo>
                    <a:pt x="21" y="105"/>
                  </a:lnTo>
                  <a:lnTo>
                    <a:pt x="19" y="105"/>
                  </a:lnTo>
                  <a:lnTo>
                    <a:pt x="19" y="104"/>
                  </a:lnTo>
                  <a:lnTo>
                    <a:pt x="21" y="104"/>
                  </a:lnTo>
                  <a:lnTo>
                    <a:pt x="19" y="104"/>
                  </a:lnTo>
                  <a:lnTo>
                    <a:pt x="19" y="103"/>
                  </a:lnTo>
                  <a:lnTo>
                    <a:pt x="18" y="103"/>
                  </a:lnTo>
                  <a:lnTo>
                    <a:pt x="17" y="103"/>
                  </a:lnTo>
                  <a:lnTo>
                    <a:pt x="16" y="103"/>
                  </a:lnTo>
                  <a:lnTo>
                    <a:pt x="15" y="101"/>
                  </a:lnTo>
                  <a:lnTo>
                    <a:pt x="16" y="101"/>
                  </a:lnTo>
                  <a:lnTo>
                    <a:pt x="17" y="99"/>
                  </a:lnTo>
                  <a:lnTo>
                    <a:pt x="16" y="99"/>
                  </a:lnTo>
                  <a:lnTo>
                    <a:pt x="15" y="99"/>
                  </a:lnTo>
                  <a:lnTo>
                    <a:pt x="15" y="98"/>
                  </a:lnTo>
                  <a:lnTo>
                    <a:pt x="15" y="99"/>
                  </a:lnTo>
                  <a:lnTo>
                    <a:pt x="14" y="98"/>
                  </a:lnTo>
                  <a:lnTo>
                    <a:pt x="14" y="97"/>
                  </a:lnTo>
                  <a:lnTo>
                    <a:pt x="12" y="96"/>
                  </a:lnTo>
                  <a:lnTo>
                    <a:pt x="11" y="96"/>
                  </a:lnTo>
                  <a:lnTo>
                    <a:pt x="11" y="95"/>
                  </a:lnTo>
                  <a:lnTo>
                    <a:pt x="10" y="95"/>
                  </a:lnTo>
                  <a:lnTo>
                    <a:pt x="9" y="94"/>
                  </a:lnTo>
                  <a:lnTo>
                    <a:pt x="9" y="92"/>
                  </a:lnTo>
                  <a:lnTo>
                    <a:pt x="8" y="92"/>
                  </a:lnTo>
                  <a:lnTo>
                    <a:pt x="8" y="91"/>
                  </a:lnTo>
                  <a:lnTo>
                    <a:pt x="9" y="91"/>
                  </a:lnTo>
                  <a:lnTo>
                    <a:pt x="9" y="90"/>
                  </a:lnTo>
                  <a:lnTo>
                    <a:pt x="9" y="89"/>
                  </a:lnTo>
                  <a:lnTo>
                    <a:pt x="10" y="89"/>
                  </a:lnTo>
                  <a:lnTo>
                    <a:pt x="10" y="88"/>
                  </a:lnTo>
                  <a:lnTo>
                    <a:pt x="11" y="88"/>
                  </a:lnTo>
                  <a:lnTo>
                    <a:pt x="10" y="88"/>
                  </a:lnTo>
                  <a:lnTo>
                    <a:pt x="10" y="87"/>
                  </a:lnTo>
                  <a:lnTo>
                    <a:pt x="9" y="85"/>
                  </a:lnTo>
                  <a:lnTo>
                    <a:pt x="8" y="84"/>
                  </a:lnTo>
                  <a:lnTo>
                    <a:pt x="7" y="83"/>
                  </a:lnTo>
                  <a:lnTo>
                    <a:pt x="8" y="83"/>
                  </a:lnTo>
                  <a:lnTo>
                    <a:pt x="7" y="81"/>
                  </a:lnTo>
                  <a:lnTo>
                    <a:pt x="8" y="81"/>
                  </a:lnTo>
                  <a:lnTo>
                    <a:pt x="9" y="80"/>
                  </a:lnTo>
                  <a:lnTo>
                    <a:pt x="9" y="77"/>
                  </a:lnTo>
                  <a:lnTo>
                    <a:pt x="10" y="77"/>
                  </a:lnTo>
                  <a:lnTo>
                    <a:pt x="10" y="76"/>
                  </a:lnTo>
                  <a:lnTo>
                    <a:pt x="10" y="75"/>
                  </a:lnTo>
                  <a:lnTo>
                    <a:pt x="11" y="75"/>
                  </a:lnTo>
                  <a:lnTo>
                    <a:pt x="12" y="74"/>
                  </a:lnTo>
                  <a:lnTo>
                    <a:pt x="11" y="74"/>
                  </a:lnTo>
                  <a:lnTo>
                    <a:pt x="11" y="73"/>
                  </a:lnTo>
                  <a:lnTo>
                    <a:pt x="11" y="71"/>
                  </a:lnTo>
                  <a:lnTo>
                    <a:pt x="12" y="71"/>
                  </a:lnTo>
                  <a:lnTo>
                    <a:pt x="14" y="71"/>
                  </a:lnTo>
                  <a:lnTo>
                    <a:pt x="14" y="70"/>
                  </a:lnTo>
                  <a:lnTo>
                    <a:pt x="12" y="70"/>
                  </a:lnTo>
                  <a:lnTo>
                    <a:pt x="12" y="69"/>
                  </a:lnTo>
                  <a:lnTo>
                    <a:pt x="11" y="68"/>
                  </a:lnTo>
                  <a:lnTo>
                    <a:pt x="11" y="67"/>
                  </a:lnTo>
                  <a:lnTo>
                    <a:pt x="11" y="66"/>
                  </a:lnTo>
                  <a:lnTo>
                    <a:pt x="11" y="64"/>
                  </a:lnTo>
                  <a:lnTo>
                    <a:pt x="10" y="64"/>
                  </a:lnTo>
                  <a:lnTo>
                    <a:pt x="10" y="63"/>
                  </a:lnTo>
                  <a:lnTo>
                    <a:pt x="10" y="62"/>
                  </a:lnTo>
                  <a:lnTo>
                    <a:pt x="10" y="63"/>
                  </a:lnTo>
                  <a:lnTo>
                    <a:pt x="10" y="62"/>
                  </a:lnTo>
                  <a:lnTo>
                    <a:pt x="11" y="61"/>
                  </a:lnTo>
                  <a:lnTo>
                    <a:pt x="11" y="60"/>
                  </a:lnTo>
                  <a:lnTo>
                    <a:pt x="11" y="57"/>
                  </a:lnTo>
                  <a:lnTo>
                    <a:pt x="11" y="56"/>
                  </a:lnTo>
                  <a:lnTo>
                    <a:pt x="10" y="55"/>
                  </a:lnTo>
                  <a:lnTo>
                    <a:pt x="10" y="53"/>
                  </a:lnTo>
                  <a:lnTo>
                    <a:pt x="10" y="52"/>
                  </a:lnTo>
                  <a:lnTo>
                    <a:pt x="10" y="50"/>
                  </a:lnTo>
                  <a:lnTo>
                    <a:pt x="11" y="50"/>
                  </a:lnTo>
                  <a:lnTo>
                    <a:pt x="11" y="49"/>
                  </a:lnTo>
                  <a:lnTo>
                    <a:pt x="11" y="48"/>
                  </a:lnTo>
                  <a:lnTo>
                    <a:pt x="12" y="48"/>
                  </a:lnTo>
                  <a:lnTo>
                    <a:pt x="14" y="48"/>
                  </a:lnTo>
                  <a:lnTo>
                    <a:pt x="14" y="47"/>
                  </a:lnTo>
                  <a:lnTo>
                    <a:pt x="12" y="47"/>
                  </a:lnTo>
                  <a:lnTo>
                    <a:pt x="12" y="46"/>
                  </a:lnTo>
                  <a:lnTo>
                    <a:pt x="14" y="46"/>
                  </a:lnTo>
                  <a:lnTo>
                    <a:pt x="14" y="45"/>
                  </a:lnTo>
                  <a:lnTo>
                    <a:pt x="14" y="43"/>
                  </a:lnTo>
                  <a:lnTo>
                    <a:pt x="12" y="41"/>
                  </a:lnTo>
                  <a:lnTo>
                    <a:pt x="10" y="38"/>
                  </a:lnTo>
                  <a:lnTo>
                    <a:pt x="9" y="35"/>
                  </a:lnTo>
                  <a:lnTo>
                    <a:pt x="7" y="32"/>
                  </a:lnTo>
                  <a:lnTo>
                    <a:pt x="5" y="29"/>
                  </a:lnTo>
                  <a:lnTo>
                    <a:pt x="4" y="27"/>
                  </a:lnTo>
                  <a:lnTo>
                    <a:pt x="2" y="24"/>
                  </a:lnTo>
                  <a:lnTo>
                    <a:pt x="1" y="21"/>
                  </a:lnTo>
                  <a:lnTo>
                    <a:pt x="1" y="20"/>
                  </a:lnTo>
                  <a:lnTo>
                    <a:pt x="0" y="20"/>
                  </a:lnTo>
                  <a:lnTo>
                    <a:pt x="1" y="20"/>
                  </a:lnTo>
                  <a:lnTo>
                    <a:pt x="2" y="20"/>
                  </a:lnTo>
                  <a:lnTo>
                    <a:pt x="3" y="20"/>
                  </a:lnTo>
                  <a:lnTo>
                    <a:pt x="4" y="20"/>
                  </a:lnTo>
                  <a:lnTo>
                    <a:pt x="5" y="20"/>
                  </a:lnTo>
                  <a:lnTo>
                    <a:pt x="7" y="20"/>
                  </a:lnTo>
                  <a:lnTo>
                    <a:pt x="8" y="21"/>
                  </a:lnTo>
                  <a:lnTo>
                    <a:pt x="9" y="21"/>
                  </a:lnTo>
                  <a:lnTo>
                    <a:pt x="10" y="21"/>
                  </a:lnTo>
                  <a:lnTo>
                    <a:pt x="11" y="21"/>
                  </a:lnTo>
                  <a:lnTo>
                    <a:pt x="11" y="22"/>
                  </a:lnTo>
                  <a:lnTo>
                    <a:pt x="11" y="24"/>
                  </a:lnTo>
                  <a:lnTo>
                    <a:pt x="14" y="22"/>
                  </a:lnTo>
                  <a:lnTo>
                    <a:pt x="15" y="21"/>
                  </a:lnTo>
                  <a:lnTo>
                    <a:pt x="16" y="21"/>
                  </a:lnTo>
                  <a:lnTo>
                    <a:pt x="17" y="21"/>
                  </a:lnTo>
                  <a:lnTo>
                    <a:pt x="18" y="21"/>
                  </a:lnTo>
                  <a:lnTo>
                    <a:pt x="18" y="20"/>
                  </a:lnTo>
                  <a:lnTo>
                    <a:pt x="18" y="19"/>
                  </a:lnTo>
                  <a:lnTo>
                    <a:pt x="19" y="19"/>
                  </a:lnTo>
                  <a:lnTo>
                    <a:pt x="19" y="18"/>
                  </a:lnTo>
                  <a:lnTo>
                    <a:pt x="21" y="17"/>
                  </a:lnTo>
                  <a:lnTo>
                    <a:pt x="21" y="15"/>
                  </a:lnTo>
                  <a:lnTo>
                    <a:pt x="22" y="15"/>
                  </a:lnTo>
                  <a:lnTo>
                    <a:pt x="24" y="15"/>
                  </a:lnTo>
                  <a:lnTo>
                    <a:pt x="25" y="17"/>
                  </a:lnTo>
                  <a:lnTo>
                    <a:pt x="26" y="15"/>
                  </a:lnTo>
                  <a:lnTo>
                    <a:pt x="26" y="14"/>
                  </a:lnTo>
                  <a:lnTo>
                    <a:pt x="28" y="13"/>
                  </a:lnTo>
                  <a:lnTo>
                    <a:pt x="29" y="13"/>
                  </a:lnTo>
                  <a:lnTo>
                    <a:pt x="29" y="12"/>
                  </a:lnTo>
                  <a:lnTo>
                    <a:pt x="30" y="12"/>
                  </a:lnTo>
                  <a:lnTo>
                    <a:pt x="30" y="11"/>
                  </a:lnTo>
                  <a:lnTo>
                    <a:pt x="31" y="11"/>
                  </a:lnTo>
                  <a:lnTo>
                    <a:pt x="31" y="10"/>
                  </a:lnTo>
                  <a:lnTo>
                    <a:pt x="32" y="10"/>
                  </a:lnTo>
                  <a:lnTo>
                    <a:pt x="33" y="10"/>
                  </a:lnTo>
                  <a:lnTo>
                    <a:pt x="34" y="10"/>
                  </a:lnTo>
                  <a:lnTo>
                    <a:pt x="37" y="6"/>
                  </a:lnTo>
                  <a:lnTo>
                    <a:pt x="38" y="5"/>
                  </a:lnTo>
                  <a:lnTo>
                    <a:pt x="39" y="4"/>
                  </a:lnTo>
                  <a:lnTo>
                    <a:pt x="40" y="4"/>
                  </a:lnTo>
                  <a:lnTo>
                    <a:pt x="41" y="3"/>
                  </a:lnTo>
                  <a:lnTo>
                    <a:pt x="43" y="4"/>
                  </a:lnTo>
                  <a:lnTo>
                    <a:pt x="43" y="3"/>
                  </a:lnTo>
                  <a:lnTo>
                    <a:pt x="44" y="3"/>
                  </a:lnTo>
                  <a:lnTo>
                    <a:pt x="45" y="3"/>
                  </a:lnTo>
                  <a:lnTo>
                    <a:pt x="46" y="1"/>
                  </a:lnTo>
                  <a:lnTo>
                    <a:pt x="47" y="1"/>
                  </a:lnTo>
                  <a:lnTo>
                    <a:pt x="48" y="1"/>
                  </a:lnTo>
                  <a:lnTo>
                    <a:pt x="50" y="1"/>
                  </a:lnTo>
                  <a:lnTo>
                    <a:pt x="51" y="1"/>
                  </a:lnTo>
                  <a:lnTo>
                    <a:pt x="52" y="1"/>
                  </a:lnTo>
                  <a:lnTo>
                    <a:pt x="52" y="0"/>
                  </a:lnTo>
                  <a:lnTo>
                    <a:pt x="52" y="1"/>
                  </a:lnTo>
                  <a:lnTo>
                    <a:pt x="53" y="1"/>
                  </a:lnTo>
                  <a:lnTo>
                    <a:pt x="54" y="3"/>
                  </a:lnTo>
                  <a:lnTo>
                    <a:pt x="54" y="1"/>
                  </a:lnTo>
                  <a:lnTo>
                    <a:pt x="55" y="1"/>
                  </a:lnTo>
                  <a:lnTo>
                    <a:pt x="55" y="0"/>
                  </a:lnTo>
                  <a:lnTo>
                    <a:pt x="57" y="0"/>
                  </a:lnTo>
                  <a:lnTo>
                    <a:pt x="58" y="0"/>
                  </a:lnTo>
                  <a:lnTo>
                    <a:pt x="58" y="1"/>
                  </a:lnTo>
                  <a:lnTo>
                    <a:pt x="59" y="3"/>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solidFill>
                  <a:schemeClr val="tx1"/>
                </a:solidFill>
              </a:endParaRPr>
            </a:p>
          </p:txBody>
        </p:sp>
        <p:sp>
          <p:nvSpPr>
            <p:cNvPr id="94" name="Freeform 847">
              <a:extLst>
                <a:ext uri="{FF2B5EF4-FFF2-40B4-BE49-F238E27FC236}">
                  <a16:creationId xmlns:a16="http://schemas.microsoft.com/office/drawing/2014/main" id="{DB7B8721-F46C-4F6B-8FE6-E5A2CBFF9765}"/>
                </a:ext>
              </a:extLst>
            </p:cNvPr>
            <p:cNvSpPr>
              <a:spLocks noEditPoints="1"/>
            </p:cNvSpPr>
            <p:nvPr/>
          </p:nvSpPr>
          <p:spPr bwMode="auto">
            <a:xfrm>
              <a:off x="4432211" y="3236347"/>
              <a:ext cx="838687" cy="823997"/>
            </a:xfrm>
            <a:custGeom>
              <a:avLst/>
              <a:gdLst>
                <a:gd name="T0" fmla="*/ 414 w 628"/>
                <a:gd name="T1" fmla="*/ 461 h 617"/>
                <a:gd name="T2" fmla="*/ 578 w 628"/>
                <a:gd name="T3" fmla="*/ 144 h 617"/>
                <a:gd name="T4" fmla="*/ 339 w 628"/>
                <a:gd name="T5" fmla="*/ 112 h 617"/>
                <a:gd name="T6" fmla="*/ 317 w 628"/>
                <a:gd name="T7" fmla="*/ 96 h 617"/>
                <a:gd name="T8" fmla="*/ 313 w 628"/>
                <a:gd name="T9" fmla="*/ 91 h 617"/>
                <a:gd name="T10" fmla="*/ 348 w 628"/>
                <a:gd name="T11" fmla="*/ 103 h 617"/>
                <a:gd name="T12" fmla="*/ 328 w 628"/>
                <a:gd name="T13" fmla="*/ 109 h 617"/>
                <a:gd name="T14" fmla="*/ 322 w 628"/>
                <a:gd name="T15" fmla="*/ 93 h 617"/>
                <a:gd name="T16" fmla="*/ 338 w 628"/>
                <a:gd name="T17" fmla="*/ 79 h 617"/>
                <a:gd name="T18" fmla="*/ 331 w 628"/>
                <a:gd name="T19" fmla="*/ 74 h 617"/>
                <a:gd name="T20" fmla="*/ 193 w 628"/>
                <a:gd name="T21" fmla="*/ 12 h 617"/>
                <a:gd name="T22" fmla="*/ 203 w 628"/>
                <a:gd name="T23" fmla="*/ 62 h 617"/>
                <a:gd name="T24" fmla="*/ 247 w 628"/>
                <a:gd name="T25" fmla="*/ 49 h 617"/>
                <a:gd name="T26" fmla="*/ 287 w 628"/>
                <a:gd name="T27" fmla="*/ 49 h 617"/>
                <a:gd name="T28" fmla="*/ 317 w 628"/>
                <a:gd name="T29" fmla="*/ 23 h 617"/>
                <a:gd name="T30" fmla="*/ 331 w 628"/>
                <a:gd name="T31" fmla="*/ 65 h 617"/>
                <a:gd name="T32" fmla="*/ 300 w 628"/>
                <a:gd name="T33" fmla="*/ 105 h 617"/>
                <a:gd name="T34" fmla="*/ 321 w 628"/>
                <a:gd name="T35" fmla="*/ 115 h 617"/>
                <a:gd name="T36" fmla="*/ 339 w 628"/>
                <a:gd name="T37" fmla="*/ 121 h 617"/>
                <a:gd name="T38" fmla="*/ 357 w 628"/>
                <a:gd name="T39" fmla="*/ 102 h 617"/>
                <a:gd name="T40" fmla="*/ 372 w 628"/>
                <a:gd name="T41" fmla="*/ 96 h 617"/>
                <a:gd name="T42" fmla="*/ 384 w 628"/>
                <a:gd name="T43" fmla="*/ 98 h 617"/>
                <a:gd name="T44" fmla="*/ 394 w 628"/>
                <a:gd name="T45" fmla="*/ 107 h 617"/>
                <a:gd name="T46" fmla="*/ 405 w 628"/>
                <a:gd name="T47" fmla="*/ 109 h 617"/>
                <a:gd name="T48" fmla="*/ 407 w 628"/>
                <a:gd name="T49" fmla="*/ 128 h 617"/>
                <a:gd name="T50" fmla="*/ 420 w 628"/>
                <a:gd name="T51" fmla="*/ 123 h 617"/>
                <a:gd name="T52" fmla="*/ 449 w 628"/>
                <a:gd name="T53" fmla="*/ 129 h 617"/>
                <a:gd name="T54" fmla="*/ 495 w 628"/>
                <a:gd name="T55" fmla="*/ 146 h 617"/>
                <a:gd name="T56" fmla="*/ 541 w 628"/>
                <a:gd name="T57" fmla="*/ 182 h 617"/>
                <a:gd name="T58" fmla="*/ 540 w 628"/>
                <a:gd name="T59" fmla="*/ 229 h 617"/>
                <a:gd name="T60" fmla="*/ 512 w 628"/>
                <a:gd name="T61" fmla="*/ 262 h 617"/>
                <a:gd name="T62" fmla="*/ 492 w 628"/>
                <a:gd name="T63" fmla="*/ 287 h 617"/>
                <a:gd name="T64" fmla="*/ 491 w 628"/>
                <a:gd name="T65" fmla="*/ 320 h 617"/>
                <a:gd name="T66" fmla="*/ 477 w 628"/>
                <a:gd name="T67" fmla="*/ 404 h 617"/>
                <a:gd name="T68" fmla="*/ 442 w 628"/>
                <a:gd name="T69" fmla="*/ 447 h 617"/>
                <a:gd name="T70" fmla="*/ 422 w 628"/>
                <a:gd name="T71" fmla="*/ 452 h 617"/>
                <a:gd name="T72" fmla="*/ 385 w 628"/>
                <a:gd name="T73" fmla="*/ 474 h 617"/>
                <a:gd name="T74" fmla="*/ 371 w 628"/>
                <a:gd name="T75" fmla="*/ 493 h 617"/>
                <a:gd name="T76" fmla="*/ 374 w 628"/>
                <a:gd name="T77" fmla="*/ 522 h 617"/>
                <a:gd name="T78" fmla="*/ 344 w 628"/>
                <a:gd name="T79" fmla="*/ 584 h 617"/>
                <a:gd name="T80" fmla="*/ 344 w 628"/>
                <a:gd name="T81" fmla="*/ 563 h 617"/>
                <a:gd name="T82" fmla="*/ 337 w 628"/>
                <a:gd name="T83" fmla="*/ 592 h 617"/>
                <a:gd name="T84" fmla="*/ 324 w 628"/>
                <a:gd name="T85" fmla="*/ 600 h 617"/>
                <a:gd name="T86" fmla="*/ 280 w 628"/>
                <a:gd name="T87" fmla="*/ 570 h 617"/>
                <a:gd name="T88" fmla="*/ 278 w 628"/>
                <a:gd name="T89" fmla="*/ 533 h 617"/>
                <a:gd name="T90" fmla="*/ 303 w 628"/>
                <a:gd name="T91" fmla="*/ 510 h 617"/>
                <a:gd name="T92" fmla="*/ 290 w 628"/>
                <a:gd name="T93" fmla="*/ 483 h 617"/>
                <a:gd name="T94" fmla="*/ 273 w 628"/>
                <a:gd name="T95" fmla="*/ 455 h 617"/>
                <a:gd name="T96" fmla="*/ 237 w 628"/>
                <a:gd name="T97" fmla="*/ 424 h 617"/>
                <a:gd name="T98" fmla="*/ 238 w 628"/>
                <a:gd name="T99" fmla="*/ 370 h 617"/>
                <a:gd name="T100" fmla="*/ 195 w 628"/>
                <a:gd name="T101" fmla="*/ 314 h 617"/>
                <a:gd name="T102" fmla="*/ 156 w 628"/>
                <a:gd name="T103" fmla="*/ 284 h 617"/>
                <a:gd name="T104" fmla="*/ 123 w 628"/>
                <a:gd name="T105" fmla="*/ 256 h 617"/>
                <a:gd name="T106" fmla="*/ 83 w 628"/>
                <a:gd name="T107" fmla="*/ 255 h 617"/>
                <a:gd name="T108" fmla="*/ 45 w 628"/>
                <a:gd name="T109" fmla="*/ 237 h 617"/>
                <a:gd name="T110" fmla="*/ 4 w 628"/>
                <a:gd name="T111" fmla="*/ 210 h 617"/>
                <a:gd name="T112" fmla="*/ 19 w 628"/>
                <a:gd name="T113" fmla="*/ 161 h 617"/>
                <a:gd name="T114" fmla="*/ 59 w 628"/>
                <a:gd name="T115" fmla="*/ 122 h 617"/>
                <a:gd name="T116" fmla="*/ 62 w 628"/>
                <a:gd name="T117" fmla="*/ 74 h 617"/>
                <a:gd name="T118" fmla="*/ 94 w 628"/>
                <a:gd name="T119" fmla="*/ 56 h 617"/>
                <a:gd name="T120" fmla="*/ 136 w 628"/>
                <a:gd name="T121" fmla="*/ 56 h 617"/>
                <a:gd name="T122" fmla="*/ 129 w 628"/>
                <a:gd name="T123" fmla="*/ 18 h 617"/>
                <a:gd name="T124" fmla="*/ 180 w 628"/>
                <a:gd name="T125" fmla="*/ 11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8" h="617">
                  <a:moveTo>
                    <a:pt x="375" y="524"/>
                  </a:moveTo>
                  <a:lnTo>
                    <a:pt x="374" y="524"/>
                  </a:lnTo>
                  <a:lnTo>
                    <a:pt x="374" y="523"/>
                  </a:lnTo>
                  <a:lnTo>
                    <a:pt x="374" y="522"/>
                  </a:lnTo>
                  <a:lnTo>
                    <a:pt x="375" y="521"/>
                  </a:lnTo>
                  <a:lnTo>
                    <a:pt x="374" y="521"/>
                  </a:lnTo>
                  <a:lnTo>
                    <a:pt x="374" y="519"/>
                  </a:lnTo>
                  <a:lnTo>
                    <a:pt x="375" y="519"/>
                  </a:lnTo>
                  <a:lnTo>
                    <a:pt x="374" y="519"/>
                  </a:lnTo>
                  <a:lnTo>
                    <a:pt x="375" y="519"/>
                  </a:lnTo>
                  <a:lnTo>
                    <a:pt x="374" y="518"/>
                  </a:lnTo>
                  <a:lnTo>
                    <a:pt x="375" y="517"/>
                  </a:lnTo>
                  <a:lnTo>
                    <a:pt x="377" y="517"/>
                  </a:lnTo>
                  <a:lnTo>
                    <a:pt x="377" y="518"/>
                  </a:lnTo>
                  <a:lnTo>
                    <a:pt x="377" y="519"/>
                  </a:lnTo>
                  <a:lnTo>
                    <a:pt x="377" y="521"/>
                  </a:lnTo>
                  <a:lnTo>
                    <a:pt x="375" y="521"/>
                  </a:lnTo>
                  <a:lnTo>
                    <a:pt x="375" y="522"/>
                  </a:lnTo>
                  <a:lnTo>
                    <a:pt x="375" y="523"/>
                  </a:lnTo>
                  <a:lnTo>
                    <a:pt x="375" y="524"/>
                  </a:lnTo>
                  <a:close/>
                  <a:moveTo>
                    <a:pt x="372" y="502"/>
                  </a:moveTo>
                  <a:lnTo>
                    <a:pt x="372" y="501"/>
                  </a:lnTo>
                  <a:lnTo>
                    <a:pt x="371" y="501"/>
                  </a:lnTo>
                  <a:lnTo>
                    <a:pt x="371" y="500"/>
                  </a:lnTo>
                  <a:lnTo>
                    <a:pt x="371" y="498"/>
                  </a:lnTo>
                  <a:lnTo>
                    <a:pt x="372" y="498"/>
                  </a:lnTo>
                  <a:lnTo>
                    <a:pt x="372" y="497"/>
                  </a:lnTo>
                  <a:lnTo>
                    <a:pt x="373" y="498"/>
                  </a:lnTo>
                  <a:lnTo>
                    <a:pt x="373" y="500"/>
                  </a:lnTo>
                  <a:lnTo>
                    <a:pt x="372" y="501"/>
                  </a:lnTo>
                  <a:lnTo>
                    <a:pt x="372" y="502"/>
                  </a:lnTo>
                  <a:close/>
                  <a:moveTo>
                    <a:pt x="375" y="487"/>
                  </a:moveTo>
                  <a:lnTo>
                    <a:pt x="374" y="487"/>
                  </a:lnTo>
                  <a:lnTo>
                    <a:pt x="374" y="486"/>
                  </a:lnTo>
                  <a:lnTo>
                    <a:pt x="374" y="485"/>
                  </a:lnTo>
                  <a:lnTo>
                    <a:pt x="375" y="485"/>
                  </a:lnTo>
                  <a:lnTo>
                    <a:pt x="375" y="486"/>
                  </a:lnTo>
                  <a:lnTo>
                    <a:pt x="374" y="486"/>
                  </a:lnTo>
                  <a:lnTo>
                    <a:pt x="375" y="487"/>
                  </a:lnTo>
                  <a:close/>
                  <a:moveTo>
                    <a:pt x="385" y="474"/>
                  </a:moveTo>
                  <a:lnTo>
                    <a:pt x="385" y="475"/>
                  </a:lnTo>
                  <a:lnTo>
                    <a:pt x="384" y="475"/>
                  </a:lnTo>
                  <a:lnTo>
                    <a:pt x="380" y="479"/>
                  </a:lnTo>
                  <a:lnTo>
                    <a:pt x="379" y="480"/>
                  </a:lnTo>
                  <a:lnTo>
                    <a:pt x="379" y="479"/>
                  </a:lnTo>
                  <a:lnTo>
                    <a:pt x="380" y="478"/>
                  </a:lnTo>
                  <a:lnTo>
                    <a:pt x="381" y="476"/>
                  </a:lnTo>
                  <a:lnTo>
                    <a:pt x="382" y="476"/>
                  </a:lnTo>
                  <a:lnTo>
                    <a:pt x="382" y="475"/>
                  </a:lnTo>
                  <a:lnTo>
                    <a:pt x="384" y="475"/>
                  </a:lnTo>
                  <a:lnTo>
                    <a:pt x="384" y="474"/>
                  </a:lnTo>
                  <a:lnTo>
                    <a:pt x="385" y="474"/>
                  </a:lnTo>
                  <a:close/>
                  <a:moveTo>
                    <a:pt x="399" y="462"/>
                  </a:moveTo>
                  <a:lnTo>
                    <a:pt x="400" y="462"/>
                  </a:lnTo>
                  <a:lnTo>
                    <a:pt x="400" y="464"/>
                  </a:lnTo>
                  <a:lnTo>
                    <a:pt x="399" y="464"/>
                  </a:lnTo>
                  <a:lnTo>
                    <a:pt x="398" y="462"/>
                  </a:lnTo>
                  <a:lnTo>
                    <a:pt x="399" y="462"/>
                  </a:lnTo>
                  <a:close/>
                  <a:moveTo>
                    <a:pt x="414" y="460"/>
                  </a:moveTo>
                  <a:lnTo>
                    <a:pt x="414" y="461"/>
                  </a:lnTo>
                  <a:lnTo>
                    <a:pt x="414" y="462"/>
                  </a:lnTo>
                  <a:lnTo>
                    <a:pt x="414" y="464"/>
                  </a:lnTo>
                  <a:lnTo>
                    <a:pt x="414" y="462"/>
                  </a:lnTo>
                  <a:lnTo>
                    <a:pt x="413" y="462"/>
                  </a:lnTo>
                  <a:lnTo>
                    <a:pt x="412" y="462"/>
                  </a:lnTo>
                  <a:lnTo>
                    <a:pt x="412" y="461"/>
                  </a:lnTo>
                  <a:lnTo>
                    <a:pt x="413" y="460"/>
                  </a:lnTo>
                  <a:lnTo>
                    <a:pt x="413" y="459"/>
                  </a:lnTo>
                  <a:lnTo>
                    <a:pt x="414" y="460"/>
                  </a:lnTo>
                  <a:close/>
                  <a:moveTo>
                    <a:pt x="427" y="450"/>
                  </a:moveTo>
                  <a:lnTo>
                    <a:pt x="428" y="450"/>
                  </a:lnTo>
                  <a:lnTo>
                    <a:pt x="429" y="450"/>
                  </a:lnTo>
                  <a:lnTo>
                    <a:pt x="429" y="451"/>
                  </a:lnTo>
                  <a:lnTo>
                    <a:pt x="428" y="451"/>
                  </a:lnTo>
                  <a:lnTo>
                    <a:pt x="427" y="451"/>
                  </a:lnTo>
                  <a:lnTo>
                    <a:pt x="425" y="451"/>
                  </a:lnTo>
                  <a:lnTo>
                    <a:pt x="425" y="450"/>
                  </a:lnTo>
                  <a:lnTo>
                    <a:pt x="427" y="450"/>
                  </a:lnTo>
                  <a:lnTo>
                    <a:pt x="427" y="448"/>
                  </a:lnTo>
                  <a:lnTo>
                    <a:pt x="427" y="450"/>
                  </a:lnTo>
                  <a:lnTo>
                    <a:pt x="428" y="450"/>
                  </a:lnTo>
                  <a:lnTo>
                    <a:pt x="427" y="450"/>
                  </a:lnTo>
                  <a:close/>
                  <a:moveTo>
                    <a:pt x="628" y="410"/>
                  </a:moveTo>
                  <a:lnTo>
                    <a:pt x="628" y="409"/>
                  </a:lnTo>
                  <a:lnTo>
                    <a:pt x="628" y="410"/>
                  </a:lnTo>
                  <a:close/>
                  <a:moveTo>
                    <a:pt x="491" y="296"/>
                  </a:moveTo>
                  <a:lnTo>
                    <a:pt x="491" y="297"/>
                  </a:lnTo>
                  <a:lnTo>
                    <a:pt x="491" y="298"/>
                  </a:lnTo>
                  <a:lnTo>
                    <a:pt x="491" y="299"/>
                  </a:lnTo>
                  <a:lnTo>
                    <a:pt x="492" y="299"/>
                  </a:lnTo>
                  <a:lnTo>
                    <a:pt x="491" y="300"/>
                  </a:lnTo>
                  <a:lnTo>
                    <a:pt x="491" y="299"/>
                  </a:lnTo>
                  <a:lnTo>
                    <a:pt x="489" y="299"/>
                  </a:lnTo>
                  <a:lnTo>
                    <a:pt x="489" y="298"/>
                  </a:lnTo>
                  <a:lnTo>
                    <a:pt x="491" y="298"/>
                  </a:lnTo>
                  <a:lnTo>
                    <a:pt x="489" y="297"/>
                  </a:lnTo>
                  <a:lnTo>
                    <a:pt x="489" y="296"/>
                  </a:lnTo>
                  <a:lnTo>
                    <a:pt x="491" y="296"/>
                  </a:lnTo>
                  <a:close/>
                  <a:moveTo>
                    <a:pt x="494" y="289"/>
                  </a:moveTo>
                  <a:lnTo>
                    <a:pt x="495" y="289"/>
                  </a:lnTo>
                  <a:lnTo>
                    <a:pt x="495" y="290"/>
                  </a:lnTo>
                  <a:lnTo>
                    <a:pt x="494" y="290"/>
                  </a:lnTo>
                  <a:lnTo>
                    <a:pt x="493" y="291"/>
                  </a:lnTo>
                  <a:lnTo>
                    <a:pt x="493" y="292"/>
                  </a:lnTo>
                  <a:lnTo>
                    <a:pt x="493" y="291"/>
                  </a:lnTo>
                  <a:lnTo>
                    <a:pt x="492" y="291"/>
                  </a:lnTo>
                  <a:lnTo>
                    <a:pt x="492" y="290"/>
                  </a:lnTo>
                  <a:lnTo>
                    <a:pt x="493" y="290"/>
                  </a:lnTo>
                  <a:lnTo>
                    <a:pt x="494" y="289"/>
                  </a:lnTo>
                  <a:lnTo>
                    <a:pt x="494" y="287"/>
                  </a:lnTo>
                  <a:lnTo>
                    <a:pt x="493" y="287"/>
                  </a:lnTo>
                  <a:lnTo>
                    <a:pt x="494" y="287"/>
                  </a:lnTo>
                  <a:lnTo>
                    <a:pt x="494" y="289"/>
                  </a:lnTo>
                  <a:close/>
                  <a:moveTo>
                    <a:pt x="544" y="207"/>
                  </a:moveTo>
                  <a:lnTo>
                    <a:pt x="544" y="206"/>
                  </a:lnTo>
                  <a:lnTo>
                    <a:pt x="545" y="206"/>
                  </a:lnTo>
                  <a:lnTo>
                    <a:pt x="545" y="207"/>
                  </a:lnTo>
                  <a:lnTo>
                    <a:pt x="544" y="207"/>
                  </a:lnTo>
                  <a:close/>
                  <a:moveTo>
                    <a:pt x="577" y="145"/>
                  </a:moveTo>
                  <a:lnTo>
                    <a:pt x="578" y="144"/>
                  </a:lnTo>
                  <a:lnTo>
                    <a:pt x="578" y="145"/>
                  </a:lnTo>
                  <a:lnTo>
                    <a:pt x="577" y="145"/>
                  </a:lnTo>
                  <a:close/>
                  <a:moveTo>
                    <a:pt x="408" y="129"/>
                  </a:moveTo>
                  <a:lnTo>
                    <a:pt x="409" y="129"/>
                  </a:lnTo>
                  <a:lnTo>
                    <a:pt x="409" y="128"/>
                  </a:lnTo>
                  <a:lnTo>
                    <a:pt x="409" y="129"/>
                  </a:lnTo>
                  <a:lnTo>
                    <a:pt x="409" y="130"/>
                  </a:lnTo>
                  <a:lnTo>
                    <a:pt x="409" y="131"/>
                  </a:lnTo>
                  <a:lnTo>
                    <a:pt x="408" y="131"/>
                  </a:lnTo>
                  <a:lnTo>
                    <a:pt x="408" y="132"/>
                  </a:lnTo>
                  <a:lnTo>
                    <a:pt x="407" y="132"/>
                  </a:lnTo>
                  <a:lnTo>
                    <a:pt x="407" y="131"/>
                  </a:lnTo>
                  <a:lnTo>
                    <a:pt x="408" y="131"/>
                  </a:lnTo>
                  <a:lnTo>
                    <a:pt x="408" y="130"/>
                  </a:lnTo>
                  <a:lnTo>
                    <a:pt x="408" y="129"/>
                  </a:lnTo>
                  <a:lnTo>
                    <a:pt x="408" y="128"/>
                  </a:lnTo>
                  <a:lnTo>
                    <a:pt x="408" y="126"/>
                  </a:lnTo>
                  <a:lnTo>
                    <a:pt x="409" y="126"/>
                  </a:lnTo>
                  <a:lnTo>
                    <a:pt x="409" y="128"/>
                  </a:lnTo>
                  <a:lnTo>
                    <a:pt x="409" y="129"/>
                  </a:lnTo>
                  <a:lnTo>
                    <a:pt x="408" y="129"/>
                  </a:lnTo>
                  <a:close/>
                  <a:moveTo>
                    <a:pt x="442" y="128"/>
                  </a:moveTo>
                  <a:lnTo>
                    <a:pt x="441" y="128"/>
                  </a:lnTo>
                  <a:lnTo>
                    <a:pt x="441" y="126"/>
                  </a:lnTo>
                  <a:lnTo>
                    <a:pt x="442" y="126"/>
                  </a:lnTo>
                  <a:lnTo>
                    <a:pt x="442" y="128"/>
                  </a:lnTo>
                  <a:close/>
                  <a:moveTo>
                    <a:pt x="443" y="126"/>
                  </a:moveTo>
                  <a:lnTo>
                    <a:pt x="443" y="128"/>
                  </a:lnTo>
                  <a:lnTo>
                    <a:pt x="442" y="128"/>
                  </a:lnTo>
                  <a:lnTo>
                    <a:pt x="443" y="128"/>
                  </a:lnTo>
                  <a:lnTo>
                    <a:pt x="443" y="126"/>
                  </a:lnTo>
                  <a:lnTo>
                    <a:pt x="442" y="126"/>
                  </a:lnTo>
                  <a:lnTo>
                    <a:pt x="441" y="126"/>
                  </a:lnTo>
                  <a:lnTo>
                    <a:pt x="442" y="126"/>
                  </a:lnTo>
                  <a:lnTo>
                    <a:pt x="443" y="126"/>
                  </a:lnTo>
                  <a:close/>
                  <a:moveTo>
                    <a:pt x="418" y="123"/>
                  </a:moveTo>
                  <a:lnTo>
                    <a:pt x="418" y="122"/>
                  </a:lnTo>
                  <a:lnTo>
                    <a:pt x="420" y="123"/>
                  </a:lnTo>
                  <a:lnTo>
                    <a:pt x="418" y="123"/>
                  </a:lnTo>
                  <a:lnTo>
                    <a:pt x="417" y="123"/>
                  </a:lnTo>
                  <a:lnTo>
                    <a:pt x="418" y="123"/>
                  </a:lnTo>
                  <a:lnTo>
                    <a:pt x="418" y="122"/>
                  </a:lnTo>
                  <a:lnTo>
                    <a:pt x="417" y="122"/>
                  </a:lnTo>
                  <a:lnTo>
                    <a:pt x="418" y="122"/>
                  </a:lnTo>
                  <a:lnTo>
                    <a:pt x="418" y="123"/>
                  </a:lnTo>
                  <a:close/>
                  <a:moveTo>
                    <a:pt x="422" y="122"/>
                  </a:moveTo>
                  <a:lnTo>
                    <a:pt x="421" y="122"/>
                  </a:lnTo>
                  <a:lnTo>
                    <a:pt x="421" y="121"/>
                  </a:lnTo>
                  <a:lnTo>
                    <a:pt x="422" y="121"/>
                  </a:lnTo>
                  <a:lnTo>
                    <a:pt x="422" y="122"/>
                  </a:lnTo>
                  <a:close/>
                  <a:moveTo>
                    <a:pt x="421" y="122"/>
                  </a:moveTo>
                  <a:lnTo>
                    <a:pt x="420" y="122"/>
                  </a:lnTo>
                  <a:lnTo>
                    <a:pt x="420" y="121"/>
                  </a:lnTo>
                  <a:lnTo>
                    <a:pt x="420" y="119"/>
                  </a:lnTo>
                  <a:lnTo>
                    <a:pt x="421" y="119"/>
                  </a:lnTo>
                  <a:lnTo>
                    <a:pt x="421" y="121"/>
                  </a:lnTo>
                  <a:lnTo>
                    <a:pt x="421" y="122"/>
                  </a:lnTo>
                  <a:close/>
                  <a:moveTo>
                    <a:pt x="341" y="114"/>
                  </a:moveTo>
                  <a:lnTo>
                    <a:pt x="339" y="114"/>
                  </a:lnTo>
                  <a:lnTo>
                    <a:pt x="339" y="112"/>
                  </a:lnTo>
                  <a:lnTo>
                    <a:pt x="341" y="112"/>
                  </a:lnTo>
                  <a:lnTo>
                    <a:pt x="341" y="111"/>
                  </a:lnTo>
                  <a:lnTo>
                    <a:pt x="342" y="111"/>
                  </a:lnTo>
                  <a:lnTo>
                    <a:pt x="342" y="112"/>
                  </a:lnTo>
                  <a:lnTo>
                    <a:pt x="342" y="114"/>
                  </a:lnTo>
                  <a:lnTo>
                    <a:pt x="341" y="114"/>
                  </a:lnTo>
                  <a:close/>
                  <a:moveTo>
                    <a:pt x="339" y="110"/>
                  </a:moveTo>
                  <a:lnTo>
                    <a:pt x="341" y="110"/>
                  </a:lnTo>
                  <a:lnTo>
                    <a:pt x="339" y="111"/>
                  </a:lnTo>
                  <a:lnTo>
                    <a:pt x="338" y="111"/>
                  </a:lnTo>
                  <a:lnTo>
                    <a:pt x="338" y="110"/>
                  </a:lnTo>
                  <a:lnTo>
                    <a:pt x="339" y="110"/>
                  </a:lnTo>
                  <a:close/>
                  <a:moveTo>
                    <a:pt x="403" y="104"/>
                  </a:moveTo>
                  <a:lnTo>
                    <a:pt x="402" y="104"/>
                  </a:lnTo>
                  <a:lnTo>
                    <a:pt x="403" y="104"/>
                  </a:lnTo>
                  <a:lnTo>
                    <a:pt x="403" y="105"/>
                  </a:lnTo>
                  <a:lnTo>
                    <a:pt x="402" y="105"/>
                  </a:lnTo>
                  <a:lnTo>
                    <a:pt x="401" y="105"/>
                  </a:lnTo>
                  <a:lnTo>
                    <a:pt x="401" y="104"/>
                  </a:lnTo>
                  <a:lnTo>
                    <a:pt x="402" y="104"/>
                  </a:lnTo>
                  <a:lnTo>
                    <a:pt x="402" y="105"/>
                  </a:lnTo>
                  <a:lnTo>
                    <a:pt x="402" y="104"/>
                  </a:lnTo>
                  <a:lnTo>
                    <a:pt x="402" y="103"/>
                  </a:lnTo>
                  <a:lnTo>
                    <a:pt x="402" y="104"/>
                  </a:lnTo>
                  <a:lnTo>
                    <a:pt x="402" y="103"/>
                  </a:lnTo>
                  <a:lnTo>
                    <a:pt x="403" y="103"/>
                  </a:lnTo>
                  <a:lnTo>
                    <a:pt x="403" y="104"/>
                  </a:lnTo>
                  <a:close/>
                  <a:moveTo>
                    <a:pt x="356" y="102"/>
                  </a:moveTo>
                  <a:lnTo>
                    <a:pt x="356" y="103"/>
                  </a:lnTo>
                  <a:lnTo>
                    <a:pt x="354" y="103"/>
                  </a:lnTo>
                  <a:lnTo>
                    <a:pt x="354" y="102"/>
                  </a:lnTo>
                  <a:lnTo>
                    <a:pt x="354" y="103"/>
                  </a:lnTo>
                  <a:lnTo>
                    <a:pt x="353" y="102"/>
                  </a:lnTo>
                  <a:lnTo>
                    <a:pt x="353" y="101"/>
                  </a:lnTo>
                  <a:lnTo>
                    <a:pt x="354" y="101"/>
                  </a:lnTo>
                  <a:lnTo>
                    <a:pt x="356" y="101"/>
                  </a:lnTo>
                  <a:lnTo>
                    <a:pt x="356" y="102"/>
                  </a:lnTo>
                  <a:close/>
                  <a:moveTo>
                    <a:pt x="357" y="100"/>
                  </a:moveTo>
                  <a:lnTo>
                    <a:pt x="356" y="100"/>
                  </a:lnTo>
                  <a:lnTo>
                    <a:pt x="356" y="98"/>
                  </a:lnTo>
                  <a:lnTo>
                    <a:pt x="356" y="97"/>
                  </a:lnTo>
                  <a:lnTo>
                    <a:pt x="357" y="97"/>
                  </a:lnTo>
                  <a:lnTo>
                    <a:pt x="357" y="96"/>
                  </a:lnTo>
                  <a:lnTo>
                    <a:pt x="358" y="97"/>
                  </a:lnTo>
                  <a:lnTo>
                    <a:pt x="357" y="97"/>
                  </a:lnTo>
                  <a:lnTo>
                    <a:pt x="358" y="97"/>
                  </a:lnTo>
                  <a:lnTo>
                    <a:pt x="358" y="98"/>
                  </a:lnTo>
                  <a:lnTo>
                    <a:pt x="357" y="100"/>
                  </a:lnTo>
                  <a:close/>
                  <a:moveTo>
                    <a:pt x="360" y="94"/>
                  </a:moveTo>
                  <a:lnTo>
                    <a:pt x="361" y="94"/>
                  </a:lnTo>
                  <a:lnTo>
                    <a:pt x="361" y="95"/>
                  </a:lnTo>
                  <a:lnTo>
                    <a:pt x="360" y="95"/>
                  </a:lnTo>
                  <a:lnTo>
                    <a:pt x="360" y="94"/>
                  </a:lnTo>
                  <a:close/>
                  <a:moveTo>
                    <a:pt x="321" y="93"/>
                  </a:moveTo>
                  <a:lnTo>
                    <a:pt x="321" y="94"/>
                  </a:lnTo>
                  <a:lnTo>
                    <a:pt x="321" y="95"/>
                  </a:lnTo>
                  <a:lnTo>
                    <a:pt x="320" y="95"/>
                  </a:lnTo>
                  <a:lnTo>
                    <a:pt x="318" y="95"/>
                  </a:lnTo>
                  <a:lnTo>
                    <a:pt x="318" y="96"/>
                  </a:lnTo>
                  <a:lnTo>
                    <a:pt x="317" y="96"/>
                  </a:lnTo>
                  <a:lnTo>
                    <a:pt x="316" y="97"/>
                  </a:lnTo>
                  <a:lnTo>
                    <a:pt x="316" y="96"/>
                  </a:lnTo>
                  <a:lnTo>
                    <a:pt x="316" y="95"/>
                  </a:lnTo>
                  <a:lnTo>
                    <a:pt x="317" y="95"/>
                  </a:lnTo>
                  <a:lnTo>
                    <a:pt x="317" y="94"/>
                  </a:lnTo>
                  <a:lnTo>
                    <a:pt x="318" y="94"/>
                  </a:lnTo>
                  <a:lnTo>
                    <a:pt x="320" y="93"/>
                  </a:lnTo>
                  <a:lnTo>
                    <a:pt x="320" y="94"/>
                  </a:lnTo>
                  <a:lnTo>
                    <a:pt x="320" y="93"/>
                  </a:lnTo>
                  <a:lnTo>
                    <a:pt x="321" y="93"/>
                  </a:lnTo>
                  <a:close/>
                  <a:moveTo>
                    <a:pt x="364" y="93"/>
                  </a:moveTo>
                  <a:lnTo>
                    <a:pt x="365" y="93"/>
                  </a:lnTo>
                  <a:lnTo>
                    <a:pt x="365" y="94"/>
                  </a:lnTo>
                  <a:lnTo>
                    <a:pt x="365" y="95"/>
                  </a:lnTo>
                  <a:lnTo>
                    <a:pt x="364" y="95"/>
                  </a:lnTo>
                  <a:lnTo>
                    <a:pt x="364" y="94"/>
                  </a:lnTo>
                  <a:lnTo>
                    <a:pt x="363" y="94"/>
                  </a:lnTo>
                  <a:lnTo>
                    <a:pt x="363" y="93"/>
                  </a:lnTo>
                  <a:lnTo>
                    <a:pt x="364" y="93"/>
                  </a:lnTo>
                  <a:close/>
                  <a:moveTo>
                    <a:pt x="315" y="93"/>
                  </a:moveTo>
                  <a:lnTo>
                    <a:pt x="315" y="94"/>
                  </a:lnTo>
                  <a:lnTo>
                    <a:pt x="316" y="94"/>
                  </a:lnTo>
                  <a:lnTo>
                    <a:pt x="316" y="95"/>
                  </a:lnTo>
                  <a:lnTo>
                    <a:pt x="315" y="96"/>
                  </a:lnTo>
                  <a:lnTo>
                    <a:pt x="315" y="97"/>
                  </a:lnTo>
                  <a:lnTo>
                    <a:pt x="315" y="98"/>
                  </a:lnTo>
                  <a:lnTo>
                    <a:pt x="314" y="100"/>
                  </a:lnTo>
                  <a:lnTo>
                    <a:pt x="313" y="102"/>
                  </a:lnTo>
                  <a:lnTo>
                    <a:pt x="311" y="102"/>
                  </a:lnTo>
                  <a:lnTo>
                    <a:pt x="310" y="104"/>
                  </a:lnTo>
                  <a:lnTo>
                    <a:pt x="309" y="104"/>
                  </a:lnTo>
                  <a:lnTo>
                    <a:pt x="309" y="105"/>
                  </a:lnTo>
                  <a:lnTo>
                    <a:pt x="308" y="105"/>
                  </a:lnTo>
                  <a:lnTo>
                    <a:pt x="308" y="107"/>
                  </a:lnTo>
                  <a:lnTo>
                    <a:pt x="307" y="107"/>
                  </a:lnTo>
                  <a:lnTo>
                    <a:pt x="306" y="107"/>
                  </a:lnTo>
                  <a:lnTo>
                    <a:pt x="304" y="107"/>
                  </a:lnTo>
                  <a:lnTo>
                    <a:pt x="304" y="105"/>
                  </a:lnTo>
                  <a:lnTo>
                    <a:pt x="306" y="105"/>
                  </a:lnTo>
                  <a:lnTo>
                    <a:pt x="306" y="104"/>
                  </a:lnTo>
                  <a:lnTo>
                    <a:pt x="306" y="103"/>
                  </a:lnTo>
                  <a:lnTo>
                    <a:pt x="307" y="103"/>
                  </a:lnTo>
                  <a:lnTo>
                    <a:pt x="307" y="102"/>
                  </a:lnTo>
                  <a:lnTo>
                    <a:pt x="308" y="102"/>
                  </a:lnTo>
                  <a:lnTo>
                    <a:pt x="308" y="101"/>
                  </a:lnTo>
                  <a:lnTo>
                    <a:pt x="309" y="101"/>
                  </a:lnTo>
                  <a:lnTo>
                    <a:pt x="308" y="100"/>
                  </a:lnTo>
                  <a:lnTo>
                    <a:pt x="308" y="97"/>
                  </a:lnTo>
                  <a:lnTo>
                    <a:pt x="309" y="96"/>
                  </a:lnTo>
                  <a:lnTo>
                    <a:pt x="310" y="95"/>
                  </a:lnTo>
                  <a:lnTo>
                    <a:pt x="310" y="94"/>
                  </a:lnTo>
                  <a:lnTo>
                    <a:pt x="311" y="94"/>
                  </a:lnTo>
                  <a:lnTo>
                    <a:pt x="311" y="93"/>
                  </a:lnTo>
                  <a:lnTo>
                    <a:pt x="313" y="93"/>
                  </a:lnTo>
                  <a:lnTo>
                    <a:pt x="313" y="94"/>
                  </a:lnTo>
                  <a:lnTo>
                    <a:pt x="313" y="93"/>
                  </a:lnTo>
                  <a:lnTo>
                    <a:pt x="314" y="93"/>
                  </a:lnTo>
                  <a:lnTo>
                    <a:pt x="314" y="91"/>
                  </a:lnTo>
                  <a:lnTo>
                    <a:pt x="315" y="93"/>
                  </a:lnTo>
                  <a:close/>
                  <a:moveTo>
                    <a:pt x="313" y="91"/>
                  </a:moveTo>
                  <a:lnTo>
                    <a:pt x="313" y="90"/>
                  </a:lnTo>
                  <a:lnTo>
                    <a:pt x="314" y="89"/>
                  </a:lnTo>
                  <a:lnTo>
                    <a:pt x="314" y="87"/>
                  </a:lnTo>
                  <a:lnTo>
                    <a:pt x="315" y="87"/>
                  </a:lnTo>
                  <a:lnTo>
                    <a:pt x="316" y="86"/>
                  </a:lnTo>
                  <a:lnTo>
                    <a:pt x="316" y="87"/>
                  </a:lnTo>
                  <a:lnTo>
                    <a:pt x="316" y="88"/>
                  </a:lnTo>
                  <a:lnTo>
                    <a:pt x="316" y="89"/>
                  </a:lnTo>
                  <a:lnTo>
                    <a:pt x="315" y="89"/>
                  </a:lnTo>
                  <a:lnTo>
                    <a:pt x="314" y="90"/>
                  </a:lnTo>
                  <a:lnTo>
                    <a:pt x="313" y="90"/>
                  </a:lnTo>
                  <a:lnTo>
                    <a:pt x="313" y="91"/>
                  </a:lnTo>
                  <a:close/>
                  <a:moveTo>
                    <a:pt x="330" y="86"/>
                  </a:moveTo>
                  <a:lnTo>
                    <a:pt x="331" y="86"/>
                  </a:lnTo>
                  <a:lnTo>
                    <a:pt x="335" y="87"/>
                  </a:lnTo>
                  <a:lnTo>
                    <a:pt x="337" y="88"/>
                  </a:lnTo>
                  <a:lnTo>
                    <a:pt x="338" y="88"/>
                  </a:lnTo>
                  <a:lnTo>
                    <a:pt x="339" y="87"/>
                  </a:lnTo>
                  <a:lnTo>
                    <a:pt x="341" y="88"/>
                  </a:lnTo>
                  <a:lnTo>
                    <a:pt x="341" y="87"/>
                  </a:lnTo>
                  <a:lnTo>
                    <a:pt x="342" y="86"/>
                  </a:lnTo>
                  <a:lnTo>
                    <a:pt x="342" y="87"/>
                  </a:lnTo>
                  <a:lnTo>
                    <a:pt x="342" y="86"/>
                  </a:lnTo>
                  <a:lnTo>
                    <a:pt x="343" y="86"/>
                  </a:lnTo>
                  <a:lnTo>
                    <a:pt x="344" y="86"/>
                  </a:lnTo>
                  <a:lnTo>
                    <a:pt x="344" y="87"/>
                  </a:lnTo>
                  <a:lnTo>
                    <a:pt x="344" y="86"/>
                  </a:lnTo>
                  <a:lnTo>
                    <a:pt x="345" y="87"/>
                  </a:lnTo>
                  <a:lnTo>
                    <a:pt x="346" y="87"/>
                  </a:lnTo>
                  <a:lnTo>
                    <a:pt x="348" y="86"/>
                  </a:lnTo>
                  <a:lnTo>
                    <a:pt x="348" y="87"/>
                  </a:lnTo>
                  <a:lnTo>
                    <a:pt x="349" y="87"/>
                  </a:lnTo>
                  <a:lnTo>
                    <a:pt x="350" y="88"/>
                  </a:lnTo>
                  <a:lnTo>
                    <a:pt x="351" y="87"/>
                  </a:lnTo>
                  <a:lnTo>
                    <a:pt x="352" y="88"/>
                  </a:lnTo>
                  <a:lnTo>
                    <a:pt x="353" y="88"/>
                  </a:lnTo>
                  <a:lnTo>
                    <a:pt x="354" y="88"/>
                  </a:lnTo>
                  <a:lnTo>
                    <a:pt x="354" y="89"/>
                  </a:lnTo>
                  <a:lnTo>
                    <a:pt x="354" y="90"/>
                  </a:lnTo>
                  <a:lnTo>
                    <a:pt x="353" y="90"/>
                  </a:lnTo>
                  <a:lnTo>
                    <a:pt x="353" y="91"/>
                  </a:lnTo>
                  <a:lnTo>
                    <a:pt x="353" y="93"/>
                  </a:lnTo>
                  <a:lnTo>
                    <a:pt x="353" y="94"/>
                  </a:lnTo>
                  <a:lnTo>
                    <a:pt x="353" y="95"/>
                  </a:lnTo>
                  <a:lnTo>
                    <a:pt x="352" y="95"/>
                  </a:lnTo>
                  <a:lnTo>
                    <a:pt x="352" y="96"/>
                  </a:lnTo>
                  <a:lnTo>
                    <a:pt x="352" y="97"/>
                  </a:lnTo>
                  <a:lnTo>
                    <a:pt x="352" y="98"/>
                  </a:lnTo>
                  <a:lnTo>
                    <a:pt x="351" y="98"/>
                  </a:lnTo>
                  <a:lnTo>
                    <a:pt x="351" y="100"/>
                  </a:lnTo>
                  <a:lnTo>
                    <a:pt x="351" y="101"/>
                  </a:lnTo>
                  <a:lnTo>
                    <a:pt x="350" y="101"/>
                  </a:lnTo>
                  <a:lnTo>
                    <a:pt x="350" y="102"/>
                  </a:lnTo>
                  <a:lnTo>
                    <a:pt x="349" y="102"/>
                  </a:lnTo>
                  <a:lnTo>
                    <a:pt x="349" y="103"/>
                  </a:lnTo>
                  <a:lnTo>
                    <a:pt x="348" y="103"/>
                  </a:lnTo>
                  <a:lnTo>
                    <a:pt x="348" y="102"/>
                  </a:lnTo>
                  <a:lnTo>
                    <a:pt x="348" y="103"/>
                  </a:lnTo>
                  <a:lnTo>
                    <a:pt x="349" y="103"/>
                  </a:lnTo>
                  <a:lnTo>
                    <a:pt x="348" y="103"/>
                  </a:lnTo>
                  <a:lnTo>
                    <a:pt x="349" y="103"/>
                  </a:lnTo>
                  <a:lnTo>
                    <a:pt x="349" y="104"/>
                  </a:lnTo>
                  <a:lnTo>
                    <a:pt x="349" y="105"/>
                  </a:lnTo>
                  <a:lnTo>
                    <a:pt x="349" y="107"/>
                  </a:lnTo>
                  <a:lnTo>
                    <a:pt x="348" y="105"/>
                  </a:lnTo>
                  <a:lnTo>
                    <a:pt x="346" y="104"/>
                  </a:lnTo>
                  <a:lnTo>
                    <a:pt x="346" y="105"/>
                  </a:lnTo>
                  <a:lnTo>
                    <a:pt x="348" y="105"/>
                  </a:lnTo>
                  <a:lnTo>
                    <a:pt x="348" y="107"/>
                  </a:lnTo>
                  <a:lnTo>
                    <a:pt x="349" y="107"/>
                  </a:lnTo>
                  <a:lnTo>
                    <a:pt x="348" y="107"/>
                  </a:lnTo>
                  <a:lnTo>
                    <a:pt x="348" y="108"/>
                  </a:lnTo>
                  <a:lnTo>
                    <a:pt x="346" y="108"/>
                  </a:lnTo>
                  <a:lnTo>
                    <a:pt x="345" y="108"/>
                  </a:lnTo>
                  <a:lnTo>
                    <a:pt x="344" y="108"/>
                  </a:lnTo>
                  <a:lnTo>
                    <a:pt x="344" y="107"/>
                  </a:lnTo>
                  <a:lnTo>
                    <a:pt x="344" y="105"/>
                  </a:lnTo>
                  <a:lnTo>
                    <a:pt x="343" y="105"/>
                  </a:lnTo>
                  <a:lnTo>
                    <a:pt x="343" y="107"/>
                  </a:lnTo>
                  <a:lnTo>
                    <a:pt x="343" y="108"/>
                  </a:lnTo>
                  <a:lnTo>
                    <a:pt x="343" y="109"/>
                  </a:lnTo>
                  <a:lnTo>
                    <a:pt x="344" y="109"/>
                  </a:lnTo>
                  <a:lnTo>
                    <a:pt x="343" y="109"/>
                  </a:lnTo>
                  <a:lnTo>
                    <a:pt x="342" y="109"/>
                  </a:lnTo>
                  <a:lnTo>
                    <a:pt x="341" y="109"/>
                  </a:lnTo>
                  <a:lnTo>
                    <a:pt x="341" y="108"/>
                  </a:lnTo>
                  <a:lnTo>
                    <a:pt x="341" y="107"/>
                  </a:lnTo>
                  <a:lnTo>
                    <a:pt x="341" y="108"/>
                  </a:lnTo>
                  <a:lnTo>
                    <a:pt x="341" y="109"/>
                  </a:lnTo>
                  <a:lnTo>
                    <a:pt x="341" y="110"/>
                  </a:lnTo>
                  <a:lnTo>
                    <a:pt x="339" y="110"/>
                  </a:lnTo>
                  <a:lnTo>
                    <a:pt x="339" y="109"/>
                  </a:lnTo>
                  <a:lnTo>
                    <a:pt x="339" y="108"/>
                  </a:lnTo>
                  <a:lnTo>
                    <a:pt x="338" y="108"/>
                  </a:lnTo>
                  <a:lnTo>
                    <a:pt x="339" y="108"/>
                  </a:lnTo>
                  <a:lnTo>
                    <a:pt x="339" y="109"/>
                  </a:lnTo>
                  <a:lnTo>
                    <a:pt x="338" y="109"/>
                  </a:lnTo>
                  <a:lnTo>
                    <a:pt x="338" y="110"/>
                  </a:lnTo>
                  <a:lnTo>
                    <a:pt x="338" y="111"/>
                  </a:lnTo>
                  <a:lnTo>
                    <a:pt x="337" y="111"/>
                  </a:lnTo>
                  <a:lnTo>
                    <a:pt x="336" y="111"/>
                  </a:lnTo>
                  <a:lnTo>
                    <a:pt x="336" y="110"/>
                  </a:lnTo>
                  <a:lnTo>
                    <a:pt x="336" y="109"/>
                  </a:lnTo>
                  <a:lnTo>
                    <a:pt x="335" y="109"/>
                  </a:lnTo>
                  <a:lnTo>
                    <a:pt x="335" y="110"/>
                  </a:lnTo>
                  <a:lnTo>
                    <a:pt x="336" y="110"/>
                  </a:lnTo>
                  <a:lnTo>
                    <a:pt x="336" y="111"/>
                  </a:lnTo>
                  <a:lnTo>
                    <a:pt x="336" y="112"/>
                  </a:lnTo>
                  <a:lnTo>
                    <a:pt x="335" y="112"/>
                  </a:lnTo>
                  <a:lnTo>
                    <a:pt x="334" y="112"/>
                  </a:lnTo>
                  <a:lnTo>
                    <a:pt x="334" y="111"/>
                  </a:lnTo>
                  <a:lnTo>
                    <a:pt x="332" y="111"/>
                  </a:lnTo>
                  <a:lnTo>
                    <a:pt x="331" y="111"/>
                  </a:lnTo>
                  <a:lnTo>
                    <a:pt x="331" y="110"/>
                  </a:lnTo>
                  <a:lnTo>
                    <a:pt x="331" y="111"/>
                  </a:lnTo>
                  <a:lnTo>
                    <a:pt x="330" y="111"/>
                  </a:lnTo>
                  <a:lnTo>
                    <a:pt x="329" y="111"/>
                  </a:lnTo>
                  <a:lnTo>
                    <a:pt x="329" y="110"/>
                  </a:lnTo>
                  <a:lnTo>
                    <a:pt x="329" y="109"/>
                  </a:lnTo>
                  <a:lnTo>
                    <a:pt x="328" y="109"/>
                  </a:lnTo>
                  <a:lnTo>
                    <a:pt x="329" y="109"/>
                  </a:lnTo>
                  <a:lnTo>
                    <a:pt x="329" y="108"/>
                  </a:lnTo>
                  <a:lnTo>
                    <a:pt x="328" y="108"/>
                  </a:lnTo>
                  <a:lnTo>
                    <a:pt x="329" y="107"/>
                  </a:lnTo>
                  <a:lnTo>
                    <a:pt x="328" y="108"/>
                  </a:lnTo>
                  <a:lnTo>
                    <a:pt x="329" y="108"/>
                  </a:lnTo>
                  <a:lnTo>
                    <a:pt x="329" y="109"/>
                  </a:lnTo>
                  <a:lnTo>
                    <a:pt x="328" y="109"/>
                  </a:lnTo>
                  <a:lnTo>
                    <a:pt x="329" y="109"/>
                  </a:lnTo>
                  <a:lnTo>
                    <a:pt x="329" y="110"/>
                  </a:lnTo>
                  <a:lnTo>
                    <a:pt x="329" y="111"/>
                  </a:lnTo>
                  <a:lnTo>
                    <a:pt x="328" y="111"/>
                  </a:lnTo>
                  <a:lnTo>
                    <a:pt x="328" y="110"/>
                  </a:lnTo>
                  <a:lnTo>
                    <a:pt x="328" y="111"/>
                  </a:lnTo>
                  <a:lnTo>
                    <a:pt x="327" y="111"/>
                  </a:lnTo>
                  <a:lnTo>
                    <a:pt x="328" y="112"/>
                  </a:lnTo>
                  <a:lnTo>
                    <a:pt x="327" y="112"/>
                  </a:lnTo>
                  <a:lnTo>
                    <a:pt x="324" y="112"/>
                  </a:lnTo>
                  <a:lnTo>
                    <a:pt x="323" y="111"/>
                  </a:lnTo>
                  <a:lnTo>
                    <a:pt x="324" y="111"/>
                  </a:lnTo>
                  <a:lnTo>
                    <a:pt x="324" y="110"/>
                  </a:lnTo>
                  <a:lnTo>
                    <a:pt x="322" y="108"/>
                  </a:lnTo>
                  <a:lnTo>
                    <a:pt x="321" y="108"/>
                  </a:lnTo>
                  <a:lnTo>
                    <a:pt x="321" y="107"/>
                  </a:lnTo>
                  <a:lnTo>
                    <a:pt x="321" y="105"/>
                  </a:lnTo>
                  <a:lnTo>
                    <a:pt x="321" y="104"/>
                  </a:lnTo>
                  <a:lnTo>
                    <a:pt x="321" y="103"/>
                  </a:lnTo>
                  <a:lnTo>
                    <a:pt x="321" y="102"/>
                  </a:lnTo>
                  <a:lnTo>
                    <a:pt x="321" y="101"/>
                  </a:lnTo>
                  <a:lnTo>
                    <a:pt x="322" y="101"/>
                  </a:lnTo>
                  <a:lnTo>
                    <a:pt x="322" y="102"/>
                  </a:lnTo>
                  <a:lnTo>
                    <a:pt x="323" y="102"/>
                  </a:lnTo>
                  <a:lnTo>
                    <a:pt x="324" y="102"/>
                  </a:lnTo>
                  <a:lnTo>
                    <a:pt x="323" y="102"/>
                  </a:lnTo>
                  <a:lnTo>
                    <a:pt x="324" y="101"/>
                  </a:lnTo>
                  <a:lnTo>
                    <a:pt x="324" y="100"/>
                  </a:lnTo>
                  <a:lnTo>
                    <a:pt x="325" y="100"/>
                  </a:lnTo>
                  <a:lnTo>
                    <a:pt x="324" y="100"/>
                  </a:lnTo>
                  <a:lnTo>
                    <a:pt x="324" y="101"/>
                  </a:lnTo>
                  <a:lnTo>
                    <a:pt x="323" y="101"/>
                  </a:lnTo>
                  <a:lnTo>
                    <a:pt x="322" y="101"/>
                  </a:lnTo>
                  <a:lnTo>
                    <a:pt x="321" y="101"/>
                  </a:lnTo>
                  <a:lnTo>
                    <a:pt x="321" y="100"/>
                  </a:lnTo>
                  <a:lnTo>
                    <a:pt x="321" y="98"/>
                  </a:lnTo>
                  <a:lnTo>
                    <a:pt x="321" y="97"/>
                  </a:lnTo>
                  <a:lnTo>
                    <a:pt x="321" y="96"/>
                  </a:lnTo>
                  <a:lnTo>
                    <a:pt x="322" y="96"/>
                  </a:lnTo>
                  <a:lnTo>
                    <a:pt x="322" y="97"/>
                  </a:lnTo>
                  <a:lnTo>
                    <a:pt x="322" y="96"/>
                  </a:lnTo>
                  <a:lnTo>
                    <a:pt x="321" y="96"/>
                  </a:lnTo>
                  <a:lnTo>
                    <a:pt x="321" y="95"/>
                  </a:lnTo>
                  <a:lnTo>
                    <a:pt x="321" y="94"/>
                  </a:lnTo>
                  <a:lnTo>
                    <a:pt x="322" y="93"/>
                  </a:lnTo>
                  <a:lnTo>
                    <a:pt x="322" y="94"/>
                  </a:lnTo>
                  <a:lnTo>
                    <a:pt x="323" y="95"/>
                  </a:lnTo>
                  <a:lnTo>
                    <a:pt x="324" y="95"/>
                  </a:lnTo>
                  <a:lnTo>
                    <a:pt x="324" y="94"/>
                  </a:lnTo>
                  <a:lnTo>
                    <a:pt x="323" y="94"/>
                  </a:lnTo>
                  <a:lnTo>
                    <a:pt x="322" y="94"/>
                  </a:lnTo>
                  <a:lnTo>
                    <a:pt x="322" y="93"/>
                  </a:lnTo>
                  <a:lnTo>
                    <a:pt x="322" y="91"/>
                  </a:lnTo>
                  <a:lnTo>
                    <a:pt x="322" y="90"/>
                  </a:lnTo>
                  <a:lnTo>
                    <a:pt x="322" y="89"/>
                  </a:lnTo>
                  <a:lnTo>
                    <a:pt x="323" y="88"/>
                  </a:lnTo>
                  <a:lnTo>
                    <a:pt x="323" y="87"/>
                  </a:lnTo>
                  <a:lnTo>
                    <a:pt x="324" y="87"/>
                  </a:lnTo>
                  <a:lnTo>
                    <a:pt x="325" y="87"/>
                  </a:lnTo>
                  <a:lnTo>
                    <a:pt x="325" y="86"/>
                  </a:lnTo>
                  <a:lnTo>
                    <a:pt x="325" y="87"/>
                  </a:lnTo>
                  <a:lnTo>
                    <a:pt x="327" y="87"/>
                  </a:lnTo>
                  <a:lnTo>
                    <a:pt x="327" y="86"/>
                  </a:lnTo>
                  <a:lnTo>
                    <a:pt x="328" y="86"/>
                  </a:lnTo>
                  <a:lnTo>
                    <a:pt x="330" y="86"/>
                  </a:lnTo>
                  <a:close/>
                  <a:moveTo>
                    <a:pt x="320" y="89"/>
                  </a:moveTo>
                  <a:lnTo>
                    <a:pt x="318" y="89"/>
                  </a:lnTo>
                  <a:lnTo>
                    <a:pt x="318" y="88"/>
                  </a:lnTo>
                  <a:lnTo>
                    <a:pt x="317" y="88"/>
                  </a:lnTo>
                  <a:lnTo>
                    <a:pt x="317" y="87"/>
                  </a:lnTo>
                  <a:lnTo>
                    <a:pt x="318" y="86"/>
                  </a:lnTo>
                  <a:lnTo>
                    <a:pt x="318" y="84"/>
                  </a:lnTo>
                  <a:lnTo>
                    <a:pt x="318" y="83"/>
                  </a:lnTo>
                  <a:lnTo>
                    <a:pt x="320" y="83"/>
                  </a:lnTo>
                  <a:lnTo>
                    <a:pt x="321" y="83"/>
                  </a:lnTo>
                  <a:lnTo>
                    <a:pt x="322" y="83"/>
                  </a:lnTo>
                  <a:lnTo>
                    <a:pt x="322" y="84"/>
                  </a:lnTo>
                  <a:lnTo>
                    <a:pt x="323" y="84"/>
                  </a:lnTo>
                  <a:lnTo>
                    <a:pt x="323" y="86"/>
                  </a:lnTo>
                  <a:lnTo>
                    <a:pt x="322" y="86"/>
                  </a:lnTo>
                  <a:lnTo>
                    <a:pt x="322" y="87"/>
                  </a:lnTo>
                  <a:lnTo>
                    <a:pt x="321" y="87"/>
                  </a:lnTo>
                  <a:lnTo>
                    <a:pt x="320" y="88"/>
                  </a:lnTo>
                  <a:lnTo>
                    <a:pt x="320" y="89"/>
                  </a:lnTo>
                  <a:close/>
                  <a:moveTo>
                    <a:pt x="339" y="82"/>
                  </a:moveTo>
                  <a:lnTo>
                    <a:pt x="341" y="83"/>
                  </a:lnTo>
                  <a:lnTo>
                    <a:pt x="341" y="84"/>
                  </a:lnTo>
                  <a:lnTo>
                    <a:pt x="339" y="86"/>
                  </a:lnTo>
                  <a:lnTo>
                    <a:pt x="336" y="86"/>
                  </a:lnTo>
                  <a:lnTo>
                    <a:pt x="335" y="86"/>
                  </a:lnTo>
                  <a:lnTo>
                    <a:pt x="335" y="84"/>
                  </a:lnTo>
                  <a:lnTo>
                    <a:pt x="336" y="83"/>
                  </a:lnTo>
                  <a:lnTo>
                    <a:pt x="337" y="83"/>
                  </a:lnTo>
                  <a:lnTo>
                    <a:pt x="338" y="82"/>
                  </a:lnTo>
                  <a:lnTo>
                    <a:pt x="339" y="82"/>
                  </a:lnTo>
                  <a:close/>
                  <a:moveTo>
                    <a:pt x="325" y="83"/>
                  </a:moveTo>
                  <a:lnTo>
                    <a:pt x="325" y="84"/>
                  </a:lnTo>
                  <a:lnTo>
                    <a:pt x="324" y="84"/>
                  </a:lnTo>
                  <a:lnTo>
                    <a:pt x="324" y="83"/>
                  </a:lnTo>
                  <a:lnTo>
                    <a:pt x="323" y="83"/>
                  </a:lnTo>
                  <a:lnTo>
                    <a:pt x="323" y="82"/>
                  </a:lnTo>
                  <a:lnTo>
                    <a:pt x="323" y="81"/>
                  </a:lnTo>
                  <a:lnTo>
                    <a:pt x="324" y="81"/>
                  </a:lnTo>
                  <a:lnTo>
                    <a:pt x="325" y="81"/>
                  </a:lnTo>
                  <a:lnTo>
                    <a:pt x="325" y="82"/>
                  </a:lnTo>
                  <a:lnTo>
                    <a:pt x="325" y="83"/>
                  </a:lnTo>
                  <a:close/>
                  <a:moveTo>
                    <a:pt x="330" y="80"/>
                  </a:moveTo>
                  <a:lnTo>
                    <a:pt x="329" y="80"/>
                  </a:lnTo>
                  <a:lnTo>
                    <a:pt x="329" y="79"/>
                  </a:lnTo>
                  <a:lnTo>
                    <a:pt x="330" y="79"/>
                  </a:lnTo>
                  <a:lnTo>
                    <a:pt x="330" y="80"/>
                  </a:lnTo>
                  <a:close/>
                  <a:moveTo>
                    <a:pt x="338" y="79"/>
                  </a:moveTo>
                  <a:lnTo>
                    <a:pt x="337" y="80"/>
                  </a:lnTo>
                  <a:lnTo>
                    <a:pt x="336" y="81"/>
                  </a:lnTo>
                  <a:lnTo>
                    <a:pt x="335" y="82"/>
                  </a:lnTo>
                  <a:lnTo>
                    <a:pt x="335" y="83"/>
                  </a:lnTo>
                  <a:lnTo>
                    <a:pt x="334" y="84"/>
                  </a:lnTo>
                  <a:lnTo>
                    <a:pt x="332" y="84"/>
                  </a:lnTo>
                  <a:lnTo>
                    <a:pt x="331" y="84"/>
                  </a:lnTo>
                  <a:lnTo>
                    <a:pt x="331" y="83"/>
                  </a:lnTo>
                  <a:lnTo>
                    <a:pt x="330" y="83"/>
                  </a:lnTo>
                  <a:lnTo>
                    <a:pt x="329" y="83"/>
                  </a:lnTo>
                  <a:lnTo>
                    <a:pt x="328" y="83"/>
                  </a:lnTo>
                  <a:lnTo>
                    <a:pt x="327" y="83"/>
                  </a:lnTo>
                  <a:lnTo>
                    <a:pt x="327" y="82"/>
                  </a:lnTo>
                  <a:lnTo>
                    <a:pt x="327" y="81"/>
                  </a:lnTo>
                  <a:lnTo>
                    <a:pt x="327" y="80"/>
                  </a:lnTo>
                  <a:lnTo>
                    <a:pt x="328" y="80"/>
                  </a:lnTo>
                  <a:lnTo>
                    <a:pt x="329" y="80"/>
                  </a:lnTo>
                  <a:lnTo>
                    <a:pt x="330" y="80"/>
                  </a:lnTo>
                  <a:lnTo>
                    <a:pt x="331" y="80"/>
                  </a:lnTo>
                  <a:lnTo>
                    <a:pt x="331" y="79"/>
                  </a:lnTo>
                  <a:lnTo>
                    <a:pt x="332" y="79"/>
                  </a:lnTo>
                  <a:lnTo>
                    <a:pt x="334" y="79"/>
                  </a:lnTo>
                  <a:lnTo>
                    <a:pt x="335" y="79"/>
                  </a:lnTo>
                  <a:lnTo>
                    <a:pt x="336" y="79"/>
                  </a:lnTo>
                  <a:lnTo>
                    <a:pt x="337" y="77"/>
                  </a:lnTo>
                  <a:lnTo>
                    <a:pt x="338" y="77"/>
                  </a:lnTo>
                  <a:lnTo>
                    <a:pt x="338" y="79"/>
                  </a:lnTo>
                  <a:close/>
                  <a:moveTo>
                    <a:pt x="327" y="75"/>
                  </a:moveTo>
                  <a:lnTo>
                    <a:pt x="327" y="77"/>
                  </a:lnTo>
                  <a:lnTo>
                    <a:pt x="328" y="77"/>
                  </a:lnTo>
                  <a:lnTo>
                    <a:pt x="328" y="79"/>
                  </a:lnTo>
                  <a:lnTo>
                    <a:pt x="327" y="80"/>
                  </a:lnTo>
                  <a:lnTo>
                    <a:pt x="325" y="81"/>
                  </a:lnTo>
                  <a:lnTo>
                    <a:pt x="327" y="81"/>
                  </a:lnTo>
                  <a:lnTo>
                    <a:pt x="325" y="81"/>
                  </a:lnTo>
                  <a:lnTo>
                    <a:pt x="324" y="81"/>
                  </a:lnTo>
                  <a:lnTo>
                    <a:pt x="324" y="80"/>
                  </a:lnTo>
                  <a:lnTo>
                    <a:pt x="325" y="80"/>
                  </a:lnTo>
                  <a:lnTo>
                    <a:pt x="325" y="77"/>
                  </a:lnTo>
                  <a:lnTo>
                    <a:pt x="327" y="77"/>
                  </a:lnTo>
                  <a:lnTo>
                    <a:pt x="327" y="76"/>
                  </a:lnTo>
                  <a:lnTo>
                    <a:pt x="325" y="76"/>
                  </a:lnTo>
                  <a:lnTo>
                    <a:pt x="325" y="75"/>
                  </a:lnTo>
                  <a:lnTo>
                    <a:pt x="327" y="74"/>
                  </a:lnTo>
                  <a:lnTo>
                    <a:pt x="327" y="75"/>
                  </a:lnTo>
                  <a:close/>
                  <a:moveTo>
                    <a:pt x="331" y="74"/>
                  </a:moveTo>
                  <a:lnTo>
                    <a:pt x="331" y="75"/>
                  </a:lnTo>
                  <a:lnTo>
                    <a:pt x="330" y="77"/>
                  </a:lnTo>
                  <a:lnTo>
                    <a:pt x="329" y="77"/>
                  </a:lnTo>
                  <a:lnTo>
                    <a:pt x="328" y="79"/>
                  </a:lnTo>
                  <a:lnTo>
                    <a:pt x="328" y="77"/>
                  </a:lnTo>
                  <a:lnTo>
                    <a:pt x="328" y="76"/>
                  </a:lnTo>
                  <a:lnTo>
                    <a:pt x="328" y="75"/>
                  </a:lnTo>
                  <a:lnTo>
                    <a:pt x="329" y="75"/>
                  </a:lnTo>
                  <a:lnTo>
                    <a:pt x="328" y="74"/>
                  </a:lnTo>
                  <a:lnTo>
                    <a:pt x="329" y="74"/>
                  </a:lnTo>
                  <a:lnTo>
                    <a:pt x="330" y="74"/>
                  </a:lnTo>
                  <a:lnTo>
                    <a:pt x="330" y="75"/>
                  </a:lnTo>
                  <a:lnTo>
                    <a:pt x="330" y="74"/>
                  </a:lnTo>
                  <a:lnTo>
                    <a:pt x="331" y="74"/>
                  </a:lnTo>
                  <a:close/>
                  <a:moveTo>
                    <a:pt x="620" y="70"/>
                  </a:moveTo>
                  <a:lnTo>
                    <a:pt x="619" y="70"/>
                  </a:lnTo>
                  <a:lnTo>
                    <a:pt x="619" y="69"/>
                  </a:lnTo>
                  <a:lnTo>
                    <a:pt x="620" y="69"/>
                  </a:lnTo>
                  <a:lnTo>
                    <a:pt x="620" y="70"/>
                  </a:lnTo>
                  <a:close/>
                  <a:moveTo>
                    <a:pt x="331" y="69"/>
                  </a:moveTo>
                  <a:lnTo>
                    <a:pt x="331" y="70"/>
                  </a:lnTo>
                  <a:lnTo>
                    <a:pt x="331" y="72"/>
                  </a:lnTo>
                  <a:lnTo>
                    <a:pt x="330" y="72"/>
                  </a:lnTo>
                  <a:lnTo>
                    <a:pt x="329" y="72"/>
                  </a:lnTo>
                  <a:lnTo>
                    <a:pt x="328" y="72"/>
                  </a:lnTo>
                  <a:lnTo>
                    <a:pt x="328" y="70"/>
                  </a:lnTo>
                  <a:lnTo>
                    <a:pt x="329" y="70"/>
                  </a:lnTo>
                  <a:lnTo>
                    <a:pt x="330" y="69"/>
                  </a:lnTo>
                  <a:lnTo>
                    <a:pt x="331" y="69"/>
                  </a:lnTo>
                  <a:close/>
                  <a:moveTo>
                    <a:pt x="331" y="69"/>
                  </a:moveTo>
                  <a:lnTo>
                    <a:pt x="330" y="69"/>
                  </a:lnTo>
                  <a:lnTo>
                    <a:pt x="330" y="68"/>
                  </a:lnTo>
                  <a:lnTo>
                    <a:pt x="331" y="68"/>
                  </a:lnTo>
                  <a:lnTo>
                    <a:pt x="331" y="67"/>
                  </a:lnTo>
                  <a:lnTo>
                    <a:pt x="332" y="67"/>
                  </a:lnTo>
                  <a:lnTo>
                    <a:pt x="334" y="67"/>
                  </a:lnTo>
                  <a:lnTo>
                    <a:pt x="332" y="67"/>
                  </a:lnTo>
                  <a:lnTo>
                    <a:pt x="332" y="68"/>
                  </a:lnTo>
                  <a:lnTo>
                    <a:pt x="332" y="69"/>
                  </a:lnTo>
                  <a:lnTo>
                    <a:pt x="331" y="69"/>
                  </a:lnTo>
                  <a:close/>
                  <a:moveTo>
                    <a:pt x="327" y="51"/>
                  </a:moveTo>
                  <a:lnTo>
                    <a:pt x="327" y="52"/>
                  </a:lnTo>
                  <a:lnTo>
                    <a:pt x="328" y="52"/>
                  </a:lnTo>
                  <a:lnTo>
                    <a:pt x="328" y="53"/>
                  </a:lnTo>
                  <a:lnTo>
                    <a:pt x="327" y="54"/>
                  </a:lnTo>
                  <a:lnTo>
                    <a:pt x="325" y="54"/>
                  </a:lnTo>
                  <a:lnTo>
                    <a:pt x="325" y="53"/>
                  </a:lnTo>
                  <a:lnTo>
                    <a:pt x="325" y="52"/>
                  </a:lnTo>
                  <a:lnTo>
                    <a:pt x="324" y="52"/>
                  </a:lnTo>
                  <a:lnTo>
                    <a:pt x="325" y="51"/>
                  </a:lnTo>
                  <a:lnTo>
                    <a:pt x="327" y="51"/>
                  </a:lnTo>
                  <a:close/>
                  <a:moveTo>
                    <a:pt x="325" y="49"/>
                  </a:moveTo>
                  <a:lnTo>
                    <a:pt x="327" y="49"/>
                  </a:lnTo>
                  <a:lnTo>
                    <a:pt x="327" y="51"/>
                  </a:lnTo>
                  <a:lnTo>
                    <a:pt x="325" y="51"/>
                  </a:lnTo>
                  <a:lnTo>
                    <a:pt x="324" y="51"/>
                  </a:lnTo>
                  <a:lnTo>
                    <a:pt x="324" y="49"/>
                  </a:lnTo>
                  <a:lnTo>
                    <a:pt x="325" y="49"/>
                  </a:lnTo>
                  <a:close/>
                  <a:moveTo>
                    <a:pt x="190" y="0"/>
                  </a:moveTo>
                  <a:lnTo>
                    <a:pt x="192" y="0"/>
                  </a:lnTo>
                  <a:lnTo>
                    <a:pt x="193" y="2"/>
                  </a:lnTo>
                  <a:lnTo>
                    <a:pt x="193" y="3"/>
                  </a:lnTo>
                  <a:lnTo>
                    <a:pt x="194" y="3"/>
                  </a:lnTo>
                  <a:lnTo>
                    <a:pt x="194" y="4"/>
                  </a:lnTo>
                  <a:lnTo>
                    <a:pt x="194" y="5"/>
                  </a:lnTo>
                  <a:lnTo>
                    <a:pt x="194" y="6"/>
                  </a:lnTo>
                  <a:lnTo>
                    <a:pt x="193" y="6"/>
                  </a:lnTo>
                  <a:lnTo>
                    <a:pt x="193" y="7"/>
                  </a:lnTo>
                  <a:lnTo>
                    <a:pt x="193" y="9"/>
                  </a:lnTo>
                  <a:lnTo>
                    <a:pt x="193" y="10"/>
                  </a:lnTo>
                  <a:lnTo>
                    <a:pt x="193" y="11"/>
                  </a:lnTo>
                  <a:lnTo>
                    <a:pt x="192" y="11"/>
                  </a:lnTo>
                  <a:lnTo>
                    <a:pt x="192" y="12"/>
                  </a:lnTo>
                  <a:lnTo>
                    <a:pt x="193" y="12"/>
                  </a:lnTo>
                  <a:lnTo>
                    <a:pt x="194" y="12"/>
                  </a:lnTo>
                  <a:lnTo>
                    <a:pt x="194" y="13"/>
                  </a:lnTo>
                  <a:lnTo>
                    <a:pt x="195" y="13"/>
                  </a:lnTo>
                  <a:lnTo>
                    <a:pt x="196" y="13"/>
                  </a:lnTo>
                  <a:lnTo>
                    <a:pt x="197" y="13"/>
                  </a:lnTo>
                  <a:lnTo>
                    <a:pt x="197" y="14"/>
                  </a:lnTo>
                  <a:lnTo>
                    <a:pt x="197" y="16"/>
                  </a:lnTo>
                  <a:lnTo>
                    <a:pt x="197" y="17"/>
                  </a:lnTo>
                  <a:lnTo>
                    <a:pt x="197" y="18"/>
                  </a:lnTo>
                  <a:lnTo>
                    <a:pt x="199" y="18"/>
                  </a:lnTo>
                  <a:lnTo>
                    <a:pt x="197" y="19"/>
                  </a:lnTo>
                  <a:lnTo>
                    <a:pt x="199" y="20"/>
                  </a:lnTo>
                  <a:lnTo>
                    <a:pt x="199" y="21"/>
                  </a:lnTo>
                  <a:lnTo>
                    <a:pt x="200" y="21"/>
                  </a:lnTo>
                  <a:lnTo>
                    <a:pt x="199" y="21"/>
                  </a:lnTo>
                  <a:lnTo>
                    <a:pt x="199" y="23"/>
                  </a:lnTo>
                  <a:lnTo>
                    <a:pt x="199" y="24"/>
                  </a:lnTo>
                  <a:lnTo>
                    <a:pt x="197" y="24"/>
                  </a:lnTo>
                  <a:lnTo>
                    <a:pt x="197" y="25"/>
                  </a:lnTo>
                  <a:lnTo>
                    <a:pt x="197" y="26"/>
                  </a:lnTo>
                  <a:lnTo>
                    <a:pt x="196" y="26"/>
                  </a:lnTo>
                  <a:lnTo>
                    <a:pt x="195" y="26"/>
                  </a:lnTo>
                  <a:lnTo>
                    <a:pt x="195" y="27"/>
                  </a:lnTo>
                  <a:lnTo>
                    <a:pt x="195" y="28"/>
                  </a:lnTo>
                  <a:lnTo>
                    <a:pt x="195" y="30"/>
                  </a:lnTo>
                  <a:lnTo>
                    <a:pt x="195" y="31"/>
                  </a:lnTo>
                  <a:lnTo>
                    <a:pt x="195" y="32"/>
                  </a:lnTo>
                  <a:lnTo>
                    <a:pt x="194" y="32"/>
                  </a:lnTo>
                  <a:lnTo>
                    <a:pt x="194" y="33"/>
                  </a:lnTo>
                  <a:lnTo>
                    <a:pt x="194" y="34"/>
                  </a:lnTo>
                  <a:lnTo>
                    <a:pt x="194" y="35"/>
                  </a:lnTo>
                  <a:lnTo>
                    <a:pt x="193" y="35"/>
                  </a:lnTo>
                  <a:lnTo>
                    <a:pt x="193" y="37"/>
                  </a:lnTo>
                  <a:lnTo>
                    <a:pt x="193" y="39"/>
                  </a:lnTo>
                  <a:lnTo>
                    <a:pt x="193" y="41"/>
                  </a:lnTo>
                  <a:lnTo>
                    <a:pt x="193" y="42"/>
                  </a:lnTo>
                  <a:lnTo>
                    <a:pt x="194" y="42"/>
                  </a:lnTo>
                  <a:lnTo>
                    <a:pt x="194" y="44"/>
                  </a:lnTo>
                  <a:lnTo>
                    <a:pt x="194" y="45"/>
                  </a:lnTo>
                  <a:lnTo>
                    <a:pt x="194" y="46"/>
                  </a:lnTo>
                  <a:lnTo>
                    <a:pt x="194" y="47"/>
                  </a:lnTo>
                  <a:lnTo>
                    <a:pt x="195" y="47"/>
                  </a:lnTo>
                  <a:lnTo>
                    <a:pt x="196" y="47"/>
                  </a:lnTo>
                  <a:lnTo>
                    <a:pt x="196" y="48"/>
                  </a:lnTo>
                  <a:lnTo>
                    <a:pt x="196" y="49"/>
                  </a:lnTo>
                  <a:lnTo>
                    <a:pt x="196" y="51"/>
                  </a:lnTo>
                  <a:lnTo>
                    <a:pt x="196" y="52"/>
                  </a:lnTo>
                  <a:lnTo>
                    <a:pt x="196" y="53"/>
                  </a:lnTo>
                  <a:lnTo>
                    <a:pt x="196" y="54"/>
                  </a:lnTo>
                  <a:lnTo>
                    <a:pt x="197" y="54"/>
                  </a:lnTo>
                  <a:lnTo>
                    <a:pt x="197" y="55"/>
                  </a:lnTo>
                  <a:lnTo>
                    <a:pt x="197" y="56"/>
                  </a:lnTo>
                  <a:lnTo>
                    <a:pt x="199" y="56"/>
                  </a:lnTo>
                  <a:lnTo>
                    <a:pt x="200" y="58"/>
                  </a:lnTo>
                  <a:lnTo>
                    <a:pt x="200" y="59"/>
                  </a:lnTo>
                  <a:lnTo>
                    <a:pt x="201" y="59"/>
                  </a:lnTo>
                  <a:lnTo>
                    <a:pt x="201" y="60"/>
                  </a:lnTo>
                  <a:lnTo>
                    <a:pt x="202" y="60"/>
                  </a:lnTo>
                  <a:lnTo>
                    <a:pt x="202" y="61"/>
                  </a:lnTo>
                  <a:lnTo>
                    <a:pt x="203" y="62"/>
                  </a:lnTo>
                  <a:lnTo>
                    <a:pt x="204" y="62"/>
                  </a:lnTo>
                  <a:lnTo>
                    <a:pt x="207" y="62"/>
                  </a:lnTo>
                  <a:lnTo>
                    <a:pt x="207" y="63"/>
                  </a:lnTo>
                  <a:lnTo>
                    <a:pt x="208" y="63"/>
                  </a:lnTo>
                  <a:lnTo>
                    <a:pt x="208" y="65"/>
                  </a:lnTo>
                  <a:lnTo>
                    <a:pt x="209" y="65"/>
                  </a:lnTo>
                  <a:lnTo>
                    <a:pt x="210" y="65"/>
                  </a:lnTo>
                  <a:lnTo>
                    <a:pt x="210" y="63"/>
                  </a:lnTo>
                  <a:lnTo>
                    <a:pt x="211" y="63"/>
                  </a:lnTo>
                  <a:lnTo>
                    <a:pt x="213" y="63"/>
                  </a:lnTo>
                  <a:lnTo>
                    <a:pt x="214" y="62"/>
                  </a:lnTo>
                  <a:lnTo>
                    <a:pt x="214" y="61"/>
                  </a:lnTo>
                  <a:lnTo>
                    <a:pt x="215" y="60"/>
                  </a:lnTo>
                  <a:lnTo>
                    <a:pt x="215" y="59"/>
                  </a:lnTo>
                  <a:lnTo>
                    <a:pt x="216" y="59"/>
                  </a:lnTo>
                  <a:lnTo>
                    <a:pt x="217" y="59"/>
                  </a:lnTo>
                  <a:lnTo>
                    <a:pt x="218" y="59"/>
                  </a:lnTo>
                  <a:lnTo>
                    <a:pt x="218" y="60"/>
                  </a:lnTo>
                  <a:lnTo>
                    <a:pt x="220" y="60"/>
                  </a:lnTo>
                  <a:lnTo>
                    <a:pt x="221" y="60"/>
                  </a:lnTo>
                  <a:lnTo>
                    <a:pt x="221" y="59"/>
                  </a:lnTo>
                  <a:lnTo>
                    <a:pt x="221" y="58"/>
                  </a:lnTo>
                  <a:lnTo>
                    <a:pt x="222" y="58"/>
                  </a:lnTo>
                  <a:lnTo>
                    <a:pt x="223" y="56"/>
                  </a:lnTo>
                  <a:lnTo>
                    <a:pt x="224" y="56"/>
                  </a:lnTo>
                  <a:lnTo>
                    <a:pt x="225" y="56"/>
                  </a:lnTo>
                  <a:lnTo>
                    <a:pt x="226" y="56"/>
                  </a:lnTo>
                  <a:lnTo>
                    <a:pt x="228" y="55"/>
                  </a:lnTo>
                  <a:lnTo>
                    <a:pt x="228" y="54"/>
                  </a:lnTo>
                  <a:lnTo>
                    <a:pt x="229" y="54"/>
                  </a:lnTo>
                  <a:lnTo>
                    <a:pt x="229" y="53"/>
                  </a:lnTo>
                  <a:lnTo>
                    <a:pt x="230" y="53"/>
                  </a:lnTo>
                  <a:lnTo>
                    <a:pt x="231" y="53"/>
                  </a:lnTo>
                  <a:lnTo>
                    <a:pt x="232" y="52"/>
                  </a:lnTo>
                  <a:lnTo>
                    <a:pt x="233" y="52"/>
                  </a:lnTo>
                  <a:lnTo>
                    <a:pt x="233" y="53"/>
                  </a:lnTo>
                  <a:lnTo>
                    <a:pt x="235" y="53"/>
                  </a:lnTo>
                  <a:lnTo>
                    <a:pt x="236" y="53"/>
                  </a:lnTo>
                  <a:lnTo>
                    <a:pt x="236" y="54"/>
                  </a:lnTo>
                  <a:lnTo>
                    <a:pt x="237" y="54"/>
                  </a:lnTo>
                  <a:lnTo>
                    <a:pt x="238" y="53"/>
                  </a:lnTo>
                  <a:lnTo>
                    <a:pt x="239" y="53"/>
                  </a:lnTo>
                  <a:lnTo>
                    <a:pt x="240" y="53"/>
                  </a:lnTo>
                  <a:lnTo>
                    <a:pt x="240" y="54"/>
                  </a:lnTo>
                  <a:lnTo>
                    <a:pt x="240" y="53"/>
                  </a:lnTo>
                  <a:lnTo>
                    <a:pt x="242" y="53"/>
                  </a:lnTo>
                  <a:lnTo>
                    <a:pt x="243" y="53"/>
                  </a:lnTo>
                  <a:lnTo>
                    <a:pt x="244" y="53"/>
                  </a:lnTo>
                  <a:lnTo>
                    <a:pt x="244" y="54"/>
                  </a:lnTo>
                  <a:lnTo>
                    <a:pt x="245" y="54"/>
                  </a:lnTo>
                  <a:lnTo>
                    <a:pt x="246" y="54"/>
                  </a:lnTo>
                  <a:lnTo>
                    <a:pt x="247" y="54"/>
                  </a:lnTo>
                  <a:lnTo>
                    <a:pt x="249" y="54"/>
                  </a:lnTo>
                  <a:lnTo>
                    <a:pt x="250" y="54"/>
                  </a:lnTo>
                  <a:lnTo>
                    <a:pt x="250" y="53"/>
                  </a:lnTo>
                  <a:lnTo>
                    <a:pt x="250" y="52"/>
                  </a:lnTo>
                  <a:lnTo>
                    <a:pt x="250" y="51"/>
                  </a:lnTo>
                  <a:lnTo>
                    <a:pt x="249" y="51"/>
                  </a:lnTo>
                  <a:lnTo>
                    <a:pt x="249" y="49"/>
                  </a:lnTo>
                  <a:lnTo>
                    <a:pt x="247" y="49"/>
                  </a:lnTo>
                  <a:lnTo>
                    <a:pt x="247" y="48"/>
                  </a:lnTo>
                  <a:lnTo>
                    <a:pt x="246" y="48"/>
                  </a:lnTo>
                  <a:lnTo>
                    <a:pt x="246" y="47"/>
                  </a:lnTo>
                  <a:lnTo>
                    <a:pt x="247" y="46"/>
                  </a:lnTo>
                  <a:lnTo>
                    <a:pt x="247" y="47"/>
                  </a:lnTo>
                  <a:lnTo>
                    <a:pt x="247" y="46"/>
                  </a:lnTo>
                  <a:lnTo>
                    <a:pt x="249" y="46"/>
                  </a:lnTo>
                  <a:lnTo>
                    <a:pt x="249" y="45"/>
                  </a:lnTo>
                  <a:lnTo>
                    <a:pt x="249" y="44"/>
                  </a:lnTo>
                  <a:lnTo>
                    <a:pt x="250" y="44"/>
                  </a:lnTo>
                  <a:lnTo>
                    <a:pt x="250" y="45"/>
                  </a:lnTo>
                  <a:lnTo>
                    <a:pt x="251" y="45"/>
                  </a:lnTo>
                  <a:lnTo>
                    <a:pt x="252" y="45"/>
                  </a:lnTo>
                  <a:lnTo>
                    <a:pt x="252" y="46"/>
                  </a:lnTo>
                  <a:lnTo>
                    <a:pt x="253" y="46"/>
                  </a:lnTo>
                  <a:lnTo>
                    <a:pt x="254" y="45"/>
                  </a:lnTo>
                  <a:lnTo>
                    <a:pt x="256" y="45"/>
                  </a:lnTo>
                  <a:lnTo>
                    <a:pt x="257" y="45"/>
                  </a:lnTo>
                  <a:lnTo>
                    <a:pt x="258" y="45"/>
                  </a:lnTo>
                  <a:lnTo>
                    <a:pt x="258" y="44"/>
                  </a:lnTo>
                  <a:lnTo>
                    <a:pt x="259" y="44"/>
                  </a:lnTo>
                  <a:lnTo>
                    <a:pt x="260" y="44"/>
                  </a:lnTo>
                  <a:lnTo>
                    <a:pt x="261" y="44"/>
                  </a:lnTo>
                  <a:lnTo>
                    <a:pt x="261" y="42"/>
                  </a:lnTo>
                  <a:lnTo>
                    <a:pt x="263" y="42"/>
                  </a:lnTo>
                  <a:lnTo>
                    <a:pt x="263" y="44"/>
                  </a:lnTo>
                  <a:lnTo>
                    <a:pt x="264" y="45"/>
                  </a:lnTo>
                  <a:lnTo>
                    <a:pt x="265" y="45"/>
                  </a:lnTo>
                  <a:lnTo>
                    <a:pt x="266" y="45"/>
                  </a:lnTo>
                  <a:lnTo>
                    <a:pt x="266" y="46"/>
                  </a:lnTo>
                  <a:lnTo>
                    <a:pt x="266" y="47"/>
                  </a:lnTo>
                  <a:lnTo>
                    <a:pt x="267" y="47"/>
                  </a:lnTo>
                  <a:lnTo>
                    <a:pt x="268" y="47"/>
                  </a:lnTo>
                  <a:lnTo>
                    <a:pt x="268" y="48"/>
                  </a:lnTo>
                  <a:lnTo>
                    <a:pt x="270" y="48"/>
                  </a:lnTo>
                  <a:lnTo>
                    <a:pt x="271" y="48"/>
                  </a:lnTo>
                  <a:lnTo>
                    <a:pt x="271" y="49"/>
                  </a:lnTo>
                  <a:lnTo>
                    <a:pt x="272" y="49"/>
                  </a:lnTo>
                  <a:lnTo>
                    <a:pt x="273" y="49"/>
                  </a:lnTo>
                  <a:lnTo>
                    <a:pt x="274" y="49"/>
                  </a:lnTo>
                  <a:lnTo>
                    <a:pt x="274" y="51"/>
                  </a:lnTo>
                  <a:lnTo>
                    <a:pt x="275" y="49"/>
                  </a:lnTo>
                  <a:lnTo>
                    <a:pt x="277" y="49"/>
                  </a:lnTo>
                  <a:lnTo>
                    <a:pt x="277" y="48"/>
                  </a:lnTo>
                  <a:lnTo>
                    <a:pt x="278" y="48"/>
                  </a:lnTo>
                  <a:lnTo>
                    <a:pt x="278" y="47"/>
                  </a:lnTo>
                  <a:lnTo>
                    <a:pt x="279" y="47"/>
                  </a:lnTo>
                  <a:lnTo>
                    <a:pt x="279" y="46"/>
                  </a:lnTo>
                  <a:lnTo>
                    <a:pt x="280" y="46"/>
                  </a:lnTo>
                  <a:lnTo>
                    <a:pt x="280" y="47"/>
                  </a:lnTo>
                  <a:lnTo>
                    <a:pt x="281" y="47"/>
                  </a:lnTo>
                  <a:lnTo>
                    <a:pt x="282" y="48"/>
                  </a:lnTo>
                  <a:lnTo>
                    <a:pt x="284" y="48"/>
                  </a:lnTo>
                  <a:lnTo>
                    <a:pt x="285" y="47"/>
                  </a:lnTo>
                  <a:lnTo>
                    <a:pt x="286" y="47"/>
                  </a:lnTo>
                  <a:lnTo>
                    <a:pt x="286" y="46"/>
                  </a:lnTo>
                  <a:lnTo>
                    <a:pt x="286" y="47"/>
                  </a:lnTo>
                  <a:lnTo>
                    <a:pt x="287" y="48"/>
                  </a:lnTo>
                  <a:lnTo>
                    <a:pt x="286" y="48"/>
                  </a:lnTo>
                  <a:lnTo>
                    <a:pt x="287" y="49"/>
                  </a:lnTo>
                  <a:lnTo>
                    <a:pt x="288" y="48"/>
                  </a:lnTo>
                  <a:lnTo>
                    <a:pt x="289" y="48"/>
                  </a:lnTo>
                  <a:lnTo>
                    <a:pt x="289" y="49"/>
                  </a:lnTo>
                  <a:lnTo>
                    <a:pt x="290" y="49"/>
                  </a:lnTo>
                  <a:lnTo>
                    <a:pt x="292" y="49"/>
                  </a:lnTo>
                  <a:lnTo>
                    <a:pt x="292" y="48"/>
                  </a:lnTo>
                  <a:lnTo>
                    <a:pt x="292" y="47"/>
                  </a:lnTo>
                  <a:lnTo>
                    <a:pt x="293" y="47"/>
                  </a:lnTo>
                  <a:lnTo>
                    <a:pt x="294" y="46"/>
                  </a:lnTo>
                  <a:lnTo>
                    <a:pt x="295" y="46"/>
                  </a:lnTo>
                  <a:lnTo>
                    <a:pt x="295" y="45"/>
                  </a:lnTo>
                  <a:lnTo>
                    <a:pt x="296" y="44"/>
                  </a:lnTo>
                  <a:lnTo>
                    <a:pt x="296" y="42"/>
                  </a:lnTo>
                  <a:lnTo>
                    <a:pt x="296" y="41"/>
                  </a:lnTo>
                  <a:lnTo>
                    <a:pt x="297" y="38"/>
                  </a:lnTo>
                  <a:lnTo>
                    <a:pt x="299" y="38"/>
                  </a:lnTo>
                  <a:lnTo>
                    <a:pt x="299" y="37"/>
                  </a:lnTo>
                  <a:lnTo>
                    <a:pt x="300" y="35"/>
                  </a:lnTo>
                  <a:lnTo>
                    <a:pt x="300" y="34"/>
                  </a:lnTo>
                  <a:lnTo>
                    <a:pt x="300" y="33"/>
                  </a:lnTo>
                  <a:lnTo>
                    <a:pt x="301" y="32"/>
                  </a:lnTo>
                  <a:lnTo>
                    <a:pt x="303" y="28"/>
                  </a:lnTo>
                  <a:lnTo>
                    <a:pt x="303" y="27"/>
                  </a:lnTo>
                  <a:lnTo>
                    <a:pt x="304" y="26"/>
                  </a:lnTo>
                  <a:lnTo>
                    <a:pt x="304" y="25"/>
                  </a:lnTo>
                  <a:lnTo>
                    <a:pt x="306" y="25"/>
                  </a:lnTo>
                  <a:lnTo>
                    <a:pt x="306" y="24"/>
                  </a:lnTo>
                  <a:lnTo>
                    <a:pt x="307" y="23"/>
                  </a:lnTo>
                  <a:lnTo>
                    <a:pt x="307" y="21"/>
                  </a:lnTo>
                  <a:lnTo>
                    <a:pt x="308" y="21"/>
                  </a:lnTo>
                  <a:lnTo>
                    <a:pt x="308" y="20"/>
                  </a:lnTo>
                  <a:lnTo>
                    <a:pt x="309" y="20"/>
                  </a:lnTo>
                  <a:lnTo>
                    <a:pt x="309" y="19"/>
                  </a:lnTo>
                  <a:lnTo>
                    <a:pt x="310" y="19"/>
                  </a:lnTo>
                  <a:lnTo>
                    <a:pt x="310" y="18"/>
                  </a:lnTo>
                  <a:lnTo>
                    <a:pt x="310" y="17"/>
                  </a:lnTo>
                  <a:lnTo>
                    <a:pt x="311" y="17"/>
                  </a:lnTo>
                  <a:lnTo>
                    <a:pt x="311" y="18"/>
                  </a:lnTo>
                  <a:lnTo>
                    <a:pt x="311" y="19"/>
                  </a:lnTo>
                  <a:lnTo>
                    <a:pt x="313" y="20"/>
                  </a:lnTo>
                  <a:lnTo>
                    <a:pt x="313" y="21"/>
                  </a:lnTo>
                  <a:lnTo>
                    <a:pt x="313" y="20"/>
                  </a:lnTo>
                  <a:lnTo>
                    <a:pt x="311" y="19"/>
                  </a:lnTo>
                  <a:lnTo>
                    <a:pt x="311" y="17"/>
                  </a:lnTo>
                  <a:lnTo>
                    <a:pt x="310" y="14"/>
                  </a:lnTo>
                  <a:lnTo>
                    <a:pt x="311" y="13"/>
                  </a:lnTo>
                  <a:lnTo>
                    <a:pt x="313" y="14"/>
                  </a:lnTo>
                  <a:lnTo>
                    <a:pt x="314" y="14"/>
                  </a:lnTo>
                  <a:lnTo>
                    <a:pt x="315" y="17"/>
                  </a:lnTo>
                  <a:lnTo>
                    <a:pt x="315" y="18"/>
                  </a:lnTo>
                  <a:lnTo>
                    <a:pt x="316" y="19"/>
                  </a:lnTo>
                  <a:lnTo>
                    <a:pt x="316" y="20"/>
                  </a:lnTo>
                  <a:lnTo>
                    <a:pt x="316" y="21"/>
                  </a:lnTo>
                  <a:lnTo>
                    <a:pt x="316" y="24"/>
                  </a:lnTo>
                  <a:lnTo>
                    <a:pt x="316" y="25"/>
                  </a:lnTo>
                  <a:lnTo>
                    <a:pt x="316" y="26"/>
                  </a:lnTo>
                  <a:lnTo>
                    <a:pt x="316" y="25"/>
                  </a:lnTo>
                  <a:lnTo>
                    <a:pt x="316" y="23"/>
                  </a:lnTo>
                  <a:lnTo>
                    <a:pt x="317" y="21"/>
                  </a:lnTo>
                  <a:lnTo>
                    <a:pt x="317" y="23"/>
                  </a:lnTo>
                  <a:lnTo>
                    <a:pt x="317" y="25"/>
                  </a:lnTo>
                  <a:lnTo>
                    <a:pt x="317" y="27"/>
                  </a:lnTo>
                  <a:lnTo>
                    <a:pt x="317" y="28"/>
                  </a:lnTo>
                  <a:lnTo>
                    <a:pt x="317" y="30"/>
                  </a:lnTo>
                  <a:lnTo>
                    <a:pt x="317" y="31"/>
                  </a:lnTo>
                  <a:lnTo>
                    <a:pt x="317" y="33"/>
                  </a:lnTo>
                  <a:lnTo>
                    <a:pt x="318" y="33"/>
                  </a:lnTo>
                  <a:lnTo>
                    <a:pt x="317" y="34"/>
                  </a:lnTo>
                  <a:lnTo>
                    <a:pt x="318" y="34"/>
                  </a:lnTo>
                  <a:lnTo>
                    <a:pt x="318" y="35"/>
                  </a:lnTo>
                  <a:lnTo>
                    <a:pt x="318" y="37"/>
                  </a:lnTo>
                  <a:lnTo>
                    <a:pt x="318" y="38"/>
                  </a:lnTo>
                  <a:lnTo>
                    <a:pt x="318" y="39"/>
                  </a:lnTo>
                  <a:lnTo>
                    <a:pt x="320" y="39"/>
                  </a:lnTo>
                  <a:lnTo>
                    <a:pt x="320" y="40"/>
                  </a:lnTo>
                  <a:lnTo>
                    <a:pt x="320" y="41"/>
                  </a:lnTo>
                  <a:lnTo>
                    <a:pt x="321" y="41"/>
                  </a:lnTo>
                  <a:lnTo>
                    <a:pt x="321" y="42"/>
                  </a:lnTo>
                  <a:lnTo>
                    <a:pt x="321" y="44"/>
                  </a:lnTo>
                  <a:lnTo>
                    <a:pt x="321" y="45"/>
                  </a:lnTo>
                  <a:lnTo>
                    <a:pt x="321" y="44"/>
                  </a:lnTo>
                  <a:lnTo>
                    <a:pt x="321" y="45"/>
                  </a:lnTo>
                  <a:lnTo>
                    <a:pt x="322" y="45"/>
                  </a:lnTo>
                  <a:lnTo>
                    <a:pt x="322" y="46"/>
                  </a:lnTo>
                  <a:lnTo>
                    <a:pt x="322" y="47"/>
                  </a:lnTo>
                  <a:lnTo>
                    <a:pt x="322" y="48"/>
                  </a:lnTo>
                  <a:lnTo>
                    <a:pt x="322" y="49"/>
                  </a:lnTo>
                  <a:lnTo>
                    <a:pt x="323" y="49"/>
                  </a:lnTo>
                  <a:lnTo>
                    <a:pt x="322" y="49"/>
                  </a:lnTo>
                  <a:lnTo>
                    <a:pt x="321" y="49"/>
                  </a:lnTo>
                  <a:lnTo>
                    <a:pt x="322" y="51"/>
                  </a:lnTo>
                  <a:lnTo>
                    <a:pt x="321" y="51"/>
                  </a:lnTo>
                  <a:lnTo>
                    <a:pt x="321" y="52"/>
                  </a:lnTo>
                  <a:lnTo>
                    <a:pt x="322" y="52"/>
                  </a:lnTo>
                  <a:lnTo>
                    <a:pt x="322" y="51"/>
                  </a:lnTo>
                  <a:lnTo>
                    <a:pt x="322" y="49"/>
                  </a:lnTo>
                  <a:lnTo>
                    <a:pt x="323" y="49"/>
                  </a:lnTo>
                  <a:lnTo>
                    <a:pt x="323" y="51"/>
                  </a:lnTo>
                  <a:lnTo>
                    <a:pt x="324" y="52"/>
                  </a:lnTo>
                  <a:lnTo>
                    <a:pt x="324" y="53"/>
                  </a:lnTo>
                  <a:lnTo>
                    <a:pt x="324" y="54"/>
                  </a:lnTo>
                  <a:lnTo>
                    <a:pt x="325" y="54"/>
                  </a:lnTo>
                  <a:lnTo>
                    <a:pt x="325" y="55"/>
                  </a:lnTo>
                  <a:lnTo>
                    <a:pt x="327" y="55"/>
                  </a:lnTo>
                  <a:lnTo>
                    <a:pt x="328" y="55"/>
                  </a:lnTo>
                  <a:lnTo>
                    <a:pt x="329" y="55"/>
                  </a:lnTo>
                  <a:lnTo>
                    <a:pt x="330" y="55"/>
                  </a:lnTo>
                  <a:lnTo>
                    <a:pt x="331" y="55"/>
                  </a:lnTo>
                  <a:lnTo>
                    <a:pt x="332" y="56"/>
                  </a:lnTo>
                  <a:lnTo>
                    <a:pt x="334" y="56"/>
                  </a:lnTo>
                  <a:lnTo>
                    <a:pt x="334" y="58"/>
                  </a:lnTo>
                  <a:lnTo>
                    <a:pt x="334" y="59"/>
                  </a:lnTo>
                  <a:lnTo>
                    <a:pt x="334" y="60"/>
                  </a:lnTo>
                  <a:lnTo>
                    <a:pt x="334" y="61"/>
                  </a:lnTo>
                  <a:lnTo>
                    <a:pt x="334" y="62"/>
                  </a:lnTo>
                  <a:lnTo>
                    <a:pt x="334" y="63"/>
                  </a:lnTo>
                  <a:lnTo>
                    <a:pt x="332" y="63"/>
                  </a:lnTo>
                  <a:lnTo>
                    <a:pt x="331" y="65"/>
                  </a:lnTo>
                  <a:lnTo>
                    <a:pt x="330" y="65"/>
                  </a:lnTo>
                  <a:lnTo>
                    <a:pt x="331" y="65"/>
                  </a:lnTo>
                  <a:lnTo>
                    <a:pt x="332" y="65"/>
                  </a:lnTo>
                  <a:lnTo>
                    <a:pt x="334" y="65"/>
                  </a:lnTo>
                  <a:lnTo>
                    <a:pt x="334" y="66"/>
                  </a:lnTo>
                  <a:lnTo>
                    <a:pt x="332" y="66"/>
                  </a:lnTo>
                  <a:lnTo>
                    <a:pt x="332" y="67"/>
                  </a:lnTo>
                  <a:lnTo>
                    <a:pt x="331" y="67"/>
                  </a:lnTo>
                  <a:lnTo>
                    <a:pt x="331" y="66"/>
                  </a:lnTo>
                  <a:lnTo>
                    <a:pt x="331" y="67"/>
                  </a:lnTo>
                  <a:lnTo>
                    <a:pt x="331" y="68"/>
                  </a:lnTo>
                  <a:lnTo>
                    <a:pt x="330" y="68"/>
                  </a:lnTo>
                  <a:lnTo>
                    <a:pt x="330" y="69"/>
                  </a:lnTo>
                  <a:lnTo>
                    <a:pt x="329" y="69"/>
                  </a:lnTo>
                  <a:lnTo>
                    <a:pt x="328" y="70"/>
                  </a:lnTo>
                  <a:lnTo>
                    <a:pt x="327" y="72"/>
                  </a:lnTo>
                  <a:lnTo>
                    <a:pt x="327" y="73"/>
                  </a:lnTo>
                  <a:lnTo>
                    <a:pt x="325" y="73"/>
                  </a:lnTo>
                  <a:lnTo>
                    <a:pt x="325" y="74"/>
                  </a:lnTo>
                  <a:lnTo>
                    <a:pt x="325" y="75"/>
                  </a:lnTo>
                  <a:lnTo>
                    <a:pt x="324" y="76"/>
                  </a:lnTo>
                  <a:lnTo>
                    <a:pt x="323" y="77"/>
                  </a:lnTo>
                  <a:lnTo>
                    <a:pt x="322" y="79"/>
                  </a:lnTo>
                  <a:lnTo>
                    <a:pt x="321" y="81"/>
                  </a:lnTo>
                  <a:lnTo>
                    <a:pt x="320" y="81"/>
                  </a:lnTo>
                  <a:lnTo>
                    <a:pt x="318" y="81"/>
                  </a:lnTo>
                  <a:lnTo>
                    <a:pt x="318" y="82"/>
                  </a:lnTo>
                  <a:lnTo>
                    <a:pt x="317" y="82"/>
                  </a:lnTo>
                  <a:lnTo>
                    <a:pt x="317" y="84"/>
                  </a:lnTo>
                  <a:lnTo>
                    <a:pt x="316" y="84"/>
                  </a:lnTo>
                  <a:lnTo>
                    <a:pt x="315" y="84"/>
                  </a:lnTo>
                  <a:lnTo>
                    <a:pt x="314" y="84"/>
                  </a:lnTo>
                  <a:lnTo>
                    <a:pt x="314" y="86"/>
                  </a:lnTo>
                  <a:lnTo>
                    <a:pt x="315" y="86"/>
                  </a:lnTo>
                  <a:lnTo>
                    <a:pt x="314" y="87"/>
                  </a:lnTo>
                  <a:lnTo>
                    <a:pt x="314" y="88"/>
                  </a:lnTo>
                  <a:lnTo>
                    <a:pt x="313" y="88"/>
                  </a:lnTo>
                  <a:lnTo>
                    <a:pt x="313" y="89"/>
                  </a:lnTo>
                  <a:lnTo>
                    <a:pt x="313" y="90"/>
                  </a:lnTo>
                  <a:lnTo>
                    <a:pt x="311" y="90"/>
                  </a:lnTo>
                  <a:lnTo>
                    <a:pt x="311" y="91"/>
                  </a:lnTo>
                  <a:lnTo>
                    <a:pt x="310" y="93"/>
                  </a:lnTo>
                  <a:lnTo>
                    <a:pt x="310" y="91"/>
                  </a:lnTo>
                  <a:lnTo>
                    <a:pt x="310" y="93"/>
                  </a:lnTo>
                  <a:lnTo>
                    <a:pt x="310" y="94"/>
                  </a:lnTo>
                  <a:lnTo>
                    <a:pt x="309" y="95"/>
                  </a:lnTo>
                  <a:lnTo>
                    <a:pt x="308" y="95"/>
                  </a:lnTo>
                  <a:lnTo>
                    <a:pt x="308" y="96"/>
                  </a:lnTo>
                  <a:lnTo>
                    <a:pt x="308" y="97"/>
                  </a:lnTo>
                  <a:lnTo>
                    <a:pt x="308" y="100"/>
                  </a:lnTo>
                  <a:lnTo>
                    <a:pt x="308" y="101"/>
                  </a:lnTo>
                  <a:lnTo>
                    <a:pt x="307" y="101"/>
                  </a:lnTo>
                  <a:lnTo>
                    <a:pt x="307" y="102"/>
                  </a:lnTo>
                  <a:lnTo>
                    <a:pt x="306" y="102"/>
                  </a:lnTo>
                  <a:lnTo>
                    <a:pt x="304" y="102"/>
                  </a:lnTo>
                  <a:lnTo>
                    <a:pt x="304" y="103"/>
                  </a:lnTo>
                  <a:lnTo>
                    <a:pt x="306" y="104"/>
                  </a:lnTo>
                  <a:lnTo>
                    <a:pt x="304" y="105"/>
                  </a:lnTo>
                  <a:lnTo>
                    <a:pt x="303" y="105"/>
                  </a:lnTo>
                  <a:lnTo>
                    <a:pt x="302" y="105"/>
                  </a:lnTo>
                  <a:lnTo>
                    <a:pt x="301" y="105"/>
                  </a:lnTo>
                  <a:lnTo>
                    <a:pt x="300" y="105"/>
                  </a:lnTo>
                  <a:lnTo>
                    <a:pt x="299" y="107"/>
                  </a:lnTo>
                  <a:lnTo>
                    <a:pt x="297" y="107"/>
                  </a:lnTo>
                  <a:lnTo>
                    <a:pt x="296" y="108"/>
                  </a:lnTo>
                  <a:lnTo>
                    <a:pt x="295" y="108"/>
                  </a:lnTo>
                  <a:lnTo>
                    <a:pt x="294" y="108"/>
                  </a:lnTo>
                  <a:lnTo>
                    <a:pt x="294" y="109"/>
                  </a:lnTo>
                  <a:lnTo>
                    <a:pt x="295" y="109"/>
                  </a:lnTo>
                  <a:lnTo>
                    <a:pt x="296" y="109"/>
                  </a:lnTo>
                  <a:lnTo>
                    <a:pt x="299" y="109"/>
                  </a:lnTo>
                  <a:lnTo>
                    <a:pt x="300" y="108"/>
                  </a:lnTo>
                  <a:lnTo>
                    <a:pt x="301" y="108"/>
                  </a:lnTo>
                  <a:lnTo>
                    <a:pt x="301" y="109"/>
                  </a:lnTo>
                  <a:lnTo>
                    <a:pt x="301" y="110"/>
                  </a:lnTo>
                  <a:lnTo>
                    <a:pt x="302" y="110"/>
                  </a:lnTo>
                  <a:lnTo>
                    <a:pt x="302" y="109"/>
                  </a:lnTo>
                  <a:lnTo>
                    <a:pt x="303" y="109"/>
                  </a:lnTo>
                  <a:lnTo>
                    <a:pt x="304" y="109"/>
                  </a:lnTo>
                  <a:lnTo>
                    <a:pt x="306" y="109"/>
                  </a:lnTo>
                  <a:lnTo>
                    <a:pt x="309" y="105"/>
                  </a:lnTo>
                  <a:lnTo>
                    <a:pt x="310" y="105"/>
                  </a:lnTo>
                  <a:lnTo>
                    <a:pt x="311" y="105"/>
                  </a:lnTo>
                  <a:lnTo>
                    <a:pt x="311" y="104"/>
                  </a:lnTo>
                  <a:lnTo>
                    <a:pt x="313" y="104"/>
                  </a:lnTo>
                  <a:lnTo>
                    <a:pt x="313" y="103"/>
                  </a:lnTo>
                  <a:lnTo>
                    <a:pt x="314" y="103"/>
                  </a:lnTo>
                  <a:lnTo>
                    <a:pt x="313" y="103"/>
                  </a:lnTo>
                  <a:lnTo>
                    <a:pt x="314" y="103"/>
                  </a:lnTo>
                  <a:lnTo>
                    <a:pt x="315" y="103"/>
                  </a:lnTo>
                  <a:lnTo>
                    <a:pt x="315" y="102"/>
                  </a:lnTo>
                  <a:lnTo>
                    <a:pt x="316" y="101"/>
                  </a:lnTo>
                  <a:lnTo>
                    <a:pt x="317" y="100"/>
                  </a:lnTo>
                  <a:lnTo>
                    <a:pt x="318" y="100"/>
                  </a:lnTo>
                  <a:lnTo>
                    <a:pt x="318" y="98"/>
                  </a:lnTo>
                  <a:lnTo>
                    <a:pt x="317" y="98"/>
                  </a:lnTo>
                  <a:lnTo>
                    <a:pt x="318" y="98"/>
                  </a:lnTo>
                  <a:lnTo>
                    <a:pt x="320" y="98"/>
                  </a:lnTo>
                  <a:lnTo>
                    <a:pt x="321" y="98"/>
                  </a:lnTo>
                  <a:lnTo>
                    <a:pt x="321" y="100"/>
                  </a:lnTo>
                  <a:lnTo>
                    <a:pt x="321" y="101"/>
                  </a:lnTo>
                  <a:lnTo>
                    <a:pt x="320" y="101"/>
                  </a:lnTo>
                  <a:lnTo>
                    <a:pt x="320" y="102"/>
                  </a:lnTo>
                  <a:lnTo>
                    <a:pt x="318" y="102"/>
                  </a:lnTo>
                  <a:lnTo>
                    <a:pt x="320" y="103"/>
                  </a:lnTo>
                  <a:lnTo>
                    <a:pt x="321" y="103"/>
                  </a:lnTo>
                  <a:lnTo>
                    <a:pt x="321" y="104"/>
                  </a:lnTo>
                  <a:lnTo>
                    <a:pt x="321" y="105"/>
                  </a:lnTo>
                  <a:lnTo>
                    <a:pt x="321" y="107"/>
                  </a:lnTo>
                  <a:lnTo>
                    <a:pt x="321" y="108"/>
                  </a:lnTo>
                  <a:lnTo>
                    <a:pt x="322" y="108"/>
                  </a:lnTo>
                  <a:lnTo>
                    <a:pt x="322" y="109"/>
                  </a:lnTo>
                  <a:lnTo>
                    <a:pt x="323" y="110"/>
                  </a:lnTo>
                  <a:lnTo>
                    <a:pt x="323" y="111"/>
                  </a:lnTo>
                  <a:lnTo>
                    <a:pt x="322" y="111"/>
                  </a:lnTo>
                  <a:lnTo>
                    <a:pt x="322" y="112"/>
                  </a:lnTo>
                  <a:lnTo>
                    <a:pt x="321" y="114"/>
                  </a:lnTo>
                  <a:lnTo>
                    <a:pt x="320" y="114"/>
                  </a:lnTo>
                  <a:lnTo>
                    <a:pt x="320" y="112"/>
                  </a:lnTo>
                  <a:lnTo>
                    <a:pt x="320" y="114"/>
                  </a:lnTo>
                  <a:lnTo>
                    <a:pt x="320" y="115"/>
                  </a:lnTo>
                  <a:lnTo>
                    <a:pt x="321" y="115"/>
                  </a:lnTo>
                  <a:lnTo>
                    <a:pt x="321" y="114"/>
                  </a:lnTo>
                  <a:lnTo>
                    <a:pt x="321" y="115"/>
                  </a:lnTo>
                  <a:lnTo>
                    <a:pt x="322" y="114"/>
                  </a:lnTo>
                  <a:lnTo>
                    <a:pt x="322" y="112"/>
                  </a:lnTo>
                  <a:lnTo>
                    <a:pt x="323" y="112"/>
                  </a:lnTo>
                  <a:lnTo>
                    <a:pt x="324" y="112"/>
                  </a:lnTo>
                  <a:lnTo>
                    <a:pt x="324" y="114"/>
                  </a:lnTo>
                  <a:lnTo>
                    <a:pt x="325" y="115"/>
                  </a:lnTo>
                  <a:lnTo>
                    <a:pt x="325" y="114"/>
                  </a:lnTo>
                  <a:lnTo>
                    <a:pt x="325" y="115"/>
                  </a:lnTo>
                  <a:lnTo>
                    <a:pt x="325" y="116"/>
                  </a:lnTo>
                  <a:lnTo>
                    <a:pt x="327" y="116"/>
                  </a:lnTo>
                  <a:lnTo>
                    <a:pt x="327" y="115"/>
                  </a:lnTo>
                  <a:lnTo>
                    <a:pt x="328" y="115"/>
                  </a:lnTo>
                  <a:lnTo>
                    <a:pt x="328" y="114"/>
                  </a:lnTo>
                  <a:lnTo>
                    <a:pt x="329" y="114"/>
                  </a:lnTo>
                  <a:lnTo>
                    <a:pt x="330" y="114"/>
                  </a:lnTo>
                  <a:lnTo>
                    <a:pt x="330" y="112"/>
                  </a:lnTo>
                  <a:lnTo>
                    <a:pt x="331" y="112"/>
                  </a:lnTo>
                  <a:lnTo>
                    <a:pt x="332" y="112"/>
                  </a:lnTo>
                  <a:lnTo>
                    <a:pt x="334" y="114"/>
                  </a:lnTo>
                  <a:lnTo>
                    <a:pt x="334" y="115"/>
                  </a:lnTo>
                  <a:lnTo>
                    <a:pt x="334" y="114"/>
                  </a:lnTo>
                  <a:lnTo>
                    <a:pt x="334" y="115"/>
                  </a:lnTo>
                  <a:lnTo>
                    <a:pt x="334" y="116"/>
                  </a:lnTo>
                  <a:lnTo>
                    <a:pt x="334" y="117"/>
                  </a:lnTo>
                  <a:lnTo>
                    <a:pt x="334" y="116"/>
                  </a:lnTo>
                  <a:lnTo>
                    <a:pt x="335" y="117"/>
                  </a:lnTo>
                  <a:lnTo>
                    <a:pt x="335" y="116"/>
                  </a:lnTo>
                  <a:lnTo>
                    <a:pt x="335" y="114"/>
                  </a:lnTo>
                  <a:lnTo>
                    <a:pt x="334" y="114"/>
                  </a:lnTo>
                  <a:lnTo>
                    <a:pt x="335" y="114"/>
                  </a:lnTo>
                  <a:lnTo>
                    <a:pt x="335" y="115"/>
                  </a:lnTo>
                  <a:lnTo>
                    <a:pt x="335" y="114"/>
                  </a:lnTo>
                  <a:lnTo>
                    <a:pt x="336" y="114"/>
                  </a:lnTo>
                  <a:lnTo>
                    <a:pt x="336" y="115"/>
                  </a:lnTo>
                  <a:lnTo>
                    <a:pt x="336" y="114"/>
                  </a:lnTo>
                  <a:lnTo>
                    <a:pt x="337" y="114"/>
                  </a:lnTo>
                  <a:lnTo>
                    <a:pt x="337" y="115"/>
                  </a:lnTo>
                  <a:lnTo>
                    <a:pt x="338" y="115"/>
                  </a:lnTo>
                  <a:lnTo>
                    <a:pt x="338" y="116"/>
                  </a:lnTo>
                  <a:lnTo>
                    <a:pt x="338" y="115"/>
                  </a:lnTo>
                  <a:lnTo>
                    <a:pt x="337" y="114"/>
                  </a:lnTo>
                  <a:lnTo>
                    <a:pt x="337" y="112"/>
                  </a:lnTo>
                  <a:lnTo>
                    <a:pt x="338" y="112"/>
                  </a:lnTo>
                  <a:lnTo>
                    <a:pt x="338" y="114"/>
                  </a:lnTo>
                  <a:lnTo>
                    <a:pt x="338" y="112"/>
                  </a:lnTo>
                  <a:lnTo>
                    <a:pt x="338" y="111"/>
                  </a:lnTo>
                  <a:lnTo>
                    <a:pt x="339" y="111"/>
                  </a:lnTo>
                  <a:lnTo>
                    <a:pt x="339" y="112"/>
                  </a:lnTo>
                  <a:lnTo>
                    <a:pt x="341" y="111"/>
                  </a:lnTo>
                  <a:lnTo>
                    <a:pt x="339" y="112"/>
                  </a:lnTo>
                  <a:lnTo>
                    <a:pt x="339" y="114"/>
                  </a:lnTo>
                  <a:lnTo>
                    <a:pt x="341" y="114"/>
                  </a:lnTo>
                  <a:lnTo>
                    <a:pt x="341" y="115"/>
                  </a:lnTo>
                  <a:lnTo>
                    <a:pt x="341" y="116"/>
                  </a:lnTo>
                  <a:lnTo>
                    <a:pt x="341" y="117"/>
                  </a:lnTo>
                  <a:lnTo>
                    <a:pt x="339" y="118"/>
                  </a:lnTo>
                  <a:lnTo>
                    <a:pt x="339" y="119"/>
                  </a:lnTo>
                  <a:lnTo>
                    <a:pt x="339" y="121"/>
                  </a:lnTo>
                  <a:lnTo>
                    <a:pt x="338" y="121"/>
                  </a:lnTo>
                  <a:lnTo>
                    <a:pt x="338" y="122"/>
                  </a:lnTo>
                  <a:lnTo>
                    <a:pt x="338" y="123"/>
                  </a:lnTo>
                  <a:lnTo>
                    <a:pt x="338" y="124"/>
                  </a:lnTo>
                  <a:lnTo>
                    <a:pt x="337" y="125"/>
                  </a:lnTo>
                  <a:lnTo>
                    <a:pt x="336" y="126"/>
                  </a:lnTo>
                  <a:lnTo>
                    <a:pt x="337" y="126"/>
                  </a:lnTo>
                  <a:lnTo>
                    <a:pt x="338" y="125"/>
                  </a:lnTo>
                  <a:lnTo>
                    <a:pt x="339" y="124"/>
                  </a:lnTo>
                  <a:lnTo>
                    <a:pt x="339" y="123"/>
                  </a:lnTo>
                  <a:lnTo>
                    <a:pt x="341" y="123"/>
                  </a:lnTo>
                  <a:lnTo>
                    <a:pt x="339" y="122"/>
                  </a:lnTo>
                  <a:lnTo>
                    <a:pt x="341" y="121"/>
                  </a:lnTo>
                  <a:lnTo>
                    <a:pt x="342" y="118"/>
                  </a:lnTo>
                  <a:lnTo>
                    <a:pt x="342" y="117"/>
                  </a:lnTo>
                  <a:lnTo>
                    <a:pt x="343" y="115"/>
                  </a:lnTo>
                  <a:lnTo>
                    <a:pt x="343" y="114"/>
                  </a:lnTo>
                  <a:lnTo>
                    <a:pt x="344" y="114"/>
                  </a:lnTo>
                  <a:lnTo>
                    <a:pt x="344" y="112"/>
                  </a:lnTo>
                  <a:lnTo>
                    <a:pt x="344" y="111"/>
                  </a:lnTo>
                  <a:lnTo>
                    <a:pt x="345" y="111"/>
                  </a:lnTo>
                  <a:lnTo>
                    <a:pt x="346" y="110"/>
                  </a:lnTo>
                  <a:lnTo>
                    <a:pt x="346" y="109"/>
                  </a:lnTo>
                  <a:lnTo>
                    <a:pt x="348" y="109"/>
                  </a:lnTo>
                  <a:lnTo>
                    <a:pt x="348" y="110"/>
                  </a:lnTo>
                  <a:lnTo>
                    <a:pt x="346" y="110"/>
                  </a:lnTo>
                  <a:lnTo>
                    <a:pt x="346" y="111"/>
                  </a:lnTo>
                  <a:lnTo>
                    <a:pt x="346" y="112"/>
                  </a:lnTo>
                  <a:lnTo>
                    <a:pt x="345" y="112"/>
                  </a:lnTo>
                  <a:lnTo>
                    <a:pt x="346" y="112"/>
                  </a:lnTo>
                  <a:lnTo>
                    <a:pt x="348" y="111"/>
                  </a:lnTo>
                  <a:lnTo>
                    <a:pt x="348" y="110"/>
                  </a:lnTo>
                  <a:lnTo>
                    <a:pt x="349" y="110"/>
                  </a:lnTo>
                  <a:lnTo>
                    <a:pt x="349" y="109"/>
                  </a:lnTo>
                  <a:lnTo>
                    <a:pt x="350" y="108"/>
                  </a:lnTo>
                  <a:lnTo>
                    <a:pt x="350" y="107"/>
                  </a:lnTo>
                  <a:lnTo>
                    <a:pt x="351" y="105"/>
                  </a:lnTo>
                  <a:lnTo>
                    <a:pt x="351" y="107"/>
                  </a:lnTo>
                  <a:lnTo>
                    <a:pt x="352" y="108"/>
                  </a:lnTo>
                  <a:lnTo>
                    <a:pt x="352" y="109"/>
                  </a:lnTo>
                  <a:lnTo>
                    <a:pt x="353" y="109"/>
                  </a:lnTo>
                  <a:lnTo>
                    <a:pt x="353" y="110"/>
                  </a:lnTo>
                  <a:lnTo>
                    <a:pt x="354" y="110"/>
                  </a:lnTo>
                  <a:lnTo>
                    <a:pt x="354" y="109"/>
                  </a:lnTo>
                  <a:lnTo>
                    <a:pt x="353" y="109"/>
                  </a:lnTo>
                  <a:lnTo>
                    <a:pt x="353" y="108"/>
                  </a:lnTo>
                  <a:lnTo>
                    <a:pt x="354" y="108"/>
                  </a:lnTo>
                  <a:lnTo>
                    <a:pt x="356" y="108"/>
                  </a:lnTo>
                  <a:lnTo>
                    <a:pt x="356" y="107"/>
                  </a:lnTo>
                  <a:lnTo>
                    <a:pt x="354" y="107"/>
                  </a:lnTo>
                  <a:lnTo>
                    <a:pt x="353" y="107"/>
                  </a:lnTo>
                  <a:lnTo>
                    <a:pt x="353" y="105"/>
                  </a:lnTo>
                  <a:lnTo>
                    <a:pt x="353" y="104"/>
                  </a:lnTo>
                  <a:lnTo>
                    <a:pt x="353" y="103"/>
                  </a:lnTo>
                  <a:lnTo>
                    <a:pt x="353" y="104"/>
                  </a:lnTo>
                  <a:lnTo>
                    <a:pt x="354" y="104"/>
                  </a:lnTo>
                  <a:lnTo>
                    <a:pt x="356" y="104"/>
                  </a:lnTo>
                  <a:lnTo>
                    <a:pt x="356" y="103"/>
                  </a:lnTo>
                  <a:lnTo>
                    <a:pt x="356" y="102"/>
                  </a:lnTo>
                  <a:lnTo>
                    <a:pt x="357" y="102"/>
                  </a:lnTo>
                  <a:lnTo>
                    <a:pt x="356" y="102"/>
                  </a:lnTo>
                  <a:lnTo>
                    <a:pt x="357" y="102"/>
                  </a:lnTo>
                  <a:lnTo>
                    <a:pt x="357" y="101"/>
                  </a:lnTo>
                  <a:lnTo>
                    <a:pt x="356" y="101"/>
                  </a:lnTo>
                  <a:lnTo>
                    <a:pt x="356" y="100"/>
                  </a:lnTo>
                  <a:lnTo>
                    <a:pt x="357" y="100"/>
                  </a:lnTo>
                  <a:lnTo>
                    <a:pt x="358" y="98"/>
                  </a:lnTo>
                  <a:lnTo>
                    <a:pt x="358" y="97"/>
                  </a:lnTo>
                  <a:lnTo>
                    <a:pt x="358" y="96"/>
                  </a:lnTo>
                  <a:lnTo>
                    <a:pt x="358" y="95"/>
                  </a:lnTo>
                  <a:lnTo>
                    <a:pt x="359" y="94"/>
                  </a:lnTo>
                  <a:lnTo>
                    <a:pt x="359" y="95"/>
                  </a:lnTo>
                  <a:lnTo>
                    <a:pt x="360" y="96"/>
                  </a:lnTo>
                  <a:lnTo>
                    <a:pt x="360" y="95"/>
                  </a:lnTo>
                  <a:lnTo>
                    <a:pt x="361" y="95"/>
                  </a:lnTo>
                  <a:lnTo>
                    <a:pt x="361" y="94"/>
                  </a:lnTo>
                  <a:lnTo>
                    <a:pt x="363" y="95"/>
                  </a:lnTo>
                  <a:lnTo>
                    <a:pt x="363" y="94"/>
                  </a:lnTo>
                  <a:lnTo>
                    <a:pt x="363" y="93"/>
                  </a:lnTo>
                  <a:lnTo>
                    <a:pt x="363" y="94"/>
                  </a:lnTo>
                  <a:lnTo>
                    <a:pt x="364" y="94"/>
                  </a:lnTo>
                  <a:lnTo>
                    <a:pt x="364" y="95"/>
                  </a:lnTo>
                  <a:lnTo>
                    <a:pt x="364" y="96"/>
                  </a:lnTo>
                  <a:lnTo>
                    <a:pt x="365" y="95"/>
                  </a:lnTo>
                  <a:lnTo>
                    <a:pt x="365" y="94"/>
                  </a:lnTo>
                  <a:lnTo>
                    <a:pt x="366" y="94"/>
                  </a:lnTo>
                  <a:lnTo>
                    <a:pt x="365" y="94"/>
                  </a:lnTo>
                  <a:lnTo>
                    <a:pt x="365" y="93"/>
                  </a:lnTo>
                  <a:lnTo>
                    <a:pt x="366" y="93"/>
                  </a:lnTo>
                  <a:lnTo>
                    <a:pt x="366" y="94"/>
                  </a:lnTo>
                  <a:lnTo>
                    <a:pt x="366" y="95"/>
                  </a:lnTo>
                  <a:lnTo>
                    <a:pt x="367" y="95"/>
                  </a:lnTo>
                  <a:lnTo>
                    <a:pt x="367" y="96"/>
                  </a:lnTo>
                  <a:lnTo>
                    <a:pt x="368" y="96"/>
                  </a:lnTo>
                  <a:lnTo>
                    <a:pt x="368" y="95"/>
                  </a:lnTo>
                  <a:lnTo>
                    <a:pt x="367" y="95"/>
                  </a:lnTo>
                  <a:lnTo>
                    <a:pt x="367" y="94"/>
                  </a:lnTo>
                  <a:lnTo>
                    <a:pt x="367" y="93"/>
                  </a:lnTo>
                  <a:lnTo>
                    <a:pt x="368" y="93"/>
                  </a:lnTo>
                  <a:lnTo>
                    <a:pt x="368" y="94"/>
                  </a:lnTo>
                  <a:lnTo>
                    <a:pt x="368" y="95"/>
                  </a:lnTo>
                  <a:lnTo>
                    <a:pt x="368" y="94"/>
                  </a:lnTo>
                  <a:lnTo>
                    <a:pt x="368" y="95"/>
                  </a:lnTo>
                  <a:lnTo>
                    <a:pt x="368" y="94"/>
                  </a:lnTo>
                  <a:lnTo>
                    <a:pt x="370" y="94"/>
                  </a:lnTo>
                  <a:lnTo>
                    <a:pt x="368" y="94"/>
                  </a:lnTo>
                  <a:lnTo>
                    <a:pt x="370" y="94"/>
                  </a:lnTo>
                  <a:lnTo>
                    <a:pt x="370" y="93"/>
                  </a:lnTo>
                  <a:lnTo>
                    <a:pt x="370" y="94"/>
                  </a:lnTo>
                  <a:lnTo>
                    <a:pt x="371" y="94"/>
                  </a:lnTo>
                  <a:lnTo>
                    <a:pt x="370" y="95"/>
                  </a:lnTo>
                  <a:lnTo>
                    <a:pt x="371" y="94"/>
                  </a:lnTo>
                  <a:lnTo>
                    <a:pt x="371" y="95"/>
                  </a:lnTo>
                  <a:lnTo>
                    <a:pt x="371" y="94"/>
                  </a:lnTo>
                  <a:lnTo>
                    <a:pt x="371" y="95"/>
                  </a:lnTo>
                  <a:lnTo>
                    <a:pt x="372" y="95"/>
                  </a:lnTo>
                  <a:lnTo>
                    <a:pt x="371" y="96"/>
                  </a:lnTo>
                  <a:lnTo>
                    <a:pt x="372" y="96"/>
                  </a:lnTo>
                  <a:lnTo>
                    <a:pt x="372" y="95"/>
                  </a:lnTo>
                  <a:lnTo>
                    <a:pt x="372" y="96"/>
                  </a:lnTo>
                  <a:lnTo>
                    <a:pt x="372" y="95"/>
                  </a:lnTo>
                  <a:lnTo>
                    <a:pt x="372" y="94"/>
                  </a:lnTo>
                  <a:lnTo>
                    <a:pt x="373" y="94"/>
                  </a:lnTo>
                  <a:lnTo>
                    <a:pt x="373" y="95"/>
                  </a:lnTo>
                  <a:lnTo>
                    <a:pt x="372" y="96"/>
                  </a:lnTo>
                  <a:lnTo>
                    <a:pt x="373" y="96"/>
                  </a:lnTo>
                  <a:lnTo>
                    <a:pt x="373" y="95"/>
                  </a:lnTo>
                  <a:lnTo>
                    <a:pt x="373" y="96"/>
                  </a:lnTo>
                  <a:lnTo>
                    <a:pt x="373" y="97"/>
                  </a:lnTo>
                  <a:lnTo>
                    <a:pt x="373" y="96"/>
                  </a:lnTo>
                  <a:lnTo>
                    <a:pt x="374" y="96"/>
                  </a:lnTo>
                  <a:lnTo>
                    <a:pt x="374" y="95"/>
                  </a:lnTo>
                  <a:lnTo>
                    <a:pt x="374" y="96"/>
                  </a:lnTo>
                  <a:lnTo>
                    <a:pt x="374" y="97"/>
                  </a:lnTo>
                  <a:lnTo>
                    <a:pt x="374" y="96"/>
                  </a:lnTo>
                  <a:lnTo>
                    <a:pt x="374" y="97"/>
                  </a:lnTo>
                  <a:lnTo>
                    <a:pt x="374" y="98"/>
                  </a:lnTo>
                  <a:lnTo>
                    <a:pt x="374" y="97"/>
                  </a:lnTo>
                  <a:lnTo>
                    <a:pt x="375" y="97"/>
                  </a:lnTo>
                  <a:lnTo>
                    <a:pt x="375" y="96"/>
                  </a:lnTo>
                  <a:lnTo>
                    <a:pt x="377" y="95"/>
                  </a:lnTo>
                  <a:lnTo>
                    <a:pt x="377" y="96"/>
                  </a:lnTo>
                  <a:lnTo>
                    <a:pt x="377" y="97"/>
                  </a:lnTo>
                  <a:lnTo>
                    <a:pt x="377" y="96"/>
                  </a:lnTo>
                  <a:lnTo>
                    <a:pt x="377" y="97"/>
                  </a:lnTo>
                  <a:lnTo>
                    <a:pt x="377" y="98"/>
                  </a:lnTo>
                  <a:lnTo>
                    <a:pt x="377" y="97"/>
                  </a:lnTo>
                  <a:lnTo>
                    <a:pt x="377" y="96"/>
                  </a:lnTo>
                  <a:lnTo>
                    <a:pt x="378" y="97"/>
                  </a:lnTo>
                  <a:lnTo>
                    <a:pt x="378" y="98"/>
                  </a:lnTo>
                  <a:lnTo>
                    <a:pt x="378" y="97"/>
                  </a:lnTo>
                  <a:lnTo>
                    <a:pt x="379" y="97"/>
                  </a:lnTo>
                  <a:lnTo>
                    <a:pt x="379" y="96"/>
                  </a:lnTo>
                  <a:lnTo>
                    <a:pt x="379" y="97"/>
                  </a:lnTo>
                  <a:lnTo>
                    <a:pt x="379" y="98"/>
                  </a:lnTo>
                  <a:lnTo>
                    <a:pt x="378" y="98"/>
                  </a:lnTo>
                  <a:lnTo>
                    <a:pt x="378" y="100"/>
                  </a:lnTo>
                  <a:lnTo>
                    <a:pt x="378" y="98"/>
                  </a:lnTo>
                  <a:lnTo>
                    <a:pt x="379" y="98"/>
                  </a:lnTo>
                  <a:lnTo>
                    <a:pt x="380" y="100"/>
                  </a:lnTo>
                  <a:lnTo>
                    <a:pt x="380" y="98"/>
                  </a:lnTo>
                  <a:lnTo>
                    <a:pt x="380" y="97"/>
                  </a:lnTo>
                  <a:lnTo>
                    <a:pt x="381" y="97"/>
                  </a:lnTo>
                  <a:lnTo>
                    <a:pt x="382" y="97"/>
                  </a:lnTo>
                  <a:lnTo>
                    <a:pt x="381" y="97"/>
                  </a:lnTo>
                  <a:lnTo>
                    <a:pt x="381" y="98"/>
                  </a:lnTo>
                  <a:lnTo>
                    <a:pt x="381" y="100"/>
                  </a:lnTo>
                  <a:lnTo>
                    <a:pt x="381" y="101"/>
                  </a:lnTo>
                  <a:lnTo>
                    <a:pt x="381" y="100"/>
                  </a:lnTo>
                  <a:lnTo>
                    <a:pt x="382" y="100"/>
                  </a:lnTo>
                  <a:lnTo>
                    <a:pt x="382" y="101"/>
                  </a:lnTo>
                  <a:lnTo>
                    <a:pt x="382" y="100"/>
                  </a:lnTo>
                  <a:lnTo>
                    <a:pt x="384" y="100"/>
                  </a:lnTo>
                  <a:lnTo>
                    <a:pt x="384" y="101"/>
                  </a:lnTo>
                  <a:lnTo>
                    <a:pt x="384" y="100"/>
                  </a:lnTo>
                  <a:lnTo>
                    <a:pt x="384" y="101"/>
                  </a:lnTo>
                  <a:lnTo>
                    <a:pt x="385" y="101"/>
                  </a:lnTo>
                  <a:lnTo>
                    <a:pt x="384" y="101"/>
                  </a:lnTo>
                  <a:lnTo>
                    <a:pt x="384" y="100"/>
                  </a:lnTo>
                  <a:lnTo>
                    <a:pt x="384" y="98"/>
                  </a:lnTo>
                  <a:lnTo>
                    <a:pt x="385" y="98"/>
                  </a:lnTo>
                  <a:lnTo>
                    <a:pt x="385" y="100"/>
                  </a:lnTo>
                  <a:lnTo>
                    <a:pt x="385" y="101"/>
                  </a:lnTo>
                  <a:lnTo>
                    <a:pt x="384" y="102"/>
                  </a:lnTo>
                  <a:lnTo>
                    <a:pt x="385" y="102"/>
                  </a:lnTo>
                  <a:lnTo>
                    <a:pt x="386" y="102"/>
                  </a:lnTo>
                  <a:lnTo>
                    <a:pt x="386" y="101"/>
                  </a:lnTo>
                  <a:lnTo>
                    <a:pt x="386" y="102"/>
                  </a:lnTo>
                  <a:lnTo>
                    <a:pt x="386" y="101"/>
                  </a:lnTo>
                  <a:lnTo>
                    <a:pt x="387" y="102"/>
                  </a:lnTo>
                  <a:lnTo>
                    <a:pt x="386" y="102"/>
                  </a:lnTo>
                  <a:lnTo>
                    <a:pt x="386" y="103"/>
                  </a:lnTo>
                  <a:lnTo>
                    <a:pt x="387" y="103"/>
                  </a:lnTo>
                  <a:lnTo>
                    <a:pt x="387" y="102"/>
                  </a:lnTo>
                  <a:lnTo>
                    <a:pt x="387" y="103"/>
                  </a:lnTo>
                  <a:lnTo>
                    <a:pt x="387" y="102"/>
                  </a:lnTo>
                  <a:lnTo>
                    <a:pt x="387" y="101"/>
                  </a:lnTo>
                  <a:lnTo>
                    <a:pt x="388" y="101"/>
                  </a:lnTo>
                  <a:lnTo>
                    <a:pt x="388" y="102"/>
                  </a:lnTo>
                  <a:lnTo>
                    <a:pt x="387" y="103"/>
                  </a:lnTo>
                  <a:lnTo>
                    <a:pt x="388" y="103"/>
                  </a:lnTo>
                  <a:lnTo>
                    <a:pt x="388" y="102"/>
                  </a:lnTo>
                  <a:lnTo>
                    <a:pt x="389" y="102"/>
                  </a:lnTo>
                  <a:lnTo>
                    <a:pt x="389" y="101"/>
                  </a:lnTo>
                  <a:lnTo>
                    <a:pt x="389" y="102"/>
                  </a:lnTo>
                  <a:lnTo>
                    <a:pt x="389" y="103"/>
                  </a:lnTo>
                  <a:lnTo>
                    <a:pt x="389" y="102"/>
                  </a:lnTo>
                  <a:lnTo>
                    <a:pt x="389" y="103"/>
                  </a:lnTo>
                  <a:lnTo>
                    <a:pt x="389" y="104"/>
                  </a:lnTo>
                  <a:lnTo>
                    <a:pt x="389" y="103"/>
                  </a:lnTo>
                  <a:lnTo>
                    <a:pt x="391" y="103"/>
                  </a:lnTo>
                  <a:lnTo>
                    <a:pt x="391" y="104"/>
                  </a:lnTo>
                  <a:lnTo>
                    <a:pt x="389" y="104"/>
                  </a:lnTo>
                  <a:lnTo>
                    <a:pt x="391" y="104"/>
                  </a:lnTo>
                  <a:lnTo>
                    <a:pt x="391" y="103"/>
                  </a:lnTo>
                  <a:lnTo>
                    <a:pt x="392" y="103"/>
                  </a:lnTo>
                  <a:lnTo>
                    <a:pt x="392" y="102"/>
                  </a:lnTo>
                  <a:lnTo>
                    <a:pt x="392" y="103"/>
                  </a:lnTo>
                  <a:lnTo>
                    <a:pt x="393" y="104"/>
                  </a:lnTo>
                  <a:lnTo>
                    <a:pt x="393" y="105"/>
                  </a:lnTo>
                  <a:lnTo>
                    <a:pt x="392" y="105"/>
                  </a:lnTo>
                  <a:lnTo>
                    <a:pt x="393" y="105"/>
                  </a:lnTo>
                  <a:lnTo>
                    <a:pt x="393" y="104"/>
                  </a:lnTo>
                  <a:lnTo>
                    <a:pt x="394" y="104"/>
                  </a:lnTo>
                  <a:lnTo>
                    <a:pt x="393" y="104"/>
                  </a:lnTo>
                  <a:lnTo>
                    <a:pt x="394" y="104"/>
                  </a:lnTo>
                  <a:lnTo>
                    <a:pt x="393" y="104"/>
                  </a:lnTo>
                  <a:lnTo>
                    <a:pt x="394" y="104"/>
                  </a:lnTo>
                  <a:lnTo>
                    <a:pt x="394" y="105"/>
                  </a:lnTo>
                  <a:lnTo>
                    <a:pt x="394" y="104"/>
                  </a:lnTo>
                  <a:lnTo>
                    <a:pt x="394" y="105"/>
                  </a:lnTo>
                  <a:lnTo>
                    <a:pt x="394" y="107"/>
                  </a:lnTo>
                  <a:lnTo>
                    <a:pt x="394" y="105"/>
                  </a:lnTo>
                  <a:lnTo>
                    <a:pt x="395" y="105"/>
                  </a:lnTo>
                  <a:lnTo>
                    <a:pt x="395" y="104"/>
                  </a:lnTo>
                  <a:lnTo>
                    <a:pt x="396" y="104"/>
                  </a:lnTo>
                  <a:lnTo>
                    <a:pt x="396" y="105"/>
                  </a:lnTo>
                  <a:lnTo>
                    <a:pt x="395" y="105"/>
                  </a:lnTo>
                  <a:lnTo>
                    <a:pt x="395" y="107"/>
                  </a:lnTo>
                  <a:lnTo>
                    <a:pt x="394" y="107"/>
                  </a:lnTo>
                  <a:lnTo>
                    <a:pt x="394" y="108"/>
                  </a:lnTo>
                  <a:lnTo>
                    <a:pt x="394" y="107"/>
                  </a:lnTo>
                  <a:lnTo>
                    <a:pt x="395" y="107"/>
                  </a:lnTo>
                  <a:lnTo>
                    <a:pt x="395" y="108"/>
                  </a:lnTo>
                  <a:lnTo>
                    <a:pt x="394" y="108"/>
                  </a:lnTo>
                  <a:lnTo>
                    <a:pt x="395" y="108"/>
                  </a:lnTo>
                  <a:lnTo>
                    <a:pt x="395" y="107"/>
                  </a:lnTo>
                  <a:lnTo>
                    <a:pt x="396" y="107"/>
                  </a:lnTo>
                  <a:lnTo>
                    <a:pt x="395" y="107"/>
                  </a:lnTo>
                  <a:lnTo>
                    <a:pt x="396" y="107"/>
                  </a:lnTo>
                  <a:lnTo>
                    <a:pt x="396" y="105"/>
                  </a:lnTo>
                  <a:lnTo>
                    <a:pt x="396" y="104"/>
                  </a:lnTo>
                  <a:lnTo>
                    <a:pt x="398" y="104"/>
                  </a:lnTo>
                  <a:lnTo>
                    <a:pt x="398" y="107"/>
                  </a:lnTo>
                  <a:lnTo>
                    <a:pt x="398" y="105"/>
                  </a:lnTo>
                  <a:lnTo>
                    <a:pt x="398" y="107"/>
                  </a:lnTo>
                  <a:lnTo>
                    <a:pt x="396" y="107"/>
                  </a:lnTo>
                  <a:lnTo>
                    <a:pt x="396" y="108"/>
                  </a:lnTo>
                  <a:lnTo>
                    <a:pt x="396" y="107"/>
                  </a:lnTo>
                  <a:lnTo>
                    <a:pt x="396" y="108"/>
                  </a:lnTo>
                  <a:lnTo>
                    <a:pt x="396" y="109"/>
                  </a:lnTo>
                  <a:lnTo>
                    <a:pt x="396" y="108"/>
                  </a:lnTo>
                  <a:lnTo>
                    <a:pt x="396" y="109"/>
                  </a:lnTo>
                  <a:lnTo>
                    <a:pt x="396" y="110"/>
                  </a:lnTo>
                  <a:lnTo>
                    <a:pt x="396" y="111"/>
                  </a:lnTo>
                  <a:lnTo>
                    <a:pt x="398" y="111"/>
                  </a:lnTo>
                  <a:lnTo>
                    <a:pt x="398" y="110"/>
                  </a:lnTo>
                  <a:lnTo>
                    <a:pt x="399" y="110"/>
                  </a:lnTo>
                  <a:lnTo>
                    <a:pt x="399" y="109"/>
                  </a:lnTo>
                  <a:lnTo>
                    <a:pt x="398" y="109"/>
                  </a:lnTo>
                  <a:lnTo>
                    <a:pt x="399" y="109"/>
                  </a:lnTo>
                  <a:lnTo>
                    <a:pt x="399" y="108"/>
                  </a:lnTo>
                  <a:lnTo>
                    <a:pt x="400" y="107"/>
                  </a:lnTo>
                  <a:lnTo>
                    <a:pt x="400" y="108"/>
                  </a:lnTo>
                  <a:lnTo>
                    <a:pt x="400" y="107"/>
                  </a:lnTo>
                  <a:lnTo>
                    <a:pt x="401" y="107"/>
                  </a:lnTo>
                  <a:lnTo>
                    <a:pt x="400" y="107"/>
                  </a:lnTo>
                  <a:lnTo>
                    <a:pt x="401" y="107"/>
                  </a:lnTo>
                  <a:lnTo>
                    <a:pt x="401" y="108"/>
                  </a:lnTo>
                  <a:lnTo>
                    <a:pt x="402" y="108"/>
                  </a:lnTo>
                  <a:lnTo>
                    <a:pt x="401" y="108"/>
                  </a:lnTo>
                  <a:lnTo>
                    <a:pt x="402" y="108"/>
                  </a:lnTo>
                  <a:lnTo>
                    <a:pt x="402" y="109"/>
                  </a:lnTo>
                  <a:lnTo>
                    <a:pt x="401" y="109"/>
                  </a:lnTo>
                  <a:lnTo>
                    <a:pt x="402" y="109"/>
                  </a:lnTo>
                  <a:lnTo>
                    <a:pt x="402" y="108"/>
                  </a:lnTo>
                  <a:lnTo>
                    <a:pt x="402" y="107"/>
                  </a:lnTo>
                  <a:lnTo>
                    <a:pt x="403" y="107"/>
                  </a:lnTo>
                  <a:lnTo>
                    <a:pt x="403" y="108"/>
                  </a:lnTo>
                  <a:lnTo>
                    <a:pt x="402" y="109"/>
                  </a:lnTo>
                  <a:lnTo>
                    <a:pt x="403" y="109"/>
                  </a:lnTo>
                  <a:lnTo>
                    <a:pt x="402" y="109"/>
                  </a:lnTo>
                  <a:lnTo>
                    <a:pt x="403" y="110"/>
                  </a:lnTo>
                  <a:lnTo>
                    <a:pt x="402" y="110"/>
                  </a:lnTo>
                  <a:lnTo>
                    <a:pt x="403" y="110"/>
                  </a:lnTo>
                  <a:lnTo>
                    <a:pt x="403" y="109"/>
                  </a:lnTo>
                  <a:lnTo>
                    <a:pt x="403" y="110"/>
                  </a:lnTo>
                  <a:lnTo>
                    <a:pt x="405" y="110"/>
                  </a:lnTo>
                  <a:lnTo>
                    <a:pt x="403" y="109"/>
                  </a:lnTo>
                  <a:lnTo>
                    <a:pt x="405" y="109"/>
                  </a:lnTo>
                  <a:lnTo>
                    <a:pt x="405" y="110"/>
                  </a:lnTo>
                  <a:lnTo>
                    <a:pt x="405" y="111"/>
                  </a:lnTo>
                  <a:lnTo>
                    <a:pt x="405" y="110"/>
                  </a:lnTo>
                  <a:lnTo>
                    <a:pt x="406" y="111"/>
                  </a:lnTo>
                  <a:lnTo>
                    <a:pt x="405" y="112"/>
                  </a:lnTo>
                  <a:lnTo>
                    <a:pt x="406" y="112"/>
                  </a:lnTo>
                  <a:lnTo>
                    <a:pt x="407" y="112"/>
                  </a:lnTo>
                  <a:lnTo>
                    <a:pt x="407" y="111"/>
                  </a:lnTo>
                  <a:lnTo>
                    <a:pt x="407" y="112"/>
                  </a:lnTo>
                  <a:lnTo>
                    <a:pt x="408" y="112"/>
                  </a:lnTo>
                  <a:lnTo>
                    <a:pt x="408" y="114"/>
                  </a:lnTo>
                  <a:lnTo>
                    <a:pt x="408" y="112"/>
                  </a:lnTo>
                  <a:lnTo>
                    <a:pt x="408" y="114"/>
                  </a:lnTo>
                  <a:lnTo>
                    <a:pt x="407" y="114"/>
                  </a:lnTo>
                  <a:lnTo>
                    <a:pt x="408" y="114"/>
                  </a:lnTo>
                  <a:lnTo>
                    <a:pt x="409" y="115"/>
                  </a:lnTo>
                  <a:lnTo>
                    <a:pt x="409" y="116"/>
                  </a:lnTo>
                  <a:lnTo>
                    <a:pt x="408" y="116"/>
                  </a:lnTo>
                  <a:lnTo>
                    <a:pt x="407" y="116"/>
                  </a:lnTo>
                  <a:lnTo>
                    <a:pt x="408" y="116"/>
                  </a:lnTo>
                  <a:lnTo>
                    <a:pt x="409" y="116"/>
                  </a:lnTo>
                  <a:lnTo>
                    <a:pt x="408" y="117"/>
                  </a:lnTo>
                  <a:lnTo>
                    <a:pt x="407" y="118"/>
                  </a:lnTo>
                  <a:lnTo>
                    <a:pt x="408" y="118"/>
                  </a:lnTo>
                  <a:lnTo>
                    <a:pt x="407" y="118"/>
                  </a:lnTo>
                  <a:lnTo>
                    <a:pt x="407" y="119"/>
                  </a:lnTo>
                  <a:lnTo>
                    <a:pt x="406" y="119"/>
                  </a:lnTo>
                  <a:lnTo>
                    <a:pt x="405" y="119"/>
                  </a:lnTo>
                  <a:lnTo>
                    <a:pt x="406" y="119"/>
                  </a:lnTo>
                  <a:lnTo>
                    <a:pt x="406" y="121"/>
                  </a:lnTo>
                  <a:lnTo>
                    <a:pt x="406" y="119"/>
                  </a:lnTo>
                  <a:lnTo>
                    <a:pt x="407" y="119"/>
                  </a:lnTo>
                  <a:lnTo>
                    <a:pt x="407" y="121"/>
                  </a:lnTo>
                  <a:lnTo>
                    <a:pt x="406" y="121"/>
                  </a:lnTo>
                  <a:lnTo>
                    <a:pt x="406" y="122"/>
                  </a:lnTo>
                  <a:lnTo>
                    <a:pt x="407" y="121"/>
                  </a:lnTo>
                  <a:lnTo>
                    <a:pt x="407" y="122"/>
                  </a:lnTo>
                  <a:lnTo>
                    <a:pt x="407" y="121"/>
                  </a:lnTo>
                  <a:lnTo>
                    <a:pt x="407" y="119"/>
                  </a:lnTo>
                  <a:lnTo>
                    <a:pt x="408" y="119"/>
                  </a:lnTo>
                  <a:lnTo>
                    <a:pt x="408" y="118"/>
                  </a:lnTo>
                  <a:lnTo>
                    <a:pt x="409" y="117"/>
                  </a:lnTo>
                  <a:lnTo>
                    <a:pt x="409" y="118"/>
                  </a:lnTo>
                  <a:lnTo>
                    <a:pt x="410" y="118"/>
                  </a:lnTo>
                  <a:lnTo>
                    <a:pt x="410" y="119"/>
                  </a:lnTo>
                  <a:lnTo>
                    <a:pt x="410" y="121"/>
                  </a:lnTo>
                  <a:lnTo>
                    <a:pt x="410" y="122"/>
                  </a:lnTo>
                  <a:lnTo>
                    <a:pt x="409" y="122"/>
                  </a:lnTo>
                  <a:lnTo>
                    <a:pt x="408" y="121"/>
                  </a:lnTo>
                  <a:lnTo>
                    <a:pt x="408" y="122"/>
                  </a:lnTo>
                  <a:lnTo>
                    <a:pt x="409" y="122"/>
                  </a:lnTo>
                  <a:lnTo>
                    <a:pt x="409" y="123"/>
                  </a:lnTo>
                  <a:lnTo>
                    <a:pt x="408" y="123"/>
                  </a:lnTo>
                  <a:lnTo>
                    <a:pt x="408" y="124"/>
                  </a:lnTo>
                  <a:lnTo>
                    <a:pt x="407" y="124"/>
                  </a:lnTo>
                  <a:lnTo>
                    <a:pt x="407" y="125"/>
                  </a:lnTo>
                  <a:lnTo>
                    <a:pt x="407" y="124"/>
                  </a:lnTo>
                  <a:lnTo>
                    <a:pt x="408" y="124"/>
                  </a:lnTo>
                  <a:lnTo>
                    <a:pt x="407" y="126"/>
                  </a:lnTo>
                  <a:lnTo>
                    <a:pt x="407" y="128"/>
                  </a:lnTo>
                  <a:lnTo>
                    <a:pt x="407" y="129"/>
                  </a:lnTo>
                  <a:lnTo>
                    <a:pt x="406" y="130"/>
                  </a:lnTo>
                  <a:lnTo>
                    <a:pt x="406" y="131"/>
                  </a:lnTo>
                  <a:lnTo>
                    <a:pt x="407" y="131"/>
                  </a:lnTo>
                  <a:lnTo>
                    <a:pt x="407" y="132"/>
                  </a:lnTo>
                  <a:lnTo>
                    <a:pt x="407" y="133"/>
                  </a:lnTo>
                  <a:lnTo>
                    <a:pt x="406" y="133"/>
                  </a:lnTo>
                  <a:lnTo>
                    <a:pt x="406" y="135"/>
                  </a:lnTo>
                  <a:lnTo>
                    <a:pt x="405" y="135"/>
                  </a:lnTo>
                  <a:lnTo>
                    <a:pt x="406" y="136"/>
                  </a:lnTo>
                  <a:lnTo>
                    <a:pt x="405" y="136"/>
                  </a:lnTo>
                  <a:lnTo>
                    <a:pt x="406" y="136"/>
                  </a:lnTo>
                  <a:lnTo>
                    <a:pt x="406" y="135"/>
                  </a:lnTo>
                  <a:lnTo>
                    <a:pt x="407" y="135"/>
                  </a:lnTo>
                  <a:lnTo>
                    <a:pt x="407" y="133"/>
                  </a:lnTo>
                  <a:lnTo>
                    <a:pt x="408" y="132"/>
                  </a:lnTo>
                  <a:lnTo>
                    <a:pt x="408" y="131"/>
                  </a:lnTo>
                  <a:lnTo>
                    <a:pt x="409" y="131"/>
                  </a:lnTo>
                  <a:lnTo>
                    <a:pt x="410" y="130"/>
                  </a:lnTo>
                  <a:lnTo>
                    <a:pt x="410" y="129"/>
                  </a:lnTo>
                  <a:lnTo>
                    <a:pt x="410" y="128"/>
                  </a:lnTo>
                  <a:lnTo>
                    <a:pt x="410" y="126"/>
                  </a:lnTo>
                  <a:lnTo>
                    <a:pt x="410" y="125"/>
                  </a:lnTo>
                  <a:lnTo>
                    <a:pt x="410" y="124"/>
                  </a:lnTo>
                  <a:lnTo>
                    <a:pt x="412" y="124"/>
                  </a:lnTo>
                  <a:lnTo>
                    <a:pt x="412" y="123"/>
                  </a:lnTo>
                  <a:lnTo>
                    <a:pt x="413" y="123"/>
                  </a:lnTo>
                  <a:lnTo>
                    <a:pt x="414" y="122"/>
                  </a:lnTo>
                  <a:lnTo>
                    <a:pt x="415" y="122"/>
                  </a:lnTo>
                  <a:lnTo>
                    <a:pt x="415" y="123"/>
                  </a:lnTo>
                  <a:lnTo>
                    <a:pt x="415" y="122"/>
                  </a:lnTo>
                  <a:lnTo>
                    <a:pt x="415" y="123"/>
                  </a:lnTo>
                  <a:lnTo>
                    <a:pt x="414" y="123"/>
                  </a:lnTo>
                  <a:lnTo>
                    <a:pt x="415" y="123"/>
                  </a:lnTo>
                  <a:lnTo>
                    <a:pt x="415" y="124"/>
                  </a:lnTo>
                  <a:lnTo>
                    <a:pt x="414" y="124"/>
                  </a:lnTo>
                  <a:lnTo>
                    <a:pt x="414" y="125"/>
                  </a:lnTo>
                  <a:lnTo>
                    <a:pt x="414" y="126"/>
                  </a:lnTo>
                  <a:lnTo>
                    <a:pt x="413" y="126"/>
                  </a:lnTo>
                  <a:lnTo>
                    <a:pt x="412" y="128"/>
                  </a:lnTo>
                  <a:lnTo>
                    <a:pt x="412" y="129"/>
                  </a:lnTo>
                  <a:lnTo>
                    <a:pt x="412" y="128"/>
                  </a:lnTo>
                  <a:lnTo>
                    <a:pt x="412" y="129"/>
                  </a:lnTo>
                  <a:lnTo>
                    <a:pt x="412" y="128"/>
                  </a:lnTo>
                  <a:lnTo>
                    <a:pt x="413" y="128"/>
                  </a:lnTo>
                  <a:lnTo>
                    <a:pt x="414" y="128"/>
                  </a:lnTo>
                  <a:lnTo>
                    <a:pt x="413" y="129"/>
                  </a:lnTo>
                  <a:lnTo>
                    <a:pt x="414" y="129"/>
                  </a:lnTo>
                  <a:lnTo>
                    <a:pt x="414" y="128"/>
                  </a:lnTo>
                  <a:lnTo>
                    <a:pt x="415" y="128"/>
                  </a:lnTo>
                  <a:lnTo>
                    <a:pt x="415" y="126"/>
                  </a:lnTo>
                  <a:lnTo>
                    <a:pt x="415" y="125"/>
                  </a:lnTo>
                  <a:lnTo>
                    <a:pt x="416" y="125"/>
                  </a:lnTo>
                  <a:lnTo>
                    <a:pt x="416" y="124"/>
                  </a:lnTo>
                  <a:lnTo>
                    <a:pt x="417" y="124"/>
                  </a:lnTo>
                  <a:lnTo>
                    <a:pt x="417" y="125"/>
                  </a:lnTo>
                  <a:lnTo>
                    <a:pt x="417" y="124"/>
                  </a:lnTo>
                  <a:lnTo>
                    <a:pt x="418" y="124"/>
                  </a:lnTo>
                  <a:lnTo>
                    <a:pt x="420" y="124"/>
                  </a:lnTo>
                  <a:lnTo>
                    <a:pt x="420" y="123"/>
                  </a:lnTo>
                  <a:lnTo>
                    <a:pt x="420" y="124"/>
                  </a:lnTo>
                  <a:lnTo>
                    <a:pt x="421" y="124"/>
                  </a:lnTo>
                  <a:lnTo>
                    <a:pt x="420" y="124"/>
                  </a:lnTo>
                  <a:lnTo>
                    <a:pt x="420" y="123"/>
                  </a:lnTo>
                  <a:lnTo>
                    <a:pt x="421" y="123"/>
                  </a:lnTo>
                  <a:lnTo>
                    <a:pt x="421" y="124"/>
                  </a:lnTo>
                  <a:lnTo>
                    <a:pt x="421" y="123"/>
                  </a:lnTo>
                  <a:lnTo>
                    <a:pt x="422" y="124"/>
                  </a:lnTo>
                  <a:lnTo>
                    <a:pt x="422" y="123"/>
                  </a:lnTo>
                  <a:lnTo>
                    <a:pt x="422" y="122"/>
                  </a:lnTo>
                  <a:lnTo>
                    <a:pt x="422" y="123"/>
                  </a:lnTo>
                  <a:lnTo>
                    <a:pt x="423" y="123"/>
                  </a:lnTo>
                  <a:lnTo>
                    <a:pt x="423" y="124"/>
                  </a:lnTo>
                  <a:lnTo>
                    <a:pt x="423" y="123"/>
                  </a:lnTo>
                  <a:lnTo>
                    <a:pt x="424" y="123"/>
                  </a:lnTo>
                  <a:lnTo>
                    <a:pt x="423" y="123"/>
                  </a:lnTo>
                  <a:lnTo>
                    <a:pt x="424" y="123"/>
                  </a:lnTo>
                  <a:lnTo>
                    <a:pt x="423" y="122"/>
                  </a:lnTo>
                  <a:lnTo>
                    <a:pt x="423" y="121"/>
                  </a:lnTo>
                  <a:lnTo>
                    <a:pt x="424" y="121"/>
                  </a:lnTo>
                  <a:lnTo>
                    <a:pt x="425" y="121"/>
                  </a:lnTo>
                  <a:lnTo>
                    <a:pt x="427" y="121"/>
                  </a:lnTo>
                  <a:lnTo>
                    <a:pt x="427" y="122"/>
                  </a:lnTo>
                  <a:lnTo>
                    <a:pt x="428" y="122"/>
                  </a:lnTo>
                  <a:lnTo>
                    <a:pt x="429" y="123"/>
                  </a:lnTo>
                  <a:lnTo>
                    <a:pt x="430" y="123"/>
                  </a:lnTo>
                  <a:lnTo>
                    <a:pt x="431" y="123"/>
                  </a:lnTo>
                  <a:lnTo>
                    <a:pt x="431" y="124"/>
                  </a:lnTo>
                  <a:lnTo>
                    <a:pt x="432" y="124"/>
                  </a:lnTo>
                  <a:lnTo>
                    <a:pt x="434" y="124"/>
                  </a:lnTo>
                  <a:lnTo>
                    <a:pt x="435" y="124"/>
                  </a:lnTo>
                  <a:lnTo>
                    <a:pt x="435" y="125"/>
                  </a:lnTo>
                  <a:lnTo>
                    <a:pt x="436" y="126"/>
                  </a:lnTo>
                  <a:lnTo>
                    <a:pt x="437" y="126"/>
                  </a:lnTo>
                  <a:lnTo>
                    <a:pt x="436" y="126"/>
                  </a:lnTo>
                  <a:lnTo>
                    <a:pt x="437" y="126"/>
                  </a:lnTo>
                  <a:lnTo>
                    <a:pt x="437" y="128"/>
                  </a:lnTo>
                  <a:lnTo>
                    <a:pt x="438" y="128"/>
                  </a:lnTo>
                  <a:lnTo>
                    <a:pt x="438" y="126"/>
                  </a:lnTo>
                  <a:lnTo>
                    <a:pt x="438" y="128"/>
                  </a:lnTo>
                  <a:lnTo>
                    <a:pt x="439" y="128"/>
                  </a:lnTo>
                  <a:lnTo>
                    <a:pt x="441" y="128"/>
                  </a:lnTo>
                  <a:lnTo>
                    <a:pt x="439" y="129"/>
                  </a:lnTo>
                  <a:lnTo>
                    <a:pt x="441" y="128"/>
                  </a:lnTo>
                  <a:lnTo>
                    <a:pt x="441" y="129"/>
                  </a:lnTo>
                  <a:lnTo>
                    <a:pt x="441" y="128"/>
                  </a:lnTo>
                  <a:lnTo>
                    <a:pt x="442" y="129"/>
                  </a:lnTo>
                  <a:lnTo>
                    <a:pt x="442" y="128"/>
                  </a:lnTo>
                  <a:lnTo>
                    <a:pt x="443" y="128"/>
                  </a:lnTo>
                  <a:lnTo>
                    <a:pt x="443" y="129"/>
                  </a:lnTo>
                  <a:lnTo>
                    <a:pt x="444" y="129"/>
                  </a:lnTo>
                  <a:lnTo>
                    <a:pt x="444" y="128"/>
                  </a:lnTo>
                  <a:lnTo>
                    <a:pt x="443" y="128"/>
                  </a:lnTo>
                  <a:lnTo>
                    <a:pt x="443" y="126"/>
                  </a:lnTo>
                  <a:lnTo>
                    <a:pt x="444" y="126"/>
                  </a:lnTo>
                  <a:lnTo>
                    <a:pt x="445" y="126"/>
                  </a:lnTo>
                  <a:lnTo>
                    <a:pt x="446" y="126"/>
                  </a:lnTo>
                  <a:lnTo>
                    <a:pt x="446" y="128"/>
                  </a:lnTo>
                  <a:lnTo>
                    <a:pt x="448" y="129"/>
                  </a:lnTo>
                  <a:lnTo>
                    <a:pt x="449" y="129"/>
                  </a:lnTo>
                  <a:lnTo>
                    <a:pt x="448" y="129"/>
                  </a:lnTo>
                  <a:lnTo>
                    <a:pt x="449" y="129"/>
                  </a:lnTo>
                  <a:lnTo>
                    <a:pt x="449" y="130"/>
                  </a:lnTo>
                  <a:lnTo>
                    <a:pt x="450" y="130"/>
                  </a:lnTo>
                  <a:lnTo>
                    <a:pt x="451" y="130"/>
                  </a:lnTo>
                  <a:lnTo>
                    <a:pt x="452" y="130"/>
                  </a:lnTo>
                  <a:lnTo>
                    <a:pt x="453" y="130"/>
                  </a:lnTo>
                  <a:lnTo>
                    <a:pt x="453" y="131"/>
                  </a:lnTo>
                  <a:lnTo>
                    <a:pt x="455" y="131"/>
                  </a:lnTo>
                  <a:lnTo>
                    <a:pt x="455" y="130"/>
                  </a:lnTo>
                  <a:lnTo>
                    <a:pt x="453" y="130"/>
                  </a:lnTo>
                  <a:lnTo>
                    <a:pt x="453" y="129"/>
                  </a:lnTo>
                  <a:lnTo>
                    <a:pt x="455" y="129"/>
                  </a:lnTo>
                  <a:lnTo>
                    <a:pt x="456" y="129"/>
                  </a:lnTo>
                  <a:lnTo>
                    <a:pt x="456" y="130"/>
                  </a:lnTo>
                  <a:lnTo>
                    <a:pt x="457" y="130"/>
                  </a:lnTo>
                  <a:lnTo>
                    <a:pt x="456" y="129"/>
                  </a:lnTo>
                  <a:lnTo>
                    <a:pt x="457" y="129"/>
                  </a:lnTo>
                  <a:lnTo>
                    <a:pt x="458" y="129"/>
                  </a:lnTo>
                  <a:lnTo>
                    <a:pt x="459" y="129"/>
                  </a:lnTo>
                  <a:lnTo>
                    <a:pt x="460" y="129"/>
                  </a:lnTo>
                  <a:lnTo>
                    <a:pt x="462" y="129"/>
                  </a:lnTo>
                  <a:lnTo>
                    <a:pt x="464" y="129"/>
                  </a:lnTo>
                  <a:lnTo>
                    <a:pt x="464" y="128"/>
                  </a:lnTo>
                  <a:lnTo>
                    <a:pt x="465" y="128"/>
                  </a:lnTo>
                  <a:lnTo>
                    <a:pt x="466" y="128"/>
                  </a:lnTo>
                  <a:lnTo>
                    <a:pt x="467" y="128"/>
                  </a:lnTo>
                  <a:lnTo>
                    <a:pt x="469" y="129"/>
                  </a:lnTo>
                  <a:lnTo>
                    <a:pt x="470" y="129"/>
                  </a:lnTo>
                  <a:lnTo>
                    <a:pt x="471" y="129"/>
                  </a:lnTo>
                  <a:lnTo>
                    <a:pt x="472" y="129"/>
                  </a:lnTo>
                  <a:lnTo>
                    <a:pt x="473" y="130"/>
                  </a:lnTo>
                  <a:lnTo>
                    <a:pt x="474" y="131"/>
                  </a:lnTo>
                  <a:lnTo>
                    <a:pt x="476" y="131"/>
                  </a:lnTo>
                  <a:lnTo>
                    <a:pt x="476" y="132"/>
                  </a:lnTo>
                  <a:lnTo>
                    <a:pt x="476" y="131"/>
                  </a:lnTo>
                  <a:lnTo>
                    <a:pt x="477" y="132"/>
                  </a:lnTo>
                  <a:lnTo>
                    <a:pt x="478" y="132"/>
                  </a:lnTo>
                  <a:lnTo>
                    <a:pt x="479" y="133"/>
                  </a:lnTo>
                  <a:lnTo>
                    <a:pt x="480" y="135"/>
                  </a:lnTo>
                  <a:lnTo>
                    <a:pt x="481" y="135"/>
                  </a:lnTo>
                  <a:lnTo>
                    <a:pt x="483" y="135"/>
                  </a:lnTo>
                  <a:lnTo>
                    <a:pt x="483" y="136"/>
                  </a:lnTo>
                  <a:lnTo>
                    <a:pt x="484" y="136"/>
                  </a:lnTo>
                  <a:lnTo>
                    <a:pt x="484" y="137"/>
                  </a:lnTo>
                  <a:lnTo>
                    <a:pt x="485" y="137"/>
                  </a:lnTo>
                  <a:lnTo>
                    <a:pt x="486" y="137"/>
                  </a:lnTo>
                  <a:lnTo>
                    <a:pt x="486" y="138"/>
                  </a:lnTo>
                  <a:lnTo>
                    <a:pt x="487" y="139"/>
                  </a:lnTo>
                  <a:lnTo>
                    <a:pt x="488" y="139"/>
                  </a:lnTo>
                  <a:lnTo>
                    <a:pt x="488" y="140"/>
                  </a:lnTo>
                  <a:lnTo>
                    <a:pt x="489" y="140"/>
                  </a:lnTo>
                  <a:lnTo>
                    <a:pt x="489" y="142"/>
                  </a:lnTo>
                  <a:lnTo>
                    <a:pt x="491" y="142"/>
                  </a:lnTo>
                  <a:lnTo>
                    <a:pt x="492" y="142"/>
                  </a:lnTo>
                  <a:lnTo>
                    <a:pt x="492" y="143"/>
                  </a:lnTo>
                  <a:lnTo>
                    <a:pt x="493" y="143"/>
                  </a:lnTo>
                  <a:lnTo>
                    <a:pt x="494" y="144"/>
                  </a:lnTo>
                  <a:lnTo>
                    <a:pt x="494" y="145"/>
                  </a:lnTo>
                  <a:lnTo>
                    <a:pt x="495" y="146"/>
                  </a:lnTo>
                  <a:lnTo>
                    <a:pt x="496" y="146"/>
                  </a:lnTo>
                  <a:lnTo>
                    <a:pt x="498" y="147"/>
                  </a:lnTo>
                  <a:lnTo>
                    <a:pt x="499" y="150"/>
                  </a:lnTo>
                  <a:lnTo>
                    <a:pt x="499" y="151"/>
                  </a:lnTo>
                  <a:lnTo>
                    <a:pt x="501" y="152"/>
                  </a:lnTo>
                  <a:lnTo>
                    <a:pt x="502" y="153"/>
                  </a:lnTo>
                  <a:lnTo>
                    <a:pt x="503" y="153"/>
                  </a:lnTo>
                  <a:lnTo>
                    <a:pt x="503" y="156"/>
                  </a:lnTo>
                  <a:lnTo>
                    <a:pt x="505" y="156"/>
                  </a:lnTo>
                  <a:lnTo>
                    <a:pt x="506" y="157"/>
                  </a:lnTo>
                  <a:lnTo>
                    <a:pt x="507" y="157"/>
                  </a:lnTo>
                  <a:lnTo>
                    <a:pt x="508" y="158"/>
                  </a:lnTo>
                  <a:lnTo>
                    <a:pt x="509" y="158"/>
                  </a:lnTo>
                  <a:lnTo>
                    <a:pt x="510" y="159"/>
                  </a:lnTo>
                  <a:lnTo>
                    <a:pt x="510" y="160"/>
                  </a:lnTo>
                  <a:lnTo>
                    <a:pt x="512" y="161"/>
                  </a:lnTo>
                  <a:lnTo>
                    <a:pt x="513" y="161"/>
                  </a:lnTo>
                  <a:lnTo>
                    <a:pt x="514" y="161"/>
                  </a:lnTo>
                  <a:lnTo>
                    <a:pt x="515" y="161"/>
                  </a:lnTo>
                  <a:lnTo>
                    <a:pt x="516" y="163"/>
                  </a:lnTo>
                  <a:lnTo>
                    <a:pt x="516" y="164"/>
                  </a:lnTo>
                  <a:lnTo>
                    <a:pt x="517" y="164"/>
                  </a:lnTo>
                  <a:lnTo>
                    <a:pt x="519" y="164"/>
                  </a:lnTo>
                  <a:lnTo>
                    <a:pt x="520" y="165"/>
                  </a:lnTo>
                  <a:lnTo>
                    <a:pt x="521" y="165"/>
                  </a:lnTo>
                  <a:lnTo>
                    <a:pt x="520" y="164"/>
                  </a:lnTo>
                  <a:lnTo>
                    <a:pt x="522" y="164"/>
                  </a:lnTo>
                  <a:lnTo>
                    <a:pt x="523" y="164"/>
                  </a:lnTo>
                  <a:lnTo>
                    <a:pt x="523" y="165"/>
                  </a:lnTo>
                  <a:lnTo>
                    <a:pt x="524" y="165"/>
                  </a:lnTo>
                  <a:lnTo>
                    <a:pt x="524" y="164"/>
                  </a:lnTo>
                  <a:lnTo>
                    <a:pt x="523" y="164"/>
                  </a:lnTo>
                  <a:lnTo>
                    <a:pt x="526" y="164"/>
                  </a:lnTo>
                  <a:lnTo>
                    <a:pt x="527" y="164"/>
                  </a:lnTo>
                  <a:lnTo>
                    <a:pt x="528" y="164"/>
                  </a:lnTo>
                  <a:lnTo>
                    <a:pt x="529" y="164"/>
                  </a:lnTo>
                  <a:lnTo>
                    <a:pt x="531" y="164"/>
                  </a:lnTo>
                  <a:lnTo>
                    <a:pt x="533" y="165"/>
                  </a:lnTo>
                  <a:lnTo>
                    <a:pt x="534" y="165"/>
                  </a:lnTo>
                  <a:lnTo>
                    <a:pt x="535" y="165"/>
                  </a:lnTo>
                  <a:lnTo>
                    <a:pt x="535" y="166"/>
                  </a:lnTo>
                  <a:lnTo>
                    <a:pt x="536" y="166"/>
                  </a:lnTo>
                  <a:lnTo>
                    <a:pt x="536" y="167"/>
                  </a:lnTo>
                  <a:lnTo>
                    <a:pt x="537" y="167"/>
                  </a:lnTo>
                  <a:lnTo>
                    <a:pt x="537" y="168"/>
                  </a:lnTo>
                  <a:lnTo>
                    <a:pt x="538" y="171"/>
                  </a:lnTo>
                  <a:lnTo>
                    <a:pt x="538" y="172"/>
                  </a:lnTo>
                  <a:lnTo>
                    <a:pt x="540" y="173"/>
                  </a:lnTo>
                  <a:lnTo>
                    <a:pt x="540" y="174"/>
                  </a:lnTo>
                  <a:lnTo>
                    <a:pt x="540" y="175"/>
                  </a:lnTo>
                  <a:lnTo>
                    <a:pt x="540" y="177"/>
                  </a:lnTo>
                  <a:lnTo>
                    <a:pt x="540" y="178"/>
                  </a:lnTo>
                  <a:lnTo>
                    <a:pt x="541" y="178"/>
                  </a:lnTo>
                  <a:lnTo>
                    <a:pt x="541" y="179"/>
                  </a:lnTo>
                  <a:lnTo>
                    <a:pt x="541" y="180"/>
                  </a:lnTo>
                  <a:lnTo>
                    <a:pt x="541" y="181"/>
                  </a:lnTo>
                  <a:lnTo>
                    <a:pt x="540" y="182"/>
                  </a:lnTo>
                  <a:lnTo>
                    <a:pt x="541" y="182"/>
                  </a:lnTo>
                  <a:lnTo>
                    <a:pt x="541" y="181"/>
                  </a:lnTo>
                  <a:lnTo>
                    <a:pt x="541" y="182"/>
                  </a:lnTo>
                  <a:lnTo>
                    <a:pt x="542" y="182"/>
                  </a:lnTo>
                  <a:lnTo>
                    <a:pt x="542" y="184"/>
                  </a:lnTo>
                  <a:lnTo>
                    <a:pt x="542" y="185"/>
                  </a:lnTo>
                  <a:lnTo>
                    <a:pt x="543" y="186"/>
                  </a:lnTo>
                  <a:lnTo>
                    <a:pt x="543" y="187"/>
                  </a:lnTo>
                  <a:lnTo>
                    <a:pt x="543" y="188"/>
                  </a:lnTo>
                  <a:lnTo>
                    <a:pt x="543" y="189"/>
                  </a:lnTo>
                  <a:lnTo>
                    <a:pt x="543" y="191"/>
                  </a:lnTo>
                  <a:lnTo>
                    <a:pt x="543" y="192"/>
                  </a:lnTo>
                  <a:lnTo>
                    <a:pt x="543" y="193"/>
                  </a:lnTo>
                  <a:lnTo>
                    <a:pt x="544" y="193"/>
                  </a:lnTo>
                  <a:lnTo>
                    <a:pt x="544" y="194"/>
                  </a:lnTo>
                  <a:lnTo>
                    <a:pt x="544" y="195"/>
                  </a:lnTo>
                  <a:lnTo>
                    <a:pt x="544" y="196"/>
                  </a:lnTo>
                  <a:lnTo>
                    <a:pt x="543" y="196"/>
                  </a:lnTo>
                  <a:lnTo>
                    <a:pt x="543" y="195"/>
                  </a:lnTo>
                  <a:lnTo>
                    <a:pt x="543" y="196"/>
                  </a:lnTo>
                  <a:lnTo>
                    <a:pt x="544" y="196"/>
                  </a:lnTo>
                  <a:lnTo>
                    <a:pt x="544" y="195"/>
                  </a:lnTo>
                  <a:lnTo>
                    <a:pt x="544" y="194"/>
                  </a:lnTo>
                  <a:lnTo>
                    <a:pt x="544" y="195"/>
                  </a:lnTo>
                  <a:lnTo>
                    <a:pt x="544" y="196"/>
                  </a:lnTo>
                  <a:lnTo>
                    <a:pt x="545" y="196"/>
                  </a:lnTo>
                  <a:lnTo>
                    <a:pt x="545" y="198"/>
                  </a:lnTo>
                  <a:lnTo>
                    <a:pt x="545" y="200"/>
                  </a:lnTo>
                  <a:lnTo>
                    <a:pt x="545" y="201"/>
                  </a:lnTo>
                  <a:lnTo>
                    <a:pt x="545" y="202"/>
                  </a:lnTo>
                  <a:lnTo>
                    <a:pt x="545" y="203"/>
                  </a:lnTo>
                  <a:lnTo>
                    <a:pt x="544" y="203"/>
                  </a:lnTo>
                  <a:lnTo>
                    <a:pt x="543" y="203"/>
                  </a:lnTo>
                  <a:lnTo>
                    <a:pt x="544" y="203"/>
                  </a:lnTo>
                  <a:lnTo>
                    <a:pt x="545" y="203"/>
                  </a:lnTo>
                  <a:lnTo>
                    <a:pt x="545" y="205"/>
                  </a:lnTo>
                  <a:lnTo>
                    <a:pt x="545" y="206"/>
                  </a:lnTo>
                  <a:lnTo>
                    <a:pt x="544" y="206"/>
                  </a:lnTo>
                  <a:lnTo>
                    <a:pt x="544" y="205"/>
                  </a:lnTo>
                  <a:lnTo>
                    <a:pt x="544" y="206"/>
                  </a:lnTo>
                  <a:lnTo>
                    <a:pt x="544" y="207"/>
                  </a:lnTo>
                  <a:lnTo>
                    <a:pt x="544" y="208"/>
                  </a:lnTo>
                  <a:lnTo>
                    <a:pt x="545" y="208"/>
                  </a:lnTo>
                  <a:lnTo>
                    <a:pt x="545" y="209"/>
                  </a:lnTo>
                  <a:lnTo>
                    <a:pt x="544" y="210"/>
                  </a:lnTo>
                  <a:lnTo>
                    <a:pt x="544" y="212"/>
                  </a:lnTo>
                  <a:lnTo>
                    <a:pt x="544" y="210"/>
                  </a:lnTo>
                  <a:lnTo>
                    <a:pt x="543" y="210"/>
                  </a:lnTo>
                  <a:lnTo>
                    <a:pt x="544" y="212"/>
                  </a:lnTo>
                  <a:lnTo>
                    <a:pt x="544" y="213"/>
                  </a:lnTo>
                  <a:lnTo>
                    <a:pt x="544" y="214"/>
                  </a:lnTo>
                  <a:lnTo>
                    <a:pt x="543" y="214"/>
                  </a:lnTo>
                  <a:lnTo>
                    <a:pt x="543" y="215"/>
                  </a:lnTo>
                  <a:lnTo>
                    <a:pt x="543" y="216"/>
                  </a:lnTo>
                  <a:lnTo>
                    <a:pt x="542" y="220"/>
                  </a:lnTo>
                  <a:lnTo>
                    <a:pt x="542" y="221"/>
                  </a:lnTo>
                  <a:lnTo>
                    <a:pt x="542" y="222"/>
                  </a:lnTo>
                  <a:lnTo>
                    <a:pt x="541" y="223"/>
                  </a:lnTo>
                  <a:lnTo>
                    <a:pt x="541" y="224"/>
                  </a:lnTo>
                  <a:lnTo>
                    <a:pt x="541" y="226"/>
                  </a:lnTo>
                  <a:lnTo>
                    <a:pt x="540" y="227"/>
                  </a:lnTo>
                  <a:lnTo>
                    <a:pt x="540" y="228"/>
                  </a:lnTo>
                  <a:lnTo>
                    <a:pt x="540" y="229"/>
                  </a:lnTo>
                  <a:lnTo>
                    <a:pt x="538" y="229"/>
                  </a:lnTo>
                  <a:lnTo>
                    <a:pt x="537" y="231"/>
                  </a:lnTo>
                  <a:lnTo>
                    <a:pt x="536" y="231"/>
                  </a:lnTo>
                  <a:lnTo>
                    <a:pt x="536" y="233"/>
                  </a:lnTo>
                  <a:lnTo>
                    <a:pt x="535" y="235"/>
                  </a:lnTo>
                  <a:lnTo>
                    <a:pt x="534" y="235"/>
                  </a:lnTo>
                  <a:lnTo>
                    <a:pt x="534" y="236"/>
                  </a:lnTo>
                  <a:lnTo>
                    <a:pt x="534" y="237"/>
                  </a:lnTo>
                  <a:lnTo>
                    <a:pt x="533" y="237"/>
                  </a:lnTo>
                  <a:lnTo>
                    <a:pt x="533" y="236"/>
                  </a:lnTo>
                  <a:lnTo>
                    <a:pt x="533" y="235"/>
                  </a:lnTo>
                  <a:lnTo>
                    <a:pt x="531" y="236"/>
                  </a:lnTo>
                  <a:lnTo>
                    <a:pt x="533" y="236"/>
                  </a:lnTo>
                  <a:lnTo>
                    <a:pt x="533" y="237"/>
                  </a:lnTo>
                  <a:lnTo>
                    <a:pt x="531" y="237"/>
                  </a:lnTo>
                  <a:lnTo>
                    <a:pt x="530" y="236"/>
                  </a:lnTo>
                  <a:lnTo>
                    <a:pt x="530" y="237"/>
                  </a:lnTo>
                  <a:lnTo>
                    <a:pt x="531" y="238"/>
                  </a:lnTo>
                  <a:lnTo>
                    <a:pt x="531" y="237"/>
                  </a:lnTo>
                  <a:lnTo>
                    <a:pt x="533" y="237"/>
                  </a:lnTo>
                  <a:lnTo>
                    <a:pt x="531" y="238"/>
                  </a:lnTo>
                  <a:lnTo>
                    <a:pt x="531" y="240"/>
                  </a:lnTo>
                  <a:lnTo>
                    <a:pt x="530" y="240"/>
                  </a:lnTo>
                  <a:lnTo>
                    <a:pt x="530" y="241"/>
                  </a:lnTo>
                  <a:lnTo>
                    <a:pt x="530" y="242"/>
                  </a:lnTo>
                  <a:lnTo>
                    <a:pt x="529" y="242"/>
                  </a:lnTo>
                  <a:lnTo>
                    <a:pt x="529" y="243"/>
                  </a:lnTo>
                  <a:lnTo>
                    <a:pt x="528" y="243"/>
                  </a:lnTo>
                  <a:lnTo>
                    <a:pt x="528" y="244"/>
                  </a:lnTo>
                  <a:lnTo>
                    <a:pt x="526" y="245"/>
                  </a:lnTo>
                  <a:lnTo>
                    <a:pt x="526" y="247"/>
                  </a:lnTo>
                  <a:lnTo>
                    <a:pt x="526" y="248"/>
                  </a:lnTo>
                  <a:lnTo>
                    <a:pt x="524" y="250"/>
                  </a:lnTo>
                  <a:lnTo>
                    <a:pt x="523" y="250"/>
                  </a:lnTo>
                  <a:lnTo>
                    <a:pt x="522" y="250"/>
                  </a:lnTo>
                  <a:lnTo>
                    <a:pt x="522" y="251"/>
                  </a:lnTo>
                  <a:lnTo>
                    <a:pt x="521" y="251"/>
                  </a:lnTo>
                  <a:lnTo>
                    <a:pt x="519" y="252"/>
                  </a:lnTo>
                  <a:lnTo>
                    <a:pt x="517" y="255"/>
                  </a:lnTo>
                  <a:lnTo>
                    <a:pt x="516" y="255"/>
                  </a:lnTo>
                  <a:lnTo>
                    <a:pt x="516" y="256"/>
                  </a:lnTo>
                  <a:lnTo>
                    <a:pt x="515" y="257"/>
                  </a:lnTo>
                  <a:lnTo>
                    <a:pt x="515" y="258"/>
                  </a:lnTo>
                  <a:lnTo>
                    <a:pt x="514" y="259"/>
                  </a:lnTo>
                  <a:lnTo>
                    <a:pt x="513" y="258"/>
                  </a:lnTo>
                  <a:lnTo>
                    <a:pt x="512" y="258"/>
                  </a:lnTo>
                  <a:lnTo>
                    <a:pt x="513" y="258"/>
                  </a:lnTo>
                  <a:lnTo>
                    <a:pt x="513" y="259"/>
                  </a:lnTo>
                  <a:lnTo>
                    <a:pt x="514" y="259"/>
                  </a:lnTo>
                  <a:lnTo>
                    <a:pt x="514" y="261"/>
                  </a:lnTo>
                  <a:lnTo>
                    <a:pt x="513" y="262"/>
                  </a:lnTo>
                  <a:lnTo>
                    <a:pt x="513" y="263"/>
                  </a:lnTo>
                  <a:lnTo>
                    <a:pt x="512" y="264"/>
                  </a:lnTo>
                  <a:lnTo>
                    <a:pt x="510" y="264"/>
                  </a:lnTo>
                  <a:lnTo>
                    <a:pt x="512" y="263"/>
                  </a:lnTo>
                  <a:lnTo>
                    <a:pt x="512" y="262"/>
                  </a:lnTo>
                  <a:lnTo>
                    <a:pt x="513" y="262"/>
                  </a:lnTo>
                  <a:lnTo>
                    <a:pt x="512" y="262"/>
                  </a:lnTo>
                  <a:lnTo>
                    <a:pt x="512" y="261"/>
                  </a:lnTo>
                  <a:lnTo>
                    <a:pt x="512" y="262"/>
                  </a:lnTo>
                  <a:lnTo>
                    <a:pt x="512" y="261"/>
                  </a:lnTo>
                  <a:lnTo>
                    <a:pt x="512" y="262"/>
                  </a:lnTo>
                  <a:lnTo>
                    <a:pt x="512" y="263"/>
                  </a:lnTo>
                  <a:lnTo>
                    <a:pt x="510" y="263"/>
                  </a:lnTo>
                  <a:lnTo>
                    <a:pt x="510" y="264"/>
                  </a:lnTo>
                  <a:lnTo>
                    <a:pt x="510" y="263"/>
                  </a:lnTo>
                  <a:lnTo>
                    <a:pt x="510" y="264"/>
                  </a:lnTo>
                  <a:lnTo>
                    <a:pt x="509" y="264"/>
                  </a:lnTo>
                  <a:lnTo>
                    <a:pt x="509" y="263"/>
                  </a:lnTo>
                  <a:lnTo>
                    <a:pt x="509" y="264"/>
                  </a:lnTo>
                  <a:lnTo>
                    <a:pt x="510" y="264"/>
                  </a:lnTo>
                  <a:lnTo>
                    <a:pt x="510" y="265"/>
                  </a:lnTo>
                  <a:lnTo>
                    <a:pt x="509" y="265"/>
                  </a:lnTo>
                  <a:lnTo>
                    <a:pt x="509" y="266"/>
                  </a:lnTo>
                  <a:lnTo>
                    <a:pt x="510" y="266"/>
                  </a:lnTo>
                  <a:lnTo>
                    <a:pt x="510" y="265"/>
                  </a:lnTo>
                  <a:lnTo>
                    <a:pt x="512" y="265"/>
                  </a:lnTo>
                  <a:lnTo>
                    <a:pt x="510" y="266"/>
                  </a:lnTo>
                  <a:lnTo>
                    <a:pt x="509" y="269"/>
                  </a:lnTo>
                  <a:lnTo>
                    <a:pt x="509" y="270"/>
                  </a:lnTo>
                  <a:lnTo>
                    <a:pt x="509" y="271"/>
                  </a:lnTo>
                  <a:lnTo>
                    <a:pt x="508" y="272"/>
                  </a:lnTo>
                  <a:lnTo>
                    <a:pt x="508" y="273"/>
                  </a:lnTo>
                  <a:lnTo>
                    <a:pt x="507" y="275"/>
                  </a:lnTo>
                  <a:lnTo>
                    <a:pt x="507" y="276"/>
                  </a:lnTo>
                  <a:lnTo>
                    <a:pt x="506" y="278"/>
                  </a:lnTo>
                  <a:lnTo>
                    <a:pt x="505" y="279"/>
                  </a:lnTo>
                  <a:lnTo>
                    <a:pt x="503" y="282"/>
                  </a:lnTo>
                  <a:lnTo>
                    <a:pt x="503" y="283"/>
                  </a:lnTo>
                  <a:lnTo>
                    <a:pt x="502" y="284"/>
                  </a:lnTo>
                  <a:lnTo>
                    <a:pt x="501" y="285"/>
                  </a:lnTo>
                  <a:lnTo>
                    <a:pt x="500" y="286"/>
                  </a:lnTo>
                  <a:lnTo>
                    <a:pt x="499" y="287"/>
                  </a:lnTo>
                  <a:lnTo>
                    <a:pt x="499" y="289"/>
                  </a:lnTo>
                  <a:lnTo>
                    <a:pt x="498" y="289"/>
                  </a:lnTo>
                  <a:lnTo>
                    <a:pt x="498" y="290"/>
                  </a:lnTo>
                  <a:lnTo>
                    <a:pt x="496" y="290"/>
                  </a:lnTo>
                  <a:lnTo>
                    <a:pt x="495" y="290"/>
                  </a:lnTo>
                  <a:lnTo>
                    <a:pt x="496" y="289"/>
                  </a:lnTo>
                  <a:lnTo>
                    <a:pt x="496" y="287"/>
                  </a:lnTo>
                  <a:lnTo>
                    <a:pt x="496" y="286"/>
                  </a:lnTo>
                  <a:lnTo>
                    <a:pt x="496" y="285"/>
                  </a:lnTo>
                  <a:lnTo>
                    <a:pt x="495" y="285"/>
                  </a:lnTo>
                  <a:lnTo>
                    <a:pt x="494" y="285"/>
                  </a:lnTo>
                  <a:lnTo>
                    <a:pt x="494" y="284"/>
                  </a:lnTo>
                  <a:lnTo>
                    <a:pt x="493" y="284"/>
                  </a:lnTo>
                  <a:lnTo>
                    <a:pt x="493" y="283"/>
                  </a:lnTo>
                  <a:lnTo>
                    <a:pt x="493" y="284"/>
                  </a:lnTo>
                  <a:lnTo>
                    <a:pt x="493" y="285"/>
                  </a:lnTo>
                  <a:lnTo>
                    <a:pt x="492" y="286"/>
                  </a:lnTo>
                  <a:lnTo>
                    <a:pt x="492" y="287"/>
                  </a:lnTo>
                  <a:lnTo>
                    <a:pt x="492" y="286"/>
                  </a:lnTo>
                  <a:lnTo>
                    <a:pt x="491" y="286"/>
                  </a:lnTo>
                  <a:lnTo>
                    <a:pt x="491" y="285"/>
                  </a:lnTo>
                  <a:lnTo>
                    <a:pt x="492" y="284"/>
                  </a:lnTo>
                  <a:lnTo>
                    <a:pt x="491" y="284"/>
                  </a:lnTo>
                  <a:lnTo>
                    <a:pt x="491" y="285"/>
                  </a:lnTo>
                  <a:lnTo>
                    <a:pt x="491" y="286"/>
                  </a:lnTo>
                  <a:lnTo>
                    <a:pt x="491" y="287"/>
                  </a:lnTo>
                  <a:lnTo>
                    <a:pt x="492" y="287"/>
                  </a:lnTo>
                  <a:lnTo>
                    <a:pt x="493" y="287"/>
                  </a:lnTo>
                  <a:lnTo>
                    <a:pt x="493" y="289"/>
                  </a:lnTo>
                  <a:lnTo>
                    <a:pt x="492" y="290"/>
                  </a:lnTo>
                  <a:lnTo>
                    <a:pt x="492" y="291"/>
                  </a:lnTo>
                  <a:lnTo>
                    <a:pt x="491" y="291"/>
                  </a:lnTo>
                  <a:lnTo>
                    <a:pt x="492" y="292"/>
                  </a:lnTo>
                  <a:lnTo>
                    <a:pt x="491" y="292"/>
                  </a:lnTo>
                  <a:lnTo>
                    <a:pt x="491" y="293"/>
                  </a:lnTo>
                  <a:lnTo>
                    <a:pt x="491" y="294"/>
                  </a:lnTo>
                  <a:lnTo>
                    <a:pt x="489" y="294"/>
                  </a:lnTo>
                  <a:lnTo>
                    <a:pt x="491" y="296"/>
                  </a:lnTo>
                  <a:lnTo>
                    <a:pt x="489" y="296"/>
                  </a:lnTo>
                  <a:lnTo>
                    <a:pt x="489" y="294"/>
                  </a:lnTo>
                  <a:lnTo>
                    <a:pt x="488" y="296"/>
                  </a:lnTo>
                  <a:lnTo>
                    <a:pt x="488" y="297"/>
                  </a:lnTo>
                  <a:lnTo>
                    <a:pt x="488" y="298"/>
                  </a:lnTo>
                  <a:lnTo>
                    <a:pt x="488" y="299"/>
                  </a:lnTo>
                  <a:lnTo>
                    <a:pt x="488" y="298"/>
                  </a:lnTo>
                  <a:lnTo>
                    <a:pt x="488" y="297"/>
                  </a:lnTo>
                  <a:lnTo>
                    <a:pt x="489" y="297"/>
                  </a:lnTo>
                  <a:lnTo>
                    <a:pt x="489" y="298"/>
                  </a:lnTo>
                  <a:lnTo>
                    <a:pt x="489" y="299"/>
                  </a:lnTo>
                  <a:lnTo>
                    <a:pt x="491" y="300"/>
                  </a:lnTo>
                  <a:lnTo>
                    <a:pt x="489" y="300"/>
                  </a:lnTo>
                  <a:lnTo>
                    <a:pt x="489" y="301"/>
                  </a:lnTo>
                  <a:lnTo>
                    <a:pt x="489" y="303"/>
                  </a:lnTo>
                  <a:lnTo>
                    <a:pt x="491" y="303"/>
                  </a:lnTo>
                  <a:lnTo>
                    <a:pt x="489" y="303"/>
                  </a:lnTo>
                  <a:lnTo>
                    <a:pt x="489" y="301"/>
                  </a:lnTo>
                  <a:lnTo>
                    <a:pt x="488" y="301"/>
                  </a:lnTo>
                  <a:lnTo>
                    <a:pt x="488" y="300"/>
                  </a:lnTo>
                  <a:lnTo>
                    <a:pt x="488" y="301"/>
                  </a:lnTo>
                  <a:lnTo>
                    <a:pt x="489" y="301"/>
                  </a:lnTo>
                  <a:lnTo>
                    <a:pt x="489" y="303"/>
                  </a:lnTo>
                  <a:lnTo>
                    <a:pt x="489" y="304"/>
                  </a:lnTo>
                  <a:lnTo>
                    <a:pt x="489" y="305"/>
                  </a:lnTo>
                  <a:lnTo>
                    <a:pt x="491" y="305"/>
                  </a:lnTo>
                  <a:lnTo>
                    <a:pt x="491" y="306"/>
                  </a:lnTo>
                  <a:lnTo>
                    <a:pt x="489" y="306"/>
                  </a:lnTo>
                  <a:lnTo>
                    <a:pt x="489" y="307"/>
                  </a:lnTo>
                  <a:lnTo>
                    <a:pt x="489" y="308"/>
                  </a:lnTo>
                  <a:lnTo>
                    <a:pt x="489" y="307"/>
                  </a:lnTo>
                  <a:lnTo>
                    <a:pt x="491" y="306"/>
                  </a:lnTo>
                  <a:lnTo>
                    <a:pt x="491" y="305"/>
                  </a:lnTo>
                  <a:lnTo>
                    <a:pt x="491" y="304"/>
                  </a:lnTo>
                  <a:lnTo>
                    <a:pt x="491" y="305"/>
                  </a:lnTo>
                  <a:lnTo>
                    <a:pt x="491" y="307"/>
                  </a:lnTo>
                  <a:lnTo>
                    <a:pt x="491" y="308"/>
                  </a:lnTo>
                  <a:lnTo>
                    <a:pt x="491" y="310"/>
                  </a:lnTo>
                  <a:lnTo>
                    <a:pt x="491" y="311"/>
                  </a:lnTo>
                  <a:lnTo>
                    <a:pt x="491" y="312"/>
                  </a:lnTo>
                  <a:lnTo>
                    <a:pt x="489" y="313"/>
                  </a:lnTo>
                  <a:lnTo>
                    <a:pt x="489" y="314"/>
                  </a:lnTo>
                  <a:lnTo>
                    <a:pt x="489" y="315"/>
                  </a:lnTo>
                  <a:lnTo>
                    <a:pt x="489" y="318"/>
                  </a:lnTo>
                  <a:lnTo>
                    <a:pt x="491" y="318"/>
                  </a:lnTo>
                  <a:lnTo>
                    <a:pt x="489" y="318"/>
                  </a:lnTo>
                  <a:lnTo>
                    <a:pt x="491" y="318"/>
                  </a:lnTo>
                  <a:lnTo>
                    <a:pt x="491" y="319"/>
                  </a:lnTo>
                  <a:lnTo>
                    <a:pt x="491" y="320"/>
                  </a:lnTo>
                  <a:lnTo>
                    <a:pt x="491" y="325"/>
                  </a:lnTo>
                  <a:lnTo>
                    <a:pt x="491" y="326"/>
                  </a:lnTo>
                  <a:lnTo>
                    <a:pt x="492" y="327"/>
                  </a:lnTo>
                  <a:lnTo>
                    <a:pt x="492" y="331"/>
                  </a:lnTo>
                  <a:lnTo>
                    <a:pt x="492" y="333"/>
                  </a:lnTo>
                  <a:lnTo>
                    <a:pt x="493" y="333"/>
                  </a:lnTo>
                  <a:lnTo>
                    <a:pt x="493" y="334"/>
                  </a:lnTo>
                  <a:lnTo>
                    <a:pt x="493" y="335"/>
                  </a:lnTo>
                  <a:lnTo>
                    <a:pt x="493" y="336"/>
                  </a:lnTo>
                  <a:lnTo>
                    <a:pt x="493" y="338"/>
                  </a:lnTo>
                  <a:lnTo>
                    <a:pt x="492" y="338"/>
                  </a:lnTo>
                  <a:lnTo>
                    <a:pt x="492" y="339"/>
                  </a:lnTo>
                  <a:lnTo>
                    <a:pt x="492" y="340"/>
                  </a:lnTo>
                  <a:lnTo>
                    <a:pt x="492" y="341"/>
                  </a:lnTo>
                  <a:lnTo>
                    <a:pt x="492" y="342"/>
                  </a:lnTo>
                  <a:lnTo>
                    <a:pt x="492" y="343"/>
                  </a:lnTo>
                  <a:lnTo>
                    <a:pt x="491" y="343"/>
                  </a:lnTo>
                  <a:lnTo>
                    <a:pt x="491" y="345"/>
                  </a:lnTo>
                  <a:lnTo>
                    <a:pt x="491" y="347"/>
                  </a:lnTo>
                  <a:lnTo>
                    <a:pt x="491" y="349"/>
                  </a:lnTo>
                  <a:lnTo>
                    <a:pt x="491" y="350"/>
                  </a:lnTo>
                  <a:lnTo>
                    <a:pt x="491" y="352"/>
                  </a:lnTo>
                  <a:lnTo>
                    <a:pt x="489" y="354"/>
                  </a:lnTo>
                  <a:lnTo>
                    <a:pt x="489" y="355"/>
                  </a:lnTo>
                  <a:lnTo>
                    <a:pt x="489" y="357"/>
                  </a:lnTo>
                  <a:lnTo>
                    <a:pt x="489" y="359"/>
                  </a:lnTo>
                  <a:lnTo>
                    <a:pt x="489" y="360"/>
                  </a:lnTo>
                  <a:lnTo>
                    <a:pt x="491" y="362"/>
                  </a:lnTo>
                  <a:lnTo>
                    <a:pt x="491" y="363"/>
                  </a:lnTo>
                  <a:lnTo>
                    <a:pt x="491" y="364"/>
                  </a:lnTo>
                  <a:lnTo>
                    <a:pt x="489" y="366"/>
                  </a:lnTo>
                  <a:lnTo>
                    <a:pt x="489" y="367"/>
                  </a:lnTo>
                  <a:lnTo>
                    <a:pt x="488" y="367"/>
                  </a:lnTo>
                  <a:lnTo>
                    <a:pt x="487" y="368"/>
                  </a:lnTo>
                  <a:lnTo>
                    <a:pt x="486" y="369"/>
                  </a:lnTo>
                  <a:lnTo>
                    <a:pt x="485" y="371"/>
                  </a:lnTo>
                  <a:lnTo>
                    <a:pt x="485" y="373"/>
                  </a:lnTo>
                  <a:lnTo>
                    <a:pt x="484" y="374"/>
                  </a:lnTo>
                  <a:lnTo>
                    <a:pt x="484" y="377"/>
                  </a:lnTo>
                  <a:lnTo>
                    <a:pt x="484" y="380"/>
                  </a:lnTo>
                  <a:lnTo>
                    <a:pt x="484" y="383"/>
                  </a:lnTo>
                  <a:lnTo>
                    <a:pt x="484" y="385"/>
                  </a:lnTo>
                  <a:lnTo>
                    <a:pt x="485" y="388"/>
                  </a:lnTo>
                  <a:lnTo>
                    <a:pt x="485" y="390"/>
                  </a:lnTo>
                  <a:lnTo>
                    <a:pt x="485" y="391"/>
                  </a:lnTo>
                  <a:lnTo>
                    <a:pt x="484" y="394"/>
                  </a:lnTo>
                  <a:lnTo>
                    <a:pt x="484" y="395"/>
                  </a:lnTo>
                  <a:lnTo>
                    <a:pt x="481" y="396"/>
                  </a:lnTo>
                  <a:lnTo>
                    <a:pt x="480" y="397"/>
                  </a:lnTo>
                  <a:lnTo>
                    <a:pt x="480" y="398"/>
                  </a:lnTo>
                  <a:lnTo>
                    <a:pt x="480" y="399"/>
                  </a:lnTo>
                  <a:lnTo>
                    <a:pt x="479" y="399"/>
                  </a:lnTo>
                  <a:lnTo>
                    <a:pt x="479" y="401"/>
                  </a:lnTo>
                  <a:lnTo>
                    <a:pt x="479" y="402"/>
                  </a:lnTo>
                  <a:lnTo>
                    <a:pt x="479" y="403"/>
                  </a:lnTo>
                  <a:lnTo>
                    <a:pt x="479" y="404"/>
                  </a:lnTo>
                  <a:lnTo>
                    <a:pt x="478" y="404"/>
                  </a:lnTo>
                  <a:lnTo>
                    <a:pt x="478" y="405"/>
                  </a:lnTo>
                  <a:lnTo>
                    <a:pt x="478" y="404"/>
                  </a:lnTo>
                  <a:lnTo>
                    <a:pt x="477" y="404"/>
                  </a:lnTo>
                  <a:lnTo>
                    <a:pt x="477" y="405"/>
                  </a:lnTo>
                  <a:lnTo>
                    <a:pt x="478" y="405"/>
                  </a:lnTo>
                  <a:lnTo>
                    <a:pt x="478" y="406"/>
                  </a:lnTo>
                  <a:lnTo>
                    <a:pt x="477" y="408"/>
                  </a:lnTo>
                  <a:lnTo>
                    <a:pt x="477" y="409"/>
                  </a:lnTo>
                  <a:lnTo>
                    <a:pt x="477" y="410"/>
                  </a:lnTo>
                  <a:lnTo>
                    <a:pt x="476" y="410"/>
                  </a:lnTo>
                  <a:lnTo>
                    <a:pt x="476" y="411"/>
                  </a:lnTo>
                  <a:lnTo>
                    <a:pt x="474" y="411"/>
                  </a:lnTo>
                  <a:lnTo>
                    <a:pt x="474" y="412"/>
                  </a:lnTo>
                  <a:lnTo>
                    <a:pt x="474" y="413"/>
                  </a:lnTo>
                  <a:lnTo>
                    <a:pt x="473" y="413"/>
                  </a:lnTo>
                  <a:lnTo>
                    <a:pt x="472" y="413"/>
                  </a:lnTo>
                  <a:lnTo>
                    <a:pt x="472" y="415"/>
                  </a:lnTo>
                  <a:lnTo>
                    <a:pt x="471" y="415"/>
                  </a:lnTo>
                  <a:lnTo>
                    <a:pt x="471" y="416"/>
                  </a:lnTo>
                  <a:lnTo>
                    <a:pt x="471" y="417"/>
                  </a:lnTo>
                  <a:lnTo>
                    <a:pt x="471" y="418"/>
                  </a:lnTo>
                  <a:lnTo>
                    <a:pt x="470" y="419"/>
                  </a:lnTo>
                  <a:lnTo>
                    <a:pt x="470" y="420"/>
                  </a:lnTo>
                  <a:lnTo>
                    <a:pt x="470" y="422"/>
                  </a:lnTo>
                  <a:lnTo>
                    <a:pt x="470" y="423"/>
                  </a:lnTo>
                  <a:lnTo>
                    <a:pt x="469" y="423"/>
                  </a:lnTo>
                  <a:lnTo>
                    <a:pt x="469" y="424"/>
                  </a:lnTo>
                  <a:lnTo>
                    <a:pt x="469" y="425"/>
                  </a:lnTo>
                  <a:lnTo>
                    <a:pt x="469" y="426"/>
                  </a:lnTo>
                  <a:lnTo>
                    <a:pt x="469" y="427"/>
                  </a:lnTo>
                  <a:lnTo>
                    <a:pt x="470" y="429"/>
                  </a:lnTo>
                  <a:lnTo>
                    <a:pt x="470" y="431"/>
                  </a:lnTo>
                  <a:lnTo>
                    <a:pt x="470" y="432"/>
                  </a:lnTo>
                  <a:lnTo>
                    <a:pt x="467" y="433"/>
                  </a:lnTo>
                  <a:lnTo>
                    <a:pt x="466" y="434"/>
                  </a:lnTo>
                  <a:lnTo>
                    <a:pt x="465" y="434"/>
                  </a:lnTo>
                  <a:lnTo>
                    <a:pt x="464" y="436"/>
                  </a:lnTo>
                  <a:lnTo>
                    <a:pt x="463" y="436"/>
                  </a:lnTo>
                  <a:lnTo>
                    <a:pt x="460" y="437"/>
                  </a:lnTo>
                  <a:lnTo>
                    <a:pt x="459" y="437"/>
                  </a:lnTo>
                  <a:lnTo>
                    <a:pt x="459" y="438"/>
                  </a:lnTo>
                  <a:lnTo>
                    <a:pt x="458" y="439"/>
                  </a:lnTo>
                  <a:lnTo>
                    <a:pt x="458" y="440"/>
                  </a:lnTo>
                  <a:lnTo>
                    <a:pt x="457" y="440"/>
                  </a:lnTo>
                  <a:lnTo>
                    <a:pt x="457" y="441"/>
                  </a:lnTo>
                  <a:lnTo>
                    <a:pt x="457" y="443"/>
                  </a:lnTo>
                  <a:lnTo>
                    <a:pt x="457" y="444"/>
                  </a:lnTo>
                  <a:lnTo>
                    <a:pt x="458" y="444"/>
                  </a:lnTo>
                  <a:lnTo>
                    <a:pt x="458" y="445"/>
                  </a:lnTo>
                  <a:lnTo>
                    <a:pt x="457" y="445"/>
                  </a:lnTo>
                  <a:lnTo>
                    <a:pt x="457" y="446"/>
                  </a:lnTo>
                  <a:lnTo>
                    <a:pt x="457" y="447"/>
                  </a:lnTo>
                  <a:lnTo>
                    <a:pt x="456" y="447"/>
                  </a:lnTo>
                  <a:lnTo>
                    <a:pt x="455" y="447"/>
                  </a:lnTo>
                  <a:lnTo>
                    <a:pt x="452" y="447"/>
                  </a:lnTo>
                  <a:lnTo>
                    <a:pt x="450" y="447"/>
                  </a:lnTo>
                  <a:lnTo>
                    <a:pt x="449" y="447"/>
                  </a:lnTo>
                  <a:lnTo>
                    <a:pt x="448" y="447"/>
                  </a:lnTo>
                  <a:lnTo>
                    <a:pt x="446" y="447"/>
                  </a:lnTo>
                  <a:lnTo>
                    <a:pt x="445" y="447"/>
                  </a:lnTo>
                  <a:lnTo>
                    <a:pt x="444" y="447"/>
                  </a:lnTo>
                  <a:lnTo>
                    <a:pt x="443" y="447"/>
                  </a:lnTo>
                  <a:lnTo>
                    <a:pt x="442" y="447"/>
                  </a:lnTo>
                  <a:lnTo>
                    <a:pt x="442" y="446"/>
                  </a:lnTo>
                  <a:lnTo>
                    <a:pt x="442" y="445"/>
                  </a:lnTo>
                  <a:lnTo>
                    <a:pt x="443" y="444"/>
                  </a:lnTo>
                  <a:lnTo>
                    <a:pt x="442" y="444"/>
                  </a:lnTo>
                  <a:lnTo>
                    <a:pt x="443" y="444"/>
                  </a:lnTo>
                  <a:lnTo>
                    <a:pt x="443" y="443"/>
                  </a:lnTo>
                  <a:lnTo>
                    <a:pt x="442" y="443"/>
                  </a:lnTo>
                  <a:lnTo>
                    <a:pt x="441" y="443"/>
                  </a:lnTo>
                  <a:lnTo>
                    <a:pt x="441" y="444"/>
                  </a:lnTo>
                  <a:lnTo>
                    <a:pt x="439" y="444"/>
                  </a:lnTo>
                  <a:lnTo>
                    <a:pt x="439" y="445"/>
                  </a:lnTo>
                  <a:lnTo>
                    <a:pt x="441" y="445"/>
                  </a:lnTo>
                  <a:lnTo>
                    <a:pt x="441" y="446"/>
                  </a:lnTo>
                  <a:lnTo>
                    <a:pt x="441" y="447"/>
                  </a:lnTo>
                  <a:lnTo>
                    <a:pt x="442" y="447"/>
                  </a:lnTo>
                  <a:lnTo>
                    <a:pt x="441" y="447"/>
                  </a:lnTo>
                  <a:lnTo>
                    <a:pt x="437" y="448"/>
                  </a:lnTo>
                  <a:lnTo>
                    <a:pt x="436" y="448"/>
                  </a:lnTo>
                  <a:lnTo>
                    <a:pt x="435" y="448"/>
                  </a:lnTo>
                  <a:lnTo>
                    <a:pt x="431" y="448"/>
                  </a:lnTo>
                  <a:lnTo>
                    <a:pt x="430" y="448"/>
                  </a:lnTo>
                  <a:lnTo>
                    <a:pt x="430" y="450"/>
                  </a:lnTo>
                  <a:lnTo>
                    <a:pt x="430" y="448"/>
                  </a:lnTo>
                  <a:lnTo>
                    <a:pt x="431" y="448"/>
                  </a:lnTo>
                  <a:lnTo>
                    <a:pt x="432" y="448"/>
                  </a:lnTo>
                  <a:lnTo>
                    <a:pt x="434" y="448"/>
                  </a:lnTo>
                  <a:lnTo>
                    <a:pt x="435" y="448"/>
                  </a:lnTo>
                  <a:lnTo>
                    <a:pt x="435" y="447"/>
                  </a:lnTo>
                  <a:lnTo>
                    <a:pt x="434" y="447"/>
                  </a:lnTo>
                  <a:lnTo>
                    <a:pt x="432" y="446"/>
                  </a:lnTo>
                  <a:lnTo>
                    <a:pt x="431" y="446"/>
                  </a:lnTo>
                  <a:lnTo>
                    <a:pt x="430" y="446"/>
                  </a:lnTo>
                  <a:lnTo>
                    <a:pt x="430" y="447"/>
                  </a:lnTo>
                  <a:lnTo>
                    <a:pt x="429" y="447"/>
                  </a:lnTo>
                  <a:lnTo>
                    <a:pt x="428" y="448"/>
                  </a:lnTo>
                  <a:lnTo>
                    <a:pt x="427" y="448"/>
                  </a:lnTo>
                  <a:lnTo>
                    <a:pt x="427" y="447"/>
                  </a:lnTo>
                  <a:lnTo>
                    <a:pt x="425" y="447"/>
                  </a:lnTo>
                  <a:lnTo>
                    <a:pt x="425" y="448"/>
                  </a:lnTo>
                  <a:lnTo>
                    <a:pt x="425" y="447"/>
                  </a:lnTo>
                  <a:lnTo>
                    <a:pt x="425" y="448"/>
                  </a:lnTo>
                  <a:lnTo>
                    <a:pt x="425" y="447"/>
                  </a:lnTo>
                  <a:lnTo>
                    <a:pt x="424" y="447"/>
                  </a:lnTo>
                  <a:lnTo>
                    <a:pt x="425" y="447"/>
                  </a:lnTo>
                  <a:lnTo>
                    <a:pt x="425" y="446"/>
                  </a:lnTo>
                  <a:lnTo>
                    <a:pt x="424" y="446"/>
                  </a:lnTo>
                  <a:lnTo>
                    <a:pt x="424" y="447"/>
                  </a:lnTo>
                  <a:lnTo>
                    <a:pt x="423" y="447"/>
                  </a:lnTo>
                  <a:lnTo>
                    <a:pt x="424" y="447"/>
                  </a:lnTo>
                  <a:lnTo>
                    <a:pt x="423" y="448"/>
                  </a:lnTo>
                  <a:lnTo>
                    <a:pt x="422" y="448"/>
                  </a:lnTo>
                  <a:lnTo>
                    <a:pt x="421" y="448"/>
                  </a:lnTo>
                  <a:lnTo>
                    <a:pt x="421" y="450"/>
                  </a:lnTo>
                  <a:lnTo>
                    <a:pt x="420" y="451"/>
                  </a:lnTo>
                  <a:lnTo>
                    <a:pt x="421" y="451"/>
                  </a:lnTo>
                  <a:lnTo>
                    <a:pt x="422" y="451"/>
                  </a:lnTo>
                  <a:lnTo>
                    <a:pt x="421" y="452"/>
                  </a:lnTo>
                  <a:lnTo>
                    <a:pt x="422" y="452"/>
                  </a:lnTo>
                  <a:lnTo>
                    <a:pt x="421" y="452"/>
                  </a:lnTo>
                  <a:lnTo>
                    <a:pt x="422" y="452"/>
                  </a:lnTo>
                  <a:lnTo>
                    <a:pt x="423" y="452"/>
                  </a:lnTo>
                  <a:lnTo>
                    <a:pt x="423" y="453"/>
                  </a:lnTo>
                  <a:lnTo>
                    <a:pt x="422" y="453"/>
                  </a:lnTo>
                  <a:lnTo>
                    <a:pt x="421" y="453"/>
                  </a:lnTo>
                  <a:lnTo>
                    <a:pt x="420" y="453"/>
                  </a:lnTo>
                  <a:lnTo>
                    <a:pt x="420" y="454"/>
                  </a:lnTo>
                  <a:lnTo>
                    <a:pt x="420" y="453"/>
                  </a:lnTo>
                  <a:lnTo>
                    <a:pt x="420" y="454"/>
                  </a:lnTo>
                  <a:lnTo>
                    <a:pt x="418" y="454"/>
                  </a:lnTo>
                  <a:lnTo>
                    <a:pt x="418" y="453"/>
                  </a:lnTo>
                  <a:lnTo>
                    <a:pt x="417" y="453"/>
                  </a:lnTo>
                  <a:lnTo>
                    <a:pt x="417" y="454"/>
                  </a:lnTo>
                  <a:lnTo>
                    <a:pt x="416" y="454"/>
                  </a:lnTo>
                  <a:lnTo>
                    <a:pt x="416" y="455"/>
                  </a:lnTo>
                  <a:lnTo>
                    <a:pt x="415" y="455"/>
                  </a:lnTo>
                  <a:lnTo>
                    <a:pt x="415" y="457"/>
                  </a:lnTo>
                  <a:lnTo>
                    <a:pt x="414" y="457"/>
                  </a:lnTo>
                  <a:lnTo>
                    <a:pt x="413" y="457"/>
                  </a:lnTo>
                  <a:lnTo>
                    <a:pt x="413" y="458"/>
                  </a:lnTo>
                  <a:lnTo>
                    <a:pt x="412" y="458"/>
                  </a:lnTo>
                  <a:lnTo>
                    <a:pt x="412" y="459"/>
                  </a:lnTo>
                  <a:lnTo>
                    <a:pt x="412" y="460"/>
                  </a:lnTo>
                  <a:lnTo>
                    <a:pt x="412" y="461"/>
                  </a:lnTo>
                  <a:lnTo>
                    <a:pt x="410" y="461"/>
                  </a:lnTo>
                  <a:lnTo>
                    <a:pt x="409" y="460"/>
                  </a:lnTo>
                  <a:lnTo>
                    <a:pt x="408" y="460"/>
                  </a:lnTo>
                  <a:lnTo>
                    <a:pt x="407" y="460"/>
                  </a:lnTo>
                  <a:lnTo>
                    <a:pt x="406" y="460"/>
                  </a:lnTo>
                  <a:lnTo>
                    <a:pt x="405" y="460"/>
                  </a:lnTo>
                  <a:lnTo>
                    <a:pt x="403" y="460"/>
                  </a:lnTo>
                  <a:lnTo>
                    <a:pt x="403" y="461"/>
                  </a:lnTo>
                  <a:lnTo>
                    <a:pt x="402" y="461"/>
                  </a:lnTo>
                  <a:lnTo>
                    <a:pt x="401" y="461"/>
                  </a:lnTo>
                  <a:lnTo>
                    <a:pt x="401" y="462"/>
                  </a:lnTo>
                  <a:lnTo>
                    <a:pt x="400" y="462"/>
                  </a:lnTo>
                  <a:lnTo>
                    <a:pt x="401" y="462"/>
                  </a:lnTo>
                  <a:lnTo>
                    <a:pt x="401" y="461"/>
                  </a:lnTo>
                  <a:lnTo>
                    <a:pt x="402" y="461"/>
                  </a:lnTo>
                  <a:lnTo>
                    <a:pt x="401" y="462"/>
                  </a:lnTo>
                  <a:lnTo>
                    <a:pt x="401" y="464"/>
                  </a:lnTo>
                  <a:lnTo>
                    <a:pt x="400" y="464"/>
                  </a:lnTo>
                  <a:lnTo>
                    <a:pt x="400" y="462"/>
                  </a:lnTo>
                  <a:lnTo>
                    <a:pt x="399" y="462"/>
                  </a:lnTo>
                  <a:lnTo>
                    <a:pt x="399" y="461"/>
                  </a:lnTo>
                  <a:lnTo>
                    <a:pt x="399" y="462"/>
                  </a:lnTo>
                  <a:lnTo>
                    <a:pt x="398" y="462"/>
                  </a:lnTo>
                  <a:lnTo>
                    <a:pt x="398" y="464"/>
                  </a:lnTo>
                  <a:lnTo>
                    <a:pt x="399" y="464"/>
                  </a:lnTo>
                  <a:lnTo>
                    <a:pt x="398" y="465"/>
                  </a:lnTo>
                  <a:lnTo>
                    <a:pt x="395" y="465"/>
                  </a:lnTo>
                  <a:lnTo>
                    <a:pt x="394" y="466"/>
                  </a:lnTo>
                  <a:lnTo>
                    <a:pt x="393" y="467"/>
                  </a:lnTo>
                  <a:lnTo>
                    <a:pt x="392" y="468"/>
                  </a:lnTo>
                  <a:lnTo>
                    <a:pt x="391" y="468"/>
                  </a:lnTo>
                  <a:lnTo>
                    <a:pt x="391" y="469"/>
                  </a:lnTo>
                  <a:lnTo>
                    <a:pt x="391" y="471"/>
                  </a:lnTo>
                  <a:lnTo>
                    <a:pt x="389" y="471"/>
                  </a:lnTo>
                  <a:lnTo>
                    <a:pt x="389" y="472"/>
                  </a:lnTo>
                  <a:lnTo>
                    <a:pt x="388" y="472"/>
                  </a:lnTo>
                  <a:lnTo>
                    <a:pt x="385" y="474"/>
                  </a:lnTo>
                  <a:lnTo>
                    <a:pt x="384" y="474"/>
                  </a:lnTo>
                  <a:lnTo>
                    <a:pt x="384" y="475"/>
                  </a:lnTo>
                  <a:lnTo>
                    <a:pt x="382" y="475"/>
                  </a:lnTo>
                  <a:lnTo>
                    <a:pt x="380" y="478"/>
                  </a:lnTo>
                  <a:lnTo>
                    <a:pt x="380" y="479"/>
                  </a:lnTo>
                  <a:lnTo>
                    <a:pt x="379" y="479"/>
                  </a:lnTo>
                  <a:lnTo>
                    <a:pt x="379" y="480"/>
                  </a:lnTo>
                  <a:lnTo>
                    <a:pt x="378" y="480"/>
                  </a:lnTo>
                  <a:lnTo>
                    <a:pt x="379" y="480"/>
                  </a:lnTo>
                  <a:lnTo>
                    <a:pt x="378" y="480"/>
                  </a:lnTo>
                  <a:lnTo>
                    <a:pt x="377" y="480"/>
                  </a:lnTo>
                  <a:lnTo>
                    <a:pt x="378" y="480"/>
                  </a:lnTo>
                  <a:lnTo>
                    <a:pt x="378" y="481"/>
                  </a:lnTo>
                  <a:lnTo>
                    <a:pt x="379" y="481"/>
                  </a:lnTo>
                  <a:lnTo>
                    <a:pt x="379" y="480"/>
                  </a:lnTo>
                  <a:lnTo>
                    <a:pt x="379" y="482"/>
                  </a:lnTo>
                  <a:lnTo>
                    <a:pt x="378" y="482"/>
                  </a:lnTo>
                  <a:lnTo>
                    <a:pt x="378" y="483"/>
                  </a:lnTo>
                  <a:lnTo>
                    <a:pt x="378" y="485"/>
                  </a:lnTo>
                  <a:lnTo>
                    <a:pt x="377" y="485"/>
                  </a:lnTo>
                  <a:lnTo>
                    <a:pt x="377" y="486"/>
                  </a:lnTo>
                  <a:lnTo>
                    <a:pt x="375" y="486"/>
                  </a:lnTo>
                  <a:lnTo>
                    <a:pt x="375" y="487"/>
                  </a:lnTo>
                  <a:lnTo>
                    <a:pt x="375" y="486"/>
                  </a:lnTo>
                  <a:lnTo>
                    <a:pt x="375" y="485"/>
                  </a:lnTo>
                  <a:lnTo>
                    <a:pt x="377" y="483"/>
                  </a:lnTo>
                  <a:lnTo>
                    <a:pt x="375" y="485"/>
                  </a:lnTo>
                  <a:lnTo>
                    <a:pt x="374" y="485"/>
                  </a:lnTo>
                  <a:lnTo>
                    <a:pt x="374" y="483"/>
                  </a:lnTo>
                  <a:lnTo>
                    <a:pt x="374" y="485"/>
                  </a:lnTo>
                  <a:lnTo>
                    <a:pt x="374" y="483"/>
                  </a:lnTo>
                  <a:lnTo>
                    <a:pt x="373" y="483"/>
                  </a:lnTo>
                  <a:lnTo>
                    <a:pt x="373" y="485"/>
                  </a:lnTo>
                  <a:lnTo>
                    <a:pt x="373" y="483"/>
                  </a:lnTo>
                  <a:lnTo>
                    <a:pt x="372" y="483"/>
                  </a:lnTo>
                  <a:lnTo>
                    <a:pt x="372" y="485"/>
                  </a:lnTo>
                  <a:lnTo>
                    <a:pt x="372" y="486"/>
                  </a:lnTo>
                  <a:lnTo>
                    <a:pt x="373" y="486"/>
                  </a:lnTo>
                  <a:lnTo>
                    <a:pt x="372" y="486"/>
                  </a:lnTo>
                  <a:lnTo>
                    <a:pt x="372" y="487"/>
                  </a:lnTo>
                  <a:lnTo>
                    <a:pt x="371" y="487"/>
                  </a:lnTo>
                  <a:lnTo>
                    <a:pt x="370" y="487"/>
                  </a:lnTo>
                  <a:lnTo>
                    <a:pt x="370" y="486"/>
                  </a:lnTo>
                  <a:lnTo>
                    <a:pt x="368" y="485"/>
                  </a:lnTo>
                  <a:lnTo>
                    <a:pt x="368" y="486"/>
                  </a:lnTo>
                  <a:lnTo>
                    <a:pt x="368" y="487"/>
                  </a:lnTo>
                  <a:lnTo>
                    <a:pt x="370" y="487"/>
                  </a:lnTo>
                  <a:lnTo>
                    <a:pt x="368" y="487"/>
                  </a:lnTo>
                  <a:lnTo>
                    <a:pt x="370" y="487"/>
                  </a:lnTo>
                  <a:lnTo>
                    <a:pt x="370" y="488"/>
                  </a:lnTo>
                  <a:lnTo>
                    <a:pt x="371" y="488"/>
                  </a:lnTo>
                  <a:lnTo>
                    <a:pt x="372" y="488"/>
                  </a:lnTo>
                  <a:lnTo>
                    <a:pt x="373" y="488"/>
                  </a:lnTo>
                  <a:lnTo>
                    <a:pt x="374" y="488"/>
                  </a:lnTo>
                  <a:lnTo>
                    <a:pt x="373" y="489"/>
                  </a:lnTo>
                  <a:lnTo>
                    <a:pt x="372" y="491"/>
                  </a:lnTo>
                  <a:lnTo>
                    <a:pt x="372" y="493"/>
                  </a:lnTo>
                  <a:lnTo>
                    <a:pt x="371" y="493"/>
                  </a:lnTo>
                  <a:lnTo>
                    <a:pt x="371" y="491"/>
                  </a:lnTo>
                  <a:lnTo>
                    <a:pt x="371" y="493"/>
                  </a:lnTo>
                  <a:lnTo>
                    <a:pt x="370" y="493"/>
                  </a:lnTo>
                  <a:lnTo>
                    <a:pt x="368" y="493"/>
                  </a:lnTo>
                  <a:lnTo>
                    <a:pt x="368" y="494"/>
                  </a:lnTo>
                  <a:lnTo>
                    <a:pt x="368" y="493"/>
                  </a:lnTo>
                  <a:lnTo>
                    <a:pt x="370" y="493"/>
                  </a:lnTo>
                  <a:lnTo>
                    <a:pt x="371" y="493"/>
                  </a:lnTo>
                  <a:lnTo>
                    <a:pt x="372" y="493"/>
                  </a:lnTo>
                  <a:lnTo>
                    <a:pt x="372" y="494"/>
                  </a:lnTo>
                  <a:lnTo>
                    <a:pt x="372" y="495"/>
                  </a:lnTo>
                  <a:lnTo>
                    <a:pt x="371" y="495"/>
                  </a:lnTo>
                  <a:lnTo>
                    <a:pt x="371" y="496"/>
                  </a:lnTo>
                  <a:lnTo>
                    <a:pt x="372" y="497"/>
                  </a:lnTo>
                  <a:lnTo>
                    <a:pt x="372" y="498"/>
                  </a:lnTo>
                  <a:lnTo>
                    <a:pt x="371" y="498"/>
                  </a:lnTo>
                  <a:lnTo>
                    <a:pt x="370" y="498"/>
                  </a:lnTo>
                  <a:lnTo>
                    <a:pt x="370" y="497"/>
                  </a:lnTo>
                  <a:lnTo>
                    <a:pt x="370" y="496"/>
                  </a:lnTo>
                  <a:lnTo>
                    <a:pt x="368" y="496"/>
                  </a:lnTo>
                  <a:lnTo>
                    <a:pt x="368" y="497"/>
                  </a:lnTo>
                  <a:lnTo>
                    <a:pt x="370" y="497"/>
                  </a:lnTo>
                  <a:lnTo>
                    <a:pt x="370" y="498"/>
                  </a:lnTo>
                  <a:lnTo>
                    <a:pt x="370" y="500"/>
                  </a:lnTo>
                  <a:lnTo>
                    <a:pt x="368" y="500"/>
                  </a:lnTo>
                  <a:lnTo>
                    <a:pt x="370" y="500"/>
                  </a:lnTo>
                  <a:lnTo>
                    <a:pt x="370" y="501"/>
                  </a:lnTo>
                  <a:lnTo>
                    <a:pt x="371" y="501"/>
                  </a:lnTo>
                  <a:lnTo>
                    <a:pt x="371" y="502"/>
                  </a:lnTo>
                  <a:lnTo>
                    <a:pt x="372" y="502"/>
                  </a:lnTo>
                  <a:lnTo>
                    <a:pt x="371" y="504"/>
                  </a:lnTo>
                  <a:lnTo>
                    <a:pt x="371" y="505"/>
                  </a:lnTo>
                  <a:lnTo>
                    <a:pt x="371" y="507"/>
                  </a:lnTo>
                  <a:lnTo>
                    <a:pt x="372" y="507"/>
                  </a:lnTo>
                  <a:lnTo>
                    <a:pt x="372" y="508"/>
                  </a:lnTo>
                  <a:lnTo>
                    <a:pt x="373" y="507"/>
                  </a:lnTo>
                  <a:lnTo>
                    <a:pt x="373" y="508"/>
                  </a:lnTo>
                  <a:lnTo>
                    <a:pt x="372" y="508"/>
                  </a:lnTo>
                  <a:lnTo>
                    <a:pt x="372" y="509"/>
                  </a:lnTo>
                  <a:lnTo>
                    <a:pt x="373" y="510"/>
                  </a:lnTo>
                  <a:lnTo>
                    <a:pt x="372" y="510"/>
                  </a:lnTo>
                  <a:lnTo>
                    <a:pt x="373" y="510"/>
                  </a:lnTo>
                  <a:lnTo>
                    <a:pt x="373" y="511"/>
                  </a:lnTo>
                  <a:lnTo>
                    <a:pt x="373" y="512"/>
                  </a:lnTo>
                  <a:lnTo>
                    <a:pt x="373" y="514"/>
                  </a:lnTo>
                  <a:lnTo>
                    <a:pt x="374" y="514"/>
                  </a:lnTo>
                  <a:lnTo>
                    <a:pt x="374" y="512"/>
                  </a:lnTo>
                  <a:lnTo>
                    <a:pt x="374" y="514"/>
                  </a:lnTo>
                  <a:lnTo>
                    <a:pt x="374" y="515"/>
                  </a:lnTo>
                  <a:lnTo>
                    <a:pt x="374" y="514"/>
                  </a:lnTo>
                  <a:lnTo>
                    <a:pt x="373" y="514"/>
                  </a:lnTo>
                  <a:lnTo>
                    <a:pt x="373" y="515"/>
                  </a:lnTo>
                  <a:lnTo>
                    <a:pt x="373" y="516"/>
                  </a:lnTo>
                  <a:lnTo>
                    <a:pt x="374" y="516"/>
                  </a:lnTo>
                  <a:lnTo>
                    <a:pt x="374" y="517"/>
                  </a:lnTo>
                  <a:lnTo>
                    <a:pt x="373" y="517"/>
                  </a:lnTo>
                  <a:lnTo>
                    <a:pt x="373" y="518"/>
                  </a:lnTo>
                  <a:lnTo>
                    <a:pt x="374" y="519"/>
                  </a:lnTo>
                  <a:lnTo>
                    <a:pt x="374" y="521"/>
                  </a:lnTo>
                  <a:lnTo>
                    <a:pt x="373" y="521"/>
                  </a:lnTo>
                  <a:lnTo>
                    <a:pt x="373" y="522"/>
                  </a:lnTo>
                  <a:lnTo>
                    <a:pt x="374" y="522"/>
                  </a:lnTo>
                  <a:lnTo>
                    <a:pt x="374" y="523"/>
                  </a:lnTo>
                  <a:lnTo>
                    <a:pt x="374" y="524"/>
                  </a:lnTo>
                  <a:lnTo>
                    <a:pt x="374" y="525"/>
                  </a:lnTo>
                  <a:lnTo>
                    <a:pt x="374" y="526"/>
                  </a:lnTo>
                  <a:lnTo>
                    <a:pt x="374" y="528"/>
                  </a:lnTo>
                  <a:lnTo>
                    <a:pt x="374" y="529"/>
                  </a:lnTo>
                  <a:lnTo>
                    <a:pt x="374" y="530"/>
                  </a:lnTo>
                  <a:lnTo>
                    <a:pt x="374" y="531"/>
                  </a:lnTo>
                  <a:lnTo>
                    <a:pt x="374" y="532"/>
                  </a:lnTo>
                  <a:lnTo>
                    <a:pt x="373" y="532"/>
                  </a:lnTo>
                  <a:lnTo>
                    <a:pt x="373" y="533"/>
                  </a:lnTo>
                  <a:lnTo>
                    <a:pt x="373" y="535"/>
                  </a:lnTo>
                  <a:lnTo>
                    <a:pt x="373" y="533"/>
                  </a:lnTo>
                  <a:lnTo>
                    <a:pt x="373" y="532"/>
                  </a:lnTo>
                  <a:lnTo>
                    <a:pt x="372" y="532"/>
                  </a:lnTo>
                  <a:lnTo>
                    <a:pt x="372" y="533"/>
                  </a:lnTo>
                  <a:lnTo>
                    <a:pt x="372" y="535"/>
                  </a:lnTo>
                  <a:lnTo>
                    <a:pt x="373" y="535"/>
                  </a:lnTo>
                  <a:lnTo>
                    <a:pt x="373" y="536"/>
                  </a:lnTo>
                  <a:lnTo>
                    <a:pt x="373" y="537"/>
                  </a:lnTo>
                  <a:lnTo>
                    <a:pt x="372" y="537"/>
                  </a:lnTo>
                  <a:lnTo>
                    <a:pt x="371" y="537"/>
                  </a:lnTo>
                  <a:lnTo>
                    <a:pt x="370" y="538"/>
                  </a:lnTo>
                  <a:lnTo>
                    <a:pt x="366" y="542"/>
                  </a:lnTo>
                  <a:lnTo>
                    <a:pt x="364" y="545"/>
                  </a:lnTo>
                  <a:lnTo>
                    <a:pt x="363" y="547"/>
                  </a:lnTo>
                  <a:lnTo>
                    <a:pt x="361" y="550"/>
                  </a:lnTo>
                  <a:lnTo>
                    <a:pt x="360" y="551"/>
                  </a:lnTo>
                  <a:lnTo>
                    <a:pt x="360" y="552"/>
                  </a:lnTo>
                  <a:lnTo>
                    <a:pt x="359" y="554"/>
                  </a:lnTo>
                  <a:lnTo>
                    <a:pt x="359" y="556"/>
                  </a:lnTo>
                  <a:lnTo>
                    <a:pt x="357" y="561"/>
                  </a:lnTo>
                  <a:lnTo>
                    <a:pt x="357" y="564"/>
                  </a:lnTo>
                  <a:lnTo>
                    <a:pt x="357" y="566"/>
                  </a:lnTo>
                  <a:lnTo>
                    <a:pt x="353" y="572"/>
                  </a:lnTo>
                  <a:lnTo>
                    <a:pt x="352" y="575"/>
                  </a:lnTo>
                  <a:lnTo>
                    <a:pt x="351" y="577"/>
                  </a:lnTo>
                  <a:lnTo>
                    <a:pt x="351" y="578"/>
                  </a:lnTo>
                  <a:lnTo>
                    <a:pt x="349" y="580"/>
                  </a:lnTo>
                  <a:lnTo>
                    <a:pt x="348" y="581"/>
                  </a:lnTo>
                  <a:lnTo>
                    <a:pt x="345" y="584"/>
                  </a:lnTo>
                  <a:lnTo>
                    <a:pt x="343" y="587"/>
                  </a:lnTo>
                  <a:lnTo>
                    <a:pt x="339" y="589"/>
                  </a:lnTo>
                  <a:lnTo>
                    <a:pt x="337" y="592"/>
                  </a:lnTo>
                  <a:lnTo>
                    <a:pt x="337" y="593"/>
                  </a:lnTo>
                  <a:lnTo>
                    <a:pt x="337" y="592"/>
                  </a:lnTo>
                  <a:lnTo>
                    <a:pt x="337" y="591"/>
                  </a:lnTo>
                  <a:lnTo>
                    <a:pt x="337" y="589"/>
                  </a:lnTo>
                  <a:lnTo>
                    <a:pt x="337" y="588"/>
                  </a:lnTo>
                  <a:lnTo>
                    <a:pt x="336" y="588"/>
                  </a:lnTo>
                  <a:lnTo>
                    <a:pt x="336" y="587"/>
                  </a:lnTo>
                  <a:lnTo>
                    <a:pt x="337" y="587"/>
                  </a:lnTo>
                  <a:lnTo>
                    <a:pt x="338" y="588"/>
                  </a:lnTo>
                  <a:lnTo>
                    <a:pt x="339" y="588"/>
                  </a:lnTo>
                  <a:lnTo>
                    <a:pt x="339" y="587"/>
                  </a:lnTo>
                  <a:lnTo>
                    <a:pt x="341" y="587"/>
                  </a:lnTo>
                  <a:lnTo>
                    <a:pt x="342" y="586"/>
                  </a:lnTo>
                  <a:lnTo>
                    <a:pt x="343" y="585"/>
                  </a:lnTo>
                  <a:lnTo>
                    <a:pt x="343" y="584"/>
                  </a:lnTo>
                  <a:lnTo>
                    <a:pt x="344" y="584"/>
                  </a:lnTo>
                  <a:lnTo>
                    <a:pt x="344" y="582"/>
                  </a:lnTo>
                  <a:lnTo>
                    <a:pt x="345" y="582"/>
                  </a:lnTo>
                  <a:lnTo>
                    <a:pt x="346" y="582"/>
                  </a:lnTo>
                  <a:lnTo>
                    <a:pt x="346" y="581"/>
                  </a:lnTo>
                  <a:lnTo>
                    <a:pt x="348" y="580"/>
                  </a:lnTo>
                  <a:lnTo>
                    <a:pt x="348" y="579"/>
                  </a:lnTo>
                  <a:lnTo>
                    <a:pt x="348" y="578"/>
                  </a:lnTo>
                  <a:lnTo>
                    <a:pt x="346" y="577"/>
                  </a:lnTo>
                  <a:lnTo>
                    <a:pt x="346" y="575"/>
                  </a:lnTo>
                  <a:lnTo>
                    <a:pt x="348" y="575"/>
                  </a:lnTo>
                  <a:lnTo>
                    <a:pt x="349" y="575"/>
                  </a:lnTo>
                  <a:lnTo>
                    <a:pt x="349" y="577"/>
                  </a:lnTo>
                  <a:lnTo>
                    <a:pt x="349" y="575"/>
                  </a:lnTo>
                  <a:lnTo>
                    <a:pt x="350" y="575"/>
                  </a:lnTo>
                  <a:lnTo>
                    <a:pt x="349" y="575"/>
                  </a:lnTo>
                  <a:lnTo>
                    <a:pt x="349" y="574"/>
                  </a:lnTo>
                  <a:lnTo>
                    <a:pt x="349" y="573"/>
                  </a:lnTo>
                  <a:lnTo>
                    <a:pt x="349" y="572"/>
                  </a:lnTo>
                  <a:lnTo>
                    <a:pt x="349" y="573"/>
                  </a:lnTo>
                  <a:lnTo>
                    <a:pt x="350" y="573"/>
                  </a:lnTo>
                  <a:lnTo>
                    <a:pt x="350" y="572"/>
                  </a:lnTo>
                  <a:lnTo>
                    <a:pt x="351" y="572"/>
                  </a:lnTo>
                  <a:lnTo>
                    <a:pt x="351" y="571"/>
                  </a:lnTo>
                  <a:lnTo>
                    <a:pt x="352" y="571"/>
                  </a:lnTo>
                  <a:lnTo>
                    <a:pt x="352" y="570"/>
                  </a:lnTo>
                  <a:lnTo>
                    <a:pt x="352" y="568"/>
                  </a:lnTo>
                  <a:lnTo>
                    <a:pt x="351" y="566"/>
                  </a:lnTo>
                  <a:lnTo>
                    <a:pt x="351" y="565"/>
                  </a:lnTo>
                  <a:lnTo>
                    <a:pt x="351" y="564"/>
                  </a:lnTo>
                  <a:lnTo>
                    <a:pt x="352" y="565"/>
                  </a:lnTo>
                  <a:lnTo>
                    <a:pt x="352" y="566"/>
                  </a:lnTo>
                  <a:lnTo>
                    <a:pt x="353" y="566"/>
                  </a:lnTo>
                  <a:lnTo>
                    <a:pt x="353" y="565"/>
                  </a:lnTo>
                  <a:lnTo>
                    <a:pt x="353" y="564"/>
                  </a:lnTo>
                  <a:lnTo>
                    <a:pt x="353" y="563"/>
                  </a:lnTo>
                  <a:lnTo>
                    <a:pt x="352" y="563"/>
                  </a:lnTo>
                  <a:lnTo>
                    <a:pt x="352" y="561"/>
                  </a:lnTo>
                  <a:lnTo>
                    <a:pt x="351" y="561"/>
                  </a:lnTo>
                  <a:lnTo>
                    <a:pt x="351" y="563"/>
                  </a:lnTo>
                  <a:lnTo>
                    <a:pt x="350" y="563"/>
                  </a:lnTo>
                  <a:lnTo>
                    <a:pt x="350" y="564"/>
                  </a:lnTo>
                  <a:lnTo>
                    <a:pt x="349" y="564"/>
                  </a:lnTo>
                  <a:lnTo>
                    <a:pt x="348" y="564"/>
                  </a:lnTo>
                  <a:lnTo>
                    <a:pt x="348" y="565"/>
                  </a:lnTo>
                  <a:lnTo>
                    <a:pt x="349" y="565"/>
                  </a:lnTo>
                  <a:lnTo>
                    <a:pt x="348" y="565"/>
                  </a:lnTo>
                  <a:lnTo>
                    <a:pt x="346" y="565"/>
                  </a:lnTo>
                  <a:lnTo>
                    <a:pt x="346" y="564"/>
                  </a:lnTo>
                  <a:lnTo>
                    <a:pt x="346" y="563"/>
                  </a:lnTo>
                  <a:lnTo>
                    <a:pt x="345" y="563"/>
                  </a:lnTo>
                  <a:lnTo>
                    <a:pt x="344" y="561"/>
                  </a:lnTo>
                  <a:lnTo>
                    <a:pt x="344" y="560"/>
                  </a:lnTo>
                  <a:lnTo>
                    <a:pt x="343" y="560"/>
                  </a:lnTo>
                  <a:lnTo>
                    <a:pt x="343" y="559"/>
                  </a:lnTo>
                  <a:lnTo>
                    <a:pt x="343" y="558"/>
                  </a:lnTo>
                  <a:lnTo>
                    <a:pt x="343" y="559"/>
                  </a:lnTo>
                  <a:lnTo>
                    <a:pt x="343" y="560"/>
                  </a:lnTo>
                  <a:lnTo>
                    <a:pt x="343" y="561"/>
                  </a:lnTo>
                  <a:lnTo>
                    <a:pt x="343" y="563"/>
                  </a:lnTo>
                  <a:lnTo>
                    <a:pt x="344" y="563"/>
                  </a:lnTo>
                  <a:lnTo>
                    <a:pt x="344" y="564"/>
                  </a:lnTo>
                  <a:lnTo>
                    <a:pt x="344" y="563"/>
                  </a:lnTo>
                  <a:lnTo>
                    <a:pt x="344" y="564"/>
                  </a:lnTo>
                  <a:lnTo>
                    <a:pt x="345" y="564"/>
                  </a:lnTo>
                  <a:lnTo>
                    <a:pt x="346" y="564"/>
                  </a:lnTo>
                  <a:lnTo>
                    <a:pt x="346" y="565"/>
                  </a:lnTo>
                  <a:lnTo>
                    <a:pt x="345" y="565"/>
                  </a:lnTo>
                  <a:lnTo>
                    <a:pt x="344" y="565"/>
                  </a:lnTo>
                  <a:lnTo>
                    <a:pt x="344" y="566"/>
                  </a:lnTo>
                  <a:lnTo>
                    <a:pt x="344" y="567"/>
                  </a:lnTo>
                  <a:lnTo>
                    <a:pt x="344" y="568"/>
                  </a:lnTo>
                  <a:lnTo>
                    <a:pt x="344" y="570"/>
                  </a:lnTo>
                  <a:lnTo>
                    <a:pt x="344" y="571"/>
                  </a:lnTo>
                  <a:lnTo>
                    <a:pt x="344" y="570"/>
                  </a:lnTo>
                  <a:lnTo>
                    <a:pt x="344" y="568"/>
                  </a:lnTo>
                  <a:lnTo>
                    <a:pt x="343" y="568"/>
                  </a:lnTo>
                  <a:lnTo>
                    <a:pt x="343" y="571"/>
                  </a:lnTo>
                  <a:lnTo>
                    <a:pt x="343" y="572"/>
                  </a:lnTo>
                  <a:lnTo>
                    <a:pt x="344" y="572"/>
                  </a:lnTo>
                  <a:lnTo>
                    <a:pt x="343" y="572"/>
                  </a:lnTo>
                  <a:lnTo>
                    <a:pt x="342" y="572"/>
                  </a:lnTo>
                  <a:lnTo>
                    <a:pt x="342" y="573"/>
                  </a:lnTo>
                  <a:lnTo>
                    <a:pt x="342" y="574"/>
                  </a:lnTo>
                  <a:lnTo>
                    <a:pt x="343" y="575"/>
                  </a:lnTo>
                  <a:lnTo>
                    <a:pt x="342" y="577"/>
                  </a:lnTo>
                  <a:lnTo>
                    <a:pt x="341" y="577"/>
                  </a:lnTo>
                  <a:lnTo>
                    <a:pt x="341" y="578"/>
                  </a:lnTo>
                  <a:lnTo>
                    <a:pt x="339" y="578"/>
                  </a:lnTo>
                  <a:lnTo>
                    <a:pt x="339" y="579"/>
                  </a:lnTo>
                  <a:lnTo>
                    <a:pt x="338" y="579"/>
                  </a:lnTo>
                  <a:lnTo>
                    <a:pt x="337" y="579"/>
                  </a:lnTo>
                  <a:lnTo>
                    <a:pt x="337" y="580"/>
                  </a:lnTo>
                  <a:lnTo>
                    <a:pt x="336" y="580"/>
                  </a:lnTo>
                  <a:lnTo>
                    <a:pt x="336" y="581"/>
                  </a:lnTo>
                  <a:lnTo>
                    <a:pt x="336" y="582"/>
                  </a:lnTo>
                  <a:lnTo>
                    <a:pt x="337" y="582"/>
                  </a:lnTo>
                  <a:lnTo>
                    <a:pt x="337" y="584"/>
                  </a:lnTo>
                  <a:lnTo>
                    <a:pt x="337" y="585"/>
                  </a:lnTo>
                  <a:lnTo>
                    <a:pt x="336" y="584"/>
                  </a:lnTo>
                  <a:lnTo>
                    <a:pt x="336" y="582"/>
                  </a:lnTo>
                  <a:lnTo>
                    <a:pt x="336" y="584"/>
                  </a:lnTo>
                  <a:lnTo>
                    <a:pt x="336" y="585"/>
                  </a:lnTo>
                  <a:lnTo>
                    <a:pt x="335" y="586"/>
                  </a:lnTo>
                  <a:lnTo>
                    <a:pt x="334" y="586"/>
                  </a:lnTo>
                  <a:lnTo>
                    <a:pt x="335" y="587"/>
                  </a:lnTo>
                  <a:lnTo>
                    <a:pt x="334" y="587"/>
                  </a:lnTo>
                  <a:lnTo>
                    <a:pt x="334" y="588"/>
                  </a:lnTo>
                  <a:lnTo>
                    <a:pt x="335" y="588"/>
                  </a:lnTo>
                  <a:lnTo>
                    <a:pt x="336" y="588"/>
                  </a:lnTo>
                  <a:lnTo>
                    <a:pt x="336" y="589"/>
                  </a:lnTo>
                  <a:lnTo>
                    <a:pt x="335" y="589"/>
                  </a:lnTo>
                  <a:lnTo>
                    <a:pt x="335" y="591"/>
                  </a:lnTo>
                  <a:lnTo>
                    <a:pt x="335" y="592"/>
                  </a:lnTo>
                  <a:lnTo>
                    <a:pt x="336" y="592"/>
                  </a:lnTo>
                  <a:lnTo>
                    <a:pt x="336" y="591"/>
                  </a:lnTo>
                  <a:lnTo>
                    <a:pt x="337" y="591"/>
                  </a:lnTo>
                  <a:lnTo>
                    <a:pt x="336" y="591"/>
                  </a:lnTo>
                  <a:lnTo>
                    <a:pt x="336" y="592"/>
                  </a:lnTo>
                  <a:lnTo>
                    <a:pt x="337" y="591"/>
                  </a:lnTo>
                  <a:lnTo>
                    <a:pt x="337" y="592"/>
                  </a:lnTo>
                  <a:lnTo>
                    <a:pt x="337" y="593"/>
                  </a:lnTo>
                  <a:lnTo>
                    <a:pt x="336" y="593"/>
                  </a:lnTo>
                  <a:lnTo>
                    <a:pt x="335" y="594"/>
                  </a:lnTo>
                  <a:lnTo>
                    <a:pt x="334" y="598"/>
                  </a:lnTo>
                  <a:lnTo>
                    <a:pt x="334" y="601"/>
                  </a:lnTo>
                  <a:lnTo>
                    <a:pt x="334" y="602"/>
                  </a:lnTo>
                  <a:lnTo>
                    <a:pt x="332" y="607"/>
                  </a:lnTo>
                  <a:lnTo>
                    <a:pt x="332" y="608"/>
                  </a:lnTo>
                  <a:lnTo>
                    <a:pt x="331" y="609"/>
                  </a:lnTo>
                  <a:lnTo>
                    <a:pt x="330" y="610"/>
                  </a:lnTo>
                  <a:lnTo>
                    <a:pt x="329" y="613"/>
                  </a:lnTo>
                  <a:lnTo>
                    <a:pt x="327" y="614"/>
                  </a:lnTo>
                  <a:lnTo>
                    <a:pt x="325" y="616"/>
                  </a:lnTo>
                  <a:lnTo>
                    <a:pt x="324" y="617"/>
                  </a:lnTo>
                  <a:lnTo>
                    <a:pt x="323" y="617"/>
                  </a:lnTo>
                  <a:lnTo>
                    <a:pt x="323" y="616"/>
                  </a:lnTo>
                  <a:lnTo>
                    <a:pt x="322" y="616"/>
                  </a:lnTo>
                  <a:lnTo>
                    <a:pt x="321" y="615"/>
                  </a:lnTo>
                  <a:lnTo>
                    <a:pt x="322" y="615"/>
                  </a:lnTo>
                  <a:lnTo>
                    <a:pt x="322" y="614"/>
                  </a:lnTo>
                  <a:lnTo>
                    <a:pt x="322" y="615"/>
                  </a:lnTo>
                  <a:lnTo>
                    <a:pt x="322" y="614"/>
                  </a:lnTo>
                  <a:lnTo>
                    <a:pt x="322" y="613"/>
                  </a:lnTo>
                  <a:lnTo>
                    <a:pt x="322" y="612"/>
                  </a:lnTo>
                  <a:lnTo>
                    <a:pt x="322" y="610"/>
                  </a:lnTo>
                  <a:lnTo>
                    <a:pt x="322" y="609"/>
                  </a:lnTo>
                  <a:lnTo>
                    <a:pt x="322" y="608"/>
                  </a:lnTo>
                  <a:lnTo>
                    <a:pt x="323" y="607"/>
                  </a:lnTo>
                  <a:lnTo>
                    <a:pt x="324" y="607"/>
                  </a:lnTo>
                  <a:lnTo>
                    <a:pt x="324" y="606"/>
                  </a:lnTo>
                  <a:lnTo>
                    <a:pt x="324" y="605"/>
                  </a:lnTo>
                  <a:lnTo>
                    <a:pt x="324" y="603"/>
                  </a:lnTo>
                  <a:lnTo>
                    <a:pt x="324" y="602"/>
                  </a:lnTo>
                  <a:lnTo>
                    <a:pt x="325" y="602"/>
                  </a:lnTo>
                  <a:lnTo>
                    <a:pt x="325" y="603"/>
                  </a:lnTo>
                  <a:lnTo>
                    <a:pt x="325" y="602"/>
                  </a:lnTo>
                  <a:lnTo>
                    <a:pt x="327" y="602"/>
                  </a:lnTo>
                  <a:lnTo>
                    <a:pt x="327" y="603"/>
                  </a:lnTo>
                  <a:lnTo>
                    <a:pt x="328" y="605"/>
                  </a:lnTo>
                  <a:lnTo>
                    <a:pt x="329" y="605"/>
                  </a:lnTo>
                  <a:lnTo>
                    <a:pt x="330" y="605"/>
                  </a:lnTo>
                  <a:lnTo>
                    <a:pt x="330" y="603"/>
                  </a:lnTo>
                  <a:lnTo>
                    <a:pt x="330" y="602"/>
                  </a:lnTo>
                  <a:lnTo>
                    <a:pt x="331" y="600"/>
                  </a:lnTo>
                  <a:lnTo>
                    <a:pt x="331" y="599"/>
                  </a:lnTo>
                  <a:lnTo>
                    <a:pt x="331" y="598"/>
                  </a:lnTo>
                  <a:lnTo>
                    <a:pt x="330" y="596"/>
                  </a:lnTo>
                  <a:lnTo>
                    <a:pt x="329" y="596"/>
                  </a:lnTo>
                  <a:lnTo>
                    <a:pt x="329" y="595"/>
                  </a:lnTo>
                  <a:lnTo>
                    <a:pt x="329" y="594"/>
                  </a:lnTo>
                  <a:lnTo>
                    <a:pt x="329" y="593"/>
                  </a:lnTo>
                  <a:lnTo>
                    <a:pt x="329" y="594"/>
                  </a:lnTo>
                  <a:lnTo>
                    <a:pt x="328" y="594"/>
                  </a:lnTo>
                  <a:lnTo>
                    <a:pt x="328" y="595"/>
                  </a:lnTo>
                  <a:lnTo>
                    <a:pt x="328" y="596"/>
                  </a:lnTo>
                  <a:lnTo>
                    <a:pt x="327" y="598"/>
                  </a:lnTo>
                  <a:lnTo>
                    <a:pt x="325" y="598"/>
                  </a:lnTo>
                  <a:lnTo>
                    <a:pt x="325" y="599"/>
                  </a:lnTo>
                  <a:lnTo>
                    <a:pt x="325" y="600"/>
                  </a:lnTo>
                  <a:lnTo>
                    <a:pt x="324" y="600"/>
                  </a:lnTo>
                  <a:lnTo>
                    <a:pt x="323" y="600"/>
                  </a:lnTo>
                  <a:lnTo>
                    <a:pt x="322" y="600"/>
                  </a:lnTo>
                  <a:lnTo>
                    <a:pt x="321" y="599"/>
                  </a:lnTo>
                  <a:lnTo>
                    <a:pt x="320" y="598"/>
                  </a:lnTo>
                  <a:lnTo>
                    <a:pt x="318" y="598"/>
                  </a:lnTo>
                  <a:lnTo>
                    <a:pt x="317" y="596"/>
                  </a:lnTo>
                  <a:lnTo>
                    <a:pt x="316" y="595"/>
                  </a:lnTo>
                  <a:lnTo>
                    <a:pt x="316" y="594"/>
                  </a:lnTo>
                  <a:lnTo>
                    <a:pt x="315" y="593"/>
                  </a:lnTo>
                  <a:lnTo>
                    <a:pt x="315" y="592"/>
                  </a:lnTo>
                  <a:lnTo>
                    <a:pt x="315" y="591"/>
                  </a:lnTo>
                  <a:lnTo>
                    <a:pt x="314" y="591"/>
                  </a:lnTo>
                  <a:lnTo>
                    <a:pt x="313" y="591"/>
                  </a:lnTo>
                  <a:lnTo>
                    <a:pt x="313" y="589"/>
                  </a:lnTo>
                  <a:lnTo>
                    <a:pt x="311" y="589"/>
                  </a:lnTo>
                  <a:lnTo>
                    <a:pt x="310" y="589"/>
                  </a:lnTo>
                  <a:lnTo>
                    <a:pt x="310" y="588"/>
                  </a:lnTo>
                  <a:lnTo>
                    <a:pt x="309" y="588"/>
                  </a:lnTo>
                  <a:lnTo>
                    <a:pt x="308" y="588"/>
                  </a:lnTo>
                  <a:lnTo>
                    <a:pt x="307" y="587"/>
                  </a:lnTo>
                  <a:lnTo>
                    <a:pt x="306" y="586"/>
                  </a:lnTo>
                  <a:lnTo>
                    <a:pt x="304" y="586"/>
                  </a:lnTo>
                  <a:lnTo>
                    <a:pt x="304" y="585"/>
                  </a:lnTo>
                  <a:lnTo>
                    <a:pt x="303" y="585"/>
                  </a:lnTo>
                  <a:lnTo>
                    <a:pt x="303" y="584"/>
                  </a:lnTo>
                  <a:lnTo>
                    <a:pt x="303" y="582"/>
                  </a:lnTo>
                  <a:lnTo>
                    <a:pt x="302" y="582"/>
                  </a:lnTo>
                  <a:lnTo>
                    <a:pt x="302" y="581"/>
                  </a:lnTo>
                  <a:lnTo>
                    <a:pt x="301" y="581"/>
                  </a:lnTo>
                  <a:lnTo>
                    <a:pt x="299" y="581"/>
                  </a:lnTo>
                  <a:lnTo>
                    <a:pt x="297" y="581"/>
                  </a:lnTo>
                  <a:lnTo>
                    <a:pt x="297" y="580"/>
                  </a:lnTo>
                  <a:lnTo>
                    <a:pt x="296" y="580"/>
                  </a:lnTo>
                  <a:lnTo>
                    <a:pt x="296" y="579"/>
                  </a:lnTo>
                  <a:lnTo>
                    <a:pt x="295" y="579"/>
                  </a:lnTo>
                  <a:lnTo>
                    <a:pt x="294" y="579"/>
                  </a:lnTo>
                  <a:lnTo>
                    <a:pt x="293" y="579"/>
                  </a:lnTo>
                  <a:lnTo>
                    <a:pt x="293" y="578"/>
                  </a:lnTo>
                  <a:lnTo>
                    <a:pt x="292" y="578"/>
                  </a:lnTo>
                  <a:lnTo>
                    <a:pt x="292" y="577"/>
                  </a:lnTo>
                  <a:lnTo>
                    <a:pt x="290" y="577"/>
                  </a:lnTo>
                  <a:lnTo>
                    <a:pt x="290" y="575"/>
                  </a:lnTo>
                  <a:lnTo>
                    <a:pt x="290" y="574"/>
                  </a:lnTo>
                  <a:lnTo>
                    <a:pt x="289" y="573"/>
                  </a:lnTo>
                  <a:lnTo>
                    <a:pt x="288" y="573"/>
                  </a:lnTo>
                  <a:lnTo>
                    <a:pt x="287" y="572"/>
                  </a:lnTo>
                  <a:lnTo>
                    <a:pt x="286" y="572"/>
                  </a:lnTo>
                  <a:lnTo>
                    <a:pt x="286" y="573"/>
                  </a:lnTo>
                  <a:lnTo>
                    <a:pt x="285" y="573"/>
                  </a:lnTo>
                  <a:lnTo>
                    <a:pt x="285" y="574"/>
                  </a:lnTo>
                  <a:lnTo>
                    <a:pt x="285" y="575"/>
                  </a:lnTo>
                  <a:lnTo>
                    <a:pt x="284" y="575"/>
                  </a:lnTo>
                  <a:lnTo>
                    <a:pt x="282" y="575"/>
                  </a:lnTo>
                  <a:lnTo>
                    <a:pt x="281" y="575"/>
                  </a:lnTo>
                  <a:lnTo>
                    <a:pt x="281" y="574"/>
                  </a:lnTo>
                  <a:lnTo>
                    <a:pt x="281" y="573"/>
                  </a:lnTo>
                  <a:lnTo>
                    <a:pt x="281" y="572"/>
                  </a:lnTo>
                  <a:lnTo>
                    <a:pt x="281" y="571"/>
                  </a:lnTo>
                  <a:lnTo>
                    <a:pt x="280" y="571"/>
                  </a:lnTo>
                  <a:lnTo>
                    <a:pt x="280" y="570"/>
                  </a:lnTo>
                  <a:lnTo>
                    <a:pt x="279" y="570"/>
                  </a:lnTo>
                  <a:lnTo>
                    <a:pt x="279" y="568"/>
                  </a:lnTo>
                  <a:lnTo>
                    <a:pt x="278" y="567"/>
                  </a:lnTo>
                  <a:lnTo>
                    <a:pt x="277" y="566"/>
                  </a:lnTo>
                  <a:lnTo>
                    <a:pt x="275" y="566"/>
                  </a:lnTo>
                  <a:lnTo>
                    <a:pt x="274" y="565"/>
                  </a:lnTo>
                  <a:lnTo>
                    <a:pt x="273" y="564"/>
                  </a:lnTo>
                  <a:lnTo>
                    <a:pt x="272" y="564"/>
                  </a:lnTo>
                  <a:lnTo>
                    <a:pt x="272" y="563"/>
                  </a:lnTo>
                  <a:lnTo>
                    <a:pt x="271" y="561"/>
                  </a:lnTo>
                  <a:lnTo>
                    <a:pt x="270" y="561"/>
                  </a:lnTo>
                  <a:lnTo>
                    <a:pt x="270" y="560"/>
                  </a:lnTo>
                  <a:lnTo>
                    <a:pt x="268" y="560"/>
                  </a:lnTo>
                  <a:lnTo>
                    <a:pt x="267" y="560"/>
                  </a:lnTo>
                  <a:lnTo>
                    <a:pt x="266" y="560"/>
                  </a:lnTo>
                  <a:lnTo>
                    <a:pt x="265" y="560"/>
                  </a:lnTo>
                  <a:lnTo>
                    <a:pt x="265" y="561"/>
                  </a:lnTo>
                  <a:lnTo>
                    <a:pt x="265" y="563"/>
                  </a:lnTo>
                  <a:lnTo>
                    <a:pt x="264" y="563"/>
                  </a:lnTo>
                  <a:lnTo>
                    <a:pt x="263" y="563"/>
                  </a:lnTo>
                  <a:lnTo>
                    <a:pt x="261" y="563"/>
                  </a:lnTo>
                  <a:lnTo>
                    <a:pt x="260" y="563"/>
                  </a:lnTo>
                  <a:lnTo>
                    <a:pt x="259" y="563"/>
                  </a:lnTo>
                  <a:lnTo>
                    <a:pt x="259" y="561"/>
                  </a:lnTo>
                  <a:lnTo>
                    <a:pt x="258" y="561"/>
                  </a:lnTo>
                  <a:lnTo>
                    <a:pt x="259" y="561"/>
                  </a:lnTo>
                  <a:lnTo>
                    <a:pt x="259" y="560"/>
                  </a:lnTo>
                  <a:lnTo>
                    <a:pt x="260" y="559"/>
                  </a:lnTo>
                  <a:lnTo>
                    <a:pt x="261" y="558"/>
                  </a:lnTo>
                  <a:lnTo>
                    <a:pt x="261" y="556"/>
                  </a:lnTo>
                  <a:lnTo>
                    <a:pt x="263" y="556"/>
                  </a:lnTo>
                  <a:lnTo>
                    <a:pt x="263" y="554"/>
                  </a:lnTo>
                  <a:lnTo>
                    <a:pt x="264" y="554"/>
                  </a:lnTo>
                  <a:lnTo>
                    <a:pt x="265" y="553"/>
                  </a:lnTo>
                  <a:lnTo>
                    <a:pt x="265" y="552"/>
                  </a:lnTo>
                  <a:lnTo>
                    <a:pt x="266" y="552"/>
                  </a:lnTo>
                  <a:lnTo>
                    <a:pt x="266" y="551"/>
                  </a:lnTo>
                  <a:lnTo>
                    <a:pt x="267" y="550"/>
                  </a:lnTo>
                  <a:lnTo>
                    <a:pt x="267" y="549"/>
                  </a:lnTo>
                  <a:lnTo>
                    <a:pt x="268" y="549"/>
                  </a:lnTo>
                  <a:lnTo>
                    <a:pt x="268" y="547"/>
                  </a:lnTo>
                  <a:lnTo>
                    <a:pt x="268" y="546"/>
                  </a:lnTo>
                  <a:lnTo>
                    <a:pt x="268" y="545"/>
                  </a:lnTo>
                  <a:lnTo>
                    <a:pt x="270" y="545"/>
                  </a:lnTo>
                  <a:lnTo>
                    <a:pt x="270" y="544"/>
                  </a:lnTo>
                  <a:lnTo>
                    <a:pt x="271" y="544"/>
                  </a:lnTo>
                  <a:lnTo>
                    <a:pt x="272" y="544"/>
                  </a:lnTo>
                  <a:lnTo>
                    <a:pt x="272" y="543"/>
                  </a:lnTo>
                  <a:lnTo>
                    <a:pt x="272" y="542"/>
                  </a:lnTo>
                  <a:lnTo>
                    <a:pt x="273" y="542"/>
                  </a:lnTo>
                  <a:lnTo>
                    <a:pt x="273" y="540"/>
                  </a:lnTo>
                  <a:lnTo>
                    <a:pt x="273" y="539"/>
                  </a:lnTo>
                  <a:lnTo>
                    <a:pt x="274" y="539"/>
                  </a:lnTo>
                  <a:lnTo>
                    <a:pt x="274" y="538"/>
                  </a:lnTo>
                  <a:lnTo>
                    <a:pt x="275" y="537"/>
                  </a:lnTo>
                  <a:lnTo>
                    <a:pt x="275" y="536"/>
                  </a:lnTo>
                  <a:lnTo>
                    <a:pt x="275" y="535"/>
                  </a:lnTo>
                  <a:lnTo>
                    <a:pt x="277" y="535"/>
                  </a:lnTo>
                  <a:lnTo>
                    <a:pt x="278" y="535"/>
                  </a:lnTo>
                  <a:lnTo>
                    <a:pt x="278" y="533"/>
                  </a:lnTo>
                  <a:lnTo>
                    <a:pt x="277" y="532"/>
                  </a:lnTo>
                  <a:lnTo>
                    <a:pt x="278" y="532"/>
                  </a:lnTo>
                  <a:lnTo>
                    <a:pt x="279" y="532"/>
                  </a:lnTo>
                  <a:lnTo>
                    <a:pt x="280" y="532"/>
                  </a:lnTo>
                  <a:lnTo>
                    <a:pt x="280" y="533"/>
                  </a:lnTo>
                  <a:lnTo>
                    <a:pt x="280" y="532"/>
                  </a:lnTo>
                  <a:lnTo>
                    <a:pt x="280" y="531"/>
                  </a:lnTo>
                  <a:lnTo>
                    <a:pt x="279" y="531"/>
                  </a:lnTo>
                  <a:lnTo>
                    <a:pt x="279" y="530"/>
                  </a:lnTo>
                  <a:lnTo>
                    <a:pt x="280" y="530"/>
                  </a:lnTo>
                  <a:lnTo>
                    <a:pt x="280" y="529"/>
                  </a:lnTo>
                  <a:lnTo>
                    <a:pt x="281" y="529"/>
                  </a:lnTo>
                  <a:lnTo>
                    <a:pt x="281" y="528"/>
                  </a:lnTo>
                  <a:lnTo>
                    <a:pt x="282" y="528"/>
                  </a:lnTo>
                  <a:lnTo>
                    <a:pt x="284" y="528"/>
                  </a:lnTo>
                  <a:lnTo>
                    <a:pt x="284" y="526"/>
                  </a:lnTo>
                  <a:lnTo>
                    <a:pt x="284" y="525"/>
                  </a:lnTo>
                  <a:lnTo>
                    <a:pt x="285" y="525"/>
                  </a:lnTo>
                  <a:lnTo>
                    <a:pt x="286" y="525"/>
                  </a:lnTo>
                  <a:lnTo>
                    <a:pt x="286" y="524"/>
                  </a:lnTo>
                  <a:lnTo>
                    <a:pt x="286" y="525"/>
                  </a:lnTo>
                  <a:lnTo>
                    <a:pt x="287" y="525"/>
                  </a:lnTo>
                  <a:lnTo>
                    <a:pt x="287" y="524"/>
                  </a:lnTo>
                  <a:lnTo>
                    <a:pt x="288" y="524"/>
                  </a:lnTo>
                  <a:lnTo>
                    <a:pt x="287" y="524"/>
                  </a:lnTo>
                  <a:lnTo>
                    <a:pt x="287" y="523"/>
                  </a:lnTo>
                  <a:lnTo>
                    <a:pt x="288" y="523"/>
                  </a:lnTo>
                  <a:lnTo>
                    <a:pt x="289" y="523"/>
                  </a:lnTo>
                  <a:lnTo>
                    <a:pt x="289" y="522"/>
                  </a:lnTo>
                  <a:lnTo>
                    <a:pt x="289" y="521"/>
                  </a:lnTo>
                  <a:lnTo>
                    <a:pt x="289" y="519"/>
                  </a:lnTo>
                  <a:lnTo>
                    <a:pt x="290" y="519"/>
                  </a:lnTo>
                  <a:lnTo>
                    <a:pt x="292" y="519"/>
                  </a:lnTo>
                  <a:lnTo>
                    <a:pt x="293" y="519"/>
                  </a:lnTo>
                  <a:lnTo>
                    <a:pt x="293" y="518"/>
                  </a:lnTo>
                  <a:lnTo>
                    <a:pt x="294" y="518"/>
                  </a:lnTo>
                  <a:lnTo>
                    <a:pt x="295" y="518"/>
                  </a:lnTo>
                  <a:lnTo>
                    <a:pt x="294" y="517"/>
                  </a:lnTo>
                  <a:lnTo>
                    <a:pt x="295" y="517"/>
                  </a:lnTo>
                  <a:lnTo>
                    <a:pt x="296" y="518"/>
                  </a:lnTo>
                  <a:lnTo>
                    <a:pt x="296" y="517"/>
                  </a:lnTo>
                  <a:lnTo>
                    <a:pt x="296" y="518"/>
                  </a:lnTo>
                  <a:lnTo>
                    <a:pt x="297" y="518"/>
                  </a:lnTo>
                  <a:lnTo>
                    <a:pt x="297" y="517"/>
                  </a:lnTo>
                  <a:lnTo>
                    <a:pt x="297" y="516"/>
                  </a:lnTo>
                  <a:lnTo>
                    <a:pt x="297" y="515"/>
                  </a:lnTo>
                  <a:lnTo>
                    <a:pt x="299" y="515"/>
                  </a:lnTo>
                  <a:lnTo>
                    <a:pt x="299" y="516"/>
                  </a:lnTo>
                  <a:lnTo>
                    <a:pt x="300" y="516"/>
                  </a:lnTo>
                  <a:lnTo>
                    <a:pt x="300" y="515"/>
                  </a:lnTo>
                  <a:lnTo>
                    <a:pt x="300" y="514"/>
                  </a:lnTo>
                  <a:lnTo>
                    <a:pt x="301" y="514"/>
                  </a:lnTo>
                  <a:lnTo>
                    <a:pt x="302" y="514"/>
                  </a:lnTo>
                  <a:lnTo>
                    <a:pt x="302" y="512"/>
                  </a:lnTo>
                  <a:lnTo>
                    <a:pt x="302" y="514"/>
                  </a:lnTo>
                  <a:lnTo>
                    <a:pt x="302" y="512"/>
                  </a:lnTo>
                  <a:lnTo>
                    <a:pt x="303" y="512"/>
                  </a:lnTo>
                  <a:lnTo>
                    <a:pt x="302" y="511"/>
                  </a:lnTo>
                  <a:lnTo>
                    <a:pt x="303" y="511"/>
                  </a:lnTo>
                  <a:lnTo>
                    <a:pt x="303" y="510"/>
                  </a:lnTo>
                  <a:lnTo>
                    <a:pt x="303" y="509"/>
                  </a:lnTo>
                  <a:lnTo>
                    <a:pt x="303" y="508"/>
                  </a:lnTo>
                  <a:lnTo>
                    <a:pt x="303" y="507"/>
                  </a:lnTo>
                  <a:lnTo>
                    <a:pt x="302" y="507"/>
                  </a:lnTo>
                  <a:lnTo>
                    <a:pt x="303" y="507"/>
                  </a:lnTo>
                  <a:lnTo>
                    <a:pt x="303" y="505"/>
                  </a:lnTo>
                  <a:lnTo>
                    <a:pt x="302" y="504"/>
                  </a:lnTo>
                  <a:lnTo>
                    <a:pt x="303" y="504"/>
                  </a:lnTo>
                  <a:lnTo>
                    <a:pt x="302" y="503"/>
                  </a:lnTo>
                  <a:lnTo>
                    <a:pt x="303" y="503"/>
                  </a:lnTo>
                  <a:lnTo>
                    <a:pt x="303" y="502"/>
                  </a:lnTo>
                  <a:lnTo>
                    <a:pt x="302" y="501"/>
                  </a:lnTo>
                  <a:lnTo>
                    <a:pt x="303" y="500"/>
                  </a:lnTo>
                  <a:lnTo>
                    <a:pt x="303" y="498"/>
                  </a:lnTo>
                  <a:lnTo>
                    <a:pt x="302" y="497"/>
                  </a:lnTo>
                  <a:lnTo>
                    <a:pt x="302" y="496"/>
                  </a:lnTo>
                  <a:lnTo>
                    <a:pt x="301" y="496"/>
                  </a:lnTo>
                  <a:lnTo>
                    <a:pt x="301" y="495"/>
                  </a:lnTo>
                  <a:lnTo>
                    <a:pt x="300" y="495"/>
                  </a:lnTo>
                  <a:lnTo>
                    <a:pt x="300" y="494"/>
                  </a:lnTo>
                  <a:lnTo>
                    <a:pt x="300" y="493"/>
                  </a:lnTo>
                  <a:lnTo>
                    <a:pt x="300" y="491"/>
                  </a:lnTo>
                  <a:lnTo>
                    <a:pt x="299" y="490"/>
                  </a:lnTo>
                  <a:lnTo>
                    <a:pt x="300" y="490"/>
                  </a:lnTo>
                  <a:lnTo>
                    <a:pt x="299" y="490"/>
                  </a:lnTo>
                  <a:lnTo>
                    <a:pt x="299" y="489"/>
                  </a:lnTo>
                  <a:lnTo>
                    <a:pt x="297" y="489"/>
                  </a:lnTo>
                  <a:lnTo>
                    <a:pt x="297" y="488"/>
                  </a:lnTo>
                  <a:lnTo>
                    <a:pt x="296" y="488"/>
                  </a:lnTo>
                  <a:lnTo>
                    <a:pt x="296" y="489"/>
                  </a:lnTo>
                  <a:lnTo>
                    <a:pt x="296" y="488"/>
                  </a:lnTo>
                  <a:lnTo>
                    <a:pt x="295" y="488"/>
                  </a:lnTo>
                  <a:lnTo>
                    <a:pt x="296" y="488"/>
                  </a:lnTo>
                  <a:lnTo>
                    <a:pt x="296" y="487"/>
                  </a:lnTo>
                  <a:lnTo>
                    <a:pt x="295" y="487"/>
                  </a:lnTo>
                  <a:lnTo>
                    <a:pt x="295" y="488"/>
                  </a:lnTo>
                  <a:lnTo>
                    <a:pt x="294" y="488"/>
                  </a:lnTo>
                  <a:lnTo>
                    <a:pt x="295" y="488"/>
                  </a:lnTo>
                  <a:lnTo>
                    <a:pt x="294" y="488"/>
                  </a:lnTo>
                  <a:lnTo>
                    <a:pt x="294" y="489"/>
                  </a:lnTo>
                  <a:lnTo>
                    <a:pt x="294" y="488"/>
                  </a:lnTo>
                  <a:lnTo>
                    <a:pt x="293" y="488"/>
                  </a:lnTo>
                  <a:lnTo>
                    <a:pt x="292" y="488"/>
                  </a:lnTo>
                  <a:lnTo>
                    <a:pt x="292" y="489"/>
                  </a:lnTo>
                  <a:lnTo>
                    <a:pt x="292" y="490"/>
                  </a:lnTo>
                  <a:lnTo>
                    <a:pt x="292" y="489"/>
                  </a:lnTo>
                  <a:lnTo>
                    <a:pt x="290" y="489"/>
                  </a:lnTo>
                  <a:lnTo>
                    <a:pt x="290" y="488"/>
                  </a:lnTo>
                  <a:lnTo>
                    <a:pt x="289" y="488"/>
                  </a:lnTo>
                  <a:lnTo>
                    <a:pt x="289" y="487"/>
                  </a:lnTo>
                  <a:lnTo>
                    <a:pt x="289" y="486"/>
                  </a:lnTo>
                  <a:lnTo>
                    <a:pt x="289" y="487"/>
                  </a:lnTo>
                  <a:lnTo>
                    <a:pt x="289" y="486"/>
                  </a:lnTo>
                  <a:lnTo>
                    <a:pt x="290" y="486"/>
                  </a:lnTo>
                  <a:lnTo>
                    <a:pt x="292" y="486"/>
                  </a:lnTo>
                  <a:lnTo>
                    <a:pt x="293" y="486"/>
                  </a:lnTo>
                  <a:lnTo>
                    <a:pt x="292" y="486"/>
                  </a:lnTo>
                  <a:lnTo>
                    <a:pt x="292" y="485"/>
                  </a:lnTo>
                  <a:lnTo>
                    <a:pt x="290" y="485"/>
                  </a:lnTo>
                  <a:lnTo>
                    <a:pt x="290" y="483"/>
                  </a:lnTo>
                  <a:lnTo>
                    <a:pt x="292" y="483"/>
                  </a:lnTo>
                  <a:lnTo>
                    <a:pt x="293" y="485"/>
                  </a:lnTo>
                  <a:lnTo>
                    <a:pt x="292" y="483"/>
                  </a:lnTo>
                  <a:lnTo>
                    <a:pt x="293" y="483"/>
                  </a:lnTo>
                  <a:lnTo>
                    <a:pt x="294" y="483"/>
                  </a:lnTo>
                  <a:lnTo>
                    <a:pt x="293" y="483"/>
                  </a:lnTo>
                  <a:lnTo>
                    <a:pt x="293" y="482"/>
                  </a:lnTo>
                  <a:lnTo>
                    <a:pt x="292" y="482"/>
                  </a:lnTo>
                  <a:lnTo>
                    <a:pt x="292" y="481"/>
                  </a:lnTo>
                  <a:lnTo>
                    <a:pt x="293" y="482"/>
                  </a:lnTo>
                  <a:lnTo>
                    <a:pt x="292" y="481"/>
                  </a:lnTo>
                  <a:lnTo>
                    <a:pt x="293" y="481"/>
                  </a:lnTo>
                  <a:lnTo>
                    <a:pt x="293" y="480"/>
                  </a:lnTo>
                  <a:lnTo>
                    <a:pt x="292" y="480"/>
                  </a:lnTo>
                  <a:lnTo>
                    <a:pt x="290" y="480"/>
                  </a:lnTo>
                  <a:lnTo>
                    <a:pt x="290" y="479"/>
                  </a:lnTo>
                  <a:lnTo>
                    <a:pt x="290" y="478"/>
                  </a:lnTo>
                  <a:lnTo>
                    <a:pt x="292" y="478"/>
                  </a:lnTo>
                  <a:lnTo>
                    <a:pt x="293" y="478"/>
                  </a:lnTo>
                  <a:lnTo>
                    <a:pt x="294" y="479"/>
                  </a:lnTo>
                  <a:lnTo>
                    <a:pt x="293" y="478"/>
                  </a:lnTo>
                  <a:lnTo>
                    <a:pt x="292" y="476"/>
                  </a:lnTo>
                  <a:lnTo>
                    <a:pt x="292" y="475"/>
                  </a:lnTo>
                  <a:lnTo>
                    <a:pt x="293" y="475"/>
                  </a:lnTo>
                  <a:lnTo>
                    <a:pt x="294" y="475"/>
                  </a:lnTo>
                  <a:lnTo>
                    <a:pt x="293" y="474"/>
                  </a:lnTo>
                  <a:lnTo>
                    <a:pt x="292" y="473"/>
                  </a:lnTo>
                  <a:lnTo>
                    <a:pt x="292" y="472"/>
                  </a:lnTo>
                  <a:lnTo>
                    <a:pt x="292" y="471"/>
                  </a:lnTo>
                  <a:lnTo>
                    <a:pt x="293" y="471"/>
                  </a:lnTo>
                  <a:lnTo>
                    <a:pt x="292" y="471"/>
                  </a:lnTo>
                  <a:lnTo>
                    <a:pt x="293" y="469"/>
                  </a:lnTo>
                  <a:lnTo>
                    <a:pt x="293" y="468"/>
                  </a:lnTo>
                  <a:lnTo>
                    <a:pt x="292" y="468"/>
                  </a:lnTo>
                  <a:lnTo>
                    <a:pt x="292" y="467"/>
                  </a:lnTo>
                  <a:lnTo>
                    <a:pt x="292" y="466"/>
                  </a:lnTo>
                  <a:lnTo>
                    <a:pt x="292" y="465"/>
                  </a:lnTo>
                  <a:lnTo>
                    <a:pt x="292" y="464"/>
                  </a:lnTo>
                  <a:lnTo>
                    <a:pt x="289" y="464"/>
                  </a:lnTo>
                  <a:lnTo>
                    <a:pt x="289" y="462"/>
                  </a:lnTo>
                  <a:lnTo>
                    <a:pt x="288" y="462"/>
                  </a:lnTo>
                  <a:lnTo>
                    <a:pt x="286" y="460"/>
                  </a:lnTo>
                  <a:lnTo>
                    <a:pt x="286" y="461"/>
                  </a:lnTo>
                  <a:lnTo>
                    <a:pt x="285" y="461"/>
                  </a:lnTo>
                  <a:lnTo>
                    <a:pt x="284" y="461"/>
                  </a:lnTo>
                  <a:lnTo>
                    <a:pt x="282" y="462"/>
                  </a:lnTo>
                  <a:lnTo>
                    <a:pt x="282" y="464"/>
                  </a:lnTo>
                  <a:lnTo>
                    <a:pt x="281" y="464"/>
                  </a:lnTo>
                  <a:lnTo>
                    <a:pt x="280" y="464"/>
                  </a:lnTo>
                  <a:lnTo>
                    <a:pt x="279" y="464"/>
                  </a:lnTo>
                  <a:lnTo>
                    <a:pt x="278" y="464"/>
                  </a:lnTo>
                  <a:lnTo>
                    <a:pt x="277" y="464"/>
                  </a:lnTo>
                  <a:lnTo>
                    <a:pt x="275" y="464"/>
                  </a:lnTo>
                  <a:lnTo>
                    <a:pt x="275" y="462"/>
                  </a:lnTo>
                  <a:lnTo>
                    <a:pt x="275" y="459"/>
                  </a:lnTo>
                  <a:lnTo>
                    <a:pt x="274" y="459"/>
                  </a:lnTo>
                  <a:lnTo>
                    <a:pt x="274" y="458"/>
                  </a:lnTo>
                  <a:lnTo>
                    <a:pt x="273" y="458"/>
                  </a:lnTo>
                  <a:lnTo>
                    <a:pt x="273" y="457"/>
                  </a:lnTo>
                  <a:lnTo>
                    <a:pt x="273" y="455"/>
                  </a:lnTo>
                  <a:lnTo>
                    <a:pt x="273" y="454"/>
                  </a:lnTo>
                  <a:lnTo>
                    <a:pt x="273" y="453"/>
                  </a:lnTo>
                  <a:lnTo>
                    <a:pt x="273" y="452"/>
                  </a:lnTo>
                  <a:lnTo>
                    <a:pt x="273" y="451"/>
                  </a:lnTo>
                  <a:lnTo>
                    <a:pt x="272" y="450"/>
                  </a:lnTo>
                  <a:lnTo>
                    <a:pt x="272" y="448"/>
                  </a:lnTo>
                  <a:lnTo>
                    <a:pt x="271" y="447"/>
                  </a:lnTo>
                  <a:lnTo>
                    <a:pt x="271" y="445"/>
                  </a:lnTo>
                  <a:lnTo>
                    <a:pt x="271" y="444"/>
                  </a:lnTo>
                  <a:lnTo>
                    <a:pt x="271" y="443"/>
                  </a:lnTo>
                  <a:lnTo>
                    <a:pt x="271" y="441"/>
                  </a:lnTo>
                  <a:lnTo>
                    <a:pt x="270" y="441"/>
                  </a:lnTo>
                  <a:lnTo>
                    <a:pt x="270" y="440"/>
                  </a:lnTo>
                  <a:lnTo>
                    <a:pt x="268" y="440"/>
                  </a:lnTo>
                  <a:lnTo>
                    <a:pt x="268" y="439"/>
                  </a:lnTo>
                  <a:lnTo>
                    <a:pt x="268" y="438"/>
                  </a:lnTo>
                  <a:lnTo>
                    <a:pt x="267" y="437"/>
                  </a:lnTo>
                  <a:lnTo>
                    <a:pt x="266" y="437"/>
                  </a:lnTo>
                  <a:lnTo>
                    <a:pt x="265" y="437"/>
                  </a:lnTo>
                  <a:lnTo>
                    <a:pt x="263" y="437"/>
                  </a:lnTo>
                  <a:lnTo>
                    <a:pt x="263" y="436"/>
                  </a:lnTo>
                  <a:lnTo>
                    <a:pt x="261" y="436"/>
                  </a:lnTo>
                  <a:lnTo>
                    <a:pt x="260" y="436"/>
                  </a:lnTo>
                  <a:lnTo>
                    <a:pt x="260" y="434"/>
                  </a:lnTo>
                  <a:lnTo>
                    <a:pt x="259" y="433"/>
                  </a:lnTo>
                  <a:lnTo>
                    <a:pt x="258" y="433"/>
                  </a:lnTo>
                  <a:lnTo>
                    <a:pt x="258" y="434"/>
                  </a:lnTo>
                  <a:lnTo>
                    <a:pt x="257" y="434"/>
                  </a:lnTo>
                  <a:lnTo>
                    <a:pt x="257" y="436"/>
                  </a:lnTo>
                  <a:lnTo>
                    <a:pt x="256" y="436"/>
                  </a:lnTo>
                  <a:lnTo>
                    <a:pt x="254" y="436"/>
                  </a:lnTo>
                  <a:lnTo>
                    <a:pt x="253" y="437"/>
                  </a:lnTo>
                  <a:lnTo>
                    <a:pt x="253" y="436"/>
                  </a:lnTo>
                  <a:lnTo>
                    <a:pt x="252" y="436"/>
                  </a:lnTo>
                  <a:lnTo>
                    <a:pt x="251" y="436"/>
                  </a:lnTo>
                  <a:lnTo>
                    <a:pt x="250" y="436"/>
                  </a:lnTo>
                  <a:lnTo>
                    <a:pt x="249" y="436"/>
                  </a:lnTo>
                  <a:lnTo>
                    <a:pt x="249" y="434"/>
                  </a:lnTo>
                  <a:lnTo>
                    <a:pt x="247" y="436"/>
                  </a:lnTo>
                  <a:lnTo>
                    <a:pt x="246" y="436"/>
                  </a:lnTo>
                  <a:lnTo>
                    <a:pt x="246" y="434"/>
                  </a:lnTo>
                  <a:lnTo>
                    <a:pt x="245" y="434"/>
                  </a:lnTo>
                  <a:lnTo>
                    <a:pt x="244" y="434"/>
                  </a:lnTo>
                  <a:lnTo>
                    <a:pt x="243" y="434"/>
                  </a:lnTo>
                  <a:lnTo>
                    <a:pt x="243" y="433"/>
                  </a:lnTo>
                  <a:lnTo>
                    <a:pt x="242" y="433"/>
                  </a:lnTo>
                  <a:lnTo>
                    <a:pt x="240" y="433"/>
                  </a:lnTo>
                  <a:lnTo>
                    <a:pt x="240" y="434"/>
                  </a:lnTo>
                  <a:lnTo>
                    <a:pt x="239" y="434"/>
                  </a:lnTo>
                  <a:lnTo>
                    <a:pt x="239" y="433"/>
                  </a:lnTo>
                  <a:lnTo>
                    <a:pt x="239" y="434"/>
                  </a:lnTo>
                  <a:lnTo>
                    <a:pt x="238" y="433"/>
                  </a:lnTo>
                  <a:lnTo>
                    <a:pt x="238" y="432"/>
                  </a:lnTo>
                  <a:lnTo>
                    <a:pt x="238" y="431"/>
                  </a:lnTo>
                  <a:lnTo>
                    <a:pt x="238" y="430"/>
                  </a:lnTo>
                  <a:lnTo>
                    <a:pt x="238" y="429"/>
                  </a:lnTo>
                  <a:lnTo>
                    <a:pt x="238" y="427"/>
                  </a:lnTo>
                  <a:lnTo>
                    <a:pt x="238" y="426"/>
                  </a:lnTo>
                  <a:lnTo>
                    <a:pt x="238" y="425"/>
                  </a:lnTo>
                  <a:lnTo>
                    <a:pt x="237" y="424"/>
                  </a:lnTo>
                  <a:lnTo>
                    <a:pt x="238" y="423"/>
                  </a:lnTo>
                  <a:lnTo>
                    <a:pt x="238" y="422"/>
                  </a:lnTo>
                  <a:lnTo>
                    <a:pt x="238" y="420"/>
                  </a:lnTo>
                  <a:lnTo>
                    <a:pt x="238" y="419"/>
                  </a:lnTo>
                  <a:lnTo>
                    <a:pt x="238" y="418"/>
                  </a:lnTo>
                  <a:lnTo>
                    <a:pt x="238" y="417"/>
                  </a:lnTo>
                  <a:lnTo>
                    <a:pt x="238" y="416"/>
                  </a:lnTo>
                  <a:lnTo>
                    <a:pt x="238" y="415"/>
                  </a:lnTo>
                  <a:lnTo>
                    <a:pt x="238" y="416"/>
                  </a:lnTo>
                  <a:lnTo>
                    <a:pt x="238" y="415"/>
                  </a:lnTo>
                  <a:lnTo>
                    <a:pt x="237" y="415"/>
                  </a:lnTo>
                  <a:lnTo>
                    <a:pt x="238" y="413"/>
                  </a:lnTo>
                  <a:lnTo>
                    <a:pt x="237" y="413"/>
                  </a:lnTo>
                  <a:lnTo>
                    <a:pt x="237" y="412"/>
                  </a:lnTo>
                  <a:lnTo>
                    <a:pt x="238" y="412"/>
                  </a:lnTo>
                  <a:lnTo>
                    <a:pt x="237" y="412"/>
                  </a:lnTo>
                  <a:lnTo>
                    <a:pt x="237" y="411"/>
                  </a:lnTo>
                  <a:lnTo>
                    <a:pt x="236" y="411"/>
                  </a:lnTo>
                  <a:lnTo>
                    <a:pt x="236" y="410"/>
                  </a:lnTo>
                  <a:lnTo>
                    <a:pt x="236" y="409"/>
                  </a:lnTo>
                  <a:lnTo>
                    <a:pt x="236" y="408"/>
                  </a:lnTo>
                  <a:lnTo>
                    <a:pt x="235" y="406"/>
                  </a:lnTo>
                  <a:lnTo>
                    <a:pt x="233" y="406"/>
                  </a:lnTo>
                  <a:lnTo>
                    <a:pt x="233" y="405"/>
                  </a:lnTo>
                  <a:lnTo>
                    <a:pt x="233" y="404"/>
                  </a:lnTo>
                  <a:lnTo>
                    <a:pt x="232" y="404"/>
                  </a:lnTo>
                  <a:lnTo>
                    <a:pt x="233" y="404"/>
                  </a:lnTo>
                  <a:lnTo>
                    <a:pt x="233" y="403"/>
                  </a:lnTo>
                  <a:lnTo>
                    <a:pt x="232" y="403"/>
                  </a:lnTo>
                  <a:lnTo>
                    <a:pt x="233" y="403"/>
                  </a:lnTo>
                  <a:lnTo>
                    <a:pt x="233" y="402"/>
                  </a:lnTo>
                  <a:lnTo>
                    <a:pt x="235" y="402"/>
                  </a:lnTo>
                  <a:lnTo>
                    <a:pt x="235" y="401"/>
                  </a:lnTo>
                  <a:lnTo>
                    <a:pt x="236" y="401"/>
                  </a:lnTo>
                  <a:lnTo>
                    <a:pt x="237" y="401"/>
                  </a:lnTo>
                  <a:lnTo>
                    <a:pt x="237" y="399"/>
                  </a:lnTo>
                  <a:lnTo>
                    <a:pt x="235" y="398"/>
                  </a:lnTo>
                  <a:lnTo>
                    <a:pt x="233" y="397"/>
                  </a:lnTo>
                  <a:lnTo>
                    <a:pt x="232" y="396"/>
                  </a:lnTo>
                  <a:lnTo>
                    <a:pt x="233" y="395"/>
                  </a:lnTo>
                  <a:lnTo>
                    <a:pt x="233" y="394"/>
                  </a:lnTo>
                  <a:lnTo>
                    <a:pt x="233" y="392"/>
                  </a:lnTo>
                  <a:lnTo>
                    <a:pt x="235" y="391"/>
                  </a:lnTo>
                  <a:lnTo>
                    <a:pt x="235" y="389"/>
                  </a:lnTo>
                  <a:lnTo>
                    <a:pt x="236" y="387"/>
                  </a:lnTo>
                  <a:lnTo>
                    <a:pt x="236" y="385"/>
                  </a:lnTo>
                  <a:lnTo>
                    <a:pt x="237" y="385"/>
                  </a:lnTo>
                  <a:lnTo>
                    <a:pt x="237" y="384"/>
                  </a:lnTo>
                  <a:lnTo>
                    <a:pt x="237" y="383"/>
                  </a:lnTo>
                  <a:lnTo>
                    <a:pt x="236" y="383"/>
                  </a:lnTo>
                  <a:lnTo>
                    <a:pt x="236" y="382"/>
                  </a:lnTo>
                  <a:lnTo>
                    <a:pt x="237" y="381"/>
                  </a:lnTo>
                  <a:lnTo>
                    <a:pt x="237" y="378"/>
                  </a:lnTo>
                  <a:lnTo>
                    <a:pt x="238" y="376"/>
                  </a:lnTo>
                  <a:lnTo>
                    <a:pt x="238" y="374"/>
                  </a:lnTo>
                  <a:lnTo>
                    <a:pt x="238" y="373"/>
                  </a:lnTo>
                  <a:lnTo>
                    <a:pt x="239" y="373"/>
                  </a:lnTo>
                  <a:lnTo>
                    <a:pt x="239" y="371"/>
                  </a:lnTo>
                  <a:lnTo>
                    <a:pt x="238" y="371"/>
                  </a:lnTo>
                  <a:lnTo>
                    <a:pt x="238" y="370"/>
                  </a:lnTo>
                  <a:lnTo>
                    <a:pt x="237" y="369"/>
                  </a:lnTo>
                  <a:lnTo>
                    <a:pt x="236" y="366"/>
                  </a:lnTo>
                  <a:lnTo>
                    <a:pt x="236" y="364"/>
                  </a:lnTo>
                  <a:lnTo>
                    <a:pt x="235" y="364"/>
                  </a:lnTo>
                  <a:lnTo>
                    <a:pt x="235" y="363"/>
                  </a:lnTo>
                  <a:lnTo>
                    <a:pt x="235" y="362"/>
                  </a:lnTo>
                  <a:lnTo>
                    <a:pt x="233" y="361"/>
                  </a:lnTo>
                  <a:lnTo>
                    <a:pt x="232" y="361"/>
                  </a:lnTo>
                  <a:lnTo>
                    <a:pt x="231" y="361"/>
                  </a:lnTo>
                  <a:lnTo>
                    <a:pt x="230" y="360"/>
                  </a:lnTo>
                  <a:lnTo>
                    <a:pt x="229" y="360"/>
                  </a:lnTo>
                  <a:lnTo>
                    <a:pt x="229" y="359"/>
                  </a:lnTo>
                  <a:lnTo>
                    <a:pt x="228" y="359"/>
                  </a:lnTo>
                  <a:lnTo>
                    <a:pt x="228" y="357"/>
                  </a:lnTo>
                  <a:lnTo>
                    <a:pt x="226" y="357"/>
                  </a:lnTo>
                  <a:lnTo>
                    <a:pt x="225" y="357"/>
                  </a:lnTo>
                  <a:lnTo>
                    <a:pt x="225" y="356"/>
                  </a:lnTo>
                  <a:lnTo>
                    <a:pt x="225" y="355"/>
                  </a:lnTo>
                  <a:lnTo>
                    <a:pt x="225" y="354"/>
                  </a:lnTo>
                  <a:lnTo>
                    <a:pt x="224" y="353"/>
                  </a:lnTo>
                  <a:lnTo>
                    <a:pt x="224" y="352"/>
                  </a:lnTo>
                  <a:lnTo>
                    <a:pt x="224" y="350"/>
                  </a:lnTo>
                  <a:lnTo>
                    <a:pt x="224" y="349"/>
                  </a:lnTo>
                  <a:lnTo>
                    <a:pt x="224" y="348"/>
                  </a:lnTo>
                  <a:lnTo>
                    <a:pt x="224" y="347"/>
                  </a:lnTo>
                  <a:lnTo>
                    <a:pt x="225" y="345"/>
                  </a:lnTo>
                  <a:lnTo>
                    <a:pt x="225" y="343"/>
                  </a:lnTo>
                  <a:lnTo>
                    <a:pt x="225" y="341"/>
                  </a:lnTo>
                  <a:lnTo>
                    <a:pt x="224" y="341"/>
                  </a:lnTo>
                  <a:lnTo>
                    <a:pt x="224" y="342"/>
                  </a:lnTo>
                  <a:lnTo>
                    <a:pt x="223" y="342"/>
                  </a:lnTo>
                  <a:lnTo>
                    <a:pt x="220" y="342"/>
                  </a:lnTo>
                  <a:lnTo>
                    <a:pt x="217" y="342"/>
                  </a:lnTo>
                  <a:lnTo>
                    <a:pt x="215" y="342"/>
                  </a:lnTo>
                  <a:lnTo>
                    <a:pt x="211" y="342"/>
                  </a:lnTo>
                  <a:lnTo>
                    <a:pt x="209" y="341"/>
                  </a:lnTo>
                  <a:lnTo>
                    <a:pt x="207" y="341"/>
                  </a:lnTo>
                  <a:lnTo>
                    <a:pt x="204" y="341"/>
                  </a:lnTo>
                  <a:lnTo>
                    <a:pt x="201" y="341"/>
                  </a:lnTo>
                  <a:lnTo>
                    <a:pt x="200" y="341"/>
                  </a:lnTo>
                  <a:lnTo>
                    <a:pt x="200" y="340"/>
                  </a:lnTo>
                  <a:lnTo>
                    <a:pt x="200" y="339"/>
                  </a:lnTo>
                  <a:lnTo>
                    <a:pt x="200" y="336"/>
                  </a:lnTo>
                  <a:lnTo>
                    <a:pt x="199" y="334"/>
                  </a:lnTo>
                  <a:lnTo>
                    <a:pt x="199" y="332"/>
                  </a:lnTo>
                  <a:lnTo>
                    <a:pt x="199" y="329"/>
                  </a:lnTo>
                  <a:lnTo>
                    <a:pt x="197" y="328"/>
                  </a:lnTo>
                  <a:lnTo>
                    <a:pt x="196" y="327"/>
                  </a:lnTo>
                  <a:lnTo>
                    <a:pt x="195" y="325"/>
                  </a:lnTo>
                  <a:lnTo>
                    <a:pt x="194" y="324"/>
                  </a:lnTo>
                  <a:lnTo>
                    <a:pt x="193" y="322"/>
                  </a:lnTo>
                  <a:lnTo>
                    <a:pt x="195" y="322"/>
                  </a:lnTo>
                  <a:lnTo>
                    <a:pt x="197" y="322"/>
                  </a:lnTo>
                  <a:lnTo>
                    <a:pt x="197" y="321"/>
                  </a:lnTo>
                  <a:lnTo>
                    <a:pt x="197" y="320"/>
                  </a:lnTo>
                  <a:lnTo>
                    <a:pt x="196" y="319"/>
                  </a:lnTo>
                  <a:lnTo>
                    <a:pt x="196" y="318"/>
                  </a:lnTo>
                  <a:lnTo>
                    <a:pt x="196" y="317"/>
                  </a:lnTo>
                  <a:lnTo>
                    <a:pt x="196" y="315"/>
                  </a:lnTo>
                  <a:lnTo>
                    <a:pt x="195" y="314"/>
                  </a:lnTo>
                  <a:lnTo>
                    <a:pt x="195" y="313"/>
                  </a:lnTo>
                  <a:lnTo>
                    <a:pt x="195" y="312"/>
                  </a:lnTo>
                  <a:lnTo>
                    <a:pt x="195" y="311"/>
                  </a:lnTo>
                  <a:lnTo>
                    <a:pt x="194" y="310"/>
                  </a:lnTo>
                  <a:lnTo>
                    <a:pt x="194" y="308"/>
                  </a:lnTo>
                  <a:lnTo>
                    <a:pt x="193" y="308"/>
                  </a:lnTo>
                  <a:lnTo>
                    <a:pt x="193" y="307"/>
                  </a:lnTo>
                  <a:lnTo>
                    <a:pt x="194" y="307"/>
                  </a:lnTo>
                  <a:lnTo>
                    <a:pt x="194" y="306"/>
                  </a:lnTo>
                  <a:lnTo>
                    <a:pt x="194" y="305"/>
                  </a:lnTo>
                  <a:lnTo>
                    <a:pt x="194" y="304"/>
                  </a:lnTo>
                  <a:lnTo>
                    <a:pt x="193" y="304"/>
                  </a:lnTo>
                  <a:lnTo>
                    <a:pt x="193" y="303"/>
                  </a:lnTo>
                  <a:lnTo>
                    <a:pt x="193" y="301"/>
                  </a:lnTo>
                  <a:lnTo>
                    <a:pt x="192" y="301"/>
                  </a:lnTo>
                  <a:lnTo>
                    <a:pt x="190" y="301"/>
                  </a:lnTo>
                  <a:lnTo>
                    <a:pt x="190" y="300"/>
                  </a:lnTo>
                  <a:lnTo>
                    <a:pt x="189" y="300"/>
                  </a:lnTo>
                  <a:lnTo>
                    <a:pt x="188" y="299"/>
                  </a:lnTo>
                  <a:lnTo>
                    <a:pt x="187" y="299"/>
                  </a:lnTo>
                  <a:lnTo>
                    <a:pt x="187" y="298"/>
                  </a:lnTo>
                  <a:lnTo>
                    <a:pt x="186" y="298"/>
                  </a:lnTo>
                  <a:lnTo>
                    <a:pt x="185" y="298"/>
                  </a:lnTo>
                  <a:lnTo>
                    <a:pt x="185" y="297"/>
                  </a:lnTo>
                  <a:lnTo>
                    <a:pt x="183" y="297"/>
                  </a:lnTo>
                  <a:lnTo>
                    <a:pt x="183" y="298"/>
                  </a:lnTo>
                  <a:lnTo>
                    <a:pt x="182" y="298"/>
                  </a:lnTo>
                  <a:lnTo>
                    <a:pt x="181" y="298"/>
                  </a:lnTo>
                  <a:lnTo>
                    <a:pt x="181" y="297"/>
                  </a:lnTo>
                  <a:lnTo>
                    <a:pt x="180" y="298"/>
                  </a:lnTo>
                  <a:lnTo>
                    <a:pt x="179" y="298"/>
                  </a:lnTo>
                  <a:lnTo>
                    <a:pt x="178" y="298"/>
                  </a:lnTo>
                  <a:lnTo>
                    <a:pt x="176" y="298"/>
                  </a:lnTo>
                  <a:lnTo>
                    <a:pt x="175" y="298"/>
                  </a:lnTo>
                  <a:lnTo>
                    <a:pt x="174" y="298"/>
                  </a:lnTo>
                  <a:lnTo>
                    <a:pt x="173" y="297"/>
                  </a:lnTo>
                  <a:lnTo>
                    <a:pt x="172" y="296"/>
                  </a:lnTo>
                  <a:lnTo>
                    <a:pt x="171" y="294"/>
                  </a:lnTo>
                  <a:lnTo>
                    <a:pt x="169" y="293"/>
                  </a:lnTo>
                  <a:lnTo>
                    <a:pt x="169" y="292"/>
                  </a:lnTo>
                  <a:lnTo>
                    <a:pt x="169" y="291"/>
                  </a:lnTo>
                  <a:lnTo>
                    <a:pt x="168" y="291"/>
                  </a:lnTo>
                  <a:lnTo>
                    <a:pt x="168" y="292"/>
                  </a:lnTo>
                  <a:lnTo>
                    <a:pt x="168" y="291"/>
                  </a:lnTo>
                  <a:lnTo>
                    <a:pt x="167" y="292"/>
                  </a:lnTo>
                  <a:lnTo>
                    <a:pt x="166" y="292"/>
                  </a:lnTo>
                  <a:lnTo>
                    <a:pt x="166" y="291"/>
                  </a:lnTo>
                  <a:lnTo>
                    <a:pt x="165" y="291"/>
                  </a:lnTo>
                  <a:lnTo>
                    <a:pt x="164" y="291"/>
                  </a:lnTo>
                  <a:lnTo>
                    <a:pt x="162" y="290"/>
                  </a:lnTo>
                  <a:lnTo>
                    <a:pt x="161" y="289"/>
                  </a:lnTo>
                  <a:lnTo>
                    <a:pt x="161" y="290"/>
                  </a:lnTo>
                  <a:lnTo>
                    <a:pt x="160" y="290"/>
                  </a:lnTo>
                  <a:lnTo>
                    <a:pt x="160" y="289"/>
                  </a:lnTo>
                  <a:lnTo>
                    <a:pt x="159" y="289"/>
                  </a:lnTo>
                  <a:lnTo>
                    <a:pt x="158" y="287"/>
                  </a:lnTo>
                  <a:lnTo>
                    <a:pt x="157" y="287"/>
                  </a:lnTo>
                  <a:lnTo>
                    <a:pt x="157" y="286"/>
                  </a:lnTo>
                  <a:lnTo>
                    <a:pt x="157" y="285"/>
                  </a:lnTo>
                  <a:lnTo>
                    <a:pt x="156" y="284"/>
                  </a:lnTo>
                  <a:lnTo>
                    <a:pt x="154" y="284"/>
                  </a:lnTo>
                  <a:lnTo>
                    <a:pt x="153" y="285"/>
                  </a:lnTo>
                  <a:lnTo>
                    <a:pt x="152" y="285"/>
                  </a:lnTo>
                  <a:lnTo>
                    <a:pt x="152" y="284"/>
                  </a:lnTo>
                  <a:lnTo>
                    <a:pt x="151" y="284"/>
                  </a:lnTo>
                  <a:lnTo>
                    <a:pt x="151" y="283"/>
                  </a:lnTo>
                  <a:lnTo>
                    <a:pt x="150" y="283"/>
                  </a:lnTo>
                  <a:lnTo>
                    <a:pt x="149" y="282"/>
                  </a:lnTo>
                  <a:lnTo>
                    <a:pt x="147" y="282"/>
                  </a:lnTo>
                  <a:lnTo>
                    <a:pt x="145" y="280"/>
                  </a:lnTo>
                  <a:lnTo>
                    <a:pt x="145" y="282"/>
                  </a:lnTo>
                  <a:lnTo>
                    <a:pt x="144" y="282"/>
                  </a:lnTo>
                  <a:lnTo>
                    <a:pt x="144" y="283"/>
                  </a:lnTo>
                  <a:lnTo>
                    <a:pt x="144" y="282"/>
                  </a:lnTo>
                  <a:lnTo>
                    <a:pt x="143" y="282"/>
                  </a:lnTo>
                  <a:lnTo>
                    <a:pt x="142" y="282"/>
                  </a:lnTo>
                  <a:lnTo>
                    <a:pt x="140" y="282"/>
                  </a:lnTo>
                  <a:lnTo>
                    <a:pt x="139" y="282"/>
                  </a:lnTo>
                  <a:lnTo>
                    <a:pt x="139" y="280"/>
                  </a:lnTo>
                  <a:lnTo>
                    <a:pt x="138" y="280"/>
                  </a:lnTo>
                  <a:lnTo>
                    <a:pt x="138" y="282"/>
                  </a:lnTo>
                  <a:lnTo>
                    <a:pt x="138" y="280"/>
                  </a:lnTo>
                  <a:lnTo>
                    <a:pt x="137" y="280"/>
                  </a:lnTo>
                  <a:lnTo>
                    <a:pt x="137" y="279"/>
                  </a:lnTo>
                  <a:lnTo>
                    <a:pt x="136" y="279"/>
                  </a:lnTo>
                  <a:lnTo>
                    <a:pt x="136" y="278"/>
                  </a:lnTo>
                  <a:lnTo>
                    <a:pt x="136" y="277"/>
                  </a:lnTo>
                  <a:lnTo>
                    <a:pt x="135" y="277"/>
                  </a:lnTo>
                  <a:lnTo>
                    <a:pt x="133" y="277"/>
                  </a:lnTo>
                  <a:lnTo>
                    <a:pt x="133" y="276"/>
                  </a:lnTo>
                  <a:lnTo>
                    <a:pt x="132" y="276"/>
                  </a:lnTo>
                  <a:lnTo>
                    <a:pt x="132" y="275"/>
                  </a:lnTo>
                  <a:lnTo>
                    <a:pt x="131" y="275"/>
                  </a:lnTo>
                  <a:lnTo>
                    <a:pt x="131" y="273"/>
                  </a:lnTo>
                  <a:lnTo>
                    <a:pt x="130" y="275"/>
                  </a:lnTo>
                  <a:lnTo>
                    <a:pt x="130" y="273"/>
                  </a:lnTo>
                  <a:lnTo>
                    <a:pt x="129" y="273"/>
                  </a:lnTo>
                  <a:lnTo>
                    <a:pt x="129" y="272"/>
                  </a:lnTo>
                  <a:lnTo>
                    <a:pt x="128" y="272"/>
                  </a:lnTo>
                  <a:lnTo>
                    <a:pt x="128" y="271"/>
                  </a:lnTo>
                  <a:lnTo>
                    <a:pt x="128" y="270"/>
                  </a:lnTo>
                  <a:lnTo>
                    <a:pt x="126" y="270"/>
                  </a:lnTo>
                  <a:lnTo>
                    <a:pt x="126" y="269"/>
                  </a:lnTo>
                  <a:lnTo>
                    <a:pt x="126" y="270"/>
                  </a:lnTo>
                  <a:lnTo>
                    <a:pt x="125" y="270"/>
                  </a:lnTo>
                  <a:lnTo>
                    <a:pt x="125" y="269"/>
                  </a:lnTo>
                  <a:lnTo>
                    <a:pt x="125" y="268"/>
                  </a:lnTo>
                  <a:lnTo>
                    <a:pt x="126" y="268"/>
                  </a:lnTo>
                  <a:lnTo>
                    <a:pt x="125" y="268"/>
                  </a:lnTo>
                  <a:lnTo>
                    <a:pt x="125" y="266"/>
                  </a:lnTo>
                  <a:lnTo>
                    <a:pt x="124" y="265"/>
                  </a:lnTo>
                  <a:lnTo>
                    <a:pt x="123" y="264"/>
                  </a:lnTo>
                  <a:lnTo>
                    <a:pt x="123" y="263"/>
                  </a:lnTo>
                  <a:lnTo>
                    <a:pt x="123" y="262"/>
                  </a:lnTo>
                  <a:lnTo>
                    <a:pt x="123" y="261"/>
                  </a:lnTo>
                  <a:lnTo>
                    <a:pt x="122" y="261"/>
                  </a:lnTo>
                  <a:lnTo>
                    <a:pt x="123" y="259"/>
                  </a:lnTo>
                  <a:lnTo>
                    <a:pt x="123" y="258"/>
                  </a:lnTo>
                  <a:lnTo>
                    <a:pt x="123" y="257"/>
                  </a:lnTo>
                  <a:lnTo>
                    <a:pt x="123" y="256"/>
                  </a:lnTo>
                  <a:lnTo>
                    <a:pt x="123" y="255"/>
                  </a:lnTo>
                  <a:lnTo>
                    <a:pt x="122" y="255"/>
                  </a:lnTo>
                  <a:lnTo>
                    <a:pt x="122" y="254"/>
                  </a:lnTo>
                  <a:lnTo>
                    <a:pt x="122" y="252"/>
                  </a:lnTo>
                  <a:lnTo>
                    <a:pt x="122" y="251"/>
                  </a:lnTo>
                  <a:lnTo>
                    <a:pt x="122" y="250"/>
                  </a:lnTo>
                  <a:lnTo>
                    <a:pt x="121" y="250"/>
                  </a:lnTo>
                  <a:lnTo>
                    <a:pt x="121" y="249"/>
                  </a:lnTo>
                  <a:lnTo>
                    <a:pt x="122" y="249"/>
                  </a:lnTo>
                  <a:lnTo>
                    <a:pt x="122" y="248"/>
                  </a:lnTo>
                  <a:lnTo>
                    <a:pt x="123" y="247"/>
                  </a:lnTo>
                  <a:lnTo>
                    <a:pt x="123" y="245"/>
                  </a:lnTo>
                  <a:lnTo>
                    <a:pt x="123" y="244"/>
                  </a:lnTo>
                  <a:lnTo>
                    <a:pt x="123" y="243"/>
                  </a:lnTo>
                  <a:lnTo>
                    <a:pt x="122" y="242"/>
                  </a:lnTo>
                  <a:lnTo>
                    <a:pt x="122" y="241"/>
                  </a:lnTo>
                  <a:lnTo>
                    <a:pt x="123" y="240"/>
                  </a:lnTo>
                  <a:lnTo>
                    <a:pt x="122" y="238"/>
                  </a:lnTo>
                  <a:lnTo>
                    <a:pt x="122" y="237"/>
                  </a:lnTo>
                  <a:lnTo>
                    <a:pt x="121" y="237"/>
                  </a:lnTo>
                  <a:lnTo>
                    <a:pt x="119" y="237"/>
                  </a:lnTo>
                  <a:lnTo>
                    <a:pt x="119" y="238"/>
                  </a:lnTo>
                  <a:lnTo>
                    <a:pt x="118" y="238"/>
                  </a:lnTo>
                  <a:lnTo>
                    <a:pt x="118" y="240"/>
                  </a:lnTo>
                  <a:lnTo>
                    <a:pt x="117" y="238"/>
                  </a:lnTo>
                  <a:lnTo>
                    <a:pt x="116" y="238"/>
                  </a:lnTo>
                  <a:lnTo>
                    <a:pt x="116" y="237"/>
                  </a:lnTo>
                  <a:lnTo>
                    <a:pt x="116" y="238"/>
                  </a:lnTo>
                  <a:lnTo>
                    <a:pt x="115" y="238"/>
                  </a:lnTo>
                  <a:lnTo>
                    <a:pt x="114" y="238"/>
                  </a:lnTo>
                  <a:lnTo>
                    <a:pt x="112" y="238"/>
                  </a:lnTo>
                  <a:lnTo>
                    <a:pt x="111" y="238"/>
                  </a:lnTo>
                  <a:lnTo>
                    <a:pt x="110" y="238"/>
                  </a:lnTo>
                  <a:lnTo>
                    <a:pt x="109" y="240"/>
                  </a:lnTo>
                  <a:lnTo>
                    <a:pt x="108" y="240"/>
                  </a:lnTo>
                  <a:lnTo>
                    <a:pt x="107" y="240"/>
                  </a:lnTo>
                  <a:lnTo>
                    <a:pt x="107" y="241"/>
                  </a:lnTo>
                  <a:lnTo>
                    <a:pt x="105" y="240"/>
                  </a:lnTo>
                  <a:lnTo>
                    <a:pt x="104" y="241"/>
                  </a:lnTo>
                  <a:lnTo>
                    <a:pt x="103" y="241"/>
                  </a:lnTo>
                  <a:lnTo>
                    <a:pt x="102" y="242"/>
                  </a:lnTo>
                  <a:lnTo>
                    <a:pt x="101" y="243"/>
                  </a:lnTo>
                  <a:lnTo>
                    <a:pt x="98" y="247"/>
                  </a:lnTo>
                  <a:lnTo>
                    <a:pt x="97" y="247"/>
                  </a:lnTo>
                  <a:lnTo>
                    <a:pt x="96" y="247"/>
                  </a:lnTo>
                  <a:lnTo>
                    <a:pt x="95" y="247"/>
                  </a:lnTo>
                  <a:lnTo>
                    <a:pt x="95" y="248"/>
                  </a:lnTo>
                  <a:lnTo>
                    <a:pt x="94" y="248"/>
                  </a:lnTo>
                  <a:lnTo>
                    <a:pt x="94" y="249"/>
                  </a:lnTo>
                  <a:lnTo>
                    <a:pt x="93" y="249"/>
                  </a:lnTo>
                  <a:lnTo>
                    <a:pt x="93" y="250"/>
                  </a:lnTo>
                  <a:lnTo>
                    <a:pt x="92" y="250"/>
                  </a:lnTo>
                  <a:lnTo>
                    <a:pt x="90" y="251"/>
                  </a:lnTo>
                  <a:lnTo>
                    <a:pt x="90" y="252"/>
                  </a:lnTo>
                  <a:lnTo>
                    <a:pt x="89" y="254"/>
                  </a:lnTo>
                  <a:lnTo>
                    <a:pt x="88" y="252"/>
                  </a:lnTo>
                  <a:lnTo>
                    <a:pt x="86" y="252"/>
                  </a:lnTo>
                  <a:lnTo>
                    <a:pt x="85" y="252"/>
                  </a:lnTo>
                  <a:lnTo>
                    <a:pt x="85" y="254"/>
                  </a:lnTo>
                  <a:lnTo>
                    <a:pt x="83" y="255"/>
                  </a:lnTo>
                  <a:lnTo>
                    <a:pt x="83" y="256"/>
                  </a:lnTo>
                  <a:lnTo>
                    <a:pt x="82" y="256"/>
                  </a:lnTo>
                  <a:lnTo>
                    <a:pt x="82" y="257"/>
                  </a:lnTo>
                  <a:lnTo>
                    <a:pt x="82" y="258"/>
                  </a:lnTo>
                  <a:lnTo>
                    <a:pt x="81" y="258"/>
                  </a:lnTo>
                  <a:lnTo>
                    <a:pt x="80" y="258"/>
                  </a:lnTo>
                  <a:lnTo>
                    <a:pt x="79" y="258"/>
                  </a:lnTo>
                  <a:lnTo>
                    <a:pt x="78" y="259"/>
                  </a:lnTo>
                  <a:lnTo>
                    <a:pt x="75" y="261"/>
                  </a:lnTo>
                  <a:lnTo>
                    <a:pt x="75" y="259"/>
                  </a:lnTo>
                  <a:lnTo>
                    <a:pt x="75" y="258"/>
                  </a:lnTo>
                  <a:lnTo>
                    <a:pt x="74" y="258"/>
                  </a:lnTo>
                  <a:lnTo>
                    <a:pt x="73" y="258"/>
                  </a:lnTo>
                  <a:lnTo>
                    <a:pt x="72" y="258"/>
                  </a:lnTo>
                  <a:lnTo>
                    <a:pt x="71" y="257"/>
                  </a:lnTo>
                  <a:lnTo>
                    <a:pt x="69" y="257"/>
                  </a:lnTo>
                  <a:lnTo>
                    <a:pt x="68" y="257"/>
                  </a:lnTo>
                  <a:lnTo>
                    <a:pt x="67" y="257"/>
                  </a:lnTo>
                  <a:lnTo>
                    <a:pt x="66" y="257"/>
                  </a:lnTo>
                  <a:lnTo>
                    <a:pt x="65" y="257"/>
                  </a:lnTo>
                  <a:lnTo>
                    <a:pt x="64" y="257"/>
                  </a:lnTo>
                  <a:lnTo>
                    <a:pt x="62" y="257"/>
                  </a:lnTo>
                  <a:lnTo>
                    <a:pt x="61" y="257"/>
                  </a:lnTo>
                  <a:lnTo>
                    <a:pt x="60" y="257"/>
                  </a:lnTo>
                  <a:lnTo>
                    <a:pt x="59" y="257"/>
                  </a:lnTo>
                  <a:lnTo>
                    <a:pt x="55" y="258"/>
                  </a:lnTo>
                  <a:lnTo>
                    <a:pt x="54" y="258"/>
                  </a:lnTo>
                  <a:lnTo>
                    <a:pt x="53" y="259"/>
                  </a:lnTo>
                  <a:lnTo>
                    <a:pt x="53" y="258"/>
                  </a:lnTo>
                  <a:lnTo>
                    <a:pt x="52" y="258"/>
                  </a:lnTo>
                  <a:lnTo>
                    <a:pt x="51" y="257"/>
                  </a:lnTo>
                  <a:lnTo>
                    <a:pt x="50" y="258"/>
                  </a:lnTo>
                  <a:lnTo>
                    <a:pt x="50" y="257"/>
                  </a:lnTo>
                  <a:lnTo>
                    <a:pt x="50" y="255"/>
                  </a:lnTo>
                  <a:lnTo>
                    <a:pt x="50" y="252"/>
                  </a:lnTo>
                  <a:lnTo>
                    <a:pt x="48" y="250"/>
                  </a:lnTo>
                  <a:lnTo>
                    <a:pt x="48" y="249"/>
                  </a:lnTo>
                  <a:lnTo>
                    <a:pt x="48" y="247"/>
                  </a:lnTo>
                  <a:lnTo>
                    <a:pt x="48" y="244"/>
                  </a:lnTo>
                  <a:lnTo>
                    <a:pt x="48" y="243"/>
                  </a:lnTo>
                  <a:lnTo>
                    <a:pt x="48" y="241"/>
                  </a:lnTo>
                  <a:lnTo>
                    <a:pt x="48" y="240"/>
                  </a:lnTo>
                  <a:lnTo>
                    <a:pt x="48" y="238"/>
                  </a:lnTo>
                  <a:lnTo>
                    <a:pt x="50" y="238"/>
                  </a:lnTo>
                  <a:lnTo>
                    <a:pt x="50" y="237"/>
                  </a:lnTo>
                  <a:lnTo>
                    <a:pt x="48" y="236"/>
                  </a:lnTo>
                  <a:lnTo>
                    <a:pt x="48" y="235"/>
                  </a:lnTo>
                  <a:lnTo>
                    <a:pt x="50" y="235"/>
                  </a:lnTo>
                  <a:lnTo>
                    <a:pt x="48" y="235"/>
                  </a:lnTo>
                  <a:lnTo>
                    <a:pt x="50" y="235"/>
                  </a:lnTo>
                  <a:lnTo>
                    <a:pt x="50" y="234"/>
                  </a:lnTo>
                  <a:lnTo>
                    <a:pt x="50" y="233"/>
                  </a:lnTo>
                  <a:lnTo>
                    <a:pt x="48" y="233"/>
                  </a:lnTo>
                  <a:lnTo>
                    <a:pt x="48" y="234"/>
                  </a:lnTo>
                  <a:lnTo>
                    <a:pt x="47" y="234"/>
                  </a:lnTo>
                  <a:lnTo>
                    <a:pt x="47" y="235"/>
                  </a:lnTo>
                  <a:lnTo>
                    <a:pt x="46" y="235"/>
                  </a:lnTo>
                  <a:lnTo>
                    <a:pt x="46" y="236"/>
                  </a:lnTo>
                  <a:lnTo>
                    <a:pt x="45" y="236"/>
                  </a:lnTo>
                  <a:lnTo>
                    <a:pt x="45" y="237"/>
                  </a:lnTo>
                  <a:lnTo>
                    <a:pt x="44" y="237"/>
                  </a:lnTo>
                  <a:lnTo>
                    <a:pt x="44" y="238"/>
                  </a:lnTo>
                  <a:lnTo>
                    <a:pt x="43" y="240"/>
                  </a:lnTo>
                  <a:lnTo>
                    <a:pt x="41" y="240"/>
                  </a:lnTo>
                  <a:lnTo>
                    <a:pt x="41" y="241"/>
                  </a:lnTo>
                  <a:lnTo>
                    <a:pt x="40" y="241"/>
                  </a:lnTo>
                  <a:lnTo>
                    <a:pt x="39" y="242"/>
                  </a:lnTo>
                  <a:lnTo>
                    <a:pt x="38" y="242"/>
                  </a:lnTo>
                  <a:lnTo>
                    <a:pt x="36" y="242"/>
                  </a:lnTo>
                  <a:lnTo>
                    <a:pt x="32" y="242"/>
                  </a:lnTo>
                  <a:lnTo>
                    <a:pt x="30" y="242"/>
                  </a:lnTo>
                  <a:lnTo>
                    <a:pt x="28" y="242"/>
                  </a:lnTo>
                  <a:lnTo>
                    <a:pt x="26" y="242"/>
                  </a:lnTo>
                  <a:lnTo>
                    <a:pt x="28" y="242"/>
                  </a:lnTo>
                  <a:lnTo>
                    <a:pt x="28" y="241"/>
                  </a:lnTo>
                  <a:lnTo>
                    <a:pt x="28" y="240"/>
                  </a:lnTo>
                  <a:lnTo>
                    <a:pt x="26" y="238"/>
                  </a:lnTo>
                  <a:lnTo>
                    <a:pt x="25" y="238"/>
                  </a:lnTo>
                  <a:lnTo>
                    <a:pt x="25" y="237"/>
                  </a:lnTo>
                  <a:lnTo>
                    <a:pt x="25" y="236"/>
                  </a:lnTo>
                  <a:lnTo>
                    <a:pt x="25" y="235"/>
                  </a:lnTo>
                  <a:lnTo>
                    <a:pt x="24" y="235"/>
                  </a:lnTo>
                  <a:lnTo>
                    <a:pt x="24" y="234"/>
                  </a:lnTo>
                  <a:lnTo>
                    <a:pt x="23" y="234"/>
                  </a:lnTo>
                  <a:lnTo>
                    <a:pt x="22" y="234"/>
                  </a:lnTo>
                  <a:lnTo>
                    <a:pt x="21" y="234"/>
                  </a:lnTo>
                  <a:lnTo>
                    <a:pt x="21" y="233"/>
                  </a:lnTo>
                  <a:lnTo>
                    <a:pt x="19" y="234"/>
                  </a:lnTo>
                  <a:lnTo>
                    <a:pt x="19" y="233"/>
                  </a:lnTo>
                  <a:lnTo>
                    <a:pt x="18" y="233"/>
                  </a:lnTo>
                  <a:lnTo>
                    <a:pt x="12" y="233"/>
                  </a:lnTo>
                  <a:lnTo>
                    <a:pt x="14" y="231"/>
                  </a:lnTo>
                  <a:lnTo>
                    <a:pt x="14" y="230"/>
                  </a:lnTo>
                  <a:lnTo>
                    <a:pt x="15" y="230"/>
                  </a:lnTo>
                  <a:lnTo>
                    <a:pt x="15" y="229"/>
                  </a:lnTo>
                  <a:lnTo>
                    <a:pt x="16" y="228"/>
                  </a:lnTo>
                  <a:lnTo>
                    <a:pt x="16" y="226"/>
                  </a:lnTo>
                  <a:lnTo>
                    <a:pt x="15" y="226"/>
                  </a:lnTo>
                  <a:lnTo>
                    <a:pt x="15" y="224"/>
                  </a:lnTo>
                  <a:lnTo>
                    <a:pt x="14" y="224"/>
                  </a:lnTo>
                  <a:lnTo>
                    <a:pt x="12" y="223"/>
                  </a:lnTo>
                  <a:lnTo>
                    <a:pt x="12" y="222"/>
                  </a:lnTo>
                  <a:lnTo>
                    <a:pt x="12" y="221"/>
                  </a:lnTo>
                  <a:lnTo>
                    <a:pt x="11" y="221"/>
                  </a:lnTo>
                  <a:lnTo>
                    <a:pt x="10" y="221"/>
                  </a:lnTo>
                  <a:lnTo>
                    <a:pt x="10" y="220"/>
                  </a:lnTo>
                  <a:lnTo>
                    <a:pt x="10" y="219"/>
                  </a:lnTo>
                  <a:lnTo>
                    <a:pt x="10" y="217"/>
                  </a:lnTo>
                  <a:lnTo>
                    <a:pt x="9" y="217"/>
                  </a:lnTo>
                  <a:lnTo>
                    <a:pt x="8" y="217"/>
                  </a:lnTo>
                  <a:lnTo>
                    <a:pt x="8" y="216"/>
                  </a:lnTo>
                  <a:lnTo>
                    <a:pt x="7" y="216"/>
                  </a:lnTo>
                  <a:lnTo>
                    <a:pt x="7" y="215"/>
                  </a:lnTo>
                  <a:lnTo>
                    <a:pt x="7" y="214"/>
                  </a:lnTo>
                  <a:lnTo>
                    <a:pt x="5" y="214"/>
                  </a:lnTo>
                  <a:lnTo>
                    <a:pt x="7" y="213"/>
                  </a:lnTo>
                  <a:lnTo>
                    <a:pt x="5" y="213"/>
                  </a:lnTo>
                  <a:lnTo>
                    <a:pt x="5" y="212"/>
                  </a:lnTo>
                  <a:lnTo>
                    <a:pt x="5" y="210"/>
                  </a:lnTo>
                  <a:lnTo>
                    <a:pt x="4" y="210"/>
                  </a:lnTo>
                  <a:lnTo>
                    <a:pt x="3" y="209"/>
                  </a:lnTo>
                  <a:lnTo>
                    <a:pt x="3" y="208"/>
                  </a:lnTo>
                  <a:lnTo>
                    <a:pt x="4" y="208"/>
                  </a:lnTo>
                  <a:lnTo>
                    <a:pt x="4" y="207"/>
                  </a:lnTo>
                  <a:lnTo>
                    <a:pt x="3" y="207"/>
                  </a:lnTo>
                  <a:lnTo>
                    <a:pt x="3" y="206"/>
                  </a:lnTo>
                  <a:lnTo>
                    <a:pt x="2" y="206"/>
                  </a:lnTo>
                  <a:lnTo>
                    <a:pt x="1" y="203"/>
                  </a:lnTo>
                  <a:lnTo>
                    <a:pt x="0" y="203"/>
                  </a:lnTo>
                  <a:lnTo>
                    <a:pt x="1" y="203"/>
                  </a:lnTo>
                  <a:lnTo>
                    <a:pt x="1" y="202"/>
                  </a:lnTo>
                  <a:lnTo>
                    <a:pt x="1" y="201"/>
                  </a:lnTo>
                  <a:lnTo>
                    <a:pt x="1" y="200"/>
                  </a:lnTo>
                  <a:lnTo>
                    <a:pt x="0" y="200"/>
                  </a:lnTo>
                  <a:lnTo>
                    <a:pt x="1" y="200"/>
                  </a:lnTo>
                  <a:lnTo>
                    <a:pt x="2" y="200"/>
                  </a:lnTo>
                  <a:lnTo>
                    <a:pt x="3" y="200"/>
                  </a:lnTo>
                  <a:lnTo>
                    <a:pt x="4" y="200"/>
                  </a:lnTo>
                  <a:lnTo>
                    <a:pt x="4" y="199"/>
                  </a:lnTo>
                  <a:lnTo>
                    <a:pt x="3" y="198"/>
                  </a:lnTo>
                  <a:lnTo>
                    <a:pt x="2" y="196"/>
                  </a:lnTo>
                  <a:lnTo>
                    <a:pt x="2" y="195"/>
                  </a:lnTo>
                  <a:lnTo>
                    <a:pt x="3" y="195"/>
                  </a:lnTo>
                  <a:lnTo>
                    <a:pt x="3" y="194"/>
                  </a:lnTo>
                  <a:lnTo>
                    <a:pt x="3" y="193"/>
                  </a:lnTo>
                  <a:lnTo>
                    <a:pt x="3" y="192"/>
                  </a:lnTo>
                  <a:lnTo>
                    <a:pt x="4" y="192"/>
                  </a:lnTo>
                  <a:lnTo>
                    <a:pt x="4" y="191"/>
                  </a:lnTo>
                  <a:lnTo>
                    <a:pt x="5" y="191"/>
                  </a:lnTo>
                  <a:lnTo>
                    <a:pt x="7" y="189"/>
                  </a:lnTo>
                  <a:lnTo>
                    <a:pt x="8" y="188"/>
                  </a:lnTo>
                  <a:lnTo>
                    <a:pt x="9" y="188"/>
                  </a:lnTo>
                  <a:lnTo>
                    <a:pt x="10" y="187"/>
                  </a:lnTo>
                  <a:lnTo>
                    <a:pt x="11" y="187"/>
                  </a:lnTo>
                  <a:lnTo>
                    <a:pt x="11" y="186"/>
                  </a:lnTo>
                  <a:lnTo>
                    <a:pt x="11" y="185"/>
                  </a:lnTo>
                  <a:lnTo>
                    <a:pt x="11" y="184"/>
                  </a:lnTo>
                  <a:lnTo>
                    <a:pt x="11" y="182"/>
                  </a:lnTo>
                  <a:lnTo>
                    <a:pt x="10" y="181"/>
                  </a:lnTo>
                  <a:lnTo>
                    <a:pt x="10" y="180"/>
                  </a:lnTo>
                  <a:lnTo>
                    <a:pt x="10" y="179"/>
                  </a:lnTo>
                  <a:lnTo>
                    <a:pt x="11" y="177"/>
                  </a:lnTo>
                  <a:lnTo>
                    <a:pt x="12" y="174"/>
                  </a:lnTo>
                  <a:lnTo>
                    <a:pt x="14" y="173"/>
                  </a:lnTo>
                  <a:lnTo>
                    <a:pt x="14" y="172"/>
                  </a:lnTo>
                  <a:lnTo>
                    <a:pt x="14" y="171"/>
                  </a:lnTo>
                  <a:lnTo>
                    <a:pt x="14" y="170"/>
                  </a:lnTo>
                  <a:lnTo>
                    <a:pt x="14" y="168"/>
                  </a:lnTo>
                  <a:lnTo>
                    <a:pt x="14" y="167"/>
                  </a:lnTo>
                  <a:lnTo>
                    <a:pt x="14" y="166"/>
                  </a:lnTo>
                  <a:lnTo>
                    <a:pt x="14" y="165"/>
                  </a:lnTo>
                  <a:lnTo>
                    <a:pt x="15" y="165"/>
                  </a:lnTo>
                  <a:lnTo>
                    <a:pt x="15" y="164"/>
                  </a:lnTo>
                  <a:lnTo>
                    <a:pt x="15" y="165"/>
                  </a:lnTo>
                  <a:lnTo>
                    <a:pt x="16" y="164"/>
                  </a:lnTo>
                  <a:lnTo>
                    <a:pt x="17" y="164"/>
                  </a:lnTo>
                  <a:lnTo>
                    <a:pt x="18" y="164"/>
                  </a:lnTo>
                  <a:lnTo>
                    <a:pt x="18" y="163"/>
                  </a:lnTo>
                  <a:lnTo>
                    <a:pt x="19" y="163"/>
                  </a:lnTo>
                  <a:lnTo>
                    <a:pt x="19" y="161"/>
                  </a:lnTo>
                  <a:lnTo>
                    <a:pt x="21" y="161"/>
                  </a:lnTo>
                  <a:lnTo>
                    <a:pt x="21" y="160"/>
                  </a:lnTo>
                  <a:lnTo>
                    <a:pt x="21" y="159"/>
                  </a:lnTo>
                  <a:lnTo>
                    <a:pt x="22" y="159"/>
                  </a:lnTo>
                  <a:lnTo>
                    <a:pt x="23" y="159"/>
                  </a:lnTo>
                  <a:lnTo>
                    <a:pt x="24" y="158"/>
                  </a:lnTo>
                  <a:lnTo>
                    <a:pt x="25" y="158"/>
                  </a:lnTo>
                  <a:lnTo>
                    <a:pt x="25" y="157"/>
                  </a:lnTo>
                  <a:lnTo>
                    <a:pt x="26" y="157"/>
                  </a:lnTo>
                  <a:lnTo>
                    <a:pt x="28" y="156"/>
                  </a:lnTo>
                  <a:lnTo>
                    <a:pt x="29" y="154"/>
                  </a:lnTo>
                  <a:lnTo>
                    <a:pt x="30" y="154"/>
                  </a:lnTo>
                  <a:lnTo>
                    <a:pt x="31" y="154"/>
                  </a:lnTo>
                  <a:lnTo>
                    <a:pt x="31" y="156"/>
                  </a:lnTo>
                  <a:lnTo>
                    <a:pt x="31" y="154"/>
                  </a:lnTo>
                  <a:lnTo>
                    <a:pt x="32" y="154"/>
                  </a:lnTo>
                  <a:lnTo>
                    <a:pt x="33" y="154"/>
                  </a:lnTo>
                  <a:lnTo>
                    <a:pt x="34" y="154"/>
                  </a:lnTo>
                  <a:lnTo>
                    <a:pt x="36" y="154"/>
                  </a:lnTo>
                  <a:lnTo>
                    <a:pt x="36" y="153"/>
                  </a:lnTo>
                  <a:lnTo>
                    <a:pt x="37" y="153"/>
                  </a:lnTo>
                  <a:lnTo>
                    <a:pt x="38" y="153"/>
                  </a:lnTo>
                  <a:lnTo>
                    <a:pt x="39" y="153"/>
                  </a:lnTo>
                  <a:lnTo>
                    <a:pt x="40" y="153"/>
                  </a:lnTo>
                  <a:lnTo>
                    <a:pt x="40" y="152"/>
                  </a:lnTo>
                  <a:lnTo>
                    <a:pt x="40" y="153"/>
                  </a:lnTo>
                  <a:lnTo>
                    <a:pt x="40" y="152"/>
                  </a:lnTo>
                  <a:lnTo>
                    <a:pt x="41" y="152"/>
                  </a:lnTo>
                  <a:lnTo>
                    <a:pt x="41" y="151"/>
                  </a:lnTo>
                  <a:lnTo>
                    <a:pt x="43" y="151"/>
                  </a:lnTo>
                  <a:lnTo>
                    <a:pt x="43" y="150"/>
                  </a:lnTo>
                  <a:lnTo>
                    <a:pt x="44" y="150"/>
                  </a:lnTo>
                  <a:lnTo>
                    <a:pt x="45" y="149"/>
                  </a:lnTo>
                  <a:lnTo>
                    <a:pt x="45" y="150"/>
                  </a:lnTo>
                  <a:lnTo>
                    <a:pt x="46" y="150"/>
                  </a:lnTo>
                  <a:lnTo>
                    <a:pt x="47" y="150"/>
                  </a:lnTo>
                  <a:lnTo>
                    <a:pt x="47" y="149"/>
                  </a:lnTo>
                  <a:lnTo>
                    <a:pt x="48" y="149"/>
                  </a:lnTo>
                  <a:lnTo>
                    <a:pt x="48" y="150"/>
                  </a:lnTo>
                  <a:lnTo>
                    <a:pt x="50" y="150"/>
                  </a:lnTo>
                  <a:lnTo>
                    <a:pt x="50" y="151"/>
                  </a:lnTo>
                  <a:lnTo>
                    <a:pt x="51" y="152"/>
                  </a:lnTo>
                  <a:lnTo>
                    <a:pt x="52" y="152"/>
                  </a:lnTo>
                  <a:lnTo>
                    <a:pt x="52" y="151"/>
                  </a:lnTo>
                  <a:lnTo>
                    <a:pt x="53" y="151"/>
                  </a:lnTo>
                  <a:lnTo>
                    <a:pt x="53" y="152"/>
                  </a:lnTo>
                  <a:lnTo>
                    <a:pt x="54" y="152"/>
                  </a:lnTo>
                  <a:lnTo>
                    <a:pt x="54" y="151"/>
                  </a:lnTo>
                  <a:lnTo>
                    <a:pt x="54" y="150"/>
                  </a:lnTo>
                  <a:lnTo>
                    <a:pt x="55" y="147"/>
                  </a:lnTo>
                  <a:lnTo>
                    <a:pt x="55" y="145"/>
                  </a:lnTo>
                  <a:lnTo>
                    <a:pt x="55" y="143"/>
                  </a:lnTo>
                  <a:lnTo>
                    <a:pt x="55" y="140"/>
                  </a:lnTo>
                  <a:lnTo>
                    <a:pt x="57" y="137"/>
                  </a:lnTo>
                  <a:lnTo>
                    <a:pt x="57" y="135"/>
                  </a:lnTo>
                  <a:lnTo>
                    <a:pt x="57" y="132"/>
                  </a:lnTo>
                  <a:lnTo>
                    <a:pt x="58" y="130"/>
                  </a:lnTo>
                  <a:lnTo>
                    <a:pt x="58" y="128"/>
                  </a:lnTo>
                  <a:lnTo>
                    <a:pt x="58" y="124"/>
                  </a:lnTo>
                  <a:lnTo>
                    <a:pt x="59" y="122"/>
                  </a:lnTo>
                  <a:lnTo>
                    <a:pt x="59" y="119"/>
                  </a:lnTo>
                  <a:lnTo>
                    <a:pt x="59" y="117"/>
                  </a:lnTo>
                  <a:lnTo>
                    <a:pt x="60" y="115"/>
                  </a:lnTo>
                  <a:lnTo>
                    <a:pt x="60" y="112"/>
                  </a:lnTo>
                  <a:lnTo>
                    <a:pt x="60" y="109"/>
                  </a:lnTo>
                  <a:lnTo>
                    <a:pt x="61" y="108"/>
                  </a:lnTo>
                  <a:lnTo>
                    <a:pt x="60" y="108"/>
                  </a:lnTo>
                  <a:lnTo>
                    <a:pt x="61" y="107"/>
                  </a:lnTo>
                  <a:lnTo>
                    <a:pt x="61" y="105"/>
                  </a:lnTo>
                  <a:lnTo>
                    <a:pt x="61" y="104"/>
                  </a:lnTo>
                  <a:lnTo>
                    <a:pt x="61" y="103"/>
                  </a:lnTo>
                  <a:lnTo>
                    <a:pt x="61" y="102"/>
                  </a:lnTo>
                  <a:lnTo>
                    <a:pt x="60" y="101"/>
                  </a:lnTo>
                  <a:lnTo>
                    <a:pt x="61" y="101"/>
                  </a:lnTo>
                  <a:lnTo>
                    <a:pt x="61" y="100"/>
                  </a:lnTo>
                  <a:lnTo>
                    <a:pt x="60" y="100"/>
                  </a:lnTo>
                  <a:lnTo>
                    <a:pt x="60" y="98"/>
                  </a:lnTo>
                  <a:lnTo>
                    <a:pt x="59" y="98"/>
                  </a:lnTo>
                  <a:lnTo>
                    <a:pt x="59" y="97"/>
                  </a:lnTo>
                  <a:lnTo>
                    <a:pt x="59" y="96"/>
                  </a:lnTo>
                  <a:lnTo>
                    <a:pt x="58" y="96"/>
                  </a:lnTo>
                  <a:lnTo>
                    <a:pt x="58" y="95"/>
                  </a:lnTo>
                  <a:lnTo>
                    <a:pt x="59" y="94"/>
                  </a:lnTo>
                  <a:lnTo>
                    <a:pt x="59" y="93"/>
                  </a:lnTo>
                  <a:lnTo>
                    <a:pt x="58" y="93"/>
                  </a:lnTo>
                  <a:lnTo>
                    <a:pt x="58" y="91"/>
                  </a:lnTo>
                  <a:lnTo>
                    <a:pt x="57" y="91"/>
                  </a:lnTo>
                  <a:lnTo>
                    <a:pt x="57" y="90"/>
                  </a:lnTo>
                  <a:lnTo>
                    <a:pt x="55" y="90"/>
                  </a:lnTo>
                  <a:lnTo>
                    <a:pt x="55" y="89"/>
                  </a:lnTo>
                  <a:lnTo>
                    <a:pt x="54" y="89"/>
                  </a:lnTo>
                  <a:lnTo>
                    <a:pt x="53" y="89"/>
                  </a:lnTo>
                  <a:lnTo>
                    <a:pt x="53" y="88"/>
                  </a:lnTo>
                  <a:lnTo>
                    <a:pt x="53" y="87"/>
                  </a:lnTo>
                  <a:lnTo>
                    <a:pt x="52" y="87"/>
                  </a:lnTo>
                  <a:lnTo>
                    <a:pt x="52" y="86"/>
                  </a:lnTo>
                  <a:lnTo>
                    <a:pt x="52" y="84"/>
                  </a:lnTo>
                  <a:lnTo>
                    <a:pt x="52" y="83"/>
                  </a:lnTo>
                  <a:lnTo>
                    <a:pt x="52" y="82"/>
                  </a:lnTo>
                  <a:lnTo>
                    <a:pt x="52" y="80"/>
                  </a:lnTo>
                  <a:lnTo>
                    <a:pt x="52" y="79"/>
                  </a:lnTo>
                  <a:lnTo>
                    <a:pt x="52" y="77"/>
                  </a:lnTo>
                  <a:lnTo>
                    <a:pt x="52" y="76"/>
                  </a:lnTo>
                  <a:lnTo>
                    <a:pt x="52" y="75"/>
                  </a:lnTo>
                  <a:lnTo>
                    <a:pt x="52" y="74"/>
                  </a:lnTo>
                  <a:lnTo>
                    <a:pt x="52" y="75"/>
                  </a:lnTo>
                  <a:lnTo>
                    <a:pt x="53" y="74"/>
                  </a:lnTo>
                  <a:lnTo>
                    <a:pt x="54" y="74"/>
                  </a:lnTo>
                  <a:lnTo>
                    <a:pt x="55" y="74"/>
                  </a:lnTo>
                  <a:lnTo>
                    <a:pt x="57" y="74"/>
                  </a:lnTo>
                  <a:lnTo>
                    <a:pt x="58" y="73"/>
                  </a:lnTo>
                  <a:lnTo>
                    <a:pt x="58" y="74"/>
                  </a:lnTo>
                  <a:lnTo>
                    <a:pt x="59" y="73"/>
                  </a:lnTo>
                  <a:lnTo>
                    <a:pt x="60" y="73"/>
                  </a:lnTo>
                  <a:lnTo>
                    <a:pt x="60" y="72"/>
                  </a:lnTo>
                  <a:lnTo>
                    <a:pt x="61" y="73"/>
                  </a:lnTo>
                  <a:lnTo>
                    <a:pt x="61" y="74"/>
                  </a:lnTo>
                  <a:lnTo>
                    <a:pt x="62" y="74"/>
                  </a:lnTo>
                  <a:lnTo>
                    <a:pt x="62" y="73"/>
                  </a:lnTo>
                  <a:lnTo>
                    <a:pt x="62" y="74"/>
                  </a:lnTo>
                  <a:lnTo>
                    <a:pt x="64" y="74"/>
                  </a:lnTo>
                  <a:lnTo>
                    <a:pt x="65" y="74"/>
                  </a:lnTo>
                  <a:lnTo>
                    <a:pt x="65" y="73"/>
                  </a:lnTo>
                  <a:lnTo>
                    <a:pt x="65" y="72"/>
                  </a:lnTo>
                  <a:lnTo>
                    <a:pt x="65" y="70"/>
                  </a:lnTo>
                  <a:lnTo>
                    <a:pt x="65" y="69"/>
                  </a:lnTo>
                  <a:lnTo>
                    <a:pt x="64" y="69"/>
                  </a:lnTo>
                  <a:lnTo>
                    <a:pt x="64" y="68"/>
                  </a:lnTo>
                  <a:lnTo>
                    <a:pt x="64" y="67"/>
                  </a:lnTo>
                  <a:lnTo>
                    <a:pt x="62" y="67"/>
                  </a:lnTo>
                  <a:lnTo>
                    <a:pt x="61" y="67"/>
                  </a:lnTo>
                  <a:lnTo>
                    <a:pt x="60" y="67"/>
                  </a:lnTo>
                  <a:lnTo>
                    <a:pt x="59" y="67"/>
                  </a:lnTo>
                  <a:lnTo>
                    <a:pt x="58" y="67"/>
                  </a:lnTo>
                  <a:lnTo>
                    <a:pt x="57" y="67"/>
                  </a:lnTo>
                  <a:lnTo>
                    <a:pt x="55" y="67"/>
                  </a:lnTo>
                  <a:lnTo>
                    <a:pt x="55" y="66"/>
                  </a:lnTo>
                  <a:lnTo>
                    <a:pt x="55" y="65"/>
                  </a:lnTo>
                  <a:lnTo>
                    <a:pt x="55" y="63"/>
                  </a:lnTo>
                  <a:lnTo>
                    <a:pt x="55" y="62"/>
                  </a:lnTo>
                  <a:lnTo>
                    <a:pt x="55" y="61"/>
                  </a:lnTo>
                  <a:lnTo>
                    <a:pt x="55" y="60"/>
                  </a:lnTo>
                  <a:lnTo>
                    <a:pt x="55" y="59"/>
                  </a:lnTo>
                  <a:lnTo>
                    <a:pt x="55" y="58"/>
                  </a:lnTo>
                  <a:lnTo>
                    <a:pt x="55" y="56"/>
                  </a:lnTo>
                  <a:lnTo>
                    <a:pt x="57" y="56"/>
                  </a:lnTo>
                  <a:lnTo>
                    <a:pt x="58" y="56"/>
                  </a:lnTo>
                  <a:lnTo>
                    <a:pt x="59" y="55"/>
                  </a:lnTo>
                  <a:lnTo>
                    <a:pt x="60" y="56"/>
                  </a:lnTo>
                  <a:lnTo>
                    <a:pt x="61" y="56"/>
                  </a:lnTo>
                  <a:lnTo>
                    <a:pt x="62" y="56"/>
                  </a:lnTo>
                  <a:lnTo>
                    <a:pt x="65" y="56"/>
                  </a:lnTo>
                  <a:lnTo>
                    <a:pt x="67" y="56"/>
                  </a:lnTo>
                  <a:lnTo>
                    <a:pt x="69" y="56"/>
                  </a:lnTo>
                  <a:lnTo>
                    <a:pt x="73" y="56"/>
                  </a:lnTo>
                  <a:lnTo>
                    <a:pt x="75" y="56"/>
                  </a:lnTo>
                  <a:lnTo>
                    <a:pt x="78" y="56"/>
                  </a:lnTo>
                  <a:lnTo>
                    <a:pt x="79" y="56"/>
                  </a:lnTo>
                  <a:lnTo>
                    <a:pt x="79" y="55"/>
                  </a:lnTo>
                  <a:lnTo>
                    <a:pt x="78" y="55"/>
                  </a:lnTo>
                  <a:lnTo>
                    <a:pt x="78" y="54"/>
                  </a:lnTo>
                  <a:lnTo>
                    <a:pt x="79" y="52"/>
                  </a:lnTo>
                  <a:lnTo>
                    <a:pt x="79" y="53"/>
                  </a:lnTo>
                  <a:lnTo>
                    <a:pt x="80" y="53"/>
                  </a:lnTo>
                  <a:lnTo>
                    <a:pt x="80" y="54"/>
                  </a:lnTo>
                  <a:lnTo>
                    <a:pt x="80" y="55"/>
                  </a:lnTo>
                  <a:lnTo>
                    <a:pt x="81" y="55"/>
                  </a:lnTo>
                  <a:lnTo>
                    <a:pt x="81" y="56"/>
                  </a:lnTo>
                  <a:lnTo>
                    <a:pt x="82" y="56"/>
                  </a:lnTo>
                  <a:lnTo>
                    <a:pt x="83" y="55"/>
                  </a:lnTo>
                  <a:lnTo>
                    <a:pt x="86" y="53"/>
                  </a:lnTo>
                  <a:lnTo>
                    <a:pt x="87" y="51"/>
                  </a:lnTo>
                  <a:lnTo>
                    <a:pt x="88" y="51"/>
                  </a:lnTo>
                  <a:lnTo>
                    <a:pt x="89" y="49"/>
                  </a:lnTo>
                  <a:lnTo>
                    <a:pt x="89" y="51"/>
                  </a:lnTo>
                  <a:lnTo>
                    <a:pt x="90" y="51"/>
                  </a:lnTo>
                  <a:lnTo>
                    <a:pt x="90" y="52"/>
                  </a:lnTo>
                  <a:lnTo>
                    <a:pt x="92" y="53"/>
                  </a:lnTo>
                  <a:lnTo>
                    <a:pt x="93" y="55"/>
                  </a:lnTo>
                  <a:lnTo>
                    <a:pt x="94" y="56"/>
                  </a:lnTo>
                  <a:lnTo>
                    <a:pt x="94" y="59"/>
                  </a:lnTo>
                  <a:lnTo>
                    <a:pt x="94" y="63"/>
                  </a:lnTo>
                  <a:lnTo>
                    <a:pt x="94" y="65"/>
                  </a:lnTo>
                  <a:lnTo>
                    <a:pt x="95" y="65"/>
                  </a:lnTo>
                  <a:lnTo>
                    <a:pt x="96" y="65"/>
                  </a:lnTo>
                  <a:lnTo>
                    <a:pt x="97" y="65"/>
                  </a:lnTo>
                  <a:lnTo>
                    <a:pt x="97" y="66"/>
                  </a:lnTo>
                  <a:lnTo>
                    <a:pt x="98" y="66"/>
                  </a:lnTo>
                  <a:lnTo>
                    <a:pt x="100" y="67"/>
                  </a:lnTo>
                  <a:lnTo>
                    <a:pt x="101" y="68"/>
                  </a:lnTo>
                  <a:lnTo>
                    <a:pt x="102" y="69"/>
                  </a:lnTo>
                  <a:lnTo>
                    <a:pt x="102" y="70"/>
                  </a:lnTo>
                  <a:lnTo>
                    <a:pt x="103" y="70"/>
                  </a:lnTo>
                  <a:lnTo>
                    <a:pt x="104" y="72"/>
                  </a:lnTo>
                  <a:lnTo>
                    <a:pt x="105" y="72"/>
                  </a:lnTo>
                  <a:lnTo>
                    <a:pt x="107" y="72"/>
                  </a:lnTo>
                  <a:lnTo>
                    <a:pt x="108" y="72"/>
                  </a:lnTo>
                  <a:lnTo>
                    <a:pt x="109" y="72"/>
                  </a:lnTo>
                  <a:lnTo>
                    <a:pt x="109" y="70"/>
                  </a:lnTo>
                  <a:lnTo>
                    <a:pt x="110" y="69"/>
                  </a:lnTo>
                  <a:lnTo>
                    <a:pt x="111" y="68"/>
                  </a:lnTo>
                  <a:lnTo>
                    <a:pt x="112" y="68"/>
                  </a:lnTo>
                  <a:lnTo>
                    <a:pt x="114" y="68"/>
                  </a:lnTo>
                  <a:lnTo>
                    <a:pt x="115" y="68"/>
                  </a:lnTo>
                  <a:lnTo>
                    <a:pt x="115" y="69"/>
                  </a:lnTo>
                  <a:lnTo>
                    <a:pt x="116" y="69"/>
                  </a:lnTo>
                  <a:lnTo>
                    <a:pt x="116" y="70"/>
                  </a:lnTo>
                  <a:lnTo>
                    <a:pt x="115" y="70"/>
                  </a:lnTo>
                  <a:lnTo>
                    <a:pt x="115" y="72"/>
                  </a:lnTo>
                  <a:lnTo>
                    <a:pt x="115" y="73"/>
                  </a:lnTo>
                  <a:lnTo>
                    <a:pt x="115" y="74"/>
                  </a:lnTo>
                  <a:lnTo>
                    <a:pt x="116" y="74"/>
                  </a:lnTo>
                  <a:lnTo>
                    <a:pt x="116" y="73"/>
                  </a:lnTo>
                  <a:lnTo>
                    <a:pt x="117" y="73"/>
                  </a:lnTo>
                  <a:lnTo>
                    <a:pt x="117" y="72"/>
                  </a:lnTo>
                  <a:lnTo>
                    <a:pt x="117" y="70"/>
                  </a:lnTo>
                  <a:lnTo>
                    <a:pt x="118" y="69"/>
                  </a:lnTo>
                  <a:lnTo>
                    <a:pt x="119" y="69"/>
                  </a:lnTo>
                  <a:lnTo>
                    <a:pt x="121" y="68"/>
                  </a:lnTo>
                  <a:lnTo>
                    <a:pt x="121" y="67"/>
                  </a:lnTo>
                  <a:lnTo>
                    <a:pt x="121" y="66"/>
                  </a:lnTo>
                  <a:lnTo>
                    <a:pt x="122" y="66"/>
                  </a:lnTo>
                  <a:lnTo>
                    <a:pt x="123" y="66"/>
                  </a:lnTo>
                  <a:lnTo>
                    <a:pt x="123" y="65"/>
                  </a:lnTo>
                  <a:lnTo>
                    <a:pt x="124" y="65"/>
                  </a:lnTo>
                  <a:lnTo>
                    <a:pt x="125" y="63"/>
                  </a:lnTo>
                  <a:lnTo>
                    <a:pt x="126" y="63"/>
                  </a:lnTo>
                  <a:lnTo>
                    <a:pt x="129" y="62"/>
                  </a:lnTo>
                  <a:lnTo>
                    <a:pt x="129" y="61"/>
                  </a:lnTo>
                  <a:lnTo>
                    <a:pt x="130" y="61"/>
                  </a:lnTo>
                  <a:lnTo>
                    <a:pt x="131" y="60"/>
                  </a:lnTo>
                  <a:lnTo>
                    <a:pt x="131" y="61"/>
                  </a:lnTo>
                  <a:lnTo>
                    <a:pt x="131" y="62"/>
                  </a:lnTo>
                  <a:lnTo>
                    <a:pt x="132" y="62"/>
                  </a:lnTo>
                  <a:lnTo>
                    <a:pt x="132" y="61"/>
                  </a:lnTo>
                  <a:lnTo>
                    <a:pt x="133" y="60"/>
                  </a:lnTo>
                  <a:lnTo>
                    <a:pt x="135" y="59"/>
                  </a:lnTo>
                  <a:lnTo>
                    <a:pt x="136" y="59"/>
                  </a:lnTo>
                  <a:lnTo>
                    <a:pt x="136" y="58"/>
                  </a:lnTo>
                  <a:lnTo>
                    <a:pt x="136" y="56"/>
                  </a:lnTo>
                  <a:lnTo>
                    <a:pt x="136" y="55"/>
                  </a:lnTo>
                  <a:lnTo>
                    <a:pt x="136" y="54"/>
                  </a:lnTo>
                  <a:lnTo>
                    <a:pt x="136" y="53"/>
                  </a:lnTo>
                  <a:lnTo>
                    <a:pt x="137" y="53"/>
                  </a:lnTo>
                  <a:lnTo>
                    <a:pt x="138" y="53"/>
                  </a:lnTo>
                  <a:lnTo>
                    <a:pt x="139" y="53"/>
                  </a:lnTo>
                  <a:lnTo>
                    <a:pt x="140" y="53"/>
                  </a:lnTo>
                  <a:lnTo>
                    <a:pt x="140" y="52"/>
                  </a:lnTo>
                  <a:lnTo>
                    <a:pt x="143" y="51"/>
                  </a:lnTo>
                  <a:lnTo>
                    <a:pt x="143" y="49"/>
                  </a:lnTo>
                  <a:lnTo>
                    <a:pt x="144" y="51"/>
                  </a:lnTo>
                  <a:lnTo>
                    <a:pt x="145" y="49"/>
                  </a:lnTo>
                  <a:lnTo>
                    <a:pt x="145" y="48"/>
                  </a:lnTo>
                  <a:lnTo>
                    <a:pt x="146" y="47"/>
                  </a:lnTo>
                  <a:lnTo>
                    <a:pt x="145" y="46"/>
                  </a:lnTo>
                  <a:lnTo>
                    <a:pt x="146" y="46"/>
                  </a:lnTo>
                  <a:lnTo>
                    <a:pt x="145" y="46"/>
                  </a:lnTo>
                  <a:lnTo>
                    <a:pt x="144" y="45"/>
                  </a:lnTo>
                  <a:lnTo>
                    <a:pt x="143" y="45"/>
                  </a:lnTo>
                  <a:lnTo>
                    <a:pt x="142" y="45"/>
                  </a:lnTo>
                  <a:lnTo>
                    <a:pt x="140" y="45"/>
                  </a:lnTo>
                  <a:lnTo>
                    <a:pt x="139" y="45"/>
                  </a:lnTo>
                  <a:lnTo>
                    <a:pt x="138" y="45"/>
                  </a:lnTo>
                  <a:lnTo>
                    <a:pt x="137" y="45"/>
                  </a:lnTo>
                  <a:lnTo>
                    <a:pt x="136" y="45"/>
                  </a:lnTo>
                  <a:lnTo>
                    <a:pt x="136" y="44"/>
                  </a:lnTo>
                  <a:lnTo>
                    <a:pt x="137" y="42"/>
                  </a:lnTo>
                  <a:lnTo>
                    <a:pt x="137" y="41"/>
                  </a:lnTo>
                  <a:lnTo>
                    <a:pt x="137" y="40"/>
                  </a:lnTo>
                  <a:lnTo>
                    <a:pt x="137" y="39"/>
                  </a:lnTo>
                  <a:lnTo>
                    <a:pt x="136" y="37"/>
                  </a:lnTo>
                  <a:lnTo>
                    <a:pt x="135" y="37"/>
                  </a:lnTo>
                  <a:lnTo>
                    <a:pt x="135" y="35"/>
                  </a:lnTo>
                  <a:lnTo>
                    <a:pt x="135" y="34"/>
                  </a:lnTo>
                  <a:lnTo>
                    <a:pt x="133" y="34"/>
                  </a:lnTo>
                  <a:lnTo>
                    <a:pt x="133" y="33"/>
                  </a:lnTo>
                  <a:lnTo>
                    <a:pt x="135" y="32"/>
                  </a:lnTo>
                  <a:lnTo>
                    <a:pt x="133" y="30"/>
                  </a:lnTo>
                  <a:lnTo>
                    <a:pt x="133" y="28"/>
                  </a:lnTo>
                  <a:lnTo>
                    <a:pt x="135" y="28"/>
                  </a:lnTo>
                  <a:lnTo>
                    <a:pt x="135" y="27"/>
                  </a:lnTo>
                  <a:lnTo>
                    <a:pt x="135" y="26"/>
                  </a:lnTo>
                  <a:lnTo>
                    <a:pt x="133" y="26"/>
                  </a:lnTo>
                  <a:lnTo>
                    <a:pt x="132" y="25"/>
                  </a:lnTo>
                  <a:lnTo>
                    <a:pt x="132" y="24"/>
                  </a:lnTo>
                  <a:lnTo>
                    <a:pt x="131" y="24"/>
                  </a:lnTo>
                  <a:lnTo>
                    <a:pt x="130" y="23"/>
                  </a:lnTo>
                  <a:lnTo>
                    <a:pt x="130" y="21"/>
                  </a:lnTo>
                  <a:lnTo>
                    <a:pt x="129" y="21"/>
                  </a:lnTo>
                  <a:lnTo>
                    <a:pt x="129" y="20"/>
                  </a:lnTo>
                  <a:lnTo>
                    <a:pt x="128" y="20"/>
                  </a:lnTo>
                  <a:lnTo>
                    <a:pt x="128" y="19"/>
                  </a:lnTo>
                  <a:lnTo>
                    <a:pt x="128" y="18"/>
                  </a:lnTo>
                  <a:lnTo>
                    <a:pt x="126" y="18"/>
                  </a:lnTo>
                  <a:lnTo>
                    <a:pt x="126" y="17"/>
                  </a:lnTo>
                  <a:lnTo>
                    <a:pt x="126" y="16"/>
                  </a:lnTo>
                  <a:lnTo>
                    <a:pt x="128" y="16"/>
                  </a:lnTo>
                  <a:lnTo>
                    <a:pt x="128" y="17"/>
                  </a:lnTo>
                  <a:lnTo>
                    <a:pt x="129" y="17"/>
                  </a:lnTo>
                  <a:lnTo>
                    <a:pt x="129" y="18"/>
                  </a:lnTo>
                  <a:lnTo>
                    <a:pt x="132" y="18"/>
                  </a:lnTo>
                  <a:lnTo>
                    <a:pt x="135" y="18"/>
                  </a:lnTo>
                  <a:lnTo>
                    <a:pt x="136" y="19"/>
                  </a:lnTo>
                  <a:lnTo>
                    <a:pt x="136" y="20"/>
                  </a:lnTo>
                  <a:lnTo>
                    <a:pt x="136" y="21"/>
                  </a:lnTo>
                  <a:lnTo>
                    <a:pt x="137" y="21"/>
                  </a:lnTo>
                  <a:lnTo>
                    <a:pt x="137" y="23"/>
                  </a:lnTo>
                  <a:lnTo>
                    <a:pt x="138" y="21"/>
                  </a:lnTo>
                  <a:lnTo>
                    <a:pt x="139" y="21"/>
                  </a:lnTo>
                  <a:lnTo>
                    <a:pt x="140" y="21"/>
                  </a:lnTo>
                  <a:lnTo>
                    <a:pt x="142" y="21"/>
                  </a:lnTo>
                  <a:lnTo>
                    <a:pt x="143" y="21"/>
                  </a:lnTo>
                  <a:lnTo>
                    <a:pt x="144" y="23"/>
                  </a:lnTo>
                  <a:lnTo>
                    <a:pt x="145" y="23"/>
                  </a:lnTo>
                  <a:lnTo>
                    <a:pt x="145" y="21"/>
                  </a:lnTo>
                  <a:lnTo>
                    <a:pt x="146" y="20"/>
                  </a:lnTo>
                  <a:lnTo>
                    <a:pt x="146" y="21"/>
                  </a:lnTo>
                  <a:lnTo>
                    <a:pt x="147" y="21"/>
                  </a:lnTo>
                  <a:lnTo>
                    <a:pt x="147" y="23"/>
                  </a:lnTo>
                  <a:lnTo>
                    <a:pt x="149" y="24"/>
                  </a:lnTo>
                  <a:lnTo>
                    <a:pt x="150" y="24"/>
                  </a:lnTo>
                  <a:lnTo>
                    <a:pt x="151" y="26"/>
                  </a:lnTo>
                  <a:lnTo>
                    <a:pt x="151" y="27"/>
                  </a:lnTo>
                  <a:lnTo>
                    <a:pt x="152" y="27"/>
                  </a:lnTo>
                  <a:lnTo>
                    <a:pt x="153" y="27"/>
                  </a:lnTo>
                  <a:lnTo>
                    <a:pt x="154" y="27"/>
                  </a:lnTo>
                  <a:lnTo>
                    <a:pt x="154" y="26"/>
                  </a:lnTo>
                  <a:lnTo>
                    <a:pt x="154" y="25"/>
                  </a:lnTo>
                  <a:lnTo>
                    <a:pt x="154" y="24"/>
                  </a:lnTo>
                  <a:lnTo>
                    <a:pt x="154" y="23"/>
                  </a:lnTo>
                  <a:lnTo>
                    <a:pt x="154" y="21"/>
                  </a:lnTo>
                  <a:lnTo>
                    <a:pt x="154" y="20"/>
                  </a:lnTo>
                  <a:lnTo>
                    <a:pt x="156" y="20"/>
                  </a:lnTo>
                  <a:lnTo>
                    <a:pt x="156" y="19"/>
                  </a:lnTo>
                  <a:lnTo>
                    <a:pt x="157" y="20"/>
                  </a:lnTo>
                  <a:lnTo>
                    <a:pt x="158" y="20"/>
                  </a:lnTo>
                  <a:lnTo>
                    <a:pt x="158" y="19"/>
                  </a:lnTo>
                  <a:lnTo>
                    <a:pt x="158" y="18"/>
                  </a:lnTo>
                  <a:lnTo>
                    <a:pt x="159" y="18"/>
                  </a:lnTo>
                  <a:lnTo>
                    <a:pt x="160" y="18"/>
                  </a:lnTo>
                  <a:lnTo>
                    <a:pt x="162" y="19"/>
                  </a:lnTo>
                  <a:lnTo>
                    <a:pt x="164" y="19"/>
                  </a:lnTo>
                  <a:lnTo>
                    <a:pt x="165" y="18"/>
                  </a:lnTo>
                  <a:lnTo>
                    <a:pt x="166" y="18"/>
                  </a:lnTo>
                  <a:lnTo>
                    <a:pt x="167" y="18"/>
                  </a:lnTo>
                  <a:lnTo>
                    <a:pt x="168" y="17"/>
                  </a:lnTo>
                  <a:lnTo>
                    <a:pt x="169" y="17"/>
                  </a:lnTo>
                  <a:lnTo>
                    <a:pt x="171" y="17"/>
                  </a:lnTo>
                  <a:lnTo>
                    <a:pt x="172" y="17"/>
                  </a:lnTo>
                  <a:lnTo>
                    <a:pt x="172" y="16"/>
                  </a:lnTo>
                  <a:lnTo>
                    <a:pt x="172" y="14"/>
                  </a:lnTo>
                  <a:lnTo>
                    <a:pt x="173" y="13"/>
                  </a:lnTo>
                  <a:lnTo>
                    <a:pt x="174" y="13"/>
                  </a:lnTo>
                  <a:lnTo>
                    <a:pt x="175" y="13"/>
                  </a:lnTo>
                  <a:lnTo>
                    <a:pt x="175" y="12"/>
                  </a:lnTo>
                  <a:lnTo>
                    <a:pt x="176" y="12"/>
                  </a:lnTo>
                  <a:lnTo>
                    <a:pt x="178" y="12"/>
                  </a:lnTo>
                  <a:lnTo>
                    <a:pt x="179" y="12"/>
                  </a:lnTo>
                  <a:lnTo>
                    <a:pt x="180" y="12"/>
                  </a:lnTo>
                  <a:lnTo>
                    <a:pt x="180" y="11"/>
                  </a:lnTo>
                  <a:lnTo>
                    <a:pt x="180" y="10"/>
                  </a:lnTo>
                  <a:lnTo>
                    <a:pt x="181" y="10"/>
                  </a:lnTo>
                  <a:lnTo>
                    <a:pt x="181" y="9"/>
                  </a:lnTo>
                  <a:lnTo>
                    <a:pt x="182" y="9"/>
                  </a:lnTo>
                  <a:lnTo>
                    <a:pt x="183" y="7"/>
                  </a:lnTo>
                  <a:lnTo>
                    <a:pt x="185" y="6"/>
                  </a:lnTo>
                  <a:lnTo>
                    <a:pt x="186" y="5"/>
                  </a:lnTo>
                  <a:lnTo>
                    <a:pt x="185" y="2"/>
                  </a:lnTo>
                  <a:lnTo>
                    <a:pt x="183" y="2"/>
                  </a:lnTo>
                  <a:lnTo>
                    <a:pt x="185" y="2"/>
                  </a:lnTo>
                  <a:lnTo>
                    <a:pt x="186" y="2"/>
                  </a:lnTo>
                  <a:lnTo>
                    <a:pt x="187" y="2"/>
                  </a:lnTo>
                  <a:lnTo>
                    <a:pt x="188" y="2"/>
                  </a:lnTo>
                  <a:lnTo>
                    <a:pt x="189" y="2"/>
                  </a:lnTo>
                  <a:lnTo>
                    <a:pt x="189" y="0"/>
                  </a:lnTo>
                  <a:lnTo>
                    <a:pt x="190" y="0"/>
                  </a:lnTo>
                  <a:close/>
                </a:path>
              </a:pathLst>
            </a:custGeom>
            <a:solidFill>
              <a:srgbClr val="0053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95" name="Freeform 848">
              <a:extLst>
                <a:ext uri="{FF2B5EF4-FFF2-40B4-BE49-F238E27FC236}">
                  <a16:creationId xmlns:a16="http://schemas.microsoft.com/office/drawing/2014/main" id="{D493EB03-3CA7-44D7-A938-47861F302B70}"/>
                </a:ext>
              </a:extLst>
            </p:cNvPr>
            <p:cNvSpPr>
              <a:spLocks/>
            </p:cNvSpPr>
            <p:nvPr/>
          </p:nvSpPr>
          <p:spPr bwMode="auto">
            <a:xfrm>
              <a:off x="4703314" y="3065405"/>
              <a:ext cx="5342" cy="6678"/>
            </a:xfrm>
            <a:custGeom>
              <a:avLst/>
              <a:gdLst>
                <a:gd name="T0" fmla="*/ 3 w 4"/>
                <a:gd name="T1" fmla="*/ 5 h 5"/>
                <a:gd name="T2" fmla="*/ 3 w 4"/>
                <a:gd name="T3" fmla="*/ 5 h 5"/>
                <a:gd name="T4" fmla="*/ 3 w 4"/>
                <a:gd name="T5" fmla="*/ 5 h 5"/>
                <a:gd name="T6" fmla="*/ 3 w 4"/>
                <a:gd name="T7" fmla="*/ 5 h 5"/>
                <a:gd name="T8" fmla="*/ 3 w 4"/>
                <a:gd name="T9" fmla="*/ 5 h 5"/>
                <a:gd name="T10" fmla="*/ 3 w 4"/>
                <a:gd name="T11" fmla="*/ 5 h 5"/>
                <a:gd name="T12" fmla="*/ 1 w 4"/>
                <a:gd name="T13" fmla="*/ 5 h 5"/>
                <a:gd name="T14" fmla="*/ 1 w 4"/>
                <a:gd name="T15" fmla="*/ 5 h 5"/>
                <a:gd name="T16" fmla="*/ 1 w 4"/>
                <a:gd name="T17" fmla="*/ 5 h 5"/>
                <a:gd name="T18" fmla="*/ 1 w 4"/>
                <a:gd name="T19" fmla="*/ 5 h 5"/>
                <a:gd name="T20" fmla="*/ 1 w 4"/>
                <a:gd name="T21" fmla="*/ 5 h 5"/>
                <a:gd name="T22" fmla="*/ 1 w 4"/>
                <a:gd name="T23" fmla="*/ 4 h 5"/>
                <a:gd name="T24" fmla="*/ 0 w 4"/>
                <a:gd name="T25" fmla="*/ 4 h 5"/>
                <a:gd name="T26" fmla="*/ 0 w 4"/>
                <a:gd name="T27" fmla="*/ 1 h 5"/>
                <a:gd name="T28" fmla="*/ 1 w 4"/>
                <a:gd name="T29" fmla="*/ 1 h 5"/>
                <a:gd name="T30" fmla="*/ 1 w 4"/>
                <a:gd name="T31" fmla="*/ 1 h 5"/>
                <a:gd name="T32" fmla="*/ 1 w 4"/>
                <a:gd name="T33" fmla="*/ 0 h 5"/>
                <a:gd name="T34" fmla="*/ 1 w 4"/>
                <a:gd name="T35" fmla="*/ 0 h 5"/>
                <a:gd name="T36" fmla="*/ 1 w 4"/>
                <a:gd name="T37" fmla="*/ 0 h 5"/>
                <a:gd name="T38" fmla="*/ 1 w 4"/>
                <a:gd name="T39" fmla="*/ 1 h 5"/>
                <a:gd name="T40" fmla="*/ 1 w 4"/>
                <a:gd name="T41" fmla="*/ 1 h 5"/>
                <a:gd name="T42" fmla="*/ 1 w 4"/>
                <a:gd name="T43" fmla="*/ 1 h 5"/>
                <a:gd name="T44" fmla="*/ 3 w 4"/>
                <a:gd name="T45" fmla="*/ 2 h 5"/>
                <a:gd name="T46" fmla="*/ 3 w 4"/>
                <a:gd name="T47" fmla="*/ 2 h 5"/>
                <a:gd name="T48" fmla="*/ 3 w 4"/>
                <a:gd name="T49" fmla="*/ 2 h 5"/>
                <a:gd name="T50" fmla="*/ 3 w 4"/>
                <a:gd name="T51" fmla="*/ 2 h 5"/>
                <a:gd name="T52" fmla="*/ 4 w 4"/>
                <a:gd name="T53" fmla="*/ 2 h 5"/>
                <a:gd name="T54" fmla="*/ 4 w 4"/>
                <a:gd name="T55" fmla="*/ 2 h 5"/>
                <a:gd name="T56" fmla="*/ 4 w 4"/>
                <a:gd name="T57" fmla="*/ 4 h 5"/>
                <a:gd name="T58" fmla="*/ 4 w 4"/>
                <a:gd name="T59" fmla="*/ 4 h 5"/>
                <a:gd name="T60" fmla="*/ 4 w 4"/>
                <a:gd name="T61" fmla="*/ 4 h 5"/>
                <a:gd name="T62" fmla="*/ 4 w 4"/>
                <a:gd name="T63" fmla="*/ 5 h 5"/>
                <a:gd name="T64" fmla="*/ 3 w 4"/>
                <a:gd name="T65" fmla="*/ 5 h 5"/>
                <a:gd name="T66" fmla="*/ 3 w 4"/>
                <a:gd name="T67" fmla="*/ 5 h 5"/>
                <a:gd name="T68" fmla="*/ 3 w 4"/>
                <a:gd name="T6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 h="5">
                  <a:moveTo>
                    <a:pt x="3" y="5"/>
                  </a:moveTo>
                  <a:lnTo>
                    <a:pt x="3" y="5"/>
                  </a:lnTo>
                  <a:lnTo>
                    <a:pt x="3" y="5"/>
                  </a:lnTo>
                  <a:lnTo>
                    <a:pt x="3" y="5"/>
                  </a:lnTo>
                  <a:lnTo>
                    <a:pt x="3" y="5"/>
                  </a:lnTo>
                  <a:lnTo>
                    <a:pt x="3" y="5"/>
                  </a:lnTo>
                  <a:lnTo>
                    <a:pt x="1" y="5"/>
                  </a:lnTo>
                  <a:lnTo>
                    <a:pt x="1" y="5"/>
                  </a:lnTo>
                  <a:lnTo>
                    <a:pt x="1" y="5"/>
                  </a:lnTo>
                  <a:lnTo>
                    <a:pt x="1" y="5"/>
                  </a:lnTo>
                  <a:lnTo>
                    <a:pt x="1" y="5"/>
                  </a:lnTo>
                  <a:lnTo>
                    <a:pt x="1" y="4"/>
                  </a:lnTo>
                  <a:lnTo>
                    <a:pt x="0" y="4"/>
                  </a:lnTo>
                  <a:lnTo>
                    <a:pt x="0" y="1"/>
                  </a:lnTo>
                  <a:lnTo>
                    <a:pt x="1" y="1"/>
                  </a:lnTo>
                  <a:lnTo>
                    <a:pt x="1" y="1"/>
                  </a:lnTo>
                  <a:lnTo>
                    <a:pt x="1" y="0"/>
                  </a:lnTo>
                  <a:lnTo>
                    <a:pt x="1" y="0"/>
                  </a:lnTo>
                  <a:lnTo>
                    <a:pt x="1" y="0"/>
                  </a:lnTo>
                  <a:lnTo>
                    <a:pt x="1" y="1"/>
                  </a:lnTo>
                  <a:lnTo>
                    <a:pt x="1" y="1"/>
                  </a:lnTo>
                  <a:lnTo>
                    <a:pt x="1" y="1"/>
                  </a:lnTo>
                  <a:lnTo>
                    <a:pt x="3" y="2"/>
                  </a:lnTo>
                  <a:lnTo>
                    <a:pt x="3" y="2"/>
                  </a:lnTo>
                  <a:lnTo>
                    <a:pt x="3" y="2"/>
                  </a:lnTo>
                  <a:lnTo>
                    <a:pt x="3" y="2"/>
                  </a:lnTo>
                  <a:lnTo>
                    <a:pt x="4" y="2"/>
                  </a:lnTo>
                  <a:lnTo>
                    <a:pt x="4" y="2"/>
                  </a:lnTo>
                  <a:lnTo>
                    <a:pt x="4" y="4"/>
                  </a:lnTo>
                  <a:lnTo>
                    <a:pt x="4" y="4"/>
                  </a:lnTo>
                  <a:lnTo>
                    <a:pt x="4" y="4"/>
                  </a:lnTo>
                  <a:lnTo>
                    <a:pt x="4" y="5"/>
                  </a:lnTo>
                  <a:lnTo>
                    <a:pt x="3" y="5"/>
                  </a:lnTo>
                  <a:lnTo>
                    <a:pt x="3" y="5"/>
                  </a:lnTo>
                  <a:lnTo>
                    <a:pt x="3" y="5"/>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96" name="Freeform 849">
              <a:extLst>
                <a:ext uri="{FF2B5EF4-FFF2-40B4-BE49-F238E27FC236}">
                  <a16:creationId xmlns:a16="http://schemas.microsoft.com/office/drawing/2014/main" id="{55BD11AD-E967-4701-A22D-B42EB2B644A9}"/>
                </a:ext>
              </a:extLst>
            </p:cNvPr>
            <p:cNvSpPr>
              <a:spLocks noEditPoints="1"/>
            </p:cNvSpPr>
            <p:nvPr/>
          </p:nvSpPr>
          <p:spPr bwMode="auto">
            <a:xfrm>
              <a:off x="7927183" y="3241689"/>
              <a:ext cx="25375" cy="21368"/>
            </a:xfrm>
            <a:custGeom>
              <a:avLst/>
              <a:gdLst>
                <a:gd name="T0" fmla="*/ 16 w 19"/>
                <a:gd name="T1" fmla="*/ 2 h 16"/>
                <a:gd name="T2" fmla="*/ 16 w 19"/>
                <a:gd name="T3" fmla="*/ 2 h 16"/>
                <a:gd name="T4" fmla="*/ 18 w 19"/>
                <a:gd name="T5" fmla="*/ 6 h 16"/>
                <a:gd name="T6" fmla="*/ 18 w 19"/>
                <a:gd name="T7" fmla="*/ 8 h 16"/>
                <a:gd name="T8" fmla="*/ 18 w 19"/>
                <a:gd name="T9" fmla="*/ 9 h 16"/>
                <a:gd name="T10" fmla="*/ 19 w 19"/>
                <a:gd name="T11" fmla="*/ 10 h 16"/>
                <a:gd name="T12" fmla="*/ 19 w 19"/>
                <a:gd name="T13" fmla="*/ 12 h 16"/>
                <a:gd name="T14" fmla="*/ 18 w 19"/>
                <a:gd name="T15" fmla="*/ 10 h 16"/>
                <a:gd name="T16" fmla="*/ 17 w 19"/>
                <a:gd name="T17" fmla="*/ 10 h 16"/>
                <a:gd name="T18" fmla="*/ 17 w 19"/>
                <a:gd name="T19" fmla="*/ 10 h 16"/>
                <a:gd name="T20" fmla="*/ 16 w 19"/>
                <a:gd name="T21" fmla="*/ 10 h 16"/>
                <a:gd name="T22" fmla="*/ 15 w 19"/>
                <a:gd name="T23" fmla="*/ 7 h 16"/>
                <a:gd name="T24" fmla="*/ 15 w 19"/>
                <a:gd name="T25" fmla="*/ 3 h 16"/>
                <a:gd name="T26" fmla="*/ 15 w 19"/>
                <a:gd name="T27" fmla="*/ 3 h 16"/>
                <a:gd name="T28" fmla="*/ 16 w 19"/>
                <a:gd name="T29" fmla="*/ 3 h 16"/>
                <a:gd name="T30" fmla="*/ 16 w 19"/>
                <a:gd name="T31" fmla="*/ 2 h 16"/>
                <a:gd name="T32" fmla="*/ 16 w 19"/>
                <a:gd name="T33" fmla="*/ 2 h 16"/>
                <a:gd name="T34" fmla="*/ 12 w 19"/>
                <a:gd name="T35" fmla="*/ 3 h 16"/>
                <a:gd name="T36" fmla="*/ 12 w 19"/>
                <a:gd name="T37" fmla="*/ 3 h 16"/>
                <a:gd name="T38" fmla="*/ 11 w 19"/>
                <a:gd name="T39" fmla="*/ 5 h 16"/>
                <a:gd name="T40" fmla="*/ 10 w 19"/>
                <a:gd name="T41" fmla="*/ 5 h 16"/>
                <a:gd name="T42" fmla="*/ 11 w 19"/>
                <a:gd name="T43" fmla="*/ 6 h 16"/>
                <a:gd name="T44" fmla="*/ 11 w 19"/>
                <a:gd name="T45" fmla="*/ 8 h 16"/>
                <a:gd name="T46" fmla="*/ 11 w 19"/>
                <a:gd name="T47" fmla="*/ 9 h 16"/>
                <a:gd name="T48" fmla="*/ 12 w 19"/>
                <a:gd name="T49" fmla="*/ 10 h 16"/>
                <a:gd name="T50" fmla="*/ 11 w 19"/>
                <a:gd name="T51" fmla="*/ 12 h 16"/>
                <a:gd name="T52" fmla="*/ 11 w 19"/>
                <a:gd name="T53" fmla="*/ 12 h 16"/>
                <a:gd name="T54" fmla="*/ 11 w 19"/>
                <a:gd name="T55" fmla="*/ 13 h 16"/>
                <a:gd name="T56" fmla="*/ 11 w 19"/>
                <a:gd name="T57" fmla="*/ 14 h 16"/>
                <a:gd name="T58" fmla="*/ 10 w 19"/>
                <a:gd name="T59" fmla="*/ 15 h 16"/>
                <a:gd name="T60" fmla="*/ 9 w 19"/>
                <a:gd name="T61" fmla="*/ 16 h 16"/>
                <a:gd name="T62" fmla="*/ 9 w 19"/>
                <a:gd name="T63" fmla="*/ 15 h 16"/>
                <a:gd name="T64" fmla="*/ 7 w 19"/>
                <a:gd name="T65" fmla="*/ 14 h 16"/>
                <a:gd name="T66" fmla="*/ 7 w 19"/>
                <a:gd name="T67" fmla="*/ 13 h 16"/>
                <a:gd name="T68" fmla="*/ 4 w 19"/>
                <a:gd name="T69" fmla="*/ 13 h 16"/>
                <a:gd name="T70" fmla="*/ 4 w 19"/>
                <a:gd name="T71" fmla="*/ 12 h 16"/>
                <a:gd name="T72" fmla="*/ 4 w 19"/>
                <a:gd name="T73" fmla="*/ 12 h 16"/>
                <a:gd name="T74" fmla="*/ 4 w 19"/>
                <a:gd name="T75" fmla="*/ 10 h 16"/>
                <a:gd name="T76" fmla="*/ 4 w 19"/>
                <a:gd name="T77" fmla="*/ 9 h 16"/>
                <a:gd name="T78" fmla="*/ 3 w 19"/>
                <a:gd name="T79" fmla="*/ 9 h 16"/>
                <a:gd name="T80" fmla="*/ 3 w 19"/>
                <a:gd name="T81" fmla="*/ 8 h 16"/>
                <a:gd name="T82" fmla="*/ 3 w 19"/>
                <a:gd name="T83" fmla="*/ 8 h 16"/>
                <a:gd name="T84" fmla="*/ 1 w 19"/>
                <a:gd name="T85" fmla="*/ 7 h 16"/>
                <a:gd name="T86" fmla="*/ 4 w 19"/>
                <a:gd name="T87" fmla="*/ 7 h 16"/>
                <a:gd name="T88" fmla="*/ 8 w 19"/>
                <a:gd name="T89" fmla="*/ 6 h 16"/>
                <a:gd name="T90" fmla="*/ 9 w 19"/>
                <a:gd name="T91" fmla="*/ 5 h 16"/>
                <a:gd name="T92" fmla="*/ 12 w 19"/>
                <a:gd name="T93" fmla="*/ 1 h 16"/>
                <a:gd name="T94" fmla="*/ 15 w 19"/>
                <a:gd name="T95" fmla="*/ 0 h 16"/>
                <a:gd name="T96" fmla="*/ 15 w 19"/>
                <a:gd name="T97" fmla="*/ 0 h 16"/>
                <a:gd name="T98" fmla="*/ 15 w 19"/>
                <a:gd name="T99" fmla="*/ 1 h 16"/>
                <a:gd name="T100" fmla="*/ 14 w 19"/>
                <a:gd name="T101" fmla="*/ 2 h 16"/>
                <a:gd name="T102" fmla="*/ 14 w 19"/>
                <a:gd name="T103"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 h="16">
                  <a:moveTo>
                    <a:pt x="16" y="2"/>
                  </a:moveTo>
                  <a:lnTo>
                    <a:pt x="16" y="2"/>
                  </a:lnTo>
                  <a:lnTo>
                    <a:pt x="16" y="2"/>
                  </a:lnTo>
                  <a:lnTo>
                    <a:pt x="16" y="2"/>
                  </a:lnTo>
                  <a:lnTo>
                    <a:pt x="16" y="2"/>
                  </a:lnTo>
                  <a:lnTo>
                    <a:pt x="16" y="2"/>
                  </a:lnTo>
                  <a:lnTo>
                    <a:pt x="16" y="2"/>
                  </a:lnTo>
                  <a:lnTo>
                    <a:pt x="17" y="3"/>
                  </a:lnTo>
                  <a:lnTo>
                    <a:pt x="18" y="6"/>
                  </a:lnTo>
                  <a:lnTo>
                    <a:pt x="18" y="7"/>
                  </a:lnTo>
                  <a:lnTo>
                    <a:pt x="18" y="7"/>
                  </a:lnTo>
                  <a:lnTo>
                    <a:pt x="18" y="8"/>
                  </a:lnTo>
                  <a:lnTo>
                    <a:pt x="18" y="8"/>
                  </a:lnTo>
                  <a:lnTo>
                    <a:pt x="18" y="9"/>
                  </a:lnTo>
                  <a:lnTo>
                    <a:pt x="18" y="9"/>
                  </a:lnTo>
                  <a:lnTo>
                    <a:pt x="18" y="10"/>
                  </a:lnTo>
                  <a:lnTo>
                    <a:pt x="19" y="10"/>
                  </a:lnTo>
                  <a:lnTo>
                    <a:pt x="19" y="10"/>
                  </a:lnTo>
                  <a:lnTo>
                    <a:pt x="19" y="12"/>
                  </a:lnTo>
                  <a:lnTo>
                    <a:pt x="19" y="12"/>
                  </a:lnTo>
                  <a:lnTo>
                    <a:pt x="19" y="12"/>
                  </a:lnTo>
                  <a:lnTo>
                    <a:pt x="18" y="12"/>
                  </a:lnTo>
                  <a:lnTo>
                    <a:pt x="18" y="12"/>
                  </a:lnTo>
                  <a:lnTo>
                    <a:pt x="18" y="10"/>
                  </a:lnTo>
                  <a:lnTo>
                    <a:pt x="18" y="10"/>
                  </a:lnTo>
                  <a:lnTo>
                    <a:pt x="18" y="10"/>
                  </a:lnTo>
                  <a:lnTo>
                    <a:pt x="17" y="10"/>
                  </a:lnTo>
                  <a:lnTo>
                    <a:pt x="17" y="10"/>
                  </a:lnTo>
                  <a:lnTo>
                    <a:pt x="17" y="10"/>
                  </a:lnTo>
                  <a:lnTo>
                    <a:pt x="17" y="10"/>
                  </a:lnTo>
                  <a:lnTo>
                    <a:pt x="16" y="10"/>
                  </a:lnTo>
                  <a:lnTo>
                    <a:pt x="16" y="10"/>
                  </a:lnTo>
                  <a:lnTo>
                    <a:pt x="16" y="10"/>
                  </a:lnTo>
                  <a:lnTo>
                    <a:pt x="15" y="8"/>
                  </a:lnTo>
                  <a:lnTo>
                    <a:pt x="15" y="8"/>
                  </a:lnTo>
                  <a:lnTo>
                    <a:pt x="15" y="7"/>
                  </a:lnTo>
                  <a:lnTo>
                    <a:pt x="15" y="6"/>
                  </a:lnTo>
                  <a:lnTo>
                    <a:pt x="15" y="5"/>
                  </a:lnTo>
                  <a:lnTo>
                    <a:pt x="15" y="3"/>
                  </a:lnTo>
                  <a:lnTo>
                    <a:pt x="15" y="3"/>
                  </a:lnTo>
                  <a:lnTo>
                    <a:pt x="15" y="3"/>
                  </a:lnTo>
                  <a:lnTo>
                    <a:pt x="15" y="3"/>
                  </a:lnTo>
                  <a:lnTo>
                    <a:pt x="15" y="3"/>
                  </a:lnTo>
                  <a:lnTo>
                    <a:pt x="16" y="3"/>
                  </a:lnTo>
                  <a:lnTo>
                    <a:pt x="16" y="3"/>
                  </a:lnTo>
                  <a:lnTo>
                    <a:pt x="16" y="2"/>
                  </a:lnTo>
                  <a:lnTo>
                    <a:pt x="16" y="2"/>
                  </a:lnTo>
                  <a:lnTo>
                    <a:pt x="16" y="2"/>
                  </a:lnTo>
                  <a:lnTo>
                    <a:pt x="16" y="2"/>
                  </a:lnTo>
                  <a:lnTo>
                    <a:pt x="16" y="2"/>
                  </a:lnTo>
                  <a:lnTo>
                    <a:pt x="16" y="2"/>
                  </a:lnTo>
                  <a:close/>
                  <a:moveTo>
                    <a:pt x="14" y="3"/>
                  </a:moveTo>
                  <a:lnTo>
                    <a:pt x="12" y="3"/>
                  </a:lnTo>
                  <a:lnTo>
                    <a:pt x="12" y="3"/>
                  </a:lnTo>
                  <a:lnTo>
                    <a:pt x="12" y="3"/>
                  </a:lnTo>
                  <a:lnTo>
                    <a:pt x="12" y="3"/>
                  </a:lnTo>
                  <a:lnTo>
                    <a:pt x="12" y="3"/>
                  </a:lnTo>
                  <a:lnTo>
                    <a:pt x="11" y="3"/>
                  </a:lnTo>
                  <a:lnTo>
                    <a:pt x="11" y="5"/>
                  </a:lnTo>
                  <a:lnTo>
                    <a:pt x="11" y="5"/>
                  </a:lnTo>
                  <a:lnTo>
                    <a:pt x="10" y="5"/>
                  </a:lnTo>
                  <a:lnTo>
                    <a:pt x="10" y="5"/>
                  </a:lnTo>
                  <a:lnTo>
                    <a:pt x="10" y="5"/>
                  </a:lnTo>
                  <a:lnTo>
                    <a:pt x="10" y="5"/>
                  </a:lnTo>
                  <a:lnTo>
                    <a:pt x="10" y="6"/>
                  </a:lnTo>
                  <a:lnTo>
                    <a:pt x="11" y="6"/>
                  </a:lnTo>
                  <a:lnTo>
                    <a:pt x="11" y="6"/>
                  </a:lnTo>
                  <a:lnTo>
                    <a:pt x="11" y="7"/>
                  </a:lnTo>
                  <a:lnTo>
                    <a:pt x="11" y="8"/>
                  </a:lnTo>
                  <a:lnTo>
                    <a:pt x="11" y="9"/>
                  </a:lnTo>
                  <a:lnTo>
                    <a:pt x="11" y="9"/>
                  </a:lnTo>
                  <a:lnTo>
                    <a:pt x="11" y="9"/>
                  </a:lnTo>
                  <a:lnTo>
                    <a:pt x="12" y="9"/>
                  </a:lnTo>
                  <a:lnTo>
                    <a:pt x="12" y="9"/>
                  </a:lnTo>
                  <a:lnTo>
                    <a:pt x="12" y="10"/>
                  </a:lnTo>
                  <a:lnTo>
                    <a:pt x="12" y="10"/>
                  </a:lnTo>
                  <a:lnTo>
                    <a:pt x="12" y="10"/>
                  </a:lnTo>
                  <a:lnTo>
                    <a:pt x="11" y="12"/>
                  </a:lnTo>
                  <a:lnTo>
                    <a:pt x="11" y="12"/>
                  </a:lnTo>
                  <a:lnTo>
                    <a:pt x="11" y="12"/>
                  </a:lnTo>
                  <a:lnTo>
                    <a:pt x="11" y="12"/>
                  </a:lnTo>
                  <a:lnTo>
                    <a:pt x="11" y="12"/>
                  </a:lnTo>
                  <a:lnTo>
                    <a:pt x="11" y="12"/>
                  </a:lnTo>
                  <a:lnTo>
                    <a:pt x="11" y="13"/>
                  </a:lnTo>
                  <a:lnTo>
                    <a:pt x="11" y="13"/>
                  </a:lnTo>
                  <a:lnTo>
                    <a:pt x="11" y="13"/>
                  </a:lnTo>
                  <a:lnTo>
                    <a:pt x="11" y="14"/>
                  </a:lnTo>
                  <a:lnTo>
                    <a:pt x="11" y="14"/>
                  </a:lnTo>
                  <a:lnTo>
                    <a:pt x="11" y="14"/>
                  </a:lnTo>
                  <a:lnTo>
                    <a:pt x="10" y="15"/>
                  </a:lnTo>
                  <a:lnTo>
                    <a:pt x="9" y="16"/>
                  </a:lnTo>
                  <a:lnTo>
                    <a:pt x="9" y="16"/>
                  </a:lnTo>
                  <a:lnTo>
                    <a:pt x="9" y="16"/>
                  </a:lnTo>
                  <a:lnTo>
                    <a:pt x="9" y="15"/>
                  </a:lnTo>
                  <a:lnTo>
                    <a:pt x="9" y="15"/>
                  </a:lnTo>
                  <a:lnTo>
                    <a:pt x="9" y="15"/>
                  </a:lnTo>
                  <a:lnTo>
                    <a:pt x="8" y="15"/>
                  </a:lnTo>
                  <a:lnTo>
                    <a:pt x="7" y="14"/>
                  </a:lnTo>
                  <a:lnTo>
                    <a:pt x="7" y="14"/>
                  </a:lnTo>
                  <a:lnTo>
                    <a:pt x="7" y="14"/>
                  </a:lnTo>
                  <a:lnTo>
                    <a:pt x="7" y="13"/>
                  </a:lnTo>
                  <a:lnTo>
                    <a:pt x="7" y="13"/>
                  </a:lnTo>
                  <a:lnTo>
                    <a:pt x="7" y="13"/>
                  </a:lnTo>
                  <a:lnTo>
                    <a:pt x="5" y="13"/>
                  </a:lnTo>
                  <a:lnTo>
                    <a:pt x="4" y="13"/>
                  </a:lnTo>
                  <a:lnTo>
                    <a:pt x="4" y="12"/>
                  </a:lnTo>
                  <a:lnTo>
                    <a:pt x="4" y="12"/>
                  </a:lnTo>
                  <a:lnTo>
                    <a:pt x="4" y="12"/>
                  </a:lnTo>
                  <a:lnTo>
                    <a:pt x="4" y="12"/>
                  </a:lnTo>
                  <a:lnTo>
                    <a:pt x="4" y="12"/>
                  </a:lnTo>
                  <a:lnTo>
                    <a:pt x="4" y="12"/>
                  </a:lnTo>
                  <a:lnTo>
                    <a:pt x="4" y="10"/>
                  </a:lnTo>
                  <a:lnTo>
                    <a:pt x="4" y="10"/>
                  </a:lnTo>
                  <a:lnTo>
                    <a:pt x="4" y="10"/>
                  </a:lnTo>
                  <a:lnTo>
                    <a:pt x="4" y="9"/>
                  </a:lnTo>
                  <a:lnTo>
                    <a:pt x="4" y="9"/>
                  </a:lnTo>
                  <a:lnTo>
                    <a:pt x="4" y="9"/>
                  </a:lnTo>
                  <a:lnTo>
                    <a:pt x="4" y="9"/>
                  </a:lnTo>
                  <a:lnTo>
                    <a:pt x="4" y="9"/>
                  </a:lnTo>
                  <a:lnTo>
                    <a:pt x="3" y="9"/>
                  </a:lnTo>
                  <a:lnTo>
                    <a:pt x="3" y="9"/>
                  </a:lnTo>
                  <a:lnTo>
                    <a:pt x="3" y="9"/>
                  </a:lnTo>
                  <a:lnTo>
                    <a:pt x="3" y="8"/>
                  </a:lnTo>
                  <a:lnTo>
                    <a:pt x="3" y="8"/>
                  </a:lnTo>
                  <a:lnTo>
                    <a:pt x="3" y="8"/>
                  </a:lnTo>
                  <a:lnTo>
                    <a:pt x="3" y="8"/>
                  </a:lnTo>
                  <a:lnTo>
                    <a:pt x="2" y="8"/>
                  </a:lnTo>
                  <a:lnTo>
                    <a:pt x="2" y="7"/>
                  </a:lnTo>
                  <a:lnTo>
                    <a:pt x="1" y="7"/>
                  </a:lnTo>
                  <a:lnTo>
                    <a:pt x="0" y="7"/>
                  </a:lnTo>
                  <a:lnTo>
                    <a:pt x="3" y="7"/>
                  </a:lnTo>
                  <a:lnTo>
                    <a:pt x="4" y="7"/>
                  </a:lnTo>
                  <a:lnTo>
                    <a:pt x="5" y="6"/>
                  </a:lnTo>
                  <a:lnTo>
                    <a:pt x="7" y="6"/>
                  </a:lnTo>
                  <a:lnTo>
                    <a:pt x="8" y="6"/>
                  </a:lnTo>
                  <a:lnTo>
                    <a:pt x="8" y="5"/>
                  </a:lnTo>
                  <a:lnTo>
                    <a:pt x="8" y="5"/>
                  </a:lnTo>
                  <a:lnTo>
                    <a:pt x="9" y="5"/>
                  </a:lnTo>
                  <a:lnTo>
                    <a:pt x="10" y="2"/>
                  </a:lnTo>
                  <a:lnTo>
                    <a:pt x="10" y="2"/>
                  </a:lnTo>
                  <a:lnTo>
                    <a:pt x="12" y="1"/>
                  </a:lnTo>
                  <a:lnTo>
                    <a:pt x="15" y="0"/>
                  </a:lnTo>
                  <a:lnTo>
                    <a:pt x="15" y="0"/>
                  </a:lnTo>
                  <a:lnTo>
                    <a:pt x="15" y="0"/>
                  </a:lnTo>
                  <a:lnTo>
                    <a:pt x="15" y="0"/>
                  </a:lnTo>
                  <a:lnTo>
                    <a:pt x="15" y="0"/>
                  </a:lnTo>
                  <a:lnTo>
                    <a:pt x="15" y="0"/>
                  </a:lnTo>
                  <a:lnTo>
                    <a:pt x="15" y="1"/>
                  </a:lnTo>
                  <a:lnTo>
                    <a:pt x="15" y="1"/>
                  </a:lnTo>
                  <a:lnTo>
                    <a:pt x="15" y="1"/>
                  </a:lnTo>
                  <a:lnTo>
                    <a:pt x="14" y="1"/>
                  </a:lnTo>
                  <a:lnTo>
                    <a:pt x="14" y="2"/>
                  </a:lnTo>
                  <a:lnTo>
                    <a:pt x="14" y="2"/>
                  </a:lnTo>
                  <a:lnTo>
                    <a:pt x="14" y="2"/>
                  </a:lnTo>
                  <a:lnTo>
                    <a:pt x="14" y="3"/>
                  </a:lnTo>
                  <a:lnTo>
                    <a:pt x="14" y="3"/>
                  </a:lnTo>
                  <a:lnTo>
                    <a:pt x="14" y="3"/>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97" name="Freeform 850">
              <a:extLst>
                <a:ext uri="{FF2B5EF4-FFF2-40B4-BE49-F238E27FC236}">
                  <a16:creationId xmlns:a16="http://schemas.microsoft.com/office/drawing/2014/main" id="{8A89406E-B619-43DE-8B65-03F78A0668A3}"/>
                </a:ext>
              </a:extLst>
            </p:cNvPr>
            <p:cNvSpPr>
              <a:spLocks/>
            </p:cNvSpPr>
            <p:nvPr/>
          </p:nvSpPr>
          <p:spPr bwMode="auto">
            <a:xfrm>
              <a:off x="7406342" y="2748894"/>
              <a:ext cx="61432" cy="34723"/>
            </a:xfrm>
            <a:custGeom>
              <a:avLst/>
              <a:gdLst>
                <a:gd name="T0" fmla="*/ 37 w 46"/>
                <a:gd name="T1" fmla="*/ 13 h 26"/>
                <a:gd name="T2" fmla="*/ 39 w 46"/>
                <a:gd name="T3" fmla="*/ 14 h 26"/>
                <a:gd name="T4" fmla="*/ 42 w 46"/>
                <a:gd name="T5" fmla="*/ 14 h 26"/>
                <a:gd name="T6" fmla="*/ 43 w 46"/>
                <a:gd name="T7" fmla="*/ 14 h 26"/>
                <a:gd name="T8" fmla="*/ 44 w 46"/>
                <a:gd name="T9" fmla="*/ 18 h 26"/>
                <a:gd name="T10" fmla="*/ 44 w 46"/>
                <a:gd name="T11" fmla="*/ 19 h 26"/>
                <a:gd name="T12" fmla="*/ 45 w 46"/>
                <a:gd name="T13" fmla="*/ 21 h 26"/>
                <a:gd name="T14" fmla="*/ 45 w 46"/>
                <a:gd name="T15" fmla="*/ 24 h 26"/>
                <a:gd name="T16" fmla="*/ 44 w 46"/>
                <a:gd name="T17" fmla="*/ 24 h 26"/>
                <a:gd name="T18" fmla="*/ 43 w 46"/>
                <a:gd name="T19" fmla="*/ 25 h 26"/>
                <a:gd name="T20" fmla="*/ 42 w 46"/>
                <a:gd name="T21" fmla="*/ 25 h 26"/>
                <a:gd name="T22" fmla="*/ 39 w 46"/>
                <a:gd name="T23" fmla="*/ 25 h 26"/>
                <a:gd name="T24" fmla="*/ 37 w 46"/>
                <a:gd name="T25" fmla="*/ 24 h 26"/>
                <a:gd name="T26" fmla="*/ 36 w 46"/>
                <a:gd name="T27" fmla="*/ 25 h 26"/>
                <a:gd name="T28" fmla="*/ 35 w 46"/>
                <a:gd name="T29" fmla="*/ 25 h 26"/>
                <a:gd name="T30" fmla="*/ 31 w 46"/>
                <a:gd name="T31" fmla="*/ 25 h 26"/>
                <a:gd name="T32" fmla="*/ 23 w 46"/>
                <a:gd name="T33" fmla="*/ 22 h 26"/>
                <a:gd name="T34" fmla="*/ 21 w 46"/>
                <a:gd name="T35" fmla="*/ 24 h 26"/>
                <a:gd name="T36" fmla="*/ 18 w 46"/>
                <a:gd name="T37" fmla="*/ 26 h 26"/>
                <a:gd name="T38" fmla="*/ 16 w 46"/>
                <a:gd name="T39" fmla="*/ 26 h 26"/>
                <a:gd name="T40" fmla="*/ 16 w 46"/>
                <a:gd name="T41" fmla="*/ 26 h 26"/>
                <a:gd name="T42" fmla="*/ 16 w 46"/>
                <a:gd name="T43" fmla="*/ 26 h 26"/>
                <a:gd name="T44" fmla="*/ 14 w 46"/>
                <a:gd name="T45" fmla="*/ 26 h 26"/>
                <a:gd name="T46" fmla="*/ 13 w 46"/>
                <a:gd name="T47" fmla="*/ 25 h 26"/>
                <a:gd name="T48" fmla="*/ 9 w 46"/>
                <a:gd name="T49" fmla="*/ 24 h 26"/>
                <a:gd name="T50" fmla="*/ 8 w 46"/>
                <a:gd name="T51" fmla="*/ 24 h 26"/>
                <a:gd name="T52" fmla="*/ 6 w 46"/>
                <a:gd name="T53" fmla="*/ 24 h 26"/>
                <a:gd name="T54" fmla="*/ 4 w 46"/>
                <a:gd name="T55" fmla="*/ 22 h 26"/>
                <a:gd name="T56" fmla="*/ 3 w 46"/>
                <a:gd name="T57" fmla="*/ 22 h 26"/>
                <a:gd name="T58" fmla="*/ 2 w 46"/>
                <a:gd name="T59" fmla="*/ 22 h 26"/>
                <a:gd name="T60" fmla="*/ 1 w 46"/>
                <a:gd name="T61" fmla="*/ 19 h 26"/>
                <a:gd name="T62" fmla="*/ 0 w 46"/>
                <a:gd name="T63" fmla="*/ 18 h 26"/>
                <a:gd name="T64" fmla="*/ 2 w 46"/>
                <a:gd name="T65" fmla="*/ 17 h 26"/>
                <a:gd name="T66" fmla="*/ 2 w 46"/>
                <a:gd name="T67" fmla="*/ 14 h 26"/>
                <a:gd name="T68" fmla="*/ 2 w 46"/>
                <a:gd name="T69" fmla="*/ 13 h 26"/>
                <a:gd name="T70" fmla="*/ 2 w 46"/>
                <a:gd name="T71" fmla="*/ 12 h 26"/>
                <a:gd name="T72" fmla="*/ 3 w 46"/>
                <a:gd name="T73" fmla="*/ 12 h 26"/>
                <a:gd name="T74" fmla="*/ 4 w 46"/>
                <a:gd name="T75" fmla="*/ 10 h 26"/>
                <a:gd name="T76" fmla="*/ 6 w 46"/>
                <a:gd name="T77" fmla="*/ 7 h 26"/>
                <a:gd name="T78" fmla="*/ 7 w 46"/>
                <a:gd name="T79" fmla="*/ 5 h 26"/>
                <a:gd name="T80" fmla="*/ 10 w 46"/>
                <a:gd name="T81" fmla="*/ 3 h 26"/>
                <a:gd name="T82" fmla="*/ 11 w 46"/>
                <a:gd name="T83" fmla="*/ 1 h 26"/>
                <a:gd name="T84" fmla="*/ 13 w 46"/>
                <a:gd name="T85" fmla="*/ 0 h 26"/>
                <a:gd name="T86" fmla="*/ 15 w 46"/>
                <a:gd name="T87" fmla="*/ 0 h 26"/>
                <a:gd name="T88" fmla="*/ 17 w 46"/>
                <a:gd name="T89" fmla="*/ 1 h 26"/>
                <a:gd name="T90" fmla="*/ 21 w 46"/>
                <a:gd name="T91" fmla="*/ 1 h 26"/>
                <a:gd name="T92" fmla="*/ 21 w 46"/>
                <a:gd name="T93" fmla="*/ 4 h 26"/>
                <a:gd name="T94" fmla="*/ 22 w 46"/>
                <a:gd name="T95" fmla="*/ 4 h 26"/>
                <a:gd name="T96" fmla="*/ 24 w 46"/>
                <a:gd name="T97" fmla="*/ 5 h 26"/>
                <a:gd name="T98" fmla="*/ 29 w 46"/>
                <a:gd name="T99" fmla="*/ 6 h 26"/>
                <a:gd name="T100" fmla="*/ 30 w 46"/>
                <a:gd name="T101" fmla="*/ 5 h 26"/>
                <a:gd name="T102" fmla="*/ 31 w 46"/>
                <a:gd name="T103" fmla="*/ 5 h 26"/>
                <a:gd name="T104" fmla="*/ 35 w 46"/>
                <a:gd name="T105" fmla="*/ 6 h 26"/>
                <a:gd name="T106" fmla="*/ 37 w 46"/>
                <a:gd name="T107"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 h="26">
                  <a:moveTo>
                    <a:pt x="37" y="10"/>
                  </a:moveTo>
                  <a:lnTo>
                    <a:pt x="37" y="10"/>
                  </a:lnTo>
                  <a:lnTo>
                    <a:pt x="37" y="11"/>
                  </a:lnTo>
                  <a:lnTo>
                    <a:pt x="37" y="12"/>
                  </a:lnTo>
                  <a:lnTo>
                    <a:pt x="37" y="13"/>
                  </a:lnTo>
                  <a:lnTo>
                    <a:pt x="37" y="13"/>
                  </a:lnTo>
                  <a:lnTo>
                    <a:pt x="38" y="13"/>
                  </a:lnTo>
                  <a:lnTo>
                    <a:pt x="38" y="13"/>
                  </a:lnTo>
                  <a:lnTo>
                    <a:pt x="38" y="14"/>
                  </a:lnTo>
                  <a:lnTo>
                    <a:pt x="38" y="14"/>
                  </a:lnTo>
                  <a:lnTo>
                    <a:pt x="39" y="14"/>
                  </a:lnTo>
                  <a:lnTo>
                    <a:pt x="39" y="14"/>
                  </a:lnTo>
                  <a:lnTo>
                    <a:pt x="39" y="14"/>
                  </a:lnTo>
                  <a:lnTo>
                    <a:pt x="39" y="14"/>
                  </a:lnTo>
                  <a:lnTo>
                    <a:pt x="39" y="14"/>
                  </a:lnTo>
                  <a:lnTo>
                    <a:pt x="39" y="14"/>
                  </a:lnTo>
                  <a:lnTo>
                    <a:pt x="41" y="14"/>
                  </a:lnTo>
                  <a:lnTo>
                    <a:pt x="42" y="14"/>
                  </a:lnTo>
                  <a:lnTo>
                    <a:pt x="42" y="14"/>
                  </a:lnTo>
                  <a:lnTo>
                    <a:pt x="42" y="14"/>
                  </a:lnTo>
                  <a:lnTo>
                    <a:pt x="42" y="14"/>
                  </a:lnTo>
                  <a:lnTo>
                    <a:pt x="43" y="14"/>
                  </a:lnTo>
                  <a:lnTo>
                    <a:pt x="43" y="14"/>
                  </a:lnTo>
                  <a:lnTo>
                    <a:pt x="43" y="14"/>
                  </a:lnTo>
                  <a:lnTo>
                    <a:pt x="45" y="17"/>
                  </a:lnTo>
                  <a:lnTo>
                    <a:pt x="45" y="17"/>
                  </a:lnTo>
                  <a:lnTo>
                    <a:pt x="45" y="17"/>
                  </a:lnTo>
                  <a:lnTo>
                    <a:pt x="44" y="18"/>
                  </a:lnTo>
                  <a:lnTo>
                    <a:pt x="44" y="18"/>
                  </a:lnTo>
                  <a:lnTo>
                    <a:pt x="44" y="18"/>
                  </a:lnTo>
                  <a:lnTo>
                    <a:pt x="44" y="18"/>
                  </a:lnTo>
                  <a:lnTo>
                    <a:pt x="44" y="18"/>
                  </a:lnTo>
                  <a:lnTo>
                    <a:pt x="44" y="18"/>
                  </a:lnTo>
                  <a:lnTo>
                    <a:pt x="44" y="19"/>
                  </a:lnTo>
                  <a:lnTo>
                    <a:pt x="44" y="19"/>
                  </a:lnTo>
                  <a:lnTo>
                    <a:pt x="44" y="19"/>
                  </a:lnTo>
                  <a:lnTo>
                    <a:pt x="44" y="19"/>
                  </a:lnTo>
                  <a:lnTo>
                    <a:pt x="44" y="19"/>
                  </a:lnTo>
                  <a:lnTo>
                    <a:pt x="44" y="19"/>
                  </a:lnTo>
                  <a:lnTo>
                    <a:pt x="44" y="20"/>
                  </a:lnTo>
                  <a:lnTo>
                    <a:pt x="44" y="20"/>
                  </a:lnTo>
                  <a:lnTo>
                    <a:pt x="45" y="21"/>
                  </a:lnTo>
                  <a:lnTo>
                    <a:pt x="45" y="21"/>
                  </a:lnTo>
                  <a:lnTo>
                    <a:pt x="45" y="21"/>
                  </a:lnTo>
                  <a:lnTo>
                    <a:pt x="46" y="22"/>
                  </a:lnTo>
                  <a:lnTo>
                    <a:pt x="46" y="22"/>
                  </a:lnTo>
                  <a:lnTo>
                    <a:pt x="46" y="24"/>
                  </a:lnTo>
                  <a:lnTo>
                    <a:pt x="45" y="24"/>
                  </a:lnTo>
                  <a:lnTo>
                    <a:pt x="45" y="24"/>
                  </a:lnTo>
                  <a:lnTo>
                    <a:pt x="44" y="24"/>
                  </a:lnTo>
                  <a:lnTo>
                    <a:pt x="44" y="24"/>
                  </a:lnTo>
                  <a:lnTo>
                    <a:pt x="44" y="24"/>
                  </a:lnTo>
                  <a:lnTo>
                    <a:pt x="44" y="24"/>
                  </a:lnTo>
                  <a:lnTo>
                    <a:pt x="44" y="24"/>
                  </a:lnTo>
                  <a:lnTo>
                    <a:pt x="44" y="24"/>
                  </a:lnTo>
                  <a:lnTo>
                    <a:pt x="43" y="24"/>
                  </a:lnTo>
                  <a:lnTo>
                    <a:pt x="44" y="24"/>
                  </a:lnTo>
                  <a:lnTo>
                    <a:pt x="44" y="25"/>
                  </a:lnTo>
                  <a:lnTo>
                    <a:pt x="44" y="25"/>
                  </a:lnTo>
                  <a:lnTo>
                    <a:pt x="43" y="25"/>
                  </a:lnTo>
                  <a:lnTo>
                    <a:pt x="43" y="24"/>
                  </a:lnTo>
                  <a:lnTo>
                    <a:pt x="43" y="24"/>
                  </a:lnTo>
                  <a:lnTo>
                    <a:pt x="43" y="24"/>
                  </a:lnTo>
                  <a:lnTo>
                    <a:pt x="43" y="24"/>
                  </a:lnTo>
                  <a:lnTo>
                    <a:pt x="42" y="24"/>
                  </a:lnTo>
                  <a:lnTo>
                    <a:pt x="42" y="25"/>
                  </a:lnTo>
                  <a:lnTo>
                    <a:pt x="42" y="25"/>
                  </a:lnTo>
                  <a:lnTo>
                    <a:pt x="41" y="25"/>
                  </a:lnTo>
                  <a:lnTo>
                    <a:pt x="41" y="25"/>
                  </a:lnTo>
                  <a:lnTo>
                    <a:pt x="39" y="25"/>
                  </a:lnTo>
                  <a:lnTo>
                    <a:pt x="39" y="25"/>
                  </a:lnTo>
                  <a:lnTo>
                    <a:pt x="39" y="25"/>
                  </a:lnTo>
                  <a:lnTo>
                    <a:pt x="38" y="25"/>
                  </a:lnTo>
                  <a:lnTo>
                    <a:pt x="38" y="25"/>
                  </a:lnTo>
                  <a:lnTo>
                    <a:pt x="38" y="24"/>
                  </a:lnTo>
                  <a:lnTo>
                    <a:pt x="38" y="24"/>
                  </a:lnTo>
                  <a:lnTo>
                    <a:pt x="38" y="24"/>
                  </a:lnTo>
                  <a:lnTo>
                    <a:pt x="37" y="24"/>
                  </a:lnTo>
                  <a:lnTo>
                    <a:pt x="37" y="24"/>
                  </a:lnTo>
                  <a:lnTo>
                    <a:pt x="37" y="24"/>
                  </a:lnTo>
                  <a:lnTo>
                    <a:pt x="37" y="24"/>
                  </a:lnTo>
                  <a:lnTo>
                    <a:pt x="37" y="24"/>
                  </a:lnTo>
                  <a:lnTo>
                    <a:pt x="37" y="25"/>
                  </a:lnTo>
                  <a:lnTo>
                    <a:pt x="36" y="25"/>
                  </a:lnTo>
                  <a:lnTo>
                    <a:pt x="36" y="25"/>
                  </a:lnTo>
                  <a:lnTo>
                    <a:pt x="36" y="25"/>
                  </a:lnTo>
                  <a:lnTo>
                    <a:pt x="36" y="25"/>
                  </a:lnTo>
                  <a:lnTo>
                    <a:pt x="36" y="25"/>
                  </a:lnTo>
                  <a:lnTo>
                    <a:pt x="35" y="25"/>
                  </a:lnTo>
                  <a:lnTo>
                    <a:pt x="35" y="25"/>
                  </a:lnTo>
                  <a:lnTo>
                    <a:pt x="35" y="25"/>
                  </a:lnTo>
                  <a:lnTo>
                    <a:pt x="34" y="25"/>
                  </a:lnTo>
                  <a:lnTo>
                    <a:pt x="32" y="25"/>
                  </a:lnTo>
                  <a:lnTo>
                    <a:pt x="32" y="25"/>
                  </a:lnTo>
                  <a:lnTo>
                    <a:pt x="32" y="25"/>
                  </a:lnTo>
                  <a:lnTo>
                    <a:pt x="31" y="25"/>
                  </a:lnTo>
                  <a:lnTo>
                    <a:pt x="31" y="25"/>
                  </a:lnTo>
                  <a:lnTo>
                    <a:pt x="28" y="25"/>
                  </a:lnTo>
                  <a:lnTo>
                    <a:pt x="27" y="25"/>
                  </a:lnTo>
                  <a:lnTo>
                    <a:pt x="24" y="24"/>
                  </a:lnTo>
                  <a:lnTo>
                    <a:pt x="23" y="22"/>
                  </a:lnTo>
                  <a:lnTo>
                    <a:pt x="23" y="22"/>
                  </a:lnTo>
                  <a:lnTo>
                    <a:pt x="22" y="24"/>
                  </a:lnTo>
                  <a:lnTo>
                    <a:pt x="22" y="24"/>
                  </a:lnTo>
                  <a:lnTo>
                    <a:pt x="22" y="24"/>
                  </a:lnTo>
                  <a:lnTo>
                    <a:pt x="22" y="24"/>
                  </a:lnTo>
                  <a:lnTo>
                    <a:pt x="22" y="24"/>
                  </a:lnTo>
                  <a:lnTo>
                    <a:pt x="21" y="24"/>
                  </a:lnTo>
                  <a:lnTo>
                    <a:pt x="21" y="24"/>
                  </a:lnTo>
                  <a:lnTo>
                    <a:pt x="21" y="24"/>
                  </a:lnTo>
                  <a:lnTo>
                    <a:pt x="21" y="25"/>
                  </a:lnTo>
                  <a:lnTo>
                    <a:pt x="20" y="25"/>
                  </a:lnTo>
                  <a:lnTo>
                    <a:pt x="20" y="26"/>
                  </a:lnTo>
                  <a:lnTo>
                    <a:pt x="18" y="26"/>
                  </a:lnTo>
                  <a:lnTo>
                    <a:pt x="17" y="26"/>
                  </a:lnTo>
                  <a:lnTo>
                    <a:pt x="17" y="26"/>
                  </a:lnTo>
                  <a:lnTo>
                    <a:pt x="17" y="26"/>
                  </a:lnTo>
                  <a:lnTo>
                    <a:pt x="16" y="26"/>
                  </a:lnTo>
                  <a:lnTo>
                    <a:pt x="16" y="26"/>
                  </a:lnTo>
                  <a:lnTo>
                    <a:pt x="16" y="26"/>
                  </a:lnTo>
                  <a:lnTo>
                    <a:pt x="16" y="26"/>
                  </a:lnTo>
                  <a:lnTo>
                    <a:pt x="16" y="26"/>
                  </a:lnTo>
                  <a:lnTo>
                    <a:pt x="16" y="26"/>
                  </a:lnTo>
                  <a:lnTo>
                    <a:pt x="16" y="26"/>
                  </a:lnTo>
                  <a:lnTo>
                    <a:pt x="16" y="26"/>
                  </a:lnTo>
                  <a:lnTo>
                    <a:pt x="16" y="26"/>
                  </a:lnTo>
                  <a:lnTo>
                    <a:pt x="16" y="26"/>
                  </a:lnTo>
                  <a:lnTo>
                    <a:pt x="16" y="26"/>
                  </a:lnTo>
                  <a:lnTo>
                    <a:pt x="16" y="26"/>
                  </a:lnTo>
                  <a:lnTo>
                    <a:pt x="16" y="26"/>
                  </a:lnTo>
                  <a:lnTo>
                    <a:pt x="16" y="26"/>
                  </a:lnTo>
                  <a:lnTo>
                    <a:pt x="16" y="26"/>
                  </a:lnTo>
                  <a:lnTo>
                    <a:pt x="16" y="26"/>
                  </a:lnTo>
                  <a:lnTo>
                    <a:pt x="16" y="26"/>
                  </a:lnTo>
                  <a:lnTo>
                    <a:pt x="15" y="26"/>
                  </a:lnTo>
                  <a:lnTo>
                    <a:pt x="15" y="26"/>
                  </a:lnTo>
                  <a:lnTo>
                    <a:pt x="15" y="26"/>
                  </a:lnTo>
                  <a:lnTo>
                    <a:pt x="14" y="26"/>
                  </a:lnTo>
                  <a:lnTo>
                    <a:pt x="14" y="26"/>
                  </a:lnTo>
                  <a:lnTo>
                    <a:pt x="14" y="26"/>
                  </a:lnTo>
                  <a:lnTo>
                    <a:pt x="13" y="26"/>
                  </a:lnTo>
                  <a:lnTo>
                    <a:pt x="13" y="26"/>
                  </a:lnTo>
                  <a:lnTo>
                    <a:pt x="13" y="25"/>
                  </a:lnTo>
                  <a:lnTo>
                    <a:pt x="13" y="25"/>
                  </a:lnTo>
                  <a:lnTo>
                    <a:pt x="13" y="25"/>
                  </a:lnTo>
                  <a:lnTo>
                    <a:pt x="11" y="25"/>
                  </a:lnTo>
                  <a:lnTo>
                    <a:pt x="11" y="25"/>
                  </a:lnTo>
                  <a:lnTo>
                    <a:pt x="10" y="25"/>
                  </a:lnTo>
                  <a:lnTo>
                    <a:pt x="10" y="25"/>
                  </a:lnTo>
                  <a:lnTo>
                    <a:pt x="9" y="24"/>
                  </a:lnTo>
                  <a:lnTo>
                    <a:pt x="9" y="24"/>
                  </a:lnTo>
                  <a:lnTo>
                    <a:pt x="9" y="24"/>
                  </a:lnTo>
                  <a:lnTo>
                    <a:pt x="8" y="24"/>
                  </a:lnTo>
                  <a:lnTo>
                    <a:pt x="8" y="24"/>
                  </a:lnTo>
                  <a:lnTo>
                    <a:pt x="8" y="24"/>
                  </a:lnTo>
                  <a:lnTo>
                    <a:pt x="8" y="24"/>
                  </a:lnTo>
                  <a:lnTo>
                    <a:pt x="8" y="24"/>
                  </a:lnTo>
                  <a:lnTo>
                    <a:pt x="8" y="25"/>
                  </a:lnTo>
                  <a:lnTo>
                    <a:pt x="7" y="25"/>
                  </a:lnTo>
                  <a:lnTo>
                    <a:pt x="7" y="25"/>
                  </a:lnTo>
                  <a:lnTo>
                    <a:pt x="6" y="24"/>
                  </a:lnTo>
                  <a:lnTo>
                    <a:pt x="6" y="24"/>
                  </a:lnTo>
                  <a:lnTo>
                    <a:pt x="6" y="24"/>
                  </a:lnTo>
                  <a:lnTo>
                    <a:pt x="6" y="24"/>
                  </a:lnTo>
                  <a:lnTo>
                    <a:pt x="4" y="22"/>
                  </a:lnTo>
                  <a:lnTo>
                    <a:pt x="4" y="22"/>
                  </a:lnTo>
                  <a:lnTo>
                    <a:pt x="4" y="22"/>
                  </a:lnTo>
                  <a:lnTo>
                    <a:pt x="4" y="22"/>
                  </a:lnTo>
                  <a:lnTo>
                    <a:pt x="3" y="22"/>
                  </a:lnTo>
                  <a:lnTo>
                    <a:pt x="3" y="22"/>
                  </a:lnTo>
                  <a:lnTo>
                    <a:pt x="3" y="22"/>
                  </a:lnTo>
                  <a:lnTo>
                    <a:pt x="3" y="22"/>
                  </a:lnTo>
                  <a:lnTo>
                    <a:pt x="3" y="22"/>
                  </a:lnTo>
                  <a:lnTo>
                    <a:pt x="3" y="22"/>
                  </a:lnTo>
                  <a:lnTo>
                    <a:pt x="3" y="22"/>
                  </a:lnTo>
                  <a:lnTo>
                    <a:pt x="3" y="22"/>
                  </a:lnTo>
                  <a:lnTo>
                    <a:pt x="3" y="21"/>
                  </a:lnTo>
                  <a:lnTo>
                    <a:pt x="2" y="21"/>
                  </a:lnTo>
                  <a:lnTo>
                    <a:pt x="2" y="22"/>
                  </a:lnTo>
                  <a:lnTo>
                    <a:pt x="2" y="22"/>
                  </a:lnTo>
                  <a:lnTo>
                    <a:pt x="2" y="21"/>
                  </a:lnTo>
                  <a:lnTo>
                    <a:pt x="2" y="21"/>
                  </a:lnTo>
                  <a:lnTo>
                    <a:pt x="2" y="20"/>
                  </a:lnTo>
                  <a:lnTo>
                    <a:pt x="2" y="20"/>
                  </a:lnTo>
                  <a:lnTo>
                    <a:pt x="1" y="20"/>
                  </a:lnTo>
                  <a:lnTo>
                    <a:pt x="1" y="19"/>
                  </a:lnTo>
                  <a:lnTo>
                    <a:pt x="0" y="19"/>
                  </a:lnTo>
                  <a:lnTo>
                    <a:pt x="0" y="19"/>
                  </a:lnTo>
                  <a:lnTo>
                    <a:pt x="0" y="19"/>
                  </a:lnTo>
                  <a:lnTo>
                    <a:pt x="0" y="19"/>
                  </a:lnTo>
                  <a:lnTo>
                    <a:pt x="0" y="18"/>
                  </a:lnTo>
                  <a:lnTo>
                    <a:pt x="0" y="18"/>
                  </a:lnTo>
                  <a:lnTo>
                    <a:pt x="1" y="18"/>
                  </a:lnTo>
                  <a:lnTo>
                    <a:pt x="1" y="17"/>
                  </a:lnTo>
                  <a:lnTo>
                    <a:pt x="1" y="17"/>
                  </a:lnTo>
                  <a:lnTo>
                    <a:pt x="1" y="17"/>
                  </a:lnTo>
                  <a:lnTo>
                    <a:pt x="1" y="17"/>
                  </a:lnTo>
                  <a:lnTo>
                    <a:pt x="2" y="17"/>
                  </a:lnTo>
                  <a:lnTo>
                    <a:pt x="2" y="17"/>
                  </a:lnTo>
                  <a:lnTo>
                    <a:pt x="2" y="17"/>
                  </a:lnTo>
                  <a:lnTo>
                    <a:pt x="3" y="17"/>
                  </a:lnTo>
                  <a:lnTo>
                    <a:pt x="2" y="15"/>
                  </a:lnTo>
                  <a:lnTo>
                    <a:pt x="2" y="15"/>
                  </a:lnTo>
                  <a:lnTo>
                    <a:pt x="2" y="14"/>
                  </a:lnTo>
                  <a:lnTo>
                    <a:pt x="2" y="14"/>
                  </a:lnTo>
                  <a:lnTo>
                    <a:pt x="2" y="14"/>
                  </a:lnTo>
                  <a:lnTo>
                    <a:pt x="2" y="13"/>
                  </a:lnTo>
                  <a:lnTo>
                    <a:pt x="2" y="13"/>
                  </a:lnTo>
                  <a:lnTo>
                    <a:pt x="2" y="13"/>
                  </a:lnTo>
                  <a:lnTo>
                    <a:pt x="2" y="13"/>
                  </a:lnTo>
                  <a:lnTo>
                    <a:pt x="2" y="13"/>
                  </a:lnTo>
                  <a:lnTo>
                    <a:pt x="2" y="13"/>
                  </a:lnTo>
                  <a:lnTo>
                    <a:pt x="2" y="13"/>
                  </a:lnTo>
                  <a:lnTo>
                    <a:pt x="2" y="12"/>
                  </a:lnTo>
                  <a:lnTo>
                    <a:pt x="2" y="12"/>
                  </a:lnTo>
                  <a:lnTo>
                    <a:pt x="2" y="12"/>
                  </a:lnTo>
                  <a:lnTo>
                    <a:pt x="2" y="12"/>
                  </a:lnTo>
                  <a:lnTo>
                    <a:pt x="3" y="12"/>
                  </a:lnTo>
                  <a:lnTo>
                    <a:pt x="3" y="12"/>
                  </a:lnTo>
                  <a:lnTo>
                    <a:pt x="3" y="12"/>
                  </a:lnTo>
                  <a:lnTo>
                    <a:pt x="3" y="12"/>
                  </a:lnTo>
                  <a:lnTo>
                    <a:pt x="3" y="12"/>
                  </a:lnTo>
                  <a:lnTo>
                    <a:pt x="3" y="12"/>
                  </a:lnTo>
                  <a:lnTo>
                    <a:pt x="3" y="12"/>
                  </a:lnTo>
                  <a:lnTo>
                    <a:pt x="3" y="12"/>
                  </a:lnTo>
                  <a:lnTo>
                    <a:pt x="3" y="12"/>
                  </a:lnTo>
                  <a:lnTo>
                    <a:pt x="4" y="11"/>
                  </a:lnTo>
                  <a:lnTo>
                    <a:pt x="4" y="10"/>
                  </a:lnTo>
                  <a:lnTo>
                    <a:pt x="4" y="10"/>
                  </a:lnTo>
                  <a:lnTo>
                    <a:pt x="4" y="8"/>
                  </a:lnTo>
                  <a:lnTo>
                    <a:pt x="4" y="8"/>
                  </a:lnTo>
                  <a:lnTo>
                    <a:pt x="6" y="8"/>
                  </a:lnTo>
                  <a:lnTo>
                    <a:pt x="6" y="7"/>
                  </a:lnTo>
                  <a:lnTo>
                    <a:pt x="6" y="7"/>
                  </a:lnTo>
                  <a:lnTo>
                    <a:pt x="7" y="6"/>
                  </a:lnTo>
                  <a:lnTo>
                    <a:pt x="7" y="6"/>
                  </a:lnTo>
                  <a:lnTo>
                    <a:pt x="7" y="6"/>
                  </a:lnTo>
                  <a:lnTo>
                    <a:pt x="7" y="5"/>
                  </a:lnTo>
                  <a:lnTo>
                    <a:pt x="7" y="5"/>
                  </a:lnTo>
                  <a:lnTo>
                    <a:pt x="7" y="5"/>
                  </a:lnTo>
                  <a:lnTo>
                    <a:pt x="7" y="5"/>
                  </a:lnTo>
                  <a:lnTo>
                    <a:pt x="8" y="4"/>
                  </a:lnTo>
                  <a:lnTo>
                    <a:pt x="8" y="4"/>
                  </a:lnTo>
                  <a:lnTo>
                    <a:pt x="8" y="3"/>
                  </a:lnTo>
                  <a:lnTo>
                    <a:pt x="8" y="3"/>
                  </a:lnTo>
                  <a:lnTo>
                    <a:pt x="10" y="3"/>
                  </a:lnTo>
                  <a:lnTo>
                    <a:pt x="10" y="3"/>
                  </a:lnTo>
                  <a:lnTo>
                    <a:pt x="10" y="3"/>
                  </a:lnTo>
                  <a:lnTo>
                    <a:pt x="10" y="1"/>
                  </a:lnTo>
                  <a:lnTo>
                    <a:pt x="10" y="1"/>
                  </a:lnTo>
                  <a:lnTo>
                    <a:pt x="11" y="1"/>
                  </a:lnTo>
                  <a:lnTo>
                    <a:pt x="11" y="1"/>
                  </a:lnTo>
                  <a:lnTo>
                    <a:pt x="11" y="1"/>
                  </a:lnTo>
                  <a:lnTo>
                    <a:pt x="11" y="0"/>
                  </a:lnTo>
                  <a:lnTo>
                    <a:pt x="11" y="0"/>
                  </a:lnTo>
                  <a:lnTo>
                    <a:pt x="11" y="0"/>
                  </a:lnTo>
                  <a:lnTo>
                    <a:pt x="13" y="0"/>
                  </a:lnTo>
                  <a:lnTo>
                    <a:pt x="13" y="0"/>
                  </a:lnTo>
                  <a:lnTo>
                    <a:pt x="13" y="0"/>
                  </a:lnTo>
                  <a:lnTo>
                    <a:pt x="13" y="0"/>
                  </a:lnTo>
                  <a:lnTo>
                    <a:pt x="14" y="0"/>
                  </a:lnTo>
                  <a:lnTo>
                    <a:pt x="15" y="0"/>
                  </a:lnTo>
                  <a:lnTo>
                    <a:pt x="15" y="0"/>
                  </a:lnTo>
                  <a:lnTo>
                    <a:pt x="15" y="0"/>
                  </a:lnTo>
                  <a:lnTo>
                    <a:pt x="16" y="0"/>
                  </a:lnTo>
                  <a:lnTo>
                    <a:pt x="16" y="0"/>
                  </a:lnTo>
                  <a:lnTo>
                    <a:pt x="16" y="0"/>
                  </a:lnTo>
                  <a:lnTo>
                    <a:pt x="17" y="0"/>
                  </a:lnTo>
                  <a:lnTo>
                    <a:pt x="17" y="1"/>
                  </a:lnTo>
                  <a:lnTo>
                    <a:pt x="17" y="1"/>
                  </a:lnTo>
                  <a:lnTo>
                    <a:pt x="18" y="0"/>
                  </a:lnTo>
                  <a:lnTo>
                    <a:pt x="18" y="0"/>
                  </a:lnTo>
                  <a:lnTo>
                    <a:pt x="18" y="1"/>
                  </a:lnTo>
                  <a:lnTo>
                    <a:pt x="20" y="1"/>
                  </a:lnTo>
                  <a:lnTo>
                    <a:pt x="21" y="1"/>
                  </a:lnTo>
                  <a:lnTo>
                    <a:pt x="21" y="1"/>
                  </a:lnTo>
                  <a:lnTo>
                    <a:pt x="22" y="1"/>
                  </a:lnTo>
                  <a:lnTo>
                    <a:pt x="22" y="3"/>
                  </a:lnTo>
                  <a:lnTo>
                    <a:pt x="21" y="3"/>
                  </a:lnTo>
                  <a:lnTo>
                    <a:pt x="21" y="3"/>
                  </a:lnTo>
                  <a:lnTo>
                    <a:pt x="21" y="3"/>
                  </a:lnTo>
                  <a:lnTo>
                    <a:pt x="21" y="4"/>
                  </a:lnTo>
                  <a:lnTo>
                    <a:pt x="21" y="4"/>
                  </a:lnTo>
                  <a:lnTo>
                    <a:pt x="21" y="4"/>
                  </a:lnTo>
                  <a:lnTo>
                    <a:pt x="21" y="4"/>
                  </a:lnTo>
                  <a:lnTo>
                    <a:pt x="22" y="5"/>
                  </a:lnTo>
                  <a:lnTo>
                    <a:pt x="22" y="4"/>
                  </a:lnTo>
                  <a:lnTo>
                    <a:pt x="22" y="4"/>
                  </a:lnTo>
                  <a:lnTo>
                    <a:pt x="23" y="4"/>
                  </a:lnTo>
                  <a:lnTo>
                    <a:pt x="23" y="4"/>
                  </a:lnTo>
                  <a:lnTo>
                    <a:pt x="23" y="4"/>
                  </a:lnTo>
                  <a:lnTo>
                    <a:pt x="24" y="5"/>
                  </a:lnTo>
                  <a:lnTo>
                    <a:pt x="24" y="5"/>
                  </a:lnTo>
                  <a:lnTo>
                    <a:pt x="24" y="5"/>
                  </a:lnTo>
                  <a:lnTo>
                    <a:pt x="25" y="5"/>
                  </a:lnTo>
                  <a:lnTo>
                    <a:pt x="27" y="5"/>
                  </a:lnTo>
                  <a:lnTo>
                    <a:pt x="28" y="6"/>
                  </a:lnTo>
                  <a:lnTo>
                    <a:pt x="28" y="6"/>
                  </a:lnTo>
                  <a:lnTo>
                    <a:pt x="28" y="6"/>
                  </a:lnTo>
                  <a:lnTo>
                    <a:pt x="29" y="6"/>
                  </a:lnTo>
                  <a:lnTo>
                    <a:pt x="29" y="6"/>
                  </a:lnTo>
                  <a:lnTo>
                    <a:pt x="29" y="6"/>
                  </a:lnTo>
                  <a:lnTo>
                    <a:pt x="29" y="6"/>
                  </a:lnTo>
                  <a:lnTo>
                    <a:pt x="29" y="6"/>
                  </a:lnTo>
                  <a:lnTo>
                    <a:pt x="29" y="5"/>
                  </a:lnTo>
                  <a:lnTo>
                    <a:pt x="30" y="5"/>
                  </a:lnTo>
                  <a:lnTo>
                    <a:pt x="30" y="4"/>
                  </a:lnTo>
                  <a:lnTo>
                    <a:pt x="30" y="4"/>
                  </a:lnTo>
                  <a:lnTo>
                    <a:pt x="31" y="4"/>
                  </a:lnTo>
                  <a:lnTo>
                    <a:pt x="31" y="4"/>
                  </a:lnTo>
                  <a:lnTo>
                    <a:pt x="31" y="4"/>
                  </a:lnTo>
                  <a:lnTo>
                    <a:pt x="31" y="5"/>
                  </a:lnTo>
                  <a:lnTo>
                    <a:pt x="32" y="5"/>
                  </a:lnTo>
                  <a:lnTo>
                    <a:pt x="34" y="6"/>
                  </a:lnTo>
                  <a:lnTo>
                    <a:pt x="34" y="6"/>
                  </a:lnTo>
                  <a:lnTo>
                    <a:pt x="34" y="6"/>
                  </a:lnTo>
                  <a:lnTo>
                    <a:pt x="34" y="6"/>
                  </a:lnTo>
                  <a:lnTo>
                    <a:pt x="35" y="6"/>
                  </a:lnTo>
                  <a:lnTo>
                    <a:pt x="35" y="6"/>
                  </a:lnTo>
                  <a:lnTo>
                    <a:pt x="36" y="6"/>
                  </a:lnTo>
                  <a:lnTo>
                    <a:pt x="36" y="6"/>
                  </a:lnTo>
                  <a:lnTo>
                    <a:pt x="36" y="6"/>
                  </a:lnTo>
                  <a:lnTo>
                    <a:pt x="37" y="6"/>
                  </a:lnTo>
                  <a:lnTo>
                    <a:pt x="37" y="7"/>
                  </a:lnTo>
                  <a:lnTo>
                    <a:pt x="37" y="7"/>
                  </a:lnTo>
                  <a:lnTo>
                    <a:pt x="37" y="7"/>
                  </a:lnTo>
                  <a:lnTo>
                    <a:pt x="37" y="7"/>
                  </a:lnTo>
                  <a:lnTo>
                    <a:pt x="37" y="8"/>
                  </a:lnTo>
                  <a:lnTo>
                    <a:pt x="37" y="1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98" name="Freeform 851">
              <a:extLst>
                <a:ext uri="{FF2B5EF4-FFF2-40B4-BE49-F238E27FC236}">
                  <a16:creationId xmlns:a16="http://schemas.microsoft.com/office/drawing/2014/main" id="{AD89E7F7-EE14-432E-B6D9-8CA011C548D7}"/>
                </a:ext>
              </a:extLst>
            </p:cNvPr>
            <p:cNvSpPr>
              <a:spLocks/>
            </p:cNvSpPr>
            <p:nvPr/>
          </p:nvSpPr>
          <p:spPr bwMode="auto">
            <a:xfrm>
              <a:off x="6169680" y="3725136"/>
              <a:ext cx="172278" cy="190975"/>
            </a:xfrm>
            <a:custGeom>
              <a:avLst/>
              <a:gdLst>
                <a:gd name="T0" fmla="*/ 78 w 129"/>
                <a:gd name="T1" fmla="*/ 5 h 143"/>
                <a:gd name="T2" fmla="*/ 82 w 129"/>
                <a:gd name="T3" fmla="*/ 12 h 143"/>
                <a:gd name="T4" fmla="*/ 84 w 129"/>
                <a:gd name="T5" fmla="*/ 21 h 143"/>
                <a:gd name="T6" fmla="*/ 89 w 129"/>
                <a:gd name="T7" fmla="*/ 29 h 143"/>
                <a:gd name="T8" fmla="*/ 94 w 129"/>
                <a:gd name="T9" fmla="*/ 32 h 143"/>
                <a:gd name="T10" fmla="*/ 102 w 129"/>
                <a:gd name="T11" fmla="*/ 38 h 143"/>
                <a:gd name="T12" fmla="*/ 107 w 129"/>
                <a:gd name="T13" fmla="*/ 44 h 143"/>
                <a:gd name="T14" fmla="*/ 107 w 129"/>
                <a:gd name="T15" fmla="*/ 52 h 143"/>
                <a:gd name="T16" fmla="*/ 110 w 129"/>
                <a:gd name="T17" fmla="*/ 58 h 143"/>
                <a:gd name="T18" fmla="*/ 118 w 129"/>
                <a:gd name="T19" fmla="*/ 60 h 143"/>
                <a:gd name="T20" fmla="*/ 125 w 129"/>
                <a:gd name="T21" fmla="*/ 63 h 143"/>
                <a:gd name="T22" fmla="*/ 128 w 129"/>
                <a:gd name="T23" fmla="*/ 67 h 143"/>
                <a:gd name="T24" fmla="*/ 124 w 129"/>
                <a:gd name="T25" fmla="*/ 71 h 143"/>
                <a:gd name="T26" fmla="*/ 118 w 129"/>
                <a:gd name="T27" fmla="*/ 74 h 143"/>
                <a:gd name="T28" fmla="*/ 112 w 129"/>
                <a:gd name="T29" fmla="*/ 77 h 143"/>
                <a:gd name="T30" fmla="*/ 109 w 129"/>
                <a:gd name="T31" fmla="*/ 81 h 143"/>
                <a:gd name="T32" fmla="*/ 105 w 129"/>
                <a:gd name="T33" fmla="*/ 85 h 143"/>
                <a:gd name="T34" fmla="*/ 103 w 129"/>
                <a:gd name="T35" fmla="*/ 88 h 143"/>
                <a:gd name="T36" fmla="*/ 98 w 129"/>
                <a:gd name="T37" fmla="*/ 89 h 143"/>
                <a:gd name="T38" fmla="*/ 95 w 129"/>
                <a:gd name="T39" fmla="*/ 94 h 143"/>
                <a:gd name="T40" fmla="*/ 90 w 129"/>
                <a:gd name="T41" fmla="*/ 103 h 143"/>
                <a:gd name="T42" fmla="*/ 84 w 129"/>
                <a:gd name="T43" fmla="*/ 108 h 143"/>
                <a:gd name="T44" fmla="*/ 79 w 129"/>
                <a:gd name="T45" fmla="*/ 113 h 143"/>
                <a:gd name="T46" fmla="*/ 73 w 129"/>
                <a:gd name="T47" fmla="*/ 124 h 143"/>
                <a:gd name="T48" fmla="*/ 64 w 129"/>
                <a:gd name="T49" fmla="*/ 127 h 143"/>
                <a:gd name="T50" fmla="*/ 58 w 129"/>
                <a:gd name="T51" fmla="*/ 124 h 143"/>
                <a:gd name="T52" fmla="*/ 51 w 129"/>
                <a:gd name="T53" fmla="*/ 121 h 143"/>
                <a:gd name="T54" fmla="*/ 45 w 129"/>
                <a:gd name="T55" fmla="*/ 117 h 143"/>
                <a:gd name="T56" fmla="*/ 38 w 129"/>
                <a:gd name="T57" fmla="*/ 121 h 143"/>
                <a:gd name="T58" fmla="*/ 37 w 129"/>
                <a:gd name="T59" fmla="*/ 125 h 143"/>
                <a:gd name="T60" fmla="*/ 34 w 129"/>
                <a:gd name="T61" fmla="*/ 129 h 143"/>
                <a:gd name="T62" fmla="*/ 30 w 129"/>
                <a:gd name="T63" fmla="*/ 135 h 143"/>
                <a:gd name="T64" fmla="*/ 23 w 129"/>
                <a:gd name="T65" fmla="*/ 139 h 143"/>
                <a:gd name="T66" fmla="*/ 18 w 129"/>
                <a:gd name="T67" fmla="*/ 143 h 143"/>
                <a:gd name="T68" fmla="*/ 11 w 129"/>
                <a:gd name="T69" fmla="*/ 142 h 143"/>
                <a:gd name="T70" fmla="*/ 7 w 129"/>
                <a:gd name="T71" fmla="*/ 139 h 143"/>
                <a:gd name="T72" fmla="*/ 9 w 129"/>
                <a:gd name="T73" fmla="*/ 132 h 143"/>
                <a:gd name="T74" fmla="*/ 9 w 129"/>
                <a:gd name="T75" fmla="*/ 125 h 143"/>
                <a:gd name="T76" fmla="*/ 8 w 129"/>
                <a:gd name="T77" fmla="*/ 120 h 143"/>
                <a:gd name="T78" fmla="*/ 4 w 129"/>
                <a:gd name="T79" fmla="*/ 114 h 143"/>
                <a:gd name="T80" fmla="*/ 0 w 129"/>
                <a:gd name="T81" fmla="*/ 105 h 143"/>
                <a:gd name="T82" fmla="*/ 1 w 129"/>
                <a:gd name="T83" fmla="*/ 88 h 143"/>
                <a:gd name="T84" fmla="*/ 1 w 129"/>
                <a:gd name="T85" fmla="*/ 72 h 143"/>
                <a:gd name="T86" fmla="*/ 14 w 129"/>
                <a:gd name="T87" fmla="*/ 66 h 143"/>
                <a:gd name="T88" fmla="*/ 15 w 129"/>
                <a:gd name="T89" fmla="*/ 59 h 143"/>
                <a:gd name="T90" fmla="*/ 15 w 129"/>
                <a:gd name="T91" fmla="*/ 51 h 143"/>
                <a:gd name="T92" fmla="*/ 16 w 129"/>
                <a:gd name="T93" fmla="*/ 39 h 143"/>
                <a:gd name="T94" fmla="*/ 16 w 129"/>
                <a:gd name="T95" fmla="*/ 26 h 143"/>
                <a:gd name="T96" fmla="*/ 16 w 129"/>
                <a:gd name="T97" fmla="*/ 15 h 143"/>
                <a:gd name="T98" fmla="*/ 17 w 129"/>
                <a:gd name="T99" fmla="*/ 8 h 143"/>
                <a:gd name="T100" fmla="*/ 24 w 129"/>
                <a:gd name="T101" fmla="*/ 7 h 143"/>
                <a:gd name="T102" fmla="*/ 32 w 129"/>
                <a:gd name="T103" fmla="*/ 5 h 143"/>
                <a:gd name="T104" fmla="*/ 40 w 129"/>
                <a:gd name="T105" fmla="*/ 3 h 143"/>
                <a:gd name="T106" fmla="*/ 48 w 129"/>
                <a:gd name="T107" fmla="*/ 4 h 143"/>
                <a:gd name="T108" fmla="*/ 52 w 129"/>
                <a:gd name="T109" fmla="*/ 8 h 143"/>
                <a:gd name="T110" fmla="*/ 55 w 129"/>
                <a:gd name="T111" fmla="*/ 7 h 143"/>
                <a:gd name="T112" fmla="*/ 60 w 129"/>
                <a:gd name="T113" fmla="*/ 3 h 143"/>
                <a:gd name="T114" fmla="*/ 67 w 129"/>
                <a:gd name="T115" fmla="*/ 2 h 143"/>
                <a:gd name="T116" fmla="*/ 73 w 129"/>
                <a:gd name="T117"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9" h="143">
                  <a:moveTo>
                    <a:pt x="75" y="0"/>
                  </a:moveTo>
                  <a:lnTo>
                    <a:pt x="75" y="1"/>
                  </a:lnTo>
                  <a:lnTo>
                    <a:pt x="75" y="2"/>
                  </a:lnTo>
                  <a:lnTo>
                    <a:pt x="75" y="3"/>
                  </a:lnTo>
                  <a:lnTo>
                    <a:pt x="76" y="4"/>
                  </a:lnTo>
                  <a:lnTo>
                    <a:pt x="78" y="4"/>
                  </a:lnTo>
                  <a:lnTo>
                    <a:pt x="78" y="5"/>
                  </a:lnTo>
                  <a:lnTo>
                    <a:pt x="78" y="7"/>
                  </a:lnTo>
                  <a:lnTo>
                    <a:pt x="79" y="8"/>
                  </a:lnTo>
                  <a:lnTo>
                    <a:pt x="79" y="9"/>
                  </a:lnTo>
                  <a:lnTo>
                    <a:pt x="80" y="10"/>
                  </a:lnTo>
                  <a:lnTo>
                    <a:pt x="81" y="11"/>
                  </a:lnTo>
                  <a:lnTo>
                    <a:pt x="81" y="12"/>
                  </a:lnTo>
                  <a:lnTo>
                    <a:pt x="82" y="12"/>
                  </a:lnTo>
                  <a:lnTo>
                    <a:pt x="82" y="14"/>
                  </a:lnTo>
                  <a:lnTo>
                    <a:pt x="82" y="15"/>
                  </a:lnTo>
                  <a:lnTo>
                    <a:pt x="82" y="16"/>
                  </a:lnTo>
                  <a:lnTo>
                    <a:pt x="84" y="17"/>
                  </a:lnTo>
                  <a:lnTo>
                    <a:pt x="84" y="18"/>
                  </a:lnTo>
                  <a:lnTo>
                    <a:pt x="84" y="19"/>
                  </a:lnTo>
                  <a:lnTo>
                    <a:pt x="84" y="21"/>
                  </a:lnTo>
                  <a:lnTo>
                    <a:pt x="84" y="22"/>
                  </a:lnTo>
                  <a:lnTo>
                    <a:pt x="86" y="22"/>
                  </a:lnTo>
                  <a:lnTo>
                    <a:pt x="87" y="26"/>
                  </a:lnTo>
                  <a:lnTo>
                    <a:pt x="87" y="28"/>
                  </a:lnTo>
                  <a:lnTo>
                    <a:pt x="88" y="28"/>
                  </a:lnTo>
                  <a:lnTo>
                    <a:pt x="89" y="28"/>
                  </a:lnTo>
                  <a:lnTo>
                    <a:pt x="89" y="29"/>
                  </a:lnTo>
                  <a:lnTo>
                    <a:pt x="90" y="29"/>
                  </a:lnTo>
                  <a:lnTo>
                    <a:pt x="90" y="30"/>
                  </a:lnTo>
                  <a:lnTo>
                    <a:pt x="91" y="30"/>
                  </a:lnTo>
                  <a:lnTo>
                    <a:pt x="91" y="31"/>
                  </a:lnTo>
                  <a:lnTo>
                    <a:pt x="93" y="31"/>
                  </a:lnTo>
                  <a:lnTo>
                    <a:pt x="93" y="32"/>
                  </a:lnTo>
                  <a:lnTo>
                    <a:pt x="94" y="32"/>
                  </a:lnTo>
                  <a:lnTo>
                    <a:pt x="94" y="33"/>
                  </a:lnTo>
                  <a:lnTo>
                    <a:pt x="95" y="33"/>
                  </a:lnTo>
                  <a:lnTo>
                    <a:pt x="97" y="35"/>
                  </a:lnTo>
                  <a:lnTo>
                    <a:pt x="98" y="35"/>
                  </a:lnTo>
                  <a:lnTo>
                    <a:pt x="100" y="36"/>
                  </a:lnTo>
                  <a:lnTo>
                    <a:pt x="101" y="36"/>
                  </a:lnTo>
                  <a:lnTo>
                    <a:pt x="102" y="38"/>
                  </a:lnTo>
                  <a:lnTo>
                    <a:pt x="102" y="39"/>
                  </a:lnTo>
                  <a:lnTo>
                    <a:pt x="102" y="42"/>
                  </a:lnTo>
                  <a:lnTo>
                    <a:pt x="104" y="42"/>
                  </a:lnTo>
                  <a:lnTo>
                    <a:pt x="105" y="42"/>
                  </a:lnTo>
                  <a:lnTo>
                    <a:pt x="107" y="42"/>
                  </a:lnTo>
                  <a:lnTo>
                    <a:pt x="108" y="43"/>
                  </a:lnTo>
                  <a:lnTo>
                    <a:pt x="107" y="44"/>
                  </a:lnTo>
                  <a:lnTo>
                    <a:pt x="108" y="45"/>
                  </a:lnTo>
                  <a:lnTo>
                    <a:pt x="108" y="46"/>
                  </a:lnTo>
                  <a:lnTo>
                    <a:pt x="107" y="47"/>
                  </a:lnTo>
                  <a:lnTo>
                    <a:pt x="107" y="49"/>
                  </a:lnTo>
                  <a:lnTo>
                    <a:pt x="107" y="50"/>
                  </a:lnTo>
                  <a:lnTo>
                    <a:pt x="107" y="51"/>
                  </a:lnTo>
                  <a:lnTo>
                    <a:pt x="107" y="52"/>
                  </a:lnTo>
                  <a:lnTo>
                    <a:pt x="108" y="53"/>
                  </a:lnTo>
                  <a:lnTo>
                    <a:pt x="109" y="53"/>
                  </a:lnTo>
                  <a:lnTo>
                    <a:pt x="109" y="54"/>
                  </a:lnTo>
                  <a:lnTo>
                    <a:pt x="109" y="56"/>
                  </a:lnTo>
                  <a:lnTo>
                    <a:pt x="110" y="56"/>
                  </a:lnTo>
                  <a:lnTo>
                    <a:pt x="110" y="57"/>
                  </a:lnTo>
                  <a:lnTo>
                    <a:pt x="110" y="58"/>
                  </a:lnTo>
                  <a:lnTo>
                    <a:pt x="110" y="59"/>
                  </a:lnTo>
                  <a:lnTo>
                    <a:pt x="111" y="59"/>
                  </a:lnTo>
                  <a:lnTo>
                    <a:pt x="112" y="59"/>
                  </a:lnTo>
                  <a:lnTo>
                    <a:pt x="115" y="59"/>
                  </a:lnTo>
                  <a:lnTo>
                    <a:pt x="116" y="60"/>
                  </a:lnTo>
                  <a:lnTo>
                    <a:pt x="117" y="60"/>
                  </a:lnTo>
                  <a:lnTo>
                    <a:pt x="118" y="60"/>
                  </a:lnTo>
                  <a:lnTo>
                    <a:pt x="119" y="60"/>
                  </a:lnTo>
                  <a:lnTo>
                    <a:pt x="119" y="61"/>
                  </a:lnTo>
                  <a:lnTo>
                    <a:pt x="121" y="61"/>
                  </a:lnTo>
                  <a:lnTo>
                    <a:pt x="122" y="63"/>
                  </a:lnTo>
                  <a:lnTo>
                    <a:pt x="123" y="63"/>
                  </a:lnTo>
                  <a:lnTo>
                    <a:pt x="124" y="63"/>
                  </a:lnTo>
                  <a:lnTo>
                    <a:pt x="125" y="63"/>
                  </a:lnTo>
                  <a:lnTo>
                    <a:pt x="125" y="64"/>
                  </a:lnTo>
                  <a:lnTo>
                    <a:pt x="124" y="64"/>
                  </a:lnTo>
                  <a:lnTo>
                    <a:pt x="124" y="65"/>
                  </a:lnTo>
                  <a:lnTo>
                    <a:pt x="124" y="66"/>
                  </a:lnTo>
                  <a:lnTo>
                    <a:pt x="125" y="67"/>
                  </a:lnTo>
                  <a:lnTo>
                    <a:pt x="126" y="67"/>
                  </a:lnTo>
                  <a:lnTo>
                    <a:pt x="128" y="67"/>
                  </a:lnTo>
                  <a:lnTo>
                    <a:pt x="128" y="68"/>
                  </a:lnTo>
                  <a:lnTo>
                    <a:pt x="129" y="68"/>
                  </a:lnTo>
                  <a:lnTo>
                    <a:pt x="128" y="68"/>
                  </a:lnTo>
                  <a:lnTo>
                    <a:pt x="126" y="68"/>
                  </a:lnTo>
                  <a:lnTo>
                    <a:pt x="126" y="70"/>
                  </a:lnTo>
                  <a:lnTo>
                    <a:pt x="124" y="70"/>
                  </a:lnTo>
                  <a:lnTo>
                    <a:pt x="124" y="71"/>
                  </a:lnTo>
                  <a:lnTo>
                    <a:pt x="123" y="71"/>
                  </a:lnTo>
                  <a:lnTo>
                    <a:pt x="123" y="72"/>
                  </a:lnTo>
                  <a:lnTo>
                    <a:pt x="123" y="73"/>
                  </a:lnTo>
                  <a:lnTo>
                    <a:pt x="122" y="73"/>
                  </a:lnTo>
                  <a:lnTo>
                    <a:pt x="121" y="74"/>
                  </a:lnTo>
                  <a:lnTo>
                    <a:pt x="119" y="74"/>
                  </a:lnTo>
                  <a:lnTo>
                    <a:pt x="118" y="74"/>
                  </a:lnTo>
                  <a:lnTo>
                    <a:pt x="117" y="74"/>
                  </a:lnTo>
                  <a:lnTo>
                    <a:pt x="117" y="75"/>
                  </a:lnTo>
                  <a:lnTo>
                    <a:pt x="116" y="75"/>
                  </a:lnTo>
                  <a:lnTo>
                    <a:pt x="115" y="75"/>
                  </a:lnTo>
                  <a:lnTo>
                    <a:pt x="114" y="75"/>
                  </a:lnTo>
                  <a:lnTo>
                    <a:pt x="114" y="77"/>
                  </a:lnTo>
                  <a:lnTo>
                    <a:pt x="112" y="77"/>
                  </a:lnTo>
                  <a:lnTo>
                    <a:pt x="112" y="78"/>
                  </a:lnTo>
                  <a:lnTo>
                    <a:pt x="111" y="78"/>
                  </a:lnTo>
                  <a:lnTo>
                    <a:pt x="111" y="79"/>
                  </a:lnTo>
                  <a:lnTo>
                    <a:pt x="110" y="79"/>
                  </a:lnTo>
                  <a:lnTo>
                    <a:pt x="110" y="80"/>
                  </a:lnTo>
                  <a:lnTo>
                    <a:pt x="110" y="81"/>
                  </a:lnTo>
                  <a:lnTo>
                    <a:pt x="109" y="81"/>
                  </a:lnTo>
                  <a:lnTo>
                    <a:pt x="109" y="82"/>
                  </a:lnTo>
                  <a:lnTo>
                    <a:pt x="108" y="82"/>
                  </a:lnTo>
                  <a:lnTo>
                    <a:pt x="108" y="84"/>
                  </a:lnTo>
                  <a:lnTo>
                    <a:pt x="107" y="84"/>
                  </a:lnTo>
                  <a:lnTo>
                    <a:pt x="107" y="85"/>
                  </a:lnTo>
                  <a:lnTo>
                    <a:pt x="105" y="86"/>
                  </a:lnTo>
                  <a:lnTo>
                    <a:pt x="105" y="85"/>
                  </a:lnTo>
                  <a:lnTo>
                    <a:pt x="104" y="85"/>
                  </a:lnTo>
                  <a:lnTo>
                    <a:pt x="104" y="86"/>
                  </a:lnTo>
                  <a:lnTo>
                    <a:pt x="104" y="85"/>
                  </a:lnTo>
                  <a:lnTo>
                    <a:pt x="104" y="86"/>
                  </a:lnTo>
                  <a:lnTo>
                    <a:pt x="103" y="86"/>
                  </a:lnTo>
                  <a:lnTo>
                    <a:pt x="103" y="87"/>
                  </a:lnTo>
                  <a:lnTo>
                    <a:pt x="103" y="88"/>
                  </a:lnTo>
                  <a:lnTo>
                    <a:pt x="102" y="88"/>
                  </a:lnTo>
                  <a:lnTo>
                    <a:pt x="101" y="88"/>
                  </a:lnTo>
                  <a:lnTo>
                    <a:pt x="102" y="88"/>
                  </a:lnTo>
                  <a:lnTo>
                    <a:pt x="101" y="88"/>
                  </a:lnTo>
                  <a:lnTo>
                    <a:pt x="100" y="88"/>
                  </a:lnTo>
                  <a:lnTo>
                    <a:pt x="100" y="89"/>
                  </a:lnTo>
                  <a:lnTo>
                    <a:pt x="98" y="89"/>
                  </a:lnTo>
                  <a:lnTo>
                    <a:pt x="98" y="91"/>
                  </a:lnTo>
                  <a:lnTo>
                    <a:pt x="98" y="89"/>
                  </a:lnTo>
                  <a:lnTo>
                    <a:pt x="97" y="91"/>
                  </a:lnTo>
                  <a:lnTo>
                    <a:pt x="97" y="92"/>
                  </a:lnTo>
                  <a:lnTo>
                    <a:pt x="96" y="92"/>
                  </a:lnTo>
                  <a:lnTo>
                    <a:pt x="95" y="93"/>
                  </a:lnTo>
                  <a:lnTo>
                    <a:pt x="95" y="94"/>
                  </a:lnTo>
                  <a:lnTo>
                    <a:pt x="95" y="95"/>
                  </a:lnTo>
                  <a:lnTo>
                    <a:pt x="94" y="100"/>
                  </a:lnTo>
                  <a:lnTo>
                    <a:pt x="93" y="101"/>
                  </a:lnTo>
                  <a:lnTo>
                    <a:pt x="93" y="102"/>
                  </a:lnTo>
                  <a:lnTo>
                    <a:pt x="91" y="102"/>
                  </a:lnTo>
                  <a:lnTo>
                    <a:pt x="90" y="102"/>
                  </a:lnTo>
                  <a:lnTo>
                    <a:pt x="90" y="103"/>
                  </a:lnTo>
                  <a:lnTo>
                    <a:pt x="89" y="105"/>
                  </a:lnTo>
                  <a:lnTo>
                    <a:pt x="88" y="106"/>
                  </a:lnTo>
                  <a:lnTo>
                    <a:pt x="88" y="107"/>
                  </a:lnTo>
                  <a:lnTo>
                    <a:pt x="87" y="108"/>
                  </a:lnTo>
                  <a:lnTo>
                    <a:pt x="86" y="108"/>
                  </a:lnTo>
                  <a:lnTo>
                    <a:pt x="86" y="107"/>
                  </a:lnTo>
                  <a:lnTo>
                    <a:pt x="84" y="108"/>
                  </a:lnTo>
                  <a:lnTo>
                    <a:pt x="83" y="108"/>
                  </a:lnTo>
                  <a:lnTo>
                    <a:pt x="81" y="109"/>
                  </a:lnTo>
                  <a:lnTo>
                    <a:pt x="80" y="109"/>
                  </a:lnTo>
                  <a:lnTo>
                    <a:pt x="80" y="110"/>
                  </a:lnTo>
                  <a:lnTo>
                    <a:pt x="80" y="112"/>
                  </a:lnTo>
                  <a:lnTo>
                    <a:pt x="79" y="112"/>
                  </a:lnTo>
                  <a:lnTo>
                    <a:pt x="79" y="113"/>
                  </a:lnTo>
                  <a:lnTo>
                    <a:pt x="79" y="114"/>
                  </a:lnTo>
                  <a:lnTo>
                    <a:pt x="78" y="115"/>
                  </a:lnTo>
                  <a:lnTo>
                    <a:pt x="76" y="119"/>
                  </a:lnTo>
                  <a:lnTo>
                    <a:pt x="76" y="121"/>
                  </a:lnTo>
                  <a:lnTo>
                    <a:pt x="75" y="122"/>
                  </a:lnTo>
                  <a:lnTo>
                    <a:pt x="75" y="123"/>
                  </a:lnTo>
                  <a:lnTo>
                    <a:pt x="73" y="124"/>
                  </a:lnTo>
                  <a:lnTo>
                    <a:pt x="72" y="125"/>
                  </a:lnTo>
                  <a:lnTo>
                    <a:pt x="69" y="125"/>
                  </a:lnTo>
                  <a:lnTo>
                    <a:pt x="68" y="125"/>
                  </a:lnTo>
                  <a:lnTo>
                    <a:pt x="67" y="125"/>
                  </a:lnTo>
                  <a:lnTo>
                    <a:pt x="66" y="125"/>
                  </a:lnTo>
                  <a:lnTo>
                    <a:pt x="65" y="127"/>
                  </a:lnTo>
                  <a:lnTo>
                    <a:pt x="64" y="127"/>
                  </a:lnTo>
                  <a:lnTo>
                    <a:pt x="62" y="127"/>
                  </a:lnTo>
                  <a:lnTo>
                    <a:pt x="61" y="127"/>
                  </a:lnTo>
                  <a:lnTo>
                    <a:pt x="61" y="125"/>
                  </a:lnTo>
                  <a:lnTo>
                    <a:pt x="60" y="125"/>
                  </a:lnTo>
                  <a:lnTo>
                    <a:pt x="59" y="125"/>
                  </a:lnTo>
                  <a:lnTo>
                    <a:pt x="58" y="125"/>
                  </a:lnTo>
                  <a:lnTo>
                    <a:pt x="58" y="124"/>
                  </a:lnTo>
                  <a:lnTo>
                    <a:pt x="57" y="123"/>
                  </a:lnTo>
                  <a:lnTo>
                    <a:pt x="55" y="123"/>
                  </a:lnTo>
                  <a:lnTo>
                    <a:pt x="54" y="123"/>
                  </a:lnTo>
                  <a:lnTo>
                    <a:pt x="53" y="123"/>
                  </a:lnTo>
                  <a:lnTo>
                    <a:pt x="52" y="123"/>
                  </a:lnTo>
                  <a:lnTo>
                    <a:pt x="51" y="122"/>
                  </a:lnTo>
                  <a:lnTo>
                    <a:pt x="51" y="121"/>
                  </a:lnTo>
                  <a:lnTo>
                    <a:pt x="50" y="121"/>
                  </a:lnTo>
                  <a:lnTo>
                    <a:pt x="50" y="120"/>
                  </a:lnTo>
                  <a:lnTo>
                    <a:pt x="47" y="119"/>
                  </a:lnTo>
                  <a:lnTo>
                    <a:pt x="46" y="119"/>
                  </a:lnTo>
                  <a:lnTo>
                    <a:pt x="46" y="117"/>
                  </a:lnTo>
                  <a:lnTo>
                    <a:pt x="45" y="119"/>
                  </a:lnTo>
                  <a:lnTo>
                    <a:pt x="45" y="117"/>
                  </a:lnTo>
                  <a:lnTo>
                    <a:pt x="44" y="117"/>
                  </a:lnTo>
                  <a:lnTo>
                    <a:pt x="43" y="117"/>
                  </a:lnTo>
                  <a:lnTo>
                    <a:pt x="41" y="119"/>
                  </a:lnTo>
                  <a:lnTo>
                    <a:pt x="40" y="119"/>
                  </a:lnTo>
                  <a:lnTo>
                    <a:pt x="39" y="119"/>
                  </a:lnTo>
                  <a:lnTo>
                    <a:pt x="39" y="120"/>
                  </a:lnTo>
                  <a:lnTo>
                    <a:pt x="38" y="121"/>
                  </a:lnTo>
                  <a:lnTo>
                    <a:pt x="38" y="122"/>
                  </a:lnTo>
                  <a:lnTo>
                    <a:pt x="37" y="122"/>
                  </a:lnTo>
                  <a:lnTo>
                    <a:pt x="38" y="122"/>
                  </a:lnTo>
                  <a:lnTo>
                    <a:pt x="38" y="123"/>
                  </a:lnTo>
                  <a:lnTo>
                    <a:pt x="37" y="123"/>
                  </a:lnTo>
                  <a:lnTo>
                    <a:pt x="37" y="124"/>
                  </a:lnTo>
                  <a:lnTo>
                    <a:pt x="37" y="125"/>
                  </a:lnTo>
                  <a:lnTo>
                    <a:pt x="36" y="125"/>
                  </a:lnTo>
                  <a:lnTo>
                    <a:pt x="37" y="125"/>
                  </a:lnTo>
                  <a:lnTo>
                    <a:pt x="37" y="127"/>
                  </a:lnTo>
                  <a:lnTo>
                    <a:pt x="36" y="127"/>
                  </a:lnTo>
                  <a:lnTo>
                    <a:pt x="36" y="128"/>
                  </a:lnTo>
                  <a:lnTo>
                    <a:pt x="36" y="129"/>
                  </a:lnTo>
                  <a:lnTo>
                    <a:pt x="34" y="129"/>
                  </a:lnTo>
                  <a:lnTo>
                    <a:pt x="34" y="130"/>
                  </a:lnTo>
                  <a:lnTo>
                    <a:pt x="34" y="131"/>
                  </a:lnTo>
                  <a:lnTo>
                    <a:pt x="33" y="131"/>
                  </a:lnTo>
                  <a:lnTo>
                    <a:pt x="33" y="132"/>
                  </a:lnTo>
                  <a:lnTo>
                    <a:pt x="32" y="132"/>
                  </a:lnTo>
                  <a:lnTo>
                    <a:pt x="31" y="134"/>
                  </a:lnTo>
                  <a:lnTo>
                    <a:pt x="30" y="135"/>
                  </a:lnTo>
                  <a:lnTo>
                    <a:pt x="29" y="135"/>
                  </a:lnTo>
                  <a:lnTo>
                    <a:pt x="29" y="136"/>
                  </a:lnTo>
                  <a:lnTo>
                    <a:pt x="27" y="137"/>
                  </a:lnTo>
                  <a:lnTo>
                    <a:pt x="27" y="138"/>
                  </a:lnTo>
                  <a:lnTo>
                    <a:pt x="26" y="139"/>
                  </a:lnTo>
                  <a:lnTo>
                    <a:pt x="25" y="139"/>
                  </a:lnTo>
                  <a:lnTo>
                    <a:pt x="23" y="139"/>
                  </a:lnTo>
                  <a:lnTo>
                    <a:pt x="23" y="141"/>
                  </a:lnTo>
                  <a:lnTo>
                    <a:pt x="23" y="142"/>
                  </a:lnTo>
                  <a:lnTo>
                    <a:pt x="22" y="142"/>
                  </a:lnTo>
                  <a:lnTo>
                    <a:pt x="22" y="143"/>
                  </a:lnTo>
                  <a:lnTo>
                    <a:pt x="20" y="143"/>
                  </a:lnTo>
                  <a:lnTo>
                    <a:pt x="19" y="143"/>
                  </a:lnTo>
                  <a:lnTo>
                    <a:pt x="18" y="143"/>
                  </a:lnTo>
                  <a:lnTo>
                    <a:pt x="18" y="142"/>
                  </a:lnTo>
                  <a:lnTo>
                    <a:pt x="17" y="142"/>
                  </a:lnTo>
                  <a:lnTo>
                    <a:pt x="16" y="143"/>
                  </a:lnTo>
                  <a:lnTo>
                    <a:pt x="15" y="143"/>
                  </a:lnTo>
                  <a:lnTo>
                    <a:pt x="14" y="143"/>
                  </a:lnTo>
                  <a:lnTo>
                    <a:pt x="11" y="143"/>
                  </a:lnTo>
                  <a:lnTo>
                    <a:pt x="11" y="142"/>
                  </a:lnTo>
                  <a:lnTo>
                    <a:pt x="10" y="142"/>
                  </a:lnTo>
                  <a:lnTo>
                    <a:pt x="9" y="143"/>
                  </a:lnTo>
                  <a:lnTo>
                    <a:pt x="8" y="143"/>
                  </a:lnTo>
                  <a:lnTo>
                    <a:pt x="8" y="142"/>
                  </a:lnTo>
                  <a:lnTo>
                    <a:pt x="7" y="142"/>
                  </a:lnTo>
                  <a:lnTo>
                    <a:pt x="7" y="141"/>
                  </a:lnTo>
                  <a:lnTo>
                    <a:pt x="7" y="139"/>
                  </a:lnTo>
                  <a:lnTo>
                    <a:pt x="7" y="138"/>
                  </a:lnTo>
                  <a:lnTo>
                    <a:pt x="7" y="137"/>
                  </a:lnTo>
                  <a:lnTo>
                    <a:pt x="7" y="136"/>
                  </a:lnTo>
                  <a:lnTo>
                    <a:pt x="8" y="136"/>
                  </a:lnTo>
                  <a:lnTo>
                    <a:pt x="8" y="135"/>
                  </a:lnTo>
                  <a:lnTo>
                    <a:pt x="9" y="134"/>
                  </a:lnTo>
                  <a:lnTo>
                    <a:pt x="9" y="132"/>
                  </a:lnTo>
                  <a:lnTo>
                    <a:pt x="10" y="132"/>
                  </a:lnTo>
                  <a:lnTo>
                    <a:pt x="10" y="131"/>
                  </a:lnTo>
                  <a:lnTo>
                    <a:pt x="10" y="130"/>
                  </a:lnTo>
                  <a:lnTo>
                    <a:pt x="10" y="129"/>
                  </a:lnTo>
                  <a:lnTo>
                    <a:pt x="10" y="128"/>
                  </a:lnTo>
                  <a:lnTo>
                    <a:pt x="9" y="127"/>
                  </a:lnTo>
                  <a:lnTo>
                    <a:pt x="9" y="125"/>
                  </a:lnTo>
                  <a:lnTo>
                    <a:pt x="9" y="124"/>
                  </a:lnTo>
                  <a:lnTo>
                    <a:pt x="8" y="124"/>
                  </a:lnTo>
                  <a:lnTo>
                    <a:pt x="8" y="123"/>
                  </a:lnTo>
                  <a:lnTo>
                    <a:pt x="9" y="123"/>
                  </a:lnTo>
                  <a:lnTo>
                    <a:pt x="8" y="122"/>
                  </a:lnTo>
                  <a:lnTo>
                    <a:pt x="8" y="121"/>
                  </a:lnTo>
                  <a:lnTo>
                    <a:pt x="8" y="120"/>
                  </a:lnTo>
                  <a:lnTo>
                    <a:pt x="7" y="120"/>
                  </a:lnTo>
                  <a:lnTo>
                    <a:pt x="7" y="119"/>
                  </a:lnTo>
                  <a:lnTo>
                    <a:pt x="7" y="117"/>
                  </a:lnTo>
                  <a:lnTo>
                    <a:pt x="5" y="117"/>
                  </a:lnTo>
                  <a:lnTo>
                    <a:pt x="5" y="116"/>
                  </a:lnTo>
                  <a:lnTo>
                    <a:pt x="5" y="115"/>
                  </a:lnTo>
                  <a:lnTo>
                    <a:pt x="4" y="114"/>
                  </a:lnTo>
                  <a:lnTo>
                    <a:pt x="3" y="113"/>
                  </a:lnTo>
                  <a:lnTo>
                    <a:pt x="2" y="112"/>
                  </a:lnTo>
                  <a:lnTo>
                    <a:pt x="1" y="112"/>
                  </a:lnTo>
                  <a:lnTo>
                    <a:pt x="0" y="110"/>
                  </a:lnTo>
                  <a:lnTo>
                    <a:pt x="0" y="109"/>
                  </a:lnTo>
                  <a:lnTo>
                    <a:pt x="0" y="107"/>
                  </a:lnTo>
                  <a:lnTo>
                    <a:pt x="0" y="105"/>
                  </a:lnTo>
                  <a:lnTo>
                    <a:pt x="0" y="101"/>
                  </a:lnTo>
                  <a:lnTo>
                    <a:pt x="0" y="99"/>
                  </a:lnTo>
                  <a:lnTo>
                    <a:pt x="0" y="96"/>
                  </a:lnTo>
                  <a:lnTo>
                    <a:pt x="0" y="95"/>
                  </a:lnTo>
                  <a:lnTo>
                    <a:pt x="0" y="93"/>
                  </a:lnTo>
                  <a:lnTo>
                    <a:pt x="0" y="91"/>
                  </a:lnTo>
                  <a:lnTo>
                    <a:pt x="1" y="88"/>
                  </a:lnTo>
                  <a:lnTo>
                    <a:pt x="1" y="87"/>
                  </a:lnTo>
                  <a:lnTo>
                    <a:pt x="1" y="85"/>
                  </a:lnTo>
                  <a:lnTo>
                    <a:pt x="1" y="82"/>
                  </a:lnTo>
                  <a:lnTo>
                    <a:pt x="1" y="80"/>
                  </a:lnTo>
                  <a:lnTo>
                    <a:pt x="1" y="77"/>
                  </a:lnTo>
                  <a:lnTo>
                    <a:pt x="1" y="74"/>
                  </a:lnTo>
                  <a:lnTo>
                    <a:pt x="1" y="72"/>
                  </a:lnTo>
                  <a:lnTo>
                    <a:pt x="1" y="70"/>
                  </a:lnTo>
                  <a:lnTo>
                    <a:pt x="1" y="67"/>
                  </a:lnTo>
                  <a:lnTo>
                    <a:pt x="1" y="66"/>
                  </a:lnTo>
                  <a:lnTo>
                    <a:pt x="4" y="66"/>
                  </a:lnTo>
                  <a:lnTo>
                    <a:pt x="8" y="66"/>
                  </a:lnTo>
                  <a:lnTo>
                    <a:pt x="10" y="66"/>
                  </a:lnTo>
                  <a:lnTo>
                    <a:pt x="14" y="66"/>
                  </a:lnTo>
                  <a:lnTo>
                    <a:pt x="15" y="66"/>
                  </a:lnTo>
                  <a:lnTo>
                    <a:pt x="15" y="65"/>
                  </a:lnTo>
                  <a:lnTo>
                    <a:pt x="15" y="64"/>
                  </a:lnTo>
                  <a:lnTo>
                    <a:pt x="15" y="63"/>
                  </a:lnTo>
                  <a:lnTo>
                    <a:pt x="15" y="61"/>
                  </a:lnTo>
                  <a:lnTo>
                    <a:pt x="15" y="60"/>
                  </a:lnTo>
                  <a:lnTo>
                    <a:pt x="15" y="59"/>
                  </a:lnTo>
                  <a:lnTo>
                    <a:pt x="15" y="58"/>
                  </a:lnTo>
                  <a:lnTo>
                    <a:pt x="15" y="57"/>
                  </a:lnTo>
                  <a:lnTo>
                    <a:pt x="15" y="56"/>
                  </a:lnTo>
                  <a:lnTo>
                    <a:pt x="15" y="54"/>
                  </a:lnTo>
                  <a:lnTo>
                    <a:pt x="15" y="53"/>
                  </a:lnTo>
                  <a:lnTo>
                    <a:pt x="15" y="52"/>
                  </a:lnTo>
                  <a:lnTo>
                    <a:pt x="15" y="51"/>
                  </a:lnTo>
                  <a:lnTo>
                    <a:pt x="15" y="50"/>
                  </a:lnTo>
                  <a:lnTo>
                    <a:pt x="15" y="49"/>
                  </a:lnTo>
                  <a:lnTo>
                    <a:pt x="15" y="46"/>
                  </a:lnTo>
                  <a:lnTo>
                    <a:pt x="15" y="44"/>
                  </a:lnTo>
                  <a:lnTo>
                    <a:pt x="16" y="43"/>
                  </a:lnTo>
                  <a:lnTo>
                    <a:pt x="16" y="40"/>
                  </a:lnTo>
                  <a:lnTo>
                    <a:pt x="16" y="39"/>
                  </a:lnTo>
                  <a:lnTo>
                    <a:pt x="16" y="38"/>
                  </a:lnTo>
                  <a:lnTo>
                    <a:pt x="16" y="36"/>
                  </a:lnTo>
                  <a:lnTo>
                    <a:pt x="16" y="35"/>
                  </a:lnTo>
                  <a:lnTo>
                    <a:pt x="16" y="32"/>
                  </a:lnTo>
                  <a:lnTo>
                    <a:pt x="16" y="30"/>
                  </a:lnTo>
                  <a:lnTo>
                    <a:pt x="16" y="29"/>
                  </a:lnTo>
                  <a:lnTo>
                    <a:pt x="16" y="26"/>
                  </a:lnTo>
                  <a:lnTo>
                    <a:pt x="16" y="24"/>
                  </a:lnTo>
                  <a:lnTo>
                    <a:pt x="16" y="23"/>
                  </a:lnTo>
                  <a:lnTo>
                    <a:pt x="16" y="21"/>
                  </a:lnTo>
                  <a:lnTo>
                    <a:pt x="16" y="18"/>
                  </a:lnTo>
                  <a:lnTo>
                    <a:pt x="16" y="17"/>
                  </a:lnTo>
                  <a:lnTo>
                    <a:pt x="16" y="16"/>
                  </a:lnTo>
                  <a:lnTo>
                    <a:pt x="16" y="15"/>
                  </a:lnTo>
                  <a:lnTo>
                    <a:pt x="16" y="14"/>
                  </a:lnTo>
                  <a:lnTo>
                    <a:pt x="16" y="12"/>
                  </a:lnTo>
                  <a:lnTo>
                    <a:pt x="16" y="11"/>
                  </a:lnTo>
                  <a:lnTo>
                    <a:pt x="16" y="10"/>
                  </a:lnTo>
                  <a:lnTo>
                    <a:pt x="16" y="9"/>
                  </a:lnTo>
                  <a:lnTo>
                    <a:pt x="16" y="8"/>
                  </a:lnTo>
                  <a:lnTo>
                    <a:pt x="17" y="8"/>
                  </a:lnTo>
                  <a:lnTo>
                    <a:pt x="18" y="8"/>
                  </a:lnTo>
                  <a:lnTo>
                    <a:pt x="19" y="8"/>
                  </a:lnTo>
                  <a:lnTo>
                    <a:pt x="20" y="8"/>
                  </a:lnTo>
                  <a:lnTo>
                    <a:pt x="22" y="8"/>
                  </a:lnTo>
                  <a:lnTo>
                    <a:pt x="23" y="8"/>
                  </a:lnTo>
                  <a:lnTo>
                    <a:pt x="24" y="8"/>
                  </a:lnTo>
                  <a:lnTo>
                    <a:pt x="24" y="7"/>
                  </a:lnTo>
                  <a:lnTo>
                    <a:pt x="25" y="7"/>
                  </a:lnTo>
                  <a:lnTo>
                    <a:pt x="26" y="7"/>
                  </a:lnTo>
                  <a:lnTo>
                    <a:pt x="27" y="7"/>
                  </a:lnTo>
                  <a:lnTo>
                    <a:pt x="29" y="7"/>
                  </a:lnTo>
                  <a:lnTo>
                    <a:pt x="30" y="5"/>
                  </a:lnTo>
                  <a:lnTo>
                    <a:pt x="31" y="5"/>
                  </a:lnTo>
                  <a:lnTo>
                    <a:pt x="32" y="5"/>
                  </a:lnTo>
                  <a:lnTo>
                    <a:pt x="33" y="5"/>
                  </a:lnTo>
                  <a:lnTo>
                    <a:pt x="34" y="5"/>
                  </a:lnTo>
                  <a:lnTo>
                    <a:pt x="36" y="4"/>
                  </a:lnTo>
                  <a:lnTo>
                    <a:pt x="37" y="4"/>
                  </a:lnTo>
                  <a:lnTo>
                    <a:pt x="38" y="4"/>
                  </a:lnTo>
                  <a:lnTo>
                    <a:pt x="39" y="4"/>
                  </a:lnTo>
                  <a:lnTo>
                    <a:pt x="40" y="3"/>
                  </a:lnTo>
                  <a:lnTo>
                    <a:pt x="41" y="3"/>
                  </a:lnTo>
                  <a:lnTo>
                    <a:pt x="43" y="3"/>
                  </a:lnTo>
                  <a:lnTo>
                    <a:pt x="44" y="3"/>
                  </a:lnTo>
                  <a:lnTo>
                    <a:pt x="46" y="3"/>
                  </a:lnTo>
                  <a:lnTo>
                    <a:pt x="47" y="3"/>
                  </a:lnTo>
                  <a:lnTo>
                    <a:pt x="48" y="3"/>
                  </a:lnTo>
                  <a:lnTo>
                    <a:pt x="48" y="4"/>
                  </a:lnTo>
                  <a:lnTo>
                    <a:pt x="50" y="4"/>
                  </a:lnTo>
                  <a:lnTo>
                    <a:pt x="50" y="5"/>
                  </a:lnTo>
                  <a:lnTo>
                    <a:pt x="51" y="5"/>
                  </a:lnTo>
                  <a:lnTo>
                    <a:pt x="51" y="7"/>
                  </a:lnTo>
                  <a:lnTo>
                    <a:pt x="52" y="7"/>
                  </a:lnTo>
                  <a:lnTo>
                    <a:pt x="51" y="8"/>
                  </a:lnTo>
                  <a:lnTo>
                    <a:pt x="52" y="8"/>
                  </a:lnTo>
                  <a:lnTo>
                    <a:pt x="52" y="9"/>
                  </a:lnTo>
                  <a:lnTo>
                    <a:pt x="52" y="10"/>
                  </a:lnTo>
                  <a:lnTo>
                    <a:pt x="53" y="10"/>
                  </a:lnTo>
                  <a:lnTo>
                    <a:pt x="53" y="9"/>
                  </a:lnTo>
                  <a:lnTo>
                    <a:pt x="54" y="9"/>
                  </a:lnTo>
                  <a:lnTo>
                    <a:pt x="55" y="8"/>
                  </a:lnTo>
                  <a:lnTo>
                    <a:pt x="55" y="7"/>
                  </a:lnTo>
                  <a:lnTo>
                    <a:pt x="57" y="7"/>
                  </a:lnTo>
                  <a:lnTo>
                    <a:pt x="57" y="5"/>
                  </a:lnTo>
                  <a:lnTo>
                    <a:pt x="58" y="5"/>
                  </a:lnTo>
                  <a:lnTo>
                    <a:pt x="59" y="5"/>
                  </a:lnTo>
                  <a:lnTo>
                    <a:pt x="59" y="4"/>
                  </a:lnTo>
                  <a:lnTo>
                    <a:pt x="60" y="4"/>
                  </a:lnTo>
                  <a:lnTo>
                    <a:pt x="60" y="3"/>
                  </a:lnTo>
                  <a:lnTo>
                    <a:pt x="61" y="3"/>
                  </a:lnTo>
                  <a:lnTo>
                    <a:pt x="62" y="3"/>
                  </a:lnTo>
                  <a:lnTo>
                    <a:pt x="62" y="2"/>
                  </a:lnTo>
                  <a:lnTo>
                    <a:pt x="64" y="2"/>
                  </a:lnTo>
                  <a:lnTo>
                    <a:pt x="65" y="3"/>
                  </a:lnTo>
                  <a:lnTo>
                    <a:pt x="66" y="3"/>
                  </a:lnTo>
                  <a:lnTo>
                    <a:pt x="67" y="2"/>
                  </a:lnTo>
                  <a:lnTo>
                    <a:pt x="68" y="2"/>
                  </a:lnTo>
                  <a:lnTo>
                    <a:pt x="68" y="1"/>
                  </a:lnTo>
                  <a:lnTo>
                    <a:pt x="69" y="1"/>
                  </a:lnTo>
                  <a:lnTo>
                    <a:pt x="69" y="0"/>
                  </a:lnTo>
                  <a:lnTo>
                    <a:pt x="71" y="0"/>
                  </a:lnTo>
                  <a:lnTo>
                    <a:pt x="72" y="0"/>
                  </a:lnTo>
                  <a:lnTo>
                    <a:pt x="73" y="0"/>
                  </a:lnTo>
                  <a:lnTo>
                    <a:pt x="74" y="0"/>
                  </a:lnTo>
                  <a:lnTo>
                    <a:pt x="75"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99" name="Freeform 852">
              <a:extLst>
                <a:ext uri="{FF2B5EF4-FFF2-40B4-BE49-F238E27FC236}">
                  <a16:creationId xmlns:a16="http://schemas.microsoft.com/office/drawing/2014/main" id="{B78ECFA9-951F-481C-8688-FBF785820CED}"/>
                </a:ext>
              </a:extLst>
            </p:cNvPr>
            <p:cNvSpPr>
              <a:spLocks/>
            </p:cNvSpPr>
            <p:nvPr/>
          </p:nvSpPr>
          <p:spPr bwMode="auto">
            <a:xfrm>
              <a:off x="6074861" y="3114817"/>
              <a:ext cx="241724" cy="185633"/>
            </a:xfrm>
            <a:custGeom>
              <a:avLst/>
              <a:gdLst>
                <a:gd name="T0" fmla="*/ 128 w 181"/>
                <a:gd name="T1" fmla="*/ 23 h 139"/>
                <a:gd name="T2" fmla="*/ 125 w 181"/>
                <a:gd name="T3" fmla="*/ 33 h 139"/>
                <a:gd name="T4" fmla="*/ 131 w 181"/>
                <a:gd name="T5" fmla="*/ 37 h 139"/>
                <a:gd name="T6" fmla="*/ 135 w 181"/>
                <a:gd name="T7" fmla="*/ 42 h 139"/>
                <a:gd name="T8" fmla="*/ 144 w 181"/>
                <a:gd name="T9" fmla="*/ 46 h 139"/>
                <a:gd name="T10" fmla="*/ 151 w 181"/>
                <a:gd name="T11" fmla="*/ 53 h 139"/>
                <a:gd name="T12" fmla="*/ 153 w 181"/>
                <a:gd name="T13" fmla="*/ 60 h 139"/>
                <a:gd name="T14" fmla="*/ 161 w 181"/>
                <a:gd name="T15" fmla="*/ 63 h 139"/>
                <a:gd name="T16" fmla="*/ 165 w 181"/>
                <a:gd name="T17" fmla="*/ 72 h 139"/>
                <a:gd name="T18" fmla="*/ 167 w 181"/>
                <a:gd name="T19" fmla="*/ 79 h 139"/>
                <a:gd name="T20" fmla="*/ 174 w 181"/>
                <a:gd name="T21" fmla="*/ 81 h 139"/>
                <a:gd name="T22" fmla="*/ 179 w 181"/>
                <a:gd name="T23" fmla="*/ 86 h 139"/>
                <a:gd name="T24" fmla="*/ 181 w 181"/>
                <a:gd name="T25" fmla="*/ 94 h 139"/>
                <a:gd name="T26" fmla="*/ 172 w 181"/>
                <a:gd name="T27" fmla="*/ 94 h 139"/>
                <a:gd name="T28" fmla="*/ 167 w 181"/>
                <a:gd name="T29" fmla="*/ 93 h 139"/>
                <a:gd name="T30" fmla="*/ 160 w 181"/>
                <a:gd name="T31" fmla="*/ 93 h 139"/>
                <a:gd name="T32" fmla="*/ 153 w 181"/>
                <a:gd name="T33" fmla="*/ 90 h 139"/>
                <a:gd name="T34" fmla="*/ 147 w 181"/>
                <a:gd name="T35" fmla="*/ 96 h 139"/>
                <a:gd name="T36" fmla="*/ 140 w 181"/>
                <a:gd name="T37" fmla="*/ 95 h 139"/>
                <a:gd name="T38" fmla="*/ 136 w 181"/>
                <a:gd name="T39" fmla="*/ 96 h 139"/>
                <a:gd name="T40" fmla="*/ 128 w 181"/>
                <a:gd name="T41" fmla="*/ 100 h 139"/>
                <a:gd name="T42" fmla="*/ 119 w 181"/>
                <a:gd name="T43" fmla="*/ 98 h 139"/>
                <a:gd name="T44" fmla="*/ 114 w 181"/>
                <a:gd name="T45" fmla="*/ 104 h 139"/>
                <a:gd name="T46" fmla="*/ 109 w 181"/>
                <a:gd name="T47" fmla="*/ 109 h 139"/>
                <a:gd name="T48" fmla="*/ 100 w 181"/>
                <a:gd name="T49" fmla="*/ 108 h 139"/>
                <a:gd name="T50" fmla="*/ 90 w 181"/>
                <a:gd name="T51" fmla="*/ 104 h 139"/>
                <a:gd name="T52" fmla="*/ 82 w 181"/>
                <a:gd name="T53" fmla="*/ 100 h 139"/>
                <a:gd name="T54" fmla="*/ 75 w 181"/>
                <a:gd name="T55" fmla="*/ 94 h 139"/>
                <a:gd name="T56" fmla="*/ 65 w 181"/>
                <a:gd name="T57" fmla="*/ 96 h 139"/>
                <a:gd name="T58" fmla="*/ 59 w 181"/>
                <a:gd name="T59" fmla="*/ 105 h 139"/>
                <a:gd name="T60" fmla="*/ 59 w 181"/>
                <a:gd name="T61" fmla="*/ 119 h 139"/>
                <a:gd name="T62" fmla="*/ 52 w 181"/>
                <a:gd name="T63" fmla="*/ 118 h 139"/>
                <a:gd name="T64" fmla="*/ 43 w 181"/>
                <a:gd name="T65" fmla="*/ 116 h 139"/>
                <a:gd name="T66" fmla="*/ 33 w 181"/>
                <a:gd name="T67" fmla="*/ 119 h 139"/>
                <a:gd name="T68" fmla="*/ 29 w 181"/>
                <a:gd name="T69" fmla="*/ 125 h 139"/>
                <a:gd name="T70" fmla="*/ 25 w 181"/>
                <a:gd name="T71" fmla="*/ 138 h 139"/>
                <a:gd name="T72" fmla="*/ 23 w 181"/>
                <a:gd name="T73" fmla="*/ 131 h 139"/>
                <a:gd name="T74" fmla="*/ 16 w 181"/>
                <a:gd name="T75" fmla="*/ 121 h 139"/>
                <a:gd name="T76" fmla="*/ 11 w 181"/>
                <a:gd name="T77" fmla="*/ 110 h 139"/>
                <a:gd name="T78" fmla="*/ 4 w 181"/>
                <a:gd name="T79" fmla="*/ 101 h 139"/>
                <a:gd name="T80" fmla="*/ 2 w 181"/>
                <a:gd name="T81" fmla="*/ 90 h 139"/>
                <a:gd name="T82" fmla="*/ 2 w 181"/>
                <a:gd name="T83" fmla="*/ 82 h 139"/>
                <a:gd name="T84" fmla="*/ 4 w 181"/>
                <a:gd name="T85" fmla="*/ 75 h 139"/>
                <a:gd name="T86" fmla="*/ 10 w 181"/>
                <a:gd name="T87" fmla="*/ 62 h 139"/>
                <a:gd name="T88" fmla="*/ 17 w 181"/>
                <a:gd name="T89" fmla="*/ 55 h 139"/>
                <a:gd name="T90" fmla="*/ 27 w 181"/>
                <a:gd name="T91" fmla="*/ 53 h 139"/>
                <a:gd name="T92" fmla="*/ 32 w 181"/>
                <a:gd name="T93" fmla="*/ 55 h 139"/>
                <a:gd name="T94" fmla="*/ 39 w 181"/>
                <a:gd name="T95" fmla="*/ 51 h 139"/>
                <a:gd name="T96" fmla="*/ 51 w 181"/>
                <a:gd name="T97" fmla="*/ 48 h 139"/>
                <a:gd name="T98" fmla="*/ 62 w 181"/>
                <a:gd name="T99" fmla="*/ 41 h 139"/>
                <a:gd name="T100" fmla="*/ 62 w 181"/>
                <a:gd name="T101" fmla="*/ 33 h 139"/>
                <a:gd name="T102" fmla="*/ 73 w 181"/>
                <a:gd name="T103" fmla="*/ 32 h 139"/>
                <a:gd name="T104" fmla="*/ 81 w 181"/>
                <a:gd name="T105" fmla="*/ 31 h 139"/>
                <a:gd name="T106" fmla="*/ 88 w 181"/>
                <a:gd name="T107" fmla="*/ 26 h 139"/>
                <a:gd name="T108" fmla="*/ 93 w 181"/>
                <a:gd name="T109" fmla="*/ 20 h 139"/>
                <a:gd name="T110" fmla="*/ 100 w 181"/>
                <a:gd name="T111" fmla="*/ 12 h 139"/>
                <a:gd name="T112" fmla="*/ 103 w 181"/>
                <a:gd name="T113" fmla="*/ 6 h 139"/>
                <a:gd name="T114" fmla="*/ 108 w 181"/>
                <a:gd name="T115" fmla="*/ 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1" h="139">
                  <a:moveTo>
                    <a:pt x="116" y="2"/>
                  </a:moveTo>
                  <a:lnTo>
                    <a:pt x="116" y="3"/>
                  </a:lnTo>
                  <a:lnTo>
                    <a:pt x="118" y="5"/>
                  </a:lnTo>
                  <a:lnTo>
                    <a:pt x="119" y="6"/>
                  </a:lnTo>
                  <a:lnTo>
                    <a:pt x="123" y="10"/>
                  </a:lnTo>
                  <a:lnTo>
                    <a:pt x="125" y="13"/>
                  </a:lnTo>
                  <a:lnTo>
                    <a:pt x="128" y="18"/>
                  </a:lnTo>
                  <a:lnTo>
                    <a:pt x="128" y="19"/>
                  </a:lnTo>
                  <a:lnTo>
                    <a:pt x="128" y="21"/>
                  </a:lnTo>
                  <a:lnTo>
                    <a:pt x="128" y="23"/>
                  </a:lnTo>
                  <a:lnTo>
                    <a:pt x="128" y="24"/>
                  </a:lnTo>
                  <a:lnTo>
                    <a:pt x="128" y="25"/>
                  </a:lnTo>
                  <a:lnTo>
                    <a:pt x="128" y="26"/>
                  </a:lnTo>
                  <a:lnTo>
                    <a:pt x="128" y="27"/>
                  </a:lnTo>
                  <a:lnTo>
                    <a:pt x="128" y="28"/>
                  </a:lnTo>
                  <a:lnTo>
                    <a:pt x="126" y="28"/>
                  </a:lnTo>
                  <a:lnTo>
                    <a:pt x="126" y="30"/>
                  </a:lnTo>
                  <a:lnTo>
                    <a:pt x="125" y="30"/>
                  </a:lnTo>
                  <a:lnTo>
                    <a:pt x="125" y="32"/>
                  </a:lnTo>
                  <a:lnTo>
                    <a:pt x="125" y="33"/>
                  </a:lnTo>
                  <a:lnTo>
                    <a:pt x="126" y="32"/>
                  </a:lnTo>
                  <a:lnTo>
                    <a:pt x="126" y="33"/>
                  </a:lnTo>
                  <a:lnTo>
                    <a:pt x="126" y="34"/>
                  </a:lnTo>
                  <a:lnTo>
                    <a:pt x="125" y="35"/>
                  </a:lnTo>
                  <a:lnTo>
                    <a:pt x="125" y="37"/>
                  </a:lnTo>
                  <a:lnTo>
                    <a:pt x="126" y="37"/>
                  </a:lnTo>
                  <a:lnTo>
                    <a:pt x="128" y="37"/>
                  </a:lnTo>
                  <a:lnTo>
                    <a:pt x="129" y="37"/>
                  </a:lnTo>
                  <a:lnTo>
                    <a:pt x="130" y="37"/>
                  </a:lnTo>
                  <a:lnTo>
                    <a:pt x="131" y="37"/>
                  </a:lnTo>
                  <a:lnTo>
                    <a:pt x="132" y="37"/>
                  </a:lnTo>
                  <a:lnTo>
                    <a:pt x="133" y="37"/>
                  </a:lnTo>
                  <a:lnTo>
                    <a:pt x="135" y="38"/>
                  </a:lnTo>
                  <a:lnTo>
                    <a:pt x="135" y="37"/>
                  </a:lnTo>
                  <a:lnTo>
                    <a:pt x="136" y="37"/>
                  </a:lnTo>
                  <a:lnTo>
                    <a:pt x="136" y="38"/>
                  </a:lnTo>
                  <a:lnTo>
                    <a:pt x="136" y="39"/>
                  </a:lnTo>
                  <a:lnTo>
                    <a:pt x="136" y="40"/>
                  </a:lnTo>
                  <a:lnTo>
                    <a:pt x="135" y="41"/>
                  </a:lnTo>
                  <a:lnTo>
                    <a:pt x="135" y="42"/>
                  </a:lnTo>
                  <a:lnTo>
                    <a:pt x="136" y="44"/>
                  </a:lnTo>
                  <a:lnTo>
                    <a:pt x="137" y="44"/>
                  </a:lnTo>
                  <a:lnTo>
                    <a:pt x="138" y="44"/>
                  </a:lnTo>
                  <a:lnTo>
                    <a:pt x="139" y="44"/>
                  </a:lnTo>
                  <a:lnTo>
                    <a:pt x="139" y="45"/>
                  </a:lnTo>
                  <a:lnTo>
                    <a:pt x="140" y="45"/>
                  </a:lnTo>
                  <a:lnTo>
                    <a:pt x="142" y="45"/>
                  </a:lnTo>
                  <a:lnTo>
                    <a:pt x="143" y="45"/>
                  </a:lnTo>
                  <a:lnTo>
                    <a:pt x="144" y="45"/>
                  </a:lnTo>
                  <a:lnTo>
                    <a:pt x="144" y="46"/>
                  </a:lnTo>
                  <a:lnTo>
                    <a:pt x="145" y="47"/>
                  </a:lnTo>
                  <a:lnTo>
                    <a:pt x="146" y="47"/>
                  </a:lnTo>
                  <a:lnTo>
                    <a:pt x="146" y="48"/>
                  </a:lnTo>
                  <a:lnTo>
                    <a:pt x="147" y="49"/>
                  </a:lnTo>
                  <a:lnTo>
                    <a:pt x="149" y="49"/>
                  </a:lnTo>
                  <a:lnTo>
                    <a:pt x="150" y="49"/>
                  </a:lnTo>
                  <a:lnTo>
                    <a:pt x="150" y="51"/>
                  </a:lnTo>
                  <a:lnTo>
                    <a:pt x="151" y="51"/>
                  </a:lnTo>
                  <a:lnTo>
                    <a:pt x="151" y="52"/>
                  </a:lnTo>
                  <a:lnTo>
                    <a:pt x="151" y="53"/>
                  </a:lnTo>
                  <a:lnTo>
                    <a:pt x="151" y="54"/>
                  </a:lnTo>
                  <a:lnTo>
                    <a:pt x="150" y="54"/>
                  </a:lnTo>
                  <a:lnTo>
                    <a:pt x="150" y="55"/>
                  </a:lnTo>
                  <a:lnTo>
                    <a:pt x="150" y="56"/>
                  </a:lnTo>
                  <a:lnTo>
                    <a:pt x="151" y="56"/>
                  </a:lnTo>
                  <a:lnTo>
                    <a:pt x="151" y="58"/>
                  </a:lnTo>
                  <a:lnTo>
                    <a:pt x="152" y="58"/>
                  </a:lnTo>
                  <a:lnTo>
                    <a:pt x="152" y="59"/>
                  </a:lnTo>
                  <a:lnTo>
                    <a:pt x="153" y="59"/>
                  </a:lnTo>
                  <a:lnTo>
                    <a:pt x="153" y="60"/>
                  </a:lnTo>
                  <a:lnTo>
                    <a:pt x="154" y="60"/>
                  </a:lnTo>
                  <a:lnTo>
                    <a:pt x="155" y="60"/>
                  </a:lnTo>
                  <a:lnTo>
                    <a:pt x="155" y="61"/>
                  </a:lnTo>
                  <a:lnTo>
                    <a:pt x="157" y="61"/>
                  </a:lnTo>
                  <a:lnTo>
                    <a:pt x="158" y="61"/>
                  </a:lnTo>
                  <a:lnTo>
                    <a:pt x="158" y="62"/>
                  </a:lnTo>
                  <a:lnTo>
                    <a:pt x="159" y="62"/>
                  </a:lnTo>
                  <a:lnTo>
                    <a:pt x="159" y="63"/>
                  </a:lnTo>
                  <a:lnTo>
                    <a:pt x="160" y="63"/>
                  </a:lnTo>
                  <a:lnTo>
                    <a:pt x="161" y="63"/>
                  </a:lnTo>
                  <a:lnTo>
                    <a:pt x="161" y="65"/>
                  </a:lnTo>
                  <a:lnTo>
                    <a:pt x="161" y="66"/>
                  </a:lnTo>
                  <a:lnTo>
                    <a:pt x="162" y="66"/>
                  </a:lnTo>
                  <a:lnTo>
                    <a:pt x="162" y="67"/>
                  </a:lnTo>
                  <a:lnTo>
                    <a:pt x="164" y="68"/>
                  </a:lnTo>
                  <a:lnTo>
                    <a:pt x="165" y="68"/>
                  </a:lnTo>
                  <a:lnTo>
                    <a:pt x="166" y="69"/>
                  </a:lnTo>
                  <a:lnTo>
                    <a:pt x="166" y="70"/>
                  </a:lnTo>
                  <a:lnTo>
                    <a:pt x="166" y="72"/>
                  </a:lnTo>
                  <a:lnTo>
                    <a:pt x="165" y="72"/>
                  </a:lnTo>
                  <a:lnTo>
                    <a:pt x="165" y="73"/>
                  </a:lnTo>
                  <a:lnTo>
                    <a:pt x="165" y="74"/>
                  </a:lnTo>
                  <a:lnTo>
                    <a:pt x="166" y="74"/>
                  </a:lnTo>
                  <a:lnTo>
                    <a:pt x="166" y="75"/>
                  </a:lnTo>
                  <a:lnTo>
                    <a:pt x="167" y="75"/>
                  </a:lnTo>
                  <a:lnTo>
                    <a:pt x="167" y="76"/>
                  </a:lnTo>
                  <a:lnTo>
                    <a:pt x="168" y="76"/>
                  </a:lnTo>
                  <a:lnTo>
                    <a:pt x="168" y="77"/>
                  </a:lnTo>
                  <a:lnTo>
                    <a:pt x="167" y="77"/>
                  </a:lnTo>
                  <a:lnTo>
                    <a:pt x="167" y="79"/>
                  </a:lnTo>
                  <a:lnTo>
                    <a:pt x="168" y="79"/>
                  </a:lnTo>
                  <a:lnTo>
                    <a:pt x="168" y="80"/>
                  </a:lnTo>
                  <a:lnTo>
                    <a:pt x="169" y="80"/>
                  </a:lnTo>
                  <a:lnTo>
                    <a:pt x="171" y="80"/>
                  </a:lnTo>
                  <a:lnTo>
                    <a:pt x="172" y="80"/>
                  </a:lnTo>
                  <a:lnTo>
                    <a:pt x="172" y="81"/>
                  </a:lnTo>
                  <a:lnTo>
                    <a:pt x="173" y="81"/>
                  </a:lnTo>
                  <a:lnTo>
                    <a:pt x="173" y="82"/>
                  </a:lnTo>
                  <a:lnTo>
                    <a:pt x="173" y="81"/>
                  </a:lnTo>
                  <a:lnTo>
                    <a:pt x="174" y="81"/>
                  </a:lnTo>
                  <a:lnTo>
                    <a:pt x="174" y="82"/>
                  </a:lnTo>
                  <a:lnTo>
                    <a:pt x="175" y="82"/>
                  </a:lnTo>
                  <a:lnTo>
                    <a:pt x="175" y="83"/>
                  </a:lnTo>
                  <a:lnTo>
                    <a:pt x="176" y="83"/>
                  </a:lnTo>
                  <a:lnTo>
                    <a:pt x="176" y="84"/>
                  </a:lnTo>
                  <a:lnTo>
                    <a:pt x="178" y="84"/>
                  </a:lnTo>
                  <a:lnTo>
                    <a:pt x="178" y="86"/>
                  </a:lnTo>
                  <a:lnTo>
                    <a:pt x="178" y="87"/>
                  </a:lnTo>
                  <a:lnTo>
                    <a:pt x="179" y="87"/>
                  </a:lnTo>
                  <a:lnTo>
                    <a:pt x="179" y="86"/>
                  </a:lnTo>
                  <a:lnTo>
                    <a:pt x="179" y="87"/>
                  </a:lnTo>
                  <a:lnTo>
                    <a:pt x="179" y="89"/>
                  </a:lnTo>
                  <a:lnTo>
                    <a:pt x="178" y="89"/>
                  </a:lnTo>
                  <a:lnTo>
                    <a:pt x="179" y="89"/>
                  </a:lnTo>
                  <a:lnTo>
                    <a:pt x="179" y="90"/>
                  </a:lnTo>
                  <a:lnTo>
                    <a:pt x="179" y="91"/>
                  </a:lnTo>
                  <a:lnTo>
                    <a:pt x="180" y="93"/>
                  </a:lnTo>
                  <a:lnTo>
                    <a:pt x="181" y="94"/>
                  </a:lnTo>
                  <a:lnTo>
                    <a:pt x="181" y="95"/>
                  </a:lnTo>
                  <a:lnTo>
                    <a:pt x="181" y="94"/>
                  </a:lnTo>
                  <a:lnTo>
                    <a:pt x="180" y="94"/>
                  </a:lnTo>
                  <a:lnTo>
                    <a:pt x="179" y="94"/>
                  </a:lnTo>
                  <a:lnTo>
                    <a:pt x="178" y="93"/>
                  </a:lnTo>
                  <a:lnTo>
                    <a:pt x="176" y="93"/>
                  </a:lnTo>
                  <a:lnTo>
                    <a:pt x="175" y="93"/>
                  </a:lnTo>
                  <a:lnTo>
                    <a:pt x="174" y="93"/>
                  </a:lnTo>
                  <a:lnTo>
                    <a:pt x="174" y="94"/>
                  </a:lnTo>
                  <a:lnTo>
                    <a:pt x="174" y="95"/>
                  </a:lnTo>
                  <a:lnTo>
                    <a:pt x="173" y="95"/>
                  </a:lnTo>
                  <a:lnTo>
                    <a:pt x="172" y="94"/>
                  </a:lnTo>
                  <a:lnTo>
                    <a:pt x="171" y="94"/>
                  </a:lnTo>
                  <a:lnTo>
                    <a:pt x="171" y="95"/>
                  </a:lnTo>
                  <a:lnTo>
                    <a:pt x="171" y="94"/>
                  </a:lnTo>
                  <a:lnTo>
                    <a:pt x="169" y="95"/>
                  </a:lnTo>
                  <a:lnTo>
                    <a:pt x="169" y="94"/>
                  </a:lnTo>
                  <a:lnTo>
                    <a:pt x="169" y="95"/>
                  </a:lnTo>
                  <a:lnTo>
                    <a:pt x="168" y="95"/>
                  </a:lnTo>
                  <a:lnTo>
                    <a:pt x="167" y="95"/>
                  </a:lnTo>
                  <a:lnTo>
                    <a:pt x="167" y="94"/>
                  </a:lnTo>
                  <a:lnTo>
                    <a:pt x="167" y="93"/>
                  </a:lnTo>
                  <a:lnTo>
                    <a:pt x="166" y="94"/>
                  </a:lnTo>
                  <a:lnTo>
                    <a:pt x="165" y="93"/>
                  </a:lnTo>
                  <a:lnTo>
                    <a:pt x="164" y="93"/>
                  </a:lnTo>
                  <a:lnTo>
                    <a:pt x="164" y="91"/>
                  </a:lnTo>
                  <a:lnTo>
                    <a:pt x="162" y="91"/>
                  </a:lnTo>
                  <a:lnTo>
                    <a:pt x="162" y="93"/>
                  </a:lnTo>
                  <a:lnTo>
                    <a:pt x="161" y="93"/>
                  </a:lnTo>
                  <a:lnTo>
                    <a:pt x="161" y="91"/>
                  </a:lnTo>
                  <a:lnTo>
                    <a:pt x="160" y="91"/>
                  </a:lnTo>
                  <a:lnTo>
                    <a:pt x="160" y="93"/>
                  </a:lnTo>
                  <a:lnTo>
                    <a:pt x="159" y="93"/>
                  </a:lnTo>
                  <a:lnTo>
                    <a:pt x="159" y="91"/>
                  </a:lnTo>
                  <a:lnTo>
                    <a:pt x="158" y="91"/>
                  </a:lnTo>
                  <a:lnTo>
                    <a:pt x="157" y="91"/>
                  </a:lnTo>
                  <a:lnTo>
                    <a:pt x="157" y="90"/>
                  </a:lnTo>
                  <a:lnTo>
                    <a:pt x="155" y="90"/>
                  </a:lnTo>
                  <a:lnTo>
                    <a:pt x="155" y="89"/>
                  </a:lnTo>
                  <a:lnTo>
                    <a:pt x="154" y="89"/>
                  </a:lnTo>
                  <a:lnTo>
                    <a:pt x="154" y="90"/>
                  </a:lnTo>
                  <a:lnTo>
                    <a:pt x="153" y="90"/>
                  </a:lnTo>
                  <a:lnTo>
                    <a:pt x="152" y="90"/>
                  </a:lnTo>
                  <a:lnTo>
                    <a:pt x="152" y="91"/>
                  </a:lnTo>
                  <a:lnTo>
                    <a:pt x="152" y="93"/>
                  </a:lnTo>
                  <a:lnTo>
                    <a:pt x="152" y="94"/>
                  </a:lnTo>
                  <a:lnTo>
                    <a:pt x="152" y="95"/>
                  </a:lnTo>
                  <a:lnTo>
                    <a:pt x="151" y="95"/>
                  </a:lnTo>
                  <a:lnTo>
                    <a:pt x="150" y="95"/>
                  </a:lnTo>
                  <a:lnTo>
                    <a:pt x="149" y="95"/>
                  </a:lnTo>
                  <a:lnTo>
                    <a:pt x="149" y="96"/>
                  </a:lnTo>
                  <a:lnTo>
                    <a:pt x="147" y="96"/>
                  </a:lnTo>
                  <a:lnTo>
                    <a:pt x="146" y="96"/>
                  </a:lnTo>
                  <a:lnTo>
                    <a:pt x="145" y="96"/>
                  </a:lnTo>
                  <a:lnTo>
                    <a:pt x="144" y="97"/>
                  </a:lnTo>
                  <a:lnTo>
                    <a:pt x="144" y="96"/>
                  </a:lnTo>
                  <a:lnTo>
                    <a:pt x="144" y="97"/>
                  </a:lnTo>
                  <a:lnTo>
                    <a:pt x="143" y="97"/>
                  </a:lnTo>
                  <a:lnTo>
                    <a:pt x="143" y="96"/>
                  </a:lnTo>
                  <a:lnTo>
                    <a:pt x="142" y="96"/>
                  </a:lnTo>
                  <a:lnTo>
                    <a:pt x="142" y="95"/>
                  </a:lnTo>
                  <a:lnTo>
                    <a:pt x="140" y="95"/>
                  </a:lnTo>
                  <a:lnTo>
                    <a:pt x="140" y="94"/>
                  </a:lnTo>
                  <a:lnTo>
                    <a:pt x="139" y="94"/>
                  </a:lnTo>
                  <a:lnTo>
                    <a:pt x="139" y="95"/>
                  </a:lnTo>
                  <a:lnTo>
                    <a:pt x="139" y="94"/>
                  </a:lnTo>
                  <a:lnTo>
                    <a:pt x="138" y="94"/>
                  </a:lnTo>
                  <a:lnTo>
                    <a:pt x="138" y="95"/>
                  </a:lnTo>
                  <a:lnTo>
                    <a:pt x="139" y="95"/>
                  </a:lnTo>
                  <a:lnTo>
                    <a:pt x="138" y="95"/>
                  </a:lnTo>
                  <a:lnTo>
                    <a:pt x="137" y="96"/>
                  </a:lnTo>
                  <a:lnTo>
                    <a:pt x="136" y="96"/>
                  </a:lnTo>
                  <a:lnTo>
                    <a:pt x="136" y="97"/>
                  </a:lnTo>
                  <a:lnTo>
                    <a:pt x="135" y="97"/>
                  </a:lnTo>
                  <a:lnTo>
                    <a:pt x="133" y="97"/>
                  </a:lnTo>
                  <a:lnTo>
                    <a:pt x="132" y="97"/>
                  </a:lnTo>
                  <a:lnTo>
                    <a:pt x="132" y="98"/>
                  </a:lnTo>
                  <a:lnTo>
                    <a:pt x="131" y="98"/>
                  </a:lnTo>
                  <a:lnTo>
                    <a:pt x="130" y="98"/>
                  </a:lnTo>
                  <a:lnTo>
                    <a:pt x="130" y="100"/>
                  </a:lnTo>
                  <a:lnTo>
                    <a:pt x="129" y="100"/>
                  </a:lnTo>
                  <a:lnTo>
                    <a:pt x="128" y="100"/>
                  </a:lnTo>
                  <a:lnTo>
                    <a:pt x="126" y="101"/>
                  </a:lnTo>
                  <a:lnTo>
                    <a:pt x="125" y="101"/>
                  </a:lnTo>
                  <a:lnTo>
                    <a:pt x="125" y="102"/>
                  </a:lnTo>
                  <a:lnTo>
                    <a:pt x="124" y="102"/>
                  </a:lnTo>
                  <a:lnTo>
                    <a:pt x="123" y="102"/>
                  </a:lnTo>
                  <a:lnTo>
                    <a:pt x="123" y="101"/>
                  </a:lnTo>
                  <a:lnTo>
                    <a:pt x="122" y="100"/>
                  </a:lnTo>
                  <a:lnTo>
                    <a:pt x="121" y="100"/>
                  </a:lnTo>
                  <a:lnTo>
                    <a:pt x="119" y="100"/>
                  </a:lnTo>
                  <a:lnTo>
                    <a:pt x="119" y="98"/>
                  </a:lnTo>
                  <a:lnTo>
                    <a:pt x="118" y="98"/>
                  </a:lnTo>
                  <a:lnTo>
                    <a:pt x="118" y="100"/>
                  </a:lnTo>
                  <a:lnTo>
                    <a:pt x="117" y="100"/>
                  </a:lnTo>
                  <a:lnTo>
                    <a:pt x="116" y="100"/>
                  </a:lnTo>
                  <a:lnTo>
                    <a:pt x="116" y="101"/>
                  </a:lnTo>
                  <a:lnTo>
                    <a:pt x="116" y="102"/>
                  </a:lnTo>
                  <a:lnTo>
                    <a:pt x="116" y="103"/>
                  </a:lnTo>
                  <a:lnTo>
                    <a:pt x="115" y="103"/>
                  </a:lnTo>
                  <a:lnTo>
                    <a:pt x="115" y="104"/>
                  </a:lnTo>
                  <a:lnTo>
                    <a:pt x="114" y="104"/>
                  </a:lnTo>
                  <a:lnTo>
                    <a:pt x="114" y="105"/>
                  </a:lnTo>
                  <a:lnTo>
                    <a:pt x="115" y="105"/>
                  </a:lnTo>
                  <a:lnTo>
                    <a:pt x="114" y="105"/>
                  </a:lnTo>
                  <a:lnTo>
                    <a:pt x="114" y="107"/>
                  </a:lnTo>
                  <a:lnTo>
                    <a:pt x="114" y="108"/>
                  </a:lnTo>
                  <a:lnTo>
                    <a:pt x="112" y="108"/>
                  </a:lnTo>
                  <a:lnTo>
                    <a:pt x="112" y="109"/>
                  </a:lnTo>
                  <a:lnTo>
                    <a:pt x="111" y="109"/>
                  </a:lnTo>
                  <a:lnTo>
                    <a:pt x="110" y="109"/>
                  </a:lnTo>
                  <a:lnTo>
                    <a:pt x="109" y="109"/>
                  </a:lnTo>
                  <a:lnTo>
                    <a:pt x="108" y="109"/>
                  </a:lnTo>
                  <a:lnTo>
                    <a:pt x="108" y="108"/>
                  </a:lnTo>
                  <a:lnTo>
                    <a:pt x="107" y="108"/>
                  </a:lnTo>
                  <a:lnTo>
                    <a:pt x="105" y="108"/>
                  </a:lnTo>
                  <a:lnTo>
                    <a:pt x="104" y="108"/>
                  </a:lnTo>
                  <a:lnTo>
                    <a:pt x="103" y="108"/>
                  </a:lnTo>
                  <a:lnTo>
                    <a:pt x="103" y="107"/>
                  </a:lnTo>
                  <a:lnTo>
                    <a:pt x="102" y="107"/>
                  </a:lnTo>
                  <a:lnTo>
                    <a:pt x="101" y="107"/>
                  </a:lnTo>
                  <a:lnTo>
                    <a:pt x="100" y="108"/>
                  </a:lnTo>
                  <a:lnTo>
                    <a:pt x="98" y="108"/>
                  </a:lnTo>
                  <a:lnTo>
                    <a:pt x="98" y="107"/>
                  </a:lnTo>
                  <a:lnTo>
                    <a:pt x="97" y="107"/>
                  </a:lnTo>
                  <a:lnTo>
                    <a:pt x="96" y="107"/>
                  </a:lnTo>
                  <a:lnTo>
                    <a:pt x="95" y="107"/>
                  </a:lnTo>
                  <a:lnTo>
                    <a:pt x="94" y="107"/>
                  </a:lnTo>
                  <a:lnTo>
                    <a:pt x="94" y="105"/>
                  </a:lnTo>
                  <a:lnTo>
                    <a:pt x="93" y="105"/>
                  </a:lnTo>
                  <a:lnTo>
                    <a:pt x="91" y="104"/>
                  </a:lnTo>
                  <a:lnTo>
                    <a:pt x="90" y="104"/>
                  </a:lnTo>
                  <a:lnTo>
                    <a:pt x="89" y="104"/>
                  </a:lnTo>
                  <a:lnTo>
                    <a:pt x="88" y="104"/>
                  </a:lnTo>
                  <a:lnTo>
                    <a:pt x="87" y="104"/>
                  </a:lnTo>
                  <a:lnTo>
                    <a:pt x="86" y="105"/>
                  </a:lnTo>
                  <a:lnTo>
                    <a:pt x="86" y="104"/>
                  </a:lnTo>
                  <a:lnTo>
                    <a:pt x="85" y="103"/>
                  </a:lnTo>
                  <a:lnTo>
                    <a:pt x="85" y="102"/>
                  </a:lnTo>
                  <a:lnTo>
                    <a:pt x="83" y="101"/>
                  </a:lnTo>
                  <a:lnTo>
                    <a:pt x="83" y="100"/>
                  </a:lnTo>
                  <a:lnTo>
                    <a:pt x="82" y="100"/>
                  </a:lnTo>
                  <a:lnTo>
                    <a:pt x="82" y="98"/>
                  </a:lnTo>
                  <a:lnTo>
                    <a:pt x="81" y="98"/>
                  </a:lnTo>
                  <a:lnTo>
                    <a:pt x="80" y="97"/>
                  </a:lnTo>
                  <a:lnTo>
                    <a:pt x="79" y="97"/>
                  </a:lnTo>
                  <a:lnTo>
                    <a:pt x="79" y="96"/>
                  </a:lnTo>
                  <a:lnTo>
                    <a:pt x="78" y="96"/>
                  </a:lnTo>
                  <a:lnTo>
                    <a:pt x="76" y="96"/>
                  </a:lnTo>
                  <a:lnTo>
                    <a:pt x="76" y="95"/>
                  </a:lnTo>
                  <a:lnTo>
                    <a:pt x="75" y="95"/>
                  </a:lnTo>
                  <a:lnTo>
                    <a:pt x="75" y="94"/>
                  </a:lnTo>
                  <a:lnTo>
                    <a:pt x="74" y="94"/>
                  </a:lnTo>
                  <a:lnTo>
                    <a:pt x="72" y="94"/>
                  </a:lnTo>
                  <a:lnTo>
                    <a:pt x="72" y="93"/>
                  </a:lnTo>
                  <a:lnTo>
                    <a:pt x="71" y="94"/>
                  </a:lnTo>
                  <a:lnTo>
                    <a:pt x="69" y="94"/>
                  </a:lnTo>
                  <a:lnTo>
                    <a:pt x="68" y="95"/>
                  </a:lnTo>
                  <a:lnTo>
                    <a:pt x="67" y="95"/>
                  </a:lnTo>
                  <a:lnTo>
                    <a:pt x="67" y="96"/>
                  </a:lnTo>
                  <a:lnTo>
                    <a:pt x="66" y="96"/>
                  </a:lnTo>
                  <a:lnTo>
                    <a:pt x="65" y="96"/>
                  </a:lnTo>
                  <a:lnTo>
                    <a:pt x="65" y="97"/>
                  </a:lnTo>
                  <a:lnTo>
                    <a:pt x="65" y="98"/>
                  </a:lnTo>
                  <a:lnTo>
                    <a:pt x="64" y="98"/>
                  </a:lnTo>
                  <a:lnTo>
                    <a:pt x="64" y="100"/>
                  </a:lnTo>
                  <a:lnTo>
                    <a:pt x="62" y="101"/>
                  </a:lnTo>
                  <a:lnTo>
                    <a:pt x="62" y="102"/>
                  </a:lnTo>
                  <a:lnTo>
                    <a:pt x="61" y="102"/>
                  </a:lnTo>
                  <a:lnTo>
                    <a:pt x="61" y="104"/>
                  </a:lnTo>
                  <a:lnTo>
                    <a:pt x="60" y="105"/>
                  </a:lnTo>
                  <a:lnTo>
                    <a:pt x="59" y="105"/>
                  </a:lnTo>
                  <a:lnTo>
                    <a:pt x="58" y="105"/>
                  </a:lnTo>
                  <a:lnTo>
                    <a:pt x="58" y="107"/>
                  </a:lnTo>
                  <a:lnTo>
                    <a:pt x="58" y="108"/>
                  </a:lnTo>
                  <a:lnTo>
                    <a:pt x="59" y="109"/>
                  </a:lnTo>
                  <a:lnTo>
                    <a:pt x="59" y="110"/>
                  </a:lnTo>
                  <a:lnTo>
                    <a:pt x="59" y="111"/>
                  </a:lnTo>
                  <a:lnTo>
                    <a:pt x="59" y="112"/>
                  </a:lnTo>
                  <a:lnTo>
                    <a:pt x="59" y="114"/>
                  </a:lnTo>
                  <a:lnTo>
                    <a:pt x="58" y="116"/>
                  </a:lnTo>
                  <a:lnTo>
                    <a:pt x="59" y="119"/>
                  </a:lnTo>
                  <a:lnTo>
                    <a:pt x="58" y="119"/>
                  </a:lnTo>
                  <a:lnTo>
                    <a:pt x="58" y="118"/>
                  </a:lnTo>
                  <a:lnTo>
                    <a:pt x="57" y="117"/>
                  </a:lnTo>
                  <a:lnTo>
                    <a:pt x="57" y="118"/>
                  </a:lnTo>
                  <a:lnTo>
                    <a:pt x="55" y="118"/>
                  </a:lnTo>
                  <a:lnTo>
                    <a:pt x="54" y="118"/>
                  </a:lnTo>
                  <a:lnTo>
                    <a:pt x="53" y="118"/>
                  </a:lnTo>
                  <a:lnTo>
                    <a:pt x="53" y="119"/>
                  </a:lnTo>
                  <a:lnTo>
                    <a:pt x="52" y="119"/>
                  </a:lnTo>
                  <a:lnTo>
                    <a:pt x="52" y="118"/>
                  </a:lnTo>
                  <a:lnTo>
                    <a:pt x="51" y="118"/>
                  </a:lnTo>
                  <a:lnTo>
                    <a:pt x="50" y="118"/>
                  </a:lnTo>
                  <a:lnTo>
                    <a:pt x="48" y="118"/>
                  </a:lnTo>
                  <a:lnTo>
                    <a:pt x="47" y="118"/>
                  </a:lnTo>
                  <a:lnTo>
                    <a:pt x="47" y="117"/>
                  </a:lnTo>
                  <a:lnTo>
                    <a:pt x="46" y="117"/>
                  </a:lnTo>
                  <a:lnTo>
                    <a:pt x="45" y="117"/>
                  </a:lnTo>
                  <a:lnTo>
                    <a:pt x="44" y="117"/>
                  </a:lnTo>
                  <a:lnTo>
                    <a:pt x="44" y="116"/>
                  </a:lnTo>
                  <a:lnTo>
                    <a:pt x="43" y="116"/>
                  </a:lnTo>
                  <a:lnTo>
                    <a:pt x="41" y="116"/>
                  </a:lnTo>
                  <a:lnTo>
                    <a:pt x="41" y="117"/>
                  </a:lnTo>
                  <a:lnTo>
                    <a:pt x="40" y="117"/>
                  </a:lnTo>
                  <a:lnTo>
                    <a:pt x="39" y="117"/>
                  </a:lnTo>
                  <a:lnTo>
                    <a:pt x="39" y="118"/>
                  </a:lnTo>
                  <a:lnTo>
                    <a:pt x="38" y="118"/>
                  </a:lnTo>
                  <a:lnTo>
                    <a:pt x="37" y="118"/>
                  </a:lnTo>
                  <a:lnTo>
                    <a:pt x="36" y="118"/>
                  </a:lnTo>
                  <a:lnTo>
                    <a:pt x="34" y="118"/>
                  </a:lnTo>
                  <a:lnTo>
                    <a:pt x="33" y="119"/>
                  </a:lnTo>
                  <a:lnTo>
                    <a:pt x="32" y="118"/>
                  </a:lnTo>
                  <a:lnTo>
                    <a:pt x="31" y="118"/>
                  </a:lnTo>
                  <a:lnTo>
                    <a:pt x="31" y="119"/>
                  </a:lnTo>
                  <a:lnTo>
                    <a:pt x="30" y="119"/>
                  </a:lnTo>
                  <a:lnTo>
                    <a:pt x="30" y="121"/>
                  </a:lnTo>
                  <a:lnTo>
                    <a:pt x="30" y="122"/>
                  </a:lnTo>
                  <a:lnTo>
                    <a:pt x="30" y="123"/>
                  </a:lnTo>
                  <a:lnTo>
                    <a:pt x="30" y="124"/>
                  </a:lnTo>
                  <a:lnTo>
                    <a:pt x="29" y="124"/>
                  </a:lnTo>
                  <a:lnTo>
                    <a:pt x="29" y="125"/>
                  </a:lnTo>
                  <a:lnTo>
                    <a:pt x="29" y="126"/>
                  </a:lnTo>
                  <a:lnTo>
                    <a:pt x="29" y="128"/>
                  </a:lnTo>
                  <a:lnTo>
                    <a:pt x="29" y="129"/>
                  </a:lnTo>
                  <a:lnTo>
                    <a:pt x="29" y="130"/>
                  </a:lnTo>
                  <a:lnTo>
                    <a:pt x="29" y="131"/>
                  </a:lnTo>
                  <a:lnTo>
                    <a:pt x="27" y="132"/>
                  </a:lnTo>
                  <a:lnTo>
                    <a:pt x="27" y="133"/>
                  </a:lnTo>
                  <a:lnTo>
                    <a:pt x="26" y="135"/>
                  </a:lnTo>
                  <a:lnTo>
                    <a:pt x="26" y="136"/>
                  </a:lnTo>
                  <a:lnTo>
                    <a:pt x="25" y="138"/>
                  </a:lnTo>
                  <a:lnTo>
                    <a:pt x="25" y="139"/>
                  </a:lnTo>
                  <a:lnTo>
                    <a:pt x="25" y="138"/>
                  </a:lnTo>
                  <a:lnTo>
                    <a:pt x="24" y="138"/>
                  </a:lnTo>
                  <a:lnTo>
                    <a:pt x="24" y="137"/>
                  </a:lnTo>
                  <a:lnTo>
                    <a:pt x="24" y="136"/>
                  </a:lnTo>
                  <a:lnTo>
                    <a:pt x="24" y="135"/>
                  </a:lnTo>
                  <a:lnTo>
                    <a:pt x="24" y="133"/>
                  </a:lnTo>
                  <a:lnTo>
                    <a:pt x="24" y="132"/>
                  </a:lnTo>
                  <a:lnTo>
                    <a:pt x="23" y="132"/>
                  </a:lnTo>
                  <a:lnTo>
                    <a:pt x="23" y="131"/>
                  </a:lnTo>
                  <a:lnTo>
                    <a:pt x="24" y="130"/>
                  </a:lnTo>
                  <a:lnTo>
                    <a:pt x="23" y="129"/>
                  </a:lnTo>
                  <a:lnTo>
                    <a:pt x="23" y="128"/>
                  </a:lnTo>
                  <a:lnTo>
                    <a:pt x="22" y="128"/>
                  </a:lnTo>
                  <a:lnTo>
                    <a:pt x="22" y="126"/>
                  </a:lnTo>
                  <a:lnTo>
                    <a:pt x="21" y="125"/>
                  </a:lnTo>
                  <a:lnTo>
                    <a:pt x="19" y="125"/>
                  </a:lnTo>
                  <a:lnTo>
                    <a:pt x="18" y="124"/>
                  </a:lnTo>
                  <a:lnTo>
                    <a:pt x="17" y="123"/>
                  </a:lnTo>
                  <a:lnTo>
                    <a:pt x="16" y="121"/>
                  </a:lnTo>
                  <a:lnTo>
                    <a:pt x="14" y="119"/>
                  </a:lnTo>
                  <a:lnTo>
                    <a:pt x="12" y="118"/>
                  </a:lnTo>
                  <a:lnTo>
                    <a:pt x="12" y="117"/>
                  </a:lnTo>
                  <a:lnTo>
                    <a:pt x="11" y="117"/>
                  </a:lnTo>
                  <a:lnTo>
                    <a:pt x="10" y="115"/>
                  </a:lnTo>
                  <a:lnTo>
                    <a:pt x="9" y="114"/>
                  </a:lnTo>
                  <a:lnTo>
                    <a:pt x="9" y="111"/>
                  </a:lnTo>
                  <a:lnTo>
                    <a:pt x="10" y="111"/>
                  </a:lnTo>
                  <a:lnTo>
                    <a:pt x="10" y="110"/>
                  </a:lnTo>
                  <a:lnTo>
                    <a:pt x="11" y="110"/>
                  </a:lnTo>
                  <a:lnTo>
                    <a:pt x="10" y="110"/>
                  </a:lnTo>
                  <a:lnTo>
                    <a:pt x="9" y="109"/>
                  </a:lnTo>
                  <a:lnTo>
                    <a:pt x="9" y="108"/>
                  </a:lnTo>
                  <a:lnTo>
                    <a:pt x="9" y="107"/>
                  </a:lnTo>
                  <a:lnTo>
                    <a:pt x="9" y="105"/>
                  </a:lnTo>
                  <a:lnTo>
                    <a:pt x="8" y="105"/>
                  </a:lnTo>
                  <a:lnTo>
                    <a:pt x="8" y="104"/>
                  </a:lnTo>
                  <a:lnTo>
                    <a:pt x="5" y="103"/>
                  </a:lnTo>
                  <a:lnTo>
                    <a:pt x="4" y="102"/>
                  </a:lnTo>
                  <a:lnTo>
                    <a:pt x="4" y="101"/>
                  </a:lnTo>
                  <a:lnTo>
                    <a:pt x="4" y="100"/>
                  </a:lnTo>
                  <a:lnTo>
                    <a:pt x="4" y="98"/>
                  </a:lnTo>
                  <a:lnTo>
                    <a:pt x="4" y="97"/>
                  </a:lnTo>
                  <a:lnTo>
                    <a:pt x="3" y="96"/>
                  </a:lnTo>
                  <a:lnTo>
                    <a:pt x="3" y="95"/>
                  </a:lnTo>
                  <a:lnTo>
                    <a:pt x="3" y="94"/>
                  </a:lnTo>
                  <a:lnTo>
                    <a:pt x="3" y="93"/>
                  </a:lnTo>
                  <a:lnTo>
                    <a:pt x="3" y="91"/>
                  </a:lnTo>
                  <a:lnTo>
                    <a:pt x="2" y="91"/>
                  </a:lnTo>
                  <a:lnTo>
                    <a:pt x="2" y="90"/>
                  </a:lnTo>
                  <a:lnTo>
                    <a:pt x="2" y="89"/>
                  </a:lnTo>
                  <a:lnTo>
                    <a:pt x="2" y="88"/>
                  </a:lnTo>
                  <a:lnTo>
                    <a:pt x="3" y="88"/>
                  </a:lnTo>
                  <a:lnTo>
                    <a:pt x="3" y="87"/>
                  </a:lnTo>
                  <a:lnTo>
                    <a:pt x="2" y="87"/>
                  </a:lnTo>
                  <a:lnTo>
                    <a:pt x="2" y="86"/>
                  </a:lnTo>
                  <a:lnTo>
                    <a:pt x="3" y="84"/>
                  </a:lnTo>
                  <a:lnTo>
                    <a:pt x="3" y="83"/>
                  </a:lnTo>
                  <a:lnTo>
                    <a:pt x="3" y="82"/>
                  </a:lnTo>
                  <a:lnTo>
                    <a:pt x="2" y="82"/>
                  </a:lnTo>
                  <a:lnTo>
                    <a:pt x="2" y="81"/>
                  </a:lnTo>
                  <a:lnTo>
                    <a:pt x="1" y="81"/>
                  </a:lnTo>
                  <a:lnTo>
                    <a:pt x="1" y="80"/>
                  </a:lnTo>
                  <a:lnTo>
                    <a:pt x="0" y="80"/>
                  </a:lnTo>
                  <a:lnTo>
                    <a:pt x="0" y="79"/>
                  </a:lnTo>
                  <a:lnTo>
                    <a:pt x="1" y="79"/>
                  </a:lnTo>
                  <a:lnTo>
                    <a:pt x="1" y="77"/>
                  </a:lnTo>
                  <a:lnTo>
                    <a:pt x="2" y="77"/>
                  </a:lnTo>
                  <a:lnTo>
                    <a:pt x="2" y="76"/>
                  </a:lnTo>
                  <a:lnTo>
                    <a:pt x="4" y="75"/>
                  </a:lnTo>
                  <a:lnTo>
                    <a:pt x="5" y="74"/>
                  </a:lnTo>
                  <a:lnTo>
                    <a:pt x="5" y="73"/>
                  </a:lnTo>
                  <a:lnTo>
                    <a:pt x="7" y="69"/>
                  </a:lnTo>
                  <a:lnTo>
                    <a:pt x="7" y="68"/>
                  </a:lnTo>
                  <a:lnTo>
                    <a:pt x="8" y="68"/>
                  </a:lnTo>
                  <a:lnTo>
                    <a:pt x="9" y="67"/>
                  </a:lnTo>
                  <a:lnTo>
                    <a:pt x="9" y="66"/>
                  </a:lnTo>
                  <a:lnTo>
                    <a:pt x="9" y="65"/>
                  </a:lnTo>
                  <a:lnTo>
                    <a:pt x="10" y="63"/>
                  </a:lnTo>
                  <a:lnTo>
                    <a:pt x="10" y="62"/>
                  </a:lnTo>
                  <a:lnTo>
                    <a:pt x="10" y="61"/>
                  </a:lnTo>
                  <a:lnTo>
                    <a:pt x="11" y="61"/>
                  </a:lnTo>
                  <a:lnTo>
                    <a:pt x="11" y="60"/>
                  </a:lnTo>
                  <a:lnTo>
                    <a:pt x="12" y="59"/>
                  </a:lnTo>
                  <a:lnTo>
                    <a:pt x="14" y="59"/>
                  </a:lnTo>
                  <a:lnTo>
                    <a:pt x="14" y="58"/>
                  </a:lnTo>
                  <a:lnTo>
                    <a:pt x="14" y="56"/>
                  </a:lnTo>
                  <a:lnTo>
                    <a:pt x="15" y="55"/>
                  </a:lnTo>
                  <a:lnTo>
                    <a:pt x="16" y="55"/>
                  </a:lnTo>
                  <a:lnTo>
                    <a:pt x="17" y="55"/>
                  </a:lnTo>
                  <a:lnTo>
                    <a:pt x="18" y="56"/>
                  </a:lnTo>
                  <a:lnTo>
                    <a:pt x="19" y="56"/>
                  </a:lnTo>
                  <a:lnTo>
                    <a:pt x="21" y="56"/>
                  </a:lnTo>
                  <a:lnTo>
                    <a:pt x="22" y="55"/>
                  </a:lnTo>
                  <a:lnTo>
                    <a:pt x="23" y="54"/>
                  </a:lnTo>
                  <a:lnTo>
                    <a:pt x="24" y="54"/>
                  </a:lnTo>
                  <a:lnTo>
                    <a:pt x="25" y="54"/>
                  </a:lnTo>
                  <a:lnTo>
                    <a:pt x="25" y="53"/>
                  </a:lnTo>
                  <a:lnTo>
                    <a:pt x="26" y="53"/>
                  </a:lnTo>
                  <a:lnTo>
                    <a:pt x="27" y="53"/>
                  </a:lnTo>
                  <a:lnTo>
                    <a:pt x="27" y="52"/>
                  </a:lnTo>
                  <a:lnTo>
                    <a:pt x="29" y="51"/>
                  </a:lnTo>
                  <a:lnTo>
                    <a:pt x="30" y="51"/>
                  </a:lnTo>
                  <a:lnTo>
                    <a:pt x="29" y="51"/>
                  </a:lnTo>
                  <a:lnTo>
                    <a:pt x="30" y="52"/>
                  </a:lnTo>
                  <a:lnTo>
                    <a:pt x="30" y="53"/>
                  </a:lnTo>
                  <a:lnTo>
                    <a:pt x="31" y="53"/>
                  </a:lnTo>
                  <a:lnTo>
                    <a:pt x="31" y="54"/>
                  </a:lnTo>
                  <a:lnTo>
                    <a:pt x="32" y="54"/>
                  </a:lnTo>
                  <a:lnTo>
                    <a:pt x="32" y="55"/>
                  </a:lnTo>
                  <a:lnTo>
                    <a:pt x="33" y="55"/>
                  </a:lnTo>
                  <a:lnTo>
                    <a:pt x="33" y="54"/>
                  </a:lnTo>
                  <a:lnTo>
                    <a:pt x="34" y="54"/>
                  </a:lnTo>
                  <a:lnTo>
                    <a:pt x="36" y="54"/>
                  </a:lnTo>
                  <a:lnTo>
                    <a:pt x="36" y="53"/>
                  </a:lnTo>
                  <a:lnTo>
                    <a:pt x="37" y="53"/>
                  </a:lnTo>
                  <a:lnTo>
                    <a:pt x="38" y="53"/>
                  </a:lnTo>
                  <a:lnTo>
                    <a:pt x="38" y="52"/>
                  </a:lnTo>
                  <a:lnTo>
                    <a:pt x="39" y="52"/>
                  </a:lnTo>
                  <a:lnTo>
                    <a:pt x="39" y="51"/>
                  </a:lnTo>
                  <a:lnTo>
                    <a:pt x="41" y="51"/>
                  </a:lnTo>
                  <a:lnTo>
                    <a:pt x="41" y="49"/>
                  </a:lnTo>
                  <a:lnTo>
                    <a:pt x="43" y="49"/>
                  </a:lnTo>
                  <a:lnTo>
                    <a:pt x="44" y="49"/>
                  </a:lnTo>
                  <a:lnTo>
                    <a:pt x="44" y="48"/>
                  </a:lnTo>
                  <a:lnTo>
                    <a:pt x="45" y="48"/>
                  </a:lnTo>
                  <a:lnTo>
                    <a:pt x="47" y="48"/>
                  </a:lnTo>
                  <a:lnTo>
                    <a:pt x="48" y="48"/>
                  </a:lnTo>
                  <a:lnTo>
                    <a:pt x="50" y="48"/>
                  </a:lnTo>
                  <a:lnTo>
                    <a:pt x="51" y="48"/>
                  </a:lnTo>
                  <a:lnTo>
                    <a:pt x="57" y="47"/>
                  </a:lnTo>
                  <a:lnTo>
                    <a:pt x="58" y="47"/>
                  </a:lnTo>
                  <a:lnTo>
                    <a:pt x="58" y="46"/>
                  </a:lnTo>
                  <a:lnTo>
                    <a:pt x="58" y="45"/>
                  </a:lnTo>
                  <a:lnTo>
                    <a:pt x="59" y="45"/>
                  </a:lnTo>
                  <a:lnTo>
                    <a:pt x="60" y="44"/>
                  </a:lnTo>
                  <a:lnTo>
                    <a:pt x="61" y="44"/>
                  </a:lnTo>
                  <a:lnTo>
                    <a:pt x="61" y="42"/>
                  </a:lnTo>
                  <a:lnTo>
                    <a:pt x="62" y="42"/>
                  </a:lnTo>
                  <a:lnTo>
                    <a:pt x="62" y="41"/>
                  </a:lnTo>
                  <a:lnTo>
                    <a:pt x="64" y="39"/>
                  </a:lnTo>
                  <a:lnTo>
                    <a:pt x="64" y="38"/>
                  </a:lnTo>
                  <a:lnTo>
                    <a:pt x="65" y="38"/>
                  </a:lnTo>
                  <a:lnTo>
                    <a:pt x="65" y="37"/>
                  </a:lnTo>
                  <a:lnTo>
                    <a:pt x="64" y="37"/>
                  </a:lnTo>
                  <a:lnTo>
                    <a:pt x="62" y="35"/>
                  </a:lnTo>
                  <a:lnTo>
                    <a:pt x="62" y="34"/>
                  </a:lnTo>
                  <a:lnTo>
                    <a:pt x="61" y="34"/>
                  </a:lnTo>
                  <a:lnTo>
                    <a:pt x="62" y="34"/>
                  </a:lnTo>
                  <a:lnTo>
                    <a:pt x="62" y="33"/>
                  </a:lnTo>
                  <a:lnTo>
                    <a:pt x="64" y="33"/>
                  </a:lnTo>
                  <a:lnTo>
                    <a:pt x="64" y="32"/>
                  </a:lnTo>
                  <a:lnTo>
                    <a:pt x="65" y="32"/>
                  </a:lnTo>
                  <a:lnTo>
                    <a:pt x="66" y="32"/>
                  </a:lnTo>
                  <a:lnTo>
                    <a:pt x="67" y="32"/>
                  </a:lnTo>
                  <a:lnTo>
                    <a:pt x="68" y="32"/>
                  </a:lnTo>
                  <a:lnTo>
                    <a:pt x="69" y="32"/>
                  </a:lnTo>
                  <a:lnTo>
                    <a:pt x="71" y="32"/>
                  </a:lnTo>
                  <a:lnTo>
                    <a:pt x="72" y="32"/>
                  </a:lnTo>
                  <a:lnTo>
                    <a:pt x="73" y="32"/>
                  </a:lnTo>
                  <a:lnTo>
                    <a:pt x="74" y="32"/>
                  </a:lnTo>
                  <a:lnTo>
                    <a:pt x="75" y="32"/>
                  </a:lnTo>
                  <a:lnTo>
                    <a:pt x="76" y="31"/>
                  </a:lnTo>
                  <a:lnTo>
                    <a:pt x="78" y="31"/>
                  </a:lnTo>
                  <a:lnTo>
                    <a:pt x="78" y="30"/>
                  </a:lnTo>
                  <a:lnTo>
                    <a:pt x="79" y="30"/>
                  </a:lnTo>
                  <a:lnTo>
                    <a:pt x="79" y="31"/>
                  </a:lnTo>
                  <a:lnTo>
                    <a:pt x="80" y="31"/>
                  </a:lnTo>
                  <a:lnTo>
                    <a:pt x="80" y="30"/>
                  </a:lnTo>
                  <a:lnTo>
                    <a:pt x="81" y="31"/>
                  </a:lnTo>
                  <a:lnTo>
                    <a:pt x="82" y="31"/>
                  </a:lnTo>
                  <a:lnTo>
                    <a:pt x="82" y="30"/>
                  </a:lnTo>
                  <a:lnTo>
                    <a:pt x="83" y="30"/>
                  </a:lnTo>
                  <a:lnTo>
                    <a:pt x="83" y="28"/>
                  </a:lnTo>
                  <a:lnTo>
                    <a:pt x="85" y="28"/>
                  </a:lnTo>
                  <a:lnTo>
                    <a:pt x="83" y="28"/>
                  </a:lnTo>
                  <a:lnTo>
                    <a:pt x="85" y="27"/>
                  </a:lnTo>
                  <a:lnTo>
                    <a:pt x="86" y="27"/>
                  </a:lnTo>
                  <a:lnTo>
                    <a:pt x="87" y="26"/>
                  </a:lnTo>
                  <a:lnTo>
                    <a:pt x="88" y="26"/>
                  </a:lnTo>
                  <a:lnTo>
                    <a:pt x="88" y="25"/>
                  </a:lnTo>
                  <a:lnTo>
                    <a:pt x="88" y="26"/>
                  </a:lnTo>
                  <a:lnTo>
                    <a:pt x="88" y="25"/>
                  </a:lnTo>
                  <a:lnTo>
                    <a:pt x="89" y="25"/>
                  </a:lnTo>
                  <a:lnTo>
                    <a:pt x="89" y="24"/>
                  </a:lnTo>
                  <a:lnTo>
                    <a:pt x="90" y="24"/>
                  </a:lnTo>
                  <a:lnTo>
                    <a:pt x="90" y="23"/>
                  </a:lnTo>
                  <a:lnTo>
                    <a:pt x="90" y="21"/>
                  </a:lnTo>
                  <a:lnTo>
                    <a:pt x="91" y="20"/>
                  </a:lnTo>
                  <a:lnTo>
                    <a:pt x="93" y="20"/>
                  </a:lnTo>
                  <a:lnTo>
                    <a:pt x="93" y="19"/>
                  </a:lnTo>
                  <a:lnTo>
                    <a:pt x="94" y="18"/>
                  </a:lnTo>
                  <a:lnTo>
                    <a:pt x="94" y="17"/>
                  </a:lnTo>
                  <a:lnTo>
                    <a:pt x="95" y="17"/>
                  </a:lnTo>
                  <a:lnTo>
                    <a:pt x="96" y="17"/>
                  </a:lnTo>
                  <a:lnTo>
                    <a:pt x="96" y="16"/>
                  </a:lnTo>
                  <a:lnTo>
                    <a:pt x="97" y="13"/>
                  </a:lnTo>
                  <a:lnTo>
                    <a:pt x="98" y="13"/>
                  </a:lnTo>
                  <a:lnTo>
                    <a:pt x="100" y="13"/>
                  </a:lnTo>
                  <a:lnTo>
                    <a:pt x="100" y="12"/>
                  </a:lnTo>
                  <a:lnTo>
                    <a:pt x="101" y="12"/>
                  </a:lnTo>
                  <a:lnTo>
                    <a:pt x="101" y="11"/>
                  </a:lnTo>
                  <a:lnTo>
                    <a:pt x="101" y="10"/>
                  </a:lnTo>
                  <a:lnTo>
                    <a:pt x="101" y="9"/>
                  </a:lnTo>
                  <a:lnTo>
                    <a:pt x="101" y="7"/>
                  </a:lnTo>
                  <a:lnTo>
                    <a:pt x="101" y="6"/>
                  </a:lnTo>
                  <a:lnTo>
                    <a:pt x="102" y="6"/>
                  </a:lnTo>
                  <a:lnTo>
                    <a:pt x="102" y="5"/>
                  </a:lnTo>
                  <a:lnTo>
                    <a:pt x="102" y="6"/>
                  </a:lnTo>
                  <a:lnTo>
                    <a:pt x="103" y="6"/>
                  </a:lnTo>
                  <a:lnTo>
                    <a:pt x="103" y="5"/>
                  </a:lnTo>
                  <a:lnTo>
                    <a:pt x="104" y="5"/>
                  </a:lnTo>
                  <a:lnTo>
                    <a:pt x="104" y="4"/>
                  </a:lnTo>
                  <a:lnTo>
                    <a:pt x="104" y="3"/>
                  </a:lnTo>
                  <a:lnTo>
                    <a:pt x="105" y="3"/>
                  </a:lnTo>
                  <a:lnTo>
                    <a:pt x="107" y="3"/>
                  </a:lnTo>
                  <a:lnTo>
                    <a:pt x="107" y="4"/>
                  </a:lnTo>
                  <a:lnTo>
                    <a:pt x="107" y="3"/>
                  </a:lnTo>
                  <a:lnTo>
                    <a:pt x="108" y="3"/>
                  </a:lnTo>
                  <a:lnTo>
                    <a:pt x="108" y="2"/>
                  </a:lnTo>
                  <a:lnTo>
                    <a:pt x="109" y="2"/>
                  </a:lnTo>
                  <a:lnTo>
                    <a:pt x="110" y="2"/>
                  </a:lnTo>
                  <a:lnTo>
                    <a:pt x="110" y="0"/>
                  </a:lnTo>
                  <a:lnTo>
                    <a:pt x="111" y="0"/>
                  </a:lnTo>
                  <a:lnTo>
                    <a:pt x="112" y="0"/>
                  </a:lnTo>
                  <a:lnTo>
                    <a:pt x="114" y="0"/>
                  </a:lnTo>
                  <a:lnTo>
                    <a:pt x="115" y="2"/>
                  </a:lnTo>
                  <a:lnTo>
                    <a:pt x="116"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00" name="Freeform 853">
              <a:extLst>
                <a:ext uri="{FF2B5EF4-FFF2-40B4-BE49-F238E27FC236}">
                  <a16:creationId xmlns:a16="http://schemas.microsoft.com/office/drawing/2014/main" id="{D6FC3B6B-279B-4F3B-B9D9-5BB75D5790E7}"/>
                </a:ext>
              </a:extLst>
            </p:cNvPr>
            <p:cNvSpPr>
              <a:spLocks noEditPoints="1"/>
            </p:cNvSpPr>
            <p:nvPr/>
          </p:nvSpPr>
          <p:spPr bwMode="auto">
            <a:xfrm>
              <a:off x="3712382" y="1705878"/>
              <a:ext cx="1414282" cy="761228"/>
            </a:xfrm>
            <a:custGeom>
              <a:avLst/>
              <a:gdLst>
                <a:gd name="T0" fmla="*/ 818 w 1059"/>
                <a:gd name="T1" fmla="*/ 500 h 570"/>
                <a:gd name="T2" fmla="*/ 500 w 1059"/>
                <a:gd name="T3" fmla="*/ 459 h 570"/>
                <a:gd name="T4" fmla="*/ 784 w 1059"/>
                <a:gd name="T5" fmla="*/ 507 h 570"/>
                <a:gd name="T6" fmla="*/ 759 w 1059"/>
                <a:gd name="T7" fmla="*/ 510 h 570"/>
                <a:gd name="T8" fmla="*/ 893 w 1059"/>
                <a:gd name="T9" fmla="*/ 438 h 570"/>
                <a:gd name="T10" fmla="*/ 30 w 1059"/>
                <a:gd name="T11" fmla="*/ 434 h 570"/>
                <a:gd name="T12" fmla="*/ 910 w 1059"/>
                <a:gd name="T13" fmla="*/ 463 h 570"/>
                <a:gd name="T14" fmla="*/ 881 w 1059"/>
                <a:gd name="T15" fmla="*/ 477 h 570"/>
                <a:gd name="T16" fmla="*/ 44 w 1059"/>
                <a:gd name="T17" fmla="*/ 409 h 570"/>
                <a:gd name="T18" fmla="*/ 38 w 1059"/>
                <a:gd name="T19" fmla="*/ 398 h 570"/>
                <a:gd name="T20" fmla="*/ 42 w 1059"/>
                <a:gd name="T21" fmla="*/ 377 h 570"/>
                <a:gd name="T22" fmla="*/ 672 w 1059"/>
                <a:gd name="T23" fmla="*/ 332 h 570"/>
                <a:gd name="T24" fmla="*/ 864 w 1059"/>
                <a:gd name="T25" fmla="*/ 255 h 570"/>
                <a:gd name="T26" fmla="*/ 671 w 1059"/>
                <a:gd name="T27" fmla="*/ 210 h 570"/>
                <a:gd name="T28" fmla="*/ 452 w 1059"/>
                <a:gd name="T29" fmla="*/ 188 h 570"/>
                <a:gd name="T30" fmla="*/ 877 w 1059"/>
                <a:gd name="T31" fmla="*/ 169 h 570"/>
                <a:gd name="T32" fmla="*/ 764 w 1059"/>
                <a:gd name="T33" fmla="*/ 156 h 570"/>
                <a:gd name="T34" fmla="*/ 599 w 1059"/>
                <a:gd name="T35" fmla="*/ 533 h 570"/>
                <a:gd name="T36" fmla="*/ 526 w 1059"/>
                <a:gd name="T37" fmla="*/ 484 h 570"/>
                <a:gd name="T38" fmla="*/ 74 w 1059"/>
                <a:gd name="T39" fmla="*/ 447 h 570"/>
                <a:gd name="T40" fmla="*/ 56 w 1059"/>
                <a:gd name="T41" fmla="*/ 403 h 570"/>
                <a:gd name="T42" fmla="*/ 60 w 1059"/>
                <a:gd name="T43" fmla="*/ 315 h 570"/>
                <a:gd name="T44" fmla="*/ 266 w 1059"/>
                <a:gd name="T45" fmla="*/ 151 h 570"/>
                <a:gd name="T46" fmla="*/ 314 w 1059"/>
                <a:gd name="T47" fmla="*/ 153 h 570"/>
                <a:gd name="T48" fmla="*/ 470 w 1059"/>
                <a:gd name="T49" fmla="*/ 178 h 570"/>
                <a:gd name="T50" fmla="*/ 579 w 1059"/>
                <a:gd name="T51" fmla="*/ 190 h 570"/>
                <a:gd name="T52" fmla="*/ 649 w 1059"/>
                <a:gd name="T53" fmla="*/ 149 h 570"/>
                <a:gd name="T54" fmla="*/ 733 w 1059"/>
                <a:gd name="T55" fmla="*/ 157 h 570"/>
                <a:gd name="T56" fmla="*/ 637 w 1059"/>
                <a:gd name="T57" fmla="*/ 226 h 570"/>
                <a:gd name="T58" fmla="*/ 504 w 1059"/>
                <a:gd name="T59" fmla="*/ 304 h 570"/>
                <a:gd name="T60" fmla="*/ 633 w 1059"/>
                <a:gd name="T61" fmla="*/ 408 h 570"/>
                <a:gd name="T62" fmla="*/ 753 w 1059"/>
                <a:gd name="T63" fmla="*/ 261 h 570"/>
                <a:gd name="T64" fmla="*/ 823 w 1059"/>
                <a:gd name="T65" fmla="*/ 310 h 570"/>
                <a:gd name="T66" fmla="*/ 864 w 1059"/>
                <a:gd name="T67" fmla="*/ 336 h 570"/>
                <a:gd name="T68" fmla="*/ 856 w 1059"/>
                <a:gd name="T69" fmla="*/ 391 h 570"/>
                <a:gd name="T70" fmla="*/ 784 w 1059"/>
                <a:gd name="T71" fmla="*/ 437 h 570"/>
                <a:gd name="T72" fmla="*/ 499 w 1059"/>
                <a:gd name="T73" fmla="*/ 119 h 570"/>
                <a:gd name="T74" fmla="*/ 486 w 1059"/>
                <a:gd name="T75" fmla="*/ 163 h 570"/>
                <a:gd name="T76" fmla="*/ 564 w 1059"/>
                <a:gd name="T77" fmla="*/ 106 h 570"/>
                <a:gd name="T78" fmla="*/ 782 w 1059"/>
                <a:gd name="T79" fmla="*/ 121 h 570"/>
                <a:gd name="T80" fmla="*/ 846 w 1059"/>
                <a:gd name="T81" fmla="*/ 137 h 570"/>
                <a:gd name="T82" fmla="*/ 878 w 1059"/>
                <a:gd name="T83" fmla="*/ 167 h 570"/>
                <a:gd name="T84" fmla="*/ 916 w 1059"/>
                <a:gd name="T85" fmla="*/ 197 h 570"/>
                <a:gd name="T86" fmla="*/ 873 w 1059"/>
                <a:gd name="T87" fmla="*/ 200 h 570"/>
                <a:gd name="T88" fmla="*/ 860 w 1059"/>
                <a:gd name="T89" fmla="*/ 252 h 570"/>
                <a:gd name="T90" fmla="*/ 795 w 1059"/>
                <a:gd name="T91" fmla="*/ 237 h 570"/>
                <a:gd name="T92" fmla="*/ 819 w 1059"/>
                <a:gd name="T93" fmla="*/ 176 h 570"/>
                <a:gd name="T94" fmla="*/ 693 w 1059"/>
                <a:gd name="T95" fmla="*/ 149 h 570"/>
                <a:gd name="T96" fmla="*/ 587 w 1059"/>
                <a:gd name="T97" fmla="*/ 118 h 570"/>
                <a:gd name="T98" fmla="*/ 462 w 1059"/>
                <a:gd name="T99" fmla="*/ 108 h 570"/>
                <a:gd name="T100" fmla="*/ 442 w 1059"/>
                <a:gd name="T101" fmla="*/ 80 h 570"/>
                <a:gd name="T102" fmla="*/ 626 w 1059"/>
                <a:gd name="T103" fmla="*/ 79 h 570"/>
                <a:gd name="T104" fmla="*/ 514 w 1059"/>
                <a:gd name="T105" fmla="*/ 87 h 570"/>
                <a:gd name="T106" fmla="*/ 728 w 1059"/>
                <a:gd name="T107" fmla="*/ 76 h 570"/>
                <a:gd name="T108" fmla="*/ 703 w 1059"/>
                <a:gd name="T109" fmla="*/ 93 h 570"/>
                <a:gd name="T110" fmla="*/ 509 w 1059"/>
                <a:gd name="T111" fmla="*/ 60 h 570"/>
                <a:gd name="T112" fmla="*/ 712 w 1059"/>
                <a:gd name="T113" fmla="*/ 53 h 570"/>
                <a:gd name="T114" fmla="*/ 817 w 1059"/>
                <a:gd name="T115" fmla="*/ 36 h 570"/>
                <a:gd name="T116" fmla="*/ 764 w 1059"/>
                <a:gd name="T117" fmla="*/ 20 h 570"/>
                <a:gd name="T118" fmla="*/ 888 w 1059"/>
                <a:gd name="T119" fmla="*/ 38 h 570"/>
                <a:gd name="T120" fmla="*/ 791 w 1059"/>
                <a:gd name="T121" fmla="*/ 73 h 570"/>
                <a:gd name="T122" fmla="*/ 840 w 1059"/>
                <a:gd name="T123" fmla="*/ 44 h 570"/>
                <a:gd name="T124" fmla="*/ 807 w 1059"/>
                <a:gd name="T125" fmla="*/ 18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9" h="570">
                  <a:moveTo>
                    <a:pt x="515" y="570"/>
                  </a:moveTo>
                  <a:lnTo>
                    <a:pt x="515" y="569"/>
                  </a:lnTo>
                  <a:lnTo>
                    <a:pt x="516" y="568"/>
                  </a:lnTo>
                  <a:lnTo>
                    <a:pt x="515" y="569"/>
                  </a:lnTo>
                  <a:lnTo>
                    <a:pt x="515" y="570"/>
                  </a:lnTo>
                  <a:close/>
                  <a:moveTo>
                    <a:pt x="740" y="543"/>
                  </a:moveTo>
                  <a:lnTo>
                    <a:pt x="740" y="542"/>
                  </a:lnTo>
                  <a:lnTo>
                    <a:pt x="741" y="542"/>
                  </a:lnTo>
                  <a:lnTo>
                    <a:pt x="741" y="543"/>
                  </a:lnTo>
                  <a:lnTo>
                    <a:pt x="740" y="543"/>
                  </a:lnTo>
                  <a:close/>
                  <a:moveTo>
                    <a:pt x="816" y="535"/>
                  </a:moveTo>
                  <a:lnTo>
                    <a:pt x="814" y="535"/>
                  </a:lnTo>
                  <a:lnTo>
                    <a:pt x="813" y="535"/>
                  </a:lnTo>
                  <a:lnTo>
                    <a:pt x="812" y="535"/>
                  </a:lnTo>
                  <a:lnTo>
                    <a:pt x="813" y="535"/>
                  </a:lnTo>
                  <a:lnTo>
                    <a:pt x="816" y="535"/>
                  </a:lnTo>
                  <a:lnTo>
                    <a:pt x="817" y="535"/>
                  </a:lnTo>
                  <a:lnTo>
                    <a:pt x="817" y="534"/>
                  </a:lnTo>
                  <a:lnTo>
                    <a:pt x="818" y="534"/>
                  </a:lnTo>
                  <a:lnTo>
                    <a:pt x="817" y="535"/>
                  </a:lnTo>
                  <a:lnTo>
                    <a:pt x="816" y="535"/>
                  </a:lnTo>
                  <a:close/>
                  <a:moveTo>
                    <a:pt x="604" y="532"/>
                  </a:moveTo>
                  <a:lnTo>
                    <a:pt x="604" y="533"/>
                  </a:lnTo>
                  <a:lnTo>
                    <a:pt x="603" y="532"/>
                  </a:lnTo>
                  <a:lnTo>
                    <a:pt x="604" y="532"/>
                  </a:lnTo>
                  <a:lnTo>
                    <a:pt x="605" y="532"/>
                  </a:lnTo>
                  <a:lnTo>
                    <a:pt x="605" y="531"/>
                  </a:lnTo>
                  <a:lnTo>
                    <a:pt x="606" y="531"/>
                  </a:lnTo>
                  <a:lnTo>
                    <a:pt x="605" y="532"/>
                  </a:lnTo>
                  <a:lnTo>
                    <a:pt x="604" y="532"/>
                  </a:lnTo>
                  <a:close/>
                  <a:moveTo>
                    <a:pt x="608" y="532"/>
                  </a:moveTo>
                  <a:lnTo>
                    <a:pt x="607" y="533"/>
                  </a:lnTo>
                  <a:lnTo>
                    <a:pt x="607" y="532"/>
                  </a:lnTo>
                  <a:lnTo>
                    <a:pt x="607" y="533"/>
                  </a:lnTo>
                  <a:lnTo>
                    <a:pt x="607" y="532"/>
                  </a:lnTo>
                  <a:lnTo>
                    <a:pt x="608" y="531"/>
                  </a:lnTo>
                  <a:lnTo>
                    <a:pt x="610" y="531"/>
                  </a:lnTo>
                  <a:lnTo>
                    <a:pt x="610" y="532"/>
                  </a:lnTo>
                  <a:lnTo>
                    <a:pt x="608" y="532"/>
                  </a:lnTo>
                  <a:close/>
                  <a:moveTo>
                    <a:pt x="612" y="531"/>
                  </a:moveTo>
                  <a:lnTo>
                    <a:pt x="611" y="531"/>
                  </a:lnTo>
                  <a:lnTo>
                    <a:pt x="608" y="531"/>
                  </a:lnTo>
                  <a:lnTo>
                    <a:pt x="610" y="531"/>
                  </a:lnTo>
                  <a:lnTo>
                    <a:pt x="611" y="531"/>
                  </a:lnTo>
                  <a:lnTo>
                    <a:pt x="612" y="531"/>
                  </a:lnTo>
                  <a:close/>
                  <a:moveTo>
                    <a:pt x="611" y="531"/>
                  </a:moveTo>
                  <a:lnTo>
                    <a:pt x="610" y="531"/>
                  </a:lnTo>
                  <a:lnTo>
                    <a:pt x="611" y="529"/>
                  </a:lnTo>
                  <a:lnTo>
                    <a:pt x="612" y="529"/>
                  </a:lnTo>
                  <a:lnTo>
                    <a:pt x="611" y="529"/>
                  </a:lnTo>
                  <a:lnTo>
                    <a:pt x="611" y="531"/>
                  </a:lnTo>
                  <a:close/>
                  <a:moveTo>
                    <a:pt x="736" y="529"/>
                  </a:moveTo>
                  <a:lnTo>
                    <a:pt x="735" y="531"/>
                  </a:lnTo>
                  <a:lnTo>
                    <a:pt x="736" y="529"/>
                  </a:lnTo>
                  <a:lnTo>
                    <a:pt x="736" y="528"/>
                  </a:lnTo>
                  <a:lnTo>
                    <a:pt x="738" y="528"/>
                  </a:lnTo>
                  <a:lnTo>
                    <a:pt x="736" y="529"/>
                  </a:lnTo>
                  <a:close/>
                  <a:moveTo>
                    <a:pt x="733" y="522"/>
                  </a:moveTo>
                  <a:lnTo>
                    <a:pt x="733" y="524"/>
                  </a:lnTo>
                  <a:lnTo>
                    <a:pt x="733" y="525"/>
                  </a:lnTo>
                  <a:lnTo>
                    <a:pt x="732" y="525"/>
                  </a:lnTo>
                  <a:lnTo>
                    <a:pt x="732" y="524"/>
                  </a:lnTo>
                  <a:lnTo>
                    <a:pt x="731" y="524"/>
                  </a:lnTo>
                  <a:lnTo>
                    <a:pt x="731" y="525"/>
                  </a:lnTo>
                  <a:lnTo>
                    <a:pt x="729" y="525"/>
                  </a:lnTo>
                  <a:lnTo>
                    <a:pt x="731" y="525"/>
                  </a:lnTo>
                  <a:lnTo>
                    <a:pt x="731" y="524"/>
                  </a:lnTo>
                  <a:lnTo>
                    <a:pt x="731" y="522"/>
                  </a:lnTo>
                  <a:lnTo>
                    <a:pt x="732" y="522"/>
                  </a:lnTo>
                  <a:lnTo>
                    <a:pt x="732" y="521"/>
                  </a:lnTo>
                  <a:lnTo>
                    <a:pt x="733" y="522"/>
                  </a:lnTo>
                  <a:close/>
                  <a:moveTo>
                    <a:pt x="564" y="520"/>
                  </a:moveTo>
                  <a:lnTo>
                    <a:pt x="564" y="521"/>
                  </a:lnTo>
                  <a:lnTo>
                    <a:pt x="565" y="520"/>
                  </a:lnTo>
                  <a:lnTo>
                    <a:pt x="565" y="521"/>
                  </a:lnTo>
                  <a:lnTo>
                    <a:pt x="565" y="522"/>
                  </a:lnTo>
                  <a:lnTo>
                    <a:pt x="564" y="522"/>
                  </a:lnTo>
                  <a:lnTo>
                    <a:pt x="564" y="521"/>
                  </a:lnTo>
                  <a:lnTo>
                    <a:pt x="564" y="520"/>
                  </a:lnTo>
                  <a:close/>
                  <a:moveTo>
                    <a:pt x="646" y="514"/>
                  </a:moveTo>
                  <a:lnTo>
                    <a:pt x="644" y="514"/>
                  </a:lnTo>
                  <a:lnTo>
                    <a:pt x="643" y="514"/>
                  </a:lnTo>
                  <a:lnTo>
                    <a:pt x="642" y="514"/>
                  </a:lnTo>
                  <a:lnTo>
                    <a:pt x="643" y="514"/>
                  </a:lnTo>
                  <a:lnTo>
                    <a:pt x="644" y="514"/>
                  </a:lnTo>
                  <a:lnTo>
                    <a:pt x="646" y="514"/>
                  </a:lnTo>
                  <a:lnTo>
                    <a:pt x="646" y="513"/>
                  </a:lnTo>
                  <a:lnTo>
                    <a:pt x="646" y="514"/>
                  </a:lnTo>
                  <a:close/>
                  <a:moveTo>
                    <a:pt x="549" y="514"/>
                  </a:moveTo>
                  <a:lnTo>
                    <a:pt x="548" y="514"/>
                  </a:lnTo>
                  <a:lnTo>
                    <a:pt x="548" y="513"/>
                  </a:lnTo>
                  <a:lnTo>
                    <a:pt x="549" y="513"/>
                  </a:lnTo>
                  <a:lnTo>
                    <a:pt x="549" y="514"/>
                  </a:lnTo>
                  <a:close/>
                  <a:moveTo>
                    <a:pt x="570" y="513"/>
                  </a:moveTo>
                  <a:lnTo>
                    <a:pt x="569" y="513"/>
                  </a:lnTo>
                  <a:lnTo>
                    <a:pt x="570" y="513"/>
                  </a:lnTo>
                  <a:lnTo>
                    <a:pt x="569" y="513"/>
                  </a:lnTo>
                  <a:lnTo>
                    <a:pt x="569" y="514"/>
                  </a:lnTo>
                  <a:lnTo>
                    <a:pt x="568" y="514"/>
                  </a:lnTo>
                  <a:lnTo>
                    <a:pt x="568" y="515"/>
                  </a:lnTo>
                  <a:lnTo>
                    <a:pt x="568" y="514"/>
                  </a:lnTo>
                  <a:lnTo>
                    <a:pt x="568" y="513"/>
                  </a:lnTo>
                  <a:lnTo>
                    <a:pt x="569" y="514"/>
                  </a:lnTo>
                  <a:lnTo>
                    <a:pt x="569" y="513"/>
                  </a:lnTo>
                  <a:lnTo>
                    <a:pt x="570" y="513"/>
                  </a:lnTo>
                  <a:close/>
                  <a:moveTo>
                    <a:pt x="647" y="513"/>
                  </a:moveTo>
                  <a:lnTo>
                    <a:pt x="646" y="513"/>
                  </a:lnTo>
                  <a:lnTo>
                    <a:pt x="646" y="512"/>
                  </a:lnTo>
                  <a:lnTo>
                    <a:pt x="647" y="512"/>
                  </a:lnTo>
                  <a:lnTo>
                    <a:pt x="647" y="513"/>
                  </a:lnTo>
                  <a:close/>
                  <a:moveTo>
                    <a:pt x="647" y="511"/>
                  </a:moveTo>
                  <a:lnTo>
                    <a:pt x="648" y="511"/>
                  </a:lnTo>
                  <a:lnTo>
                    <a:pt x="647" y="511"/>
                  </a:lnTo>
                  <a:close/>
                  <a:moveTo>
                    <a:pt x="549" y="512"/>
                  </a:moveTo>
                  <a:lnTo>
                    <a:pt x="548" y="511"/>
                  </a:lnTo>
                  <a:lnTo>
                    <a:pt x="549" y="511"/>
                  </a:lnTo>
                  <a:lnTo>
                    <a:pt x="550" y="511"/>
                  </a:lnTo>
                  <a:lnTo>
                    <a:pt x="549" y="511"/>
                  </a:lnTo>
                  <a:lnTo>
                    <a:pt x="549" y="512"/>
                  </a:lnTo>
                  <a:close/>
                  <a:moveTo>
                    <a:pt x="810" y="510"/>
                  </a:moveTo>
                  <a:lnTo>
                    <a:pt x="809" y="511"/>
                  </a:lnTo>
                  <a:lnTo>
                    <a:pt x="809" y="512"/>
                  </a:lnTo>
                  <a:lnTo>
                    <a:pt x="807" y="512"/>
                  </a:lnTo>
                  <a:lnTo>
                    <a:pt x="807" y="511"/>
                  </a:lnTo>
                  <a:lnTo>
                    <a:pt x="809" y="511"/>
                  </a:lnTo>
                  <a:lnTo>
                    <a:pt x="807" y="511"/>
                  </a:lnTo>
                  <a:lnTo>
                    <a:pt x="807" y="510"/>
                  </a:lnTo>
                  <a:lnTo>
                    <a:pt x="809" y="510"/>
                  </a:lnTo>
                  <a:lnTo>
                    <a:pt x="810" y="510"/>
                  </a:lnTo>
                  <a:close/>
                  <a:moveTo>
                    <a:pt x="653" y="508"/>
                  </a:moveTo>
                  <a:lnTo>
                    <a:pt x="651" y="508"/>
                  </a:lnTo>
                  <a:lnTo>
                    <a:pt x="650" y="510"/>
                  </a:lnTo>
                  <a:lnTo>
                    <a:pt x="649" y="510"/>
                  </a:lnTo>
                  <a:lnTo>
                    <a:pt x="648" y="511"/>
                  </a:lnTo>
                  <a:lnTo>
                    <a:pt x="648" y="510"/>
                  </a:lnTo>
                  <a:lnTo>
                    <a:pt x="649" y="510"/>
                  </a:lnTo>
                  <a:lnTo>
                    <a:pt x="650" y="508"/>
                  </a:lnTo>
                  <a:lnTo>
                    <a:pt x="651" y="508"/>
                  </a:lnTo>
                  <a:lnTo>
                    <a:pt x="653" y="507"/>
                  </a:lnTo>
                  <a:lnTo>
                    <a:pt x="653" y="508"/>
                  </a:lnTo>
                  <a:close/>
                  <a:moveTo>
                    <a:pt x="651" y="511"/>
                  </a:moveTo>
                  <a:lnTo>
                    <a:pt x="651" y="512"/>
                  </a:lnTo>
                  <a:lnTo>
                    <a:pt x="650" y="512"/>
                  </a:lnTo>
                  <a:lnTo>
                    <a:pt x="649" y="512"/>
                  </a:lnTo>
                  <a:lnTo>
                    <a:pt x="648" y="512"/>
                  </a:lnTo>
                  <a:lnTo>
                    <a:pt x="647" y="512"/>
                  </a:lnTo>
                  <a:lnTo>
                    <a:pt x="646" y="512"/>
                  </a:lnTo>
                  <a:lnTo>
                    <a:pt x="647" y="512"/>
                  </a:lnTo>
                  <a:lnTo>
                    <a:pt x="647" y="511"/>
                  </a:lnTo>
                  <a:lnTo>
                    <a:pt x="648" y="511"/>
                  </a:lnTo>
                  <a:lnTo>
                    <a:pt x="649" y="511"/>
                  </a:lnTo>
                  <a:lnTo>
                    <a:pt x="650" y="511"/>
                  </a:lnTo>
                  <a:lnTo>
                    <a:pt x="650" y="510"/>
                  </a:lnTo>
                  <a:lnTo>
                    <a:pt x="651" y="510"/>
                  </a:lnTo>
                  <a:lnTo>
                    <a:pt x="651" y="508"/>
                  </a:lnTo>
                  <a:lnTo>
                    <a:pt x="653" y="508"/>
                  </a:lnTo>
                  <a:lnTo>
                    <a:pt x="653" y="507"/>
                  </a:lnTo>
                  <a:lnTo>
                    <a:pt x="654" y="507"/>
                  </a:lnTo>
                  <a:lnTo>
                    <a:pt x="654" y="508"/>
                  </a:lnTo>
                  <a:lnTo>
                    <a:pt x="653" y="508"/>
                  </a:lnTo>
                  <a:lnTo>
                    <a:pt x="653" y="510"/>
                  </a:lnTo>
                  <a:lnTo>
                    <a:pt x="651" y="510"/>
                  </a:lnTo>
                  <a:lnTo>
                    <a:pt x="651" y="511"/>
                  </a:lnTo>
                  <a:close/>
                  <a:moveTo>
                    <a:pt x="790" y="506"/>
                  </a:moveTo>
                  <a:lnTo>
                    <a:pt x="791" y="506"/>
                  </a:lnTo>
                  <a:lnTo>
                    <a:pt x="790" y="506"/>
                  </a:lnTo>
                  <a:close/>
                  <a:moveTo>
                    <a:pt x="542" y="504"/>
                  </a:moveTo>
                  <a:lnTo>
                    <a:pt x="541" y="505"/>
                  </a:lnTo>
                  <a:lnTo>
                    <a:pt x="540" y="505"/>
                  </a:lnTo>
                  <a:lnTo>
                    <a:pt x="540" y="504"/>
                  </a:lnTo>
                  <a:lnTo>
                    <a:pt x="541" y="504"/>
                  </a:lnTo>
                  <a:lnTo>
                    <a:pt x="542" y="504"/>
                  </a:lnTo>
                  <a:close/>
                  <a:moveTo>
                    <a:pt x="539" y="504"/>
                  </a:moveTo>
                  <a:lnTo>
                    <a:pt x="539" y="505"/>
                  </a:lnTo>
                  <a:lnTo>
                    <a:pt x="539" y="506"/>
                  </a:lnTo>
                  <a:lnTo>
                    <a:pt x="540" y="506"/>
                  </a:lnTo>
                  <a:lnTo>
                    <a:pt x="540" y="505"/>
                  </a:lnTo>
                  <a:lnTo>
                    <a:pt x="541" y="505"/>
                  </a:lnTo>
                  <a:lnTo>
                    <a:pt x="541" y="506"/>
                  </a:lnTo>
                  <a:lnTo>
                    <a:pt x="541" y="505"/>
                  </a:lnTo>
                  <a:lnTo>
                    <a:pt x="541" y="506"/>
                  </a:lnTo>
                  <a:lnTo>
                    <a:pt x="542" y="506"/>
                  </a:lnTo>
                  <a:lnTo>
                    <a:pt x="542" y="505"/>
                  </a:lnTo>
                  <a:lnTo>
                    <a:pt x="541" y="505"/>
                  </a:lnTo>
                  <a:lnTo>
                    <a:pt x="542" y="505"/>
                  </a:lnTo>
                  <a:lnTo>
                    <a:pt x="542" y="504"/>
                  </a:lnTo>
                  <a:lnTo>
                    <a:pt x="543" y="504"/>
                  </a:lnTo>
                  <a:lnTo>
                    <a:pt x="544" y="504"/>
                  </a:lnTo>
                  <a:lnTo>
                    <a:pt x="546" y="504"/>
                  </a:lnTo>
                  <a:lnTo>
                    <a:pt x="547" y="504"/>
                  </a:lnTo>
                  <a:lnTo>
                    <a:pt x="547" y="505"/>
                  </a:lnTo>
                  <a:lnTo>
                    <a:pt x="547" y="506"/>
                  </a:lnTo>
                  <a:lnTo>
                    <a:pt x="547" y="505"/>
                  </a:lnTo>
                  <a:lnTo>
                    <a:pt x="548" y="505"/>
                  </a:lnTo>
                  <a:lnTo>
                    <a:pt x="548" y="504"/>
                  </a:lnTo>
                  <a:lnTo>
                    <a:pt x="549" y="504"/>
                  </a:lnTo>
                  <a:lnTo>
                    <a:pt x="550" y="504"/>
                  </a:lnTo>
                  <a:lnTo>
                    <a:pt x="550" y="505"/>
                  </a:lnTo>
                  <a:lnTo>
                    <a:pt x="551" y="505"/>
                  </a:lnTo>
                  <a:lnTo>
                    <a:pt x="550" y="506"/>
                  </a:lnTo>
                  <a:lnTo>
                    <a:pt x="550" y="507"/>
                  </a:lnTo>
                  <a:lnTo>
                    <a:pt x="550" y="506"/>
                  </a:lnTo>
                  <a:lnTo>
                    <a:pt x="551" y="506"/>
                  </a:lnTo>
                  <a:lnTo>
                    <a:pt x="551" y="505"/>
                  </a:lnTo>
                  <a:lnTo>
                    <a:pt x="553" y="505"/>
                  </a:lnTo>
                  <a:lnTo>
                    <a:pt x="553" y="506"/>
                  </a:lnTo>
                  <a:lnTo>
                    <a:pt x="551" y="506"/>
                  </a:lnTo>
                  <a:lnTo>
                    <a:pt x="554" y="506"/>
                  </a:lnTo>
                  <a:lnTo>
                    <a:pt x="553" y="507"/>
                  </a:lnTo>
                  <a:lnTo>
                    <a:pt x="551" y="507"/>
                  </a:lnTo>
                  <a:lnTo>
                    <a:pt x="553" y="507"/>
                  </a:lnTo>
                  <a:lnTo>
                    <a:pt x="551" y="508"/>
                  </a:lnTo>
                  <a:lnTo>
                    <a:pt x="550" y="508"/>
                  </a:lnTo>
                  <a:lnTo>
                    <a:pt x="550" y="510"/>
                  </a:lnTo>
                  <a:lnTo>
                    <a:pt x="549" y="511"/>
                  </a:lnTo>
                  <a:lnTo>
                    <a:pt x="548" y="511"/>
                  </a:lnTo>
                  <a:lnTo>
                    <a:pt x="548" y="510"/>
                  </a:lnTo>
                  <a:lnTo>
                    <a:pt x="547" y="510"/>
                  </a:lnTo>
                  <a:lnTo>
                    <a:pt x="548" y="510"/>
                  </a:lnTo>
                  <a:lnTo>
                    <a:pt x="549" y="510"/>
                  </a:lnTo>
                  <a:lnTo>
                    <a:pt x="549" y="508"/>
                  </a:lnTo>
                  <a:lnTo>
                    <a:pt x="550" y="508"/>
                  </a:lnTo>
                  <a:lnTo>
                    <a:pt x="550" y="507"/>
                  </a:lnTo>
                  <a:lnTo>
                    <a:pt x="550" y="508"/>
                  </a:lnTo>
                  <a:lnTo>
                    <a:pt x="549" y="508"/>
                  </a:lnTo>
                  <a:lnTo>
                    <a:pt x="548" y="508"/>
                  </a:lnTo>
                  <a:lnTo>
                    <a:pt x="548" y="510"/>
                  </a:lnTo>
                  <a:lnTo>
                    <a:pt x="547" y="510"/>
                  </a:lnTo>
                  <a:lnTo>
                    <a:pt x="546" y="510"/>
                  </a:lnTo>
                  <a:lnTo>
                    <a:pt x="544" y="510"/>
                  </a:lnTo>
                  <a:lnTo>
                    <a:pt x="544" y="508"/>
                  </a:lnTo>
                  <a:lnTo>
                    <a:pt x="543" y="508"/>
                  </a:lnTo>
                  <a:lnTo>
                    <a:pt x="542" y="507"/>
                  </a:lnTo>
                  <a:lnTo>
                    <a:pt x="541" y="507"/>
                  </a:lnTo>
                  <a:lnTo>
                    <a:pt x="540" y="507"/>
                  </a:lnTo>
                  <a:lnTo>
                    <a:pt x="540" y="506"/>
                  </a:lnTo>
                  <a:lnTo>
                    <a:pt x="539" y="506"/>
                  </a:lnTo>
                  <a:lnTo>
                    <a:pt x="537" y="506"/>
                  </a:lnTo>
                  <a:lnTo>
                    <a:pt x="536" y="506"/>
                  </a:lnTo>
                  <a:lnTo>
                    <a:pt x="536" y="505"/>
                  </a:lnTo>
                  <a:lnTo>
                    <a:pt x="535" y="505"/>
                  </a:lnTo>
                  <a:lnTo>
                    <a:pt x="534" y="505"/>
                  </a:lnTo>
                  <a:lnTo>
                    <a:pt x="534" y="504"/>
                  </a:lnTo>
                  <a:lnTo>
                    <a:pt x="535" y="504"/>
                  </a:lnTo>
                  <a:lnTo>
                    <a:pt x="536" y="504"/>
                  </a:lnTo>
                  <a:lnTo>
                    <a:pt x="537" y="504"/>
                  </a:lnTo>
                  <a:lnTo>
                    <a:pt x="539" y="504"/>
                  </a:lnTo>
                  <a:lnTo>
                    <a:pt x="539" y="503"/>
                  </a:lnTo>
                  <a:lnTo>
                    <a:pt x="540" y="504"/>
                  </a:lnTo>
                  <a:lnTo>
                    <a:pt x="539" y="504"/>
                  </a:lnTo>
                  <a:close/>
                  <a:moveTo>
                    <a:pt x="533" y="504"/>
                  </a:moveTo>
                  <a:lnTo>
                    <a:pt x="534" y="504"/>
                  </a:lnTo>
                  <a:lnTo>
                    <a:pt x="533" y="504"/>
                  </a:lnTo>
                  <a:lnTo>
                    <a:pt x="533" y="505"/>
                  </a:lnTo>
                  <a:lnTo>
                    <a:pt x="532" y="505"/>
                  </a:lnTo>
                  <a:lnTo>
                    <a:pt x="530" y="505"/>
                  </a:lnTo>
                  <a:lnTo>
                    <a:pt x="530" y="504"/>
                  </a:lnTo>
                  <a:lnTo>
                    <a:pt x="532" y="504"/>
                  </a:lnTo>
                  <a:lnTo>
                    <a:pt x="533" y="504"/>
                  </a:lnTo>
                  <a:lnTo>
                    <a:pt x="533" y="503"/>
                  </a:lnTo>
                  <a:lnTo>
                    <a:pt x="533" y="504"/>
                  </a:lnTo>
                  <a:close/>
                  <a:moveTo>
                    <a:pt x="826" y="503"/>
                  </a:moveTo>
                  <a:lnTo>
                    <a:pt x="826" y="504"/>
                  </a:lnTo>
                  <a:lnTo>
                    <a:pt x="826" y="503"/>
                  </a:lnTo>
                  <a:lnTo>
                    <a:pt x="827" y="503"/>
                  </a:lnTo>
                  <a:lnTo>
                    <a:pt x="826" y="503"/>
                  </a:lnTo>
                  <a:close/>
                  <a:moveTo>
                    <a:pt x="553" y="503"/>
                  </a:moveTo>
                  <a:lnTo>
                    <a:pt x="551" y="504"/>
                  </a:lnTo>
                  <a:lnTo>
                    <a:pt x="551" y="503"/>
                  </a:lnTo>
                  <a:lnTo>
                    <a:pt x="550" y="503"/>
                  </a:lnTo>
                  <a:lnTo>
                    <a:pt x="551" y="503"/>
                  </a:lnTo>
                  <a:lnTo>
                    <a:pt x="553" y="503"/>
                  </a:lnTo>
                  <a:close/>
                  <a:moveTo>
                    <a:pt x="526" y="498"/>
                  </a:moveTo>
                  <a:lnTo>
                    <a:pt x="526" y="499"/>
                  </a:lnTo>
                  <a:lnTo>
                    <a:pt x="527" y="498"/>
                  </a:lnTo>
                  <a:lnTo>
                    <a:pt x="528" y="499"/>
                  </a:lnTo>
                  <a:lnTo>
                    <a:pt x="529" y="499"/>
                  </a:lnTo>
                  <a:lnTo>
                    <a:pt x="529" y="500"/>
                  </a:lnTo>
                  <a:lnTo>
                    <a:pt x="528" y="500"/>
                  </a:lnTo>
                  <a:lnTo>
                    <a:pt x="528" y="501"/>
                  </a:lnTo>
                  <a:lnTo>
                    <a:pt x="527" y="500"/>
                  </a:lnTo>
                  <a:lnTo>
                    <a:pt x="527" y="501"/>
                  </a:lnTo>
                  <a:lnTo>
                    <a:pt x="526" y="501"/>
                  </a:lnTo>
                  <a:lnTo>
                    <a:pt x="526" y="500"/>
                  </a:lnTo>
                  <a:lnTo>
                    <a:pt x="525" y="500"/>
                  </a:lnTo>
                  <a:lnTo>
                    <a:pt x="525" y="499"/>
                  </a:lnTo>
                  <a:lnTo>
                    <a:pt x="525" y="498"/>
                  </a:lnTo>
                  <a:lnTo>
                    <a:pt x="526" y="498"/>
                  </a:lnTo>
                  <a:close/>
                  <a:moveTo>
                    <a:pt x="525" y="489"/>
                  </a:moveTo>
                  <a:lnTo>
                    <a:pt x="526" y="489"/>
                  </a:lnTo>
                  <a:lnTo>
                    <a:pt x="525" y="490"/>
                  </a:lnTo>
                  <a:lnTo>
                    <a:pt x="523" y="490"/>
                  </a:lnTo>
                  <a:lnTo>
                    <a:pt x="523" y="489"/>
                  </a:lnTo>
                  <a:lnTo>
                    <a:pt x="525" y="489"/>
                  </a:lnTo>
                  <a:close/>
                  <a:moveTo>
                    <a:pt x="691" y="490"/>
                  </a:moveTo>
                  <a:lnTo>
                    <a:pt x="690" y="490"/>
                  </a:lnTo>
                  <a:lnTo>
                    <a:pt x="690" y="489"/>
                  </a:lnTo>
                  <a:lnTo>
                    <a:pt x="691" y="489"/>
                  </a:lnTo>
                  <a:lnTo>
                    <a:pt x="692" y="487"/>
                  </a:lnTo>
                  <a:lnTo>
                    <a:pt x="693" y="487"/>
                  </a:lnTo>
                  <a:lnTo>
                    <a:pt x="695" y="487"/>
                  </a:lnTo>
                  <a:lnTo>
                    <a:pt x="693" y="487"/>
                  </a:lnTo>
                  <a:lnTo>
                    <a:pt x="693" y="489"/>
                  </a:lnTo>
                  <a:lnTo>
                    <a:pt x="692" y="489"/>
                  </a:lnTo>
                  <a:lnTo>
                    <a:pt x="692" y="490"/>
                  </a:lnTo>
                  <a:lnTo>
                    <a:pt x="691" y="490"/>
                  </a:lnTo>
                  <a:close/>
                  <a:moveTo>
                    <a:pt x="821" y="487"/>
                  </a:moveTo>
                  <a:lnTo>
                    <a:pt x="823" y="487"/>
                  </a:lnTo>
                  <a:lnTo>
                    <a:pt x="821" y="489"/>
                  </a:lnTo>
                  <a:lnTo>
                    <a:pt x="821" y="490"/>
                  </a:lnTo>
                  <a:lnTo>
                    <a:pt x="823" y="490"/>
                  </a:lnTo>
                  <a:lnTo>
                    <a:pt x="823" y="491"/>
                  </a:lnTo>
                  <a:lnTo>
                    <a:pt x="823" y="492"/>
                  </a:lnTo>
                  <a:lnTo>
                    <a:pt x="821" y="492"/>
                  </a:lnTo>
                  <a:lnTo>
                    <a:pt x="821" y="493"/>
                  </a:lnTo>
                  <a:lnTo>
                    <a:pt x="821" y="494"/>
                  </a:lnTo>
                  <a:lnTo>
                    <a:pt x="820" y="494"/>
                  </a:lnTo>
                  <a:lnTo>
                    <a:pt x="819" y="497"/>
                  </a:lnTo>
                  <a:lnTo>
                    <a:pt x="818" y="498"/>
                  </a:lnTo>
                  <a:lnTo>
                    <a:pt x="817" y="499"/>
                  </a:lnTo>
                  <a:lnTo>
                    <a:pt x="817" y="500"/>
                  </a:lnTo>
                  <a:lnTo>
                    <a:pt x="817" y="499"/>
                  </a:lnTo>
                  <a:lnTo>
                    <a:pt x="818" y="499"/>
                  </a:lnTo>
                  <a:lnTo>
                    <a:pt x="818" y="498"/>
                  </a:lnTo>
                  <a:lnTo>
                    <a:pt x="819" y="498"/>
                  </a:lnTo>
                  <a:lnTo>
                    <a:pt x="819" y="499"/>
                  </a:lnTo>
                  <a:lnTo>
                    <a:pt x="818" y="499"/>
                  </a:lnTo>
                  <a:lnTo>
                    <a:pt x="816" y="501"/>
                  </a:lnTo>
                  <a:lnTo>
                    <a:pt x="814" y="501"/>
                  </a:lnTo>
                  <a:lnTo>
                    <a:pt x="813" y="501"/>
                  </a:lnTo>
                  <a:lnTo>
                    <a:pt x="813" y="503"/>
                  </a:lnTo>
                  <a:lnTo>
                    <a:pt x="812" y="503"/>
                  </a:lnTo>
                  <a:lnTo>
                    <a:pt x="812" y="501"/>
                  </a:lnTo>
                  <a:lnTo>
                    <a:pt x="812" y="503"/>
                  </a:lnTo>
                  <a:lnTo>
                    <a:pt x="811" y="504"/>
                  </a:lnTo>
                  <a:lnTo>
                    <a:pt x="810" y="504"/>
                  </a:lnTo>
                  <a:lnTo>
                    <a:pt x="809" y="504"/>
                  </a:lnTo>
                  <a:lnTo>
                    <a:pt x="810" y="504"/>
                  </a:lnTo>
                  <a:lnTo>
                    <a:pt x="811" y="504"/>
                  </a:lnTo>
                  <a:lnTo>
                    <a:pt x="812" y="503"/>
                  </a:lnTo>
                  <a:lnTo>
                    <a:pt x="813" y="503"/>
                  </a:lnTo>
                  <a:lnTo>
                    <a:pt x="814" y="503"/>
                  </a:lnTo>
                  <a:lnTo>
                    <a:pt x="813" y="503"/>
                  </a:lnTo>
                  <a:lnTo>
                    <a:pt x="813" y="504"/>
                  </a:lnTo>
                  <a:lnTo>
                    <a:pt x="812" y="504"/>
                  </a:lnTo>
                  <a:lnTo>
                    <a:pt x="812" y="505"/>
                  </a:lnTo>
                  <a:lnTo>
                    <a:pt x="811" y="505"/>
                  </a:lnTo>
                  <a:lnTo>
                    <a:pt x="810" y="505"/>
                  </a:lnTo>
                  <a:lnTo>
                    <a:pt x="809" y="505"/>
                  </a:lnTo>
                  <a:lnTo>
                    <a:pt x="810" y="505"/>
                  </a:lnTo>
                  <a:lnTo>
                    <a:pt x="809" y="505"/>
                  </a:lnTo>
                  <a:lnTo>
                    <a:pt x="810" y="505"/>
                  </a:lnTo>
                  <a:lnTo>
                    <a:pt x="811" y="505"/>
                  </a:lnTo>
                  <a:lnTo>
                    <a:pt x="810" y="505"/>
                  </a:lnTo>
                  <a:lnTo>
                    <a:pt x="811" y="506"/>
                  </a:lnTo>
                  <a:lnTo>
                    <a:pt x="810" y="506"/>
                  </a:lnTo>
                  <a:lnTo>
                    <a:pt x="809" y="506"/>
                  </a:lnTo>
                  <a:lnTo>
                    <a:pt x="807" y="507"/>
                  </a:lnTo>
                  <a:lnTo>
                    <a:pt x="807" y="508"/>
                  </a:lnTo>
                  <a:lnTo>
                    <a:pt x="809" y="507"/>
                  </a:lnTo>
                  <a:lnTo>
                    <a:pt x="810" y="507"/>
                  </a:lnTo>
                  <a:lnTo>
                    <a:pt x="811" y="507"/>
                  </a:lnTo>
                  <a:lnTo>
                    <a:pt x="812" y="507"/>
                  </a:lnTo>
                  <a:lnTo>
                    <a:pt x="811" y="508"/>
                  </a:lnTo>
                  <a:lnTo>
                    <a:pt x="812" y="508"/>
                  </a:lnTo>
                  <a:lnTo>
                    <a:pt x="812" y="507"/>
                  </a:lnTo>
                  <a:lnTo>
                    <a:pt x="812" y="506"/>
                  </a:lnTo>
                  <a:lnTo>
                    <a:pt x="813" y="506"/>
                  </a:lnTo>
                  <a:lnTo>
                    <a:pt x="814" y="506"/>
                  </a:lnTo>
                  <a:lnTo>
                    <a:pt x="814" y="505"/>
                  </a:lnTo>
                  <a:lnTo>
                    <a:pt x="816" y="505"/>
                  </a:lnTo>
                  <a:lnTo>
                    <a:pt x="816" y="504"/>
                  </a:lnTo>
                  <a:lnTo>
                    <a:pt x="817" y="504"/>
                  </a:lnTo>
                  <a:lnTo>
                    <a:pt x="818" y="504"/>
                  </a:lnTo>
                  <a:lnTo>
                    <a:pt x="818" y="503"/>
                  </a:lnTo>
                  <a:lnTo>
                    <a:pt x="818" y="504"/>
                  </a:lnTo>
                  <a:lnTo>
                    <a:pt x="817" y="504"/>
                  </a:lnTo>
                  <a:lnTo>
                    <a:pt x="816" y="504"/>
                  </a:lnTo>
                  <a:lnTo>
                    <a:pt x="814" y="505"/>
                  </a:lnTo>
                  <a:lnTo>
                    <a:pt x="813" y="505"/>
                  </a:lnTo>
                  <a:lnTo>
                    <a:pt x="813" y="504"/>
                  </a:lnTo>
                  <a:lnTo>
                    <a:pt x="814" y="504"/>
                  </a:lnTo>
                  <a:lnTo>
                    <a:pt x="814" y="503"/>
                  </a:lnTo>
                  <a:lnTo>
                    <a:pt x="816" y="503"/>
                  </a:lnTo>
                  <a:lnTo>
                    <a:pt x="817" y="501"/>
                  </a:lnTo>
                  <a:lnTo>
                    <a:pt x="818" y="500"/>
                  </a:lnTo>
                  <a:lnTo>
                    <a:pt x="819" y="500"/>
                  </a:lnTo>
                  <a:lnTo>
                    <a:pt x="820" y="500"/>
                  </a:lnTo>
                  <a:lnTo>
                    <a:pt x="820" y="499"/>
                  </a:lnTo>
                  <a:lnTo>
                    <a:pt x="819" y="499"/>
                  </a:lnTo>
                  <a:lnTo>
                    <a:pt x="819" y="500"/>
                  </a:lnTo>
                  <a:lnTo>
                    <a:pt x="818" y="500"/>
                  </a:lnTo>
                  <a:lnTo>
                    <a:pt x="816" y="501"/>
                  </a:lnTo>
                  <a:lnTo>
                    <a:pt x="816" y="503"/>
                  </a:lnTo>
                  <a:lnTo>
                    <a:pt x="816" y="501"/>
                  </a:lnTo>
                  <a:lnTo>
                    <a:pt x="817" y="500"/>
                  </a:lnTo>
                  <a:lnTo>
                    <a:pt x="818" y="500"/>
                  </a:lnTo>
                  <a:lnTo>
                    <a:pt x="818" y="499"/>
                  </a:lnTo>
                  <a:lnTo>
                    <a:pt x="820" y="498"/>
                  </a:lnTo>
                  <a:lnTo>
                    <a:pt x="821" y="498"/>
                  </a:lnTo>
                  <a:lnTo>
                    <a:pt x="821" y="499"/>
                  </a:lnTo>
                  <a:lnTo>
                    <a:pt x="820" y="500"/>
                  </a:lnTo>
                  <a:lnTo>
                    <a:pt x="821" y="500"/>
                  </a:lnTo>
                  <a:lnTo>
                    <a:pt x="821" y="501"/>
                  </a:lnTo>
                  <a:lnTo>
                    <a:pt x="821" y="500"/>
                  </a:lnTo>
                  <a:lnTo>
                    <a:pt x="821" y="499"/>
                  </a:lnTo>
                  <a:lnTo>
                    <a:pt x="823" y="499"/>
                  </a:lnTo>
                  <a:lnTo>
                    <a:pt x="824" y="499"/>
                  </a:lnTo>
                  <a:lnTo>
                    <a:pt x="823" y="500"/>
                  </a:lnTo>
                  <a:lnTo>
                    <a:pt x="824" y="500"/>
                  </a:lnTo>
                  <a:lnTo>
                    <a:pt x="825" y="500"/>
                  </a:lnTo>
                  <a:lnTo>
                    <a:pt x="824" y="500"/>
                  </a:lnTo>
                  <a:lnTo>
                    <a:pt x="825" y="500"/>
                  </a:lnTo>
                  <a:lnTo>
                    <a:pt x="826" y="500"/>
                  </a:lnTo>
                  <a:lnTo>
                    <a:pt x="825" y="501"/>
                  </a:lnTo>
                  <a:lnTo>
                    <a:pt x="826" y="501"/>
                  </a:lnTo>
                  <a:lnTo>
                    <a:pt x="825" y="501"/>
                  </a:lnTo>
                  <a:lnTo>
                    <a:pt x="825" y="503"/>
                  </a:lnTo>
                  <a:lnTo>
                    <a:pt x="824" y="503"/>
                  </a:lnTo>
                  <a:lnTo>
                    <a:pt x="824" y="504"/>
                  </a:lnTo>
                  <a:lnTo>
                    <a:pt x="825" y="503"/>
                  </a:lnTo>
                  <a:lnTo>
                    <a:pt x="825" y="504"/>
                  </a:lnTo>
                  <a:lnTo>
                    <a:pt x="824" y="504"/>
                  </a:lnTo>
                  <a:lnTo>
                    <a:pt x="823" y="505"/>
                  </a:lnTo>
                  <a:lnTo>
                    <a:pt x="820" y="505"/>
                  </a:lnTo>
                  <a:lnTo>
                    <a:pt x="820" y="506"/>
                  </a:lnTo>
                  <a:lnTo>
                    <a:pt x="821" y="506"/>
                  </a:lnTo>
                  <a:lnTo>
                    <a:pt x="820" y="506"/>
                  </a:lnTo>
                  <a:lnTo>
                    <a:pt x="819" y="507"/>
                  </a:lnTo>
                  <a:lnTo>
                    <a:pt x="818" y="507"/>
                  </a:lnTo>
                  <a:lnTo>
                    <a:pt x="818" y="508"/>
                  </a:lnTo>
                  <a:lnTo>
                    <a:pt x="817" y="508"/>
                  </a:lnTo>
                  <a:lnTo>
                    <a:pt x="816" y="508"/>
                  </a:lnTo>
                  <a:lnTo>
                    <a:pt x="814" y="508"/>
                  </a:lnTo>
                  <a:lnTo>
                    <a:pt x="813" y="510"/>
                  </a:lnTo>
                  <a:lnTo>
                    <a:pt x="812" y="510"/>
                  </a:lnTo>
                  <a:lnTo>
                    <a:pt x="811" y="510"/>
                  </a:lnTo>
                  <a:lnTo>
                    <a:pt x="811" y="508"/>
                  </a:lnTo>
                  <a:lnTo>
                    <a:pt x="810" y="508"/>
                  </a:lnTo>
                  <a:lnTo>
                    <a:pt x="810" y="510"/>
                  </a:lnTo>
                  <a:lnTo>
                    <a:pt x="810" y="508"/>
                  </a:lnTo>
                  <a:lnTo>
                    <a:pt x="810" y="510"/>
                  </a:lnTo>
                  <a:lnTo>
                    <a:pt x="809" y="510"/>
                  </a:lnTo>
                  <a:lnTo>
                    <a:pt x="807" y="510"/>
                  </a:lnTo>
                  <a:lnTo>
                    <a:pt x="806" y="510"/>
                  </a:lnTo>
                  <a:lnTo>
                    <a:pt x="805" y="510"/>
                  </a:lnTo>
                  <a:lnTo>
                    <a:pt x="804" y="510"/>
                  </a:lnTo>
                  <a:lnTo>
                    <a:pt x="804" y="508"/>
                  </a:lnTo>
                  <a:lnTo>
                    <a:pt x="804" y="507"/>
                  </a:lnTo>
                  <a:lnTo>
                    <a:pt x="804" y="506"/>
                  </a:lnTo>
                  <a:lnTo>
                    <a:pt x="804" y="505"/>
                  </a:lnTo>
                  <a:lnTo>
                    <a:pt x="804" y="504"/>
                  </a:lnTo>
                  <a:lnTo>
                    <a:pt x="804" y="503"/>
                  </a:lnTo>
                  <a:lnTo>
                    <a:pt x="805" y="503"/>
                  </a:lnTo>
                  <a:lnTo>
                    <a:pt x="805" y="501"/>
                  </a:lnTo>
                  <a:lnTo>
                    <a:pt x="805" y="500"/>
                  </a:lnTo>
                  <a:lnTo>
                    <a:pt x="806" y="500"/>
                  </a:lnTo>
                  <a:lnTo>
                    <a:pt x="807" y="499"/>
                  </a:lnTo>
                  <a:lnTo>
                    <a:pt x="809" y="499"/>
                  </a:lnTo>
                  <a:lnTo>
                    <a:pt x="810" y="498"/>
                  </a:lnTo>
                  <a:lnTo>
                    <a:pt x="810" y="497"/>
                  </a:lnTo>
                  <a:lnTo>
                    <a:pt x="811" y="496"/>
                  </a:lnTo>
                  <a:lnTo>
                    <a:pt x="812" y="496"/>
                  </a:lnTo>
                  <a:lnTo>
                    <a:pt x="812" y="494"/>
                  </a:lnTo>
                  <a:lnTo>
                    <a:pt x="813" y="494"/>
                  </a:lnTo>
                  <a:lnTo>
                    <a:pt x="812" y="494"/>
                  </a:lnTo>
                  <a:lnTo>
                    <a:pt x="812" y="493"/>
                  </a:lnTo>
                  <a:lnTo>
                    <a:pt x="813" y="493"/>
                  </a:lnTo>
                  <a:lnTo>
                    <a:pt x="813" y="494"/>
                  </a:lnTo>
                  <a:lnTo>
                    <a:pt x="813" y="493"/>
                  </a:lnTo>
                  <a:lnTo>
                    <a:pt x="814" y="493"/>
                  </a:lnTo>
                  <a:lnTo>
                    <a:pt x="814" y="492"/>
                  </a:lnTo>
                  <a:lnTo>
                    <a:pt x="816" y="491"/>
                  </a:lnTo>
                  <a:lnTo>
                    <a:pt x="817" y="491"/>
                  </a:lnTo>
                  <a:lnTo>
                    <a:pt x="817" y="490"/>
                  </a:lnTo>
                  <a:lnTo>
                    <a:pt x="818" y="489"/>
                  </a:lnTo>
                  <a:lnTo>
                    <a:pt x="819" y="487"/>
                  </a:lnTo>
                  <a:lnTo>
                    <a:pt x="820" y="487"/>
                  </a:lnTo>
                  <a:lnTo>
                    <a:pt x="821" y="487"/>
                  </a:lnTo>
                  <a:close/>
                  <a:moveTo>
                    <a:pt x="777" y="490"/>
                  </a:moveTo>
                  <a:lnTo>
                    <a:pt x="777" y="491"/>
                  </a:lnTo>
                  <a:lnTo>
                    <a:pt x="776" y="491"/>
                  </a:lnTo>
                  <a:lnTo>
                    <a:pt x="776" y="492"/>
                  </a:lnTo>
                  <a:lnTo>
                    <a:pt x="777" y="492"/>
                  </a:lnTo>
                  <a:lnTo>
                    <a:pt x="777" y="491"/>
                  </a:lnTo>
                  <a:lnTo>
                    <a:pt x="777" y="492"/>
                  </a:lnTo>
                  <a:lnTo>
                    <a:pt x="777" y="493"/>
                  </a:lnTo>
                  <a:lnTo>
                    <a:pt x="778" y="493"/>
                  </a:lnTo>
                  <a:lnTo>
                    <a:pt x="777" y="493"/>
                  </a:lnTo>
                  <a:lnTo>
                    <a:pt x="778" y="493"/>
                  </a:lnTo>
                  <a:lnTo>
                    <a:pt x="778" y="494"/>
                  </a:lnTo>
                  <a:lnTo>
                    <a:pt x="777" y="496"/>
                  </a:lnTo>
                  <a:lnTo>
                    <a:pt x="776" y="496"/>
                  </a:lnTo>
                  <a:lnTo>
                    <a:pt x="777" y="496"/>
                  </a:lnTo>
                  <a:lnTo>
                    <a:pt x="778" y="496"/>
                  </a:lnTo>
                  <a:lnTo>
                    <a:pt x="777" y="496"/>
                  </a:lnTo>
                  <a:lnTo>
                    <a:pt x="778" y="497"/>
                  </a:lnTo>
                  <a:lnTo>
                    <a:pt x="779" y="496"/>
                  </a:lnTo>
                  <a:lnTo>
                    <a:pt x="778" y="496"/>
                  </a:lnTo>
                  <a:lnTo>
                    <a:pt x="779" y="496"/>
                  </a:lnTo>
                  <a:lnTo>
                    <a:pt x="779" y="494"/>
                  </a:lnTo>
                  <a:lnTo>
                    <a:pt x="781" y="494"/>
                  </a:lnTo>
                  <a:lnTo>
                    <a:pt x="782" y="494"/>
                  </a:lnTo>
                  <a:lnTo>
                    <a:pt x="782" y="496"/>
                  </a:lnTo>
                  <a:lnTo>
                    <a:pt x="783" y="496"/>
                  </a:lnTo>
                  <a:lnTo>
                    <a:pt x="782" y="496"/>
                  </a:lnTo>
                  <a:lnTo>
                    <a:pt x="783" y="496"/>
                  </a:lnTo>
                  <a:lnTo>
                    <a:pt x="784" y="496"/>
                  </a:lnTo>
                  <a:lnTo>
                    <a:pt x="784" y="497"/>
                  </a:lnTo>
                  <a:lnTo>
                    <a:pt x="785" y="497"/>
                  </a:lnTo>
                  <a:lnTo>
                    <a:pt x="786" y="497"/>
                  </a:lnTo>
                  <a:lnTo>
                    <a:pt x="788" y="497"/>
                  </a:lnTo>
                  <a:lnTo>
                    <a:pt x="790" y="497"/>
                  </a:lnTo>
                  <a:lnTo>
                    <a:pt x="791" y="497"/>
                  </a:lnTo>
                  <a:lnTo>
                    <a:pt x="792" y="497"/>
                  </a:lnTo>
                  <a:lnTo>
                    <a:pt x="791" y="497"/>
                  </a:lnTo>
                  <a:lnTo>
                    <a:pt x="791" y="496"/>
                  </a:lnTo>
                  <a:lnTo>
                    <a:pt x="792" y="496"/>
                  </a:lnTo>
                  <a:lnTo>
                    <a:pt x="793" y="496"/>
                  </a:lnTo>
                  <a:lnTo>
                    <a:pt x="796" y="496"/>
                  </a:lnTo>
                  <a:lnTo>
                    <a:pt x="797" y="496"/>
                  </a:lnTo>
                  <a:lnTo>
                    <a:pt x="798" y="496"/>
                  </a:lnTo>
                  <a:lnTo>
                    <a:pt x="799" y="496"/>
                  </a:lnTo>
                  <a:lnTo>
                    <a:pt x="800" y="496"/>
                  </a:lnTo>
                  <a:lnTo>
                    <a:pt x="800" y="497"/>
                  </a:lnTo>
                  <a:lnTo>
                    <a:pt x="799" y="497"/>
                  </a:lnTo>
                  <a:lnTo>
                    <a:pt x="798" y="498"/>
                  </a:lnTo>
                  <a:lnTo>
                    <a:pt x="797" y="498"/>
                  </a:lnTo>
                  <a:lnTo>
                    <a:pt x="796" y="497"/>
                  </a:lnTo>
                  <a:lnTo>
                    <a:pt x="796" y="498"/>
                  </a:lnTo>
                  <a:lnTo>
                    <a:pt x="795" y="498"/>
                  </a:lnTo>
                  <a:lnTo>
                    <a:pt x="796" y="498"/>
                  </a:lnTo>
                  <a:lnTo>
                    <a:pt x="795" y="498"/>
                  </a:lnTo>
                  <a:lnTo>
                    <a:pt x="795" y="499"/>
                  </a:lnTo>
                  <a:lnTo>
                    <a:pt x="793" y="499"/>
                  </a:lnTo>
                  <a:lnTo>
                    <a:pt x="793" y="500"/>
                  </a:lnTo>
                  <a:lnTo>
                    <a:pt x="792" y="500"/>
                  </a:lnTo>
                  <a:lnTo>
                    <a:pt x="792" y="499"/>
                  </a:lnTo>
                  <a:lnTo>
                    <a:pt x="792" y="500"/>
                  </a:lnTo>
                  <a:lnTo>
                    <a:pt x="791" y="500"/>
                  </a:lnTo>
                  <a:lnTo>
                    <a:pt x="792" y="500"/>
                  </a:lnTo>
                  <a:lnTo>
                    <a:pt x="791" y="500"/>
                  </a:lnTo>
                  <a:lnTo>
                    <a:pt x="792" y="500"/>
                  </a:lnTo>
                  <a:lnTo>
                    <a:pt x="792" y="501"/>
                  </a:lnTo>
                  <a:lnTo>
                    <a:pt x="792" y="500"/>
                  </a:lnTo>
                  <a:lnTo>
                    <a:pt x="792" y="501"/>
                  </a:lnTo>
                  <a:lnTo>
                    <a:pt x="792" y="503"/>
                  </a:lnTo>
                  <a:lnTo>
                    <a:pt x="791" y="503"/>
                  </a:lnTo>
                  <a:lnTo>
                    <a:pt x="792" y="503"/>
                  </a:lnTo>
                  <a:lnTo>
                    <a:pt x="792" y="504"/>
                  </a:lnTo>
                  <a:lnTo>
                    <a:pt x="791" y="504"/>
                  </a:lnTo>
                  <a:lnTo>
                    <a:pt x="789" y="504"/>
                  </a:lnTo>
                  <a:lnTo>
                    <a:pt x="788" y="504"/>
                  </a:lnTo>
                  <a:lnTo>
                    <a:pt x="786" y="503"/>
                  </a:lnTo>
                  <a:lnTo>
                    <a:pt x="788" y="503"/>
                  </a:lnTo>
                  <a:lnTo>
                    <a:pt x="786" y="503"/>
                  </a:lnTo>
                  <a:lnTo>
                    <a:pt x="788" y="503"/>
                  </a:lnTo>
                  <a:lnTo>
                    <a:pt x="786" y="503"/>
                  </a:lnTo>
                  <a:lnTo>
                    <a:pt x="785" y="503"/>
                  </a:lnTo>
                  <a:lnTo>
                    <a:pt x="786" y="501"/>
                  </a:lnTo>
                  <a:lnTo>
                    <a:pt x="788" y="501"/>
                  </a:lnTo>
                  <a:lnTo>
                    <a:pt x="788" y="500"/>
                  </a:lnTo>
                  <a:lnTo>
                    <a:pt x="788" y="501"/>
                  </a:lnTo>
                  <a:lnTo>
                    <a:pt x="786" y="501"/>
                  </a:lnTo>
                  <a:lnTo>
                    <a:pt x="786" y="500"/>
                  </a:lnTo>
                  <a:lnTo>
                    <a:pt x="788" y="500"/>
                  </a:lnTo>
                  <a:lnTo>
                    <a:pt x="786" y="500"/>
                  </a:lnTo>
                  <a:lnTo>
                    <a:pt x="785" y="500"/>
                  </a:lnTo>
                  <a:lnTo>
                    <a:pt x="785" y="499"/>
                  </a:lnTo>
                  <a:lnTo>
                    <a:pt x="786" y="499"/>
                  </a:lnTo>
                  <a:lnTo>
                    <a:pt x="788" y="498"/>
                  </a:lnTo>
                  <a:lnTo>
                    <a:pt x="786" y="498"/>
                  </a:lnTo>
                  <a:lnTo>
                    <a:pt x="786" y="499"/>
                  </a:lnTo>
                  <a:lnTo>
                    <a:pt x="785" y="499"/>
                  </a:lnTo>
                  <a:lnTo>
                    <a:pt x="784" y="499"/>
                  </a:lnTo>
                  <a:lnTo>
                    <a:pt x="784" y="500"/>
                  </a:lnTo>
                  <a:lnTo>
                    <a:pt x="783" y="500"/>
                  </a:lnTo>
                  <a:lnTo>
                    <a:pt x="784" y="500"/>
                  </a:lnTo>
                  <a:lnTo>
                    <a:pt x="785" y="500"/>
                  </a:lnTo>
                  <a:lnTo>
                    <a:pt x="784" y="500"/>
                  </a:lnTo>
                  <a:lnTo>
                    <a:pt x="783" y="501"/>
                  </a:lnTo>
                  <a:lnTo>
                    <a:pt x="782" y="500"/>
                  </a:lnTo>
                  <a:lnTo>
                    <a:pt x="781" y="500"/>
                  </a:lnTo>
                  <a:lnTo>
                    <a:pt x="781" y="499"/>
                  </a:lnTo>
                  <a:lnTo>
                    <a:pt x="781" y="500"/>
                  </a:lnTo>
                  <a:lnTo>
                    <a:pt x="779" y="500"/>
                  </a:lnTo>
                  <a:lnTo>
                    <a:pt x="778" y="499"/>
                  </a:lnTo>
                  <a:lnTo>
                    <a:pt x="778" y="498"/>
                  </a:lnTo>
                  <a:lnTo>
                    <a:pt x="777" y="498"/>
                  </a:lnTo>
                  <a:lnTo>
                    <a:pt x="777" y="497"/>
                  </a:lnTo>
                  <a:lnTo>
                    <a:pt x="778" y="498"/>
                  </a:lnTo>
                  <a:lnTo>
                    <a:pt x="778" y="497"/>
                  </a:lnTo>
                  <a:lnTo>
                    <a:pt x="777" y="497"/>
                  </a:lnTo>
                  <a:lnTo>
                    <a:pt x="776" y="497"/>
                  </a:lnTo>
                  <a:lnTo>
                    <a:pt x="775" y="497"/>
                  </a:lnTo>
                  <a:lnTo>
                    <a:pt x="774" y="497"/>
                  </a:lnTo>
                  <a:lnTo>
                    <a:pt x="774" y="496"/>
                  </a:lnTo>
                  <a:lnTo>
                    <a:pt x="774" y="497"/>
                  </a:lnTo>
                  <a:lnTo>
                    <a:pt x="774" y="496"/>
                  </a:lnTo>
                  <a:lnTo>
                    <a:pt x="775" y="494"/>
                  </a:lnTo>
                  <a:lnTo>
                    <a:pt x="775" y="493"/>
                  </a:lnTo>
                  <a:lnTo>
                    <a:pt x="775" y="494"/>
                  </a:lnTo>
                  <a:lnTo>
                    <a:pt x="774" y="493"/>
                  </a:lnTo>
                  <a:lnTo>
                    <a:pt x="772" y="493"/>
                  </a:lnTo>
                  <a:lnTo>
                    <a:pt x="771" y="493"/>
                  </a:lnTo>
                  <a:lnTo>
                    <a:pt x="771" y="492"/>
                  </a:lnTo>
                  <a:lnTo>
                    <a:pt x="772" y="491"/>
                  </a:lnTo>
                  <a:lnTo>
                    <a:pt x="774" y="491"/>
                  </a:lnTo>
                  <a:lnTo>
                    <a:pt x="774" y="490"/>
                  </a:lnTo>
                  <a:lnTo>
                    <a:pt x="775" y="490"/>
                  </a:lnTo>
                  <a:lnTo>
                    <a:pt x="775" y="489"/>
                  </a:lnTo>
                  <a:lnTo>
                    <a:pt x="776" y="489"/>
                  </a:lnTo>
                  <a:lnTo>
                    <a:pt x="777" y="487"/>
                  </a:lnTo>
                  <a:lnTo>
                    <a:pt x="778" y="486"/>
                  </a:lnTo>
                  <a:lnTo>
                    <a:pt x="778" y="487"/>
                  </a:lnTo>
                  <a:lnTo>
                    <a:pt x="778" y="489"/>
                  </a:lnTo>
                  <a:lnTo>
                    <a:pt x="778" y="490"/>
                  </a:lnTo>
                  <a:lnTo>
                    <a:pt x="777" y="490"/>
                  </a:lnTo>
                  <a:close/>
                  <a:moveTo>
                    <a:pt x="892" y="484"/>
                  </a:moveTo>
                  <a:lnTo>
                    <a:pt x="892" y="483"/>
                  </a:lnTo>
                  <a:lnTo>
                    <a:pt x="893" y="484"/>
                  </a:lnTo>
                  <a:lnTo>
                    <a:pt x="892" y="484"/>
                  </a:lnTo>
                  <a:close/>
                  <a:moveTo>
                    <a:pt x="880" y="484"/>
                  </a:moveTo>
                  <a:lnTo>
                    <a:pt x="878" y="484"/>
                  </a:lnTo>
                  <a:lnTo>
                    <a:pt x="880" y="483"/>
                  </a:lnTo>
                  <a:lnTo>
                    <a:pt x="880" y="484"/>
                  </a:lnTo>
                  <a:close/>
                  <a:moveTo>
                    <a:pt x="900" y="482"/>
                  </a:moveTo>
                  <a:lnTo>
                    <a:pt x="902" y="482"/>
                  </a:lnTo>
                  <a:lnTo>
                    <a:pt x="900" y="482"/>
                  </a:lnTo>
                  <a:close/>
                  <a:moveTo>
                    <a:pt x="701" y="482"/>
                  </a:moveTo>
                  <a:lnTo>
                    <a:pt x="700" y="482"/>
                  </a:lnTo>
                  <a:lnTo>
                    <a:pt x="701" y="482"/>
                  </a:lnTo>
                  <a:lnTo>
                    <a:pt x="703" y="482"/>
                  </a:lnTo>
                  <a:lnTo>
                    <a:pt x="701" y="482"/>
                  </a:lnTo>
                  <a:close/>
                  <a:moveTo>
                    <a:pt x="813" y="478"/>
                  </a:moveTo>
                  <a:lnTo>
                    <a:pt x="812" y="478"/>
                  </a:lnTo>
                  <a:lnTo>
                    <a:pt x="812" y="479"/>
                  </a:lnTo>
                  <a:lnTo>
                    <a:pt x="811" y="479"/>
                  </a:lnTo>
                  <a:lnTo>
                    <a:pt x="812" y="478"/>
                  </a:lnTo>
                  <a:lnTo>
                    <a:pt x="811" y="478"/>
                  </a:lnTo>
                  <a:lnTo>
                    <a:pt x="810" y="479"/>
                  </a:lnTo>
                  <a:lnTo>
                    <a:pt x="809" y="479"/>
                  </a:lnTo>
                  <a:lnTo>
                    <a:pt x="809" y="480"/>
                  </a:lnTo>
                  <a:lnTo>
                    <a:pt x="807" y="480"/>
                  </a:lnTo>
                  <a:lnTo>
                    <a:pt x="806" y="482"/>
                  </a:lnTo>
                  <a:lnTo>
                    <a:pt x="807" y="482"/>
                  </a:lnTo>
                  <a:lnTo>
                    <a:pt x="807" y="480"/>
                  </a:lnTo>
                  <a:lnTo>
                    <a:pt x="810" y="479"/>
                  </a:lnTo>
                  <a:lnTo>
                    <a:pt x="811" y="479"/>
                  </a:lnTo>
                  <a:lnTo>
                    <a:pt x="810" y="479"/>
                  </a:lnTo>
                  <a:lnTo>
                    <a:pt x="809" y="480"/>
                  </a:lnTo>
                  <a:lnTo>
                    <a:pt x="807" y="482"/>
                  </a:lnTo>
                  <a:lnTo>
                    <a:pt x="806" y="482"/>
                  </a:lnTo>
                  <a:lnTo>
                    <a:pt x="806" y="483"/>
                  </a:lnTo>
                  <a:lnTo>
                    <a:pt x="805" y="483"/>
                  </a:lnTo>
                  <a:lnTo>
                    <a:pt x="805" y="484"/>
                  </a:lnTo>
                  <a:lnTo>
                    <a:pt x="805" y="483"/>
                  </a:lnTo>
                  <a:lnTo>
                    <a:pt x="805" y="484"/>
                  </a:lnTo>
                  <a:lnTo>
                    <a:pt x="806" y="484"/>
                  </a:lnTo>
                  <a:lnTo>
                    <a:pt x="805" y="484"/>
                  </a:lnTo>
                  <a:lnTo>
                    <a:pt x="804" y="484"/>
                  </a:lnTo>
                  <a:lnTo>
                    <a:pt x="805" y="483"/>
                  </a:lnTo>
                  <a:lnTo>
                    <a:pt x="805" y="482"/>
                  </a:lnTo>
                  <a:lnTo>
                    <a:pt x="806" y="482"/>
                  </a:lnTo>
                  <a:lnTo>
                    <a:pt x="806" y="480"/>
                  </a:lnTo>
                  <a:lnTo>
                    <a:pt x="807" y="480"/>
                  </a:lnTo>
                  <a:lnTo>
                    <a:pt x="809" y="479"/>
                  </a:lnTo>
                  <a:lnTo>
                    <a:pt x="811" y="478"/>
                  </a:lnTo>
                  <a:lnTo>
                    <a:pt x="812" y="478"/>
                  </a:lnTo>
                  <a:lnTo>
                    <a:pt x="813" y="478"/>
                  </a:lnTo>
                  <a:close/>
                  <a:moveTo>
                    <a:pt x="917" y="478"/>
                  </a:moveTo>
                  <a:lnTo>
                    <a:pt x="916" y="478"/>
                  </a:lnTo>
                  <a:lnTo>
                    <a:pt x="917" y="478"/>
                  </a:lnTo>
                  <a:lnTo>
                    <a:pt x="918" y="478"/>
                  </a:lnTo>
                  <a:lnTo>
                    <a:pt x="917" y="478"/>
                  </a:lnTo>
                  <a:close/>
                  <a:moveTo>
                    <a:pt x="903" y="478"/>
                  </a:moveTo>
                  <a:lnTo>
                    <a:pt x="902" y="478"/>
                  </a:lnTo>
                  <a:lnTo>
                    <a:pt x="902" y="479"/>
                  </a:lnTo>
                  <a:lnTo>
                    <a:pt x="900" y="482"/>
                  </a:lnTo>
                  <a:lnTo>
                    <a:pt x="899" y="482"/>
                  </a:lnTo>
                  <a:lnTo>
                    <a:pt x="900" y="480"/>
                  </a:lnTo>
                  <a:lnTo>
                    <a:pt x="902" y="479"/>
                  </a:lnTo>
                  <a:lnTo>
                    <a:pt x="900" y="479"/>
                  </a:lnTo>
                  <a:lnTo>
                    <a:pt x="902" y="478"/>
                  </a:lnTo>
                  <a:lnTo>
                    <a:pt x="903" y="477"/>
                  </a:lnTo>
                  <a:lnTo>
                    <a:pt x="903" y="478"/>
                  </a:lnTo>
                  <a:close/>
                  <a:moveTo>
                    <a:pt x="881" y="478"/>
                  </a:moveTo>
                  <a:lnTo>
                    <a:pt x="880" y="478"/>
                  </a:lnTo>
                  <a:lnTo>
                    <a:pt x="878" y="478"/>
                  </a:lnTo>
                  <a:lnTo>
                    <a:pt x="878" y="477"/>
                  </a:lnTo>
                  <a:lnTo>
                    <a:pt x="881" y="477"/>
                  </a:lnTo>
                  <a:lnTo>
                    <a:pt x="881" y="478"/>
                  </a:lnTo>
                  <a:close/>
                  <a:moveTo>
                    <a:pt x="903" y="479"/>
                  </a:moveTo>
                  <a:lnTo>
                    <a:pt x="903" y="480"/>
                  </a:lnTo>
                  <a:lnTo>
                    <a:pt x="903" y="479"/>
                  </a:lnTo>
                  <a:lnTo>
                    <a:pt x="903" y="478"/>
                  </a:lnTo>
                  <a:lnTo>
                    <a:pt x="903" y="477"/>
                  </a:lnTo>
                  <a:lnTo>
                    <a:pt x="904" y="477"/>
                  </a:lnTo>
                  <a:lnTo>
                    <a:pt x="904" y="478"/>
                  </a:lnTo>
                  <a:lnTo>
                    <a:pt x="903" y="478"/>
                  </a:lnTo>
                  <a:lnTo>
                    <a:pt x="903" y="479"/>
                  </a:lnTo>
                  <a:close/>
                  <a:moveTo>
                    <a:pt x="516" y="476"/>
                  </a:moveTo>
                  <a:lnTo>
                    <a:pt x="515" y="476"/>
                  </a:lnTo>
                  <a:lnTo>
                    <a:pt x="515" y="477"/>
                  </a:lnTo>
                  <a:lnTo>
                    <a:pt x="514" y="477"/>
                  </a:lnTo>
                  <a:lnTo>
                    <a:pt x="514" y="476"/>
                  </a:lnTo>
                  <a:lnTo>
                    <a:pt x="514" y="477"/>
                  </a:lnTo>
                  <a:lnTo>
                    <a:pt x="513" y="477"/>
                  </a:lnTo>
                  <a:lnTo>
                    <a:pt x="512" y="477"/>
                  </a:lnTo>
                  <a:lnTo>
                    <a:pt x="512" y="476"/>
                  </a:lnTo>
                  <a:lnTo>
                    <a:pt x="513" y="476"/>
                  </a:lnTo>
                  <a:lnTo>
                    <a:pt x="514" y="476"/>
                  </a:lnTo>
                  <a:lnTo>
                    <a:pt x="515" y="475"/>
                  </a:lnTo>
                  <a:lnTo>
                    <a:pt x="515" y="476"/>
                  </a:lnTo>
                  <a:lnTo>
                    <a:pt x="516" y="476"/>
                  </a:lnTo>
                  <a:close/>
                  <a:moveTo>
                    <a:pt x="776" y="475"/>
                  </a:moveTo>
                  <a:lnTo>
                    <a:pt x="776" y="476"/>
                  </a:lnTo>
                  <a:lnTo>
                    <a:pt x="775" y="476"/>
                  </a:lnTo>
                  <a:lnTo>
                    <a:pt x="774" y="476"/>
                  </a:lnTo>
                  <a:lnTo>
                    <a:pt x="774" y="475"/>
                  </a:lnTo>
                  <a:lnTo>
                    <a:pt x="775" y="475"/>
                  </a:lnTo>
                  <a:lnTo>
                    <a:pt x="775" y="473"/>
                  </a:lnTo>
                  <a:lnTo>
                    <a:pt x="776" y="475"/>
                  </a:lnTo>
                  <a:lnTo>
                    <a:pt x="775" y="475"/>
                  </a:lnTo>
                  <a:lnTo>
                    <a:pt x="776" y="475"/>
                  </a:lnTo>
                  <a:lnTo>
                    <a:pt x="776" y="473"/>
                  </a:lnTo>
                  <a:lnTo>
                    <a:pt x="777" y="473"/>
                  </a:lnTo>
                  <a:lnTo>
                    <a:pt x="776" y="473"/>
                  </a:lnTo>
                  <a:lnTo>
                    <a:pt x="776" y="475"/>
                  </a:lnTo>
                  <a:close/>
                  <a:moveTo>
                    <a:pt x="776" y="473"/>
                  </a:moveTo>
                  <a:lnTo>
                    <a:pt x="775" y="473"/>
                  </a:lnTo>
                  <a:lnTo>
                    <a:pt x="776" y="473"/>
                  </a:lnTo>
                  <a:lnTo>
                    <a:pt x="776" y="472"/>
                  </a:lnTo>
                  <a:lnTo>
                    <a:pt x="777" y="472"/>
                  </a:lnTo>
                  <a:lnTo>
                    <a:pt x="777" y="473"/>
                  </a:lnTo>
                  <a:lnTo>
                    <a:pt x="776" y="473"/>
                  </a:lnTo>
                  <a:close/>
                  <a:moveTo>
                    <a:pt x="909" y="470"/>
                  </a:moveTo>
                  <a:lnTo>
                    <a:pt x="910" y="470"/>
                  </a:lnTo>
                  <a:lnTo>
                    <a:pt x="911" y="470"/>
                  </a:lnTo>
                  <a:lnTo>
                    <a:pt x="912" y="469"/>
                  </a:lnTo>
                  <a:lnTo>
                    <a:pt x="912" y="470"/>
                  </a:lnTo>
                  <a:lnTo>
                    <a:pt x="912" y="471"/>
                  </a:lnTo>
                  <a:lnTo>
                    <a:pt x="911" y="471"/>
                  </a:lnTo>
                  <a:lnTo>
                    <a:pt x="910" y="471"/>
                  </a:lnTo>
                  <a:lnTo>
                    <a:pt x="909" y="471"/>
                  </a:lnTo>
                  <a:lnTo>
                    <a:pt x="907" y="471"/>
                  </a:lnTo>
                  <a:lnTo>
                    <a:pt x="907" y="470"/>
                  </a:lnTo>
                  <a:lnTo>
                    <a:pt x="907" y="469"/>
                  </a:lnTo>
                  <a:lnTo>
                    <a:pt x="909" y="470"/>
                  </a:lnTo>
                  <a:close/>
                  <a:moveTo>
                    <a:pt x="478" y="469"/>
                  </a:moveTo>
                  <a:lnTo>
                    <a:pt x="477" y="469"/>
                  </a:lnTo>
                  <a:lnTo>
                    <a:pt x="476" y="469"/>
                  </a:lnTo>
                  <a:lnTo>
                    <a:pt x="477" y="469"/>
                  </a:lnTo>
                  <a:lnTo>
                    <a:pt x="477" y="468"/>
                  </a:lnTo>
                  <a:lnTo>
                    <a:pt x="478" y="468"/>
                  </a:lnTo>
                  <a:lnTo>
                    <a:pt x="478" y="469"/>
                  </a:lnTo>
                  <a:close/>
                  <a:moveTo>
                    <a:pt x="726" y="466"/>
                  </a:moveTo>
                  <a:lnTo>
                    <a:pt x="725" y="466"/>
                  </a:lnTo>
                  <a:lnTo>
                    <a:pt x="726" y="466"/>
                  </a:lnTo>
                  <a:lnTo>
                    <a:pt x="726" y="465"/>
                  </a:lnTo>
                  <a:lnTo>
                    <a:pt x="726" y="466"/>
                  </a:lnTo>
                  <a:close/>
                  <a:moveTo>
                    <a:pt x="61" y="462"/>
                  </a:moveTo>
                  <a:lnTo>
                    <a:pt x="61" y="463"/>
                  </a:lnTo>
                  <a:lnTo>
                    <a:pt x="61" y="462"/>
                  </a:lnTo>
                  <a:close/>
                  <a:moveTo>
                    <a:pt x="506" y="462"/>
                  </a:moveTo>
                  <a:lnTo>
                    <a:pt x="505" y="463"/>
                  </a:lnTo>
                  <a:lnTo>
                    <a:pt x="506" y="463"/>
                  </a:lnTo>
                  <a:lnTo>
                    <a:pt x="505" y="463"/>
                  </a:lnTo>
                  <a:lnTo>
                    <a:pt x="505" y="462"/>
                  </a:lnTo>
                  <a:lnTo>
                    <a:pt x="506" y="462"/>
                  </a:lnTo>
                  <a:close/>
                  <a:moveTo>
                    <a:pt x="500" y="461"/>
                  </a:moveTo>
                  <a:lnTo>
                    <a:pt x="500" y="459"/>
                  </a:lnTo>
                  <a:lnTo>
                    <a:pt x="501" y="461"/>
                  </a:lnTo>
                  <a:lnTo>
                    <a:pt x="500" y="461"/>
                  </a:lnTo>
                  <a:close/>
                  <a:moveTo>
                    <a:pt x="64" y="461"/>
                  </a:moveTo>
                  <a:lnTo>
                    <a:pt x="65" y="461"/>
                  </a:lnTo>
                  <a:lnTo>
                    <a:pt x="64" y="461"/>
                  </a:lnTo>
                  <a:lnTo>
                    <a:pt x="63" y="461"/>
                  </a:lnTo>
                  <a:lnTo>
                    <a:pt x="64" y="461"/>
                  </a:lnTo>
                  <a:lnTo>
                    <a:pt x="64" y="459"/>
                  </a:lnTo>
                  <a:lnTo>
                    <a:pt x="64" y="461"/>
                  </a:lnTo>
                  <a:close/>
                  <a:moveTo>
                    <a:pt x="66" y="461"/>
                  </a:moveTo>
                  <a:lnTo>
                    <a:pt x="65" y="461"/>
                  </a:lnTo>
                  <a:lnTo>
                    <a:pt x="65" y="459"/>
                  </a:lnTo>
                  <a:lnTo>
                    <a:pt x="66" y="459"/>
                  </a:lnTo>
                  <a:lnTo>
                    <a:pt x="66" y="461"/>
                  </a:lnTo>
                  <a:close/>
                  <a:moveTo>
                    <a:pt x="498" y="461"/>
                  </a:moveTo>
                  <a:lnTo>
                    <a:pt x="497" y="461"/>
                  </a:lnTo>
                  <a:lnTo>
                    <a:pt x="498" y="461"/>
                  </a:lnTo>
                  <a:lnTo>
                    <a:pt x="498" y="459"/>
                  </a:lnTo>
                  <a:lnTo>
                    <a:pt x="499" y="459"/>
                  </a:lnTo>
                  <a:lnTo>
                    <a:pt x="499" y="461"/>
                  </a:lnTo>
                  <a:lnTo>
                    <a:pt x="498" y="461"/>
                  </a:lnTo>
                  <a:close/>
                  <a:moveTo>
                    <a:pt x="497" y="459"/>
                  </a:moveTo>
                  <a:lnTo>
                    <a:pt x="497" y="461"/>
                  </a:lnTo>
                  <a:lnTo>
                    <a:pt x="497" y="459"/>
                  </a:lnTo>
                  <a:lnTo>
                    <a:pt x="497" y="461"/>
                  </a:lnTo>
                  <a:lnTo>
                    <a:pt x="496" y="461"/>
                  </a:lnTo>
                  <a:lnTo>
                    <a:pt x="494" y="461"/>
                  </a:lnTo>
                  <a:lnTo>
                    <a:pt x="493" y="461"/>
                  </a:lnTo>
                  <a:lnTo>
                    <a:pt x="493" y="462"/>
                  </a:lnTo>
                  <a:lnTo>
                    <a:pt x="493" y="461"/>
                  </a:lnTo>
                  <a:lnTo>
                    <a:pt x="493" y="459"/>
                  </a:lnTo>
                  <a:lnTo>
                    <a:pt x="494" y="459"/>
                  </a:lnTo>
                  <a:lnTo>
                    <a:pt x="496" y="458"/>
                  </a:lnTo>
                  <a:lnTo>
                    <a:pt x="498" y="459"/>
                  </a:lnTo>
                  <a:lnTo>
                    <a:pt x="497" y="459"/>
                  </a:lnTo>
                  <a:close/>
                  <a:moveTo>
                    <a:pt x="61" y="458"/>
                  </a:moveTo>
                  <a:lnTo>
                    <a:pt x="63" y="459"/>
                  </a:lnTo>
                  <a:lnTo>
                    <a:pt x="61" y="459"/>
                  </a:lnTo>
                  <a:lnTo>
                    <a:pt x="63" y="461"/>
                  </a:lnTo>
                  <a:lnTo>
                    <a:pt x="61" y="461"/>
                  </a:lnTo>
                  <a:lnTo>
                    <a:pt x="60" y="462"/>
                  </a:lnTo>
                  <a:lnTo>
                    <a:pt x="60" y="461"/>
                  </a:lnTo>
                  <a:lnTo>
                    <a:pt x="60" y="459"/>
                  </a:lnTo>
                  <a:lnTo>
                    <a:pt x="61" y="459"/>
                  </a:lnTo>
                  <a:lnTo>
                    <a:pt x="61" y="458"/>
                  </a:lnTo>
                  <a:lnTo>
                    <a:pt x="61" y="457"/>
                  </a:lnTo>
                  <a:lnTo>
                    <a:pt x="61" y="458"/>
                  </a:lnTo>
                  <a:close/>
                  <a:moveTo>
                    <a:pt x="494" y="458"/>
                  </a:moveTo>
                  <a:lnTo>
                    <a:pt x="494" y="457"/>
                  </a:lnTo>
                  <a:lnTo>
                    <a:pt x="496" y="457"/>
                  </a:lnTo>
                  <a:lnTo>
                    <a:pt x="496" y="458"/>
                  </a:lnTo>
                  <a:lnTo>
                    <a:pt x="494" y="458"/>
                  </a:lnTo>
                  <a:close/>
                  <a:moveTo>
                    <a:pt x="64" y="458"/>
                  </a:moveTo>
                  <a:lnTo>
                    <a:pt x="64" y="459"/>
                  </a:lnTo>
                  <a:lnTo>
                    <a:pt x="64" y="458"/>
                  </a:lnTo>
                  <a:lnTo>
                    <a:pt x="64" y="459"/>
                  </a:lnTo>
                  <a:lnTo>
                    <a:pt x="63" y="458"/>
                  </a:lnTo>
                  <a:lnTo>
                    <a:pt x="61" y="456"/>
                  </a:lnTo>
                  <a:lnTo>
                    <a:pt x="61" y="455"/>
                  </a:lnTo>
                  <a:lnTo>
                    <a:pt x="61" y="456"/>
                  </a:lnTo>
                  <a:lnTo>
                    <a:pt x="63" y="457"/>
                  </a:lnTo>
                  <a:lnTo>
                    <a:pt x="63" y="458"/>
                  </a:lnTo>
                  <a:lnTo>
                    <a:pt x="64" y="458"/>
                  </a:lnTo>
                  <a:close/>
                  <a:moveTo>
                    <a:pt x="63" y="455"/>
                  </a:moveTo>
                  <a:lnTo>
                    <a:pt x="61" y="455"/>
                  </a:lnTo>
                  <a:lnTo>
                    <a:pt x="60" y="455"/>
                  </a:lnTo>
                  <a:lnTo>
                    <a:pt x="60" y="454"/>
                  </a:lnTo>
                  <a:lnTo>
                    <a:pt x="61" y="454"/>
                  </a:lnTo>
                  <a:lnTo>
                    <a:pt x="61" y="455"/>
                  </a:lnTo>
                  <a:lnTo>
                    <a:pt x="63" y="455"/>
                  </a:lnTo>
                  <a:close/>
                  <a:moveTo>
                    <a:pt x="35" y="455"/>
                  </a:moveTo>
                  <a:lnTo>
                    <a:pt x="35" y="454"/>
                  </a:lnTo>
                  <a:lnTo>
                    <a:pt x="36" y="454"/>
                  </a:lnTo>
                  <a:lnTo>
                    <a:pt x="35" y="454"/>
                  </a:lnTo>
                  <a:lnTo>
                    <a:pt x="35" y="455"/>
                  </a:lnTo>
                  <a:close/>
                  <a:moveTo>
                    <a:pt x="37" y="455"/>
                  </a:moveTo>
                  <a:lnTo>
                    <a:pt x="36" y="455"/>
                  </a:lnTo>
                  <a:lnTo>
                    <a:pt x="36" y="454"/>
                  </a:lnTo>
                  <a:lnTo>
                    <a:pt x="37" y="454"/>
                  </a:lnTo>
                  <a:lnTo>
                    <a:pt x="37" y="455"/>
                  </a:lnTo>
                  <a:close/>
                  <a:moveTo>
                    <a:pt x="634" y="519"/>
                  </a:moveTo>
                  <a:lnTo>
                    <a:pt x="635" y="519"/>
                  </a:lnTo>
                  <a:lnTo>
                    <a:pt x="637" y="518"/>
                  </a:lnTo>
                  <a:lnTo>
                    <a:pt x="639" y="518"/>
                  </a:lnTo>
                  <a:lnTo>
                    <a:pt x="639" y="517"/>
                  </a:lnTo>
                  <a:lnTo>
                    <a:pt x="640" y="517"/>
                  </a:lnTo>
                  <a:lnTo>
                    <a:pt x="640" y="515"/>
                  </a:lnTo>
                  <a:lnTo>
                    <a:pt x="641" y="515"/>
                  </a:lnTo>
                  <a:lnTo>
                    <a:pt x="642" y="515"/>
                  </a:lnTo>
                  <a:lnTo>
                    <a:pt x="643" y="515"/>
                  </a:lnTo>
                  <a:lnTo>
                    <a:pt x="644" y="515"/>
                  </a:lnTo>
                  <a:lnTo>
                    <a:pt x="646" y="514"/>
                  </a:lnTo>
                  <a:lnTo>
                    <a:pt x="647" y="513"/>
                  </a:lnTo>
                  <a:lnTo>
                    <a:pt x="648" y="513"/>
                  </a:lnTo>
                  <a:lnTo>
                    <a:pt x="649" y="512"/>
                  </a:lnTo>
                  <a:lnTo>
                    <a:pt x="650" y="512"/>
                  </a:lnTo>
                  <a:lnTo>
                    <a:pt x="651" y="512"/>
                  </a:lnTo>
                  <a:lnTo>
                    <a:pt x="651" y="511"/>
                  </a:lnTo>
                  <a:lnTo>
                    <a:pt x="653" y="511"/>
                  </a:lnTo>
                  <a:lnTo>
                    <a:pt x="653" y="510"/>
                  </a:lnTo>
                  <a:lnTo>
                    <a:pt x="654" y="510"/>
                  </a:lnTo>
                  <a:lnTo>
                    <a:pt x="654" y="508"/>
                  </a:lnTo>
                  <a:lnTo>
                    <a:pt x="654" y="507"/>
                  </a:lnTo>
                  <a:lnTo>
                    <a:pt x="655" y="507"/>
                  </a:lnTo>
                  <a:lnTo>
                    <a:pt x="657" y="505"/>
                  </a:lnTo>
                  <a:lnTo>
                    <a:pt x="658" y="505"/>
                  </a:lnTo>
                  <a:lnTo>
                    <a:pt x="658" y="504"/>
                  </a:lnTo>
                  <a:lnTo>
                    <a:pt x="660" y="503"/>
                  </a:lnTo>
                  <a:lnTo>
                    <a:pt x="661" y="501"/>
                  </a:lnTo>
                  <a:lnTo>
                    <a:pt x="662" y="501"/>
                  </a:lnTo>
                  <a:lnTo>
                    <a:pt x="663" y="501"/>
                  </a:lnTo>
                  <a:lnTo>
                    <a:pt x="664" y="501"/>
                  </a:lnTo>
                  <a:lnTo>
                    <a:pt x="665" y="500"/>
                  </a:lnTo>
                  <a:lnTo>
                    <a:pt x="667" y="500"/>
                  </a:lnTo>
                  <a:lnTo>
                    <a:pt x="667" y="499"/>
                  </a:lnTo>
                  <a:lnTo>
                    <a:pt x="668" y="499"/>
                  </a:lnTo>
                  <a:lnTo>
                    <a:pt x="669" y="498"/>
                  </a:lnTo>
                  <a:lnTo>
                    <a:pt x="670" y="498"/>
                  </a:lnTo>
                  <a:lnTo>
                    <a:pt x="671" y="497"/>
                  </a:lnTo>
                  <a:lnTo>
                    <a:pt x="672" y="497"/>
                  </a:lnTo>
                  <a:lnTo>
                    <a:pt x="674" y="497"/>
                  </a:lnTo>
                  <a:lnTo>
                    <a:pt x="674" y="496"/>
                  </a:lnTo>
                  <a:lnTo>
                    <a:pt x="675" y="494"/>
                  </a:lnTo>
                  <a:lnTo>
                    <a:pt x="676" y="494"/>
                  </a:lnTo>
                  <a:lnTo>
                    <a:pt x="677" y="494"/>
                  </a:lnTo>
                  <a:lnTo>
                    <a:pt x="677" y="493"/>
                  </a:lnTo>
                  <a:lnTo>
                    <a:pt x="678" y="493"/>
                  </a:lnTo>
                  <a:lnTo>
                    <a:pt x="679" y="493"/>
                  </a:lnTo>
                  <a:lnTo>
                    <a:pt x="681" y="493"/>
                  </a:lnTo>
                  <a:lnTo>
                    <a:pt x="686" y="492"/>
                  </a:lnTo>
                  <a:lnTo>
                    <a:pt x="686" y="491"/>
                  </a:lnTo>
                  <a:lnTo>
                    <a:pt x="688" y="491"/>
                  </a:lnTo>
                  <a:lnTo>
                    <a:pt x="689" y="491"/>
                  </a:lnTo>
                  <a:lnTo>
                    <a:pt x="689" y="490"/>
                  </a:lnTo>
                  <a:lnTo>
                    <a:pt x="690" y="490"/>
                  </a:lnTo>
                  <a:lnTo>
                    <a:pt x="691" y="490"/>
                  </a:lnTo>
                  <a:lnTo>
                    <a:pt x="692" y="490"/>
                  </a:lnTo>
                  <a:lnTo>
                    <a:pt x="692" y="489"/>
                  </a:lnTo>
                  <a:lnTo>
                    <a:pt x="692" y="490"/>
                  </a:lnTo>
                  <a:lnTo>
                    <a:pt x="693" y="490"/>
                  </a:lnTo>
                  <a:lnTo>
                    <a:pt x="693" y="489"/>
                  </a:lnTo>
                  <a:lnTo>
                    <a:pt x="695" y="489"/>
                  </a:lnTo>
                  <a:lnTo>
                    <a:pt x="697" y="487"/>
                  </a:lnTo>
                  <a:lnTo>
                    <a:pt x="700" y="486"/>
                  </a:lnTo>
                  <a:lnTo>
                    <a:pt x="701" y="484"/>
                  </a:lnTo>
                  <a:lnTo>
                    <a:pt x="703" y="483"/>
                  </a:lnTo>
                  <a:lnTo>
                    <a:pt x="704" y="483"/>
                  </a:lnTo>
                  <a:lnTo>
                    <a:pt x="705" y="482"/>
                  </a:lnTo>
                  <a:lnTo>
                    <a:pt x="706" y="480"/>
                  </a:lnTo>
                  <a:lnTo>
                    <a:pt x="707" y="480"/>
                  </a:lnTo>
                  <a:lnTo>
                    <a:pt x="707" y="479"/>
                  </a:lnTo>
                  <a:lnTo>
                    <a:pt x="708" y="479"/>
                  </a:lnTo>
                  <a:lnTo>
                    <a:pt x="710" y="478"/>
                  </a:lnTo>
                  <a:lnTo>
                    <a:pt x="712" y="477"/>
                  </a:lnTo>
                  <a:lnTo>
                    <a:pt x="713" y="475"/>
                  </a:lnTo>
                  <a:lnTo>
                    <a:pt x="714" y="475"/>
                  </a:lnTo>
                  <a:lnTo>
                    <a:pt x="714" y="473"/>
                  </a:lnTo>
                  <a:lnTo>
                    <a:pt x="717" y="472"/>
                  </a:lnTo>
                  <a:lnTo>
                    <a:pt x="718" y="472"/>
                  </a:lnTo>
                  <a:lnTo>
                    <a:pt x="719" y="471"/>
                  </a:lnTo>
                  <a:lnTo>
                    <a:pt x="720" y="470"/>
                  </a:lnTo>
                  <a:lnTo>
                    <a:pt x="722" y="469"/>
                  </a:lnTo>
                  <a:lnTo>
                    <a:pt x="724" y="468"/>
                  </a:lnTo>
                  <a:lnTo>
                    <a:pt x="726" y="466"/>
                  </a:lnTo>
                  <a:lnTo>
                    <a:pt x="727" y="466"/>
                  </a:lnTo>
                  <a:lnTo>
                    <a:pt x="728" y="466"/>
                  </a:lnTo>
                  <a:lnTo>
                    <a:pt x="728" y="465"/>
                  </a:lnTo>
                  <a:lnTo>
                    <a:pt x="729" y="465"/>
                  </a:lnTo>
                  <a:lnTo>
                    <a:pt x="731" y="465"/>
                  </a:lnTo>
                  <a:lnTo>
                    <a:pt x="732" y="464"/>
                  </a:lnTo>
                  <a:lnTo>
                    <a:pt x="733" y="464"/>
                  </a:lnTo>
                  <a:lnTo>
                    <a:pt x="733" y="463"/>
                  </a:lnTo>
                  <a:lnTo>
                    <a:pt x="735" y="462"/>
                  </a:lnTo>
                  <a:lnTo>
                    <a:pt x="736" y="462"/>
                  </a:lnTo>
                  <a:lnTo>
                    <a:pt x="738" y="462"/>
                  </a:lnTo>
                  <a:lnTo>
                    <a:pt x="739" y="462"/>
                  </a:lnTo>
                  <a:lnTo>
                    <a:pt x="742" y="459"/>
                  </a:lnTo>
                  <a:lnTo>
                    <a:pt x="743" y="459"/>
                  </a:lnTo>
                  <a:lnTo>
                    <a:pt x="745" y="459"/>
                  </a:lnTo>
                  <a:lnTo>
                    <a:pt x="746" y="458"/>
                  </a:lnTo>
                  <a:lnTo>
                    <a:pt x="747" y="458"/>
                  </a:lnTo>
                  <a:lnTo>
                    <a:pt x="748" y="458"/>
                  </a:lnTo>
                  <a:lnTo>
                    <a:pt x="750" y="457"/>
                  </a:lnTo>
                  <a:lnTo>
                    <a:pt x="754" y="456"/>
                  </a:lnTo>
                  <a:lnTo>
                    <a:pt x="757" y="455"/>
                  </a:lnTo>
                  <a:lnTo>
                    <a:pt x="759" y="455"/>
                  </a:lnTo>
                  <a:lnTo>
                    <a:pt x="762" y="454"/>
                  </a:lnTo>
                  <a:lnTo>
                    <a:pt x="764" y="454"/>
                  </a:lnTo>
                  <a:lnTo>
                    <a:pt x="767" y="454"/>
                  </a:lnTo>
                  <a:lnTo>
                    <a:pt x="769" y="454"/>
                  </a:lnTo>
                  <a:lnTo>
                    <a:pt x="770" y="452"/>
                  </a:lnTo>
                  <a:lnTo>
                    <a:pt x="772" y="452"/>
                  </a:lnTo>
                  <a:lnTo>
                    <a:pt x="774" y="454"/>
                  </a:lnTo>
                  <a:lnTo>
                    <a:pt x="775" y="454"/>
                  </a:lnTo>
                  <a:lnTo>
                    <a:pt x="777" y="454"/>
                  </a:lnTo>
                  <a:lnTo>
                    <a:pt x="778" y="454"/>
                  </a:lnTo>
                  <a:lnTo>
                    <a:pt x="779" y="454"/>
                  </a:lnTo>
                  <a:lnTo>
                    <a:pt x="779" y="455"/>
                  </a:lnTo>
                  <a:lnTo>
                    <a:pt x="781" y="455"/>
                  </a:lnTo>
                  <a:lnTo>
                    <a:pt x="782" y="455"/>
                  </a:lnTo>
                  <a:lnTo>
                    <a:pt x="783" y="456"/>
                  </a:lnTo>
                  <a:lnTo>
                    <a:pt x="783" y="457"/>
                  </a:lnTo>
                  <a:lnTo>
                    <a:pt x="784" y="457"/>
                  </a:lnTo>
                  <a:lnTo>
                    <a:pt x="784" y="458"/>
                  </a:lnTo>
                  <a:lnTo>
                    <a:pt x="785" y="458"/>
                  </a:lnTo>
                  <a:lnTo>
                    <a:pt x="785" y="459"/>
                  </a:lnTo>
                  <a:lnTo>
                    <a:pt x="785" y="461"/>
                  </a:lnTo>
                  <a:lnTo>
                    <a:pt x="784" y="461"/>
                  </a:lnTo>
                  <a:lnTo>
                    <a:pt x="784" y="459"/>
                  </a:lnTo>
                  <a:lnTo>
                    <a:pt x="781" y="458"/>
                  </a:lnTo>
                  <a:lnTo>
                    <a:pt x="782" y="459"/>
                  </a:lnTo>
                  <a:lnTo>
                    <a:pt x="781" y="459"/>
                  </a:lnTo>
                  <a:lnTo>
                    <a:pt x="782" y="459"/>
                  </a:lnTo>
                  <a:lnTo>
                    <a:pt x="783" y="459"/>
                  </a:lnTo>
                  <a:lnTo>
                    <a:pt x="783" y="461"/>
                  </a:lnTo>
                  <a:lnTo>
                    <a:pt x="782" y="459"/>
                  </a:lnTo>
                  <a:lnTo>
                    <a:pt x="782" y="461"/>
                  </a:lnTo>
                  <a:lnTo>
                    <a:pt x="783" y="461"/>
                  </a:lnTo>
                  <a:lnTo>
                    <a:pt x="784" y="462"/>
                  </a:lnTo>
                  <a:lnTo>
                    <a:pt x="784" y="463"/>
                  </a:lnTo>
                  <a:lnTo>
                    <a:pt x="783" y="463"/>
                  </a:lnTo>
                  <a:lnTo>
                    <a:pt x="783" y="464"/>
                  </a:lnTo>
                  <a:lnTo>
                    <a:pt x="782" y="465"/>
                  </a:lnTo>
                  <a:lnTo>
                    <a:pt x="781" y="465"/>
                  </a:lnTo>
                  <a:lnTo>
                    <a:pt x="779" y="466"/>
                  </a:lnTo>
                  <a:lnTo>
                    <a:pt x="778" y="466"/>
                  </a:lnTo>
                  <a:lnTo>
                    <a:pt x="777" y="466"/>
                  </a:lnTo>
                  <a:lnTo>
                    <a:pt x="776" y="466"/>
                  </a:lnTo>
                  <a:lnTo>
                    <a:pt x="776" y="468"/>
                  </a:lnTo>
                  <a:lnTo>
                    <a:pt x="775" y="469"/>
                  </a:lnTo>
                  <a:lnTo>
                    <a:pt x="772" y="470"/>
                  </a:lnTo>
                  <a:lnTo>
                    <a:pt x="772" y="469"/>
                  </a:lnTo>
                  <a:lnTo>
                    <a:pt x="772" y="470"/>
                  </a:lnTo>
                  <a:lnTo>
                    <a:pt x="771" y="470"/>
                  </a:lnTo>
                  <a:lnTo>
                    <a:pt x="770" y="471"/>
                  </a:lnTo>
                  <a:lnTo>
                    <a:pt x="769" y="471"/>
                  </a:lnTo>
                  <a:lnTo>
                    <a:pt x="768" y="472"/>
                  </a:lnTo>
                  <a:lnTo>
                    <a:pt x="767" y="472"/>
                  </a:lnTo>
                  <a:lnTo>
                    <a:pt x="765" y="472"/>
                  </a:lnTo>
                  <a:lnTo>
                    <a:pt x="765" y="471"/>
                  </a:lnTo>
                  <a:lnTo>
                    <a:pt x="764" y="471"/>
                  </a:lnTo>
                  <a:lnTo>
                    <a:pt x="763" y="471"/>
                  </a:lnTo>
                  <a:lnTo>
                    <a:pt x="762" y="470"/>
                  </a:lnTo>
                  <a:lnTo>
                    <a:pt x="761" y="470"/>
                  </a:lnTo>
                  <a:lnTo>
                    <a:pt x="761" y="469"/>
                  </a:lnTo>
                  <a:lnTo>
                    <a:pt x="760" y="469"/>
                  </a:lnTo>
                  <a:lnTo>
                    <a:pt x="759" y="470"/>
                  </a:lnTo>
                  <a:lnTo>
                    <a:pt x="759" y="471"/>
                  </a:lnTo>
                  <a:lnTo>
                    <a:pt x="757" y="471"/>
                  </a:lnTo>
                  <a:lnTo>
                    <a:pt x="757" y="470"/>
                  </a:lnTo>
                  <a:lnTo>
                    <a:pt x="756" y="470"/>
                  </a:lnTo>
                  <a:lnTo>
                    <a:pt x="755" y="471"/>
                  </a:lnTo>
                  <a:lnTo>
                    <a:pt x="756" y="471"/>
                  </a:lnTo>
                  <a:lnTo>
                    <a:pt x="755" y="471"/>
                  </a:lnTo>
                  <a:lnTo>
                    <a:pt x="755" y="470"/>
                  </a:lnTo>
                  <a:lnTo>
                    <a:pt x="754" y="470"/>
                  </a:lnTo>
                  <a:lnTo>
                    <a:pt x="753" y="471"/>
                  </a:lnTo>
                  <a:lnTo>
                    <a:pt x="752" y="471"/>
                  </a:lnTo>
                  <a:lnTo>
                    <a:pt x="750" y="471"/>
                  </a:lnTo>
                  <a:lnTo>
                    <a:pt x="750" y="472"/>
                  </a:lnTo>
                  <a:lnTo>
                    <a:pt x="749" y="472"/>
                  </a:lnTo>
                  <a:lnTo>
                    <a:pt x="748" y="472"/>
                  </a:lnTo>
                  <a:lnTo>
                    <a:pt x="749" y="472"/>
                  </a:lnTo>
                  <a:lnTo>
                    <a:pt x="750" y="472"/>
                  </a:lnTo>
                  <a:lnTo>
                    <a:pt x="752" y="472"/>
                  </a:lnTo>
                  <a:lnTo>
                    <a:pt x="752" y="471"/>
                  </a:lnTo>
                  <a:lnTo>
                    <a:pt x="754" y="471"/>
                  </a:lnTo>
                  <a:lnTo>
                    <a:pt x="755" y="471"/>
                  </a:lnTo>
                  <a:lnTo>
                    <a:pt x="754" y="471"/>
                  </a:lnTo>
                  <a:lnTo>
                    <a:pt x="754" y="472"/>
                  </a:lnTo>
                  <a:lnTo>
                    <a:pt x="755" y="472"/>
                  </a:lnTo>
                  <a:lnTo>
                    <a:pt x="756" y="472"/>
                  </a:lnTo>
                  <a:lnTo>
                    <a:pt x="759" y="473"/>
                  </a:lnTo>
                  <a:lnTo>
                    <a:pt x="760" y="473"/>
                  </a:lnTo>
                  <a:lnTo>
                    <a:pt x="761" y="473"/>
                  </a:lnTo>
                  <a:lnTo>
                    <a:pt x="761" y="475"/>
                  </a:lnTo>
                  <a:lnTo>
                    <a:pt x="761" y="477"/>
                  </a:lnTo>
                  <a:lnTo>
                    <a:pt x="761" y="478"/>
                  </a:lnTo>
                  <a:lnTo>
                    <a:pt x="762" y="478"/>
                  </a:lnTo>
                  <a:lnTo>
                    <a:pt x="762" y="477"/>
                  </a:lnTo>
                  <a:lnTo>
                    <a:pt x="763" y="477"/>
                  </a:lnTo>
                  <a:lnTo>
                    <a:pt x="764" y="477"/>
                  </a:lnTo>
                  <a:lnTo>
                    <a:pt x="765" y="476"/>
                  </a:lnTo>
                  <a:lnTo>
                    <a:pt x="767" y="476"/>
                  </a:lnTo>
                  <a:lnTo>
                    <a:pt x="768" y="475"/>
                  </a:lnTo>
                  <a:lnTo>
                    <a:pt x="770" y="475"/>
                  </a:lnTo>
                  <a:lnTo>
                    <a:pt x="769" y="476"/>
                  </a:lnTo>
                  <a:lnTo>
                    <a:pt x="770" y="476"/>
                  </a:lnTo>
                  <a:lnTo>
                    <a:pt x="771" y="475"/>
                  </a:lnTo>
                  <a:lnTo>
                    <a:pt x="772" y="475"/>
                  </a:lnTo>
                  <a:lnTo>
                    <a:pt x="772" y="476"/>
                  </a:lnTo>
                  <a:lnTo>
                    <a:pt x="771" y="476"/>
                  </a:lnTo>
                  <a:lnTo>
                    <a:pt x="772" y="476"/>
                  </a:lnTo>
                  <a:lnTo>
                    <a:pt x="772" y="477"/>
                  </a:lnTo>
                  <a:lnTo>
                    <a:pt x="772" y="476"/>
                  </a:lnTo>
                  <a:lnTo>
                    <a:pt x="774" y="476"/>
                  </a:lnTo>
                  <a:lnTo>
                    <a:pt x="774" y="477"/>
                  </a:lnTo>
                  <a:lnTo>
                    <a:pt x="772" y="477"/>
                  </a:lnTo>
                  <a:lnTo>
                    <a:pt x="771" y="477"/>
                  </a:lnTo>
                  <a:lnTo>
                    <a:pt x="771" y="478"/>
                  </a:lnTo>
                  <a:lnTo>
                    <a:pt x="770" y="479"/>
                  </a:lnTo>
                  <a:lnTo>
                    <a:pt x="769" y="479"/>
                  </a:lnTo>
                  <a:lnTo>
                    <a:pt x="770" y="479"/>
                  </a:lnTo>
                  <a:lnTo>
                    <a:pt x="770" y="480"/>
                  </a:lnTo>
                  <a:lnTo>
                    <a:pt x="769" y="480"/>
                  </a:lnTo>
                  <a:lnTo>
                    <a:pt x="770" y="480"/>
                  </a:lnTo>
                  <a:lnTo>
                    <a:pt x="769" y="482"/>
                  </a:lnTo>
                  <a:lnTo>
                    <a:pt x="768" y="482"/>
                  </a:lnTo>
                  <a:lnTo>
                    <a:pt x="768" y="483"/>
                  </a:lnTo>
                  <a:lnTo>
                    <a:pt x="767" y="483"/>
                  </a:lnTo>
                  <a:lnTo>
                    <a:pt x="767" y="484"/>
                  </a:lnTo>
                  <a:lnTo>
                    <a:pt x="765" y="484"/>
                  </a:lnTo>
                  <a:lnTo>
                    <a:pt x="765" y="485"/>
                  </a:lnTo>
                  <a:lnTo>
                    <a:pt x="762" y="486"/>
                  </a:lnTo>
                  <a:lnTo>
                    <a:pt x="763" y="486"/>
                  </a:lnTo>
                  <a:lnTo>
                    <a:pt x="763" y="487"/>
                  </a:lnTo>
                  <a:lnTo>
                    <a:pt x="764" y="486"/>
                  </a:lnTo>
                  <a:lnTo>
                    <a:pt x="765" y="486"/>
                  </a:lnTo>
                  <a:lnTo>
                    <a:pt x="767" y="486"/>
                  </a:lnTo>
                  <a:lnTo>
                    <a:pt x="768" y="486"/>
                  </a:lnTo>
                  <a:lnTo>
                    <a:pt x="769" y="486"/>
                  </a:lnTo>
                  <a:lnTo>
                    <a:pt x="768" y="486"/>
                  </a:lnTo>
                  <a:lnTo>
                    <a:pt x="768" y="487"/>
                  </a:lnTo>
                  <a:lnTo>
                    <a:pt x="768" y="489"/>
                  </a:lnTo>
                  <a:lnTo>
                    <a:pt x="767" y="489"/>
                  </a:lnTo>
                  <a:lnTo>
                    <a:pt x="767" y="490"/>
                  </a:lnTo>
                  <a:lnTo>
                    <a:pt x="767" y="491"/>
                  </a:lnTo>
                  <a:lnTo>
                    <a:pt x="767" y="492"/>
                  </a:lnTo>
                  <a:lnTo>
                    <a:pt x="765" y="492"/>
                  </a:lnTo>
                  <a:lnTo>
                    <a:pt x="767" y="492"/>
                  </a:lnTo>
                  <a:lnTo>
                    <a:pt x="767" y="493"/>
                  </a:lnTo>
                  <a:lnTo>
                    <a:pt x="767" y="492"/>
                  </a:lnTo>
                  <a:lnTo>
                    <a:pt x="768" y="492"/>
                  </a:lnTo>
                  <a:lnTo>
                    <a:pt x="768" y="493"/>
                  </a:lnTo>
                  <a:lnTo>
                    <a:pt x="767" y="494"/>
                  </a:lnTo>
                  <a:lnTo>
                    <a:pt x="767" y="496"/>
                  </a:lnTo>
                  <a:lnTo>
                    <a:pt x="768" y="496"/>
                  </a:lnTo>
                  <a:lnTo>
                    <a:pt x="768" y="497"/>
                  </a:lnTo>
                  <a:lnTo>
                    <a:pt x="767" y="498"/>
                  </a:lnTo>
                  <a:lnTo>
                    <a:pt x="765" y="498"/>
                  </a:lnTo>
                  <a:lnTo>
                    <a:pt x="767" y="498"/>
                  </a:lnTo>
                  <a:lnTo>
                    <a:pt x="768" y="498"/>
                  </a:lnTo>
                  <a:lnTo>
                    <a:pt x="768" y="499"/>
                  </a:lnTo>
                  <a:lnTo>
                    <a:pt x="769" y="499"/>
                  </a:lnTo>
                  <a:lnTo>
                    <a:pt x="770" y="499"/>
                  </a:lnTo>
                  <a:lnTo>
                    <a:pt x="771" y="499"/>
                  </a:lnTo>
                  <a:lnTo>
                    <a:pt x="771" y="500"/>
                  </a:lnTo>
                  <a:lnTo>
                    <a:pt x="772" y="500"/>
                  </a:lnTo>
                  <a:lnTo>
                    <a:pt x="771" y="500"/>
                  </a:lnTo>
                  <a:lnTo>
                    <a:pt x="772" y="500"/>
                  </a:lnTo>
                  <a:lnTo>
                    <a:pt x="774" y="500"/>
                  </a:lnTo>
                  <a:lnTo>
                    <a:pt x="775" y="500"/>
                  </a:lnTo>
                  <a:lnTo>
                    <a:pt x="776" y="501"/>
                  </a:lnTo>
                  <a:lnTo>
                    <a:pt x="775" y="501"/>
                  </a:lnTo>
                  <a:lnTo>
                    <a:pt x="775" y="503"/>
                  </a:lnTo>
                  <a:lnTo>
                    <a:pt x="772" y="503"/>
                  </a:lnTo>
                  <a:lnTo>
                    <a:pt x="772" y="504"/>
                  </a:lnTo>
                  <a:lnTo>
                    <a:pt x="772" y="503"/>
                  </a:lnTo>
                  <a:lnTo>
                    <a:pt x="774" y="504"/>
                  </a:lnTo>
                  <a:lnTo>
                    <a:pt x="775" y="504"/>
                  </a:lnTo>
                  <a:lnTo>
                    <a:pt x="775" y="505"/>
                  </a:lnTo>
                  <a:lnTo>
                    <a:pt x="776" y="505"/>
                  </a:lnTo>
                  <a:lnTo>
                    <a:pt x="775" y="506"/>
                  </a:lnTo>
                  <a:lnTo>
                    <a:pt x="776" y="506"/>
                  </a:lnTo>
                  <a:lnTo>
                    <a:pt x="776" y="505"/>
                  </a:lnTo>
                  <a:lnTo>
                    <a:pt x="776" y="506"/>
                  </a:lnTo>
                  <a:lnTo>
                    <a:pt x="777" y="506"/>
                  </a:lnTo>
                  <a:lnTo>
                    <a:pt x="777" y="505"/>
                  </a:lnTo>
                  <a:lnTo>
                    <a:pt x="778" y="505"/>
                  </a:lnTo>
                  <a:lnTo>
                    <a:pt x="779" y="505"/>
                  </a:lnTo>
                  <a:lnTo>
                    <a:pt x="778" y="505"/>
                  </a:lnTo>
                  <a:lnTo>
                    <a:pt x="779" y="505"/>
                  </a:lnTo>
                  <a:lnTo>
                    <a:pt x="779" y="506"/>
                  </a:lnTo>
                  <a:lnTo>
                    <a:pt x="778" y="506"/>
                  </a:lnTo>
                  <a:lnTo>
                    <a:pt x="779" y="506"/>
                  </a:lnTo>
                  <a:lnTo>
                    <a:pt x="781" y="506"/>
                  </a:lnTo>
                  <a:lnTo>
                    <a:pt x="782" y="506"/>
                  </a:lnTo>
                  <a:lnTo>
                    <a:pt x="781" y="506"/>
                  </a:lnTo>
                  <a:lnTo>
                    <a:pt x="781" y="507"/>
                  </a:lnTo>
                  <a:lnTo>
                    <a:pt x="779" y="507"/>
                  </a:lnTo>
                  <a:lnTo>
                    <a:pt x="781" y="507"/>
                  </a:lnTo>
                  <a:lnTo>
                    <a:pt x="782" y="507"/>
                  </a:lnTo>
                  <a:lnTo>
                    <a:pt x="782" y="506"/>
                  </a:lnTo>
                  <a:lnTo>
                    <a:pt x="782" y="507"/>
                  </a:lnTo>
                  <a:lnTo>
                    <a:pt x="783" y="507"/>
                  </a:lnTo>
                  <a:lnTo>
                    <a:pt x="784" y="507"/>
                  </a:lnTo>
                  <a:lnTo>
                    <a:pt x="784" y="506"/>
                  </a:lnTo>
                  <a:lnTo>
                    <a:pt x="783" y="506"/>
                  </a:lnTo>
                  <a:lnTo>
                    <a:pt x="785" y="506"/>
                  </a:lnTo>
                  <a:lnTo>
                    <a:pt x="788" y="507"/>
                  </a:lnTo>
                  <a:lnTo>
                    <a:pt x="788" y="506"/>
                  </a:lnTo>
                  <a:lnTo>
                    <a:pt x="789" y="507"/>
                  </a:lnTo>
                  <a:lnTo>
                    <a:pt x="788" y="507"/>
                  </a:lnTo>
                  <a:lnTo>
                    <a:pt x="789" y="507"/>
                  </a:lnTo>
                  <a:lnTo>
                    <a:pt x="788" y="508"/>
                  </a:lnTo>
                  <a:lnTo>
                    <a:pt x="786" y="508"/>
                  </a:lnTo>
                  <a:lnTo>
                    <a:pt x="788" y="508"/>
                  </a:lnTo>
                  <a:lnTo>
                    <a:pt x="786" y="508"/>
                  </a:lnTo>
                  <a:lnTo>
                    <a:pt x="786" y="510"/>
                  </a:lnTo>
                  <a:lnTo>
                    <a:pt x="788" y="508"/>
                  </a:lnTo>
                  <a:lnTo>
                    <a:pt x="789" y="508"/>
                  </a:lnTo>
                  <a:lnTo>
                    <a:pt x="790" y="508"/>
                  </a:lnTo>
                  <a:lnTo>
                    <a:pt x="790" y="510"/>
                  </a:lnTo>
                  <a:lnTo>
                    <a:pt x="791" y="508"/>
                  </a:lnTo>
                  <a:lnTo>
                    <a:pt x="792" y="508"/>
                  </a:lnTo>
                  <a:lnTo>
                    <a:pt x="791" y="508"/>
                  </a:lnTo>
                  <a:lnTo>
                    <a:pt x="793" y="507"/>
                  </a:lnTo>
                  <a:lnTo>
                    <a:pt x="796" y="506"/>
                  </a:lnTo>
                  <a:lnTo>
                    <a:pt x="797" y="505"/>
                  </a:lnTo>
                  <a:lnTo>
                    <a:pt x="798" y="505"/>
                  </a:lnTo>
                  <a:lnTo>
                    <a:pt x="798" y="506"/>
                  </a:lnTo>
                  <a:lnTo>
                    <a:pt x="798" y="507"/>
                  </a:lnTo>
                  <a:lnTo>
                    <a:pt x="798" y="508"/>
                  </a:lnTo>
                  <a:lnTo>
                    <a:pt x="799" y="508"/>
                  </a:lnTo>
                  <a:lnTo>
                    <a:pt x="800" y="510"/>
                  </a:lnTo>
                  <a:lnTo>
                    <a:pt x="800" y="508"/>
                  </a:lnTo>
                  <a:lnTo>
                    <a:pt x="800" y="510"/>
                  </a:lnTo>
                  <a:lnTo>
                    <a:pt x="800" y="508"/>
                  </a:lnTo>
                  <a:lnTo>
                    <a:pt x="802" y="508"/>
                  </a:lnTo>
                  <a:lnTo>
                    <a:pt x="803" y="508"/>
                  </a:lnTo>
                  <a:lnTo>
                    <a:pt x="804" y="508"/>
                  </a:lnTo>
                  <a:lnTo>
                    <a:pt x="804" y="510"/>
                  </a:lnTo>
                  <a:lnTo>
                    <a:pt x="804" y="511"/>
                  </a:lnTo>
                  <a:lnTo>
                    <a:pt x="805" y="511"/>
                  </a:lnTo>
                  <a:lnTo>
                    <a:pt x="805" y="512"/>
                  </a:lnTo>
                  <a:lnTo>
                    <a:pt x="804" y="512"/>
                  </a:lnTo>
                  <a:lnTo>
                    <a:pt x="803" y="512"/>
                  </a:lnTo>
                  <a:lnTo>
                    <a:pt x="803" y="513"/>
                  </a:lnTo>
                  <a:lnTo>
                    <a:pt x="802" y="513"/>
                  </a:lnTo>
                  <a:lnTo>
                    <a:pt x="806" y="513"/>
                  </a:lnTo>
                  <a:lnTo>
                    <a:pt x="807" y="513"/>
                  </a:lnTo>
                  <a:lnTo>
                    <a:pt x="807" y="514"/>
                  </a:lnTo>
                  <a:lnTo>
                    <a:pt x="806" y="514"/>
                  </a:lnTo>
                  <a:lnTo>
                    <a:pt x="806" y="515"/>
                  </a:lnTo>
                  <a:lnTo>
                    <a:pt x="805" y="515"/>
                  </a:lnTo>
                  <a:lnTo>
                    <a:pt x="805" y="514"/>
                  </a:lnTo>
                  <a:lnTo>
                    <a:pt x="805" y="515"/>
                  </a:lnTo>
                  <a:lnTo>
                    <a:pt x="804" y="515"/>
                  </a:lnTo>
                  <a:lnTo>
                    <a:pt x="804" y="514"/>
                  </a:lnTo>
                  <a:lnTo>
                    <a:pt x="804" y="515"/>
                  </a:lnTo>
                  <a:lnTo>
                    <a:pt x="804" y="514"/>
                  </a:lnTo>
                  <a:lnTo>
                    <a:pt x="803" y="514"/>
                  </a:lnTo>
                  <a:lnTo>
                    <a:pt x="803" y="515"/>
                  </a:lnTo>
                  <a:lnTo>
                    <a:pt x="802" y="515"/>
                  </a:lnTo>
                  <a:lnTo>
                    <a:pt x="803" y="515"/>
                  </a:lnTo>
                  <a:lnTo>
                    <a:pt x="802" y="515"/>
                  </a:lnTo>
                  <a:lnTo>
                    <a:pt x="802" y="517"/>
                  </a:lnTo>
                  <a:lnTo>
                    <a:pt x="799" y="517"/>
                  </a:lnTo>
                  <a:lnTo>
                    <a:pt x="798" y="515"/>
                  </a:lnTo>
                  <a:lnTo>
                    <a:pt x="798" y="517"/>
                  </a:lnTo>
                  <a:lnTo>
                    <a:pt x="798" y="515"/>
                  </a:lnTo>
                  <a:lnTo>
                    <a:pt x="798" y="517"/>
                  </a:lnTo>
                  <a:lnTo>
                    <a:pt x="798" y="518"/>
                  </a:lnTo>
                  <a:lnTo>
                    <a:pt x="797" y="518"/>
                  </a:lnTo>
                  <a:lnTo>
                    <a:pt x="797" y="517"/>
                  </a:lnTo>
                  <a:lnTo>
                    <a:pt x="797" y="518"/>
                  </a:lnTo>
                  <a:lnTo>
                    <a:pt x="796" y="517"/>
                  </a:lnTo>
                  <a:lnTo>
                    <a:pt x="796" y="518"/>
                  </a:lnTo>
                  <a:lnTo>
                    <a:pt x="795" y="518"/>
                  </a:lnTo>
                  <a:lnTo>
                    <a:pt x="793" y="518"/>
                  </a:lnTo>
                  <a:lnTo>
                    <a:pt x="793" y="519"/>
                  </a:lnTo>
                  <a:lnTo>
                    <a:pt x="793" y="518"/>
                  </a:lnTo>
                  <a:lnTo>
                    <a:pt x="793" y="519"/>
                  </a:lnTo>
                  <a:lnTo>
                    <a:pt x="792" y="519"/>
                  </a:lnTo>
                  <a:lnTo>
                    <a:pt x="793" y="519"/>
                  </a:lnTo>
                  <a:lnTo>
                    <a:pt x="792" y="519"/>
                  </a:lnTo>
                  <a:lnTo>
                    <a:pt x="791" y="519"/>
                  </a:lnTo>
                  <a:lnTo>
                    <a:pt x="790" y="519"/>
                  </a:lnTo>
                  <a:lnTo>
                    <a:pt x="790" y="520"/>
                  </a:lnTo>
                  <a:lnTo>
                    <a:pt x="789" y="520"/>
                  </a:lnTo>
                  <a:lnTo>
                    <a:pt x="788" y="520"/>
                  </a:lnTo>
                  <a:lnTo>
                    <a:pt x="788" y="521"/>
                  </a:lnTo>
                  <a:lnTo>
                    <a:pt x="786" y="521"/>
                  </a:lnTo>
                  <a:lnTo>
                    <a:pt x="786" y="520"/>
                  </a:lnTo>
                  <a:lnTo>
                    <a:pt x="786" y="521"/>
                  </a:lnTo>
                  <a:lnTo>
                    <a:pt x="785" y="521"/>
                  </a:lnTo>
                  <a:lnTo>
                    <a:pt x="784" y="521"/>
                  </a:lnTo>
                  <a:lnTo>
                    <a:pt x="784" y="522"/>
                  </a:lnTo>
                  <a:lnTo>
                    <a:pt x="784" y="521"/>
                  </a:lnTo>
                  <a:lnTo>
                    <a:pt x="782" y="522"/>
                  </a:lnTo>
                  <a:lnTo>
                    <a:pt x="782" y="524"/>
                  </a:lnTo>
                  <a:lnTo>
                    <a:pt x="782" y="522"/>
                  </a:lnTo>
                  <a:lnTo>
                    <a:pt x="781" y="522"/>
                  </a:lnTo>
                  <a:lnTo>
                    <a:pt x="779" y="524"/>
                  </a:lnTo>
                  <a:lnTo>
                    <a:pt x="779" y="522"/>
                  </a:lnTo>
                  <a:lnTo>
                    <a:pt x="778" y="522"/>
                  </a:lnTo>
                  <a:lnTo>
                    <a:pt x="779" y="522"/>
                  </a:lnTo>
                  <a:lnTo>
                    <a:pt x="779" y="524"/>
                  </a:lnTo>
                  <a:lnTo>
                    <a:pt x="778" y="524"/>
                  </a:lnTo>
                  <a:lnTo>
                    <a:pt x="778" y="522"/>
                  </a:lnTo>
                  <a:lnTo>
                    <a:pt x="777" y="524"/>
                  </a:lnTo>
                  <a:lnTo>
                    <a:pt x="777" y="522"/>
                  </a:lnTo>
                  <a:lnTo>
                    <a:pt x="777" y="524"/>
                  </a:lnTo>
                  <a:lnTo>
                    <a:pt x="776" y="524"/>
                  </a:lnTo>
                  <a:lnTo>
                    <a:pt x="777" y="524"/>
                  </a:lnTo>
                  <a:lnTo>
                    <a:pt x="776" y="522"/>
                  </a:lnTo>
                  <a:lnTo>
                    <a:pt x="776" y="524"/>
                  </a:lnTo>
                  <a:lnTo>
                    <a:pt x="776" y="525"/>
                  </a:lnTo>
                  <a:lnTo>
                    <a:pt x="775" y="525"/>
                  </a:lnTo>
                  <a:lnTo>
                    <a:pt x="774" y="525"/>
                  </a:lnTo>
                  <a:lnTo>
                    <a:pt x="774" y="524"/>
                  </a:lnTo>
                  <a:lnTo>
                    <a:pt x="775" y="524"/>
                  </a:lnTo>
                  <a:lnTo>
                    <a:pt x="774" y="524"/>
                  </a:lnTo>
                  <a:lnTo>
                    <a:pt x="774" y="525"/>
                  </a:lnTo>
                  <a:lnTo>
                    <a:pt x="772" y="525"/>
                  </a:lnTo>
                  <a:lnTo>
                    <a:pt x="772" y="524"/>
                  </a:lnTo>
                  <a:lnTo>
                    <a:pt x="771" y="524"/>
                  </a:lnTo>
                  <a:lnTo>
                    <a:pt x="771" y="525"/>
                  </a:lnTo>
                  <a:lnTo>
                    <a:pt x="772" y="525"/>
                  </a:lnTo>
                  <a:lnTo>
                    <a:pt x="771" y="525"/>
                  </a:lnTo>
                  <a:lnTo>
                    <a:pt x="771" y="526"/>
                  </a:lnTo>
                  <a:lnTo>
                    <a:pt x="771" y="527"/>
                  </a:lnTo>
                  <a:lnTo>
                    <a:pt x="770" y="527"/>
                  </a:lnTo>
                  <a:lnTo>
                    <a:pt x="769" y="527"/>
                  </a:lnTo>
                  <a:lnTo>
                    <a:pt x="769" y="526"/>
                  </a:lnTo>
                  <a:lnTo>
                    <a:pt x="769" y="527"/>
                  </a:lnTo>
                  <a:lnTo>
                    <a:pt x="768" y="527"/>
                  </a:lnTo>
                  <a:lnTo>
                    <a:pt x="768" y="526"/>
                  </a:lnTo>
                  <a:lnTo>
                    <a:pt x="769" y="526"/>
                  </a:lnTo>
                  <a:lnTo>
                    <a:pt x="768" y="526"/>
                  </a:lnTo>
                  <a:lnTo>
                    <a:pt x="767" y="527"/>
                  </a:lnTo>
                  <a:lnTo>
                    <a:pt x="767" y="526"/>
                  </a:lnTo>
                  <a:lnTo>
                    <a:pt x="767" y="525"/>
                  </a:lnTo>
                  <a:lnTo>
                    <a:pt x="768" y="525"/>
                  </a:lnTo>
                  <a:lnTo>
                    <a:pt x="768" y="524"/>
                  </a:lnTo>
                  <a:lnTo>
                    <a:pt x="767" y="524"/>
                  </a:lnTo>
                  <a:lnTo>
                    <a:pt x="765" y="525"/>
                  </a:lnTo>
                  <a:lnTo>
                    <a:pt x="765" y="526"/>
                  </a:lnTo>
                  <a:lnTo>
                    <a:pt x="765" y="527"/>
                  </a:lnTo>
                  <a:lnTo>
                    <a:pt x="764" y="527"/>
                  </a:lnTo>
                  <a:lnTo>
                    <a:pt x="764" y="526"/>
                  </a:lnTo>
                  <a:lnTo>
                    <a:pt x="764" y="525"/>
                  </a:lnTo>
                  <a:lnTo>
                    <a:pt x="763" y="525"/>
                  </a:lnTo>
                  <a:lnTo>
                    <a:pt x="763" y="526"/>
                  </a:lnTo>
                  <a:lnTo>
                    <a:pt x="762" y="526"/>
                  </a:lnTo>
                  <a:lnTo>
                    <a:pt x="762" y="527"/>
                  </a:lnTo>
                  <a:lnTo>
                    <a:pt x="761" y="527"/>
                  </a:lnTo>
                  <a:lnTo>
                    <a:pt x="761" y="528"/>
                  </a:lnTo>
                  <a:lnTo>
                    <a:pt x="762" y="528"/>
                  </a:lnTo>
                  <a:lnTo>
                    <a:pt x="761" y="528"/>
                  </a:lnTo>
                  <a:lnTo>
                    <a:pt x="762" y="528"/>
                  </a:lnTo>
                  <a:lnTo>
                    <a:pt x="761" y="528"/>
                  </a:lnTo>
                  <a:lnTo>
                    <a:pt x="761" y="529"/>
                  </a:lnTo>
                  <a:lnTo>
                    <a:pt x="762" y="529"/>
                  </a:lnTo>
                  <a:lnTo>
                    <a:pt x="761" y="529"/>
                  </a:lnTo>
                  <a:lnTo>
                    <a:pt x="762" y="529"/>
                  </a:lnTo>
                  <a:lnTo>
                    <a:pt x="761" y="531"/>
                  </a:lnTo>
                  <a:lnTo>
                    <a:pt x="761" y="529"/>
                  </a:lnTo>
                  <a:lnTo>
                    <a:pt x="760" y="529"/>
                  </a:lnTo>
                  <a:lnTo>
                    <a:pt x="761" y="529"/>
                  </a:lnTo>
                  <a:lnTo>
                    <a:pt x="760" y="529"/>
                  </a:lnTo>
                  <a:lnTo>
                    <a:pt x="760" y="531"/>
                  </a:lnTo>
                  <a:lnTo>
                    <a:pt x="759" y="531"/>
                  </a:lnTo>
                  <a:lnTo>
                    <a:pt x="759" y="532"/>
                  </a:lnTo>
                  <a:lnTo>
                    <a:pt x="757" y="532"/>
                  </a:lnTo>
                  <a:lnTo>
                    <a:pt x="756" y="532"/>
                  </a:lnTo>
                  <a:lnTo>
                    <a:pt x="757" y="532"/>
                  </a:lnTo>
                  <a:lnTo>
                    <a:pt x="757" y="533"/>
                  </a:lnTo>
                  <a:lnTo>
                    <a:pt x="756" y="533"/>
                  </a:lnTo>
                  <a:lnTo>
                    <a:pt x="755" y="533"/>
                  </a:lnTo>
                  <a:lnTo>
                    <a:pt x="755" y="534"/>
                  </a:lnTo>
                  <a:lnTo>
                    <a:pt x="754" y="534"/>
                  </a:lnTo>
                  <a:lnTo>
                    <a:pt x="754" y="535"/>
                  </a:lnTo>
                  <a:lnTo>
                    <a:pt x="753" y="535"/>
                  </a:lnTo>
                  <a:lnTo>
                    <a:pt x="753" y="536"/>
                  </a:lnTo>
                  <a:lnTo>
                    <a:pt x="752" y="536"/>
                  </a:lnTo>
                  <a:lnTo>
                    <a:pt x="752" y="538"/>
                  </a:lnTo>
                  <a:lnTo>
                    <a:pt x="750" y="538"/>
                  </a:lnTo>
                  <a:lnTo>
                    <a:pt x="750" y="536"/>
                  </a:lnTo>
                  <a:lnTo>
                    <a:pt x="750" y="538"/>
                  </a:lnTo>
                  <a:lnTo>
                    <a:pt x="749" y="538"/>
                  </a:lnTo>
                  <a:lnTo>
                    <a:pt x="749" y="536"/>
                  </a:lnTo>
                  <a:lnTo>
                    <a:pt x="749" y="538"/>
                  </a:lnTo>
                  <a:lnTo>
                    <a:pt x="749" y="539"/>
                  </a:lnTo>
                  <a:lnTo>
                    <a:pt x="748" y="539"/>
                  </a:lnTo>
                  <a:lnTo>
                    <a:pt x="749" y="539"/>
                  </a:lnTo>
                  <a:lnTo>
                    <a:pt x="748" y="538"/>
                  </a:lnTo>
                  <a:lnTo>
                    <a:pt x="748" y="539"/>
                  </a:lnTo>
                  <a:lnTo>
                    <a:pt x="748" y="540"/>
                  </a:lnTo>
                  <a:lnTo>
                    <a:pt x="747" y="539"/>
                  </a:lnTo>
                  <a:lnTo>
                    <a:pt x="748" y="539"/>
                  </a:lnTo>
                  <a:lnTo>
                    <a:pt x="748" y="538"/>
                  </a:lnTo>
                  <a:lnTo>
                    <a:pt x="747" y="539"/>
                  </a:lnTo>
                  <a:lnTo>
                    <a:pt x="747" y="538"/>
                  </a:lnTo>
                  <a:lnTo>
                    <a:pt x="747" y="539"/>
                  </a:lnTo>
                  <a:lnTo>
                    <a:pt x="746" y="540"/>
                  </a:lnTo>
                  <a:lnTo>
                    <a:pt x="746" y="539"/>
                  </a:lnTo>
                  <a:lnTo>
                    <a:pt x="746" y="538"/>
                  </a:lnTo>
                  <a:lnTo>
                    <a:pt x="746" y="539"/>
                  </a:lnTo>
                  <a:lnTo>
                    <a:pt x="745" y="539"/>
                  </a:lnTo>
                  <a:lnTo>
                    <a:pt x="745" y="540"/>
                  </a:lnTo>
                  <a:lnTo>
                    <a:pt x="745" y="541"/>
                  </a:lnTo>
                  <a:lnTo>
                    <a:pt x="743" y="541"/>
                  </a:lnTo>
                  <a:lnTo>
                    <a:pt x="743" y="542"/>
                  </a:lnTo>
                  <a:lnTo>
                    <a:pt x="743" y="541"/>
                  </a:lnTo>
                  <a:lnTo>
                    <a:pt x="742" y="541"/>
                  </a:lnTo>
                  <a:lnTo>
                    <a:pt x="742" y="542"/>
                  </a:lnTo>
                  <a:lnTo>
                    <a:pt x="742" y="541"/>
                  </a:lnTo>
                  <a:lnTo>
                    <a:pt x="741" y="541"/>
                  </a:lnTo>
                  <a:lnTo>
                    <a:pt x="740" y="542"/>
                  </a:lnTo>
                  <a:lnTo>
                    <a:pt x="739" y="542"/>
                  </a:lnTo>
                  <a:lnTo>
                    <a:pt x="739" y="541"/>
                  </a:lnTo>
                  <a:lnTo>
                    <a:pt x="740" y="541"/>
                  </a:lnTo>
                  <a:lnTo>
                    <a:pt x="739" y="541"/>
                  </a:lnTo>
                  <a:lnTo>
                    <a:pt x="740" y="540"/>
                  </a:lnTo>
                  <a:lnTo>
                    <a:pt x="740" y="539"/>
                  </a:lnTo>
                  <a:lnTo>
                    <a:pt x="739" y="539"/>
                  </a:lnTo>
                  <a:lnTo>
                    <a:pt x="739" y="540"/>
                  </a:lnTo>
                  <a:lnTo>
                    <a:pt x="739" y="539"/>
                  </a:lnTo>
                  <a:lnTo>
                    <a:pt x="739" y="538"/>
                  </a:lnTo>
                  <a:lnTo>
                    <a:pt x="739" y="536"/>
                  </a:lnTo>
                  <a:lnTo>
                    <a:pt x="738" y="538"/>
                  </a:lnTo>
                  <a:lnTo>
                    <a:pt x="739" y="538"/>
                  </a:lnTo>
                  <a:lnTo>
                    <a:pt x="738" y="538"/>
                  </a:lnTo>
                  <a:lnTo>
                    <a:pt x="738" y="536"/>
                  </a:lnTo>
                  <a:lnTo>
                    <a:pt x="738" y="538"/>
                  </a:lnTo>
                  <a:lnTo>
                    <a:pt x="738" y="539"/>
                  </a:lnTo>
                  <a:lnTo>
                    <a:pt x="736" y="539"/>
                  </a:lnTo>
                  <a:lnTo>
                    <a:pt x="738" y="539"/>
                  </a:lnTo>
                  <a:lnTo>
                    <a:pt x="736" y="539"/>
                  </a:lnTo>
                  <a:lnTo>
                    <a:pt x="736" y="538"/>
                  </a:lnTo>
                  <a:lnTo>
                    <a:pt x="735" y="538"/>
                  </a:lnTo>
                  <a:lnTo>
                    <a:pt x="735" y="539"/>
                  </a:lnTo>
                  <a:lnTo>
                    <a:pt x="735" y="538"/>
                  </a:lnTo>
                  <a:lnTo>
                    <a:pt x="736" y="536"/>
                  </a:lnTo>
                  <a:lnTo>
                    <a:pt x="735" y="536"/>
                  </a:lnTo>
                  <a:lnTo>
                    <a:pt x="735" y="535"/>
                  </a:lnTo>
                  <a:lnTo>
                    <a:pt x="736" y="535"/>
                  </a:lnTo>
                  <a:lnTo>
                    <a:pt x="736" y="534"/>
                  </a:lnTo>
                  <a:lnTo>
                    <a:pt x="736" y="533"/>
                  </a:lnTo>
                  <a:lnTo>
                    <a:pt x="736" y="532"/>
                  </a:lnTo>
                  <a:lnTo>
                    <a:pt x="738" y="531"/>
                  </a:lnTo>
                  <a:lnTo>
                    <a:pt x="739" y="529"/>
                  </a:lnTo>
                  <a:lnTo>
                    <a:pt x="739" y="528"/>
                  </a:lnTo>
                  <a:lnTo>
                    <a:pt x="740" y="528"/>
                  </a:lnTo>
                  <a:lnTo>
                    <a:pt x="740" y="527"/>
                  </a:lnTo>
                  <a:lnTo>
                    <a:pt x="741" y="527"/>
                  </a:lnTo>
                  <a:lnTo>
                    <a:pt x="742" y="526"/>
                  </a:lnTo>
                  <a:lnTo>
                    <a:pt x="743" y="526"/>
                  </a:lnTo>
                  <a:lnTo>
                    <a:pt x="743" y="525"/>
                  </a:lnTo>
                  <a:lnTo>
                    <a:pt x="742" y="525"/>
                  </a:lnTo>
                  <a:lnTo>
                    <a:pt x="740" y="526"/>
                  </a:lnTo>
                  <a:lnTo>
                    <a:pt x="738" y="528"/>
                  </a:lnTo>
                  <a:lnTo>
                    <a:pt x="738" y="527"/>
                  </a:lnTo>
                  <a:lnTo>
                    <a:pt x="741" y="525"/>
                  </a:lnTo>
                  <a:lnTo>
                    <a:pt x="742" y="525"/>
                  </a:lnTo>
                  <a:lnTo>
                    <a:pt x="743" y="525"/>
                  </a:lnTo>
                  <a:lnTo>
                    <a:pt x="745" y="524"/>
                  </a:lnTo>
                  <a:lnTo>
                    <a:pt x="745" y="525"/>
                  </a:lnTo>
                  <a:lnTo>
                    <a:pt x="746" y="525"/>
                  </a:lnTo>
                  <a:lnTo>
                    <a:pt x="746" y="524"/>
                  </a:lnTo>
                  <a:lnTo>
                    <a:pt x="747" y="524"/>
                  </a:lnTo>
                  <a:lnTo>
                    <a:pt x="748" y="522"/>
                  </a:lnTo>
                  <a:lnTo>
                    <a:pt x="749" y="522"/>
                  </a:lnTo>
                  <a:lnTo>
                    <a:pt x="748" y="522"/>
                  </a:lnTo>
                  <a:lnTo>
                    <a:pt x="747" y="524"/>
                  </a:lnTo>
                  <a:lnTo>
                    <a:pt x="746" y="524"/>
                  </a:lnTo>
                  <a:lnTo>
                    <a:pt x="745" y="524"/>
                  </a:lnTo>
                  <a:lnTo>
                    <a:pt x="746" y="522"/>
                  </a:lnTo>
                  <a:lnTo>
                    <a:pt x="747" y="522"/>
                  </a:lnTo>
                  <a:lnTo>
                    <a:pt x="749" y="521"/>
                  </a:lnTo>
                  <a:lnTo>
                    <a:pt x="750" y="520"/>
                  </a:lnTo>
                  <a:lnTo>
                    <a:pt x="753" y="519"/>
                  </a:lnTo>
                  <a:lnTo>
                    <a:pt x="754" y="519"/>
                  </a:lnTo>
                  <a:lnTo>
                    <a:pt x="756" y="518"/>
                  </a:lnTo>
                  <a:lnTo>
                    <a:pt x="759" y="517"/>
                  </a:lnTo>
                  <a:lnTo>
                    <a:pt x="760" y="515"/>
                  </a:lnTo>
                  <a:lnTo>
                    <a:pt x="761" y="515"/>
                  </a:lnTo>
                  <a:lnTo>
                    <a:pt x="762" y="515"/>
                  </a:lnTo>
                  <a:lnTo>
                    <a:pt x="763" y="515"/>
                  </a:lnTo>
                  <a:lnTo>
                    <a:pt x="764" y="514"/>
                  </a:lnTo>
                  <a:lnTo>
                    <a:pt x="764" y="513"/>
                  </a:lnTo>
                  <a:lnTo>
                    <a:pt x="763" y="513"/>
                  </a:lnTo>
                  <a:lnTo>
                    <a:pt x="764" y="513"/>
                  </a:lnTo>
                  <a:lnTo>
                    <a:pt x="765" y="514"/>
                  </a:lnTo>
                  <a:lnTo>
                    <a:pt x="764" y="515"/>
                  </a:lnTo>
                  <a:lnTo>
                    <a:pt x="764" y="517"/>
                  </a:lnTo>
                  <a:lnTo>
                    <a:pt x="765" y="517"/>
                  </a:lnTo>
                  <a:lnTo>
                    <a:pt x="767" y="518"/>
                  </a:lnTo>
                  <a:lnTo>
                    <a:pt x="767" y="519"/>
                  </a:lnTo>
                  <a:lnTo>
                    <a:pt x="767" y="518"/>
                  </a:lnTo>
                  <a:lnTo>
                    <a:pt x="768" y="518"/>
                  </a:lnTo>
                  <a:lnTo>
                    <a:pt x="767" y="518"/>
                  </a:lnTo>
                  <a:lnTo>
                    <a:pt x="767" y="517"/>
                  </a:lnTo>
                  <a:lnTo>
                    <a:pt x="767" y="515"/>
                  </a:lnTo>
                  <a:lnTo>
                    <a:pt x="768" y="515"/>
                  </a:lnTo>
                  <a:lnTo>
                    <a:pt x="769" y="515"/>
                  </a:lnTo>
                  <a:lnTo>
                    <a:pt x="770" y="514"/>
                  </a:lnTo>
                  <a:lnTo>
                    <a:pt x="771" y="514"/>
                  </a:lnTo>
                  <a:lnTo>
                    <a:pt x="772" y="514"/>
                  </a:lnTo>
                  <a:lnTo>
                    <a:pt x="774" y="514"/>
                  </a:lnTo>
                  <a:lnTo>
                    <a:pt x="774" y="513"/>
                  </a:lnTo>
                  <a:lnTo>
                    <a:pt x="774" y="514"/>
                  </a:lnTo>
                  <a:lnTo>
                    <a:pt x="775" y="513"/>
                  </a:lnTo>
                  <a:lnTo>
                    <a:pt x="776" y="513"/>
                  </a:lnTo>
                  <a:lnTo>
                    <a:pt x="776" y="514"/>
                  </a:lnTo>
                  <a:lnTo>
                    <a:pt x="776" y="513"/>
                  </a:lnTo>
                  <a:lnTo>
                    <a:pt x="777" y="513"/>
                  </a:lnTo>
                  <a:lnTo>
                    <a:pt x="778" y="513"/>
                  </a:lnTo>
                  <a:lnTo>
                    <a:pt x="777" y="513"/>
                  </a:lnTo>
                  <a:lnTo>
                    <a:pt x="776" y="513"/>
                  </a:lnTo>
                  <a:lnTo>
                    <a:pt x="775" y="513"/>
                  </a:lnTo>
                  <a:lnTo>
                    <a:pt x="772" y="513"/>
                  </a:lnTo>
                  <a:lnTo>
                    <a:pt x="771" y="513"/>
                  </a:lnTo>
                  <a:lnTo>
                    <a:pt x="771" y="512"/>
                  </a:lnTo>
                  <a:lnTo>
                    <a:pt x="770" y="513"/>
                  </a:lnTo>
                  <a:lnTo>
                    <a:pt x="769" y="513"/>
                  </a:lnTo>
                  <a:lnTo>
                    <a:pt x="770" y="512"/>
                  </a:lnTo>
                  <a:lnTo>
                    <a:pt x="769" y="512"/>
                  </a:lnTo>
                  <a:lnTo>
                    <a:pt x="768" y="512"/>
                  </a:lnTo>
                  <a:lnTo>
                    <a:pt x="767" y="513"/>
                  </a:lnTo>
                  <a:lnTo>
                    <a:pt x="767" y="512"/>
                  </a:lnTo>
                  <a:lnTo>
                    <a:pt x="767" y="513"/>
                  </a:lnTo>
                  <a:lnTo>
                    <a:pt x="765" y="513"/>
                  </a:lnTo>
                  <a:lnTo>
                    <a:pt x="764" y="513"/>
                  </a:lnTo>
                  <a:lnTo>
                    <a:pt x="764" y="512"/>
                  </a:lnTo>
                  <a:lnTo>
                    <a:pt x="763" y="512"/>
                  </a:lnTo>
                  <a:lnTo>
                    <a:pt x="762" y="512"/>
                  </a:lnTo>
                  <a:lnTo>
                    <a:pt x="762" y="513"/>
                  </a:lnTo>
                  <a:lnTo>
                    <a:pt x="761" y="513"/>
                  </a:lnTo>
                  <a:lnTo>
                    <a:pt x="761" y="514"/>
                  </a:lnTo>
                  <a:lnTo>
                    <a:pt x="760" y="514"/>
                  </a:lnTo>
                  <a:lnTo>
                    <a:pt x="760" y="513"/>
                  </a:lnTo>
                  <a:lnTo>
                    <a:pt x="759" y="513"/>
                  </a:lnTo>
                  <a:lnTo>
                    <a:pt x="759" y="512"/>
                  </a:lnTo>
                  <a:lnTo>
                    <a:pt x="760" y="512"/>
                  </a:lnTo>
                  <a:lnTo>
                    <a:pt x="761" y="512"/>
                  </a:lnTo>
                  <a:lnTo>
                    <a:pt x="760" y="511"/>
                  </a:lnTo>
                  <a:lnTo>
                    <a:pt x="762" y="511"/>
                  </a:lnTo>
                  <a:lnTo>
                    <a:pt x="763" y="510"/>
                  </a:lnTo>
                  <a:lnTo>
                    <a:pt x="764" y="510"/>
                  </a:lnTo>
                  <a:lnTo>
                    <a:pt x="764" y="508"/>
                  </a:lnTo>
                  <a:lnTo>
                    <a:pt x="765" y="508"/>
                  </a:lnTo>
                  <a:lnTo>
                    <a:pt x="767" y="507"/>
                  </a:lnTo>
                  <a:lnTo>
                    <a:pt x="768" y="506"/>
                  </a:lnTo>
                  <a:lnTo>
                    <a:pt x="769" y="506"/>
                  </a:lnTo>
                  <a:lnTo>
                    <a:pt x="768" y="506"/>
                  </a:lnTo>
                  <a:lnTo>
                    <a:pt x="768" y="507"/>
                  </a:lnTo>
                  <a:lnTo>
                    <a:pt x="769" y="507"/>
                  </a:lnTo>
                  <a:lnTo>
                    <a:pt x="769" y="506"/>
                  </a:lnTo>
                  <a:lnTo>
                    <a:pt x="768" y="506"/>
                  </a:lnTo>
                  <a:lnTo>
                    <a:pt x="769" y="506"/>
                  </a:lnTo>
                  <a:lnTo>
                    <a:pt x="769" y="505"/>
                  </a:lnTo>
                  <a:lnTo>
                    <a:pt x="768" y="505"/>
                  </a:lnTo>
                  <a:lnTo>
                    <a:pt x="768" y="506"/>
                  </a:lnTo>
                  <a:lnTo>
                    <a:pt x="767" y="506"/>
                  </a:lnTo>
                  <a:lnTo>
                    <a:pt x="765" y="507"/>
                  </a:lnTo>
                  <a:lnTo>
                    <a:pt x="765" y="506"/>
                  </a:lnTo>
                  <a:lnTo>
                    <a:pt x="767" y="506"/>
                  </a:lnTo>
                  <a:lnTo>
                    <a:pt x="765" y="506"/>
                  </a:lnTo>
                  <a:lnTo>
                    <a:pt x="765" y="505"/>
                  </a:lnTo>
                  <a:lnTo>
                    <a:pt x="765" y="504"/>
                  </a:lnTo>
                  <a:lnTo>
                    <a:pt x="764" y="504"/>
                  </a:lnTo>
                  <a:lnTo>
                    <a:pt x="764" y="503"/>
                  </a:lnTo>
                  <a:lnTo>
                    <a:pt x="764" y="501"/>
                  </a:lnTo>
                  <a:lnTo>
                    <a:pt x="764" y="503"/>
                  </a:lnTo>
                  <a:lnTo>
                    <a:pt x="764" y="504"/>
                  </a:lnTo>
                  <a:lnTo>
                    <a:pt x="765" y="504"/>
                  </a:lnTo>
                  <a:lnTo>
                    <a:pt x="765" y="505"/>
                  </a:lnTo>
                  <a:lnTo>
                    <a:pt x="765" y="506"/>
                  </a:lnTo>
                  <a:lnTo>
                    <a:pt x="764" y="506"/>
                  </a:lnTo>
                  <a:lnTo>
                    <a:pt x="763" y="507"/>
                  </a:lnTo>
                  <a:lnTo>
                    <a:pt x="764" y="507"/>
                  </a:lnTo>
                  <a:lnTo>
                    <a:pt x="763" y="507"/>
                  </a:lnTo>
                  <a:lnTo>
                    <a:pt x="763" y="508"/>
                  </a:lnTo>
                  <a:lnTo>
                    <a:pt x="762" y="508"/>
                  </a:lnTo>
                  <a:lnTo>
                    <a:pt x="762" y="510"/>
                  </a:lnTo>
                  <a:lnTo>
                    <a:pt x="761" y="510"/>
                  </a:lnTo>
                  <a:lnTo>
                    <a:pt x="761" y="508"/>
                  </a:lnTo>
                  <a:lnTo>
                    <a:pt x="760" y="508"/>
                  </a:lnTo>
                  <a:lnTo>
                    <a:pt x="760" y="510"/>
                  </a:lnTo>
                  <a:lnTo>
                    <a:pt x="759" y="510"/>
                  </a:lnTo>
                  <a:lnTo>
                    <a:pt x="756" y="511"/>
                  </a:lnTo>
                  <a:lnTo>
                    <a:pt x="754" y="512"/>
                  </a:lnTo>
                  <a:lnTo>
                    <a:pt x="752" y="513"/>
                  </a:lnTo>
                  <a:lnTo>
                    <a:pt x="750" y="513"/>
                  </a:lnTo>
                  <a:lnTo>
                    <a:pt x="749" y="514"/>
                  </a:lnTo>
                  <a:lnTo>
                    <a:pt x="748" y="514"/>
                  </a:lnTo>
                  <a:lnTo>
                    <a:pt x="748" y="515"/>
                  </a:lnTo>
                  <a:lnTo>
                    <a:pt x="747" y="514"/>
                  </a:lnTo>
                  <a:lnTo>
                    <a:pt x="747" y="515"/>
                  </a:lnTo>
                  <a:lnTo>
                    <a:pt x="746" y="515"/>
                  </a:lnTo>
                  <a:lnTo>
                    <a:pt x="745" y="515"/>
                  </a:lnTo>
                  <a:lnTo>
                    <a:pt x="745" y="514"/>
                  </a:lnTo>
                  <a:lnTo>
                    <a:pt x="743" y="514"/>
                  </a:lnTo>
                  <a:lnTo>
                    <a:pt x="745" y="513"/>
                  </a:lnTo>
                  <a:lnTo>
                    <a:pt x="746" y="512"/>
                  </a:lnTo>
                  <a:lnTo>
                    <a:pt x="745" y="512"/>
                  </a:lnTo>
                  <a:lnTo>
                    <a:pt x="745" y="513"/>
                  </a:lnTo>
                  <a:lnTo>
                    <a:pt x="743" y="513"/>
                  </a:lnTo>
                  <a:lnTo>
                    <a:pt x="742" y="513"/>
                  </a:lnTo>
                  <a:lnTo>
                    <a:pt x="742" y="514"/>
                  </a:lnTo>
                  <a:lnTo>
                    <a:pt x="743" y="514"/>
                  </a:lnTo>
                  <a:lnTo>
                    <a:pt x="743" y="515"/>
                  </a:lnTo>
                  <a:lnTo>
                    <a:pt x="742" y="515"/>
                  </a:lnTo>
                  <a:lnTo>
                    <a:pt x="741" y="515"/>
                  </a:lnTo>
                  <a:lnTo>
                    <a:pt x="741" y="517"/>
                  </a:lnTo>
                  <a:lnTo>
                    <a:pt x="741" y="515"/>
                  </a:lnTo>
                  <a:lnTo>
                    <a:pt x="740" y="515"/>
                  </a:lnTo>
                  <a:lnTo>
                    <a:pt x="741" y="515"/>
                  </a:lnTo>
                  <a:lnTo>
                    <a:pt x="741" y="517"/>
                  </a:lnTo>
                  <a:lnTo>
                    <a:pt x="740" y="517"/>
                  </a:lnTo>
                  <a:lnTo>
                    <a:pt x="739" y="517"/>
                  </a:lnTo>
                  <a:lnTo>
                    <a:pt x="739" y="518"/>
                  </a:lnTo>
                  <a:lnTo>
                    <a:pt x="738" y="518"/>
                  </a:lnTo>
                  <a:lnTo>
                    <a:pt x="738" y="517"/>
                  </a:lnTo>
                  <a:lnTo>
                    <a:pt x="735" y="518"/>
                  </a:lnTo>
                  <a:lnTo>
                    <a:pt x="734" y="518"/>
                  </a:lnTo>
                  <a:lnTo>
                    <a:pt x="734" y="517"/>
                  </a:lnTo>
                  <a:lnTo>
                    <a:pt x="734" y="518"/>
                  </a:lnTo>
                  <a:lnTo>
                    <a:pt x="733" y="518"/>
                  </a:lnTo>
                  <a:lnTo>
                    <a:pt x="733" y="517"/>
                  </a:lnTo>
                  <a:lnTo>
                    <a:pt x="733" y="515"/>
                  </a:lnTo>
                  <a:lnTo>
                    <a:pt x="732" y="515"/>
                  </a:lnTo>
                  <a:lnTo>
                    <a:pt x="732" y="517"/>
                  </a:lnTo>
                  <a:lnTo>
                    <a:pt x="731" y="517"/>
                  </a:lnTo>
                  <a:lnTo>
                    <a:pt x="731" y="518"/>
                  </a:lnTo>
                  <a:lnTo>
                    <a:pt x="731" y="517"/>
                  </a:lnTo>
                  <a:lnTo>
                    <a:pt x="729" y="517"/>
                  </a:lnTo>
                  <a:lnTo>
                    <a:pt x="731" y="515"/>
                  </a:lnTo>
                  <a:lnTo>
                    <a:pt x="729" y="515"/>
                  </a:lnTo>
                  <a:lnTo>
                    <a:pt x="728" y="515"/>
                  </a:lnTo>
                  <a:lnTo>
                    <a:pt x="728" y="517"/>
                  </a:lnTo>
                  <a:lnTo>
                    <a:pt x="727" y="517"/>
                  </a:lnTo>
                  <a:lnTo>
                    <a:pt x="727" y="515"/>
                  </a:lnTo>
                  <a:lnTo>
                    <a:pt x="726" y="514"/>
                  </a:lnTo>
                  <a:lnTo>
                    <a:pt x="727" y="514"/>
                  </a:lnTo>
                  <a:lnTo>
                    <a:pt x="727" y="513"/>
                  </a:lnTo>
                  <a:lnTo>
                    <a:pt x="727" y="512"/>
                  </a:lnTo>
                  <a:lnTo>
                    <a:pt x="727" y="511"/>
                  </a:lnTo>
                  <a:lnTo>
                    <a:pt x="728" y="511"/>
                  </a:lnTo>
                  <a:lnTo>
                    <a:pt x="728" y="510"/>
                  </a:lnTo>
                  <a:lnTo>
                    <a:pt x="728" y="508"/>
                  </a:lnTo>
                  <a:lnTo>
                    <a:pt x="727" y="508"/>
                  </a:lnTo>
                  <a:lnTo>
                    <a:pt x="726" y="508"/>
                  </a:lnTo>
                  <a:lnTo>
                    <a:pt x="726" y="507"/>
                  </a:lnTo>
                  <a:lnTo>
                    <a:pt x="725" y="507"/>
                  </a:lnTo>
                  <a:lnTo>
                    <a:pt x="725" y="506"/>
                  </a:lnTo>
                  <a:lnTo>
                    <a:pt x="726" y="506"/>
                  </a:lnTo>
                  <a:lnTo>
                    <a:pt x="725" y="505"/>
                  </a:lnTo>
                  <a:lnTo>
                    <a:pt x="726" y="505"/>
                  </a:lnTo>
                  <a:lnTo>
                    <a:pt x="726" y="504"/>
                  </a:lnTo>
                  <a:lnTo>
                    <a:pt x="727" y="501"/>
                  </a:lnTo>
                  <a:lnTo>
                    <a:pt x="727" y="499"/>
                  </a:lnTo>
                  <a:lnTo>
                    <a:pt x="728" y="498"/>
                  </a:lnTo>
                  <a:lnTo>
                    <a:pt x="728" y="496"/>
                  </a:lnTo>
                  <a:lnTo>
                    <a:pt x="729" y="493"/>
                  </a:lnTo>
                  <a:lnTo>
                    <a:pt x="729" y="491"/>
                  </a:lnTo>
                  <a:lnTo>
                    <a:pt x="731" y="490"/>
                  </a:lnTo>
                  <a:lnTo>
                    <a:pt x="732" y="487"/>
                  </a:lnTo>
                  <a:lnTo>
                    <a:pt x="732" y="486"/>
                  </a:lnTo>
                  <a:lnTo>
                    <a:pt x="731" y="486"/>
                  </a:lnTo>
                  <a:lnTo>
                    <a:pt x="731" y="485"/>
                  </a:lnTo>
                  <a:lnTo>
                    <a:pt x="729" y="484"/>
                  </a:lnTo>
                  <a:lnTo>
                    <a:pt x="729" y="483"/>
                  </a:lnTo>
                  <a:lnTo>
                    <a:pt x="728" y="483"/>
                  </a:lnTo>
                  <a:lnTo>
                    <a:pt x="727" y="482"/>
                  </a:lnTo>
                  <a:lnTo>
                    <a:pt x="726" y="482"/>
                  </a:lnTo>
                  <a:lnTo>
                    <a:pt x="726" y="483"/>
                  </a:lnTo>
                  <a:lnTo>
                    <a:pt x="725" y="483"/>
                  </a:lnTo>
                  <a:lnTo>
                    <a:pt x="724" y="483"/>
                  </a:lnTo>
                  <a:lnTo>
                    <a:pt x="722" y="483"/>
                  </a:lnTo>
                  <a:lnTo>
                    <a:pt x="722" y="484"/>
                  </a:lnTo>
                  <a:lnTo>
                    <a:pt x="721" y="484"/>
                  </a:lnTo>
                  <a:lnTo>
                    <a:pt x="720" y="484"/>
                  </a:lnTo>
                  <a:lnTo>
                    <a:pt x="719" y="485"/>
                  </a:lnTo>
                  <a:lnTo>
                    <a:pt x="717" y="484"/>
                  </a:lnTo>
                  <a:lnTo>
                    <a:pt x="717" y="483"/>
                  </a:lnTo>
                  <a:lnTo>
                    <a:pt x="718" y="483"/>
                  </a:lnTo>
                  <a:lnTo>
                    <a:pt x="718" y="482"/>
                  </a:lnTo>
                  <a:lnTo>
                    <a:pt x="718" y="480"/>
                  </a:lnTo>
                  <a:lnTo>
                    <a:pt x="717" y="480"/>
                  </a:lnTo>
                  <a:lnTo>
                    <a:pt x="715" y="480"/>
                  </a:lnTo>
                  <a:lnTo>
                    <a:pt x="714" y="483"/>
                  </a:lnTo>
                  <a:lnTo>
                    <a:pt x="712" y="484"/>
                  </a:lnTo>
                  <a:lnTo>
                    <a:pt x="711" y="485"/>
                  </a:lnTo>
                  <a:lnTo>
                    <a:pt x="708" y="486"/>
                  </a:lnTo>
                  <a:lnTo>
                    <a:pt x="707" y="487"/>
                  </a:lnTo>
                  <a:lnTo>
                    <a:pt x="706" y="490"/>
                  </a:lnTo>
                  <a:lnTo>
                    <a:pt x="704" y="491"/>
                  </a:lnTo>
                  <a:lnTo>
                    <a:pt x="703" y="492"/>
                  </a:lnTo>
                  <a:lnTo>
                    <a:pt x="701" y="493"/>
                  </a:lnTo>
                  <a:lnTo>
                    <a:pt x="700" y="496"/>
                  </a:lnTo>
                  <a:lnTo>
                    <a:pt x="700" y="497"/>
                  </a:lnTo>
                  <a:lnTo>
                    <a:pt x="699" y="498"/>
                  </a:lnTo>
                  <a:lnTo>
                    <a:pt x="698" y="498"/>
                  </a:lnTo>
                  <a:lnTo>
                    <a:pt x="697" y="498"/>
                  </a:lnTo>
                  <a:lnTo>
                    <a:pt x="697" y="499"/>
                  </a:lnTo>
                  <a:lnTo>
                    <a:pt x="696" y="500"/>
                  </a:lnTo>
                  <a:lnTo>
                    <a:pt x="697" y="500"/>
                  </a:lnTo>
                  <a:lnTo>
                    <a:pt x="697" y="501"/>
                  </a:lnTo>
                  <a:lnTo>
                    <a:pt x="696" y="501"/>
                  </a:lnTo>
                  <a:lnTo>
                    <a:pt x="695" y="501"/>
                  </a:lnTo>
                  <a:lnTo>
                    <a:pt x="695" y="503"/>
                  </a:lnTo>
                  <a:lnTo>
                    <a:pt x="696" y="503"/>
                  </a:lnTo>
                  <a:lnTo>
                    <a:pt x="695" y="503"/>
                  </a:lnTo>
                  <a:lnTo>
                    <a:pt x="695" y="504"/>
                  </a:lnTo>
                  <a:lnTo>
                    <a:pt x="695" y="505"/>
                  </a:lnTo>
                  <a:lnTo>
                    <a:pt x="692" y="506"/>
                  </a:lnTo>
                  <a:lnTo>
                    <a:pt x="692" y="507"/>
                  </a:lnTo>
                  <a:lnTo>
                    <a:pt x="691" y="507"/>
                  </a:lnTo>
                  <a:lnTo>
                    <a:pt x="691" y="508"/>
                  </a:lnTo>
                  <a:lnTo>
                    <a:pt x="690" y="508"/>
                  </a:lnTo>
                  <a:lnTo>
                    <a:pt x="688" y="510"/>
                  </a:lnTo>
                  <a:lnTo>
                    <a:pt x="686" y="511"/>
                  </a:lnTo>
                  <a:lnTo>
                    <a:pt x="686" y="512"/>
                  </a:lnTo>
                  <a:lnTo>
                    <a:pt x="688" y="512"/>
                  </a:lnTo>
                  <a:lnTo>
                    <a:pt x="688" y="513"/>
                  </a:lnTo>
                  <a:lnTo>
                    <a:pt x="686" y="513"/>
                  </a:lnTo>
                  <a:lnTo>
                    <a:pt x="686" y="512"/>
                  </a:lnTo>
                  <a:lnTo>
                    <a:pt x="685" y="512"/>
                  </a:lnTo>
                  <a:lnTo>
                    <a:pt x="685" y="513"/>
                  </a:lnTo>
                  <a:lnTo>
                    <a:pt x="684" y="513"/>
                  </a:lnTo>
                  <a:lnTo>
                    <a:pt x="684" y="514"/>
                  </a:lnTo>
                  <a:lnTo>
                    <a:pt x="684" y="515"/>
                  </a:lnTo>
                  <a:lnTo>
                    <a:pt x="683" y="515"/>
                  </a:lnTo>
                  <a:lnTo>
                    <a:pt x="683" y="514"/>
                  </a:lnTo>
                  <a:lnTo>
                    <a:pt x="683" y="513"/>
                  </a:lnTo>
                  <a:lnTo>
                    <a:pt x="682" y="513"/>
                  </a:lnTo>
                  <a:lnTo>
                    <a:pt x="682" y="514"/>
                  </a:lnTo>
                  <a:lnTo>
                    <a:pt x="681" y="514"/>
                  </a:lnTo>
                  <a:lnTo>
                    <a:pt x="681" y="515"/>
                  </a:lnTo>
                  <a:lnTo>
                    <a:pt x="679" y="514"/>
                  </a:lnTo>
                  <a:lnTo>
                    <a:pt x="678" y="514"/>
                  </a:lnTo>
                  <a:lnTo>
                    <a:pt x="677" y="514"/>
                  </a:lnTo>
                  <a:lnTo>
                    <a:pt x="677" y="515"/>
                  </a:lnTo>
                  <a:lnTo>
                    <a:pt x="676" y="515"/>
                  </a:lnTo>
                  <a:lnTo>
                    <a:pt x="677" y="515"/>
                  </a:lnTo>
                  <a:lnTo>
                    <a:pt x="676" y="517"/>
                  </a:lnTo>
                  <a:lnTo>
                    <a:pt x="675" y="518"/>
                  </a:lnTo>
                  <a:lnTo>
                    <a:pt x="675" y="519"/>
                  </a:lnTo>
                  <a:lnTo>
                    <a:pt x="674" y="519"/>
                  </a:lnTo>
                  <a:lnTo>
                    <a:pt x="672" y="519"/>
                  </a:lnTo>
                  <a:lnTo>
                    <a:pt x="671" y="519"/>
                  </a:lnTo>
                  <a:lnTo>
                    <a:pt x="670" y="519"/>
                  </a:lnTo>
                  <a:lnTo>
                    <a:pt x="668" y="519"/>
                  </a:lnTo>
                  <a:lnTo>
                    <a:pt x="667" y="519"/>
                  </a:lnTo>
                  <a:lnTo>
                    <a:pt x="665" y="519"/>
                  </a:lnTo>
                  <a:lnTo>
                    <a:pt x="664" y="519"/>
                  </a:lnTo>
                  <a:lnTo>
                    <a:pt x="663" y="519"/>
                  </a:lnTo>
                  <a:lnTo>
                    <a:pt x="662" y="519"/>
                  </a:lnTo>
                  <a:lnTo>
                    <a:pt x="661" y="519"/>
                  </a:lnTo>
                  <a:lnTo>
                    <a:pt x="660" y="519"/>
                  </a:lnTo>
                  <a:lnTo>
                    <a:pt x="658" y="519"/>
                  </a:lnTo>
                  <a:lnTo>
                    <a:pt x="657" y="519"/>
                  </a:lnTo>
                  <a:lnTo>
                    <a:pt x="656" y="519"/>
                  </a:lnTo>
                  <a:lnTo>
                    <a:pt x="655" y="519"/>
                  </a:lnTo>
                  <a:lnTo>
                    <a:pt x="654" y="519"/>
                  </a:lnTo>
                  <a:lnTo>
                    <a:pt x="651" y="519"/>
                  </a:lnTo>
                  <a:lnTo>
                    <a:pt x="650" y="519"/>
                  </a:lnTo>
                  <a:lnTo>
                    <a:pt x="649" y="519"/>
                  </a:lnTo>
                  <a:lnTo>
                    <a:pt x="648" y="519"/>
                  </a:lnTo>
                  <a:lnTo>
                    <a:pt x="647" y="519"/>
                  </a:lnTo>
                  <a:lnTo>
                    <a:pt x="646" y="519"/>
                  </a:lnTo>
                  <a:lnTo>
                    <a:pt x="644" y="519"/>
                  </a:lnTo>
                  <a:lnTo>
                    <a:pt x="643" y="519"/>
                  </a:lnTo>
                  <a:lnTo>
                    <a:pt x="642" y="519"/>
                  </a:lnTo>
                  <a:lnTo>
                    <a:pt x="641" y="519"/>
                  </a:lnTo>
                  <a:lnTo>
                    <a:pt x="640" y="519"/>
                  </a:lnTo>
                  <a:lnTo>
                    <a:pt x="639" y="519"/>
                  </a:lnTo>
                  <a:lnTo>
                    <a:pt x="637" y="519"/>
                  </a:lnTo>
                  <a:lnTo>
                    <a:pt x="636" y="519"/>
                  </a:lnTo>
                  <a:lnTo>
                    <a:pt x="634" y="519"/>
                  </a:lnTo>
                  <a:close/>
                  <a:moveTo>
                    <a:pt x="35" y="452"/>
                  </a:moveTo>
                  <a:lnTo>
                    <a:pt x="34" y="452"/>
                  </a:lnTo>
                  <a:lnTo>
                    <a:pt x="32" y="452"/>
                  </a:lnTo>
                  <a:lnTo>
                    <a:pt x="34" y="452"/>
                  </a:lnTo>
                  <a:lnTo>
                    <a:pt x="34" y="451"/>
                  </a:lnTo>
                  <a:lnTo>
                    <a:pt x="35" y="451"/>
                  </a:lnTo>
                  <a:lnTo>
                    <a:pt x="36" y="451"/>
                  </a:lnTo>
                  <a:lnTo>
                    <a:pt x="35" y="451"/>
                  </a:lnTo>
                  <a:lnTo>
                    <a:pt x="35" y="452"/>
                  </a:lnTo>
                  <a:close/>
                  <a:moveTo>
                    <a:pt x="68" y="451"/>
                  </a:moveTo>
                  <a:lnTo>
                    <a:pt x="67" y="451"/>
                  </a:lnTo>
                  <a:lnTo>
                    <a:pt x="68" y="451"/>
                  </a:lnTo>
                  <a:lnTo>
                    <a:pt x="68" y="450"/>
                  </a:lnTo>
                  <a:lnTo>
                    <a:pt x="70" y="450"/>
                  </a:lnTo>
                  <a:lnTo>
                    <a:pt x="70" y="451"/>
                  </a:lnTo>
                  <a:lnTo>
                    <a:pt x="68" y="451"/>
                  </a:lnTo>
                  <a:close/>
                  <a:moveTo>
                    <a:pt x="904" y="449"/>
                  </a:moveTo>
                  <a:lnTo>
                    <a:pt x="904" y="450"/>
                  </a:lnTo>
                  <a:lnTo>
                    <a:pt x="903" y="450"/>
                  </a:lnTo>
                  <a:lnTo>
                    <a:pt x="904" y="450"/>
                  </a:lnTo>
                  <a:lnTo>
                    <a:pt x="904" y="449"/>
                  </a:lnTo>
                  <a:close/>
                  <a:moveTo>
                    <a:pt x="58" y="449"/>
                  </a:moveTo>
                  <a:lnTo>
                    <a:pt x="59" y="449"/>
                  </a:lnTo>
                  <a:lnTo>
                    <a:pt x="59" y="450"/>
                  </a:lnTo>
                  <a:lnTo>
                    <a:pt x="58" y="450"/>
                  </a:lnTo>
                  <a:lnTo>
                    <a:pt x="58" y="449"/>
                  </a:lnTo>
                  <a:close/>
                  <a:moveTo>
                    <a:pt x="71" y="449"/>
                  </a:moveTo>
                  <a:lnTo>
                    <a:pt x="70" y="450"/>
                  </a:lnTo>
                  <a:lnTo>
                    <a:pt x="68" y="450"/>
                  </a:lnTo>
                  <a:lnTo>
                    <a:pt x="68" y="449"/>
                  </a:lnTo>
                  <a:lnTo>
                    <a:pt x="70" y="449"/>
                  </a:lnTo>
                  <a:lnTo>
                    <a:pt x="71" y="449"/>
                  </a:lnTo>
                  <a:lnTo>
                    <a:pt x="70" y="449"/>
                  </a:lnTo>
                  <a:lnTo>
                    <a:pt x="71" y="449"/>
                  </a:lnTo>
                  <a:close/>
                  <a:moveTo>
                    <a:pt x="56" y="449"/>
                  </a:moveTo>
                  <a:lnTo>
                    <a:pt x="55" y="449"/>
                  </a:lnTo>
                  <a:lnTo>
                    <a:pt x="53" y="449"/>
                  </a:lnTo>
                  <a:lnTo>
                    <a:pt x="55" y="449"/>
                  </a:lnTo>
                  <a:lnTo>
                    <a:pt x="56" y="449"/>
                  </a:lnTo>
                  <a:close/>
                  <a:moveTo>
                    <a:pt x="892" y="449"/>
                  </a:moveTo>
                  <a:lnTo>
                    <a:pt x="891" y="449"/>
                  </a:lnTo>
                  <a:lnTo>
                    <a:pt x="891" y="448"/>
                  </a:lnTo>
                  <a:lnTo>
                    <a:pt x="892" y="448"/>
                  </a:lnTo>
                  <a:lnTo>
                    <a:pt x="892" y="449"/>
                  </a:lnTo>
                  <a:close/>
                  <a:moveTo>
                    <a:pt x="53" y="449"/>
                  </a:moveTo>
                  <a:lnTo>
                    <a:pt x="52" y="449"/>
                  </a:lnTo>
                  <a:lnTo>
                    <a:pt x="52" y="448"/>
                  </a:lnTo>
                  <a:lnTo>
                    <a:pt x="53" y="448"/>
                  </a:lnTo>
                  <a:lnTo>
                    <a:pt x="53" y="449"/>
                  </a:lnTo>
                  <a:close/>
                  <a:moveTo>
                    <a:pt x="892" y="447"/>
                  </a:moveTo>
                  <a:lnTo>
                    <a:pt x="892" y="448"/>
                  </a:lnTo>
                  <a:lnTo>
                    <a:pt x="893" y="448"/>
                  </a:lnTo>
                  <a:lnTo>
                    <a:pt x="892" y="448"/>
                  </a:lnTo>
                  <a:lnTo>
                    <a:pt x="891" y="448"/>
                  </a:lnTo>
                  <a:lnTo>
                    <a:pt x="892" y="448"/>
                  </a:lnTo>
                  <a:lnTo>
                    <a:pt x="892" y="447"/>
                  </a:lnTo>
                  <a:close/>
                  <a:moveTo>
                    <a:pt x="906" y="448"/>
                  </a:moveTo>
                  <a:lnTo>
                    <a:pt x="905" y="448"/>
                  </a:lnTo>
                  <a:lnTo>
                    <a:pt x="904" y="449"/>
                  </a:lnTo>
                  <a:lnTo>
                    <a:pt x="903" y="449"/>
                  </a:lnTo>
                  <a:lnTo>
                    <a:pt x="902" y="449"/>
                  </a:lnTo>
                  <a:lnTo>
                    <a:pt x="903" y="449"/>
                  </a:lnTo>
                  <a:lnTo>
                    <a:pt x="902" y="449"/>
                  </a:lnTo>
                  <a:lnTo>
                    <a:pt x="902" y="448"/>
                  </a:lnTo>
                  <a:lnTo>
                    <a:pt x="903" y="448"/>
                  </a:lnTo>
                  <a:lnTo>
                    <a:pt x="904" y="448"/>
                  </a:lnTo>
                  <a:lnTo>
                    <a:pt x="905" y="448"/>
                  </a:lnTo>
                  <a:lnTo>
                    <a:pt x="905" y="447"/>
                  </a:lnTo>
                  <a:lnTo>
                    <a:pt x="905" y="448"/>
                  </a:lnTo>
                  <a:lnTo>
                    <a:pt x="906" y="447"/>
                  </a:lnTo>
                  <a:lnTo>
                    <a:pt x="906" y="448"/>
                  </a:lnTo>
                  <a:close/>
                  <a:moveTo>
                    <a:pt x="912" y="445"/>
                  </a:moveTo>
                  <a:lnTo>
                    <a:pt x="913" y="445"/>
                  </a:lnTo>
                  <a:lnTo>
                    <a:pt x="913" y="447"/>
                  </a:lnTo>
                  <a:lnTo>
                    <a:pt x="912" y="447"/>
                  </a:lnTo>
                  <a:lnTo>
                    <a:pt x="913" y="447"/>
                  </a:lnTo>
                  <a:lnTo>
                    <a:pt x="912" y="447"/>
                  </a:lnTo>
                  <a:lnTo>
                    <a:pt x="912" y="448"/>
                  </a:lnTo>
                  <a:lnTo>
                    <a:pt x="911" y="448"/>
                  </a:lnTo>
                  <a:lnTo>
                    <a:pt x="910" y="448"/>
                  </a:lnTo>
                  <a:lnTo>
                    <a:pt x="909" y="448"/>
                  </a:lnTo>
                  <a:lnTo>
                    <a:pt x="910" y="447"/>
                  </a:lnTo>
                  <a:lnTo>
                    <a:pt x="910" y="445"/>
                  </a:lnTo>
                  <a:lnTo>
                    <a:pt x="911" y="445"/>
                  </a:lnTo>
                  <a:lnTo>
                    <a:pt x="911" y="447"/>
                  </a:lnTo>
                  <a:lnTo>
                    <a:pt x="911" y="445"/>
                  </a:lnTo>
                  <a:lnTo>
                    <a:pt x="912" y="445"/>
                  </a:lnTo>
                  <a:close/>
                  <a:moveTo>
                    <a:pt x="65" y="445"/>
                  </a:moveTo>
                  <a:lnTo>
                    <a:pt x="64" y="445"/>
                  </a:lnTo>
                  <a:lnTo>
                    <a:pt x="63" y="447"/>
                  </a:lnTo>
                  <a:lnTo>
                    <a:pt x="61" y="447"/>
                  </a:lnTo>
                  <a:lnTo>
                    <a:pt x="61" y="445"/>
                  </a:lnTo>
                  <a:lnTo>
                    <a:pt x="63" y="445"/>
                  </a:lnTo>
                  <a:lnTo>
                    <a:pt x="64" y="445"/>
                  </a:lnTo>
                  <a:lnTo>
                    <a:pt x="65" y="444"/>
                  </a:lnTo>
                  <a:lnTo>
                    <a:pt x="65" y="445"/>
                  </a:lnTo>
                  <a:close/>
                  <a:moveTo>
                    <a:pt x="60" y="447"/>
                  </a:moveTo>
                  <a:lnTo>
                    <a:pt x="60" y="448"/>
                  </a:lnTo>
                  <a:lnTo>
                    <a:pt x="60" y="449"/>
                  </a:lnTo>
                  <a:lnTo>
                    <a:pt x="59" y="448"/>
                  </a:lnTo>
                  <a:lnTo>
                    <a:pt x="58" y="448"/>
                  </a:lnTo>
                  <a:lnTo>
                    <a:pt x="58" y="447"/>
                  </a:lnTo>
                  <a:lnTo>
                    <a:pt x="57" y="445"/>
                  </a:lnTo>
                  <a:lnTo>
                    <a:pt x="57" y="444"/>
                  </a:lnTo>
                  <a:lnTo>
                    <a:pt x="58" y="444"/>
                  </a:lnTo>
                  <a:lnTo>
                    <a:pt x="58" y="445"/>
                  </a:lnTo>
                  <a:lnTo>
                    <a:pt x="59" y="445"/>
                  </a:lnTo>
                  <a:lnTo>
                    <a:pt x="60" y="445"/>
                  </a:lnTo>
                  <a:lnTo>
                    <a:pt x="60" y="447"/>
                  </a:lnTo>
                  <a:close/>
                  <a:moveTo>
                    <a:pt x="32" y="443"/>
                  </a:moveTo>
                  <a:lnTo>
                    <a:pt x="32" y="444"/>
                  </a:lnTo>
                  <a:lnTo>
                    <a:pt x="34" y="443"/>
                  </a:lnTo>
                  <a:lnTo>
                    <a:pt x="34" y="444"/>
                  </a:lnTo>
                  <a:lnTo>
                    <a:pt x="32" y="444"/>
                  </a:lnTo>
                  <a:lnTo>
                    <a:pt x="32" y="445"/>
                  </a:lnTo>
                  <a:lnTo>
                    <a:pt x="32" y="447"/>
                  </a:lnTo>
                  <a:lnTo>
                    <a:pt x="31" y="447"/>
                  </a:lnTo>
                  <a:lnTo>
                    <a:pt x="31" y="448"/>
                  </a:lnTo>
                  <a:lnTo>
                    <a:pt x="30" y="448"/>
                  </a:lnTo>
                  <a:lnTo>
                    <a:pt x="29" y="447"/>
                  </a:lnTo>
                  <a:lnTo>
                    <a:pt x="29" y="445"/>
                  </a:lnTo>
                  <a:lnTo>
                    <a:pt x="30" y="445"/>
                  </a:lnTo>
                  <a:lnTo>
                    <a:pt x="30" y="444"/>
                  </a:lnTo>
                  <a:lnTo>
                    <a:pt x="29" y="444"/>
                  </a:lnTo>
                  <a:lnTo>
                    <a:pt x="30" y="444"/>
                  </a:lnTo>
                  <a:lnTo>
                    <a:pt x="31" y="443"/>
                  </a:lnTo>
                  <a:lnTo>
                    <a:pt x="32" y="443"/>
                  </a:lnTo>
                  <a:close/>
                  <a:moveTo>
                    <a:pt x="791" y="442"/>
                  </a:moveTo>
                  <a:lnTo>
                    <a:pt x="792" y="443"/>
                  </a:lnTo>
                  <a:lnTo>
                    <a:pt x="793" y="443"/>
                  </a:lnTo>
                  <a:lnTo>
                    <a:pt x="797" y="443"/>
                  </a:lnTo>
                  <a:lnTo>
                    <a:pt x="797" y="444"/>
                  </a:lnTo>
                  <a:lnTo>
                    <a:pt x="798" y="444"/>
                  </a:lnTo>
                  <a:lnTo>
                    <a:pt x="800" y="444"/>
                  </a:lnTo>
                  <a:lnTo>
                    <a:pt x="802" y="444"/>
                  </a:lnTo>
                  <a:lnTo>
                    <a:pt x="803" y="444"/>
                  </a:lnTo>
                  <a:lnTo>
                    <a:pt x="804" y="445"/>
                  </a:lnTo>
                  <a:lnTo>
                    <a:pt x="805" y="445"/>
                  </a:lnTo>
                  <a:lnTo>
                    <a:pt x="805" y="447"/>
                  </a:lnTo>
                  <a:lnTo>
                    <a:pt x="806" y="447"/>
                  </a:lnTo>
                  <a:lnTo>
                    <a:pt x="807" y="447"/>
                  </a:lnTo>
                  <a:lnTo>
                    <a:pt x="809" y="448"/>
                  </a:lnTo>
                  <a:lnTo>
                    <a:pt x="810" y="448"/>
                  </a:lnTo>
                  <a:lnTo>
                    <a:pt x="810" y="449"/>
                  </a:lnTo>
                  <a:lnTo>
                    <a:pt x="811" y="449"/>
                  </a:lnTo>
                  <a:lnTo>
                    <a:pt x="811" y="450"/>
                  </a:lnTo>
                  <a:lnTo>
                    <a:pt x="812" y="450"/>
                  </a:lnTo>
                  <a:lnTo>
                    <a:pt x="813" y="451"/>
                  </a:lnTo>
                  <a:lnTo>
                    <a:pt x="814" y="451"/>
                  </a:lnTo>
                  <a:lnTo>
                    <a:pt x="816" y="451"/>
                  </a:lnTo>
                  <a:lnTo>
                    <a:pt x="817" y="452"/>
                  </a:lnTo>
                  <a:lnTo>
                    <a:pt x="817" y="454"/>
                  </a:lnTo>
                  <a:lnTo>
                    <a:pt x="818" y="455"/>
                  </a:lnTo>
                  <a:lnTo>
                    <a:pt x="817" y="455"/>
                  </a:lnTo>
                  <a:lnTo>
                    <a:pt x="816" y="455"/>
                  </a:lnTo>
                  <a:lnTo>
                    <a:pt x="816" y="456"/>
                  </a:lnTo>
                  <a:lnTo>
                    <a:pt x="814" y="456"/>
                  </a:lnTo>
                  <a:lnTo>
                    <a:pt x="812" y="456"/>
                  </a:lnTo>
                  <a:lnTo>
                    <a:pt x="811" y="456"/>
                  </a:lnTo>
                  <a:lnTo>
                    <a:pt x="810" y="456"/>
                  </a:lnTo>
                  <a:lnTo>
                    <a:pt x="809" y="455"/>
                  </a:lnTo>
                  <a:lnTo>
                    <a:pt x="807" y="455"/>
                  </a:lnTo>
                  <a:lnTo>
                    <a:pt x="805" y="455"/>
                  </a:lnTo>
                  <a:lnTo>
                    <a:pt x="803" y="454"/>
                  </a:lnTo>
                  <a:lnTo>
                    <a:pt x="800" y="454"/>
                  </a:lnTo>
                  <a:lnTo>
                    <a:pt x="799" y="452"/>
                  </a:lnTo>
                  <a:lnTo>
                    <a:pt x="798" y="451"/>
                  </a:lnTo>
                  <a:lnTo>
                    <a:pt x="797" y="451"/>
                  </a:lnTo>
                  <a:lnTo>
                    <a:pt x="796" y="451"/>
                  </a:lnTo>
                  <a:lnTo>
                    <a:pt x="796" y="450"/>
                  </a:lnTo>
                  <a:lnTo>
                    <a:pt x="796" y="449"/>
                  </a:lnTo>
                  <a:lnTo>
                    <a:pt x="795" y="449"/>
                  </a:lnTo>
                  <a:lnTo>
                    <a:pt x="795" y="448"/>
                  </a:lnTo>
                  <a:lnTo>
                    <a:pt x="792" y="447"/>
                  </a:lnTo>
                  <a:lnTo>
                    <a:pt x="791" y="445"/>
                  </a:lnTo>
                  <a:lnTo>
                    <a:pt x="790" y="445"/>
                  </a:lnTo>
                  <a:lnTo>
                    <a:pt x="789" y="444"/>
                  </a:lnTo>
                  <a:lnTo>
                    <a:pt x="788" y="444"/>
                  </a:lnTo>
                  <a:lnTo>
                    <a:pt x="786" y="444"/>
                  </a:lnTo>
                  <a:lnTo>
                    <a:pt x="786" y="443"/>
                  </a:lnTo>
                  <a:lnTo>
                    <a:pt x="788" y="443"/>
                  </a:lnTo>
                  <a:lnTo>
                    <a:pt x="789" y="443"/>
                  </a:lnTo>
                  <a:lnTo>
                    <a:pt x="790" y="442"/>
                  </a:lnTo>
                  <a:lnTo>
                    <a:pt x="790" y="443"/>
                  </a:lnTo>
                  <a:lnTo>
                    <a:pt x="790" y="442"/>
                  </a:lnTo>
                  <a:lnTo>
                    <a:pt x="791" y="442"/>
                  </a:lnTo>
                  <a:close/>
                  <a:moveTo>
                    <a:pt x="28" y="442"/>
                  </a:moveTo>
                  <a:lnTo>
                    <a:pt x="27" y="442"/>
                  </a:lnTo>
                  <a:lnTo>
                    <a:pt x="28" y="441"/>
                  </a:lnTo>
                  <a:lnTo>
                    <a:pt x="28" y="442"/>
                  </a:lnTo>
                  <a:close/>
                  <a:moveTo>
                    <a:pt x="893" y="438"/>
                  </a:moveTo>
                  <a:lnTo>
                    <a:pt x="892" y="438"/>
                  </a:lnTo>
                  <a:lnTo>
                    <a:pt x="893" y="438"/>
                  </a:lnTo>
                  <a:close/>
                  <a:moveTo>
                    <a:pt x="895" y="438"/>
                  </a:moveTo>
                  <a:lnTo>
                    <a:pt x="893" y="438"/>
                  </a:lnTo>
                  <a:lnTo>
                    <a:pt x="895" y="438"/>
                  </a:lnTo>
                  <a:close/>
                  <a:moveTo>
                    <a:pt x="56" y="441"/>
                  </a:moveTo>
                  <a:lnTo>
                    <a:pt x="56" y="440"/>
                  </a:lnTo>
                  <a:lnTo>
                    <a:pt x="57" y="440"/>
                  </a:lnTo>
                  <a:lnTo>
                    <a:pt x="57" y="438"/>
                  </a:lnTo>
                  <a:lnTo>
                    <a:pt x="58" y="438"/>
                  </a:lnTo>
                  <a:lnTo>
                    <a:pt x="58" y="440"/>
                  </a:lnTo>
                  <a:lnTo>
                    <a:pt x="57" y="440"/>
                  </a:lnTo>
                  <a:lnTo>
                    <a:pt x="58" y="440"/>
                  </a:lnTo>
                  <a:lnTo>
                    <a:pt x="57" y="440"/>
                  </a:lnTo>
                  <a:lnTo>
                    <a:pt x="57" y="441"/>
                  </a:lnTo>
                  <a:lnTo>
                    <a:pt x="56" y="441"/>
                  </a:lnTo>
                  <a:close/>
                  <a:moveTo>
                    <a:pt x="797" y="438"/>
                  </a:moveTo>
                  <a:lnTo>
                    <a:pt x="796" y="438"/>
                  </a:lnTo>
                  <a:lnTo>
                    <a:pt x="796" y="437"/>
                  </a:lnTo>
                  <a:lnTo>
                    <a:pt x="797" y="438"/>
                  </a:lnTo>
                  <a:close/>
                  <a:moveTo>
                    <a:pt x="53" y="442"/>
                  </a:moveTo>
                  <a:lnTo>
                    <a:pt x="53" y="441"/>
                  </a:lnTo>
                  <a:lnTo>
                    <a:pt x="53" y="440"/>
                  </a:lnTo>
                  <a:lnTo>
                    <a:pt x="53" y="438"/>
                  </a:lnTo>
                  <a:lnTo>
                    <a:pt x="53" y="437"/>
                  </a:lnTo>
                  <a:lnTo>
                    <a:pt x="55" y="437"/>
                  </a:lnTo>
                  <a:lnTo>
                    <a:pt x="56" y="437"/>
                  </a:lnTo>
                  <a:lnTo>
                    <a:pt x="56" y="438"/>
                  </a:lnTo>
                  <a:lnTo>
                    <a:pt x="55" y="438"/>
                  </a:lnTo>
                  <a:lnTo>
                    <a:pt x="55" y="440"/>
                  </a:lnTo>
                  <a:lnTo>
                    <a:pt x="53" y="440"/>
                  </a:lnTo>
                  <a:lnTo>
                    <a:pt x="53" y="441"/>
                  </a:lnTo>
                  <a:lnTo>
                    <a:pt x="53" y="442"/>
                  </a:lnTo>
                  <a:close/>
                  <a:moveTo>
                    <a:pt x="59" y="438"/>
                  </a:moveTo>
                  <a:lnTo>
                    <a:pt x="60" y="438"/>
                  </a:lnTo>
                  <a:lnTo>
                    <a:pt x="59" y="440"/>
                  </a:lnTo>
                  <a:lnTo>
                    <a:pt x="58" y="440"/>
                  </a:lnTo>
                  <a:lnTo>
                    <a:pt x="58" y="438"/>
                  </a:lnTo>
                  <a:lnTo>
                    <a:pt x="59" y="438"/>
                  </a:lnTo>
                  <a:lnTo>
                    <a:pt x="58" y="438"/>
                  </a:lnTo>
                  <a:lnTo>
                    <a:pt x="58" y="437"/>
                  </a:lnTo>
                  <a:lnTo>
                    <a:pt x="59" y="437"/>
                  </a:lnTo>
                  <a:lnTo>
                    <a:pt x="60" y="437"/>
                  </a:lnTo>
                  <a:lnTo>
                    <a:pt x="59" y="438"/>
                  </a:lnTo>
                  <a:close/>
                  <a:moveTo>
                    <a:pt x="61" y="437"/>
                  </a:moveTo>
                  <a:lnTo>
                    <a:pt x="61" y="438"/>
                  </a:lnTo>
                  <a:lnTo>
                    <a:pt x="60" y="438"/>
                  </a:lnTo>
                  <a:lnTo>
                    <a:pt x="61" y="437"/>
                  </a:lnTo>
                  <a:lnTo>
                    <a:pt x="60" y="438"/>
                  </a:lnTo>
                  <a:lnTo>
                    <a:pt x="60" y="437"/>
                  </a:lnTo>
                  <a:lnTo>
                    <a:pt x="61" y="437"/>
                  </a:lnTo>
                  <a:close/>
                  <a:moveTo>
                    <a:pt x="57" y="435"/>
                  </a:moveTo>
                  <a:lnTo>
                    <a:pt x="57" y="436"/>
                  </a:lnTo>
                  <a:lnTo>
                    <a:pt x="57" y="437"/>
                  </a:lnTo>
                  <a:lnTo>
                    <a:pt x="57" y="438"/>
                  </a:lnTo>
                  <a:lnTo>
                    <a:pt x="56" y="438"/>
                  </a:lnTo>
                  <a:lnTo>
                    <a:pt x="56" y="440"/>
                  </a:lnTo>
                  <a:lnTo>
                    <a:pt x="55" y="440"/>
                  </a:lnTo>
                  <a:lnTo>
                    <a:pt x="56" y="438"/>
                  </a:lnTo>
                  <a:lnTo>
                    <a:pt x="56" y="437"/>
                  </a:lnTo>
                  <a:lnTo>
                    <a:pt x="56" y="436"/>
                  </a:lnTo>
                  <a:lnTo>
                    <a:pt x="55" y="436"/>
                  </a:lnTo>
                  <a:lnTo>
                    <a:pt x="55" y="437"/>
                  </a:lnTo>
                  <a:lnTo>
                    <a:pt x="53" y="437"/>
                  </a:lnTo>
                  <a:lnTo>
                    <a:pt x="53" y="436"/>
                  </a:lnTo>
                  <a:lnTo>
                    <a:pt x="55" y="436"/>
                  </a:lnTo>
                  <a:lnTo>
                    <a:pt x="56" y="436"/>
                  </a:lnTo>
                  <a:lnTo>
                    <a:pt x="56" y="435"/>
                  </a:lnTo>
                  <a:lnTo>
                    <a:pt x="57" y="435"/>
                  </a:lnTo>
                  <a:close/>
                  <a:moveTo>
                    <a:pt x="53" y="435"/>
                  </a:moveTo>
                  <a:lnTo>
                    <a:pt x="52" y="435"/>
                  </a:lnTo>
                  <a:lnTo>
                    <a:pt x="51" y="436"/>
                  </a:lnTo>
                  <a:lnTo>
                    <a:pt x="50" y="436"/>
                  </a:lnTo>
                  <a:lnTo>
                    <a:pt x="50" y="435"/>
                  </a:lnTo>
                  <a:lnTo>
                    <a:pt x="51" y="435"/>
                  </a:lnTo>
                  <a:lnTo>
                    <a:pt x="52" y="435"/>
                  </a:lnTo>
                  <a:lnTo>
                    <a:pt x="53" y="435"/>
                  </a:lnTo>
                  <a:close/>
                  <a:moveTo>
                    <a:pt x="55" y="436"/>
                  </a:moveTo>
                  <a:lnTo>
                    <a:pt x="53" y="436"/>
                  </a:lnTo>
                  <a:lnTo>
                    <a:pt x="52" y="436"/>
                  </a:lnTo>
                  <a:lnTo>
                    <a:pt x="53" y="435"/>
                  </a:lnTo>
                  <a:lnTo>
                    <a:pt x="55" y="435"/>
                  </a:lnTo>
                  <a:lnTo>
                    <a:pt x="56" y="435"/>
                  </a:lnTo>
                  <a:lnTo>
                    <a:pt x="55" y="435"/>
                  </a:lnTo>
                  <a:lnTo>
                    <a:pt x="55" y="436"/>
                  </a:lnTo>
                  <a:close/>
                  <a:moveTo>
                    <a:pt x="50" y="435"/>
                  </a:moveTo>
                  <a:lnTo>
                    <a:pt x="49" y="435"/>
                  </a:lnTo>
                  <a:lnTo>
                    <a:pt x="50" y="435"/>
                  </a:lnTo>
                  <a:lnTo>
                    <a:pt x="50" y="434"/>
                  </a:lnTo>
                  <a:lnTo>
                    <a:pt x="51" y="434"/>
                  </a:lnTo>
                  <a:lnTo>
                    <a:pt x="51" y="435"/>
                  </a:lnTo>
                  <a:lnTo>
                    <a:pt x="50" y="435"/>
                  </a:lnTo>
                  <a:close/>
                  <a:moveTo>
                    <a:pt x="43" y="433"/>
                  </a:moveTo>
                  <a:lnTo>
                    <a:pt x="42" y="433"/>
                  </a:lnTo>
                  <a:lnTo>
                    <a:pt x="43" y="433"/>
                  </a:lnTo>
                  <a:close/>
                  <a:moveTo>
                    <a:pt x="46" y="433"/>
                  </a:moveTo>
                  <a:lnTo>
                    <a:pt x="45" y="433"/>
                  </a:lnTo>
                  <a:lnTo>
                    <a:pt x="45" y="434"/>
                  </a:lnTo>
                  <a:lnTo>
                    <a:pt x="44" y="434"/>
                  </a:lnTo>
                  <a:lnTo>
                    <a:pt x="43" y="434"/>
                  </a:lnTo>
                  <a:lnTo>
                    <a:pt x="42" y="434"/>
                  </a:lnTo>
                  <a:lnTo>
                    <a:pt x="42" y="433"/>
                  </a:lnTo>
                  <a:lnTo>
                    <a:pt x="45" y="433"/>
                  </a:lnTo>
                  <a:lnTo>
                    <a:pt x="46" y="433"/>
                  </a:lnTo>
                  <a:close/>
                  <a:moveTo>
                    <a:pt x="45" y="433"/>
                  </a:moveTo>
                  <a:lnTo>
                    <a:pt x="44" y="433"/>
                  </a:lnTo>
                  <a:lnTo>
                    <a:pt x="43" y="433"/>
                  </a:lnTo>
                  <a:lnTo>
                    <a:pt x="44" y="431"/>
                  </a:lnTo>
                  <a:lnTo>
                    <a:pt x="45" y="431"/>
                  </a:lnTo>
                  <a:lnTo>
                    <a:pt x="45" y="433"/>
                  </a:lnTo>
                  <a:close/>
                  <a:moveTo>
                    <a:pt x="853" y="431"/>
                  </a:moveTo>
                  <a:lnTo>
                    <a:pt x="853" y="433"/>
                  </a:lnTo>
                  <a:lnTo>
                    <a:pt x="854" y="433"/>
                  </a:lnTo>
                  <a:lnTo>
                    <a:pt x="853" y="433"/>
                  </a:lnTo>
                  <a:lnTo>
                    <a:pt x="853" y="434"/>
                  </a:lnTo>
                  <a:lnTo>
                    <a:pt x="853" y="433"/>
                  </a:lnTo>
                  <a:lnTo>
                    <a:pt x="853" y="431"/>
                  </a:lnTo>
                  <a:close/>
                  <a:moveTo>
                    <a:pt x="38" y="431"/>
                  </a:moveTo>
                  <a:lnTo>
                    <a:pt x="39" y="431"/>
                  </a:lnTo>
                  <a:lnTo>
                    <a:pt x="38" y="431"/>
                  </a:lnTo>
                  <a:lnTo>
                    <a:pt x="37" y="431"/>
                  </a:lnTo>
                  <a:lnTo>
                    <a:pt x="36" y="431"/>
                  </a:lnTo>
                  <a:lnTo>
                    <a:pt x="37" y="431"/>
                  </a:lnTo>
                  <a:lnTo>
                    <a:pt x="38" y="431"/>
                  </a:lnTo>
                  <a:close/>
                  <a:moveTo>
                    <a:pt x="900" y="429"/>
                  </a:moveTo>
                  <a:lnTo>
                    <a:pt x="900" y="430"/>
                  </a:lnTo>
                  <a:lnTo>
                    <a:pt x="899" y="430"/>
                  </a:lnTo>
                  <a:lnTo>
                    <a:pt x="898" y="430"/>
                  </a:lnTo>
                  <a:lnTo>
                    <a:pt x="898" y="429"/>
                  </a:lnTo>
                  <a:lnTo>
                    <a:pt x="899" y="429"/>
                  </a:lnTo>
                  <a:lnTo>
                    <a:pt x="900" y="429"/>
                  </a:lnTo>
                  <a:close/>
                  <a:moveTo>
                    <a:pt x="21" y="429"/>
                  </a:moveTo>
                  <a:lnTo>
                    <a:pt x="20" y="429"/>
                  </a:lnTo>
                  <a:lnTo>
                    <a:pt x="21" y="429"/>
                  </a:lnTo>
                  <a:close/>
                  <a:moveTo>
                    <a:pt x="49" y="430"/>
                  </a:moveTo>
                  <a:lnTo>
                    <a:pt x="48" y="430"/>
                  </a:lnTo>
                  <a:lnTo>
                    <a:pt x="48" y="431"/>
                  </a:lnTo>
                  <a:lnTo>
                    <a:pt x="46" y="431"/>
                  </a:lnTo>
                  <a:lnTo>
                    <a:pt x="45" y="431"/>
                  </a:lnTo>
                  <a:lnTo>
                    <a:pt x="44" y="431"/>
                  </a:lnTo>
                  <a:lnTo>
                    <a:pt x="43" y="431"/>
                  </a:lnTo>
                  <a:lnTo>
                    <a:pt x="44" y="431"/>
                  </a:lnTo>
                  <a:lnTo>
                    <a:pt x="44" y="430"/>
                  </a:lnTo>
                  <a:lnTo>
                    <a:pt x="45" y="430"/>
                  </a:lnTo>
                  <a:lnTo>
                    <a:pt x="46" y="429"/>
                  </a:lnTo>
                  <a:lnTo>
                    <a:pt x="48" y="429"/>
                  </a:lnTo>
                  <a:lnTo>
                    <a:pt x="49" y="429"/>
                  </a:lnTo>
                  <a:lnTo>
                    <a:pt x="49" y="430"/>
                  </a:lnTo>
                  <a:close/>
                  <a:moveTo>
                    <a:pt x="880" y="429"/>
                  </a:moveTo>
                  <a:lnTo>
                    <a:pt x="878" y="429"/>
                  </a:lnTo>
                  <a:lnTo>
                    <a:pt x="880" y="429"/>
                  </a:lnTo>
                  <a:close/>
                  <a:moveTo>
                    <a:pt x="45" y="429"/>
                  </a:moveTo>
                  <a:lnTo>
                    <a:pt x="44" y="429"/>
                  </a:lnTo>
                  <a:lnTo>
                    <a:pt x="43" y="429"/>
                  </a:lnTo>
                  <a:lnTo>
                    <a:pt x="42" y="429"/>
                  </a:lnTo>
                  <a:lnTo>
                    <a:pt x="41" y="429"/>
                  </a:lnTo>
                  <a:lnTo>
                    <a:pt x="42" y="429"/>
                  </a:lnTo>
                  <a:lnTo>
                    <a:pt x="43" y="429"/>
                  </a:lnTo>
                  <a:lnTo>
                    <a:pt x="44" y="429"/>
                  </a:lnTo>
                  <a:lnTo>
                    <a:pt x="44" y="428"/>
                  </a:lnTo>
                  <a:lnTo>
                    <a:pt x="45" y="428"/>
                  </a:lnTo>
                  <a:lnTo>
                    <a:pt x="45" y="429"/>
                  </a:lnTo>
                  <a:close/>
                  <a:moveTo>
                    <a:pt x="30" y="428"/>
                  </a:moveTo>
                  <a:lnTo>
                    <a:pt x="32" y="429"/>
                  </a:lnTo>
                  <a:lnTo>
                    <a:pt x="34" y="429"/>
                  </a:lnTo>
                  <a:lnTo>
                    <a:pt x="34" y="430"/>
                  </a:lnTo>
                  <a:lnTo>
                    <a:pt x="32" y="430"/>
                  </a:lnTo>
                  <a:lnTo>
                    <a:pt x="34" y="430"/>
                  </a:lnTo>
                  <a:lnTo>
                    <a:pt x="35" y="430"/>
                  </a:lnTo>
                  <a:lnTo>
                    <a:pt x="34" y="430"/>
                  </a:lnTo>
                  <a:lnTo>
                    <a:pt x="34" y="431"/>
                  </a:lnTo>
                  <a:lnTo>
                    <a:pt x="35" y="431"/>
                  </a:lnTo>
                  <a:lnTo>
                    <a:pt x="36" y="431"/>
                  </a:lnTo>
                  <a:lnTo>
                    <a:pt x="36" y="433"/>
                  </a:lnTo>
                  <a:lnTo>
                    <a:pt x="36" y="431"/>
                  </a:lnTo>
                  <a:lnTo>
                    <a:pt x="36" y="433"/>
                  </a:lnTo>
                  <a:lnTo>
                    <a:pt x="37" y="433"/>
                  </a:lnTo>
                  <a:lnTo>
                    <a:pt x="38" y="433"/>
                  </a:lnTo>
                  <a:lnTo>
                    <a:pt x="38" y="434"/>
                  </a:lnTo>
                  <a:lnTo>
                    <a:pt x="39" y="433"/>
                  </a:lnTo>
                  <a:lnTo>
                    <a:pt x="41" y="434"/>
                  </a:lnTo>
                  <a:lnTo>
                    <a:pt x="42" y="434"/>
                  </a:lnTo>
                  <a:lnTo>
                    <a:pt x="43" y="434"/>
                  </a:lnTo>
                  <a:lnTo>
                    <a:pt x="44" y="434"/>
                  </a:lnTo>
                  <a:lnTo>
                    <a:pt x="45" y="434"/>
                  </a:lnTo>
                  <a:lnTo>
                    <a:pt x="46" y="434"/>
                  </a:lnTo>
                  <a:lnTo>
                    <a:pt x="46" y="435"/>
                  </a:lnTo>
                  <a:lnTo>
                    <a:pt x="48" y="435"/>
                  </a:lnTo>
                  <a:lnTo>
                    <a:pt x="49" y="436"/>
                  </a:lnTo>
                  <a:lnTo>
                    <a:pt x="50" y="436"/>
                  </a:lnTo>
                  <a:lnTo>
                    <a:pt x="52" y="436"/>
                  </a:lnTo>
                  <a:lnTo>
                    <a:pt x="53" y="436"/>
                  </a:lnTo>
                  <a:lnTo>
                    <a:pt x="53" y="437"/>
                  </a:lnTo>
                  <a:lnTo>
                    <a:pt x="52" y="438"/>
                  </a:lnTo>
                  <a:lnTo>
                    <a:pt x="52" y="440"/>
                  </a:lnTo>
                  <a:lnTo>
                    <a:pt x="52" y="441"/>
                  </a:lnTo>
                  <a:lnTo>
                    <a:pt x="52" y="442"/>
                  </a:lnTo>
                  <a:lnTo>
                    <a:pt x="52" y="443"/>
                  </a:lnTo>
                  <a:lnTo>
                    <a:pt x="53" y="445"/>
                  </a:lnTo>
                  <a:lnTo>
                    <a:pt x="53" y="447"/>
                  </a:lnTo>
                  <a:lnTo>
                    <a:pt x="52" y="447"/>
                  </a:lnTo>
                  <a:lnTo>
                    <a:pt x="52" y="448"/>
                  </a:lnTo>
                  <a:lnTo>
                    <a:pt x="52" y="449"/>
                  </a:lnTo>
                  <a:lnTo>
                    <a:pt x="52" y="450"/>
                  </a:lnTo>
                  <a:lnTo>
                    <a:pt x="53" y="450"/>
                  </a:lnTo>
                  <a:lnTo>
                    <a:pt x="53" y="451"/>
                  </a:lnTo>
                  <a:lnTo>
                    <a:pt x="55" y="451"/>
                  </a:lnTo>
                  <a:lnTo>
                    <a:pt x="56" y="451"/>
                  </a:lnTo>
                  <a:lnTo>
                    <a:pt x="57" y="451"/>
                  </a:lnTo>
                  <a:lnTo>
                    <a:pt x="58" y="452"/>
                  </a:lnTo>
                  <a:lnTo>
                    <a:pt x="59" y="454"/>
                  </a:lnTo>
                  <a:lnTo>
                    <a:pt x="60" y="454"/>
                  </a:lnTo>
                  <a:lnTo>
                    <a:pt x="59" y="454"/>
                  </a:lnTo>
                  <a:lnTo>
                    <a:pt x="59" y="455"/>
                  </a:lnTo>
                  <a:lnTo>
                    <a:pt x="60" y="455"/>
                  </a:lnTo>
                  <a:lnTo>
                    <a:pt x="60" y="456"/>
                  </a:lnTo>
                  <a:lnTo>
                    <a:pt x="60" y="457"/>
                  </a:lnTo>
                  <a:lnTo>
                    <a:pt x="59" y="457"/>
                  </a:lnTo>
                  <a:lnTo>
                    <a:pt x="59" y="458"/>
                  </a:lnTo>
                  <a:lnTo>
                    <a:pt x="60" y="459"/>
                  </a:lnTo>
                  <a:lnTo>
                    <a:pt x="60" y="461"/>
                  </a:lnTo>
                  <a:lnTo>
                    <a:pt x="59" y="461"/>
                  </a:lnTo>
                  <a:lnTo>
                    <a:pt x="59" y="462"/>
                  </a:lnTo>
                  <a:lnTo>
                    <a:pt x="59" y="463"/>
                  </a:lnTo>
                  <a:lnTo>
                    <a:pt x="58" y="463"/>
                  </a:lnTo>
                  <a:lnTo>
                    <a:pt x="58" y="464"/>
                  </a:lnTo>
                  <a:lnTo>
                    <a:pt x="59" y="463"/>
                  </a:lnTo>
                  <a:lnTo>
                    <a:pt x="60" y="463"/>
                  </a:lnTo>
                  <a:lnTo>
                    <a:pt x="60" y="462"/>
                  </a:lnTo>
                  <a:lnTo>
                    <a:pt x="61" y="462"/>
                  </a:lnTo>
                  <a:lnTo>
                    <a:pt x="60" y="463"/>
                  </a:lnTo>
                  <a:lnTo>
                    <a:pt x="60" y="464"/>
                  </a:lnTo>
                  <a:lnTo>
                    <a:pt x="60" y="465"/>
                  </a:lnTo>
                  <a:lnTo>
                    <a:pt x="59" y="465"/>
                  </a:lnTo>
                  <a:lnTo>
                    <a:pt x="59" y="466"/>
                  </a:lnTo>
                  <a:lnTo>
                    <a:pt x="58" y="465"/>
                  </a:lnTo>
                  <a:lnTo>
                    <a:pt x="57" y="466"/>
                  </a:lnTo>
                  <a:lnTo>
                    <a:pt x="56" y="468"/>
                  </a:lnTo>
                  <a:lnTo>
                    <a:pt x="55" y="468"/>
                  </a:lnTo>
                  <a:lnTo>
                    <a:pt x="55" y="466"/>
                  </a:lnTo>
                  <a:lnTo>
                    <a:pt x="53" y="466"/>
                  </a:lnTo>
                  <a:lnTo>
                    <a:pt x="52" y="466"/>
                  </a:lnTo>
                  <a:lnTo>
                    <a:pt x="50" y="465"/>
                  </a:lnTo>
                  <a:lnTo>
                    <a:pt x="48" y="464"/>
                  </a:lnTo>
                  <a:lnTo>
                    <a:pt x="48" y="463"/>
                  </a:lnTo>
                  <a:lnTo>
                    <a:pt x="48" y="464"/>
                  </a:lnTo>
                  <a:lnTo>
                    <a:pt x="46" y="464"/>
                  </a:lnTo>
                  <a:lnTo>
                    <a:pt x="45" y="463"/>
                  </a:lnTo>
                  <a:lnTo>
                    <a:pt x="44" y="463"/>
                  </a:lnTo>
                  <a:lnTo>
                    <a:pt x="44" y="462"/>
                  </a:lnTo>
                  <a:lnTo>
                    <a:pt x="41" y="461"/>
                  </a:lnTo>
                  <a:lnTo>
                    <a:pt x="41" y="459"/>
                  </a:lnTo>
                  <a:lnTo>
                    <a:pt x="42" y="459"/>
                  </a:lnTo>
                  <a:lnTo>
                    <a:pt x="43" y="459"/>
                  </a:lnTo>
                  <a:lnTo>
                    <a:pt x="43" y="458"/>
                  </a:lnTo>
                  <a:lnTo>
                    <a:pt x="44" y="458"/>
                  </a:lnTo>
                  <a:lnTo>
                    <a:pt x="45" y="457"/>
                  </a:lnTo>
                  <a:lnTo>
                    <a:pt x="46" y="457"/>
                  </a:lnTo>
                  <a:lnTo>
                    <a:pt x="48" y="456"/>
                  </a:lnTo>
                  <a:lnTo>
                    <a:pt x="49" y="455"/>
                  </a:lnTo>
                  <a:lnTo>
                    <a:pt x="49" y="454"/>
                  </a:lnTo>
                  <a:lnTo>
                    <a:pt x="50" y="454"/>
                  </a:lnTo>
                  <a:lnTo>
                    <a:pt x="49" y="454"/>
                  </a:lnTo>
                  <a:lnTo>
                    <a:pt x="49" y="455"/>
                  </a:lnTo>
                  <a:lnTo>
                    <a:pt x="48" y="455"/>
                  </a:lnTo>
                  <a:lnTo>
                    <a:pt x="48" y="456"/>
                  </a:lnTo>
                  <a:lnTo>
                    <a:pt x="46" y="456"/>
                  </a:lnTo>
                  <a:lnTo>
                    <a:pt x="46" y="457"/>
                  </a:lnTo>
                  <a:lnTo>
                    <a:pt x="45" y="457"/>
                  </a:lnTo>
                  <a:lnTo>
                    <a:pt x="44" y="457"/>
                  </a:lnTo>
                  <a:lnTo>
                    <a:pt x="43" y="457"/>
                  </a:lnTo>
                  <a:lnTo>
                    <a:pt x="42" y="457"/>
                  </a:lnTo>
                  <a:lnTo>
                    <a:pt x="41" y="457"/>
                  </a:lnTo>
                  <a:lnTo>
                    <a:pt x="42" y="457"/>
                  </a:lnTo>
                  <a:lnTo>
                    <a:pt x="42" y="456"/>
                  </a:lnTo>
                  <a:lnTo>
                    <a:pt x="41" y="456"/>
                  </a:lnTo>
                  <a:lnTo>
                    <a:pt x="41" y="457"/>
                  </a:lnTo>
                  <a:lnTo>
                    <a:pt x="39" y="457"/>
                  </a:lnTo>
                  <a:lnTo>
                    <a:pt x="38" y="458"/>
                  </a:lnTo>
                  <a:lnTo>
                    <a:pt x="37" y="458"/>
                  </a:lnTo>
                  <a:lnTo>
                    <a:pt x="37" y="457"/>
                  </a:lnTo>
                  <a:lnTo>
                    <a:pt x="37" y="456"/>
                  </a:lnTo>
                  <a:lnTo>
                    <a:pt x="36" y="456"/>
                  </a:lnTo>
                  <a:lnTo>
                    <a:pt x="35" y="456"/>
                  </a:lnTo>
                  <a:lnTo>
                    <a:pt x="36" y="455"/>
                  </a:lnTo>
                  <a:lnTo>
                    <a:pt x="37" y="455"/>
                  </a:lnTo>
                  <a:lnTo>
                    <a:pt x="38" y="455"/>
                  </a:lnTo>
                  <a:lnTo>
                    <a:pt x="39" y="454"/>
                  </a:lnTo>
                  <a:lnTo>
                    <a:pt x="38" y="454"/>
                  </a:lnTo>
                  <a:lnTo>
                    <a:pt x="38" y="455"/>
                  </a:lnTo>
                  <a:lnTo>
                    <a:pt x="37" y="455"/>
                  </a:lnTo>
                  <a:lnTo>
                    <a:pt x="38" y="454"/>
                  </a:lnTo>
                  <a:lnTo>
                    <a:pt x="38" y="452"/>
                  </a:lnTo>
                  <a:lnTo>
                    <a:pt x="38" y="451"/>
                  </a:lnTo>
                  <a:lnTo>
                    <a:pt x="39" y="451"/>
                  </a:lnTo>
                  <a:lnTo>
                    <a:pt x="38" y="451"/>
                  </a:lnTo>
                  <a:lnTo>
                    <a:pt x="38" y="452"/>
                  </a:lnTo>
                  <a:lnTo>
                    <a:pt x="37" y="452"/>
                  </a:lnTo>
                  <a:lnTo>
                    <a:pt x="36" y="454"/>
                  </a:lnTo>
                  <a:lnTo>
                    <a:pt x="35" y="454"/>
                  </a:lnTo>
                  <a:lnTo>
                    <a:pt x="35" y="452"/>
                  </a:lnTo>
                  <a:lnTo>
                    <a:pt x="36" y="452"/>
                  </a:lnTo>
                  <a:lnTo>
                    <a:pt x="37" y="452"/>
                  </a:lnTo>
                  <a:lnTo>
                    <a:pt x="37" y="451"/>
                  </a:lnTo>
                  <a:lnTo>
                    <a:pt x="38" y="450"/>
                  </a:lnTo>
                  <a:lnTo>
                    <a:pt x="37" y="451"/>
                  </a:lnTo>
                  <a:lnTo>
                    <a:pt x="36" y="451"/>
                  </a:lnTo>
                  <a:lnTo>
                    <a:pt x="36" y="452"/>
                  </a:lnTo>
                  <a:lnTo>
                    <a:pt x="36" y="451"/>
                  </a:lnTo>
                  <a:lnTo>
                    <a:pt x="36" y="450"/>
                  </a:lnTo>
                  <a:lnTo>
                    <a:pt x="37" y="450"/>
                  </a:lnTo>
                  <a:lnTo>
                    <a:pt x="36" y="450"/>
                  </a:lnTo>
                  <a:lnTo>
                    <a:pt x="35" y="450"/>
                  </a:lnTo>
                  <a:lnTo>
                    <a:pt x="34" y="450"/>
                  </a:lnTo>
                  <a:lnTo>
                    <a:pt x="34" y="451"/>
                  </a:lnTo>
                  <a:lnTo>
                    <a:pt x="32" y="451"/>
                  </a:lnTo>
                  <a:lnTo>
                    <a:pt x="32" y="450"/>
                  </a:lnTo>
                  <a:lnTo>
                    <a:pt x="31" y="450"/>
                  </a:lnTo>
                  <a:lnTo>
                    <a:pt x="31" y="451"/>
                  </a:lnTo>
                  <a:lnTo>
                    <a:pt x="30" y="451"/>
                  </a:lnTo>
                  <a:lnTo>
                    <a:pt x="30" y="450"/>
                  </a:lnTo>
                  <a:lnTo>
                    <a:pt x="31" y="449"/>
                  </a:lnTo>
                  <a:lnTo>
                    <a:pt x="31" y="448"/>
                  </a:lnTo>
                  <a:lnTo>
                    <a:pt x="32" y="448"/>
                  </a:lnTo>
                  <a:lnTo>
                    <a:pt x="34" y="447"/>
                  </a:lnTo>
                  <a:lnTo>
                    <a:pt x="35" y="447"/>
                  </a:lnTo>
                  <a:lnTo>
                    <a:pt x="37" y="447"/>
                  </a:lnTo>
                  <a:lnTo>
                    <a:pt x="38" y="447"/>
                  </a:lnTo>
                  <a:lnTo>
                    <a:pt x="37" y="447"/>
                  </a:lnTo>
                  <a:lnTo>
                    <a:pt x="36" y="447"/>
                  </a:lnTo>
                  <a:lnTo>
                    <a:pt x="35" y="447"/>
                  </a:lnTo>
                  <a:lnTo>
                    <a:pt x="34" y="447"/>
                  </a:lnTo>
                  <a:lnTo>
                    <a:pt x="35" y="445"/>
                  </a:lnTo>
                  <a:lnTo>
                    <a:pt x="36" y="445"/>
                  </a:lnTo>
                  <a:lnTo>
                    <a:pt x="36" y="444"/>
                  </a:lnTo>
                  <a:lnTo>
                    <a:pt x="35" y="444"/>
                  </a:lnTo>
                  <a:lnTo>
                    <a:pt x="35" y="445"/>
                  </a:lnTo>
                  <a:lnTo>
                    <a:pt x="34" y="445"/>
                  </a:lnTo>
                  <a:lnTo>
                    <a:pt x="32" y="445"/>
                  </a:lnTo>
                  <a:lnTo>
                    <a:pt x="34" y="444"/>
                  </a:lnTo>
                  <a:lnTo>
                    <a:pt x="34" y="443"/>
                  </a:lnTo>
                  <a:lnTo>
                    <a:pt x="32" y="443"/>
                  </a:lnTo>
                  <a:lnTo>
                    <a:pt x="32" y="442"/>
                  </a:lnTo>
                  <a:lnTo>
                    <a:pt x="32" y="443"/>
                  </a:lnTo>
                  <a:lnTo>
                    <a:pt x="31" y="443"/>
                  </a:lnTo>
                  <a:lnTo>
                    <a:pt x="31" y="442"/>
                  </a:lnTo>
                  <a:lnTo>
                    <a:pt x="30" y="443"/>
                  </a:lnTo>
                  <a:lnTo>
                    <a:pt x="29" y="443"/>
                  </a:lnTo>
                  <a:lnTo>
                    <a:pt x="28" y="443"/>
                  </a:lnTo>
                  <a:lnTo>
                    <a:pt x="28" y="442"/>
                  </a:lnTo>
                  <a:lnTo>
                    <a:pt x="29" y="441"/>
                  </a:lnTo>
                  <a:lnTo>
                    <a:pt x="30" y="441"/>
                  </a:lnTo>
                  <a:lnTo>
                    <a:pt x="30" y="440"/>
                  </a:lnTo>
                  <a:lnTo>
                    <a:pt x="31" y="440"/>
                  </a:lnTo>
                  <a:lnTo>
                    <a:pt x="30" y="440"/>
                  </a:lnTo>
                  <a:lnTo>
                    <a:pt x="29" y="440"/>
                  </a:lnTo>
                  <a:lnTo>
                    <a:pt x="29" y="441"/>
                  </a:lnTo>
                  <a:lnTo>
                    <a:pt x="28" y="441"/>
                  </a:lnTo>
                  <a:lnTo>
                    <a:pt x="27" y="441"/>
                  </a:lnTo>
                  <a:lnTo>
                    <a:pt x="27" y="440"/>
                  </a:lnTo>
                  <a:lnTo>
                    <a:pt x="28" y="440"/>
                  </a:lnTo>
                  <a:lnTo>
                    <a:pt x="27" y="440"/>
                  </a:lnTo>
                  <a:lnTo>
                    <a:pt x="28" y="438"/>
                  </a:lnTo>
                  <a:lnTo>
                    <a:pt x="27" y="438"/>
                  </a:lnTo>
                  <a:lnTo>
                    <a:pt x="27" y="440"/>
                  </a:lnTo>
                  <a:lnTo>
                    <a:pt x="25" y="440"/>
                  </a:lnTo>
                  <a:lnTo>
                    <a:pt x="24" y="440"/>
                  </a:lnTo>
                  <a:lnTo>
                    <a:pt x="25" y="438"/>
                  </a:lnTo>
                  <a:lnTo>
                    <a:pt x="24" y="438"/>
                  </a:lnTo>
                  <a:lnTo>
                    <a:pt x="23" y="440"/>
                  </a:lnTo>
                  <a:lnTo>
                    <a:pt x="22" y="440"/>
                  </a:lnTo>
                  <a:lnTo>
                    <a:pt x="21" y="440"/>
                  </a:lnTo>
                  <a:lnTo>
                    <a:pt x="22" y="440"/>
                  </a:lnTo>
                  <a:lnTo>
                    <a:pt x="23" y="438"/>
                  </a:lnTo>
                  <a:lnTo>
                    <a:pt x="24" y="438"/>
                  </a:lnTo>
                  <a:lnTo>
                    <a:pt x="24" y="437"/>
                  </a:lnTo>
                  <a:lnTo>
                    <a:pt x="24" y="436"/>
                  </a:lnTo>
                  <a:lnTo>
                    <a:pt x="23" y="436"/>
                  </a:lnTo>
                  <a:lnTo>
                    <a:pt x="24" y="435"/>
                  </a:lnTo>
                  <a:lnTo>
                    <a:pt x="25" y="434"/>
                  </a:lnTo>
                  <a:lnTo>
                    <a:pt x="25" y="435"/>
                  </a:lnTo>
                  <a:lnTo>
                    <a:pt x="25" y="434"/>
                  </a:lnTo>
                  <a:lnTo>
                    <a:pt x="27" y="434"/>
                  </a:lnTo>
                  <a:lnTo>
                    <a:pt x="28" y="434"/>
                  </a:lnTo>
                  <a:lnTo>
                    <a:pt x="29" y="434"/>
                  </a:lnTo>
                  <a:lnTo>
                    <a:pt x="29" y="435"/>
                  </a:lnTo>
                  <a:lnTo>
                    <a:pt x="29" y="436"/>
                  </a:lnTo>
                  <a:lnTo>
                    <a:pt x="30" y="436"/>
                  </a:lnTo>
                  <a:lnTo>
                    <a:pt x="30" y="435"/>
                  </a:lnTo>
                  <a:lnTo>
                    <a:pt x="30" y="434"/>
                  </a:lnTo>
                  <a:lnTo>
                    <a:pt x="30" y="433"/>
                  </a:lnTo>
                  <a:lnTo>
                    <a:pt x="31" y="433"/>
                  </a:lnTo>
                  <a:lnTo>
                    <a:pt x="32" y="433"/>
                  </a:lnTo>
                  <a:lnTo>
                    <a:pt x="31" y="433"/>
                  </a:lnTo>
                  <a:lnTo>
                    <a:pt x="30" y="433"/>
                  </a:lnTo>
                  <a:lnTo>
                    <a:pt x="28" y="433"/>
                  </a:lnTo>
                  <a:lnTo>
                    <a:pt x="28" y="431"/>
                  </a:lnTo>
                  <a:lnTo>
                    <a:pt x="28" y="433"/>
                  </a:lnTo>
                  <a:lnTo>
                    <a:pt x="29" y="433"/>
                  </a:lnTo>
                  <a:lnTo>
                    <a:pt x="30" y="433"/>
                  </a:lnTo>
                  <a:lnTo>
                    <a:pt x="29" y="434"/>
                  </a:lnTo>
                  <a:lnTo>
                    <a:pt x="27" y="434"/>
                  </a:lnTo>
                  <a:lnTo>
                    <a:pt x="25" y="434"/>
                  </a:lnTo>
                  <a:lnTo>
                    <a:pt x="24" y="434"/>
                  </a:lnTo>
                  <a:lnTo>
                    <a:pt x="23" y="434"/>
                  </a:lnTo>
                  <a:lnTo>
                    <a:pt x="23" y="435"/>
                  </a:lnTo>
                  <a:lnTo>
                    <a:pt x="23" y="434"/>
                  </a:lnTo>
                  <a:lnTo>
                    <a:pt x="22" y="434"/>
                  </a:lnTo>
                  <a:lnTo>
                    <a:pt x="22" y="433"/>
                  </a:lnTo>
                  <a:lnTo>
                    <a:pt x="22" y="431"/>
                  </a:lnTo>
                  <a:lnTo>
                    <a:pt x="23" y="431"/>
                  </a:lnTo>
                  <a:lnTo>
                    <a:pt x="22" y="431"/>
                  </a:lnTo>
                  <a:lnTo>
                    <a:pt x="22" y="430"/>
                  </a:lnTo>
                  <a:lnTo>
                    <a:pt x="22" y="429"/>
                  </a:lnTo>
                  <a:lnTo>
                    <a:pt x="23" y="429"/>
                  </a:lnTo>
                  <a:lnTo>
                    <a:pt x="24" y="429"/>
                  </a:lnTo>
                  <a:lnTo>
                    <a:pt x="25" y="429"/>
                  </a:lnTo>
                  <a:lnTo>
                    <a:pt x="27" y="429"/>
                  </a:lnTo>
                  <a:lnTo>
                    <a:pt x="28" y="428"/>
                  </a:lnTo>
                  <a:lnTo>
                    <a:pt x="29" y="428"/>
                  </a:lnTo>
                  <a:lnTo>
                    <a:pt x="30" y="428"/>
                  </a:lnTo>
                  <a:close/>
                  <a:moveTo>
                    <a:pt x="32" y="429"/>
                  </a:moveTo>
                  <a:lnTo>
                    <a:pt x="31" y="429"/>
                  </a:lnTo>
                  <a:lnTo>
                    <a:pt x="31" y="428"/>
                  </a:lnTo>
                  <a:lnTo>
                    <a:pt x="30" y="428"/>
                  </a:lnTo>
                  <a:lnTo>
                    <a:pt x="31" y="428"/>
                  </a:lnTo>
                  <a:lnTo>
                    <a:pt x="32" y="428"/>
                  </a:lnTo>
                  <a:lnTo>
                    <a:pt x="32" y="429"/>
                  </a:lnTo>
                  <a:close/>
                  <a:moveTo>
                    <a:pt x="31" y="428"/>
                  </a:moveTo>
                  <a:lnTo>
                    <a:pt x="30" y="428"/>
                  </a:lnTo>
                  <a:lnTo>
                    <a:pt x="29" y="428"/>
                  </a:lnTo>
                  <a:lnTo>
                    <a:pt x="30" y="427"/>
                  </a:lnTo>
                  <a:lnTo>
                    <a:pt x="31" y="427"/>
                  </a:lnTo>
                  <a:lnTo>
                    <a:pt x="31" y="428"/>
                  </a:lnTo>
                  <a:close/>
                  <a:moveTo>
                    <a:pt x="900" y="428"/>
                  </a:moveTo>
                  <a:lnTo>
                    <a:pt x="899" y="428"/>
                  </a:lnTo>
                  <a:lnTo>
                    <a:pt x="899" y="427"/>
                  </a:lnTo>
                  <a:lnTo>
                    <a:pt x="900" y="427"/>
                  </a:lnTo>
                  <a:lnTo>
                    <a:pt x="900" y="428"/>
                  </a:lnTo>
                  <a:close/>
                  <a:moveTo>
                    <a:pt x="36" y="426"/>
                  </a:moveTo>
                  <a:lnTo>
                    <a:pt x="36" y="424"/>
                  </a:lnTo>
                  <a:lnTo>
                    <a:pt x="37" y="424"/>
                  </a:lnTo>
                  <a:lnTo>
                    <a:pt x="36" y="426"/>
                  </a:lnTo>
                  <a:close/>
                  <a:moveTo>
                    <a:pt x="864" y="424"/>
                  </a:moveTo>
                  <a:lnTo>
                    <a:pt x="866" y="424"/>
                  </a:lnTo>
                  <a:lnTo>
                    <a:pt x="867" y="423"/>
                  </a:lnTo>
                  <a:lnTo>
                    <a:pt x="867" y="424"/>
                  </a:lnTo>
                  <a:lnTo>
                    <a:pt x="866" y="424"/>
                  </a:lnTo>
                  <a:lnTo>
                    <a:pt x="864" y="424"/>
                  </a:lnTo>
                  <a:close/>
                  <a:moveTo>
                    <a:pt x="868" y="423"/>
                  </a:moveTo>
                  <a:lnTo>
                    <a:pt x="867" y="423"/>
                  </a:lnTo>
                  <a:lnTo>
                    <a:pt x="868" y="423"/>
                  </a:lnTo>
                  <a:lnTo>
                    <a:pt x="868" y="422"/>
                  </a:lnTo>
                  <a:lnTo>
                    <a:pt x="869" y="422"/>
                  </a:lnTo>
                  <a:lnTo>
                    <a:pt x="868" y="423"/>
                  </a:lnTo>
                  <a:close/>
                  <a:moveTo>
                    <a:pt x="868" y="422"/>
                  </a:moveTo>
                  <a:lnTo>
                    <a:pt x="867" y="423"/>
                  </a:lnTo>
                  <a:lnTo>
                    <a:pt x="866" y="422"/>
                  </a:lnTo>
                  <a:lnTo>
                    <a:pt x="867" y="422"/>
                  </a:lnTo>
                  <a:lnTo>
                    <a:pt x="868" y="422"/>
                  </a:lnTo>
                  <a:close/>
                  <a:moveTo>
                    <a:pt x="899" y="416"/>
                  </a:moveTo>
                  <a:lnTo>
                    <a:pt x="899" y="417"/>
                  </a:lnTo>
                  <a:lnTo>
                    <a:pt x="900" y="416"/>
                  </a:lnTo>
                  <a:lnTo>
                    <a:pt x="899" y="417"/>
                  </a:lnTo>
                  <a:lnTo>
                    <a:pt x="899" y="419"/>
                  </a:lnTo>
                  <a:lnTo>
                    <a:pt x="900" y="419"/>
                  </a:lnTo>
                  <a:lnTo>
                    <a:pt x="902" y="419"/>
                  </a:lnTo>
                  <a:lnTo>
                    <a:pt x="903" y="419"/>
                  </a:lnTo>
                  <a:lnTo>
                    <a:pt x="902" y="419"/>
                  </a:lnTo>
                  <a:lnTo>
                    <a:pt x="902" y="417"/>
                  </a:lnTo>
                  <a:lnTo>
                    <a:pt x="903" y="417"/>
                  </a:lnTo>
                  <a:lnTo>
                    <a:pt x="904" y="417"/>
                  </a:lnTo>
                  <a:lnTo>
                    <a:pt x="905" y="417"/>
                  </a:lnTo>
                  <a:lnTo>
                    <a:pt x="904" y="417"/>
                  </a:lnTo>
                  <a:lnTo>
                    <a:pt x="905" y="417"/>
                  </a:lnTo>
                  <a:lnTo>
                    <a:pt x="905" y="419"/>
                  </a:lnTo>
                  <a:lnTo>
                    <a:pt x="904" y="419"/>
                  </a:lnTo>
                  <a:lnTo>
                    <a:pt x="903" y="419"/>
                  </a:lnTo>
                  <a:lnTo>
                    <a:pt x="904" y="419"/>
                  </a:lnTo>
                  <a:lnTo>
                    <a:pt x="904" y="420"/>
                  </a:lnTo>
                  <a:lnTo>
                    <a:pt x="903" y="420"/>
                  </a:lnTo>
                  <a:lnTo>
                    <a:pt x="903" y="421"/>
                  </a:lnTo>
                  <a:lnTo>
                    <a:pt x="903" y="420"/>
                  </a:lnTo>
                  <a:lnTo>
                    <a:pt x="903" y="421"/>
                  </a:lnTo>
                  <a:lnTo>
                    <a:pt x="902" y="421"/>
                  </a:lnTo>
                  <a:lnTo>
                    <a:pt x="903" y="421"/>
                  </a:lnTo>
                  <a:lnTo>
                    <a:pt x="902" y="421"/>
                  </a:lnTo>
                  <a:lnTo>
                    <a:pt x="902" y="422"/>
                  </a:lnTo>
                  <a:lnTo>
                    <a:pt x="900" y="421"/>
                  </a:lnTo>
                  <a:lnTo>
                    <a:pt x="899" y="421"/>
                  </a:lnTo>
                  <a:lnTo>
                    <a:pt x="898" y="421"/>
                  </a:lnTo>
                  <a:lnTo>
                    <a:pt x="897" y="421"/>
                  </a:lnTo>
                  <a:lnTo>
                    <a:pt x="897" y="420"/>
                  </a:lnTo>
                  <a:lnTo>
                    <a:pt x="897" y="421"/>
                  </a:lnTo>
                  <a:lnTo>
                    <a:pt x="896" y="421"/>
                  </a:lnTo>
                  <a:lnTo>
                    <a:pt x="897" y="421"/>
                  </a:lnTo>
                  <a:lnTo>
                    <a:pt x="896" y="422"/>
                  </a:lnTo>
                  <a:lnTo>
                    <a:pt x="896" y="423"/>
                  </a:lnTo>
                  <a:lnTo>
                    <a:pt x="897" y="423"/>
                  </a:lnTo>
                  <a:lnTo>
                    <a:pt x="898" y="423"/>
                  </a:lnTo>
                  <a:lnTo>
                    <a:pt x="898" y="422"/>
                  </a:lnTo>
                  <a:lnTo>
                    <a:pt x="899" y="423"/>
                  </a:lnTo>
                  <a:lnTo>
                    <a:pt x="899" y="424"/>
                  </a:lnTo>
                  <a:lnTo>
                    <a:pt x="898" y="426"/>
                  </a:lnTo>
                  <a:lnTo>
                    <a:pt x="897" y="426"/>
                  </a:lnTo>
                  <a:lnTo>
                    <a:pt x="897" y="427"/>
                  </a:lnTo>
                  <a:lnTo>
                    <a:pt x="896" y="428"/>
                  </a:lnTo>
                  <a:lnTo>
                    <a:pt x="897" y="428"/>
                  </a:lnTo>
                  <a:lnTo>
                    <a:pt x="896" y="428"/>
                  </a:lnTo>
                  <a:lnTo>
                    <a:pt x="895" y="429"/>
                  </a:lnTo>
                  <a:lnTo>
                    <a:pt x="893" y="429"/>
                  </a:lnTo>
                  <a:lnTo>
                    <a:pt x="893" y="430"/>
                  </a:lnTo>
                  <a:lnTo>
                    <a:pt x="892" y="430"/>
                  </a:lnTo>
                  <a:lnTo>
                    <a:pt x="893" y="430"/>
                  </a:lnTo>
                  <a:lnTo>
                    <a:pt x="892" y="430"/>
                  </a:lnTo>
                  <a:lnTo>
                    <a:pt x="892" y="429"/>
                  </a:lnTo>
                  <a:lnTo>
                    <a:pt x="893" y="428"/>
                  </a:lnTo>
                  <a:lnTo>
                    <a:pt x="892" y="428"/>
                  </a:lnTo>
                  <a:lnTo>
                    <a:pt x="892" y="429"/>
                  </a:lnTo>
                  <a:lnTo>
                    <a:pt x="892" y="430"/>
                  </a:lnTo>
                  <a:lnTo>
                    <a:pt x="892" y="431"/>
                  </a:lnTo>
                  <a:lnTo>
                    <a:pt x="891" y="431"/>
                  </a:lnTo>
                  <a:lnTo>
                    <a:pt x="891" y="433"/>
                  </a:lnTo>
                  <a:lnTo>
                    <a:pt x="890" y="433"/>
                  </a:lnTo>
                  <a:lnTo>
                    <a:pt x="890" y="434"/>
                  </a:lnTo>
                  <a:lnTo>
                    <a:pt x="889" y="434"/>
                  </a:lnTo>
                  <a:lnTo>
                    <a:pt x="890" y="434"/>
                  </a:lnTo>
                  <a:lnTo>
                    <a:pt x="889" y="434"/>
                  </a:lnTo>
                  <a:lnTo>
                    <a:pt x="889" y="435"/>
                  </a:lnTo>
                  <a:lnTo>
                    <a:pt x="888" y="435"/>
                  </a:lnTo>
                  <a:lnTo>
                    <a:pt x="888" y="436"/>
                  </a:lnTo>
                  <a:lnTo>
                    <a:pt x="887" y="436"/>
                  </a:lnTo>
                  <a:lnTo>
                    <a:pt x="887" y="435"/>
                  </a:lnTo>
                  <a:lnTo>
                    <a:pt x="887" y="436"/>
                  </a:lnTo>
                  <a:lnTo>
                    <a:pt x="887" y="437"/>
                  </a:lnTo>
                  <a:lnTo>
                    <a:pt x="885" y="437"/>
                  </a:lnTo>
                  <a:lnTo>
                    <a:pt x="885" y="438"/>
                  </a:lnTo>
                  <a:lnTo>
                    <a:pt x="884" y="440"/>
                  </a:lnTo>
                  <a:lnTo>
                    <a:pt x="883" y="440"/>
                  </a:lnTo>
                  <a:lnTo>
                    <a:pt x="882" y="441"/>
                  </a:lnTo>
                  <a:lnTo>
                    <a:pt x="881" y="442"/>
                  </a:lnTo>
                  <a:lnTo>
                    <a:pt x="881" y="443"/>
                  </a:lnTo>
                  <a:lnTo>
                    <a:pt x="881" y="442"/>
                  </a:lnTo>
                  <a:lnTo>
                    <a:pt x="882" y="442"/>
                  </a:lnTo>
                  <a:lnTo>
                    <a:pt x="881" y="442"/>
                  </a:lnTo>
                  <a:lnTo>
                    <a:pt x="881" y="443"/>
                  </a:lnTo>
                  <a:lnTo>
                    <a:pt x="881" y="444"/>
                  </a:lnTo>
                  <a:lnTo>
                    <a:pt x="880" y="444"/>
                  </a:lnTo>
                  <a:lnTo>
                    <a:pt x="878" y="445"/>
                  </a:lnTo>
                  <a:lnTo>
                    <a:pt x="880" y="445"/>
                  </a:lnTo>
                  <a:lnTo>
                    <a:pt x="880" y="447"/>
                  </a:lnTo>
                  <a:lnTo>
                    <a:pt x="878" y="448"/>
                  </a:lnTo>
                  <a:lnTo>
                    <a:pt x="878" y="449"/>
                  </a:lnTo>
                  <a:lnTo>
                    <a:pt x="878" y="448"/>
                  </a:lnTo>
                  <a:lnTo>
                    <a:pt x="880" y="447"/>
                  </a:lnTo>
                  <a:lnTo>
                    <a:pt x="882" y="444"/>
                  </a:lnTo>
                  <a:lnTo>
                    <a:pt x="883" y="444"/>
                  </a:lnTo>
                  <a:lnTo>
                    <a:pt x="883" y="443"/>
                  </a:lnTo>
                  <a:lnTo>
                    <a:pt x="884" y="443"/>
                  </a:lnTo>
                  <a:lnTo>
                    <a:pt x="884" y="444"/>
                  </a:lnTo>
                  <a:lnTo>
                    <a:pt x="884" y="443"/>
                  </a:lnTo>
                  <a:lnTo>
                    <a:pt x="885" y="443"/>
                  </a:lnTo>
                  <a:lnTo>
                    <a:pt x="885" y="442"/>
                  </a:lnTo>
                  <a:lnTo>
                    <a:pt x="887" y="441"/>
                  </a:lnTo>
                  <a:lnTo>
                    <a:pt x="888" y="441"/>
                  </a:lnTo>
                  <a:lnTo>
                    <a:pt x="888" y="440"/>
                  </a:lnTo>
                  <a:lnTo>
                    <a:pt x="889" y="440"/>
                  </a:lnTo>
                  <a:lnTo>
                    <a:pt x="890" y="440"/>
                  </a:lnTo>
                  <a:lnTo>
                    <a:pt x="890" y="441"/>
                  </a:lnTo>
                  <a:lnTo>
                    <a:pt x="889" y="441"/>
                  </a:lnTo>
                  <a:lnTo>
                    <a:pt x="889" y="442"/>
                  </a:lnTo>
                  <a:lnTo>
                    <a:pt x="888" y="443"/>
                  </a:lnTo>
                  <a:lnTo>
                    <a:pt x="888" y="442"/>
                  </a:lnTo>
                  <a:lnTo>
                    <a:pt x="889" y="442"/>
                  </a:lnTo>
                  <a:lnTo>
                    <a:pt x="890" y="441"/>
                  </a:lnTo>
                  <a:lnTo>
                    <a:pt x="890" y="442"/>
                  </a:lnTo>
                  <a:lnTo>
                    <a:pt x="891" y="441"/>
                  </a:lnTo>
                  <a:lnTo>
                    <a:pt x="892" y="441"/>
                  </a:lnTo>
                  <a:lnTo>
                    <a:pt x="892" y="442"/>
                  </a:lnTo>
                  <a:lnTo>
                    <a:pt x="893" y="442"/>
                  </a:lnTo>
                  <a:lnTo>
                    <a:pt x="895" y="442"/>
                  </a:lnTo>
                  <a:lnTo>
                    <a:pt x="896" y="442"/>
                  </a:lnTo>
                  <a:lnTo>
                    <a:pt x="897" y="441"/>
                  </a:lnTo>
                  <a:lnTo>
                    <a:pt x="897" y="442"/>
                  </a:lnTo>
                  <a:lnTo>
                    <a:pt x="896" y="443"/>
                  </a:lnTo>
                  <a:lnTo>
                    <a:pt x="895" y="443"/>
                  </a:lnTo>
                  <a:lnTo>
                    <a:pt x="893" y="443"/>
                  </a:lnTo>
                  <a:lnTo>
                    <a:pt x="893" y="444"/>
                  </a:lnTo>
                  <a:lnTo>
                    <a:pt x="891" y="444"/>
                  </a:lnTo>
                  <a:lnTo>
                    <a:pt x="890" y="445"/>
                  </a:lnTo>
                  <a:lnTo>
                    <a:pt x="889" y="445"/>
                  </a:lnTo>
                  <a:lnTo>
                    <a:pt x="888" y="447"/>
                  </a:lnTo>
                  <a:lnTo>
                    <a:pt x="887" y="447"/>
                  </a:lnTo>
                  <a:lnTo>
                    <a:pt x="887" y="448"/>
                  </a:lnTo>
                  <a:lnTo>
                    <a:pt x="888" y="447"/>
                  </a:lnTo>
                  <a:lnTo>
                    <a:pt x="889" y="447"/>
                  </a:lnTo>
                  <a:lnTo>
                    <a:pt x="889" y="445"/>
                  </a:lnTo>
                  <a:lnTo>
                    <a:pt x="890" y="445"/>
                  </a:lnTo>
                  <a:lnTo>
                    <a:pt x="890" y="447"/>
                  </a:lnTo>
                  <a:lnTo>
                    <a:pt x="889" y="447"/>
                  </a:lnTo>
                  <a:lnTo>
                    <a:pt x="890" y="447"/>
                  </a:lnTo>
                  <a:lnTo>
                    <a:pt x="891" y="447"/>
                  </a:lnTo>
                  <a:lnTo>
                    <a:pt x="890" y="447"/>
                  </a:lnTo>
                  <a:lnTo>
                    <a:pt x="889" y="448"/>
                  </a:lnTo>
                  <a:lnTo>
                    <a:pt x="890" y="448"/>
                  </a:lnTo>
                  <a:lnTo>
                    <a:pt x="889" y="449"/>
                  </a:lnTo>
                  <a:lnTo>
                    <a:pt x="888" y="449"/>
                  </a:lnTo>
                  <a:lnTo>
                    <a:pt x="887" y="449"/>
                  </a:lnTo>
                  <a:lnTo>
                    <a:pt x="887" y="450"/>
                  </a:lnTo>
                  <a:lnTo>
                    <a:pt x="888" y="449"/>
                  </a:lnTo>
                  <a:lnTo>
                    <a:pt x="889" y="449"/>
                  </a:lnTo>
                  <a:lnTo>
                    <a:pt x="890" y="449"/>
                  </a:lnTo>
                  <a:lnTo>
                    <a:pt x="891" y="449"/>
                  </a:lnTo>
                  <a:lnTo>
                    <a:pt x="890" y="449"/>
                  </a:lnTo>
                  <a:lnTo>
                    <a:pt x="891" y="449"/>
                  </a:lnTo>
                  <a:lnTo>
                    <a:pt x="891" y="450"/>
                  </a:lnTo>
                  <a:lnTo>
                    <a:pt x="891" y="449"/>
                  </a:lnTo>
                  <a:lnTo>
                    <a:pt x="891" y="450"/>
                  </a:lnTo>
                  <a:lnTo>
                    <a:pt x="890" y="450"/>
                  </a:lnTo>
                  <a:lnTo>
                    <a:pt x="891" y="450"/>
                  </a:lnTo>
                  <a:lnTo>
                    <a:pt x="892" y="450"/>
                  </a:lnTo>
                  <a:lnTo>
                    <a:pt x="891" y="450"/>
                  </a:lnTo>
                  <a:lnTo>
                    <a:pt x="891" y="451"/>
                  </a:lnTo>
                  <a:lnTo>
                    <a:pt x="892" y="451"/>
                  </a:lnTo>
                  <a:lnTo>
                    <a:pt x="892" y="450"/>
                  </a:lnTo>
                  <a:lnTo>
                    <a:pt x="893" y="450"/>
                  </a:lnTo>
                  <a:lnTo>
                    <a:pt x="893" y="449"/>
                  </a:lnTo>
                  <a:lnTo>
                    <a:pt x="893" y="450"/>
                  </a:lnTo>
                  <a:lnTo>
                    <a:pt x="892" y="450"/>
                  </a:lnTo>
                  <a:lnTo>
                    <a:pt x="892" y="451"/>
                  </a:lnTo>
                  <a:lnTo>
                    <a:pt x="893" y="451"/>
                  </a:lnTo>
                  <a:lnTo>
                    <a:pt x="893" y="450"/>
                  </a:lnTo>
                  <a:lnTo>
                    <a:pt x="895" y="449"/>
                  </a:lnTo>
                  <a:lnTo>
                    <a:pt x="895" y="450"/>
                  </a:lnTo>
                  <a:lnTo>
                    <a:pt x="895" y="449"/>
                  </a:lnTo>
                  <a:lnTo>
                    <a:pt x="896" y="449"/>
                  </a:lnTo>
                  <a:lnTo>
                    <a:pt x="895" y="450"/>
                  </a:lnTo>
                  <a:lnTo>
                    <a:pt x="896" y="450"/>
                  </a:lnTo>
                  <a:lnTo>
                    <a:pt x="895" y="451"/>
                  </a:lnTo>
                  <a:lnTo>
                    <a:pt x="896" y="451"/>
                  </a:lnTo>
                  <a:lnTo>
                    <a:pt x="896" y="450"/>
                  </a:lnTo>
                  <a:lnTo>
                    <a:pt x="896" y="451"/>
                  </a:lnTo>
                  <a:lnTo>
                    <a:pt x="896" y="450"/>
                  </a:lnTo>
                  <a:lnTo>
                    <a:pt x="896" y="451"/>
                  </a:lnTo>
                  <a:lnTo>
                    <a:pt x="896" y="452"/>
                  </a:lnTo>
                  <a:lnTo>
                    <a:pt x="896" y="451"/>
                  </a:lnTo>
                  <a:lnTo>
                    <a:pt x="897" y="451"/>
                  </a:lnTo>
                  <a:lnTo>
                    <a:pt x="897" y="450"/>
                  </a:lnTo>
                  <a:lnTo>
                    <a:pt x="897" y="449"/>
                  </a:lnTo>
                  <a:lnTo>
                    <a:pt x="898" y="449"/>
                  </a:lnTo>
                  <a:lnTo>
                    <a:pt x="897" y="449"/>
                  </a:lnTo>
                  <a:lnTo>
                    <a:pt x="898" y="449"/>
                  </a:lnTo>
                  <a:lnTo>
                    <a:pt x="898" y="450"/>
                  </a:lnTo>
                  <a:lnTo>
                    <a:pt x="897" y="451"/>
                  </a:lnTo>
                  <a:lnTo>
                    <a:pt x="897" y="450"/>
                  </a:lnTo>
                  <a:lnTo>
                    <a:pt x="897" y="451"/>
                  </a:lnTo>
                  <a:lnTo>
                    <a:pt x="897" y="452"/>
                  </a:lnTo>
                  <a:lnTo>
                    <a:pt x="896" y="452"/>
                  </a:lnTo>
                  <a:lnTo>
                    <a:pt x="896" y="454"/>
                  </a:lnTo>
                  <a:lnTo>
                    <a:pt x="895" y="454"/>
                  </a:lnTo>
                  <a:lnTo>
                    <a:pt x="895" y="455"/>
                  </a:lnTo>
                  <a:lnTo>
                    <a:pt x="895" y="456"/>
                  </a:lnTo>
                  <a:lnTo>
                    <a:pt x="893" y="456"/>
                  </a:lnTo>
                  <a:lnTo>
                    <a:pt x="895" y="456"/>
                  </a:lnTo>
                  <a:lnTo>
                    <a:pt x="896" y="455"/>
                  </a:lnTo>
                  <a:lnTo>
                    <a:pt x="895" y="455"/>
                  </a:lnTo>
                  <a:lnTo>
                    <a:pt x="896" y="454"/>
                  </a:lnTo>
                  <a:lnTo>
                    <a:pt x="897" y="454"/>
                  </a:lnTo>
                  <a:lnTo>
                    <a:pt x="898" y="452"/>
                  </a:lnTo>
                  <a:lnTo>
                    <a:pt x="898" y="451"/>
                  </a:lnTo>
                  <a:lnTo>
                    <a:pt x="899" y="451"/>
                  </a:lnTo>
                  <a:lnTo>
                    <a:pt x="899" y="452"/>
                  </a:lnTo>
                  <a:lnTo>
                    <a:pt x="898" y="454"/>
                  </a:lnTo>
                  <a:lnTo>
                    <a:pt x="899" y="454"/>
                  </a:lnTo>
                  <a:lnTo>
                    <a:pt x="899" y="452"/>
                  </a:lnTo>
                  <a:lnTo>
                    <a:pt x="900" y="452"/>
                  </a:lnTo>
                  <a:lnTo>
                    <a:pt x="902" y="451"/>
                  </a:lnTo>
                  <a:lnTo>
                    <a:pt x="900" y="451"/>
                  </a:lnTo>
                  <a:lnTo>
                    <a:pt x="902" y="451"/>
                  </a:lnTo>
                  <a:lnTo>
                    <a:pt x="902" y="450"/>
                  </a:lnTo>
                  <a:lnTo>
                    <a:pt x="902" y="451"/>
                  </a:lnTo>
                  <a:lnTo>
                    <a:pt x="902" y="452"/>
                  </a:lnTo>
                  <a:lnTo>
                    <a:pt x="902" y="451"/>
                  </a:lnTo>
                  <a:lnTo>
                    <a:pt x="903" y="451"/>
                  </a:lnTo>
                  <a:lnTo>
                    <a:pt x="903" y="452"/>
                  </a:lnTo>
                  <a:lnTo>
                    <a:pt x="903" y="451"/>
                  </a:lnTo>
                  <a:lnTo>
                    <a:pt x="904" y="451"/>
                  </a:lnTo>
                  <a:lnTo>
                    <a:pt x="904" y="450"/>
                  </a:lnTo>
                  <a:lnTo>
                    <a:pt x="905" y="449"/>
                  </a:lnTo>
                  <a:lnTo>
                    <a:pt x="906" y="449"/>
                  </a:lnTo>
                  <a:lnTo>
                    <a:pt x="907" y="449"/>
                  </a:lnTo>
                  <a:lnTo>
                    <a:pt x="906" y="449"/>
                  </a:lnTo>
                  <a:lnTo>
                    <a:pt x="906" y="450"/>
                  </a:lnTo>
                  <a:lnTo>
                    <a:pt x="905" y="450"/>
                  </a:lnTo>
                  <a:lnTo>
                    <a:pt x="906" y="450"/>
                  </a:lnTo>
                  <a:lnTo>
                    <a:pt x="906" y="449"/>
                  </a:lnTo>
                  <a:lnTo>
                    <a:pt x="907" y="450"/>
                  </a:lnTo>
                  <a:lnTo>
                    <a:pt x="906" y="450"/>
                  </a:lnTo>
                  <a:lnTo>
                    <a:pt x="906" y="451"/>
                  </a:lnTo>
                  <a:lnTo>
                    <a:pt x="906" y="452"/>
                  </a:lnTo>
                  <a:lnTo>
                    <a:pt x="905" y="452"/>
                  </a:lnTo>
                  <a:lnTo>
                    <a:pt x="906" y="452"/>
                  </a:lnTo>
                  <a:lnTo>
                    <a:pt x="906" y="451"/>
                  </a:lnTo>
                  <a:lnTo>
                    <a:pt x="907" y="451"/>
                  </a:lnTo>
                  <a:lnTo>
                    <a:pt x="907" y="450"/>
                  </a:lnTo>
                  <a:lnTo>
                    <a:pt x="909" y="450"/>
                  </a:lnTo>
                  <a:lnTo>
                    <a:pt x="910" y="450"/>
                  </a:lnTo>
                  <a:lnTo>
                    <a:pt x="909" y="450"/>
                  </a:lnTo>
                  <a:lnTo>
                    <a:pt x="909" y="451"/>
                  </a:lnTo>
                  <a:lnTo>
                    <a:pt x="910" y="450"/>
                  </a:lnTo>
                  <a:lnTo>
                    <a:pt x="910" y="451"/>
                  </a:lnTo>
                  <a:lnTo>
                    <a:pt x="910" y="450"/>
                  </a:lnTo>
                  <a:lnTo>
                    <a:pt x="911" y="450"/>
                  </a:lnTo>
                  <a:lnTo>
                    <a:pt x="912" y="449"/>
                  </a:lnTo>
                  <a:lnTo>
                    <a:pt x="912" y="450"/>
                  </a:lnTo>
                  <a:lnTo>
                    <a:pt x="913" y="450"/>
                  </a:lnTo>
                  <a:lnTo>
                    <a:pt x="914" y="450"/>
                  </a:lnTo>
                  <a:lnTo>
                    <a:pt x="914" y="451"/>
                  </a:lnTo>
                  <a:lnTo>
                    <a:pt x="914" y="450"/>
                  </a:lnTo>
                  <a:lnTo>
                    <a:pt x="914" y="451"/>
                  </a:lnTo>
                  <a:lnTo>
                    <a:pt x="916" y="451"/>
                  </a:lnTo>
                  <a:lnTo>
                    <a:pt x="917" y="451"/>
                  </a:lnTo>
                  <a:lnTo>
                    <a:pt x="917" y="452"/>
                  </a:lnTo>
                  <a:lnTo>
                    <a:pt x="918" y="452"/>
                  </a:lnTo>
                  <a:lnTo>
                    <a:pt x="918" y="454"/>
                  </a:lnTo>
                  <a:lnTo>
                    <a:pt x="917" y="454"/>
                  </a:lnTo>
                  <a:lnTo>
                    <a:pt x="917" y="455"/>
                  </a:lnTo>
                  <a:lnTo>
                    <a:pt x="916" y="455"/>
                  </a:lnTo>
                  <a:lnTo>
                    <a:pt x="916" y="456"/>
                  </a:lnTo>
                  <a:lnTo>
                    <a:pt x="913" y="456"/>
                  </a:lnTo>
                  <a:lnTo>
                    <a:pt x="912" y="456"/>
                  </a:lnTo>
                  <a:lnTo>
                    <a:pt x="912" y="457"/>
                  </a:lnTo>
                  <a:lnTo>
                    <a:pt x="913" y="457"/>
                  </a:lnTo>
                  <a:lnTo>
                    <a:pt x="912" y="457"/>
                  </a:lnTo>
                  <a:lnTo>
                    <a:pt x="911" y="457"/>
                  </a:lnTo>
                  <a:lnTo>
                    <a:pt x="912" y="457"/>
                  </a:lnTo>
                  <a:lnTo>
                    <a:pt x="912" y="458"/>
                  </a:lnTo>
                  <a:lnTo>
                    <a:pt x="911" y="458"/>
                  </a:lnTo>
                  <a:lnTo>
                    <a:pt x="910" y="458"/>
                  </a:lnTo>
                  <a:lnTo>
                    <a:pt x="911" y="458"/>
                  </a:lnTo>
                  <a:lnTo>
                    <a:pt x="910" y="458"/>
                  </a:lnTo>
                  <a:lnTo>
                    <a:pt x="910" y="459"/>
                  </a:lnTo>
                  <a:lnTo>
                    <a:pt x="909" y="459"/>
                  </a:lnTo>
                  <a:lnTo>
                    <a:pt x="907" y="459"/>
                  </a:lnTo>
                  <a:lnTo>
                    <a:pt x="907" y="461"/>
                  </a:lnTo>
                  <a:lnTo>
                    <a:pt x="906" y="461"/>
                  </a:lnTo>
                  <a:lnTo>
                    <a:pt x="907" y="461"/>
                  </a:lnTo>
                  <a:lnTo>
                    <a:pt x="909" y="459"/>
                  </a:lnTo>
                  <a:lnTo>
                    <a:pt x="910" y="459"/>
                  </a:lnTo>
                  <a:lnTo>
                    <a:pt x="909" y="461"/>
                  </a:lnTo>
                  <a:lnTo>
                    <a:pt x="910" y="461"/>
                  </a:lnTo>
                  <a:lnTo>
                    <a:pt x="910" y="459"/>
                  </a:lnTo>
                  <a:lnTo>
                    <a:pt x="911" y="459"/>
                  </a:lnTo>
                  <a:lnTo>
                    <a:pt x="912" y="459"/>
                  </a:lnTo>
                  <a:lnTo>
                    <a:pt x="911" y="459"/>
                  </a:lnTo>
                  <a:lnTo>
                    <a:pt x="910" y="459"/>
                  </a:lnTo>
                  <a:lnTo>
                    <a:pt x="911" y="461"/>
                  </a:lnTo>
                  <a:lnTo>
                    <a:pt x="910" y="461"/>
                  </a:lnTo>
                  <a:lnTo>
                    <a:pt x="911" y="461"/>
                  </a:lnTo>
                  <a:lnTo>
                    <a:pt x="910" y="461"/>
                  </a:lnTo>
                  <a:lnTo>
                    <a:pt x="909" y="461"/>
                  </a:lnTo>
                  <a:lnTo>
                    <a:pt x="910" y="461"/>
                  </a:lnTo>
                  <a:lnTo>
                    <a:pt x="910" y="462"/>
                  </a:lnTo>
                  <a:lnTo>
                    <a:pt x="910" y="463"/>
                  </a:lnTo>
                  <a:lnTo>
                    <a:pt x="911" y="462"/>
                  </a:lnTo>
                  <a:lnTo>
                    <a:pt x="910" y="462"/>
                  </a:lnTo>
                  <a:lnTo>
                    <a:pt x="911" y="461"/>
                  </a:lnTo>
                  <a:lnTo>
                    <a:pt x="911" y="462"/>
                  </a:lnTo>
                  <a:lnTo>
                    <a:pt x="912" y="462"/>
                  </a:lnTo>
                  <a:lnTo>
                    <a:pt x="913" y="462"/>
                  </a:lnTo>
                  <a:lnTo>
                    <a:pt x="912" y="462"/>
                  </a:lnTo>
                  <a:lnTo>
                    <a:pt x="911" y="463"/>
                  </a:lnTo>
                  <a:lnTo>
                    <a:pt x="910" y="463"/>
                  </a:lnTo>
                  <a:lnTo>
                    <a:pt x="909" y="463"/>
                  </a:lnTo>
                  <a:lnTo>
                    <a:pt x="909" y="464"/>
                  </a:lnTo>
                  <a:lnTo>
                    <a:pt x="910" y="463"/>
                  </a:lnTo>
                  <a:lnTo>
                    <a:pt x="912" y="464"/>
                  </a:lnTo>
                  <a:lnTo>
                    <a:pt x="911" y="464"/>
                  </a:lnTo>
                  <a:lnTo>
                    <a:pt x="910" y="464"/>
                  </a:lnTo>
                  <a:lnTo>
                    <a:pt x="909" y="465"/>
                  </a:lnTo>
                  <a:lnTo>
                    <a:pt x="907" y="465"/>
                  </a:lnTo>
                  <a:lnTo>
                    <a:pt x="906" y="465"/>
                  </a:lnTo>
                  <a:lnTo>
                    <a:pt x="905" y="466"/>
                  </a:lnTo>
                  <a:lnTo>
                    <a:pt x="906" y="466"/>
                  </a:lnTo>
                  <a:lnTo>
                    <a:pt x="907" y="466"/>
                  </a:lnTo>
                  <a:lnTo>
                    <a:pt x="909" y="465"/>
                  </a:lnTo>
                  <a:lnTo>
                    <a:pt x="910" y="465"/>
                  </a:lnTo>
                  <a:lnTo>
                    <a:pt x="909" y="466"/>
                  </a:lnTo>
                  <a:lnTo>
                    <a:pt x="910" y="466"/>
                  </a:lnTo>
                  <a:lnTo>
                    <a:pt x="910" y="465"/>
                  </a:lnTo>
                  <a:lnTo>
                    <a:pt x="911" y="465"/>
                  </a:lnTo>
                  <a:lnTo>
                    <a:pt x="911" y="464"/>
                  </a:lnTo>
                  <a:lnTo>
                    <a:pt x="912" y="464"/>
                  </a:lnTo>
                  <a:lnTo>
                    <a:pt x="913" y="464"/>
                  </a:lnTo>
                  <a:lnTo>
                    <a:pt x="912" y="464"/>
                  </a:lnTo>
                  <a:lnTo>
                    <a:pt x="911" y="465"/>
                  </a:lnTo>
                  <a:lnTo>
                    <a:pt x="912" y="465"/>
                  </a:lnTo>
                  <a:lnTo>
                    <a:pt x="913" y="464"/>
                  </a:lnTo>
                  <a:lnTo>
                    <a:pt x="913" y="465"/>
                  </a:lnTo>
                  <a:lnTo>
                    <a:pt x="913" y="464"/>
                  </a:lnTo>
                  <a:lnTo>
                    <a:pt x="912" y="466"/>
                  </a:lnTo>
                  <a:lnTo>
                    <a:pt x="912" y="465"/>
                  </a:lnTo>
                  <a:lnTo>
                    <a:pt x="913" y="465"/>
                  </a:lnTo>
                  <a:lnTo>
                    <a:pt x="914" y="465"/>
                  </a:lnTo>
                  <a:lnTo>
                    <a:pt x="914" y="464"/>
                  </a:lnTo>
                  <a:lnTo>
                    <a:pt x="914" y="463"/>
                  </a:lnTo>
                  <a:lnTo>
                    <a:pt x="916" y="463"/>
                  </a:lnTo>
                  <a:lnTo>
                    <a:pt x="917" y="463"/>
                  </a:lnTo>
                  <a:lnTo>
                    <a:pt x="917" y="464"/>
                  </a:lnTo>
                  <a:lnTo>
                    <a:pt x="918" y="464"/>
                  </a:lnTo>
                  <a:lnTo>
                    <a:pt x="918" y="463"/>
                  </a:lnTo>
                  <a:lnTo>
                    <a:pt x="919" y="463"/>
                  </a:lnTo>
                  <a:lnTo>
                    <a:pt x="919" y="462"/>
                  </a:lnTo>
                  <a:lnTo>
                    <a:pt x="920" y="462"/>
                  </a:lnTo>
                  <a:lnTo>
                    <a:pt x="920" y="463"/>
                  </a:lnTo>
                  <a:lnTo>
                    <a:pt x="920" y="464"/>
                  </a:lnTo>
                  <a:lnTo>
                    <a:pt x="919" y="464"/>
                  </a:lnTo>
                  <a:lnTo>
                    <a:pt x="919" y="465"/>
                  </a:lnTo>
                  <a:lnTo>
                    <a:pt x="918" y="466"/>
                  </a:lnTo>
                  <a:lnTo>
                    <a:pt x="917" y="466"/>
                  </a:lnTo>
                  <a:lnTo>
                    <a:pt x="916" y="466"/>
                  </a:lnTo>
                  <a:lnTo>
                    <a:pt x="914" y="468"/>
                  </a:lnTo>
                  <a:lnTo>
                    <a:pt x="913" y="468"/>
                  </a:lnTo>
                  <a:lnTo>
                    <a:pt x="913" y="469"/>
                  </a:lnTo>
                  <a:lnTo>
                    <a:pt x="912" y="469"/>
                  </a:lnTo>
                  <a:lnTo>
                    <a:pt x="911" y="469"/>
                  </a:lnTo>
                  <a:lnTo>
                    <a:pt x="911" y="470"/>
                  </a:lnTo>
                  <a:lnTo>
                    <a:pt x="910" y="470"/>
                  </a:lnTo>
                  <a:lnTo>
                    <a:pt x="910" y="469"/>
                  </a:lnTo>
                  <a:lnTo>
                    <a:pt x="909" y="469"/>
                  </a:lnTo>
                  <a:lnTo>
                    <a:pt x="907" y="469"/>
                  </a:lnTo>
                  <a:lnTo>
                    <a:pt x="907" y="470"/>
                  </a:lnTo>
                  <a:lnTo>
                    <a:pt x="907" y="471"/>
                  </a:lnTo>
                  <a:lnTo>
                    <a:pt x="909" y="471"/>
                  </a:lnTo>
                  <a:lnTo>
                    <a:pt x="910" y="471"/>
                  </a:lnTo>
                  <a:lnTo>
                    <a:pt x="909" y="472"/>
                  </a:lnTo>
                  <a:lnTo>
                    <a:pt x="907" y="472"/>
                  </a:lnTo>
                  <a:lnTo>
                    <a:pt x="907" y="471"/>
                  </a:lnTo>
                  <a:lnTo>
                    <a:pt x="906" y="472"/>
                  </a:lnTo>
                  <a:lnTo>
                    <a:pt x="907" y="472"/>
                  </a:lnTo>
                  <a:lnTo>
                    <a:pt x="909" y="472"/>
                  </a:lnTo>
                  <a:lnTo>
                    <a:pt x="910" y="472"/>
                  </a:lnTo>
                  <a:lnTo>
                    <a:pt x="911" y="471"/>
                  </a:lnTo>
                  <a:lnTo>
                    <a:pt x="911" y="472"/>
                  </a:lnTo>
                  <a:lnTo>
                    <a:pt x="910" y="472"/>
                  </a:lnTo>
                  <a:lnTo>
                    <a:pt x="909" y="473"/>
                  </a:lnTo>
                  <a:lnTo>
                    <a:pt x="907" y="473"/>
                  </a:lnTo>
                  <a:lnTo>
                    <a:pt x="909" y="473"/>
                  </a:lnTo>
                  <a:lnTo>
                    <a:pt x="909" y="475"/>
                  </a:lnTo>
                  <a:lnTo>
                    <a:pt x="907" y="476"/>
                  </a:lnTo>
                  <a:lnTo>
                    <a:pt x="907" y="475"/>
                  </a:lnTo>
                  <a:lnTo>
                    <a:pt x="906" y="475"/>
                  </a:lnTo>
                  <a:lnTo>
                    <a:pt x="906" y="476"/>
                  </a:lnTo>
                  <a:lnTo>
                    <a:pt x="906" y="477"/>
                  </a:lnTo>
                  <a:lnTo>
                    <a:pt x="907" y="478"/>
                  </a:lnTo>
                  <a:lnTo>
                    <a:pt x="907" y="477"/>
                  </a:lnTo>
                  <a:lnTo>
                    <a:pt x="909" y="477"/>
                  </a:lnTo>
                  <a:lnTo>
                    <a:pt x="909" y="478"/>
                  </a:lnTo>
                  <a:lnTo>
                    <a:pt x="907" y="478"/>
                  </a:lnTo>
                  <a:lnTo>
                    <a:pt x="909" y="478"/>
                  </a:lnTo>
                  <a:lnTo>
                    <a:pt x="907" y="478"/>
                  </a:lnTo>
                  <a:lnTo>
                    <a:pt x="907" y="479"/>
                  </a:lnTo>
                  <a:lnTo>
                    <a:pt x="909" y="479"/>
                  </a:lnTo>
                  <a:lnTo>
                    <a:pt x="907" y="479"/>
                  </a:lnTo>
                  <a:lnTo>
                    <a:pt x="909" y="479"/>
                  </a:lnTo>
                  <a:lnTo>
                    <a:pt x="910" y="479"/>
                  </a:lnTo>
                  <a:lnTo>
                    <a:pt x="910" y="478"/>
                  </a:lnTo>
                  <a:lnTo>
                    <a:pt x="910" y="477"/>
                  </a:lnTo>
                  <a:lnTo>
                    <a:pt x="911" y="477"/>
                  </a:lnTo>
                  <a:lnTo>
                    <a:pt x="911" y="476"/>
                  </a:lnTo>
                  <a:lnTo>
                    <a:pt x="912" y="476"/>
                  </a:lnTo>
                  <a:lnTo>
                    <a:pt x="912" y="475"/>
                  </a:lnTo>
                  <a:lnTo>
                    <a:pt x="913" y="475"/>
                  </a:lnTo>
                  <a:lnTo>
                    <a:pt x="913" y="473"/>
                  </a:lnTo>
                  <a:lnTo>
                    <a:pt x="914" y="472"/>
                  </a:lnTo>
                  <a:lnTo>
                    <a:pt x="916" y="472"/>
                  </a:lnTo>
                  <a:lnTo>
                    <a:pt x="916" y="471"/>
                  </a:lnTo>
                  <a:lnTo>
                    <a:pt x="917" y="471"/>
                  </a:lnTo>
                  <a:lnTo>
                    <a:pt x="918" y="471"/>
                  </a:lnTo>
                  <a:lnTo>
                    <a:pt x="919" y="471"/>
                  </a:lnTo>
                  <a:lnTo>
                    <a:pt x="919" y="470"/>
                  </a:lnTo>
                  <a:lnTo>
                    <a:pt x="920" y="470"/>
                  </a:lnTo>
                  <a:lnTo>
                    <a:pt x="920" y="471"/>
                  </a:lnTo>
                  <a:lnTo>
                    <a:pt x="919" y="471"/>
                  </a:lnTo>
                  <a:lnTo>
                    <a:pt x="919" y="472"/>
                  </a:lnTo>
                  <a:lnTo>
                    <a:pt x="918" y="472"/>
                  </a:lnTo>
                  <a:lnTo>
                    <a:pt x="918" y="473"/>
                  </a:lnTo>
                  <a:lnTo>
                    <a:pt x="917" y="473"/>
                  </a:lnTo>
                  <a:lnTo>
                    <a:pt x="917" y="475"/>
                  </a:lnTo>
                  <a:lnTo>
                    <a:pt x="916" y="475"/>
                  </a:lnTo>
                  <a:lnTo>
                    <a:pt x="916" y="476"/>
                  </a:lnTo>
                  <a:lnTo>
                    <a:pt x="914" y="476"/>
                  </a:lnTo>
                  <a:lnTo>
                    <a:pt x="914" y="477"/>
                  </a:lnTo>
                  <a:lnTo>
                    <a:pt x="914" y="478"/>
                  </a:lnTo>
                  <a:lnTo>
                    <a:pt x="913" y="478"/>
                  </a:lnTo>
                  <a:lnTo>
                    <a:pt x="914" y="478"/>
                  </a:lnTo>
                  <a:lnTo>
                    <a:pt x="913" y="478"/>
                  </a:lnTo>
                  <a:lnTo>
                    <a:pt x="914" y="478"/>
                  </a:lnTo>
                  <a:lnTo>
                    <a:pt x="913" y="479"/>
                  </a:lnTo>
                  <a:lnTo>
                    <a:pt x="914" y="479"/>
                  </a:lnTo>
                  <a:lnTo>
                    <a:pt x="913" y="479"/>
                  </a:lnTo>
                  <a:lnTo>
                    <a:pt x="913" y="480"/>
                  </a:lnTo>
                  <a:lnTo>
                    <a:pt x="914" y="480"/>
                  </a:lnTo>
                  <a:lnTo>
                    <a:pt x="913" y="480"/>
                  </a:lnTo>
                  <a:lnTo>
                    <a:pt x="914" y="480"/>
                  </a:lnTo>
                  <a:lnTo>
                    <a:pt x="914" y="482"/>
                  </a:lnTo>
                  <a:lnTo>
                    <a:pt x="914" y="480"/>
                  </a:lnTo>
                  <a:lnTo>
                    <a:pt x="916" y="480"/>
                  </a:lnTo>
                  <a:lnTo>
                    <a:pt x="917" y="479"/>
                  </a:lnTo>
                  <a:lnTo>
                    <a:pt x="918" y="479"/>
                  </a:lnTo>
                  <a:lnTo>
                    <a:pt x="918" y="478"/>
                  </a:lnTo>
                  <a:lnTo>
                    <a:pt x="919" y="476"/>
                  </a:lnTo>
                  <a:lnTo>
                    <a:pt x="920" y="476"/>
                  </a:lnTo>
                  <a:lnTo>
                    <a:pt x="920" y="477"/>
                  </a:lnTo>
                  <a:lnTo>
                    <a:pt x="920" y="478"/>
                  </a:lnTo>
                  <a:lnTo>
                    <a:pt x="920" y="479"/>
                  </a:lnTo>
                  <a:lnTo>
                    <a:pt x="920" y="480"/>
                  </a:lnTo>
                  <a:lnTo>
                    <a:pt x="919" y="480"/>
                  </a:lnTo>
                  <a:lnTo>
                    <a:pt x="920" y="480"/>
                  </a:lnTo>
                  <a:lnTo>
                    <a:pt x="920" y="482"/>
                  </a:lnTo>
                  <a:lnTo>
                    <a:pt x="919" y="482"/>
                  </a:lnTo>
                  <a:lnTo>
                    <a:pt x="919" y="483"/>
                  </a:lnTo>
                  <a:lnTo>
                    <a:pt x="918" y="483"/>
                  </a:lnTo>
                  <a:lnTo>
                    <a:pt x="917" y="484"/>
                  </a:lnTo>
                  <a:lnTo>
                    <a:pt x="918" y="484"/>
                  </a:lnTo>
                  <a:lnTo>
                    <a:pt x="917" y="484"/>
                  </a:lnTo>
                  <a:lnTo>
                    <a:pt x="917" y="485"/>
                  </a:lnTo>
                  <a:lnTo>
                    <a:pt x="916" y="486"/>
                  </a:lnTo>
                  <a:lnTo>
                    <a:pt x="914" y="486"/>
                  </a:lnTo>
                  <a:lnTo>
                    <a:pt x="916" y="486"/>
                  </a:lnTo>
                  <a:lnTo>
                    <a:pt x="916" y="487"/>
                  </a:lnTo>
                  <a:lnTo>
                    <a:pt x="914" y="489"/>
                  </a:lnTo>
                  <a:lnTo>
                    <a:pt x="916" y="489"/>
                  </a:lnTo>
                  <a:lnTo>
                    <a:pt x="914" y="489"/>
                  </a:lnTo>
                  <a:lnTo>
                    <a:pt x="914" y="490"/>
                  </a:lnTo>
                  <a:lnTo>
                    <a:pt x="914" y="491"/>
                  </a:lnTo>
                  <a:lnTo>
                    <a:pt x="913" y="491"/>
                  </a:lnTo>
                  <a:lnTo>
                    <a:pt x="912" y="492"/>
                  </a:lnTo>
                  <a:lnTo>
                    <a:pt x="912" y="493"/>
                  </a:lnTo>
                  <a:lnTo>
                    <a:pt x="911" y="493"/>
                  </a:lnTo>
                  <a:lnTo>
                    <a:pt x="910" y="493"/>
                  </a:lnTo>
                  <a:lnTo>
                    <a:pt x="910" y="492"/>
                  </a:lnTo>
                  <a:lnTo>
                    <a:pt x="909" y="492"/>
                  </a:lnTo>
                  <a:lnTo>
                    <a:pt x="907" y="492"/>
                  </a:lnTo>
                  <a:lnTo>
                    <a:pt x="909" y="492"/>
                  </a:lnTo>
                  <a:lnTo>
                    <a:pt x="907" y="492"/>
                  </a:lnTo>
                  <a:lnTo>
                    <a:pt x="907" y="493"/>
                  </a:lnTo>
                  <a:lnTo>
                    <a:pt x="906" y="493"/>
                  </a:lnTo>
                  <a:lnTo>
                    <a:pt x="905" y="493"/>
                  </a:lnTo>
                  <a:lnTo>
                    <a:pt x="905" y="492"/>
                  </a:lnTo>
                  <a:lnTo>
                    <a:pt x="905" y="491"/>
                  </a:lnTo>
                  <a:lnTo>
                    <a:pt x="906" y="490"/>
                  </a:lnTo>
                  <a:lnTo>
                    <a:pt x="907" y="490"/>
                  </a:lnTo>
                  <a:lnTo>
                    <a:pt x="907" y="489"/>
                  </a:lnTo>
                  <a:lnTo>
                    <a:pt x="907" y="490"/>
                  </a:lnTo>
                  <a:lnTo>
                    <a:pt x="906" y="490"/>
                  </a:lnTo>
                  <a:lnTo>
                    <a:pt x="905" y="491"/>
                  </a:lnTo>
                  <a:lnTo>
                    <a:pt x="905" y="490"/>
                  </a:lnTo>
                  <a:lnTo>
                    <a:pt x="906" y="490"/>
                  </a:lnTo>
                  <a:lnTo>
                    <a:pt x="906" y="489"/>
                  </a:lnTo>
                  <a:lnTo>
                    <a:pt x="907" y="489"/>
                  </a:lnTo>
                  <a:lnTo>
                    <a:pt x="906" y="489"/>
                  </a:lnTo>
                  <a:lnTo>
                    <a:pt x="906" y="487"/>
                  </a:lnTo>
                  <a:lnTo>
                    <a:pt x="906" y="489"/>
                  </a:lnTo>
                  <a:lnTo>
                    <a:pt x="906" y="487"/>
                  </a:lnTo>
                  <a:lnTo>
                    <a:pt x="907" y="486"/>
                  </a:lnTo>
                  <a:lnTo>
                    <a:pt x="909" y="485"/>
                  </a:lnTo>
                  <a:lnTo>
                    <a:pt x="907" y="485"/>
                  </a:lnTo>
                  <a:lnTo>
                    <a:pt x="909" y="485"/>
                  </a:lnTo>
                  <a:lnTo>
                    <a:pt x="907" y="485"/>
                  </a:lnTo>
                  <a:lnTo>
                    <a:pt x="907" y="484"/>
                  </a:lnTo>
                  <a:lnTo>
                    <a:pt x="907" y="485"/>
                  </a:lnTo>
                  <a:lnTo>
                    <a:pt x="906" y="486"/>
                  </a:lnTo>
                  <a:lnTo>
                    <a:pt x="906" y="485"/>
                  </a:lnTo>
                  <a:lnTo>
                    <a:pt x="906" y="486"/>
                  </a:lnTo>
                  <a:lnTo>
                    <a:pt x="905" y="486"/>
                  </a:lnTo>
                  <a:lnTo>
                    <a:pt x="905" y="487"/>
                  </a:lnTo>
                  <a:lnTo>
                    <a:pt x="904" y="487"/>
                  </a:lnTo>
                  <a:lnTo>
                    <a:pt x="904" y="489"/>
                  </a:lnTo>
                  <a:lnTo>
                    <a:pt x="903" y="489"/>
                  </a:lnTo>
                  <a:lnTo>
                    <a:pt x="902" y="490"/>
                  </a:lnTo>
                  <a:lnTo>
                    <a:pt x="900" y="490"/>
                  </a:lnTo>
                  <a:lnTo>
                    <a:pt x="900" y="491"/>
                  </a:lnTo>
                  <a:lnTo>
                    <a:pt x="899" y="491"/>
                  </a:lnTo>
                  <a:lnTo>
                    <a:pt x="898" y="491"/>
                  </a:lnTo>
                  <a:lnTo>
                    <a:pt x="898" y="490"/>
                  </a:lnTo>
                  <a:lnTo>
                    <a:pt x="898" y="489"/>
                  </a:lnTo>
                  <a:lnTo>
                    <a:pt x="899" y="489"/>
                  </a:lnTo>
                  <a:lnTo>
                    <a:pt x="899" y="487"/>
                  </a:lnTo>
                  <a:lnTo>
                    <a:pt x="900" y="487"/>
                  </a:lnTo>
                  <a:lnTo>
                    <a:pt x="900" y="486"/>
                  </a:lnTo>
                  <a:lnTo>
                    <a:pt x="902" y="485"/>
                  </a:lnTo>
                  <a:lnTo>
                    <a:pt x="902" y="484"/>
                  </a:lnTo>
                  <a:lnTo>
                    <a:pt x="903" y="484"/>
                  </a:lnTo>
                  <a:lnTo>
                    <a:pt x="903" y="483"/>
                  </a:lnTo>
                  <a:lnTo>
                    <a:pt x="904" y="483"/>
                  </a:lnTo>
                  <a:lnTo>
                    <a:pt x="904" y="482"/>
                  </a:lnTo>
                  <a:lnTo>
                    <a:pt x="905" y="482"/>
                  </a:lnTo>
                  <a:lnTo>
                    <a:pt x="905" y="480"/>
                  </a:lnTo>
                  <a:lnTo>
                    <a:pt x="905" y="482"/>
                  </a:lnTo>
                  <a:lnTo>
                    <a:pt x="905" y="480"/>
                  </a:lnTo>
                  <a:lnTo>
                    <a:pt x="904" y="480"/>
                  </a:lnTo>
                  <a:lnTo>
                    <a:pt x="905" y="480"/>
                  </a:lnTo>
                  <a:lnTo>
                    <a:pt x="905" y="479"/>
                  </a:lnTo>
                  <a:lnTo>
                    <a:pt x="905" y="478"/>
                  </a:lnTo>
                  <a:lnTo>
                    <a:pt x="905" y="477"/>
                  </a:lnTo>
                  <a:lnTo>
                    <a:pt x="905" y="476"/>
                  </a:lnTo>
                  <a:lnTo>
                    <a:pt x="905" y="475"/>
                  </a:lnTo>
                  <a:lnTo>
                    <a:pt x="904" y="476"/>
                  </a:lnTo>
                  <a:lnTo>
                    <a:pt x="904" y="475"/>
                  </a:lnTo>
                  <a:lnTo>
                    <a:pt x="903" y="475"/>
                  </a:lnTo>
                  <a:lnTo>
                    <a:pt x="902" y="473"/>
                  </a:lnTo>
                  <a:lnTo>
                    <a:pt x="903" y="475"/>
                  </a:lnTo>
                  <a:lnTo>
                    <a:pt x="902" y="476"/>
                  </a:lnTo>
                  <a:lnTo>
                    <a:pt x="902" y="477"/>
                  </a:lnTo>
                  <a:lnTo>
                    <a:pt x="900" y="477"/>
                  </a:lnTo>
                  <a:lnTo>
                    <a:pt x="900" y="478"/>
                  </a:lnTo>
                  <a:lnTo>
                    <a:pt x="899" y="478"/>
                  </a:lnTo>
                  <a:lnTo>
                    <a:pt x="899" y="479"/>
                  </a:lnTo>
                  <a:lnTo>
                    <a:pt x="898" y="479"/>
                  </a:lnTo>
                  <a:lnTo>
                    <a:pt x="898" y="480"/>
                  </a:lnTo>
                  <a:lnTo>
                    <a:pt x="898" y="482"/>
                  </a:lnTo>
                  <a:lnTo>
                    <a:pt x="898" y="480"/>
                  </a:lnTo>
                  <a:lnTo>
                    <a:pt x="897" y="480"/>
                  </a:lnTo>
                  <a:lnTo>
                    <a:pt x="897" y="482"/>
                  </a:lnTo>
                  <a:lnTo>
                    <a:pt x="896" y="482"/>
                  </a:lnTo>
                  <a:lnTo>
                    <a:pt x="896" y="483"/>
                  </a:lnTo>
                  <a:lnTo>
                    <a:pt x="896" y="482"/>
                  </a:lnTo>
                  <a:lnTo>
                    <a:pt x="898" y="479"/>
                  </a:lnTo>
                  <a:lnTo>
                    <a:pt x="899" y="478"/>
                  </a:lnTo>
                  <a:lnTo>
                    <a:pt x="898" y="478"/>
                  </a:lnTo>
                  <a:lnTo>
                    <a:pt x="898" y="479"/>
                  </a:lnTo>
                  <a:lnTo>
                    <a:pt x="897" y="479"/>
                  </a:lnTo>
                  <a:lnTo>
                    <a:pt x="897" y="480"/>
                  </a:lnTo>
                  <a:lnTo>
                    <a:pt x="896" y="482"/>
                  </a:lnTo>
                  <a:lnTo>
                    <a:pt x="895" y="482"/>
                  </a:lnTo>
                  <a:lnTo>
                    <a:pt x="893" y="482"/>
                  </a:lnTo>
                  <a:lnTo>
                    <a:pt x="892" y="482"/>
                  </a:lnTo>
                  <a:lnTo>
                    <a:pt x="893" y="482"/>
                  </a:lnTo>
                  <a:lnTo>
                    <a:pt x="892" y="482"/>
                  </a:lnTo>
                  <a:lnTo>
                    <a:pt x="891" y="483"/>
                  </a:lnTo>
                  <a:lnTo>
                    <a:pt x="890" y="483"/>
                  </a:lnTo>
                  <a:lnTo>
                    <a:pt x="890" y="484"/>
                  </a:lnTo>
                  <a:lnTo>
                    <a:pt x="890" y="485"/>
                  </a:lnTo>
                  <a:lnTo>
                    <a:pt x="889" y="485"/>
                  </a:lnTo>
                  <a:lnTo>
                    <a:pt x="889" y="484"/>
                  </a:lnTo>
                  <a:lnTo>
                    <a:pt x="889" y="485"/>
                  </a:lnTo>
                  <a:lnTo>
                    <a:pt x="888" y="485"/>
                  </a:lnTo>
                  <a:lnTo>
                    <a:pt x="889" y="485"/>
                  </a:lnTo>
                  <a:lnTo>
                    <a:pt x="889" y="486"/>
                  </a:lnTo>
                  <a:lnTo>
                    <a:pt x="888" y="486"/>
                  </a:lnTo>
                  <a:lnTo>
                    <a:pt x="888" y="487"/>
                  </a:lnTo>
                  <a:lnTo>
                    <a:pt x="887" y="487"/>
                  </a:lnTo>
                  <a:lnTo>
                    <a:pt x="888" y="487"/>
                  </a:lnTo>
                  <a:lnTo>
                    <a:pt x="888" y="486"/>
                  </a:lnTo>
                  <a:lnTo>
                    <a:pt x="887" y="486"/>
                  </a:lnTo>
                  <a:lnTo>
                    <a:pt x="887" y="487"/>
                  </a:lnTo>
                  <a:lnTo>
                    <a:pt x="887" y="489"/>
                  </a:lnTo>
                  <a:lnTo>
                    <a:pt x="885" y="489"/>
                  </a:lnTo>
                  <a:lnTo>
                    <a:pt x="884" y="489"/>
                  </a:lnTo>
                  <a:lnTo>
                    <a:pt x="884" y="490"/>
                  </a:lnTo>
                  <a:lnTo>
                    <a:pt x="883" y="490"/>
                  </a:lnTo>
                  <a:lnTo>
                    <a:pt x="883" y="489"/>
                  </a:lnTo>
                  <a:lnTo>
                    <a:pt x="882" y="489"/>
                  </a:lnTo>
                  <a:lnTo>
                    <a:pt x="882" y="490"/>
                  </a:lnTo>
                  <a:lnTo>
                    <a:pt x="882" y="489"/>
                  </a:lnTo>
                  <a:lnTo>
                    <a:pt x="882" y="490"/>
                  </a:lnTo>
                  <a:lnTo>
                    <a:pt x="881" y="490"/>
                  </a:lnTo>
                  <a:lnTo>
                    <a:pt x="880" y="490"/>
                  </a:lnTo>
                  <a:lnTo>
                    <a:pt x="878" y="490"/>
                  </a:lnTo>
                  <a:lnTo>
                    <a:pt x="877" y="490"/>
                  </a:lnTo>
                  <a:lnTo>
                    <a:pt x="877" y="489"/>
                  </a:lnTo>
                  <a:lnTo>
                    <a:pt x="877" y="487"/>
                  </a:lnTo>
                  <a:lnTo>
                    <a:pt x="878" y="487"/>
                  </a:lnTo>
                  <a:lnTo>
                    <a:pt x="878" y="486"/>
                  </a:lnTo>
                  <a:lnTo>
                    <a:pt x="880" y="486"/>
                  </a:lnTo>
                  <a:lnTo>
                    <a:pt x="881" y="486"/>
                  </a:lnTo>
                  <a:lnTo>
                    <a:pt x="882" y="486"/>
                  </a:lnTo>
                  <a:lnTo>
                    <a:pt x="883" y="486"/>
                  </a:lnTo>
                  <a:lnTo>
                    <a:pt x="883" y="485"/>
                  </a:lnTo>
                  <a:lnTo>
                    <a:pt x="884" y="485"/>
                  </a:lnTo>
                  <a:lnTo>
                    <a:pt x="885" y="484"/>
                  </a:lnTo>
                  <a:lnTo>
                    <a:pt x="887" y="484"/>
                  </a:lnTo>
                  <a:lnTo>
                    <a:pt x="887" y="483"/>
                  </a:lnTo>
                  <a:lnTo>
                    <a:pt x="888" y="483"/>
                  </a:lnTo>
                  <a:lnTo>
                    <a:pt x="888" y="482"/>
                  </a:lnTo>
                  <a:lnTo>
                    <a:pt x="889" y="480"/>
                  </a:lnTo>
                  <a:lnTo>
                    <a:pt x="890" y="480"/>
                  </a:lnTo>
                  <a:lnTo>
                    <a:pt x="891" y="480"/>
                  </a:lnTo>
                  <a:lnTo>
                    <a:pt x="891" y="479"/>
                  </a:lnTo>
                  <a:lnTo>
                    <a:pt x="892" y="479"/>
                  </a:lnTo>
                  <a:lnTo>
                    <a:pt x="893" y="479"/>
                  </a:lnTo>
                  <a:lnTo>
                    <a:pt x="893" y="478"/>
                  </a:lnTo>
                  <a:lnTo>
                    <a:pt x="893" y="479"/>
                  </a:lnTo>
                  <a:lnTo>
                    <a:pt x="893" y="478"/>
                  </a:lnTo>
                  <a:lnTo>
                    <a:pt x="895" y="478"/>
                  </a:lnTo>
                  <a:lnTo>
                    <a:pt x="896" y="477"/>
                  </a:lnTo>
                  <a:lnTo>
                    <a:pt x="895" y="477"/>
                  </a:lnTo>
                  <a:lnTo>
                    <a:pt x="893" y="478"/>
                  </a:lnTo>
                  <a:lnTo>
                    <a:pt x="892" y="478"/>
                  </a:lnTo>
                  <a:lnTo>
                    <a:pt x="891" y="478"/>
                  </a:lnTo>
                  <a:lnTo>
                    <a:pt x="891" y="477"/>
                  </a:lnTo>
                  <a:lnTo>
                    <a:pt x="892" y="477"/>
                  </a:lnTo>
                  <a:lnTo>
                    <a:pt x="893" y="476"/>
                  </a:lnTo>
                  <a:lnTo>
                    <a:pt x="892" y="476"/>
                  </a:lnTo>
                  <a:lnTo>
                    <a:pt x="891" y="477"/>
                  </a:lnTo>
                  <a:lnTo>
                    <a:pt x="890" y="478"/>
                  </a:lnTo>
                  <a:lnTo>
                    <a:pt x="890" y="477"/>
                  </a:lnTo>
                  <a:lnTo>
                    <a:pt x="890" y="478"/>
                  </a:lnTo>
                  <a:lnTo>
                    <a:pt x="889" y="478"/>
                  </a:lnTo>
                  <a:lnTo>
                    <a:pt x="889" y="477"/>
                  </a:lnTo>
                  <a:lnTo>
                    <a:pt x="888" y="477"/>
                  </a:lnTo>
                  <a:lnTo>
                    <a:pt x="888" y="478"/>
                  </a:lnTo>
                  <a:lnTo>
                    <a:pt x="888" y="477"/>
                  </a:lnTo>
                  <a:lnTo>
                    <a:pt x="888" y="476"/>
                  </a:lnTo>
                  <a:lnTo>
                    <a:pt x="888" y="477"/>
                  </a:lnTo>
                  <a:lnTo>
                    <a:pt x="887" y="477"/>
                  </a:lnTo>
                  <a:lnTo>
                    <a:pt x="887" y="478"/>
                  </a:lnTo>
                  <a:lnTo>
                    <a:pt x="887" y="479"/>
                  </a:lnTo>
                  <a:lnTo>
                    <a:pt x="887" y="480"/>
                  </a:lnTo>
                  <a:lnTo>
                    <a:pt x="885" y="480"/>
                  </a:lnTo>
                  <a:lnTo>
                    <a:pt x="884" y="480"/>
                  </a:lnTo>
                  <a:lnTo>
                    <a:pt x="884" y="482"/>
                  </a:lnTo>
                  <a:lnTo>
                    <a:pt x="883" y="482"/>
                  </a:lnTo>
                  <a:lnTo>
                    <a:pt x="884" y="482"/>
                  </a:lnTo>
                  <a:lnTo>
                    <a:pt x="884" y="480"/>
                  </a:lnTo>
                  <a:lnTo>
                    <a:pt x="883" y="480"/>
                  </a:lnTo>
                  <a:lnTo>
                    <a:pt x="884" y="480"/>
                  </a:lnTo>
                  <a:lnTo>
                    <a:pt x="884" y="479"/>
                  </a:lnTo>
                  <a:lnTo>
                    <a:pt x="883" y="479"/>
                  </a:lnTo>
                  <a:lnTo>
                    <a:pt x="884" y="479"/>
                  </a:lnTo>
                  <a:lnTo>
                    <a:pt x="883" y="479"/>
                  </a:lnTo>
                  <a:lnTo>
                    <a:pt x="883" y="480"/>
                  </a:lnTo>
                  <a:lnTo>
                    <a:pt x="883" y="479"/>
                  </a:lnTo>
                  <a:lnTo>
                    <a:pt x="883" y="480"/>
                  </a:lnTo>
                  <a:lnTo>
                    <a:pt x="882" y="480"/>
                  </a:lnTo>
                  <a:lnTo>
                    <a:pt x="882" y="479"/>
                  </a:lnTo>
                  <a:lnTo>
                    <a:pt x="882" y="480"/>
                  </a:lnTo>
                  <a:lnTo>
                    <a:pt x="881" y="480"/>
                  </a:lnTo>
                  <a:lnTo>
                    <a:pt x="880" y="480"/>
                  </a:lnTo>
                  <a:lnTo>
                    <a:pt x="881" y="480"/>
                  </a:lnTo>
                  <a:lnTo>
                    <a:pt x="881" y="479"/>
                  </a:lnTo>
                  <a:lnTo>
                    <a:pt x="882" y="479"/>
                  </a:lnTo>
                  <a:lnTo>
                    <a:pt x="883" y="478"/>
                  </a:lnTo>
                  <a:lnTo>
                    <a:pt x="882" y="478"/>
                  </a:lnTo>
                  <a:lnTo>
                    <a:pt x="882" y="479"/>
                  </a:lnTo>
                  <a:lnTo>
                    <a:pt x="881" y="479"/>
                  </a:lnTo>
                  <a:lnTo>
                    <a:pt x="880" y="479"/>
                  </a:lnTo>
                  <a:lnTo>
                    <a:pt x="878" y="480"/>
                  </a:lnTo>
                  <a:lnTo>
                    <a:pt x="877" y="480"/>
                  </a:lnTo>
                  <a:lnTo>
                    <a:pt x="877" y="479"/>
                  </a:lnTo>
                  <a:lnTo>
                    <a:pt x="878" y="479"/>
                  </a:lnTo>
                  <a:lnTo>
                    <a:pt x="880" y="479"/>
                  </a:lnTo>
                  <a:lnTo>
                    <a:pt x="881" y="479"/>
                  </a:lnTo>
                  <a:lnTo>
                    <a:pt x="881" y="478"/>
                  </a:lnTo>
                  <a:lnTo>
                    <a:pt x="882" y="478"/>
                  </a:lnTo>
                  <a:lnTo>
                    <a:pt x="883" y="478"/>
                  </a:lnTo>
                  <a:lnTo>
                    <a:pt x="884" y="477"/>
                  </a:lnTo>
                  <a:lnTo>
                    <a:pt x="883" y="477"/>
                  </a:lnTo>
                  <a:lnTo>
                    <a:pt x="882" y="478"/>
                  </a:lnTo>
                  <a:lnTo>
                    <a:pt x="881" y="478"/>
                  </a:lnTo>
                  <a:lnTo>
                    <a:pt x="881" y="477"/>
                  </a:lnTo>
                  <a:lnTo>
                    <a:pt x="882" y="476"/>
                  </a:lnTo>
                  <a:lnTo>
                    <a:pt x="883" y="476"/>
                  </a:lnTo>
                  <a:lnTo>
                    <a:pt x="883" y="475"/>
                  </a:lnTo>
                  <a:lnTo>
                    <a:pt x="883" y="473"/>
                  </a:lnTo>
                  <a:lnTo>
                    <a:pt x="884" y="473"/>
                  </a:lnTo>
                  <a:lnTo>
                    <a:pt x="883" y="473"/>
                  </a:lnTo>
                  <a:lnTo>
                    <a:pt x="883" y="475"/>
                  </a:lnTo>
                  <a:lnTo>
                    <a:pt x="882" y="475"/>
                  </a:lnTo>
                  <a:lnTo>
                    <a:pt x="882" y="476"/>
                  </a:lnTo>
                  <a:lnTo>
                    <a:pt x="881" y="476"/>
                  </a:lnTo>
                  <a:lnTo>
                    <a:pt x="880" y="476"/>
                  </a:lnTo>
                  <a:lnTo>
                    <a:pt x="880" y="477"/>
                  </a:lnTo>
                  <a:lnTo>
                    <a:pt x="878" y="477"/>
                  </a:lnTo>
                  <a:lnTo>
                    <a:pt x="878" y="476"/>
                  </a:lnTo>
                  <a:lnTo>
                    <a:pt x="880" y="476"/>
                  </a:lnTo>
                  <a:lnTo>
                    <a:pt x="878" y="476"/>
                  </a:lnTo>
                  <a:lnTo>
                    <a:pt x="878" y="475"/>
                  </a:lnTo>
                  <a:lnTo>
                    <a:pt x="878" y="476"/>
                  </a:lnTo>
                  <a:lnTo>
                    <a:pt x="878" y="477"/>
                  </a:lnTo>
                  <a:lnTo>
                    <a:pt x="877" y="477"/>
                  </a:lnTo>
                  <a:lnTo>
                    <a:pt x="877" y="478"/>
                  </a:lnTo>
                  <a:lnTo>
                    <a:pt x="876" y="478"/>
                  </a:lnTo>
                  <a:lnTo>
                    <a:pt x="876" y="477"/>
                  </a:lnTo>
                  <a:lnTo>
                    <a:pt x="876" y="476"/>
                  </a:lnTo>
                  <a:lnTo>
                    <a:pt x="876" y="477"/>
                  </a:lnTo>
                  <a:lnTo>
                    <a:pt x="876" y="478"/>
                  </a:lnTo>
                  <a:lnTo>
                    <a:pt x="875" y="478"/>
                  </a:lnTo>
                  <a:lnTo>
                    <a:pt x="874" y="478"/>
                  </a:lnTo>
                  <a:lnTo>
                    <a:pt x="873" y="478"/>
                  </a:lnTo>
                  <a:lnTo>
                    <a:pt x="871" y="478"/>
                  </a:lnTo>
                  <a:lnTo>
                    <a:pt x="871" y="479"/>
                  </a:lnTo>
                  <a:lnTo>
                    <a:pt x="870" y="478"/>
                  </a:lnTo>
                  <a:lnTo>
                    <a:pt x="870" y="479"/>
                  </a:lnTo>
                  <a:lnTo>
                    <a:pt x="869" y="479"/>
                  </a:lnTo>
                  <a:lnTo>
                    <a:pt x="868" y="479"/>
                  </a:lnTo>
                  <a:lnTo>
                    <a:pt x="868" y="478"/>
                  </a:lnTo>
                  <a:lnTo>
                    <a:pt x="867" y="478"/>
                  </a:lnTo>
                  <a:lnTo>
                    <a:pt x="866" y="479"/>
                  </a:lnTo>
                  <a:lnTo>
                    <a:pt x="866" y="478"/>
                  </a:lnTo>
                  <a:lnTo>
                    <a:pt x="864" y="478"/>
                  </a:lnTo>
                  <a:lnTo>
                    <a:pt x="863" y="478"/>
                  </a:lnTo>
                  <a:lnTo>
                    <a:pt x="862" y="478"/>
                  </a:lnTo>
                  <a:lnTo>
                    <a:pt x="861" y="478"/>
                  </a:lnTo>
                  <a:lnTo>
                    <a:pt x="860" y="478"/>
                  </a:lnTo>
                  <a:lnTo>
                    <a:pt x="859" y="478"/>
                  </a:lnTo>
                  <a:lnTo>
                    <a:pt x="857" y="478"/>
                  </a:lnTo>
                  <a:lnTo>
                    <a:pt x="856" y="478"/>
                  </a:lnTo>
                  <a:lnTo>
                    <a:pt x="856" y="477"/>
                  </a:lnTo>
                  <a:lnTo>
                    <a:pt x="855" y="477"/>
                  </a:lnTo>
                  <a:lnTo>
                    <a:pt x="854" y="477"/>
                  </a:lnTo>
                  <a:lnTo>
                    <a:pt x="853" y="477"/>
                  </a:lnTo>
                  <a:lnTo>
                    <a:pt x="853" y="478"/>
                  </a:lnTo>
                  <a:lnTo>
                    <a:pt x="852" y="477"/>
                  </a:lnTo>
                  <a:lnTo>
                    <a:pt x="850" y="478"/>
                  </a:lnTo>
                  <a:lnTo>
                    <a:pt x="850" y="477"/>
                  </a:lnTo>
                  <a:lnTo>
                    <a:pt x="852" y="477"/>
                  </a:lnTo>
                  <a:lnTo>
                    <a:pt x="852" y="476"/>
                  </a:lnTo>
                  <a:lnTo>
                    <a:pt x="853" y="476"/>
                  </a:lnTo>
                  <a:lnTo>
                    <a:pt x="852" y="476"/>
                  </a:lnTo>
                  <a:lnTo>
                    <a:pt x="850" y="477"/>
                  </a:lnTo>
                  <a:lnTo>
                    <a:pt x="850" y="478"/>
                  </a:lnTo>
                  <a:lnTo>
                    <a:pt x="849" y="478"/>
                  </a:lnTo>
                  <a:lnTo>
                    <a:pt x="849" y="477"/>
                  </a:lnTo>
                  <a:lnTo>
                    <a:pt x="848" y="477"/>
                  </a:lnTo>
                  <a:lnTo>
                    <a:pt x="848" y="478"/>
                  </a:lnTo>
                  <a:lnTo>
                    <a:pt x="847" y="478"/>
                  </a:lnTo>
                  <a:lnTo>
                    <a:pt x="846" y="478"/>
                  </a:lnTo>
                  <a:lnTo>
                    <a:pt x="843" y="478"/>
                  </a:lnTo>
                  <a:lnTo>
                    <a:pt x="842" y="478"/>
                  </a:lnTo>
                  <a:lnTo>
                    <a:pt x="842" y="479"/>
                  </a:lnTo>
                  <a:lnTo>
                    <a:pt x="841" y="479"/>
                  </a:lnTo>
                  <a:lnTo>
                    <a:pt x="840" y="479"/>
                  </a:lnTo>
                  <a:lnTo>
                    <a:pt x="840" y="478"/>
                  </a:lnTo>
                  <a:lnTo>
                    <a:pt x="839" y="478"/>
                  </a:lnTo>
                  <a:lnTo>
                    <a:pt x="839" y="477"/>
                  </a:lnTo>
                  <a:lnTo>
                    <a:pt x="840" y="476"/>
                  </a:lnTo>
                  <a:lnTo>
                    <a:pt x="839" y="476"/>
                  </a:lnTo>
                  <a:lnTo>
                    <a:pt x="840" y="476"/>
                  </a:lnTo>
                  <a:lnTo>
                    <a:pt x="840" y="475"/>
                  </a:lnTo>
                  <a:lnTo>
                    <a:pt x="839" y="475"/>
                  </a:lnTo>
                  <a:lnTo>
                    <a:pt x="839" y="473"/>
                  </a:lnTo>
                  <a:lnTo>
                    <a:pt x="840" y="473"/>
                  </a:lnTo>
                  <a:lnTo>
                    <a:pt x="840" y="472"/>
                  </a:lnTo>
                  <a:lnTo>
                    <a:pt x="841" y="472"/>
                  </a:lnTo>
                  <a:lnTo>
                    <a:pt x="842" y="471"/>
                  </a:lnTo>
                  <a:lnTo>
                    <a:pt x="845" y="470"/>
                  </a:lnTo>
                  <a:lnTo>
                    <a:pt x="846" y="470"/>
                  </a:lnTo>
                  <a:lnTo>
                    <a:pt x="847" y="469"/>
                  </a:lnTo>
                  <a:lnTo>
                    <a:pt x="848" y="469"/>
                  </a:lnTo>
                  <a:lnTo>
                    <a:pt x="848" y="468"/>
                  </a:lnTo>
                  <a:lnTo>
                    <a:pt x="849" y="468"/>
                  </a:lnTo>
                  <a:lnTo>
                    <a:pt x="850" y="466"/>
                  </a:lnTo>
                  <a:lnTo>
                    <a:pt x="852" y="465"/>
                  </a:lnTo>
                  <a:lnTo>
                    <a:pt x="853" y="465"/>
                  </a:lnTo>
                  <a:lnTo>
                    <a:pt x="852" y="465"/>
                  </a:lnTo>
                  <a:lnTo>
                    <a:pt x="852" y="466"/>
                  </a:lnTo>
                  <a:lnTo>
                    <a:pt x="852" y="465"/>
                  </a:lnTo>
                  <a:lnTo>
                    <a:pt x="853" y="465"/>
                  </a:lnTo>
                  <a:lnTo>
                    <a:pt x="854" y="465"/>
                  </a:lnTo>
                  <a:lnTo>
                    <a:pt x="854" y="464"/>
                  </a:lnTo>
                  <a:lnTo>
                    <a:pt x="855" y="464"/>
                  </a:lnTo>
                  <a:lnTo>
                    <a:pt x="856" y="464"/>
                  </a:lnTo>
                  <a:lnTo>
                    <a:pt x="855" y="464"/>
                  </a:lnTo>
                  <a:lnTo>
                    <a:pt x="854" y="464"/>
                  </a:lnTo>
                  <a:lnTo>
                    <a:pt x="853" y="464"/>
                  </a:lnTo>
                  <a:lnTo>
                    <a:pt x="852" y="464"/>
                  </a:lnTo>
                  <a:lnTo>
                    <a:pt x="850" y="464"/>
                  </a:lnTo>
                  <a:lnTo>
                    <a:pt x="849" y="464"/>
                  </a:lnTo>
                  <a:lnTo>
                    <a:pt x="848" y="464"/>
                  </a:lnTo>
                  <a:lnTo>
                    <a:pt x="847" y="464"/>
                  </a:lnTo>
                  <a:lnTo>
                    <a:pt x="846" y="464"/>
                  </a:lnTo>
                  <a:lnTo>
                    <a:pt x="843" y="465"/>
                  </a:lnTo>
                  <a:lnTo>
                    <a:pt x="843" y="464"/>
                  </a:lnTo>
                  <a:lnTo>
                    <a:pt x="845" y="464"/>
                  </a:lnTo>
                  <a:lnTo>
                    <a:pt x="846" y="463"/>
                  </a:lnTo>
                  <a:lnTo>
                    <a:pt x="848" y="462"/>
                  </a:lnTo>
                  <a:lnTo>
                    <a:pt x="850" y="461"/>
                  </a:lnTo>
                  <a:lnTo>
                    <a:pt x="849" y="461"/>
                  </a:lnTo>
                  <a:lnTo>
                    <a:pt x="849" y="462"/>
                  </a:lnTo>
                  <a:lnTo>
                    <a:pt x="848" y="462"/>
                  </a:lnTo>
                  <a:lnTo>
                    <a:pt x="848" y="463"/>
                  </a:lnTo>
                  <a:lnTo>
                    <a:pt x="848" y="464"/>
                  </a:lnTo>
                  <a:lnTo>
                    <a:pt x="849" y="463"/>
                  </a:lnTo>
                  <a:lnTo>
                    <a:pt x="850" y="464"/>
                  </a:lnTo>
                  <a:lnTo>
                    <a:pt x="850" y="463"/>
                  </a:lnTo>
                  <a:lnTo>
                    <a:pt x="852" y="463"/>
                  </a:lnTo>
                  <a:lnTo>
                    <a:pt x="852" y="462"/>
                  </a:lnTo>
                  <a:lnTo>
                    <a:pt x="852" y="461"/>
                  </a:lnTo>
                  <a:lnTo>
                    <a:pt x="853" y="461"/>
                  </a:lnTo>
                  <a:lnTo>
                    <a:pt x="853" y="459"/>
                  </a:lnTo>
                  <a:lnTo>
                    <a:pt x="854" y="459"/>
                  </a:lnTo>
                  <a:lnTo>
                    <a:pt x="854" y="458"/>
                  </a:lnTo>
                  <a:lnTo>
                    <a:pt x="855" y="458"/>
                  </a:lnTo>
                  <a:lnTo>
                    <a:pt x="855" y="457"/>
                  </a:lnTo>
                  <a:lnTo>
                    <a:pt x="856" y="456"/>
                  </a:lnTo>
                  <a:lnTo>
                    <a:pt x="856" y="455"/>
                  </a:lnTo>
                  <a:lnTo>
                    <a:pt x="857" y="455"/>
                  </a:lnTo>
                  <a:lnTo>
                    <a:pt x="857" y="456"/>
                  </a:lnTo>
                  <a:lnTo>
                    <a:pt x="859" y="456"/>
                  </a:lnTo>
                  <a:lnTo>
                    <a:pt x="860" y="456"/>
                  </a:lnTo>
                  <a:lnTo>
                    <a:pt x="860" y="457"/>
                  </a:lnTo>
                  <a:lnTo>
                    <a:pt x="861" y="457"/>
                  </a:lnTo>
                  <a:lnTo>
                    <a:pt x="862" y="457"/>
                  </a:lnTo>
                  <a:lnTo>
                    <a:pt x="861" y="457"/>
                  </a:lnTo>
                  <a:lnTo>
                    <a:pt x="861" y="456"/>
                  </a:lnTo>
                  <a:lnTo>
                    <a:pt x="860" y="456"/>
                  </a:lnTo>
                  <a:lnTo>
                    <a:pt x="860" y="455"/>
                  </a:lnTo>
                  <a:lnTo>
                    <a:pt x="861" y="455"/>
                  </a:lnTo>
                  <a:lnTo>
                    <a:pt x="862" y="455"/>
                  </a:lnTo>
                  <a:lnTo>
                    <a:pt x="863" y="455"/>
                  </a:lnTo>
                  <a:lnTo>
                    <a:pt x="864" y="454"/>
                  </a:lnTo>
                  <a:lnTo>
                    <a:pt x="863" y="455"/>
                  </a:lnTo>
                  <a:lnTo>
                    <a:pt x="862" y="455"/>
                  </a:lnTo>
                  <a:lnTo>
                    <a:pt x="863" y="454"/>
                  </a:lnTo>
                  <a:lnTo>
                    <a:pt x="862" y="455"/>
                  </a:lnTo>
                  <a:lnTo>
                    <a:pt x="861" y="455"/>
                  </a:lnTo>
                  <a:lnTo>
                    <a:pt x="861" y="454"/>
                  </a:lnTo>
                  <a:lnTo>
                    <a:pt x="862" y="454"/>
                  </a:lnTo>
                  <a:lnTo>
                    <a:pt x="863" y="454"/>
                  </a:lnTo>
                  <a:lnTo>
                    <a:pt x="862" y="454"/>
                  </a:lnTo>
                  <a:lnTo>
                    <a:pt x="861" y="454"/>
                  </a:lnTo>
                  <a:lnTo>
                    <a:pt x="860" y="454"/>
                  </a:lnTo>
                  <a:lnTo>
                    <a:pt x="860" y="452"/>
                  </a:lnTo>
                  <a:lnTo>
                    <a:pt x="861" y="451"/>
                  </a:lnTo>
                  <a:lnTo>
                    <a:pt x="861" y="450"/>
                  </a:lnTo>
                  <a:lnTo>
                    <a:pt x="862" y="449"/>
                  </a:lnTo>
                  <a:lnTo>
                    <a:pt x="863" y="449"/>
                  </a:lnTo>
                  <a:lnTo>
                    <a:pt x="863" y="448"/>
                  </a:lnTo>
                  <a:lnTo>
                    <a:pt x="864" y="448"/>
                  </a:lnTo>
                  <a:lnTo>
                    <a:pt x="864" y="449"/>
                  </a:lnTo>
                  <a:lnTo>
                    <a:pt x="864" y="450"/>
                  </a:lnTo>
                  <a:lnTo>
                    <a:pt x="864" y="449"/>
                  </a:lnTo>
                  <a:lnTo>
                    <a:pt x="866" y="449"/>
                  </a:lnTo>
                  <a:lnTo>
                    <a:pt x="867" y="449"/>
                  </a:lnTo>
                  <a:lnTo>
                    <a:pt x="867" y="450"/>
                  </a:lnTo>
                  <a:lnTo>
                    <a:pt x="867" y="449"/>
                  </a:lnTo>
                  <a:lnTo>
                    <a:pt x="866" y="449"/>
                  </a:lnTo>
                  <a:lnTo>
                    <a:pt x="867" y="448"/>
                  </a:lnTo>
                  <a:lnTo>
                    <a:pt x="866" y="448"/>
                  </a:lnTo>
                  <a:lnTo>
                    <a:pt x="866" y="449"/>
                  </a:lnTo>
                  <a:lnTo>
                    <a:pt x="866" y="448"/>
                  </a:lnTo>
                  <a:lnTo>
                    <a:pt x="864" y="448"/>
                  </a:lnTo>
                  <a:lnTo>
                    <a:pt x="866" y="447"/>
                  </a:lnTo>
                  <a:lnTo>
                    <a:pt x="866" y="445"/>
                  </a:lnTo>
                  <a:lnTo>
                    <a:pt x="867" y="445"/>
                  </a:lnTo>
                  <a:lnTo>
                    <a:pt x="867" y="444"/>
                  </a:lnTo>
                  <a:lnTo>
                    <a:pt x="868" y="443"/>
                  </a:lnTo>
                  <a:lnTo>
                    <a:pt x="869" y="443"/>
                  </a:lnTo>
                  <a:lnTo>
                    <a:pt x="869" y="442"/>
                  </a:lnTo>
                  <a:lnTo>
                    <a:pt x="870" y="441"/>
                  </a:lnTo>
                  <a:lnTo>
                    <a:pt x="870" y="440"/>
                  </a:lnTo>
                  <a:lnTo>
                    <a:pt x="871" y="438"/>
                  </a:lnTo>
                  <a:lnTo>
                    <a:pt x="873" y="438"/>
                  </a:lnTo>
                  <a:lnTo>
                    <a:pt x="873" y="437"/>
                  </a:lnTo>
                  <a:lnTo>
                    <a:pt x="874" y="437"/>
                  </a:lnTo>
                  <a:lnTo>
                    <a:pt x="874" y="436"/>
                  </a:lnTo>
                  <a:lnTo>
                    <a:pt x="874" y="435"/>
                  </a:lnTo>
                  <a:lnTo>
                    <a:pt x="875" y="435"/>
                  </a:lnTo>
                  <a:lnTo>
                    <a:pt x="875" y="434"/>
                  </a:lnTo>
                  <a:lnTo>
                    <a:pt x="876" y="434"/>
                  </a:lnTo>
                  <a:lnTo>
                    <a:pt x="876" y="433"/>
                  </a:lnTo>
                  <a:lnTo>
                    <a:pt x="877" y="433"/>
                  </a:lnTo>
                  <a:lnTo>
                    <a:pt x="878" y="433"/>
                  </a:lnTo>
                  <a:lnTo>
                    <a:pt x="880" y="433"/>
                  </a:lnTo>
                  <a:lnTo>
                    <a:pt x="880" y="431"/>
                  </a:lnTo>
                  <a:lnTo>
                    <a:pt x="878" y="431"/>
                  </a:lnTo>
                  <a:lnTo>
                    <a:pt x="877" y="431"/>
                  </a:lnTo>
                  <a:lnTo>
                    <a:pt x="877" y="430"/>
                  </a:lnTo>
                  <a:lnTo>
                    <a:pt x="878" y="430"/>
                  </a:lnTo>
                  <a:lnTo>
                    <a:pt x="880" y="430"/>
                  </a:lnTo>
                  <a:lnTo>
                    <a:pt x="881" y="429"/>
                  </a:lnTo>
                  <a:lnTo>
                    <a:pt x="882" y="429"/>
                  </a:lnTo>
                  <a:lnTo>
                    <a:pt x="882" y="428"/>
                  </a:lnTo>
                  <a:lnTo>
                    <a:pt x="883" y="428"/>
                  </a:lnTo>
                  <a:lnTo>
                    <a:pt x="884" y="428"/>
                  </a:lnTo>
                  <a:lnTo>
                    <a:pt x="884" y="427"/>
                  </a:lnTo>
                  <a:lnTo>
                    <a:pt x="883" y="427"/>
                  </a:lnTo>
                  <a:lnTo>
                    <a:pt x="883" y="426"/>
                  </a:lnTo>
                  <a:lnTo>
                    <a:pt x="882" y="426"/>
                  </a:lnTo>
                  <a:lnTo>
                    <a:pt x="883" y="426"/>
                  </a:lnTo>
                  <a:lnTo>
                    <a:pt x="883" y="427"/>
                  </a:lnTo>
                  <a:lnTo>
                    <a:pt x="884" y="427"/>
                  </a:lnTo>
                  <a:lnTo>
                    <a:pt x="884" y="426"/>
                  </a:lnTo>
                  <a:lnTo>
                    <a:pt x="885" y="424"/>
                  </a:lnTo>
                  <a:lnTo>
                    <a:pt x="887" y="424"/>
                  </a:lnTo>
                  <a:lnTo>
                    <a:pt x="887" y="423"/>
                  </a:lnTo>
                  <a:lnTo>
                    <a:pt x="888" y="423"/>
                  </a:lnTo>
                  <a:lnTo>
                    <a:pt x="887" y="423"/>
                  </a:lnTo>
                  <a:lnTo>
                    <a:pt x="887" y="422"/>
                  </a:lnTo>
                  <a:lnTo>
                    <a:pt x="888" y="422"/>
                  </a:lnTo>
                  <a:lnTo>
                    <a:pt x="888" y="421"/>
                  </a:lnTo>
                  <a:lnTo>
                    <a:pt x="889" y="421"/>
                  </a:lnTo>
                  <a:lnTo>
                    <a:pt x="891" y="420"/>
                  </a:lnTo>
                  <a:lnTo>
                    <a:pt x="892" y="420"/>
                  </a:lnTo>
                  <a:lnTo>
                    <a:pt x="893" y="420"/>
                  </a:lnTo>
                  <a:lnTo>
                    <a:pt x="893" y="419"/>
                  </a:lnTo>
                  <a:lnTo>
                    <a:pt x="895" y="419"/>
                  </a:lnTo>
                  <a:lnTo>
                    <a:pt x="896" y="419"/>
                  </a:lnTo>
                  <a:lnTo>
                    <a:pt x="897" y="419"/>
                  </a:lnTo>
                  <a:lnTo>
                    <a:pt x="897" y="417"/>
                  </a:lnTo>
                  <a:lnTo>
                    <a:pt x="898" y="417"/>
                  </a:lnTo>
                  <a:lnTo>
                    <a:pt x="899" y="416"/>
                  </a:lnTo>
                  <a:close/>
                  <a:moveTo>
                    <a:pt x="37" y="419"/>
                  </a:moveTo>
                  <a:lnTo>
                    <a:pt x="37" y="420"/>
                  </a:lnTo>
                  <a:lnTo>
                    <a:pt x="36" y="420"/>
                  </a:lnTo>
                  <a:lnTo>
                    <a:pt x="35" y="420"/>
                  </a:lnTo>
                  <a:lnTo>
                    <a:pt x="35" y="419"/>
                  </a:lnTo>
                  <a:lnTo>
                    <a:pt x="35" y="420"/>
                  </a:lnTo>
                  <a:lnTo>
                    <a:pt x="35" y="419"/>
                  </a:lnTo>
                  <a:lnTo>
                    <a:pt x="35" y="417"/>
                  </a:lnTo>
                  <a:lnTo>
                    <a:pt x="35" y="416"/>
                  </a:lnTo>
                  <a:lnTo>
                    <a:pt x="36" y="416"/>
                  </a:lnTo>
                  <a:lnTo>
                    <a:pt x="38" y="415"/>
                  </a:lnTo>
                  <a:lnTo>
                    <a:pt x="38" y="416"/>
                  </a:lnTo>
                  <a:lnTo>
                    <a:pt x="37" y="416"/>
                  </a:lnTo>
                  <a:lnTo>
                    <a:pt x="38" y="416"/>
                  </a:lnTo>
                  <a:lnTo>
                    <a:pt x="38" y="417"/>
                  </a:lnTo>
                  <a:lnTo>
                    <a:pt x="37" y="417"/>
                  </a:lnTo>
                  <a:lnTo>
                    <a:pt x="37" y="419"/>
                  </a:lnTo>
                  <a:close/>
                  <a:moveTo>
                    <a:pt x="36" y="412"/>
                  </a:moveTo>
                  <a:lnTo>
                    <a:pt x="35" y="413"/>
                  </a:lnTo>
                  <a:lnTo>
                    <a:pt x="35" y="412"/>
                  </a:lnTo>
                  <a:lnTo>
                    <a:pt x="36" y="412"/>
                  </a:lnTo>
                  <a:lnTo>
                    <a:pt x="36" y="410"/>
                  </a:lnTo>
                  <a:lnTo>
                    <a:pt x="36" y="412"/>
                  </a:lnTo>
                  <a:close/>
                  <a:moveTo>
                    <a:pt x="907" y="413"/>
                  </a:moveTo>
                  <a:lnTo>
                    <a:pt x="906" y="413"/>
                  </a:lnTo>
                  <a:lnTo>
                    <a:pt x="907" y="412"/>
                  </a:lnTo>
                  <a:lnTo>
                    <a:pt x="909" y="412"/>
                  </a:lnTo>
                  <a:lnTo>
                    <a:pt x="909" y="410"/>
                  </a:lnTo>
                  <a:lnTo>
                    <a:pt x="909" y="412"/>
                  </a:lnTo>
                  <a:lnTo>
                    <a:pt x="907" y="413"/>
                  </a:lnTo>
                  <a:close/>
                  <a:moveTo>
                    <a:pt x="43" y="410"/>
                  </a:moveTo>
                  <a:lnTo>
                    <a:pt x="42" y="410"/>
                  </a:lnTo>
                  <a:lnTo>
                    <a:pt x="42" y="412"/>
                  </a:lnTo>
                  <a:lnTo>
                    <a:pt x="41" y="412"/>
                  </a:lnTo>
                  <a:lnTo>
                    <a:pt x="41" y="413"/>
                  </a:lnTo>
                  <a:lnTo>
                    <a:pt x="39" y="414"/>
                  </a:lnTo>
                  <a:lnTo>
                    <a:pt x="38" y="414"/>
                  </a:lnTo>
                  <a:lnTo>
                    <a:pt x="38" y="415"/>
                  </a:lnTo>
                  <a:lnTo>
                    <a:pt x="37" y="415"/>
                  </a:lnTo>
                  <a:lnTo>
                    <a:pt x="37" y="414"/>
                  </a:lnTo>
                  <a:lnTo>
                    <a:pt x="38" y="414"/>
                  </a:lnTo>
                  <a:lnTo>
                    <a:pt x="38" y="413"/>
                  </a:lnTo>
                  <a:lnTo>
                    <a:pt x="37" y="413"/>
                  </a:lnTo>
                  <a:lnTo>
                    <a:pt x="38" y="413"/>
                  </a:lnTo>
                  <a:lnTo>
                    <a:pt x="38" y="412"/>
                  </a:lnTo>
                  <a:lnTo>
                    <a:pt x="39" y="410"/>
                  </a:lnTo>
                  <a:lnTo>
                    <a:pt x="41" y="410"/>
                  </a:lnTo>
                  <a:lnTo>
                    <a:pt x="42" y="410"/>
                  </a:lnTo>
                  <a:lnTo>
                    <a:pt x="43" y="410"/>
                  </a:lnTo>
                  <a:close/>
                  <a:moveTo>
                    <a:pt x="624" y="409"/>
                  </a:moveTo>
                  <a:lnTo>
                    <a:pt x="622" y="410"/>
                  </a:lnTo>
                  <a:lnTo>
                    <a:pt x="622" y="412"/>
                  </a:lnTo>
                  <a:lnTo>
                    <a:pt x="621" y="412"/>
                  </a:lnTo>
                  <a:lnTo>
                    <a:pt x="620" y="412"/>
                  </a:lnTo>
                  <a:lnTo>
                    <a:pt x="619" y="412"/>
                  </a:lnTo>
                  <a:lnTo>
                    <a:pt x="618" y="412"/>
                  </a:lnTo>
                  <a:lnTo>
                    <a:pt x="618" y="413"/>
                  </a:lnTo>
                  <a:lnTo>
                    <a:pt x="618" y="412"/>
                  </a:lnTo>
                  <a:lnTo>
                    <a:pt x="619" y="410"/>
                  </a:lnTo>
                  <a:lnTo>
                    <a:pt x="620" y="410"/>
                  </a:lnTo>
                  <a:lnTo>
                    <a:pt x="621" y="410"/>
                  </a:lnTo>
                  <a:lnTo>
                    <a:pt x="621" y="409"/>
                  </a:lnTo>
                  <a:lnTo>
                    <a:pt x="622" y="409"/>
                  </a:lnTo>
                  <a:lnTo>
                    <a:pt x="624" y="409"/>
                  </a:lnTo>
                  <a:close/>
                  <a:moveTo>
                    <a:pt x="627" y="409"/>
                  </a:moveTo>
                  <a:lnTo>
                    <a:pt x="626" y="409"/>
                  </a:lnTo>
                  <a:lnTo>
                    <a:pt x="627" y="409"/>
                  </a:lnTo>
                  <a:close/>
                  <a:moveTo>
                    <a:pt x="7" y="409"/>
                  </a:moveTo>
                  <a:lnTo>
                    <a:pt x="7" y="410"/>
                  </a:lnTo>
                  <a:lnTo>
                    <a:pt x="6" y="410"/>
                  </a:lnTo>
                  <a:lnTo>
                    <a:pt x="6" y="409"/>
                  </a:lnTo>
                  <a:lnTo>
                    <a:pt x="6" y="410"/>
                  </a:lnTo>
                  <a:lnTo>
                    <a:pt x="6" y="412"/>
                  </a:lnTo>
                  <a:lnTo>
                    <a:pt x="4" y="412"/>
                  </a:lnTo>
                  <a:lnTo>
                    <a:pt x="4" y="410"/>
                  </a:lnTo>
                  <a:lnTo>
                    <a:pt x="4" y="409"/>
                  </a:lnTo>
                  <a:lnTo>
                    <a:pt x="6" y="409"/>
                  </a:lnTo>
                  <a:lnTo>
                    <a:pt x="6" y="408"/>
                  </a:lnTo>
                  <a:lnTo>
                    <a:pt x="7" y="408"/>
                  </a:lnTo>
                  <a:lnTo>
                    <a:pt x="7" y="409"/>
                  </a:lnTo>
                  <a:close/>
                  <a:moveTo>
                    <a:pt x="45" y="408"/>
                  </a:moveTo>
                  <a:lnTo>
                    <a:pt x="44" y="409"/>
                  </a:lnTo>
                  <a:lnTo>
                    <a:pt x="43" y="409"/>
                  </a:lnTo>
                  <a:lnTo>
                    <a:pt x="42" y="409"/>
                  </a:lnTo>
                  <a:lnTo>
                    <a:pt x="42" y="408"/>
                  </a:lnTo>
                  <a:lnTo>
                    <a:pt x="42" y="409"/>
                  </a:lnTo>
                  <a:lnTo>
                    <a:pt x="43" y="408"/>
                  </a:lnTo>
                  <a:lnTo>
                    <a:pt x="44" y="408"/>
                  </a:lnTo>
                  <a:lnTo>
                    <a:pt x="45" y="408"/>
                  </a:lnTo>
                  <a:close/>
                  <a:moveTo>
                    <a:pt x="39" y="410"/>
                  </a:moveTo>
                  <a:lnTo>
                    <a:pt x="38" y="410"/>
                  </a:lnTo>
                  <a:lnTo>
                    <a:pt x="39" y="410"/>
                  </a:lnTo>
                  <a:lnTo>
                    <a:pt x="39" y="409"/>
                  </a:lnTo>
                  <a:lnTo>
                    <a:pt x="39" y="408"/>
                  </a:lnTo>
                  <a:lnTo>
                    <a:pt x="41" y="408"/>
                  </a:lnTo>
                  <a:lnTo>
                    <a:pt x="42" y="408"/>
                  </a:lnTo>
                  <a:lnTo>
                    <a:pt x="41" y="409"/>
                  </a:lnTo>
                  <a:lnTo>
                    <a:pt x="41" y="410"/>
                  </a:lnTo>
                  <a:lnTo>
                    <a:pt x="39" y="410"/>
                  </a:lnTo>
                  <a:close/>
                  <a:moveTo>
                    <a:pt x="41" y="407"/>
                  </a:moveTo>
                  <a:lnTo>
                    <a:pt x="41" y="408"/>
                  </a:lnTo>
                  <a:lnTo>
                    <a:pt x="39" y="408"/>
                  </a:lnTo>
                  <a:lnTo>
                    <a:pt x="39" y="409"/>
                  </a:lnTo>
                  <a:lnTo>
                    <a:pt x="38" y="409"/>
                  </a:lnTo>
                  <a:lnTo>
                    <a:pt x="38" y="408"/>
                  </a:lnTo>
                  <a:lnTo>
                    <a:pt x="38" y="409"/>
                  </a:lnTo>
                  <a:lnTo>
                    <a:pt x="37" y="409"/>
                  </a:lnTo>
                  <a:lnTo>
                    <a:pt x="38" y="409"/>
                  </a:lnTo>
                  <a:lnTo>
                    <a:pt x="38" y="408"/>
                  </a:lnTo>
                  <a:lnTo>
                    <a:pt x="37" y="409"/>
                  </a:lnTo>
                  <a:lnTo>
                    <a:pt x="37" y="408"/>
                  </a:lnTo>
                  <a:lnTo>
                    <a:pt x="38" y="408"/>
                  </a:lnTo>
                  <a:lnTo>
                    <a:pt x="38" y="407"/>
                  </a:lnTo>
                  <a:lnTo>
                    <a:pt x="39" y="407"/>
                  </a:lnTo>
                  <a:lnTo>
                    <a:pt x="41" y="407"/>
                  </a:lnTo>
                  <a:close/>
                  <a:moveTo>
                    <a:pt x="622" y="407"/>
                  </a:moveTo>
                  <a:lnTo>
                    <a:pt x="621" y="407"/>
                  </a:lnTo>
                  <a:lnTo>
                    <a:pt x="622" y="407"/>
                  </a:lnTo>
                  <a:lnTo>
                    <a:pt x="624" y="407"/>
                  </a:lnTo>
                  <a:lnTo>
                    <a:pt x="622" y="407"/>
                  </a:lnTo>
                  <a:close/>
                  <a:moveTo>
                    <a:pt x="45" y="407"/>
                  </a:moveTo>
                  <a:lnTo>
                    <a:pt x="45" y="408"/>
                  </a:lnTo>
                  <a:lnTo>
                    <a:pt x="44" y="408"/>
                  </a:lnTo>
                  <a:lnTo>
                    <a:pt x="43" y="408"/>
                  </a:lnTo>
                  <a:lnTo>
                    <a:pt x="44" y="407"/>
                  </a:lnTo>
                  <a:lnTo>
                    <a:pt x="43" y="407"/>
                  </a:lnTo>
                  <a:lnTo>
                    <a:pt x="42" y="407"/>
                  </a:lnTo>
                  <a:lnTo>
                    <a:pt x="43" y="407"/>
                  </a:lnTo>
                  <a:lnTo>
                    <a:pt x="44" y="407"/>
                  </a:lnTo>
                  <a:lnTo>
                    <a:pt x="45" y="406"/>
                  </a:lnTo>
                  <a:lnTo>
                    <a:pt x="45" y="407"/>
                  </a:lnTo>
                  <a:close/>
                  <a:moveTo>
                    <a:pt x="52" y="407"/>
                  </a:moveTo>
                  <a:lnTo>
                    <a:pt x="51" y="407"/>
                  </a:lnTo>
                  <a:lnTo>
                    <a:pt x="50" y="408"/>
                  </a:lnTo>
                  <a:lnTo>
                    <a:pt x="49" y="408"/>
                  </a:lnTo>
                  <a:lnTo>
                    <a:pt x="48" y="408"/>
                  </a:lnTo>
                  <a:lnTo>
                    <a:pt x="48" y="409"/>
                  </a:lnTo>
                  <a:lnTo>
                    <a:pt x="46" y="410"/>
                  </a:lnTo>
                  <a:lnTo>
                    <a:pt x="45" y="410"/>
                  </a:lnTo>
                  <a:lnTo>
                    <a:pt x="44" y="412"/>
                  </a:lnTo>
                  <a:lnTo>
                    <a:pt x="43" y="412"/>
                  </a:lnTo>
                  <a:lnTo>
                    <a:pt x="42" y="412"/>
                  </a:lnTo>
                  <a:lnTo>
                    <a:pt x="43" y="410"/>
                  </a:lnTo>
                  <a:lnTo>
                    <a:pt x="44" y="409"/>
                  </a:lnTo>
                  <a:lnTo>
                    <a:pt x="45" y="409"/>
                  </a:lnTo>
                  <a:lnTo>
                    <a:pt x="45" y="408"/>
                  </a:lnTo>
                  <a:lnTo>
                    <a:pt x="46" y="408"/>
                  </a:lnTo>
                  <a:lnTo>
                    <a:pt x="48" y="407"/>
                  </a:lnTo>
                  <a:lnTo>
                    <a:pt x="49" y="407"/>
                  </a:lnTo>
                  <a:lnTo>
                    <a:pt x="50" y="407"/>
                  </a:lnTo>
                  <a:lnTo>
                    <a:pt x="50" y="406"/>
                  </a:lnTo>
                  <a:lnTo>
                    <a:pt x="51" y="406"/>
                  </a:lnTo>
                  <a:lnTo>
                    <a:pt x="52" y="406"/>
                  </a:lnTo>
                  <a:lnTo>
                    <a:pt x="52" y="405"/>
                  </a:lnTo>
                  <a:lnTo>
                    <a:pt x="53" y="405"/>
                  </a:lnTo>
                  <a:lnTo>
                    <a:pt x="55" y="405"/>
                  </a:lnTo>
                  <a:lnTo>
                    <a:pt x="56" y="405"/>
                  </a:lnTo>
                  <a:lnTo>
                    <a:pt x="55" y="405"/>
                  </a:lnTo>
                  <a:lnTo>
                    <a:pt x="55" y="406"/>
                  </a:lnTo>
                  <a:lnTo>
                    <a:pt x="53" y="407"/>
                  </a:lnTo>
                  <a:lnTo>
                    <a:pt x="52" y="407"/>
                  </a:lnTo>
                  <a:close/>
                  <a:moveTo>
                    <a:pt x="632" y="405"/>
                  </a:moveTo>
                  <a:lnTo>
                    <a:pt x="633" y="405"/>
                  </a:lnTo>
                  <a:lnTo>
                    <a:pt x="632" y="405"/>
                  </a:lnTo>
                  <a:lnTo>
                    <a:pt x="631" y="405"/>
                  </a:lnTo>
                  <a:lnTo>
                    <a:pt x="632" y="405"/>
                  </a:lnTo>
                  <a:close/>
                  <a:moveTo>
                    <a:pt x="39" y="403"/>
                  </a:moveTo>
                  <a:lnTo>
                    <a:pt x="38" y="403"/>
                  </a:lnTo>
                  <a:lnTo>
                    <a:pt x="39" y="403"/>
                  </a:lnTo>
                  <a:lnTo>
                    <a:pt x="39" y="405"/>
                  </a:lnTo>
                  <a:lnTo>
                    <a:pt x="38" y="405"/>
                  </a:lnTo>
                  <a:lnTo>
                    <a:pt x="38" y="406"/>
                  </a:lnTo>
                  <a:lnTo>
                    <a:pt x="37" y="407"/>
                  </a:lnTo>
                  <a:lnTo>
                    <a:pt x="36" y="407"/>
                  </a:lnTo>
                  <a:lnTo>
                    <a:pt x="37" y="407"/>
                  </a:lnTo>
                  <a:lnTo>
                    <a:pt x="36" y="406"/>
                  </a:lnTo>
                  <a:lnTo>
                    <a:pt x="37" y="406"/>
                  </a:lnTo>
                  <a:lnTo>
                    <a:pt x="37" y="405"/>
                  </a:lnTo>
                  <a:lnTo>
                    <a:pt x="38" y="403"/>
                  </a:lnTo>
                  <a:lnTo>
                    <a:pt x="39" y="403"/>
                  </a:lnTo>
                  <a:close/>
                  <a:moveTo>
                    <a:pt x="622" y="403"/>
                  </a:moveTo>
                  <a:lnTo>
                    <a:pt x="622" y="402"/>
                  </a:lnTo>
                  <a:lnTo>
                    <a:pt x="624" y="402"/>
                  </a:lnTo>
                  <a:lnTo>
                    <a:pt x="622" y="402"/>
                  </a:lnTo>
                  <a:lnTo>
                    <a:pt x="624" y="402"/>
                  </a:lnTo>
                  <a:lnTo>
                    <a:pt x="622" y="402"/>
                  </a:lnTo>
                  <a:lnTo>
                    <a:pt x="622" y="403"/>
                  </a:lnTo>
                  <a:close/>
                  <a:moveTo>
                    <a:pt x="42" y="402"/>
                  </a:moveTo>
                  <a:lnTo>
                    <a:pt x="42" y="403"/>
                  </a:lnTo>
                  <a:lnTo>
                    <a:pt x="41" y="405"/>
                  </a:lnTo>
                  <a:lnTo>
                    <a:pt x="39" y="405"/>
                  </a:lnTo>
                  <a:lnTo>
                    <a:pt x="39" y="403"/>
                  </a:lnTo>
                  <a:lnTo>
                    <a:pt x="38" y="403"/>
                  </a:lnTo>
                  <a:lnTo>
                    <a:pt x="39" y="403"/>
                  </a:lnTo>
                  <a:lnTo>
                    <a:pt x="38" y="403"/>
                  </a:lnTo>
                  <a:lnTo>
                    <a:pt x="38" y="402"/>
                  </a:lnTo>
                  <a:lnTo>
                    <a:pt x="38" y="403"/>
                  </a:lnTo>
                  <a:lnTo>
                    <a:pt x="39" y="403"/>
                  </a:lnTo>
                  <a:lnTo>
                    <a:pt x="39" y="402"/>
                  </a:lnTo>
                  <a:lnTo>
                    <a:pt x="42" y="402"/>
                  </a:lnTo>
                  <a:lnTo>
                    <a:pt x="42" y="401"/>
                  </a:lnTo>
                  <a:lnTo>
                    <a:pt x="43" y="401"/>
                  </a:lnTo>
                  <a:lnTo>
                    <a:pt x="42" y="402"/>
                  </a:lnTo>
                  <a:close/>
                  <a:moveTo>
                    <a:pt x="32" y="401"/>
                  </a:moveTo>
                  <a:lnTo>
                    <a:pt x="31" y="401"/>
                  </a:lnTo>
                  <a:lnTo>
                    <a:pt x="32" y="401"/>
                  </a:lnTo>
                  <a:close/>
                  <a:moveTo>
                    <a:pt x="7" y="400"/>
                  </a:moveTo>
                  <a:lnTo>
                    <a:pt x="6" y="400"/>
                  </a:lnTo>
                  <a:lnTo>
                    <a:pt x="7" y="400"/>
                  </a:lnTo>
                  <a:lnTo>
                    <a:pt x="8" y="400"/>
                  </a:lnTo>
                  <a:lnTo>
                    <a:pt x="9" y="400"/>
                  </a:lnTo>
                  <a:lnTo>
                    <a:pt x="8" y="401"/>
                  </a:lnTo>
                  <a:lnTo>
                    <a:pt x="7" y="401"/>
                  </a:lnTo>
                  <a:lnTo>
                    <a:pt x="6" y="401"/>
                  </a:lnTo>
                  <a:lnTo>
                    <a:pt x="7" y="401"/>
                  </a:lnTo>
                  <a:lnTo>
                    <a:pt x="6" y="402"/>
                  </a:lnTo>
                  <a:lnTo>
                    <a:pt x="6" y="401"/>
                  </a:lnTo>
                  <a:lnTo>
                    <a:pt x="6" y="400"/>
                  </a:lnTo>
                  <a:lnTo>
                    <a:pt x="7" y="400"/>
                  </a:lnTo>
                  <a:lnTo>
                    <a:pt x="8" y="400"/>
                  </a:lnTo>
                  <a:lnTo>
                    <a:pt x="7" y="400"/>
                  </a:lnTo>
                  <a:close/>
                  <a:moveTo>
                    <a:pt x="906" y="400"/>
                  </a:moveTo>
                  <a:lnTo>
                    <a:pt x="905" y="400"/>
                  </a:lnTo>
                  <a:lnTo>
                    <a:pt x="905" y="399"/>
                  </a:lnTo>
                  <a:lnTo>
                    <a:pt x="906" y="399"/>
                  </a:lnTo>
                  <a:lnTo>
                    <a:pt x="906" y="400"/>
                  </a:lnTo>
                  <a:close/>
                  <a:moveTo>
                    <a:pt x="42" y="406"/>
                  </a:moveTo>
                  <a:lnTo>
                    <a:pt x="41" y="406"/>
                  </a:lnTo>
                  <a:lnTo>
                    <a:pt x="41" y="405"/>
                  </a:lnTo>
                  <a:lnTo>
                    <a:pt x="42" y="405"/>
                  </a:lnTo>
                  <a:lnTo>
                    <a:pt x="42" y="403"/>
                  </a:lnTo>
                  <a:lnTo>
                    <a:pt x="43" y="403"/>
                  </a:lnTo>
                  <a:lnTo>
                    <a:pt x="43" y="402"/>
                  </a:lnTo>
                  <a:lnTo>
                    <a:pt x="43" y="401"/>
                  </a:lnTo>
                  <a:lnTo>
                    <a:pt x="44" y="401"/>
                  </a:lnTo>
                  <a:lnTo>
                    <a:pt x="44" y="400"/>
                  </a:lnTo>
                  <a:lnTo>
                    <a:pt x="45" y="400"/>
                  </a:lnTo>
                  <a:lnTo>
                    <a:pt x="45" y="399"/>
                  </a:lnTo>
                  <a:lnTo>
                    <a:pt x="46" y="399"/>
                  </a:lnTo>
                  <a:lnTo>
                    <a:pt x="46" y="400"/>
                  </a:lnTo>
                  <a:lnTo>
                    <a:pt x="45" y="400"/>
                  </a:lnTo>
                  <a:lnTo>
                    <a:pt x="45" y="401"/>
                  </a:lnTo>
                  <a:lnTo>
                    <a:pt x="44" y="402"/>
                  </a:lnTo>
                  <a:lnTo>
                    <a:pt x="44" y="403"/>
                  </a:lnTo>
                  <a:lnTo>
                    <a:pt x="43" y="403"/>
                  </a:lnTo>
                  <a:lnTo>
                    <a:pt x="43" y="405"/>
                  </a:lnTo>
                  <a:lnTo>
                    <a:pt x="42" y="406"/>
                  </a:lnTo>
                  <a:close/>
                  <a:moveTo>
                    <a:pt x="37" y="400"/>
                  </a:moveTo>
                  <a:lnTo>
                    <a:pt x="37" y="401"/>
                  </a:lnTo>
                  <a:lnTo>
                    <a:pt x="37" y="402"/>
                  </a:lnTo>
                  <a:lnTo>
                    <a:pt x="37" y="403"/>
                  </a:lnTo>
                  <a:lnTo>
                    <a:pt x="36" y="403"/>
                  </a:lnTo>
                  <a:lnTo>
                    <a:pt x="35" y="405"/>
                  </a:lnTo>
                  <a:lnTo>
                    <a:pt x="35" y="403"/>
                  </a:lnTo>
                  <a:lnTo>
                    <a:pt x="36" y="403"/>
                  </a:lnTo>
                  <a:lnTo>
                    <a:pt x="35" y="403"/>
                  </a:lnTo>
                  <a:lnTo>
                    <a:pt x="35" y="402"/>
                  </a:lnTo>
                  <a:lnTo>
                    <a:pt x="35" y="401"/>
                  </a:lnTo>
                  <a:lnTo>
                    <a:pt x="35" y="400"/>
                  </a:lnTo>
                  <a:lnTo>
                    <a:pt x="35" y="399"/>
                  </a:lnTo>
                  <a:lnTo>
                    <a:pt x="36" y="399"/>
                  </a:lnTo>
                  <a:lnTo>
                    <a:pt x="37" y="399"/>
                  </a:lnTo>
                  <a:lnTo>
                    <a:pt x="37" y="400"/>
                  </a:lnTo>
                  <a:close/>
                  <a:moveTo>
                    <a:pt x="45" y="401"/>
                  </a:moveTo>
                  <a:lnTo>
                    <a:pt x="45" y="402"/>
                  </a:lnTo>
                  <a:lnTo>
                    <a:pt x="45" y="401"/>
                  </a:lnTo>
                  <a:lnTo>
                    <a:pt x="46" y="401"/>
                  </a:lnTo>
                  <a:lnTo>
                    <a:pt x="46" y="400"/>
                  </a:lnTo>
                  <a:lnTo>
                    <a:pt x="46" y="399"/>
                  </a:lnTo>
                  <a:lnTo>
                    <a:pt x="48" y="399"/>
                  </a:lnTo>
                  <a:lnTo>
                    <a:pt x="49" y="399"/>
                  </a:lnTo>
                  <a:lnTo>
                    <a:pt x="48" y="400"/>
                  </a:lnTo>
                  <a:lnTo>
                    <a:pt x="46" y="401"/>
                  </a:lnTo>
                  <a:lnTo>
                    <a:pt x="45" y="401"/>
                  </a:lnTo>
                  <a:close/>
                  <a:moveTo>
                    <a:pt x="7" y="399"/>
                  </a:moveTo>
                  <a:lnTo>
                    <a:pt x="8" y="399"/>
                  </a:lnTo>
                  <a:lnTo>
                    <a:pt x="7" y="399"/>
                  </a:lnTo>
                  <a:lnTo>
                    <a:pt x="6" y="399"/>
                  </a:lnTo>
                  <a:lnTo>
                    <a:pt x="6" y="398"/>
                  </a:lnTo>
                  <a:lnTo>
                    <a:pt x="7" y="398"/>
                  </a:lnTo>
                  <a:lnTo>
                    <a:pt x="7" y="399"/>
                  </a:lnTo>
                  <a:close/>
                  <a:moveTo>
                    <a:pt x="35" y="399"/>
                  </a:moveTo>
                  <a:lnTo>
                    <a:pt x="36" y="398"/>
                  </a:lnTo>
                  <a:lnTo>
                    <a:pt x="36" y="399"/>
                  </a:lnTo>
                  <a:lnTo>
                    <a:pt x="35" y="399"/>
                  </a:lnTo>
                  <a:close/>
                  <a:moveTo>
                    <a:pt x="45" y="399"/>
                  </a:moveTo>
                  <a:lnTo>
                    <a:pt x="44" y="400"/>
                  </a:lnTo>
                  <a:lnTo>
                    <a:pt x="44" y="401"/>
                  </a:lnTo>
                  <a:lnTo>
                    <a:pt x="43" y="401"/>
                  </a:lnTo>
                  <a:lnTo>
                    <a:pt x="43" y="400"/>
                  </a:lnTo>
                  <a:lnTo>
                    <a:pt x="44" y="400"/>
                  </a:lnTo>
                  <a:lnTo>
                    <a:pt x="44" y="399"/>
                  </a:lnTo>
                  <a:lnTo>
                    <a:pt x="45" y="398"/>
                  </a:lnTo>
                  <a:lnTo>
                    <a:pt x="45" y="399"/>
                  </a:lnTo>
                  <a:close/>
                  <a:moveTo>
                    <a:pt x="3" y="396"/>
                  </a:moveTo>
                  <a:lnTo>
                    <a:pt x="2" y="396"/>
                  </a:lnTo>
                  <a:lnTo>
                    <a:pt x="1" y="396"/>
                  </a:lnTo>
                  <a:lnTo>
                    <a:pt x="1" y="395"/>
                  </a:lnTo>
                  <a:lnTo>
                    <a:pt x="3" y="396"/>
                  </a:lnTo>
                  <a:close/>
                  <a:moveTo>
                    <a:pt x="907" y="395"/>
                  </a:moveTo>
                  <a:lnTo>
                    <a:pt x="907" y="396"/>
                  </a:lnTo>
                  <a:lnTo>
                    <a:pt x="907" y="395"/>
                  </a:lnTo>
                  <a:close/>
                  <a:moveTo>
                    <a:pt x="35" y="396"/>
                  </a:moveTo>
                  <a:lnTo>
                    <a:pt x="34" y="396"/>
                  </a:lnTo>
                  <a:lnTo>
                    <a:pt x="34" y="395"/>
                  </a:lnTo>
                  <a:lnTo>
                    <a:pt x="35" y="395"/>
                  </a:lnTo>
                  <a:lnTo>
                    <a:pt x="35" y="396"/>
                  </a:lnTo>
                  <a:close/>
                  <a:moveTo>
                    <a:pt x="34" y="395"/>
                  </a:moveTo>
                  <a:lnTo>
                    <a:pt x="35" y="395"/>
                  </a:lnTo>
                  <a:lnTo>
                    <a:pt x="36" y="395"/>
                  </a:lnTo>
                  <a:lnTo>
                    <a:pt x="35" y="395"/>
                  </a:lnTo>
                  <a:lnTo>
                    <a:pt x="34" y="395"/>
                  </a:lnTo>
                  <a:close/>
                  <a:moveTo>
                    <a:pt x="909" y="394"/>
                  </a:moveTo>
                  <a:lnTo>
                    <a:pt x="909" y="395"/>
                  </a:lnTo>
                  <a:lnTo>
                    <a:pt x="907" y="395"/>
                  </a:lnTo>
                  <a:lnTo>
                    <a:pt x="907" y="394"/>
                  </a:lnTo>
                  <a:lnTo>
                    <a:pt x="909" y="394"/>
                  </a:lnTo>
                  <a:close/>
                  <a:moveTo>
                    <a:pt x="35" y="395"/>
                  </a:moveTo>
                  <a:lnTo>
                    <a:pt x="34" y="394"/>
                  </a:lnTo>
                  <a:lnTo>
                    <a:pt x="35" y="394"/>
                  </a:lnTo>
                  <a:lnTo>
                    <a:pt x="35" y="395"/>
                  </a:lnTo>
                  <a:close/>
                  <a:moveTo>
                    <a:pt x="625" y="394"/>
                  </a:moveTo>
                  <a:lnTo>
                    <a:pt x="624" y="394"/>
                  </a:lnTo>
                  <a:lnTo>
                    <a:pt x="622" y="394"/>
                  </a:lnTo>
                  <a:lnTo>
                    <a:pt x="624" y="394"/>
                  </a:lnTo>
                  <a:lnTo>
                    <a:pt x="624" y="393"/>
                  </a:lnTo>
                  <a:lnTo>
                    <a:pt x="625" y="393"/>
                  </a:lnTo>
                  <a:lnTo>
                    <a:pt x="625" y="394"/>
                  </a:lnTo>
                  <a:close/>
                  <a:moveTo>
                    <a:pt x="38" y="394"/>
                  </a:moveTo>
                  <a:lnTo>
                    <a:pt x="38" y="395"/>
                  </a:lnTo>
                  <a:lnTo>
                    <a:pt x="37" y="396"/>
                  </a:lnTo>
                  <a:lnTo>
                    <a:pt x="37" y="395"/>
                  </a:lnTo>
                  <a:lnTo>
                    <a:pt x="37" y="394"/>
                  </a:lnTo>
                  <a:lnTo>
                    <a:pt x="36" y="394"/>
                  </a:lnTo>
                  <a:lnTo>
                    <a:pt x="37" y="394"/>
                  </a:lnTo>
                  <a:lnTo>
                    <a:pt x="36" y="394"/>
                  </a:lnTo>
                  <a:lnTo>
                    <a:pt x="37" y="393"/>
                  </a:lnTo>
                  <a:lnTo>
                    <a:pt x="38" y="393"/>
                  </a:lnTo>
                  <a:lnTo>
                    <a:pt x="38" y="394"/>
                  </a:lnTo>
                  <a:close/>
                  <a:moveTo>
                    <a:pt x="606" y="393"/>
                  </a:moveTo>
                  <a:lnTo>
                    <a:pt x="608" y="393"/>
                  </a:lnTo>
                  <a:lnTo>
                    <a:pt x="610" y="393"/>
                  </a:lnTo>
                  <a:lnTo>
                    <a:pt x="611" y="394"/>
                  </a:lnTo>
                  <a:lnTo>
                    <a:pt x="611" y="395"/>
                  </a:lnTo>
                  <a:lnTo>
                    <a:pt x="612" y="396"/>
                  </a:lnTo>
                  <a:lnTo>
                    <a:pt x="612" y="398"/>
                  </a:lnTo>
                  <a:lnTo>
                    <a:pt x="612" y="399"/>
                  </a:lnTo>
                  <a:lnTo>
                    <a:pt x="612" y="400"/>
                  </a:lnTo>
                  <a:lnTo>
                    <a:pt x="611" y="400"/>
                  </a:lnTo>
                  <a:lnTo>
                    <a:pt x="610" y="400"/>
                  </a:lnTo>
                  <a:lnTo>
                    <a:pt x="607" y="400"/>
                  </a:lnTo>
                  <a:lnTo>
                    <a:pt x="606" y="399"/>
                  </a:lnTo>
                  <a:lnTo>
                    <a:pt x="605" y="399"/>
                  </a:lnTo>
                  <a:lnTo>
                    <a:pt x="603" y="398"/>
                  </a:lnTo>
                  <a:lnTo>
                    <a:pt x="601" y="398"/>
                  </a:lnTo>
                  <a:lnTo>
                    <a:pt x="599" y="396"/>
                  </a:lnTo>
                  <a:lnTo>
                    <a:pt x="598" y="396"/>
                  </a:lnTo>
                  <a:lnTo>
                    <a:pt x="598" y="395"/>
                  </a:lnTo>
                  <a:lnTo>
                    <a:pt x="597" y="395"/>
                  </a:lnTo>
                  <a:lnTo>
                    <a:pt x="598" y="395"/>
                  </a:lnTo>
                  <a:lnTo>
                    <a:pt x="599" y="394"/>
                  </a:lnTo>
                  <a:lnTo>
                    <a:pt x="600" y="393"/>
                  </a:lnTo>
                  <a:lnTo>
                    <a:pt x="601" y="393"/>
                  </a:lnTo>
                  <a:lnTo>
                    <a:pt x="603" y="393"/>
                  </a:lnTo>
                  <a:lnTo>
                    <a:pt x="604" y="393"/>
                  </a:lnTo>
                  <a:lnTo>
                    <a:pt x="605" y="393"/>
                  </a:lnTo>
                  <a:lnTo>
                    <a:pt x="606" y="393"/>
                  </a:lnTo>
                  <a:close/>
                  <a:moveTo>
                    <a:pt x="11" y="392"/>
                  </a:moveTo>
                  <a:lnTo>
                    <a:pt x="11" y="393"/>
                  </a:lnTo>
                  <a:lnTo>
                    <a:pt x="10" y="393"/>
                  </a:lnTo>
                  <a:lnTo>
                    <a:pt x="11" y="394"/>
                  </a:lnTo>
                  <a:lnTo>
                    <a:pt x="11" y="395"/>
                  </a:lnTo>
                  <a:lnTo>
                    <a:pt x="10" y="395"/>
                  </a:lnTo>
                  <a:lnTo>
                    <a:pt x="9" y="395"/>
                  </a:lnTo>
                  <a:lnTo>
                    <a:pt x="9" y="394"/>
                  </a:lnTo>
                  <a:lnTo>
                    <a:pt x="8" y="395"/>
                  </a:lnTo>
                  <a:lnTo>
                    <a:pt x="7" y="395"/>
                  </a:lnTo>
                  <a:lnTo>
                    <a:pt x="7" y="396"/>
                  </a:lnTo>
                  <a:lnTo>
                    <a:pt x="7" y="395"/>
                  </a:lnTo>
                  <a:lnTo>
                    <a:pt x="8" y="395"/>
                  </a:lnTo>
                  <a:lnTo>
                    <a:pt x="9" y="395"/>
                  </a:lnTo>
                  <a:lnTo>
                    <a:pt x="10" y="395"/>
                  </a:lnTo>
                  <a:lnTo>
                    <a:pt x="10" y="396"/>
                  </a:lnTo>
                  <a:lnTo>
                    <a:pt x="9" y="396"/>
                  </a:lnTo>
                  <a:lnTo>
                    <a:pt x="9" y="398"/>
                  </a:lnTo>
                  <a:lnTo>
                    <a:pt x="8" y="398"/>
                  </a:lnTo>
                  <a:lnTo>
                    <a:pt x="7" y="398"/>
                  </a:lnTo>
                  <a:lnTo>
                    <a:pt x="7" y="396"/>
                  </a:lnTo>
                  <a:lnTo>
                    <a:pt x="6" y="396"/>
                  </a:lnTo>
                  <a:lnTo>
                    <a:pt x="6" y="398"/>
                  </a:lnTo>
                  <a:lnTo>
                    <a:pt x="4" y="398"/>
                  </a:lnTo>
                  <a:lnTo>
                    <a:pt x="6" y="398"/>
                  </a:lnTo>
                  <a:lnTo>
                    <a:pt x="6" y="399"/>
                  </a:lnTo>
                  <a:lnTo>
                    <a:pt x="7" y="399"/>
                  </a:lnTo>
                  <a:lnTo>
                    <a:pt x="8" y="399"/>
                  </a:lnTo>
                  <a:lnTo>
                    <a:pt x="7" y="399"/>
                  </a:lnTo>
                  <a:lnTo>
                    <a:pt x="6" y="399"/>
                  </a:lnTo>
                  <a:lnTo>
                    <a:pt x="6" y="400"/>
                  </a:lnTo>
                  <a:lnTo>
                    <a:pt x="6" y="399"/>
                  </a:lnTo>
                  <a:lnTo>
                    <a:pt x="4" y="399"/>
                  </a:lnTo>
                  <a:lnTo>
                    <a:pt x="4" y="400"/>
                  </a:lnTo>
                  <a:lnTo>
                    <a:pt x="6" y="400"/>
                  </a:lnTo>
                  <a:lnTo>
                    <a:pt x="4" y="400"/>
                  </a:lnTo>
                  <a:lnTo>
                    <a:pt x="6" y="400"/>
                  </a:lnTo>
                  <a:lnTo>
                    <a:pt x="6" y="401"/>
                  </a:lnTo>
                  <a:lnTo>
                    <a:pt x="4" y="401"/>
                  </a:lnTo>
                  <a:lnTo>
                    <a:pt x="4" y="402"/>
                  </a:lnTo>
                  <a:lnTo>
                    <a:pt x="4" y="403"/>
                  </a:lnTo>
                  <a:lnTo>
                    <a:pt x="6" y="403"/>
                  </a:lnTo>
                  <a:lnTo>
                    <a:pt x="6" y="402"/>
                  </a:lnTo>
                  <a:lnTo>
                    <a:pt x="6" y="403"/>
                  </a:lnTo>
                  <a:lnTo>
                    <a:pt x="6" y="405"/>
                  </a:lnTo>
                  <a:lnTo>
                    <a:pt x="4" y="405"/>
                  </a:lnTo>
                  <a:lnTo>
                    <a:pt x="6" y="405"/>
                  </a:lnTo>
                  <a:lnTo>
                    <a:pt x="6" y="406"/>
                  </a:lnTo>
                  <a:lnTo>
                    <a:pt x="4" y="406"/>
                  </a:lnTo>
                  <a:lnTo>
                    <a:pt x="6" y="406"/>
                  </a:lnTo>
                  <a:lnTo>
                    <a:pt x="6" y="405"/>
                  </a:lnTo>
                  <a:lnTo>
                    <a:pt x="7" y="405"/>
                  </a:lnTo>
                  <a:lnTo>
                    <a:pt x="8" y="405"/>
                  </a:lnTo>
                  <a:lnTo>
                    <a:pt x="7" y="405"/>
                  </a:lnTo>
                  <a:lnTo>
                    <a:pt x="7" y="406"/>
                  </a:lnTo>
                  <a:lnTo>
                    <a:pt x="6" y="406"/>
                  </a:lnTo>
                  <a:lnTo>
                    <a:pt x="7" y="406"/>
                  </a:lnTo>
                  <a:lnTo>
                    <a:pt x="6" y="406"/>
                  </a:lnTo>
                  <a:lnTo>
                    <a:pt x="6" y="407"/>
                  </a:lnTo>
                  <a:lnTo>
                    <a:pt x="7" y="406"/>
                  </a:lnTo>
                  <a:lnTo>
                    <a:pt x="7" y="407"/>
                  </a:lnTo>
                  <a:lnTo>
                    <a:pt x="7" y="406"/>
                  </a:lnTo>
                  <a:lnTo>
                    <a:pt x="8" y="406"/>
                  </a:lnTo>
                  <a:lnTo>
                    <a:pt x="8" y="407"/>
                  </a:lnTo>
                  <a:lnTo>
                    <a:pt x="7" y="407"/>
                  </a:lnTo>
                  <a:lnTo>
                    <a:pt x="6" y="407"/>
                  </a:lnTo>
                  <a:lnTo>
                    <a:pt x="7" y="407"/>
                  </a:lnTo>
                  <a:lnTo>
                    <a:pt x="7" y="408"/>
                  </a:lnTo>
                  <a:lnTo>
                    <a:pt x="8" y="407"/>
                  </a:lnTo>
                  <a:lnTo>
                    <a:pt x="8" y="408"/>
                  </a:lnTo>
                  <a:lnTo>
                    <a:pt x="7" y="408"/>
                  </a:lnTo>
                  <a:lnTo>
                    <a:pt x="6" y="408"/>
                  </a:lnTo>
                  <a:lnTo>
                    <a:pt x="6" y="409"/>
                  </a:lnTo>
                  <a:lnTo>
                    <a:pt x="4" y="409"/>
                  </a:lnTo>
                  <a:lnTo>
                    <a:pt x="4" y="408"/>
                  </a:lnTo>
                  <a:lnTo>
                    <a:pt x="6" y="408"/>
                  </a:lnTo>
                  <a:lnTo>
                    <a:pt x="6" y="407"/>
                  </a:lnTo>
                  <a:lnTo>
                    <a:pt x="4" y="408"/>
                  </a:lnTo>
                  <a:lnTo>
                    <a:pt x="4" y="409"/>
                  </a:lnTo>
                  <a:lnTo>
                    <a:pt x="3" y="409"/>
                  </a:lnTo>
                  <a:lnTo>
                    <a:pt x="4" y="408"/>
                  </a:lnTo>
                  <a:lnTo>
                    <a:pt x="4" y="407"/>
                  </a:lnTo>
                  <a:lnTo>
                    <a:pt x="3" y="408"/>
                  </a:lnTo>
                  <a:lnTo>
                    <a:pt x="3" y="407"/>
                  </a:lnTo>
                  <a:lnTo>
                    <a:pt x="3" y="406"/>
                  </a:lnTo>
                  <a:lnTo>
                    <a:pt x="3" y="405"/>
                  </a:lnTo>
                  <a:lnTo>
                    <a:pt x="4" y="405"/>
                  </a:lnTo>
                  <a:lnTo>
                    <a:pt x="3" y="405"/>
                  </a:lnTo>
                  <a:lnTo>
                    <a:pt x="3" y="403"/>
                  </a:lnTo>
                  <a:lnTo>
                    <a:pt x="2" y="403"/>
                  </a:lnTo>
                  <a:lnTo>
                    <a:pt x="2" y="402"/>
                  </a:lnTo>
                  <a:lnTo>
                    <a:pt x="2" y="401"/>
                  </a:lnTo>
                  <a:lnTo>
                    <a:pt x="1" y="400"/>
                  </a:lnTo>
                  <a:lnTo>
                    <a:pt x="2" y="400"/>
                  </a:lnTo>
                  <a:lnTo>
                    <a:pt x="3" y="400"/>
                  </a:lnTo>
                  <a:lnTo>
                    <a:pt x="3" y="399"/>
                  </a:lnTo>
                  <a:lnTo>
                    <a:pt x="3" y="400"/>
                  </a:lnTo>
                  <a:lnTo>
                    <a:pt x="3" y="399"/>
                  </a:lnTo>
                  <a:lnTo>
                    <a:pt x="3" y="398"/>
                  </a:lnTo>
                  <a:lnTo>
                    <a:pt x="3" y="399"/>
                  </a:lnTo>
                  <a:lnTo>
                    <a:pt x="2" y="399"/>
                  </a:lnTo>
                  <a:lnTo>
                    <a:pt x="1" y="400"/>
                  </a:lnTo>
                  <a:lnTo>
                    <a:pt x="1" y="399"/>
                  </a:lnTo>
                  <a:lnTo>
                    <a:pt x="1" y="398"/>
                  </a:lnTo>
                  <a:lnTo>
                    <a:pt x="1" y="396"/>
                  </a:lnTo>
                  <a:lnTo>
                    <a:pt x="2" y="396"/>
                  </a:lnTo>
                  <a:lnTo>
                    <a:pt x="3" y="396"/>
                  </a:lnTo>
                  <a:lnTo>
                    <a:pt x="4" y="396"/>
                  </a:lnTo>
                  <a:lnTo>
                    <a:pt x="4" y="395"/>
                  </a:lnTo>
                  <a:lnTo>
                    <a:pt x="3" y="396"/>
                  </a:lnTo>
                  <a:lnTo>
                    <a:pt x="3" y="395"/>
                  </a:lnTo>
                  <a:lnTo>
                    <a:pt x="2" y="395"/>
                  </a:lnTo>
                  <a:lnTo>
                    <a:pt x="1" y="395"/>
                  </a:lnTo>
                  <a:lnTo>
                    <a:pt x="0" y="395"/>
                  </a:lnTo>
                  <a:lnTo>
                    <a:pt x="1" y="395"/>
                  </a:lnTo>
                  <a:lnTo>
                    <a:pt x="1" y="394"/>
                  </a:lnTo>
                  <a:lnTo>
                    <a:pt x="2" y="394"/>
                  </a:lnTo>
                  <a:lnTo>
                    <a:pt x="3" y="394"/>
                  </a:lnTo>
                  <a:lnTo>
                    <a:pt x="3" y="393"/>
                  </a:lnTo>
                  <a:lnTo>
                    <a:pt x="4" y="393"/>
                  </a:lnTo>
                  <a:lnTo>
                    <a:pt x="4" y="394"/>
                  </a:lnTo>
                  <a:lnTo>
                    <a:pt x="7" y="393"/>
                  </a:lnTo>
                  <a:lnTo>
                    <a:pt x="8" y="393"/>
                  </a:lnTo>
                  <a:lnTo>
                    <a:pt x="9" y="393"/>
                  </a:lnTo>
                  <a:lnTo>
                    <a:pt x="10" y="392"/>
                  </a:lnTo>
                  <a:lnTo>
                    <a:pt x="11" y="392"/>
                  </a:lnTo>
                  <a:close/>
                  <a:moveTo>
                    <a:pt x="48" y="393"/>
                  </a:moveTo>
                  <a:lnTo>
                    <a:pt x="48" y="394"/>
                  </a:lnTo>
                  <a:lnTo>
                    <a:pt x="48" y="395"/>
                  </a:lnTo>
                  <a:lnTo>
                    <a:pt x="46" y="396"/>
                  </a:lnTo>
                  <a:lnTo>
                    <a:pt x="45" y="398"/>
                  </a:lnTo>
                  <a:lnTo>
                    <a:pt x="43" y="400"/>
                  </a:lnTo>
                  <a:lnTo>
                    <a:pt x="43" y="401"/>
                  </a:lnTo>
                  <a:lnTo>
                    <a:pt x="42" y="401"/>
                  </a:lnTo>
                  <a:lnTo>
                    <a:pt x="42" y="402"/>
                  </a:lnTo>
                  <a:lnTo>
                    <a:pt x="41" y="402"/>
                  </a:lnTo>
                  <a:lnTo>
                    <a:pt x="39" y="402"/>
                  </a:lnTo>
                  <a:lnTo>
                    <a:pt x="39" y="401"/>
                  </a:lnTo>
                  <a:lnTo>
                    <a:pt x="41" y="401"/>
                  </a:lnTo>
                  <a:lnTo>
                    <a:pt x="41" y="400"/>
                  </a:lnTo>
                  <a:lnTo>
                    <a:pt x="42" y="400"/>
                  </a:lnTo>
                  <a:lnTo>
                    <a:pt x="42" y="399"/>
                  </a:lnTo>
                  <a:lnTo>
                    <a:pt x="43" y="399"/>
                  </a:lnTo>
                  <a:lnTo>
                    <a:pt x="43" y="398"/>
                  </a:lnTo>
                  <a:lnTo>
                    <a:pt x="44" y="398"/>
                  </a:lnTo>
                  <a:lnTo>
                    <a:pt x="45" y="396"/>
                  </a:lnTo>
                  <a:lnTo>
                    <a:pt x="44" y="396"/>
                  </a:lnTo>
                  <a:lnTo>
                    <a:pt x="44" y="398"/>
                  </a:lnTo>
                  <a:lnTo>
                    <a:pt x="43" y="398"/>
                  </a:lnTo>
                  <a:lnTo>
                    <a:pt x="43" y="399"/>
                  </a:lnTo>
                  <a:lnTo>
                    <a:pt x="42" y="399"/>
                  </a:lnTo>
                  <a:lnTo>
                    <a:pt x="41" y="400"/>
                  </a:lnTo>
                  <a:lnTo>
                    <a:pt x="41" y="401"/>
                  </a:lnTo>
                  <a:lnTo>
                    <a:pt x="39" y="401"/>
                  </a:lnTo>
                  <a:lnTo>
                    <a:pt x="41" y="401"/>
                  </a:lnTo>
                  <a:lnTo>
                    <a:pt x="41" y="400"/>
                  </a:lnTo>
                  <a:lnTo>
                    <a:pt x="39" y="401"/>
                  </a:lnTo>
                  <a:lnTo>
                    <a:pt x="38" y="401"/>
                  </a:lnTo>
                  <a:lnTo>
                    <a:pt x="38" y="400"/>
                  </a:lnTo>
                  <a:lnTo>
                    <a:pt x="37" y="400"/>
                  </a:lnTo>
                  <a:lnTo>
                    <a:pt x="38" y="400"/>
                  </a:lnTo>
                  <a:lnTo>
                    <a:pt x="38" y="399"/>
                  </a:lnTo>
                  <a:lnTo>
                    <a:pt x="38" y="398"/>
                  </a:lnTo>
                  <a:lnTo>
                    <a:pt x="39" y="398"/>
                  </a:lnTo>
                  <a:lnTo>
                    <a:pt x="41" y="396"/>
                  </a:lnTo>
                  <a:lnTo>
                    <a:pt x="42" y="396"/>
                  </a:lnTo>
                  <a:lnTo>
                    <a:pt x="43" y="395"/>
                  </a:lnTo>
                  <a:lnTo>
                    <a:pt x="44" y="395"/>
                  </a:lnTo>
                  <a:lnTo>
                    <a:pt x="43" y="394"/>
                  </a:lnTo>
                  <a:lnTo>
                    <a:pt x="43" y="395"/>
                  </a:lnTo>
                  <a:lnTo>
                    <a:pt x="42" y="395"/>
                  </a:lnTo>
                  <a:lnTo>
                    <a:pt x="42" y="396"/>
                  </a:lnTo>
                  <a:lnTo>
                    <a:pt x="41" y="396"/>
                  </a:lnTo>
                  <a:lnTo>
                    <a:pt x="39" y="398"/>
                  </a:lnTo>
                  <a:lnTo>
                    <a:pt x="39" y="396"/>
                  </a:lnTo>
                  <a:lnTo>
                    <a:pt x="38" y="396"/>
                  </a:lnTo>
                  <a:lnTo>
                    <a:pt x="39" y="395"/>
                  </a:lnTo>
                  <a:lnTo>
                    <a:pt x="41" y="395"/>
                  </a:lnTo>
                  <a:lnTo>
                    <a:pt x="41" y="394"/>
                  </a:lnTo>
                  <a:lnTo>
                    <a:pt x="41" y="395"/>
                  </a:lnTo>
                  <a:lnTo>
                    <a:pt x="42" y="394"/>
                  </a:lnTo>
                  <a:lnTo>
                    <a:pt x="42" y="393"/>
                  </a:lnTo>
                  <a:lnTo>
                    <a:pt x="43" y="393"/>
                  </a:lnTo>
                  <a:lnTo>
                    <a:pt x="43" y="392"/>
                  </a:lnTo>
                  <a:lnTo>
                    <a:pt x="44" y="392"/>
                  </a:lnTo>
                  <a:lnTo>
                    <a:pt x="44" y="391"/>
                  </a:lnTo>
                  <a:lnTo>
                    <a:pt x="45" y="391"/>
                  </a:lnTo>
                  <a:lnTo>
                    <a:pt x="45" y="392"/>
                  </a:lnTo>
                  <a:lnTo>
                    <a:pt x="46" y="392"/>
                  </a:lnTo>
                  <a:lnTo>
                    <a:pt x="46" y="393"/>
                  </a:lnTo>
                  <a:lnTo>
                    <a:pt x="48" y="393"/>
                  </a:lnTo>
                  <a:close/>
                  <a:moveTo>
                    <a:pt x="41" y="394"/>
                  </a:moveTo>
                  <a:lnTo>
                    <a:pt x="39" y="394"/>
                  </a:lnTo>
                  <a:lnTo>
                    <a:pt x="39" y="393"/>
                  </a:lnTo>
                  <a:lnTo>
                    <a:pt x="41" y="393"/>
                  </a:lnTo>
                  <a:lnTo>
                    <a:pt x="42" y="392"/>
                  </a:lnTo>
                  <a:lnTo>
                    <a:pt x="42" y="391"/>
                  </a:lnTo>
                  <a:lnTo>
                    <a:pt x="43" y="391"/>
                  </a:lnTo>
                  <a:lnTo>
                    <a:pt x="43" y="392"/>
                  </a:lnTo>
                  <a:lnTo>
                    <a:pt x="42" y="392"/>
                  </a:lnTo>
                  <a:lnTo>
                    <a:pt x="42" y="393"/>
                  </a:lnTo>
                  <a:lnTo>
                    <a:pt x="41" y="394"/>
                  </a:lnTo>
                  <a:close/>
                  <a:moveTo>
                    <a:pt x="625" y="391"/>
                  </a:moveTo>
                  <a:lnTo>
                    <a:pt x="625" y="392"/>
                  </a:lnTo>
                  <a:lnTo>
                    <a:pt x="624" y="392"/>
                  </a:lnTo>
                  <a:lnTo>
                    <a:pt x="624" y="391"/>
                  </a:lnTo>
                  <a:lnTo>
                    <a:pt x="622" y="391"/>
                  </a:lnTo>
                  <a:lnTo>
                    <a:pt x="624" y="391"/>
                  </a:lnTo>
                  <a:lnTo>
                    <a:pt x="625" y="391"/>
                  </a:lnTo>
                  <a:close/>
                  <a:moveTo>
                    <a:pt x="910" y="388"/>
                  </a:moveTo>
                  <a:lnTo>
                    <a:pt x="911" y="388"/>
                  </a:lnTo>
                  <a:lnTo>
                    <a:pt x="911" y="389"/>
                  </a:lnTo>
                  <a:lnTo>
                    <a:pt x="910" y="389"/>
                  </a:lnTo>
                  <a:lnTo>
                    <a:pt x="909" y="389"/>
                  </a:lnTo>
                  <a:lnTo>
                    <a:pt x="907" y="389"/>
                  </a:lnTo>
                  <a:lnTo>
                    <a:pt x="907" y="388"/>
                  </a:lnTo>
                  <a:lnTo>
                    <a:pt x="909" y="388"/>
                  </a:lnTo>
                  <a:lnTo>
                    <a:pt x="910" y="388"/>
                  </a:lnTo>
                  <a:close/>
                  <a:moveTo>
                    <a:pt x="28" y="388"/>
                  </a:moveTo>
                  <a:lnTo>
                    <a:pt x="29" y="388"/>
                  </a:lnTo>
                  <a:lnTo>
                    <a:pt x="28" y="388"/>
                  </a:lnTo>
                  <a:close/>
                  <a:moveTo>
                    <a:pt x="46" y="391"/>
                  </a:moveTo>
                  <a:lnTo>
                    <a:pt x="45" y="391"/>
                  </a:lnTo>
                  <a:lnTo>
                    <a:pt x="44" y="391"/>
                  </a:lnTo>
                  <a:lnTo>
                    <a:pt x="45" y="389"/>
                  </a:lnTo>
                  <a:lnTo>
                    <a:pt x="46" y="389"/>
                  </a:lnTo>
                  <a:lnTo>
                    <a:pt x="46" y="388"/>
                  </a:lnTo>
                  <a:lnTo>
                    <a:pt x="48" y="388"/>
                  </a:lnTo>
                  <a:lnTo>
                    <a:pt x="48" y="387"/>
                  </a:lnTo>
                  <a:lnTo>
                    <a:pt x="48" y="388"/>
                  </a:lnTo>
                  <a:lnTo>
                    <a:pt x="48" y="389"/>
                  </a:lnTo>
                  <a:lnTo>
                    <a:pt x="48" y="391"/>
                  </a:lnTo>
                  <a:lnTo>
                    <a:pt x="46" y="391"/>
                  </a:lnTo>
                  <a:close/>
                  <a:moveTo>
                    <a:pt x="628" y="388"/>
                  </a:moveTo>
                  <a:lnTo>
                    <a:pt x="628" y="387"/>
                  </a:lnTo>
                  <a:lnTo>
                    <a:pt x="628" y="388"/>
                  </a:lnTo>
                  <a:close/>
                  <a:moveTo>
                    <a:pt x="34" y="387"/>
                  </a:moveTo>
                  <a:lnTo>
                    <a:pt x="35" y="388"/>
                  </a:lnTo>
                  <a:lnTo>
                    <a:pt x="35" y="389"/>
                  </a:lnTo>
                  <a:lnTo>
                    <a:pt x="36" y="389"/>
                  </a:lnTo>
                  <a:lnTo>
                    <a:pt x="36" y="391"/>
                  </a:lnTo>
                  <a:lnTo>
                    <a:pt x="36" y="392"/>
                  </a:lnTo>
                  <a:lnTo>
                    <a:pt x="35" y="392"/>
                  </a:lnTo>
                  <a:lnTo>
                    <a:pt x="35" y="393"/>
                  </a:lnTo>
                  <a:lnTo>
                    <a:pt x="34" y="393"/>
                  </a:lnTo>
                  <a:lnTo>
                    <a:pt x="32" y="393"/>
                  </a:lnTo>
                  <a:lnTo>
                    <a:pt x="32" y="392"/>
                  </a:lnTo>
                  <a:lnTo>
                    <a:pt x="31" y="392"/>
                  </a:lnTo>
                  <a:lnTo>
                    <a:pt x="32" y="392"/>
                  </a:lnTo>
                  <a:lnTo>
                    <a:pt x="32" y="391"/>
                  </a:lnTo>
                  <a:lnTo>
                    <a:pt x="31" y="391"/>
                  </a:lnTo>
                  <a:lnTo>
                    <a:pt x="32" y="391"/>
                  </a:lnTo>
                  <a:lnTo>
                    <a:pt x="31" y="391"/>
                  </a:lnTo>
                  <a:lnTo>
                    <a:pt x="30" y="389"/>
                  </a:lnTo>
                  <a:lnTo>
                    <a:pt x="30" y="388"/>
                  </a:lnTo>
                  <a:lnTo>
                    <a:pt x="31" y="388"/>
                  </a:lnTo>
                  <a:lnTo>
                    <a:pt x="30" y="388"/>
                  </a:lnTo>
                  <a:lnTo>
                    <a:pt x="30" y="387"/>
                  </a:lnTo>
                  <a:lnTo>
                    <a:pt x="31" y="386"/>
                  </a:lnTo>
                  <a:lnTo>
                    <a:pt x="32" y="386"/>
                  </a:lnTo>
                  <a:lnTo>
                    <a:pt x="32" y="387"/>
                  </a:lnTo>
                  <a:lnTo>
                    <a:pt x="34" y="387"/>
                  </a:lnTo>
                  <a:close/>
                  <a:moveTo>
                    <a:pt x="897" y="385"/>
                  </a:moveTo>
                  <a:lnTo>
                    <a:pt x="896" y="386"/>
                  </a:lnTo>
                  <a:lnTo>
                    <a:pt x="895" y="386"/>
                  </a:lnTo>
                  <a:lnTo>
                    <a:pt x="896" y="386"/>
                  </a:lnTo>
                  <a:lnTo>
                    <a:pt x="896" y="385"/>
                  </a:lnTo>
                  <a:lnTo>
                    <a:pt x="897" y="385"/>
                  </a:lnTo>
                  <a:close/>
                  <a:moveTo>
                    <a:pt x="50" y="387"/>
                  </a:moveTo>
                  <a:lnTo>
                    <a:pt x="49" y="387"/>
                  </a:lnTo>
                  <a:lnTo>
                    <a:pt x="46" y="388"/>
                  </a:lnTo>
                  <a:lnTo>
                    <a:pt x="45" y="389"/>
                  </a:lnTo>
                  <a:lnTo>
                    <a:pt x="44" y="389"/>
                  </a:lnTo>
                  <a:lnTo>
                    <a:pt x="44" y="391"/>
                  </a:lnTo>
                  <a:lnTo>
                    <a:pt x="44" y="389"/>
                  </a:lnTo>
                  <a:lnTo>
                    <a:pt x="45" y="389"/>
                  </a:lnTo>
                  <a:lnTo>
                    <a:pt x="45" y="388"/>
                  </a:lnTo>
                  <a:lnTo>
                    <a:pt x="46" y="388"/>
                  </a:lnTo>
                  <a:lnTo>
                    <a:pt x="46" y="387"/>
                  </a:lnTo>
                  <a:lnTo>
                    <a:pt x="48" y="386"/>
                  </a:lnTo>
                  <a:lnTo>
                    <a:pt x="49" y="386"/>
                  </a:lnTo>
                  <a:lnTo>
                    <a:pt x="50" y="385"/>
                  </a:lnTo>
                  <a:lnTo>
                    <a:pt x="51" y="385"/>
                  </a:lnTo>
                  <a:lnTo>
                    <a:pt x="52" y="385"/>
                  </a:lnTo>
                  <a:lnTo>
                    <a:pt x="51" y="386"/>
                  </a:lnTo>
                  <a:lnTo>
                    <a:pt x="50" y="386"/>
                  </a:lnTo>
                  <a:lnTo>
                    <a:pt x="50" y="387"/>
                  </a:lnTo>
                  <a:close/>
                  <a:moveTo>
                    <a:pt x="36" y="387"/>
                  </a:moveTo>
                  <a:lnTo>
                    <a:pt x="35" y="387"/>
                  </a:lnTo>
                  <a:lnTo>
                    <a:pt x="34" y="387"/>
                  </a:lnTo>
                  <a:lnTo>
                    <a:pt x="34" y="386"/>
                  </a:lnTo>
                  <a:lnTo>
                    <a:pt x="34" y="385"/>
                  </a:lnTo>
                  <a:lnTo>
                    <a:pt x="35" y="385"/>
                  </a:lnTo>
                  <a:lnTo>
                    <a:pt x="36" y="384"/>
                  </a:lnTo>
                  <a:lnTo>
                    <a:pt x="36" y="385"/>
                  </a:lnTo>
                  <a:lnTo>
                    <a:pt x="36" y="386"/>
                  </a:lnTo>
                  <a:lnTo>
                    <a:pt x="36" y="387"/>
                  </a:lnTo>
                  <a:close/>
                  <a:moveTo>
                    <a:pt x="898" y="384"/>
                  </a:moveTo>
                  <a:lnTo>
                    <a:pt x="899" y="384"/>
                  </a:lnTo>
                  <a:lnTo>
                    <a:pt x="899" y="385"/>
                  </a:lnTo>
                  <a:lnTo>
                    <a:pt x="898" y="385"/>
                  </a:lnTo>
                  <a:lnTo>
                    <a:pt x="898" y="384"/>
                  </a:lnTo>
                  <a:close/>
                  <a:moveTo>
                    <a:pt x="34" y="384"/>
                  </a:moveTo>
                  <a:lnTo>
                    <a:pt x="34" y="385"/>
                  </a:lnTo>
                  <a:lnTo>
                    <a:pt x="32" y="385"/>
                  </a:lnTo>
                  <a:lnTo>
                    <a:pt x="34" y="384"/>
                  </a:lnTo>
                  <a:lnTo>
                    <a:pt x="32" y="384"/>
                  </a:lnTo>
                  <a:lnTo>
                    <a:pt x="34" y="384"/>
                  </a:lnTo>
                  <a:close/>
                  <a:moveTo>
                    <a:pt x="41" y="386"/>
                  </a:moveTo>
                  <a:lnTo>
                    <a:pt x="41" y="387"/>
                  </a:lnTo>
                  <a:lnTo>
                    <a:pt x="41" y="388"/>
                  </a:lnTo>
                  <a:lnTo>
                    <a:pt x="39" y="388"/>
                  </a:lnTo>
                  <a:lnTo>
                    <a:pt x="41" y="388"/>
                  </a:lnTo>
                  <a:lnTo>
                    <a:pt x="42" y="388"/>
                  </a:lnTo>
                  <a:lnTo>
                    <a:pt x="42" y="389"/>
                  </a:lnTo>
                  <a:lnTo>
                    <a:pt x="42" y="391"/>
                  </a:lnTo>
                  <a:lnTo>
                    <a:pt x="41" y="392"/>
                  </a:lnTo>
                  <a:lnTo>
                    <a:pt x="39" y="392"/>
                  </a:lnTo>
                  <a:lnTo>
                    <a:pt x="41" y="392"/>
                  </a:lnTo>
                  <a:lnTo>
                    <a:pt x="41" y="391"/>
                  </a:lnTo>
                  <a:lnTo>
                    <a:pt x="39" y="391"/>
                  </a:lnTo>
                  <a:lnTo>
                    <a:pt x="39" y="392"/>
                  </a:lnTo>
                  <a:lnTo>
                    <a:pt x="39" y="391"/>
                  </a:lnTo>
                  <a:lnTo>
                    <a:pt x="39" y="392"/>
                  </a:lnTo>
                  <a:lnTo>
                    <a:pt x="38" y="392"/>
                  </a:lnTo>
                  <a:lnTo>
                    <a:pt x="38" y="393"/>
                  </a:lnTo>
                  <a:lnTo>
                    <a:pt x="37" y="393"/>
                  </a:lnTo>
                  <a:lnTo>
                    <a:pt x="37" y="392"/>
                  </a:lnTo>
                  <a:lnTo>
                    <a:pt x="37" y="391"/>
                  </a:lnTo>
                  <a:lnTo>
                    <a:pt x="36" y="391"/>
                  </a:lnTo>
                  <a:lnTo>
                    <a:pt x="36" y="389"/>
                  </a:lnTo>
                  <a:lnTo>
                    <a:pt x="37" y="389"/>
                  </a:lnTo>
                  <a:lnTo>
                    <a:pt x="37" y="388"/>
                  </a:lnTo>
                  <a:lnTo>
                    <a:pt x="36" y="388"/>
                  </a:lnTo>
                  <a:lnTo>
                    <a:pt x="37" y="388"/>
                  </a:lnTo>
                  <a:lnTo>
                    <a:pt x="37" y="387"/>
                  </a:lnTo>
                  <a:lnTo>
                    <a:pt x="38" y="387"/>
                  </a:lnTo>
                  <a:lnTo>
                    <a:pt x="37" y="387"/>
                  </a:lnTo>
                  <a:lnTo>
                    <a:pt x="38" y="387"/>
                  </a:lnTo>
                  <a:lnTo>
                    <a:pt x="38" y="386"/>
                  </a:lnTo>
                  <a:lnTo>
                    <a:pt x="37" y="387"/>
                  </a:lnTo>
                  <a:lnTo>
                    <a:pt x="36" y="387"/>
                  </a:lnTo>
                  <a:lnTo>
                    <a:pt x="37" y="386"/>
                  </a:lnTo>
                  <a:lnTo>
                    <a:pt x="38" y="386"/>
                  </a:lnTo>
                  <a:lnTo>
                    <a:pt x="37" y="386"/>
                  </a:lnTo>
                  <a:lnTo>
                    <a:pt x="36" y="386"/>
                  </a:lnTo>
                  <a:lnTo>
                    <a:pt x="37" y="386"/>
                  </a:lnTo>
                  <a:lnTo>
                    <a:pt x="37" y="385"/>
                  </a:lnTo>
                  <a:lnTo>
                    <a:pt x="36" y="385"/>
                  </a:lnTo>
                  <a:lnTo>
                    <a:pt x="37" y="384"/>
                  </a:lnTo>
                  <a:lnTo>
                    <a:pt x="36" y="384"/>
                  </a:lnTo>
                  <a:lnTo>
                    <a:pt x="37" y="382"/>
                  </a:lnTo>
                  <a:lnTo>
                    <a:pt x="38" y="382"/>
                  </a:lnTo>
                  <a:lnTo>
                    <a:pt x="39" y="382"/>
                  </a:lnTo>
                  <a:lnTo>
                    <a:pt x="39" y="384"/>
                  </a:lnTo>
                  <a:lnTo>
                    <a:pt x="41" y="384"/>
                  </a:lnTo>
                  <a:lnTo>
                    <a:pt x="41" y="385"/>
                  </a:lnTo>
                  <a:lnTo>
                    <a:pt x="41" y="386"/>
                  </a:lnTo>
                  <a:close/>
                  <a:moveTo>
                    <a:pt x="629" y="382"/>
                  </a:moveTo>
                  <a:lnTo>
                    <a:pt x="629" y="381"/>
                  </a:lnTo>
                  <a:lnTo>
                    <a:pt x="629" y="382"/>
                  </a:lnTo>
                  <a:close/>
                  <a:moveTo>
                    <a:pt x="38" y="380"/>
                  </a:moveTo>
                  <a:lnTo>
                    <a:pt x="38" y="381"/>
                  </a:lnTo>
                  <a:lnTo>
                    <a:pt x="37" y="382"/>
                  </a:lnTo>
                  <a:lnTo>
                    <a:pt x="36" y="382"/>
                  </a:lnTo>
                  <a:lnTo>
                    <a:pt x="36" y="384"/>
                  </a:lnTo>
                  <a:lnTo>
                    <a:pt x="35" y="384"/>
                  </a:lnTo>
                  <a:lnTo>
                    <a:pt x="35" y="382"/>
                  </a:lnTo>
                  <a:lnTo>
                    <a:pt x="35" y="384"/>
                  </a:lnTo>
                  <a:lnTo>
                    <a:pt x="34" y="384"/>
                  </a:lnTo>
                  <a:lnTo>
                    <a:pt x="35" y="382"/>
                  </a:lnTo>
                  <a:lnTo>
                    <a:pt x="36" y="381"/>
                  </a:lnTo>
                  <a:lnTo>
                    <a:pt x="37" y="381"/>
                  </a:lnTo>
                  <a:lnTo>
                    <a:pt x="38" y="381"/>
                  </a:lnTo>
                  <a:lnTo>
                    <a:pt x="37" y="381"/>
                  </a:lnTo>
                  <a:lnTo>
                    <a:pt x="36" y="381"/>
                  </a:lnTo>
                  <a:lnTo>
                    <a:pt x="35" y="382"/>
                  </a:lnTo>
                  <a:lnTo>
                    <a:pt x="35" y="381"/>
                  </a:lnTo>
                  <a:lnTo>
                    <a:pt x="34" y="381"/>
                  </a:lnTo>
                  <a:lnTo>
                    <a:pt x="32" y="381"/>
                  </a:lnTo>
                  <a:lnTo>
                    <a:pt x="32" y="382"/>
                  </a:lnTo>
                  <a:lnTo>
                    <a:pt x="32" y="384"/>
                  </a:lnTo>
                  <a:lnTo>
                    <a:pt x="32" y="382"/>
                  </a:lnTo>
                  <a:lnTo>
                    <a:pt x="31" y="382"/>
                  </a:lnTo>
                  <a:lnTo>
                    <a:pt x="32" y="382"/>
                  </a:lnTo>
                  <a:lnTo>
                    <a:pt x="32" y="381"/>
                  </a:lnTo>
                  <a:lnTo>
                    <a:pt x="34" y="381"/>
                  </a:lnTo>
                  <a:lnTo>
                    <a:pt x="35" y="381"/>
                  </a:lnTo>
                  <a:lnTo>
                    <a:pt x="35" y="380"/>
                  </a:lnTo>
                  <a:lnTo>
                    <a:pt x="36" y="380"/>
                  </a:lnTo>
                  <a:lnTo>
                    <a:pt x="37" y="380"/>
                  </a:lnTo>
                  <a:lnTo>
                    <a:pt x="38" y="379"/>
                  </a:lnTo>
                  <a:lnTo>
                    <a:pt x="38" y="380"/>
                  </a:lnTo>
                  <a:close/>
                  <a:moveTo>
                    <a:pt x="9" y="378"/>
                  </a:moveTo>
                  <a:lnTo>
                    <a:pt x="9" y="379"/>
                  </a:lnTo>
                  <a:lnTo>
                    <a:pt x="10" y="379"/>
                  </a:lnTo>
                  <a:lnTo>
                    <a:pt x="11" y="379"/>
                  </a:lnTo>
                  <a:lnTo>
                    <a:pt x="13" y="379"/>
                  </a:lnTo>
                  <a:lnTo>
                    <a:pt x="13" y="380"/>
                  </a:lnTo>
                  <a:lnTo>
                    <a:pt x="11" y="380"/>
                  </a:lnTo>
                  <a:lnTo>
                    <a:pt x="10" y="381"/>
                  </a:lnTo>
                  <a:lnTo>
                    <a:pt x="9" y="381"/>
                  </a:lnTo>
                  <a:lnTo>
                    <a:pt x="10" y="381"/>
                  </a:lnTo>
                  <a:lnTo>
                    <a:pt x="11" y="381"/>
                  </a:lnTo>
                  <a:lnTo>
                    <a:pt x="11" y="380"/>
                  </a:lnTo>
                  <a:lnTo>
                    <a:pt x="13" y="380"/>
                  </a:lnTo>
                  <a:lnTo>
                    <a:pt x="14" y="380"/>
                  </a:lnTo>
                  <a:lnTo>
                    <a:pt x="14" y="379"/>
                  </a:lnTo>
                  <a:lnTo>
                    <a:pt x="15" y="379"/>
                  </a:lnTo>
                  <a:lnTo>
                    <a:pt x="16" y="379"/>
                  </a:lnTo>
                  <a:lnTo>
                    <a:pt x="16" y="380"/>
                  </a:lnTo>
                  <a:lnTo>
                    <a:pt x="16" y="381"/>
                  </a:lnTo>
                  <a:lnTo>
                    <a:pt x="16" y="382"/>
                  </a:lnTo>
                  <a:lnTo>
                    <a:pt x="15" y="382"/>
                  </a:lnTo>
                  <a:lnTo>
                    <a:pt x="15" y="384"/>
                  </a:lnTo>
                  <a:lnTo>
                    <a:pt x="14" y="384"/>
                  </a:lnTo>
                  <a:lnTo>
                    <a:pt x="13" y="384"/>
                  </a:lnTo>
                  <a:lnTo>
                    <a:pt x="13" y="385"/>
                  </a:lnTo>
                  <a:lnTo>
                    <a:pt x="10" y="385"/>
                  </a:lnTo>
                  <a:lnTo>
                    <a:pt x="9" y="385"/>
                  </a:lnTo>
                  <a:lnTo>
                    <a:pt x="8" y="385"/>
                  </a:lnTo>
                  <a:lnTo>
                    <a:pt x="7" y="385"/>
                  </a:lnTo>
                  <a:lnTo>
                    <a:pt x="7" y="386"/>
                  </a:lnTo>
                  <a:lnTo>
                    <a:pt x="8" y="386"/>
                  </a:lnTo>
                  <a:lnTo>
                    <a:pt x="9" y="386"/>
                  </a:lnTo>
                  <a:lnTo>
                    <a:pt x="10" y="386"/>
                  </a:lnTo>
                  <a:lnTo>
                    <a:pt x="9" y="386"/>
                  </a:lnTo>
                  <a:lnTo>
                    <a:pt x="8" y="387"/>
                  </a:lnTo>
                  <a:lnTo>
                    <a:pt x="7" y="387"/>
                  </a:lnTo>
                  <a:lnTo>
                    <a:pt x="8" y="387"/>
                  </a:lnTo>
                  <a:lnTo>
                    <a:pt x="9" y="386"/>
                  </a:lnTo>
                  <a:lnTo>
                    <a:pt x="9" y="387"/>
                  </a:lnTo>
                  <a:lnTo>
                    <a:pt x="10" y="386"/>
                  </a:lnTo>
                  <a:lnTo>
                    <a:pt x="11" y="386"/>
                  </a:lnTo>
                  <a:lnTo>
                    <a:pt x="13" y="385"/>
                  </a:lnTo>
                  <a:lnTo>
                    <a:pt x="13" y="384"/>
                  </a:lnTo>
                  <a:lnTo>
                    <a:pt x="14" y="384"/>
                  </a:lnTo>
                  <a:lnTo>
                    <a:pt x="15" y="384"/>
                  </a:lnTo>
                  <a:lnTo>
                    <a:pt x="16" y="382"/>
                  </a:lnTo>
                  <a:lnTo>
                    <a:pt x="16" y="381"/>
                  </a:lnTo>
                  <a:lnTo>
                    <a:pt x="17" y="380"/>
                  </a:lnTo>
                  <a:lnTo>
                    <a:pt x="16" y="380"/>
                  </a:lnTo>
                  <a:lnTo>
                    <a:pt x="17" y="380"/>
                  </a:lnTo>
                  <a:lnTo>
                    <a:pt x="18" y="380"/>
                  </a:lnTo>
                  <a:lnTo>
                    <a:pt x="20" y="380"/>
                  </a:lnTo>
                  <a:lnTo>
                    <a:pt x="21" y="380"/>
                  </a:lnTo>
                  <a:lnTo>
                    <a:pt x="22" y="380"/>
                  </a:lnTo>
                  <a:lnTo>
                    <a:pt x="22" y="379"/>
                  </a:lnTo>
                  <a:lnTo>
                    <a:pt x="23" y="379"/>
                  </a:lnTo>
                  <a:lnTo>
                    <a:pt x="24" y="379"/>
                  </a:lnTo>
                  <a:lnTo>
                    <a:pt x="24" y="378"/>
                  </a:lnTo>
                  <a:lnTo>
                    <a:pt x="24" y="379"/>
                  </a:lnTo>
                  <a:lnTo>
                    <a:pt x="23" y="379"/>
                  </a:lnTo>
                  <a:lnTo>
                    <a:pt x="23" y="380"/>
                  </a:lnTo>
                  <a:lnTo>
                    <a:pt x="22" y="380"/>
                  </a:lnTo>
                  <a:lnTo>
                    <a:pt x="22" y="381"/>
                  </a:lnTo>
                  <a:lnTo>
                    <a:pt x="21" y="381"/>
                  </a:lnTo>
                  <a:lnTo>
                    <a:pt x="20" y="382"/>
                  </a:lnTo>
                  <a:lnTo>
                    <a:pt x="18" y="382"/>
                  </a:lnTo>
                  <a:lnTo>
                    <a:pt x="17" y="384"/>
                  </a:lnTo>
                  <a:lnTo>
                    <a:pt x="17" y="385"/>
                  </a:lnTo>
                  <a:lnTo>
                    <a:pt x="16" y="385"/>
                  </a:lnTo>
                  <a:lnTo>
                    <a:pt x="15" y="386"/>
                  </a:lnTo>
                  <a:lnTo>
                    <a:pt x="14" y="386"/>
                  </a:lnTo>
                  <a:lnTo>
                    <a:pt x="14" y="387"/>
                  </a:lnTo>
                  <a:lnTo>
                    <a:pt x="13" y="388"/>
                  </a:lnTo>
                  <a:lnTo>
                    <a:pt x="13" y="389"/>
                  </a:lnTo>
                  <a:lnTo>
                    <a:pt x="11" y="389"/>
                  </a:lnTo>
                  <a:lnTo>
                    <a:pt x="11" y="391"/>
                  </a:lnTo>
                  <a:lnTo>
                    <a:pt x="10" y="391"/>
                  </a:lnTo>
                  <a:lnTo>
                    <a:pt x="9" y="392"/>
                  </a:lnTo>
                  <a:lnTo>
                    <a:pt x="8" y="392"/>
                  </a:lnTo>
                  <a:lnTo>
                    <a:pt x="7" y="392"/>
                  </a:lnTo>
                  <a:lnTo>
                    <a:pt x="6" y="392"/>
                  </a:lnTo>
                  <a:lnTo>
                    <a:pt x="6" y="393"/>
                  </a:lnTo>
                  <a:lnTo>
                    <a:pt x="7" y="393"/>
                  </a:lnTo>
                  <a:lnTo>
                    <a:pt x="6" y="393"/>
                  </a:lnTo>
                  <a:lnTo>
                    <a:pt x="4" y="393"/>
                  </a:lnTo>
                  <a:lnTo>
                    <a:pt x="3" y="393"/>
                  </a:lnTo>
                  <a:lnTo>
                    <a:pt x="3" y="394"/>
                  </a:lnTo>
                  <a:lnTo>
                    <a:pt x="2" y="394"/>
                  </a:lnTo>
                  <a:lnTo>
                    <a:pt x="2" y="393"/>
                  </a:lnTo>
                  <a:lnTo>
                    <a:pt x="1" y="393"/>
                  </a:lnTo>
                  <a:lnTo>
                    <a:pt x="2" y="393"/>
                  </a:lnTo>
                  <a:lnTo>
                    <a:pt x="2" y="392"/>
                  </a:lnTo>
                  <a:lnTo>
                    <a:pt x="1" y="392"/>
                  </a:lnTo>
                  <a:lnTo>
                    <a:pt x="2" y="392"/>
                  </a:lnTo>
                  <a:lnTo>
                    <a:pt x="2" y="391"/>
                  </a:lnTo>
                  <a:lnTo>
                    <a:pt x="3" y="391"/>
                  </a:lnTo>
                  <a:lnTo>
                    <a:pt x="1" y="391"/>
                  </a:lnTo>
                  <a:lnTo>
                    <a:pt x="2" y="391"/>
                  </a:lnTo>
                  <a:lnTo>
                    <a:pt x="4" y="391"/>
                  </a:lnTo>
                  <a:lnTo>
                    <a:pt x="4" y="392"/>
                  </a:lnTo>
                  <a:lnTo>
                    <a:pt x="6" y="391"/>
                  </a:lnTo>
                  <a:lnTo>
                    <a:pt x="4" y="391"/>
                  </a:lnTo>
                  <a:lnTo>
                    <a:pt x="4" y="389"/>
                  </a:lnTo>
                  <a:lnTo>
                    <a:pt x="3" y="389"/>
                  </a:lnTo>
                  <a:lnTo>
                    <a:pt x="4" y="388"/>
                  </a:lnTo>
                  <a:lnTo>
                    <a:pt x="3" y="389"/>
                  </a:lnTo>
                  <a:lnTo>
                    <a:pt x="2" y="389"/>
                  </a:lnTo>
                  <a:lnTo>
                    <a:pt x="2" y="388"/>
                  </a:lnTo>
                  <a:lnTo>
                    <a:pt x="3" y="388"/>
                  </a:lnTo>
                  <a:lnTo>
                    <a:pt x="2" y="388"/>
                  </a:lnTo>
                  <a:lnTo>
                    <a:pt x="1" y="388"/>
                  </a:lnTo>
                  <a:lnTo>
                    <a:pt x="2" y="388"/>
                  </a:lnTo>
                  <a:lnTo>
                    <a:pt x="1" y="388"/>
                  </a:lnTo>
                  <a:lnTo>
                    <a:pt x="2" y="387"/>
                  </a:lnTo>
                  <a:lnTo>
                    <a:pt x="1" y="387"/>
                  </a:lnTo>
                  <a:lnTo>
                    <a:pt x="2" y="387"/>
                  </a:lnTo>
                  <a:lnTo>
                    <a:pt x="3" y="386"/>
                  </a:lnTo>
                  <a:lnTo>
                    <a:pt x="2" y="386"/>
                  </a:lnTo>
                  <a:lnTo>
                    <a:pt x="3" y="386"/>
                  </a:lnTo>
                  <a:lnTo>
                    <a:pt x="3" y="385"/>
                  </a:lnTo>
                  <a:lnTo>
                    <a:pt x="2" y="384"/>
                  </a:lnTo>
                  <a:lnTo>
                    <a:pt x="3" y="384"/>
                  </a:lnTo>
                  <a:lnTo>
                    <a:pt x="3" y="382"/>
                  </a:lnTo>
                  <a:lnTo>
                    <a:pt x="4" y="381"/>
                  </a:lnTo>
                  <a:lnTo>
                    <a:pt x="6" y="381"/>
                  </a:lnTo>
                  <a:lnTo>
                    <a:pt x="6" y="380"/>
                  </a:lnTo>
                  <a:lnTo>
                    <a:pt x="7" y="380"/>
                  </a:lnTo>
                  <a:lnTo>
                    <a:pt x="7" y="379"/>
                  </a:lnTo>
                  <a:lnTo>
                    <a:pt x="8" y="379"/>
                  </a:lnTo>
                  <a:lnTo>
                    <a:pt x="8" y="378"/>
                  </a:lnTo>
                  <a:lnTo>
                    <a:pt x="9" y="378"/>
                  </a:lnTo>
                  <a:close/>
                  <a:moveTo>
                    <a:pt x="41" y="379"/>
                  </a:moveTo>
                  <a:lnTo>
                    <a:pt x="41" y="378"/>
                  </a:lnTo>
                  <a:lnTo>
                    <a:pt x="42" y="378"/>
                  </a:lnTo>
                  <a:lnTo>
                    <a:pt x="42" y="379"/>
                  </a:lnTo>
                  <a:lnTo>
                    <a:pt x="41" y="379"/>
                  </a:lnTo>
                  <a:close/>
                  <a:moveTo>
                    <a:pt x="36" y="379"/>
                  </a:moveTo>
                  <a:lnTo>
                    <a:pt x="35" y="379"/>
                  </a:lnTo>
                  <a:lnTo>
                    <a:pt x="35" y="378"/>
                  </a:lnTo>
                  <a:lnTo>
                    <a:pt x="36" y="378"/>
                  </a:lnTo>
                  <a:lnTo>
                    <a:pt x="36" y="379"/>
                  </a:lnTo>
                  <a:close/>
                  <a:moveTo>
                    <a:pt x="9" y="378"/>
                  </a:moveTo>
                  <a:lnTo>
                    <a:pt x="8" y="378"/>
                  </a:lnTo>
                  <a:lnTo>
                    <a:pt x="9" y="377"/>
                  </a:lnTo>
                  <a:lnTo>
                    <a:pt x="10" y="377"/>
                  </a:lnTo>
                  <a:lnTo>
                    <a:pt x="10" y="378"/>
                  </a:lnTo>
                  <a:lnTo>
                    <a:pt x="9" y="378"/>
                  </a:lnTo>
                  <a:close/>
                  <a:moveTo>
                    <a:pt x="897" y="377"/>
                  </a:moveTo>
                  <a:lnTo>
                    <a:pt x="896" y="377"/>
                  </a:lnTo>
                  <a:lnTo>
                    <a:pt x="897" y="377"/>
                  </a:lnTo>
                  <a:close/>
                  <a:moveTo>
                    <a:pt x="41" y="377"/>
                  </a:moveTo>
                  <a:lnTo>
                    <a:pt x="41" y="375"/>
                  </a:lnTo>
                  <a:lnTo>
                    <a:pt x="41" y="377"/>
                  </a:lnTo>
                  <a:close/>
                  <a:moveTo>
                    <a:pt x="42" y="377"/>
                  </a:moveTo>
                  <a:lnTo>
                    <a:pt x="41" y="377"/>
                  </a:lnTo>
                  <a:lnTo>
                    <a:pt x="42" y="377"/>
                  </a:lnTo>
                  <a:lnTo>
                    <a:pt x="42" y="375"/>
                  </a:lnTo>
                  <a:lnTo>
                    <a:pt x="43" y="375"/>
                  </a:lnTo>
                  <a:lnTo>
                    <a:pt x="43" y="377"/>
                  </a:lnTo>
                  <a:lnTo>
                    <a:pt x="42" y="377"/>
                  </a:lnTo>
                  <a:close/>
                  <a:moveTo>
                    <a:pt x="38" y="374"/>
                  </a:moveTo>
                  <a:lnTo>
                    <a:pt x="38" y="375"/>
                  </a:lnTo>
                  <a:lnTo>
                    <a:pt x="37" y="375"/>
                  </a:lnTo>
                  <a:lnTo>
                    <a:pt x="38" y="374"/>
                  </a:lnTo>
                  <a:close/>
                  <a:moveTo>
                    <a:pt x="899" y="374"/>
                  </a:moveTo>
                  <a:lnTo>
                    <a:pt x="898" y="374"/>
                  </a:lnTo>
                  <a:lnTo>
                    <a:pt x="898" y="373"/>
                  </a:lnTo>
                  <a:lnTo>
                    <a:pt x="899" y="373"/>
                  </a:lnTo>
                  <a:lnTo>
                    <a:pt x="899" y="374"/>
                  </a:lnTo>
                  <a:close/>
                  <a:moveTo>
                    <a:pt x="38" y="374"/>
                  </a:moveTo>
                  <a:lnTo>
                    <a:pt x="37" y="374"/>
                  </a:lnTo>
                  <a:lnTo>
                    <a:pt x="38" y="373"/>
                  </a:lnTo>
                  <a:lnTo>
                    <a:pt x="38" y="374"/>
                  </a:lnTo>
                  <a:close/>
                  <a:moveTo>
                    <a:pt x="898" y="373"/>
                  </a:moveTo>
                  <a:lnTo>
                    <a:pt x="897" y="373"/>
                  </a:lnTo>
                  <a:lnTo>
                    <a:pt x="898" y="373"/>
                  </a:lnTo>
                  <a:lnTo>
                    <a:pt x="898" y="372"/>
                  </a:lnTo>
                  <a:lnTo>
                    <a:pt x="899" y="372"/>
                  </a:lnTo>
                  <a:lnTo>
                    <a:pt x="898" y="372"/>
                  </a:lnTo>
                  <a:lnTo>
                    <a:pt x="898" y="373"/>
                  </a:lnTo>
                  <a:lnTo>
                    <a:pt x="899" y="373"/>
                  </a:lnTo>
                  <a:lnTo>
                    <a:pt x="898" y="373"/>
                  </a:lnTo>
                  <a:close/>
                  <a:moveTo>
                    <a:pt x="37" y="372"/>
                  </a:moveTo>
                  <a:lnTo>
                    <a:pt x="36" y="372"/>
                  </a:lnTo>
                  <a:lnTo>
                    <a:pt x="37" y="371"/>
                  </a:lnTo>
                  <a:lnTo>
                    <a:pt x="37" y="372"/>
                  </a:lnTo>
                  <a:close/>
                  <a:moveTo>
                    <a:pt x="41" y="372"/>
                  </a:moveTo>
                  <a:lnTo>
                    <a:pt x="39" y="372"/>
                  </a:lnTo>
                  <a:lnTo>
                    <a:pt x="38" y="373"/>
                  </a:lnTo>
                  <a:lnTo>
                    <a:pt x="36" y="374"/>
                  </a:lnTo>
                  <a:lnTo>
                    <a:pt x="36" y="373"/>
                  </a:lnTo>
                  <a:lnTo>
                    <a:pt x="37" y="373"/>
                  </a:lnTo>
                  <a:lnTo>
                    <a:pt x="37" y="372"/>
                  </a:lnTo>
                  <a:lnTo>
                    <a:pt x="38" y="372"/>
                  </a:lnTo>
                  <a:lnTo>
                    <a:pt x="39" y="371"/>
                  </a:lnTo>
                  <a:lnTo>
                    <a:pt x="39" y="372"/>
                  </a:lnTo>
                  <a:lnTo>
                    <a:pt x="39" y="371"/>
                  </a:lnTo>
                  <a:lnTo>
                    <a:pt x="39" y="372"/>
                  </a:lnTo>
                  <a:lnTo>
                    <a:pt x="41" y="372"/>
                  </a:lnTo>
                  <a:lnTo>
                    <a:pt x="41" y="371"/>
                  </a:lnTo>
                  <a:lnTo>
                    <a:pt x="41" y="372"/>
                  </a:lnTo>
                  <a:close/>
                  <a:moveTo>
                    <a:pt x="45" y="370"/>
                  </a:moveTo>
                  <a:lnTo>
                    <a:pt x="44" y="370"/>
                  </a:lnTo>
                  <a:lnTo>
                    <a:pt x="45" y="370"/>
                  </a:lnTo>
                  <a:lnTo>
                    <a:pt x="46" y="368"/>
                  </a:lnTo>
                  <a:lnTo>
                    <a:pt x="46" y="370"/>
                  </a:lnTo>
                  <a:lnTo>
                    <a:pt x="45" y="370"/>
                  </a:lnTo>
                  <a:close/>
                  <a:moveTo>
                    <a:pt x="49" y="368"/>
                  </a:moveTo>
                  <a:lnTo>
                    <a:pt x="49" y="370"/>
                  </a:lnTo>
                  <a:lnTo>
                    <a:pt x="48" y="370"/>
                  </a:lnTo>
                  <a:lnTo>
                    <a:pt x="46" y="370"/>
                  </a:lnTo>
                  <a:lnTo>
                    <a:pt x="46" y="371"/>
                  </a:lnTo>
                  <a:lnTo>
                    <a:pt x="46" y="370"/>
                  </a:lnTo>
                  <a:lnTo>
                    <a:pt x="48" y="370"/>
                  </a:lnTo>
                  <a:lnTo>
                    <a:pt x="49" y="368"/>
                  </a:lnTo>
                  <a:lnTo>
                    <a:pt x="50" y="368"/>
                  </a:lnTo>
                  <a:lnTo>
                    <a:pt x="49" y="368"/>
                  </a:lnTo>
                  <a:close/>
                  <a:moveTo>
                    <a:pt x="892" y="367"/>
                  </a:moveTo>
                  <a:lnTo>
                    <a:pt x="892" y="368"/>
                  </a:lnTo>
                  <a:lnTo>
                    <a:pt x="893" y="368"/>
                  </a:lnTo>
                  <a:lnTo>
                    <a:pt x="892" y="368"/>
                  </a:lnTo>
                  <a:lnTo>
                    <a:pt x="891" y="370"/>
                  </a:lnTo>
                  <a:lnTo>
                    <a:pt x="890" y="370"/>
                  </a:lnTo>
                  <a:lnTo>
                    <a:pt x="889" y="370"/>
                  </a:lnTo>
                  <a:lnTo>
                    <a:pt x="890" y="368"/>
                  </a:lnTo>
                  <a:lnTo>
                    <a:pt x="889" y="368"/>
                  </a:lnTo>
                  <a:lnTo>
                    <a:pt x="889" y="367"/>
                  </a:lnTo>
                  <a:lnTo>
                    <a:pt x="890" y="367"/>
                  </a:lnTo>
                  <a:lnTo>
                    <a:pt x="890" y="368"/>
                  </a:lnTo>
                  <a:lnTo>
                    <a:pt x="890" y="367"/>
                  </a:lnTo>
                  <a:lnTo>
                    <a:pt x="891" y="367"/>
                  </a:lnTo>
                  <a:lnTo>
                    <a:pt x="892" y="367"/>
                  </a:lnTo>
                  <a:lnTo>
                    <a:pt x="893" y="367"/>
                  </a:lnTo>
                  <a:lnTo>
                    <a:pt x="892" y="367"/>
                  </a:lnTo>
                  <a:close/>
                  <a:moveTo>
                    <a:pt x="644" y="367"/>
                  </a:moveTo>
                  <a:lnTo>
                    <a:pt x="643" y="367"/>
                  </a:lnTo>
                  <a:lnTo>
                    <a:pt x="642" y="368"/>
                  </a:lnTo>
                  <a:lnTo>
                    <a:pt x="640" y="368"/>
                  </a:lnTo>
                  <a:lnTo>
                    <a:pt x="637" y="370"/>
                  </a:lnTo>
                  <a:lnTo>
                    <a:pt x="637" y="368"/>
                  </a:lnTo>
                  <a:lnTo>
                    <a:pt x="639" y="368"/>
                  </a:lnTo>
                  <a:lnTo>
                    <a:pt x="640" y="368"/>
                  </a:lnTo>
                  <a:lnTo>
                    <a:pt x="642" y="367"/>
                  </a:lnTo>
                  <a:lnTo>
                    <a:pt x="643" y="367"/>
                  </a:lnTo>
                  <a:lnTo>
                    <a:pt x="644" y="367"/>
                  </a:lnTo>
                  <a:lnTo>
                    <a:pt x="648" y="366"/>
                  </a:lnTo>
                  <a:lnTo>
                    <a:pt x="647" y="367"/>
                  </a:lnTo>
                  <a:lnTo>
                    <a:pt x="646" y="367"/>
                  </a:lnTo>
                  <a:lnTo>
                    <a:pt x="644" y="367"/>
                  </a:lnTo>
                  <a:close/>
                  <a:moveTo>
                    <a:pt x="46" y="370"/>
                  </a:moveTo>
                  <a:lnTo>
                    <a:pt x="46" y="368"/>
                  </a:lnTo>
                  <a:lnTo>
                    <a:pt x="48" y="368"/>
                  </a:lnTo>
                  <a:lnTo>
                    <a:pt x="51" y="366"/>
                  </a:lnTo>
                  <a:lnTo>
                    <a:pt x="52" y="365"/>
                  </a:lnTo>
                  <a:lnTo>
                    <a:pt x="52" y="366"/>
                  </a:lnTo>
                  <a:lnTo>
                    <a:pt x="51" y="367"/>
                  </a:lnTo>
                  <a:lnTo>
                    <a:pt x="50" y="367"/>
                  </a:lnTo>
                  <a:lnTo>
                    <a:pt x="49" y="368"/>
                  </a:lnTo>
                  <a:lnTo>
                    <a:pt x="48" y="368"/>
                  </a:lnTo>
                  <a:lnTo>
                    <a:pt x="48" y="370"/>
                  </a:lnTo>
                  <a:lnTo>
                    <a:pt x="46" y="370"/>
                  </a:lnTo>
                  <a:close/>
                  <a:moveTo>
                    <a:pt x="668" y="359"/>
                  </a:moveTo>
                  <a:lnTo>
                    <a:pt x="667" y="359"/>
                  </a:lnTo>
                  <a:lnTo>
                    <a:pt x="668" y="359"/>
                  </a:lnTo>
                  <a:lnTo>
                    <a:pt x="670" y="358"/>
                  </a:lnTo>
                  <a:lnTo>
                    <a:pt x="671" y="358"/>
                  </a:lnTo>
                  <a:lnTo>
                    <a:pt x="671" y="357"/>
                  </a:lnTo>
                  <a:lnTo>
                    <a:pt x="672" y="357"/>
                  </a:lnTo>
                  <a:lnTo>
                    <a:pt x="674" y="356"/>
                  </a:lnTo>
                  <a:lnTo>
                    <a:pt x="674" y="357"/>
                  </a:lnTo>
                  <a:lnTo>
                    <a:pt x="672" y="357"/>
                  </a:lnTo>
                  <a:lnTo>
                    <a:pt x="671" y="357"/>
                  </a:lnTo>
                  <a:lnTo>
                    <a:pt x="671" y="358"/>
                  </a:lnTo>
                  <a:lnTo>
                    <a:pt x="669" y="359"/>
                  </a:lnTo>
                  <a:lnTo>
                    <a:pt x="668" y="359"/>
                  </a:lnTo>
                  <a:close/>
                  <a:moveTo>
                    <a:pt x="866" y="352"/>
                  </a:moveTo>
                  <a:lnTo>
                    <a:pt x="867" y="352"/>
                  </a:lnTo>
                  <a:lnTo>
                    <a:pt x="866" y="352"/>
                  </a:lnTo>
                  <a:lnTo>
                    <a:pt x="867" y="352"/>
                  </a:lnTo>
                  <a:lnTo>
                    <a:pt x="866" y="352"/>
                  </a:lnTo>
                  <a:lnTo>
                    <a:pt x="864" y="353"/>
                  </a:lnTo>
                  <a:lnTo>
                    <a:pt x="864" y="352"/>
                  </a:lnTo>
                  <a:lnTo>
                    <a:pt x="866" y="352"/>
                  </a:lnTo>
                  <a:lnTo>
                    <a:pt x="864" y="352"/>
                  </a:lnTo>
                  <a:lnTo>
                    <a:pt x="866" y="351"/>
                  </a:lnTo>
                  <a:lnTo>
                    <a:pt x="866" y="352"/>
                  </a:lnTo>
                  <a:close/>
                  <a:moveTo>
                    <a:pt x="656" y="351"/>
                  </a:moveTo>
                  <a:lnTo>
                    <a:pt x="657" y="351"/>
                  </a:lnTo>
                  <a:lnTo>
                    <a:pt x="656" y="351"/>
                  </a:lnTo>
                  <a:lnTo>
                    <a:pt x="655" y="352"/>
                  </a:lnTo>
                  <a:lnTo>
                    <a:pt x="654" y="353"/>
                  </a:lnTo>
                  <a:lnTo>
                    <a:pt x="653" y="353"/>
                  </a:lnTo>
                  <a:lnTo>
                    <a:pt x="653" y="354"/>
                  </a:lnTo>
                  <a:lnTo>
                    <a:pt x="653" y="353"/>
                  </a:lnTo>
                  <a:lnTo>
                    <a:pt x="654" y="353"/>
                  </a:lnTo>
                  <a:lnTo>
                    <a:pt x="655" y="352"/>
                  </a:lnTo>
                  <a:lnTo>
                    <a:pt x="655" y="351"/>
                  </a:lnTo>
                  <a:lnTo>
                    <a:pt x="656" y="351"/>
                  </a:lnTo>
                  <a:lnTo>
                    <a:pt x="656" y="350"/>
                  </a:lnTo>
                  <a:lnTo>
                    <a:pt x="657" y="350"/>
                  </a:lnTo>
                  <a:lnTo>
                    <a:pt x="656" y="350"/>
                  </a:lnTo>
                  <a:lnTo>
                    <a:pt x="656" y="351"/>
                  </a:lnTo>
                  <a:close/>
                  <a:moveTo>
                    <a:pt x="864" y="349"/>
                  </a:moveTo>
                  <a:lnTo>
                    <a:pt x="864" y="350"/>
                  </a:lnTo>
                  <a:lnTo>
                    <a:pt x="866" y="350"/>
                  </a:lnTo>
                  <a:lnTo>
                    <a:pt x="864" y="350"/>
                  </a:lnTo>
                  <a:lnTo>
                    <a:pt x="864" y="351"/>
                  </a:lnTo>
                  <a:lnTo>
                    <a:pt x="863" y="351"/>
                  </a:lnTo>
                  <a:lnTo>
                    <a:pt x="862" y="351"/>
                  </a:lnTo>
                  <a:lnTo>
                    <a:pt x="862" y="350"/>
                  </a:lnTo>
                  <a:lnTo>
                    <a:pt x="862" y="349"/>
                  </a:lnTo>
                  <a:lnTo>
                    <a:pt x="863" y="349"/>
                  </a:lnTo>
                  <a:lnTo>
                    <a:pt x="864" y="349"/>
                  </a:lnTo>
                  <a:lnTo>
                    <a:pt x="863" y="349"/>
                  </a:lnTo>
                  <a:lnTo>
                    <a:pt x="864" y="349"/>
                  </a:lnTo>
                  <a:close/>
                  <a:moveTo>
                    <a:pt x="683" y="349"/>
                  </a:moveTo>
                  <a:lnTo>
                    <a:pt x="683" y="350"/>
                  </a:lnTo>
                  <a:lnTo>
                    <a:pt x="683" y="349"/>
                  </a:lnTo>
                  <a:close/>
                  <a:moveTo>
                    <a:pt x="671" y="346"/>
                  </a:moveTo>
                  <a:lnTo>
                    <a:pt x="670" y="346"/>
                  </a:lnTo>
                  <a:lnTo>
                    <a:pt x="671" y="346"/>
                  </a:lnTo>
                  <a:close/>
                  <a:moveTo>
                    <a:pt x="857" y="345"/>
                  </a:moveTo>
                  <a:lnTo>
                    <a:pt x="860" y="345"/>
                  </a:lnTo>
                  <a:lnTo>
                    <a:pt x="861" y="345"/>
                  </a:lnTo>
                  <a:lnTo>
                    <a:pt x="861" y="346"/>
                  </a:lnTo>
                  <a:lnTo>
                    <a:pt x="860" y="346"/>
                  </a:lnTo>
                  <a:lnTo>
                    <a:pt x="859" y="346"/>
                  </a:lnTo>
                  <a:lnTo>
                    <a:pt x="857" y="345"/>
                  </a:lnTo>
                  <a:close/>
                  <a:moveTo>
                    <a:pt x="676" y="345"/>
                  </a:moveTo>
                  <a:lnTo>
                    <a:pt x="676" y="344"/>
                  </a:lnTo>
                  <a:lnTo>
                    <a:pt x="677" y="344"/>
                  </a:lnTo>
                  <a:lnTo>
                    <a:pt x="677" y="345"/>
                  </a:lnTo>
                  <a:lnTo>
                    <a:pt x="676" y="345"/>
                  </a:lnTo>
                  <a:close/>
                  <a:moveTo>
                    <a:pt x="663" y="345"/>
                  </a:moveTo>
                  <a:lnTo>
                    <a:pt x="662" y="346"/>
                  </a:lnTo>
                  <a:lnTo>
                    <a:pt x="662" y="347"/>
                  </a:lnTo>
                  <a:lnTo>
                    <a:pt x="661" y="347"/>
                  </a:lnTo>
                  <a:lnTo>
                    <a:pt x="661" y="349"/>
                  </a:lnTo>
                  <a:lnTo>
                    <a:pt x="660" y="349"/>
                  </a:lnTo>
                  <a:lnTo>
                    <a:pt x="658" y="349"/>
                  </a:lnTo>
                  <a:lnTo>
                    <a:pt x="657" y="349"/>
                  </a:lnTo>
                  <a:lnTo>
                    <a:pt x="658" y="349"/>
                  </a:lnTo>
                  <a:lnTo>
                    <a:pt x="660" y="347"/>
                  </a:lnTo>
                  <a:lnTo>
                    <a:pt x="660" y="346"/>
                  </a:lnTo>
                  <a:lnTo>
                    <a:pt x="661" y="346"/>
                  </a:lnTo>
                  <a:lnTo>
                    <a:pt x="661" y="345"/>
                  </a:lnTo>
                  <a:lnTo>
                    <a:pt x="662" y="345"/>
                  </a:lnTo>
                  <a:lnTo>
                    <a:pt x="662" y="344"/>
                  </a:lnTo>
                  <a:lnTo>
                    <a:pt x="663" y="344"/>
                  </a:lnTo>
                  <a:lnTo>
                    <a:pt x="663" y="345"/>
                  </a:lnTo>
                  <a:close/>
                  <a:moveTo>
                    <a:pt x="651" y="345"/>
                  </a:moveTo>
                  <a:lnTo>
                    <a:pt x="650" y="346"/>
                  </a:lnTo>
                  <a:lnTo>
                    <a:pt x="646" y="347"/>
                  </a:lnTo>
                  <a:lnTo>
                    <a:pt x="646" y="349"/>
                  </a:lnTo>
                  <a:lnTo>
                    <a:pt x="644" y="347"/>
                  </a:lnTo>
                  <a:lnTo>
                    <a:pt x="646" y="347"/>
                  </a:lnTo>
                  <a:lnTo>
                    <a:pt x="646" y="346"/>
                  </a:lnTo>
                  <a:lnTo>
                    <a:pt x="647" y="346"/>
                  </a:lnTo>
                  <a:lnTo>
                    <a:pt x="648" y="346"/>
                  </a:lnTo>
                  <a:lnTo>
                    <a:pt x="649" y="346"/>
                  </a:lnTo>
                  <a:lnTo>
                    <a:pt x="649" y="345"/>
                  </a:lnTo>
                  <a:lnTo>
                    <a:pt x="650" y="345"/>
                  </a:lnTo>
                  <a:lnTo>
                    <a:pt x="651" y="345"/>
                  </a:lnTo>
                  <a:lnTo>
                    <a:pt x="653" y="344"/>
                  </a:lnTo>
                  <a:lnTo>
                    <a:pt x="654" y="343"/>
                  </a:lnTo>
                  <a:lnTo>
                    <a:pt x="654" y="344"/>
                  </a:lnTo>
                  <a:lnTo>
                    <a:pt x="653" y="344"/>
                  </a:lnTo>
                  <a:lnTo>
                    <a:pt x="651" y="345"/>
                  </a:lnTo>
                  <a:close/>
                  <a:moveTo>
                    <a:pt x="863" y="343"/>
                  </a:moveTo>
                  <a:lnTo>
                    <a:pt x="863" y="344"/>
                  </a:lnTo>
                  <a:lnTo>
                    <a:pt x="862" y="344"/>
                  </a:lnTo>
                  <a:lnTo>
                    <a:pt x="863" y="344"/>
                  </a:lnTo>
                  <a:lnTo>
                    <a:pt x="864" y="344"/>
                  </a:lnTo>
                  <a:lnTo>
                    <a:pt x="862" y="344"/>
                  </a:lnTo>
                  <a:lnTo>
                    <a:pt x="861" y="344"/>
                  </a:lnTo>
                  <a:lnTo>
                    <a:pt x="860" y="344"/>
                  </a:lnTo>
                  <a:lnTo>
                    <a:pt x="861" y="344"/>
                  </a:lnTo>
                  <a:lnTo>
                    <a:pt x="862" y="344"/>
                  </a:lnTo>
                  <a:lnTo>
                    <a:pt x="860" y="343"/>
                  </a:lnTo>
                  <a:lnTo>
                    <a:pt x="861" y="343"/>
                  </a:lnTo>
                  <a:lnTo>
                    <a:pt x="860" y="343"/>
                  </a:lnTo>
                  <a:lnTo>
                    <a:pt x="861" y="343"/>
                  </a:lnTo>
                  <a:lnTo>
                    <a:pt x="862" y="343"/>
                  </a:lnTo>
                  <a:lnTo>
                    <a:pt x="863" y="343"/>
                  </a:lnTo>
                  <a:close/>
                  <a:moveTo>
                    <a:pt x="664" y="342"/>
                  </a:moveTo>
                  <a:lnTo>
                    <a:pt x="663" y="342"/>
                  </a:lnTo>
                  <a:lnTo>
                    <a:pt x="663" y="340"/>
                  </a:lnTo>
                  <a:lnTo>
                    <a:pt x="664" y="340"/>
                  </a:lnTo>
                  <a:lnTo>
                    <a:pt x="664" y="342"/>
                  </a:lnTo>
                  <a:close/>
                  <a:moveTo>
                    <a:pt x="660" y="342"/>
                  </a:moveTo>
                  <a:lnTo>
                    <a:pt x="658" y="342"/>
                  </a:lnTo>
                  <a:lnTo>
                    <a:pt x="657" y="342"/>
                  </a:lnTo>
                  <a:lnTo>
                    <a:pt x="657" y="343"/>
                  </a:lnTo>
                  <a:lnTo>
                    <a:pt x="658" y="343"/>
                  </a:lnTo>
                  <a:lnTo>
                    <a:pt x="658" y="344"/>
                  </a:lnTo>
                  <a:lnTo>
                    <a:pt x="660" y="344"/>
                  </a:lnTo>
                  <a:lnTo>
                    <a:pt x="660" y="345"/>
                  </a:lnTo>
                  <a:lnTo>
                    <a:pt x="660" y="346"/>
                  </a:lnTo>
                  <a:lnTo>
                    <a:pt x="658" y="346"/>
                  </a:lnTo>
                  <a:lnTo>
                    <a:pt x="660" y="346"/>
                  </a:lnTo>
                  <a:lnTo>
                    <a:pt x="658" y="346"/>
                  </a:lnTo>
                  <a:lnTo>
                    <a:pt x="658" y="347"/>
                  </a:lnTo>
                  <a:lnTo>
                    <a:pt x="656" y="349"/>
                  </a:lnTo>
                  <a:lnTo>
                    <a:pt x="655" y="350"/>
                  </a:lnTo>
                  <a:lnTo>
                    <a:pt x="653" y="352"/>
                  </a:lnTo>
                  <a:lnTo>
                    <a:pt x="653" y="353"/>
                  </a:lnTo>
                  <a:lnTo>
                    <a:pt x="653" y="352"/>
                  </a:lnTo>
                  <a:lnTo>
                    <a:pt x="654" y="352"/>
                  </a:lnTo>
                  <a:lnTo>
                    <a:pt x="654" y="351"/>
                  </a:lnTo>
                  <a:lnTo>
                    <a:pt x="655" y="351"/>
                  </a:lnTo>
                  <a:lnTo>
                    <a:pt x="655" y="350"/>
                  </a:lnTo>
                  <a:lnTo>
                    <a:pt x="658" y="347"/>
                  </a:lnTo>
                  <a:lnTo>
                    <a:pt x="658" y="346"/>
                  </a:lnTo>
                  <a:lnTo>
                    <a:pt x="658" y="345"/>
                  </a:lnTo>
                  <a:lnTo>
                    <a:pt x="660" y="345"/>
                  </a:lnTo>
                  <a:lnTo>
                    <a:pt x="658" y="345"/>
                  </a:lnTo>
                  <a:lnTo>
                    <a:pt x="656" y="347"/>
                  </a:lnTo>
                  <a:lnTo>
                    <a:pt x="657" y="347"/>
                  </a:lnTo>
                  <a:lnTo>
                    <a:pt x="656" y="347"/>
                  </a:lnTo>
                  <a:lnTo>
                    <a:pt x="657" y="347"/>
                  </a:lnTo>
                  <a:lnTo>
                    <a:pt x="656" y="349"/>
                  </a:lnTo>
                  <a:lnTo>
                    <a:pt x="655" y="349"/>
                  </a:lnTo>
                  <a:lnTo>
                    <a:pt x="655" y="350"/>
                  </a:lnTo>
                  <a:lnTo>
                    <a:pt x="653" y="352"/>
                  </a:lnTo>
                  <a:lnTo>
                    <a:pt x="651" y="353"/>
                  </a:lnTo>
                  <a:lnTo>
                    <a:pt x="651" y="352"/>
                  </a:lnTo>
                  <a:lnTo>
                    <a:pt x="654" y="351"/>
                  </a:lnTo>
                  <a:lnTo>
                    <a:pt x="656" y="349"/>
                  </a:lnTo>
                  <a:lnTo>
                    <a:pt x="656" y="347"/>
                  </a:lnTo>
                  <a:lnTo>
                    <a:pt x="655" y="347"/>
                  </a:lnTo>
                  <a:lnTo>
                    <a:pt x="654" y="349"/>
                  </a:lnTo>
                  <a:lnTo>
                    <a:pt x="651" y="351"/>
                  </a:lnTo>
                  <a:lnTo>
                    <a:pt x="649" y="352"/>
                  </a:lnTo>
                  <a:lnTo>
                    <a:pt x="649" y="353"/>
                  </a:lnTo>
                  <a:lnTo>
                    <a:pt x="648" y="353"/>
                  </a:lnTo>
                  <a:lnTo>
                    <a:pt x="648" y="352"/>
                  </a:lnTo>
                  <a:lnTo>
                    <a:pt x="646" y="353"/>
                  </a:lnTo>
                  <a:lnTo>
                    <a:pt x="646" y="354"/>
                  </a:lnTo>
                  <a:lnTo>
                    <a:pt x="646" y="353"/>
                  </a:lnTo>
                  <a:lnTo>
                    <a:pt x="648" y="352"/>
                  </a:lnTo>
                  <a:lnTo>
                    <a:pt x="650" y="350"/>
                  </a:lnTo>
                  <a:lnTo>
                    <a:pt x="651" y="350"/>
                  </a:lnTo>
                  <a:lnTo>
                    <a:pt x="651" y="349"/>
                  </a:lnTo>
                  <a:lnTo>
                    <a:pt x="650" y="349"/>
                  </a:lnTo>
                  <a:lnTo>
                    <a:pt x="650" y="350"/>
                  </a:lnTo>
                  <a:lnTo>
                    <a:pt x="647" y="351"/>
                  </a:lnTo>
                  <a:lnTo>
                    <a:pt x="646" y="352"/>
                  </a:lnTo>
                  <a:lnTo>
                    <a:pt x="644" y="353"/>
                  </a:lnTo>
                  <a:lnTo>
                    <a:pt x="644" y="352"/>
                  </a:lnTo>
                  <a:lnTo>
                    <a:pt x="643" y="352"/>
                  </a:lnTo>
                  <a:lnTo>
                    <a:pt x="644" y="351"/>
                  </a:lnTo>
                  <a:lnTo>
                    <a:pt x="649" y="349"/>
                  </a:lnTo>
                  <a:lnTo>
                    <a:pt x="651" y="347"/>
                  </a:lnTo>
                  <a:lnTo>
                    <a:pt x="653" y="346"/>
                  </a:lnTo>
                  <a:lnTo>
                    <a:pt x="654" y="344"/>
                  </a:lnTo>
                  <a:lnTo>
                    <a:pt x="655" y="343"/>
                  </a:lnTo>
                  <a:lnTo>
                    <a:pt x="655" y="344"/>
                  </a:lnTo>
                  <a:lnTo>
                    <a:pt x="654" y="344"/>
                  </a:lnTo>
                  <a:lnTo>
                    <a:pt x="654" y="345"/>
                  </a:lnTo>
                  <a:lnTo>
                    <a:pt x="653" y="346"/>
                  </a:lnTo>
                  <a:lnTo>
                    <a:pt x="651" y="347"/>
                  </a:lnTo>
                  <a:lnTo>
                    <a:pt x="650" y="349"/>
                  </a:lnTo>
                  <a:lnTo>
                    <a:pt x="651" y="349"/>
                  </a:lnTo>
                  <a:lnTo>
                    <a:pt x="651" y="347"/>
                  </a:lnTo>
                  <a:lnTo>
                    <a:pt x="653" y="347"/>
                  </a:lnTo>
                  <a:lnTo>
                    <a:pt x="655" y="345"/>
                  </a:lnTo>
                  <a:lnTo>
                    <a:pt x="656" y="344"/>
                  </a:lnTo>
                  <a:lnTo>
                    <a:pt x="657" y="342"/>
                  </a:lnTo>
                  <a:lnTo>
                    <a:pt x="658" y="340"/>
                  </a:lnTo>
                  <a:lnTo>
                    <a:pt x="660" y="342"/>
                  </a:lnTo>
                  <a:close/>
                  <a:moveTo>
                    <a:pt x="867" y="340"/>
                  </a:moveTo>
                  <a:lnTo>
                    <a:pt x="867" y="342"/>
                  </a:lnTo>
                  <a:lnTo>
                    <a:pt x="866" y="342"/>
                  </a:lnTo>
                  <a:lnTo>
                    <a:pt x="864" y="342"/>
                  </a:lnTo>
                  <a:lnTo>
                    <a:pt x="866" y="342"/>
                  </a:lnTo>
                  <a:lnTo>
                    <a:pt x="866" y="340"/>
                  </a:lnTo>
                  <a:lnTo>
                    <a:pt x="867" y="342"/>
                  </a:lnTo>
                  <a:lnTo>
                    <a:pt x="867" y="340"/>
                  </a:lnTo>
                  <a:lnTo>
                    <a:pt x="866" y="340"/>
                  </a:lnTo>
                  <a:lnTo>
                    <a:pt x="867" y="340"/>
                  </a:lnTo>
                  <a:close/>
                  <a:moveTo>
                    <a:pt x="688" y="343"/>
                  </a:moveTo>
                  <a:lnTo>
                    <a:pt x="688" y="342"/>
                  </a:lnTo>
                  <a:lnTo>
                    <a:pt x="689" y="342"/>
                  </a:lnTo>
                  <a:lnTo>
                    <a:pt x="689" y="340"/>
                  </a:lnTo>
                  <a:lnTo>
                    <a:pt x="689" y="342"/>
                  </a:lnTo>
                  <a:lnTo>
                    <a:pt x="688" y="342"/>
                  </a:lnTo>
                  <a:lnTo>
                    <a:pt x="688" y="343"/>
                  </a:lnTo>
                  <a:close/>
                  <a:moveTo>
                    <a:pt x="656" y="339"/>
                  </a:moveTo>
                  <a:lnTo>
                    <a:pt x="656" y="340"/>
                  </a:lnTo>
                  <a:lnTo>
                    <a:pt x="655" y="340"/>
                  </a:lnTo>
                  <a:lnTo>
                    <a:pt x="655" y="342"/>
                  </a:lnTo>
                  <a:lnTo>
                    <a:pt x="655" y="340"/>
                  </a:lnTo>
                  <a:lnTo>
                    <a:pt x="655" y="342"/>
                  </a:lnTo>
                  <a:lnTo>
                    <a:pt x="654" y="342"/>
                  </a:lnTo>
                  <a:lnTo>
                    <a:pt x="655" y="342"/>
                  </a:lnTo>
                  <a:lnTo>
                    <a:pt x="655" y="340"/>
                  </a:lnTo>
                  <a:lnTo>
                    <a:pt x="655" y="339"/>
                  </a:lnTo>
                  <a:lnTo>
                    <a:pt x="656" y="339"/>
                  </a:lnTo>
                  <a:close/>
                  <a:moveTo>
                    <a:pt x="651" y="339"/>
                  </a:moveTo>
                  <a:lnTo>
                    <a:pt x="651" y="338"/>
                  </a:lnTo>
                  <a:lnTo>
                    <a:pt x="653" y="338"/>
                  </a:lnTo>
                  <a:lnTo>
                    <a:pt x="653" y="339"/>
                  </a:lnTo>
                  <a:lnTo>
                    <a:pt x="651" y="339"/>
                  </a:lnTo>
                  <a:close/>
                  <a:moveTo>
                    <a:pt x="654" y="337"/>
                  </a:moveTo>
                  <a:lnTo>
                    <a:pt x="655" y="337"/>
                  </a:lnTo>
                  <a:lnTo>
                    <a:pt x="654" y="338"/>
                  </a:lnTo>
                  <a:lnTo>
                    <a:pt x="654" y="339"/>
                  </a:lnTo>
                  <a:lnTo>
                    <a:pt x="653" y="339"/>
                  </a:lnTo>
                  <a:lnTo>
                    <a:pt x="654" y="338"/>
                  </a:lnTo>
                  <a:lnTo>
                    <a:pt x="653" y="338"/>
                  </a:lnTo>
                  <a:lnTo>
                    <a:pt x="653" y="337"/>
                  </a:lnTo>
                  <a:lnTo>
                    <a:pt x="654" y="337"/>
                  </a:lnTo>
                  <a:close/>
                  <a:moveTo>
                    <a:pt x="864" y="337"/>
                  </a:moveTo>
                  <a:lnTo>
                    <a:pt x="866" y="337"/>
                  </a:lnTo>
                  <a:lnTo>
                    <a:pt x="864" y="338"/>
                  </a:lnTo>
                  <a:lnTo>
                    <a:pt x="863" y="338"/>
                  </a:lnTo>
                  <a:lnTo>
                    <a:pt x="863" y="339"/>
                  </a:lnTo>
                  <a:lnTo>
                    <a:pt x="862" y="339"/>
                  </a:lnTo>
                  <a:lnTo>
                    <a:pt x="863" y="339"/>
                  </a:lnTo>
                  <a:lnTo>
                    <a:pt x="864" y="339"/>
                  </a:lnTo>
                  <a:lnTo>
                    <a:pt x="864" y="340"/>
                  </a:lnTo>
                  <a:lnTo>
                    <a:pt x="863" y="340"/>
                  </a:lnTo>
                  <a:lnTo>
                    <a:pt x="863" y="342"/>
                  </a:lnTo>
                  <a:lnTo>
                    <a:pt x="862" y="342"/>
                  </a:lnTo>
                  <a:lnTo>
                    <a:pt x="862" y="340"/>
                  </a:lnTo>
                  <a:lnTo>
                    <a:pt x="861" y="340"/>
                  </a:lnTo>
                  <a:lnTo>
                    <a:pt x="861" y="339"/>
                  </a:lnTo>
                  <a:lnTo>
                    <a:pt x="862" y="338"/>
                  </a:lnTo>
                  <a:lnTo>
                    <a:pt x="863" y="337"/>
                  </a:lnTo>
                  <a:lnTo>
                    <a:pt x="864" y="337"/>
                  </a:lnTo>
                  <a:close/>
                  <a:moveTo>
                    <a:pt x="691" y="335"/>
                  </a:moveTo>
                  <a:lnTo>
                    <a:pt x="691" y="333"/>
                  </a:lnTo>
                  <a:lnTo>
                    <a:pt x="692" y="333"/>
                  </a:lnTo>
                  <a:lnTo>
                    <a:pt x="691" y="333"/>
                  </a:lnTo>
                  <a:lnTo>
                    <a:pt x="692" y="333"/>
                  </a:lnTo>
                  <a:lnTo>
                    <a:pt x="692" y="335"/>
                  </a:lnTo>
                  <a:lnTo>
                    <a:pt x="691" y="335"/>
                  </a:lnTo>
                  <a:close/>
                  <a:moveTo>
                    <a:pt x="674" y="333"/>
                  </a:moveTo>
                  <a:lnTo>
                    <a:pt x="672" y="333"/>
                  </a:lnTo>
                  <a:lnTo>
                    <a:pt x="674" y="333"/>
                  </a:lnTo>
                  <a:close/>
                  <a:moveTo>
                    <a:pt x="674" y="332"/>
                  </a:moveTo>
                  <a:lnTo>
                    <a:pt x="672" y="332"/>
                  </a:lnTo>
                  <a:lnTo>
                    <a:pt x="672" y="331"/>
                  </a:lnTo>
                  <a:lnTo>
                    <a:pt x="674" y="331"/>
                  </a:lnTo>
                  <a:lnTo>
                    <a:pt x="674" y="332"/>
                  </a:lnTo>
                  <a:close/>
                  <a:moveTo>
                    <a:pt x="692" y="332"/>
                  </a:moveTo>
                  <a:lnTo>
                    <a:pt x="691" y="332"/>
                  </a:lnTo>
                  <a:lnTo>
                    <a:pt x="692" y="331"/>
                  </a:lnTo>
                  <a:lnTo>
                    <a:pt x="692" y="330"/>
                  </a:lnTo>
                  <a:lnTo>
                    <a:pt x="692" y="331"/>
                  </a:lnTo>
                  <a:lnTo>
                    <a:pt x="692" y="332"/>
                  </a:lnTo>
                  <a:close/>
                  <a:moveTo>
                    <a:pt x="866" y="329"/>
                  </a:moveTo>
                  <a:lnTo>
                    <a:pt x="864" y="329"/>
                  </a:lnTo>
                  <a:lnTo>
                    <a:pt x="863" y="329"/>
                  </a:lnTo>
                  <a:lnTo>
                    <a:pt x="863" y="330"/>
                  </a:lnTo>
                  <a:lnTo>
                    <a:pt x="864" y="330"/>
                  </a:lnTo>
                  <a:lnTo>
                    <a:pt x="866" y="330"/>
                  </a:lnTo>
                  <a:lnTo>
                    <a:pt x="864" y="330"/>
                  </a:lnTo>
                  <a:lnTo>
                    <a:pt x="863" y="330"/>
                  </a:lnTo>
                  <a:lnTo>
                    <a:pt x="862" y="330"/>
                  </a:lnTo>
                  <a:lnTo>
                    <a:pt x="862" y="329"/>
                  </a:lnTo>
                  <a:lnTo>
                    <a:pt x="863" y="329"/>
                  </a:lnTo>
                  <a:lnTo>
                    <a:pt x="864" y="329"/>
                  </a:lnTo>
                  <a:lnTo>
                    <a:pt x="864" y="328"/>
                  </a:lnTo>
                  <a:lnTo>
                    <a:pt x="866" y="328"/>
                  </a:lnTo>
                  <a:lnTo>
                    <a:pt x="866" y="329"/>
                  </a:lnTo>
                  <a:lnTo>
                    <a:pt x="864" y="329"/>
                  </a:lnTo>
                  <a:lnTo>
                    <a:pt x="866" y="329"/>
                  </a:lnTo>
                  <a:close/>
                  <a:moveTo>
                    <a:pt x="863" y="328"/>
                  </a:moveTo>
                  <a:lnTo>
                    <a:pt x="864" y="328"/>
                  </a:lnTo>
                  <a:lnTo>
                    <a:pt x="864" y="329"/>
                  </a:lnTo>
                  <a:lnTo>
                    <a:pt x="863" y="329"/>
                  </a:lnTo>
                  <a:lnTo>
                    <a:pt x="862" y="329"/>
                  </a:lnTo>
                  <a:lnTo>
                    <a:pt x="861" y="329"/>
                  </a:lnTo>
                  <a:lnTo>
                    <a:pt x="862" y="328"/>
                  </a:lnTo>
                  <a:lnTo>
                    <a:pt x="863" y="328"/>
                  </a:lnTo>
                  <a:lnTo>
                    <a:pt x="862" y="328"/>
                  </a:lnTo>
                  <a:lnTo>
                    <a:pt x="863" y="328"/>
                  </a:lnTo>
                  <a:close/>
                  <a:moveTo>
                    <a:pt x="661" y="328"/>
                  </a:moveTo>
                  <a:lnTo>
                    <a:pt x="660" y="329"/>
                  </a:lnTo>
                  <a:lnTo>
                    <a:pt x="658" y="329"/>
                  </a:lnTo>
                  <a:lnTo>
                    <a:pt x="658" y="330"/>
                  </a:lnTo>
                  <a:lnTo>
                    <a:pt x="658" y="329"/>
                  </a:lnTo>
                  <a:lnTo>
                    <a:pt x="660" y="329"/>
                  </a:lnTo>
                  <a:lnTo>
                    <a:pt x="660" y="328"/>
                  </a:lnTo>
                  <a:lnTo>
                    <a:pt x="658" y="328"/>
                  </a:lnTo>
                  <a:lnTo>
                    <a:pt x="658" y="329"/>
                  </a:lnTo>
                  <a:lnTo>
                    <a:pt x="658" y="328"/>
                  </a:lnTo>
                  <a:lnTo>
                    <a:pt x="660" y="328"/>
                  </a:lnTo>
                  <a:lnTo>
                    <a:pt x="661" y="326"/>
                  </a:lnTo>
                  <a:lnTo>
                    <a:pt x="661" y="328"/>
                  </a:lnTo>
                  <a:close/>
                  <a:moveTo>
                    <a:pt x="867" y="324"/>
                  </a:moveTo>
                  <a:lnTo>
                    <a:pt x="867" y="325"/>
                  </a:lnTo>
                  <a:lnTo>
                    <a:pt x="866" y="325"/>
                  </a:lnTo>
                  <a:lnTo>
                    <a:pt x="866" y="324"/>
                  </a:lnTo>
                  <a:lnTo>
                    <a:pt x="864" y="324"/>
                  </a:lnTo>
                  <a:lnTo>
                    <a:pt x="864" y="325"/>
                  </a:lnTo>
                  <a:lnTo>
                    <a:pt x="864" y="324"/>
                  </a:lnTo>
                  <a:lnTo>
                    <a:pt x="866" y="324"/>
                  </a:lnTo>
                  <a:lnTo>
                    <a:pt x="867" y="324"/>
                  </a:lnTo>
                  <a:close/>
                  <a:moveTo>
                    <a:pt x="864" y="323"/>
                  </a:moveTo>
                  <a:lnTo>
                    <a:pt x="866" y="323"/>
                  </a:lnTo>
                  <a:lnTo>
                    <a:pt x="866" y="324"/>
                  </a:lnTo>
                  <a:lnTo>
                    <a:pt x="864" y="324"/>
                  </a:lnTo>
                  <a:lnTo>
                    <a:pt x="863" y="324"/>
                  </a:lnTo>
                  <a:lnTo>
                    <a:pt x="862" y="324"/>
                  </a:lnTo>
                  <a:lnTo>
                    <a:pt x="863" y="323"/>
                  </a:lnTo>
                  <a:lnTo>
                    <a:pt x="864" y="323"/>
                  </a:lnTo>
                  <a:lnTo>
                    <a:pt x="866" y="323"/>
                  </a:lnTo>
                  <a:lnTo>
                    <a:pt x="864" y="323"/>
                  </a:lnTo>
                  <a:close/>
                  <a:moveTo>
                    <a:pt x="689" y="318"/>
                  </a:moveTo>
                  <a:lnTo>
                    <a:pt x="688" y="317"/>
                  </a:lnTo>
                  <a:lnTo>
                    <a:pt x="686" y="316"/>
                  </a:lnTo>
                  <a:lnTo>
                    <a:pt x="688" y="317"/>
                  </a:lnTo>
                  <a:lnTo>
                    <a:pt x="689" y="317"/>
                  </a:lnTo>
                  <a:lnTo>
                    <a:pt x="689" y="318"/>
                  </a:lnTo>
                  <a:close/>
                  <a:moveTo>
                    <a:pt x="804" y="317"/>
                  </a:moveTo>
                  <a:lnTo>
                    <a:pt x="803" y="317"/>
                  </a:lnTo>
                  <a:lnTo>
                    <a:pt x="803" y="316"/>
                  </a:lnTo>
                  <a:lnTo>
                    <a:pt x="804" y="316"/>
                  </a:lnTo>
                  <a:lnTo>
                    <a:pt x="804" y="315"/>
                  </a:lnTo>
                  <a:lnTo>
                    <a:pt x="804" y="316"/>
                  </a:lnTo>
                  <a:lnTo>
                    <a:pt x="804" y="317"/>
                  </a:lnTo>
                  <a:close/>
                  <a:moveTo>
                    <a:pt x="682" y="312"/>
                  </a:moveTo>
                  <a:lnTo>
                    <a:pt x="681" y="312"/>
                  </a:lnTo>
                  <a:lnTo>
                    <a:pt x="682" y="314"/>
                  </a:lnTo>
                  <a:lnTo>
                    <a:pt x="683" y="314"/>
                  </a:lnTo>
                  <a:lnTo>
                    <a:pt x="681" y="312"/>
                  </a:lnTo>
                  <a:lnTo>
                    <a:pt x="681" y="311"/>
                  </a:lnTo>
                  <a:lnTo>
                    <a:pt x="682" y="311"/>
                  </a:lnTo>
                  <a:lnTo>
                    <a:pt x="682" y="312"/>
                  </a:lnTo>
                  <a:close/>
                  <a:moveTo>
                    <a:pt x="683" y="310"/>
                  </a:moveTo>
                  <a:lnTo>
                    <a:pt x="682" y="310"/>
                  </a:lnTo>
                  <a:lnTo>
                    <a:pt x="683" y="310"/>
                  </a:lnTo>
                  <a:lnTo>
                    <a:pt x="682" y="310"/>
                  </a:lnTo>
                  <a:lnTo>
                    <a:pt x="683" y="310"/>
                  </a:lnTo>
                  <a:close/>
                  <a:moveTo>
                    <a:pt x="791" y="308"/>
                  </a:moveTo>
                  <a:lnTo>
                    <a:pt x="791" y="307"/>
                  </a:lnTo>
                  <a:lnTo>
                    <a:pt x="792" y="307"/>
                  </a:lnTo>
                  <a:lnTo>
                    <a:pt x="791" y="308"/>
                  </a:lnTo>
                  <a:close/>
                  <a:moveTo>
                    <a:pt x="791" y="304"/>
                  </a:moveTo>
                  <a:lnTo>
                    <a:pt x="792" y="304"/>
                  </a:lnTo>
                  <a:lnTo>
                    <a:pt x="792" y="305"/>
                  </a:lnTo>
                  <a:lnTo>
                    <a:pt x="791" y="305"/>
                  </a:lnTo>
                  <a:lnTo>
                    <a:pt x="791" y="307"/>
                  </a:lnTo>
                  <a:lnTo>
                    <a:pt x="790" y="307"/>
                  </a:lnTo>
                  <a:lnTo>
                    <a:pt x="790" y="308"/>
                  </a:lnTo>
                  <a:lnTo>
                    <a:pt x="789" y="308"/>
                  </a:lnTo>
                  <a:lnTo>
                    <a:pt x="789" y="307"/>
                  </a:lnTo>
                  <a:lnTo>
                    <a:pt x="789" y="308"/>
                  </a:lnTo>
                  <a:lnTo>
                    <a:pt x="788" y="308"/>
                  </a:lnTo>
                  <a:lnTo>
                    <a:pt x="789" y="307"/>
                  </a:lnTo>
                  <a:lnTo>
                    <a:pt x="790" y="305"/>
                  </a:lnTo>
                  <a:lnTo>
                    <a:pt x="790" y="304"/>
                  </a:lnTo>
                  <a:lnTo>
                    <a:pt x="791" y="304"/>
                  </a:lnTo>
                  <a:close/>
                  <a:moveTo>
                    <a:pt x="668" y="300"/>
                  </a:moveTo>
                  <a:lnTo>
                    <a:pt x="667" y="301"/>
                  </a:lnTo>
                  <a:lnTo>
                    <a:pt x="665" y="301"/>
                  </a:lnTo>
                  <a:lnTo>
                    <a:pt x="667" y="301"/>
                  </a:lnTo>
                  <a:lnTo>
                    <a:pt x="667" y="300"/>
                  </a:lnTo>
                  <a:lnTo>
                    <a:pt x="667" y="301"/>
                  </a:lnTo>
                  <a:lnTo>
                    <a:pt x="667" y="300"/>
                  </a:lnTo>
                  <a:lnTo>
                    <a:pt x="668" y="300"/>
                  </a:lnTo>
                  <a:close/>
                  <a:moveTo>
                    <a:pt x="668" y="297"/>
                  </a:moveTo>
                  <a:lnTo>
                    <a:pt x="669" y="297"/>
                  </a:lnTo>
                  <a:lnTo>
                    <a:pt x="669" y="296"/>
                  </a:lnTo>
                  <a:lnTo>
                    <a:pt x="669" y="297"/>
                  </a:lnTo>
                  <a:lnTo>
                    <a:pt x="668" y="297"/>
                  </a:lnTo>
                  <a:close/>
                  <a:moveTo>
                    <a:pt x="670" y="296"/>
                  </a:moveTo>
                  <a:lnTo>
                    <a:pt x="670" y="297"/>
                  </a:lnTo>
                  <a:lnTo>
                    <a:pt x="670" y="296"/>
                  </a:lnTo>
                  <a:lnTo>
                    <a:pt x="670" y="297"/>
                  </a:lnTo>
                  <a:lnTo>
                    <a:pt x="669" y="297"/>
                  </a:lnTo>
                  <a:lnTo>
                    <a:pt x="670" y="297"/>
                  </a:lnTo>
                  <a:lnTo>
                    <a:pt x="670" y="296"/>
                  </a:lnTo>
                  <a:close/>
                  <a:moveTo>
                    <a:pt x="672" y="296"/>
                  </a:moveTo>
                  <a:lnTo>
                    <a:pt x="674" y="296"/>
                  </a:lnTo>
                  <a:lnTo>
                    <a:pt x="672" y="296"/>
                  </a:lnTo>
                  <a:lnTo>
                    <a:pt x="672" y="297"/>
                  </a:lnTo>
                  <a:lnTo>
                    <a:pt x="671" y="297"/>
                  </a:lnTo>
                  <a:lnTo>
                    <a:pt x="670" y="297"/>
                  </a:lnTo>
                  <a:lnTo>
                    <a:pt x="671" y="297"/>
                  </a:lnTo>
                  <a:lnTo>
                    <a:pt x="671" y="296"/>
                  </a:lnTo>
                  <a:lnTo>
                    <a:pt x="672" y="296"/>
                  </a:lnTo>
                  <a:close/>
                  <a:moveTo>
                    <a:pt x="854" y="295"/>
                  </a:moveTo>
                  <a:lnTo>
                    <a:pt x="854" y="296"/>
                  </a:lnTo>
                  <a:lnTo>
                    <a:pt x="853" y="296"/>
                  </a:lnTo>
                  <a:lnTo>
                    <a:pt x="852" y="296"/>
                  </a:lnTo>
                  <a:lnTo>
                    <a:pt x="852" y="295"/>
                  </a:lnTo>
                  <a:lnTo>
                    <a:pt x="852" y="296"/>
                  </a:lnTo>
                  <a:lnTo>
                    <a:pt x="853" y="296"/>
                  </a:lnTo>
                  <a:lnTo>
                    <a:pt x="853" y="295"/>
                  </a:lnTo>
                  <a:lnTo>
                    <a:pt x="852" y="295"/>
                  </a:lnTo>
                  <a:lnTo>
                    <a:pt x="853" y="295"/>
                  </a:lnTo>
                  <a:lnTo>
                    <a:pt x="853" y="294"/>
                  </a:lnTo>
                  <a:lnTo>
                    <a:pt x="854" y="294"/>
                  </a:lnTo>
                  <a:lnTo>
                    <a:pt x="854" y="295"/>
                  </a:lnTo>
                  <a:lnTo>
                    <a:pt x="853" y="295"/>
                  </a:lnTo>
                  <a:lnTo>
                    <a:pt x="854" y="295"/>
                  </a:lnTo>
                  <a:close/>
                  <a:moveTo>
                    <a:pt x="676" y="294"/>
                  </a:moveTo>
                  <a:lnTo>
                    <a:pt x="677" y="294"/>
                  </a:lnTo>
                  <a:lnTo>
                    <a:pt x="677" y="295"/>
                  </a:lnTo>
                  <a:lnTo>
                    <a:pt x="676" y="295"/>
                  </a:lnTo>
                  <a:lnTo>
                    <a:pt x="675" y="295"/>
                  </a:lnTo>
                  <a:lnTo>
                    <a:pt x="675" y="296"/>
                  </a:lnTo>
                  <a:lnTo>
                    <a:pt x="674" y="296"/>
                  </a:lnTo>
                  <a:lnTo>
                    <a:pt x="674" y="295"/>
                  </a:lnTo>
                  <a:lnTo>
                    <a:pt x="675" y="295"/>
                  </a:lnTo>
                  <a:lnTo>
                    <a:pt x="674" y="295"/>
                  </a:lnTo>
                  <a:lnTo>
                    <a:pt x="674" y="296"/>
                  </a:lnTo>
                  <a:lnTo>
                    <a:pt x="675" y="295"/>
                  </a:lnTo>
                  <a:lnTo>
                    <a:pt x="675" y="294"/>
                  </a:lnTo>
                  <a:lnTo>
                    <a:pt x="676" y="294"/>
                  </a:lnTo>
                  <a:close/>
                  <a:moveTo>
                    <a:pt x="852" y="286"/>
                  </a:moveTo>
                  <a:lnTo>
                    <a:pt x="853" y="286"/>
                  </a:lnTo>
                  <a:lnTo>
                    <a:pt x="852" y="287"/>
                  </a:lnTo>
                  <a:lnTo>
                    <a:pt x="853" y="287"/>
                  </a:lnTo>
                  <a:lnTo>
                    <a:pt x="853" y="288"/>
                  </a:lnTo>
                  <a:lnTo>
                    <a:pt x="852" y="288"/>
                  </a:lnTo>
                  <a:lnTo>
                    <a:pt x="852" y="287"/>
                  </a:lnTo>
                  <a:lnTo>
                    <a:pt x="850" y="287"/>
                  </a:lnTo>
                  <a:lnTo>
                    <a:pt x="849" y="287"/>
                  </a:lnTo>
                  <a:lnTo>
                    <a:pt x="849" y="286"/>
                  </a:lnTo>
                  <a:lnTo>
                    <a:pt x="850" y="286"/>
                  </a:lnTo>
                  <a:lnTo>
                    <a:pt x="852" y="286"/>
                  </a:lnTo>
                  <a:lnTo>
                    <a:pt x="852" y="284"/>
                  </a:lnTo>
                  <a:lnTo>
                    <a:pt x="852" y="286"/>
                  </a:lnTo>
                  <a:close/>
                  <a:moveTo>
                    <a:pt x="814" y="283"/>
                  </a:moveTo>
                  <a:lnTo>
                    <a:pt x="816" y="283"/>
                  </a:lnTo>
                  <a:lnTo>
                    <a:pt x="816" y="284"/>
                  </a:lnTo>
                  <a:lnTo>
                    <a:pt x="816" y="286"/>
                  </a:lnTo>
                  <a:lnTo>
                    <a:pt x="814" y="287"/>
                  </a:lnTo>
                  <a:lnTo>
                    <a:pt x="813" y="287"/>
                  </a:lnTo>
                  <a:lnTo>
                    <a:pt x="813" y="288"/>
                  </a:lnTo>
                  <a:lnTo>
                    <a:pt x="812" y="288"/>
                  </a:lnTo>
                  <a:lnTo>
                    <a:pt x="811" y="288"/>
                  </a:lnTo>
                  <a:lnTo>
                    <a:pt x="811" y="289"/>
                  </a:lnTo>
                  <a:lnTo>
                    <a:pt x="810" y="289"/>
                  </a:lnTo>
                  <a:lnTo>
                    <a:pt x="809" y="289"/>
                  </a:lnTo>
                  <a:lnTo>
                    <a:pt x="807" y="289"/>
                  </a:lnTo>
                  <a:lnTo>
                    <a:pt x="807" y="288"/>
                  </a:lnTo>
                  <a:lnTo>
                    <a:pt x="809" y="288"/>
                  </a:lnTo>
                  <a:lnTo>
                    <a:pt x="810" y="287"/>
                  </a:lnTo>
                  <a:lnTo>
                    <a:pt x="810" y="286"/>
                  </a:lnTo>
                  <a:lnTo>
                    <a:pt x="811" y="286"/>
                  </a:lnTo>
                  <a:lnTo>
                    <a:pt x="811" y="284"/>
                  </a:lnTo>
                  <a:lnTo>
                    <a:pt x="812" y="283"/>
                  </a:lnTo>
                  <a:lnTo>
                    <a:pt x="813" y="283"/>
                  </a:lnTo>
                  <a:lnTo>
                    <a:pt x="814" y="283"/>
                  </a:lnTo>
                  <a:close/>
                  <a:moveTo>
                    <a:pt x="852" y="283"/>
                  </a:moveTo>
                  <a:lnTo>
                    <a:pt x="853" y="282"/>
                  </a:lnTo>
                  <a:lnTo>
                    <a:pt x="854" y="282"/>
                  </a:lnTo>
                  <a:lnTo>
                    <a:pt x="853" y="282"/>
                  </a:lnTo>
                  <a:lnTo>
                    <a:pt x="853" y="283"/>
                  </a:lnTo>
                  <a:lnTo>
                    <a:pt x="852" y="283"/>
                  </a:lnTo>
                  <a:close/>
                  <a:moveTo>
                    <a:pt x="704" y="280"/>
                  </a:moveTo>
                  <a:lnTo>
                    <a:pt x="701" y="281"/>
                  </a:lnTo>
                  <a:lnTo>
                    <a:pt x="703" y="281"/>
                  </a:lnTo>
                  <a:lnTo>
                    <a:pt x="701" y="281"/>
                  </a:lnTo>
                  <a:lnTo>
                    <a:pt x="700" y="281"/>
                  </a:lnTo>
                  <a:lnTo>
                    <a:pt x="699" y="282"/>
                  </a:lnTo>
                  <a:lnTo>
                    <a:pt x="698" y="282"/>
                  </a:lnTo>
                  <a:lnTo>
                    <a:pt x="698" y="281"/>
                  </a:lnTo>
                  <a:lnTo>
                    <a:pt x="699" y="281"/>
                  </a:lnTo>
                  <a:lnTo>
                    <a:pt x="704" y="280"/>
                  </a:lnTo>
                  <a:close/>
                  <a:moveTo>
                    <a:pt x="796" y="279"/>
                  </a:moveTo>
                  <a:lnTo>
                    <a:pt x="796" y="277"/>
                  </a:lnTo>
                  <a:lnTo>
                    <a:pt x="797" y="277"/>
                  </a:lnTo>
                  <a:lnTo>
                    <a:pt x="796" y="279"/>
                  </a:lnTo>
                  <a:close/>
                  <a:moveTo>
                    <a:pt x="782" y="274"/>
                  </a:moveTo>
                  <a:lnTo>
                    <a:pt x="781" y="274"/>
                  </a:lnTo>
                  <a:lnTo>
                    <a:pt x="781" y="273"/>
                  </a:lnTo>
                  <a:lnTo>
                    <a:pt x="782" y="273"/>
                  </a:lnTo>
                  <a:lnTo>
                    <a:pt x="782" y="274"/>
                  </a:lnTo>
                  <a:close/>
                  <a:moveTo>
                    <a:pt x="857" y="269"/>
                  </a:moveTo>
                  <a:lnTo>
                    <a:pt x="859" y="269"/>
                  </a:lnTo>
                  <a:lnTo>
                    <a:pt x="859" y="268"/>
                  </a:lnTo>
                  <a:lnTo>
                    <a:pt x="859" y="269"/>
                  </a:lnTo>
                  <a:lnTo>
                    <a:pt x="857" y="269"/>
                  </a:lnTo>
                  <a:lnTo>
                    <a:pt x="857" y="270"/>
                  </a:lnTo>
                  <a:lnTo>
                    <a:pt x="859" y="270"/>
                  </a:lnTo>
                  <a:lnTo>
                    <a:pt x="857" y="270"/>
                  </a:lnTo>
                  <a:lnTo>
                    <a:pt x="859" y="270"/>
                  </a:lnTo>
                  <a:lnTo>
                    <a:pt x="857" y="270"/>
                  </a:lnTo>
                  <a:lnTo>
                    <a:pt x="857" y="272"/>
                  </a:lnTo>
                  <a:lnTo>
                    <a:pt x="856" y="272"/>
                  </a:lnTo>
                  <a:lnTo>
                    <a:pt x="856" y="273"/>
                  </a:lnTo>
                  <a:lnTo>
                    <a:pt x="855" y="273"/>
                  </a:lnTo>
                  <a:lnTo>
                    <a:pt x="854" y="273"/>
                  </a:lnTo>
                  <a:lnTo>
                    <a:pt x="854" y="272"/>
                  </a:lnTo>
                  <a:lnTo>
                    <a:pt x="855" y="272"/>
                  </a:lnTo>
                  <a:lnTo>
                    <a:pt x="854" y="272"/>
                  </a:lnTo>
                  <a:lnTo>
                    <a:pt x="853" y="272"/>
                  </a:lnTo>
                  <a:lnTo>
                    <a:pt x="853" y="270"/>
                  </a:lnTo>
                  <a:lnTo>
                    <a:pt x="852" y="270"/>
                  </a:lnTo>
                  <a:lnTo>
                    <a:pt x="850" y="270"/>
                  </a:lnTo>
                  <a:lnTo>
                    <a:pt x="850" y="269"/>
                  </a:lnTo>
                  <a:lnTo>
                    <a:pt x="850" y="268"/>
                  </a:lnTo>
                  <a:lnTo>
                    <a:pt x="855" y="268"/>
                  </a:lnTo>
                  <a:lnTo>
                    <a:pt x="856" y="268"/>
                  </a:lnTo>
                  <a:lnTo>
                    <a:pt x="859" y="268"/>
                  </a:lnTo>
                  <a:lnTo>
                    <a:pt x="857" y="268"/>
                  </a:lnTo>
                  <a:lnTo>
                    <a:pt x="857" y="269"/>
                  </a:lnTo>
                  <a:close/>
                  <a:moveTo>
                    <a:pt x="848" y="266"/>
                  </a:moveTo>
                  <a:lnTo>
                    <a:pt x="849" y="266"/>
                  </a:lnTo>
                  <a:lnTo>
                    <a:pt x="849" y="267"/>
                  </a:lnTo>
                  <a:lnTo>
                    <a:pt x="848" y="267"/>
                  </a:lnTo>
                  <a:lnTo>
                    <a:pt x="847" y="267"/>
                  </a:lnTo>
                  <a:lnTo>
                    <a:pt x="846" y="266"/>
                  </a:lnTo>
                  <a:lnTo>
                    <a:pt x="847" y="266"/>
                  </a:lnTo>
                  <a:lnTo>
                    <a:pt x="848" y="266"/>
                  </a:lnTo>
                  <a:lnTo>
                    <a:pt x="848" y="265"/>
                  </a:lnTo>
                  <a:lnTo>
                    <a:pt x="849" y="266"/>
                  </a:lnTo>
                  <a:lnTo>
                    <a:pt x="848" y="266"/>
                  </a:lnTo>
                  <a:close/>
                  <a:moveTo>
                    <a:pt x="781" y="266"/>
                  </a:moveTo>
                  <a:lnTo>
                    <a:pt x="779" y="266"/>
                  </a:lnTo>
                  <a:lnTo>
                    <a:pt x="779" y="265"/>
                  </a:lnTo>
                  <a:lnTo>
                    <a:pt x="781" y="265"/>
                  </a:lnTo>
                  <a:lnTo>
                    <a:pt x="781" y="266"/>
                  </a:lnTo>
                  <a:close/>
                  <a:moveTo>
                    <a:pt x="551" y="265"/>
                  </a:moveTo>
                  <a:lnTo>
                    <a:pt x="551" y="266"/>
                  </a:lnTo>
                  <a:lnTo>
                    <a:pt x="550" y="266"/>
                  </a:lnTo>
                  <a:lnTo>
                    <a:pt x="549" y="266"/>
                  </a:lnTo>
                  <a:lnTo>
                    <a:pt x="549" y="265"/>
                  </a:lnTo>
                  <a:lnTo>
                    <a:pt x="550" y="265"/>
                  </a:lnTo>
                  <a:lnTo>
                    <a:pt x="551" y="265"/>
                  </a:lnTo>
                  <a:close/>
                  <a:moveTo>
                    <a:pt x="554" y="265"/>
                  </a:moveTo>
                  <a:lnTo>
                    <a:pt x="553" y="265"/>
                  </a:lnTo>
                  <a:lnTo>
                    <a:pt x="554" y="265"/>
                  </a:lnTo>
                  <a:close/>
                  <a:moveTo>
                    <a:pt x="856" y="265"/>
                  </a:moveTo>
                  <a:lnTo>
                    <a:pt x="857" y="265"/>
                  </a:lnTo>
                  <a:lnTo>
                    <a:pt x="856" y="266"/>
                  </a:lnTo>
                  <a:lnTo>
                    <a:pt x="857" y="266"/>
                  </a:lnTo>
                  <a:lnTo>
                    <a:pt x="857" y="265"/>
                  </a:lnTo>
                  <a:lnTo>
                    <a:pt x="857" y="266"/>
                  </a:lnTo>
                  <a:lnTo>
                    <a:pt x="859" y="266"/>
                  </a:lnTo>
                  <a:lnTo>
                    <a:pt x="859" y="267"/>
                  </a:lnTo>
                  <a:lnTo>
                    <a:pt x="857" y="267"/>
                  </a:lnTo>
                  <a:lnTo>
                    <a:pt x="856" y="267"/>
                  </a:lnTo>
                  <a:lnTo>
                    <a:pt x="855" y="267"/>
                  </a:lnTo>
                  <a:lnTo>
                    <a:pt x="855" y="266"/>
                  </a:lnTo>
                  <a:lnTo>
                    <a:pt x="854" y="266"/>
                  </a:lnTo>
                  <a:lnTo>
                    <a:pt x="854" y="265"/>
                  </a:lnTo>
                  <a:lnTo>
                    <a:pt x="855" y="265"/>
                  </a:lnTo>
                  <a:lnTo>
                    <a:pt x="856" y="265"/>
                  </a:lnTo>
                  <a:close/>
                  <a:moveTo>
                    <a:pt x="778" y="263"/>
                  </a:moveTo>
                  <a:lnTo>
                    <a:pt x="777" y="263"/>
                  </a:lnTo>
                  <a:lnTo>
                    <a:pt x="777" y="262"/>
                  </a:lnTo>
                  <a:lnTo>
                    <a:pt x="777" y="263"/>
                  </a:lnTo>
                  <a:lnTo>
                    <a:pt x="778" y="263"/>
                  </a:lnTo>
                  <a:close/>
                  <a:moveTo>
                    <a:pt x="556" y="262"/>
                  </a:moveTo>
                  <a:lnTo>
                    <a:pt x="556" y="263"/>
                  </a:lnTo>
                  <a:lnTo>
                    <a:pt x="556" y="262"/>
                  </a:lnTo>
                  <a:lnTo>
                    <a:pt x="557" y="262"/>
                  </a:lnTo>
                  <a:lnTo>
                    <a:pt x="556" y="262"/>
                  </a:lnTo>
                  <a:close/>
                  <a:moveTo>
                    <a:pt x="564" y="258"/>
                  </a:moveTo>
                  <a:lnTo>
                    <a:pt x="565" y="258"/>
                  </a:lnTo>
                  <a:lnTo>
                    <a:pt x="564" y="258"/>
                  </a:lnTo>
                  <a:lnTo>
                    <a:pt x="564" y="259"/>
                  </a:lnTo>
                  <a:lnTo>
                    <a:pt x="564" y="258"/>
                  </a:lnTo>
                  <a:lnTo>
                    <a:pt x="563" y="259"/>
                  </a:lnTo>
                  <a:lnTo>
                    <a:pt x="563" y="258"/>
                  </a:lnTo>
                  <a:lnTo>
                    <a:pt x="564" y="258"/>
                  </a:lnTo>
                  <a:lnTo>
                    <a:pt x="563" y="258"/>
                  </a:lnTo>
                  <a:lnTo>
                    <a:pt x="564" y="258"/>
                  </a:lnTo>
                  <a:close/>
                  <a:moveTo>
                    <a:pt x="704" y="258"/>
                  </a:moveTo>
                  <a:lnTo>
                    <a:pt x="704" y="259"/>
                  </a:lnTo>
                  <a:lnTo>
                    <a:pt x="704" y="260"/>
                  </a:lnTo>
                  <a:lnTo>
                    <a:pt x="704" y="261"/>
                  </a:lnTo>
                  <a:lnTo>
                    <a:pt x="703" y="261"/>
                  </a:lnTo>
                  <a:lnTo>
                    <a:pt x="703" y="262"/>
                  </a:lnTo>
                  <a:lnTo>
                    <a:pt x="701" y="262"/>
                  </a:lnTo>
                  <a:lnTo>
                    <a:pt x="701" y="263"/>
                  </a:lnTo>
                  <a:lnTo>
                    <a:pt x="700" y="263"/>
                  </a:lnTo>
                  <a:lnTo>
                    <a:pt x="700" y="265"/>
                  </a:lnTo>
                  <a:lnTo>
                    <a:pt x="699" y="265"/>
                  </a:lnTo>
                  <a:lnTo>
                    <a:pt x="698" y="266"/>
                  </a:lnTo>
                  <a:lnTo>
                    <a:pt x="697" y="267"/>
                  </a:lnTo>
                  <a:lnTo>
                    <a:pt x="698" y="266"/>
                  </a:lnTo>
                  <a:lnTo>
                    <a:pt x="697" y="267"/>
                  </a:lnTo>
                  <a:lnTo>
                    <a:pt x="696" y="268"/>
                  </a:lnTo>
                  <a:lnTo>
                    <a:pt x="695" y="268"/>
                  </a:lnTo>
                  <a:lnTo>
                    <a:pt x="695" y="269"/>
                  </a:lnTo>
                  <a:lnTo>
                    <a:pt x="693" y="269"/>
                  </a:lnTo>
                  <a:lnTo>
                    <a:pt x="692" y="269"/>
                  </a:lnTo>
                  <a:lnTo>
                    <a:pt x="692" y="268"/>
                  </a:lnTo>
                  <a:lnTo>
                    <a:pt x="692" y="267"/>
                  </a:lnTo>
                  <a:lnTo>
                    <a:pt x="691" y="267"/>
                  </a:lnTo>
                  <a:lnTo>
                    <a:pt x="690" y="267"/>
                  </a:lnTo>
                  <a:lnTo>
                    <a:pt x="690" y="266"/>
                  </a:lnTo>
                  <a:lnTo>
                    <a:pt x="690" y="265"/>
                  </a:lnTo>
                  <a:lnTo>
                    <a:pt x="691" y="265"/>
                  </a:lnTo>
                  <a:lnTo>
                    <a:pt x="691" y="263"/>
                  </a:lnTo>
                  <a:lnTo>
                    <a:pt x="692" y="262"/>
                  </a:lnTo>
                  <a:lnTo>
                    <a:pt x="693" y="261"/>
                  </a:lnTo>
                  <a:lnTo>
                    <a:pt x="695" y="260"/>
                  </a:lnTo>
                  <a:lnTo>
                    <a:pt x="696" y="260"/>
                  </a:lnTo>
                  <a:lnTo>
                    <a:pt x="697" y="259"/>
                  </a:lnTo>
                  <a:lnTo>
                    <a:pt x="698" y="258"/>
                  </a:lnTo>
                  <a:lnTo>
                    <a:pt x="699" y="258"/>
                  </a:lnTo>
                  <a:lnTo>
                    <a:pt x="700" y="258"/>
                  </a:lnTo>
                  <a:lnTo>
                    <a:pt x="701" y="258"/>
                  </a:lnTo>
                  <a:lnTo>
                    <a:pt x="703" y="258"/>
                  </a:lnTo>
                  <a:lnTo>
                    <a:pt x="704" y="258"/>
                  </a:lnTo>
                  <a:close/>
                  <a:moveTo>
                    <a:pt x="563" y="258"/>
                  </a:moveTo>
                  <a:lnTo>
                    <a:pt x="562" y="258"/>
                  </a:lnTo>
                  <a:lnTo>
                    <a:pt x="561" y="258"/>
                  </a:lnTo>
                  <a:lnTo>
                    <a:pt x="562" y="258"/>
                  </a:lnTo>
                  <a:lnTo>
                    <a:pt x="563" y="258"/>
                  </a:lnTo>
                  <a:close/>
                  <a:moveTo>
                    <a:pt x="866" y="255"/>
                  </a:moveTo>
                  <a:lnTo>
                    <a:pt x="867" y="255"/>
                  </a:lnTo>
                  <a:lnTo>
                    <a:pt x="868" y="255"/>
                  </a:lnTo>
                  <a:lnTo>
                    <a:pt x="869" y="255"/>
                  </a:lnTo>
                  <a:lnTo>
                    <a:pt x="868" y="256"/>
                  </a:lnTo>
                  <a:lnTo>
                    <a:pt x="869" y="256"/>
                  </a:lnTo>
                  <a:lnTo>
                    <a:pt x="867" y="256"/>
                  </a:lnTo>
                  <a:lnTo>
                    <a:pt x="868" y="256"/>
                  </a:lnTo>
                  <a:lnTo>
                    <a:pt x="867" y="258"/>
                  </a:lnTo>
                  <a:lnTo>
                    <a:pt x="867" y="256"/>
                  </a:lnTo>
                  <a:lnTo>
                    <a:pt x="867" y="258"/>
                  </a:lnTo>
                  <a:lnTo>
                    <a:pt x="866" y="258"/>
                  </a:lnTo>
                  <a:lnTo>
                    <a:pt x="864" y="258"/>
                  </a:lnTo>
                  <a:lnTo>
                    <a:pt x="863" y="258"/>
                  </a:lnTo>
                  <a:lnTo>
                    <a:pt x="862" y="258"/>
                  </a:lnTo>
                  <a:lnTo>
                    <a:pt x="862" y="256"/>
                  </a:lnTo>
                  <a:lnTo>
                    <a:pt x="863" y="256"/>
                  </a:lnTo>
                  <a:lnTo>
                    <a:pt x="863" y="255"/>
                  </a:lnTo>
                  <a:lnTo>
                    <a:pt x="864" y="255"/>
                  </a:lnTo>
                  <a:lnTo>
                    <a:pt x="866" y="255"/>
                  </a:lnTo>
                  <a:close/>
                  <a:moveTo>
                    <a:pt x="722" y="255"/>
                  </a:moveTo>
                  <a:lnTo>
                    <a:pt x="721" y="255"/>
                  </a:lnTo>
                  <a:lnTo>
                    <a:pt x="720" y="255"/>
                  </a:lnTo>
                  <a:lnTo>
                    <a:pt x="722" y="255"/>
                  </a:lnTo>
                  <a:close/>
                  <a:moveTo>
                    <a:pt x="724" y="255"/>
                  </a:moveTo>
                  <a:lnTo>
                    <a:pt x="725" y="255"/>
                  </a:lnTo>
                  <a:lnTo>
                    <a:pt x="724" y="255"/>
                  </a:lnTo>
                  <a:lnTo>
                    <a:pt x="722" y="255"/>
                  </a:lnTo>
                  <a:lnTo>
                    <a:pt x="724" y="255"/>
                  </a:lnTo>
                  <a:close/>
                  <a:moveTo>
                    <a:pt x="863" y="255"/>
                  </a:moveTo>
                  <a:lnTo>
                    <a:pt x="862" y="255"/>
                  </a:lnTo>
                  <a:lnTo>
                    <a:pt x="861" y="255"/>
                  </a:lnTo>
                  <a:lnTo>
                    <a:pt x="862" y="255"/>
                  </a:lnTo>
                  <a:lnTo>
                    <a:pt x="863" y="254"/>
                  </a:lnTo>
                  <a:lnTo>
                    <a:pt x="863" y="255"/>
                  </a:lnTo>
                  <a:lnTo>
                    <a:pt x="864" y="255"/>
                  </a:lnTo>
                  <a:lnTo>
                    <a:pt x="863" y="255"/>
                  </a:lnTo>
                  <a:close/>
                  <a:moveTo>
                    <a:pt x="580" y="254"/>
                  </a:moveTo>
                  <a:lnTo>
                    <a:pt x="579" y="254"/>
                  </a:lnTo>
                  <a:lnTo>
                    <a:pt x="578" y="254"/>
                  </a:lnTo>
                  <a:lnTo>
                    <a:pt x="578" y="253"/>
                  </a:lnTo>
                  <a:lnTo>
                    <a:pt x="579" y="254"/>
                  </a:lnTo>
                  <a:lnTo>
                    <a:pt x="580" y="254"/>
                  </a:lnTo>
                  <a:close/>
                  <a:moveTo>
                    <a:pt x="761" y="253"/>
                  </a:moveTo>
                  <a:lnTo>
                    <a:pt x="761" y="254"/>
                  </a:lnTo>
                  <a:lnTo>
                    <a:pt x="763" y="253"/>
                  </a:lnTo>
                  <a:lnTo>
                    <a:pt x="764" y="254"/>
                  </a:lnTo>
                  <a:lnTo>
                    <a:pt x="765" y="254"/>
                  </a:lnTo>
                  <a:lnTo>
                    <a:pt x="763" y="255"/>
                  </a:lnTo>
                  <a:lnTo>
                    <a:pt x="761" y="254"/>
                  </a:lnTo>
                  <a:lnTo>
                    <a:pt x="760" y="254"/>
                  </a:lnTo>
                  <a:lnTo>
                    <a:pt x="759" y="254"/>
                  </a:lnTo>
                  <a:lnTo>
                    <a:pt x="759" y="253"/>
                  </a:lnTo>
                  <a:lnTo>
                    <a:pt x="760" y="253"/>
                  </a:lnTo>
                  <a:lnTo>
                    <a:pt x="761" y="253"/>
                  </a:lnTo>
                  <a:close/>
                  <a:moveTo>
                    <a:pt x="802" y="252"/>
                  </a:moveTo>
                  <a:lnTo>
                    <a:pt x="803" y="252"/>
                  </a:lnTo>
                  <a:lnTo>
                    <a:pt x="804" y="253"/>
                  </a:lnTo>
                  <a:lnTo>
                    <a:pt x="805" y="253"/>
                  </a:lnTo>
                  <a:lnTo>
                    <a:pt x="804" y="253"/>
                  </a:lnTo>
                  <a:lnTo>
                    <a:pt x="805" y="253"/>
                  </a:lnTo>
                  <a:lnTo>
                    <a:pt x="805" y="254"/>
                  </a:lnTo>
                  <a:lnTo>
                    <a:pt x="804" y="254"/>
                  </a:lnTo>
                  <a:lnTo>
                    <a:pt x="805" y="254"/>
                  </a:lnTo>
                  <a:lnTo>
                    <a:pt x="806" y="254"/>
                  </a:lnTo>
                  <a:lnTo>
                    <a:pt x="806" y="255"/>
                  </a:lnTo>
                  <a:lnTo>
                    <a:pt x="805" y="255"/>
                  </a:lnTo>
                  <a:lnTo>
                    <a:pt x="804" y="255"/>
                  </a:lnTo>
                  <a:lnTo>
                    <a:pt x="803" y="255"/>
                  </a:lnTo>
                  <a:lnTo>
                    <a:pt x="802" y="255"/>
                  </a:lnTo>
                  <a:lnTo>
                    <a:pt x="800" y="255"/>
                  </a:lnTo>
                  <a:lnTo>
                    <a:pt x="799" y="255"/>
                  </a:lnTo>
                  <a:lnTo>
                    <a:pt x="800" y="255"/>
                  </a:lnTo>
                  <a:lnTo>
                    <a:pt x="799" y="255"/>
                  </a:lnTo>
                  <a:lnTo>
                    <a:pt x="799" y="254"/>
                  </a:lnTo>
                  <a:lnTo>
                    <a:pt x="799" y="253"/>
                  </a:lnTo>
                  <a:lnTo>
                    <a:pt x="800" y="253"/>
                  </a:lnTo>
                  <a:lnTo>
                    <a:pt x="800" y="252"/>
                  </a:lnTo>
                  <a:lnTo>
                    <a:pt x="799" y="252"/>
                  </a:lnTo>
                  <a:lnTo>
                    <a:pt x="798" y="252"/>
                  </a:lnTo>
                  <a:lnTo>
                    <a:pt x="797" y="252"/>
                  </a:lnTo>
                  <a:lnTo>
                    <a:pt x="798" y="252"/>
                  </a:lnTo>
                  <a:lnTo>
                    <a:pt x="797" y="252"/>
                  </a:lnTo>
                  <a:lnTo>
                    <a:pt x="797" y="251"/>
                  </a:lnTo>
                  <a:lnTo>
                    <a:pt x="802" y="252"/>
                  </a:lnTo>
                  <a:close/>
                  <a:moveTo>
                    <a:pt x="849" y="252"/>
                  </a:moveTo>
                  <a:lnTo>
                    <a:pt x="848" y="251"/>
                  </a:lnTo>
                  <a:lnTo>
                    <a:pt x="847" y="251"/>
                  </a:lnTo>
                  <a:lnTo>
                    <a:pt x="848" y="251"/>
                  </a:lnTo>
                  <a:lnTo>
                    <a:pt x="849" y="251"/>
                  </a:lnTo>
                  <a:lnTo>
                    <a:pt x="849" y="252"/>
                  </a:lnTo>
                  <a:close/>
                  <a:moveTo>
                    <a:pt x="679" y="249"/>
                  </a:moveTo>
                  <a:lnTo>
                    <a:pt x="682" y="249"/>
                  </a:lnTo>
                  <a:lnTo>
                    <a:pt x="682" y="251"/>
                  </a:lnTo>
                  <a:lnTo>
                    <a:pt x="681" y="251"/>
                  </a:lnTo>
                  <a:lnTo>
                    <a:pt x="681" y="252"/>
                  </a:lnTo>
                  <a:lnTo>
                    <a:pt x="679" y="252"/>
                  </a:lnTo>
                  <a:lnTo>
                    <a:pt x="679" y="253"/>
                  </a:lnTo>
                  <a:lnTo>
                    <a:pt x="678" y="254"/>
                  </a:lnTo>
                  <a:lnTo>
                    <a:pt x="677" y="254"/>
                  </a:lnTo>
                  <a:lnTo>
                    <a:pt x="676" y="254"/>
                  </a:lnTo>
                  <a:lnTo>
                    <a:pt x="675" y="255"/>
                  </a:lnTo>
                  <a:lnTo>
                    <a:pt x="674" y="255"/>
                  </a:lnTo>
                  <a:lnTo>
                    <a:pt x="672" y="255"/>
                  </a:lnTo>
                  <a:lnTo>
                    <a:pt x="672" y="256"/>
                  </a:lnTo>
                  <a:lnTo>
                    <a:pt x="669" y="258"/>
                  </a:lnTo>
                  <a:lnTo>
                    <a:pt x="667" y="259"/>
                  </a:lnTo>
                  <a:lnTo>
                    <a:pt x="664" y="260"/>
                  </a:lnTo>
                  <a:lnTo>
                    <a:pt x="662" y="261"/>
                  </a:lnTo>
                  <a:lnTo>
                    <a:pt x="662" y="260"/>
                  </a:lnTo>
                  <a:lnTo>
                    <a:pt x="661" y="260"/>
                  </a:lnTo>
                  <a:lnTo>
                    <a:pt x="658" y="260"/>
                  </a:lnTo>
                  <a:lnTo>
                    <a:pt x="655" y="261"/>
                  </a:lnTo>
                  <a:lnTo>
                    <a:pt x="656" y="260"/>
                  </a:lnTo>
                  <a:lnTo>
                    <a:pt x="656" y="259"/>
                  </a:lnTo>
                  <a:lnTo>
                    <a:pt x="655" y="258"/>
                  </a:lnTo>
                  <a:lnTo>
                    <a:pt x="655" y="256"/>
                  </a:lnTo>
                  <a:lnTo>
                    <a:pt x="656" y="256"/>
                  </a:lnTo>
                  <a:lnTo>
                    <a:pt x="658" y="255"/>
                  </a:lnTo>
                  <a:lnTo>
                    <a:pt x="660" y="254"/>
                  </a:lnTo>
                  <a:lnTo>
                    <a:pt x="661" y="254"/>
                  </a:lnTo>
                  <a:lnTo>
                    <a:pt x="662" y="254"/>
                  </a:lnTo>
                  <a:lnTo>
                    <a:pt x="662" y="253"/>
                  </a:lnTo>
                  <a:lnTo>
                    <a:pt x="662" y="252"/>
                  </a:lnTo>
                  <a:lnTo>
                    <a:pt x="663" y="252"/>
                  </a:lnTo>
                  <a:lnTo>
                    <a:pt x="664" y="252"/>
                  </a:lnTo>
                  <a:lnTo>
                    <a:pt x="664" y="251"/>
                  </a:lnTo>
                  <a:lnTo>
                    <a:pt x="665" y="251"/>
                  </a:lnTo>
                  <a:lnTo>
                    <a:pt x="667" y="251"/>
                  </a:lnTo>
                  <a:lnTo>
                    <a:pt x="668" y="251"/>
                  </a:lnTo>
                  <a:lnTo>
                    <a:pt x="668" y="252"/>
                  </a:lnTo>
                  <a:lnTo>
                    <a:pt x="669" y="252"/>
                  </a:lnTo>
                  <a:lnTo>
                    <a:pt x="672" y="249"/>
                  </a:lnTo>
                  <a:lnTo>
                    <a:pt x="674" y="249"/>
                  </a:lnTo>
                  <a:lnTo>
                    <a:pt x="675" y="249"/>
                  </a:lnTo>
                  <a:lnTo>
                    <a:pt x="676" y="251"/>
                  </a:lnTo>
                  <a:lnTo>
                    <a:pt x="677" y="249"/>
                  </a:lnTo>
                  <a:lnTo>
                    <a:pt x="678" y="249"/>
                  </a:lnTo>
                  <a:lnTo>
                    <a:pt x="679" y="249"/>
                  </a:lnTo>
                  <a:close/>
                  <a:moveTo>
                    <a:pt x="846" y="249"/>
                  </a:moveTo>
                  <a:lnTo>
                    <a:pt x="845" y="251"/>
                  </a:lnTo>
                  <a:lnTo>
                    <a:pt x="845" y="249"/>
                  </a:lnTo>
                  <a:lnTo>
                    <a:pt x="843" y="248"/>
                  </a:lnTo>
                  <a:lnTo>
                    <a:pt x="845" y="248"/>
                  </a:lnTo>
                  <a:lnTo>
                    <a:pt x="846" y="249"/>
                  </a:lnTo>
                  <a:close/>
                  <a:moveTo>
                    <a:pt x="834" y="246"/>
                  </a:moveTo>
                  <a:lnTo>
                    <a:pt x="833" y="246"/>
                  </a:lnTo>
                  <a:lnTo>
                    <a:pt x="832" y="245"/>
                  </a:lnTo>
                  <a:lnTo>
                    <a:pt x="833" y="245"/>
                  </a:lnTo>
                  <a:lnTo>
                    <a:pt x="834" y="246"/>
                  </a:lnTo>
                  <a:close/>
                  <a:moveTo>
                    <a:pt x="835" y="246"/>
                  </a:moveTo>
                  <a:lnTo>
                    <a:pt x="834" y="246"/>
                  </a:lnTo>
                  <a:lnTo>
                    <a:pt x="834" y="245"/>
                  </a:lnTo>
                  <a:lnTo>
                    <a:pt x="835" y="246"/>
                  </a:lnTo>
                  <a:close/>
                  <a:moveTo>
                    <a:pt x="836" y="245"/>
                  </a:moveTo>
                  <a:lnTo>
                    <a:pt x="836" y="244"/>
                  </a:lnTo>
                  <a:lnTo>
                    <a:pt x="836" y="245"/>
                  </a:lnTo>
                  <a:close/>
                  <a:moveTo>
                    <a:pt x="592" y="242"/>
                  </a:moveTo>
                  <a:lnTo>
                    <a:pt x="591" y="242"/>
                  </a:lnTo>
                  <a:lnTo>
                    <a:pt x="592" y="242"/>
                  </a:lnTo>
                  <a:lnTo>
                    <a:pt x="593" y="242"/>
                  </a:lnTo>
                  <a:lnTo>
                    <a:pt x="592" y="242"/>
                  </a:lnTo>
                  <a:close/>
                  <a:moveTo>
                    <a:pt x="725" y="242"/>
                  </a:moveTo>
                  <a:lnTo>
                    <a:pt x="726" y="242"/>
                  </a:lnTo>
                  <a:lnTo>
                    <a:pt x="727" y="242"/>
                  </a:lnTo>
                  <a:lnTo>
                    <a:pt x="728" y="242"/>
                  </a:lnTo>
                  <a:lnTo>
                    <a:pt x="729" y="242"/>
                  </a:lnTo>
                  <a:lnTo>
                    <a:pt x="731" y="242"/>
                  </a:lnTo>
                  <a:lnTo>
                    <a:pt x="729" y="242"/>
                  </a:lnTo>
                  <a:lnTo>
                    <a:pt x="731" y="242"/>
                  </a:lnTo>
                  <a:lnTo>
                    <a:pt x="731" y="244"/>
                  </a:lnTo>
                  <a:lnTo>
                    <a:pt x="732" y="242"/>
                  </a:lnTo>
                  <a:lnTo>
                    <a:pt x="732" y="244"/>
                  </a:lnTo>
                  <a:lnTo>
                    <a:pt x="732" y="245"/>
                  </a:lnTo>
                  <a:lnTo>
                    <a:pt x="732" y="246"/>
                  </a:lnTo>
                  <a:lnTo>
                    <a:pt x="731" y="246"/>
                  </a:lnTo>
                  <a:lnTo>
                    <a:pt x="729" y="247"/>
                  </a:lnTo>
                  <a:lnTo>
                    <a:pt x="728" y="247"/>
                  </a:lnTo>
                  <a:lnTo>
                    <a:pt x="727" y="247"/>
                  </a:lnTo>
                  <a:lnTo>
                    <a:pt x="726" y="248"/>
                  </a:lnTo>
                  <a:lnTo>
                    <a:pt x="725" y="247"/>
                  </a:lnTo>
                  <a:lnTo>
                    <a:pt x="725" y="246"/>
                  </a:lnTo>
                  <a:lnTo>
                    <a:pt x="724" y="246"/>
                  </a:lnTo>
                  <a:lnTo>
                    <a:pt x="724" y="245"/>
                  </a:lnTo>
                  <a:lnTo>
                    <a:pt x="722" y="244"/>
                  </a:lnTo>
                  <a:lnTo>
                    <a:pt x="722" y="242"/>
                  </a:lnTo>
                  <a:lnTo>
                    <a:pt x="724" y="242"/>
                  </a:lnTo>
                  <a:lnTo>
                    <a:pt x="725" y="241"/>
                  </a:lnTo>
                  <a:lnTo>
                    <a:pt x="725" y="242"/>
                  </a:lnTo>
                  <a:close/>
                  <a:moveTo>
                    <a:pt x="590" y="241"/>
                  </a:moveTo>
                  <a:lnTo>
                    <a:pt x="592" y="241"/>
                  </a:lnTo>
                  <a:lnTo>
                    <a:pt x="591" y="241"/>
                  </a:lnTo>
                  <a:lnTo>
                    <a:pt x="592" y="241"/>
                  </a:lnTo>
                  <a:lnTo>
                    <a:pt x="592" y="242"/>
                  </a:lnTo>
                  <a:lnTo>
                    <a:pt x="591" y="242"/>
                  </a:lnTo>
                  <a:lnTo>
                    <a:pt x="590" y="241"/>
                  </a:lnTo>
                  <a:close/>
                  <a:moveTo>
                    <a:pt x="880" y="241"/>
                  </a:moveTo>
                  <a:lnTo>
                    <a:pt x="878" y="242"/>
                  </a:lnTo>
                  <a:lnTo>
                    <a:pt x="878" y="241"/>
                  </a:lnTo>
                  <a:lnTo>
                    <a:pt x="878" y="240"/>
                  </a:lnTo>
                  <a:lnTo>
                    <a:pt x="880" y="241"/>
                  </a:lnTo>
                  <a:close/>
                  <a:moveTo>
                    <a:pt x="585" y="241"/>
                  </a:moveTo>
                  <a:lnTo>
                    <a:pt x="584" y="241"/>
                  </a:lnTo>
                  <a:lnTo>
                    <a:pt x="585" y="241"/>
                  </a:lnTo>
                  <a:lnTo>
                    <a:pt x="584" y="241"/>
                  </a:lnTo>
                  <a:lnTo>
                    <a:pt x="584" y="240"/>
                  </a:lnTo>
                  <a:lnTo>
                    <a:pt x="585" y="240"/>
                  </a:lnTo>
                  <a:lnTo>
                    <a:pt x="586" y="241"/>
                  </a:lnTo>
                  <a:lnTo>
                    <a:pt x="585" y="241"/>
                  </a:lnTo>
                  <a:close/>
                  <a:moveTo>
                    <a:pt x="876" y="244"/>
                  </a:moveTo>
                  <a:lnTo>
                    <a:pt x="877" y="244"/>
                  </a:lnTo>
                  <a:lnTo>
                    <a:pt x="877" y="245"/>
                  </a:lnTo>
                  <a:lnTo>
                    <a:pt x="876" y="245"/>
                  </a:lnTo>
                  <a:lnTo>
                    <a:pt x="875" y="245"/>
                  </a:lnTo>
                  <a:lnTo>
                    <a:pt x="875" y="244"/>
                  </a:lnTo>
                  <a:lnTo>
                    <a:pt x="875" y="242"/>
                  </a:lnTo>
                  <a:lnTo>
                    <a:pt x="875" y="241"/>
                  </a:lnTo>
                  <a:lnTo>
                    <a:pt x="875" y="240"/>
                  </a:lnTo>
                  <a:lnTo>
                    <a:pt x="876" y="240"/>
                  </a:lnTo>
                  <a:lnTo>
                    <a:pt x="877" y="240"/>
                  </a:lnTo>
                  <a:lnTo>
                    <a:pt x="876" y="241"/>
                  </a:lnTo>
                  <a:lnTo>
                    <a:pt x="876" y="242"/>
                  </a:lnTo>
                  <a:lnTo>
                    <a:pt x="876" y="244"/>
                  </a:lnTo>
                  <a:close/>
                  <a:moveTo>
                    <a:pt x="740" y="240"/>
                  </a:moveTo>
                  <a:lnTo>
                    <a:pt x="740" y="239"/>
                  </a:lnTo>
                  <a:lnTo>
                    <a:pt x="743" y="241"/>
                  </a:lnTo>
                  <a:lnTo>
                    <a:pt x="742" y="242"/>
                  </a:lnTo>
                  <a:lnTo>
                    <a:pt x="743" y="242"/>
                  </a:lnTo>
                  <a:lnTo>
                    <a:pt x="745" y="242"/>
                  </a:lnTo>
                  <a:lnTo>
                    <a:pt x="743" y="242"/>
                  </a:lnTo>
                  <a:lnTo>
                    <a:pt x="743" y="244"/>
                  </a:lnTo>
                  <a:lnTo>
                    <a:pt x="742" y="242"/>
                  </a:lnTo>
                  <a:lnTo>
                    <a:pt x="742" y="244"/>
                  </a:lnTo>
                  <a:lnTo>
                    <a:pt x="741" y="244"/>
                  </a:lnTo>
                  <a:lnTo>
                    <a:pt x="740" y="244"/>
                  </a:lnTo>
                  <a:lnTo>
                    <a:pt x="739" y="244"/>
                  </a:lnTo>
                  <a:lnTo>
                    <a:pt x="739" y="242"/>
                  </a:lnTo>
                  <a:lnTo>
                    <a:pt x="738" y="242"/>
                  </a:lnTo>
                  <a:lnTo>
                    <a:pt x="738" y="241"/>
                  </a:lnTo>
                  <a:lnTo>
                    <a:pt x="736" y="241"/>
                  </a:lnTo>
                  <a:lnTo>
                    <a:pt x="735" y="241"/>
                  </a:lnTo>
                  <a:lnTo>
                    <a:pt x="735" y="240"/>
                  </a:lnTo>
                  <a:lnTo>
                    <a:pt x="736" y="240"/>
                  </a:lnTo>
                  <a:lnTo>
                    <a:pt x="735" y="240"/>
                  </a:lnTo>
                  <a:lnTo>
                    <a:pt x="736" y="240"/>
                  </a:lnTo>
                  <a:lnTo>
                    <a:pt x="738" y="240"/>
                  </a:lnTo>
                  <a:lnTo>
                    <a:pt x="736" y="240"/>
                  </a:lnTo>
                  <a:lnTo>
                    <a:pt x="736" y="239"/>
                  </a:lnTo>
                  <a:lnTo>
                    <a:pt x="738" y="239"/>
                  </a:lnTo>
                  <a:lnTo>
                    <a:pt x="739" y="239"/>
                  </a:lnTo>
                  <a:lnTo>
                    <a:pt x="740" y="240"/>
                  </a:lnTo>
                  <a:close/>
                  <a:moveTo>
                    <a:pt x="790" y="239"/>
                  </a:moveTo>
                  <a:lnTo>
                    <a:pt x="790" y="240"/>
                  </a:lnTo>
                  <a:lnTo>
                    <a:pt x="790" y="239"/>
                  </a:lnTo>
                  <a:lnTo>
                    <a:pt x="789" y="239"/>
                  </a:lnTo>
                  <a:lnTo>
                    <a:pt x="789" y="240"/>
                  </a:lnTo>
                  <a:lnTo>
                    <a:pt x="788" y="240"/>
                  </a:lnTo>
                  <a:lnTo>
                    <a:pt x="786" y="240"/>
                  </a:lnTo>
                  <a:lnTo>
                    <a:pt x="790" y="239"/>
                  </a:lnTo>
                  <a:close/>
                  <a:moveTo>
                    <a:pt x="878" y="239"/>
                  </a:moveTo>
                  <a:lnTo>
                    <a:pt x="877" y="239"/>
                  </a:lnTo>
                  <a:lnTo>
                    <a:pt x="877" y="238"/>
                  </a:lnTo>
                  <a:lnTo>
                    <a:pt x="878" y="238"/>
                  </a:lnTo>
                  <a:lnTo>
                    <a:pt x="878" y="237"/>
                  </a:lnTo>
                  <a:lnTo>
                    <a:pt x="880" y="238"/>
                  </a:lnTo>
                  <a:lnTo>
                    <a:pt x="878" y="239"/>
                  </a:lnTo>
                  <a:close/>
                  <a:moveTo>
                    <a:pt x="571" y="237"/>
                  </a:moveTo>
                  <a:lnTo>
                    <a:pt x="570" y="237"/>
                  </a:lnTo>
                  <a:lnTo>
                    <a:pt x="571" y="237"/>
                  </a:lnTo>
                  <a:close/>
                  <a:moveTo>
                    <a:pt x="875" y="237"/>
                  </a:moveTo>
                  <a:lnTo>
                    <a:pt x="876" y="237"/>
                  </a:lnTo>
                  <a:lnTo>
                    <a:pt x="875" y="238"/>
                  </a:lnTo>
                  <a:lnTo>
                    <a:pt x="876" y="237"/>
                  </a:lnTo>
                  <a:lnTo>
                    <a:pt x="876" y="238"/>
                  </a:lnTo>
                  <a:lnTo>
                    <a:pt x="875" y="238"/>
                  </a:lnTo>
                  <a:lnTo>
                    <a:pt x="876" y="238"/>
                  </a:lnTo>
                  <a:lnTo>
                    <a:pt x="876" y="239"/>
                  </a:lnTo>
                  <a:lnTo>
                    <a:pt x="876" y="238"/>
                  </a:lnTo>
                  <a:lnTo>
                    <a:pt x="877" y="238"/>
                  </a:lnTo>
                  <a:lnTo>
                    <a:pt x="877" y="239"/>
                  </a:lnTo>
                  <a:lnTo>
                    <a:pt x="876" y="239"/>
                  </a:lnTo>
                  <a:lnTo>
                    <a:pt x="876" y="240"/>
                  </a:lnTo>
                  <a:lnTo>
                    <a:pt x="876" y="239"/>
                  </a:lnTo>
                  <a:lnTo>
                    <a:pt x="875" y="239"/>
                  </a:lnTo>
                  <a:lnTo>
                    <a:pt x="874" y="238"/>
                  </a:lnTo>
                  <a:lnTo>
                    <a:pt x="873" y="238"/>
                  </a:lnTo>
                  <a:lnTo>
                    <a:pt x="871" y="238"/>
                  </a:lnTo>
                  <a:lnTo>
                    <a:pt x="873" y="237"/>
                  </a:lnTo>
                  <a:lnTo>
                    <a:pt x="874" y="237"/>
                  </a:lnTo>
                  <a:lnTo>
                    <a:pt x="874" y="238"/>
                  </a:lnTo>
                  <a:lnTo>
                    <a:pt x="874" y="237"/>
                  </a:lnTo>
                  <a:lnTo>
                    <a:pt x="875" y="237"/>
                  </a:lnTo>
                  <a:close/>
                  <a:moveTo>
                    <a:pt x="738" y="234"/>
                  </a:moveTo>
                  <a:lnTo>
                    <a:pt x="738" y="235"/>
                  </a:lnTo>
                  <a:lnTo>
                    <a:pt x="736" y="235"/>
                  </a:lnTo>
                  <a:lnTo>
                    <a:pt x="735" y="235"/>
                  </a:lnTo>
                  <a:lnTo>
                    <a:pt x="734" y="235"/>
                  </a:lnTo>
                  <a:lnTo>
                    <a:pt x="733" y="235"/>
                  </a:lnTo>
                  <a:lnTo>
                    <a:pt x="734" y="235"/>
                  </a:lnTo>
                  <a:lnTo>
                    <a:pt x="734" y="234"/>
                  </a:lnTo>
                  <a:lnTo>
                    <a:pt x="735" y="234"/>
                  </a:lnTo>
                  <a:lnTo>
                    <a:pt x="738" y="234"/>
                  </a:lnTo>
                  <a:lnTo>
                    <a:pt x="739" y="234"/>
                  </a:lnTo>
                  <a:lnTo>
                    <a:pt x="738" y="234"/>
                  </a:lnTo>
                  <a:close/>
                  <a:moveTo>
                    <a:pt x="698" y="232"/>
                  </a:moveTo>
                  <a:lnTo>
                    <a:pt x="697" y="232"/>
                  </a:lnTo>
                  <a:lnTo>
                    <a:pt x="698" y="232"/>
                  </a:lnTo>
                  <a:lnTo>
                    <a:pt x="699" y="232"/>
                  </a:lnTo>
                  <a:lnTo>
                    <a:pt x="698" y="232"/>
                  </a:lnTo>
                  <a:close/>
                  <a:moveTo>
                    <a:pt x="785" y="232"/>
                  </a:moveTo>
                  <a:lnTo>
                    <a:pt x="786" y="232"/>
                  </a:lnTo>
                  <a:lnTo>
                    <a:pt x="785" y="232"/>
                  </a:lnTo>
                  <a:lnTo>
                    <a:pt x="785" y="233"/>
                  </a:lnTo>
                  <a:lnTo>
                    <a:pt x="784" y="233"/>
                  </a:lnTo>
                  <a:lnTo>
                    <a:pt x="784" y="232"/>
                  </a:lnTo>
                  <a:lnTo>
                    <a:pt x="785" y="232"/>
                  </a:lnTo>
                  <a:close/>
                  <a:moveTo>
                    <a:pt x="752" y="232"/>
                  </a:moveTo>
                  <a:lnTo>
                    <a:pt x="750" y="232"/>
                  </a:lnTo>
                  <a:lnTo>
                    <a:pt x="752" y="232"/>
                  </a:lnTo>
                  <a:close/>
                  <a:moveTo>
                    <a:pt x="750" y="231"/>
                  </a:moveTo>
                  <a:lnTo>
                    <a:pt x="750" y="232"/>
                  </a:lnTo>
                  <a:lnTo>
                    <a:pt x="749" y="232"/>
                  </a:lnTo>
                  <a:lnTo>
                    <a:pt x="749" y="231"/>
                  </a:lnTo>
                  <a:lnTo>
                    <a:pt x="750" y="231"/>
                  </a:lnTo>
                  <a:close/>
                  <a:moveTo>
                    <a:pt x="875" y="232"/>
                  </a:moveTo>
                  <a:lnTo>
                    <a:pt x="874" y="232"/>
                  </a:lnTo>
                  <a:lnTo>
                    <a:pt x="874" y="231"/>
                  </a:lnTo>
                  <a:lnTo>
                    <a:pt x="875" y="231"/>
                  </a:lnTo>
                  <a:lnTo>
                    <a:pt x="875" y="232"/>
                  </a:lnTo>
                  <a:close/>
                  <a:moveTo>
                    <a:pt x="785" y="228"/>
                  </a:moveTo>
                  <a:lnTo>
                    <a:pt x="784" y="230"/>
                  </a:lnTo>
                  <a:lnTo>
                    <a:pt x="783" y="230"/>
                  </a:lnTo>
                  <a:lnTo>
                    <a:pt x="783" y="231"/>
                  </a:lnTo>
                  <a:lnTo>
                    <a:pt x="782" y="231"/>
                  </a:lnTo>
                  <a:lnTo>
                    <a:pt x="783" y="230"/>
                  </a:lnTo>
                  <a:lnTo>
                    <a:pt x="783" y="228"/>
                  </a:lnTo>
                  <a:lnTo>
                    <a:pt x="784" y="228"/>
                  </a:lnTo>
                  <a:lnTo>
                    <a:pt x="784" y="227"/>
                  </a:lnTo>
                  <a:lnTo>
                    <a:pt x="785" y="227"/>
                  </a:lnTo>
                  <a:lnTo>
                    <a:pt x="785" y="228"/>
                  </a:lnTo>
                  <a:close/>
                  <a:moveTo>
                    <a:pt x="875" y="225"/>
                  </a:moveTo>
                  <a:lnTo>
                    <a:pt x="874" y="226"/>
                  </a:lnTo>
                  <a:lnTo>
                    <a:pt x="875" y="226"/>
                  </a:lnTo>
                  <a:lnTo>
                    <a:pt x="874" y="226"/>
                  </a:lnTo>
                  <a:lnTo>
                    <a:pt x="875" y="226"/>
                  </a:lnTo>
                  <a:lnTo>
                    <a:pt x="874" y="226"/>
                  </a:lnTo>
                  <a:lnTo>
                    <a:pt x="873" y="226"/>
                  </a:lnTo>
                  <a:lnTo>
                    <a:pt x="871" y="227"/>
                  </a:lnTo>
                  <a:lnTo>
                    <a:pt x="873" y="227"/>
                  </a:lnTo>
                  <a:lnTo>
                    <a:pt x="871" y="227"/>
                  </a:lnTo>
                  <a:lnTo>
                    <a:pt x="870" y="227"/>
                  </a:lnTo>
                  <a:lnTo>
                    <a:pt x="871" y="227"/>
                  </a:lnTo>
                  <a:lnTo>
                    <a:pt x="870" y="227"/>
                  </a:lnTo>
                  <a:lnTo>
                    <a:pt x="869" y="228"/>
                  </a:lnTo>
                  <a:lnTo>
                    <a:pt x="869" y="227"/>
                  </a:lnTo>
                  <a:lnTo>
                    <a:pt x="870" y="226"/>
                  </a:lnTo>
                  <a:lnTo>
                    <a:pt x="871" y="226"/>
                  </a:lnTo>
                  <a:lnTo>
                    <a:pt x="873" y="225"/>
                  </a:lnTo>
                  <a:lnTo>
                    <a:pt x="874" y="225"/>
                  </a:lnTo>
                  <a:lnTo>
                    <a:pt x="873" y="226"/>
                  </a:lnTo>
                  <a:lnTo>
                    <a:pt x="874" y="225"/>
                  </a:lnTo>
                  <a:lnTo>
                    <a:pt x="875" y="225"/>
                  </a:lnTo>
                  <a:lnTo>
                    <a:pt x="874" y="225"/>
                  </a:lnTo>
                  <a:lnTo>
                    <a:pt x="875" y="225"/>
                  </a:lnTo>
                  <a:close/>
                  <a:moveTo>
                    <a:pt x="861" y="217"/>
                  </a:moveTo>
                  <a:lnTo>
                    <a:pt x="861" y="216"/>
                  </a:lnTo>
                  <a:lnTo>
                    <a:pt x="862" y="216"/>
                  </a:lnTo>
                  <a:lnTo>
                    <a:pt x="862" y="217"/>
                  </a:lnTo>
                  <a:lnTo>
                    <a:pt x="861" y="217"/>
                  </a:lnTo>
                  <a:close/>
                  <a:moveTo>
                    <a:pt x="628" y="216"/>
                  </a:moveTo>
                  <a:lnTo>
                    <a:pt x="629" y="216"/>
                  </a:lnTo>
                  <a:lnTo>
                    <a:pt x="628" y="216"/>
                  </a:lnTo>
                  <a:close/>
                  <a:moveTo>
                    <a:pt x="636" y="214"/>
                  </a:moveTo>
                  <a:lnTo>
                    <a:pt x="635" y="214"/>
                  </a:lnTo>
                  <a:lnTo>
                    <a:pt x="636" y="214"/>
                  </a:lnTo>
                  <a:close/>
                  <a:moveTo>
                    <a:pt x="860" y="211"/>
                  </a:moveTo>
                  <a:lnTo>
                    <a:pt x="859" y="211"/>
                  </a:lnTo>
                  <a:lnTo>
                    <a:pt x="857" y="211"/>
                  </a:lnTo>
                  <a:lnTo>
                    <a:pt x="856" y="211"/>
                  </a:lnTo>
                  <a:lnTo>
                    <a:pt x="857" y="211"/>
                  </a:lnTo>
                  <a:lnTo>
                    <a:pt x="860" y="211"/>
                  </a:lnTo>
                  <a:close/>
                  <a:moveTo>
                    <a:pt x="912" y="211"/>
                  </a:moveTo>
                  <a:lnTo>
                    <a:pt x="913" y="211"/>
                  </a:lnTo>
                  <a:lnTo>
                    <a:pt x="914" y="211"/>
                  </a:lnTo>
                  <a:lnTo>
                    <a:pt x="914" y="212"/>
                  </a:lnTo>
                  <a:lnTo>
                    <a:pt x="913" y="212"/>
                  </a:lnTo>
                  <a:lnTo>
                    <a:pt x="912" y="212"/>
                  </a:lnTo>
                  <a:lnTo>
                    <a:pt x="911" y="212"/>
                  </a:lnTo>
                  <a:lnTo>
                    <a:pt x="911" y="211"/>
                  </a:lnTo>
                  <a:lnTo>
                    <a:pt x="912" y="211"/>
                  </a:lnTo>
                  <a:close/>
                  <a:moveTo>
                    <a:pt x="876" y="211"/>
                  </a:moveTo>
                  <a:lnTo>
                    <a:pt x="876" y="212"/>
                  </a:lnTo>
                  <a:lnTo>
                    <a:pt x="876" y="211"/>
                  </a:lnTo>
                  <a:lnTo>
                    <a:pt x="876" y="210"/>
                  </a:lnTo>
                  <a:lnTo>
                    <a:pt x="877" y="210"/>
                  </a:lnTo>
                  <a:lnTo>
                    <a:pt x="877" y="211"/>
                  </a:lnTo>
                  <a:lnTo>
                    <a:pt x="876" y="211"/>
                  </a:lnTo>
                  <a:close/>
                  <a:moveTo>
                    <a:pt x="693" y="210"/>
                  </a:moveTo>
                  <a:lnTo>
                    <a:pt x="692" y="210"/>
                  </a:lnTo>
                  <a:lnTo>
                    <a:pt x="691" y="210"/>
                  </a:lnTo>
                  <a:lnTo>
                    <a:pt x="691" y="209"/>
                  </a:lnTo>
                  <a:lnTo>
                    <a:pt x="693" y="209"/>
                  </a:lnTo>
                  <a:lnTo>
                    <a:pt x="693" y="210"/>
                  </a:lnTo>
                  <a:close/>
                  <a:moveTo>
                    <a:pt x="670" y="210"/>
                  </a:moveTo>
                  <a:lnTo>
                    <a:pt x="671" y="210"/>
                  </a:lnTo>
                  <a:lnTo>
                    <a:pt x="672" y="210"/>
                  </a:lnTo>
                  <a:lnTo>
                    <a:pt x="674" y="210"/>
                  </a:lnTo>
                  <a:lnTo>
                    <a:pt x="674" y="211"/>
                  </a:lnTo>
                  <a:lnTo>
                    <a:pt x="672" y="211"/>
                  </a:lnTo>
                  <a:lnTo>
                    <a:pt x="674" y="212"/>
                  </a:lnTo>
                  <a:lnTo>
                    <a:pt x="672" y="212"/>
                  </a:lnTo>
                  <a:lnTo>
                    <a:pt x="672" y="213"/>
                  </a:lnTo>
                  <a:lnTo>
                    <a:pt x="670" y="213"/>
                  </a:lnTo>
                  <a:lnTo>
                    <a:pt x="669" y="213"/>
                  </a:lnTo>
                  <a:lnTo>
                    <a:pt x="670" y="214"/>
                  </a:lnTo>
                  <a:lnTo>
                    <a:pt x="671" y="214"/>
                  </a:lnTo>
                  <a:lnTo>
                    <a:pt x="671" y="216"/>
                  </a:lnTo>
                  <a:lnTo>
                    <a:pt x="671" y="217"/>
                  </a:lnTo>
                  <a:lnTo>
                    <a:pt x="671" y="218"/>
                  </a:lnTo>
                  <a:lnTo>
                    <a:pt x="670" y="218"/>
                  </a:lnTo>
                  <a:lnTo>
                    <a:pt x="671" y="218"/>
                  </a:lnTo>
                  <a:lnTo>
                    <a:pt x="672" y="218"/>
                  </a:lnTo>
                  <a:lnTo>
                    <a:pt x="672" y="217"/>
                  </a:lnTo>
                  <a:lnTo>
                    <a:pt x="674" y="217"/>
                  </a:lnTo>
                  <a:lnTo>
                    <a:pt x="674" y="216"/>
                  </a:lnTo>
                  <a:lnTo>
                    <a:pt x="675" y="216"/>
                  </a:lnTo>
                  <a:lnTo>
                    <a:pt x="676" y="214"/>
                  </a:lnTo>
                  <a:lnTo>
                    <a:pt x="677" y="214"/>
                  </a:lnTo>
                  <a:lnTo>
                    <a:pt x="678" y="214"/>
                  </a:lnTo>
                  <a:lnTo>
                    <a:pt x="677" y="216"/>
                  </a:lnTo>
                  <a:lnTo>
                    <a:pt x="678" y="216"/>
                  </a:lnTo>
                  <a:lnTo>
                    <a:pt x="679" y="216"/>
                  </a:lnTo>
                  <a:lnTo>
                    <a:pt x="679" y="217"/>
                  </a:lnTo>
                  <a:lnTo>
                    <a:pt x="678" y="217"/>
                  </a:lnTo>
                  <a:lnTo>
                    <a:pt x="678" y="218"/>
                  </a:lnTo>
                  <a:lnTo>
                    <a:pt x="679" y="218"/>
                  </a:lnTo>
                  <a:lnTo>
                    <a:pt x="681" y="218"/>
                  </a:lnTo>
                  <a:lnTo>
                    <a:pt x="682" y="218"/>
                  </a:lnTo>
                  <a:lnTo>
                    <a:pt x="681" y="218"/>
                  </a:lnTo>
                  <a:lnTo>
                    <a:pt x="681" y="219"/>
                  </a:lnTo>
                  <a:lnTo>
                    <a:pt x="682" y="219"/>
                  </a:lnTo>
                  <a:lnTo>
                    <a:pt x="682" y="218"/>
                  </a:lnTo>
                  <a:lnTo>
                    <a:pt x="683" y="219"/>
                  </a:lnTo>
                  <a:lnTo>
                    <a:pt x="684" y="219"/>
                  </a:lnTo>
                  <a:lnTo>
                    <a:pt x="685" y="219"/>
                  </a:lnTo>
                  <a:lnTo>
                    <a:pt x="686" y="219"/>
                  </a:lnTo>
                  <a:lnTo>
                    <a:pt x="686" y="220"/>
                  </a:lnTo>
                  <a:lnTo>
                    <a:pt x="685" y="220"/>
                  </a:lnTo>
                  <a:lnTo>
                    <a:pt x="685" y="221"/>
                  </a:lnTo>
                  <a:lnTo>
                    <a:pt x="686" y="221"/>
                  </a:lnTo>
                  <a:lnTo>
                    <a:pt x="688" y="221"/>
                  </a:lnTo>
                  <a:lnTo>
                    <a:pt x="688" y="223"/>
                  </a:lnTo>
                  <a:lnTo>
                    <a:pt x="689" y="223"/>
                  </a:lnTo>
                  <a:lnTo>
                    <a:pt x="689" y="224"/>
                  </a:lnTo>
                  <a:lnTo>
                    <a:pt x="690" y="224"/>
                  </a:lnTo>
                  <a:lnTo>
                    <a:pt x="691" y="224"/>
                  </a:lnTo>
                  <a:lnTo>
                    <a:pt x="691" y="225"/>
                  </a:lnTo>
                  <a:lnTo>
                    <a:pt x="692" y="225"/>
                  </a:lnTo>
                  <a:lnTo>
                    <a:pt x="692" y="224"/>
                  </a:lnTo>
                  <a:lnTo>
                    <a:pt x="693" y="224"/>
                  </a:lnTo>
                  <a:lnTo>
                    <a:pt x="693" y="225"/>
                  </a:lnTo>
                  <a:lnTo>
                    <a:pt x="695" y="225"/>
                  </a:lnTo>
                  <a:lnTo>
                    <a:pt x="696" y="225"/>
                  </a:lnTo>
                  <a:lnTo>
                    <a:pt x="696" y="226"/>
                  </a:lnTo>
                  <a:lnTo>
                    <a:pt x="697" y="227"/>
                  </a:lnTo>
                  <a:lnTo>
                    <a:pt x="697" y="228"/>
                  </a:lnTo>
                  <a:lnTo>
                    <a:pt x="697" y="230"/>
                  </a:lnTo>
                  <a:lnTo>
                    <a:pt x="696" y="230"/>
                  </a:lnTo>
                  <a:lnTo>
                    <a:pt x="696" y="231"/>
                  </a:lnTo>
                  <a:lnTo>
                    <a:pt x="696" y="232"/>
                  </a:lnTo>
                  <a:lnTo>
                    <a:pt x="697" y="232"/>
                  </a:lnTo>
                  <a:lnTo>
                    <a:pt x="696" y="233"/>
                  </a:lnTo>
                  <a:lnTo>
                    <a:pt x="695" y="233"/>
                  </a:lnTo>
                  <a:lnTo>
                    <a:pt x="693" y="233"/>
                  </a:lnTo>
                  <a:lnTo>
                    <a:pt x="692" y="234"/>
                  </a:lnTo>
                  <a:lnTo>
                    <a:pt x="691" y="234"/>
                  </a:lnTo>
                  <a:lnTo>
                    <a:pt x="690" y="234"/>
                  </a:lnTo>
                  <a:lnTo>
                    <a:pt x="690" y="235"/>
                  </a:lnTo>
                  <a:lnTo>
                    <a:pt x="691" y="235"/>
                  </a:lnTo>
                  <a:lnTo>
                    <a:pt x="692" y="235"/>
                  </a:lnTo>
                  <a:lnTo>
                    <a:pt x="695" y="234"/>
                  </a:lnTo>
                  <a:lnTo>
                    <a:pt x="696" y="234"/>
                  </a:lnTo>
                  <a:lnTo>
                    <a:pt x="697" y="234"/>
                  </a:lnTo>
                  <a:lnTo>
                    <a:pt x="697" y="233"/>
                  </a:lnTo>
                  <a:lnTo>
                    <a:pt x="698" y="233"/>
                  </a:lnTo>
                  <a:lnTo>
                    <a:pt x="697" y="234"/>
                  </a:lnTo>
                  <a:lnTo>
                    <a:pt x="698" y="234"/>
                  </a:lnTo>
                  <a:lnTo>
                    <a:pt x="699" y="234"/>
                  </a:lnTo>
                  <a:lnTo>
                    <a:pt x="700" y="234"/>
                  </a:lnTo>
                  <a:lnTo>
                    <a:pt x="701" y="235"/>
                  </a:lnTo>
                  <a:lnTo>
                    <a:pt x="701" y="234"/>
                  </a:lnTo>
                  <a:lnTo>
                    <a:pt x="703" y="234"/>
                  </a:lnTo>
                  <a:lnTo>
                    <a:pt x="703" y="233"/>
                  </a:lnTo>
                  <a:lnTo>
                    <a:pt x="704" y="233"/>
                  </a:lnTo>
                  <a:lnTo>
                    <a:pt x="704" y="234"/>
                  </a:lnTo>
                  <a:lnTo>
                    <a:pt x="705" y="235"/>
                  </a:lnTo>
                  <a:lnTo>
                    <a:pt x="706" y="235"/>
                  </a:lnTo>
                  <a:lnTo>
                    <a:pt x="705" y="235"/>
                  </a:lnTo>
                  <a:lnTo>
                    <a:pt x="706" y="237"/>
                  </a:lnTo>
                  <a:lnTo>
                    <a:pt x="705" y="237"/>
                  </a:lnTo>
                  <a:lnTo>
                    <a:pt x="704" y="237"/>
                  </a:lnTo>
                  <a:lnTo>
                    <a:pt x="706" y="237"/>
                  </a:lnTo>
                  <a:lnTo>
                    <a:pt x="707" y="238"/>
                  </a:lnTo>
                  <a:lnTo>
                    <a:pt x="707" y="239"/>
                  </a:lnTo>
                  <a:lnTo>
                    <a:pt x="706" y="239"/>
                  </a:lnTo>
                  <a:lnTo>
                    <a:pt x="704" y="239"/>
                  </a:lnTo>
                  <a:lnTo>
                    <a:pt x="703" y="240"/>
                  </a:lnTo>
                  <a:lnTo>
                    <a:pt x="701" y="240"/>
                  </a:lnTo>
                  <a:lnTo>
                    <a:pt x="700" y="241"/>
                  </a:lnTo>
                  <a:lnTo>
                    <a:pt x="699" y="241"/>
                  </a:lnTo>
                  <a:lnTo>
                    <a:pt x="698" y="241"/>
                  </a:lnTo>
                  <a:lnTo>
                    <a:pt x="697" y="241"/>
                  </a:lnTo>
                  <a:lnTo>
                    <a:pt x="697" y="242"/>
                  </a:lnTo>
                  <a:lnTo>
                    <a:pt x="696" y="242"/>
                  </a:lnTo>
                  <a:lnTo>
                    <a:pt x="695" y="242"/>
                  </a:lnTo>
                  <a:lnTo>
                    <a:pt x="692" y="241"/>
                  </a:lnTo>
                  <a:lnTo>
                    <a:pt x="691" y="241"/>
                  </a:lnTo>
                  <a:lnTo>
                    <a:pt x="690" y="241"/>
                  </a:lnTo>
                  <a:lnTo>
                    <a:pt x="690" y="240"/>
                  </a:lnTo>
                  <a:lnTo>
                    <a:pt x="689" y="240"/>
                  </a:lnTo>
                  <a:lnTo>
                    <a:pt x="688" y="240"/>
                  </a:lnTo>
                  <a:lnTo>
                    <a:pt x="686" y="239"/>
                  </a:lnTo>
                  <a:lnTo>
                    <a:pt x="685" y="239"/>
                  </a:lnTo>
                  <a:lnTo>
                    <a:pt x="684" y="240"/>
                  </a:lnTo>
                  <a:lnTo>
                    <a:pt x="684" y="239"/>
                  </a:lnTo>
                  <a:lnTo>
                    <a:pt x="684" y="240"/>
                  </a:lnTo>
                  <a:lnTo>
                    <a:pt x="683" y="240"/>
                  </a:lnTo>
                  <a:lnTo>
                    <a:pt x="682" y="239"/>
                  </a:lnTo>
                  <a:lnTo>
                    <a:pt x="683" y="239"/>
                  </a:lnTo>
                  <a:lnTo>
                    <a:pt x="682" y="239"/>
                  </a:lnTo>
                  <a:lnTo>
                    <a:pt x="683" y="238"/>
                  </a:lnTo>
                  <a:lnTo>
                    <a:pt x="684" y="238"/>
                  </a:lnTo>
                  <a:lnTo>
                    <a:pt x="685" y="238"/>
                  </a:lnTo>
                  <a:lnTo>
                    <a:pt x="685" y="237"/>
                  </a:lnTo>
                  <a:lnTo>
                    <a:pt x="685" y="235"/>
                  </a:lnTo>
                  <a:lnTo>
                    <a:pt x="684" y="235"/>
                  </a:lnTo>
                  <a:lnTo>
                    <a:pt x="682" y="235"/>
                  </a:lnTo>
                  <a:lnTo>
                    <a:pt x="681" y="235"/>
                  </a:lnTo>
                  <a:lnTo>
                    <a:pt x="679" y="235"/>
                  </a:lnTo>
                  <a:lnTo>
                    <a:pt x="678" y="235"/>
                  </a:lnTo>
                  <a:lnTo>
                    <a:pt x="678" y="234"/>
                  </a:lnTo>
                  <a:lnTo>
                    <a:pt x="679" y="234"/>
                  </a:lnTo>
                  <a:lnTo>
                    <a:pt x="681" y="233"/>
                  </a:lnTo>
                  <a:lnTo>
                    <a:pt x="682" y="233"/>
                  </a:lnTo>
                  <a:lnTo>
                    <a:pt x="682" y="232"/>
                  </a:lnTo>
                  <a:lnTo>
                    <a:pt x="681" y="232"/>
                  </a:lnTo>
                  <a:lnTo>
                    <a:pt x="679" y="232"/>
                  </a:lnTo>
                  <a:lnTo>
                    <a:pt x="679" y="233"/>
                  </a:lnTo>
                  <a:lnTo>
                    <a:pt x="678" y="233"/>
                  </a:lnTo>
                  <a:lnTo>
                    <a:pt x="677" y="233"/>
                  </a:lnTo>
                  <a:lnTo>
                    <a:pt x="676" y="233"/>
                  </a:lnTo>
                  <a:lnTo>
                    <a:pt x="675" y="233"/>
                  </a:lnTo>
                  <a:lnTo>
                    <a:pt x="674" y="234"/>
                  </a:lnTo>
                  <a:lnTo>
                    <a:pt x="672" y="234"/>
                  </a:lnTo>
                  <a:lnTo>
                    <a:pt x="672" y="235"/>
                  </a:lnTo>
                  <a:lnTo>
                    <a:pt x="672" y="237"/>
                  </a:lnTo>
                  <a:lnTo>
                    <a:pt x="671" y="237"/>
                  </a:lnTo>
                  <a:lnTo>
                    <a:pt x="671" y="238"/>
                  </a:lnTo>
                  <a:lnTo>
                    <a:pt x="670" y="238"/>
                  </a:lnTo>
                  <a:lnTo>
                    <a:pt x="669" y="238"/>
                  </a:lnTo>
                  <a:lnTo>
                    <a:pt x="668" y="239"/>
                  </a:lnTo>
                  <a:lnTo>
                    <a:pt x="667" y="239"/>
                  </a:lnTo>
                  <a:lnTo>
                    <a:pt x="665" y="240"/>
                  </a:lnTo>
                  <a:lnTo>
                    <a:pt x="664" y="240"/>
                  </a:lnTo>
                  <a:lnTo>
                    <a:pt x="663" y="240"/>
                  </a:lnTo>
                  <a:lnTo>
                    <a:pt x="662" y="240"/>
                  </a:lnTo>
                  <a:lnTo>
                    <a:pt x="661" y="241"/>
                  </a:lnTo>
                  <a:lnTo>
                    <a:pt x="660" y="241"/>
                  </a:lnTo>
                  <a:lnTo>
                    <a:pt x="660" y="242"/>
                  </a:lnTo>
                  <a:lnTo>
                    <a:pt x="658" y="242"/>
                  </a:lnTo>
                  <a:lnTo>
                    <a:pt x="658" y="244"/>
                  </a:lnTo>
                  <a:lnTo>
                    <a:pt x="657" y="244"/>
                  </a:lnTo>
                  <a:lnTo>
                    <a:pt x="656" y="245"/>
                  </a:lnTo>
                  <a:lnTo>
                    <a:pt x="655" y="245"/>
                  </a:lnTo>
                  <a:lnTo>
                    <a:pt x="654" y="245"/>
                  </a:lnTo>
                  <a:lnTo>
                    <a:pt x="654" y="246"/>
                  </a:lnTo>
                  <a:lnTo>
                    <a:pt x="651" y="246"/>
                  </a:lnTo>
                  <a:lnTo>
                    <a:pt x="649" y="247"/>
                  </a:lnTo>
                  <a:lnTo>
                    <a:pt x="647" y="247"/>
                  </a:lnTo>
                  <a:lnTo>
                    <a:pt x="644" y="247"/>
                  </a:lnTo>
                  <a:lnTo>
                    <a:pt x="644" y="246"/>
                  </a:lnTo>
                  <a:lnTo>
                    <a:pt x="644" y="245"/>
                  </a:lnTo>
                  <a:lnTo>
                    <a:pt x="646" y="244"/>
                  </a:lnTo>
                  <a:lnTo>
                    <a:pt x="646" y="242"/>
                  </a:lnTo>
                  <a:lnTo>
                    <a:pt x="647" y="242"/>
                  </a:lnTo>
                  <a:lnTo>
                    <a:pt x="647" y="241"/>
                  </a:lnTo>
                  <a:lnTo>
                    <a:pt x="648" y="241"/>
                  </a:lnTo>
                  <a:lnTo>
                    <a:pt x="648" y="240"/>
                  </a:lnTo>
                  <a:lnTo>
                    <a:pt x="648" y="239"/>
                  </a:lnTo>
                  <a:lnTo>
                    <a:pt x="648" y="238"/>
                  </a:lnTo>
                  <a:lnTo>
                    <a:pt x="648" y="239"/>
                  </a:lnTo>
                  <a:lnTo>
                    <a:pt x="647" y="239"/>
                  </a:lnTo>
                  <a:lnTo>
                    <a:pt x="644" y="239"/>
                  </a:lnTo>
                  <a:lnTo>
                    <a:pt x="642" y="240"/>
                  </a:lnTo>
                  <a:lnTo>
                    <a:pt x="641" y="240"/>
                  </a:lnTo>
                  <a:lnTo>
                    <a:pt x="639" y="240"/>
                  </a:lnTo>
                  <a:lnTo>
                    <a:pt x="637" y="240"/>
                  </a:lnTo>
                  <a:lnTo>
                    <a:pt x="636" y="240"/>
                  </a:lnTo>
                  <a:lnTo>
                    <a:pt x="635" y="240"/>
                  </a:lnTo>
                  <a:lnTo>
                    <a:pt x="635" y="241"/>
                  </a:lnTo>
                  <a:lnTo>
                    <a:pt x="634" y="241"/>
                  </a:lnTo>
                  <a:lnTo>
                    <a:pt x="632" y="241"/>
                  </a:lnTo>
                  <a:lnTo>
                    <a:pt x="631" y="241"/>
                  </a:lnTo>
                  <a:lnTo>
                    <a:pt x="631" y="240"/>
                  </a:lnTo>
                  <a:lnTo>
                    <a:pt x="632" y="239"/>
                  </a:lnTo>
                  <a:lnTo>
                    <a:pt x="636" y="237"/>
                  </a:lnTo>
                  <a:lnTo>
                    <a:pt x="637" y="235"/>
                  </a:lnTo>
                  <a:lnTo>
                    <a:pt x="641" y="235"/>
                  </a:lnTo>
                  <a:lnTo>
                    <a:pt x="641" y="234"/>
                  </a:lnTo>
                  <a:lnTo>
                    <a:pt x="642" y="234"/>
                  </a:lnTo>
                  <a:lnTo>
                    <a:pt x="643" y="234"/>
                  </a:lnTo>
                  <a:lnTo>
                    <a:pt x="644" y="234"/>
                  </a:lnTo>
                  <a:lnTo>
                    <a:pt x="646" y="234"/>
                  </a:lnTo>
                  <a:lnTo>
                    <a:pt x="647" y="233"/>
                  </a:lnTo>
                  <a:lnTo>
                    <a:pt x="647" y="232"/>
                  </a:lnTo>
                  <a:lnTo>
                    <a:pt x="647" y="231"/>
                  </a:lnTo>
                  <a:lnTo>
                    <a:pt x="647" y="230"/>
                  </a:lnTo>
                  <a:lnTo>
                    <a:pt x="648" y="230"/>
                  </a:lnTo>
                  <a:lnTo>
                    <a:pt x="647" y="228"/>
                  </a:lnTo>
                  <a:lnTo>
                    <a:pt x="648" y="228"/>
                  </a:lnTo>
                  <a:lnTo>
                    <a:pt x="648" y="227"/>
                  </a:lnTo>
                  <a:lnTo>
                    <a:pt x="649" y="227"/>
                  </a:lnTo>
                  <a:lnTo>
                    <a:pt x="649" y="226"/>
                  </a:lnTo>
                  <a:lnTo>
                    <a:pt x="650" y="226"/>
                  </a:lnTo>
                  <a:lnTo>
                    <a:pt x="653" y="224"/>
                  </a:lnTo>
                  <a:lnTo>
                    <a:pt x="654" y="224"/>
                  </a:lnTo>
                  <a:lnTo>
                    <a:pt x="654" y="223"/>
                  </a:lnTo>
                  <a:lnTo>
                    <a:pt x="655" y="223"/>
                  </a:lnTo>
                  <a:lnTo>
                    <a:pt x="655" y="221"/>
                  </a:lnTo>
                  <a:lnTo>
                    <a:pt x="655" y="220"/>
                  </a:lnTo>
                  <a:lnTo>
                    <a:pt x="656" y="220"/>
                  </a:lnTo>
                  <a:lnTo>
                    <a:pt x="656" y="219"/>
                  </a:lnTo>
                  <a:lnTo>
                    <a:pt x="657" y="218"/>
                  </a:lnTo>
                  <a:lnTo>
                    <a:pt x="657" y="217"/>
                  </a:lnTo>
                  <a:lnTo>
                    <a:pt x="658" y="217"/>
                  </a:lnTo>
                  <a:lnTo>
                    <a:pt x="660" y="216"/>
                  </a:lnTo>
                  <a:lnTo>
                    <a:pt x="660" y="214"/>
                  </a:lnTo>
                  <a:lnTo>
                    <a:pt x="661" y="214"/>
                  </a:lnTo>
                  <a:lnTo>
                    <a:pt x="662" y="213"/>
                  </a:lnTo>
                  <a:lnTo>
                    <a:pt x="663" y="212"/>
                  </a:lnTo>
                  <a:lnTo>
                    <a:pt x="664" y="211"/>
                  </a:lnTo>
                  <a:lnTo>
                    <a:pt x="665" y="211"/>
                  </a:lnTo>
                  <a:lnTo>
                    <a:pt x="668" y="209"/>
                  </a:lnTo>
                  <a:lnTo>
                    <a:pt x="670" y="209"/>
                  </a:lnTo>
                  <a:lnTo>
                    <a:pt x="671" y="209"/>
                  </a:lnTo>
                  <a:lnTo>
                    <a:pt x="670" y="209"/>
                  </a:lnTo>
                  <a:lnTo>
                    <a:pt x="670" y="210"/>
                  </a:lnTo>
                  <a:close/>
                  <a:moveTo>
                    <a:pt x="867" y="207"/>
                  </a:moveTo>
                  <a:lnTo>
                    <a:pt x="866" y="207"/>
                  </a:lnTo>
                  <a:lnTo>
                    <a:pt x="864" y="207"/>
                  </a:lnTo>
                  <a:lnTo>
                    <a:pt x="866" y="207"/>
                  </a:lnTo>
                  <a:lnTo>
                    <a:pt x="867" y="207"/>
                  </a:lnTo>
                  <a:close/>
                  <a:moveTo>
                    <a:pt x="677" y="207"/>
                  </a:moveTo>
                  <a:lnTo>
                    <a:pt x="678" y="207"/>
                  </a:lnTo>
                  <a:lnTo>
                    <a:pt x="678" y="209"/>
                  </a:lnTo>
                  <a:lnTo>
                    <a:pt x="678" y="210"/>
                  </a:lnTo>
                  <a:lnTo>
                    <a:pt x="678" y="211"/>
                  </a:lnTo>
                  <a:lnTo>
                    <a:pt x="678" y="212"/>
                  </a:lnTo>
                  <a:lnTo>
                    <a:pt x="677" y="213"/>
                  </a:lnTo>
                  <a:lnTo>
                    <a:pt x="676" y="213"/>
                  </a:lnTo>
                  <a:lnTo>
                    <a:pt x="675" y="213"/>
                  </a:lnTo>
                  <a:lnTo>
                    <a:pt x="675" y="212"/>
                  </a:lnTo>
                  <a:lnTo>
                    <a:pt x="675" y="211"/>
                  </a:lnTo>
                  <a:lnTo>
                    <a:pt x="674" y="211"/>
                  </a:lnTo>
                  <a:lnTo>
                    <a:pt x="674" y="210"/>
                  </a:lnTo>
                  <a:lnTo>
                    <a:pt x="674" y="209"/>
                  </a:lnTo>
                  <a:lnTo>
                    <a:pt x="675" y="209"/>
                  </a:lnTo>
                  <a:lnTo>
                    <a:pt x="675" y="207"/>
                  </a:lnTo>
                  <a:lnTo>
                    <a:pt x="676" y="207"/>
                  </a:lnTo>
                  <a:lnTo>
                    <a:pt x="676" y="206"/>
                  </a:lnTo>
                  <a:lnTo>
                    <a:pt x="677" y="206"/>
                  </a:lnTo>
                  <a:lnTo>
                    <a:pt x="677" y="207"/>
                  </a:lnTo>
                  <a:close/>
                  <a:moveTo>
                    <a:pt x="677" y="206"/>
                  </a:moveTo>
                  <a:lnTo>
                    <a:pt x="678" y="206"/>
                  </a:lnTo>
                  <a:lnTo>
                    <a:pt x="677" y="206"/>
                  </a:lnTo>
                  <a:close/>
                  <a:moveTo>
                    <a:pt x="692" y="206"/>
                  </a:moveTo>
                  <a:lnTo>
                    <a:pt x="693" y="206"/>
                  </a:lnTo>
                  <a:lnTo>
                    <a:pt x="692" y="206"/>
                  </a:lnTo>
                  <a:close/>
                  <a:moveTo>
                    <a:pt x="692" y="205"/>
                  </a:moveTo>
                  <a:lnTo>
                    <a:pt x="693" y="205"/>
                  </a:lnTo>
                  <a:lnTo>
                    <a:pt x="693" y="206"/>
                  </a:lnTo>
                  <a:lnTo>
                    <a:pt x="692" y="206"/>
                  </a:lnTo>
                  <a:lnTo>
                    <a:pt x="692" y="205"/>
                  </a:lnTo>
                  <a:close/>
                  <a:moveTo>
                    <a:pt x="685" y="205"/>
                  </a:moveTo>
                  <a:lnTo>
                    <a:pt x="686" y="206"/>
                  </a:lnTo>
                  <a:lnTo>
                    <a:pt x="688" y="206"/>
                  </a:lnTo>
                  <a:lnTo>
                    <a:pt x="689" y="206"/>
                  </a:lnTo>
                  <a:lnTo>
                    <a:pt x="688" y="206"/>
                  </a:lnTo>
                  <a:lnTo>
                    <a:pt x="689" y="206"/>
                  </a:lnTo>
                  <a:lnTo>
                    <a:pt x="689" y="207"/>
                  </a:lnTo>
                  <a:lnTo>
                    <a:pt x="690" y="207"/>
                  </a:lnTo>
                  <a:lnTo>
                    <a:pt x="690" y="209"/>
                  </a:lnTo>
                  <a:lnTo>
                    <a:pt x="689" y="209"/>
                  </a:lnTo>
                  <a:lnTo>
                    <a:pt x="688" y="210"/>
                  </a:lnTo>
                  <a:lnTo>
                    <a:pt x="689" y="210"/>
                  </a:lnTo>
                  <a:lnTo>
                    <a:pt x="689" y="211"/>
                  </a:lnTo>
                  <a:lnTo>
                    <a:pt x="690" y="211"/>
                  </a:lnTo>
                  <a:lnTo>
                    <a:pt x="691" y="211"/>
                  </a:lnTo>
                  <a:lnTo>
                    <a:pt x="692" y="211"/>
                  </a:lnTo>
                  <a:lnTo>
                    <a:pt x="693" y="211"/>
                  </a:lnTo>
                  <a:lnTo>
                    <a:pt x="692" y="211"/>
                  </a:lnTo>
                  <a:lnTo>
                    <a:pt x="692" y="212"/>
                  </a:lnTo>
                  <a:lnTo>
                    <a:pt x="691" y="212"/>
                  </a:lnTo>
                  <a:lnTo>
                    <a:pt x="690" y="212"/>
                  </a:lnTo>
                  <a:lnTo>
                    <a:pt x="689" y="212"/>
                  </a:lnTo>
                  <a:lnTo>
                    <a:pt x="689" y="211"/>
                  </a:lnTo>
                  <a:lnTo>
                    <a:pt x="688" y="212"/>
                  </a:lnTo>
                  <a:lnTo>
                    <a:pt x="689" y="212"/>
                  </a:lnTo>
                  <a:lnTo>
                    <a:pt x="688" y="212"/>
                  </a:lnTo>
                  <a:lnTo>
                    <a:pt x="686" y="212"/>
                  </a:lnTo>
                  <a:lnTo>
                    <a:pt x="686" y="211"/>
                  </a:lnTo>
                  <a:lnTo>
                    <a:pt x="688" y="211"/>
                  </a:lnTo>
                  <a:lnTo>
                    <a:pt x="689" y="211"/>
                  </a:lnTo>
                  <a:lnTo>
                    <a:pt x="688" y="211"/>
                  </a:lnTo>
                  <a:lnTo>
                    <a:pt x="688" y="210"/>
                  </a:lnTo>
                  <a:lnTo>
                    <a:pt x="686" y="210"/>
                  </a:lnTo>
                  <a:lnTo>
                    <a:pt x="685" y="211"/>
                  </a:lnTo>
                  <a:lnTo>
                    <a:pt x="684" y="211"/>
                  </a:lnTo>
                  <a:lnTo>
                    <a:pt x="684" y="210"/>
                  </a:lnTo>
                  <a:lnTo>
                    <a:pt x="685" y="210"/>
                  </a:lnTo>
                  <a:lnTo>
                    <a:pt x="685" y="209"/>
                  </a:lnTo>
                  <a:lnTo>
                    <a:pt x="685" y="207"/>
                  </a:lnTo>
                  <a:lnTo>
                    <a:pt x="684" y="207"/>
                  </a:lnTo>
                  <a:lnTo>
                    <a:pt x="683" y="206"/>
                  </a:lnTo>
                  <a:lnTo>
                    <a:pt x="684" y="206"/>
                  </a:lnTo>
                  <a:lnTo>
                    <a:pt x="684" y="205"/>
                  </a:lnTo>
                  <a:lnTo>
                    <a:pt x="685" y="205"/>
                  </a:lnTo>
                  <a:close/>
                  <a:moveTo>
                    <a:pt x="699" y="203"/>
                  </a:moveTo>
                  <a:lnTo>
                    <a:pt x="700" y="203"/>
                  </a:lnTo>
                  <a:lnTo>
                    <a:pt x="700" y="204"/>
                  </a:lnTo>
                  <a:lnTo>
                    <a:pt x="701" y="203"/>
                  </a:lnTo>
                  <a:lnTo>
                    <a:pt x="701" y="204"/>
                  </a:lnTo>
                  <a:lnTo>
                    <a:pt x="700" y="204"/>
                  </a:lnTo>
                  <a:lnTo>
                    <a:pt x="699" y="204"/>
                  </a:lnTo>
                  <a:lnTo>
                    <a:pt x="698" y="204"/>
                  </a:lnTo>
                  <a:lnTo>
                    <a:pt x="698" y="203"/>
                  </a:lnTo>
                  <a:lnTo>
                    <a:pt x="699" y="203"/>
                  </a:lnTo>
                  <a:close/>
                  <a:moveTo>
                    <a:pt x="671" y="202"/>
                  </a:moveTo>
                  <a:lnTo>
                    <a:pt x="671" y="200"/>
                  </a:lnTo>
                  <a:lnTo>
                    <a:pt x="672" y="200"/>
                  </a:lnTo>
                  <a:lnTo>
                    <a:pt x="672" y="202"/>
                  </a:lnTo>
                  <a:lnTo>
                    <a:pt x="671" y="202"/>
                  </a:lnTo>
                  <a:close/>
                  <a:moveTo>
                    <a:pt x="448" y="196"/>
                  </a:moveTo>
                  <a:lnTo>
                    <a:pt x="447" y="196"/>
                  </a:lnTo>
                  <a:lnTo>
                    <a:pt x="448" y="195"/>
                  </a:lnTo>
                  <a:lnTo>
                    <a:pt x="449" y="195"/>
                  </a:lnTo>
                  <a:lnTo>
                    <a:pt x="449" y="193"/>
                  </a:lnTo>
                  <a:lnTo>
                    <a:pt x="450" y="193"/>
                  </a:lnTo>
                  <a:lnTo>
                    <a:pt x="449" y="195"/>
                  </a:lnTo>
                  <a:lnTo>
                    <a:pt x="448" y="195"/>
                  </a:lnTo>
                  <a:lnTo>
                    <a:pt x="448" y="196"/>
                  </a:lnTo>
                  <a:close/>
                  <a:moveTo>
                    <a:pt x="448" y="195"/>
                  </a:moveTo>
                  <a:lnTo>
                    <a:pt x="447" y="195"/>
                  </a:lnTo>
                  <a:lnTo>
                    <a:pt x="447" y="193"/>
                  </a:lnTo>
                  <a:lnTo>
                    <a:pt x="448" y="193"/>
                  </a:lnTo>
                  <a:lnTo>
                    <a:pt x="448" y="195"/>
                  </a:lnTo>
                  <a:close/>
                  <a:moveTo>
                    <a:pt x="923" y="191"/>
                  </a:moveTo>
                  <a:lnTo>
                    <a:pt x="920" y="192"/>
                  </a:lnTo>
                  <a:lnTo>
                    <a:pt x="919" y="192"/>
                  </a:lnTo>
                  <a:lnTo>
                    <a:pt x="918" y="192"/>
                  </a:lnTo>
                  <a:lnTo>
                    <a:pt x="918" y="193"/>
                  </a:lnTo>
                  <a:lnTo>
                    <a:pt x="917" y="193"/>
                  </a:lnTo>
                  <a:lnTo>
                    <a:pt x="917" y="192"/>
                  </a:lnTo>
                  <a:lnTo>
                    <a:pt x="918" y="192"/>
                  </a:lnTo>
                  <a:lnTo>
                    <a:pt x="919" y="192"/>
                  </a:lnTo>
                  <a:lnTo>
                    <a:pt x="919" y="191"/>
                  </a:lnTo>
                  <a:lnTo>
                    <a:pt x="920" y="191"/>
                  </a:lnTo>
                  <a:lnTo>
                    <a:pt x="921" y="191"/>
                  </a:lnTo>
                  <a:lnTo>
                    <a:pt x="923" y="191"/>
                  </a:lnTo>
                  <a:close/>
                  <a:moveTo>
                    <a:pt x="456" y="192"/>
                  </a:moveTo>
                  <a:lnTo>
                    <a:pt x="455" y="192"/>
                  </a:lnTo>
                  <a:lnTo>
                    <a:pt x="454" y="192"/>
                  </a:lnTo>
                  <a:lnTo>
                    <a:pt x="455" y="191"/>
                  </a:lnTo>
                  <a:lnTo>
                    <a:pt x="456" y="192"/>
                  </a:lnTo>
                  <a:lnTo>
                    <a:pt x="457" y="192"/>
                  </a:lnTo>
                  <a:lnTo>
                    <a:pt x="456" y="192"/>
                  </a:lnTo>
                  <a:close/>
                  <a:moveTo>
                    <a:pt x="911" y="189"/>
                  </a:moveTo>
                  <a:lnTo>
                    <a:pt x="912" y="189"/>
                  </a:lnTo>
                  <a:lnTo>
                    <a:pt x="913" y="189"/>
                  </a:lnTo>
                  <a:lnTo>
                    <a:pt x="913" y="190"/>
                  </a:lnTo>
                  <a:lnTo>
                    <a:pt x="912" y="190"/>
                  </a:lnTo>
                  <a:lnTo>
                    <a:pt x="909" y="190"/>
                  </a:lnTo>
                  <a:lnTo>
                    <a:pt x="909" y="189"/>
                  </a:lnTo>
                  <a:lnTo>
                    <a:pt x="910" y="189"/>
                  </a:lnTo>
                  <a:lnTo>
                    <a:pt x="911" y="189"/>
                  </a:lnTo>
                  <a:close/>
                  <a:moveTo>
                    <a:pt x="455" y="188"/>
                  </a:moveTo>
                  <a:lnTo>
                    <a:pt x="454" y="188"/>
                  </a:lnTo>
                  <a:lnTo>
                    <a:pt x="454" y="189"/>
                  </a:lnTo>
                  <a:lnTo>
                    <a:pt x="452" y="189"/>
                  </a:lnTo>
                  <a:lnTo>
                    <a:pt x="451" y="188"/>
                  </a:lnTo>
                  <a:lnTo>
                    <a:pt x="452" y="188"/>
                  </a:lnTo>
                  <a:lnTo>
                    <a:pt x="454" y="188"/>
                  </a:lnTo>
                  <a:lnTo>
                    <a:pt x="455" y="186"/>
                  </a:lnTo>
                  <a:lnTo>
                    <a:pt x="455" y="188"/>
                  </a:lnTo>
                  <a:close/>
                  <a:moveTo>
                    <a:pt x="451" y="186"/>
                  </a:moveTo>
                  <a:lnTo>
                    <a:pt x="451" y="185"/>
                  </a:lnTo>
                  <a:lnTo>
                    <a:pt x="452" y="185"/>
                  </a:lnTo>
                  <a:lnTo>
                    <a:pt x="452" y="186"/>
                  </a:lnTo>
                  <a:lnTo>
                    <a:pt x="451" y="186"/>
                  </a:lnTo>
                  <a:lnTo>
                    <a:pt x="450" y="188"/>
                  </a:lnTo>
                  <a:lnTo>
                    <a:pt x="450" y="186"/>
                  </a:lnTo>
                  <a:lnTo>
                    <a:pt x="450" y="185"/>
                  </a:lnTo>
                  <a:lnTo>
                    <a:pt x="451" y="185"/>
                  </a:lnTo>
                  <a:lnTo>
                    <a:pt x="451" y="186"/>
                  </a:lnTo>
                  <a:close/>
                  <a:moveTo>
                    <a:pt x="911" y="186"/>
                  </a:moveTo>
                  <a:lnTo>
                    <a:pt x="909" y="186"/>
                  </a:lnTo>
                  <a:lnTo>
                    <a:pt x="907" y="186"/>
                  </a:lnTo>
                  <a:lnTo>
                    <a:pt x="909" y="186"/>
                  </a:lnTo>
                  <a:lnTo>
                    <a:pt x="909" y="185"/>
                  </a:lnTo>
                  <a:lnTo>
                    <a:pt x="910" y="185"/>
                  </a:lnTo>
                  <a:lnTo>
                    <a:pt x="910" y="184"/>
                  </a:lnTo>
                  <a:lnTo>
                    <a:pt x="910" y="185"/>
                  </a:lnTo>
                  <a:lnTo>
                    <a:pt x="911" y="186"/>
                  </a:lnTo>
                  <a:close/>
                  <a:moveTo>
                    <a:pt x="456" y="185"/>
                  </a:moveTo>
                  <a:lnTo>
                    <a:pt x="456" y="186"/>
                  </a:lnTo>
                  <a:lnTo>
                    <a:pt x="455" y="186"/>
                  </a:lnTo>
                  <a:lnTo>
                    <a:pt x="454" y="186"/>
                  </a:lnTo>
                  <a:lnTo>
                    <a:pt x="455" y="186"/>
                  </a:lnTo>
                  <a:lnTo>
                    <a:pt x="454" y="186"/>
                  </a:lnTo>
                  <a:lnTo>
                    <a:pt x="454" y="188"/>
                  </a:lnTo>
                  <a:lnTo>
                    <a:pt x="452" y="188"/>
                  </a:lnTo>
                  <a:lnTo>
                    <a:pt x="454" y="186"/>
                  </a:lnTo>
                  <a:lnTo>
                    <a:pt x="454" y="185"/>
                  </a:lnTo>
                  <a:lnTo>
                    <a:pt x="455" y="185"/>
                  </a:lnTo>
                  <a:lnTo>
                    <a:pt x="455" y="184"/>
                  </a:lnTo>
                  <a:lnTo>
                    <a:pt x="456" y="184"/>
                  </a:lnTo>
                  <a:lnTo>
                    <a:pt x="456" y="185"/>
                  </a:lnTo>
                  <a:close/>
                  <a:moveTo>
                    <a:pt x="567" y="184"/>
                  </a:moveTo>
                  <a:lnTo>
                    <a:pt x="565" y="185"/>
                  </a:lnTo>
                  <a:lnTo>
                    <a:pt x="564" y="185"/>
                  </a:lnTo>
                  <a:lnTo>
                    <a:pt x="564" y="184"/>
                  </a:lnTo>
                  <a:lnTo>
                    <a:pt x="565" y="184"/>
                  </a:lnTo>
                  <a:lnTo>
                    <a:pt x="567" y="184"/>
                  </a:lnTo>
                  <a:lnTo>
                    <a:pt x="567" y="183"/>
                  </a:lnTo>
                  <a:lnTo>
                    <a:pt x="567" y="184"/>
                  </a:lnTo>
                  <a:close/>
                  <a:moveTo>
                    <a:pt x="448" y="183"/>
                  </a:moveTo>
                  <a:lnTo>
                    <a:pt x="447" y="183"/>
                  </a:lnTo>
                  <a:lnTo>
                    <a:pt x="445" y="183"/>
                  </a:lnTo>
                  <a:lnTo>
                    <a:pt x="447" y="183"/>
                  </a:lnTo>
                  <a:lnTo>
                    <a:pt x="448" y="183"/>
                  </a:lnTo>
                  <a:close/>
                  <a:moveTo>
                    <a:pt x="397" y="182"/>
                  </a:moveTo>
                  <a:lnTo>
                    <a:pt x="398" y="182"/>
                  </a:lnTo>
                  <a:lnTo>
                    <a:pt x="395" y="182"/>
                  </a:lnTo>
                  <a:lnTo>
                    <a:pt x="394" y="182"/>
                  </a:lnTo>
                  <a:lnTo>
                    <a:pt x="395" y="181"/>
                  </a:lnTo>
                  <a:lnTo>
                    <a:pt x="397" y="182"/>
                  </a:lnTo>
                  <a:close/>
                  <a:moveTo>
                    <a:pt x="406" y="181"/>
                  </a:moveTo>
                  <a:lnTo>
                    <a:pt x="405" y="181"/>
                  </a:lnTo>
                  <a:lnTo>
                    <a:pt x="402" y="182"/>
                  </a:lnTo>
                  <a:lnTo>
                    <a:pt x="402" y="181"/>
                  </a:lnTo>
                  <a:lnTo>
                    <a:pt x="404" y="181"/>
                  </a:lnTo>
                  <a:lnTo>
                    <a:pt x="405" y="181"/>
                  </a:lnTo>
                  <a:lnTo>
                    <a:pt x="406" y="181"/>
                  </a:lnTo>
                  <a:close/>
                  <a:moveTo>
                    <a:pt x="428" y="182"/>
                  </a:moveTo>
                  <a:lnTo>
                    <a:pt x="427" y="182"/>
                  </a:lnTo>
                  <a:lnTo>
                    <a:pt x="428" y="182"/>
                  </a:lnTo>
                  <a:lnTo>
                    <a:pt x="429" y="181"/>
                  </a:lnTo>
                  <a:lnTo>
                    <a:pt x="430" y="181"/>
                  </a:lnTo>
                  <a:lnTo>
                    <a:pt x="432" y="181"/>
                  </a:lnTo>
                  <a:lnTo>
                    <a:pt x="430" y="181"/>
                  </a:lnTo>
                  <a:lnTo>
                    <a:pt x="429" y="182"/>
                  </a:lnTo>
                  <a:lnTo>
                    <a:pt x="428" y="182"/>
                  </a:lnTo>
                  <a:close/>
                  <a:moveTo>
                    <a:pt x="408" y="181"/>
                  </a:moveTo>
                  <a:lnTo>
                    <a:pt x="407" y="181"/>
                  </a:lnTo>
                  <a:lnTo>
                    <a:pt x="408" y="181"/>
                  </a:lnTo>
                  <a:lnTo>
                    <a:pt x="409" y="181"/>
                  </a:lnTo>
                  <a:lnTo>
                    <a:pt x="411" y="181"/>
                  </a:lnTo>
                  <a:lnTo>
                    <a:pt x="412" y="181"/>
                  </a:lnTo>
                  <a:lnTo>
                    <a:pt x="411" y="181"/>
                  </a:lnTo>
                  <a:lnTo>
                    <a:pt x="409" y="181"/>
                  </a:lnTo>
                  <a:lnTo>
                    <a:pt x="408" y="181"/>
                  </a:lnTo>
                  <a:close/>
                  <a:moveTo>
                    <a:pt x="458" y="182"/>
                  </a:moveTo>
                  <a:lnTo>
                    <a:pt x="457" y="182"/>
                  </a:lnTo>
                  <a:lnTo>
                    <a:pt x="457" y="181"/>
                  </a:lnTo>
                  <a:lnTo>
                    <a:pt x="458" y="181"/>
                  </a:lnTo>
                  <a:lnTo>
                    <a:pt x="459" y="181"/>
                  </a:lnTo>
                  <a:lnTo>
                    <a:pt x="458" y="182"/>
                  </a:lnTo>
                  <a:close/>
                  <a:moveTo>
                    <a:pt x="449" y="181"/>
                  </a:moveTo>
                  <a:lnTo>
                    <a:pt x="450" y="181"/>
                  </a:lnTo>
                  <a:lnTo>
                    <a:pt x="451" y="181"/>
                  </a:lnTo>
                  <a:lnTo>
                    <a:pt x="450" y="181"/>
                  </a:lnTo>
                  <a:lnTo>
                    <a:pt x="450" y="182"/>
                  </a:lnTo>
                  <a:lnTo>
                    <a:pt x="449" y="182"/>
                  </a:lnTo>
                  <a:lnTo>
                    <a:pt x="448" y="181"/>
                  </a:lnTo>
                  <a:lnTo>
                    <a:pt x="448" y="179"/>
                  </a:lnTo>
                  <a:lnTo>
                    <a:pt x="449" y="181"/>
                  </a:lnTo>
                  <a:close/>
                  <a:moveTo>
                    <a:pt x="554" y="179"/>
                  </a:moveTo>
                  <a:lnTo>
                    <a:pt x="554" y="181"/>
                  </a:lnTo>
                  <a:lnTo>
                    <a:pt x="553" y="181"/>
                  </a:lnTo>
                  <a:lnTo>
                    <a:pt x="553" y="179"/>
                  </a:lnTo>
                  <a:lnTo>
                    <a:pt x="554" y="178"/>
                  </a:lnTo>
                  <a:lnTo>
                    <a:pt x="554" y="179"/>
                  </a:lnTo>
                  <a:close/>
                  <a:moveTo>
                    <a:pt x="448" y="179"/>
                  </a:moveTo>
                  <a:lnTo>
                    <a:pt x="447" y="181"/>
                  </a:lnTo>
                  <a:lnTo>
                    <a:pt x="447" y="179"/>
                  </a:lnTo>
                  <a:lnTo>
                    <a:pt x="445" y="179"/>
                  </a:lnTo>
                  <a:lnTo>
                    <a:pt x="447" y="179"/>
                  </a:lnTo>
                  <a:lnTo>
                    <a:pt x="447" y="178"/>
                  </a:lnTo>
                  <a:lnTo>
                    <a:pt x="447" y="179"/>
                  </a:lnTo>
                  <a:lnTo>
                    <a:pt x="448" y="179"/>
                  </a:lnTo>
                  <a:close/>
                  <a:moveTo>
                    <a:pt x="440" y="179"/>
                  </a:moveTo>
                  <a:lnTo>
                    <a:pt x="439" y="179"/>
                  </a:lnTo>
                  <a:lnTo>
                    <a:pt x="440" y="178"/>
                  </a:lnTo>
                  <a:lnTo>
                    <a:pt x="441" y="178"/>
                  </a:lnTo>
                  <a:lnTo>
                    <a:pt x="442" y="178"/>
                  </a:lnTo>
                  <a:lnTo>
                    <a:pt x="443" y="178"/>
                  </a:lnTo>
                  <a:lnTo>
                    <a:pt x="442" y="178"/>
                  </a:lnTo>
                  <a:lnTo>
                    <a:pt x="441" y="178"/>
                  </a:lnTo>
                  <a:lnTo>
                    <a:pt x="440" y="179"/>
                  </a:lnTo>
                  <a:close/>
                  <a:moveTo>
                    <a:pt x="414" y="178"/>
                  </a:moveTo>
                  <a:lnTo>
                    <a:pt x="413" y="178"/>
                  </a:lnTo>
                  <a:lnTo>
                    <a:pt x="412" y="178"/>
                  </a:lnTo>
                  <a:lnTo>
                    <a:pt x="413" y="178"/>
                  </a:lnTo>
                  <a:lnTo>
                    <a:pt x="413" y="177"/>
                  </a:lnTo>
                  <a:lnTo>
                    <a:pt x="414" y="177"/>
                  </a:lnTo>
                  <a:lnTo>
                    <a:pt x="414" y="178"/>
                  </a:lnTo>
                  <a:close/>
                  <a:moveTo>
                    <a:pt x="807" y="178"/>
                  </a:moveTo>
                  <a:lnTo>
                    <a:pt x="807" y="179"/>
                  </a:lnTo>
                  <a:lnTo>
                    <a:pt x="809" y="179"/>
                  </a:lnTo>
                  <a:lnTo>
                    <a:pt x="811" y="179"/>
                  </a:lnTo>
                  <a:lnTo>
                    <a:pt x="812" y="179"/>
                  </a:lnTo>
                  <a:lnTo>
                    <a:pt x="813" y="179"/>
                  </a:lnTo>
                  <a:lnTo>
                    <a:pt x="814" y="179"/>
                  </a:lnTo>
                  <a:lnTo>
                    <a:pt x="816" y="181"/>
                  </a:lnTo>
                  <a:lnTo>
                    <a:pt x="814" y="181"/>
                  </a:lnTo>
                  <a:lnTo>
                    <a:pt x="814" y="182"/>
                  </a:lnTo>
                  <a:lnTo>
                    <a:pt x="814" y="183"/>
                  </a:lnTo>
                  <a:lnTo>
                    <a:pt x="813" y="183"/>
                  </a:lnTo>
                  <a:lnTo>
                    <a:pt x="809" y="183"/>
                  </a:lnTo>
                  <a:lnTo>
                    <a:pt x="803" y="183"/>
                  </a:lnTo>
                  <a:lnTo>
                    <a:pt x="802" y="183"/>
                  </a:lnTo>
                  <a:lnTo>
                    <a:pt x="802" y="182"/>
                  </a:lnTo>
                  <a:lnTo>
                    <a:pt x="802" y="181"/>
                  </a:lnTo>
                  <a:lnTo>
                    <a:pt x="802" y="179"/>
                  </a:lnTo>
                  <a:lnTo>
                    <a:pt x="803" y="178"/>
                  </a:lnTo>
                  <a:lnTo>
                    <a:pt x="805" y="179"/>
                  </a:lnTo>
                  <a:lnTo>
                    <a:pt x="805" y="178"/>
                  </a:lnTo>
                  <a:lnTo>
                    <a:pt x="806" y="178"/>
                  </a:lnTo>
                  <a:lnTo>
                    <a:pt x="807" y="177"/>
                  </a:lnTo>
                  <a:lnTo>
                    <a:pt x="809" y="178"/>
                  </a:lnTo>
                  <a:lnTo>
                    <a:pt x="807" y="178"/>
                  </a:lnTo>
                  <a:close/>
                  <a:moveTo>
                    <a:pt x="448" y="177"/>
                  </a:moveTo>
                  <a:lnTo>
                    <a:pt x="447" y="177"/>
                  </a:lnTo>
                  <a:lnTo>
                    <a:pt x="445" y="177"/>
                  </a:lnTo>
                  <a:lnTo>
                    <a:pt x="444" y="178"/>
                  </a:lnTo>
                  <a:lnTo>
                    <a:pt x="443" y="178"/>
                  </a:lnTo>
                  <a:lnTo>
                    <a:pt x="444" y="177"/>
                  </a:lnTo>
                  <a:lnTo>
                    <a:pt x="447" y="177"/>
                  </a:lnTo>
                  <a:lnTo>
                    <a:pt x="448" y="176"/>
                  </a:lnTo>
                  <a:lnTo>
                    <a:pt x="448" y="177"/>
                  </a:lnTo>
                  <a:close/>
                  <a:moveTo>
                    <a:pt x="891" y="177"/>
                  </a:moveTo>
                  <a:lnTo>
                    <a:pt x="890" y="177"/>
                  </a:lnTo>
                  <a:lnTo>
                    <a:pt x="889" y="178"/>
                  </a:lnTo>
                  <a:lnTo>
                    <a:pt x="887" y="177"/>
                  </a:lnTo>
                  <a:lnTo>
                    <a:pt x="888" y="177"/>
                  </a:lnTo>
                  <a:lnTo>
                    <a:pt x="889" y="177"/>
                  </a:lnTo>
                  <a:lnTo>
                    <a:pt x="890" y="177"/>
                  </a:lnTo>
                  <a:lnTo>
                    <a:pt x="890" y="176"/>
                  </a:lnTo>
                  <a:lnTo>
                    <a:pt x="891" y="176"/>
                  </a:lnTo>
                  <a:lnTo>
                    <a:pt x="891" y="177"/>
                  </a:lnTo>
                  <a:close/>
                  <a:moveTo>
                    <a:pt x="682" y="181"/>
                  </a:moveTo>
                  <a:lnTo>
                    <a:pt x="681" y="182"/>
                  </a:lnTo>
                  <a:lnTo>
                    <a:pt x="679" y="183"/>
                  </a:lnTo>
                  <a:lnTo>
                    <a:pt x="678" y="183"/>
                  </a:lnTo>
                  <a:lnTo>
                    <a:pt x="677" y="184"/>
                  </a:lnTo>
                  <a:lnTo>
                    <a:pt x="677" y="183"/>
                  </a:lnTo>
                  <a:lnTo>
                    <a:pt x="676" y="183"/>
                  </a:lnTo>
                  <a:lnTo>
                    <a:pt x="676" y="182"/>
                  </a:lnTo>
                  <a:lnTo>
                    <a:pt x="676" y="181"/>
                  </a:lnTo>
                  <a:lnTo>
                    <a:pt x="677" y="181"/>
                  </a:lnTo>
                  <a:lnTo>
                    <a:pt x="677" y="179"/>
                  </a:lnTo>
                  <a:lnTo>
                    <a:pt x="678" y="179"/>
                  </a:lnTo>
                  <a:lnTo>
                    <a:pt x="677" y="179"/>
                  </a:lnTo>
                  <a:lnTo>
                    <a:pt x="677" y="178"/>
                  </a:lnTo>
                  <a:lnTo>
                    <a:pt x="678" y="178"/>
                  </a:lnTo>
                  <a:lnTo>
                    <a:pt x="678" y="177"/>
                  </a:lnTo>
                  <a:lnTo>
                    <a:pt x="679" y="177"/>
                  </a:lnTo>
                  <a:lnTo>
                    <a:pt x="681" y="177"/>
                  </a:lnTo>
                  <a:lnTo>
                    <a:pt x="681" y="176"/>
                  </a:lnTo>
                  <a:lnTo>
                    <a:pt x="682" y="176"/>
                  </a:lnTo>
                  <a:lnTo>
                    <a:pt x="683" y="176"/>
                  </a:lnTo>
                  <a:lnTo>
                    <a:pt x="684" y="176"/>
                  </a:lnTo>
                  <a:lnTo>
                    <a:pt x="684" y="177"/>
                  </a:lnTo>
                  <a:lnTo>
                    <a:pt x="683" y="178"/>
                  </a:lnTo>
                  <a:lnTo>
                    <a:pt x="683" y="179"/>
                  </a:lnTo>
                  <a:lnTo>
                    <a:pt x="682" y="181"/>
                  </a:lnTo>
                  <a:close/>
                  <a:moveTo>
                    <a:pt x="426" y="177"/>
                  </a:moveTo>
                  <a:lnTo>
                    <a:pt x="425" y="177"/>
                  </a:lnTo>
                  <a:lnTo>
                    <a:pt x="426" y="176"/>
                  </a:lnTo>
                  <a:lnTo>
                    <a:pt x="427" y="176"/>
                  </a:lnTo>
                  <a:lnTo>
                    <a:pt x="428" y="176"/>
                  </a:lnTo>
                  <a:lnTo>
                    <a:pt x="429" y="176"/>
                  </a:lnTo>
                  <a:lnTo>
                    <a:pt x="428" y="176"/>
                  </a:lnTo>
                  <a:lnTo>
                    <a:pt x="427" y="176"/>
                  </a:lnTo>
                  <a:lnTo>
                    <a:pt x="427" y="177"/>
                  </a:lnTo>
                  <a:lnTo>
                    <a:pt x="426" y="177"/>
                  </a:lnTo>
                  <a:close/>
                  <a:moveTo>
                    <a:pt x="796" y="176"/>
                  </a:moveTo>
                  <a:lnTo>
                    <a:pt x="797" y="176"/>
                  </a:lnTo>
                  <a:lnTo>
                    <a:pt x="799" y="177"/>
                  </a:lnTo>
                  <a:lnTo>
                    <a:pt x="800" y="177"/>
                  </a:lnTo>
                  <a:lnTo>
                    <a:pt x="800" y="178"/>
                  </a:lnTo>
                  <a:lnTo>
                    <a:pt x="799" y="178"/>
                  </a:lnTo>
                  <a:lnTo>
                    <a:pt x="799" y="179"/>
                  </a:lnTo>
                  <a:lnTo>
                    <a:pt x="798" y="179"/>
                  </a:lnTo>
                  <a:lnTo>
                    <a:pt x="797" y="181"/>
                  </a:lnTo>
                  <a:lnTo>
                    <a:pt x="797" y="182"/>
                  </a:lnTo>
                  <a:lnTo>
                    <a:pt x="797" y="183"/>
                  </a:lnTo>
                  <a:lnTo>
                    <a:pt x="796" y="183"/>
                  </a:lnTo>
                  <a:lnTo>
                    <a:pt x="796" y="184"/>
                  </a:lnTo>
                  <a:lnTo>
                    <a:pt x="796" y="185"/>
                  </a:lnTo>
                  <a:lnTo>
                    <a:pt x="795" y="185"/>
                  </a:lnTo>
                  <a:lnTo>
                    <a:pt x="795" y="186"/>
                  </a:lnTo>
                  <a:lnTo>
                    <a:pt x="793" y="186"/>
                  </a:lnTo>
                  <a:lnTo>
                    <a:pt x="792" y="188"/>
                  </a:lnTo>
                  <a:lnTo>
                    <a:pt x="791" y="188"/>
                  </a:lnTo>
                  <a:lnTo>
                    <a:pt x="790" y="188"/>
                  </a:lnTo>
                  <a:lnTo>
                    <a:pt x="790" y="189"/>
                  </a:lnTo>
                  <a:lnTo>
                    <a:pt x="789" y="189"/>
                  </a:lnTo>
                  <a:lnTo>
                    <a:pt x="788" y="189"/>
                  </a:lnTo>
                  <a:lnTo>
                    <a:pt x="786" y="189"/>
                  </a:lnTo>
                  <a:lnTo>
                    <a:pt x="783" y="190"/>
                  </a:lnTo>
                  <a:lnTo>
                    <a:pt x="782" y="190"/>
                  </a:lnTo>
                  <a:lnTo>
                    <a:pt x="781" y="190"/>
                  </a:lnTo>
                  <a:lnTo>
                    <a:pt x="779" y="190"/>
                  </a:lnTo>
                  <a:lnTo>
                    <a:pt x="778" y="190"/>
                  </a:lnTo>
                  <a:lnTo>
                    <a:pt x="777" y="190"/>
                  </a:lnTo>
                  <a:lnTo>
                    <a:pt x="776" y="190"/>
                  </a:lnTo>
                  <a:lnTo>
                    <a:pt x="772" y="190"/>
                  </a:lnTo>
                  <a:lnTo>
                    <a:pt x="771" y="190"/>
                  </a:lnTo>
                  <a:lnTo>
                    <a:pt x="771" y="189"/>
                  </a:lnTo>
                  <a:lnTo>
                    <a:pt x="771" y="188"/>
                  </a:lnTo>
                  <a:lnTo>
                    <a:pt x="771" y="186"/>
                  </a:lnTo>
                  <a:lnTo>
                    <a:pt x="772" y="186"/>
                  </a:lnTo>
                  <a:lnTo>
                    <a:pt x="772" y="185"/>
                  </a:lnTo>
                  <a:lnTo>
                    <a:pt x="772" y="184"/>
                  </a:lnTo>
                  <a:lnTo>
                    <a:pt x="774" y="183"/>
                  </a:lnTo>
                  <a:lnTo>
                    <a:pt x="775" y="182"/>
                  </a:lnTo>
                  <a:lnTo>
                    <a:pt x="779" y="179"/>
                  </a:lnTo>
                  <a:lnTo>
                    <a:pt x="781" y="178"/>
                  </a:lnTo>
                  <a:lnTo>
                    <a:pt x="782" y="178"/>
                  </a:lnTo>
                  <a:lnTo>
                    <a:pt x="782" y="177"/>
                  </a:lnTo>
                  <a:lnTo>
                    <a:pt x="783" y="177"/>
                  </a:lnTo>
                  <a:lnTo>
                    <a:pt x="784" y="176"/>
                  </a:lnTo>
                  <a:lnTo>
                    <a:pt x="789" y="175"/>
                  </a:lnTo>
                  <a:lnTo>
                    <a:pt x="789" y="176"/>
                  </a:lnTo>
                  <a:lnTo>
                    <a:pt x="790" y="176"/>
                  </a:lnTo>
                  <a:lnTo>
                    <a:pt x="791" y="176"/>
                  </a:lnTo>
                  <a:lnTo>
                    <a:pt x="792" y="176"/>
                  </a:lnTo>
                  <a:lnTo>
                    <a:pt x="792" y="175"/>
                  </a:lnTo>
                  <a:lnTo>
                    <a:pt x="796" y="176"/>
                  </a:lnTo>
                  <a:close/>
                  <a:moveTo>
                    <a:pt x="760" y="177"/>
                  </a:moveTo>
                  <a:lnTo>
                    <a:pt x="759" y="177"/>
                  </a:lnTo>
                  <a:lnTo>
                    <a:pt x="759" y="176"/>
                  </a:lnTo>
                  <a:lnTo>
                    <a:pt x="760" y="176"/>
                  </a:lnTo>
                  <a:lnTo>
                    <a:pt x="760" y="175"/>
                  </a:lnTo>
                  <a:lnTo>
                    <a:pt x="762" y="175"/>
                  </a:lnTo>
                  <a:lnTo>
                    <a:pt x="762" y="176"/>
                  </a:lnTo>
                  <a:lnTo>
                    <a:pt x="762" y="177"/>
                  </a:lnTo>
                  <a:lnTo>
                    <a:pt x="760" y="177"/>
                  </a:lnTo>
                  <a:close/>
                  <a:moveTo>
                    <a:pt x="546" y="176"/>
                  </a:moveTo>
                  <a:lnTo>
                    <a:pt x="544" y="176"/>
                  </a:lnTo>
                  <a:lnTo>
                    <a:pt x="546" y="175"/>
                  </a:lnTo>
                  <a:lnTo>
                    <a:pt x="546" y="176"/>
                  </a:lnTo>
                  <a:close/>
                  <a:moveTo>
                    <a:pt x="729" y="175"/>
                  </a:moveTo>
                  <a:lnTo>
                    <a:pt x="731" y="175"/>
                  </a:lnTo>
                  <a:lnTo>
                    <a:pt x="729" y="176"/>
                  </a:lnTo>
                  <a:lnTo>
                    <a:pt x="729" y="175"/>
                  </a:lnTo>
                  <a:lnTo>
                    <a:pt x="728" y="175"/>
                  </a:lnTo>
                  <a:lnTo>
                    <a:pt x="727" y="175"/>
                  </a:lnTo>
                  <a:lnTo>
                    <a:pt x="728" y="175"/>
                  </a:lnTo>
                  <a:lnTo>
                    <a:pt x="729" y="175"/>
                  </a:lnTo>
                  <a:close/>
                  <a:moveTo>
                    <a:pt x="810" y="176"/>
                  </a:moveTo>
                  <a:lnTo>
                    <a:pt x="810" y="177"/>
                  </a:lnTo>
                  <a:lnTo>
                    <a:pt x="810" y="176"/>
                  </a:lnTo>
                  <a:lnTo>
                    <a:pt x="809" y="176"/>
                  </a:lnTo>
                  <a:lnTo>
                    <a:pt x="810" y="176"/>
                  </a:lnTo>
                  <a:lnTo>
                    <a:pt x="810" y="175"/>
                  </a:lnTo>
                  <a:lnTo>
                    <a:pt x="809" y="175"/>
                  </a:lnTo>
                  <a:lnTo>
                    <a:pt x="809" y="174"/>
                  </a:lnTo>
                  <a:lnTo>
                    <a:pt x="810" y="174"/>
                  </a:lnTo>
                  <a:lnTo>
                    <a:pt x="811" y="174"/>
                  </a:lnTo>
                  <a:lnTo>
                    <a:pt x="811" y="175"/>
                  </a:lnTo>
                  <a:lnTo>
                    <a:pt x="811" y="176"/>
                  </a:lnTo>
                  <a:lnTo>
                    <a:pt x="810" y="176"/>
                  </a:lnTo>
                  <a:close/>
                  <a:moveTo>
                    <a:pt x="440" y="174"/>
                  </a:moveTo>
                  <a:lnTo>
                    <a:pt x="439" y="174"/>
                  </a:lnTo>
                  <a:lnTo>
                    <a:pt x="437" y="174"/>
                  </a:lnTo>
                  <a:lnTo>
                    <a:pt x="435" y="174"/>
                  </a:lnTo>
                  <a:lnTo>
                    <a:pt x="436" y="172"/>
                  </a:lnTo>
                  <a:lnTo>
                    <a:pt x="439" y="172"/>
                  </a:lnTo>
                  <a:lnTo>
                    <a:pt x="440" y="172"/>
                  </a:lnTo>
                  <a:lnTo>
                    <a:pt x="440" y="174"/>
                  </a:lnTo>
                  <a:close/>
                  <a:moveTo>
                    <a:pt x="441" y="172"/>
                  </a:moveTo>
                  <a:lnTo>
                    <a:pt x="442" y="172"/>
                  </a:lnTo>
                  <a:lnTo>
                    <a:pt x="441" y="172"/>
                  </a:lnTo>
                  <a:lnTo>
                    <a:pt x="440" y="172"/>
                  </a:lnTo>
                  <a:lnTo>
                    <a:pt x="441" y="172"/>
                  </a:lnTo>
                  <a:close/>
                  <a:moveTo>
                    <a:pt x="501" y="175"/>
                  </a:moveTo>
                  <a:lnTo>
                    <a:pt x="500" y="175"/>
                  </a:lnTo>
                  <a:lnTo>
                    <a:pt x="499" y="175"/>
                  </a:lnTo>
                  <a:lnTo>
                    <a:pt x="499" y="174"/>
                  </a:lnTo>
                  <a:lnTo>
                    <a:pt x="498" y="174"/>
                  </a:lnTo>
                  <a:lnTo>
                    <a:pt x="498" y="172"/>
                  </a:lnTo>
                  <a:lnTo>
                    <a:pt x="497" y="172"/>
                  </a:lnTo>
                  <a:lnTo>
                    <a:pt x="499" y="172"/>
                  </a:lnTo>
                  <a:lnTo>
                    <a:pt x="500" y="172"/>
                  </a:lnTo>
                  <a:lnTo>
                    <a:pt x="501" y="172"/>
                  </a:lnTo>
                  <a:lnTo>
                    <a:pt x="503" y="172"/>
                  </a:lnTo>
                  <a:lnTo>
                    <a:pt x="503" y="174"/>
                  </a:lnTo>
                  <a:lnTo>
                    <a:pt x="501" y="175"/>
                  </a:lnTo>
                  <a:close/>
                  <a:moveTo>
                    <a:pt x="409" y="171"/>
                  </a:moveTo>
                  <a:lnTo>
                    <a:pt x="409" y="172"/>
                  </a:lnTo>
                  <a:lnTo>
                    <a:pt x="407" y="171"/>
                  </a:lnTo>
                  <a:lnTo>
                    <a:pt x="408" y="171"/>
                  </a:lnTo>
                  <a:lnTo>
                    <a:pt x="409" y="171"/>
                  </a:lnTo>
                  <a:close/>
                  <a:moveTo>
                    <a:pt x="768" y="171"/>
                  </a:moveTo>
                  <a:lnTo>
                    <a:pt x="769" y="171"/>
                  </a:lnTo>
                  <a:lnTo>
                    <a:pt x="769" y="172"/>
                  </a:lnTo>
                  <a:lnTo>
                    <a:pt x="768" y="172"/>
                  </a:lnTo>
                  <a:lnTo>
                    <a:pt x="767" y="172"/>
                  </a:lnTo>
                  <a:lnTo>
                    <a:pt x="765" y="172"/>
                  </a:lnTo>
                  <a:lnTo>
                    <a:pt x="767" y="172"/>
                  </a:lnTo>
                  <a:lnTo>
                    <a:pt x="767" y="174"/>
                  </a:lnTo>
                  <a:lnTo>
                    <a:pt x="765" y="174"/>
                  </a:lnTo>
                  <a:lnTo>
                    <a:pt x="764" y="174"/>
                  </a:lnTo>
                  <a:lnTo>
                    <a:pt x="763" y="174"/>
                  </a:lnTo>
                  <a:lnTo>
                    <a:pt x="763" y="172"/>
                  </a:lnTo>
                  <a:lnTo>
                    <a:pt x="764" y="172"/>
                  </a:lnTo>
                  <a:lnTo>
                    <a:pt x="765" y="172"/>
                  </a:lnTo>
                  <a:lnTo>
                    <a:pt x="767" y="172"/>
                  </a:lnTo>
                  <a:lnTo>
                    <a:pt x="767" y="171"/>
                  </a:lnTo>
                  <a:lnTo>
                    <a:pt x="765" y="171"/>
                  </a:lnTo>
                  <a:lnTo>
                    <a:pt x="768" y="171"/>
                  </a:lnTo>
                  <a:close/>
                  <a:moveTo>
                    <a:pt x="809" y="172"/>
                  </a:moveTo>
                  <a:lnTo>
                    <a:pt x="806" y="172"/>
                  </a:lnTo>
                  <a:lnTo>
                    <a:pt x="805" y="172"/>
                  </a:lnTo>
                  <a:lnTo>
                    <a:pt x="805" y="171"/>
                  </a:lnTo>
                  <a:lnTo>
                    <a:pt x="806" y="171"/>
                  </a:lnTo>
                  <a:lnTo>
                    <a:pt x="807" y="171"/>
                  </a:lnTo>
                  <a:lnTo>
                    <a:pt x="809" y="171"/>
                  </a:lnTo>
                  <a:lnTo>
                    <a:pt x="807" y="171"/>
                  </a:lnTo>
                  <a:lnTo>
                    <a:pt x="809" y="171"/>
                  </a:lnTo>
                  <a:lnTo>
                    <a:pt x="809" y="172"/>
                  </a:lnTo>
                  <a:close/>
                  <a:moveTo>
                    <a:pt x="407" y="171"/>
                  </a:moveTo>
                  <a:lnTo>
                    <a:pt x="406" y="171"/>
                  </a:lnTo>
                  <a:lnTo>
                    <a:pt x="406" y="170"/>
                  </a:lnTo>
                  <a:lnTo>
                    <a:pt x="407" y="170"/>
                  </a:lnTo>
                  <a:lnTo>
                    <a:pt x="406" y="171"/>
                  </a:lnTo>
                  <a:lnTo>
                    <a:pt x="407" y="171"/>
                  </a:lnTo>
                  <a:close/>
                  <a:moveTo>
                    <a:pt x="805" y="172"/>
                  </a:moveTo>
                  <a:lnTo>
                    <a:pt x="805" y="174"/>
                  </a:lnTo>
                  <a:lnTo>
                    <a:pt x="804" y="174"/>
                  </a:lnTo>
                  <a:lnTo>
                    <a:pt x="804" y="175"/>
                  </a:lnTo>
                  <a:lnTo>
                    <a:pt x="804" y="174"/>
                  </a:lnTo>
                  <a:lnTo>
                    <a:pt x="805" y="174"/>
                  </a:lnTo>
                  <a:lnTo>
                    <a:pt x="805" y="175"/>
                  </a:lnTo>
                  <a:lnTo>
                    <a:pt x="804" y="175"/>
                  </a:lnTo>
                  <a:lnTo>
                    <a:pt x="804" y="176"/>
                  </a:lnTo>
                  <a:lnTo>
                    <a:pt x="803" y="176"/>
                  </a:lnTo>
                  <a:lnTo>
                    <a:pt x="803" y="175"/>
                  </a:lnTo>
                  <a:lnTo>
                    <a:pt x="802" y="175"/>
                  </a:lnTo>
                  <a:lnTo>
                    <a:pt x="803" y="175"/>
                  </a:lnTo>
                  <a:lnTo>
                    <a:pt x="802" y="175"/>
                  </a:lnTo>
                  <a:lnTo>
                    <a:pt x="800" y="174"/>
                  </a:lnTo>
                  <a:lnTo>
                    <a:pt x="799" y="174"/>
                  </a:lnTo>
                  <a:lnTo>
                    <a:pt x="799" y="172"/>
                  </a:lnTo>
                  <a:lnTo>
                    <a:pt x="800" y="172"/>
                  </a:lnTo>
                  <a:lnTo>
                    <a:pt x="800" y="171"/>
                  </a:lnTo>
                  <a:lnTo>
                    <a:pt x="802" y="171"/>
                  </a:lnTo>
                  <a:lnTo>
                    <a:pt x="802" y="170"/>
                  </a:lnTo>
                  <a:lnTo>
                    <a:pt x="803" y="170"/>
                  </a:lnTo>
                  <a:lnTo>
                    <a:pt x="805" y="170"/>
                  </a:lnTo>
                  <a:lnTo>
                    <a:pt x="805" y="171"/>
                  </a:lnTo>
                  <a:lnTo>
                    <a:pt x="805" y="172"/>
                  </a:lnTo>
                  <a:close/>
                  <a:moveTo>
                    <a:pt x="874" y="169"/>
                  </a:moveTo>
                  <a:lnTo>
                    <a:pt x="875" y="169"/>
                  </a:lnTo>
                  <a:lnTo>
                    <a:pt x="877" y="169"/>
                  </a:lnTo>
                  <a:lnTo>
                    <a:pt x="880" y="170"/>
                  </a:lnTo>
                  <a:lnTo>
                    <a:pt x="877" y="170"/>
                  </a:lnTo>
                  <a:lnTo>
                    <a:pt x="875" y="170"/>
                  </a:lnTo>
                  <a:lnTo>
                    <a:pt x="873" y="169"/>
                  </a:lnTo>
                  <a:lnTo>
                    <a:pt x="874" y="169"/>
                  </a:lnTo>
                  <a:close/>
                  <a:moveTo>
                    <a:pt x="534" y="169"/>
                  </a:moveTo>
                  <a:lnTo>
                    <a:pt x="534" y="170"/>
                  </a:lnTo>
                  <a:lnTo>
                    <a:pt x="534" y="171"/>
                  </a:lnTo>
                  <a:lnTo>
                    <a:pt x="533" y="171"/>
                  </a:lnTo>
                  <a:lnTo>
                    <a:pt x="532" y="171"/>
                  </a:lnTo>
                  <a:lnTo>
                    <a:pt x="530" y="172"/>
                  </a:lnTo>
                  <a:lnTo>
                    <a:pt x="530" y="171"/>
                  </a:lnTo>
                  <a:lnTo>
                    <a:pt x="529" y="171"/>
                  </a:lnTo>
                  <a:lnTo>
                    <a:pt x="528" y="171"/>
                  </a:lnTo>
                  <a:lnTo>
                    <a:pt x="527" y="171"/>
                  </a:lnTo>
                  <a:lnTo>
                    <a:pt x="527" y="170"/>
                  </a:lnTo>
                  <a:lnTo>
                    <a:pt x="528" y="170"/>
                  </a:lnTo>
                  <a:lnTo>
                    <a:pt x="529" y="170"/>
                  </a:lnTo>
                  <a:lnTo>
                    <a:pt x="530" y="170"/>
                  </a:lnTo>
                  <a:lnTo>
                    <a:pt x="530" y="169"/>
                  </a:lnTo>
                  <a:lnTo>
                    <a:pt x="532" y="169"/>
                  </a:lnTo>
                  <a:lnTo>
                    <a:pt x="534" y="169"/>
                  </a:lnTo>
                  <a:close/>
                  <a:moveTo>
                    <a:pt x="407" y="168"/>
                  </a:moveTo>
                  <a:lnTo>
                    <a:pt x="406" y="168"/>
                  </a:lnTo>
                  <a:lnTo>
                    <a:pt x="407" y="168"/>
                  </a:lnTo>
                  <a:close/>
                  <a:moveTo>
                    <a:pt x="551" y="168"/>
                  </a:moveTo>
                  <a:lnTo>
                    <a:pt x="550" y="168"/>
                  </a:lnTo>
                  <a:lnTo>
                    <a:pt x="550" y="169"/>
                  </a:lnTo>
                  <a:lnTo>
                    <a:pt x="549" y="169"/>
                  </a:lnTo>
                  <a:lnTo>
                    <a:pt x="549" y="170"/>
                  </a:lnTo>
                  <a:lnTo>
                    <a:pt x="549" y="169"/>
                  </a:lnTo>
                  <a:lnTo>
                    <a:pt x="548" y="169"/>
                  </a:lnTo>
                  <a:lnTo>
                    <a:pt x="548" y="170"/>
                  </a:lnTo>
                  <a:lnTo>
                    <a:pt x="547" y="170"/>
                  </a:lnTo>
                  <a:lnTo>
                    <a:pt x="547" y="169"/>
                  </a:lnTo>
                  <a:lnTo>
                    <a:pt x="546" y="169"/>
                  </a:lnTo>
                  <a:lnTo>
                    <a:pt x="546" y="170"/>
                  </a:lnTo>
                  <a:lnTo>
                    <a:pt x="546" y="169"/>
                  </a:lnTo>
                  <a:lnTo>
                    <a:pt x="547" y="168"/>
                  </a:lnTo>
                  <a:lnTo>
                    <a:pt x="548" y="168"/>
                  </a:lnTo>
                  <a:lnTo>
                    <a:pt x="548" y="167"/>
                  </a:lnTo>
                  <a:lnTo>
                    <a:pt x="549" y="167"/>
                  </a:lnTo>
                  <a:lnTo>
                    <a:pt x="549" y="165"/>
                  </a:lnTo>
                  <a:lnTo>
                    <a:pt x="550" y="165"/>
                  </a:lnTo>
                  <a:lnTo>
                    <a:pt x="551" y="167"/>
                  </a:lnTo>
                  <a:lnTo>
                    <a:pt x="550" y="167"/>
                  </a:lnTo>
                  <a:lnTo>
                    <a:pt x="551" y="167"/>
                  </a:lnTo>
                  <a:lnTo>
                    <a:pt x="551" y="168"/>
                  </a:lnTo>
                  <a:close/>
                  <a:moveTo>
                    <a:pt x="554" y="167"/>
                  </a:moveTo>
                  <a:lnTo>
                    <a:pt x="554" y="168"/>
                  </a:lnTo>
                  <a:lnTo>
                    <a:pt x="553" y="167"/>
                  </a:lnTo>
                  <a:lnTo>
                    <a:pt x="551" y="167"/>
                  </a:lnTo>
                  <a:lnTo>
                    <a:pt x="553" y="167"/>
                  </a:lnTo>
                  <a:lnTo>
                    <a:pt x="553" y="165"/>
                  </a:lnTo>
                  <a:lnTo>
                    <a:pt x="554" y="165"/>
                  </a:lnTo>
                  <a:lnTo>
                    <a:pt x="554" y="164"/>
                  </a:lnTo>
                  <a:lnTo>
                    <a:pt x="555" y="164"/>
                  </a:lnTo>
                  <a:lnTo>
                    <a:pt x="555" y="165"/>
                  </a:lnTo>
                  <a:lnTo>
                    <a:pt x="555" y="167"/>
                  </a:lnTo>
                  <a:lnTo>
                    <a:pt x="554" y="167"/>
                  </a:lnTo>
                  <a:close/>
                  <a:moveTo>
                    <a:pt x="655" y="164"/>
                  </a:moveTo>
                  <a:lnTo>
                    <a:pt x="656" y="164"/>
                  </a:lnTo>
                  <a:lnTo>
                    <a:pt x="655" y="164"/>
                  </a:lnTo>
                  <a:lnTo>
                    <a:pt x="655" y="165"/>
                  </a:lnTo>
                  <a:lnTo>
                    <a:pt x="654" y="165"/>
                  </a:lnTo>
                  <a:lnTo>
                    <a:pt x="654" y="164"/>
                  </a:lnTo>
                  <a:lnTo>
                    <a:pt x="655" y="164"/>
                  </a:lnTo>
                  <a:close/>
                  <a:moveTo>
                    <a:pt x="191" y="164"/>
                  </a:moveTo>
                  <a:lnTo>
                    <a:pt x="191" y="165"/>
                  </a:lnTo>
                  <a:lnTo>
                    <a:pt x="189" y="165"/>
                  </a:lnTo>
                  <a:lnTo>
                    <a:pt x="188" y="165"/>
                  </a:lnTo>
                  <a:lnTo>
                    <a:pt x="188" y="164"/>
                  </a:lnTo>
                  <a:lnTo>
                    <a:pt x="189" y="164"/>
                  </a:lnTo>
                  <a:lnTo>
                    <a:pt x="191" y="164"/>
                  </a:lnTo>
                  <a:close/>
                  <a:moveTo>
                    <a:pt x="539" y="165"/>
                  </a:moveTo>
                  <a:lnTo>
                    <a:pt x="539" y="164"/>
                  </a:lnTo>
                  <a:lnTo>
                    <a:pt x="540" y="164"/>
                  </a:lnTo>
                  <a:lnTo>
                    <a:pt x="539" y="164"/>
                  </a:lnTo>
                  <a:lnTo>
                    <a:pt x="540" y="163"/>
                  </a:lnTo>
                  <a:lnTo>
                    <a:pt x="541" y="163"/>
                  </a:lnTo>
                  <a:lnTo>
                    <a:pt x="541" y="164"/>
                  </a:lnTo>
                  <a:lnTo>
                    <a:pt x="540" y="165"/>
                  </a:lnTo>
                  <a:lnTo>
                    <a:pt x="539" y="165"/>
                  </a:lnTo>
                  <a:close/>
                  <a:moveTo>
                    <a:pt x="654" y="162"/>
                  </a:moveTo>
                  <a:lnTo>
                    <a:pt x="654" y="163"/>
                  </a:lnTo>
                  <a:lnTo>
                    <a:pt x="653" y="163"/>
                  </a:lnTo>
                  <a:lnTo>
                    <a:pt x="654" y="163"/>
                  </a:lnTo>
                  <a:lnTo>
                    <a:pt x="653" y="163"/>
                  </a:lnTo>
                  <a:lnTo>
                    <a:pt x="651" y="164"/>
                  </a:lnTo>
                  <a:lnTo>
                    <a:pt x="651" y="163"/>
                  </a:lnTo>
                  <a:lnTo>
                    <a:pt x="653" y="163"/>
                  </a:lnTo>
                  <a:lnTo>
                    <a:pt x="651" y="163"/>
                  </a:lnTo>
                  <a:lnTo>
                    <a:pt x="653" y="162"/>
                  </a:lnTo>
                  <a:lnTo>
                    <a:pt x="651" y="162"/>
                  </a:lnTo>
                  <a:lnTo>
                    <a:pt x="653" y="162"/>
                  </a:lnTo>
                  <a:lnTo>
                    <a:pt x="651" y="162"/>
                  </a:lnTo>
                  <a:lnTo>
                    <a:pt x="651" y="163"/>
                  </a:lnTo>
                  <a:lnTo>
                    <a:pt x="650" y="163"/>
                  </a:lnTo>
                  <a:lnTo>
                    <a:pt x="651" y="162"/>
                  </a:lnTo>
                  <a:lnTo>
                    <a:pt x="653" y="162"/>
                  </a:lnTo>
                  <a:lnTo>
                    <a:pt x="653" y="161"/>
                  </a:lnTo>
                  <a:lnTo>
                    <a:pt x="654" y="162"/>
                  </a:lnTo>
                  <a:close/>
                  <a:moveTo>
                    <a:pt x="776" y="161"/>
                  </a:moveTo>
                  <a:lnTo>
                    <a:pt x="777" y="161"/>
                  </a:lnTo>
                  <a:lnTo>
                    <a:pt x="778" y="162"/>
                  </a:lnTo>
                  <a:lnTo>
                    <a:pt x="777" y="162"/>
                  </a:lnTo>
                  <a:lnTo>
                    <a:pt x="777" y="163"/>
                  </a:lnTo>
                  <a:lnTo>
                    <a:pt x="776" y="163"/>
                  </a:lnTo>
                  <a:lnTo>
                    <a:pt x="776" y="164"/>
                  </a:lnTo>
                  <a:lnTo>
                    <a:pt x="775" y="164"/>
                  </a:lnTo>
                  <a:lnTo>
                    <a:pt x="775" y="163"/>
                  </a:lnTo>
                  <a:lnTo>
                    <a:pt x="774" y="164"/>
                  </a:lnTo>
                  <a:lnTo>
                    <a:pt x="772" y="164"/>
                  </a:lnTo>
                  <a:lnTo>
                    <a:pt x="772" y="165"/>
                  </a:lnTo>
                  <a:lnTo>
                    <a:pt x="771" y="165"/>
                  </a:lnTo>
                  <a:lnTo>
                    <a:pt x="770" y="167"/>
                  </a:lnTo>
                  <a:lnTo>
                    <a:pt x="769" y="167"/>
                  </a:lnTo>
                  <a:lnTo>
                    <a:pt x="769" y="168"/>
                  </a:lnTo>
                  <a:lnTo>
                    <a:pt x="768" y="168"/>
                  </a:lnTo>
                  <a:lnTo>
                    <a:pt x="767" y="168"/>
                  </a:lnTo>
                  <a:lnTo>
                    <a:pt x="765" y="168"/>
                  </a:lnTo>
                  <a:lnTo>
                    <a:pt x="764" y="168"/>
                  </a:lnTo>
                  <a:lnTo>
                    <a:pt x="763" y="169"/>
                  </a:lnTo>
                  <a:lnTo>
                    <a:pt x="762" y="169"/>
                  </a:lnTo>
                  <a:lnTo>
                    <a:pt x="762" y="168"/>
                  </a:lnTo>
                  <a:lnTo>
                    <a:pt x="763" y="167"/>
                  </a:lnTo>
                  <a:lnTo>
                    <a:pt x="765" y="165"/>
                  </a:lnTo>
                  <a:lnTo>
                    <a:pt x="767" y="165"/>
                  </a:lnTo>
                  <a:lnTo>
                    <a:pt x="768" y="165"/>
                  </a:lnTo>
                  <a:lnTo>
                    <a:pt x="769" y="165"/>
                  </a:lnTo>
                  <a:lnTo>
                    <a:pt x="769" y="164"/>
                  </a:lnTo>
                  <a:lnTo>
                    <a:pt x="770" y="164"/>
                  </a:lnTo>
                  <a:lnTo>
                    <a:pt x="771" y="163"/>
                  </a:lnTo>
                  <a:lnTo>
                    <a:pt x="772" y="163"/>
                  </a:lnTo>
                  <a:lnTo>
                    <a:pt x="774" y="163"/>
                  </a:lnTo>
                  <a:lnTo>
                    <a:pt x="772" y="162"/>
                  </a:lnTo>
                  <a:lnTo>
                    <a:pt x="774" y="162"/>
                  </a:lnTo>
                  <a:lnTo>
                    <a:pt x="775" y="162"/>
                  </a:lnTo>
                  <a:lnTo>
                    <a:pt x="776" y="161"/>
                  </a:lnTo>
                  <a:close/>
                  <a:moveTo>
                    <a:pt x="201" y="161"/>
                  </a:moveTo>
                  <a:lnTo>
                    <a:pt x="202" y="161"/>
                  </a:lnTo>
                  <a:lnTo>
                    <a:pt x="201" y="162"/>
                  </a:lnTo>
                  <a:lnTo>
                    <a:pt x="202" y="162"/>
                  </a:lnTo>
                  <a:lnTo>
                    <a:pt x="201" y="162"/>
                  </a:lnTo>
                  <a:lnTo>
                    <a:pt x="200" y="161"/>
                  </a:lnTo>
                  <a:lnTo>
                    <a:pt x="201" y="161"/>
                  </a:lnTo>
                  <a:close/>
                  <a:moveTo>
                    <a:pt x="760" y="162"/>
                  </a:moveTo>
                  <a:lnTo>
                    <a:pt x="759" y="161"/>
                  </a:lnTo>
                  <a:lnTo>
                    <a:pt x="760" y="161"/>
                  </a:lnTo>
                  <a:lnTo>
                    <a:pt x="760" y="162"/>
                  </a:lnTo>
                  <a:close/>
                  <a:moveTo>
                    <a:pt x="743" y="161"/>
                  </a:moveTo>
                  <a:lnTo>
                    <a:pt x="745" y="161"/>
                  </a:lnTo>
                  <a:lnTo>
                    <a:pt x="746" y="161"/>
                  </a:lnTo>
                  <a:lnTo>
                    <a:pt x="746" y="162"/>
                  </a:lnTo>
                  <a:lnTo>
                    <a:pt x="745" y="162"/>
                  </a:lnTo>
                  <a:lnTo>
                    <a:pt x="743" y="162"/>
                  </a:lnTo>
                  <a:lnTo>
                    <a:pt x="743" y="161"/>
                  </a:lnTo>
                  <a:lnTo>
                    <a:pt x="742" y="161"/>
                  </a:lnTo>
                  <a:lnTo>
                    <a:pt x="742" y="162"/>
                  </a:lnTo>
                  <a:lnTo>
                    <a:pt x="741" y="162"/>
                  </a:lnTo>
                  <a:lnTo>
                    <a:pt x="741" y="161"/>
                  </a:lnTo>
                  <a:lnTo>
                    <a:pt x="742" y="161"/>
                  </a:lnTo>
                  <a:lnTo>
                    <a:pt x="743" y="161"/>
                  </a:lnTo>
                  <a:close/>
                  <a:moveTo>
                    <a:pt x="658" y="161"/>
                  </a:moveTo>
                  <a:lnTo>
                    <a:pt x="657" y="161"/>
                  </a:lnTo>
                  <a:lnTo>
                    <a:pt x="658" y="161"/>
                  </a:lnTo>
                  <a:lnTo>
                    <a:pt x="658" y="162"/>
                  </a:lnTo>
                  <a:lnTo>
                    <a:pt x="657" y="162"/>
                  </a:lnTo>
                  <a:lnTo>
                    <a:pt x="656" y="162"/>
                  </a:lnTo>
                  <a:lnTo>
                    <a:pt x="656" y="163"/>
                  </a:lnTo>
                  <a:lnTo>
                    <a:pt x="655" y="163"/>
                  </a:lnTo>
                  <a:lnTo>
                    <a:pt x="655" y="162"/>
                  </a:lnTo>
                  <a:lnTo>
                    <a:pt x="654" y="162"/>
                  </a:lnTo>
                  <a:lnTo>
                    <a:pt x="655" y="162"/>
                  </a:lnTo>
                  <a:lnTo>
                    <a:pt x="655" y="161"/>
                  </a:lnTo>
                  <a:lnTo>
                    <a:pt x="656" y="161"/>
                  </a:lnTo>
                  <a:lnTo>
                    <a:pt x="657" y="161"/>
                  </a:lnTo>
                  <a:lnTo>
                    <a:pt x="658" y="161"/>
                  </a:lnTo>
                  <a:close/>
                  <a:moveTo>
                    <a:pt x="791" y="161"/>
                  </a:moveTo>
                  <a:lnTo>
                    <a:pt x="793" y="161"/>
                  </a:lnTo>
                  <a:lnTo>
                    <a:pt x="795" y="161"/>
                  </a:lnTo>
                  <a:lnTo>
                    <a:pt x="795" y="162"/>
                  </a:lnTo>
                  <a:lnTo>
                    <a:pt x="793" y="162"/>
                  </a:lnTo>
                  <a:lnTo>
                    <a:pt x="792" y="163"/>
                  </a:lnTo>
                  <a:lnTo>
                    <a:pt x="791" y="163"/>
                  </a:lnTo>
                  <a:lnTo>
                    <a:pt x="790" y="163"/>
                  </a:lnTo>
                  <a:lnTo>
                    <a:pt x="790" y="164"/>
                  </a:lnTo>
                  <a:lnTo>
                    <a:pt x="790" y="165"/>
                  </a:lnTo>
                  <a:lnTo>
                    <a:pt x="789" y="165"/>
                  </a:lnTo>
                  <a:lnTo>
                    <a:pt x="789" y="164"/>
                  </a:lnTo>
                  <a:lnTo>
                    <a:pt x="788" y="164"/>
                  </a:lnTo>
                  <a:lnTo>
                    <a:pt x="786" y="164"/>
                  </a:lnTo>
                  <a:lnTo>
                    <a:pt x="785" y="164"/>
                  </a:lnTo>
                  <a:lnTo>
                    <a:pt x="785" y="163"/>
                  </a:lnTo>
                  <a:lnTo>
                    <a:pt x="786" y="163"/>
                  </a:lnTo>
                  <a:lnTo>
                    <a:pt x="786" y="162"/>
                  </a:lnTo>
                  <a:lnTo>
                    <a:pt x="788" y="162"/>
                  </a:lnTo>
                  <a:lnTo>
                    <a:pt x="788" y="161"/>
                  </a:lnTo>
                  <a:lnTo>
                    <a:pt x="789" y="161"/>
                  </a:lnTo>
                  <a:lnTo>
                    <a:pt x="790" y="161"/>
                  </a:lnTo>
                  <a:lnTo>
                    <a:pt x="791" y="161"/>
                  </a:lnTo>
                  <a:close/>
                  <a:moveTo>
                    <a:pt x="200" y="160"/>
                  </a:moveTo>
                  <a:lnTo>
                    <a:pt x="201" y="160"/>
                  </a:lnTo>
                  <a:lnTo>
                    <a:pt x="200" y="161"/>
                  </a:lnTo>
                  <a:lnTo>
                    <a:pt x="200" y="160"/>
                  </a:lnTo>
                  <a:lnTo>
                    <a:pt x="199" y="160"/>
                  </a:lnTo>
                  <a:lnTo>
                    <a:pt x="200" y="160"/>
                  </a:lnTo>
                  <a:close/>
                  <a:moveTo>
                    <a:pt x="548" y="160"/>
                  </a:moveTo>
                  <a:lnTo>
                    <a:pt x="549" y="158"/>
                  </a:lnTo>
                  <a:lnTo>
                    <a:pt x="549" y="160"/>
                  </a:lnTo>
                  <a:lnTo>
                    <a:pt x="550" y="160"/>
                  </a:lnTo>
                  <a:lnTo>
                    <a:pt x="549" y="160"/>
                  </a:lnTo>
                  <a:lnTo>
                    <a:pt x="550" y="160"/>
                  </a:lnTo>
                  <a:lnTo>
                    <a:pt x="550" y="161"/>
                  </a:lnTo>
                  <a:lnTo>
                    <a:pt x="549" y="161"/>
                  </a:lnTo>
                  <a:lnTo>
                    <a:pt x="548" y="161"/>
                  </a:lnTo>
                  <a:lnTo>
                    <a:pt x="547" y="161"/>
                  </a:lnTo>
                  <a:lnTo>
                    <a:pt x="547" y="162"/>
                  </a:lnTo>
                  <a:lnTo>
                    <a:pt x="546" y="162"/>
                  </a:lnTo>
                  <a:lnTo>
                    <a:pt x="546" y="161"/>
                  </a:lnTo>
                  <a:lnTo>
                    <a:pt x="547" y="161"/>
                  </a:lnTo>
                  <a:lnTo>
                    <a:pt x="548" y="161"/>
                  </a:lnTo>
                  <a:lnTo>
                    <a:pt x="548" y="160"/>
                  </a:lnTo>
                  <a:lnTo>
                    <a:pt x="547" y="160"/>
                  </a:lnTo>
                  <a:lnTo>
                    <a:pt x="547" y="158"/>
                  </a:lnTo>
                  <a:lnTo>
                    <a:pt x="548" y="158"/>
                  </a:lnTo>
                  <a:lnTo>
                    <a:pt x="548" y="160"/>
                  </a:lnTo>
                  <a:close/>
                  <a:moveTo>
                    <a:pt x="594" y="158"/>
                  </a:moveTo>
                  <a:lnTo>
                    <a:pt x="596" y="158"/>
                  </a:lnTo>
                  <a:lnTo>
                    <a:pt x="597" y="158"/>
                  </a:lnTo>
                  <a:lnTo>
                    <a:pt x="598" y="158"/>
                  </a:lnTo>
                  <a:lnTo>
                    <a:pt x="598" y="160"/>
                  </a:lnTo>
                  <a:lnTo>
                    <a:pt x="599" y="160"/>
                  </a:lnTo>
                  <a:lnTo>
                    <a:pt x="599" y="158"/>
                  </a:lnTo>
                  <a:lnTo>
                    <a:pt x="599" y="160"/>
                  </a:lnTo>
                  <a:lnTo>
                    <a:pt x="599" y="161"/>
                  </a:lnTo>
                  <a:lnTo>
                    <a:pt x="598" y="161"/>
                  </a:lnTo>
                  <a:lnTo>
                    <a:pt x="598" y="162"/>
                  </a:lnTo>
                  <a:lnTo>
                    <a:pt x="597" y="162"/>
                  </a:lnTo>
                  <a:lnTo>
                    <a:pt x="596" y="161"/>
                  </a:lnTo>
                  <a:lnTo>
                    <a:pt x="596" y="160"/>
                  </a:lnTo>
                  <a:lnTo>
                    <a:pt x="594" y="160"/>
                  </a:lnTo>
                  <a:lnTo>
                    <a:pt x="593" y="158"/>
                  </a:lnTo>
                  <a:lnTo>
                    <a:pt x="594" y="158"/>
                  </a:lnTo>
                  <a:close/>
                  <a:moveTo>
                    <a:pt x="890" y="158"/>
                  </a:moveTo>
                  <a:lnTo>
                    <a:pt x="890" y="160"/>
                  </a:lnTo>
                  <a:lnTo>
                    <a:pt x="888" y="160"/>
                  </a:lnTo>
                  <a:lnTo>
                    <a:pt x="887" y="160"/>
                  </a:lnTo>
                  <a:lnTo>
                    <a:pt x="885" y="160"/>
                  </a:lnTo>
                  <a:lnTo>
                    <a:pt x="887" y="160"/>
                  </a:lnTo>
                  <a:lnTo>
                    <a:pt x="887" y="158"/>
                  </a:lnTo>
                  <a:lnTo>
                    <a:pt x="888" y="158"/>
                  </a:lnTo>
                  <a:lnTo>
                    <a:pt x="889" y="158"/>
                  </a:lnTo>
                  <a:lnTo>
                    <a:pt x="890" y="158"/>
                  </a:lnTo>
                  <a:close/>
                  <a:moveTo>
                    <a:pt x="221" y="158"/>
                  </a:moveTo>
                  <a:lnTo>
                    <a:pt x="220" y="158"/>
                  </a:lnTo>
                  <a:lnTo>
                    <a:pt x="219" y="158"/>
                  </a:lnTo>
                  <a:lnTo>
                    <a:pt x="220" y="158"/>
                  </a:lnTo>
                  <a:lnTo>
                    <a:pt x="221" y="158"/>
                  </a:lnTo>
                  <a:close/>
                  <a:moveTo>
                    <a:pt x="605" y="158"/>
                  </a:moveTo>
                  <a:lnTo>
                    <a:pt x="606" y="158"/>
                  </a:lnTo>
                  <a:lnTo>
                    <a:pt x="607" y="160"/>
                  </a:lnTo>
                  <a:lnTo>
                    <a:pt x="606" y="160"/>
                  </a:lnTo>
                  <a:lnTo>
                    <a:pt x="606" y="161"/>
                  </a:lnTo>
                  <a:lnTo>
                    <a:pt x="605" y="161"/>
                  </a:lnTo>
                  <a:lnTo>
                    <a:pt x="604" y="162"/>
                  </a:lnTo>
                  <a:lnTo>
                    <a:pt x="601" y="162"/>
                  </a:lnTo>
                  <a:lnTo>
                    <a:pt x="601" y="161"/>
                  </a:lnTo>
                  <a:lnTo>
                    <a:pt x="603" y="161"/>
                  </a:lnTo>
                  <a:lnTo>
                    <a:pt x="604" y="160"/>
                  </a:lnTo>
                  <a:lnTo>
                    <a:pt x="604" y="158"/>
                  </a:lnTo>
                  <a:lnTo>
                    <a:pt x="603" y="158"/>
                  </a:lnTo>
                  <a:lnTo>
                    <a:pt x="603" y="160"/>
                  </a:lnTo>
                  <a:lnTo>
                    <a:pt x="600" y="161"/>
                  </a:lnTo>
                  <a:lnTo>
                    <a:pt x="600" y="162"/>
                  </a:lnTo>
                  <a:lnTo>
                    <a:pt x="599" y="162"/>
                  </a:lnTo>
                  <a:lnTo>
                    <a:pt x="599" y="161"/>
                  </a:lnTo>
                  <a:lnTo>
                    <a:pt x="600" y="161"/>
                  </a:lnTo>
                  <a:lnTo>
                    <a:pt x="600" y="160"/>
                  </a:lnTo>
                  <a:lnTo>
                    <a:pt x="601" y="160"/>
                  </a:lnTo>
                  <a:lnTo>
                    <a:pt x="603" y="158"/>
                  </a:lnTo>
                  <a:lnTo>
                    <a:pt x="604" y="158"/>
                  </a:lnTo>
                  <a:lnTo>
                    <a:pt x="605" y="158"/>
                  </a:lnTo>
                  <a:close/>
                  <a:moveTo>
                    <a:pt x="170" y="158"/>
                  </a:moveTo>
                  <a:lnTo>
                    <a:pt x="169" y="158"/>
                  </a:lnTo>
                  <a:lnTo>
                    <a:pt x="167" y="158"/>
                  </a:lnTo>
                  <a:lnTo>
                    <a:pt x="167" y="160"/>
                  </a:lnTo>
                  <a:lnTo>
                    <a:pt x="166" y="160"/>
                  </a:lnTo>
                  <a:lnTo>
                    <a:pt x="166" y="158"/>
                  </a:lnTo>
                  <a:lnTo>
                    <a:pt x="165" y="158"/>
                  </a:lnTo>
                  <a:lnTo>
                    <a:pt x="167" y="158"/>
                  </a:lnTo>
                  <a:lnTo>
                    <a:pt x="167" y="157"/>
                  </a:lnTo>
                  <a:lnTo>
                    <a:pt x="169" y="157"/>
                  </a:lnTo>
                  <a:lnTo>
                    <a:pt x="169" y="158"/>
                  </a:lnTo>
                  <a:lnTo>
                    <a:pt x="170" y="158"/>
                  </a:lnTo>
                  <a:close/>
                  <a:moveTo>
                    <a:pt x="203" y="158"/>
                  </a:moveTo>
                  <a:lnTo>
                    <a:pt x="202" y="158"/>
                  </a:lnTo>
                  <a:lnTo>
                    <a:pt x="203" y="158"/>
                  </a:lnTo>
                  <a:lnTo>
                    <a:pt x="205" y="158"/>
                  </a:lnTo>
                  <a:lnTo>
                    <a:pt x="205" y="157"/>
                  </a:lnTo>
                  <a:lnTo>
                    <a:pt x="206" y="157"/>
                  </a:lnTo>
                  <a:lnTo>
                    <a:pt x="205" y="158"/>
                  </a:lnTo>
                  <a:lnTo>
                    <a:pt x="203" y="158"/>
                  </a:lnTo>
                  <a:close/>
                  <a:moveTo>
                    <a:pt x="885" y="157"/>
                  </a:moveTo>
                  <a:lnTo>
                    <a:pt x="887" y="157"/>
                  </a:lnTo>
                  <a:lnTo>
                    <a:pt x="887" y="158"/>
                  </a:lnTo>
                  <a:lnTo>
                    <a:pt x="885" y="158"/>
                  </a:lnTo>
                  <a:lnTo>
                    <a:pt x="884" y="158"/>
                  </a:lnTo>
                  <a:lnTo>
                    <a:pt x="884" y="160"/>
                  </a:lnTo>
                  <a:lnTo>
                    <a:pt x="883" y="160"/>
                  </a:lnTo>
                  <a:lnTo>
                    <a:pt x="881" y="158"/>
                  </a:lnTo>
                  <a:lnTo>
                    <a:pt x="882" y="158"/>
                  </a:lnTo>
                  <a:lnTo>
                    <a:pt x="881" y="158"/>
                  </a:lnTo>
                  <a:lnTo>
                    <a:pt x="882" y="158"/>
                  </a:lnTo>
                  <a:lnTo>
                    <a:pt x="883" y="157"/>
                  </a:lnTo>
                  <a:lnTo>
                    <a:pt x="884" y="157"/>
                  </a:lnTo>
                  <a:lnTo>
                    <a:pt x="885" y="157"/>
                  </a:lnTo>
                  <a:lnTo>
                    <a:pt x="884" y="157"/>
                  </a:lnTo>
                  <a:lnTo>
                    <a:pt x="885" y="157"/>
                  </a:lnTo>
                  <a:close/>
                  <a:moveTo>
                    <a:pt x="541" y="157"/>
                  </a:moveTo>
                  <a:lnTo>
                    <a:pt x="540" y="157"/>
                  </a:lnTo>
                  <a:lnTo>
                    <a:pt x="541" y="157"/>
                  </a:lnTo>
                  <a:lnTo>
                    <a:pt x="541" y="156"/>
                  </a:lnTo>
                  <a:lnTo>
                    <a:pt x="541" y="157"/>
                  </a:lnTo>
                  <a:close/>
                  <a:moveTo>
                    <a:pt x="784" y="157"/>
                  </a:moveTo>
                  <a:lnTo>
                    <a:pt x="783" y="158"/>
                  </a:lnTo>
                  <a:lnTo>
                    <a:pt x="782" y="158"/>
                  </a:lnTo>
                  <a:lnTo>
                    <a:pt x="781" y="158"/>
                  </a:lnTo>
                  <a:lnTo>
                    <a:pt x="779" y="158"/>
                  </a:lnTo>
                  <a:lnTo>
                    <a:pt x="778" y="160"/>
                  </a:lnTo>
                  <a:lnTo>
                    <a:pt x="777" y="160"/>
                  </a:lnTo>
                  <a:lnTo>
                    <a:pt x="776" y="160"/>
                  </a:lnTo>
                  <a:lnTo>
                    <a:pt x="775" y="160"/>
                  </a:lnTo>
                  <a:lnTo>
                    <a:pt x="774" y="161"/>
                  </a:lnTo>
                  <a:lnTo>
                    <a:pt x="772" y="161"/>
                  </a:lnTo>
                  <a:lnTo>
                    <a:pt x="772" y="160"/>
                  </a:lnTo>
                  <a:lnTo>
                    <a:pt x="774" y="160"/>
                  </a:lnTo>
                  <a:lnTo>
                    <a:pt x="776" y="158"/>
                  </a:lnTo>
                  <a:lnTo>
                    <a:pt x="777" y="158"/>
                  </a:lnTo>
                  <a:lnTo>
                    <a:pt x="777" y="157"/>
                  </a:lnTo>
                  <a:lnTo>
                    <a:pt x="778" y="157"/>
                  </a:lnTo>
                  <a:lnTo>
                    <a:pt x="779" y="157"/>
                  </a:lnTo>
                  <a:lnTo>
                    <a:pt x="781" y="157"/>
                  </a:lnTo>
                  <a:lnTo>
                    <a:pt x="782" y="157"/>
                  </a:lnTo>
                  <a:lnTo>
                    <a:pt x="782" y="156"/>
                  </a:lnTo>
                  <a:lnTo>
                    <a:pt x="783" y="156"/>
                  </a:lnTo>
                  <a:lnTo>
                    <a:pt x="784" y="157"/>
                  </a:lnTo>
                  <a:close/>
                  <a:moveTo>
                    <a:pt x="768" y="155"/>
                  </a:moveTo>
                  <a:lnTo>
                    <a:pt x="769" y="156"/>
                  </a:lnTo>
                  <a:lnTo>
                    <a:pt x="770" y="156"/>
                  </a:lnTo>
                  <a:lnTo>
                    <a:pt x="770" y="157"/>
                  </a:lnTo>
                  <a:lnTo>
                    <a:pt x="768" y="158"/>
                  </a:lnTo>
                  <a:lnTo>
                    <a:pt x="767" y="158"/>
                  </a:lnTo>
                  <a:lnTo>
                    <a:pt x="764" y="158"/>
                  </a:lnTo>
                  <a:lnTo>
                    <a:pt x="763" y="158"/>
                  </a:lnTo>
                  <a:lnTo>
                    <a:pt x="763" y="157"/>
                  </a:lnTo>
                  <a:lnTo>
                    <a:pt x="762" y="157"/>
                  </a:lnTo>
                  <a:lnTo>
                    <a:pt x="762" y="158"/>
                  </a:lnTo>
                  <a:lnTo>
                    <a:pt x="763" y="160"/>
                  </a:lnTo>
                  <a:lnTo>
                    <a:pt x="762" y="160"/>
                  </a:lnTo>
                  <a:lnTo>
                    <a:pt x="761" y="160"/>
                  </a:lnTo>
                  <a:lnTo>
                    <a:pt x="760" y="160"/>
                  </a:lnTo>
                  <a:lnTo>
                    <a:pt x="760" y="158"/>
                  </a:lnTo>
                  <a:lnTo>
                    <a:pt x="761" y="158"/>
                  </a:lnTo>
                  <a:lnTo>
                    <a:pt x="760" y="158"/>
                  </a:lnTo>
                  <a:lnTo>
                    <a:pt x="759" y="158"/>
                  </a:lnTo>
                  <a:lnTo>
                    <a:pt x="760" y="158"/>
                  </a:lnTo>
                  <a:lnTo>
                    <a:pt x="759" y="158"/>
                  </a:lnTo>
                  <a:lnTo>
                    <a:pt x="759" y="157"/>
                  </a:lnTo>
                  <a:lnTo>
                    <a:pt x="757" y="157"/>
                  </a:lnTo>
                  <a:lnTo>
                    <a:pt x="756" y="157"/>
                  </a:lnTo>
                  <a:lnTo>
                    <a:pt x="755" y="157"/>
                  </a:lnTo>
                  <a:lnTo>
                    <a:pt x="756" y="157"/>
                  </a:lnTo>
                  <a:lnTo>
                    <a:pt x="756" y="156"/>
                  </a:lnTo>
                  <a:lnTo>
                    <a:pt x="757" y="156"/>
                  </a:lnTo>
                  <a:lnTo>
                    <a:pt x="759" y="156"/>
                  </a:lnTo>
                  <a:lnTo>
                    <a:pt x="759" y="157"/>
                  </a:lnTo>
                  <a:lnTo>
                    <a:pt x="760" y="157"/>
                  </a:lnTo>
                  <a:lnTo>
                    <a:pt x="760" y="156"/>
                  </a:lnTo>
                  <a:lnTo>
                    <a:pt x="761" y="156"/>
                  </a:lnTo>
                  <a:lnTo>
                    <a:pt x="762" y="156"/>
                  </a:lnTo>
                  <a:lnTo>
                    <a:pt x="763" y="156"/>
                  </a:lnTo>
                  <a:lnTo>
                    <a:pt x="762" y="156"/>
                  </a:lnTo>
                  <a:lnTo>
                    <a:pt x="762" y="157"/>
                  </a:lnTo>
                  <a:lnTo>
                    <a:pt x="763" y="156"/>
                  </a:lnTo>
                  <a:lnTo>
                    <a:pt x="764" y="156"/>
                  </a:lnTo>
                  <a:lnTo>
                    <a:pt x="765" y="156"/>
                  </a:lnTo>
                  <a:lnTo>
                    <a:pt x="767" y="156"/>
                  </a:lnTo>
                  <a:lnTo>
                    <a:pt x="768" y="156"/>
                  </a:lnTo>
                  <a:lnTo>
                    <a:pt x="768" y="155"/>
                  </a:lnTo>
                  <a:close/>
                  <a:moveTo>
                    <a:pt x="739" y="156"/>
                  </a:moveTo>
                  <a:lnTo>
                    <a:pt x="738" y="156"/>
                  </a:lnTo>
                  <a:lnTo>
                    <a:pt x="736" y="156"/>
                  </a:lnTo>
                  <a:lnTo>
                    <a:pt x="735" y="156"/>
                  </a:lnTo>
                  <a:lnTo>
                    <a:pt x="736" y="156"/>
                  </a:lnTo>
                  <a:lnTo>
                    <a:pt x="738" y="155"/>
                  </a:lnTo>
                  <a:lnTo>
                    <a:pt x="739" y="155"/>
                  </a:lnTo>
                  <a:lnTo>
                    <a:pt x="739" y="156"/>
                  </a:lnTo>
                  <a:close/>
                  <a:moveTo>
                    <a:pt x="729" y="156"/>
                  </a:moveTo>
                  <a:lnTo>
                    <a:pt x="728" y="156"/>
                  </a:lnTo>
                  <a:lnTo>
                    <a:pt x="727" y="156"/>
                  </a:lnTo>
                  <a:lnTo>
                    <a:pt x="727" y="157"/>
                  </a:lnTo>
                  <a:lnTo>
                    <a:pt x="726" y="157"/>
                  </a:lnTo>
                  <a:lnTo>
                    <a:pt x="726" y="156"/>
                  </a:lnTo>
                  <a:lnTo>
                    <a:pt x="725" y="156"/>
                  </a:lnTo>
                  <a:lnTo>
                    <a:pt x="726" y="155"/>
                  </a:lnTo>
                  <a:lnTo>
                    <a:pt x="728" y="156"/>
                  </a:lnTo>
                  <a:lnTo>
                    <a:pt x="729" y="156"/>
                  </a:lnTo>
                  <a:close/>
                  <a:moveTo>
                    <a:pt x="646" y="155"/>
                  </a:moveTo>
                  <a:lnTo>
                    <a:pt x="647" y="155"/>
                  </a:lnTo>
                  <a:lnTo>
                    <a:pt x="648" y="155"/>
                  </a:lnTo>
                  <a:lnTo>
                    <a:pt x="647" y="155"/>
                  </a:lnTo>
                  <a:lnTo>
                    <a:pt x="646" y="155"/>
                  </a:lnTo>
                  <a:close/>
                  <a:moveTo>
                    <a:pt x="650" y="155"/>
                  </a:moveTo>
                  <a:lnTo>
                    <a:pt x="649" y="155"/>
                  </a:lnTo>
                  <a:lnTo>
                    <a:pt x="649" y="156"/>
                  </a:lnTo>
                  <a:lnTo>
                    <a:pt x="648" y="156"/>
                  </a:lnTo>
                  <a:lnTo>
                    <a:pt x="647" y="156"/>
                  </a:lnTo>
                  <a:lnTo>
                    <a:pt x="648" y="155"/>
                  </a:lnTo>
                  <a:lnTo>
                    <a:pt x="649" y="155"/>
                  </a:lnTo>
                  <a:lnTo>
                    <a:pt x="650" y="155"/>
                  </a:lnTo>
                  <a:close/>
                  <a:moveTo>
                    <a:pt x="587" y="158"/>
                  </a:moveTo>
                  <a:lnTo>
                    <a:pt x="589" y="157"/>
                  </a:lnTo>
                  <a:lnTo>
                    <a:pt x="590" y="157"/>
                  </a:lnTo>
                  <a:lnTo>
                    <a:pt x="591" y="158"/>
                  </a:lnTo>
                  <a:lnTo>
                    <a:pt x="591" y="160"/>
                  </a:lnTo>
                  <a:lnTo>
                    <a:pt x="592" y="160"/>
                  </a:lnTo>
                  <a:lnTo>
                    <a:pt x="593" y="161"/>
                  </a:lnTo>
                  <a:lnTo>
                    <a:pt x="594" y="161"/>
                  </a:lnTo>
                  <a:lnTo>
                    <a:pt x="594" y="162"/>
                  </a:lnTo>
                  <a:lnTo>
                    <a:pt x="596" y="162"/>
                  </a:lnTo>
                  <a:lnTo>
                    <a:pt x="597" y="162"/>
                  </a:lnTo>
                  <a:lnTo>
                    <a:pt x="596" y="163"/>
                  </a:lnTo>
                  <a:lnTo>
                    <a:pt x="594" y="164"/>
                  </a:lnTo>
                  <a:lnTo>
                    <a:pt x="593" y="165"/>
                  </a:lnTo>
                  <a:lnTo>
                    <a:pt x="594" y="165"/>
                  </a:lnTo>
                  <a:lnTo>
                    <a:pt x="594" y="164"/>
                  </a:lnTo>
                  <a:lnTo>
                    <a:pt x="596" y="164"/>
                  </a:lnTo>
                  <a:lnTo>
                    <a:pt x="596" y="163"/>
                  </a:lnTo>
                  <a:lnTo>
                    <a:pt x="597" y="163"/>
                  </a:lnTo>
                  <a:lnTo>
                    <a:pt x="597" y="164"/>
                  </a:lnTo>
                  <a:lnTo>
                    <a:pt x="597" y="165"/>
                  </a:lnTo>
                  <a:lnTo>
                    <a:pt x="596" y="165"/>
                  </a:lnTo>
                  <a:lnTo>
                    <a:pt x="596" y="167"/>
                  </a:lnTo>
                  <a:lnTo>
                    <a:pt x="596" y="168"/>
                  </a:lnTo>
                  <a:lnTo>
                    <a:pt x="597" y="168"/>
                  </a:lnTo>
                  <a:lnTo>
                    <a:pt x="597" y="169"/>
                  </a:lnTo>
                  <a:lnTo>
                    <a:pt x="600" y="168"/>
                  </a:lnTo>
                  <a:lnTo>
                    <a:pt x="601" y="168"/>
                  </a:lnTo>
                  <a:lnTo>
                    <a:pt x="601" y="169"/>
                  </a:lnTo>
                  <a:lnTo>
                    <a:pt x="600" y="169"/>
                  </a:lnTo>
                  <a:lnTo>
                    <a:pt x="599" y="170"/>
                  </a:lnTo>
                  <a:lnTo>
                    <a:pt x="598" y="170"/>
                  </a:lnTo>
                  <a:lnTo>
                    <a:pt x="596" y="171"/>
                  </a:lnTo>
                  <a:lnTo>
                    <a:pt x="596" y="170"/>
                  </a:lnTo>
                  <a:lnTo>
                    <a:pt x="597" y="170"/>
                  </a:lnTo>
                  <a:lnTo>
                    <a:pt x="594" y="170"/>
                  </a:lnTo>
                  <a:lnTo>
                    <a:pt x="593" y="170"/>
                  </a:lnTo>
                  <a:lnTo>
                    <a:pt x="592" y="171"/>
                  </a:lnTo>
                  <a:lnTo>
                    <a:pt x="591" y="171"/>
                  </a:lnTo>
                  <a:lnTo>
                    <a:pt x="590" y="172"/>
                  </a:lnTo>
                  <a:lnTo>
                    <a:pt x="589" y="172"/>
                  </a:lnTo>
                  <a:lnTo>
                    <a:pt x="586" y="174"/>
                  </a:lnTo>
                  <a:lnTo>
                    <a:pt x="585" y="174"/>
                  </a:lnTo>
                  <a:lnTo>
                    <a:pt x="583" y="174"/>
                  </a:lnTo>
                  <a:lnTo>
                    <a:pt x="582" y="174"/>
                  </a:lnTo>
                  <a:lnTo>
                    <a:pt x="580" y="172"/>
                  </a:lnTo>
                  <a:lnTo>
                    <a:pt x="579" y="172"/>
                  </a:lnTo>
                  <a:lnTo>
                    <a:pt x="578" y="172"/>
                  </a:lnTo>
                  <a:lnTo>
                    <a:pt x="577" y="172"/>
                  </a:lnTo>
                  <a:lnTo>
                    <a:pt x="576" y="172"/>
                  </a:lnTo>
                  <a:lnTo>
                    <a:pt x="575" y="172"/>
                  </a:lnTo>
                  <a:lnTo>
                    <a:pt x="573" y="172"/>
                  </a:lnTo>
                  <a:lnTo>
                    <a:pt x="573" y="171"/>
                  </a:lnTo>
                  <a:lnTo>
                    <a:pt x="572" y="171"/>
                  </a:lnTo>
                  <a:lnTo>
                    <a:pt x="571" y="170"/>
                  </a:lnTo>
                  <a:lnTo>
                    <a:pt x="570" y="170"/>
                  </a:lnTo>
                  <a:lnTo>
                    <a:pt x="570" y="171"/>
                  </a:lnTo>
                  <a:lnTo>
                    <a:pt x="570" y="170"/>
                  </a:lnTo>
                  <a:lnTo>
                    <a:pt x="569" y="170"/>
                  </a:lnTo>
                  <a:lnTo>
                    <a:pt x="569" y="169"/>
                  </a:lnTo>
                  <a:lnTo>
                    <a:pt x="570" y="169"/>
                  </a:lnTo>
                  <a:lnTo>
                    <a:pt x="569" y="168"/>
                  </a:lnTo>
                  <a:lnTo>
                    <a:pt x="569" y="169"/>
                  </a:lnTo>
                  <a:lnTo>
                    <a:pt x="568" y="169"/>
                  </a:lnTo>
                  <a:lnTo>
                    <a:pt x="568" y="170"/>
                  </a:lnTo>
                  <a:lnTo>
                    <a:pt x="567" y="170"/>
                  </a:lnTo>
                  <a:lnTo>
                    <a:pt x="567" y="169"/>
                  </a:lnTo>
                  <a:lnTo>
                    <a:pt x="565" y="169"/>
                  </a:lnTo>
                  <a:lnTo>
                    <a:pt x="564" y="169"/>
                  </a:lnTo>
                  <a:lnTo>
                    <a:pt x="564" y="168"/>
                  </a:lnTo>
                  <a:lnTo>
                    <a:pt x="565" y="168"/>
                  </a:lnTo>
                  <a:lnTo>
                    <a:pt x="564" y="167"/>
                  </a:lnTo>
                  <a:lnTo>
                    <a:pt x="564" y="168"/>
                  </a:lnTo>
                  <a:lnTo>
                    <a:pt x="563" y="168"/>
                  </a:lnTo>
                  <a:lnTo>
                    <a:pt x="562" y="168"/>
                  </a:lnTo>
                  <a:lnTo>
                    <a:pt x="562" y="169"/>
                  </a:lnTo>
                  <a:lnTo>
                    <a:pt x="561" y="169"/>
                  </a:lnTo>
                  <a:lnTo>
                    <a:pt x="561" y="168"/>
                  </a:lnTo>
                  <a:lnTo>
                    <a:pt x="560" y="168"/>
                  </a:lnTo>
                  <a:lnTo>
                    <a:pt x="558" y="168"/>
                  </a:lnTo>
                  <a:lnTo>
                    <a:pt x="560" y="168"/>
                  </a:lnTo>
                  <a:lnTo>
                    <a:pt x="560" y="167"/>
                  </a:lnTo>
                  <a:lnTo>
                    <a:pt x="558" y="167"/>
                  </a:lnTo>
                  <a:lnTo>
                    <a:pt x="558" y="165"/>
                  </a:lnTo>
                  <a:lnTo>
                    <a:pt x="560" y="165"/>
                  </a:lnTo>
                  <a:lnTo>
                    <a:pt x="561" y="164"/>
                  </a:lnTo>
                  <a:lnTo>
                    <a:pt x="562" y="164"/>
                  </a:lnTo>
                  <a:lnTo>
                    <a:pt x="563" y="164"/>
                  </a:lnTo>
                  <a:lnTo>
                    <a:pt x="564" y="164"/>
                  </a:lnTo>
                  <a:lnTo>
                    <a:pt x="565" y="164"/>
                  </a:lnTo>
                  <a:lnTo>
                    <a:pt x="567" y="164"/>
                  </a:lnTo>
                  <a:lnTo>
                    <a:pt x="568" y="164"/>
                  </a:lnTo>
                  <a:lnTo>
                    <a:pt x="569" y="164"/>
                  </a:lnTo>
                  <a:lnTo>
                    <a:pt x="570" y="164"/>
                  </a:lnTo>
                  <a:lnTo>
                    <a:pt x="570" y="163"/>
                  </a:lnTo>
                  <a:lnTo>
                    <a:pt x="571" y="163"/>
                  </a:lnTo>
                  <a:lnTo>
                    <a:pt x="571" y="162"/>
                  </a:lnTo>
                  <a:lnTo>
                    <a:pt x="572" y="163"/>
                  </a:lnTo>
                  <a:lnTo>
                    <a:pt x="572" y="162"/>
                  </a:lnTo>
                  <a:lnTo>
                    <a:pt x="573" y="162"/>
                  </a:lnTo>
                  <a:lnTo>
                    <a:pt x="575" y="162"/>
                  </a:lnTo>
                  <a:lnTo>
                    <a:pt x="573" y="161"/>
                  </a:lnTo>
                  <a:lnTo>
                    <a:pt x="573" y="160"/>
                  </a:lnTo>
                  <a:lnTo>
                    <a:pt x="575" y="160"/>
                  </a:lnTo>
                  <a:lnTo>
                    <a:pt x="576" y="161"/>
                  </a:lnTo>
                  <a:lnTo>
                    <a:pt x="576" y="160"/>
                  </a:lnTo>
                  <a:lnTo>
                    <a:pt x="575" y="160"/>
                  </a:lnTo>
                  <a:lnTo>
                    <a:pt x="575" y="158"/>
                  </a:lnTo>
                  <a:lnTo>
                    <a:pt x="576" y="158"/>
                  </a:lnTo>
                  <a:lnTo>
                    <a:pt x="577" y="158"/>
                  </a:lnTo>
                  <a:lnTo>
                    <a:pt x="577" y="160"/>
                  </a:lnTo>
                  <a:lnTo>
                    <a:pt x="578" y="160"/>
                  </a:lnTo>
                  <a:lnTo>
                    <a:pt x="579" y="160"/>
                  </a:lnTo>
                  <a:lnTo>
                    <a:pt x="579" y="161"/>
                  </a:lnTo>
                  <a:lnTo>
                    <a:pt x="578" y="161"/>
                  </a:lnTo>
                  <a:lnTo>
                    <a:pt x="579" y="161"/>
                  </a:lnTo>
                  <a:lnTo>
                    <a:pt x="578" y="160"/>
                  </a:lnTo>
                  <a:lnTo>
                    <a:pt x="578" y="158"/>
                  </a:lnTo>
                  <a:lnTo>
                    <a:pt x="578" y="157"/>
                  </a:lnTo>
                  <a:lnTo>
                    <a:pt x="579" y="157"/>
                  </a:lnTo>
                  <a:lnTo>
                    <a:pt x="579" y="156"/>
                  </a:lnTo>
                  <a:lnTo>
                    <a:pt x="580" y="156"/>
                  </a:lnTo>
                  <a:lnTo>
                    <a:pt x="582" y="156"/>
                  </a:lnTo>
                  <a:lnTo>
                    <a:pt x="583" y="156"/>
                  </a:lnTo>
                  <a:lnTo>
                    <a:pt x="583" y="155"/>
                  </a:lnTo>
                  <a:lnTo>
                    <a:pt x="584" y="155"/>
                  </a:lnTo>
                  <a:lnTo>
                    <a:pt x="585" y="155"/>
                  </a:lnTo>
                  <a:lnTo>
                    <a:pt x="586" y="155"/>
                  </a:lnTo>
                  <a:lnTo>
                    <a:pt x="587" y="155"/>
                  </a:lnTo>
                  <a:lnTo>
                    <a:pt x="587" y="156"/>
                  </a:lnTo>
                  <a:lnTo>
                    <a:pt x="589" y="156"/>
                  </a:lnTo>
                  <a:lnTo>
                    <a:pt x="589" y="157"/>
                  </a:lnTo>
                  <a:lnTo>
                    <a:pt x="590" y="157"/>
                  </a:lnTo>
                  <a:lnTo>
                    <a:pt x="589" y="157"/>
                  </a:lnTo>
                  <a:lnTo>
                    <a:pt x="587" y="157"/>
                  </a:lnTo>
                  <a:lnTo>
                    <a:pt x="587" y="158"/>
                  </a:lnTo>
                  <a:close/>
                  <a:moveTo>
                    <a:pt x="591" y="154"/>
                  </a:moveTo>
                  <a:lnTo>
                    <a:pt x="591" y="155"/>
                  </a:lnTo>
                  <a:lnTo>
                    <a:pt x="592" y="155"/>
                  </a:lnTo>
                  <a:lnTo>
                    <a:pt x="591" y="155"/>
                  </a:lnTo>
                  <a:lnTo>
                    <a:pt x="590" y="155"/>
                  </a:lnTo>
                  <a:lnTo>
                    <a:pt x="590" y="154"/>
                  </a:lnTo>
                  <a:lnTo>
                    <a:pt x="591" y="154"/>
                  </a:lnTo>
                  <a:lnTo>
                    <a:pt x="592" y="154"/>
                  </a:lnTo>
                  <a:lnTo>
                    <a:pt x="591" y="154"/>
                  </a:lnTo>
                  <a:close/>
                  <a:moveTo>
                    <a:pt x="698" y="151"/>
                  </a:moveTo>
                  <a:lnTo>
                    <a:pt x="699" y="151"/>
                  </a:lnTo>
                  <a:lnTo>
                    <a:pt x="701" y="151"/>
                  </a:lnTo>
                  <a:lnTo>
                    <a:pt x="701" y="153"/>
                  </a:lnTo>
                  <a:lnTo>
                    <a:pt x="701" y="154"/>
                  </a:lnTo>
                  <a:lnTo>
                    <a:pt x="698" y="154"/>
                  </a:lnTo>
                  <a:lnTo>
                    <a:pt x="697" y="154"/>
                  </a:lnTo>
                  <a:lnTo>
                    <a:pt x="697" y="153"/>
                  </a:lnTo>
                  <a:lnTo>
                    <a:pt x="696" y="153"/>
                  </a:lnTo>
                  <a:lnTo>
                    <a:pt x="696" y="154"/>
                  </a:lnTo>
                  <a:lnTo>
                    <a:pt x="695" y="153"/>
                  </a:lnTo>
                  <a:lnTo>
                    <a:pt x="693" y="153"/>
                  </a:lnTo>
                  <a:lnTo>
                    <a:pt x="695" y="153"/>
                  </a:lnTo>
                  <a:lnTo>
                    <a:pt x="695" y="151"/>
                  </a:lnTo>
                  <a:lnTo>
                    <a:pt x="693" y="151"/>
                  </a:lnTo>
                  <a:lnTo>
                    <a:pt x="695" y="151"/>
                  </a:lnTo>
                  <a:lnTo>
                    <a:pt x="696" y="151"/>
                  </a:lnTo>
                  <a:lnTo>
                    <a:pt x="697" y="151"/>
                  </a:lnTo>
                  <a:lnTo>
                    <a:pt x="698" y="151"/>
                  </a:lnTo>
                  <a:close/>
                  <a:moveTo>
                    <a:pt x="317" y="151"/>
                  </a:moveTo>
                  <a:lnTo>
                    <a:pt x="316" y="151"/>
                  </a:lnTo>
                  <a:lnTo>
                    <a:pt x="317" y="151"/>
                  </a:lnTo>
                  <a:lnTo>
                    <a:pt x="319" y="150"/>
                  </a:lnTo>
                  <a:lnTo>
                    <a:pt x="319" y="151"/>
                  </a:lnTo>
                  <a:lnTo>
                    <a:pt x="317" y="151"/>
                  </a:lnTo>
                  <a:close/>
                  <a:moveTo>
                    <a:pt x="440" y="149"/>
                  </a:moveTo>
                  <a:lnTo>
                    <a:pt x="439" y="149"/>
                  </a:lnTo>
                  <a:lnTo>
                    <a:pt x="437" y="149"/>
                  </a:lnTo>
                  <a:lnTo>
                    <a:pt x="439" y="149"/>
                  </a:lnTo>
                  <a:lnTo>
                    <a:pt x="440" y="149"/>
                  </a:lnTo>
                  <a:close/>
                  <a:moveTo>
                    <a:pt x="562" y="150"/>
                  </a:moveTo>
                  <a:lnTo>
                    <a:pt x="561" y="150"/>
                  </a:lnTo>
                  <a:lnTo>
                    <a:pt x="561" y="149"/>
                  </a:lnTo>
                  <a:lnTo>
                    <a:pt x="562" y="149"/>
                  </a:lnTo>
                  <a:lnTo>
                    <a:pt x="562" y="150"/>
                  </a:lnTo>
                  <a:close/>
                  <a:moveTo>
                    <a:pt x="454" y="149"/>
                  </a:moveTo>
                  <a:lnTo>
                    <a:pt x="449" y="149"/>
                  </a:lnTo>
                  <a:lnTo>
                    <a:pt x="448" y="148"/>
                  </a:lnTo>
                  <a:lnTo>
                    <a:pt x="450" y="148"/>
                  </a:lnTo>
                  <a:lnTo>
                    <a:pt x="450" y="149"/>
                  </a:lnTo>
                  <a:lnTo>
                    <a:pt x="451" y="149"/>
                  </a:lnTo>
                  <a:lnTo>
                    <a:pt x="454" y="149"/>
                  </a:lnTo>
                  <a:close/>
                  <a:moveTo>
                    <a:pt x="407" y="147"/>
                  </a:moveTo>
                  <a:lnTo>
                    <a:pt x="406" y="147"/>
                  </a:lnTo>
                  <a:lnTo>
                    <a:pt x="405" y="147"/>
                  </a:lnTo>
                  <a:lnTo>
                    <a:pt x="406" y="147"/>
                  </a:lnTo>
                  <a:lnTo>
                    <a:pt x="407" y="147"/>
                  </a:lnTo>
                  <a:close/>
                  <a:moveTo>
                    <a:pt x="411" y="146"/>
                  </a:moveTo>
                  <a:lnTo>
                    <a:pt x="411" y="147"/>
                  </a:lnTo>
                  <a:lnTo>
                    <a:pt x="409" y="147"/>
                  </a:lnTo>
                  <a:lnTo>
                    <a:pt x="408" y="147"/>
                  </a:lnTo>
                  <a:lnTo>
                    <a:pt x="408" y="146"/>
                  </a:lnTo>
                  <a:lnTo>
                    <a:pt x="409" y="146"/>
                  </a:lnTo>
                  <a:lnTo>
                    <a:pt x="411" y="146"/>
                  </a:lnTo>
                  <a:lnTo>
                    <a:pt x="412" y="146"/>
                  </a:lnTo>
                  <a:lnTo>
                    <a:pt x="411" y="146"/>
                  </a:lnTo>
                  <a:close/>
                  <a:moveTo>
                    <a:pt x="408" y="146"/>
                  </a:moveTo>
                  <a:lnTo>
                    <a:pt x="406" y="146"/>
                  </a:lnTo>
                  <a:lnTo>
                    <a:pt x="407" y="146"/>
                  </a:lnTo>
                  <a:lnTo>
                    <a:pt x="408" y="146"/>
                  </a:lnTo>
                  <a:close/>
                  <a:moveTo>
                    <a:pt x="414" y="146"/>
                  </a:moveTo>
                  <a:lnTo>
                    <a:pt x="413" y="146"/>
                  </a:lnTo>
                  <a:lnTo>
                    <a:pt x="414" y="146"/>
                  </a:lnTo>
                  <a:lnTo>
                    <a:pt x="415" y="146"/>
                  </a:lnTo>
                  <a:lnTo>
                    <a:pt x="414" y="146"/>
                  </a:lnTo>
                  <a:close/>
                  <a:moveTo>
                    <a:pt x="405" y="146"/>
                  </a:moveTo>
                  <a:lnTo>
                    <a:pt x="404" y="146"/>
                  </a:lnTo>
                  <a:lnTo>
                    <a:pt x="401" y="146"/>
                  </a:lnTo>
                  <a:lnTo>
                    <a:pt x="400" y="146"/>
                  </a:lnTo>
                  <a:lnTo>
                    <a:pt x="401" y="146"/>
                  </a:lnTo>
                  <a:lnTo>
                    <a:pt x="402" y="146"/>
                  </a:lnTo>
                  <a:lnTo>
                    <a:pt x="404" y="146"/>
                  </a:lnTo>
                  <a:lnTo>
                    <a:pt x="405" y="146"/>
                  </a:lnTo>
                  <a:close/>
                  <a:moveTo>
                    <a:pt x="294" y="144"/>
                  </a:moveTo>
                  <a:lnTo>
                    <a:pt x="294" y="146"/>
                  </a:lnTo>
                  <a:lnTo>
                    <a:pt x="293" y="146"/>
                  </a:lnTo>
                  <a:lnTo>
                    <a:pt x="292" y="146"/>
                  </a:lnTo>
                  <a:lnTo>
                    <a:pt x="291" y="146"/>
                  </a:lnTo>
                  <a:lnTo>
                    <a:pt x="293" y="144"/>
                  </a:lnTo>
                  <a:lnTo>
                    <a:pt x="294" y="144"/>
                  </a:lnTo>
                  <a:close/>
                  <a:moveTo>
                    <a:pt x="568" y="144"/>
                  </a:moveTo>
                  <a:lnTo>
                    <a:pt x="569" y="144"/>
                  </a:lnTo>
                  <a:lnTo>
                    <a:pt x="570" y="144"/>
                  </a:lnTo>
                  <a:lnTo>
                    <a:pt x="570" y="146"/>
                  </a:lnTo>
                  <a:lnTo>
                    <a:pt x="571" y="146"/>
                  </a:lnTo>
                  <a:lnTo>
                    <a:pt x="570" y="146"/>
                  </a:lnTo>
                  <a:lnTo>
                    <a:pt x="569" y="146"/>
                  </a:lnTo>
                  <a:lnTo>
                    <a:pt x="570" y="146"/>
                  </a:lnTo>
                  <a:lnTo>
                    <a:pt x="569" y="147"/>
                  </a:lnTo>
                  <a:lnTo>
                    <a:pt x="568" y="147"/>
                  </a:lnTo>
                  <a:lnTo>
                    <a:pt x="567" y="146"/>
                  </a:lnTo>
                  <a:lnTo>
                    <a:pt x="567" y="144"/>
                  </a:lnTo>
                  <a:lnTo>
                    <a:pt x="568" y="144"/>
                  </a:lnTo>
                  <a:close/>
                  <a:moveTo>
                    <a:pt x="857" y="139"/>
                  </a:moveTo>
                  <a:lnTo>
                    <a:pt x="857" y="140"/>
                  </a:lnTo>
                  <a:lnTo>
                    <a:pt x="861" y="140"/>
                  </a:lnTo>
                  <a:lnTo>
                    <a:pt x="862" y="140"/>
                  </a:lnTo>
                  <a:lnTo>
                    <a:pt x="861" y="140"/>
                  </a:lnTo>
                  <a:lnTo>
                    <a:pt x="861" y="141"/>
                  </a:lnTo>
                  <a:lnTo>
                    <a:pt x="860" y="141"/>
                  </a:lnTo>
                  <a:lnTo>
                    <a:pt x="859" y="141"/>
                  </a:lnTo>
                  <a:lnTo>
                    <a:pt x="855" y="142"/>
                  </a:lnTo>
                  <a:lnTo>
                    <a:pt x="854" y="142"/>
                  </a:lnTo>
                  <a:lnTo>
                    <a:pt x="853" y="142"/>
                  </a:lnTo>
                  <a:lnTo>
                    <a:pt x="853" y="141"/>
                  </a:lnTo>
                  <a:lnTo>
                    <a:pt x="854" y="141"/>
                  </a:lnTo>
                  <a:lnTo>
                    <a:pt x="853" y="141"/>
                  </a:lnTo>
                  <a:lnTo>
                    <a:pt x="854" y="141"/>
                  </a:lnTo>
                  <a:lnTo>
                    <a:pt x="855" y="141"/>
                  </a:lnTo>
                  <a:lnTo>
                    <a:pt x="855" y="140"/>
                  </a:lnTo>
                  <a:lnTo>
                    <a:pt x="856" y="140"/>
                  </a:lnTo>
                  <a:lnTo>
                    <a:pt x="857" y="139"/>
                  </a:lnTo>
                  <a:close/>
                  <a:moveTo>
                    <a:pt x="848" y="134"/>
                  </a:moveTo>
                  <a:lnTo>
                    <a:pt x="849" y="134"/>
                  </a:lnTo>
                  <a:lnTo>
                    <a:pt x="850" y="133"/>
                  </a:lnTo>
                  <a:lnTo>
                    <a:pt x="850" y="134"/>
                  </a:lnTo>
                  <a:lnTo>
                    <a:pt x="852" y="134"/>
                  </a:lnTo>
                  <a:lnTo>
                    <a:pt x="850" y="134"/>
                  </a:lnTo>
                  <a:lnTo>
                    <a:pt x="849" y="134"/>
                  </a:lnTo>
                  <a:lnTo>
                    <a:pt x="849" y="135"/>
                  </a:lnTo>
                  <a:lnTo>
                    <a:pt x="848" y="135"/>
                  </a:lnTo>
                  <a:lnTo>
                    <a:pt x="848" y="136"/>
                  </a:lnTo>
                  <a:lnTo>
                    <a:pt x="847" y="136"/>
                  </a:lnTo>
                  <a:lnTo>
                    <a:pt x="848" y="136"/>
                  </a:lnTo>
                  <a:lnTo>
                    <a:pt x="847" y="135"/>
                  </a:lnTo>
                  <a:lnTo>
                    <a:pt x="846" y="135"/>
                  </a:lnTo>
                  <a:lnTo>
                    <a:pt x="847" y="134"/>
                  </a:lnTo>
                  <a:lnTo>
                    <a:pt x="846" y="134"/>
                  </a:lnTo>
                  <a:lnTo>
                    <a:pt x="847" y="134"/>
                  </a:lnTo>
                  <a:lnTo>
                    <a:pt x="847" y="133"/>
                  </a:lnTo>
                  <a:lnTo>
                    <a:pt x="849" y="133"/>
                  </a:lnTo>
                  <a:lnTo>
                    <a:pt x="849" y="134"/>
                  </a:lnTo>
                  <a:lnTo>
                    <a:pt x="848" y="134"/>
                  </a:lnTo>
                  <a:close/>
                  <a:moveTo>
                    <a:pt x="853" y="133"/>
                  </a:moveTo>
                  <a:lnTo>
                    <a:pt x="850" y="133"/>
                  </a:lnTo>
                  <a:lnTo>
                    <a:pt x="850" y="132"/>
                  </a:lnTo>
                  <a:lnTo>
                    <a:pt x="852" y="132"/>
                  </a:lnTo>
                  <a:lnTo>
                    <a:pt x="854" y="132"/>
                  </a:lnTo>
                  <a:lnTo>
                    <a:pt x="853" y="133"/>
                  </a:lnTo>
                  <a:close/>
                  <a:moveTo>
                    <a:pt x="635" y="129"/>
                  </a:moveTo>
                  <a:lnTo>
                    <a:pt x="634" y="130"/>
                  </a:lnTo>
                  <a:lnTo>
                    <a:pt x="633" y="130"/>
                  </a:lnTo>
                  <a:lnTo>
                    <a:pt x="632" y="130"/>
                  </a:lnTo>
                  <a:lnTo>
                    <a:pt x="633" y="130"/>
                  </a:lnTo>
                  <a:lnTo>
                    <a:pt x="634" y="129"/>
                  </a:lnTo>
                  <a:lnTo>
                    <a:pt x="633" y="129"/>
                  </a:lnTo>
                  <a:lnTo>
                    <a:pt x="634" y="129"/>
                  </a:lnTo>
                  <a:lnTo>
                    <a:pt x="635" y="129"/>
                  </a:lnTo>
                  <a:close/>
                  <a:moveTo>
                    <a:pt x="337" y="127"/>
                  </a:moveTo>
                  <a:lnTo>
                    <a:pt x="336" y="127"/>
                  </a:lnTo>
                  <a:lnTo>
                    <a:pt x="337" y="127"/>
                  </a:lnTo>
                  <a:close/>
                  <a:moveTo>
                    <a:pt x="634" y="519"/>
                  </a:moveTo>
                  <a:lnTo>
                    <a:pt x="633" y="519"/>
                  </a:lnTo>
                  <a:lnTo>
                    <a:pt x="632" y="519"/>
                  </a:lnTo>
                  <a:lnTo>
                    <a:pt x="631" y="519"/>
                  </a:lnTo>
                  <a:lnTo>
                    <a:pt x="629" y="520"/>
                  </a:lnTo>
                  <a:lnTo>
                    <a:pt x="628" y="520"/>
                  </a:lnTo>
                  <a:lnTo>
                    <a:pt x="627" y="521"/>
                  </a:lnTo>
                  <a:lnTo>
                    <a:pt x="626" y="521"/>
                  </a:lnTo>
                  <a:lnTo>
                    <a:pt x="624" y="522"/>
                  </a:lnTo>
                  <a:lnTo>
                    <a:pt x="621" y="524"/>
                  </a:lnTo>
                  <a:lnTo>
                    <a:pt x="620" y="525"/>
                  </a:lnTo>
                  <a:lnTo>
                    <a:pt x="619" y="526"/>
                  </a:lnTo>
                  <a:lnTo>
                    <a:pt x="618" y="527"/>
                  </a:lnTo>
                  <a:lnTo>
                    <a:pt x="618" y="526"/>
                  </a:lnTo>
                  <a:lnTo>
                    <a:pt x="618" y="527"/>
                  </a:lnTo>
                  <a:lnTo>
                    <a:pt x="615" y="528"/>
                  </a:lnTo>
                  <a:lnTo>
                    <a:pt x="614" y="528"/>
                  </a:lnTo>
                  <a:lnTo>
                    <a:pt x="613" y="528"/>
                  </a:lnTo>
                  <a:lnTo>
                    <a:pt x="613" y="529"/>
                  </a:lnTo>
                  <a:lnTo>
                    <a:pt x="612" y="529"/>
                  </a:lnTo>
                  <a:lnTo>
                    <a:pt x="611" y="529"/>
                  </a:lnTo>
                  <a:lnTo>
                    <a:pt x="610" y="529"/>
                  </a:lnTo>
                  <a:lnTo>
                    <a:pt x="608" y="531"/>
                  </a:lnTo>
                  <a:lnTo>
                    <a:pt x="607" y="531"/>
                  </a:lnTo>
                  <a:lnTo>
                    <a:pt x="606" y="531"/>
                  </a:lnTo>
                  <a:lnTo>
                    <a:pt x="605" y="531"/>
                  </a:lnTo>
                  <a:lnTo>
                    <a:pt x="604" y="532"/>
                  </a:lnTo>
                  <a:lnTo>
                    <a:pt x="603" y="532"/>
                  </a:lnTo>
                  <a:lnTo>
                    <a:pt x="601" y="533"/>
                  </a:lnTo>
                  <a:lnTo>
                    <a:pt x="600" y="533"/>
                  </a:lnTo>
                  <a:lnTo>
                    <a:pt x="599" y="533"/>
                  </a:lnTo>
                  <a:lnTo>
                    <a:pt x="600" y="532"/>
                  </a:lnTo>
                  <a:lnTo>
                    <a:pt x="601" y="532"/>
                  </a:lnTo>
                  <a:lnTo>
                    <a:pt x="603" y="532"/>
                  </a:lnTo>
                  <a:lnTo>
                    <a:pt x="603" y="531"/>
                  </a:lnTo>
                  <a:lnTo>
                    <a:pt x="600" y="532"/>
                  </a:lnTo>
                  <a:lnTo>
                    <a:pt x="600" y="531"/>
                  </a:lnTo>
                  <a:lnTo>
                    <a:pt x="601" y="531"/>
                  </a:lnTo>
                  <a:lnTo>
                    <a:pt x="600" y="531"/>
                  </a:lnTo>
                  <a:lnTo>
                    <a:pt x="599" y="532"/>
                  </a:lnTo>
                  <a:lnTo>
                    <a:pt x="598" y="532"/>
                  </a:lnTo>
                  <a:lnTo>
                    <a:pt x="597" y="532"/>
                  </a:lnTo>
                  <a:lnTo>
                    <a:pt x="594" y="532"/>
                  </a:lnTo>
                  <a:lnTo>
                    <a:pt x="593" y="532"/>
                  </a:lnTo>
                  <a:lnTo>
                    <a:pt x="593" y="533"/>
                  </a:lnTo>
                  <a:lnTo>
                    <a:pt x="594" y="533"/>
                  </a:lnTo>
                  <a:lnTo>
                    <a:pt x="594" y="532"/>
                  </a:lnTo>
                  <a:lnTo>
                    <a:pt x="596" y="532"/>
                  </a:lnTo>
                  <a:lnTo>
                    <a:pt x="597" y="532"/>
                  </a:lnTo>
                  <a:lnTo>
                    <a:pt x="597" y="533"/>
                  </a:lnTo>
                  <a:lnTo>
                    <a:pt x="597" y="532"/>
                  </a:lnTo>
                  <a:lnTo>
                    <a:pt x="598" y="532"/>
                  </a:lnTo>
                  <a:lnTo>
                    <a:pt x="599" y="532"/>
                  </a:lnTo>
                  <a:lnTo>
                    <a:pt x="600" y="532"/>
                  </a:lnTo>
                  <a:lnTo>
                    <a:pt x="599" y="533"/>
                  </a:lnTo>
                  <a:lnTo>
                    <a:pt x="598" y="534"/>
                  </a:lnTo>
                  <a:lnTo>
                    <a:pt x="599" y="534"/>
                  </a:lnTo>
                  <a:lnTo>
                    <a:pt x="599" y="533"/>
                  </a:lnTo>
                  <a:lnTo>
                    <a:pt x="600" y="533"/>
                  </a:lnTo>
                  <a:lnTo>
                    <a:pt x="601" y="533"/>
                  </a:lnTo>
                  <a:lnTo>
                    <a:pt x="603" y="533"/>
                  </a:lnTo>
                  <a:lnTo>
                    <a:pt x="601" y="533"/>
                  </a:lnTo>
                  <a:lnTo>
                    <a:pt x="601" y="534"/>
                  </a:lnTo>
                  <a:lnTo>
                    <a:pt x="600" y="534"/>
                  </a:lnTo>
                  <a:lnTo>
                    <a:pt x="599" y="535"/>
                  </a:lnTo>
                  <a:lnTo>
                    <a:pt x="600" y="535"/>
                  </a:lnTo>
                  <a:lnTo>
                    <a:pt x="601" y="535"/>
                  </a:lnTo>
                  <a:lnTo>
                    <a:pt x="600" y="535"/>
                  </a:lnTo>
                  <a:lnTo>
                    <a:pt x="598" y="536"/>
                  </a:lnTo>
                  <a:lnTo>
                    <a:pt x="597" y="536"/>
                  </a:lnTo>
                  <a:lnTo>
                    <a:pt x="597" y="535"/>
                  </a:lnTo>
                  <a:lnTo>
                    <a:pt x="598" y="535"/>
                  </a:lnTo>
                  <a:lnTo>
                    <a:pt x="597" y="535"/>
                  </a:lnTo>
                  <a:lnTo>
                    <a:pt x="596" y="535"/>
                  </a:lnTo>
                  <a:lnTo>
                    <a:pt x="597" y="535"/>
                  </a:lnTo>
                  <a:lnTo>
                    <a:pt x="596" y="535"/>
                  </a:lnTo>
                  <a:lnTo>
                    <a:pt x="594" y="535"/>
                  </a:lnTo>
                  <a:lnTo>
                    <a:pt x="593" y="535"/>
                  </a:lnTo>
                  <a:lnTo>
                    <a:pt x="593" y="534"/>
                  </a:lnTo>
                  <a:lnTo>
                    <a:pt x="592" y="534"/>
                  </a:lnTo>
                  <a:lnTo>
                    <a:pt x="593" y="534"/>
                  </a:lnTo>
                  <a:lnTo>
                    <a:pt x="592" y="534"/>
                  </a:lnTo>
                  <a:lnTo>
                    <a:pt x="591" y="534"/>
                  </a:lnTo>
                  <a:lnTo>
                    <a:pt x="590" y="534"/>
                  </a:lnTo>
                  <a:lnTo>
                    <a:pt x="589" y="534"/>
                  </a:lnTo>
                  <a:lnTo>
                    <a:pt x="587" y="534"/>
                  </a:lnTo>
                  <a:lnTo>
                    <a:pt x="584" y="535"/>
                  </a:lnTo>
                  <a:lnTo>
                    <a:pt x="582" y="535"/>
                  </a:lnTo>
                  <a:lnTo>
                    <a:pt x="580" y="535"/>
                  </a:lnTo>
                  <a:lnTo>
                    <a:pt x="579" y="535"/>
                  </a:lnTo>
                  <a:lnTo>
                    <a:pt x="578" y="536"/>
                  </a:lnTo>
                  <a:lnTo>
                    <a:pt x="577" y="536"/>
                  </a:lnTo>
                  <a:lnTo>
                    <a:pt x="576" y="536"/>
                  </a:lnTo>
                  <a:lnTo>
                    <a:pt x="575" y="536"/>
                  </a:lnTo>
                  <a:lnTo>
                    <a:pt x="573" y="536"/>
                  </a:lnTo>
                  <a:lnTo>
                    <a:pt x="572" y="536"/>
                  </a:lnTo>
                  <a:lnTo>
                    <a:pt x="572" y="538"/>
                  </a:lnTo>
                  <a:lnTo>
                    <a:pt x="571" y="538"/>
                  </a:lnTo>
                  <a:lnTo>
                    <a:pt x="570" y="539"/>
                  </a:lnTo>
                  <a:lnTo>
                    <a:pt x="569" y="540"/>
                  </a:lnTo>
                  <a:lnTo>
                    <a:pt x="568" y="540"/>
                  </a:lnTo>
                  <a:lnTo>
                    <a:pt x="567" y="540"/>
                  </a:lnTo>
                  <a:lnTo>
                    <a:pt x="567" y="541"/>
                  </a:lnTo>
                  <a:lnTo>
                    <a:pt x="565" y="541"/>
                  </a:lnTo>
                  <a:lnTo>
                    <a:pt x="564" y="541"/>
                  </a:lnTo>
                  <a:lnTo>
                    <a:pt x="564" y="542"/>
                  </a:lnTo>
                  <a:lnTo>
                    <a:pt x="563" y="543"/>
                  </a:lnTo>
                  <a:lnTo>
                    <a:pt x="562" y="545"/>
                  </a:lnTo>
                  <a:lnTo>
                    <a:pt x="561" y="545"/>
                  </a:lnTo>
                  <a:lnTo>
                    <a:pt x="561" y="546"/>
                  </a:lnTo>
                  <a:lnTo>
                    <a:pt x="562" y="546"/>
                  </a:lnTo>
                  <a:lnTo>
                    <a:pt x="563" y="547"/>
                  </a:lnTo>
                  <a:lnTo>
                    <a:pt x="564" y="547"/>
                  </a:lnTo>
                  <a:lnTo>
                    <a:pt x="565" y="547"/>
                  </a:lnTo>
                  <a:lnTo>
                    <a:pt x="567" y="547"/>
                  </a:lnTo>
                  <a:lnTo>
                    <a:pt x="568" y="546"/>
                  </a:lnTo>
                  <a:lnTo>
                    <a:pt x="569" y="546"/>
                  </a:lnTo>
                  <a:lnTo>
                    <a:pt x="570" y="546"/>
                  </a:lnTo>
                  <a:lnTo>
                    <a:pt x="569" y="547"/>
                  </a:lnTo>
                  <a:lnTo>
                    <a:pt x="569" y="548"/>
                  </a:lnTo>
                  <a:lnTo>
                    <a:pt x="569" y="549"/>
                  </a:lnTo>
                  <a:lnTo>
                    <a:pt x="569" y="550"/>
                  </a:lnTo>
                  <a:lnTo>
                    <a:pt x="570" y="550"/>
                  </a:lnTo>
                  <a:lnTo>
                    <a:pt x="570" y="552"/>
                  </a:lnTo>
                  <a:lnTo>
                    <a:pt x="569" y="552"/>
                  </a:lnTo>
                  <a:lnTo>
                    <a:pt x="568" y="552"/>
                  </a:lnTo>
                  <a:lnTo>
                    <a:pt x="567" y="553"/>
                  </a:lnTo>
                  <a:lnTo>
                    <a:pt x="567" y="552"/>
                  </a:lnTo>
                  <a:lnTo>
                    <a:pt x="565" y="552"/>
                  </a:lnTo>
                  <a:lnTo>
                    <a:pt x="564" y="552"/>
                  </a:lnTo>
                  <a:lnTo>
                    <a:pt x="563" y="552"/>
                  </a:lnTo>
                  <a:lnTo>
                    <a:pt x="562" y="552"/>
                  </a:lnTo>
                  <a:lnTo>
                    <a:pt x="561" y="552"/>
                  </a:lnTo>
                  <a:lnTo>
                    <a:pt x="561" y="553"/>
                  </a:lnTo>
                  <a:lnTo>
                    <a:pt x="560" y="553"/>
                  </a:lnTo>
                  <a:lnTo>
                    <a:pt x="560" y="552"/>
                  </a:lnTo>
                  <a:lnTo>
                    <a:pt x="558" y="552"/>
                  </a:lnTo>
                  <a:lnTo>
                    <a:pt x="558" y="553"/>
                  </a:lnTo>
                  <a:lnTo>
                    <a:pt x="557" y="553"/>
                  </a:lnTo>
                  <a:lnTo>
                    <a:pt x="553" y="553"/>
                  </a:lnTo>
                  <a:lnTo>
                    <a:pt x="553" y="554"/>
                  </a:lnTo>
                  <a:lnTo>
                    <a:pt x="551" y="554"/>
                  </a:lnTo>
                  <a:lnTo>
                    <a:pt x="550" y="554"/>
                  </a:lnTo>
                  <a:lnTo>
                    <a:pt x="550" y="555"/>
                  </a:lnTo>
                  <a:lnTo>
                    <a:pt x="549" y="555"/>
                  </a:lnTo>
                  <a:lnTo>
                    <a:pt x="548" y="556"/>
                  </a:lnTo>
                  <a:lnTo>
                    <a:pt x="550" y="556"/>
                  </a:lnTo>
                  <a:lnTo>
                    <a:pt x="553" y="556"/>
                  </a:lnTo>
                  <a:lnTo>
                    <a:pt x="554" y="556"/>
                  </a:lnTo>
                  <a:lnTo>
                    <a:pt x="553" y="556"/>
                  </a:lnTo>
                  <a:lnTo>
                    <a:pt x="553" y="557"/>
                  </a:lnTo>
                  <a:lnTo>
                    <a:pt x="551" y="557"/>
                  </a:lnTo>
                  <a:lnTo>
                    <a:pt x="550" y="556"/>
                  </a:lnTo>
                  <a:lnTo>
                    <a:pt x="549" y="556"/>
                  </a:lnTo>
                  <a:lnTo>
                    <a:pt x="548" y="556"/>
                  </a:lnTo>
                  <a:lnTo>
                    <a:pt x="547" y="556"/>
                  </a:lnTo>
                  <a:lnTo>
                    <a:pt x="546" y="556"/>
                  </a:lnTo>
                  <a:lnTo>
                    <a:pt x="544" y="555"/>
                  </a:lnTo>
                  <a:lnTo>
                    <a:pt x="542" y="555"/>
                  </a:lnTo>
                  <a:lnTo>
                    <a:pt x="539" y="555"/>
                  </a:lnTo>
                  <a:lnTo>
                    <a:pt x="537" y="555"/>
                  </a:lnTo>
                  <a:lnTo>
                    <a:pt x="536" y="556"/>
                  </a:lnTo>
                  <a:lnTo>
                    <a:pt x="535" y="556"/>
                  </a:lnTo>
                  <a:lnTo>
                    <a:pt x="534" y="556"/>
                  </a:lnTo>
                  <a:lnTo>
                    <a:pt x="534" y="557"/>
                  </a:lnTo>
                  <a:lnTo>
                    <a:pt x="533" y="557"/>
                  </a:lnTo>
                  <a:lnTo>
                    <a:pt x="530" y="560"/>
                  </a:lnTo>
                  <a:lnTo>
                    <a:pt x="529" y="560"/>
                  </a:lnTo>
                  <a:lnTo>
                    <a:pt x="529" y="561"/>
                  </a:lnTo>
                  <a:lnTo>
                    <a:pt x="528" y="561"/>
                  </a:lnTo>
                  <a:lnTo>
                    <a:pt x="528" y="562"/>
                  </a:lnTo>
                  <a:lnTo>
                    <a:pt x="528" y="561"/>
                  </a:lnTo>
                  <a:lnTo>
                    <a:pt x="529" y="561"/>
                  </a:lnTo>
                  <a:lnTo>
                    <a:pt x="528" y="561"/>
                  </a:lnTo>
                  <a:lnTo>
                    <a:pt x="526" y="561"/>
                  </a:lnTo>
                  <a:lnTo>
                    <a:pt x="526" y="562"/>
                  </a:lnTo>
                  <a:lnTo>
                    <a:pt x="525" y="562"/>
                  </a:lnTo>
                  <a:lnTo>
                    <a:pt x="521" y="563"/>
                  </a:lnTo>
                  <a:lnTo>
                    <a:pt x="520" y="564"/>
                  </a:lnTo>
                  <a:lnTo>
                    <a:pt x="519" y="564"/>
                  </a:lnTo>
                  <a:lnTo>
                    <a:pt x="519" y="567"/>
                  </a:lnTo>
                  <a:lnTo>
                    <a:pt x="518" y="566"/>
                  </a:lnTo>
                  <a:lnTo>
                    <a:pt x="518" y="564"/>
                  </a:lnTo>
                  <a:lnTo>
                    <a:pt x="516" y="564"/>
                  </a:lnTo>
                  <a:lnTo>
                    <a:pt x="514" y="566"/>
                  </a:lnTo>
                  <a:lnTo>
                    <a:pt x="513" y="566"/>
                  </a:lnTo>
                  <a:lnTo>
                    <a:pt x="512" y="564"/>
                  </a:lnTo>
                  <a:lnTo>
                    <a:pt x="512" y="563"/>
                  </a:lnTo>
                  <a:lnTo>
                    <a:pt x="513" y="562"/>
                  </a:lnTo>
                  <a:lnTo>
                    <a:pt x="513" y="561"/>
                  </a:lnTo>
                  <a:lnTo>
                    <a:pt x="514" y="561"/>
                  </a:lnTo>
                  <a:lnTo>
                    <a:pt x="515" y="560"/>
                  </a:lnTo>
                  <a:lnTo>
                    <a:pt x="516" y="561"/>
                  </a:lnTo>
                  <a:lnTo>
                    <a:pt x="518" y="561"/>
                  </a:lnTo>
                  <a:lnTo>
                    <a:pt x="519" y="561"/>
                  </a:lnTo>
                  <a:lnTo>
                    <a:pt x="520" y="561"/>
                  </a:lnTo>
                  <a:lnTo>
                    <a:pt x="521" y="561"/>
                  </a:lnTo>
                  <a:lnTo>
                    <a:pt x="521" y="560"/>
                  </a:lnTo>
                  <a:lnTo>
                    <a:pt x="522" y="560"/>
                  </a:lnTo>
                  <a:lnTo>
                    <a:pt x="522" y="559"/>
                  </a:lnTo>
                  <a:lnTo>
                    <a:pt x="522" y="557"/>
                  </a:lnTo>
                  <a:lnTo>
                    <a:pt x="521" y="557"/>
                  </a:lnTo>
                  <a:lnTo>
                    <a:pt x="520" y="557"/>
                  </a:lnTo>
                  <a:lnTo>
                    <a:pt x="520" y="556"/>
                  </a:lnTo>
                  <a:lnTo>
                    <a:pt x="521" y="556"/>
                  </a:lnTo>
                  <a:lnTo>
                    <a:pt x="522" y="556"/>
                  </a:lnTo>
                  <a:lnTo>
                    <a:pt x="522" y="555"/>
                  </a:lnTo>
                  <a:lnTo>
                    <a:pt x="523" y="554"/>
                  </a:lnTo>
                  <a:lnTo>
                    <a:pt x="523" y="553"/>
                  </a:lnTo>
                  <a:lnTo>
                    <a:pt x="525" y="552"/>
                  </a:lnTo>
                  <a:lnTo>
                    <a:pt x="526" y="550"/>
                  </a:lnTo>
                  <a:lnTo>
                    <a:pt x="526" y="549"/>
                  </a:lnTo>
                  <a:lnTo>
                    <a:pt x="527" y="549"/>
                  </a:lnTo>
                  <a:lnTo>
                    <a:pt x="529" y="548"/>
                  </a:lnTo>
                  <a:lnTo>
                    <a:pt x="530" y="548"/>
                  </a:lnTo>
                  <a:lnTo>
                    <a:pt x="533" y="547"/>
                  </a:lnTo>
                  <a:lnTo>
                    <a:pt x="533" y="546"/>
                  </a:lnTo>
                  <a:lnTo>
                    <a:pt x="534" y="546"/>
                  </a:lnTo>
                  <a:lnTo>
                    <a:pt x="536" y="545"/>
                  </a:lnTo>
                  <a:lnTo>
                    <a:pt x="536" y="543"/>
                  </a:lnTo>
                  <a:lnTo>
                    <a:pt x="537" y="543"/>
                  </a:lnTo>
                  <a:lnTo>
                    <a:pt x="537" y="542"/>
                  </a:lnTo>
                  <a:lnTo>
                    <a:pt x="539" y="539"/>
                  </a:lnTo>
                  <a:lnTo>
                    <a:pt x="540" y="536"/>
                  </a:lnTo>
                  <a:lnTo>
                    <a:pt x="540" y="535"/>
                  </a:lnTo>
                  <a:lnTo>
                    <a:pt x="541" y="535"/>
                  </a:lnTo>
                  <a:lnTo>
                    <a:pt x="541" y="534"/>
                  </a:lnTo>
                  <a:lnTo>
                    <a:pt x="541" y="533"/>
                  </a:lnTo>
                  <a:lnTo>
                    <a:pt x="542" y="532"/>
                  </a:lnTo>
                  <a:lnTo>
                    <a:pt x="543" y="531"/>
                  </a:lnTo>
                  <a:lnTo>
                    <a:pt x="544" y="529"/>
                  </a:lnTo>
                  <a:lnTo>
                    <a:pt x="544" y="528"/>
                  </a:lnTo>
                  <a:lnTo>
                    <a:pt x="546" y="528"/>
                  </a:lnTo>
                  <a:lnTo>
                    <a:pt x="547" y="527"/>
                  </a:lnTo>
                  <a:lnTo>
                    <a:pt x="548" y="527"/>
                  </a:lnTo>
                  <a:lnTo>
                    <a:pt x="548" y="526"/>
                  </a:lnTo>
                  <a:lnTo>
                    <a:pt x="550" y="525"/>
                  </a:lnTo>
                  <a:lnTo>
                    <a:pt x="550" y="524"/>
                  </a:lnTo>
                  <a:lnTo>
                    <a:pt x="550" y="522"/>
                  </a:lnTo>
                  <a:lnTo>
                    <a:pt x="551" y="522"/>
                  </a:lnTo>
                  <a:lnTo>
                    <a:pt x="551" y="521"/>
                  </a:lnTo>
                  <a:lnTo>
                    <a:pt x="550" y="521"/>
                  </a:lnTo>
                  <a:lnTo>
                    <a:pt x="551" y="521"/>
                  </a:lnTo>
                  <a:lnTo>
                    <a:pt x="550" y="520"/>
                  </a:lnTo>
                  <a:lnTo>
                    <a:pt x="551" y="519"/>
                  </a:lnTo>
                  <a:lnTo>
                    <a:pt x="550" y="519"/>
                  </a:lnTo>
                  <a:lnTo>
                    <a:pt x="550" y="518"/>
                  </a:lnTo>
                  <a:lnTo>
                    <a:pt x="550" y="517"/>
                  </a:lnTo>
                  <a:lnTo>
                    <a:pt x="549" y="517"/>
                  </a:lnTo>
                  <a:lnTo>
                    <a:pt x="550" y="515"/>
                  </a:lnTo>
                  <a:lnTo>
                    <a:pt x="549" y="515"/>
                  </a:lnTo>
                  <a:lnTo>
                    <a:pt x="548" y="515"/>
                  </a:lnTo>
                  <a:lnTo>
                    <a:pt x="549" y="515"/>
                  </a:lnTo>
                  <a:lnTo>
                    <a:pt x="549" y="514"/>
                  </a:lnTo>
                  <a:lnTo>
                    <a:pt x="550" y="514"/>
                  </a:lnTo>
                  <a:lnTo>
                    <a:pt x="554" y="514"/>
                  </a:lnTo>
                  <a:lnTo>
                    <a:pt x="554" y="515"/>
                  </a:lnTo>
                  <a:lnTo>
                    <a:pt x="553" y="515"/>
                  </a:lnTo>
                  <a:lnTo>
                    <a:pt x="553" y="517"/>
                  </a:lnTo>
                  <a:lnTo>
                    <a:pt x="553" y="518"/>
                  </a:lnTo>
                  <a:lnTo>
                    <a:pt x="553" y="519"/>
                  </a:lnTo>
                  <a:lnTo>
                    <a:pt x="554" y="519"/>
                  </a:lnTo>
                  <a:lnTo>
                    <a:pt x="553" y="519"/>
                  </a:lnTo>
                  <a:lnTo>
                    <a:pt x="554" y="519"/>
                  </a:lnTo>
                  <a:lnTo>
                    <a:pt x="554" y="520"/>
                  </a:lnTo>
                  <a:lnTo>
                    <a:pt x="555" y="520"/>
                  </a:lnTo>
                  <a:lnTo>
                    <a:pt x="555" y="519"/>
                  </a:lnTo>
                  <a:lnTo>
                    <a:pt x="556" y="519"/>
                  </a:lnTo>
                  <a:lnTo>
                    <a:pt x="556" y="520"/>
                  </a:lnTo>
                  <a:lnTo>
                    <a:pt x="555" y="520"/>
                  </a:lnTo>
                  <a:lnTo>
                    <a:pt x="555" y="521"/>
                  </a:lnTo>
                  <a:lnTo>
                    <a:pt x="554" y="521"/>
                  </a:lnTo>
                  <a:lnTo>
                    <a:pt x="553" y="522"/>
                  </a:lnTo>
                  <a:lnTo>
                    <a:pt x="554" y="522"/>
                  </a:lnTo>
                  <a:lnTo>
                    <a:pt x="554" y="521"/>
                  </a:lnTo>
                  <a:lnTo>
                    <a:pt x="555" y="521"/>
                  </a:lnTo>
                  <a:lnTo>
                    <a:pt x="556" y="522"/>
                  </a:lnTo>
                  <a:lnTo>
                    <a:pt x="554" y="525"/>
                  </a:lnTo>
                  <a:lnTo>
                    <a:pt x="556" y="524"/>
                  </a:lnTo>
                  <a:lnTo>
                    <a:pt x="557" y="524"/>
                  </a:lnTo>
                  <a:lnTo>
                    <a:pt x="558" y="522"/>
                  </a:lnTo>
                  <a:lnTo>
                    <a:pt x="558" y="524"/>
                  </a:lnTo>
                  <a:lnTo>
                    <a:pt x="558" y="525"/>
                  </a:lnTo>
                  <a:lnTo>
                    <a:pt x="560" y="525"/>
                  </a:lnTo>
                  <a:lnTo>
                    <a:pt x="560" y="526"/>
                  </a:lnTo>
                  <a:lnTo>
                    <a:pt x="561" y="526"/>
                  </a:lnTo>
                  <a:lnTo>
                    <a:pt x="562" y="526"/>
                  </a:lnTo>
                  <a:lnTo>
                    <a:pt x="563" y="526"/>
                  </a:lnTo>
                  <a:lnTo>
                    <a:pt x="563" y="527"/>
                  </a:lnTo>
                  <a:lnTo>
                    <a:pt x="564" y="527"/>
                  </a:lnTo>
                  <a:lnTo>
                    <a:pt x="565" y="526"/>
                  </a:lnTo>
                  <a:lnTo>
                    <a:pt x="565" y="525"/>
                  </a:lnTo>
                  <a:lnTo>
                    <a:pt x="567" y="524"/>
                  </a:lnTo>
                  <a:lnTo>
                    <a:pt x="567" y="522"/>
                  </a:lnTo>
                  <a:lnTo>
                    <a:pt x="565" y="522"/>
                  </a:lnTo>
                  <a:lnTo>
                    <a:pt x="565" y="521"/>
                  </a:lnTo>
                  <a:lnTo>
                    <a:pt x="567" y="521"/>
                  </a:lnTo>
                  <a:lnTo>
                    <a:pt x="568" y="521"/>
                  </a:lnTo>
                  <a:lnTo>
                    <a:pt x="569" y="521"/>
                  </a:lnTo>
                  <a:lnTo>
                    <a:pt x="568" y="521"/>
                  </a:lnTo>
                  <a:lnTo>
                    <a:pt x="569" y="521"/>
                  </a:lnTo>
                  <a:lnTo>
                    <a:pt x="569" y="522"/>
                  </a:lnTo>
                  <a:lnTo>
                    <a:pt x="570" y="522"/>
                  </a:lnTo>
                  <a:lnTo>
                    <a:pt x="571" y="522"/>
                  </a:lnTo>
                  <a:lnTo>
                    <a:pt x="570" y="522"/>
                  </a:lnTo>
                  <a:lnTo>
                    <a:pt x="570" y="521"/>
                  </a:lnTo>
                  <a:lnTo>
                    <a:pt x="571" y="521"/>
                  </a:lnTo>
                  <a:lnTo>
                    <a:pt x="571" y="520"/>
                  </a:lnTo>
                  <a:lnTo>
                    <a:pt x="571" y="521"/>
                  </a:lnTo>
                  <a:lnTo>
                    <a:pt x="570" y="521"/>
                  </a:lnTo>
                  <a:lnTo>
                    <a:pt x="570" y="520"/>
                  </a:lnTo>
                  <a:lnTo>
                    <a:pt x="570" y="519"/>
                  </a:lnTo>
                  <a:lnTo>
                    <a:pt x="569" y="519"/>
                  </a:lnTo>
                  <a:lnTo>
                    <a:pt x="569" y="518"/>
                  </a:lnTo>
                  <a:lnTo>
                    <a:pt x="568" y="518"/>
                  </a:lnTo>
                  <a:lnTo>
                    <a:pt x="568" y="517"/>
                  </a:lnTo>
                  <a:lnTo>
                    <a:pt x="569" y="517"/>
                  </a:lnTo>
                  <a:lnTo>
                    <a:pt x="569" y="515"/>
                  </a:lnTo>
                  <a:lnTo>
                    <a:pt x="568" y="515"/>
                  </a:lnTo>
                  <a:lnTo>
                    <a:pt x="568" y="514"/>
                  </a:lnTo>
                  <a:lnTo>
                    <a:pt x="569" y="514"/>
                  </a:lnTo>
                  <a:lnTo>
                    <a:pt x="570" y="513"/>
                  </a:lnTo>
                  <a:lnTo>
                    <a:pt x="570" y="512"/>
                  </a:lnTo>
                  <a:lnTo>
                    <a:pt x="569" y="512"/>
                  </a:lnTo>
                  <a:lnTo>
                    <a:pt x="569" y="513"/>
                  </a:lnTo>
                  <a:lnTo>
                    <a:pt x="568" y="513"/>
                  </a:lnTo>
                  <a:lnTo>
                    <a:pt x="569" y="513"/>
                  </a:lnTo>
                  <a:lnTo>
                    <a:pt x="568" y="513"/>
                  </a:lnTo>
                  <a:lnTo>
                    <a:pt x="567" y="513"/>
                  </a:lnTo>
                  <a:lnTo>
                    <a:pt x="567" y="512"/>
                  </a:lnTo>
                  <a:lnTo>
                    <a:pt x="568" y="512"/>
                  </a:lnTo>
                  <a:lnTo>
                    <a:pt x="567" y="512"/>
                  </a:lnTo>
                  <a:lnTo>
                    <a:pt x="567" y="513"/>
                  </a:lnTo>
                  <a:lnTo>
                    <a:pt x="567" y="512"/>
                  </a:lnTo>
                  <a:lnTo>
                    <a:pt x="567" y="511"/>
                  </a:lnTo>
                  <a:lnTo>
                    <a:pt x="567" y="510"/>
                  </a:lnTo>
                  <a:lnTo>
                    <a:pt x="567" y="508"/>
                  </a:lnTo>
                  <a:lnTo>
                    <a:pt x="567" y="510"/>
                  </a:lnTo>
                  <a:lnTo>
                    <a:pt x="565" y="510"/>
                  </a:lnTo>
                  <a:lnTo>
                    <a:pt x="565" y="508"/>
                  </a:lnTo>
                  <a:lnTo>
                    <a:pt x="565" y="507"/>
                  </a:lnTo>
                  <a:lnTo>
                    <a:pt x="564" y="507"/>
                  </a:lnTo>
                  <a:lnTo>
                    <a:pt x="565" y="507"/>
                  </a:lnTo>
                  <a:lnTo>
                    <a:pt x="565" y="506"/>
                  </a:lnTo>
                  <a:lnTo>
                    <a:pt x="564" y="506"/>
                  </a:lnTo>
                  <a:lnTo>
                    <a:pt x="565" y="505"/>
                  </a:lnTo>
                  <a:lnTo>
                    <a:pt x="564" y="505"/>
                  </a:lnTo>
                  <a:lnTo>
                    <a:pt x="564" y="504"/>
                  </a:lnTo>
                  <a:lnTo>
                    <a:pt x="564" y="505"/>
                  </a:lnTo>
                  <a:lnTo>
                    <a:pt x="564" y="504"/>
                  </a:lnTo>
                  <a:lnTo>
                    <a:pt x="563" y="504"/>
                  </a:lnTo>
                  <a:lnTo>
                    <a:pt x="562" y="504"/>
                  </a:lnTo>
                  <a:lnTo>
                    <a:pt x="561" y="504"/>
                  </a:lnTo>
                  <a:lnTo>
                    <a:pt x="560" y="504"/>
                  </a:lnTo>
                  <a:lnTo>
                    <a:pt x="560" y="503"/>
                  </a:lnTo>
                  <a:lnTo>
                    <a:pt x="558" y="504"/>
                  </a:lnTo>
                  <a:lnTo>
                    <a:pt x="560" y="504"/>
                  </a:lnTo>
                  <a:lnTo>
                    <a:pt x="560" y="503"/>
                  </a:lnTo>
                  <a:lnTo>
                    <a:pt x="560" y="504"/>
                  </a:lnTo>
                  <a:lnTo>
                    <a:pt x="558" y="504"/>
                  </a:lnTo>
                  <a:lnTo>
                    <a:pt x="557" y="504"/>
                  </a:lnTo>
                  <a:lnTo>
                    <a:pt x="556" y="503"/>
                  </a:lnTo>
                  <a:lnTo>
                    <a:pt x="556" y="504"/>
                  </a:lnTo>
                  <a:lnTo>
                    <a:pt x="556" y="503"/>
                  </a:lnTo>
                  <a:lnTo>
                    <a:pt x="555" y="503"/>
                  </a:lnTo>
                  <a:lnTo>
                    <a:pt x="554" y="504"/>
                  </a:lnTo>
                  <a:lnTo>
                    <a:pt x="555" y="504"/>
                  </a:lnTo>
                  <a:lnTo>
                    <a:pt x="555" y="503"/>
                  </a:lnTo>
                  <a:lnTo>
                    <a:pt x="554" y="503"/>
                  </a:lnTo>
                  <a:lnTo>
                    <a:pt x="555" y="503"/>
                  </a:lnTo>
                  <a:lnTo>
                    <a:pt x="556" y="503"/>
                  </a:lnTo>
                  <a:lnTo>
                    <a:pt x="555" y="503"/>
                  </a:lnTo>
                  <a:lnTo>
                    <a:pt x="554" y="503"/>
                  </a:lnTo>
                  <a:lnTo>
                    <a:pt x="555" y="503"/>
                  </a:lnTo>
                  <a:lnTo>
                    <a:pt x="556" y="503"/>
                  </a:lnTo>
                  <a:lnTo>
                    <a:pt x="556" y="501"/>
                  </a:lnTo>
                  <a:lnTo>
                    <a:pt x="555" y="501"/>
                  </a:lnTo>
                  <a:lnTo>
                    <a:pt x="554" y="501"/>
                  </a:lnTo>
                  <a:lnTo>
                    <a:pt x="553" y="503"/>
                  </a:lnTo>
                  <a:lnTo>
                    <a:pt x="553" y="501"/>
                  </a:lnTo>
                  <a:lnTo>
                    <a:pt x="554" y="501"/>
                  </a:lnTo>
                  <a:lnTo>
                    <a:pt x="550" y="501"/>
                  </a:lnTo>
                  <a:lnTo>
                    <a:pt x="549" y="501"/>
                  </a:lnTo>
                  <a:lnTo>
                    <a:pt x="548" y="501"/>
                  </a:lnTo>
                  <a:lnTo>
                    <a:pt x="548" y="500"/>
                  </a:lnTo>
                  <a:lnTo>
                    <a:pt x="547" y="500"/>
                  </a:lnTo>
                  <a:lnTo>
                    <a:pt x="546" y="500"/>
                  </a:lnTo>
                  <a:lnTo>
                    <a:pt x="547" y="500"/>
                  </a:lnTo>
                  <a:lnTo>
                    <a:pt x="546" y="500"/>
                  </a:lnTo>
                  <a:lnTo>
                    <a:pt x="544" y="500"/>
                  </a:lnTo>
                  <a:lnTo>
                    <a:pt x="542" y="500"/>
                  </a:lnTo>
                  <a:lnTo>
                    <a:pt x="543" y="500"/>
                  </a:lnTo>
                  <a:lnTo>
                    <a:pt x="543" y="499"/>
                  </a:lnTo>
                  <a:lnTo>
                    <a:pt x="542" y="500"/>
                  </a:lnTo>
                  <a:lnTo>
                    <a:pt x="539" y="500"/>
                  </a:lnTo>
                  <a:lnTo>
                    <a:pt x="537" y="500"/>
                  </a:lnTo>
                  <a:lnTo>
                    <a:pt x="536" y="500"/>
                  </a:lnTo>
                  <a:lnTo>
                    <a:pt x="535" y="500"/>
                  </a:lnTo>
                  <a:lnTo>
                    <a:pt x="535" y="499"/>
                  </a:lnTo>
                  <a:lnTo>
                    <a:pt x="534" y="499"/>
                  </a:lnTo>
                  <a:lnTo>
                    <a:pt x="533" y="499"/>
                  </a:lnTo>
                  <a:lnTo>
                    <a:pt x="532" y="499"/>
                  </a:lnTo>
                  <a:lnTo>
                    <a:pt x="530" y="499"/>
                  </a:lnTo>
                  <a:lnTo>
                    <a:pt x="529" y="499"/>
                  </a:lnTo>
                  <a:lnTo>
                    <a:pt x="528" y="498"/>
                  </a:lnTo>
                  <a:lnTo>
                    <a:pt x="526" y="498"/>
                  </a:lnTo>
                  <a:lnTo>
                    <a:pt x="526" y="497"/>
                  </a:lnTo>
                  <a:lnTo>
                    <a:pt x="527" y="496"/>
                  </a:lnTo>
                  <a:lnTo>
                    <a:pt x="527" y="494"/>
                  </a:lnTo>
                  <a:lnTo>
                    <a:pt x="526" y="494"/>
                  </a:lnTo>
                  <a:lnTo>
                    <a:pt x="525" y="494"/>
                  </a:lnTo>
                  <a:lnTo>
                    <a:pt x="525" y="496"/>
                  </a:lnTo>
                  <a:lnTo>
                    <a:pt x="523" y="494"/>
                  </a:lnTo>
                  <a:lnTo>
                    <a:pt x="523" y="496"/>
                  </a:lnTo>
                  <a:lnTo>
                    <a:pt x="522" y="496"/>
                  </a:lnTo>
                  <a:lnTo>
                    <a:pt x="521" y="496"/>
                  </a:lnTo>
                  <a:lnTo>
                    <a:pt x="521" y="494"/>
                  </a:lnTo>
                  <a:lnTo>
                    <a:pt x="521" y="493"/>
                  </a:lnTo>
                  <a:lnTo>
                    <a:pt x="522" y="493"/>
                  </a:lnTo>
                  <a:lnTo>
                    <a:pt x="523" y="492"/>
                  </a:lnTo>
                  <a:lnTo>
                    <a:pt x="523" y="491"/>
                  </a:lnTo>
                  <a:lnTo>
                    <a:pt x="523" y="492"/>
                  </a:lnTo>
                  <a:lnTo>
                    <a:pt x="522" y="492"/>
                  </a:lnTo>
                  <a:lnTo>
                    <a:pt x="522" y="491"/>
                  </a:lnTo>
                  <a:lnTo>
                    <a:pt x="523" y="491"/>
                  </a:lnTo>
                  <a:lnTo>
                    <a:pt x="523" y="490"/>
                  </a:lnTo>
                  <a:lnTo>
                    <a:pt x="525" y="490"/>
                  </a:lnTo>
                  <a:lnTo>
                    <a:pt x="526" y="490"/>
                  </a:lnTo>
                  <a:lnTo>
                    <a:pt x="526" y="489"/>
                  </a:lnTo>
                  <a:lnTo>
                    <a:pt x="525" y="489"/>
                  </a:lnTo>
                  <a:lnTo>
                    <a:pt x="523" y="489"/>
                  </a:lnTo>
                  <a:lnTo>
                    <a:pt x="522" y="489"/>
                  </a:lnTo>
                  <a:lnTo>
                    <a:pt x="521" y="489"/>
                  </a:lnTo>
                  <a:lnTo>
                    <a:pt x="521" y="487"/>
                  </a:lnTo>
                  <a:lnTo>
                    <a:pt x="522" y="487"/>
                  </a:lnTo>
                  <a:lnTo>
                    <a:pt x="522" y="486"/>
                  </a:lnTo>
                  <a:lnTo>
                    <a:pt x="523" y="486"/>
                  </a:lnTo>
                  <a:lnTo>
                    <a:pt x="523" y="485"/>
                  </a:lnTo>
                  <a:lnTo>
                    <a:pt x="525" y="485"/>
                  </a:lnTo>
                  <a:lnTo>
                    <a:pt x="525" y="484"/>
                  </a:lnTo>
                  <a:lnTo>
                    <a:pt x="526" y="484"/>
                  </a:lnTo>
                  <a:lnTo>
                    <a:pt x="526" y="483"/>
                  </a:lnTo>
                  <a:lnTo>
                    <a:pt x="526" y="482"/>
                  </a:lnTo>
                  <a:lnTo>
                    <a:pt x="525" y="482"/>
                  </a:lnTo>
                  <a:lnTo>
                    <a:pt x="526" y="482"/>
                  </a:lnTo>
                  <a:lnTo>
                    <a:pt x="525" y="480"/>
                  </a:lnTo>
                  <a:lnTo>
                    <a:pt x="523" y="479"/>
                  </a:lnTo>
                  <a:lnTo>
                    <a:pt x="522" y="478"/>
                  </a:lnTo>
                  <a:lnTo>
                    <a:pt x="523" y="478"/>
                  </a:lnTo>
                  <a:lnTo>
                    <a:pt x="523" y="477"/>
                  </a:lnTo>
                  <a:lnTo>
                    <a:pt x="523" y="476"/>
                  </a:lnTo>
                  <a:lnTo>
                    <a:pt x="525" y="476"/>
                  </a:lnTo>
                  <a:lnTo>
                    <a:pt x="526" y="476"/>
                  </a:lnTo>
                  <a:lnTo>
                    <a:pt x="525" y="475"/>
                  </a:lnTo>
                  <a:lnTo>
                    <a:pt x="526" y="475"/>
                  </a:lnTo>
                  <a:lnTo>
                    <a:pt x="526" y="473"/>
                  </a:lnTo>
                  <a:lnTo>
                    <a:pt x="527" y="473"/>
                  </a:lnTo>
                  <a:lnTo>
                    <a:pt x="527" y="472"/>
                  </a:lnTo>
                  <a:lnTo>
                    <a:pt x="527" y="473"/>
                  </a:lnTo>
                  <a:lnTo>
                    <a:pt x="526" y="473"/>
                  </a:lnTo>
                  <a:lnTo>
                    <a:pt x="526" y="472"/>
                  </a:lnTo>
                  <a:lnTo>
                    <a:pt x="522" y="473"/>
                  </a:lnTo>
                  <a:lnTo>
                    <a:pt x="520" y="473"/>
                  </a:lnTo>
                  <a:lnTo>
                    <a:pt x="519" y="473"/>
                  </a:lnTo>
                  <a:lnTo>
                    <a:pt x="516" y="473"/>
                  </a:lnTo>
                  <a:lnTo>
                    <a:pt x="515" y="472"/>
                  </a:lnTo>
                  <a:lnTo>
                    <a:pt x="514" y="472"/>
                  </a:lnTo>
                  <a:lnTo>
                    <a:pt x="514" y="471"/>
                  </a:lnTo>
                  <a:lnTo>
                    <a:pt x="514" y="470"/>
                  </a:lnTo>
                  <a:lnTo>
                    <a:pt x="513" y="470"/>
                  </a:lnTo>
                  <a:lnTo>
                    <a:pt x="513" y="469"/>
                  </a:lnTo>
                  <a:lnTo>
                    <a:pt x="513" y="468"/>
                  </a:lnTo>
                  <a:lnTo>
                    <a:pt x="513" y="466"/>
                  </a:lnTo>
                  <a:lnTo>
                    <a:pt x="514" y="466"/>
                  </a:lnTo>
                  <a:lnTo>
                    <a:pt x="513" y="465"/>
                  </a:lnTo>
                  <a:lnTo>
                    <a:pt x="514" y="465"/>
                  </a:lnTo>
                  <a:lnTo>
                    <a:pt x="514" y="464"/>
                  </a:lnTo>
                  <a:lnTo>
                    <a:pt x="514" y="463"/>
                  </a:lnTo>
                  <a:lnTo>
                    <a:pt x="513" y="463"/>
                  </a:lnTo>
                  <a:lnTo>
                    <a:pt x="514" y="463"/>
                  </a:lnTo>
                  <a:lnTo>
                    <a:pt x="514" y="462"/>
                  </a:lnTo>
                  <a:lnTo>
                    <a:pt x="513" y="462"/>
                  </a:lnTo>
                  <a:lnTo>
                    <a:pt x="513" y="461"/>
                  </a:lnTo>
                  <a:lnTo>
                    <a:pt x="514" y="461"/>
                  </a:lnTo>
                  <a:lnTo>
                    <a:pt x="513" y="461"/>
                  </a:lnTo>
                  <a:lnTo>
                    <a:pt x="512" y="461"/>
                  </a:lnTo>
                  <a:lnTo>
                    <a:pt x="511" y="461"/>
                  </a:lnTo>
                  <a:lnTo>
                    <a:pt x="511" y="459"/>
                  </a:lnTo>
                  <a:lnTo>
                    <a:pt x="509" y="459"/>
                  </a:lnTo>
                  <a:lnTo>
                    <a:pt x="509" y="461"/>
                  </a:lnTo>
                  <a:lnTo>
                    <a:pt x="508" y="461"/>
                  </a:lnTo>
                  <a:lnTo>
                    <a:pt x="507" y="461"/>
                  </a:lnTo>
                  <a:lnTo>
                    <a:pt x="507" y="459"/>
                  </a:lnTo>
                  <a:lnTo>
                    <a:pt x="506" y="459"/>
                  </a:lnTo>
                  <a:lnTo>
                    <a:pt x="506" y="461"/>
                  </a:lnTo>
                  <a:lnTo>
                    <a:pt x="506" y="459"/>
                  </a:lnTo>
                  <a:lnTo>
                    <a:pt x="506" y="461"/>
                  </a:lnTo>
                  <a:lnTo>
                    <a:pt x="505" y="461"/>
                  </a:lnTo>
                  <a:lnTo>
                    <a:pt x="504" y="461"/>
                  </a:lnTo>
                  <a:lnTo>
                    <a:pt x="503" y="461"/>
                  </a:lnTo>
                  <a:lnTo>
                    <a:pt x="503" y="459"/>
                  </a:lnTo>
                  <a:lnTo>
                    <a:pt x="501" y="459"/>
                  </a:lnTo>
                  <a:lnTo>
                    <a:pt x="500" y="459"/>
                  </a:lnTo>
                  <a:lnTo>
                    <a:pt x="500" y="458"/>
                  </a:lnTo>
                  <a:lnTo>
                    <a:pt x="499" y="458"/>
                  </a:lnTo>
                  <a:lnTo>
                    <a:pt x="499" y="459"/>
                  </a:lnTo>
                  <a:lnTo>
                    <a:pt x="499" y="458"/>
                  </a:lnTo>
                  <a:lnTo>
                    <a:pt x="498" y="458"/>
                  </a:lnTo>
                  <a:lnTo>
                    <a:pt x="497" y="458"/>
                  </a:lnTo>
                  <a:lnTo>
                    <a:pt x="497" y="457"/>
                  </a:lnTo>
                  <a:lnTo>
                    <a:pt x="496" y="457"/>
                  </a:lnTo>
                  <a:lnTo>
                    <a:pt x="496" y="456"/>
                  </a:lnTo>
                  <a:lnTo>
                    <a:pt x="494" y="457"/>
                  </a:lnTo>
                  <a:lnTo>
                    <a:pt x="493" y="457"/>
                  </a:lnTo>
                  <a:lnTo>
                    <a:pt x="492" y="457"/>
                  </a:lnTo>
                  <a:lnTo>
                    <a:pt x="493" y="457"/>
                  </a:lnTo>
                  <a:lnTo>
                    <a:pt x="492" y="457"/>
                  </a:lnTo>
                  <a:lnTo>
                    <a:pt x="492" y="458"/>
                  </a:lnTo>
                  <a:lnTo>
                    <a:pt x="492" y="459"/>
                  </a:lnTo>
                  <a:lnTo>
                    <a:pt x="493" y="459"/>
                  </a:lnTo>
                  <a:lnTo>
                    <a:pt x="493" y="461"/>
                  </a:lnTo>
                  <a:lnTo>
                    <a:pt x="492" y="461"/>
                  </a:lnTo>
                  <a:lnTo>
                    <a:pt x="492" y="462"/>
                  </a:lnTo>
                  <a:lnTo>
                    <a:pt x="491" y="462"/>
                  </a:lnTo>
                  <a:lnTo>
                    <a:pt x="491" y="463"/>
                  </a:lnTo>
                  <a:lnTo>
                    <a:pt x="490" y="463"/>
                  </a:lnTo>
                  <a:lnTo>
                    <a:pt x="491" y="463"/>
                  </a:lnTo>
                  <a:lnTo>
                    <a:pt x="491" y="462"/>
                  </a:lnTo>
                  <a:lnTo>
                    <a:pt x="490" y="463"/>
                  </a:lnTo>
                  <a:lnTo>
                    <a:pt x="490" y="462"/>
                  </a:lnTo>
                  <a:lnTo>
                    <a:pt x="489" y="463"/>
                  </a:lnTo>
                  <a:lnTo>
                    <a:pt x="490" y="463"/>
                  </a:lnTo>
                  <a:lnTo>
                    <a:pt x="489" y="463"/>
                  </a:lnTo>
                  <a:lnTo>
                    <a:pt x="489" y="464"/>
                  </a:lnTo>
                  <a:lnTo>
                    <a:pt x="487" y="464"/>
                  </a:lnTo>
                  <a:lnTo>
                    <a:pt x="487" y="463"/>
                  </a:lnTo>
                  <a:lnTo>
                    <a:pt x="486" y="464"/>
                  </a:lnTo>
                  <a:lnTo>
                    <a:pt x="486" y="465"/>
                  </a:lnTo>
                  <a:lnTo>
                    <a:pt x="485" y="465"/>
                  </a:lnTo>
                  <a:lnTo>
                    <a:pt x="485" y="464"/>
                  </a:lnTo>
                  <a:lnTo>
                    <a:pt x="486" y="464"/>
                  </a:lnTo>
                  <a:lnTo>
                    <a:pt x="486" y="463"/>
                  </a:lnTo>
                  <a:lnTo>
                    <a:pt x="490" y="462"/>
                  </a:lnTo>
                  <a:lnTo>
                    <a:pt x="490" y="461"/>
                  </a:lnTo>
                  <a:lnTo>
                    <a:pt x="490" y="459"/>
                  </a:lnTo>
                  <a:lnTo>
                    <a:pt x="491" y="459"/>
                  </a:lnTo>
                  <a:lnTo>
                    <a:pt x="490" y="459"/>
                  </a:lnTo>
                  <a:lnTo>
                    <a:pt x="489" y="459"/>
                  </a:lnTo>
                  <a:lnTo>
                    <a:pt x="487" y="459"/>
                  </a:lnTo>
                  <a:lnTo>
                    <a:pt x="487" y="461"/>
                  </a:lnTo>
                  <a:lnTo>
                    <a:pt x="487" y="462"/>
                  </a:lnTo>
                  <a:lnTo>
                    <a:pt x="486" y="462"/>
                  </a:lnTo>
                  <a:lnTo>
                    <a:pt x="486" y="463"/>
                  </a:lnTo>
                  <a:lnTo>
                    <a:pt x="485" y="463"/>
                  </a:lnTo>
                  <a:lnTo>
                    <a:pt x="485" y="464"/>
                  </a:lnTo>
                  <a:lnTo>
                    <a:pt x="484" y="464"/>
                  </a:lnTo>
                  <a:lnTo>
                    <a:pt x="483" y="465"/>
                  </a:lnTo>
                  <a:lnTo>
                    <a:pt x="483" y="466"/>
                  </a:lnTo>
                  <a:lnTo>
                    <a:pt x="482" y="466"/>
                  </a:lnTo>
                  <a:lnTo>
                    <a:pt x="480" y="468"/>
                  </a:lnTo>
                  <a:lnTo>
                    <a:pt x="479" y="468"/>
                  </a:lnTo>
                  <a:lnTo>
                    <a:pt x="480" y="466"/>
                  </a:lnTo>
                  <a:lnTo>
                    <a:pt x="482" y="466"/>
                  </a:lnTo>
                  <a:lnTo>
                    <a:pt x="482" y="465"/>
                  </a:lnTo>
                  <a:lnTo>
                    <a:pt x="483" y="464"/>
                  </a:lnTo>
                  <a:lnTo>
                    <a:pt x="484" y="463"/>
                  </a:lnTo>
                  <a:lnTo>
                    <a:pt x="483" y="463"/>
                  </a:lnTo>
                  <a:lnTo>
                    <a:pt x="478" y="465"/>
                  </a:lnTo>
                  <a:lnTo>
                    <a:pt x="477" y="465"/>
                  </a:lnTo>
                  <a:lnTo>
                    <a:pt x="477" y="466"/>
                  </a:lnTo>
                  <a:lnTo>
                    <a:pt x="476" y="466"/>
                  </a:lnTo>
                  <a:lnTo>
                    <a:pt x="477" y="466"/>
                  </a:lnTo>
                  <a:lnTo>
                    <a:pt x="476" y="468"/>
                  </a:lnTo>
                  <a:lnTo>
                    <a:pt x="475" y="468"/>
                  </a:lnTo>
                  <a:lnTo>
                    <a:pt x="475" y="469"/>
                  </a:lnTo>
                  <a:lnTo>
                    <a:pt x="475" y="470"/>
                  </a:lnTo>
                  <a:lnTo>
                    <a:pt x="473" y="470"/>
                  </a:lnTo>
                  <a:lnTo>
                    <a:pt x="472" y="471"/>
                  </a:lnTo>
                  <a:lnTo>
                    <a:pt x="471" y="471"/>
                  </a:lnTo>
                  <a:lnTo>
                    <a:pt x="472" y="471"/>
                  </a:lnTo>
                  <a:lnTo>
                    <a:pt x="471" y="471"/>
                  </a:lnTo>
                  <a:lnTo>
                    <a:pt x="470" y="471"/>
                  </a:lnTo>
                  <a:lnTo>
                    <a:pt x="470" y="472"/>
                  </a:lnTo>
                  <a:lnTo>
                    <a:pt x="469" y="472"/>
                  </a:lnTo>
                  <a:lnTo>
                    <a:pt x="468" y="472"/>
                  </a:lnTo>
                  <a:lnTo>
                    <a:pt x="466" y="472"/>
                  </a:lnTo>
                  <a:lnTo>
                    <a:pt x="465" y="472"/>
                  </a:lnTo>
                  <a:lnTo>
                    <a:pt x="464" y="472"/>
                  </a:lnTo>
                  <a:lnTo>
                    <a:pt x="464" y="471"/>
                  </a:lnTo>
                  <a:lnTo>
                    <a:pt x="463" y="470"/>
                  </a:lnTo>
                  <a:lnTo>
                    <a:pt x="459" y="471"/>
                  </a:lnTo>
                  <a:lnTo>
                    <a:pt x="458" y="471"/>
                  </a:lnTo>
                  <a:lnTo>
                    <a:pt x="457" y="471"/>
                  </a:lnTo>
                  <a:lnTo>
                    <a:pt x="456" y="471"/>
                  </a:lnTo>
                  <a:lnTo>
                    <a:pt x="455" y="471"/>
                  </a:lnTo>
                  <a:lnTo>
                    <a:pt x="455" y="470"/>
                  </a:lnTo>
                  <a:lnTo>
                    <a:pt x="455" y="469"/>
                  </a:lnTo>
                  <a:lnTo>
                    <a:pt x="456" y="469"/>
                  </a:lnTo>
                  <a:lnTo>
                    <a:pt x="455" y="469"/>
                  </a:lnTo>
                  <a:lnTo>
                    <a:pt x="454" y="469"/>
                  </a:lnTo>
                  <a:lnTo>
                    <a:pt x="452" y="470"/>
                  </a:lnTo>
                  <a:lnTo>
                    <a:pt x="450" y="471"/>
                  </a:lnTo>
                  <a:lnTo>
                    <a:pt x="449" y="471"/>
                  </a:lnTo>
                  <a:lnTo>
                    <a:pt x="448" y="471"/>
                  </a:lnTo>
                  <a:lnTo>
                    <a:pt x="447" y="471"/>
                  </a:lnTo>
                  <a:lnTo>
                    <a:pt x="445" y="471"/>
                  </a:lnTo>
                  <a:lnTo>
                    <a:pt x="444" y="471"/>
                  </a:lnTo>
                  <a:lnTo>
                    <a:pt x="444" y="470"/>
                  </a:lnTo>
                  <a:lnTo>
                    <a:pt x="444" y="469"/>
                  </a:lnTo>
                  <a:lnTo>
                    <a:pt x="443" y="469"/>
                  </a:lnTo>
                  <a:lnTo>
                    <a:pt x="442" y="469"/>
                  </a:lnTo>
                  <a:lnTo>
                    <a:pt x="442" y="468"/>
                  </a:lnTo>
                  <a:lnTo>
                    <a:pt x="441" y="466"/>
                  </a:lnTo>
                  <a:lnTo>
                    <a:pt x="439" y="466"/>
                  </a:lnTo>
                  <a:lnTo>
                    <a:pt x="439" y="468"/>
                  </a:lnTo>
                  <a:lnTo>
                    <a:pt x="437" y="469"/>
                  </a:lnTo>
                  <a:lnTo>
                    <a:pt x="436" y="469"/>
                  </a:lnTo>
                  <a:lnTo>
                    <a:pt x="436" y="468"/>
                  </a:lnTo>
                  <a:lnTo>
                    <a:pt x="436" y="466"/>
                  </a:lnTo>
                  <a:lnTo>
                    <a:pt x="437" y="466"/>
                  </a:lnTo>
                  <a:lnTo>
                    <a:pt x="437" y="465"/>
                  </a:lnTo>
                  <a:lnTo>
                    <a:pt x="436" y="465"/>
                  </a:lnTo>
                  <a:lnTo>
                    <a:pt x="435" y="465"/>
                  </a:lnTo>
                  <a:lnTo>
                    <a:pt x="434" y="465"/>
                  </a:lnTo>
                  <a:lnTo>
                    <a:pt x="435" y="465"/>
                  </a:lnTo>
                  <a:lnTo>
                    <a:pt x="435" y="464"/>
                  </a:lnTo>
                  <a:lnTo>
                    <a:pt x="436" y="464"/>
                  </a:lnTo>
                  <a:lnTo>
                    <a:pt x="435" y="464"/>
                  </a:lnTo>
                  <a:lnTo>
                    <a:pt x="433" y="463"/>
                  </a:lnTo>
                  <a:lnTo>
                    <a:pt x="430" y="463"/>
                  </a:lnTo>
                  <a:lnTo>
                    <a:pt x="429" y="463"/>
                  </a:lnTo>
                  <a:lnTo>
                    <a:pt x="427" y="463"/>
                  </a:lnTo>
                  <a:lnTo>
                    <a:pt x="426" y="463"/>
                  </a:lnTo>
                  <a:lnTo>
                    <a:pt x="426" y="464"/>
                  </a:lnTo>
                  <a:lnTo>
                    <a:pt x="425" y="464"/>
                  </a:lnTo>
                  <a:lnTo>
                    <a:pt x="423" y="464"/>
                  </a:lnTo>
                  <a:lnTo>
                    <a:pt x="422" y="464"/>
                  </a:lnTo>
                  <a:lnTo>
                    <a:pt x="421" y="464"/>
                  </a:lnTo>
                  <a:lnTo>
                    <a:pt x="422" y="463"/>
                  </a:lnTo>
                  <a:lnTo>
                    <a:pt x="421" y="463"/>
                  </a:lnTo>
                  <a:lnTo>
                    <a:pt x="420" y="462"/>
                  </a:lnTo>
                  <a:lnTo>
                    <a:pt x="418" y="462"/>
                  </a:lnTo>
                  <a:lnTo>
                    <a:pt x="416" y="462"/>
                  </a:lnTo>
                  <a:lnTo>
                    <a:pt x="418" y="462"/>
                  </a:lnTo>
                  <a:lnTo>
                    <a:pt x="416" y="462"/>
                  </a:lnTo>
                  <a:lnTo>
                    <a:pt x="414" y="462"/>
                  </a:lnTo>
                  <a:lnTo>
                    <a:pt x="413" y="461"/>
                  </a:lnTo>
                  <a:lnTo>
                    <a:pt x="413" y="459"/>
                  </a:lnTo>
                  <a:lnTo>
                    <a:pt x="413" y="458"/>
                  </a:lnTo>
                  <a:lnTo>
                    <a:pt x="414" y="456"/>
                  </a:lnTo>
                  <a:lnTo>
                    <a:pt x="414" y="455"/>
                  </a:lnTo>
                  <a:lnTo>
                    <a:pt x="414" y="454"/>
                  </a:lnTo>
                  <a:lnTo>
                    <a:pt x="414" y="452"/>
                  </a:lnTo>
                  <a:lnTo>
                    <a:pt x="415" y="452"/>
                  </a:lnTo>
                  <a:lnTo>
                    <a:pt x="414" y="451"/>
                  </a:lnTo>
                  <a:lnTo>
                    <a:pt x="413" y="451"/>
                  </a:lnTo>
                  <a:lnTo>
                    <a:pt x="412" y="451"/>
                  </a:lnTo>
                  <a:lnTo>
                    <a:pt x="411" y="452"/>
                  </a:lnTo>
                  <a:lnTo>
                    <a:pt x="411" y="454"/>
                  </a:lnTo>
                  <a:lnTo>
                    <a:pt x="409" y="455"/>
                  </a:lnTo>
                  <a:lnTo>
                    <a:pt x="408" y="457"/>
                  </a:lnTo>
                  <a:lnTo>
                    <a:pt x="406" y="457"/>
                  </a:lnTo>
                  <a:lnTo>
                    <a:pt x="402" y="457"/>
                  </a:lnTo>
                  <a:lnTo>
                    <a:pt x="400" y="457"/>
                  </a:lnTo>
                  <a:lnTo>
                    <a:pt x="398" y="457"/>
                  </a:lnTo>
                  <a:lnTo>
                    <a:pt x="394" y="457"/>
                  </a:lnTo>
                  <a:lnTo>
                    <a:pt x="392" y="457"/>
                  </a:lnTo>
                  <a:lnTo>
                    <a:pt x="390" y="457"/>
                  </a:lnTo>
                  <a:lnTo>
                    <a:pt x="387" y="457"/>
                  </a:lnTo>
                  <a:lnTo>
                    <a:pt x="384" y="457"/>
                  </a:lnTo>
                  <a:lnTo>
                    <a:pt x="381" y="457"/>
                  </a:lnTo>
                  <a:lnTo>
                    <a:pt x="379" y="457"/>
                  </a:lnTo>
                  <a:lnTo>
                    <a:pt x="376" y="457"/>
                  </a:lnTo>
                  <a:lnTo>
                    <a:pt x="373" y="457"/>
                  </a:lnTo>
                  <a:lnTo>
                    <a:pt x="371" y="457"/>
                  </a:lnTo>
                  <a:lnTo>
                    <a:pt x="368" y="457"/>
                  </a:lnTo>
                  <a:lnTo>
                    <a:pt x="365" y="457"/>
                  </a:lnTo>
                  <a:lnTo>
                    <a:pt x="363" y="457"/>
                  </a:lnTo>
                  <a:lnTo>
                    <a:pt x="361" y="457"/>
                  </a:lnTo>
                  <a:lnTo>
                    <a:pt x="357" y="457"/>
                  </a:lnTo>
                  <a:lnTo>
                    <a:pt x="355" y="457"/>
                  </a:lnTo>
                  <a:lnTo>
                    <a:pt x="352" y="457"/>
                  </a:lnTo>
                  <a:lnTo>
                    <a:pt x="349" y="457"/>
                  </a:lnTo>
                  <a:lnTo>
                    <a:pt x="347" y="457"/>
                  </a:lnTo>
                  <a:lnTo>
                    <a:pt x="344" y="457"/>
                  </a:lnTo>
                  <a:lnTo>
                    <a:pt x="341" y="457"/>
                  </a:lnTo>
                  <a:lnTo>
                    <a:pt x="338" y="457"/>
                  </a:lnTo>
                  <a:lnTo>
                    <a:pt x="336" y="457"/>
                  </a:lnTo>
                  <a:lnTo>
                    <a:pt x="334" y="457"/>
                  </a:lnTo>
                  <a:lnTo>
                    <a:pt x="333" y="457"/>
                  </a:lnTo>
                  <a:lnTo>
                    <a:pt x="330" y="457"/>
                  </a:lnTo>
                  <a:lnTo>
                    <a:pt x="328" y="457"/>
                  </a:lnTo>
                  <a:lnTo>
                    <a:pt x="326" y="457"/>
                  </a:lnTo>
                  <a:lnTo>
                    <a:pt x="322" y="457"/>
                  </a:lnTo>
                  <a:lnTo>
                    <a:pt x="320" y="457"/>
                  </a:lnTo>
                  <a:lnTo>
                    <a:pt x="317" y="457"/>
                  </a:lnTo>
                  <a:lnTo>
                    <a:pt x="314" y="457"/>
                  </a:lnTo>
                  <a:lnTo>
                    <a:pt x="312" y="457"/>
                  </a:lnTo>
                  <a:lnTo>
                    <a:pt x="309" y="457"/>
                  </a:lnTo>
                  <a:lnTo>
                    <a:pt x="307" y="457"/>
                  </a:lnTo>
                  <a:lnTo>
                    <a:pt x="304" y="457"/>
                  </a:lnTo>
                  <a:lnTo>
                    <a:pt x="301" y="457"/>
                  </a:lnTo>
                  <a:lnTo>
                    <a:pt x="300" y="457"/>
                  </a:lnTo>
                  <a:lnTo>
                    <a:pt x="299" y="457"/>
                  </a:lnTo>
                  <a:lnTo>
                    <a:pt x="295" y="457"/>
                  </a:lnTo>
                  <a:lnTo>
                    <a:pt x="293" y="457"/>
                  </a:lnTo>
                  <a:lnTo>
                    <a:pt x="291" y="457"/>
                  </a:lnTo>
                  <a:lnTo>
                    <a:pt x="287" y="457"/>
                  </a:lnTo>
                  <a:lnTo>
                    <a:pt x="285" y="457"/>
                  </a:lnTo>
                  <a:lnTo>
                    <a:pt x="283" y="457"/>
                  </a:lnTo>
                  <a:lnTo>
                    <a:pt x="279" y="457"/>
                  </a:lnTo>
                  <a:lnTo>
                    <a:pt x="277" y="457"/>
                  </a:lnTo>
                  <a:lnTo>
                    <a:pt x="274" y="457"/>
                  </a:lnTo>
                  <a:lnTo>
                    <a:pt x="272" y="457"/>
                  </a:lnTo>
                  <a:lnTo>
                    <a:pt x="269" y="457"/>
                  </a:lnTo>
                  <a:lnTo>
                    <a:pt x="266" y="457"/>
                  </a:lnTo>
                  <a:lnTo>
                    <a:pt x="264" y="457"/>
                  </a:lnTo>
                  <a:lnTo>
                    <a:pt x="260" y="457"/>
                  </a:lnTo>
                  <a:lnTo>
                    <a:pt x="258" y="457"/>
                  </a:lnTo>
                  <a:lnTo>
                    <a:pt x="256" y="457"/>
                  </a:lnTo>
                  <a:lnTo>
                    <a:pt x="252" y="457"/>
                  </a:lnTo>
                  <a:lnTo>
                    <a:pt x="250" y="457"/>
                  </a:lnTo>
                  <a:lnTo>
                    <a:pt x="248" y="457"/>
                  </a:lnTo>
                  <a:lnTo>
                    <a:pt x="245" y="457"/>
                  </a:lnTo>
                  <a:lnTo>
                    <a:pt x="242" y="457"/>
                  </a:lnTo>
                  <a:lnTo>
                    <a:pt x="240" y="457"/>
                  </a:lnTo>
                  <a:lnTo>
                    <a:pt x="237" y="457"/>
                  </a:lnTo>
                  <a:lnTo>
                    <a:pt x="234" y="457"/>
                  </a:lnTo>
                  <a:lnTo>
                    <a:pt x="231" y="457"/>
                  </a:lnTo>
                  <a:lnTo>
                    <a:pt x="229" y="457"/>
                  </a:lnTo>
                  <a:lnTo>
                    <a:pt x="228" y="457"/>
                  </a:lnTo>
                  <a:lnTo>
                    <a:pt x="226" y="457"/>
                  </a:lnTo>
                  <a:lnTo>
                    <a:pt x="223" y="457"/>
                  </a:lnTo>
                  <a:lnTo>
                    <a:pt x="221" y="457"/>
                  </a:lnTo>
                  <a:lnTo>
                    <a:pt x="219" y="457"/>
                  </a:lnTo>
                  <a:lnTo>
                    <a:pt x="215" y="457"/>
                  </a:lnTo>
                  <a:lnTo>
                    <a:pt x="213" y="457"/>
                  </a:lnTo>
                  <a:lnTo>
                    <a:pt x="210" y="457"/>
                  </a:lnTo>
                  <a:lnTo>
                    <a:pt x="207" y="457"/>
                  </a:lnTo>
                  <a:lnTo>
                    <a:pt x="205" y="457"/>
                  </a:lnTo>
                  <a:lnTo>
                    <a:pt x="202" y="457"/>
                  </a:lnTo>
                  <a:lnTo>
                    <a:pt x="199" y="457"/>
                  </a:lnTo>
                  <a:lnTo>
                    <a:pt x="196" y="457"/>
                  </a:lnTo>
                  <a:lnTo>
                    <a:pt x="194" y="457"/>
                  </a:lnTo>
                  <a:lnTo>
                    <a:pt x="192" y="457"/>
                  </a:lnTo>
                  <a:lnTo>
                    <a:pt x="188" y="457"/>
                  </a:lnTo>
                  <a:lnTo>
                    <a:pt x="186" y="457"/>
                  </a:lnTo>
                  <a:lnTo>
                    <a:pt x="184" y="457"/>
                  </a:lnTo>
                  <a:lnTo>
                    <a:pt x="180" y="457"/>
                  </a:lnTo>
                  <a:lnTo>
                    <a:pt x="178" y="457"/>
                  </a:lnTo>
                  <a:lnTo>
                    <a:pt x="176" y="457"/>
                  </a:lnTo>
                  <a:lnTo>
                    <a:pt x="172" y="457"/>
                  </a:lnTo>
                  <a:lnTo>
                    <a:pt x="170" y="457"/>
                  </a:lnTo>
                  <a:lnTo>
                    <a:pt x="167" y="457"/>
                  </a:lnTo>
                  <a:lnTo>
                    <a:pt x="165" y="457"/>
                  </a:lnTo>
                  <a:lnTo>
                    <a:pt x="162" y="457"/>
                  </a:lnTo>
                  <a:lnTo>
                    <a:pt x="159" y="457"/>
                  </a:lnTo>
                  <a:lnTo>
                    <a:pt x="157" y="457"/>
                  </a:lnTo>
                  <a:lnTo>
                    <a:pt x="153" y="457"/>
                  </a:lnTo>
                  <a:lnTo>
                    <a:pt x="151" y="457"/>
                  </a:lnTo>
                  <a:lnTo>
                    <a:pt x="149" y="457"/>
                  </a:lnTo>
                  <a:lnTo>
                    <a:pt x="145" y="457"/>
                  </a:lnTo>
                  <a:lnTo>
                    <a:pt x="143" y="457"/>
                  </a:lnTo>
                  <a:lnTo>
                    <a:pt x="142" y="457"/>
                  </a:lnTo>
                  <a:lnTo>
                    <a:pt x="141" y="457"/>
                  </a:lnTo>
                  <a:lnTo>
                    <a:pt x="137" y="457"/>
                  </a:lnTo>
                  <a:lnTo>
                    <a:pt x="135" y="457"/>
                  </a:lnTo>
                  <a:lnTo>
                    <a:pt x="132" y="457"/>
                  </a:lnTo>
                  <a:lnTo>
                    <a:pt x="130" y="457"/>
                  </a:lnTo>
                  <a:lnTo>
                    <a:pt x="127" y="457"/>
                  </a:lnTo>
                  <a:lnTo>
                    <a:pt x="124" y="457"/>
                  </a:lnTo>
                  <a:lnTo>
                    <a:pt x="122" y="457"/>
                  </a:lnTo>
                  <a:lnTo>
                    <a:pt x="119" y="457"/>
                  </a:lnTo>
                  <a:lnTo>
                    <a:pt x="116" y="457"/>
                  </a:lnTo>
                  <a:lnTo>
                    <a:pt x="114" y="457"/>
                  </a:lnTo>
                  <a:lnTo>
                    <a:pt x="110" y="457"/>
                  </a:lnTo>
                  <a:lnTo>
                    <a:pt x="108" y="457"/>
                  </a:lnTo>
                  <a:lnTo>
                    <a:pt x="106" y="457"/>
                  </a:lnTo>
                  <a:lnTo>
                    <a:pt x="103" y="457"/>
                  </a:lnTo>
                  <a:lnTo>
                    <a:pt x="100" y="457"/>
                  </a:lnTo>
                  <a:lnTo>
                    <a:pt x="98" y="457"/>
                  </a:lnTo>
                  <a:lnTo>
                    <a:pt x="95" y="457"/>
                  </a:lnTo>
                  <a:lnTo>
                    <a:pt x="92" y="457"/>
                  </a:lnTo>
                  <a:lnTo>
                    <a:pt x="89" y="457"/>
                  </a:lnTo>
                  <a:lnTo>
                    <a:pt x="87" y="457"/>
                  </a:lnTo>
                  <a:lnTo>
                    <a:pt x="84" y="457"/>
                  </a:lnTo>
                  <a:lnTo>
                    <a:pt x="81" y="457"/>
                  </a:lnTo>
                  <a:lnTo>
                    <a:pt x="79" y="457"/>
                  </a:lnTo>
                  <a:lnTo>
                    <a:pt x="77" y="457"/>
                  </a:lnTo>
                  <a:lnTo>
                    <a:pt x="73" y="457"/>
                  </a:lnTo>
                  <a:lnTo>
                    <a:pt x="72" y="457"/>
                  </a:lnTo>
                  <a:lnTo>
                    <a:pt x="71" y="457"/>
                  </a:lnTo>
                  <a:lnTo>
                    <a:pt x="71" y="456"/>
                  </a:lnTo>
                  <a:lnTo>
                    <a:pt x="72" y="456"/>
                  </a:lnTo>
                  <a:lnTo>
                    <a:pt x="71" y="456"/>
                  </a:lnTo>
                  <a:lnTo>
                    <a:pt x="70" y="456"/>
                  </a:lnTo>
                  <a:lnTo>
                    <a:pt x="68" y="456"/>
                  </a:lnTo>
                  <a:lnTo>
                    <a:pt x="68" y="457"/>
                  </a:lnTo>
                  <a:lnTo>
                    <a:pt x="68" y="456"/>
                  </a:lnTo>
                  <a:lnTo>
                    <a:pt x="70" y="455"/>
                  </a:lnTo>
                  <a:lnTo>
                    <a:pt x="71" y="455"/>
                  </a:lnTo>
                  <a:lnTo>
                    <a:pt x="70" y="455"/>
                  </a:lnTo>
                  <a:lnTo>
                    <a:pt x="68" y="455"/>
                  </a:lnTo>
                  <a:lnTo>
                    <a:pt x="68" y="454"/>
                  </a:lnTo>
                  <a:lnTo>
                    <a:pt x="70" y="454"/>
                  </a:lnTo>
                  <a:lnTo>
                    <a:pt x="68" y="452"/>
                  </a:lnTo>
                  <a:lnTo>
                    <a:pt x="70" y="452"/>
                  </a:lnTo>
                  <a:lnTo>
                    <a:pt x="71" y="452"/>
                  </a:lnTo>
                  <a:lnTo>
                    <a:pt x="72" y="452"/>
                  </a:lnTo>
                  <a:lnTo>
                    <a:pt x="73" y="452"/>
                  </a:lnTo>
                  <a:lnTo>
                    <a:pt x="74" y="451"/>
                  </a:lnTo>
                  <a:lnTo>
                    <a:pt x="75" y="450"/>
                  </a:lnTo>
                  <a:lnTo>
                    <a:pt x="74" y="450"/>
                  </a:lnTo>
                  <a:lnTo>
                    <a:pt x="73" y="451"/>
                  </a:lnTo>
                  <a:lnTo>
                    <a:pt x="72" y="452"/>
                  </a:lnTo>
                  <a:lnTo>
                    <a:pt x="70" y="451"/>
                  </a:lnTo>
                  <a:lnTo>
                    <a:pt x="71" y="450"/>
                  </a:lnTo>
                  <a:lnTo>
                    <a:pt x="71" y="449"/>
                  </a:lnTo>
                  <a:lnTo>
                    <a:pt x="72" y="449"/>
                  </a:lnTo>
                  <a:lnTo>
                    <a:pt x="72" y="448"/>
                  </a:lnTo>
                  <a:lnTo>
                    <a:pt x="73" y="448"/>
                  </a:lnTo>
                  <a:lnTo>
                    <a:pt x="72" y="448"/>
                  </a:lnTo>
                  <a:lnTo>
                    <a:pt x="73" y="448"/>
                  </a:lnTo>
                  <a:lnTo>
                    <a:pt x="73" y="447"/>
                  </a:lnTo>
                  <a:lnTo>
                    <a:pt x="74" y="447"/>
                  </a:lnTo>
                  <a:lnTo>
                    <a:pt x="74" y="445"/>
                  </a:lnTo>
                  <a:lnTo>
                    <a:pt x="74" y="447"/>
                  </a:lnTo>
                  <a:lnTo>
                    <a:pt x="73" y="447"/>
                  </a:lnTo>
                  <a:lnTo>
                    <a:pt x="73" y="448"/>
                  </a:lnTo>
                  <a:lnTo>
                    <a:pt x="72" y="448"/>
                  </a:lnTo>
                  <a:lnTo>
                    <a:pt x="71" y="448"/>
                  </a:lnTo>
                  <a:lnTo>
                    <a:pt x="70" y="448"/>
                  </a:lnTo>
                  <a:lnTo>
                    <a:pt x="70" y="449"/>
                  </a:lnTo>
                  <a:lnTo>
                    <a:pt x="68" y="449"/>
                  </a:lnTo>
                  <a:lnTo>
                    <a:pt x="68" y="450"/>
                  </a:lnTo>
                  <a:lnTo>
                    <a:pt x="67" y="450"/>
                  </a:lnTo>
                  <a:lnTo>
                    <a:pt x="67" y="451"/>
                  </a:lnTo>
                  <a:lnTo>
                    <a:pt x="66" y="451"/>
                  </a:lnTo>
                  <a:lnTo>
                    <a:pt x="65" y="450"/>
                  </a:lnTo>
                  <a:lnTo>
                    <a:pt x="64" y="450"/>
                  </a:lnTo>
                  <a:lnTo>
                    <a:pt x="64" y="449"/>
                  </a:lnTo>
                  <a:lnTo>
                    <a:pt x="63" y="449"/>
                  </a:lnTo>
                  <a:lnTo>
                    <a:pt x="63" y="448"/>
                  </a:lnTo>
                  <a:lnTo>
                    <a:pt x="63" y="447"/>
                  </a:lnTo>
                  <a:lnTo>
                    <a:pt x="64" y="447"/>
                  </a:lnTo>
                  <a:lnTo>
                    <a:pt x="64" y="445"/>
                  </a:lnTo>
                  <a:lnTo>
                    <a:pt x="65" y="445"/>
                  </a:lnTo>
                  <a:lnTo>
                    <a:pt x="65" y="447"/>
                  </a:lnTo>
                  <a:lnTo>
                    <a:pt x="65" y="448"/>
                  </a:lnTo>
                  <a:lnTo>
                    <a:pt x="65" y="449"/>
                  </a:lnTo>
                  <a:lnTo>
                    <a:pt x="66" y="448"/>
                  </a:lnTo>
                  <a:lnTo>
                    <a:pt x="67" y="448"/>
                  </a:lnTo>
                  <a:lnTo>
                    <a:pt x="67" y="447"/>
                  </a:lnTo>
                  <a:lnTo>
                    <a:pt x="68" y="447"/>
                  </a:lnTo>
                  <a:lnTo>
                    <a:pt x="70" y="447"/>
                  </a:lnTo>
                  <a:lnTo>
                    <a:pt x="70" y="445"/>
                  </a:lnTo>
                  <a:lnTo>
                    <a:pt x="67" y="447"/>
                  </a:lnTo>
                  <a:lnTo>
                    <a:pt x="66" y="447"/>
                  </a:lnTo>
                  <a:lnTo>
                    <a:pt x="66" y="445"/>
                  </a:lnTo>
                  <a:lnTo>
                    <a:pt x="66" y="444"/>
                  </a:lnTo>
                  <a:lnTo>
                    <a:pt x="67" y="444"/>
                  </a:lnTo>
                  <a:lnTo>
                    <a:pt x="67" y="443"/>
                  </a:lnTo>
                  <a:lnTo>
                    <a:pt x="67" y="442"/>
                  </a:lnTo>
                  <a:lnTo>
                    <a:pt x="68" y="441"/>
                  </a:lnTo>
                  <a:lnTo>
                    <a:pt x="70" y="441"/>
                  </a:lnTo>
                  <a:lnTo>
                    <a:pt x="71" y="441"/>
                  </a:lnTo>
                  <a:lnTo>
                    <a:pt x="71" y="440"/>
                  </a:lnTo>
                  <a:lnTo>
                    <a:pt x="71" y="438"/>
                  </a:lnTo>
                  <a:lnTo>
                    <a:pt x="70" y="438"/>
                  </a:lnTo>
                  <a:lnTo>
                    <a:pt x="71" y="440"/>
                  </a:lnTo>
                  <a:lnTo>
                    <a:pt x="70" y="441"/>
                  </a:lnTo>
                  <a:lnTo>
                    <a:pt x="67" y="441"/>
                  </a:lnTo>
                  <a:lnTo>
                    <a:pt x="67" y="442"/>
                  </a:lnTo>
                  <a:lnTo>
                    <a:pt x="66" y="442"/>
                  </a:lnTo>
                  <a:lnTo>
                    <a:pt x="66" y="443"/>
                  </a:lnTo>
                  <a:lnTo>
                    <a:pt x="67" y="443"/>
                  </a:lnTo>
                  <a:lnTo>
                    <a:pt x="66" y="444"/>
                  </a:lnTo>
                  <a:lnTo>
                    <a:pt x="65" y="444"/>
                  </a:lnTo>
                  <a:lnTo>
                    <a:pt x="66" y="444"/>
                  </a:lnTo>
                  <a:lnTo>
                    <a:pt x="66" y="443"/>
                  </a:lnTo>
                  <a:lnTo>
                    <a:pt x="65" y="443"/>
                  </a:lnTo>
                  <a:lnTo>
                    <a:pt x="65" y="444"/>
                  </a:lnTo>
                  <a:lnTo>
                    <a:pt x="64" y="444"/>
                  </a:lnTo>
                  <a:lnTo>
                    <a:pt x="63" y="444"/>
                  </a:lnTo>
                  <a:lnTo>
                    <a:pt x="61" y="444"/>
                  </a:lnTo>
                  <a:lnTo>
                    <a:pt x="61" y="445"/>
                  </a:lnTo>
                  <a:lnTo>
                    <a:pt x="60" y="445"/>
                  </a:lnTo>
                  <a:lnTo>
                    <a:pt x="59" y="445"/>
                  </a:lnTo>
                  <a:lnTo>
                    <a:pt x="59" y="444"/>
                  </a:lnTo>
                  <a:lnTo>
                    <a:pt x="59" y="443"/>
                  </a:lnTo>
                  <a:lnTo>
                    <a:pt x="58" y="443"/>
                  </a:lnTo>
                  <a:lnTo>
                    <a:pt x="58" y="442"/>
                  </a:lnTo>
                  <a:lnTo>
                    <a:pt x="58" y="441"/>
                  </a:lnTo>
                  <a:lnTo>
                    <a:pt x="59" y="442"/>
                  </a:lnTo>
                  <a:lnTo>
                    <a:pt x="59" y="441"/>
                  </a:lnTo>
                  <a:lnTo>
                    <a:pt x="60" y="441"/>
                  </a:lnTo>
                  <a:lnTo>
                    <a:pt x="60" y="440"/>
                  </a:lnTo>
                  <a:lnTo>
                    <a:pt x="61" y="440"/>
                  </a:lnTo>
                  <a:lnTo>
                    <a:pt x="61" y="438"/>
                  </a:lnTo>
                  <a:lnTo>
                    <a:pt x="63" y="438"/>
                  </a:lnTo>
                  <a:lnTo>
                    <a:pt x="63" y="437"/>
                  </a:lnTo>
                  <a:lnTo>
                    <a:pt x="63" y="436"/>
                  </a:lnTo>
                  <a:lnTo>
                    <a:pt x="64" y="435"/>
                  </a:lnTo>
                  <a:lnTo>
                    <a:pt x="65" y="435"/>
                  </a:lnTo>
                  <a:lnTo>
                    <a:pt x="66" y="435"/>
                  </a:lnTo>
                  <a:lnTo>
                    <a:pt x="67" y="435"/>
                  </a:lnTo>
                  <a:lnTo>
                    <a:pt x="68" y="434"/>
                  </a:lnTo>
                  <a:lnTo>
                    <a:pt x="67" y="434"/>
                  </a:lnTo>
                  <a:lnTo>
                    <a:pt x="66" y="435"/>
                  </a:lnTo>
                  <a:lnTo>
                    <a:pt x="65" y="435"/>
                  </a:lnTo>
                  <a:lnTo>
                    <a:pt x="64" y="435"/>
                  </a:lnTo>
                  <a:lnTo>
                    <a:pt x="63" y="435"/>
                  </a:lnTo>
                  <a:lnTo>
                    <a:pt x="63" y="436"/>
                  </a:lnTo>
                  <a:lnTo>
                    <a:pt x="61" y="436"/>
                  </a:lnTo>
                  <a:lnTo>
                    <a:pt x="60" y="436"/>
                  </a:lnTo>
                  <a:lnTo>
                    <a:pt x="59" y="436"/>
                  </a:lnTo>
                  <a:lnTo>
                    <a:pt x="60" y="436"/>
                  </a:lnTo>
                  <a:lnTo>
                    <a:pt x="60" y="435"/>
                  </a:lnTo>
                  <a:lnTo>
                    <a:pt x="59" y="435"/>
                  </a:lnTo>
                  <a:lnTo>
                    <a:pt x="59" y="436"/>
                  </a:lnTo>
                  <a:lnTo>
                    <a:pt x="58" y="436"/>
                  </a:lnTo>
                  <a:lnTo>
                    <a:pt x="59" y="435"/>
                  </a:lnTo>
                  <a:lnTo>
                    <a:pt x="59" y="434"/>
                  </a:lnTo>
                  <a:lnTo>
                    <a:pt x="60" y="434"/>
                  </a:lnTo>
                  <a:lnTo>
                    <a:pt x="61" y="434"/>
                  </a:lnTo>
                  <a:lnTo>
                    <a:pt x="61" y="433"/>
                  </a:lnTo>
                  <a:lnTo>
                    <a:pt x="63" y="433"/>
                  </a:lnTo>
                  <a:lnTo>
                    <a:pt x="64" y="433"/>
                  </a:lnTo>
                  <a:lnTo>
                    <a:pt x="64" y="431"/>
                  </a:lnTo>
                  <a:lnTo>
                    <a:pt x="65" y="430"/>
                  </a:lnTo>
                  <a:lnTo>
                    <a:pt x="65" y="429"/>
                  </a:lnTo>
                  <a:lnTo>
                    <a:pt x="66" y="429"/>
                  </a:lnTo>
                  <a:lnTo>
                    <a:pt x="66" y="428"/>
                  </a:lnTo>
                  <a:lnTo>
                    <a:pt x="67" y="428"/>
                  </a:lnTo>
                  <a:lnTo>
                    <a:pt x="67" y="427"/>
                  </a:lnTo>
                  <a:lnTo>
                    <a:pt x="66" y="428"/>
                  </a:lnTo>
                  <a:lnTo>
                    <a:pt x="65" y="429"/>
                  </a:lnTo>
                  <a:lnTo>
                    <a:pt x="64" y="429"/>
                  </a:lnTo>
                  <a:lnTo>
                    <a:pt x="64" y="430"/>
                  </a:lnTo>
                  <a:lnTo>
                    <a:pt x="64" y="431"/>
                  </a:lnTo>
                  <a:lnTo>
                    <a:pt x="63" y="431"/>
                  </a:lnTo>
                  <a:lnTo>
                    <a:pt x="63" y="433"/>
                  </a:lnTo>
                  <a:lnTo>
                    <a:pt x="61" y="433"/>
                  </a:lnTo>
                  <a:lnTo>
                    <a:pt x="60" y="433"/>
                  </a:lnTo>
                  <a:lnTo>
                    <a:pt x="60" y="434"/>
                  </a:lnTo>
                  <a:lnTo>
                    <a:pt x="59" y="434"/>
                  </a:lnTo>
                  <a:lnTo>
                    <a:pt x="59" y="435"/>
                  </a:lnTo>
                  <a:lnTo>
                    <a:pt x="58" y="435"/>
                  </a:lnTo>
                  <a:lnTo>
                    <a:pt x="57" y="435"/>
                  </a:lnTo>
                  <a:lnTo>
                    <a:pt x="57" y="434"/>
                  </a:lnTo>
                  <a:lnTo>
                    <a:pt x="58" y="434"/>
                  </a:lnTo>
                  <a:lnTo>
                    <a:pt x="57" y="434"/>
                  </a:lnTo>
                  <a:lnTo>
                    <a:pt x="57" y="433"/>
                  </a:lnTo>
                  <a:lnTo>
                    <a:pt x="57" y="434"/>
                  </a:lnTo>
                  <a:lnTo>
                    <a:pt x="56" y="434"/>
                  </a:lnTo>
                  <a:lnTo>
                    <a:pt x="55" y="434"/>
                  </a:lnTo>
                  <a:lnTo>
                    <a:pt x="53" y="435"/>
                  </a:lnTo>
                  <a:lnTo>
                    <a:pt x="53" y="434"/>
                  </a:lnTo>
                  <a:lnTo>
                    <a:pt x="55" y="434"/>
                  </a:lnTo>
                  <a:lnTo>
                    <a:pt x="55" y="433"/>
                  </a:lnTo>
                  <a:lnTo>
                    <a:pt x="56" y="433"/>
                  </a:lnTo>
                  <a:lnTo>
                    <a:pt x="56" y="431"/>
                  </a:lnTo>
                  <a:lnTo>
                    <a:pt x="57" y="431"/>
                  </a:lnTo>
                  <a:lnTo>
                    <a:pt x="58" y="430"/>
                  </a:lnTo>
                  <a:lnTo>
                    <a:pt x="57" y="430"/>
                  </a:lnTo>
                  <a:lnTo>
                    <a:pt x="57" y="431"/>
                  </a:lnTo>
                  <a:lnTo>
                    <a:pt x="56" y="431"/>
                  </a:lnTo>
                  <a:lnTo>
                    <a:pt x="55" y="433"/>
                  </a:lnTo>
                  <a:lnTo>
                    <a:pt x="53" y="434"/>
                  </a:lnTo>
                  <a:lnTo>
                    <a:pt x="52" y="434"/>
                  </a:lnTo>
                  <a:lnTo>
                    <a:pt x="52" y="435"/>
                  </a:lnTo>
                  <a:lnTo>
                    <a:pt x="51" y="435"/>
                  </a:lnTo>
                  <a:lnTo>
                    <a:pt x="51" y="434"/>
                  </a:lnTo>
                  <a:lnTo>
                    <a:pt x="52" y="434"/>
                  </a:lnTo>
                  <a:lnTo>
                    <a:pt x="51" y="434"/>
                  </a:lnTo>
                  <a:lnTo>
                    <a:pt x="50" y="434"/>
                  </a:lnTo>
                  <a:lnTo>
                    <a:pt x="49" y="434"/>
                  </a:lnTo>
                  <a:lnTo>
                    <a:pt x="48" y="434"/>
                  </a:lnTo>
                  <a:lnTo>
                    <a:pt x="46" y="434"/>
                  </a:lnTo>
                  <a:lnTo>
                    <a:pt x="45" y="434"/>
                  </a:lnTo>
                  <a:lnTo>
                    <a:pt x="46" y="434"/>
                  </a:lnTo>
                  <a:lnTo>
                    <a:pt x="46" y="433"/>
                  </a:lnTo>
                  <a:lnTo>
                    <a:pt x="46" y="434"/>
                  </a:lnTo>
                  <a:lnTo>
                    <a:pt x="46" y="433"/>
                  </a:lnTo>
                  <a:lnTo>
                    <a:pt x="48" y="433"/>
                  </a:lnTo>
                  <a:lnTo>
                    <a:pt x="49" y="433"/>
                  </a:lnTo>
                  <a:lnTo>
                    <a:pt x="50" y="433"/>
                  </a:lnTo>
                  <a:lnTo>
                    <a:pt x="50" y="431"/>
                  </a:lnTo>
                  <a:lnTo>
                    <a:pt x="51" y="431"/>
                  </a:lnTo>
                  <a:lnTo>
                    <a:pt x="50" y="431"/>
                  </a:lnTo>
                  <a:lnTo>
                    <a:pt x="49" y="431"/>
                  </a:lnTo>
                  <a:lnTo>
                    <a:pt x="48" y="433"/>
                  </a:lnTo>
                  <a:lnTo>
                    <a:pt x="46" y="433"/>
                  </a:lnTo>
                  <a:lnTo>
                    <a:pt x="46" y="431"/>
                  </a:lnTo>
                  <a:lnTo>
                    <a:pt x="48" y="431"/>
                  </a:lnTo>
                  <a:lnTo>
                    <a:pt x="49" y="431"/>
                  </a:lnTo>
                  <a:lnTo>
                    <a:pt x="50" y="431"/>
                  </a:lnTo>
                  <a:lnTo>
                    <a:pt x="51" y="431"/>
                  </a:lnTo>
                  <a:lnTo>
                    <a:pt x="52" y="431"/>
                  </a:lnTo>
                  <a:lnTo>
                    <a:pt x="53" y="431"/>
                  </a:lnTo>
                  <a:lnTo>
                    <a:pt x="55" y="431"/>
                  </a:lnTo>
                  <a:lnTo>
                    <a:pt x="55" y="430"/>
                  </a:lnTo>
                  <a:lnTo>
                    <a:pt x="56" y="430"/>
                  </a:lnTo>
                  <a:lnTo>
                    <a:pt x="57" y="429"/>
                  </a:lnTo>
                  <a:lnTo>
                    <a:pt x="57" y="428"/>
                  </a:lnTo>
                  <a:lnTo>
                    <a:pt x="58" y="428"/>
                  </a:lnTo>
                  <a:lnTo>
                    <a:pt x="59" y="428"/>
                  </a:lnTo>
                  <a:lnTo>
                    <a:pt x="59" y="427"/>
                  </a:lnTo>
                  <a:lnTo>
                    <a:pt x="60" y="426"/>
                  </a:lnTo>
                  <a:lnTo>
                    <a:pt x="59" y="424"/>
                  </a:lnTo>
                  <a:lnTo>
                    <a:pt x="59" y="426"/>
                  </a:lnTo>
                  <a:lnTo>
                    <a:pt x="59" y="427"/>
                  </a:lnTo>
                  <a:lnTo>
                    <a:pt x="58" y="428"/>
                  </a:lnTo>
                  <a:lnTo>
                    <a:pt x="57" y="428"/>
                  </a:lnTo>
                  <a:lnTo>
                    <a:pt x="56" y="428"/>
                  </a:lnTo>
                  <a:lnTo>
                    <a:pt x="56" y="429"/>
                  </a:lnTo>
                  <a:lnTo>
                    <a:pt x="55" y="430"/>
                  </a:lnTo>
                  <a:lnTo>
                    <a:pt x="53" y="430"/>
                  </a:lnTo>
                  <a:lnTo>
                    <a:pt x="52" y="430"/>
                  </a:lnTo>
                  <a:lnTo>
                    <a:pt x="52" y="431"/>
                  </a:lnTo>
                  <a:lnTo>
                    <a:pt x="51" y="431"/>
                  </a:lnTo>
                  <a:lnTo>
                    <a:pt x="51" y="430"/>
                  </a:lnTo>
                  <a:lnTo>
                    <a:pt x="50" y="431"/>
                  </a:lnTo>
                  <a:lnTo>
                    <a:pt x="48" y="431"/>
                  </a:lnTo>
                  <a:lnTo>
                    <a:pt x="49" y="430"/>
                  </a:lnTo>
                  <a:lnTo>
                    <a:pt x="50" y="430"/>
                  </a:lnTo>
                  <a:lnTo>
                    <a:pt x="51" y="429"/>
                  </a:lnTo>
                  <a:lnTo>
                    <a:pt x="50" y="429"/>
                  </a:lnTo>
                  <a:lnTo>
                    <a:pt x="50" y="428"/>
                  </a:lnTo>
                  <a:lnTo>
                    <a:pt x="50" y="429"/>
                  </a:lnTo>
                  <a:lnTo>
                    <a:pt x="50" y="428"/>
                  </a:lnTo>
                  <a:lnTo>
                    <a:pt x="49" y="428"/>
                  </a:lnTo>
                  <a:lnTo>
                    <a:pt x="48" y="428"/>
                  </a:lnTo>
                  <a:lnTo>
                    <a:pt x="46" y="429"/>
                  </a:lnTo>
                  <a:lnTo>
                    <a:pt x="45" y="429"/>
                  </a:lnTo>
                  <a:lnTo>
                    <a:pt x="45" y="428"/>
                  </a:lnTo>
                  <a:lnTo>
                    <a:pt x="46" y="428"/>
                  </a:lnTo>
                  <a:lnTo>
                    <a:pt x="48" y="428"/>
                  </a:lnTo>
                  <a:lnTo>
                    <a:pt x="49" y="428"/>
                  </a:lnTo>
                  <a:lnTo>
                    <a:pt x="50" y="428"/>
                  </a:lnTo>
                  <a:lnTo>
                    <a:pt x="51" y="428"/>
                  </a:lnTo>
                  <a:lnTo>
                    <a:pt x="51" y="427"/>
                  </a:lnTo>
                  <a:lnTo>
                    <a:pt x="50" y="427"/>
                  </a:lnTo>
                  <a:lnTo>
                    <a:pt x="49" y="427"/>
                  </a:lnTo>
                  <a:lnTo>
                    <a:pt x="48" y="427"/>
                  </a:lnTo>
                  <a:lnTo>
                    <a:pt x="48" y="426"/>
                  </a:lnTo>
                  <a:lnTo>
                    <a:pt x="49" y="426"/>
                  </a:lnTo>
                  <a:lnTo>
                    <a:pt x="48" y="426"/>
                  </a:lnTo>
                  <a:lnTo>
                    <a:pt x="48" y="427"/>
                  </a:lnTo>
                  <a:lnTo>
                    <a:pt x="46" y="427"/>
                  </a:lnTo>
                  <a:lnTo>
                    <a:pt x="46" y="428"/>
                  </a:lnTo>
                  <a:lnTo>
                    <a:pt x="44" y="428"/>
                  </a:lnTo>
                  <a:lnTo>
                    <a:pt x="43" y="428"/>
                  </a:lnTo>
                  <a:lnTo>
                    <a:pt x="43" y="427"/>
                  </a:lnTo>
                  <a:lnTo>
                    <a:pt x="43" y="428"/>
                  </a:lnTo>
                  <a:lnTo>
                    <a:pt x="42" y="428"/>
                  </a:lnTo>
                  <a:lnTo>
                    <a:pt x="41" y="428"/>
                  </a:lnTo>
                  <a:lnTo>
                    <a:pt x="41" y="427"/>
                  </a:lnTo>
                  <a:lnTo>
                    <a:pt x="39" y="427"/>
                  </a:lnTo>
                  <a:lnTo>
                    <a:pt x="39" y="428"/>
                  </a:lnTo>
                  <a:lnTo>
                    <a:pt x="41" y="428"/>
                  </a:lnTo>
                  <a:lnTo>
                    <a:pt x="42" y="428"/>
                  </a:lnTo>
                  <a:lnTo>
                    <a:pt x="41" y="428"/>
                  </a:lnTo>
                  <a:lnTo>
                    <a:pt x="41" y="429"/>
                  </a:lnTo>
                  <a:lnTo>
                    <a:pt x="39" y="429"/>
                  </a:lnTo>
                  <a:lnTo>
                    <a:pt x="39" y="428"/>
                  </a:lnTo>
                  <a:lnTo>
                    <a:pt x="38" y="428"/>
                  </a:lnTo>
                  <a:lnTo>
                    <a:pt x="37" y="428"/>
                  </a:lnTo>
                  <a:lnTo>
                    <a:pt x="36" y="427"/>
                  </a:lnTo>
                  <a:lnTo>
                    <a:pt x="37" y="427"/>
                  </a:lnTo>
                  <a:lnTo>
                    <a:pt x="36" y="427"/>
                  </a:lnTo>
                  <a:lnTo>
                    <a:pt x="36" y="426"/>
                  </a:lnTo>
                  <a:lnTo>
                    <a:pt x="37" y="426"/>
                  </a:lnTo>
                  <a:lnTo>
                    <a:pt x="37" y="424"/>
                  </a:lnTo>
                  <a:lnTo>
                    <a:pt x="36" y="424"/>
                  </a:lnTo>
                  <a:lnTo>
                    <a:pt x="35" y="424"/>
                  </a:lnTo>
                  <a:lnTo>
                    <a:pt x="35" y="423"/>
                  </a:lnTo>
                  <a:lnTo>
                    <a:pt x="35" y="422"/>
                  </a:lnTo>
                  <a:lnTo>
                    <a:pt x="36" y="422"/>
                  </a:lnTo>
                  <a:lnTo>
                    <a:pt x="37" y="422"/>
                  </a:lnTo>
                  <a:lnTo>
                    <a:pt x="38" y="422"/>
                  </a:lnTo>
                  <a:lnTo>
                    <a:pt x="41" y="422"/>
                  </a:lnTo>
                  <a:lnTo>
                    <a:pt x="43" y="422"/>
                  </a:lnTo>
                  <a:lnTo>
                    <a:pt x="43" y="421"/>
                  </a:lnTo>
                  <a:lnTo>
                    <a:pt x="44" y="421"/>
                  </a:lnTo>
                  <a:lnTo>
                    <a:pt x="45" y="421"/>
                  </a:lnTo>
                  <a:lnTo>
                    <a:pt x="45" y="420"/>
                  </a:lnTo>
                  <a:lnTo>
                    <a:pt x="44" y="421"/>
                  </a:lnTo>
                  <a:lnTo>
                    <a:pt x="43" y="421"/>
                  </a:lnTo>
                  <a:lnTo>
                    <a:pt x="42" y="422"/>
                  </a:lnTo>
                  <a:lnTo>
                    <a:pt x="39" y="421"/>
                  </a:lnTo>
                  <a:lnTo>
                    <a:pt x="41" y="421"/>
                  </a:lnTo>
                  <a:lnTo>
                    <a:pt x="39" y="421"/>
                  </a:lnTo>
                  <a:lnTo>
                    <a:pt x="38" y="421"/>
                  </a:lnTo>
                  <a:lnTo>
                    <a:pt x="37" y="421"/>
                  </a:lnTo>
                  <a:lnTo>
                    <a:pt x="36" y="421"/>
                  </a:lnTo>
                  <a:lnTo>
                    <a:pt x="37" y="421"/>
                  </a:lnTo>
                  <a:lnTo>
                    <a:pt x="37" y="420"/>
                  </a:lnTo>
                  <a:lnTo>
                    <a:pt x="38" y="420"/>
                  </a:lnTo>
                  <a:lnTo>
                    <a:pt x="39" y="420"/>
                  </a:lnTo>
                  <a:lnTo>
                    <a:pt x="41" y="419"/>
                  </a:lnTo>
                  <a:lnTo>
                    <a:pt x="42" y="419"/>
                  </a:lnTo>
                  <a:lnTo>
                    <a:pt x="42" y="417"/>
                  </a:lnTo>
                  <a:lnTo>
                    <a:pt x="43" y="417"/>
                  </a:lnTo>
                  <a:lnTo>
                    <a:pt x="43" y="416"/>
                  </a:lnTo>
                  <a:lnTo>
                    <a:pt x="45" y="416"/>
                  </a:lnTo>
                  <a:lnTo>
                    <a:pt x="49" y="416"/>
                  </a:lnTo>
                  <a:lnTo>
                    <a:pt x="52" y="416"/>
                  </a:lnTo>
                  <a:lnTo>
                    <a:pt x="53" y="416"/>
                  </a:lnTo>
                  <a:lnTo>
                    <a:pt x="55" y="416"/>
                  </a:lnTo>
                  <a:lnTo>
                    <a:pt x="55" y="415"/>
                  </a:lnTo>
                  <a:lnTo>
                    <a:pt x="55" y="414"/>
                  </a:lnTo>
                  <a:lnTo>
                    <a:pt x="55" y="415"/>
                  </a:lnTo>
                  <a:lnTo>
                    <a:pt x="53" y="415"/>
                  </a:lnTo>
                  <a:lnTo>
                    <a:pt x="53" y="416"/>
                  </a:lnTo>
                  <a:lnTo>
                    <a:pt x="49" y="415"/>
                  </a:lnTo>
                  <a:lnTo>
                    <a:pt x="46" y="416"/>
                  </a:lnTo>
                  <a:lnTo>
                    <a:pt x="46" y="415"/>
                  </a:lnTo>
                  <a:lnTo>
                    <a:pt x="45" y="416"/>
                  </a:lnTo>
                  <a:lnTo>
                    <a:pt x="44" y="416"/>
                  </a:lnTo>
                  <a:lnTo>
                    <a:pt x="44" y="415"/>
                  </a:lnTo>
                  <a:lnTo>
                    <a:pt x="45" y="415"/>
                  </a:lnTo>
                  <a:lnTo>
                    <a:pt x="46" y="414"/>
                  </a:lnTo>
                  <a:lnTo>
                    <a:pt x="48" y="413"/>
                  </a:lnTo>
                  <a:lnTo>
                    <a:pt x="46" y="414"/>
                  </a:lnTo>
                  <a:lnTo>
                    <a:pt x="45" y="414"/>
                  </a:lnTo>
                  <a:lnTo>
                    <a:pt x="45" y="415"/>
                  </a:lnTo>
                  <a:lnTo>
                    <a:pt x="44" y="415"/>
                  </a:lnTo>
                  <a:lnTo>
                    <a:pt x="43" y="415"/>
                  </a:lnTo>
                  <a:lnTo>
                    <a:pt x="42" y="415"/>
                  </a:lnTo>
                  <a:lnTo>
                    <a:pt x="42" y="416"/>
                  </a:lnTo>
                  <a:lnTo>
                    <a:pt x="43" y="416"/>
                  </a:lnTo>
                  <a:lnTo>
                    <a:pt x="44" y="416"/>
                  </a:lnTo>
                  <a:lnTo>
                    <a:pt x="43" y="416"/>
                  </a:lnTo>
                  <a:lnTo>
                    <a:pt x="42" y="416"/>
                  </a:lnTo>
                  <a:lnTo>
                    <a:pt x="42" y="417"/>
                  </a:lnTo>
                  <a:lnTo>
                    <a:pt x="41" y="419"/>
                  </a:lnTo>
                  <a:lnTo>
                    <a:pt x="39" y="419"/>
                  </a:lnTo>
                  <a:lnTo>
                    <a:pt x="38" y="420"/>
                  </a:lnTo>
                  <a:lnTo>
                    <a:pt x="38" y="419"/>
                  </a:lnTo>
                  <a:lnTo>
                    <a:pt x="39" y="419"/>
                  </a:lnTo>
                  <a:lnTo>
                    <a:pt x="38" y="419"/>
                  </a:lnTo>
                  <a:lnTo>
                    <a:pt x="38" y="417"/>
                  </a:lnTo>
                  <a:lnTo>
                    <a:pt x="39" y="417"/>
                  </a:lnTo>
                  <a:lnTo>
                    <a:pt x="38" y="417"/>
                  </a:lnTo>
                  <a:lnTo>
                    <a:pt x="39" y="417"/>
                  </a:lnTo>
                  <a:lnTo>
                    <a:pt x="39" y="416"/>
                  </a:lnTo>
                  <a:lnTo>
                    <a:pt x="39" y="415"/>
                  </a:lnTo>
                  <a:lnTo>
                    <a:pt x="41" y="415"/>
                  </a:lnTo>
                  <a:lnTo>
                    <a:pt x="41" y="414"/>
                  </a:lnTo>
                  <a:lnTo>
                    <a:pt x="41" y="413"/>
                  </a:lnTo>
                  <a:lnTo>
                    <a:pt x="42" y="413"/>
                  </a:lnTo>
                  <a:lnTo>
                    <a:pt x="43" y="412"/>
                  </a:lnTo>
                  <a:lnTo>
                    <a:pt x="44" y="412"/>
                  </a:lnTo>
                  <a:lnTo>
                    <a:pt x="45" y="412"/>
                  </a:lnTo>
                  <a:lnTo>
                    <a:pt x="46" y="410"/>
                  </a:lnTo>
                  <a:lnTo>
                    <a:pt x="46" y="409"/>
                  </a:lnTo>
                  <a:lnTo>
                    <a:pt x="48" y="409"/>
                  </a:lnTo>
                  <a:lnTo>
                    <a:pt x="49" y="409"/>
                  </a:lnTo>
                  <a:lnTo>
                    <a:pt x="49" y="408"/>
                  </a:lnTo>
                  <a:lnTo>
                    <a:pt x="50" y="409"/>
                  </a:lnTo>
                  <a:lnTo>
                    <a:pt x="49" y="409"/>
                  </a:lnTo>
                  <a:lnTo>
                    <a:pt x="48" y="409"/>
                  </a:lnTo>
                  <a:lnTo>
                    <a:pt x="46" y="410"/>
                  </a:lnTo>
                  <a:lnTo>
                    <a:pt x="48" y="409"/>
                  </a:lnTo>
                  <a:lnTo>
                    <a:pt x="49" y="409"/>
                  </a:lnTo>
                  <a:lnTo>
                    <a:pt x="50" y="409"/>
                  </a:lnTo>
                  <a:lnTo>
                    <a:pt x="50" y="408"/>
                  </a:lnTo>
                  <a:lnTo>
                    <a:pt x="51" y="408"/>
                  </a:lnTo>
                  <a:lnTo>
                    <a:pt x="52" y="407"/>
                  </a:lnTo>
                  <a:lnTo>
                    <a:pt x="53" y="407"/>
                  </a:lnTo>
                  <a:lnTo>
                    <a:pt x="55" y="406"/>
                  </a:lnTo>
                  <a:lnTo>
                    <a:pt x="56" y="406"/>
                  </a:lnTo>
                  <a:lnTo>
                    <a:pt x="57" y="406"/>
                  </a:lnTo>
                  <a:lnTo>
                    <a:pt x="57" y="407"/>
                  </a:lnTo>
                  <a:lnTo>
                    <a:pt x="57" y="408"/>
                  </a:lnTo>
                  <a:lnTo>
                    <a:pt x="57" y="409"/>
                  </a:lnTo>
                  <a:lnTo>
                    <a:pt x="57" y="410"/>
                  </a:lnTo>
                  <a:lnTo>
                    <a:pt x="57" y="412"/>
                  </a:lnTo>
                  <a:lnTo>
                    <a:pt x="57" y="410"/>
                  </a:lnTo>
                  <a:lnTo>
                    <a:pt x="58" y="410"/>
                  </a:lnTo>
                  <a:lnTo>
                    <a:pt x="58" y="409"/>
                  </a:lnTo>
                  <a:lnTo>
                    <a:pt x="58" y="408"/>
                  </a:lnTo>
                  <a:lnTo>
                    <a:pt x="57" y="408"/>
                  </a:lnTo>
                  <a:lnTo>
                    <a:pt x="57" y="407"/>
                  </a:lnTo>
                  <a:lnTo>
                    <a:pt x="58" y="407"/>
                  </a:lnTo>
                  <a:lnTo>
                    <a:pt x="58" y="406"/>
                  </a:lnTo>
                  <a:lnTo>
                    <a:pt x="59" y="406"/>
                  </a:lnTo>
                  <a:lnTo>
                    <a:pt x="60" y="406"/>
                  </a:lnTo>
                  <a:lnTo>
                    <a:pt x="60" y="405"/>
                  </a:lnTo>
                  <a:lnTo>
                    <a:pt x="59" y="406"/>
                  </a:lnTo>
                  <a:lnTo>
                    <a:pt x="58" y="406"/>
                  </a:lnTo>
                  <a:lnTo>
                    <a:pt x="57" y="406"/>
                  </a:lnTo>
                  <a:lnTo>
                    <a:pt x="56" y="406"/>
                  </a:lnTo>
                  <a:lnTo>
                    <a:pt x="56" y="405"/>
                  </a:lnTo>
                  <a:lnTo>
                    <a:pt x="57" y="403"/>
                  </a:lnTo>
                  <a:lnTo>
                    <a:pt x="58" y="402"/>
                  </a:lnTo>
                  <a:lnTo>
                    <a:pt x="59" y="402"/>
                  </a:lnTo>
                  <a:lnTo>
                    <a:pt x="59" y="401"/>
                  </a:lnTo>
                  <a:lnTo>
                    <a:pt x="60" y="401"/>
                  </a:lnTo>
                  <a:lnTo>
                    <a:pt x="61" y="401"/>
                  </a:lnTo>
                  <a:lnTo>
                    <a:pt x="63" y="400"/>
                  </a:lnTo>
                  <a:lnTo>
                    <a:pt x="63" y="399"/>
                  </a:lnTo>
                  <a:lnTo>
                    <a:pt x="64" y="399"/>
                  </a:lnTo>
                  <a:lnTo>
                    <a:pt x="63" y="399"/>
                  </a:lnTo>
                  <a:lnTo>
                    <a:pt x="63" y="398"/>
                  </a:lnTo>
                  <a:lnTo>
                    <a:pt x="63" y="399"/>
                  </a:lnTo>
                  <a:lnTo>
                    <a:pt x="61" y="400"/>
                  </a:lnTo>
                  <a:lnTo>
                    <a:pt x="60" y="401"/>
                  </a:lnTo>
                  <a:lnTo>
                    <a:pt x="58" y="402"/>
                  </a:lnTo>
                  <a:lnTo>
                    <a:pt x="57" y="402"/>
                  </a:lnTo>
                  <a:lnTo>
                    <a:pt x="57" y="403"/>
                  </a:lnTo>
                  <a:lnTo>
                    <a:pt x="56" y="403"/>
                  </a:lnTo>
                  <a:lnTo>
                    <a:pt x="56" y="405"/>
                  </a:lnTo>
                  <a:lnTo>
                    <a:pt x="52" y="405"/>
                  </a:lnTo>
                  <a:lnTo>
                    <a:pt x="51" y="406"/>
                  </a:lnTo>
                  <a:lnTo>
                    <a:pt x="50" y="406"/>
                  </a:lnTo>
                  <a:lnTo>
                    <a:pt x="50" y="407"/>
                  </a:lnTo>
                  <a:lnTo>
                    <a:pt x="49" y="407"/>
                  </a:lnTo>
                  <a:lnTo>
                    <a:pt x="48" y="407"/>
                  </a:lnTo>
                  <a:lnTo>
                    <a:pt x="48" y="406"/>
                  </a:lnTo>
                  <a:lnTo>
                    <a:pt x="49" y="406"/>
                  </a:lnTo>
                  <a:lnTo>
                    <a:pt x="48" y="407"/>
                  </a:lnTo>
                  <a:lnTo>
                    <a:pt x="46" y="407"/>
                  </a:lnTo>
                  <a:lnTo>
                    <a:pt x="45" y="408"/>
                  </a:lnTo>
                  <a:lnTo>
                    <a:pt x="45" y="407"/>
                  </a:lnTo>
                  <a:lnTo>
                    <a:pt x="46" y="407"/>
                  </a:lnTo>
                  <a:lnTo>
                    <a:pt x="45" y="407"/>
                  </a:lnTo>
                  <a:lnTo>
                    <a:pt x="46" y="406"/>
                  </a:lnTo>
                  <a:lnTo>
                    <a:pt x="48" y="406"/>
                  </a:lnTo>
                  <a:lnTo>
                    <a:pt x="48" y="405"/>
                  </a:lnTo>
                  <a:lnTo>
                    <a:pt x="48" y="403"/>
                  </a:lnTo>
                  <a:lnTo>
                    <a:pt x="49" y="403"/>
                  </a:lnTo>
                  <a:lnTo>
                    <a:pt x="48" y="403"/>
                  </a:lnTo>
                  <a:lnTo>
                    <a:pt x="48" y="405"/>
                  </a:lnTo>
                  <a:lnTo>
                    <a:pt x="46" y="406"/>
                  </a:lnTo>
                  <a:lnTo>
                    <a:pt x="45" y="406"/>
                  </a:lnTo>
                  <a:lnTo>
                    <a:pt x="45" y="405"/>
                  </a:lnTo>
                  <a:lnTo>
                    <a:pt x="46" y="405"/>
                  </a:lnTo>
                  <a:lnTo>
                    <a:pt x="46" y="403"/>
                  </a:lnTo>
                  <a:lnTo>
                    <a:pt x="48" y="403"/>
                  </a:lnTo>
                  <a:lnTo>
                    <a:pt x="49" y="403"/>
                  </a:lnTo>
                  <a:lnTo>
                    <a:pt x="49" y="402"/>
                  </a:lnTo>
                  <a:lnTo>
                    <a:pt x="50" y="402"/>
                  </a:lnTo>
                  <a:lnTo>
                    <a:pt x="49" y="402"/>
                  </a:lnTo>
                  <a:lnTo>
                    <a:pt x="48" y="402"/>
                  </a:lnTo>
                  <a:lnTo>
                    <a:pt x="46" y="403"/>
                  </a:lnTo>
                  <a:lnTo>
                    <a:pt x="44" y="405"/>
                  </a:lnTo>
                  <a:lnTo>
                    <a:pt x="43" y="406"/>
                  </a:lnTo>
                  <a:lnTo>
                    <a:pt x="42" y="407"/>
                  </a:lnTo>
                  <a:lnTo>
                    <a:pt x="41" y="407"/>
                  </a:lnTo>
                  <a:lnTo>
                    <a:pt x="41" y="406"/>
                  </a:lnTo>
                  <a:lnTo>
                    <a:pt x="42" y="406"/>
                  </a:lnTo>
                  <a:lnTo>
                    <a:pt x="42" y="405"/>
                  </a:lnTo>
                  <a:lnTo>
                    <a:pt x="43" y="405"/>
                  </a:lnTo>
                  <a:lnTo>
                    <a:pt x="44" y="405"/>
                  </a:lnTo>
                  <a:lnTo>
                    <a:pt x="44" y="403"/>
                  </a:lnTo>
                  <a:lnTo>
                    <a:pt x="45" y="403"/>
                  </a:lnTo>
                  <a:lnTo>
                    <a:pt x="45" y="402"/>
                  </a:lnTo>
                  <a:lnTo>
                    <a:pt x="46" y="401"/>
                  </a:lnTo>
                  <a:lnTo>
                    <a:pt x="48" y="401"/>
                  </a:lnTo>
                  <a:lnTo>
                    <a:pt x="48" y="400"/>
                  </a:lnTo>
                  <a:lnTo>
                    <a:pt x="49" y="400"/>
                  </a:lnTo>
                  <a:lnTo>
                    <a:pt x="49" y="399"/>
                  </a:lnTo>
                  <a:lnTo>
                    <a:pt x="50" y="399"/>
                  </a:lnTo>
                  <a:lnTo>
                    <a:pt x="50" y="398"/>
                  </a:lnTo>
                  <a:lnTo>
                    <a:pt x="51" y="398"/>
                  </a:lnTo>
                  <a:lnTo>
                    <a:pt x="52" y="398"/>
                  </a:lnTo>
                  <a:lnTo>
                    <a:pt x="52" y="396"/>
                  </a:lnTo>
                  <a:lnTo>
                    <a:pt x="51" y="398"/>
                  </a:lnTo>
                  <a:lnTo>
                    <a:pt x="51" y="396"/>
                  </a:lnTo>
                  <a:lnTo>
                    <a:pt x="50" y="398"/>
                  </a:lnTo>
                  <a:lnTo>
                    <a:pt x="49" y="398"/>
                  </a:lnTo>
                  <a:lnTo>
                    <a:pt x="49" y="399"/>
                  </a:lnTo>
                  <a:lnTo>
                    <a:pt x="48" y="399"/>
                  </a:lnTo>
                  <a:lnTo>
                    <a:pt x="46" y="399"/>
                  </a:lnTo>
                  <a:lnTo>
                    <a:pt x="46" y="398"/>
                  </a:lnTo>
                  <a:lnTo>
                    <a:pt x="46" y="396"/>
                  </a:lnTo>
                  <a:lnTo>
                    <a:pt x="48" y="395"/>
                  </a:lnTo>
                  <a:lnTo>
                    <a:pt x="48" y="394"/>
                  </a:lnTo>
                  <a:lnTo>
                    <a:pt x="49" y="394"/>
                  </a:lnTo>
                  <a:lnTo>
                    <a:pt x="48" y="394"/>
                  </a:lnTo>
                  <a:lnTo>
                    <a:pt x="49" y="394"/>
                  </a:lnTo>
                  <a:lnTo>
                    <a:pt x="48" y="394"/>
                  </a:lnTo>
                  <a:lnTo>
                    <a:pt x="48" y="393"/>
                  </a:lnTo>
                  <a:lnTo>
                    <a:pt x="49" y="392"/>
                  </a:lnTo>
                  <a:lnTo>
                    <a:pt x="48" y="392"/>
                  </a:lnTo>
                  <a:lnTo>
                    <a:pt x="48" y="393"/>
                  </a:lnTo>
                  <a:lnTo>
                    <a:pt x="46" y="392"/>
                  </a:lnTo>
                  <a:lnTo>
                    <a:pt x="46" y="391"/>
                  </a:lnTo>
                  <a:lnTo>
                    <a:pt x="48" y="391"/>
                  </a:lnTo>
                  <a:lnTo>
                    <a:pt x="48" y="389"/>
                  </a:lnTo>
                  <a:lnTo>
                    <a:pt x="49" y="388"/>
                  </a:lnTo>
                  <a:lnTo>
                    <a:pt x="48" y="388"/>
                  </a:lnTo>
                  <a:lnTo>
                    <a:pt x="48" y="389"/>
                  </a:lnTo>
                  <a:lnTo>
                    <a:pt x="48" y="388"/>
                  </a:lnTo>
                  <a:lnTo>
                    <a:pt x="49" y="388"/>
                  </a:lnTo>
                  <a:lnTo>
                    <a:pt x="49" y="387"/>
                  </a:lnTo>
                  <a:lnTo>
                    <a:pt x="49" y="388"/>
                  </a:lnTo>
                  <a:lnTo>
                    <a:pt x="50" y="388"/>
                  </a:lnTo>
                  <a:lnTo>
                    <a:pt x="50" y="387"/>
                  </a:lnTo>
                  <a:lnTo>
                    <a:pt x="51" y="387"/>
                  </a:lnTo>
                  <a:lnTo>
                    <a:pt x="50" y="388"/>
                  </a:lnTo>
                  <a:lnTo>
                    <a:pt x="51" y="388"/>
                  </a:lnTo>
                  <a:lnTo>
                    <a:pt x="51" y="389"/>
                  </a:lnTo>
                  <a:lnTo>
                    <a:pt x="51" y="388"/>
                  </a:lnTo>
                  <a:lnTo>
                    <a:pt x="51" y="389"/>
                  </a:lnTo>
                  <a:lnTo>
                    <a:pt x="52" y="389"/>
                  </a:lnTo>
                  <a:lnTo>
                    <a:pt x="52" y="391"/>
                  </a:lnTo>
                  <a:lnTo>
                    <a:pt x="51" y="391"/>
                  </a:lnTo>
                  <a:lnTo>
                    <a:pt x="52" y="391"/>
                  </a:lnTo>
                  <a:lnTo>
                    <a:pt x="52" y="389"/>
                  </a:lnTo>
                  <a:lnTo>
                    <a:pt x="53" y="389"/>
                  </a:lnTo>
                  <a:lnTo>
                    <a:pt x="55" y="389"/>
                  </a:lnTo>
                  <a:lnTo>
                    <a:pt x="55" y="388"/>
                  </a:lnTo>
                  <a:lnTo>
                    <a:pt x="55" y="389"/>
                  </a:lnTo>
                  <a:lnTo>
                    <a:pt x="56" y="389"/>
                  </a:lnTo>
                  <a:lnTo>
                    <a:pt x="57" y="389"/>
                  </a:lnTo>
                  <a:lnTo>
                    <a:pt x="57" y="391"/>
                  </a:lnTo>
                  <a:lnTo>
                    <a:pt x="56" y="391"/>
                  </a:lnTo>
                  <a:lnTo>
                    <a:pt x="57" y="391"/>
                  </a:lnTo>
                  <a:lnTo>
                    <a:pt x="58" y="391"/>
                  </a:lnTo>
                  <a:lnTo>
                    <a:pt x="57" y="391"/>
                  </a:lnTo>
                  <a:lnTo>
                    <a:pt x="57" y="392"/>
                  </a:lnTo>
                  <a:lnTo>
                    <a:pt x="57" y="393"/>
                  </a:lnTo>
                  <a:lnTo>
                    <a:pt x="58" y="392"/>
                  </a:lnTo>
                  <a:lnTo>
                    <a:pt x="57" y="392"/>
                  </a:lnTo>
                  <a:lnTo>
                    <a:pt x="58" y="392"/>
                  </a:lnTo>
                  <a:lnTo>
                    <a:pt x="58" y="391"/>
                  </a:lnTo>
                  <a:lnTo>
                    <a:pt x="57" y="391"/>
                  </a:lnTo>
                  <a:lnTo>
                    <a:pt x="57" y="389"/>
                  </a:lnTo>
                  <a:lnTo>
                    <a:pt x="58" y="389"/>
                  </a:lnTo>
                  <a:lnTo>
                    <a:pt x="57" y="389"/>
                  </a:lnTo>
                  <a:lnTo>
                    <a:pt x="57" y="388"/>
                  </a:lnTo>
                  <a:lnTo>
                    <a:pt x="58" y="388"/>
                  </a:lnTo>
                  <a:lnTo>
                    <a:pt x="57" y="388"/>
                  </a:lnTo>
                  <a:lnTo>
                    <a:pt x="56" y="388"/>
                  </a:lnTo>
                  <a:lnTo>
                    <a:pt x="55" y="388"/>
                  </a:lnTo>
                  <a:lnTo>
                    <a:pt x="53" y="389"/>
                  </a:lnTo>
                  <a:lnTo>
                    <a:pt x="52" y="389"/>
                  </a:lnTo>
                  <a:lnTo>
                    <a:pt x="52" y="388"/>
                  </a:lnTo>
                  <a:lnTo>
                    <a:pt x="51" y="388"/>
                  </a:lnTo>
                  <a:lnTo>
                    <a:pt x="51" y="387"/>
                  </a:lnTo>
                  <a:lnTo>
                    <a:pt x="51" y="386"/>
                  </a:lnTo>
                  <a:lnTo>
                    <a:pt x="52" y="386"/>
                  </a:lnTo>
                  <a:lnTo>
                    <a:pt x="52" y="385"/>
                  </a:lnTo>
                  <a:lnTo>
                    <a:pt x="53" y="385"/>
                  </a:lnTo>
                  <a:lnTo>
                    <a:pt x="53" y="384"/>
                  </a:lnTo>
                  <a:lnTo>
                    <a:pt x="55" y="384"/>
                  </a:lnTo>
                  <a:lnTo>
                    <a:pt x="56" y="384"/>
                  </a:lnTo>
                  <a:lnTo>
                    <a:pt x="56" y="382"/>
                  </a:lnTo>
                  <a:lnTo>
                    <a:pt x="57" y="384"/>
                  </a:lnTo>
                  <a:lnTo>
                    <a:pt x="58" y="384"/>
                  </a:lnTo>
                  <a:lnTo>
                    <a:pt x="58" y="382"/>
                  </a:lnTo>
                  <a:lnTo>
                    <a:pt x="57" y="382"/>
                  </a:lnTo>
                  <a:lnTo>
                    <a:pt x="56" y="382"/>
                  </a:lnTo>
                  <a:lnTo>
                    <a:pt x="57" y="381"/>
                  </a:lnTo>
                  <a:lnTo>
                    <a:pt x="58" y="381"/>
                  </a:lnTo>
                  <a:lnTo>
                    <a:pt x="58" y="380"/>
                  </a:lnTo>
                  <a:lnTo>
                    <a:pt x="57" y="381"/>
                  </a:lnTo>
                  <a:lnTo>
                    <a:pt x="56" y="381"/>
                  </a:lnTo>
                  <a:lnTo>
                    <a:pt x="56" y="382"/>
                  </a:lnTo>
                  <a:lnTo>
                    <a:pt x="55" y="382"/>
                  </a:lnTo>
                  <a:lnTo>
                    <a:pt x="53" y="382"/>
                  </a:lnTo>
                  <a:lnTo>
                    <a:pt x="53" y="384"/>
                  </a:lnTo>
                  <a:lnTo>
                    <a:pt x="51" y="384"/>
                  </a:lnTo>
                  <a:lnTo>
                    <a:pt x="52" y="384"/>
                  </a:lnTo>
                  <a:lnTo>
                    <a:pt x="52" y="382"/>
                  </a:lnTo>
                  <a:lnTo>
                    <a:pt x="52" y="384"/>
                  </a:lnTo>
                  <a:lnTo>
                    <a:pt x="52" y="382"/>
                  </a:lnTo>
                  <a:lnTo>
                    <a:pt x="52" y="384"/>
                  </a:lnTo>
                  <a:lnTo>
                    <a:pt x="51" y="384"/>
                  </a:lnTo>
                  <a:lnTo>
                    <a:pt x="51" y="385"/>
                  </a:lnTo>
                  <a:lnTo>
                    <a:pt x="50" y="384"/>
                  </a:lnTo>
                  <a:lnTo>
                    <a:pt x="51" y="384"/>
                  </a:lnTo>
                  <a:lnTo>
                    <a:pt x="50" y="384"/>
                  </a:lnTo>
                  <a:lnTo>
                    <a:pt x="50" y="385"/>
                  </a:lnTo>
                  <a:lnTo>
                    <a:pt x="49" y="385"/>
                  </a:lnTo>
                  <a:lnTo>
                    <a:pt x="48" y="386"/>
                  </a:lnTo>
                  <a:lnTo>
                    <a:pt x="46" y="386"/>
                  </a:lnTo>
                  <a:lnTo>
                    <a:pt x="45" y="387"/>
                  </a:lnTo>
                  <a:lnTo>
                    <a:pt x="45" y="388"/>
                  </a:lnTo>
                  <a:lnTo>
                    <a:pt x="44" y="388"/>
                  </a:lnTo>
                  <a:lnTo>
                    <a:pt x="44" y="389"/>
                  </a:lnTo>
                  <a:lnTo>
                    <a:pt x="43" y="389"/>
                  </a:lnTo>
                  <a:lnTo>
                    <a:pt x="43" y="391"/>
                  </a:lnTo>
                  <a:lnTo>
                    <a:pt x="42" y="389"/>
                  </a:lnTo>
                  <a:lnTo>
                    <a:pt x="42" y="387"/>
                  </a:lnTo>
                  <a:lnTo>
                    <a:pt x="41" y="387"/>
                  </a:lnTo>
                  <a:lnTo>
                    <a:pt x="41" y="386"/>
                  </a:lnTo>
                  <a:lnTo>
                    <a:pt x="42" y="386"/>
                  </a:lnTo>
                  <a:lnTo>
                    <a:pt x="42" y="385"/>
                  </a:lnTo>
                  <a:lnTo>
                    <a:pt x="41" y="385"/>
                  </a:lnTo>
                  <a:lnTo>
                    <a:pt x="41" y="384"/>
                  </a:lnTo>
                  <a:lnTo>
                    <a:pt x="39" y="382"/>
                  </a:lnTo>
                  <a:lnTo>
                    <a:pt x="41" y="382"/>
                  </a:lnTo>
                  <a:lnTo>
                    <a:pt x="39" y="382"/>
                  </a:lnTo>
                  <a:lnTo>
                    <a:pt x="39" y="381"/>
                  </a:lnTo>
                  <a:lnTo>
                    <a:pt x="41" y="381"/>
                  </a:lnTo>
                  <a:lnTo>
                    <a:pt x="42" y="380"/>
                  </a:lnTo>
                  <a:lnTo>
                    <a:pt x="42" y="379"/>
                  </a:lnTo>
                  <a:lnTo>
                    <a:pt x="43" y="379"/>
                  </a:lnTo>
                  <a:lnTo>
                    <a:pt x="44" y="378"/>
                  </a:lnTo>
                  <a:lnTo>
                    <a:pt x="44" y="379"/>
                  </a:lnTo>
                  <a:lnTo>
                    <a:pt x="44" y="380"/>
                  </a:lnTo>
                  <a:lnTo>
                    <a:pt x="44" y="381"/>
                  </a:lnTo>
                  <a:lnTo>
                    <a:pt x="45" y="381"/>
                  </a:lnTo>
                  <a:lnTo>
                    <a:pt x="45" y="380"/>
                  </a:lnTo>
                  <a:lnTo>
                    <a:pt x="44" y="380"/>
                  </a:lnTo>
                  <a:lnTo>
                    <a:pt x="44" y="379"/>
                  </a:lnTo>
                  <a:lnTo>
                    <a:pt x="44" y="378"/>
                  </a:lnTo>
                  <a:lnTo>
                    <a:pt x="45" y="378"/>
                  </a:lnTo>
                  <a:lnTo>
                    <a:pt x="46" y="378"/>
                  </a:lnTo>
                  <a:lnTo>
                    <a:pt x="48" y="378"/>
                  </a:lnTo>
                  <a:lnTo>
                    <a:pt x="49" y="378"/>
                  </a:lnTo>
                  <a:lnTo>
                    <a:pt x="50" y="378"/>
                  </a:lnTo>
                  <a:lnTo>
                    <a:pt x="51" y="378"/>
                  </a:lnTo>
                  <a:lnTo>
                    <a:pt x="51" y="377"/>
                  </a:lnTo>
                  <a:lnTo>
                    <a:pt x="50" y="377"/>
                  </a:lnTo>
                  <a:lnTo>
                    <a:pt x="50" y="378"/>
                  </a:lnTo>
                  <a:lnTo>
                    <a:pt x="49" y="378"/>
                  </a:lnTo>
                  <a:lnTo>
                    <a:pt x="48" y="378"/>
                  </a:lnTo>
                  <a:lnTo>
                    <a:pt x="46" y="377"/>
                  </a:lnTo>
                  <a:lnTo>
                    <a:pt x="46" y="378"/>
                  </a:lnTo>
                  <a:lnTo>
                    <a:pt x="45" y="378"/>
                  </a:lnTo>
                  <a:lnTo>
                    <a:pt x="44" y="378"/>
                  </a:lnTo>
                  <a:lnTo>
                    <a:pt x="43" y="378"/>
                  </a:lnTo>
                  <a:lnTo>
                    <a:pt x="43" y="379"/>
                  </a:lnTo>
                  <a:lnTo>
                    <a:pt x="42" y="378"/>
                  </a:lnTo>
                  <a:lnTo>
                    <a:pt x="41" y="378"/>
                  </a:lnTo>
                  <a:lnTo>
                    <a:pt x="42" y="378"/>
                  </a:lnTo>
                  <a:lnTo>
                    <a:pt x="42" y="377"/>
                  </a:lnTo>
                  <a:lnTo>
                    <a:pt x="43" y="377"/>
                  </a:lnTo>
                  <a:lnTo>
                    <a:pt x="43" y="375"/>
                  </a:lnTo>
                  <a:lnTo>
                    <a:pt x="44" y="375"/>
                  </a:lnTo>
                  <a:lnTo>
                    <a:pt x="44" y="374"/>
                  </a:lnTo>
                  <a:lnTo>
                    <a:pt x="44" y="375"/>
                  </a:lnTo>
                  <a:lnTo>
                    <a:pt x="43" y="375"/>
                  </a:lnTo>
                  <a:lnTo>
                    <a:pt x="42" y="375"/>
                  </a:lnTo>
                  <a:lnTo>
                    <a:pt x="41" y="375"/>
                  </a:lnTo>
                  <a:lnTo>
                    <a:pt x="41" y="374"/>
                  </a:lnTo>
                  <a:lnTo>
                    <a:pt x="42" y="374"/>
                  </a:lnTo>
                  <a:lnTo>
                    <a:pt x="43" y="374"/>
                  </a:lnTo>
                  <a:lnTo>
                    <a:pt x="43" y="373"/>
                  </a:lnTo>
                  <a:lnTo>
                    <a:pt x="43" y="372"/>
                  </a:lnTo>
                  <a:lnTo>
                    <a:pt x="44" y="372"/>
                  </a:lnTo>
                  <a:lnTo>
                    <a:pt x="44" y="371"/>
                  </a:lnTo>
                  <a:lnTo>
                    <a:pt x="45" y="371"/>
                  </a:lnTo>
                  <a:lnTo>
                    <a:pt x="45" y="372"/>
                  </a:lnTo>
                  <a:lnTo>
                    <a:pt x="45" y="373"/>
                  </a:lnTo>
                  <a:lnTo>
                    <a:pt x="45" y="375"/>
                  </a:lnTo>
                  <a:lnTo>
                    <a:pt x="46" y="375"/>
                  </a:lnTo>
                  <a:lnTo>
                    <a:pt x="45" y="375"/>
                  </a:lnTo>
                  <a:lnTo>
                    <a:pt x="46" y="374"/>
                  </a:lnTo>
                  <a:lnTo>
                    <a:pt x="46" y="373"/>
                  </a:lnTo>
                  <a:lnTo>
                    <a:pt x="48" y="373"/>
                  </a:lnTo>
                  <a:lnTo>
                    <a:pt x="49" y="373"/>
                  </a:lnTo>
                  <a:lnTo>
                    <a:pt x="48" y="373"/>
                  </a:lnTo>
                  <a:lnTo>
                    <a:pt x="46" y="373"/>
                  </a:lnTo>
                  <a:lnTo>
                    <a:pt x="46" y="374"/>
                  </a:lnTo>
                  <a:lnTo>
                    <a:pt x="45" y="374"/>
                  </a:lnTo>
                  <a:lnTo>
                    <a:pt x="45" y="373"/>
                  </a:lnTo>
                  <a:lnTo>
                    <a:pt x="45" y="372"/>
                  </a:lnTo>
                  <a:lnTo>
                    <a:pt x="45" y="371"/>
                  </a:lnTo>
                  <a:lnTo>
                    <a:pt x="46" y="371"/>
                  </a:lnTo>
                  <a:lnTo>
                    <a:pt x="48" y="370"/>
                  </a:lnTo>
                  <a:lnTo>
                    <a:pt x="49" y="370"/>
                  </a:lnTo>
                  <a:lnTo>
                    <a:pt x="49" y="371"/>
                  </a:lnTo>
                  <a:lnTo>
                    <a:pt x="50" y="372"/>
                  </a:lnTo>
                  <a:lnTo>
                    <a:pt x="51" y="372"/>
                  </a:lnTo>
                  <a:lnTo>
                    <a:pt x="50" y="371"/>
                  </a:lnTo>
                  <a:lnTo>
                    <a:pt x="49" y="371"/>
                  </a:lnTo>
                  <a:lnTo>
                    <a:pt x="49" y="370"/>
                  </a:lnTo>
                  <a:lnTo>
                    <a:pt x="50" y="370"/>
                  </a:lnTo>
                  <a:lnTo>
                    <a:pt x="50" y="368"/>
                  </a:lnTo>
                  <a:lnTo>
                    <a:pt x="51" y="368"/>
                  </a:lnTo>
                  <a:lnTo>
                    <a:pt x="52" y="367"/>
                  </a:lnTo>
                  <a:lnTo>
                    <a:pt x="51" y="367"/>
                  </a:lnTo>
                  <a:lnTo>
                    <a:pt x="51" y="368"/>
                  </a:lnTo>
                  <a:lnTo>
                    <a:pt x="50" y="368"/>
                  </a:lnTo>
                  <a:lnTo>
                    <a:pt x="51" y="368"/>
                  </a:lnTo>
                  <a:lnTo>
                    <a:pt x="51" y="367"/>
                  </a:lnTo>
                  <a:lnTo>
                    <a:pt x="52" y="367"/>
                  </a:lnTo>
                  <a:lnTo>
                    <a:pt x="53" y="366"/>
                  </a:lnTo>
                  <a:lnTo>
                    <a:pt x="55" y="366"/>
                  </a:lnTo>
                  <a:lnTo>
                    <a:pt x="53" y="366"/>
                  </a:lnTo>
                  <a:lnTo>
                    <a:pt x="53" y="367"/>
                  </a:lnTo>
                  <a:lnTo>
                    <a:pt x="55" y="367"/>
                  </a:lnTo>
                  <a:lnTo>
                    <a:pt x="55" y="366"/>
                  </a:lnTo>
                  <a:lnTo>
                    <a:pt x="56" y="366"/>
                  </a:lnTo>
                  <a:lnTo>
                    <a:pt x="57" y="366"/>
                  </a:lnTo>
                  <a:lnTo>
                    <a:pt x="58" y="366"/>
                  </a:lnTo>
                  <a:lnTo>
                    <a:pt x="59" y="366"/>
                  </a:lnTo>
                  <a:lnTo>
                    <a:pt x="58" y="366"/>
                  </a:lnTo>
                  <a:lnTo>
                    <a:pt x="55" y="366"/>
                  </a:lnTo>
                  <a:lnTo>
                    <a:pt x="55" y="365"/>
                  </a:lnTo>
                  <a:lnTo>
                    <a:pt x="56" y="365"/>
                  </a:lnTo>
                  <a:lnTo>
                    <a:pt x="56" y="364"/>
                  </a:lnTo>
                  <a:lnTo>
                    <a:pt x="57" y="364"/>
                  </a:lnTo>
                  <a:lnTo>
                    <a:pt x="58" y="364"/>
                  </a:lnTo>
                  <a:lnTo>
                    <a:pt x="58" y="363"/>
                  </a:lnTo>
                  <a:lnTo>
                    <a:pt x="59" y="363"/>
                  </a:lnTo>
                  <a:lnTo>
                    <a:pt x="59" y="361"/>
                  </a:lnTo>
                  <a:lnTo>
                    <a:pt x="60" y="361"/>
                  </a:lnTo>
                  <a:lnTo>
                    <a:pt x="61" y="361"/>
                  </a:lnTo>
                  <a:lnTo>
                    <a:pt x="61" y="360"/>
                  </a:lnTo>
                  <a:lnTo>
                    <a:pt x="63" y="360"/>
                  </a:lnTo>
                  <a:lnTo>
                    <a:pt x="63" y="359"/>
                  </a:lnTo>
                  <a:lnTo>
                    <a:pt x="64" y="359"/>
                  </a:lnTo>
                  <a:lnTo>
                    <a:pt x="65" y="359"/>
                  </a:lnTo>
                  <a:lnTo>
                    <a:pt x="66" y="359"/>
                  </a:lnTo>
                  <a:lnTo>
                    <a:pt x="65" y="359"/>
                  </a:lnTo>
                  <a:lnTo>
                    <a:pt x="64" y="359"/>
                  </a:lnTo>
                  <a:lnTo>
                    <a:pt x="63" y="359"/>
                  </a:lnTo>
                  <a:lnTo>
                    <a:pt x="64" y="359"/>
                  </a:lnTo>
                  <a:lnTo>
                    <a:pt x="64" y="358"/>
                  </a:lnTo>
                  <a:lnTo>
                    <a:pt x="64" y="357"/>
                  </a:lnTo>
                  <a:lnTo>
                    <a:pt x="65" y="357"/>
                  </a:lnTo>
                  <a:lnTo>
                    <a:pt x="64" y="357"/>
                  </a:lnTo>
                  <a:lnTo>
                    <a:pt x="64" y="358"/>
                  </a:lnTo>
                  <a:lnTo>
                    <a:pt x="63" y="358"/>
                  </a:lnTo>
                  <a:lnTo>
                    <a:pt x="63" y="359"/>
                  </a:lnTo>
                  <a:lnTo>
                    <a:pt x="61" y="359"/>
                  </a:lnTo>
                  <a:lnTo>
                    <a:pt x="61" y="360"/>
                  </a:lnTo>
                  <a:lnTo>
                    <a:pt x="60" y="360"/>
                  </a:lnTo>
                  <a:lnTo>
                    <a:pt x="61" y="360"/>
                  </a:lnTo>
                  <a:lnTo>
                    <a:pt x="60" y="360"/>
                  </a:lnTo>
                  <a:lnTo>
                    <a:pt x="60" y="361"/>
                  </a:lnTo>
                  <a:lnTo>
                    <a:pt x="59" y="361"/>
                  </a:lnTo>
                  <a:lnTo>
                    <a:pt x="59" y="363"/>
                  </a:lnTo>
                  <a:lnTo>
                    <a:pt x="58" y="363"/>
                  </a:lnTo>
                  <a:lnTo>
                    <a:pt x="58" y="364"/>
                  </a:lnTo>
                  <a:lnTo>
                    <a:pt x="56" y="364"/>
                  </a:lnTo>
                  <a:lnTo>
                    <a:pt x="55" y="365"/>
                  </a:lnTo>
                  <a:lnTo>
                    <a:pt x="53" y="366"/>
                  </a:lnTo>
                  <a:lnTo>
                    <a:pt x="53" y="365"/>
                  </a:lnTo>
                  <a:lnTo>
                    <a:pt x="55" y="364"/>
                  </a:lnTo>
                  <a:lnTo>
                    <a:pt x="56" y="363"/>
                  </a:lnTo>
                  <a:lnTo>
                    <a:pt x="57" y="363"/>
                  </a:lnTo>
                  <a:lnTo>
                    <a:pt x="58" y="361"/>
                  </a:lnTo>
                  <a:lnTo>
                    <a:pt x="59" y="361"/>
                  </a:lnTo>
                  <a:lnTo>
                    <a:pt x="59" y="360"/>
                  </a:lnTo>
                  <a:lnTo>
                    <a:pt x="59" y="359"/>
                  </a:lnTo>
                  <a:lnTo>
                    <a:pt x="60" y="359"/>
                  </a:lnTo>
                  <a:lnTo>
                    <a:pt x="60" y="358"/>
                  </a:lnTo>
                  <a:lnTo>
                    <a:pt x="60" y="357"/>
                  </a:lnTo>
                  <a:lnTo>
                    <a:pt x="61" y="357"/>
                  </a:lnTo>
                  <a:lnTo>
                    <a:pt x="61" y="356"/>
                  </a:lnTo>
                  <a:lnTo>
                    <a:pt x="63" y="354"/>
                  </a:lnTo>
                  <a:lnTo>
                    <a:pt x="65" y="353"/>
                  </a:lnTo>
                  <a:lnTo>
                    <a:pt x="66" y="352"/>
                  </a:lnTo>
                  <a:lnTo>
                    <a:pt x="65" y="352"/>
                  </a:lnTo>
                  <a:lnTo>
                    <a:pt x="66" y="352"/>
                  </a:lnTo>
                  <a:lnTo>
                    <a:pt x="66" y="351"/>
                  </a:lnTo>
                  <a:lnTo>
                    <a:pt x="67" y="351"/>
                  </a:lnTo>
                  <a:lnTo>
                    <a:pt x="67" y="350"/>
                  </a:lnTo>
                  <a:lnTo>
                    <a:pt x="66" y="350"/>
                  </a:lnTo>
                  <a:lnTo>
                    <a:pt x="65" y="350"/>
                  </a:lnTo>
                  <a:lnTo>
                    <a:pt x="64" y="349"/>
                  </a:lnTo>
                  <a:lnTo>
                    <a:pt x="64" y="347"/>
                  </a:lnTo>
                  <a:lnTo>
                    <a:pt x="65" y="347"/>
                  </a:lnTo>
                  <a:lnTo>
                    <a:pt x="64" y="347"/>
                  </a:lnTo>
                  <a:lnTo>
                    <a:pt x="63" y="347"/>
                  </a:lnTo>
                  <a:lnTo>
                    <a:pt x="63" y="346"/>
                  </a:lnTo>
                  <a:lnTo>
                    <a:pt x="63" y="345"/>
                  </a:lnTo>
                  <a:lnTo>
                    <a:pt x="60" y="345"/>
                  </a:lnTo>
                  <a:lnTo>
                    <a:pt x="59" y="345"/>
                  </a:lnTo>
                  <a:lnTo>
                    <a:pt x="59" y="344"/>
                  </a:lnTo>
                  <a:lnTo>
                    <a:pt x="58" y="344"/>
                  </a:lnTo>
                  <a:lnTo>
                    <a:pt x="57" y="343"/>
                  </a:lnTo>
                  <a:lnTo>
                    <a:pt x="57" y="342"/>
                  </a:lnTo>
                  <a:lnTo>
                    <a:pt x="55" y="342"/>
                  </a:lnTo>
                  <a:lnTo>
                    <a:pt x="53" y="342"/>
                  </a:lnTo>
                  <a:lnTo>
                    <a:pt x="55" y="342"/>
                  </a:lnTo>
                  <a:lnTo>
                    <a:pt x="55" y="340"/>
                  </a:lnTo>
                  <a:lnTo>
                    <a:pt x="55" y="339"/>
                  </a:lnTo>
                  <a:lnTo>
                    <a:pt x="56" y="339"/>
                  </a:lnTo>
                  <a:lnTo>
                    <a:pt x="53" y="338"/>
                  </a:lnTo>
                  <a:lnTo>
                    <a:pt x="57" y="336"/>
                  </a:lnTo>
                  <a:lnTo>
                    <a:pt x="56" y="336"/>
                  </a:lnTo>
                  <a:lnTo>
                    <a:pt x="55" y="335"/>
                  </a:lnTo>
                  <a:lnTo>
                    <a:pt x="56" y="333"/>
                  </a:lnTo>
                  <a:lnTo>
                    <a:pt x="57" y="333"/>
                  </a:lnTo>
                  <a:lnTo>
                    <a:pt x="57" y="332"/>
                  </a:lnTo>
                  <a:lnTo>
                    <a:pt x="58" y="331"/>
                  </a:lnTo>
                  <a:lnTo>
                    <a:pt x="58" y="330"/>
                  </a:lnTo>
                  <a:lnTo>
                    <a:pt x="57" y="329"/>
                  </a:lnTo>
                  <a:lnTo>
                    <a:pt x="58" y="328"/>
                  </a:lnTo>
                  <a:lnTo>
                    <a:pt x="58" y="326"/>
                  </a:lnTo>
                  <a:lnTo>
                    <a:pt x="58" y="324"/>
                  </a:lnTo>
                  <a:lnTo>
                    <a:pt x="58" y="323"/>
                  </a:lnTo>
                  <a:lnTo>
                    <a:pt x="58" y="322"/>
                  </a:lnTo>
                  <a:lnTo>
                    <a:pt x="58" y="321"/>
                  </a:lnTo>
                  <a:lnTo>
                    <a:pt x="59" y="319"/>
                  </a:lnTo>
                  <a:lnTo>
                    <a:pt x="59" y="318"/>
                  </a:lnTo>
                  <a:lnTo>
                    <a:pt x="59" y="317"/>
                  </a:lnTo>
                  <a:lnTo>
                    <a:pt x="59" y="316"/>
                  </a:lnTo>
                  <a:lnTo>
                    <a:pt x="60" y="316"/>
                  </a:lnTo>
                  <a:lnTo>
                    <a:pt x="60" y="315"/>
                  </a:lnTo>
                  <a:lnTo>
                    <a:pt x="60" y="314"/>
                  </a:lnTo>
                  <a:lnTo>
                    <a:pt x="59" y="314"/>
                  </a:lnTo>
                  <a:lnTo>
                    <a:pt x="59" y="312"/>
                  </a:lnTo>
                  <a:lnTo>
                    <a:pt x="59" y="311"/>
                  </a:lnTo>
                  <a:lnTo>
                    <a:pt x="59" y="310"/>
                  </a:lnTo>
                  <a:lnTo>
                    <a:pt x="58" y="310"/>
                  </a:lnTo>
                  <a:lnTo>
                    <a:pt x="58" y="309"/>
                  </a:lnTo>
                  <a:lnTo>
                    <a:pt x="57" y="309"/>
                  </a:lnTo>
                  <a:lnTo>
                    <a:pt x="57" y="308"/>
                  </a:lnTo>
                  <a:lnTo>
                    <a:pt x="57" y="307"/>
                  </a:lnTo>
                  <a:lnTo>
                    <a:pt x="58" y="307"/>
                  </a:lnTo>
                  <a:lnTo>
                    <a:pt x="58" y="305"/>
                  </a:lnTo>
                  <a:lnTo>
                    <a:pt x="57" y="305"/>
                  </a:lnTo>
                  <a:lnTo>
                    <a:pt x="57" y="304"/>
                  </a:lnTo>
                  <a:lnTo>
                    <a:pt x="57" y="303"/>
                  </a:lnTo>
                  <a:lnTo>
                    <a:pt x="56" y="303"/>
                  </a:lnTo>
                  <a:lnTo>
                    <a:pt x="55" y="303"/>
                  </a:lnTo>
                  <a:lnTo>
                    <a:pt x="55" y="302"/>
                  </a:lnTo>
                  <a:lnTo>
                    <a:pt x="56" y="302"/>
                  </a:lnTo>
                  <a:lnTo>
                    <a:pt x="56" y="301"/>
                  </a:lnTo>
                  <a:lnTo>
                    <a:pt x="57" y="300"/>
                  </a:lnTo>
                  <a:lnTo>
                    <a:pt x="58" y="298"/>
                  </a:lnTo>
                  <a:lnTo>
                    <a:pt x="58" y="297"/>
                  </a:lnTo>
                  <a:lnTo>
                    <a:pt x="57" y="297"/>
                  </a:lnTo>
                  <a:lnTo>
                    <a:pt x="58" y="297"/>
                  </a:lnTo>
                  <a:lnTo>
                    <a:pt x="57" y="296"/>
                  </a:lnTo>
                  <a:lnTo>
                    <a:pt x="57" y="295"/>
                  </a:lnTo>
                  <a:lnTo>
                    <a:pt x="56" y="295"/>
                  </a:lnTo>
                  <a:lnTo>
                    <a:pt x="53" y="296"/>
                  </a:lnTo>
                  <a:lnTo>
                    <a:pt x="51" y="296"/>
                  </a:lnTo>
                  <a:lnTo>
                    <a:pt x="50" y="297"/>
                  </a:lnTo>
                  <a:lnTo>
                    <a:pt x="49" y="297"/>
                  </a:lnTo>
                  <a:lnTo>
                    <a:pt x="46" y="297"/>
                  </a:lnTo>
                  <a:lnTo>
                    <a:pt x="45" y="297"/>
                  </a:lnTo>
                  <a:lnTo>
                    <a:pt x="44" y="298"/>
                  </a:lnTo>
                  <a:lnTo>
                    <a:pt x="43" y="300"/>
                  </a:lnTo>
                  <a:lnTo>
                    <a:pt x="42" y="300"/>
                  </a:lnTo>
                  <a:lnTo>
                    <a:pt x="41" y="300"/>
                  </a:lnTo>
                  <a:lnTo>
                    <a:pt x="39" y="301"/>
                  </a:lnTo>
                  <a:lnTo>
                    <a:pt x="38" y="302"/>
                  </a:lnTo>
                  <a:lnTo>
                    <a:pt x="37" y="303"/>
                  </a:lnTo>
                  <a:lnTo>
                    <a:pt x="35" y="304"/>
                  </a:lnTo>
                  <a:lnTo>
                    <a:pt x="34" y="304"/>
                  </a:lnTo>
                  <a:lnTo>
                    <a:pt x="32" y="304"/>
                  </a:lnTo>
                  <a:lnTo>
                    <a:pt x="31" y="304"/>
                  </a:lnTo>
                  <a:lnTo>
                    <a:pt x="30" y="305"/>
                  </a:lnTo>
                  <a:lnTo>
                    <a:pt x="29" y="305"/>
                  </a:lnTo>
                  <a:lnTo>
                    <a:pt x="28" y="305"/>
                  </a:lnTo>
                  <a:lnTo>
                    <a:pt x="27" y="307"/>
                  </a:lnTo>
                  <a:lnTo>
                    <a:pt x="24" y="307"/>
                  </a:lnTo>
                  <a:lnTo>
                    <a:pt x="23" y="308"/>
                  </a:lnTo>
                  <a:lnTo>
                    <a:pt x="22" y="308"/>
                  </a:lnTo>
                  <a:lnTo>
                    <a:pt x="21" y="308"/>
                  </a:lnTo>
                  <a:lnTo>
                    <a:pt x="22" y="307"/>
                  </a:lnTo>
                  <a:lnTo>
                    <a:pt x="23" y="305"/>
                  </a:lnTo>
                  <a:lnTo>
                    <a:pt x="23" y="304"/>
                  </a:lnTo>
                  <a:lnTo>
                    <a:pt x="24" y="303"/>
                  </a:lnTo>
                  <a:lnTo>
                    <a:pt x="24" y="302"/>
                  </a:lnTo>
                  <a:lnTo>
                    <a:pt x="23" y="301"/>
                  </a:lnTo>
                  <a:lnTo>
                    <a:pt x="23" y="300"/>
                  </a:lnTo>
                  <a:lnTo>
                    <a:pt x="22" y="298"/>
                  </a:lnTo>
                  <a:lnTo>
                    <a:pt x="22" y="297"/>
                  </a:lnTo>
                  <a:lnTo>
                    <a:pt x="21" y="296"/>
                  </a:lnTo>
                  <a:lnTo>
                    <a:pt x="21" y="295"/>
                  </a:lnTo>
                  <a:lnTo>
                    <a:pt x="22" y="294"/>
                  </a:lnTo>
                  <a:lnTo>
                    <a:pt x="21" y="293"/>
                  </a:lnTo>
                  <a:lnTo>
                    <a:pt x="20" y="293"/>
                  </a:lnTo>
                  <a:lnTo>
                    <a:pt x="20" y="291"/>
                  </a:lnTo>
                  <a:lnTo>
                    <a:pt x="20" y="290"/>
                  </a:lnTo>
                  <a:lnTo>
                    <a:pt x="21" y="290"/>
                  </a:lnTo>
                  <a:lnTo>
                    <a:pt x="22" y="289"/>
                  </a:lnTo>
                  <a:lnTo>
                    <a:pt x="23" y="288"/>
                  </a:lnTo>
                  <a:lnTo>
                    <a:pt x="24" y="288"/>
                  </a:lnTo>
                  <a:lnTo>
                    <a:pt x="24" y="287"/>
                  </a:lnTo>
                  <a:lnTo>
                    <a:pt x="22" y="287"/>
                  </a:lnTo>
                  <a:lnTo>
                    <a:pt x="21" y="287"/>
                  </a:lnTo>
                  <a:lnTo>
                    <a:pt x="20" y="287"/>
                  </a:lnTo>
                  <a:lnTo>
                    <a:pt x="18" y="287"/>
                  </a:lnTo>
                  <a:lnTo>
                    <a:pt x="17" y="288"/>
                  </a:lnTo>
                  <a:lnTo>
                    <a:pt x="16" y="288"/>
                  </a:lnTo>
                  <a:lnTo>
                    <a:pt x="15" y="288"/>
                  </a:lnTo>
                  <a:lnTo>
                    <a:pt x="13" y="289"/>
                  </a:lnTo>
                  <a:lnTo>
                    <a:pt x="11" y="289"/>
                  </a:lnTo>
                  <a:lnTo>
                    <a:pt x="10" y="289"/>
                  </a:lnTo>
                  <a:lnTo>
                    <a:pt x="9" y="288"/>
                  </a:lnTo>
                  <a:lnTo>
                    <a:pt x="8" y="288"/>
                  </a:lnTo>
                  <a:lnTo>
                    <a:pt x="7" y="289"/>
                  </a:lnTo>
                  <a:lnTo>
                    <a:pt x="6" y="289"/>
                  </a:lnTo>
                  <a:lnTo>
                    <a:pt x="4" y="288"/>
                  </a:lnTo>
                  <a:lnTo>
                    <a:pt x="3" y="288"/>
                  </a:lnTo>
                  <a:lnTo>
                    <a:pt x="2" y="288"/>
                  </a:lnTo>
                  <a:lnTo>
                    <a:pt x="4" y="286"/>
                  </a:lnTo>
                  <a:lnTo>
                    <a:pt x="7" y="283"/>
                  </a:lnTo>
                  <a:lnTo>
                    <a:pt x="9" y="281"/>
                  </a:lnTo>
                  <a:lnTo>
                    <a:pt x="11" y="279"/>
                  </a:lnTo>
                  <a:lnTo>
                    <a:pt x="14" y="277"/>
                  </a:lnTo>
                  <a:lnTo>
                    <a:pt x="16" y="275"/>
                  </a:lnTo>
                  <a:lnTo>
                    <a:pt x="17" y="273"/>
                  </a:lnTo>
                  <a:lnTo>
                    <a:pt x="20" y="270"/>
                  </a:lnTo>
                  <a:lnTo>
                    <a:pt x="22" y="268"/>
                  </a:lnTo>
                  <a:lnTo>
                    <a:pt x="24" y="267"/>
                  </a:lnTo>
                  <a:lnTo>
                    <a:pt x="27" y="265"/>
                  </a:lnTo>
                  <a:lnTo>
                    <a:pt x="29" y="262"/>
                  </a:lnTo>
                  <a:lnTo>
                    <a:pt x="31" y="260"/>
                  </a:lnTo>
                  <a:lnTo>
                    <a:pt x="34" y="258"/>
                  </a:lnTo>
                  <a:lnTo>
                    <a:pt x="36" y="256"/>
                  </a:lnTo>
                  <a:lnTo>
                    <a:pt x="38" y="254"/>
                  </a:lnTo>
                  <a:lnTo>
                    <a:pt x="39" y="252"/>
                  </a:lnTo>
                  <a:lnTo>
                    <a:pt x="42" y="249"/>
                  </a:lnTo>
                  <a:lnTo>
                    <a:pt x="44" y="248"/>
                  </a:lnTo>
                  <a:lnTo>
                    <a:pt x="46" y="246"/>
                  </a:lnTo>
                  <a:lnTo>
                    <a:pt x="49" y="244"/>
                  </a:lnTo>
                  <a:lnTo>
                    <a:pt x="51" y="241"/>
                  </a:lnTo>
                  <a:lnTo>
                    <a:pt x="53" y="240"/>
                  </a:lnTo>
                  <a:lnTo>
                    <a:pt x="56" y="238"/>
                  </a:lnTo>
                  <a:lnTo>
                    <a:pt x="58" y="235"/>
                  </a:lnTo>
                  <a:lnTo>
                    <a:pt x="60" y="233"/>
                  </a:lnTo>
                  <a:lnTo>
                    <a:pt x="63" y="232"/>
                  </a:lnTo>
                  <a:lnTo>
                    <a:pt x="65" y="230"/>
                  </a:lnTo>
                  <a:lnTo>
                    <a:pt x="67" y="227"/>
                  </a:lnTo>
                  <a:lnTo>
                    <a:pt x="70" y="225"/>
                  </a:lnTo>
                  <a:lnTo>
                    <a:pt x="72" y="224"/>
                  </a:lnTo>
                  <a:lnTo>
                    <a:pt x="74" y="221"/>
                  </a:lnTo>
                  <a:lnTo>
                    <a:pt x="77" y="219"/>
                  </a:lnTo>
                  <a:lnTo>
                    <a:pt x="79" y="217"/>
                  </a:lnTo>
                  <a:lnTo>
                    <a:pt x="81" y="216"/>
                  </a:lnTo>
                  <a:lnTo>
                    <a:pt x="84" y="213"/>
                  </a:lnTo>
                  <a:lnTo>
                    <a:pt x="86" y="211"/>
                  </a:lnTo>
                  <a:lnTo>
                    <a:pt x="88" y="209"/>
                  </a:lnTo>
                  <a:lnTo>
                    <a:pt x="91" y="207"/>
                  </a:lnTo>
                  <a:lnTo>
                    <a:pt x="93" y="205"/>
                  </a:lnTo>
                  <a:lnTo>
                    <a:pt x="95" y="203"/>
                  </a:lnTo>
                  <a:lnTo>
                    <a:pt x="98" y="202"/>
                  </a:lnTo>
                  <a:lnTo>
                    <a:pt x="100" y="199"/>
                  </a:lnTo>
                  <a:lnTo>
                    <a:pt x="102" y="197"/>
                  </a:lnTo>
                  <a:lnTo>
                    <a:pt x="105" y="195"/>
                  </a:lnTo>
                  <a:lnTo>
                    <a:pt x="107" y="193"/>
                  </a:lnTo>
                  <a:lnTo>
                    <a:pt x="109" y="191"/>
                  </a:lnTo>
                  <a:lnTo>
                    <a:pt x="112" y="189"/>
                  </a:lnTo>
                  <a:lnTo>
                    <a:pt x="114" y="188"/>
                  </a:lnTo>
                  <a:lnTo>
                    <a:pt x="116" y="185"/>
                  </a:lnTo>
                  <a:lnTo>
                    <a:pt x="119" y="183"/>
                  </a:lnTo>
                  <a:lnTo>
                    <a:pt x="121" y="181"/>
                  </a:lnTo>
                  <a:lnTo>
                    <a:pt x="123" y="179"/>
                  </a:lnTo>
                  <a:lnTo>
                    <a:pt x="125" y="177"/>
                  </a:lnTo>
                  <a:lnTo>
                    <a:pt x="128" y="175"/>
                  </a:lnTo>
                  <a:lnTo>
                    <a:pt x="130" y="174"/>
                  </a:lnTo>
                  <a:lnTo>
                    <a:pt x="132" y="171"/>
                  </a:lnTo>
                  <a:lnTo>
                    <a:pt x="135" y="169"/>
                  </a:lnTo>
                  <a:lnTo>
                    <a:pt x="137" y="168"/>
                  </a:lnTo>
                  <a:lnTo>
                    <a:pt x="139" y="165"/>
                  </a:lnTo>
                  <a:lnTo>
                    <a:pt x="142" y="163"/>
                  </a:lnTo>
                  <a:lnTo>
                    <a:pt x="144" y="162"/>
                  </a:lnTo>
                  <a:lnTo>
                    <a:pt x="146" y="160"/>
                  </a:lnTo>
                  <a:lnTo>
                    <a:pt x="149" y="157"/>
                  </a:lnTo>
                  <a:lnTo>
                    <a:pt x="150" y="157"/>
                  </a:lnTo>
                  <a:lnTo>
                    <a:pt x="150" y="158"/>
                  </a:lnTo>
                  <a:lnTo>
                    <a:pt x="151" y="158"/>
                  </a:lnTo>
                  <a:lnTo>
                    <a:pt x="152" y="158"/>
                  </a:lnTo>
                  <a:lnTo>
                    <a:pt x="155" y="158"/>
                  </a:lnTo>
                  <a:lnTo>
                    <a:pt x="156" y="158"/>
                  </a:lnTo>
                  <a:lnTo>
                    <a:pt x="157" y="158"/>
                  </a:lnTo>
                  <a:lnTo>
                    <a:pt x="159" y="158"/>
                  </a:lnTo>
                  <a:lnTo>
                    <a:pt x="163" y="158"/>
                  </a:lnTo>
                  <a:lnTo>
                    <a:pt x="162" y="158"/>
                  </a:lnTo>
                  <a:lnTo>
                    <a:pt x="160" y="158"/>
                  </a:lnTo>
                  <a:lnTo>
                    <a:pt x="162" y="158"/>
                  </a:lnTo>
                  <a:lnTo>
                    <a:pt x="164" y="160"/>
                  </a:lnTo>
                  <a:lnTo>
                    <a:pt x="166" y="160"/>
                  </a:lnTo>
                  <a:lnTo>
                    <a:pt x="166" y="161"/>
                  </a:lnTo>
                  <a:lnTo>
                    <a:pt x="167" y="162"/>
                  </a:lnTo>
                  <a:lnTo>
                    <a:pt x="167" y="163"/>
                  </a:lnTo>
                  <a:lnTo>
                    <a:pt x="166" y="163"/>
                  </a:lnTo>
                  <a:lnTo>
                    <a:pt x="167" y="163"/>
                  </a:lnTo>
                  <a:lnTo>
                    <a:pt x="169" y="163"/>
                  </a:lnTo>
                  <a:lnTo>
                    <a:pt x="167" y="163"/>
                  </a:lnTo>
                  <a:lnTo>
                    <a:pt x="169" y="163"/>
                  </a:lnTo>
                  <a:lnTo>
                    <a:pt x="170" y="163"/>
                  </a:lnTo>
                  <a:lnTo>
                    <a:pt x="170" y="162"/>
                  </a:lnTo>
                  <a:lnTo>
                    <a:pt x="169" y="163"/>
                  </a:lnTo>
                  <a:lnTo>
                    <a:pt x="170" y="162"/>
                  </a:lnTo>
                  <a:lnTo>
                    <a:pt x="170" y="163"/>
                  </a:lnTo>
                  <a:lnTo>
                    <a:pt x="170" y="164"/>
                  </a:lnTo>
                  <a:lnTo>
                    <a:pt x="172" y="165"/>
                  </a:lnTo>
                  <a:lnTo>
                    <a:pt x="174" y="167"/>
                  </a:lnTo>
                  <a:lnTo>
                    <a:pt x="176" y="167"/>
                  </a:lnTo>
                  <a:lnTo>
                    <a:pt x="174" y="167"/>
                  </a:lnTo>
                  <a:lnTo>
                    <a:pt x="176" y="167"/>
                  </a:lnTo>
                  <a:lnTo>
                    <a:pt x="177" y="167"/>
                  </a:lnTo>
                  <a:lnTo>
                    <a:pt x="178" y="167"/>
                  </a:lnTo>
                  <a:lnTo>
                    <a:pt x="178" y="168"/>
                  </a:lnTo>
                  <a:lnTo>
                    <a:pt x="179" y="168"/>
                  </a:lnTo>
                  <a:lnTo>
                    <a:pt x="180" y="168"/>
                  </a:lnTo>
                  <a:lnTo>
                    <a:pt x="181" y="168"/>
                  </a:lnTo>
                  <a:lnTo>
                    <a:pt x="183" y="168"/>
                  </a:lnTo>
                  <a:lnTo>
                    <a:pt x="184" y="168"/>
                  </a:lnTo>
                  <a:lnTo>
                    <a:pt x="185" y="168"/>
                  </a:lnTo>
                  <a:lnTo>
                    <a:pt x="187" y="168"/>
                  </a:lnTo>
                  <a:lnTo>
                    <a:pt x="188" y="169"/>
                  </a:lnTo>
                  <a:lnTo>
                    <a:pt x="189" y="170"/>
                  </a:lnTo>
                  <a:lnTo>
                    <a:pt x="191" y="170"/>
                  </a:lnTo>
                  <a:lnTo>
                    <a:pt x="191" y="171"/>
                  </a:lnTo>
                  <a:lnTo>
                    <a:pt x="192" y="170"/>
                  </a:lnTo>
                  <a:lnTo>
                    <a:pt x="192" y="171"/>
                  </a:lnTo>
                  <a:lnTo>
                    <a:pt x="193" y="171"/>
                  </a:lnTo>
                  <a:lnTo>
                    <a:pt x="192" y="171"/>
                  </a:lnTo>
                  <a:lnTo>
                    <a:pt x="192" y="170"/>
                  </a:lnTo>
                  <a:lnTo>
                    <a:pt x="193" y="170"/>
                  </a:lnTo>
                  <a:lnTo>
                    <a:pt x="192" y="170"/>
                  </a:lnTo>
                  <a:lnTo>
                    <a:pt x="192" y="169"/>
                  </a:lnTo>
                  <a:lnTo>
                    <a:pt x="193" y="169"/>
                  </a:lnTo>
                  <a:lnTo>
                    <a:pt x="192" y="168"/>
                  </a:lnTo>
                  <a:lnTo>
                    <a:pt x="189" y="168"/>
                  </a:lnTo>
                  <a:lnTo>
                    <a:pt x="188" y="167"/>
                  </a:lnTo>
                  <a:lnTo>
                    <a:pt x="189" y="167"/>
                  </a:lnTo>
                  <a:lnTo>
                    <a:pt x="191" y="165"/>
                  </a:lnTo>
                  <a:lnTo>
                    <a:pt x="191" y="167"/>
                  </a:lnTo>
                  <a:lnTo>
                    <a:pt x="192" y="167"/>
                  </a:lnTo>
                  <a:lnTo>
                    <a:pt x="193" y="167"/>
                  </a:lnTo>
                  <a:lnTo>
                    <a:pt x="194" y="165"/>
                  </a:lnTo>
                  <a:lnTo>
                    <a:pt x="193" y="167"/>
                  </a:lnTo>
                  <a:lnTo>
                    <a:pt x="193" y="165"/>
                  </a:lnTo>
                  <a:lnTo>
                    <a:pt x="192" y="165"/>
                  </a:lnTo>
                  <a:lnTo>
                    <a:pt x="192" y="164"/>
                  </a:lnTo>
                  <a:lnTo>
                    <a:pt x="193" y="164"/>
                  </a:lnTo>
                  <a:lnTo>
                    <a:pt x="193" y="163"/>
                  </a:lnTo>
                  <a:lnTo>
                    <a:pt x="194" y="163"/>
                  </a:lnTo>
                  <a:lnTo>
                    <a:pt x="195" y="163"/>
                  </a:lnTo>
                  <a:lnTo>
                    <a:pt x="194" y="164"/>
                  </a:lnTo>
                  <a:lnTo>
                    <a:pt x="195" y="164"/>
                  </a:lnTo>
                  <a:lnTo>
                    <a:pt x="196" y="165"/>
                  </a:lnTo>
                  <a:lnTo>
                    <a:pt x="196" y="164"/>
                  </a:lnTo>
                  <a:lnTo>
                    <a:pt x="195" y="164"/>
                  </a:lnTo>
                  <a:lnTo>
                    <a:pt x="195" y="163"/>
                  </a:lnTo>
                  <a:lnTo>
                    <a:pt x="195" y="162"/>
                  </a:lnTo>
                  <a:lnTo>
                    <a:pt x="196" y="162"/>
                  </a:lnTo>
                  <a:lnTo>
                    <a:pt x="198" y="162"/>
                  </a:lnTo>
                  <a:lnTo>
                    <a:pt x="198" y="163"/>
                  </a:lnTo>
                  <a:lnTo>
                    <a:pt x="198" y="162"/>
                  </a:lnTo>
                  <a:lnTo>
                    <a:pt x="199" y="162"/>
                  </a:lnTo>
                  <a:lnTo>
                    <a:pt x="200" y="162"/>
                  </a:lnTo>
                  <a:lnTo>
                    <a:pt x="200" y="163"/>
                  </a:lnTo>
                  <a:lnTo>
                    <a:pt x="202" y="163"/>
                  </a:lnTo>
                  <a:lnTo>
                    <a:pt x="202" y="162"/>
                  </a:lnTo>
                  <a:lnTo>
                    <a:pt x="203" y="161"/>
                  </a:lnTo>
                  <a:lnTo>
                    <a:pt x="205" y="161"/>
                  </a:lnTo>
                  <a:lnTo>
                    <a:pt x="206" y="160"/>
                  </a:lnTo>
                  <a:lnTo>
                    <a:pt x="206" y="161"/>
                  </a:lnTo>
                  <a:lnTo>
                    <a:pt x="206" y="160"/>
                  </a:lnTo>
                  <a:lnTo>
                    <a:pt x="207" y="160"/>
                  </a:lnTo>
                  <a:lnTo>
                    <a:pt x="206" y="160"/>
                  </a:lnTo>
                  <a:lnTo>
                    <a:pt x="207" y="160"/>
                  </a:lnTo>
                  <a:lnTo>
                    <a:pt x="208" y="160"/>
                  </a:lnTo>
                  <a:lnTo>
                    <a:pt x="209" y="160"/>
                  </a:lnTo>
                  <a:lnTo>
                    <a:pt x="210" y="160"/>
                  </a:lnTo>
                  <a:lnTo>
                    <a:pt x="212" y="161"/>
                  </a:lnTo>
                  <a:lnTo>
                    <a:pt x="213" y="160"/>
                  </a:lnTo>
                  <a:lnTo>
                    <a:pt x="212" y="160"/>
                  </a:lnTo>
                  <a:lnTo>
                    <a:pt x="213" y="160"/>
                  </a:lnTo>
                  <a:lnTo>
                    <a:pt x="214" y="158"/>
                  </a:lnTo>
                  <a:lnTo>
                    <a:pt x="215" y="158"/>
                  </a:lnTo>
                  <a:lnTo>
                    <a:pt x="216" y="157"/>
                  </a:lnTo>
                  <a:lnTo>
                    <a:pt x="217" y="157"/>
                  </a:lnTo>
                  <a:lnTo>
                    <a:pt x="216" y="157"/>
                  </a:lnTo>
                  <a:lnTo>
                    <a:pt x="217" y="157"/>
                  </a:lnTo>
                  <a:lnTo>
                    <a:pt x="219" y="157"/>
                  </a:lnTo>
                  <a:lnTo>
                    <a:pt x="217" y="158"/>
                  </a:lnTo>
                  <a:lnTo>
                    <a:pt x="216" y="158"/>
                  </a:lnTo>
                  <a:lnTo>
                    <a:pt x="217" y="158"/>
                  </a:lnTo>
                  <a:lnTo>
                    <a:pt x="216" y="158"/>
                  </a:lnTo>
                  <a:lnTo>
                    <a:pt x="216" y="160"/>
                  </a:lnTo>
                  <a:lnTo>
                    <a:pt x="217" y="160"/>
                  </a:lnTo>
                  <a:lnTo>
                    <a:pt x="217" y="158"/>
                  </a:lnTo>
                  <a:lnTo>
                    <a:pt x="219" y="158"/>
                  </a:lnTo>
                  <a:lnTo>
                    <a:pt x="217" y="160"/>
                  </a:lnTo>
                  <a:lnTo>
                    <a:pt x="219" y="160"/>
                  </a:lnTo>
                  <a:lnTo>
                    <a:pt x="220" y="160"/>
                  </a:lnTo>
                  <a:lnTo>
                    <a:pt x="220" y="158"/>
                  </a:lnTo>
                  <a:lnTo>
                    <a:pt x="221" y="158"/>
                  </a:lnTo>
                  <a:lnTo>
                    <a:pt x="221" y="160"/>
                  </a:lnTo>
                  <a:lnTo>
                    <a:pt x="220" y="160"/>
                  </a:lnTo>
                  <a:lnTo>
                    <a:pt x="219" y="160"/>
                  </a:lnTo>
                  <a:lnTo>
                    <a:pt x="219" y="161"/>
                  </a:lnTo>
                  <a:lnTo>
                    <a:pt x="215" y="161"/>
                  </a:lnTo>
                  <a:lnTo>
                    <a:pt x="214" y="162"/>
                  </a:lnTo>
                  <a:lnTo>
                    <a:pt x="213" y="162"/>
                  </a:lnTo>
                  <a:lnTo>
                    <a:pt x="212" y="163"/>
                  </a:lnTo>
                  <a:lnTo>
                    <a:pt x="210" y="163"/>
                  </a:lnTo>
                  <a:lnTo>
                    <a:pt x="209" y="164"/>
                  </a:lnTo>
                  <a:lnTo>
                    <a:pt x="210" y="164"/>
                  </a:lnTo>
                  <a:lnTo>
                    <a:pt x="210" y="163"/>
                  </a:lnTo>
                  <a:lnTo>
                    <a:pt x="212" y="163"/>
                  </a:lnTo>
                  <a:lnTo>
                    <a:pt x="213" y="163"/>
                  </a:lnTo>
                  <a:lnTo>
                    <a:pt x="214" y="163"/>
                  </a:lnTo>
                  <a:lnTo>
                    <a:pt x="215" y="162"/>
                  </a:lnTo>
                  <a:lnTo>
                    <a:pt x="216" y="162"/>
                  </a:lnTo>
                  <a:lnTo>
                    <a:pt x="217" y="162"/>
                  </a:lnTo>
                  <a:lnTo>
                    <a:pt x="219" y="162"/>
                  </a:lnTo>
                  <a:lnTo>
                    <a:pt x="219" y="161"/>
                  </a:lnTo>
                  <a:lnTo>
                    <a:pt x="220" y="161"/>
                  </a:lnTo>
                  <a:lnTo>
                    <a:pt x="221" y="161"/>
                  </a:lnTo>
                  <a:lnTo>
                    <a:pt x="223" y="161"/>
                  </a:lnTo>
                  <a:lnTo>
                    <a:pt x="224" y="161"/>
                  </a:lnTo>
                  <a:lnTo>
                    <a:pt x="226" y="161"/>
                  </a:lnTo>
                  <a:lnTo>
                    <a:pt x="227" y="161"/>
                  </a:lnTo>
                  <a:lnTo>
                    <a:pt x="227" y="160"/>
                  </a:lnTo>
                  <a:lnTo>
                    <a:pt x="228" y="160"/>
                  </a:lnTo>
                  <a:lnTo>
                    <a:pt x="229" y="158"/>
                  </a:lnTo>
                  <a:lnTo>
                    <a:pt x="230" y="158"/>
                  </a:lnTo>
                  <a:lnTo>
                    <a:pt x="231" y="157"/>
                  </a:lnTo>
                  <a:lnTo>
                    <a:pt x="233" y="157"/>
                  </a:lnTo>
                  <a:lnTo>
                    <a:pt x="231" y="157"/>
                  </a:lnTo>
                  <a:lnTo>
                    <a:pt x="233" y="158"/>
                  </a:lnTo>
                  <a:lnTo>
                    <a:pt x="233" y="157"/>
                  </a:lnTo>
                  <a:lnTo>
                    <a:pt x="234" y="157"/>
                  </a:lnTo>
                  <a:lnTo>
                    <a:pt x="234" y="158"/>
                  </a:lnTo>
                  <a:lnTo>
                    <a:pt x="236" y="157"/>
                  </a:lnTo>
                  <a:lnTo>
                    <a:pt x="237" y="157"/>
                  </a:lnTo>
                  <a:lnTo>
                    <a:pt x="235" y="157"/>
                  </a:lnTo>
                  <a:lnTo>
                    <a:pt x="236" y="157"/>
                  </a:lnTo>
                  <a:lnTo>
                    <a:pt x="235" y="157"/>
                  </a:lnTo>
                  <a:lnTo>
                    <a:pt x="234" y="157"/>
                  </a:lnTo>
                  <a:lnTo>
                    <a:pt x="235" y="157"/>
                  </a:lnTo>
                  <a:lnTo>
                    <a:pt x="236" y="156"/>
                  </a:lnTo>
                  <a:lnTo>
                    <a:pt x="237" y="156"/>
                  </a:lnTo>
                  <a:lnTo>
                    <a:pt x="238" y="156"/>
                  </a:lnTo>
                  <a:lnTo>
                    <a:pt x="240" y="156"/>
                  </a:lnTo>
                  <a:lnTo>
                    <a:pt x="238" y="156"/>
                  </a:lnTo>
                  <a:lnTo>
                    <a:pt x="237" y="156"/>
                  </a:lnTo>
                  <a:lnTo>
                    <a:pt x="236" y="156"/>
                  </a:lnTo>
                  <a:lnTo>
                    <a:pt x="238" y="156"/>
                  </a:lnTo>
                  <a:lnTo>
                    <a:pt x="238" y="157"/>
                  </a:lnTo>
                  <a:lnTo>
                    <a:pt x="237" y="157"/>
                  </a:lnTo>
                  <a:lnTo>
                    <a:pt x="238" y="157"/>
                  </a:lnTo>
                  <a:lnTo>
                    <a:pt x="240" y="157"/>
                  </a:lnTo>
                  <a:lnTo>
                    <a:pt x="241" y="156"/>
                  </a:lnTo>
                  <a:lnTo>
                    <a:pt x="242" y="156"/>
                  </a:lnTo>
                  <a:lnTo>
                    <a:pt x="243" y="156"/>
                  </a:lnTo>
                  <a:lnTo>
                    <a:pt x="244" y="156"/>
                  </a:lnTo>
                  <a:lnTo>
                    <a:pt x="245" y="156"/>
                  </a:lnTo>
                  <a:lnTo>
                    <a:pt x="245" y="155"/>
                  </a:lnTo>
                  <a:lnTo>
                    <a:pt x="248" y="155"/>
                  </a:lnTo>
                  <a:lnTo>
                    <a:pt x="249" y="155"/>
                  </a:lnTo>
                  <a:lnTo>
                    <a:pt x="250" y="154"/>
                  </a:lnTo>
                  <a:lnTo>
                    <a:pt x="251" y="154"/>
                  </a:lnTo>
                  <a:lnTo>
                    <a:pt x="252" y="154"/>
                  </a:lnTo>
                  <a:lnTo>
                    <a:pt x="251" y="155"/>
                  </a:lnTo>
                  <a:lnTo>
                    <a:pt x="252" y="155"/>
                  </a:lnTo>
                  <a:lnTo>
                    <a:pt x="253" y="154"/>
                  </a:lnTo>
                  <a:lnTo>
                    <a:pt x="255" y="154"/>
                  </a:lnTo>
                  <a:lnTo>
                    <a:pt x="255" y="153"/>
                  </a:lnTo>
                  <a:lnTo>
                    <a:pt x="256" y="153"/>
                  </a:lnTo>
                  <a:lnTo>
                    <a:pt x="257" y="153"/>
                  </a:lnTo>
                  <a:lnTo>
                    <a:pt x="256" y="153"/>
                  </a:lnTo>
                  <a:lnTo>
                    <a:pt x="257" y="153"/>
                  </a:lnTo>
                  <a:lnTo>
                    <a:pt x="258" y="151"/>
                  </a:lnTo>
                  <a:lnTo>
                    <a:pt x="257" y="151"/>
                  </a:lnTo>
                  <a:lnTo>
                    <a:pt x="257" y="153"/>
                  </a:lnTo>
                  <a:lnTo>
                    <a:pt x="258" y="153"/>
                  </a:lnTo>
                  <a:lnTo>
                    <a:pt x="258" y="151"/>
                  </a:lnTo>
                  <a:lnTo>
                    <a:pt x="259" y="151"/>
                  </a:lnTo>
                  <a:lnTo>
                    <a:pt x="260" y="151"/>
                  </a:lnTo>
                  <a:lnTo>
                    <a:pt x="259" y="151"/>
                  </a:lnTo>
                  <a:lnTo>
                    <a:pt x="259" y="153"/>
                  </a:lnTo>
                  <a:lnTo>
                    <a:pt x="259" y="151"/>
                  </a:lnTo>
                  <a:lnTo>
                    <a:pt x="260" y="151"/>
                  </a:lnTo>
                  <a:lnTo>
                    <a:pt x="262" y="151"/>
                  </a:lnTo>
                  <a:lnTo>
                    <a:pt x="263" y="151"/>
                  </a:lnTo>
                  <a:lnTo>
                    <a:pt x="263" y="150"/>
                  </a:lnTo>
                  <a:lnTo>
                    <a:pt x="264" y="150"/>
                  </a:lnTo>
                  <a:lnTo>
                    <a:pt x="263" y="151"/>
                  </a:lnTo>
                  <a:lnTo>
                    <a:pt x="262" y="151"/>
                  </a:lnTo>
                  <a:lnTo>
                    <a:pt x="263" y="151"/>
                  </a:lnTo>
                  <a:lnTo>
                    <a:pt x="262" y="151"/>
                  </a:lnTo>
                  <a:lnTo>
                    <a:pt x="263" y="151"/>
                  </a:lnTo>
                  <a:lnTo>
                    <a:pt x="264" y="151"/>
                  </a:lnTo>
                  <a:lnTo>
                    <a:pt x="263" y="151"/>
                  </a:lnTo>
                  <a:lnTo>
                    <a:pt x="264" y="151"/>
                  </a:lnTo>
                  <a:lnTo>
                    <a:pt x="265" y="151"/>
                  </a:lnTo>
                  <a:lnTo>
                    <a:pt x="264" y="153"/>
                  </a:lnTo>
                  <a:lnTo>
                    <a:pt x="265" y="153"/>
                  </a:lnTo>
                  <a:lnTo>
                    <a:pt x="266" y="151"/>
                  </a:lnTo>
                  <a:lnTo>
                    <a:pt x="265" y="153"/>
                  </a:lnTo>
                  <a:lnTo>
                    <a:pt x="266" y="151"/>
                  </a:lnTo>
                  <a:lnTo>
                    <a:pt x="267" y="151"/>
                  </a:lnTo>
                  <a:lnTo>
                    <a:pt x="266" y="151"/>
                  </a:lnTo>
                  <a:lnTo>
                    <a:pt x="266" y="153"/>
                  </a:lnTo>
                  <a:lnTo>
                    <a:pt x="267" y="153"/>
                  </a:lnTo>
                  <a:lnTo>
                    <a:pt x="267" y="151"/>
                  </a:lnTo>
                  <a:lnTo>
                    <a:pt x="269" y="151"/>
                  </a:lnTo>
                  <a:lnTo>
                    <a:pt x="270" y="151"/>
                  </a:lnTo>
                  <a:lnTo>
                    <a:pt x="270" y="150"/>
                  </a:lnTo>
                  <a:lnTo>
                    <a:pt x="271" y="150"/>
                  </a:lnTo>
                  <a:lnTo>
                    <a:pt x="272" y="150"/>
                  </a:lnTo>
                  <a:lnTo>
                    <a:pt x="272" y="149"/>
                  </a:lnTo>
                  <a:lnTo>
                    <a:pt x="273" y="149"/>
                  </a:lnTo>
                  <a:lnTo>
                    <a:pt x="272" y="149"/>
                  </a:lnTo>
                  <a:lnTo>
                    <a:pt x="272" y="150"/>
                  </a:lnTo>
                  <a:lnTo>
                    <a:pt x="273" y="149"/>
                  </a:lnTo>
                  <a:lnTo>
                    <a:pt x="273" y="150"/>
                  </a:lnTo>
                  <a:lnTo>
                    <a:pt x="272" y="150"/>
                  </a:lnTo>
                  <a:lnTo>
                    <a:pt x="272" y="151"/>
                  </a:lnTo>
                  <a:lnTo>
                    <a:pt x="273" y="151"/>
                  </a:lnTo>
                  <a:lnTo>
                    <a:pt x="272" y="151"/>
                  </a:lnTo>
                  <a:lnTo>
                    <a:pt x="273" y="151"/>
                  </a:lnTo>
                  <a:lnTo>
                    <a:pt x="272" y="151"/>
                  </a:lnTo>
                  <a:lnTo>
                    <a:pt x="273" y="151"/>
                  </a:lnTo>
                  <a:lnTo>
                    <a:pt x="272" y="151"/>
                  </a:lnTo>
                  <a:lnTo>
                    <a:pt x="272" y="153"/>
                  </a:lnTo>
                  <a:lnTo>
                    <a:pt x="271" y="153"/>
                  </a:lnTo>
                  <a:lnTo>
                    <a:pt x="270" y="153"/>
                  </a:lnTo>
                  <a:lnTo>
                    <a:pt x="269" y="154"/>
                  </a:lnTo>
                  <a:lnTo>
                    <a:pt x="267" y="154"/>
                  </a:lnTo>
                  <a:lnTo>
                    <a:pt x="262" y="155"/>
                  </a:lnTo>
                  <a:lnTo>
                    <a:pt x="260" y="155"/>
                  </a:lnTo>
                  <a:lnTo>
                    <a:pt x="259" y="155"/>
                  </a:lnTo>
                  <a:lnTo>
                    <a:pt x="260" y="155"/>
                  </a:lnTo>
                  <a:lnTo>
                    <a:pt x="259" y="155"/>
                  </a:lnTo>
                  <a:lnTo>
                    <a:pt x="258" y="156"/>
                  </a:lnTo>
                  <a:lnTo>
                    <a:pt x="257" y="156"/>
                  </a:lnTo>
                  <a:lnTo>
                    <a:pt x="256" y="156"/>
                  </a:lnTo>
                  <a:lnTo>
                    <a:pt x="256" y="157"/>
                  </a:lnTo>
                  <a:lnTo>
                    <a:pt x="255" y="157"/>
                  </a:lnTo>
                  <a:lnTo>
                    <a:pt x="253" y="157"/>
                  </a:lnTo>
                  <a:lnTo>
                    <a:pt x="252" y="157"/>
                  </a:lnTo>
                  <a:lnTo>
                    <a:pt x="251" y="158"/>
                  </a:lnTo>
                  <a:lnTo>
                    <a:pt x="250" y="158"/>
                  </a:lnTo>
                  <a:lnTo>
                    <a:pt x="249" y="158"/>
                  </a:lnTo>
                  <a:lnTo>
                    <a:pt x="249" y="157"/>
                  </a:lnTo>
                  <a:lnTo>
                    <a:pt x="249" y="158"/>
                  </a:lnTo>
                  <a:lnTo>
                    <a:pt x="248" y="158"/>
                  </a:lnTo>
                  <a:lnTo>
                    <a:pt x="247" y="158"/>
                  </a:lnTo>
                  <a:lnTo>
                    <a:pt x="245" y="158"/>
                  </a:lnTo>
                  <a:lnTo>
                    <a:pt x="244" y="158"/>
                  </a:lnTo>
                  <a:lnTo>
                    <a:pt x="243" y="158"/>
                  </a:lnTo>
                  <a:lnTo>
                    <a:pt x="242" y="158"/>
                  </a:lnTo>
                  <a:lnTo>
                    <a:pt x="242" y="160"/>
                  </a:lnTo>
                  <a:lnTo>
                    <a:pt x="242" y="158"/>
                  </a:lnTo>
                  <a:lnTo>
                    <a:pt x="241" y="158"/>
                  </a:lnTo>
                  <a:lnTo>
                    <a:pt x="240" y="160"/>
                  </a:lnTo>
                  <a:lnTo>
                    <a:pt x="238" y="160"/>
                  </a:lnTo>
                  <a:lnTo>
                    <a:pt x="236" y="160"/>
                  </a:lnTo>
                  <a:lnTo>
                    <a:pt x="236" y="161"/>
                  </a:lnTo>
                  <a:lnTo>
                    <a:pt x="235" y="161"/>
                  </a:lnTo>
                  <a:lnTo>
                    <a:pt x="234" y="162"/>
                  </a:lnTo>
                  <a:lnTo>
                    <a:pt x="231" y="162"/>
                  </a:lnTo>
                  <a:lnTo>
                    <a:pt x="230" y="163"/>
                  </a:lnTo>
                  <a:lnTo>
                    <a:pt x="230" y="162"/>
                  </a:lnTo>
                  <a:lnTo>
                    <a:pt x="230" y="163"/>
                  </a:lnTo>
                  <a:lnTo>
                    <a:pt x="229" y="163"/>
                  </a:lnTo>
                  <a:lnTo>
                    <a:pt x="228" y="163"/>
                  </a:lnTo>
                  <a:lnTo>
                    <a:pt x="228" y="164"/>
                  </a:lnTo>
                  <a:lnTo>
                    <a:pt x="227" y="164"/>
                  </a:lnTo>
                  <a:lnTo>
                    <a:pt x="228" y="164"/>
                  </a:lnTo>
                  <a:lnTo>
                    <a:pt x="228" y="163"/>
                  </a:lnTo>
                  <a:lnTo>
                    <a:pt x="229" y="163"/>
                  </a:lnTo>
                  <a:lnTo>
                    <a:pt x="229" y="162"/>
                  </a:lnTo>
                  <a:lnTo>
                    <a:pt x="228" y="162"/>
                  </a:lnTo>
                  <a:lnTo>
                    <a:pt x="228" y="163"/>
                  </a:lnTo>
                  <a:lnTo>
                    <a:pt x="227" y="163"/>
                  </a:lnTo>
                  <a:lnTo>
                    <a:pt x="226" y="163"/>
                  </a:lnTo>
                  <a:lnTo>
                    <a:pt x="224" y="163"/>
                  </a:lnTo>
                  <a:lnTo>
                    <a:pt x="224" y="164"/>
                  </a:lnTo>
                  <a:lnTo>
                    <a:pt x="223" y="164"/>
                  </a:lnTo>
                  <a:lnTo>
                    <a:pt x="222" y="164"/>
                  </a:lnTo>
                  <a:lnTo>
                    <a:pt x="222" y="165"/>
                  </a:lnTo>
                  <a:lnTo>
                    <a:pt x="223" y="165"/>
                  </a:lnTo>
                  <a:lnTo>
                    <a:pt x="222" y="165"/>
                  </a:lnTo>
                  <a:lnTo>
                    <a:pt x="221" y="165"/>
                  </a:lnTo>
                  <a:lnTo>
                    <a:pt x="221" y="167"/>
                  </a:lnTo>
                  <a:lnTo>
                    <a:pt x="221" y="165"/>
                  </a:lnTo>
                  <a:lnTo>
                    <a:pt x="222" y="165"/>
                  </a:lnTo>
                  <a:lnTo>
                    <a:pt x="221" y="165"/>
                  </a:lnTo>
                  <a:lnTo>
                    <a:pt x="220" y="165"/>
                  </a:lnTo>
                  <a:lnTo>
                    <a:pt x="219" y="165"/>
                  </a:lnTo>
                  <a:lnTo>
                    <a:pt x="217" y="167"/>
                  </a:lnTo>
                  <a:lnTo>
                    <a:pt x="216" y="167"/>
                  </a:lnTo>
                  <a:lnTo>
                    <a:pt x="216" y="168"/>
                  </a:lnTo>
                  <a:lnTo>
                    <a:pt x="215" y="168"/>
                  </a:lnTo>
                  <a:lnTo>
                    <a:pt x="214" y="168"/>
                  </a:lnTo>
                  <a:lnTo>
                    <a:pt x="215" y="168"/>
                  </a:lnTo>
                  <a:lnTo>
                    <a:pt x="214" y="168"/>
                  </a:lnTo>
                  <a:lnTo>
                    <a:pt x="213" y="168"/>
                  </a:lnTo>
                  <a:lnTo>
                    <a:pt x="213" y="169"/>
                  </a:lnTo>
                  <a:lnTo>
                    <a:pt x="212" y="169"/>
                  </a:lnTo>
                  <a:lnTo>
                    <a:pt x="213" y="170"/>
                  </a:lnTo>
                  <a:lnTo>
                    <a:pt x="214" y="170"/>
                  </a:lnTo>
                  <a:lnTo>
                    <a:pt x="215" y="170"/>
                  </a:lnTo>
                  <a:lnTo>
                    <a:pt x="216" y="170"/>
                  </a:lnTo>
                  <a:lnTo>
                    <a:pt x="215" y="170"/>
                  </a:lnTo>
                  <a:lnTo>
                    <a:pt x="214" y="170"/>
                  </a:lnTo>
                  <a:lnTo>
                    <a:pt x="214" y="169"/>
                  </a:lnTo>
                  <a:lnTo>
                    <a:pt x="214" y="170"/>
                  </a:lnTo>
                  <a:lnTo>
                    <a:pt x="215" y="170"/>
                  </a:lnTo>
                  <a:lnTo>
                    <a:pt x="215" y="169"/>
                  </a:lnTo>
                  <a:lnTo>
                    <a:pt x="214" y="169"/>
                  </a:lnTo>
                  <a:lnTo>
                    <a:pt x="213" y="169"/>
                  </a:lnTo>
                  <a:lnTo>
                    <a:pt x="214" y="169"/>
                  </a:lnTo>
                  <a:lnTo>
                    <a:pt x="213" y="169"/>
                  </a:lnTo>
                  <a:lnTo>
                    <a:pt x="214" y="169"/>
                  </a:lnTo>
                  <a:lnTo>
                    <a:pt x="215" y="168"/>
                  </a:lnTo>
                  <a:lnTo>
                    <a:pt x="215" y="169"/>
                  </a:lnTo>
                  <a:lnTo>
                    <a:pt x="216" y="169"/>
                  </a:lnTo>
                  <a:lnTo>
                    <a:pt x="215" y="169"/>
                  </a:lnTo>
                  <a:lnTo>
                    <a:pt x="216" y="169"/>
                  </a:lnTo>
                  <a:lnTo>
                    <a:pt x="217" y="169"/>
                  </a:lnTo>
                  <a:lnTo>
                    <a:pt x="217" y="168"/>
                  </a:lnTo>
                  <a:lnTo>
                    <a:pt x="219" y="168"/>
                  </a:lnTo>
                  <a:lnTo>
                    <a:pt x="219" y="169"/>
                  </a:lnTo>
                  <a:lnTo>
                    <a:pt x="220" y="169"/>
                  </a:lnTo>
                  <a:lnTo>
                    <a:pt x="222" y="169"/>
                  </a:lnTo>
                  <a:lnTo>
                    <a:pt x="223" y="169"/>
                  </a:lnTo>
                  <a:lnTo>
                    <a:pt x="223" y="168"/>
                  </a:lnTo>
                  <a:lnTo>
                    <a:pt x="222" y="168"/>
                  </a:lnTo>
                  <a:lnTo>
                    <a:pt x="223" y="168"/>
                  </a:lnTo>
                  <a:lnTo>
                    <a:pt x="222" y="168"/>
                  </a:lnTo>
                  <a:lnTo>
                    <a:pt x="221" y="168"/>
                  </a:lnTo>
                  <a:lnTo>
                    <a:pt x="221" y="169"/>
                  </a:lnTo>
                  <a:lnTo>
                    <a:pt x="220" y="169"/>
                  </a:lnTo>
                  <a:lnTo>
                    <a:pt x="220" y="168"/>
                  </a:lnTo>
                  <a:lnTo>
                    <a:pt x="221" y="168"/>
                  </a:lnTo>
                  <a:lnTo>
                    <a:pt x="220" y="168"/>
                  </a:lnTo>
                  <a:lnTo>
                    <a:pt x="221" y="168"/>
                  </a:lnTo>
                  <a:lnTo>
                    <a:pt x="222" y="168"/>
                  </a:lnTo>
                  <a:lnTo>
                    <a:pt x="222" y="167"/>
                  </a:lnTo>
                  <a:lnTo>
                    <a:pt x="221" y="167"/>
                  </a:lnTo>
                  <a:lnTo>
                    <a:pt x="222" y="165"/>
                  </a:lnTo>
                  <a:lnTo>
                    <a:pt x="223" y="165"/>
                  </a:lnTo>
                  <a:lnTo>
                    <a:pt x="224" y="165"/>
                  </a:lnTo>
                  <a:lnTo>
                    <a:pt x="226" y="164"/>
                  </a:lnTo>
                  <a:lnTo>
                    <a:pt x="227" y="164"/>
                  </a:lnTo>
                  <a:lnTo>
                    <a:pt x="228" y="164"/>
                  </a:lnTo>
                  <a:lnTo>
                    <a:pt x="229" y="163"/>
                  </a:lnTo>
                  <a:lnTo>
                    <a:pt x="228" y="164"/>
                  </a:lnTo>
                  <a:lnTo>
                    <a:pt x="227" y="164"/>
                  </a:lnTo>
                  <a:lnTo>
                    <a:pt x="227" y="165"/>
                  </a:lnTo>
                  <a:lnTo>
                    <a:pt x="228" y="164"/>
                  </a:lnTo>
                  <a:lnTo>
                    <a:pt x="229" y="164"/>
                  </a:lnTo>
                  <a:lnTo>
                    <a:pt x="229" y="163"/>
                  </a:lnTo>
                  <a:lnTo>
                    <a:pt x="230" y="163"/>
                  </a:lnTo>
                  <a:lnTo>
                    <a:pt x="230" y="164"/>
                  </a:lnTo>
                  <a:lnTo>
                    <a:pt x="229" y="164"/>
                  </a:lnTo>
                  <a:lnTo>
                    <a:pt x="230" y="164"/>
                  </a:lnTo>
                  <a:lnTo>
                    <a:pt x="230" y="163"/>
                  </a:lnTo>
                  <a:lnTo>
                    <a:pt x="231" y="163"/>
                  </a:lnTo>
                  <a:lnTo>
                    <a:pt x="230" y="164"/>
                  </a:lnTo>
                  <a:lnTo>
                    <a:pt x="231" y="163"/>
                  </a:lnTo>
                  <a:lnTo>
                    <a:pt x="233" y="163"/>
                  </a:lnTo>
                  <a:lnTo>
                    <a:pt x="234" y="163"/>
                  </a:lnTo>
                  <a:lnTo>
                    <a:pt x="235" y="163"/>
                  </a:lnTo>
                  <a:lnTo>
                    <a:pt x="236" y="162"/>
                  </a:lnTo>
                  <a:lnTo>
                    <a:pt x="235" y="162"/>
                  </a:lnTo>
                  <a:lnTo>
                    <a:pt x="235" y="163"/>
                  </a:lnTo>
                  <a:lnTo>
                    <a:pt x="236" y="163"/>
                  </a:lnTo>
                  <a:lnTo>
                    <a:pt x="236" y="162"/>
                  </a:lnTo>
                  <a:lnTo>
                    <a:pt x="237" y="162"/>
                  </a:lnTo>
                  <a:lnTo>
                    <a:pt x="238" y="162"/>
                  </a:lnTo>
                  <a:lnTo>
                    <a:pt x="238" y="161"/>
                  </a:lnTo>
                  <a:lnTo>
                    <a:pt x="237" y="161"/>
                  </a:lnTo>
                  <a:lnTo>
                    <a:pt x="237" y="162"/>
                  </a:lnTo>
                  <a:lnTo>
                    <a:pt x="237" y="161"/>
                  </a:lnTo>
                  <a:lnTo>
                    <a:pt x="236" y="161"/>
                  </a:lnTo>
                  <a:lnTo>
                    <a:pt x="237" y="161"/>
                  </a:lnTo>
                  <a:lnTo>
                    <a:pt x="238" y="161"/>
                  </a:lnTo>
                  <a:lnTo>
                    <a:pt x="237" y="161"/>
                  </a:lnTo>
                  <a:lnTo>
                    <a:pt x="238" y="161"/>
                  </a:lnTo>
                  <a:lnTo>
                    <a:pt x="240" y="161"/>
                  </a:lnTo>
                  <a:lnTo>
                    <a:pt x="241" y="161"/>
                  </a:lnTo>
                  <a:lnTo>
                    <a:pt x="241" y="160"/>
                  </a:lnTo>
                  <a:lnTo>
                    <a:pt x="242" y="161"/>
                  </a:lnTo>
                  <a:lnTo>
                    <a:pt x="241" y="161"/>
                  </a:lnTo>
                  <a:lnTo>
                    <a:pt x="241" y="162"/>
                  </a:lnTo>
                  <a:lnTo>
                    <a:pt x="240" y="162"/>
                  </a:lnTo>
                  <a:lnTo>
                    <a:pt x="241" y="162"/>
                  </a:lnTo>
                  <a:lnTo>
                    <a:pt x="242" y="162"/>
                  </a:lnTo>
                  <a:lnTo>
                    <a:pt x="242" y="161"/>
                  </a:lnTo>
                  <a:lnTo>
                    <a:pt x="243" y="161"/>
                  </a:lnTo>
                  <a:lnTo>
                    <a:pt x="244" y="161"/>
                  </a:lnTo>
                  <a:lnTo>
                    <a:pt x="244" y="160"/>
                  </a:lnTo>
                  <a:lnTo>
                    <a:pt x="244" y="161"/>
                  </a:lnTo>
                  <a:lnTo>
                    <a:pt x="244" y="160"/>
                  </a:lnTo>
                  <a:lnTo>
                    <a:pt x="245" y="160"/>
                  </a:lnTo>
                  <a:lnTo>
                    <a:pt x="244" y="161"/>
                  </a:lnTo>
                  <a:lnTo>
                    <a:pt x="243" y="161"/>
                  </a:lnTo>
                  <a:lnTo>
                    <a:pt x="242" y="162"/>
                  </a:lnTo>
                  <a:lnTo>
                    <a:pt x="241" y="162"/>
                  </a:lnTo>
                  <a:lnTo>
                    <a:pt x="242" y="162"/>
                  </a:lnTo>
                  <a:lnTo>
                    <a:pt x="243" y="162"/>
                  </a:lnTo>
                  <a:lnTo>
                    <a:pt x="244" y="162"/>
                  </a:lnTo>
                  <a:lnTo>
                    <a:pt x="244" y="161"/>
                  </a:lnTo>
                  <a:lnTo>
                    <a:pt x="245" y="161"/>
                  </a:lnTo>
                  <a:lnTo>
                    <a:pt x="245" y="160"/>
                  </a:lnTo>
                  <a:lnTo>
                    <a:pt x="247" y="158"/>
                  </a:lnTo>
                  <a:lnTo>
                    <a:pt x="247" y="160"/>
                  </a:lnTo>
                  <a:lnTo>
                    <a:pt x="245" y="161"/>
                  </a:lnTo>
                  <a:lnTo>
                    <a:pt x="244" y="161"/>
                  </a:lnTo>
                  <a:lnTo>
                    <a:pt x="244" y="162"/>
                  </a:lnTo>
                  <a:lnTo>
                    <a:pt x="244" y="161"/>
                  </a:lnTo>
                  <a:lnTo>
                    <a:pt x="245" y="161"/>
                  </a:lnTo>
                  <a:lnTo>
                    <a:pt x="247" y="161"/>
                  </a:lnTo>
                  <a:lnTo>
                    <a:pt x="247" y="160"/>
                  </a:lnTo>
                  <a:lnTo>
                    <a:pt x="248" y="160"/>
                  </a:lnTo>
                  <a:lnTo>
                    <a:pt x="248" y="158"/>
                  </a:lnTo>
                  <a:lnTo>
                    <a:pt x="247" y="158"/>
                  </a:lnTo>
                  <a:lnTo>
                    <a:pt x="248" y="158"/>
                  </a:lnTo>
                  <a:lnTo>
                    <a:pt x="249" y="158"/>
                  </a:lnTo>
                  <a:lnTo>
                    <a:pt x="248" y="158"/>
                  </a:lnTo>
                  <a:lnTo>
                    <a:pt x="248" y="160"/>
                  </a:lnTo>
                  <a:lnTo>
                    <a:pt x="247" y="161"/>
                  </a:lnTo>
                  <a:lnTo>
                    <a:pt x="245" y="161"/>
                  </a:lnTo>
                  <a:lnTo>
                    <a:pt x="244" y="162"/>
                  </a:lnTo>
                  <a:lnTo>
                    <a:pt x="245" y="162"/>
                  </a:lnTo>
                  <a:lnTo>
                    <a:pt x="245" y="161"/>
                  </a:lnTo>
                  <a:lnTo>
                    <a:pt x="248" y="160"/>
                  </a:lnTo>
                  <a:lnTo>
                    <a:pt x="249" y="160"/>
                  </a:lnTo>
                  <a:lnTo>
                    <a:pt x="248" y="160"/>
                  </a:lnTo>
                  <a:lnTo>
                    <a:pt x="248" y="161"/>
                  </a:lnTo>
                  <a:lnTo>
                    <a:pt x="247" y="161"/>
                  </a:lnTo>
                  <a:lnTo>
                    <a:pt x="245" y="162"/>
                  </a:lnTo>
                  <a:lnTo>
                    <a:pt x="244" y="162"/>
                  </a:lnTo>
                  <a:lnTo>
                    <a:pt x="245" y="162"/>
                  </a:lnTo>
                  <a:lnTo>
                    <a:pt x="247" y="161"/>
                  </a:lnTo>
                  <a:lnTo>
                    <a:pt x="247" y="162"/>
                  </a:lnTo>
                  <a:lnTo>
                    <a:pt x="245" y="162"/>
                  </a:lnTo>
                  <a:lnTo>
                    <a:pt x="244" y="163"/>
                  </a:lnTo>
                  <a:lnTo>
                    <a:pt x="243" y="163"/>
                  </a:lnTo>
                  <a:lnTo>
                    <a:pt x="243" y="164"/>
                  </a:lnTo>
                  <a:lnTo>
                    <a:pt x="242" y="164"/>
                  </a:lnTo>
                  <a:lnTo>
                    <a:pt x="243" y="164"/>
                  </a:lnTo>
                  <a:lnTo>
                    <a:pt x="244" y="164"/>
                  </a:lnTo>
                  <a:lnTo>
                    <a:pt x="244" y="163"/>
                  </a:lnTo>
                  <a:lnTo>
                    <a:pt x="247" y="162"/>
                  </a:lnTo>
                  <a:lnTo>
                    <a:pt x="248" y="162"/>
                  </a:lnTo>
                  <a:lnTo>
                    <a:pt x="248" y="161"/>
                  </a:lnTo>
                  <a:lnTo>
                    <a:pt x="249" y="161"/>
                  </a:lnTo>
                  <a:lnTo>
                    <a:pt x="250" y="161"/>
                  </a:lnTo>
                  <a:lnTo>
                    <a:pt x="253" y="160"/>
                  </a:lnTo>
                  <a:lnTo>
                    <a:pt x="253" y="158"/>
                  </a:lnTo>
                  <a:lnTo>
                    <a:pt x="255" y="158"/>
                  </a:lnTo>
                  <a:lnTo>
                    <a:pt x="256" y="158"/>
                  </a:lnTo>
                  <a:lnTo>
                    <a:pt x="256" y="157"/>
                  </a:lnTo>
                  <a:lnTo>
                    <a:pt x="257" y="157"/>
                  </a:lnTo>
                  <a:lnTo>
                    <a:pt x="259" y="157"/>
                  </a:lnTo>
                  <a:lnTo>
                    <a:pt x="262" y="156"/>
                  </a:lnTo>
                  <a:lnTo>
                    <a:pt x="263" y="156"/>
                  </a:lnTo>
                  <a:lnTo>
                    <a:pt x="265" y="156"/>
                  </a:lnTo>
                  <a:lnTo>
                    <a:pt x="266" y="155"/>
                  </a:lnTo>
                  <a:lnTo>
                    <a:pt x="267" y="155"/>
                  </a:lnTo>
                  <a:lnTo>
                    <a:pt x="269" y="155"/>
                  </a:lnTo>
                  <a:lnTo>
                    <a:pt x="272" y="155"/>
                  </a:lnTo>
                  <a:lnTo>
                    <a:pt x="273" y="155"/>
                  </a:lnTo>
                  <a:lnTo>
                    <a:pt x="273" y="154"/>
                  </a:lnTo>
                  <a:lnTo>
                    <a:pt x="274" y="154"/>
                  </a:lnTo>
                  <a:lnTo>
                    <a:pt x="276" y="154"/>
                  </a:lnTo>
                  <a:lnTo>
                    <a:pt x="274" y="154"/>
                  </a:lnTo>
                  <a:lnTo>
                    <a:pt x="274" y="155"/>
                  </a:lnTo>
                  <a:lnTo>
                    <a:pt x="273" y="155"/>
                  </a:lnTo>
                  <a:lnTo>
                    <a:pt x="272" y="155"/>
                  </a:lnTo>
                  <a:lnTo>
                    <a:pt x="271" y="155"/>
                  </a:lnTo>
                  <a:lnTo>
                    <a:pt x="271" y="156"/>
                  </a:lnTo>
                  <a:lnTo>
                    <a:pt x="270" y="156"/>
                  </a:lnTo>
                  <a:lnTo>
                    <a:pt x="270" y="157"/>
                  </a:lnTo>
                  <a:lnTo>
                    <a:pt x="271" y="157"/>
                  </a:lnTo>
                  <a:lnTo>
                    <a:pt x="272" y="156"/>
                  </a:lnTo>
                  <a:lnTo>
                    <a:pt x="273" y="156"/>
                  </a:lnTo>
                  <a:lnTo>
                    <a:pt x="274" y="156"/>
                  </a:lnTo>
                  <a:lnTo>
                    <a:pt x="276" y="156"/>
                  </a:lnTo>
                  <a:lnTo>
                    <a:pt x="277" y="155"/>
                  </a:lnTo>
                  <a:lnTo>
                    <a:pt x="278" y="155"/>
                  </a:lnTo>
                  <a:lnTo>
                    <a:pt x="280" y="154"/>
                  </a:lnTo>
                  <a:lnTo>
                    <a:pt x="281" y="154"/>
                  </a:lnTo>
                  <a:lnTo>
                    <a:pt x="283" y="154"/>
                  </a:lnTo>
                  <a:lnTo>
                    <a:pt x="283" y="153"/>
                  </a:lnTo>
                  <a:lnTo>
                    <a:pt x="283" y="151"/>
                  </a:lnTo>
                  <a:lnTo>
                    <a:pt x="284" y="151"/>
                  </a:lnTo>
                  <a:lnTo>
                    <a:pt x="285" y="151"/>
                  </a:lnTo>
                  <a:lnTo>
                    <a:pt x="286" y="151"/>
                  </a:lnTo>
                  <a:lnTo>
                    <a:pt x="286" y="150"/>
                  </a:lnTo>
                  <a:lnTo>
                    <a:pt x="287" y="150"/>
                  </a:lnTo>
                  <a:lnTo>
                    <a:pt x="288" y="150"/>
                  </a:lnTo>
                  <a:lnTo>
                    <a:pt x="290" y="150"/>
                  </a:lnTo>
                  <a:lnTo>
                    <a:pt x="291" y="150"/>
                  </a:lnTo>
                  <a:lnTo>
                    <a:pt x="293" y="150"/>
                  </a:lnTo>
                  <a:lnTo>
                    <a:pt x="294" y="150"/>
                  </a:lnTo>
                  <a:lnTo>
                    <a:pt x="293" y="150"/>
                  </a:lnTo>
                  <a:lnTo>
                    <a:pt x="292" y="149"/>
                  </a:lnTo>
                  <a:lnTo>
                    <a:pt x="291" y="149"/>
                  </a:lnTo>
                  <a:lnTo>
                    <a:pt x="290" y="149"/>
                  </a:lnTo>
                  <a:lnTo>
                    <a:pt x="290" y="148"/>
                  </a:lnTo>
                  <a:lnTo>
                    <a:pt x="291" y="148"/>
                  </a:lnTo>
                  <a:lnTo>
                    <a:pt x="292" y="148"/>
                  </a:lnTo>
                  <a:lnTo>
                    <a:pt x="291" y="148"/>
                  </a:lnTo>
                  <a:lnTo>
                    <a:pt x="290" y="148"/>
                  </a:lnTo>
                  <a:lnTo>
                    <a:pt x="291" y="147"/>
                  </a:lnTo>
                  <a:lnTo>
                    <a:pt x="292" y="147"/>
                  </a:lnTo>
                  <a:lnTo>
                    <a:pt x="293" y="146"/>
                  </a:lnTo>
                  <a:lnTo>
                    <a:pt x="294" y="146"/>
                  </a:lnTo>
                  <a:lnTo>
                    <a:pt x="295" y="146"/>
                  </a:lnTo>
                  <a:lnTo>
                    <a:pt x="297" y="147"/>
                  </a:lnTo>
                  <a:lnTo>
                    <a:pt x="298" y="148"/>
                  </a:lnTo>
                  <a:lnTo>
                    <a:pt x="298" y="149"/>
                  </a:lnTo>
                  <a:lnTo>
                    <a:pt x="298" y="150"/>
                  </a:lnTo>
                  <a:lnTo>
                    <a:pt x="298" y="151"/>
                  </a:lnTo>
                  <a:lnTo>
                    <a:pt x="297" y="153"/>
                  </a:lnTo>
                  <a:lnTo>
                    <a:pt x="298" y="154"/>
                  </a:lnTo>
                  <a:lnTo>
                    <a:pt x="297" y="154"/>
                  </a:lnTo>
                  <a:lnTo>
                    <a:pt x="295" y="155"/>
                  </a:lnTo>
                  <a:lnTo>
                    <a:pt x="295" y="156"/>
                  </a:lnTo>
                  <a:lnTo>
                    <a:pt x="295" y="160"/>
                  </a:lnTo>
                  <a:lnTo>
                    <a:pt x="297" y="160"/>
                  </a:lnTo>
                  <a:lnTo>
                    <a:pt x="298" y="161"/>
                  </a:lnTo>
                  <a:lnTo>
                    <a:pt x="299" y="161"/>
                  </a:lnTo>
                  <a:lnTo>
                    <a:pt x="300" y="161"/>
                  </a:lnTo>
                  <a:lnTo>
                    <a:pt x="300" y="162"/>
                  </a:lnTo>
                  <a:lnTo>
                    <a:pt x="301" y="162"/>
                  </a:lnTo>
                  <a:lnTo>
                    <a:pt x="302" y="162"/>
                  </a:lnTo>
                  <a:lnTo>
                    <a:pt x="302" y="161"/>
                  </a:lnTo>
                  <a:lnTo>
                    <a:pt x="305" y="161"/>
                  </a:lnTo>
                  <a:lnTo>
                    <a:pt x="306" y="161"/>
                  </a:lnTo>
                  <a:lnTo>
                    <a:pt x="307" y="161"/>
                  </a:lnTo>
                  <a:lnTo>
                    <a:pt x="306" y="161"/>
                  </a:lnTo>
                  <a:lnTo>
                    <a:pt x="307" y="160"/>
                  </a:lnTo>
                  <a:lnTo>
                    <a:pt x="306" y="160"/>
                  </a:lnTo>
                  <a:lnTo>
                    <a:pt x="305" y="161"/>
                  </a:lnTo>
                  <a:lnTo>
                    <a:pt x="305" y="160"/>
                  </a:lnTo>
                  <a:lnTo>
                    <a:pt x="302" y="161"/>
                  </a:lnTo>
                  <a:lnTo>
                    <a:pt x="301" y="161"/>
                  </a:lnTo>
                  <a:lnTo>
                    <a:pt x="301" y="160"/>
                  </a:lnTo>
                  <a:lnTo>
                    <a:pt x="302" y="160"/>
                  </a:lnTo>
                  <a:lnTo>
                    <a:pt x="304" y="160"/>
                  </a:lnTo>
                  <a:lnTo>
                    <a:pt x="305" y="160"/>
                  </a:lnTo>
                  <a:lnTo>
                    <a:pt x="306" y="160"/>
                  </a:lnTo>
                  <a:lnTo>
                    <a:pt x="307" y="160"/>
                  </a:lnTo>
                  <a:lnTo>
                    <a:pt x="306" y="160"/>
                  </a:lnTo>
                  <a:lnTo>
                    <a:pt x="306" y="158"/>
                  </a:lnTo>
                  <a:lnTo>
                    <a:pt x="307" y="158"/>
                  </a:lnTo>
                  <a:lnTo>
                    <a:pt x="306" y="158"/>
                  </a:lnTo>
                  <a:lnTo>
                    <a:pt x="306" y="157"/>
                  </a:lnTo>
                  <a:lnTo>
                    <a:pt x="307" y="157"/>
                  </a:lnTo>
                  <a:lnTo>
                    <a:pt x="308" y="157"/>
                  </a:lnTo>
                  <a:lnTo>
                    <a:pt x="311" y="156"/>
                  </a:lnTo>
                  <a:lnTo>
                    <a:pt x="311" y="157"/>
                  </a:lnTo>
                  <a:lnTo>
                    <a:pt x="311" y="156"/>
                  </a:lnTo>
                  <a:lnTo>
                    <a:pt x="312" y="156"/>
                  </a:lnTo>
                  <a:lnTo>
                    <a:pt x="312" y="157"/>
                  </a:lnTo>
                  <a:lnTo>
                    <a:pt x="311" y="157"/>
                  </a:lnTo>
                  <a:lnTo>
                    <a:pt x="312" y="157"/>
                  </a:lnTo>
                  <a:lnTo>
                    <a:pt x="313" y="157"/>
                  </a:lnTo>
                  <a:lnTo>
                    <a:pt x="313" y="156"/>
                  </a:lnTo>
                  <a:lnTo>
                    <a:pt x="312" y="156"/>
                  </a:lnTo>
                  <a:lnTo>
                    <a:pt x="311" y="156"/>
                  </a:lnTo>
                  <a:lnTo>
                    <a:pt x="309" y="156"/>
                  </a:lnTo>
                  <a:lnTo>
                    <a:pt x="311" y="155"/>
                  </a:lnTo>
                  <a:lnTo>
                    <a:pt x="312" y="155"/>
                  </a:lnTo>
                  <a:lnTo>
                    <a:pt x="311" y="156"/>
                  </a:lnTo>
                  <a:lnTo>
                    <a:pt x="312" y="156"/>
                  </a:lnTo>
                  <a:lnTo>
                    <a:pt x="313" y="155"/>
                  </a:lnTo>
                  <a:lnTo>
                    <a:pt x="314" y="155"/>
                  </a:lnTo>
                  <a:lnTo>
                    <a:pt x="315" y="154"/>
                  </a:lnTo>
                  <a:lnTo>
                    <a:pt x="317" y="154"/>
                  </a:lnTo>
                  <a:lnTo>
                    <a:pt x="319" y="154"/>
                  </a:lnTo>
                  <a:lnTo>
                    <a:pt x="319" y="153"/>
                  </a:lnTo>
                  <a:lnTo>
                    <a:pt x="317" y="154"/>
                  </a:lnTo>
                  <a:lnTo>
                    <a:pt x="316" y="154"/>
                  </a:lnTo>
                  <a:lnTo>
                    <a:pt x="317" y="153"/>
                  </a:lnTo>
                  <a:lnTo>
                    <a:pt x="316" y="153"/>
                  </a:lnTo>
                  <a:lnTo>
                    <a:pt x="315" y="153"/>
                  </a:lnTo>
                  <a:lnTo>
                    <a:pt x="315" y="154"/>
                  </a:lnTo>
                  <a:lnTo>
                    <a:pt x="314" y="154"/>
                  </a:lnTo>
                  <a:lnTo>
                    <a:pt x="313" y="154"/>
                  </a:lnTo>
                  <a:lnTo>
                    <a:pt x="313" y="153"/>
                  </a:lnTo>
                  <a:lnTo>
                    <a:pt x="314" y="153"/>
                  </a:lnTo>
                  <a:lnTo>
                    <a:pt x="315" y="153"/>
                  </a:lnTo>
                  <a:lnTo>
                    <a:pt x="316" y="153"/>
                  </a:lnTo>
                  <a:lnTo>
                    <a:pt x="316" y="151"/>
                  </a:lnTo>
                  <a:lnTo>
                    <a:pt x="316" y="153"/>
                  </a:lnTo>
                  <a:lnTo>
                    <a:pt x="315" y="153"/>
                  </a:lnTo>
                  <a:lnTo>
                    <a:pt x="316" y="153"/>
                  </a:lnTo>
                  <a:lnTo>
                    <a:pt x="317" y="153"/>
                  </a:lnTo>
                  <a:lnTo>
                    <a:pt x="316" y="153"/>
                  </a:lnTo>
                  <a:lnTo>
                    <a:pt x="317" y="153"/>
                  </a:lnTo>
                  <a:lnTo>
                    <a:pt x="319" y="153"/>
                  </a:lnTo>
                  <a:lnTo>
                    <a:pt x="320" y="153"/>
                  </a:lnTo>
                  <a:lnTo>
                    <a:pt x="321" y="153"/>
                  </a:lnTo>
                  <a:lnTo>
                    <a:pt x="320" y="153"/>
                  </a:lnTo>
                  <a:lnTo>
                    <a:pt x="321" y="153"/>
                  </a:lnTo>
                  <a:lnTo>
                    <a:pt x="322" y="153"/>
                  </a:lnTo>
                  <a:lnTo>
                    <a:pt x="322" y="151"/>
                  </a:lnTo>
                  <a:lnTo>
                    <a:pt x="321" y="153"/>
                  </a:lnTo>
                  <a:lnTo>
                    <a:pt x="321" y="151"/>
                  </a:lnTo>
                  <a:lnTo>
                    <a:pt x="322" y="151"/>
                  </a:lnTo>
                  <a:lnTo>
                    <a:pt x="321" y="151"/>
                  </a:lnTo>
                  <a:lnTo>
                    <a:pt x="320" y="151"/>
                  </a:lnTo>
                  <a:lnTo>
                    <a:pt x="321" y="151"/>
                  </a:lnTo>
                  <a:lnTo>
                    <a:pt x="322" y="151"/>
                  </a:lnTo>
                  <a:lnTo>
                    <a:pt x="323" y="151"/>
                  </a:lnTo>
                  <a:lnTo>
                    <a:pt x="322" y="151"/>
                  </a:lnTo>
                  <a:lnTo>
                    <a:pt x="323" y="151"/>
                  </a:lnTo>
                  <a:lnTo>
                    <a:pt x="323" y="153"/>
                  </a:lnTo>
                  <a:lnTo>
                    <a:pt x="322" y="153"/>
                  </a:lnTo>
                  <a:lnTo>
                    <a:pt x="321" y="153"/>
                  </a:lnTo>
                  <a:lnTo>
                    <a:pt x="321" y="154"/>
                  </a:lnTo>
                  <a:lnTo>
                    <a:pt x="320" y="154"/>
                  </a:lnTo>
                  <a:lnTo>
                    <a:pt x="321" y="154"/>
                  </a:lnTo>
                  <a:lnTo>
                    <a:pt x="320" y="154"/>
                  </a:lnTo>
                  <a:lnTo>
                    <a:pt x="319" y="154"/>
                  </a:lnTo>
                  <a:lnTo>
                    <a:pt x="319" y="155"/>
                  </a:lnTo>
                  <a:lnTo>
                    <a:pt x="320" y="155"/>
                  </a:lnTo>
                  <a:lnTo>
                    <a:pt x="319" y="155"/>
                  </a:lnTo>
                  <a:lnTo>
                    <a:pt x="320" y="155"/>
                  </a:lnTo>
                  <a:lnTo>
                    <a:pt x="319" y="155"/>
                  </a:lnTo>
                  <a:lnTo>
                    <a:pt x="317" y="156"/>
                  </a:lnTo>
                  <a:lnTo>
                    <a:pt x="316" y="156"/>
                  </a:lnTo>
                  <a:lnTo>
                    <a:pt x="316" y="157"/>
                  </a:lnTo>
                  <a:lnTo>
                    <a:pt x="317" y="157"/>
                  </a:lnTo>
                  <a:lnTo>
                    <a:pt x="319" y="157"/>
                  </a:lnTo>
                  <a:lnTo>
                    <a:pt x="320" y="156"/>
                  </a:lnTo>
                  <a:lnTo>
                    <a:pt x="321" y="156"/>
                  </a:lnTo>
                  <a:lnTo>
                    <a:pt x="321" y="157"/>
                  </a:lnTo>
                  <a:lnTo>
                    <a:pt x="320" y="157"/>
                  </a:lnTo>
                  <a:lnTo>
                    <a:pt x="321" y="157"/>
                  </a:lnTo>
                  <a:lnTo>
                    <a:pt x="320" y="157"/>
                  </a:lnTo>
                  <a:lnTo>
                    <a:pt x="319" y="158"/>
                  </a:lnTo>
                  <a:lnTo>
                    <a:pt x="317" y="158"/>
                  </a:lnTo>
                  <a:lnTo>
                    <a:pt x="316" y="160"/>
                  </a:lnTo>
                  <a:lnTo>
                    <a:pt x="315" y="160"/>
                  </a:lnTo>
                  <a:lnTo>
                    <a:pt x="314" y="160"/>
                  </a:lnTo>
                  <a:lnTo>
                    <a:pt x="313" y="161"/>
                  </a:lnTo>
                  <a:lnTo>
                    <a:pt x="312" y="161"/>
                  </a:lnTo>
                  <a:lnTo>
                    <a:pt x="312" y="162"/>
                  </a:lnTo>
                  <a:lnTo>
                    <a:pt x="313" y="162"/>
                  </a:lnTo>
                  <a:lnTo>
                    <a:pt x="314" y="162"/>
                  </a:lnTo>
                  <a:lnTo>
                    <a:pt x="315" y="162"/>
                  </a:lnTo>
                  <a:lnTo>
                    <a:pt x="316" y="161"/>
                  </a:lnTo>
                  <a:lnTo>
                    <a:pt x="315" y="162"/>
                  </a:lnTo>
                  <a:lnTo>
                    <a:pt x="316" y="162"/>
                  </a:lnTo>
                  <a:lnTo>
                    <a:pt x="316" y="161"/>
                  </a:lnTo>
                  <a:lnTo>
                    <a:pt x="317" y="161"/>
                  </a:lnTo>
                  <a:lnTo>
                    <a:pt x="317" y="162"/>
                  </a:lnTo>
                  <a:lnTo>
                    <a:pt x="317" y="161"/>
                  </a:lnTo>
                  <a:lnTo>
                    <a:pt x="319" y="161"/>
                  </a:lnTo>
                  <a:lnTo>
                    <a:pt x="319" y="162"/>
                  </a:lnTo>
                  <a:lnTo>
                    <a:pt x="320" y="162"/>
                  </a:lnTo>
                  <a:lnTo>
                    <a:pt x="321" y="162"/>
                  </a:lnTo>
                  <a:lnTo>
                    <a:pt x="323" y="161"/>
                  </a:lnTo>
                  <a:lnTo>
                    <a:pt x="323" y="160"/>
                  </a:lnTo>
                  <a:lnTo>
                    <a:pt x="324" y="160"/>
                  </a:lnTo>
                  <a:lnTo>
                    <a:pt x="326" y="160"/>
                  </a:lnTo>
                  <a:lnTo>
                    <a:pt x="327" y="160"/>
                  </a:lnTo>
                  <a:lnTo>
                    <a:pt x="328" y="160"/>
                  </a:lnTo>
                  <a:lnTo>
                    <a:pt x="328" y="158"/>
                  </a:lnTo>
                  <a:lnTo>
                    <a:pt x="329" y="158"/>
                  </a:lnTo>
                  <a:lnTo>
                    <a:pt x="329" y="157"/>
                  </a:lnTo>
                  <a:lnTo>
                    <a:pt x="330" y="157"/>
                  </a:lnTo>
                  <a:lnTo>
                    <a:pt x="330" y="156"/>
                  </a:lnTo>
                  <a:lnTo>
                    <a:pt x="331" y="156"/>
                  </a:lnTo>
                  <a:lnTo>
                    <a:pt x="333" y="155"/>
                  </a:lnTo>
                  <a:lnTo>
                    <a:pt x="334" y="155"/>
                  </a:lnTo>
                  <a:lnTo>
                    <a:pt x="334" y="156"/>
                  </a:lnTo>
                  <a:lnTo>
                    <a:pt x="335" y="156"/>
                  </a:lnTo>
                  <a:lnTo>
                    <a:pt x="335" y="155"/>
                  </a:lnTo>
                  <a:lnTo>
                    <a:pt x="336" y="155"/>
                  </a:lnTo>
                  <a:lnTo>
                    <a:pt x="337" y="156"/>
                  </a:lnTo>
                  <a:lnTo>
                    <a:pt x="340" y="156"/>
                  </a:lnTo>
                  <a:lnTo>
                    <a:pt x="341" y="156"/>
                  </a:lnTo>
                  <a:lnTo>
                    <a:pt x="343" y="155"/>
                  </a:lnTo>
                  <a:lnTo>
                    <a:pt x="347" y="156"/>
                  </a:lnTo>
                  <a:lnTo>
                    <a:pt x="348" y="156"/>
                  </a:lnTo>
                  <a:lnTo>
                    <a:pt x="350" y="157"/>
                  </a:lnTo>
                  <a:lnTo>
                    <a:pt x="352" y="158"/>
                  </a:lnTo>
                  <a:lnTo>
                    <a:pt x="352" y="160"/>
                  </a:lnTo>
                  <a:lnTo>
                    <a:pt x="355" y="161"/>
                  </a:lnTo>
                  <a:lnTo>
                    <a:pt x="356" y="161"/>
                  </a:lnTo>
                  <a:lnTo>
                    <a:pt x="356" y="162"/>
                  </a:lnTo>
                  <a:lnTo>
                    <a:pt x="358" y="162"/>
                  </a:lnTo>
                  <a:lnTo>
                    <a:pt x="359" y="162"/>
                  </a:lnTo>
                  <a:lnTo>
                    <a:pt x="361" y="162"/>
                  </a:lnTo>
                  <a:lnTo>
                    <a:pt x="363" y="162"/>
                  </a:lnTo>
                  <a:lnTo>
                    <a:pt x="366" y="163"/>
                  </a:lnTo>
                  <a:lnTo>
                    <a:pt x="369" y="163"/>
                  </a:lnTo>
                  <a:lnTo>
                    <a:pt x="369" y="164"/>
                  </a:lnTo>
                  <a:lnTo>
                    <a:pt x="371" y="165"/>
                  </a:lnTo>
                  <a:lnTo>
                    <a:pt x="372" y="167"/>
                  </a:lnTo>
                  <a:lnTo>
                    <a:pt x="373" y="167"/>
                  </a:lnTo>
                  <a:lnTo>
                    <a:pt x="375" y="167"/>
                  </a:lnTo>
                  <a:lnTo>
                    <a:pt x="378" y="167"/>
                  </a:lnTo>
                  <a:lnTo>
                    <a:pt x="378" y="168"/>
                  </a:lnTo>
                  <a:lnTo>
                    <a:pt x="379" y="168"/>
                  </a:lnTo>
                  <a:lnTo>
                    <a:pt x="380" y="168"/>
                  </a:lnTo>
                  <a:lnTo>
                    <a:pt x="381" y="168"/>
                  </a:lnTo>
                  <a:lnTo>
                    <a:pt x="381" y="167"/>
                  </a:lnTo>
                  <a:lnTo>
                    <a:pt x="381" y="168"/>
                  </a:lnTo>
                  <a:lnTo>
                    <a:pt x="383" y="168"/>
                  </a:lnTo>
                  <a:lnTo>
                    <a:pt x="385" y="168"/>
                  </a:lnTo>
                  <a:lnTo>
                    <a:pt x="386" y="168"/>
                  </a:lnTo>
                  <a:lnTo>
                    <a:pt x="387" y="168"/>
                  </a:lnTo>
                  <a:lnTo>
                    <a:pt x="387" y="169"/>
                  </a:lnTo>
                  <a:lnTo>
                    <a:pt x="390" y="169"/>
                  </a:lnTo>
                  <a:lnTo>
                    <a:pt x="390" y="168"/>
                  </a:lnTo>
                  <a:lnTo>
                    <a:pt x="388" y="167"/>
                  </a:lnTo>
                  <a:lnTo>
                    <a:pt x="390" y="167"/>
                  </a:lnTo>
                  <a:lnTo>
                    <a:pt x="392" y="168"/>
                  </a:lnTo>
                  <a:lnTo>
                    <a:pt x="393" y="168"/>
                  </a:lnTo>
                  <a:lnTo>
                    <a:pt x="393" y="167"/>
                  </a:lnTo>
                  <a:lnTo>
                    <a:pt x="394" y="167"/>
                  </a:lnTo>
                  <a:lnTo>
                    <a:pt x="395" y="167"/>
                  </a:lnTo>
                  <a:lnTo>
                    <a:pt x="397" y="167"/>
                  </a:lnTo>
                  <a:lnTo>
                    <a:pt x="397" y="168"/>
                  </a:lnTo>
                  <a:lnTo>
                    <a:pt x="398" y="168"/>
                  </a:lnTo>
                  <a:lnTo>
                    <a:pt x="399" y="168"/>
                  </a:lnTo>
                  <a:lnTo>
                    <a:pt x="400" y="169"/>
                  </a:lnTo>
                  <a:lnTo>
                    <a:pt x="400" y="168"/>
                  </a:lnTo>
                  <a:lnTo>
                    <a:pt x="401" y="169"/>
                  </a:lnTo>
                  <a:lnTo>
                    <a:pt x="401" y="170"/>
                  </a:lnTo>
                  <a:lnTo>
                    <a:pt x="404" y="170"/>
                  </a:lnTo>
                  <a:lnTo>
                    <a:pt x="404" y="171"/>
                  </a:lnTo>
                  <a:lnTo>
                    <a:pt x="405" y="172"/>
                  </a:lnTo>
                  <a:lnTo>
                    <a:pt x="405" y="174"/>
                  </a:lnTo>
                  <a:lnTo>
                    <a:pt x="404" y="174"/>
                  </a:lnTo>
                  <a:lnTo>
                    <a:pt x="404" y="175"/>
                  </a:lnTo>
                  <a:lnTo>
                    <a:pt x="405" y="175"/>
                  </a:lnTo>
                  <a:lnTo>
                    <a:pt x="405" y="174"/>
                  </a:lnTo>
                  <a:lnTo>
                    <a:pt x="405" y="175"/>
                  </a:lnTo>
                  <a:lnTo>
                    <a:pt x="402" y="176"/>
                  </a:lnTo>
                  <a:lnTo>
                    <a:pt x="402" y="177"/>
                  </a:lnTo>
                  <a:lnTo>
                    <a:pt x="401" y="177"/>
                  </a:lnTo>
                  <a:lnTo>
                    <a:pt x="400" y="176"/>
                  </a:lnTo>
                  <a:lnTo>
                    <a:pt x="400" y="177"/>
                  </a:lnTo>
                  <a:lnTo>
                    <a:pt x="399" y="177"/>
                  </a:lnTo>
                  <a:lnTo>
                    <a:pt x="399" y="176"/>
                  </a:lnTo>
                  <a:lnTo>
                    <a:pt x="398" y="176"/>
                  </a:lnTo>
                  <a:lnTo>
                    <a:pt x="397" y="176"/>
                  </a:lnTo>
                  <a:lnTo>
                    <a:pt x="394" y="176"/>
                  </a:lnTo>
                  <a:lnTo>
                    <a:pt x="393" y="176"/>
                  </a:lnTo>
                  <a:lnTo>
                    <a:pt x="393" y="177"/>
                  </a:lnTo>
                  <a:lnTo>
                    <a:pt x="394" y="177"/>
                  </a:lnTo>
                  <a:lnTo>
                    <a:pt x="393" y="177"/>
                  </a:lnTo>
                  <a:lnTo>
                    <a:pt x="392" y="178"/>
                  </a:lnTo>
                  <a:lnTo>
                    <a:pt x="388" y="177"/>
                  </a:lnTo>
                  <a:lnTo>
                    <a:pt x="388" y="178"/>
                  </a:lnTo>
                  <a:lnTo>
                    <a:pt x="387" y="178"/>
                  </a:lnTo>
                  <a:lnTo>
                    <a:pt x="387" y="179"/>
                  </a:lnTo>
                  <a:lnTo>
                    <a:pt x="388" y="179"/>
                  </a:lnTo>
                  <a:lnTo>
                    <a:pt x="387" y="179"/>
                  </a:lnTo>
                  <a:lnTo>
                    <a:pt x="386" y="181"/>
                  </a:lnTo>
                  <a:lnTo>
                    <a:pt x="385" y="181"/>
                  </a:lnTo>
                  <a:lnTo>
                    <a:pt x="384" y="181"/>
                  </a:lnTo>
                  <a:lnTo>
                    <a:pt x="383" y="181"/>
                  </a:lnTo>
                  <a:lnTo>
                    <a:pt x="381" y="181"/>
                  </a:lnTo>
                  <a:lnTo>
                    <a:pt x="383" y="182"/>
                  </a:lnTo>
                  <a:lnTo>
                    <a:pt x="385" y="182"/>
                  </a:lnTo>
                  <a:lnTo>
                    <a:pt x="384" y="182"/>
                  </a:lnTo>
                  <a:lnTo>
                    <a:pt x="385" y="182"/>
                  </a:lnTo>
                  <a:lnTo>
                    <a:pt x="385" y="183"/>
                  </a:lnTo>
                  <a:lnTo>
                    <a:pt x="386" y="183"/>
                  </a:lnTo>
                  <a:lnTo>
                    <a:pt x="388" y="182"/>
                  </a:lnTo>
                  <a:lnTo>
                    <a:pt x="390" y="183"/>
                  </a:lnTo>
                  <a:lnTo>
                    <a:pt x="391" y="183"/>
                  </a:lnTo>
                  <a:lnTo>
                    <a:pt x="392" y="183"/>
                  </a:lnTo>
                  <a:lnTo>
                    <a:pt x="392" y="184"/>
                  </a:lnTo>
                  <a:lnTo>
                    <a:pt x="393" y="184"/>
                  </a:lnTo>
                  <a:lnTo>
                    <a:pt x="393" y="183"/>
                  </a:lnTo>
                  <a:lnTo>
                    <a:pt x="394" y="183"/>
                  </a:lnTo>
                  <a:lnTo>
                    <a:pt x="395" y="184"/>
                  </a:lnTo>
                  <a:lnTo>
                    <a:pt x="397" y="184"/>
                  </a:lnTo>
                  <a:lnTo>
                    <a:pt x="399" y="184"/>
                  </a:lnTo>
                  <a:lnTo>
                    <a:pt x="402" y="184"/>
                  </a:lnTo>
                  <a:lnTo>
                    <a:pt x="404" y="184"/>
                  </a:lnTo>
                  <a:lnTo>
                    <a:pt x="405" y="184"/>
                  </a:lnTo>
                  <a:lnTo>
                    <a:pt x="407" y="184"/>
                  </a:lnTo>
                  <a:lnTo>
                    <a:pt x="408" y="184"/>
                  </a:lnTo>
                  <a:lnTo>
                    <a:pt x="412" y="184"/>
                  </a:lnTo>
                  <a:lnTo>
                    <a:pt x="413" y="184"/>
                  </a:lnTo>
                  <a:lnTo>
                    <a:pt x="413" y="183"/>
                  </a:lnTo>
                  <a:lnTo>
                    <a:pt x="414" y="184"/>
                  </a:lnTo>
                  <a:lnTo>
                    <a:pt x="416" y="183"/>
                  </a:lnTo>
                  <a:lnTo>
                    <a:pt x="416" y="184"/>
                  </a:lnTo>
                  <a:lnTo>
                    <a:pt x="418" y="184"/>
                  </a:lnTo>
                  <a:lnTo>
                    <a:pt x="416" y="184"/>
                  </a:lnTo>
                  <a:lnTo>
                    <a:pt x="416" y="183"/>
                  </a:lnTo>
                  <a:lnTo>
                    <a:pt x="418" y="183"/>
                  </a:lnTo>
                  <a:lnTo>
                    <a:pt x="421" y="184"/>
                  </a:lnTo>
                  <a:lnTo>
                    <a:pt x="421" y="183"/>
                  </a:lnTo>
                  <a:lnTo>
                    <a:pt x="422" y="183"/>
                  </a:lnTo>
                  <a:lnTo>
                    <a:pt x="423" y="183"/>
                  </a:lnTo>
                  <a:lnTo>
                    <a:pt x="425" y="183"/>
                  </a:lnTo>
                  <a:lnTo>
                    <a:pt x="425" y="182"/>
                  </a:lnTo>
                  <a:lnTo>
                    <a:pt x="426" y="182"/>
                  </a:lnTo>
                  <a:lnTo>
                    <a:pt x="426" y="183"/>
                  </a:lnTo>
                  <a:lnTo>
                    <a:pt x="425" y="183"/>
                  </a:lnTo>
                  <a:lnTo>
                    <a:pt x="426" y="183"/>
                  </a:lnTo>
                  <a:lnTo>
                    <a:pt x="425" y="183"/>
                  </a:lnTo>
                  <a:lnTo>
                    <a:pt x="426" y="183"/>
                  </a:lnTo>
                  <a:lnTo>
                    <a:pt x="427" y="183"/>
                  </a:lnTo>
                  <a:lnTo>
                    <a:pt x="428" y="183"/>
                  </a:lnTo>
                  <a:lnTo>
                    <a:pt x="429" y="183"/>
                  </a:lnTo>
                  <a:lnTo>
                    <a:pt x="429" y="182"/>
                  </a:lnTo>
                  <a:lnTo>
                    <a:pt x="430" y="182"/>
                  </a:lnTo>
                  <a:lnTo>
                    <a:pt x="432" y="182"/>
                  </a:lnTo>
                  <a:lnTo>
                    <a:pt x="433" y="182"/>
                  </a:lnTo>
                  <a:lnTo>
                    <a:pt x="434" y="181"/>
                  </a:lnTo>
                  <a:lnTo>
                    <a:pt x="435" y="181"/>
                  </a:lnTo>
                  <a:lnTo>
                    <a:pt x="436" y="181"/>
                  </a:lnTo>
                  <a:lnTo>
                    <a:pt x="437" y="181"/>
                  </a:lnTo>
                  <a:lnTo>
                    <a:pt x="439" y="179"/>
                  </a:lnTo>
                  <a:lnTo>
                    <a:pt x="440" y="179"/>
                  </a:lnTo>
                  <a:lnTo>
                    <a:pt x="440" y="181"/>
                  </a:lnTo>
                  <a:lnTo>
                    <a:pt x="439" y="182"/>
                  </a:lnTo>
                  <a:lnTo>
                    <a:pt x="440" y="182"/>
                  </a:lnTo>
                  <a:lnTo>
                    <a:pt x="439" y="182"/>
                  </a:lnTo>
                  <a:lnTo>
                    <a:pt x="440" y="182"/>
                  </a:lnTo>
                  <a:lnTo>
                    <a:pt x="441" y="182"/>
                  </a:lnTo>
                  <a:lnTo>
                    <a:pt x="441" y="183"/>
                  </a:lnTo>
                  <a:lnTo>
                    <a:pt x="440" y="183"/>
                  </a:lnTo>
                  <a:lnTo>
                    <a:pt x="441" y="183"/>
                  </a:lnTo>
                  <a:lnTo>
                    <a:pt x="440" y="183"/>
                  </a:lnTo>
                  <a:lnTo>
                    <a:pt x="440" y="184"/>
                  </a:lnTo>
                  <a:lnTo>
                    <a:pt x="441" y="184"/>
                  </a:lnTo>
                  <a:lnTo>
                    <a:pt x="442" y="184"/>
                  </a:lnTo>
                  <a:lnTo>
                    <a:pt x="442" y="183"/>
                  </a:lnTo>
                  <a:lnTo>
                    <a:pt x="443" y="183"/>
                  </a:lnTo>
                  <a:lnTo>
                    <a:pt x="443" y="184"/>
                  </a:lnTo>
                  <a:lnTo>
                    <a:pt x="444" y="184"/>
                  </a:lnTo>
                  <a:lnTo>
                    <a:pt x="444" y="183"/>
                  </a:lnTo>
                  <a:lnTo>
                    <a:pt x="447" y="184"/>
                  </a:lnTo>
                  <a:lnTo>
                    <a:pt x="445" y="185"/>
                  </a:lnTo>
                  <a:lnTo>
                    <a:pt x="445" y="186"/>
                  </a:lnTo>
                  <a:lnTo>
                    <a:pt x="444" y="186"/>
                  </a:lnTo>
                  <a:lnTo>
                    <a:pt x="443" y="186"/>
                  </a:lnTo>
                  <a:lnTo>
                    <a:pt x="443" y="188"/>
                  </a:lnTo>
                  <a:lnTo>
                    <a:pt x="444" y="188"/>
                  </a:lnTo>
                  <a:lnTo>
                    <a:pt x="444" y="189"/>
                  </a:lnTo>
                  <a:lnTo>
                    <a:pt x="445" y="188"/>
                  </a:lnTo>
                  <a:lnTo>
                    <a:pt x="447" y="188"/>
                  </a:lnTo>
                  <a:lnTo>
                    <a:pt x="448" y="185"/>
                  </a:lnTo>
                  <a:lnTo>
                    <a:pt x="449" y="185"/>
                  </a:lnTo>
                  <a:lnTo>
                    <a:pt x="450" y="185"/>
                  </a:lnTo>
                  <a:lnTo>
                    <a:pt x="449" y="185"/>
                  </a:lnTo>
                  <a:lnTo>
                    <a:pt x="449" y="186"/>
                  </a:lnTo>
                  <a:lnTo>
                    <a:pt x="449" y="188"/>
                  </a:lnTo>
                  <a:lnTo>
                    <a:pt x="448" y="188"/>
                  </a:lnTo>
                  <a:lnTo>
                    <a:pt x="448" y="189"/>
                  </a:lnTo>
                  <a:lnTo>
                    <a:pt x="449" y="188"/>
                  </a:lnTo>
                  <a:lnTo>
                    <a:pt x="449" y="189"/>
                  </a:lnTo>
                  <a:lnTo>
                    <a:pt x="449" y="188"/>
                  </a:lnTo>
                  <a:lnTo>
                    <a:pt x="450" y="188"/>
                  </a:lnTo>
                  <a:lnTo>
                    <a:pt x="450" y="189"/>
                  </a:lnTo>
                  <a:lnTo>
                    <a:pt x="451" y="190"/>
                  </a:lnTo>
                  <a:lnTo>
                    <a:pt x="451" y="191"/>
                  </a:lnTo>
                  <a:lnTo>
                    <a:pt x="450" y="192"/>
                  </a:lnTo>
                  <a:lnTo>
                    <a:pt x="449" y="192"/>
                  </a:lnTo>
                  <a:lnTo>
                    <a:pt x="448" y="192"/>
                  </a:lnTo>
                  <a:lnTo>
                    <a:pt x="447" y="192"/>
                  </a:lnTo>
                  <a:lnTo>
                    <a:pt x="447" y="193"/>
                  </a:lnTo>
                  <a:lnTo>
                    <a:pt x="445" y="193"/>
                  </a:lnTo>
                  <a:lnTo>
                    <a:pt x="445" y="192"/>
                  </a:lnTo>
                  <a:lnTo>
                    <a:pt x="444" y="192"/>
                  </a:lnTo>
                  <a:lnTo>
                    <a:pt x="444" y="191"/>
                  </a:lnTo>
                  <a:lnTo>
                    <a:pt x="443" y="191"/>
                  </a:lnTo>
                  <a:lnTo>
                    <a:pt x="444" y="191"/>
                  </a:lnTo>
                  <a:lnTo>
                    <a:pt x="444" y="192"/>
                  </a:lnTo>
                  <a:lnTo>
                    <a:pt x="443" y="192"/>
                  </a:lnTo>
                  <a:lnTo>
                    <a:pt x="443" y="193"/>
                  </a:lnTo>
                  <a:lnTo>
                    <a:pt x="444" y="192"/>
                  </a:lnTo>
                  <a:lnTo>
                    <a:pt x="444" y="193"/>
                  </a:lnTo>
                  <a:lnTo>
                    <a:pt x="445" y="193"/>
                  </a:lnTo>
                  <a:lnTo>
                    <a:pt x="447" y="193"/>
                  </a:lnTo>
                  <a:lnTo>
                    <a:pt x="447" y="195"/>
                  </a:lnTo>
                  <a:lnTo>
                    <a:pt x="445" y="195"/>
                  </a:lnTo>
                  <a:lnTo>
                    <a:pt x="445" y="196"/>
                  </a:lnTo>
                  <a:lnTo>
                    <a:pt x="444" y="196"/>
                  </a:lnTo>
                  <a:lnTo>
                    <a:pt x="445" y="196"/>
                  </a:lnTo>
                  <a:lnTo>
                    <a:pt x="447" y="196"/>
                  </a:lnTo>
                  <a:lnTo>
                    <a:pt x="447" y="197"/>
                  </a:lnTo>
                  <a:lnTo>
                    <a:pt x="445" y="197"/>
                  </a:lnTo>
                  <a:lnTo>
                    <a:pt x="445" y="198"/>
                  </a:lnTo>
                  <a:lnTo>
                    <a:pt x="445" y="197"/>
                  </a:lnTo>
                  <a:lnTo>
                    <a:pt x="447" y="197"/>
                  </a:lnTo>
                  <a:lnTo>
                    <a:pt x="447" y="198"/>
                  </a:lnTo>
                  <a:lnTo>
                    <a:pt x="447" y="199"/>
                  </a:lnTo>
                  <a:lnTo>
                    <a:pt x="447" y="200"/>
                  </a:lnTo>
                  <a:lnTo>
                    <a:pt x="447" y="199"/>
                  </a:lnTo>
                  <a:lnTo>
                    <a:pt x="448" y="199"/>
                  </a:lnTo>
                  <a:lnTo>
                    <a:pt x="448" y="200"/>
                  </a:lnTo>
                  <a:lnTo>
                    <a:pt x="448" y="202"/>
                  </a:lnTo>
                  <a:lnTo>
                    <a:pt x="448" y="203"/>
                  </a:lnTo>
                  <a:lnTo>
                    <a:pt x="449" y="203"/>
                  </a:lnTo>
                  <a:lnTo>
                    <a:pt x="449" y="202"/>
                  </a:lnTo>
                  <a:lnTo>
                    <a:pt x="448" y="200"/>
                  </a:lnTo>
                  <a:lnTo>
                    <a:pt x="449" y="199"/>
                  </a:lnTo>
                  <a:lnTo>
                    <a:pt x="448" y="199"/>
                  </a:lnTo>
                  <a:lnTo>
                    <a:pt x="448" y="198"/>
                  </a:lnTo>
                  <a:lnTo>
                    <a:pt x="448" y="197"/>
                  </a:lnTo>
                  <a:lnTo>
                    <a:pt x="449" y="197"/>
                  </a:lnTo>
                  <a:lnTo>
                    <a:pt x="449" y="196"/>
                  </a:lnTo>
                  <a:lnTo>
                    <a:pt x="450" y="195"/>
                  </a:lnTo>
                  <a:lnTo>
                    <a:pt x="450" y="193"/>
                  </a:lnTo>
                  <a:lnTo>
                    <a:pt x="451" y="193"/>
                  </a:lnTo>
                  <a:lnTo>
                    <a:pt x="452" y="193"/>
                  </a:lnTo>
                  <a:lnTo>
                    <a:pt x="452" y="192"/>
                  </a:lnTo>
                  <a:lnTo>
                    <a:pt x="454" y="192"/>
                  </a:lnTo>
                  <a:lnTo>
                    <a:pt x="454" y="193"/>
                  </a:lnTo>
                  <a:lnTo>
                    <a:pt x="452" y="195"/>
                  </a:lnTo>
                  <a:lnTo>
                    <a:pt x="451" y="195"/>
                  </a:lnTo>
                  <a:lnTo>
                    <a:pt x="451" y="193"/>
                  </a:lnTo>
                  <a:lnTo>
                    <a:pt x="451" y="195"/>
                  </a:lnTo>
                  <a:lnTo>
                    <a:pt x="451" y="196"/>
                  </a:lnTo>
                  <a:lnTo>
                    <a:pt x="452" y="196"/>
                  </a:lnTo>
                  <a:lnTo>
                    <a:pt x="452" y="195"/>
                  </a:lnTo>
                  <a:lnTo>
                    <a:pt x="454" y="195"/>
                  </a:lnTo>
                  <a:lnTo>
                    <a:pt x="454" y="193"/>
                  </a:lnTo>
                  <a:lnTo>
                    <a:pt x="455" y="193"/>
                  </a:lnTo>
                  <a:lnTo>
                    <a:pt x="455" y="195"/>
                  </a:lnTo>
                  <a:lnTo>
                    <a:pt x="455" y="196"/>
                  </a:lnTo>
                  <a:lnTo>
                    <a:pt x="456" y="196"/>
                  </a:lnTo>
                  <a:lnTo>
                    <a:pt x="456" y="195"/>
                  </a:lnTo>
                  <a:lnTo>
                    <a:pt x="456" y="193"/>
                  </a:lnTo>
                  <a:lnTo>
                    <a:pt x="455" y="193"/>
                  </a:lnTo>
                  <a:lnTo>
                    <a:pt x="455" y="192"/>
                  </a:lnTo>
                  <a:lnTo>
                    <a:pt x="456" y="192"/>
                  </a:lnTo>
                  <a:lnTo>
                    <a:pt x="457" y="192"/>
                  </a:lnTo>
                  <a:lnTo>
                    <a:pt x="458" y="192"/>
                  </a:lnTo>
                  <a:lnTo>
                    <a:pt x="458" y="191"/>
                  </a:lnTo>
                  <a:lnTo>
                    <a:pt x="457" y="191"/>
                  </a:lnTo>
                  <a:lnTo>
                    <a:pt x="457" y="192"/>
                  </a:lnTo>
                  <a:lnTo>
                    <a:pt x="457" y="191"/>
                  </a:lnTo>
                  <a:lnTo>
                    <a:pt x="456" y="191"/>
                  </a:lnTo>
                  <a:lnTo>
                    <a:pt x="456" y="190"/>
                  </a:lnTo>
                  <a:lnTo>
                    <a:pt x="456" y="189"/>
                  </a:lnTo>
                  <a:lnTo>
                    <a:pt x="456" y="188"/>
                  </a:lnTo>
                  <a:lnTo>
                    <a:pt x="457" y="188"/>
                  </a:lnTo>
                  <a:lnTo>
                    <a:pt x="458" y="186"/>
                  </a:lnTo>
                  <a:lnTo>
                    <a:pt x="458" y="185"/>
                  </a:lnTo>
                  <a:lnTo>
                    <a:pt x="457" y="185"/>
                  </a:lnTo>
                  <a:lnTo>
                    <a:pt x="457" y="184"/>
                  </a:lnTo>
                  <a:lnTo>
                    <a:pt x="457" y="183"/>
                  </a:lnTo>
                  <a:lnTo>
                    <a:pt x="458" y="183"/>
                  </a:lnTo>
                  <a:lnTo>
                    <a:pt x="458" y="182"/>
                  </a:lnTo>
                  <a:lnTo>
                    <a:pt x="459" y="182"/>
                  </a:lnTo>
                  <a:lnTo>
                    <a:pt x="461" y="182"/>
                  </a:lnTo>
                  <a:lnTo>
                    <a:pt x="462" y="182"/>
                  </a:lnTo>
                  <a:lnTo>
                    <a:pt x="463" y="181"/>
                  </a:lnTo>
                  <a:lnTo>
                    <a:pt x="462" y="181"/>
                  </a:lnTo>
                  <a:lnTo>
                    <a:pt x="462" y="179"/>
                  </a:lnTo>
                  <a:lnTo>
                    <a:pt x="463" y="179"/>
                  </a:lnTo>
                  <a:lnTo>
                    <a:pt x="463" y="178"/>
                  </a:lnTo>
                  <a:lnTo>
                    <a:pt x="464" y="178"/>
                  </a:lnTo>
                  <a:lnTo>
                    <a:pt x="465" y="178"/>
                  </a:lnTo>
                  <a:lnTo>
                    <a:pt x="464" y="179"/>
                  </a:lnTo>
                  <a:lnTo>
                    <a:pt x="463" y="179"/>
                  </a:lnTo>
                  <a:lnTo>
                    <a:pt x="464" y="179"/>
                  </a:lnTo>
                  <a:lnTo>
                    <a:pt x="463" y="179"/>
                  </a:lnTo>
                  <a:lnTo>
                    <a:pt x="464" y="179"/>
                  </a:lnTo>
                  <a:lnTo>
                    <a:pt x="465" y="179"/>
                  </a:lnTo>
                  <a:lnTo>
                    <a:pt x="466" y="179"/>
                  </a:lnTo>
                  <a:lnTo>
                    <a:pt x="468" y="179"/>
                  </a:lnTo>
                  <a:lnTo>
                    <a:pt x="469" y="178"/>
                  </a:lnTo>
                  <a:lnTo>
                    <a:pt x="470" y="178"/>
                  </a:lnTo>
                  <a:lnTo>
                    <a:pt x="471" y="178"/>
                  </a:lnTo>
                  <a:lnTo>
                    <a:pt x="472" y="178"/>
                  </a:lnTo>
                  <a:lnTo>
                    <a:pt x="473" y="178"/>
                  </a:lnTo>
                  <a:lnTo>
                    <a:pt x="475" y="178"/>
                  </a:lnTo>
                  <a:lnTo>
                    <a:pt x="476" y="178"/>
                  </a:lnTo>
                  <a:lnTo>
                    <a:pt x="476" y="177"/>
                  </a:lnTo>
                  <a:lnTo>
                    <a:pt x="477" y="177"/>
                  </a:lnTo>
                  <a:lnTo>
                    <a:pt x="478" y="177"/>
                  </a:lnTo>
                  <a:lnTo>
                    <a:pt x="478" y="176"/>
                  </a:lnTo>
                  <a:lnTo>
                    <a:pt x="478" y="177"/>
                  </a:lnTo>
                  <a:lnTo>
                    <a:pt x="478" y="178"/>
                  </a:lnTo>
                  <a:lnTo>
                    <a:pt x="479" y="177"/>
                  </a:lnTo>
                  <a:lnTo>
                    <a:pt x="480" y="177"/>
                  </a:lnTo>
                  <a:lnTo>
                    <a:pt x="479" y="177"/>
                  </a:lnTo>
                  <a:lnTo>
                    <a:pt x="479" y="176"/>
                  </a:lnTo>
                  <a:lnTo>
                    <a:pt x="480" y="176"/>
                  </a:lnTo>
                  <a:lnTo>
                    <a:pt x="480" y="175"/>
                  </a:lnTo>
                  <a:lnTo>
                    <a:pt x="482" y="175"/>
                  </a:lnTo>
                  <a:lnTo>
                    <a:pt x="483" y="175"/>
                  </a:lnTo>
                  <a:lnTo>
                    <a:pt x="484" y="175"/>
                  </a:lnTo>
                  <a:lnTo>
                    <a:pt x="485" y="175"/>
                  </a:lnTo>
                  <a:lnTo>
                    <a:pt x="486" y="175"/>
                  </a:lnTo>
                  <a:lnTo>
                    <a:pt x="486" y="174"/>
                  </a:lnTo>
                  <a:lnTo>
                    <a:pt x="487" y="174"/>
                  </a:lnTo>
                  <a:lnTo>
                    <a:pt x="487" y="175"/>
                  </a:lnTo>
                  <a:lnTo>
                    <a:pt x="487" y="174"/>
                  </a:lnTo>
                  <a:lnTo>
                    <a:pt x="489" y="174"/>
                  </a:lnTo>
                  <a:lnTo>
                    <a:pt x="490" y="174"/>
                  </a:lnTo>
                  <a:lnTo>
                    <a:pt x="491" y="174"/>
                  </a:lnTo>
                  <a:lnTo>
                    <a:pt x="491" y="172"/>
                  </a:lnTo>
                  <a:lnTo>
                    <a:pt x="490" y="172"/>
                  </a:lnTo>
                  <a:lnTo>
                    <a:pt x="491" y="172"/>
                  </a:lnTo>
                  <a:lnTo>
                    <a:pt x="491" y="171"/>
                  </a:lnTo>
                  <a:lnTo>
                    <a:pt x="492" y="171"/>
                  </a:lnTo>
                  <a:lnTo>
                    <a:pt x="491" y="171"/>
                  </a:lnTo>
                  <a:lnTo>
                    <a:pt x="490" y="171"/>
                  </a:lnTo>
                  <a:lnTo>
                    <a:pt x="489" y="171"/>
                  </a:lnTo>
                  <a:lnTo>
                    <a:pt x="487" y="171"/>
                  </a:lnTo>
                  <a:lnTo>
                    <a:pt x="487" y="172"/>
                  </a:lnTo>
                  <a:lnTo>
                    <a:pt x="483" y="172"/>
                  </a:lnTo>
                  <a:lnTo>
                    <a:pt x="482" y="172"/>
                  </a:lnTo>
                  <a:lnTo>
                    <a:pt x="483" y="172"/>
                  </a:lnTo>
                  <a:lnTo>
                    <a:pt x="482" y="172"/>
                  </a:lnTo>
                  <a:lnTo>
                    <a:pt x="482" y="174"/>
                  </a:lnTo>
                  <a:lnTo>
                    <a:pt x="480" y="174"/>
                  </a:lnTo>
                  <a:lnTo>
                    <a:pt x="480" y="175"/>
                  </a:lnTo>
                  <a:lnTo>
                    <a:pt x="482" y="175"/>
                  </a:lnTo>
                  <a:lnTo>
                    <a:pt x="480" y="175"/>
                  </a:lnTo>
                  <a:lnTo>
                    <a:pt x="479" y="175"/>
                  </a:lnTo>
                  <a:lnTo>
                    <a:pt x="479" y="176"/>
                  </a:lnTo>
                  <a:lnTo>
                    <a:pt x="479" y="175"/>
                  </a:lnTo>
                  <a:lnTo>
                    <a:pt x="478" y="175"/>
                  </a:lnTo>
                  <a:lnTo>
                    <a:pt x="477" y="175"/>
                  </a:lnTo>
                  <a:lnTo>
                    <a:pt x="476" y="175"/>
                  </a:lnTo>
                  <a:lnTo>
                    <a:pt x="475" y="175"/>
                  </a:lnTo>
                  <a:lnTo>
                    <a:pt x="473" y="176"/>
                  </a:lnTo>
                  <a:lnTo>
                    <a:pt x="472" y="176"/>
                  </a:lnTo>
                  <a:lnTo>
                    <a:pt x="471" y="176"/>
                  </a:lnTo>
                  <a:lnTo>
                    <a:pt x="470" y="176"/>
                  </a:lnTo>
                  <a:lnTo>
                    <a:pt x="470" y="175"/>
                  </a:lnTo>
                  <a:lnTo>
                    <a:pt x="468" y="175"/>
                  </a:lnTo>
                  <a:lnTo>
                    <a:pt x="468" y="176"/>
                  </a:lnTo>
                  <a:lnTo>
                    <a:pt x="468" y="175"/>
                  </a:lnTo>
                  <a:lnTo>
                    <a:pt x="466" y="175"/>
                  </a:lnTo>
                  <a:lnTo>
                    <a:pt x="466" y="176"/>
                  </a:lnTo>
                  <a:lnTo>
                    <a:pt x="465" y="176"/>
                  </a:lnTo>
                  <a:lnTo>
                    <a:pt x="465" y="177"/>
                  </a:lnTo>
                  <a:lnTo>
                    <a:pt x="466" y="177"/>
                  </a:lnTo>
                  <a:lnTo>
                    <a:pt x="465" y="177"/>
                  </a:lnTo>
                  <a:lnTo>
                    <a:pt x="464" y="177"/>
                  </a:lnTo>
                  <a:lnTo>
                    <a:pt x="464" y="178"/>
                  </a:lnTo>
                  <a:lnTo>
                    <a:pt x="463" y="178"/>
                  </a:lnTo>
                  <a:lnTo>
                    <a:pt x="463" y="177"/>
                  </a:lnTo>
                  <a:lnTo>
                    <a:pt x="462" y="177"/>
                  </a:lnTo>
                  <a:lnTo>
                    <a:pt x="461" y="177"/>
                  </a:lnTo>
                  <a:lnTo>
                    <a:pt x="459" y="178"/>
                  </a:lnTo>
                  <a:lnTo>
                    <a:pt x="458" y="178"/>
                  </a:lnTo>
                  <a:lnTo>
                    <a:pt x="458" y="177"/>
                  </a:lnTo>
                  <a:lnTo>
                    <a:pt x="459" y="178"/>
                  </a:lnTo>
                  <a:lnTo>
                    <a:pt x="458" y="178"/>
                  </a:lnTo>
                  <a:lnTo>
                    <a:pt x="459" y="178"/>
                  </a:lnTo>
                  <a:lnTo>
                    <a:pt x="459" y="177"/>
                  </a:lnTo>
                  <a:lnTo>
                    <a:pt x="458" y="177"/>
                  </a:lnTo>
                  <a:lnTo>
                    <a:pt x="459" y="177"/>
                  </a:lnTo>
                  <a:lnTo>
                    <a:pt x="459" y="176"/>
                  </a:lnTo>
                  <a:lnTo>
                    <a:pt x="461" y="176"/>
                  </a:lnTo>
                  <a:lnTo>
                    <a:pt x="459" y="176"/>
                  </a:lnTo>
                  <a:lnTo>
                    <a:pt x="458" y="176"/>
                  </a:lnTo>
                  <a:lnTo>
                    <a:pt x="457" y="176"/>
                  </a:lnTo>
                  <a:lnTo>
                    <a:pt x="456" y="176"/>
                  </a:lnTo>
                  <a:lnTo>
                    <a:pt x="456" y="177"/>
                  </a:lnTo>
                  <a:lnTo>
                    <a:pt x="456" y="176"/>
                  </a:lnTo>
                  <a:lnTo>
                    <a:pt x="457" y="176"/>
                  </a:lnTo>
                  <a:lnTo>
                    <a:pt x="457" y="175"/>
                  </a:lnTo>
                  <a:lnTo>
                    <a:pt x="459" y="175"/>
                  </a:lnTo>
                  <a:lnTo>
                    <a:pt x="463" y="172"/>
                  </a:lnTo>
                  <a:lnTo>
                    <a:pt x="464" y="171"/>
                  </a:lnTo>
                  <a:lnTo>
                    <a:pt x="465" y="171"/>
                  </a:lnTo>
                  <a:lnTo>
                    <a:pt x="471" y="171"/>
                  </a:lnTo>
                  <a:lnTo>
                    <a:pt x="473" y="171"/>
                  </a:lnTo>
                  <a:lnTo>
                    <a:pt x="475" y="170"/>
                  </a:lnTo>
                  <a:lnTo>
                    <a:pt x="476" y="170"/>
                  </a:lnTo>
                  <a:lnTo>
                    <a:pt x="477" y="170"/>
                  </a:lnTo>
                  <a:lnTo>
                    <a:pt x="478" y="170"/>
                  </a:lnTo>
                  <a:lnTo>
                    <a:pt x="479" y="170"/>
                  </a:lnTo>
                  <a:lnTo>
                    <a:pt x="482" y="169"/>
                  </a:lnTo>
                  <a:lnTo>
                    <a:pt x="483" y="169"/>
                  </a:lnTo>
                  <a:lnTo>
                    <a:pt x="484" y="169"/>
                  </a:lnTo>
                  <a:lnTo>
                    <a:pt x="486" y="169"/>
                  </a:lnTo>
                  <a:lnTo>
                    <a:pt x="487" y="168"/>
                  </a:lnTo>
                  <a:lnTo>
                    <a:pt x="489" y="168"/>
                  </a:lnTo>
                  <a:lnTo>
                    <a:pt x="490" y="168"/>
                  </a:lnTo>
                  <a:lnTo>
                    <a:pt x="491" y="167"/>
                  </a:lnTo>
                  <a:lnTo>
                    <a:pt x="492" y="168"/>
                  </a:lnTo>
                  <a:lnTo>
                    <a:pt x="494" y="168"/>
                  </a:lnTo>
                  <a:lnTo>
                    <a:pt x="494" y="169"/>
                  </a:lnTo>
                  <a:lnTo>
                    <a:pt x="496" y="170"/>
                  </a:lnTo>
                  <a:lnTo>
                    <a:pt x="494" y="170"/>
                  </a:lnTo>
                  <a:lnTo>
                    <a:pt x="494" y="171"/>
                  </a:lnTo>
                  <a:lnTo>
                    <a:pt x="493" y="172"/>
                  </a:lnTo>
                  <a:lnTo>
                    <a:pt x="494" y="172"/>
                  </a:lnTo>
                  <a:lnTo>
                    <a:pt x="494" y="174"/>
                  </a:lnTo>
                  <a:lnTo>
                    <a:pt x="493" y="174"/>
                  </a:lnTo>
                  <a:lnTo>
                    <a:pt x="492" y="174"/>
                  </a:lnTo>
                  <a:lnTo>
                    <a:pt x="491" y="174"/>
                  </a:lnTo>
                  <a:lnTo>
                    <a:pt x="491" y="175"/>
                  </a:lnTo>
                  <a:lnTo>
                    <a:pt x="493" y="174"/>
                  </a:lnTo>
                  <a:lnTo>
                    <a:pt x="493" y="175"/>
                  </a:lnTo>
                  <a:lnTo>
                    <a:pt x="492" y="175"/>
                  </a:lnTo>
                  <a:lnTo>
                    <a:pt x="493" y="176"/>
                  </a:lnTo>
                  <a:lnTo>
                    <a:pt x="494" y="176"/>
                  </a:lnTo>
                  <a:lnTo>
                    <a:pt x="496" y="176"/>
                  </a:lnTo>
                  <a:lnTo>
                    <a:pt x="497" y="176"/>
                  </a:lnTo>
                  <a:lnTo>
                    <a:pt x="497" y="175"/>
                  </a:lnTo>
                  <a:lnTo>
                    <a:pt x="497" y="176"/>
                  </a:lnTo>
                  <a:lnTo>
                    <a:pt x="496" y="176"/>
                  </a:lnTo>
                  <a:lnTo>
                    <a:pt x="494" y="176"/>
                  </a:lnTo>
                  <a:lnTo>
                    <a:pt x="494" y="177"/>
                  </a:lnTo>
                  <a:lnTo>
                    <a:pt x="496" y="177"/>
                  </a:lnTo>
                  <a:lnTo>
                    <a:pt x="496" y="176"/>
                  </a:lnTo>
                  <a:lnTo>
                    <a:pt x="497" y="176"/>
                  </a:lnTo>
                  <a:lnTo>
                    <a:pt x="498" y="176"/>
                  </a:lnTo>
                  <a:lnTo>
                    <a:pt x="498" y="177"/>
                  </a:lnTo>
                  <a:lnTo>
                    <a:pt x="497" y="178"/>
                  </a:lnTo>
                  <a:lnTo>
                    <a:pt x="498" y="179"/>
                  </a:lnTo>
                  <a:lnTo>
                    <a:pt x="497" y="179"/>
                  </a:lnTo>
                  <a:lnTo>
                    <a:pt x="498" y="179"/>
                  </a:lnTo>
                  <a:lnTo>
                    <a:pt x="499" y="179"/>
                  </a:lnTo>
                  <a:lnTo>
                    <a:pt x="500" y="179"/>
                  </a:lnTo>
                  <a:lnTo>
                    <a:pt x="503" y="179"/>
                  </a:lnTo>
                  <a:lnTo>
                    <a:pt x="504" y="179"/>
                  </a:lnTo>
                  <a:lnTo>
                    <a:pt x="505" y="179"/>
                  </a:lnTo>
                  <a:lnTo>
                    <a:pt x="506" y="179"/>
                  </a:lnTo>
                  <a:lnTo>
                    <a:pt x="507" y="179"/>
                  </a:lnTo>
                  <a:lnTo>
                    <a:pt x="507" y="178"/>
                  </a:lnTo>
                  <a:lnTo>
                    <a:pt x="508" y="178"/>
                  </a:lnTo>
                  <a:lnTo>
                    <a:pt x="509" y="177"/>
                  </a:lnTo>
                  <a:lnTo>
                    <a:pt x="509" y="178"/>
                  </a:lnTo>
                  <a:lnTo>
                    <a:pt x="508" y="179"/>
                  </a:lnTo>
                  <a:lnTo>
                    <a:pt x="508" y="181"/>
                  </a:lnTo>
                  <a:lnTo>
                    <a:pt x="509" y="181"/>
                  </a:lnTo>
                  <a:lnTo>
                    <a:pt x="511" y="181"/>
                  </a:lnTo>
                  <a:lnTo>
                    <a:pt x="512" y="181"/>
                  </a:lnTo>
                  <a:lnTo>
                    <a:pt x="512" y="182"/>
                  </a:lnTo>
                  <a:lnTo>
                    <a:pt x="512" y="183"/>
                  </a:lnTo>
                  <a:lnTo>
                    <a:pt x="514" y="183"/>
                  </a:lnTo>
                  <a:lnTo>
                    <a:pt x="515" y="183"/>
                  </a:lnTo>
                  <a:lnTo>
                    <a:pt x="515" y="184"/>
                  </a:lnTo>
                  <a:lnTo>
                    <a:pt x="516" y="183"/>
                  </a:lnTo>
                  <a:lnTo>
                    <a:pt x="516" y="184"/>
                  </a:lnTo>
                  <a:lnTo>
                    <a:pt x="516" y="183"/>
                  </a:lnTo>
                  <a:lnTo>
                    <a:pt x="518" y="183"/>
                  </a:lnTo>
                  <a:lnTo>
                    <a:pt x="519" y="183"/>
                  </a:lnTo>
                  <a:lnTo>
                    <a:pt x="520" y="183"/>
                  </a:lnTo>
                  <a:lnTo>
                    <a:pt x="521" y="183"/>
                  </a:lnTo>
                  <a:lnTo>
                    <a:pt x="521" y="184"/>
                  </a:lnTo>
                  <a:lnTo>
                    <a:pt x="522" y="184"/>
                  </a:lnTo>
                  <a:lnTo>
                    <a:pt x="523" y="184"/>
                  </a:lnTo>
                  <a:lnTo>
                    <a:pt x="525" y="184"/>
                  </a:lnTo>
                  <a:lnTo>
                    <a:pt x="525" y="183"/>
                  </a:lnTo>
                  <a:lnTo>
                    <a:pt x="526" y="184"/>
                  </a:lnTo>
                  <a:lnTo>
                    <a:pt x="527" y="184"/>
                  </a:lnTo>
                  <a:lnTo>
                    <a:pt x="527" y="183"/>
                  </a:lnTo>
                  <a:lnTo>
                    <a:pt x="528" y="183"/>
                  </a:lnTo>
                  <a:lnTo>
                    <a:pt x="529" y="183"/>
                  </a:lnTo>
                  <a:lnTo>
                    <a:pt x="528" y="183"/>
                  </a:lnTo>
                  <a:lnTo>
                    <a:pt x="530" y="183"/>
                  </a:lnTo>
                  <a:lnTo>
                    <a:pt x="532" y="182"/>
                  </a:lnTo>
                  <a:lnTo>
                    <a:pt x="532" y="183"/>
                  </a:lnTo>
                  <a:lnTo>
                    <a:pt x="533" y="182"/>
                  </a:lnTo>
                  <a:lnTo>
                    <a:pt x="534" y="182"/>
                  </a:lnTo>
                  <a:lnTo>
                    <a:pt x="535" y="182"/>
                  </a:lnTo>
                  <a:lnTo>
                    <a:pt x="534" y="182"/>
                  </a:lnTo>
                  <a:lnTo>
                    <a:pt x="534" y="183"/>
                  </a:lnTo>
                  <a:lnTo>
                    <a:pt x="535" y="183"/>
                  </a:lnTo>
                  <a:lnTo>
                    <a:pt x="536" y="182"/>
                  </a:lnTo>
                  <a:lnTo>
                    <a:pt x="540" y="182"/>
                  </a:lnTo>
                  <a:lnTo>
                    <a:pt x="541" y="182"/>
                  </a:lnTo>
                  <a:lnTo>
                    <a:pt x="541" y="183"/>
                  </a:lnTo>
                  <a:lnTo>
                    <a:pt x="541" y="182"/>
                  </a:lnTo>
                  <a:lnTo>
                    <a:pt x="542" y="182"/>
                  </a:lnTo>
                  <a:lnTo>
                    <a:pt x="542" y="183"/>
                  </a:lnTo>
                  <a:lnTo>
                    <a:pt x="543" y="182"/>
                  </a:lnTo>
                  <a:lnTo>
                    <a:pt x="544" y="183"/>
                  </a:lnTo>
                  <a:lnTo>
                    <a:pt x="546" y="183"/>
                  </a:lnTo>
                  <a:lnTo>
                    <a:pt x="547" y="183"/>
                  </a:lnTo>
                  <a:lnTo>
                    <a:pt x="547" y="184"/>
                  </a:lnTo>
                  <a:lnTo>
                    <a:pt x="548" y="184"/>
                  </a:lnTo>
                  <a:lnTo>
                    <a:pt x="549" y="184"/>
                  </a:lnTo>
                  <a:lnTo>
                    <a:pt x="550" y="184"/>
                  </a:lnTo>
                  <a:lnTo>
                    <a:pt x="551" y="183"/>
                  </a:lnTo>
                  <a:lnTo>
                    <a:pt x="553" y="183"/>
                  </a:lnTo>
                  <a:lnTo>
                    <a:pt x="554" y="183"/>
                  </a:lnTo>
                  <a:lnTo>
                    <a:pt x="555" y="183"/>
                  </a:lnTo>
                  <a:lnTo>
                    <a:pt x="556" y="183"/>
                  </a:lnTo>
                  <a:lnTo>
                    <a:pt x="557" y="183"/>
                  </a:lnTo>
                  <a:lnTo>
                    <a:pt x="557" y="182"/>
                  </a:lnTo>
                  <a:lnTo>
                    <a:pt x="556" y="182"/>
                  </a:lnTo>
                  <a:lnTo>
                    <a:pt x="556" y="181"/>
                  </a:lnTo>
                  <a:lnTo>
                    <a:pt x="555" y="181"/>
                  </a:lnTo>
                  <a:lnTo>
                    <a:pt x="556" y="179"/>
                  </a:lnTo>
                  <a:lnTo>
                    <a:pt x="557" y="178"/>
                  </a:lnTo>
                  <a:lnTo>
                    <a:pt x="557" y="179"/>
                  </a:lnTo>
                  <a:lnTo>
                    <a:pt x="557" y="178"/>
                  </a:lnTo>
                  <a:lnTo>
                    <a:pt x="558" y="178"/>
                  </a:lnTo>
                  <a:lnTo>
                    <a:pt x="558" y="179"/>
                  </a:lnTo>
                  <a:lnTo>
                    <a:pt x="560" y="181"/>
                  </a:lnTo>
                  <a:lnTo>
                    <a:pt x="560" y="182"/>
                  </a:lnTo>
                  <a:lnTo>
                    <a:pt x="560" y="183"/>
                  </a:lnTo>
                  <a:lnTo>
                    <a:pt x="561" y="183"/>
                  </a:lnTo>
                  <a:lnTo>
                    <a:pt x="561" y="184"/>
                  </a:lnTo>
                  <a:lnTo>
                    <a:pt x="562" y="184"/>
                  </a:lnTo>
                  <a:lnTo>
                    <a:pt x="563" y="184"/>
                  </a:lnTo>
                  <a:lnTo>
                    <a:pt x="563" y="185"/>
                  </a:lnTo>
                  <a:lnTo>
                    <a:pt x="564" y="185"/>
                  </a:lnTo>
                  <a:lnTo>
                    <a:pt x="565" y="185"/>
                  </a:lnTo>
                  <a:lnTo>
                    <a:pt x="567" y="184"/>
                  </a:lnTo>
                  <a:lnTo>
                    <a:pt x="567" y="185"/>
                  </a:lnTo>
                  <a:lnTo>
                    <a:pt x="568" y="185"/>
                  </a:lnTo>
                  <a:lnTo>
                    <a:pt x="568" y="184"/>
                  </a:lnTo>
                  <a:lnTo>
                    <a:pt x="569" y="184"/>
                  </a:lnTo>
                  <a:lnTo>
                    <a:pt x="568" y="184"/>
                  </a:lnTo>
                  <a:lnTo>
                    <a:pt x="569" y="183"/>
                  </a:lnTo>
                  <a:lnTo>
                    <a:pt x="570" y="183"/>
                  </a:lnTo>
                  <a:lnTo>
                    <a:pt x="570" y="182"/>
                  </a:lnTo>
                  <a:lnTo>
                    <a:pt x="570" y="181"/>
                  </a:lnTo>
                  <a:lnTo>
                    <a:pt x="569" y="182"/>
                  </a:lnTo>
                  <a:lnTo>
                    <a:pt x="568" y="182"/>
                  </a:lnTo>
                  <a:lnTo>
                    <a:pt x="568" y="181"/>
                  </a:lnTo>
                  <a:lnTo>
                    <a:pt x="567" y="179"/>
                  </a:lnTo>
                  <a:lnTo>
                    <a:pt x="565" y="181"/>
                  </a:lnTo>
                  <a:lnTo>
                    <a:pt x="564" y="181"/>
                  </a:lnTo>
                  <a:lnTo>
                    <a:pt x="563" y="181"/>
                  </a:lnTo>
                  <a:lnTo>
                    <a:pt x="562" y="181"/>
                  </a:lnTo>
                  <a:lnTo>
                    <a:pt x="562" y="182"/>
                  </a:lnTo>
                  <a:lnTo>
                    <a:pt x="561" y="182"/>
                  </a:lnTo>
                  <a:lnTo>
                    <a:pt x="560" y="182"/>
                  </a:lnTo>
                  <a:lnTo>
                    <a:pt x="560" y="181"/>
                  </a:lnTo>
                  <a:lnTo>
                    <a:pt x="561" y="181"/>
                  </a:lnTo>
                  <a:lnTo>
                    <a:pt x="560" y="181"/>
                  </a:lnTo>
                  <a:lnTo>
                    <a:pt x="560" y="179"/>
                  </a:lnTo>
                  <a:lnTo>
                    <a:pt x="560" y="178"/>
                  </a:lnTo>
                  <a:lnTo>
                    <a:pt x="558" y="178"/>
                  </a:lnTo>
                  <a:lnTo>
                    <a:pt x="560" y="178"/>
                  </a:lnTo>
                  <a:lnTo>
                    <a:pt x="560" y="177"/>
                  </a:lnTo>
                  <a:lnTo>
                    <a:pt x="561" y="177"/>
                  </a:lnTo>
                  <a:lnTo>
                    <a:pt x="561" y="178"/>
                  </a:lnTo>
                  <a:lnTo>
                    <a:pt x="560" y="178"/>
                  </a:lnTo>
                  <a:lnTo>
                    <a:pt x="561" y="178"/>
                  </a:lnTo>
                  <a:lnTo>
                    <a:pt x="562" y="178"/>
                  </a:lnTo>
                  <a:lnTo>
                    <a:pt x="562" y="177"/>
                  </a:lnTo>
                  <a:lnTo>
                    <a:pt x="561" y="177"/>
                  </a:lnTo>
                  <a:lnTo>
                    <a:pt x="561" y="176"/>
                  </a:lnTo>
                  <a:lnTo>
                    <a:pt x="561" y="175"/>
                  </a:lnTo>
                  <a:lnTo>
                    <a:pt x="560" y="175"/>
                  </a:lnTo>
                  <a:lnTo>
                    <a:pt x="561" y="175"/>
                  </a:lnTo>
                  <a:lnTo>
                    <a:pt x="562" y="175"/>
                  </a:lnTo>
                  <a:lnTo>
                    <a:pt x="562" y="176"/>
                  </a:lnTo>
                  <a:lnTo>
                    <a:pt x="562" y="175"/>
                  </a:lnTo>
                  <a:lnTo>
                    <a:pt x="563" y="175"/>
                  </a:lnTo>
                  <a:lnTo>
                    <a:pt x="562" y="175"/>
                  </a:lnTo>
                  <a:lnTo>
                    <a:pt x="563" y="174"/>
                  </a:lnTo>
                  <a:lnTo>
                    <a:pt x="563" y="175"/>
                  </a:lnTo>
                  <a:lnTo>
                    <a:pt x="564" y="175"/>
                  </a:lnTo>
                  <a:lnTo>
                    <a:pt x="564" y="176"/>
                  </a:lnTo>
                  <a:lnTo>
                    <a:pt x="565" y="176"/>
                  </a:lnTo>
                  <a:lnTo>
                    <a:pt x="565" y="175"/>
                  </a:lnTo>
                  <a:lnTo>
                    <a:pt x="565" y="176"/>
                  </a:lnTo>
                  <a:lnTo>
                    <a:pt x="567" y="176"/>
                  </a:lnTo>
                  <a:lnTo>
                    <a:pt x="567" y="175"/>
                  </a:lnTo>
                  <a:lnTo>
                    <a:pt x="568" y="175"/>
                  </a:lnTo>
                  <a:lnTo>
                    <a:pt x="569" y="175"/>
                  </a:lnTo>
                  <a:lnTo>
                    <a:pt x="570" y="175"/>
                  </a:lnTo>
                  <a:lnTo>
                    <a:pt x="569" y="175"/>
                  </a:lnTo>
                  <a:lnTo>
                    <a:pt x="569" y="174"/>
                  </a:lnTo>
                  <a:lnTo>
                    <a:pt x="569" y="172"/>
                  </a:lnTo>
                  <a:lnTo>
                    <a:pt x="570" y="172"/>
                  </a:lnTo>
                  <a:lnTo>
                    <a:pt x="571" y="172"/>
                  </a:lnTo>
                  <a:lnTo>
                    <a:pt x="572" y="172"/>
                  </a:lnTo>
                  <a:lnTo>
                    <a:pt x="572" y="174"/>
                  </a:lnTo>
                  <a:lnTo>
                    <a:pt x="573" y="174"/>
                  </a:lnTo>
                  <a:lnTo>
                    <a:pt x="572" y="174"/>
                  </a:lnTo>
                  <a:lnTo>
                    <a:pt x="573" y="174"/>
                  </a:lnTo>
                  <a:lnTo>
                    <a:pt x="575" y="174"/>
                  </a:lnTo>
                  <a:lnTo>
                    <a:pt x="576" y="174"/>
                  </a:lnTo>
                  <a:lnTo>
                    <a:pt x="577" y="175"/>
                  </a:lnTo>
                  <a:lnTo>
                    <a:pt x="576" y="175"/>
                  </a:lnTo>
                  <a:lnTo>
                    <a:pt x="577" y="175"/>
                  </a:lnTo>
                  <a:lnTo>
                    <a:pt x="577" y="176"/>
                  </a:lnTo>
                  <a:lnTo>
                    <a:pt x="576" y="176"/>
                  </a:lnTo>
                  <a:lnTo>
                    <a:pt x="577" y="176"/>
                  </a:lnTo>
                  <a:lnTo>
                    <a:pt x="577" y="177"/>
                  </a:lnTo>
                  <a:lnTo>
                    <a:pt x="579" y="176"/>
                  </a:lnTo>
                  <a:lnTo>
                    <a:pt x="580" y="176"/>
                  </a:lnTo>
                  <a:lnTo>
                    <a:pt x="579" y="176"/>
                  </a:lnTo>
                  <a:lnTo>
                    <a:pt x="580" y="176"/>
                  </a:lnTo>
                  <a:lnTo>
                    <a:pt x="579" y="177"/>
                  </a:lnTo>
                  <a:lnTo>
                    <a:pt x="580" y="177"/>
                  </a:lnTo>
                  <a:lnTo>
                    <a:pt x="580" y="176"/>
                  </a:lnTo>
                  <a:lnTo>
                    <a:pt x="582" y="176"/>
                  </a:lnTo>
                  <a:lnTo>
                    <a:pt x="583" y="176"/>
                  </a:lnTo>
                  <a:lnTo>
                    <a:pt x="582" y="176"/>
                  </a:lnTo>
                  <a:lnTo>
                    <a:pt x="582" y="177"/>
                  </a:lnTo>
                  <a:lnTo>
                    <a:pt x="580" y="177"/>
                  </a:lnTo>
                  <a:lnTo>
                    <a:pt x="578" y="178"/>
                  </a:lnTo>
                  <a:lnTo>
                    <a:pt x="577" y="178"/>
                  </a:lnTo>
                  <a:lnTo>
                    <a:pt x="576" y="179"/>
                  </a:lnTo>
                  <a:lnTo>
                    <a:pt x="577" y="179"/>
                  </a:lnTo>
                  <a:lnTo>
                    <a:pt x="578" y="179"/>
                  </a:lnTo>
                  <a:lnTo>
                    <a:pt x="579" y="179"/>
                  </a:lnTo>
                  <a:lnTo>
                    <a:pt x="579" y="178"/>
                  </a:lnTo>
                  <a:lnTo>
                    <a:pt x="580" y="178"/>
                  </a:lnTo>
                  <a:lnTo>
                    <a:pt x="582" y="177"/>
                  </a:lnTo>
                  <a:lnTo>
                    <a:pt x="583" y="177"/>
                  </a:lnTo>
                  <a:lnTo>
                    <a:pt x="584" y="177"/>
                  </a:lnTo>
                  <a:lnTo>
                    <a:pt x="585" y="177"/>
                  </a:lnTo>
                  <a:lnTo>
                    <a:pt x="586" y="176"/>
                  </a:lnTo>
                  <a:lnTo>
                    <a:pt x="587" y="176"/>
                  </a:lnTo>
                  <a:lnTo>
                    <a:pt x="585" y="177"/>
                  </a:lnTo>
                  <a:lnTo>
                    <a:pt x="584" y="178"/>
                  </a:lnTo>
                  <a:lnTo>
                    <a:pt x="585" y="178"/>
                  </a:lnTo>
                  <a:lnTo>
                    <a:pt x="584" y="178"/>
                  </a:lnTo>
                  <a:lnTo>
                    <a:pt x="583" y="179"/>
                  </a:lnTo>
                  <a:lnTo>
                    <a:pt x="582" y="181"/>
                  </a:lnTo>
                  <a:lnTo>
                    <a:pt x="580" y="181"/>
                  </a:lnTo>
                  <a:lnTo>
                    <a:pt x="580" y="182"/>
                  </a:lnTo>
                  <a:lnTo>
                    <a:pt x="579" y="182"/>
                  </a:lnTo>
                  <a:lnTo>
                    <a:pt x="579" y="183"/>
                  </a:lnTo>
                  <a:lnTo>
                    <a:pt x="578" y="184"/>
                  </a:lnTo>
                  <a:lnTo>
                    <a:pt x="578" y="185"/>
                  </a:lnTo>
                  <a:lnTo>
                    <a:pt x="577" y="185"/>
                  </a:lnTo>
                  <a:lnTo>
                    <a:pt x="577" y="184"/>
                  </a:lnTo>
                  <a:lnTo>
                    <a:pt x="576" y="185"/>
                  </a:lnTo>
                  <a:lnTo>
                    <a:pt x="575" y="185"/>
                  </a:lnTo>
                  <a:lnTo>
                    <a:pt x="573" y="186"/>
                  </a:lnTo>
                  <a:lnTo>
                    <a:pt x="575" y="186"/>
                  </a:lnTo>
                  <a:lnTo>
                    <a:pt x="573" y="186"/>
                  </a:lnTo>
                  <a:lnTo>
                    <a:pt x="575" y="186"/>
                  </a:lnTo>
                  <a:lnTo>
                    <a:pt x="573" y="188"/>
                  </a:lnTo>
                  <a:lnTo>
                    <a:pt x="575" y="188"/>
                  </a:lnTo>
                  <a:lnTo>
                    <a:pt x="576" y="188"/>
                  </a:lnTo>
                  <a:lnTo>
                    <a:pt x="577" y="188"/>
                  </a:lnTo>
                  <a:lnTo>
                    <a:pt x="576" y="188"/>
                  </a:lnTo>
                  <a:lnTo>
                    <a:pt x="576" y="189"/>
                  </a:lnTo>
                  <a:lnTo>
                    <a:pt x="575" y="189"/>
                  </a:lnTo>
                  <a:lnTo>
                    <a:pt x="573" y="189"/>
                  </a:lnTo>
                  <a:lnTo>
                    <a:pt x="573" y="190"/>
                  </a:lnTo>
                  <a:lnTo>
                    <a:pt x="572" y="190"/>
                  </a:lnTo>
                  <a:lnTo>
                    <a:pt x="573" y="190"/>
                  </a:lnTo>
                  <a:lnTo>
                    <a:pt x="575" y="190"/>
                  </a:lnTo>
                  <a:lnTo>
                    <a:pt x="573" y="190"/>
                  </a:lnTo>
                  <a:lnTo>
                    <a:pt x="575" y="190"/>
                  </a:lnTo>
                  <a:lnTo>
                    <a:pt x="576" y="190"/>
                  </a:lnTo>
                  <a:lnTo>
                    <a:pt x="577" y="190"/>
                  </a:lnTo>
                  <a:lnTo>
                    <a:pt x="578" y="189"/>
                  </a:lnTo>
                  <a:lnTo>
                    <a:pt x="579" y="189"/>
                  </a:lnTo>
                  <a:lnTo>
                    <a:pt x="580" y="189"/>
                  </a:lnTo>
                  <a:lnTo>
                    <a:pt x="580" y="188"/>
                  </a:lnTo>
                  <a:lnTo>
                    <a:pt x="582" y="189"/>
                  </a:lnTo>
                  <a:lnTo>
                    <a:pt x="580" y="189"/>
                  </a:lnTo>
                  <a:lnTo>
                    <a:pt x="577" y="191"/>
                  </a:lnTo>
                  <a:lnTo>
                    <a:pt x="576" y="191"/>
                  </a:lnTo>
                  <a:lnTo>
                    <a:pt x="577" y="191"/>
                  </a:lnTo>
                  <a:lnTo>
                    <a:pt x="578" y="191"/>
                  </a:lnTo>
                  <a:lnTo>
                    <a:pt x="578" y="190"/>
                  </a:lnTo>
                  <a:lnTo>
                    <a:pt x="579" y="190"/>
                  </a:lnTo>
                  <a:lnTo>
                    <a:pt x="578" y="191"/>
                  </a:lnTo>
                  <a:lnTo>
                    <a:pt x="579" y="191"/>
                  </a:lnTo>
                  <a:lnTo>
                    <a:pt x="580" y="190"/>
                  </a:lnTo>
                  <a:lnTo>
                    <a:pt x="580" y="191"/>
                  </a:lnTo>
                  <a:lnTo>
                    <a:pt x="579" y="191"/>
                  </a:lnTo>
                  <a:lnTo>
                    <a:pt x="580" y="191"/>
                  </a:lnTo>
                  <a:lnTo>
                    <a:pt x="580" y="192"/>
                  </a:lnTo>
                  <a:lnTo>
                    <a:pt x="579" y="192"/>
                  </a:lnTo>
                  <a:lnTo>
                    <a:pt x="580" y="193"/>
                  </a:lnTo>
                  <a:lnTo>
                    <a:pt x="579" y="193"/>
                  </a:lnTo>
                  <a:lnTo>
                    <a:pt x="578" y="193"/>
                  </a:lnTo>
                  <a:lnTo>
                    <a:pt x="578" y="195"/>
                  </a:lnTo>
                  <a:lnTo>
                    <a:pt x="576" y="195"/>
                  </a:lnTo>
                  <a:lnTo>
                    <a:pt x="576" y="193"/>
                  </a:lnTo>
                  <a:lnTo>
                    <a:pt x="577" y="193"/>
                  </a:lnTo>
                  <a:lnTo>
                    <a:pt x="576" y="193"/>
                  </a:lnTo>
                  <a:lnTo>
                    <a:pt x="575" y="193"/>
                  </a:lnTo>
                  <a:lnTo>
                    <a:pt x="573" y="195"/>
                  </a:lnTo>
                  <a:lnTo>
                    <a:pt x="572" y="193"/>
                  </a:lnTo>
                  <a:lnTo>
                    <a:pt x="573" y="193"/>
                  </a:lnTo>
                  <a:lnTo>
                    <a:pt x="572" y="193"/>
                  </a:lnTo>
                  <a:lnTo>
                    <a:pt x="573" y="193"/>
                  </a:lnTo>
                  <a:lnTo>
                    <a:pt x="573" y="192"/>
                  </a:lnTo>
                  <a:lnTo>
                    <a:pt x="575" y="192"/>
                  </a:lnTo>
                  <a:lnTo>
                    <a:pt x="573" y="192"/>
                  </a:lnTo>
                  <a:lnTo>
                    <a:pt x="572" y="193"/>
                  </a:lnTo>
                  <a:lnTo>
                    <a:pt x="571" y="193"/>
                  </a:lnTo>
                  <a:lnTo>
                    <a:pt x="571" y="195"/>
                  </a:lnTo>
                  <a:lnTo>
                    <a:pt x="571" y="193"/>
                  </a:lnTo>
                  <a:lnTo>
                    <a:pt x="570" y="193"/>
                  </a:lnTo>
                  <a:lnTo>
                    <a:pt x="570" y="192"/>
                  </a:lnTo>
                  <a:lnTo>
                    <a:pt x="569" y="192"/>
                  </a:lnTo>
                  <a:lnTo>
                    <a:pt x="569" y="193"/>
                  </a:lnTo>
                  <a:lnTo>
                    <a:pt x="569" y="195"/>
                  </a:lnTo>
                  <a:lnTo>
                    <a:pt x="570" y="195"/>
                  </a:lnTo>
                  <a:lnTo>
                    <a:pt x="570" y="196"/>
                  </a:lnTo>
                  <a:lnTo>
                    <a:pt x="571" y="197"/>
                  </a:lnTo>
                  <a:lnTo>
                    <a:pt x="571" y="198"/>
                  </a:lnTo>
                  <a:lnTo>
                    <a:pt x="570" y="199"/>
                  </a:lnTo>
                  <a:lnTo>
                    <a:pt x="571" y="198"/>
                  </a:lnTo>
                  <a:lnTo>
                    <a:pt x="572" y="198"/>
                  </a:lnTo>
                  <a:lnTo>
                    <a:pt x="573" y="198"/>
                  </a:lnTo>
                  <a:lnTo>
                    <a:pt x="573" y="197"/>
                  </a:lnTo>
                  <a:lnTo>
                    <a:pt x="572" y="197"/>
                  </a:lnTo>
                  <a:lnTo>
                    <a:pt x="572" y="198"/>
                  </a:lnTo>
                  <a:lnTo>
                    <a:pt x="572" y="197"/>
                  </a:lnTo>
                  <a:lnTo>
                    <a:pt x="571" y="197"/>
                  </a:lnTo>
                  <a:lnTo>
                    <a:pt x="571" y="196"/>
                  </a:lnTo>
                  <a:lnTo>
                    <a:pt x="571" y="195"/>
                  </a:lnTo>
                  <a:lnTo>
                    <a:pt x="572" y="195"/>
                  </a:lnTo>
                  <a:lnTo>
                    <a:pt x="573" y="195"/>
                  </a:lnTo>
                  <a:lnTo>
                    <a:pt x="575" y="195"/>
                  </a:lnTo>
                  <a:lnTo>
                    <a:pt x="576" y="195"/>
                  </a:lnTo>
                  <a:lnTo>
                    <a:pt x="577" y="195"/>
                  </a:lnTo>
                  <a:lnTo>
                    <a:pt x="578" y="195"/>
                  </a:lnTo>
                  <a:lnTo>
                    <a:pt x="579" y="195"/>
                  </a:lnTo>
                  <a:lnTo>
                    <a:pt x="580" y="195"/>
                  </a:lnTo>
                  <a:lnTo>
                    <a:pt x="580" y="193"/>
                  </a:lnTo>
                  <a:lnTo>
                    <a:pt x="580" y="192"/>
                  </a:lnTo>
                  <a:lnTo>
                    <a:pt x="580" y="191"/>
                  </a:lnTo>
                  <a:lnTo>
                    <a:pt x="582" y="191"/>
                  </a:lnTo>
                  <a:lnTo>
                    <a:pt x="583" y="191"/>
                  </a:lnTo>
                  <a:lnTo>
                    <a:pt x="583" y="190"/>
                  </a:lnTo>
                  <a:lnTo>
                    <a:pt x="584" y="190"/>
                  </a:lnTo>
                  <a:lnTo>
                    <a:pt x="584" y="189"/>
                  </a:lnTo>
                  <a:lnTo>
                    <a:pt x="583" y="189"/>
                  </a:lnTo>
                  <a:lnTo>
                    <a:pt x="584" y="189"/>
                  </a:lnTo>
                  <a:lnTo>
                    <a:pt x="584" y="188"/>
                  </a:lnTo>
                  <a:lnTo>
                    <a:pt x="584" y="186"/>
                  </a:lnTo>
                  <a:lnTo>
                    <a:pt x="585" y="186"/>
                  </a:lnTo>
                  <a:lnTo>
                    <a:pt x="585" y="185"/>
                  </a:lnTo>
                  <a:lnTo>
                    <a:pt x="585" y="184"/>
                  </a:lnTo>
                  <a:lnTo>
                    <a:pt x="584" y="184"/>
                  </a:lnTo>
                  <a:lnTo>
                    <a:pt x="584" y="183"/>
                  </a:lnTo>
                  <a:lnTo>
                    <a:pt x="585" y="183"/>
                  </a:lnTo>
                  <a:lnTo>
                    <a:pt x="586" y="183"/>
                  </a:lnTo>
                  <a:lnTo>
                    <a:pt x="587" y="182"/>
                  </a:lnTo>
                  <a:lnTo>
                    <a:pt x="586" y="182"/>
                  </a:lnTo>
                  <a:lnTo>
                    <a:pt x="587" y="181"/>
                  </a:lnTo>
                  <a:lnTo>
                    <a:pt x="589" y="181"/>
                  </a:lnTo>
                  <a:lnTo>
                    <a:pt x="589" y="179"/>
                  </a:lnTo>
                  <a:lnTo>
                    <a:pt x="590" y="179"/>
                  </a:lnTo>
                  <a:lnTo>
                    <a:pt x="592" y="178"/>
                  </a:lnTo>
                  <a:lnTo>
                    <a:pt x="592" y="179"/>
                  </a:lnTo>
                  <a:lnTo>
                    <a:pt x="593" y="178"/>
                  </a:lnTo>
                  <a:lnTo>
                    <a:pt x="594" y="178"/>
                  </a:lnTo>
                  <a:lnTo>
                    <a:pt x="594" y="179"/>
                  </a:lnTo>
                  <a:lnTo>
                    <a:pt x="596" y="179"/>
                  </a:lnTo>
                  <a:lnTo>
                    <a:pt x="597" y="179"/>
                  </a:lnTo>
                  <a:lnTo>
                    <a:pt x="598" y="178"/>
                  </a:lnTo>
                  <a:lnTo>
                    <a:pt x="599" y="178"/>
                  </a:lnTo>
                  <a:lnTo>
                    <a:pt x="600" y="177"/>
                  </a:lnTo>
                  <a:lnTo>
                    <a:pt x="601" y="177"/>
                  </a:lnTo>
                  <a:lnTo>
                    <a:pt x="603" y="177"/>
                  </a:lnTo>
                  <a:lnTo>
                    <a:pt x="604" y="177"/>
                  </a:lnTo>
                  <a:lnTo>
                    <a:pt x="605" y="176"/>
                  </a:lnTo>
                  <a:lnTo>
                    <a:pt x="606" y="176"/>
                  </a:lnTo>
                  <a:lnTo>
                    <a:pt x="606" y="175"/>
                  </a:lnTo>
                  <a:lnTo>
                    <a:pt x="607" y="175"/>
                  </a:lnTo>
                  <a:lnTo>
                    <a:pt x="607" y="174"/>
                  </a:lnTo>
                  <a:lnTo>
                    <a:pt x="610" y="174"/>
                  </a:lnTo>
                  <a:lnTo>
                    <a:pt x="612" y="174"/>
                  </a:lnTo>
                  <a:lnTo>
                    <a:pt x="613" y="172"/>
                  </a:lnTo>
                  <a:lnTo>
                    <a:pt x="614" y="172"/>
                  </a:lnTo>
                  <a:lnTo>
                    <a:pt x="615" y="172"/>
                  </a:lnTo>
                  <a:lnTo>
                    <a:pt x="615" y="171"/>
                  </a:lnTo>
                  <a:lnTo>
                    <a:pt x="617" y="171"/>
                  </a:lnTo>
                  <a:lnTo>
                    <a:pt x="618" y="171"/>
                  </a:lnTo>
                  <a:lnTo>
                    <a:pt x="615" y="171"/>
                  </a:lnTo>
                  <a:lnTo>
                    <a:pt x="614" y="171"/>
                  </a:lnTo>
                  <a:lnTo>
                    <a:pt x="613" y="171"/>
                  </a:lnTo>
                  <a:lnTo>
                    <a:pt x="614" y="171"/>
                  </a:lnTo>
                  <a:lnTo>
                    <a:pt x="614" y="170"/>
                  </a:lnTo>
                  <a:lnTo>
                    <a:pt x="615" y="170"/>
                  </a:lnTo>
                  <a:lnTo>
                    <a:pt x="617" y="170"/>
                  </a:lnTo>
                  <a:lnTo>
                    <a:pt x="617" y="169"/>
                  </a:lnTo>
                  <a:lnTo>
                    <a:pt x="618" y="169"/>
                  </a:lnTo>
                  <a:lnTo>
                    <a:pt x="618" y="168"/>
                  </a:lnTo>
                  <a:lnTo>
                    <a:pt x="618" y="167"/>
                  </a:lnTo>
                  <a:lnTo>
                    <a:pt x="619" y="167"/>
                  </a:lnTo>
                  <a:lnTo>
                    <a:pt x="618" y="167"/>
                  </a:lnTo>
                  <a:lnTo>
                    <a:pt x="617" y="167"/>
                  </a:lnTo>
                  <a:lnTo>
                    <a:pt x="618" y="167"/>
                  </a:lnTo>
                  <a:lnTo>
                    <a:pt x="617" y="167"/>
                  </a:lnTo>
                  <a:lnTo>
                    <a:pt x="617" y="165"/>
                  </a:lnTo>
                  <a:lnTo>
                    <a:pt x="618" y="165"/>
                  </a:lnTo>
                  <a:lnTo>
                    <a:pt x="617" y="165"/>
                  </a:lnTo>
                  <a:lnTo>
                    <a:pt x="617" y="167"/>
                  </a:lnTo>
                  <a:lnTo>
                    <a:pt x="615" y="167"/>
                  </a:lnTo>
                  <a:lnTo>
                    <a:pt x="614" y="168"/>
                  </a:lnTo>
                  <a:lnTo>
                    <a:pt x="613" y="168"/>
                  </a:lnTo>
                  <a:lnTo>
                    <a:pt x="613" y="169"/>
                  </a:lnTo>
                  <a:lnTo>
                    <a:pt x="614" y="168"/>
                  </a:lnTo>
                  <a:lnTo>
                    <a:pt x="615" y="168"/>
                  </a:lnTo>
                  <a:lnTo>
                    <a:pt x="614" y="168"/>
                  </a:lnTo>
                  <a:lnTo>
                    <a:pt x="614" y="169"/>
                  </a:lnTo>
                  <a:lnTo>
                    <a:pt x="613" y="169"/>
                  </a:lnTo>
                  <a:lnTo>
                    <a:pt x="612" y="169"/>
                  </a:lnTo>
                  <a:lnTo>
                    <a:pt x="612" y="170"/>
                  </a:lnTo>
                  <a:lnTo>
                    <a:pt x="610" y="170"/>
                  </a:lnTo>
                  <a:lnTo>
                    <a:pt x="608" y="170"/>
                  </a:lnTo>
                  <a:lnTo>
                    <a:pt x="607" y="170"/>
                  </a:lnTo>
                  <a:lnTo>
                    <a:pt x="606" y="170"/>
                  </a:lnTo>
                  <a:lnTo>
                    <a:pt x="606" y="169"/>
                  </a:lnTo>
                  <a:lnTo>
                    <a:pt x="607" y="169"/>
                  </a:lnTo>
                  <a:lnTo>
                    <a:pt x="608" y="168"/>
                  </a:lnTo>
                  <a:lnTo>
                    <a:pt x="608" y="167"/>
                  </a:lnTo>
                  <a:lnTo>
                    <a:pt x="610" y="167"/>
                  </a:lnTo>
                  <a:lnTo>
                    <a:pt x="611" y="167"/>
                  </a:lnTo>
                  <a:lnTo>
                    <a:pt x="612" y="167"/>
                  </a:lnTo>
                  <a:lnTo>
                    <a:pt x="612" y="165"/>
                  </a:lnTo>
                  <a:lnTo>
                    <a:pt x="613" y="165"/>
                  </a:lnTo>
                  <a:lnTo>
                    <a:pt x="614" y="165"/>
                  </a:lnTo>
                  <a:lnTo>
                    <a:pt x="615" y="164"/>
                  </a:lnTo>
                  <a:lnTo>
                    <a:pt x="617" y="164"/>
                  </a:lnTo>
                  <a:lnTo>
                    <a:pt x="615" y="164"/>
                  </a:lnTo>
                  <a:lnTo>
                    <a:pt x="614" y="164"/>
                  </a:lnTo>
                  <a:lnTo>
                    <a:pt x="613" y="164"/>
                  </a:lnTo>
                  <a:lnTo>
                    <a:pt x="614" y="164"/>
                  </a:lnTo>
                  <a:lnTo>
                    <a:pt x="614" y="163"/>
                  </a:lnTo>
                  <a:lnTo>
                    <a:pt x="615" y="163"/>
                  </a:lnTo>
                  <a:lnTo>
                    <a:pt x="615" y="162"/>
                  </a:lnTo>
                  <a:lnTo>
                    <a:pt x="617" y="162"/>
                  </a:lnTo>
                  <a:lnTo>
                    <a:pt x="618" y="162"/>
                  </a:lnTo>
                  <a:lnTo>
                    <a:pt x="619" y="162"/>
                  </a:lnTo>
                  <a:lnTo>
                    <a:pt x="620" y="162"/>
                  </a:lnTo>
                  <a:lnTo>
                    <a:pt x="621" y="162"/>
                  </a:lnTo>
                  <a:lnTo>
                    <a:pt x="622" y="161"/>
                  </a:lnTo>
                  <a:lnTo>
                    <a:pt x="624" y="161"/>
                  </a:lnTo>
                  <a:lnTo>
                    <a:pt x="625" y="161"/>
                  </a:lnTo>
                  <a:lnTo>
                    <a:pt x="624" y="161"/>
                  </a:lnTo>
                  <a:lnTo>
                    <a:pt x="622" y="161"/>
                  </a:lnTo>
                  <a:lnTo>
                    <a:pt x="622" y="162"/>
                  </a:lnTo>
                  <a:lnTo>
                    <a:pt x="621" y="162"/>
                  </a:lnTo>
                  <a:lnTo>
                    <a:pt x="620" y="162"/>
                  </a:lnTo>
                  <a:lnTo>
                    <a:pt x="619" y="163"/>
                  </a:lnTo>
                  <a:lnTo>
                    <a:pt x="620" y="163"/>
                  </a:lnTo>
                  <a:lnTo>
                    <a:pt x="619" y="163"/>
                  </a:lnTo>
                  <a:lnTo>
                    <a:pt x="619" y="164"/>
                  </a:lnTo>
                  <a:lnTo>
                    <a:pt x="620" y="164"/>
                  </a:lnTo>
                  <a:lnTo>
                    <a:pt x="620" y="163"/>
                  </a:lnTo>
                  <a:lnTo>
                    <a:pt x="621" y="163"/>
                  </a:lnTo>
                  <a:lnTo>
                    <a:pt x="622" y="163"/>
                  </a:lnTo>
                  <a:lnTo>
                    <a:pt x="621" y="163"/>
                  </a:lnTo>
                  <a:lnTo>
                    <a:pt x="622" y="163"/>
                  </a:lnTo>
                  <a:lnTo>
                    <a:pt x="622" y="162"/>
                  </a:lnTo>
                  <a:lnTo>
                    <a:pt x="624" y="162"/>
                  </a:lnTo>
                  <a:lnTo>
                    <a:pt x="625" y="162"/>
                  </a:lnTo>
                  <a:lnTo>
                    <a:pt x="626" y="162"/>
                  </a:lnTo>
                  <a:lnTo>
                    <a:pt x="626" y="161"/>
                  </a:lnTo>
                  <a:lnTo>
                    <a:pt x="625" y="162"/>
                  </a:lnTo>
                  <a:lnTo>
                    <a:pt x="624" y="162"/>
                  </a:lnTo>
                  <a:lnTo>
                    <a:pt x="625" y="161"/>
                  </a:lnTo>
                  <a:lnTo>
                    <a:pt x="626" y="161"/>
                  </a:lnTo>
                  <a:lnTo>
                    <a:pt x="626" y="160"/>
                  </a:lnTo>
                  <a:lnTo>
                    <a:pt x="624" y="160"/>
                  </a:lnTo>
                  <a:lnTo>
                    <a:pt x="622" y="160"/>
                  </a:lnTo>
                  <a:lnTo>
                    <a:pt x="621" y="160"/>
                  </a:lnTo>
                  <a:lnTo>
                    <a:pt x="621" y="161"/>
                  </a:lnTo>
                  <a:lnTo>
                    <a:pt x="620" y="161"/>
                  </a:lnTo>
                  <a:lnTo>
                    <a:pt x="619" y="161"/>
                  </a:lnTo>
                  <a:lnTo>
                    <a:pt x="617" y="161"/>
                  </a:lnTo>
                  <a:lnTo>
                    <a:pt x="617" y="160"/>
                  </a:lnTo>
                  <a:lnTo>
                    <a:pt x="617" y="158"/>
                  </a:lnTo>
                  <a:lnTo>
                    <a:pt x="617" y="157"/>
                  </a:lnTo>
                  <a:lnTo>
                    <a:pt x="617" y="158"/>
                  </a:lnTo>
                  <a:lnTo>
                    <a:pt x="615" y="158"/>
                  </a:lnTo>
                  <a:lnTo>
                    <a:pt x="615" y="157"/>
                  </a:lnTo>
                  <a:lnTo>
                    <a:pt x="617" y="157"/>
                  </a:lnTo>
                  <a:lnTo>
                    <a:pt x="615" y="157"/>
                  </a:lnTo>
                  <a:lnTo>
                    <a:pt x="614" y="157"/>
                  </a:lnTo>
                  <a:lnTo>
                    <a:pt x="614" y="158"/>
                  </a:lnTo>
                  <a:lnTo>
                    <a:pt x="613" y="158"/>
                  </a:lnTo>
                  <a:lnTo>
                    <a:pt x="612" y="158"/>
                  </a:lnTo>
                  <a:lnTo>
                    <a:pt x="611" y="158"/>
                  </a:lnTo>
                  <a:lnTo>
                    <a:pt x="611" y="157"/>
                  </a:lnTo>
                  <a:lnTo>
                    <a:pt x="610" y="157"/>
                  </a:lnTo>
                  <a:lnTo>
                    <a:pt x="608" y="157"/>
                  </a:lnTo>
                  <a:lnTo>
                    <a:pt x="607" y="156"/>
                  </a:lnTo>
                  <a:lnTo>
                    <a:pt x="606" y="156"/>
                  </a:lnTo>
                  <a:lnTo>
                    <a:pt x="605" y="156"/>
                  </a:lnTo>
                  <a:lnTo>
                    <a:pt x="606" y="156"/>
                  </a:lnTo>
                  <a:lnTo>
                    <a:pt x="605" y="156"/>
                  </a:lnTo>
                  <a:lnTo>
                    <a:pt x="604" y="156"/>
                  </a:lnTo>
                  <a:lnTo>
                    <a:pt x="604" y="155"/>
                  </a:lnTo>
                  <a:lnTo>
                    <a:pt x="603" y="155"/>
                  </a:lnTo>
                  <a:lnTo>
                    <a:pt x="604" y="155"/>
                  </a:lnTo>
                  <a:lnTo>
                    <a:pt x="604" y="154"/>
                  </a:lnTo>
                  <a:lnTo>
                    <a:pt x="605" y="154"/>
                  </a:lnTo>
                  <a:lnTo>
                    <a:pt x="604" y="154"/>
                  </a:lnTo>
                  <a:lnTo>
                    <a:pt x="603" y="154"/>
                  </a:lnTo>
                  <a:lnTo>
                    <a:pt x="603" y="151"/>
                  </a:lnTo>
                  <a:lnTo>
                    <a:pt x="603" y="150"/>
                  </a:lnTo>
                  <a:lnTo>
                    <a:pt x="604" y="149"/>
                  </a:lnTo>
                  <a:lnTo>
                    <a:pt x="605" y="149"/>
                  </a:lnTo>
                  <a:lnTo>
                    <a:pt x="605" y="148"/>
                  </a:lnTo>
                  <a:lnTo>
                    <a:pt x="606" y="148"/>
                  </a:lnTo>
                  <a:lnTo>
                    <a:pt x="607" y="148"/>
                  </a:lnTo>
                  <a:lnTo>
                    <a:pt x="608" y="147"/>
                  </a:lnTo>
                  <a:lnTo>
                    <a:pt x="610" y="147"/>
                  </a:lnTo>
                  <a:lnTo>
                    <a:pt x="610" y="146"/>
                  </a:lnTo>
                  <a:lnTo>
                    <a:pt x="611" y="146"/>
                  </a:lnTo>
                  <a:lnTo>
                    <a:pt x="612" y="146"/>
                  </a:lnTo>
                  <a:lnTo>
                    <a:pt x="613" y="146"/>
                  </a:lnTo>
                  <a:lnTo>
                    <a:pt x="614" y="146"/>
                  </a:lnTo>
                  <a:lnTo>
                    <a:pt x="613" y="146"/>
                  </a:lnTo>
                  <a:lnTo>
                    <a:pt x="613" y="144"/>
                  </a:lnTo>
                  <a:lnTo>
                    <a:pt x="614" y="144"/>
                  </a:lnTo>
                  <a:lnTo>
                    <a:pt x="615" y="144"/>
                  </a:lnTo>
                  <a:lnTo>
                    <a:pt x="615" y="143"/>
                  </a:lnTo>
                  <a:lnTo>
                    <a:pt x="617" y="143"/>
                  </a:lnTo>
                  <a:lnTo>
                    <a:pt x="615" y="143"/>
                  </a:lnTo>
                  <a:lnTo>
                    <a:pt x="613" y="144"/>
                  </a:lnTo>
                  <a:lnTo>
                    <a:pt x="612" y="144"/>
                  </a:lnTo>
                  <a:lnTo>
                    <a:pt x="611" y="144"/>
                  </a:lnTo>
                  <a:lnTo>
                    <a:pt x="610" y="144"/>
                  </a:lnTo>
                  <a:lnTo>
                    <a:pt x="611" y="143"/>
                  </a:lnTo>
                  <a:lnTo>
                    <a:pt x="610" y="143"/>
                  </a:lnTo>
                  <a:lnTo>
                    <a:pt x="610" y="142"/>
                  </a:lnTo>
                  <a:lnTo>
                    <a:pt x="611" y="142"/>
                  </a:lnTo>
                  <a:lnTo>
                    <a:pt x="612" y="141"/>
                  </a:lnTo>
                  <a:lnTo>
                    <a:pt x="613" y="140"/>
                  </a:lnTo>
                  <a:lnTo>
                    <a:pt x="614" y="140"/>
                  </a:lnTo>
                  <a:lnTo>
                    <a:pt x="614" y="139"/>
                  </a:lnTo>
                  <a:lnTo>
                    <a:pt x="615" y="139"/>
                  </a:lnTo>
                  <a:lnTo>
                    <a:pt x="614" y="139"/>
                  </a:lnTo>
                  <a:lnTo>
                    <a:pt x="615" y="137"/>
                  </a:lnTo>
                  <a:lnTo>
                    <a:pt x="615" y="139"/>
                  </a:lnTo>
                  <a:lnTo>
                    <a:pt x="615" y="137"/>
                  </a:lnTo>
                  <a:lnTo>
                    <a:pt x="617" y="137"/>
                  </a:lnTo>
                  <a:lnTo>
                    <a:pt x="617" y="136"/>
                  </a:lnTo>
                  <a:lnTo>
                    <a:pt x="618" y="136"/>
                  </a:lnTo>
                  <a:lnTo>
                    <a:pt x="619" y="136"/>
                  </a:lnTo>
                  <a:lnTo>
                    <a:pt x="619" y="135"/>
                  </a:lnTo>
                  <a:lnTo>
                    <a:pt x="620" y="135"/>
                  </a:lnTo>
                  <a:lnTo>
                    <a:pt x="621" y="135"/>
                  </a:lnTo>
                  <a:lnTo>
                    <a:pt x="622" y="135"/>
                  </a:lnTo>
                  <a:lnTo>
                    <a:pt x="624" y="135"/>
                  </a:lnTo>
                  <a:lnTo>
                    <a:pt x="625" y="136"/>
                  </a:lnTo>
                  <a:lnTo>
                    <a:pt x="626" y="136"/>
                  </a:lnTo>
                  <a:lnTo>
                    <a:pt x="626" y="135"/>
                  </a:lnTo>
                  <a:lnTo>
                    <a:pt x="627" y="135"/>
                  </a:lnTo>
                  <a:lnTo>
                    <a:pt x="628" y="135"/>
                  </a:lnTo>
                  <a:lnTo>
                    <a:pt x="627" y="135"/>
                  </a:lnTo>
                  <a:lnTo>
                    <a:pt x="627" y="134"/>
                  </a:lnTo>
                  <a:lnTo>
                    <a:pt x="628" y="134"/>
                  </a:lnTo>
                  <a:lnTo>
                    <a:pt x="629" y="134"/>
                  </a:lnTo>
                  <a:lnTo>
                    <a:pt x="631" y="133"/>
                  </a:lnTo>
                  <a:lnTo>
                    <a:pt x="629" y="134"/>
                  </a:lnTo>
                  <a:lnTo>
                    <a:pt x="628" y="134"/>
                  </a:lnTo>
                  <a:lnTo>
                    <a:pt x="627" y="134"/>
                  </a:lnTo>
                  <a:lnTo>
                    <a:pt x="627" y="133"/>
                  </a:lnTo>
                  <a:lnTo>
                    <a:pt x="626" y="133"/>
                  </a:lnTo>
                  <a:lnTo>
                    <a:pt x="625" y="133"/>
                  </a:lnTo>
                  <a:lnTo>
                    <a:pt x="626" y="133"/>
                  </a:lnTo>
                  <a:lnTo>
                    <a:pt x="626" y="132"/>
                  </a:lnTo>
                  <a:lnTo>
                    <a:pt x="627" y="132"/>
                  </a:lnTo>
                  <a:lnTo>
                    <a:pt x="628" y="132"/>
                  </a:lnTo>
                  <a:lnTo>
                    <a:pt x="629" y="132"/>
                  </a:lnTo>
                  <a:lnTo>
                    <a:pt x="631" y="130"/>
                  </a:lnTo>
                  <a:lnTo>
                    <a:pt x="632" y="130"/>
                  </a:lnTo>
                  <a:lnTo>
                    <a:pt x="633" y="130"/>
                  </a:lnTo>
                  <a:lnTo>
                    <a:pt x="634" y="130"/>
                  </a:lnTo>
                  <a:lnTo>
                    <a:pt x="634" y="129"/>
                  </a:lnTo>
                  <a:lnTo>
                    <a:pt x="635" y="129"/>
                  </a:lnTo>
                  <a:lnTo>
                    <a:pt x="636" y="129"/>
                  </a:lnTo>
                  <a:lnTo>
                    <a:pt x="637" y="129"/>
                  </a:lnTo>
                  <a:lnTo>
                    <a:pt x="639" y="129"/>
                  </a:lnTo>
                  <a:lnTo>
                    <a:pt x="640" y="129"/>
                  </a:lnTo>
                  <a:lnTo>
                    <a:pt x="641" y="129"/>
                  </a:lnTo>
                  <a:lnTo>
                    <a:pt x="642" y="129"/>
                  </a:lnTo>
                  <a:lnTo>
                    <a:pt x="641" y="128"/>
                  </a:lnTo>
                  <a:lnTo>
                    <a:pt x="640" y="129"/>
                  </a:lnTo>
                  <a:lnTo>
                    <a:pt x="636" y="129"/>
                  </a:lnTo>
                  <a:lnTo>
                    <a:pt x="635" y="129"/>
                  </a:lnTo>
                  <a:lnTo>
                    <a:pt x="635" y="128"/>
                  </a:lnTo>
                  <a:lnTo>
                    <a:pt x="636" y="128"/>
                  </a:lnTo>
                  <a:lnTo>
                    <a:pt x="640" y="127"/>
                  </a:lnTo>
                  <a:lnTo>
                    <a:pt x="644" y="127"/>
                  </a:lnTo>
                  <a:lnTo>
                    <a:pt x="644" y="128"/>
                  </a:lnTo>
                  <a:lnTo>
                    <a:pt x="643" y="128"/>
                  </a:lnTo>
                  <a:lnTo>
                    <a:pt x="643" y="129"/>
                  </a:lnTo>
                  <a:lnTo>
                    <a:pt x="642" y="129"/>
                  </a:lnTo>
                  <a:lnTo>
                    <a:pt x="641" y="129"/>
                  </a:lnTo>
                  <a:lnTo>
                    <a:pt x="640" y="130"/>
                  </a:lnTo>
                  <a:lnTo>
                    <a:pt x="641" y="130"/>
                  </a:lnTo>
                  <a:lnTo>
                    <a:pt x="640" y="130"/>
                  </a:lnTo>
                  <a:lnTo>
                    <a:pt x="641" y="130"/>
                  </a:lnTo>
                  <a:lnTo>
                    <a:pt x="642" y="129"/>
                  </a:lnTo>
                  <a:lnTo>
                    <a:pt x="643" y="129"/>
                  </a:lnTo>
                  <a:lnTo>
                    <a:pt x="643" y="130"/>
                  </a:lnTo>
                  <a:lnTo>
                    <a:pt x="642" y="130"/>
                  </a:lnTo>
                  <a:lnTo>
                    <a:pt x="641" y="132"/>
                  </a:lnTo>
                  <a:lnTo>
                    <a:pt x="643" y="130"/>
                  </a:lnTo>
                  <a:lnTo>
                    <a:pt x="644" y="129"/>
                  </a:lnTo>
                  <a:lnTo>
                    <a:pt x="646" y="129"/>
                  </a:lnTo>
                  <a:lnTo>
                    <a:pt x="644" y="130"/>
                  </a:lnTo>
                  <a:lnTo>
                    <a:pt x="646" y="130"/>
                  </a:lnTo>
                  <a:lnTo>
                    <a:pt x="647" y="129"/>
                  </a:lnTo>
                  <a:lnTo>
                    <a:pt x="647" y="130"/>
                  </a:lnTo>
                  <a:lnTo>
                    <a:pt x="648" y="130"/>
                  </a:lnTo>
                  <a:lnTo>
                    <a:pt x="649" y="130"/>
                  </a:lnTo>
                  <a:lnTo>
                    <a:pt x="647" y="132"/>
                  </a:lnTo>
                  <a:lnTo>
                    <a:pt x="648" y="132"/>
                  </a:lnTo>
                  <a:lnTo>
                    <a:pt x="648" y="133"/>
                  </a:lnTo>
                  <a:lnTo>
                    <a:pt x="649" y="133"/>
                  </a:lnTo>
                  <a:lnTo>
                    <a:pt x="649" y="134"/>
                  </a:lnTo>
                  <a:lnTo>
                    <a:pt x="650" y="134"/>
                  </a:lnTo>
                  <a:lnTo>
                    <a:pt x="650" y="135"/>
                  </a:lnTo>
                  <a:lnTo>
                    <a:pt x="651" y="135"/>
                  </a:lnTo>
                  <a:lnTo>
                    <a:pt x="651" y="136"/>
                  </a:lnTo>
                  <a:lnTo>
                    <a:pt x="650" y="137"/>
                  </a:lnTo>
                  <a:lnTo>
                    <a:pt x="650" y="139"/>
                  </a:lnTo>
                  <a:lnTo>
                    <a:pt x="649" y="139"/>
                  </a:lnTo>
                  <a:lnTo>
                    <a:pt x="649" y="140"/>
                  </a:lnTo>
                  <a:lnTo>
                    <a:pt x="648" y="140"/>
                  </a:lnTo>
                  <a:lnTo>
                    <a:pt x="648" y="141"/>
                  </a:lnTo>
                  <a:lnTo>
                    <a:pt x="647" y="141"/>
                  </a:lnTo>
                  <a:lnTo>
                    <a:pt x="647" y="142"/>
                  </a:lnTo>
                  <a:lnTo>
                    <a:pt x="646" y="142"/>
                  </a:lnTo>
                  <a:lnTo>
                    <a:pt x="647" y="142"/>
                  </a:lnTo>
                  <a:lnTo>
                    <a:pt x="648" y="142"/>
                  </a:lnTo>
                  <a:lnTo>
                    <a:pt x="648" y="143"/>
                  </a:lnTo>
                  <a:lnTo>
                    <a:pt x="647" y="143"/>
                  </a:lnTo>
                  <a:lnTo>
                    <a:pt x="648" y="143"/>
                  </a:lnTo>
                  <a:lnTo>
                    <a:pt x="647" y="143"/>
                  </a:lnTo>
                  <a:lnTo>
                    <a:pt x="647" y="144"/>
                  </a:lnTo>
                  <a:lnTo>
                    <a:pt x="648" y="144"/>
                  </a:lnTo>
                  <a:lnTo>
                    <a:pt x="649" y="144"/>
                  </a:lnTo>
                  <a:lnTo>
                    <a:pt x="650" y="144"/>
                  </a:lnTo>
                  <a:lnTo>
                    <a:pt x="650" y="146"/>
                  </a:lnTo>
                  <a:lnTo>
                    <a:pt x="649" y="146"/>
                  </a:lnTo>
                  <a:lnTo>
                    <a:pt x="650" y="146"/>
                  </a:lnTo>
                  <a:lnTo>
                    <a:pt x="650" y="144"/>
                  </a:lnTo>
                  <a:lnTo>
                    <a:pt x="651" y="144"/>
                  </a:lnTo>
                  <a:lnTo>
                    <a:pt x="651" y="146"/>
                  </a:lnTo>
                  <a:lnTo>
                    <a:pt x="650" y="146"/>
                  </a:lnTo>
                  <a:lnTo>
                    <a:pt x="649" y="146"/>
                  </a:lnTo>
                  <a:lnTo>
                    <a:pt x="650" y="146"/>
                  </a:lnTo>
                  <a:lnTo>
                    <a:pt x="650" y="147"/>
                  </a:lnTo>
                  <a:lnTo>
                    <a:pt x="649" y="147"/>
                  </a:lnTo>
                  <a:lnTo>
                    <a:pt x="650" y="147"/>
                  </a:lnTo>
                  <a:lnTo>
                    <a:pt x="649" y="147"/>
                  </a:lnTo>
                  <a:lnTo>
                    <a:pt x="650" y="148"/>
                  </a:lnTo>
                  <a:lnTo>
                    <a:pt x="650" y="149"/>
                  </a:lnTo>
                  <a:lnTo>
                    <a:pt x="649" y="149"/>
                  </a:lnTo>
                  <a:lnTo>
                    <a:pt x="650" y="149"/>
                  </a:lnTo>
                  <a:lnTo>
                    <a:pt x="651" y="149"/>
                  </a:lnTo>
                  <a:lnTo>
                    <a:pt x="650" y="149"/>
                  </a:lnTo>
                  <a:lnTo>
                    <a:pt x="651" y="149"/>
                  </a:lnTo>
                  <a:lnTo>
                    <a:pt x="651" y="148"/>
                  </a:lnTo>
                  <a:lnTo>
                    <a:pt x="653" y="148"/>
                  </a:lnTo>
                  <a:lnTo>
                    <a:pt x="651" y="149"/>
                  </a:lnTo>
                  <a:lnTo>
                    <a:pt x="653" y="149"/>
                  </a:lnTo>
                  <a:lnTo>
                    <a:pt x="653" y="148"/>
                  </a:lnTo>
                  <a:lnTo>
                    <a:pt x="653" y="149"/>
                  </a:lnTo>
                  <a:lnTo>
                    <a:pt x="651" y="150"/>
                  </a:lnTo>
                  <a:lnTo>
                    <a:pt x="653" y="150"/>
                  </a:lnTo>
                  <a:lnTo>
                    <a:pt x="653" y="151"/>
                  </a:lnTo>
                  <a:lnTo>
                    <a:pt x="650" y="151"/>
                  </a:lnTo>
                  <a:lnTo>
                    <a:pt x="649" y="151"/>
                  </a:lnTo>
                  <a:lnTo>
                    <a:pt x="648" y="151"/>
                  </a:lnTo>
                  <a:lnTo>
                    <a:pt x="647" y="151"/>
                  </a:lnTo>
                  <a:lnTo>
                    <a:pt x="647" y="150"/>
                  </a:lnTo>
                  <a:lnTo>
                    <a:pt x="646" y="150"/>
                  </a:lnTo>
                  <a:lnTo>
                    <a:pt x="644" y="150"/>
                  </a:lnTo>
                  <a:lnTo>
                    <a:pt x="643" y="150"/>
                  </a:lnTo>
                  <a:lnTo>
                    <a:pt x="643" y="151"/>
                  </a:lnTo>
                  <a:lnTo>
                    <a:pt x="642" y="151"/>
                  </a:lnTo>
                  <a:lnTo>
                    <a:pt x="641" y="153"/>
                  </a:lnTo>
                  <a:lnTo>
                    <a:pt x="642" y="153"/>
                  </a:lnTo>
                  <a:lnTo>
                    <a:pt x="644" y="151"/>
                  </a:lnTo>
                  <a:lnTo>
                    <a:pt x="646" y="151"/>
                  </a:lnTo>
                  <a:lnTo>
                    <a:pt x="647" y="153"/>
                  </a:lnTo>
                  <a:lnTo>
                    <a:pt x="646" y="153"/>
                  </a:lnTo>
                  <a:lnTo>
                    <a:pt x="646" y="154"/>
                  </a:lnTo>
                  <a:lnTo>
                    <a:pt x="644" y="154"/>
                  </a:lnTo>
                  <a:lnTo>
                    <a:pt x="643" y="154"/>
                  </a:lnTo>
                  <a:lnTo>
                    <a:pt x="642" y="154"/>
                  </a:lnTo>
                  <a:lnTo>
                    <a:pt x="642" y="155"/>
                  </a:lnTo>
                  <a:lnTo>
                    <a:pt x="641" y="155"/>
                  </a:lnTo>
                  <a:lnTo>
                    <a:pt x="640" y="155"/>
                  </a:lnTo>
                  <a:lnTo>
                    <a:pt x="639" y="155"/>
                  </a:lnTo>
                  <a:lnTo>
                    <a:pt x="639" y="156"/>
                  </a:lnTo>
                  <a:lnTo>
                    <a:pt x="637" y="156"/>
                  </a:lnTo>
                  <a:lnTo>
                    <a:pt x="636" y="156"/>
                  </a:lnTo>
                  <a:lnTo>
                    <a:pt x="634" y="157"/>
                  </a:lnTo>
                  <a:lnTo>
                    <a:pt x="637" y="157"/>
                  </a:lnTo>
                  <a:lnTo>
                    <a:pt x="636" y="157"/>
                  </a:lnTo>
                  <a:lnTo>
                    <a:pt x="635" y="157"/>
                  </a:lnTo>
                  <a:lnTo>
                    <a:pt x="634" y="157"/>
                  </a:lnTo>
                  <a:lnTo>
                    <a:pt x="633" y="157"/>
                  </a:lnTo>
                  <a:lnTo>
                    <a:pt x="634" y="157"/>
                  </a:lnTo>
                  <a:lnTo>
                    <a:pt x="635" y="157"/>
                  </a:lnTo>
                  <a:lnTo>
                    <a:pt x="636" y="157"/>
                  </a:lnTo>
                  <a:lnTo>
                    <a:pt x="639" y="157"/>
                  </a:lnTo>
                  <a:lnTo>
                    <a:pt x="640" y="157"/>
                  </a:lnTo>
                  <a:lnTo>
                    <a:pt x="639" y="157"/>
                  </a:lnTo>
                  <a:lnTo>
                    <a:pt x="640" y="157"/>
                  </a:lnTo>
                  <a:lnTo>
                    <a:pt x="641" y="158"/>
                  </a:lnTo>
                  <a:lnTo>
                    <a:pt x="640" y="158"/>
                  </a:lnTo>
                  <a:lnTo>
                    <a:pt x="640" y="157"/>
                  </a:lnTo>
                  <a:lnTo>
                    <a:pt x="640" y="158"/>
                  </a:lnTo>
                  <a:lnTo>
                    <a:pt x="641" y="160"/>
                  </a:lnTo>
                  <a:lnTo>
                    <a:pt x="642" y="160"/>
                  </a:lnTo>
                  <a:lnTo>
                    <a:pt x="643" y="160"/>
                  </a:lnTo>
                  <a:lnTo>
                    <a:pt x="644" y="160"/>
                  </a:lnTo>
                  <a:lnTo>
                    <a:pt x="644" y="158"/>
                  </a:lnTo>
                  <a:lnTo>
                    <a:pt x="646" y="158"/>
                  </a:lnTo>
                  <a:lnTo>
                    <a:pt x="647" y="158"/>
                  </a:lnTo>
                  <a:lnTo>
                    <a:pt x="647" y="157"/>
                  </a:lnTo>
                  <a:lnTo>
                    <a:pt x="647" y="158"/>
                  </a:lnTo>
                  <a:lnTo>
                    <a:pt x="647" y="157"/>
                  </a:lnTo>
                  <a:lnTo>
                    <a:pt x="648" y="157"/>
                  </a:lnTo>
                  <a:lnTo>
                    <a:pt x="649" y="157"/>
                  </a:lnTo>
                  <a:lnTo>
                    <a:pt x="650" y="157"/>
                  </a:lnTo>
                  <a:lnTo>
                    <a:pt x="650" y="158"/>
                  </a:lnTo>
                  <a:lnTo>
                    <a:pt x="651" y="157"/>
                  </a:lnTo>
                  <a:lnTo>
                    <a:pt x="651" y="158"/>
                  </a:lnTo>
                  <a:lnTo>
                    <a:pt x="650" y="158"/>
                  </a:lnTo>
                  <a:lnTo>
                    <a:pt x="648" y="158"/>
                  </a:lnTo>
                  <a:lnTo>
                    <a:pt x="646" y="160"/>
                  </a:lnTo>
                  <a:lnTo>
                    <a:pt x="648" y="160"/>
                  </a:lnTo>
                  <a:lnTo>
                    <a:pt x="649" y="158"/>
                  </a:lnTo>
                  <a:lnTo>
                    <a:pt x="650" y="158"/>
                  </a:lnTo>
                  <a:lnTo>
                    <a:pt x="650" y="160"/>
                  </a:lnTo>
                  <a:lnTo>
                    <a:pt x="651" y="160"/>
                  </a:lnTo>
                  <a:lnTo>
                    <a:pt x="653" y="160"/>
                  </a:lnTo>
                  <a:lnTo>
                    <a:pt x="651" y="160"/>
                  </a:lnTo>
                  <a:lnTo>
                    <a:pt x="654" y="160"/>
                  </a:lnTo>
                  <a:lnTo>
                    <a:pt x="655" y="160"/>
                  </a:lnTo>
                  <a:lnTo>
                    <a:pt x="656" y="160"/>
                  </a:lnTo>
                  <a:lnTo>
                    <a:pt x="656" y="161"/>
                  </a:lnTo>
                  <a:lnTo>
                    <a:pt x="657" y="161"/>
                  </a:lnTo>
                  <a:lnTo>
                    <a:pt x="656" y="161"/>
                  </a:lnTo>
                  <a:lnTo>
                    <a:pt x="657" y="161"/>
                  </a:lnTo>
                  <a:lnTo>
                    <a:pt x="656" y="161"/>
                  </a:lnTo>
                  <a:lnTo>
                    <a:pt x="655" y="161"/>
                  </a:lnTo>
                  <a:lnTo>
                    <a:pt x="654" y="161"/>
                  </a:lnTo>
                  <a:lnTo>
                    <a:pt x="653" y="161"/>
                  </a:lnTo>
                  <a:lnTo>
                    <a:pt x="651" y="162"/>
                  </a:lnTo>
                  <a:lnTo>
                    <a:pt x="650" y="162"/>
                  </a:lnTo>
                  <a:lnTo>
                    <a:pt x="650" y="163"/>
                  </a:lnTo>
                  <a:lnTo>
                    <a:pt x="649" y="163"/>
                  </a:lnTo>
                  <a:lnTo>
                    <a:pt x="649" y="162"/>
                  </a:lnTo>
                  <a:lnTo>
                    <a:pt x="649" y="163"/>
                  </a:lnTo>
                  <a:lnTo>
                    <a:pt x="649" y="162"/>
                  </a:lnTo>
                  <a:lnTo>
                    <a:pt x="648" y="163"/>
                  </a:lnTo>
                  <a:lnTo>
                    <a:pt x="648" y="162"/>
                  </a:lnTo>
                  <a:lnTo>
                    <a:pt x="649" y="162"/>
                  </a:lnTo>
                  <a:lnTo>
                    <a:pt x="650" y="162"/>
                  </a:lnTo>
                  <a:lnTo>
                    <a:pt x="649" y="162"/>
                  </a:lnTo>
                  <a:lnTo>
                    <a:pt x="648" y="162"/>
                  </a:lnTo>
                  <a:lnTo>
                    <a:pt x="647" y="162"/>
                  </a:lnTo>
                  <a:lnTo>
                    <a:pt x="646" y="162"/>
                  </a:lnTo>
                  <a:lnTo>
                    <a:pt x="644" y="162"/>
                  </a:lnTo>
                  <a:lnTo>
                    <a:pt x="646" y="163"/>
                  </a:lnTo>
                  <a:lnTo>
                    <a:pt x="647" y="163"/>
                  </a:lnTo>
                  <a:lnTo>
                    <a:pt x="648" y="163"/>
                  </a:lnTo>
                  <a:lnTo>
                    <a:pt x="648" y="164"/>
                  </a:lnTo>
                  <a:lnTo>
                    <a:pt x="649" y="164"/>
                  </a:lnTo>
                  <a:lnTo>
                    <a:pt x="649" y="165"/>
                  </a:lnTo>
                  <a:lnTo>
                    <a:pt x="650" y="165"/>
                  </a:lnTo>
                  <a:lnTo>
                    <a:pt x="649" y="165"/>
                  </a:lnTo>
                  <a:lnTo>
                    <a:pt x="648" y="167"/>
                  </a:lnTo>
                  <a:lnTo>
                    <a:pt x="649" y="167"/>
                  </a:lnTo>
                  <a:lnTo>
                    <a:pt x="649" y="168"/>
                  </a:lnTo>
                  <a:lnTo>
                    <a:pt x="648" y="168"/>
                  </a:lnTo>
                  <a:lnTo>
                    <a:pt x="649" y="168"/>
                  </a:lnTo>
                  <a:lnTo>
                    <a:pt x="650" y="168"/>
                  </a:lnTo>
                  <a:lnTo>
                    <a:pt x="649" y="168"/>
                  </a:lnTo>
                  <a:lnTo>
                    <a:pt x="649" y="169"/>
                  </a:lnTo>
                  <a:lnTo>
                    <a:pt x="649" y="168"/>
                  </a:lnTo>
                  <a:lnTo>
                    <a:pt x="650" y="169"/>
                  </a:lnTo>
                  <a:lnTo>
                    <a:pt x="649" y="169"/>
                  </a:lnTo>
                  <a:lnTo>
                    <a:pt x="648" y="169"/>
                  </a:lnTo>
                  <a:lnTo>
                    <a:pt x="649" y="169"/>
                  </a:lnTo>
                  <a:lnTo>
                    <a:pt x="648" y="169"/>
                  </a:lnTo>
                  <a:lnTo>
                    <a:pt x="648" y="170"/>
                  </a:lnTo>
                  <a:lnTo>
                    <a:pt x="647" y="170"/>
                  </a:lnTo>
                  <a:lnTo>
                    <a:pt x="647" y="171"/>
                  </a:lnTo>
                  <a:lnTo>
                    <a:pt x="646" y="171"/>
                  </a:lnTo>
                  <a:lnTo>
                    <a:pt x="647" y="171"/>
                  </a:lnTo>
                  <a:lnTo>
                    <a:pt x="647" y="172"/>
                  </a:lnTo>
                  <a:lnTo>
                    <a:pt x="646" y="172"/>
                  </a:lnTo>
                  <a:lnTo>
                    <a:pt x="646" y="174"/>
                  </a:lnTo>
                  <a:lnTo>
                    <a:pt x="644" y="174"/>
                  </a:lnTo>
                  <a:lnTo>
                    <a:pt x="643" y="174"/>
                  </a:lnTo>
                  <a:lnTo>
                    <a:pt x="644" y="174"/>
                  </a:lnTo>
                  <a:lnTo>
                    <a:pt x="644" y="175"/>
                  </a:lnTo>
                  <a:lnTo>
                    <a:pt x="646" y="175"/>
                  </a:lnTo>
                  <a:lnTo>
                    <a:pt x="643" y="175"/>
                  </a:lnTo>
                  <a:lnTo>
                    <a:pt x="644" y="175"/>
                  </a:lnTo>
                  <a:lnTo>
                    <a:pt x="646" y="175"/>
                  </a:lnTo>
                  <a:lnTo>
                    <a:pt x="646" y="176"/>
                  </a:lnTo>
                  <a:lnTo>
                    <a:pt x="644" y="176"/>
                  </a:lnTo>
                  <a:lnTo>
                    <a:pt x="644" y="177"/>
                  </a:lnTo>
                  <a:lnTo>
                    <a:pt x="646" y="177"/>
                  </a:lnTo>
                  <a:lnTo>
                    <a:pt x="647" y="176"/>
                  </a:lnTo>
                  <a:lnTo>
                    <a:pt x="648" y="175"/>
                  </a:lnTo>
                  <a:lnTo>
                    <a:pt x="649" y="175"/>
                  </a:lnTo>
                  <a:lnTo>
                    <a:pt x="650" y="174"/>
                  </a:lnTo>
                  <a:lnTo>
                    <a:pt x="649" y="174"/>
                  </a:lnTo>
                  <a:lnTo>
                    <a:pt x="650" y="174"/>
                  </a:lnTo>
                  <a:lnTo>
                    <a:pt x="651" y="174"/>
                  </a:lnTo>
                  <a:lnTo>
                    <a:pt x="651" y="172"/>
                  </a:lnTo>
                  <a:lnTo>
                    <a:pt x="653" y="172"/>
                  </a:lnTo>
                  <a:lnTo>
                    <a:pt x="651" y="172"/>
                  </a:lnTo>
                  <a:lnTo>
                    <a:pt x="653" y="171"/>
                  </a:lnTo>
                  <a:lnTo>
                    <a:pt x="654" y="171"/>
                  </a:lnTo>
                  <a:lnTo>
                    <a:pt x="654" y="170"/>
                  </a:lnTo>
                  <a:lnTo>
                    <a:pt x="655" y="170"/>
                  </a:lnTo>
                  <a:lnTo>
                    <a:pt x="655" y="171"/>
                  </a:lnTo>
                  <a:lnTo>
                    <a:pt x="654" y="171"/>
                  </a:lnTo>
                  <a:lnTo>
                    <a:pt x="655" y="171"/>
                  </a:lnTo>
                  <a:lnTo>
                    <a:pt x="655" y="170"/>
                  </a:lnTo>
                  <a:lnTo>
                    <a:pt x="656" y="170"/>
                  </a:lnTo>
                  <a:lnTo>
                    <a:pt x="656" y="169"/>
                  </a:lnTo>
                  <a:lnTo>
                    <a:pt x="657" y="169"/>
                  </a:lnTo>
                  <a:lnTo>
                    <a:pt x="656" y="169"/>
                  </a:lnTo>
                  <a:lnTo>
                    <a:pt x="657" y="169"/>
                  </a:lnTo>
                  <a:lnTo>
                    <a:pt x="657" y="168"/>
                  </a:lnTo>
                  <a:lnTo>
                    <a:pt x="657" y="167"/>
                  </a:lnTo>
                  <a:lnTo>
                    <a:pt x="658" y="167"/>
                  </a:lnTo>
                  <a:lnTo>
                    <a:pt x="660" y="165"/>
                  </a:lnTo>
                  <a:lnTo>
                    <a:pt x="661" y="165"/>
                  </a:lnTo>
                  <a:lnTo>
                    <a:pt x="663" y="164"/>
                  </a:lnTo>
                  <a:lnTo>
                    <a:pt x="664" y="163"/>
                  </a:lnTo>
                  <a:lnTo>
                    <a:pt x="665" y="163"/>
                  </a:lnTo>
                  <a:lnTo>
                    <a:pt x="667" y="163"/>
                  </a:lnTo>
                  <a:lnTo>
                    <a:pt x="668" y="163"/>
                  </a:lnTo>
                  <a:lnTo>
                    <a:pt x="669" y="163"/>
                  </a:lnTo>
                  <a:lnTo>
                    <a:pt x="669" y="164"/>
                  </a:lnTo>
                  <a:lnTo>
                    <a:pt x="669" y="165"/>
                  </a:lnTo>
                  <a:lnTo>
                    <a:pt x="670" y="165"/>
                  </a:lnTo>
                  <a:lnTo>
                    <a:pt x="671" y="167"/>
                  </a:lnTo>
                  <a:lnTo>
                    <a:pt x="672" y="168"/>
                  </a:lnTo>
                  <a:lnTo>
                    <a:pt x="674" y="169"/>
                  </a:lnTo>
                  <a:lnTo>
                    <a:pt x="674" y="170"/>
                  </a:lnTo>
                  <a:lnTo>
                    <a:pt x="674" y="171"/>
                  </a:lnTo>
                  <a:lnTo>
                    <a:pt x="672" y="171"/>
                  </a:lnTo>
                  <a:lnTo>
                    <a:pt x="672" y="172"/>
                  </a:lnTo>
                  <a:lnTo>
                    <a:pt x="672" y="174"/>
                  </a:lnTo>
                  <a:lnTo>
                    <a:pt x="671" y="174"/>
                  </a:lnTo>
                  <a:lnTo>
                    <a:pt x="672" y="175"/>
                  </a:lnTo>
                  <a:lnTo>
                    <a:pt x="671" y="175"/>
                  </a:lnTo>
                  <a:lnTo>
                    <a:pt x="671" y="176"/>
                  </a:lnTo>
                  <a:lnTo>
                    <a:pt x="670" y="176"/>
                  </a:lnTo>
                  <a:lnTo>
                    <a:pt x="669" y="177"/>
                  </a:lnTo>
                  <a:lnTo>
                    <a:pt x="668" y="177"/>
                  </a:lnTo>
                  <a:lnTo>
                    <a:pt x="667" y="177"/>
                  </a:lnTo>
                  <a:lnTo>
                    <a:pt x="667" y="176"/>
                  </a:lnTo>
                  <a:lnTo>
                    <a:pt x="667" y="177"/>
                  </a:lnTo>
                  <a:lnTo>
                    <a:pt x="667" y="176"/>
                  </a:lnTo>
                  <a:lnTo>
                    <a:pt x="668" y="175"/>
                  </a:lnTo>
                  <a:lnTo>
                    <a:pt x="667" y="175"/>
                  </a:lnTo>
                  <a:lnTo>
                    <a:pt x="665" y="176"/>
                  </a:lnTo>
                  <a:lnTo>
                    <a:pt x="664" y="176"/>
                  </a:lnTo>
                  <a:lnTo>
                    <a:pt x="664" y="177"/>
                  </a:lnTo>
                  <a:lnTo>
                    <a:pt x="664" y="178"/>
                  </a:lnTo>
                  <a:lnTo>
                    <a:pt x="663" y="178"/>
                  </a:lnTo>
                  <a:lnTo>
                    <a:pt x="663" y="179"/>
                  </a:lnTo>
                  <a:lnTo>
                    <a:pt x="662" y="179"/>
                  </a:lnTo>
                  <a:lnTo>
                    <a:pt x="662" y="181"/>
                  </a:lnTo>
                  <a:lnTo>
                    <a:pt x="661" y="182"/>
                  </a:lnTo>
                  <a:lnTo>
                    <a:pt x="661" y="183"/>
                  </a:lnTo>
                  <a:lnTo>
                    <a:pt x="662" y="183"/>
                  </a:lnTo>
                  <a:lnTo>
                    <a:pt x="661" y="184"/>
                  </a:lnTo>
                  <a:lnTo>
                    <a:pt x="661" y="185"/>
                  </a:lnTo>
                  <a:lnTo>
                    <a:pt x="662" y="185"/>
                  </a:lnTo>
                  <a:lnTo>
                    <a:pt x="663" y="185"/>
                  </a:lnTo>
                  <a:lnTo>
                    <a:pt x="663" y="186"/>
                  </a:lnTo>
                  <a:lnTo>
                    <a:pt x="663" y="188"/>
                  </a:lnTo>
                  <a:lnTo>
                    <a:pt x="664" y="188"/>
                  </a:lnTo>
                  <a:lnTo>
                    <a:pt x="664" y="189"/>
                  </a:lnTo>
                  <a:lnTo>
                    <a:pt x="664" y="190"/>
                  </a:lnTo>
                  <a:lnTo>
                    <a:pt x="665" y="190"/>
                  </a:lnTo>
                  <a:lnTo>
                    <a:pt x="664" y="190"/>
                  </a:lnTo>
                  <a:lnTo>
                    <a:pt x="663" y="191"/>
                  </a:lnTo>
                  <a:lnTo>
                    <a:pt x="662" y="191"/>
                  </a:lnTo>
                  <a:lnTo>
                    <a:pt x="662" y="192"/>
                  </a:lnTo>
                  <a:lnTo>
                    <a:pt x="663" y="191"/>
                  </a:lnTo>
                  <a:lnTo>
                    <a:pt x="664" y="191"/>
                  </a:lnTo>
                  <a:lnTo>
                    <a:pt x="664" y="192"/>
                  </a:lnTo>
                  <a:lnTo>
                    <a:pt x="665" y="191"/>
                  </a:lnTo>
                  <a:lnTo>
                    <a:pt x="665" y="190"/>
                  </a:lnTo>
                  <a:lnTo>
                    <a:pt x="667" y="190"/>
                  </a:lnTo>
                  <a:lnTo>
                    <a:pt x="667" y="191"/>
                  </a:lnTo>
                  <a:lnTo>
                    <a:pt x="668" y="191"/>
                  </a:lnTo>
                  <a:lnTo>
                    <a:pt x="668" y="190"/>
                  </a:lnTo>
                  <a:lnTo>
                    <a:pt x="669" y="190"/>
                  </a:lnTo>
                  <a:lnTo>
                    <a:pt x="669" y="189"/>
                  </a:lnTo>
                  <a:lnTo>
                    <a:pt x="670" y="189"/>
                  </a:lnTo>
                  <a:lnTo>
                    <a:pt x="671" y="188"/>
                  </a:lnTo>
                  <a:lnTo>
                    <a:pt x="672" y="188"/>
                  </a:lnTo>
                  <a:lnTo>
                    <a:pt x="672" y="189"/>
                  </a:lnTo>
                  <a:lnTo>
                    <a:pt x="674" y="189"/>
                  </a:lnTo>
                  <a:lnTo>
                    <a:pt x="674" y="188"/>
                  </a:lnTo>
                  <a:lnTo>
                    <a:pt x="675" y="188"/>
                  </a:lnTo>
                  <a:lnTo>
                    <a:pt x="674" y="188"/>
                  </a:lnTo>
                  <a:lnTo>
                    <a:pt x="674" y="189"/>
                  </a:lnTo>
                  <a:lnTo>
                    <a:pt x="675" y="189"/>
                  </a:lnTo>
                  <a:lnTo>
                    <a:pt x="675" y="188"/>
                  </a:lnTo>
                  <a:lnTo>
                    <a:pt x="676" y="188"/>
                  </a:lnTo>
                  <a:lnTo>
                    <a:pt x="676" y="186"/>
                  </a:lnTo>
                  <a:lnTo>
                    <a:pt x="677" y="186"/>
                  </a:lnTo>
                  <a:lnTo>
                    <a:pt x="677" y="185"/>
                  </a:lnTo>
                  <a:lnTo>
                    <a:pt x="678" y="185"/>
                  </a:lnTo>
                  <a:lnTo>
                    <a:pt x="677" y="185"/>
                  </a:lnTo>
                  <a:lnTo>
                    <a:pt x="678" y="184"/>
                  </a:lnTo>
                  <a:lnTo>
                    <a:pt x="681" y="183"/>
                  </a:lnTo>
                  <a:lnTo>
                    <a:pt x="682" y="182"/>
                  </a:lnTo>
                  <a:lnTo>
                    <a:pt x="683" y="182"/>
                  </a:lnTo>
                  <a:lnTo>
                    <a:pt x="684" y="181"/>
                  </a:lnTo>
                  <a:lnTo>
                    <a:pt x="685" y="181"/>
                  </a:lnTo>
                  <a:lnTo>
                    <a:pt x="685" y="179"/>
                  </a:lnTo>
                  <a:lnTo>
                    <a:pt x="685" y="181"/>
                  </a:lnTo>
                  <a:lnTo>
                    <a:pt x="685" y="179"/>
                  </a:lnTo>
                  <a:lnTo>
                    <a:pt x="686" y="179"/>
                  </a:lnTo>
                  <a:lnTo>
                    <a:pt x="688" y="179"/>
                  </a:lnTo>
                  <a:lnTo>
                    <a:pt x="688" y="178"/>
                  </a:lnTo>
                  <a:lnTo>
                    <a:pt x="689" y="178"/>
                  </a:lnTo>
                  <a:lnTo>
                    <a:pt x="689" y="177"/>
                  </a:lnTo>
                  <a:lnTo>
                    <a:pt x="690" y="177"/>
                  </a:lnTo>
                  <a:lnTo>
                    <a:pt x="691" y="177"/>
                  </a:lnTo>
                  <a:lnTo>
                    <a:pt x="690" y="177"/>
                  </a:lnTo>
                  <a:lnTo>
                    <a:pt x="691" y="176"/>
                  </a:lnTo>
                  <a:lnTo>
                    <a:pt x="691" y="175"/>
                  </a:lnTo>
                  <a:lnTo>
                    <a:pt x="693" y="175"/>
                  </a:lnTo>
                  <a:lnTo>
                    <a:pt x="693" y="174"/>
                  </a:lnTo>
                  <a:lnTo>
                    <a:pt x="695" y="174"/>
                  </a:lnTo>
                  <a:lnTo>
                    <a:pt x="693" y="174"/>
                  </a:lnTo>
                  <a:lnTo>
                    <a:pt x="695" y="174"/>
                  </a:lnTo>
                  <a:lnTo>
                    <a:pt x="695" y="172"/>
                  </a:lnTo>
                  <a:lnTo>
                    <a:pt x="695" y="171"/>
                  </a:lnTo>
                  <a:lnTo>
                    <a:pt x="696" y="171"/>
                  </a:lnTo>
                  <a:lnTo>
                    <a:pt x="697" y="170"/>
                  </a:lnTo>
                  <a:lnTo>
                    <a:pt x="698" y="170"/>
                  </a:lnTo>
                  <a:lnTo>
                    <a:pt x="699" y="170"/>
                  </a:lnTo>
                  <a:lnTo>
                    <a:pt x="698" y="169"/>
                  </a:lnTo>
                  <a:lnTo>
                    <a:pt x="700" y="169"/>
                  </a:lnTo>
                  <a:lnTo>
                    <a:pt x="700" y="170"/>
                  </a:lnTo>
                  <a:lnTo>
                    <a:pt x="701" y="170"/>
                  </a:lnTo>
                  <a:lnTo>
                    <a:pt x="703" y="170"/>
                  </a:lnTo>
                  <a:lnTo>
                    <a:pt x="705" y="170"/>
                  </a:lnTo>
                  <a:lnTo>
                    <a:pt x="706" y="170"/>
                  </a:lnTo>
                  <a:lnTo>
                    <a:pt x="706" y="169"/>
                  </a:lnTo>
                  <a:lnTo>
                    <a:pt x="705" y="169"/>
                  </a:lnTo>
                  <a:lnTo>
                    <a:pt x="704" y="169"/>
                  </a:lnTo>
                  <a:lnTo>
                    <a:pt x="703" y="169"/>
                  </a:lnTo>
                  <a:lnTo>
                    <a:pt x="703" y="168"/>
                  </a:lnTo>
                  <a:lnTo>
                    <a:pt x="704" y="168"/>
                  </a:lnTo>
                  <a:lnTo>
                    <a:pt x="705" y="168"/>
                  </a:lnTo>
                  <a:lnTo>
                    <a:pt x="706" y="168"/>
                  </a:lnTo>
                  <a:lnTo>
                    <a:pt x="704" y="167"/>
                  </a:lnTo>
                  <a:lnTo>
                    <a:pt x="705" y="167"/>
                  </a:lnTo>
                  <a:lnTo>
                    <a:pt x="706" y="167"/>
                  </a:lnTo>
                  <a:lnTo>
                    <a:pt x="706" y="168"/>
                  </a:lnTo>
                  <a:lnTo>
                    <a:pt x="707" y="168"/>
                  </a:lnTo>
                  <a:lnTo>
                    <a:pt x="708" y="167"/>
                  </a:lnTo>
                  <a:lnTo>
                    <a:pt x="707" y="167"/>
                  </a:lnTo>
                  <a:lnTo>
                    <a:pt x="706" y="167"/>
                  </a:lnTo>
                  <a:lnTo>
                    <a:pt x="707" y="167"/>
                  </a:lnTo>
                  <a:lnTo>
                    <a:pt x="708" y="167"/>
                  </a:lnTo>
                  <a:lnTo>
                    <a:pt x="708" y="165"/>
                  </a:lnTo>
                  <a:lnTo>
                    <a:pt x="710" y="167"/>
                  </a:lnTo>
                  <a:lnTo>
                    <a:pt x="711" y="167"/>
                  </a:lnTo>
                  <a:lnTo>
                    <a:pt x="711" y="165"/>
                  </a:lnTo>
                  <a:lnTo>
                    <a:pt x="710" y="165"/>
                  </a:lnTo>
                  <a:lnTo>
                    <a:pt x="708" y="165"/>
                  </a:lnTo>
                  <a:lnTo>
                    <a:pt x="707" y="165"/>
                  </a:lnTo>
                  <a:lnTo>
                    <a:pt x="708" y="165"/>
                  </a:lnTo>
                  <a:lnTo>
                    <a:pt x="707" y="165"/>
                  </a:lnTo>
                  <a:lnTo>
                    <a:pt x="707" y="164"/>
                  </a:lnTo>
                  <a:lnTo>
                    <a:pt x="708" y="164"/>
                  </a:lnTo>
                  <a:lnTo>
                    <a:pt x="707" y="164"/>
                  </a:lnTo>
                  <a:lnTo>
                    <a:pt x="706" y="164"/>
                  </a:lnTo>
                  <a:lnTo>
                    <a:pt x="707" y="164"/>
                  </a:lnTo>
                  <a:lnTo>
                    <a:pt x="708" y="164"/>
                  </a:lnTo>
                  <a:lnTo>
                    <a:pt x="706" y="164"/>
                  </a:lnTo>
                  <a:lnTo>
                    <a:pt x="705" y="164"/>
                  </a:lnTo>
                  <a:lnTo>
                    <a:pt x="706" y="164"/>
                  </a:lnTo>
                  <a:lnTo>
                    <a:pt x="705" y="164"/>
                  </a:lnTo>
                  <a:lnTo>
                    <a:pt x="705" y="163"/>
                  </a:lnTo>
                  <a:lnTo>
                    <a:pt x="704" y="163"/>
                  </a:lnTo>
                  <a:lnTo>
                    <a:pt x="704" y="162"/>
                  </a:lnTo>
                  <a:lnTo>
                    <a:pt x="705" y="162"/>
                  </a:lnTo>
                  <a:lnTo>
                    <a:pt x="706" y="162"/>
                  </a:lnTo>
                  <a:lnTo>
                    <a:pt x="705" y="162"/>
                  </a:lnTo>
                  <a:lnTo>
                    <a:pt x="705" y="161"/>
                  </a:lnTo>
                  <a:lnTo>
                    <a:pt x="706" y="161"/>
                  </a:lnTo>
                  <a:lnTo>
                    <a:pt x="707" y="161"/>
                  </a:lnTo>
                  <a:lnTo>
                    <a:pt x="706" y="161"/>
                  </a:lnTo>
                  <a:lnTo>
                    <a:pt x="707" y="161"/>
                  </a:lnTo>
                  <a:lnTo>
                    <a:pt x="707" y="160"/>
                  </a:lnTo>
                  <a:lnTo>
                    <a:pt x="706" y="161"/>
                  </a:lnTo>
                  <a:lnTo>
                    <a:pt x="705" y="161"/>
                  </a:lnTo>
                  <a:lnTo>
                    <a:pt x="706" y="160"/>
                  </a:lnTo>
                  <a:lnTo>
                    <a:pt x="707" y="160"/>
                  </a:lnTo>
                  <a:lnTo>
                    <a:pt x="707" y="158"/>
                  </a:lnTo>
                  <a:lnTo>
                    <a:pt x="708" y="158"/>
                  </a:lnTo>
                  <a:lnTo>
                    <a:pt x="707" y="158"/>
                  </a:lnTo>
                  <a:lnTo>
                    <a:pt x="707" y="157"/>
                  </a:lnTo>
                  <a:lnTo>
                    <a:pt x="708" y="157"/>
                  </a:lnTo>
                  <a:lnTo>
                    <a:pt x="710" y="156"/>
                  </a:lnTo>
                  <a:lnTo>
                    <a:pt x="708" y="156"/>
                  </a:lnTo>
                  <a:lnTo>
                    <a:pt x="710" y="156"/>
                  </a:lnTo>
                  <a:lnTo>
                    <a:pt x="711" y="156"/>
                  </a:lnTo>
                  <a:lnTo>
                    <a:pt x="711" y="155"/>
                  </a:lnTo>
                  <a:lnTo>
                    <a:pt x="708" y="155"/>
                  </a:lnTo>
                  <a:lnTo>
                    <a:pt x="710" y="155"/>
                  </a:lnTo>
                  <a:lnTo>
                    <a:pt x="711" y="155"/>
                  </a:lnTo>
                  <a:lnTo>
                    <a:pt x="712" y="155"/>
                  </a:lnTo>
                  <a:lnTo>
                    <a:pt x="712" y="156"/>
                  </a:lnTo>
                  <a:lnTo>
                    <a:pt x="713" y="156"/>
                  </a:lnTo>
                  <a:lnTo>
                    <a:pt x="714" y="156"/>
                  </a:lnTo>
                  <a:lnTo>
                    <a:pt x="715" y="156"/>
                  </a:lnTo>
                  <a:lnTo>
                    <a:pt x="715" y="155"/>
                  </a:lnTo>
                  <a:lnTo>
                    <a:pt x="717" y="155"/>
                  </a:lnTo>
                  <a:lnTo>
                    <a:pt x="715" y="155"/>
                  </a:lnTo>
                  <a:lnTo>
                    <a:pt x="717" y="155"/>
                  </a:lnTo>
                  <a:lnTo>
                    <a:pt x="718" y="155"/>
                  </a:lnTo>
                  <a:lnTo>
                    <a:pt x="721" y="155"/>
                  </a:lnTo>
                  <a:lnTo>
                    <a:pt x="722" y="155"/>
                  </a:lnTo>
                  <a:lnTo>
                    <a:pt x="724" y="156"/>
                  </a:lnTo>
                  <a:lnTo>
                    <a:pt x="726" y="156"/>
                  </a:lnTo>
                  <a:lnTo>
                    <a:pt x="726" y="157"/>
                  </a:lnTo>
                  <a:lnTo>
                    <a:pt x="727" y="157"/>
                  </a:lnTo>
                  <a:lnTo>
                    <a:pt x="728" y="157"/>
                  </a:lnTo>
                  <a:lnTo>
                    <a:pt x="729" y="157"/>
                  </a:lnTo>
                  <a:lnTo>
                    <a:pt x="731" y="157"/>
                  </a:lnTo>
                  <a:lnTo>
                    <a:pt x="733" y="157"/>
                  </a:lnTo>
                  <a:lnTo>
                    <a:pt x="734" y="157"/>
                  </a:lnTo>
                  <a:lnTo>
                    <a:pt x="736" y="157"/>
                  </a:lnTo>
                  <a:lnTo>
                    <a:pt x="738" y="157"/>
                  </a:lnTo>
                  <a:lnTo>
                    <a:pt x="739" y="157"/>
                  </a:lnTo>
                  <a:lnTo>
                    <a:pt x="740" y="157"/>
                  </a:lnTo>
                  <a:lnTo>
                    <a:pt x="739" y="158"/>
                  </a:lnTo>
                  <a:lnTo>
                    <a:pt x="736" y="157"/>
                  </a:lnTo>
                  <a:lnTo>
                    <a:pt x="736" y="158"/>
                  </a:lnTo>
                  <a:lnTo>
                    <a:pt x="735" y="158"/>
                  </a:lnTo>
                  <a:lnTo>
                    <a:pt x="736" y="158"/>
                  </a:lnTo>
                  <a:lnTo>
                    <a:pt x="736" y="160"/>
                  </a:lnTo>
                  <a:lnTo>
                    <a:pt x="733" y="160"/>
                  </a:lnTo>
                  <a:lnTo>
                    <a:pt x="729" y="158"/>
                  </a:lnTo>
                  <a:lnTo>
                    <a:pt x="729" y="160"/>
                  </a:lnTo>
                  <a:lnTo>
                    <a:pt x="734" y="160"/>
                  </a:lnTo>
                  <a:lnTo>
                    <a:pt x="738" y="161"/>
                  </a:lnTo>
                  <a:lnTo>
                    <a:pt x="739" y="161"/>
                  </a:lnTo>
                  <a:lnTo>
                    <a:pt x="738" y="161"/>
                  </a:lnTo>
                  <a:lnTo>
                    <a:pt x="736" y="161"/>
                  </a:lnTo>
                  <a:lnTo>
                    <a:pt x="738" y="162"/>
                  </a:lnTo>
                  <a:lnTo>
                    <a:pt x="739" y="162"/>
                  </a:lnTo>
                  <a:lnTo>
                    <a:pt x="738" y="162"/>
                  </a:lnTo>
                  <a:lnTo>
                    <a:pt x="736" y="162"/>
                  </a:lnTo>
                  <a:lnTo>
                    <a:pt x="738" y="163"/>
                  </a:lnTo>
                  <a:lnTo>
                    <a:pt x="736" y="163"/>
                  </a:lnTo>
                  <a:lnTo>
                    <a:pt x="739" y="163"/>
                  </a:lnTo>
                  <a:lnTo>
                    <a:pt x="740" y="163"/>
                  </a:lnTo>
                  <a:lnTo>
                    <a:pt x="742" y="163"/>
                  </a:lnTo>
                  <a:lnTo>
                    <a:pt x="743" y="163"/>
                  </a:lnTo>
                  <a:lnTo>
                    <a:pt x="745" y="164"/>
                  </a:lnTo>
                  <a:lnTo>
                    <a:pt x="745" y="163"/>
                  </a:lnTo>
                  <a:lnTo>
                    <a:pt x="746" y="164"/>
                  </a:lnTo>
                  <a:lnTo>
                    <a:pt x="745" y="164"/>
                  </a:lnTo>
                  <a:lnTo>
                    <a:pt x="745" y="165"/>
                  </a:lnTo>
                  <a:lnTo>
                    <a:pt x="743" y="165"/>
                  </a:lnTo>
                  <a:lnTo>
                    <a:pt x="742" y="165"/>
                  </a:lnTo>
                  <a:lnTo>
                    <a:pt x="741" y="167"/>
                  </a:lnTo>
                  <a:lnTo>
                    <a:pt x="740" y="167"/>
                  </a:lnTo>
                  <a:lnTo>
                    <a:pt x="739" y="167"/>
                  </a:lnTo>
                  <a:lnTo>
                    <a:pt x="738" y="168"/>
                  </a:lnTo>
                  <a:lnTo>
                    <a:pt x="735" y="168"/>
                  </a:lnTo>
                  <a:lnTo>
                    <a:pt x="738" y="168"/>
                  </a:lnTo>
                  <a:lnTo>
                    <a:pt x="739" y="168"/>
                  </a:lnTo>
                  <a:lnTo>
                    <a:pt x="740" y="168"/>
                  </a:lnTo>
                  <a:lnTo>
                    <a:pt x="740" y="169"/>
                  </a:lnTo>
                  <a:lnTo>
                    <a:pt x="740" y="168"/>
                  </a:lnTo>
                  <a:lnTo>
                    <a:pt x="741" y="168"/>
                  </a:lnTo>
                  <a:lnTo>
                    <a:pt x="742" y="168"/>
                  </a:lnTo>
                  <a:lnTo>
                    <a:pt x="742" y="169"/>
                  </a:lnTo>
                  <a:lnTo>
                    <a:pt x="742" y="170"/>
                  </a:lnTo>
                  <a:lnTo>
                    <a:pt x="741" y="170"/>
                  </a:lnTo>
                  <a:lnTo>
                    <a:pt x="741" y="171"/>
                  </a:lnTo>
                  <a:lnTo>
                    <a:pt x="740" y="171"/>
                  </a:lnTo>
                  <a:lnTo>
                    <a:pt x="739" y="172"/>
                  </a:lnTo>
                  <a:lnTo>
                    <a:pt x="738" y="172"/>
                  </a:lnTo>
                  <a:lnTo>
                    <a:pt x="736" y="172"/>
                  </a:lnTo>
                  <a:lnTo>
                    <a:pt x="735" y="172"/>
                  </a:lnTo>
                  <a:lnTo>
                    <a:pt x="734" y="172"/>
                  </a:lnTo>
                  <a:lnTo>
                    <a:pt x="734" y="174"/>
                  </a:lnTo>
                  <a:lnTo>
                    <a:pt x="733" y="174"/>
                  </a:lnTo>
                  <a:lnTo>
                    <a:pt x="732" y="174"/>
                  </a:lnTo>
                  <a:lnTo>
                    <a:pt x="731" y="174"/>
                  </a:lnTo>
                  <a:lnTo>
                    <a:pt x="732" y="174"/>
                  </a:lnTo>
                  <a:lnTo>
                    <a:pt x="732" y="172"/>
                  </a:lnTo>
                  <a:lnTo>
                    <a:pt x="731" y="172"/>
                  </a:lnTo>
                  <a:lnTo>
                    <a:pt x="729" y="172"/>
                  </a:lnTo>
                  <a:lnTo>
                    <a:pt x="729" y="174"/>
                  </a:lnTo>
                  <a:lnTo>
                    <a:pt x="731" y="174"/>
                  </a:lnTo>
                  <a:lnTo>
                    <a:pt x="729" y="174"/>
                  </a:lnTo>
                  <a:lnTo>
                    <a:pt x="727" y="174"/>
                  </a:lnTo>
                  <a:lnTo>
                    <a:pt x="726" y="172"/>
                  </a:lnTo>
                  <a:lnTo>
                    <a:pt x="726" y="174"/>
                  </a:lnTo>
                  <a:lnTo>
                    <a:pt x="727" y="174"/>
                  </a:lnTo>
                  <a:lnTo>
                    <a:pt x="726" y="174"/>
                  </a:lnTo>
                  <a:lnTo>
                    <a:pt x="725" y="174"/>
                  </a:lnTo>
                  <a:lnTo>
                    <a:pt x="725" y="175"/>
                  </a:lnTo>
                  <a:lnTo>
                    <a:pt x="726" y="175"/>
                  </a:lnTo>
                  <a:lnTo>
                    <a:pt x="727" y="175"/>
                  </a:lnTo>
                  <a:lnTo>
                    <a:pt x="726" y="176"/>
                  </a:lnTo>
                  <a:lnTo>
                    <a:pt x="725" y="176"/>
                  </a:lnTo>
                  <a:lnTo>
                    <a:pt x="726" y="176"/>
                  </a:lnTo>
                  <a:lnTo>
                    <a:pt x="727" y="176"/>
                  </a:lnTo>
                  <a:lnTo>
                    <a:pt x="727" y="177"/>
                  </a:lnTo>
                  <a:lnTo>
                    <a:pt x="726" y="177"/>
                  </a:lnTo>
                  <a:lnTo>
                    <a:pt x="725" y="177"/>
                  </a:lnTo>
                  <a:lnTo>
                    <a:pt x="725" y="178"/>
                  </a:lnTo>
                  <a:lnTo>
                    <a:pt x="726" y="178"/>
                  </a:lnTo>
                  <a:lnTo>
                    <a:pt x="727" y="178"/>
                  </a:lnTo>
                  <a:lnTo>
                    <a:pt x="728" y="178"/>
                  </a:lnTo>
                  <a:lnTo>
                    <a:pt x="728" y="177"/>
                  </a:lnTo>
                  <a:lnTo>
                    <a:pt x="729" y="177"/>
                  </a:lnTo>
                  <a:lnTo>
                    <a:pt x="728" y="178"/>
                  </a:lnTo>
                  <a:lnTo>
                    <a:pt x="727" y="178"/>
                  </a:lnTo>
                  <a:lnTo>
                    <a:pt x="727" y="179"/>
                  </a:lnTo>
                  <a:lnTo>
                    <a:pt x="726" y="179"/>
                  </a:lnTo>
                  <a:lnTo>
                    <a:pt x="726" y="181"/>
                  </a:lnTo>
                  <a:lnTo>
                    <a:pt x="726" y="182"/>
                  </a:lnTo>
                  <a:lnTo>
                    <a:pt x="727" y="183"/>
                  </a:lnTo>
                  <a:lnTo>
                    <a:pt x="728" y="183"/>
                  </a:lnTo>
                  <a:lnTo>
                    <a:pt x="728" y="184"/>
                  </a:lnTo>
                  <a:lnTo>
                    <a:pt x="729" y="185"/>
                  </a:lnTo>
                  <a:lnTo>
                    <a:pt x="729" y="186"/>
                  </a:lnTo>
                  <a:lnTo>
                    <a:pt x="731" y="186"/>
                  </a:lnTo>
                  <a:lnTo>
                    <a:pt x="731" y="188"/>
                  </a:lnTo>
                  <a:lnTo>
                    <a:pt x="729" y="188"/>
                  </a:lnTo>
                  <a:lnTo>
                    <a:pt x="728" y="189"/>
                  </a:lnTo>
                  <a:lnTo>
                    <a:pt x="727" y="190"/>
                  </a:lnTo>
                  <a:lnTo>
                    <a:pt x="726" y="191"/>
                  </a:lnTo>
                  <a:lnTo>
                    <a:pt x="725" y="191"/>
                  </a:lnTo>
                  <a:lnTo>
                    <a:pt x="725" y="192"/>
                  </a:lnTo>
                  <a:lnTo>
                    <a:pt x="724" y="192"/>
                  </a:lnTo>
                  <a:lnTo>
                    <a:pt x="724" y="193"/>
                  </a:lnTo>
                  <a:lnTo>
                    <a:pt x="722" y="193"/>
                  </a:lnTo>
                  <a:lnTo>
                    <a:pt x="721" y="193"/>
                  </a:lnTo>
                  <a:lnTo>
                    <a:pt x="720" y="193"/>
                  </a:lnTo>
                  <a:lnTo>
                    <a:pt x="719" y="193"/>
                  </a:lnTo>
                  <a:lnTo>
                    <a:pt x="718" y="193"/>
                  </a:lnTo>
                  <a:lnTo>
                    <a:pt x="718" y="195"/>
                  </a:lnTo>
                  <a:lnTo>
                    <a:pt x="717" y="195"/>
                  </a:lnTo>
                  <a:lnTo>
                    <a:pt x="715" y="196"/>
                  </a:lnTo>
                  <a:lnTo>
                    <a:pt x="714" y="196"/>
                  </a:lnTo>
                  <a:lnTo>
                    <a:pt x="714" y="197"/>
                  </a:lnTo>
                  <a:lnTo>
                    <a:pt x="713" y="197"/>
                  </a:lnTo>
                  <a:lnTo>
                    <a:pt x="712" y="197"/>
                  </a:lnTo>
                  <a:lnTo>
                    <a:pt x="711" y="197"/>
                  </a:lnTo>
                  <a:lnTo>
                    <a:pt x="711" y="198"/>
                  </a:lnTo>
                  <a:lnTo>
                    <a:pt x="710" y="198"/>
                  </a:lnTo>
                  <a:lnTo>
                    <a:pt x="708" y="198"/>
                  </a:lnTo>
                  <a:lnTo>
                    <a:pt x="708" y="199"/>
                  </a:lnTo>
                  <a:lnTo>
                    <a:pt x="707" y="199"/>
                  </a:lnTo>
                  <a:lnTo>
                    <a:pt x="705" y="199"/>
                  </a:lnTo>
                  <a:lnTo>
                    <a:pt x="704" y="199"/>
                  </a:lnTo>
                  <a:lnTo>
                    <a:pt x="703" y="199"/>
                  </a:lnTo>
                  <a:lnTo>
                    <a:pt x="703" y="200"/>
                  </a:lnTo>
                  <a:lnTo>
                    <a:pt x="701" y="200"/>
                  </a:lnTo>
                  <a:lnTo>
                    <a:pt x="700" y="200"/>
                  </a:lnTo>
                  <a:lnTo>
                    <a:pt x="699" y="202"/>
                  </a:lnTo>
                  <a:lnTo>
                    <a:pt x="698" y="202"/>
                  </a:lnTo>
                  <a:lnTo>
                    <a:pt x="698" y="203"/>
                  </a:lnTo>
                  <a:lnTo>
                    <a:pt x="697" y="203"/>
                  </a:lnTo>
                  <a:lnTo>
                    <a:pt x="697" y="202"/>
                  </a:lnTo>
                  <a:lnTo>
                    <a:pt x="696" y="203"/>
                  </a:lnTo>
                  <a:lnTo>
                    <a:pt x="696" y="202"/>
                  </a:lnTo>
                  <a:lnTo>
                    <a:pt x="697" y="202"/>
                  </a:lnTo>
                  <a:lnTo>
                    <a:pt x="696" y="202"/>
                  </a:lnTo>
                  <a:lnTo>
                    <a:pt x="696" y="200"/>
                  </a:lnTo>
                  <a:lnTo>
                    <a:pt x="696" y="199"/>
                  </a:lnTo>
                  <a:lnTo>
                    <a:pt x="695" y="199"/>
                  </a:lnTo>
                  <a:lnTo>
                    <a:pt x="693" y="199"/>
                  </a:lnTo>
                  <a:lnTo>
                    <a:pt x="693" y="198"/>
                  </a:lnTo>
                  <a:lnTo>
                    <a:pt x="695" y="198"/>
                  </a:lnTo>
                  <a:lnTo>
                    <a:pt x="695" y="197"/>
                  </a:lnTo>
                  <a:lnTo>
                    <a:pt x="695" y="198"/>
                  </a:lnTo>
                  <a:lnTo>
                    <a:pt x="696" y="198"/>
                  </a:lnTo>
                  <a:lnTo>
                    <a:pt x="696" y="197"/>
                  </a:lnTo>
                  <a:lnTo>
                    <a:pt x="695" y="197"/>
                  </a:lnTo>
                  <a:lnTo>
                    <a:pt x="696" y="197"/>
                  </a:lnTo>
                  <a:lnTo>
                    <a:pt x="696" y="196"/>
                  </a:lnTo>
                  <a:lnTo>
                    <a:pt x="697" y="196"/>
                  </a:lnTo>
                  <a:lnTo>
                    <a:pt x="697" y="195"/>
                  </a:lnTo>
                  <a:lnTo>
                    <a:pt x="697" y="196"/>
                  </a:lnTo>
                  <a:lnTo>
                    <a:pt x="696" y="196"/>
                  </a:lnTo>
                  <a:lnTo>
                    <a:pt x="695" y="196"/>
                  </a:lnTo>
                  <a:lnTo>
                    <a:pt x="695" y="197"/>
                  </a:lnTo>
                  <a:lnTo>
                    <a:pt x="693" y="197"/>
                  </a:lnTo>
                  <a:lnTo>
                    <a:pt x="692" y="197"/>
                  </a:lnTo>
                  <a:lnTo>
                    <a:pt x="691" y="197"/>
                  </a:lnTo>
                  <a:lnTo>
                    <a:pt x="692" y="197"/>
                  </a:lnTo>
                  <a:lnTo>
                    <a:pt x="692" y="196"/>
                  </a:lnTo>
                  <a:lnTo>
                    <a:pt x="691" y="196"/>
                  </a:lnTo>
                  <a:lnTo>
                    <a:pt x="693" y="196"/>
                  </a:lnTo>
                  <a:lnTo>
                    <a:pt x="692" y="196"/>
                  </a:lnTo>
                  <a:lnTo>
                    <a:pt x="692" y="195"/>
                  </a:lnTo>
                  <a:lnTo>
                    <a:pt x="691" y="195"/>
                  </a:lnTo>
                  <a:lnTo>
                    <a:pt x="691" y="193"/>
                  </a:lnTo>
                  <a:lnTo>
                    <a:pt x="692" y="193"/>
                  </a:lnTo>
                  <a:lnTo>
                    <a:pt x="693" y="193"/>
                  </a:lnTo>
                  <a:lnTo>
                    <a:pt x="689" y="193"/>
                  </a:lnTo>
                  <a:lnTo>
                    <a:pt x="689" y="192"/>
                  </a:lnTo>
                  <a:lnTo>
                    <a:pt x="688" y="192"/>
                  </a:lnTo>
                  <a:lnTo>
                    <a:pt x="689" y="192"/>
                  </a:lnTo>
                  <a:lnTo>
                    <a:pt x="688" y="193"/>
                  </a:lnTo>
                  <a:lnTo>
                    <a:pt x="689" y="193"/>
                  </a:lnTo>
                  <a:lnTo>
                    <a:pt x="688" y="193"/>
                  </a:lnTo>
                  <a:lnTo>
                    <a:pt x="689" y="193"/>
                  </a:lnTo>
                  <a:lnTo>
                    <a:pt x="690" y="193"/>
                  </a:lnTo>
                  <a:lnTo>
                    <a:pt x="686" y="193"/>
                  </a:lnTo>
                  <a:lnTo>
                    <a:pt x="684" y="195"/>
                  </a:lnTo>
                  <a:lnTo>
                    <a:pt x="683" y="195"/>
                  </a:lnTo>
                  <a:lnTo>
                    <a:pt x="683" y="196"/>
                  </a:lnTo>
                  <a:lnTo>
                    <a:pt x="684" y="196"/>
                  </a:lnTo>
                  <a:lnTo>
                    <a:pt x="685" y="196"/>
                  </a:lnTo>
                  <a:lnTo>
                    <a:pt x="686" y="196"/>
                  </a:lnTo>
                  <a:lnTo>
                    <a:pt x="686" y="195"/>
                  </a:lnTo>
                  <a:lnTo>
                    <a:pt x="688" y="195"/>
                  </a:lnTo>
                  <a:lnTo>
                    <a:pt x="689" y="195"/>
                  </a:lnTo>
                  <a:lnTo>
                    <a:pt x="690" y="195"/>
                  </a:lnTo>
                  <a:lnTo>
                    <a:pt x="689" y="195"/>
                  </a:lnTo>
                  <a:lnTo>
                    <a:pt x="690" y="195"/>
                  </a:lnTo>
                  <a:lnTo>
                    <a:pt x="690" y="196"/>
                  </a:lnTo>
                  <a:lnTo>
                    <a:pt x="689" y="196"/>
                  </a:lnTo>
                  <a:lnTo>
                    <a:pt x="690" y="196"/>
                  </a:lnTo>
                  <a:lnTo>
                    <a:pt x="691" y="197"/>
                  </a:lnTo>
                  <a:lnTo>
                    <a:pt x="692" y="197"/>
                  </a:lnTo>
                  <a:lnTo>
                    <a:pt x="691" y="197"/>
                  </a:lnTo>
                  <a:lnTo>
                    <a:pt x="690" y="197"/>
                  </a:lnTo>
                  <a:lnTo>
                    <a:pt x="691" y="197"/>
                  </a:lnTo>
                  <a:lnTo>
                    <a:pt x="691" y="198"/>
                  </a:lnTo>
                  <a:lnTo>
                    <a:pt x="692" y="198"/>
                  </a:lnTo>
                  <a:lnTo>
                    <a:pt x="691" y="199"/>
                  </a:lnTo>
                  <a:lnTo>
                    <a:pt x="692" y="200"/>
                  </a:lnTo>
                  <a:lnTo>
                    <a:pt x="693" y="202"/>
                  </a:lnTo>
                  <a:lnTo>
                    <a:pt x="692" y="202"/>
                  </a:lnTo>
                  <a:lnTo>
                    <a:pt x="692" y="203"/>
                  </a:lnTo>
                  <a:lnTo>
                    <a:pt x="692" y="204"/>
                  </a:lnTo>
                  <a:lnTo>
                    <a:pt x="693" y="204"/>
                  </a:lnTo>
                  <a:lnTo>
                    <a:pt x="692" y="204"/>
                  </a:lnTo>
                  <a:lnTo>
                    <a:pt x="692" y="205"/>
                  </a:lnTo>
                  <a:lnTo>
                    <a:pt x="691" y="205"/>
                  </a:lnTo>
                  <a:lnTo>
                    <a:pt x="691" y="204"/>
                  </a:lnTo>
                  <a:lnTo>
                    <a:pt x="692" y="204"/>
                  </a:lnTo>
                  <a:lnTo>
                    <a:pt x="691" y="204"/>
                  </a:lnTo>
                  <a:lnTo>
                    <a:pt x="690" y="204"/>
                  </a:lnTo>
                  <a:lnTo>
                    <a:pt x="689" y="204"/>
                  </a:lnTo>
                  <a:lnTo>
                    <a:pt x="689" y="203"/>
                  </a:lnTo>
                  <a:lnTo>
                    <a:pt x="688" y="203"/>
                  </a:lnTo>
                  <a:lnTo>
                    <a:pt x="686" y="203"/>
                  </a:lnTo>
                  <a:lnTo>
                    <a:pt x="686" y="202"/>
                  </a:lnTo>
                  <a:lnTo>
                    <a:pt x="685" y="202"/>
                  </a:lnTo>
                  <a:lnTo>
                    <a:pt x="684" y="203"/>
                  </a:lnTo>
                  <a:lnTo>
                    <a:pt x="685" y="203"/>
                  </a:lnTo>
                  <a:lnTo>
                    <a:pt x="685" y="204"/>
                  </a:lnTo>
                  <a:lnTo>
                    <a:pt x="685" y="205"/>
                  </a:lnTo>
                  <a:lnTo>
                    <a:pt x="684" y="205"/>
                  </a:lnTo>
                  <a:lnTo>
                    <a:pt x="684" y="204"/>
                  </a:lnTo>
                  <a:lnTo>
                    <a:pt x="683" y="204"/>
                  </a:lnTo>
                  <a:lnTo>
                    <a:pt x="682" y="204"/>
                  </a:lnTo>
                  <a:lnTo>
                    <a:pt x="681" y="204"/>
                  </a:lnTo>
                  <a:lnTo>
                    <a:pt x="679" y="204"/>
                  </a:lnTo>
                  <a:lnTo>
                    <a:pt x="679" y="203"/>
                  </a:lnTo>
                  <a:lnTo>
                    <a:pt x="678" y="203"/>
                  </a:lnTo>
                  <a:lnTo>
                    <a:pt x="678" y="204"/>
                  </a:lnTo>
                  <a:lnTo>
                    <a:pt x="677" y="204"/>
                  </a:lnTo>
                  <a:lnTo>
                    <a:pt x="677" y="203"/>
                  </a:lnTo>
                  <a:lnTo>
                    <a:pt x="678" y="203"/>
                  </a:lnTo>
                  <a:lnTo>
                    <a:pt x="677" y="202"/>
                  </a:lnTo>
                  <a:lnTo>
                    <a:pt x="678" y="202"/>
                  </a:lnTo>
                  <a:lnTo>
                    <a:pt x="678" y="200"/>
                  </a:lnTo>
                  <a:lnTo>
                    <a:pt x="678" y="199"/>
                  </a:lnTo>
                  <a:lnTo>
                    <a:pt x="677" y="199"/>
                  </a:lnTo>
                  <a:lnTo>
                    <a:pt x="675" y="200"/>
                  </a:lnTo>
                  <a:lnTo>
                    <a:pt x="674" y="200"/>
                  </a:lnTo>
                  <a:lnTo>
                    <a:pt x="672" y="200"/>
                  </a:lnTo>
                  <a:lnTo>
                    <a:pt x="670" y="200"/>
                  </a:lnTo>
                  <a:lnTo>
                    <a:pt x="669" y="200"/>
                  </a:lnTo>
                  <a:lnTo>
                    <a:pt x="669" y="199"/>
                  </a:lnTo>
                  <a:lnTo>
                    <a:pt x="668" y="199"/>
                  </a:lnTo>
                  <a:lnTo>
                    <a:pt x="668" y="200"/>
                  </a:lnTo>
                  <a:lnTo>
                    <a:pt x="667" y="199"/>
                  </a:lnTo>
                  <a:lnTo>
                    <a:pt x="665" y="199"/>
                  </a:lnTo>
                  <a:lnTo>
                    <a:pt x="665" y="200"/>
                  </a:lnTo>
                  <a:lnTo>
                    <a:pt x="664" y="200"/>
                  </a:lnTo>
                  <a:lnTo>
                    <a:pt x="664" y="199"/>
                  </a:lnTo>
                  <a:lnTo>
                    <a:pt x="663" y="200"/>
                  </a:lnTo>
                  <a:lnTo>
                    <a:pt x="664" y="202"/>
                  </a:lnTo>
                  <a:lnTo>
                    <a:pt x="663" y="200"/>
                  </a:lnTo>
                  <a:lnTo>
                    <a:pt x="663" y="202"/>
                  </a:lnTo>
                  <a:lnTo>
                    <a:pt x="663" y="203"/>
                  </a:lnTo>
                  <a:lnTo>
                    <a:pt x="664" y="203"/>
                  </a:lnTo>
                  <a:lnTo>
                    <a:pt x="665" y="203"/>
                  </a:lnTo>
                  <a:lnTo>
                    <a:pt x="667" y="204"/>
                  </a:lnTo>
                  <a:lnTo>
                    <a:pt x="669" y="204"/>
                  </a:lnTo>
                  <a:lnTo>
                    <a:pt x="670" y="204"/>
                  </a:lnTo>
                  <a:lnTo>
                    <a:pt x="670" y="205"/>
                  </a:lnTo>
                  <a:lnTo>
                    <a:pt x="669" y="205"/>
                  </a:lnTo>
                  <a:lnTo>
                    <a:pt x="668" y="206"/>
                  </a:lnTo>
                  <a:lnTo>
                    <a:pt x="665" y="207"/>
                  </a:lnTo>
                  <a:lnTo>
                    <a:pt x="664" y="207"/>
                  </a:lnTo>
                  <a:lnTo>
                    <a:pt x="663" y="209"/>
                  </a:lnTo>
                  <a:lnTo>
                    <a:pt x="662" y="209"/>
                  </a:lnTo>
                  <a:lnTo>
                    <a:pt x="661" y="209"/>
                  </a:lnTo>
                  <a:lnTo>
                    <a:pt x="660" y="210"/>
                  </a:lnTo>
                  <a:lnTo>
                    <a:pt x="660" y="211"/>
                  </a:lnTo>
                  <a:lnTo>
                    <a:pt x="658" y="211"/>
                  </a:lnTo>
                  <a:lnTo>
                    <a:pt x="658" y="212"/>
                  </a:lnTo>
                  <a:lnTo>
                    <a:pt x="657" y="212"/>
                  </a:lnTo>
                  <a:lnTo>
                    <a:pt x="656" y="212"/>
                  </a:lnTo>
                  <a:lnTo>
                    <a:pt x="655" y="212"/>
                  </a:lnTo>
                  <a:lnTo>
                    <a:pt x="654" y="213"/>
                  </a:lnTo>
                  <a:lnTo>
                    <a:pt x="653" y="213"/>
                  </a:lnTo>
                  <a:lnTo>
                    <a:pt x="651" y="213"/>
                  </a:lnTo>
                  <a:lnTo>
                    <a:pt x="651" y="214"/>
                  </a:lnTo>
                  <a:lnTo>
                    <a:pt x="650" y="214"/>
                  </a:lnTo>
                  <a:lnTo>
                    <a:pt x="649" y="214"/>
                  </a:lnTo>
                  <a:lnTo>
                    <a:pt x="650" y="216"/>
                  </a:lnTo>
                  <a:lnTo>
                    <a:pt x="649" y="216"/>
                  </a:lnTo>
                  <a:lnTo>
                    <a:pt x="648" y="216"/>
                  </a:lnTo>
                  <a:lnTo>
                    <a:pt x="647" y="216"/>
                  </a:lnTo>
                  <a:lnTo>
                    <a:pt x="647" y="217"/>
                  </a:lnTo>
                  <a:lnTo>
                    <a:pt x="646" y="217"/>
                  </a:lnTo>
                  <a:lnTo>
                    <a:pt x="642" y="217"/>
                  </a:lnTo>
                  <a:lnTo>
                    <a:pt x="640" y="217"/>
                  </a:lnTo>
                  <a:lnTo>
                    <a:pt x="639" y="216"/>
                  </a:lnTo>
                  <a:lnTo>
                    <a:pt x="637" y="216"/>
                  </a:lnTo>
                  <a:lnTo>
                    <a:pt x="637" y="214"/>
                  </a:lnTo>
                  <a:lnTo>
                    <a:pt x="636" y="213"/>
                  </a:lnTo>
                  <a:lnTo>
                    <a:pt x="635" y="213"/>
                  </a:lnTo>
                  <a:lnTo>
                    <a:pt x="634" y="212"/>
                  </a:lnTo>
                  <a:lnTo>
                    <a:pt x="633" y="212"/>
                  </a:lnTo>
                  <a:lnTo>
                    <a:pt x="636" y="212"/>
                  </a:lnTo>
                  <a:lnTo>
                    <a:pt x="637" y="212"/>
                  </a:lnTo>
                  <a:lnTo>
                    <a:pt x="635" y="212"/>
                  </a:lnTo>
                  <a:lnTo>
                    <a:pt x="634" y="211"/>
                  </a:lnTo>
                  <a:lnTo>
                    <a:pt x="633" y="211"/>
                  </a:lnTo>
                  <a:lnTo>
                    <a:pt x="632" y="211"/>
                  </a:lnTo>
                  <a:lnTo>
                    <a:pt x="632" y="210"/>
                  </a:lnTo>
                  <a:lnTo>
                    <a:pt x="631" y="210"/>
                  </a:lnTo>
                  <a:lnTo>
                    <a:pt x="629" y="209"/>
                  </a:lnTo>
                  <a:lnTo>
                    <a:pt x="628" y="209"/>
                  </a:lnTo>
                  <a:lnTo>
                    <a:pt x="627" y="207"/>
                  </a:lnTo>
                  <a:lnTo>
                    <a:pt x="627" y="209"/>
                  </a:lnTo>
                  <a:lnTo>
                    <a:pt x="627" y="207"/>
                  </a:lnTo>
                  <a:lnTo>
                    <a:pt x="625" y="207"/>
                  </a:lnTo>
                  <a:lnTo>
                    <a:pt x="626" y="209"/>
                  </a:lnTo>
                  <a:lnTo>
                    <a:pt x="626" y="210"/>
                  </a:lnTo>
                  <a:lnTo>
                    <a:pt x="625" y="210"/>
                  </a:lnTo>
                  <a:lnTo>
                    <a:pt x="625" y="209"/>
                  </a:lnTo>
                  <a:lnTo>
                    <a:pt x="624" y="209"/>
                  </a:lnTo>
                  <a:lnTo>
                    <a:pt x="622" y="209"/>
                  </a:lnTo>
                  <a:lnTo>
                    <a:pt x="621" y="209"/>
                  </a:lnTo>
                  <a:lnTo>
                    <a:pt x="620" y="209"/>
                  </a:lnTo>
                  <a:lnTo>
                    <a:pt x="619" y="209"/>
                  </a:lnTo>
                  <a:lnTo>
                    <a:pt x="620" y="209"/>
                  </a:lnTo>
                  <a:lnTo>
                    <a:pt x="621" y="209"/>
                  </a:lnTo>
                  <a:lnTo>
                    <a:pt x="620" y="209"/>
                  </a:lnTo>
                  <a:lnTo>
                    <a:pt x="617" y="209"/>
                  </a:lnTo>
                  <a:lnTo>
                    <a:pt x="613" y="207"/>
                  </a:lnTo>
                  <a:lnTo>
                    <a:pt x="612" y="207"/>
                  </a:lnTo>
                  <a:lnTo>
                    <a:pt x="611" y="207"/>
                  </a:lnTo>
                  <a:lnTo>
                    <a:pt x="610" y="207"/>
                  </a:lnTo>
                  <a:lnTo>
                    <a:pt x="608" y="207"/>
                  </a:lnTo>
                  <a:lnTo>
                    <a:pt x="612" y="210"/>
                  </a:lnTo>
                  <a:lnTo>
                    <a:pt x="612" y="209"/>
                  </a:lnTo>
                  <a:lnTo>
                    <a:pt x="613" y="209"/>
                  </a:lnTo>
                  <a:lnTo>
                    <a:pt x="614" y="209"/>
                  </a:lnTo>
                  <a:lnTo>
                    <a:pt x="617" y="209"/>
                  </a:lnTo>
                  <a:lnTo>
                    <a:pt x="618" y="209"/>
                  </a:lnTo>
                  <a:lnTo>
                    <a:pt x="620" y="210"/>
                  </a:lnTo>
                  <a:lnTo>
                    <a:pt x="622" y="210"/>
                  </a:lnTo>
                  <a:lnTo>
                    <a:pt x="624" y="210"/>
                  </a:lnTo>
                  <a:lnTo>
                    <a:pt x="624" y="211"/>
                  </a:lnTo>
                  <a:lnTo>
                    <a:pt x="625" y="211"/>
                  </a:lnTo>
                  <a:lnTo>
                    <a:pt x="625" y="212"/>
                  </a:lnTo>
                  <a:lnTo>
                    <a:pt x="626" y="212"/>
                  </a:lnTo>
                  <a:lnTo>
                    <a:pt x="626" y="213"/>
                  </a:lnTo>
                  <a:lnTo>
                    <a:pt x="626" y="214"/>
                  </a:lnTo>
                  <a:lnTo>
                    <a:pt x="627" y="214"/>
                  </a:lnTo>
                  <a:lnTo>
                    <a:pt x="628" y="214"/>
                  </a:lnTo>
                  <a:lnTo>
                    <a:pt x="628" y="216"/>
                  </a:lnTo>
                  <a:lnTo>
                    <a:pt x="627" y="216"/>
                  </a:lnTo>
                  <a:lnTo>
                    <a:pt x="628" y="216"/>
                  </a:lnTo>
                  <a:lnTo>
                    <a:pt x="628" y="217"/>
                  </a:lnTo>
                  <a:lnTo>
                    <a:pt x="629" y="217"/>
                  </a:lnTo>
                  <a:lnTo>
                    <a:pt x="633" y="217"/>
                  </a:lnTo>
                  <a:lnTo>
                    <a:pt x="637" y="217"/>
                  </a:lnTo>
                  <a:lnTo>
                    <a:pt x="639" y="217"/>
                  </a:lnTo>
                  <a:lnTo>
                    <a:pt x="640" y="217"/>
                  </a:lnTo>
                  <a:lnTo>
                    <a:pt x="641" y="217"/>
                  </a:lnTo>
                  <a:lnTo>
                    <a:pt x="642" y="217"/>
                  </a:lnTo>
                  <a:lnTo>
                    <a:pt x="643" y="217"/>
                  </a:lnTo>
                  <a:lnTo>
                    <a:pt x="646" y="217"/>
                  </a:lnTo>
                  <a:lnTo>
                    <a:pt x="648" y="218"/>
                  </a:lnTo>
                  <a:lnTo>
                    <a:pt x="648" y="219"/>
                  </a:lnTo>
                  <a:lnTo>
                    <a:pt x="647" y="220"/>
                  </a:lnTo>
                  <a:lnTo>
                    <a:pt x="646" y="220"/>
                  </a:lnTo>
                  <a:lnTo>
                    <a:pt x="646" y="221"/>
                  </a:lnTo>
                  <a:lnTo>
                    <a:pt x="644" y="221"/>
                  </a:lnTo>
                  <a:lnTo>
                    <a:pt x="643" y="221"/>
                  </a:lnTo>
                  <a:lnTo>
                    <a:pt x="643" y="223"/>
                  </a:lnTo>
                  <a:lnTo>
                    <a:pt x="642" y="223"/>
                  </a:lnTo>
                  <a:lnTo>
                    <a:pt x="641" y="224"/>
                  </a:lnTo>
                  <a:lnTo>
                    <a:pt x="641" y="225"/>
                  </a:lnTo>
                  <a:lnTo>
                    <a:pt x="640" y="225"/>
                  </a:lnTo>
                  <a:lnTo>
                    <a:pt x="639" y="225"/>
                  </a:lnTo>
                  <a:lnTo>
                    <a:pt x="637" y="225"/>
                  </a:lnTo>
                  <a:lnTo>
                    <a:pt x="637" y="226"/>
                  </a:lnTo>
                  <a:lnTo>
                    <a:pt x="636" y="226"/>
                  </a:lnTo>
                  <a:lnTo>
                    <a:pt x="636" y="227"/>
                  </a:lnTo>
                  <a:lnTo>
                    <a:pt x="635" y="227"/>
                  </a:lnTo>
                  <a:lnTo>
                    <a:pt x="634" y="227"/>
                  </a:lnTo>
                  <a:lnTo>
                    <a:pt x="633" y="227"/>
                  </a:lnTo>
                  <a:lnTo>
                    <a:pt x="633" y="228"/>
                  </a:lnTo>
                  <a:lnTo>
                    <a:pt x="632" y="228"/>
                  </a:lnTo>
                  <a:lnTo>
                    <a:pt x="632" y="230"/>
                  </a:lnTo>
                  <a:lnTo>
                    <a:pt x="631" y="230"/>
                  </a:lnTo>
                  <a:lnTo>
                    <a:pt x="631" y="231"/>
                  </a:lnTo>
                  <a:lnTo>
                    <a:pt x="628" y="231"/>
                  </a:lnTo>
                  <a:lnTo>
                    <a:pt x="628" y="232"/>
                  </a:lnTo>
                  <a:lnTo>
                    <a:pt x="627" y="232"/>
                  </a:lnTo>
                  <a:lnTo>
                    <a:pt x="627" y="233"/>
                  </a:lnTo>
                  <a:lnTo>
                    <a:pt x="626" y="233"/>
                  </a:lnTo>
                  <a:lnTo>
                    <a:pt x="625" y="233"/>
                  </a:lnTo>
                  <a:lnTo>
                    <a:pt x="624" y="233"/>
                  </a:lnTo>
                  <a:lnTo>
                    <a:pt x="621" y="234"/>
                  </a:lnTo>
                  <a:lnTo>
                    <a:pt x="620" y="234"/>
                  </a:lnTo>
                  <a:lnTo>
                    <a:pt x="619" y="234"/>
                  </a:lnTo>
                  <a:lnTo>
                    <a:pt x="619" y="235"/>
                  </a:lnTo>
                  <a:lnTo>
                    <a:pt x="618" y="235"/>
                  </a:lnTo>
                  <a:lnTo>
                    <a:pt x="617" y="235"/>
                  </a:lnTo>
                  <a:lnTo>
                    <a:pt x="615" y="235"/>
                  </a:lnTo>
                  <a:lnTo>
                    <a:pt x="615" y="234"/>
                  </a:lnTo>
                  <a:lnTo>
                    <a:pt x="614" y="234"/>
                  </a:lnTo>
                  <a:lnTo>
                    <a:pt x="614" y="233"/>
                  </a:lnTo>
                  <a:lnTo>
                    <a:pt x="613" y="233"/>
                  </a:lnTo>
                  <a:lnTo>
                    <a:pt x="614" y="233"/>
                  </a:lnTo>
                  <a:lnTo>
                    <a:pt x="614" y="234"/>
                  </a:lnTo>
                  <a:lnTo>
                    <a:pt x="614" y="235"/>
                  </a:lnTo>
                  <a:lnTo>
                    <a:pt x="613" y="235"/>
                  </a:lnTo>
                  <a:lnTo>
                    <a:pt x="613" y="234"/>
                  </a:lnTo>
                  <a:lnTo>
                    <a:pt x="612" y="234"/>
                  </a:lnTo>
                  <a:lnTo>
                    <a:pt x="612" y="235"/>
                  </a:lnTo>
                  <a:lnTo>
                    <a:pt x="613" y="235"/>
                  </a:lnTo>
                  <a:lnTo>
                    <a:pt x="612" y="235"/>
                  </a:lnTo>
                  <a:lnTo>
                    <a:pt x="612" y="234"/>
                  </a:lnTo>
                  <a:lnTo>
                    <a:pt x="611" y="234"/>
                  </a:lnTo>
                  <a:lnTo>
                    <a:pt x="610" y="234"/>
                  </a:lnTo>
                  <a:lnTo>
                    <a:pt x="610" y="235"/>
                  </a:lnTo>
                  <a:lnTo>
                    <a:pt x="610" y="234"/>
                  </a:lnTo>
                  <a:lnTo>
                    <a:pt x="608" y="234"/>
                  </a:lnTo>
                  <a:lnTo>
                    <a:pt x="607" y="233"/>
                  </a:lnTo>
                  <a:lnTo>
                    <a:pt x="608" y="233"/>
                  </a:lnTo>
                  <a:lnTo>
                    <a:pt x="610" y="233"/>
                  </a:lnTo>
                  <a:lnTo>
                    <a:pt x="610" y="232"/>
                  </a:lnTo>
                  <a:lnTo>
                    <a:pt x="608" y="232"/>
                  </a:lnTo>
                  <a:lnTo>
                    <a:pt x="608" y="233"/>
                  </a:lnTo>
                  <a:lnTo>
                    <a:pt x="607" y="233"/>
                  </a:lnTo>
                  <a:lnTo>
                    <a:pt x="606" y="233"/>
                  </a:lnTo>
                  <a:lnTo>
                    <a:pt x="605" y="233"/>
                  </a:lnTo>
                  <a:lnTo>
                    <a:pt x="606" y="233"/>
                  </a:lnTo>
                  <a:lnTo>
                    <a:pt x="606" y="234"/>
                  </a:lnTo>
                  <a:lnTo>
                    <a:pt x="606" y="235"/>
                  </a:lnTo>
                  <a:lnTo>
                    <a:pt x="606" y="237"/>
                  </a:lnTo>
                  <a:lnTo>
                    <a:pt x="605" y="237"/>
                  </a:lnTo>
                  <a:lnTo>
                    <a:pt x="604" y="237"/>
                  </a:lnTo>
                  <a:lnTo>
                    <a:pt x="604" y="235"/>
                  </a:lnTo>
                  <a:lnTo>
                    <a:pt x="605" y="235"/>
                  </a:lnTo>
                  <a:lnTo>
                    <a:pt x="604" y="235"/>
                  </a:lnTo>
                  <a:lnTo>
                    <a:pt x="603" y="235"/>
                  </a:lnTo>
                  <a:lnTo>
                    <a:pt x="603" y="234"/>
                  </a:lnTo>
                  <a:lnTo>
                    <a:pt x="601" y="235"/>
                  </a:lnTo>
                  <a:lnTo>
                    <a:pt x="603" y="235"/>
                  </a:lnTo>
                  <a:lnTo>
                    <a:pt x="603" y="237"/>
                  </a:lnTo>
                  <a:lnTo>
                    <a:pt x="603" y="238"/>
                  </a:lnTo>
                  <a:lnTo>
                    <a:pt x="601" y="238"/>
                  </a:lnTo>
                  <a:lnTo>
                    <a:pt x="601" y="239"/>
                  </a:lnTo>
                  <a:lnTo>
                    <a:pt x="600" y="239"/>
                  </a:lnTo>
                  <a:lnTo>
                    <a:pt x="599" y="240"/>
                  </a:lnTo>
                  <a:lnTo>
                    <a:pt x="598" y="240"/>
                  </a:lnTo>
                  <a:lnTo>
                    <a:pt x="599" y="240"/>
                  </a:lnTo>
                  <a:lnTo>
                    <a:pt x="598" y="240"/>
                  </a:lnTo>
                  <a:lnTo>
                    <a:pt x="597" y="240"/>
                  </a:lnTo>
                  <a:lnTo>
                    <a:pt x="596" y="240"/>
                  </a:lnTo>
                  <a:lnTo>
                    <a:pt x="597" y="240"/>
                  </a:lnTo>
                  <a:lnTo>
                    <a:pt x="596" y="240"/>
                  </a:lnTo>
                  <a:lnTo>
                    <a:pt x="596" y="239"/>
                  </a:lnTo>
                  <a:lnTo>
                    <a:pt x="594" y="239"/>
                  </a:lnTo>
                  <a:lnTo>
                    <a:pt x="594" y="240"/>
                  </a:lnTo>
                  <a:lnTo>
                    <a:pt x="593" y="240"/>
                  </a:lnTo>
                  <a:lnTo>
                    <a:pt x="594" y="240"/>
                  </a:lnTo>
                  <a:lnTo>
                    <a:pt x="596" y="240"/>
                  </a:lnTo>
                  <a:lnTo>
                    <a:pt x="594" y="240"/>
                  </a:lnTo>
                  <a:lnTo>
                    <a:pt x="593" y="240"/>
                  </a:lnTo>
                  <a:lnTo>
                    <a:pt x="593" y="241"/>
                  </a:lnTo>
                  <a:lnTo>
                    <a:pt x="592" y="241"/>
                  </a:lnTo>
                  <a:lnTo>
                    <a:pt x="591" y="241"/>
                  </a:lnTo>
                  <a:lnTo>
                    <a:pt x="590" y="241"/>
                  </a:lnTo>
                  <a:lnTo>
                    <a:pt x="590" y="240"/>
                  </a:lnTo>
                  <a:lnTo>
                    <a:pt x="589" y="240"/>
                  </a:lnTo>
                  <a:lnTo>
                    <a:pt x="587" y="240"/>
                  </a:lnTo>
                  <a:lnTo>
                    <a:pt x="586" y="240"/>
                  </a:lnTo>
                  <a:lnTo>
                    <a:pt x="586" y="239"/>
                  </a:lnTo>
                  <a:lnTo>
                    <a:pt x="587" y="239"/>
                  </a:lnTo>
                  <a:lnTo>
                    <a:pt x="587" y="240"/>
                  </a:lnTo>
                  <a:lnTo>
                    <a:pt x="587" y="239"/>
                  </a:lnTo>
                  <a:lnTo>
                    <a:pt x="586" y="239"/>
                  </a:lnTo>
                  <a:lnTo>
                    <a:pt x="585" y="239"/>
                  </a:lnTo>
                  <a:lnTo>
                    <a:pt x="584" y="239"/>
                  </a:lnTo>
                  <a:lnTo>
                    <a:pt x="584" y="238"/>
                  </a:lnTo>
                  <a:lnTo>
                    <a:pt x="584" y="239"/>
                  </a:lnTo>
                  <a:lnTo>
                    <a:pt x="583" y="239"/>
                  </a:lnTo>
                  <a:lnTo>
                    <a:pt x="582" y="239"/>
                  </a:lnTo>
                  <a:lnTo>
                    <a:pt x="580" y="238"/>
                  </a:lnTo>
                  <a:lnTo>
                    <a:pt x="582" y="238"/>
                  </a:lnTo>
                  <a:lnTo>
                    <a:pt x="583" y="238"/>
                  </a:lnTo>
                  <a:lnTo>
                    <a:pt x="582" y="238"/>
                  </a:lnTo>
                  <a:lnTo>
                    <a:pt x="580" y="238"/>
                  </a:lnTo>
                  <a:lnTo>
                    <a:pt x="580" y="239"/>
                  </a:lnTo>
                  <a:lnTo>
                    <a:pt x="579" y="239"/>
                  </a:lnTo>
                  <a:lnTo>
                    <a:pt x="579" y="238"/>
                  </a:lnTo>
                  <a:lnTo>
                    <a:pt x="578" y="238"/>
                  </a:lnTo>
                  <a:lnTo>
                    <a:pt x="577" y="238"/>
                  </a:lnTo>
                  <a:lnTo>
                    <a:pt x="576" y="238"/>
                  </a:lnTo>
                  <a:lnTo>
                    <a:pt x="573" y="237"/>
                  </a:lnTo>
                  <a:lnTo>
                    <a:pt x="572" y="237"/>
                  </a:lnTo>
                  <a:lnTo>
                    <a:pt x="572" y="235"/>
                  </a:lnTo>
                  <a:lnTo>
                    <a:pt x="571" y="235"/>
                  </a:lnTo>
                  <a:lnTo>
                    <a:pt x="570" y="235"/>
                  </a:lnTo>
                  <a:lnTo>
                    <a:pt x="569" y="235"/>
                  </a:lnTo>
                  <a:lnTo>
                    <a:pt x="569" y="234"/>
                  </a:lnTo>
                  <a:lnTo>
                    <a:pt x="568" y="234"/>
                  </a:lnTo>
                  <a:lnTo>
                    <a:pt x="567" y="233"/>
                  </a:lnTo>
                  <a:lnTo>
                    <a:pt x="568" y="233"/>
                  </a:lnTo>
                  <a:lnTo>
                    <a:pt x="567" y="233"/>
                  </a:lnTo>
                  <a:lnTo>
                    <a:pt x="567" y="232"/>
                  </a:lnTo>
                  <a:lnTo>
                    <a:pt x="567" y="233"/>
                  </a:lnTo>
                  <a:lnTo>
                    <a:pt x="567" y="234"/>
                  </a:lnTo>
                  <a:lnTo>
                    <a:pt x="567" y="235"/>
                  </a:lnTo>
                  <a:lnTo>
                    <a:pt x="564" y="235"/>
                  </a:lnTo>
                  <a:lnTo>
                    <a:pt x="564" y="237"/>
                  </a:lnTo>
                  <a:lnTo>
                    <a:pt x="565" y="237"/>
                  </a:lnTo>
                  <a:lnTo>
                    <a:pt x="567" y="237"/>
                  </a:lnTo>
                  <a:lnTo>
                    <a:pt x="567" y="238"/>
                  </a:lnTo>
                  <a:lnTo>
                    <a:pt x="567" y="237"/>
                  </a:lnTo>
                  <a:lnTo>
                    <a:pt x="568" y="238"/>
                  </a:lnTo>
                  <a:lnTo>
                    <a:pt x="569" y="238"/>
                  </a:lnTo>
                  <a:lnTo>
                    <a:pt x="569" y="237"/>
                  </a:lnTo>
                  <a:lnTo>
                    <a:pt x="568" y="237"/>
                  </a:lnTo>
                  <a:lnTo>
                    <a:pt x="567" y="235"/>
                  </a:lnTo>
                  <a:lnTo>
                    <a:pt x="568" y="235"/>
                  </a:lnTo>
                  <a:lnTo>
                    <a:pt x="569" y="235"/>
                  </a:lnTo>
                  <a:lnTo>
                    <a:pt x="569" y="237"/>
                  </a:lnTo>
                  <a:lnTo>
                    <a:pt x="570" y="237"/>
                  </a:lnTo>
                  <a:lnTo>
                    <a:pt x="571" y="237"/>
                  </a:lnTo>
                  <a:lnTo>
                    <a:pt x="572" y="238"/>
                  </a:lnTo>
                  <a:lnTo>
                    <a:pt x="573" y="238"/>
                  </a:lnTo>
                  <a:lnTo>
                    <a:pt x="575" y="238"/>
                  </a:lnTo>
                  <a:lnTo>
                    <a:pt x="576" y="238"/>
                  </a:lnTo>
                  <a:lnTo>
                    <a:pt x="577" y="238"/>
                  </a:lnTo>
                  <a:lnTo>
                    <a:pt x="576" y="239"/>
                  </a:lnTo>
                  <a:lnTo>
                    <a:pt x="577" y="239"/>
                  </a:lnTo>
                  <a:lnTo>
                    <a:pt x="578" y="239"/>
                  </a:lnTo>
                  <a:lnTo>
                    <a:pt x="579" y="239"/>
                  </a:lnTo>
                  <a:lnTo>
                    <a:pt x="578" y="239"/>
                  </a:lnTo>
                  <a:lnTo>
                    <a:pt x="577" y="240"/>
                  </a:lnTo>
                  <a:lnTo>
                    <a:pt x="578" y="240"/>
                  </a:lnTo>
                  <a:lnTo>
                    <a:pt x="577" y="240"/>
                  </a:lnTo>
                  <a:lnTo>
                    <a:pt x="576" y="240"/>
                  </a:lnTo>
                  <a:lnTo>
                    <a:pt x="575" y="240"/>
                  </a:lnTo>
                  <a:lnTo>
                    <a:pt x="575" y="241"/>
                  </a:lnTo>
                  <a:lnTo>
                    <a:pt x="573" y="241"/>
                  </a:lnTo>
                  <a:lnTo>
                    <a:pt x="572" y="241"/>
                  </a:lnTo>
                  <a:lnTo>
                    <a:pt x="573" y="241"/>
                  </a:lnTo>
                  <a:lnTo>
                    <a:pt x="575" y="241"/>
                  </a:lnTo>
                  <a:lnTo>
                    <a:pt x="576" y="241"/>
                  </a:lnTo>
                  <a:lnTo>
                    <a:pt x="577" y="241"/>
                  </a:lnTo>
                  <a:lnTo>
                    <a:pt x="577" y="240"/>
                  </a:lnTo>
                  <a:lnTo>
                    <a:pt x="578" y="240"/>
                  </a:lnTo>
                  <a:lnTo>
                    <a:pt x="579" y="240"/>
                  </a:lnTo>
                  <a:lnTo>
                    <a:pt x="580" y="240"/>
                  </a:lnTo>
                  <a:lnTo>
                    <a:pt x="580" y="239"/>
                  </a:lnTo>
                  <a:lnTo>
                    <a:pt x="582" y="239"/>
                  </a:lnTo>
                  <a:lnTo>
                    <a:pt x="583" y="239"/>
                  </a:lnTo>
                  <a:lnTo>
                    <a:pt x="584" y="240"/>
                  </a:lnTo>
                  <a:lnTo>
                    <a:pt x="583" y="240"/>
                  </a:lnTo>
                  <a:lnTo>
                    <a:pt x="583" y="241"/>
                  </a:lnTo>
                  <a:lnTo>
                    <a:pt x="584" y="241"/>
                  </a:lnTo>
                  <a:lnTo>
                    <a:pt x="585" y="241"/>
                  </a:lnTo>
                  <a:lnTo>
                    <a:pt x="585" y="242"/>
                  </a:lnTo>
                  <a:lnTo>
                    <a:pt x="584" y="242"/>
                  </a:lnTo>
                  <a:lnTo>
                    <a:pt x="585" y="242"/>
                  </a:lnTo>
                  <a:lnTo>
                    <a:pt x="587" y="242"/>
                  </a:lnTo>
                  <a:lnTo>
                    <a:pt x="589" y="242"/>
                  </a:lnTo>
                  <a:lnTo>
                    <a:pt x="590" y="244"/>
                  </a:lnTo>
                  <a:lnTo>
                    <a:pt x="589" y="244"/>
                  </a:lnTo>
                  <a:lnTo>
                    <a:pt x="590" y="244"/>
                  </a:lnTo>
                  <a:lnTo>
                    <a:pt x="591" y="244"/>
                  </a:lnTo>
                  <a:lnTo>
                    <a:pt x="591" y="245"/>
                  </a:lnTo>
                  <a:lnTo>
                    <a:pt x="590" y="245"/>
                  </a:lnTo>
                  <a:lnTo>
                    <a:pt x="590" y="246"/>
                  </a:lnTo>
                  <a:lnTo>
                    <a:pt x="589" y="246"/>
                  </a:lnTo>
                  <a:lnTo>
                    <a:pt x="589" y="247"/>
                  </a:lnTo>
                  <a:lnTo>
                    <a:pt x="589" y="248"/>
                  </a:lnTo>
                  <a:lnTo>
                    <a:pt x="587" y="248"/>
                  </a:lnTo>
                  <a:lnTo>
                    <a:pt x="587" y="249"/>
                  </a:lnTo>
                  <a:lnTo>
                    <a:pt x="586" y="249"/>
                  </a:lnTo>
                  <a:lnTo>
                    <a:pt x="585" y="249"/>
                  </a:lnTo>
                  <a:lnTo>
                    <a:pt x="583" y="249"/>
                  </a:lnTo>
                  <a:lnTo>
                    <a:pt x="582" y="251"/>
                  </a:lnTo>
                  <a:lnTo>
                    <a:pt x="580" y="251"/>
                  </a:lnTo>
                  <a:lnTo>
                    <a:pt x="579" y="252"/>
                  </a:lnTo>
                  <a:lnTo>
                    <a:pt x="578" y="252"/>
                  </a:lnTo>
                  <a:lnTo>
                    <a:pt x="577" y="252"/>
                  </a:lnTo>
                  <a:lnTo>
                    <a:pt x="578" y="252"/>
                  </a:lnTo>
                  <a:lnTo>
                    <a:pt x="577" y="252"/>
                  </a:lnTo>
                  <a:lnTo>
                    <a:pt x="575" y="252"/>
                  </a:lnTo>
                  <a:lnTo>
                    <a:pt x="573" y="252"/>
                  </a:lnTo>
                  <a:lnTo>
                    <a:pt x="572" y="252"/>
                  </a:lnTo>
                  <a:lnTo>
                    <a:pt x="571" y="251"/>
                  </a:lnTo>
                  <a:lnTo>
                    <a:pt x="570" y="251"/>
                  </a:lnTo>
                  <a:lnTo>
                    <a:pt x="570" y="252"/>
                  </a:lnTo>
                  <a:lnTo>
                    <a:pt x="569" y="252"/>
                  </a:lnTo>
                  <a:lnTo>
                    <a:pt x="568" y="252"/>
                  </a:lnTo>
                  <a:lnTo>
                    <a:pt x="567" y="252"/>
                  </a:lnTo>
                  <a:lnTo>
                    <a:pt x="567" y="253"/>
                  </a:lnTo>
                  <a:lnTo>
                    <a:pt x="568" y="253"/>
                  </a:lnTo>
                  <a:lnTo>
                    <a:pt x="568" y="254"/>
                  </a:lnTo>
                  <a:lnTo>
                    <a:pt x="568" y="253"/>
                  </a:lnTo>
                  <a:lnTo>
                    <a:pt x="567" y="253"/>
                  </a:lnTo>
                  <a:lnTo>
                    <a:pt x="567" y="254"/>
                  </a:lnTo>
                  <a:lnTo>
                    <a:pt x="568" y="254"/>
                  </a:lnTo>
                  <a:lnTo>
                    <a:pt x="570" y="254"/>
                  </a:lnTo>
                  <a:lnTo>
                    <a:pt x="570" y="255"/>
                  </a:lnTo>
                  <a:lnTo>
                    <a:pt x="569" y="255"/>
                  </a:lnTo>
                  <a:lnTo>
                    <a:pt x="568" y="255"/>
                  </a:lnTo>
                  <a:lnTo>
                    <a:pt x="567" y="255"/>
                  </a:lnTo>
                  <a:lnTo>
                    <a:pt x="568" y="255"/>
                  </a:lnTo>
                  <a:lnTo>
                    <a:pt x="568" y="254"/>
                  </a:lnTo>
                  <a:lnTo>
                    <a:pt x="567" y="255"/>
                  </a:lnTo>
                  <a:lnTo>
                    <a:pt x="565" y="255"/>
                  </a:lnTo>
                  <a:lnTo>
                    <a:pt x="564" y="255"/>
                  </a:lnTo>
                  <a:lnTo>
                    <a:pt x="563" y="255"/>
                  </a:lnTo>
                  <a:lnTo>
                    <a:pt x="564" y="255"/>
                  </a:lnTo>
                  <a:lnTo>
                    <a:pt x="563" y="255"/>
                  </a:lnTo>
                  <a:lnTo>
                    <a:pt x="563" y="254"/>
                  </a:lnTo>
                  <a:lnTo>
                    <a:pt x="562" y="254"/>
                  </a:lnTo>
                  <a:lnTo>
                    <a:pt x="562" y="255"/>
                  </a:lnTo>
                  <a:lnTo>
                    <a:pt x="563" y="255"/>
                  </a:lnTo>
                  <a:lnTo>
                    <a:pt x="562" y="255"/>
                  </a:lnTo>
                  <a:lnTo>
                    <a:pt x="563" y="255"/>
                  </a:lnTo>
                  <a:lnTo>
                    <a:pt x="562" y="255"/>
                  </a:lnTo>
                  <a:lnTo>
                    <a:pt x="562" y="256"/>
                  </a:lnTo>
                  <a:lnTo>
                    <a:pt x="563" y="256"/>
                  </a:lnTo>
                  <a:lnTo>
                    <a:pt x="562" y="256"/>
                  </a:lnTo>
                  <a:lnTo>
                    <a:pt x="561" y="256"/>
                  </a:lnTo>
                  <a:lnTo>
                    <a:pt x="560" y="256"/>
                  </a:lnTo>
                  <a:lnTo>
                    <a:pt x="560" y="258"/>
                  </a:lnTo>
                  <a:lnTo>
                    <a:pt x="558" y="258"/>
                  </a:lnTo>
                  <a:lnTo>
                    <a:pt x="558" y="259"/>
                  </a:lnTo>
                  <a:lnTo>
                    <a:pt x="557" y="259"/>
                  </a:lnTo>
                  <a:lnTo>
                    <a:pt x="558" y="259"/>
                  </a:lnTo>
                  <a:lnTo>
                    <a:pt x="560" y="259"/>
                  </a:lnTo>
                  <a:lnTo>
                    <a:pt x="560" y="260"/>
                  </a:lnTo>
                  <a:lnTo>
                    <a:pt x="558" y="260"/>
                  </a:lnTo>
                  <a:lnTo>
                    <a:pt x="560" y="260"/>
                  </a:lnTo>
                  <a:lnTo>
                    <a:pt x="558" y="260"/>
                  </a:lnTo>
                  <a:lnTo>
                    <a:pt x="558" y="261"/>
                  </a:lnTo>
                  <a:lnTo>
                    <a:pt x="560" y="261"/>
                  </a:lnTo>
                  <a:lnTo>
                    <a:pt x="558" y="261"/>
                  </a:lnTo>
                  <a:lnTo>
                    <a:pt x="558" y="260"/>
                  </a:lnTo>
                  <a:lnTo>
                    <a:pt x="558" y="259"/>
                  </a:lnTo>
                  <a:lnTo>
                    <a:pt x="557" y="259"/>
                  </a:lnTo>
                  <a:lnTo>
                    <a:pt x="556" y="259"/>
                  </a:lnTo>
                  <a:lnTo>
                    <a:pt x="554" y="259"/>
                  </a:lnTo>
                  <a:lnTo>
                    <a:pt x="553" y="258"/>
                  </a:lnTo>
                  <a:lnTo>
                    <a:pt x="554" y="259"/>
                  </a:lnTo>
                  <a:lnTo>
                    <a:pt x="555" y="259"/>
                  </a:lnTo>
                  <a:lnTo>
                    <a:pt x="556" y="259"/>
                  </a:lnTo>
                  <a:lnTo>
                    <a:pt x="556" y="260"/>
                  </a:lnTo>
                  <a:lnTo>
                    <a:pt x="557" y="260"/>
                  </a:lnTo>
                  <a:lnTo>
                    <a:pt x="556" y="260"/>
                  </a:lnTo>
                  <a:lnTo>
                    <a:pt x="556" y="261"/>
                  </a:lnTo>
                  <a:lnTo>
                    <a:pt x="556" y="260"/>
                  </a:lnTo>
                  <a:lnTo>
                    <a:pt x="555" y="260"/>
                  </a:lnTo>
                  <a:lnTo>
                    <a:pt x="555" y="261"/>
                  </a:lnTo>
                  <a:lnTo>
                    <a:pt x="555" y="260"/>
                  </a:lnTo>
                  <a:lnTo>
                    <a:pt x="554" y="260"/>
                  </a:lnTo>
                  <a:lnTo>
                    <a:pt x="554" y="261"/>
                  </a:lnTo>
                  <a:lnTo>
                    <a:pt x="555" y="261"/>
                  </a:lnTo>
                  <a:lnTo>
                    <a:pt x="554" y="261"/>
                  </a:lnTo>
                  <a:lnTo>
                    <a:pt x="553" y="261"/>
                  </a:lnTo>
                  <a:lnTo>
                    <a:pt x="554" y="261"/>
                  </a:lnTo>
                  <a:lnTo>
                    <a:pt x="554" y="262"/>
                  </a:lnTo>
                  <a:lnTo>
                    <a:pt x="553" y="262"/>
                  </a:lnTo>
                  <a:lnTo>
                    <a:pt x="551" y="262"/>
                  </a:lnTo>
                  <a:lnTo>
                    <a:pt x="553" y="262"/>
                  </a:lnTo>
                  <a:lnTo>
                    <a:pt x="551" y="262"/>
                  </a:lnTo>
                  <a:lnTo>
                    <a:pt x="550" y="263"/>
                  </a:lnTo>
                  <a:lnTo>
                    <a:pt x="550" y="262"/>
                  </a:lnTo>
                  <a:lnTo>
                    <a:pt x="549" y="262"/>
                  </a:lnTo>
                  <a:lnTo>
                    <a:pt x="549" y="263"/>
                  </a:lnTo>
                  <a:lnTo>
                    <a:pt x="548" y="263"/>
                  </a:lnTo>
                  <a:lnTo>
                    <a:pt x="549" y="263"/>
                  </a:lnTo>
                  <a:lnTo>
                    <a:pt x="549" y="265"/>
                  </a:lnTo>
                  <a:lnTo>
                    <a:pt x="548" y="263"/>
                  </a:lnTo>
                  <a:lnTo>
                    <a:pt x="548" y="265"/>
                  </a:lnTo>
                  <a:lnTo>
                    <a:pt x="546" y="265"/>
                  </a:lnTo>
                  <a:lnTo>
                    <a:pt x="546" y="263"/>
                  </a:lnTo>
                  <a:lnTo>
                    <a:pt x="544" y="265"/>
                  </a:lnTo>
                  <a:lnTo>
                    <a:pt x="546" y="265"/>
                  </a:lnTo>
                  <a:lnTo>
                    <a:pt x="544" y="265"/>
                  </a:lnTo>
                  <a:lnTo>
                    <a:pt x="544" y="266"/>
                  </a:lnTo>
                  <a:lnTo>
                    <a:pt x="546" y="266"/>
                  </a:lnTo>
                  <a:lnTo>
                    <a:pt x="547" y="266"/>
                  </a:lnTo>
                  <a:lnTo>
                    <a:pt x="546" y="266"/>
                  </a:lnTo>
                  <a:lnTo>
                    <a:pt x="546" y="267"/>
                  </a:lnTo>
                  <a:lnTo>
                    <a:pt x="547" y="267"/>
                  </a:lnTo>
                  <a:lnTo>
                    <a:pt x="547" y="266"/>
                  </a:lnTo>
                  <a:lnTo>
                    <a:pt x="547" y="267"/>
                  </a:lnTo>
                  <a:lnTo>
                    <a:pt x="546" y="267"/>
                  </a:lnTo>
                  <a:lnTo>
                    <a:pt x="544" y="267"/>
                  </a:lnTo>
                  <a:lnTo>
                    <a:pt x="546" y="267"/>
                  </a:lnTo>
                  <a:lnTo>
                    <a:pt x="544" y="268"/>
                  </a:lnTo>
                  <a:lnTo>
                    <a:pt x="543" y="268"/>
                  </a:lnTo>
                  <a:lnTo>
                    <a:pt x="541" y="269"/>
                  </a:lnTo>
                  <a:lnTo>
                    <a:pt x="540" y="269"/>
                  </a:lnTo>
                  <a:lnTo>
                    <a:pt x="539" y="269"/>
                  </a:lnTo>
                  <a:lnTo>
                    <a:pt x="537" y="270"/>
                  </a:lnTo>
                  <a:lnTo>
                    <a:pt x="536" y="270"/>
                  </a:lnTo>
                  <a:lnTo>
                    <a:pt x="536" y="272"/>
                  </a:lnTo>
                  <a:lnTo>
                    <a:pt x="535" y="272"/>
                  </a:lnTo>
                  <a:lnTo>
                    <a:pt x="536" y="272"/>
                  </a:lnTo>
                  <a:lnTo>
                    <a:pt x="536" y="273"/>
                  </a:lnTo>
                  <a:lnTo>
                    <a:pt x="535" y="273"/>
                  </a:lnTo>
                  <a:lnTo>
                    <a:pt x="534" y="273"/>
                  </a:lnTo>
                  <a:lnTo>
                    <a:pt x="533" y="273"/>
                  </a:lnTo>
                  <a:lnTo>
                    <a:pt x="534" y="274"/>
                  </a:lnTo>
                  <a:lnTo>
                    <a:pt x="533" y="274"/>
                  </a:lnTo>
                  <a:lnTo>
                    <a:pt x="533" y="275"/>
                  </a:lnTo>
                  <a:lnTo>
                    <a:pt x="532" y="275"/>
                  </a:lnTo>
                  <a:lnTo>
                    <a:pt x="533" y="275"/>
                  </a:lnTo>
                  <a:lnTo>
                    <a:pt x="532" y="275"/>
                  </a:lnTo>
                  <a:lnTo>
                    <a:pt x="532" y="276"/>
                  </a:lnTo>
                  <a:lnTo>
                    <a:pt x="533" y="276"/>
                  </a:lnTo>
                  <a:lnTo>
                    <a:pt x="532" y="276"/>
                  </a:lnTo>
                  <a:lnTo>
                    <a:pt x="530" y="276"/>
                  </a:lnTo>
                  <a:lnTo>
                    <a:pt x="530" y="277"/>
                  </a:lnTo>
                  <a:lnTo>
                    <a:pt x="529" y="277"/>
                  </a:lnTo>
                  <a:lnTo>
                    <a:pt x="528" y="279"/>
                  </a:lnTo>
                  <a:lnTo>
                    <a:pt x="527" y="279"/>
                  </a:lnTo>
                  <a:lnTo>
                    <a:pt x="527" y="280"/>
                  </a:lnTo>
                  <a:lnTo>
                    <a:pt x="526" y="280"/>
                  </a:lnTo>
                  <a:lnTo>
                    <a:pt x="525" y="281"/>
                  </a:lnTo>
                  <a:lnTo>
                    <a:pt x="525" y="282"/>
                  </a:lnTo>
                  <a:lnTo>
                    <a:pt x="523" y="282"/>
                  </a:lnTo>
                  <a:lnTo>
                    <a:pt x="522" y="282"/>
                  </a:lnTo>
                  <a:lnTo>
                    <a:pt x="522" y="283"/>
                  </a:lnTo>
                  <a:lnTo>
                    <a:pt x="521" y="283"/>
                  </a:lnTo>
                  <a:lnTo>
                    <a:pt x="521" y="284"/>
                  </a:lnTo>
                  <a:lnTo>
                    <a:pt x="520" y="284"/>
                  </a:lnTo>
                  <a:lnTo>
                    <a:pt x="519" y="284"/>
                  </a:lnTo>
                  <a:lnTo>
                    <a:pt x="518" y="284"/>
                  </a:lnTo>
                  <a:lnTo>
                    <a:pt x="519" y="286"/>
                  </a:lnTo>
                  <a:lnTo>
                    <a:pt x="519" y="287"/>
                  </a:lnTo>
                  <a:lnTo>
                    <a:pt x="518" y="287"/>
                  </a:lnTo>
                  <a:lnTo>
                    <a:pt x="516" y="288"/>
                  </a:lnTo>
                  <a:lnTo>
                    <a:pt x="515" y="288"/>
                  </a:lnTo>
                  <a:lnTo>
                    <a:pt x="516" y="289"/>
                  </a:lnTo>
                  <a:lnTo>
                    <a:pt x="515" y="289"/>
                  </a:lnTo>
                  <a:lnTo>
                    <a:pt x="515" y="290"/>
                  </a:lnTo>
                  <a:lnTo>
                    <a:pt x="514" y="290"/>
                  </a:lnTo>
                  <a:lnTo>
                    <a:pt x="514" y="291"/>
                  </a:lnTo>
                  <a:lnTo>
                    <a:pt x="513" y="291"/>
                  </a:lnTo>
                  <a:lnTo>
                    <a:pt x="512" y="293"/>
                  </a:lnTo>
                  <a:lnTo>
                    <a:pt x="512" y="294"/>
                  </a:lnTo>
                  <a:lnTo>
                    <a:pt x="511" y="294"/>
                  </a:lnTo>
                  <a:lnTo>
                    <a:pt x="511" y="295"/>
                  </a:lnTo>
                  <a:lnTo>
                    <a:pt x="509" y="296"/>
                  </a:lnTo>
                  <a:lnTo>
                    <a:pt x="509" y="297"/>
                  </a:lnTo>
                  <a:lnTo>
                    <a:pt x="508" y="297"/>
                  </a:lnTo>
                  <a:lnTo>
                    <a:pt x="508" y="298"/>
                  </a:lnTo>
                  <a:lnTo>
                    <a:pt x="507" y="298"/>
                  </a:lnTo>
                  <a:lnTo>
                    <a:pt x="507" y="300"/>
                  </a:lnTo>
                  <a:lnTo>
                    <a:pt x="508" y="300"/>
                  </a:lnTo>
                  <a:lnTo>
                    <a:pt x="507" y="300"/>
                  </a:lnTo>
                  <a:lnTo>
                    <a:pt x="507" y="301"/>
                  </a:lnTo>
                  <a:lnTo>
                    <a:pt x="507" y="302"/>
                  </a:lnTo>
                  <a:lnTo>
                    <a:pt x="506" y="302"/>
                  </a:lnTo>
                  <a:lnTo>
                    <a:pt x="507" y="302"/>
                  </a:lnTo>
                  <a:lnTo>
                    <a:pt x="506" y="302"/>
                  </a:lnTo>
                  <a:lnTo>
                    <a:pt x="505" y="303"/>
                  </a:lnTo>
                  <a:lnTo>
                    <a:pt x="505" y="304"/>
                  </a:lnTo>
                  <a:lnTo>
                    <a:pt x="504" y="304"/>
                  </a:lnTo>
                  <a:lnTo>
                    <a:pt x="504" y="305"/>
                  </a:lnTo>
                  <a:lnTo>
                    <a:pt x="503" y="305"/>
                  </a:lnTo>
                  <a:lnTo>
                    <a:pt x="501" y="305"/>
                  </a:lnTo>
                  <a:lnTo>
                    <a:pt x="500" y="305"/>
                  </a:lnTo>
                  <a:lnTo>
                    <a:pt x="501" y="305"/>
                  </a:lnTo>
                  <a:lnTo>
                    <a:pt x="503" y="305"/>
                  </a:lnTo>
                  <a:lnTo>
                    <a:pt x="503" y="307"/>
                  </a:lnTo>
                  <a:lnTo>
                    <a:pt x="504" y="307"/>
                  </a:lnTo>
                  <a:lnTo>
                    <a:pt x="504" y="308"/>
                  </a:lnTo>
                  <a:lnTo>
                    <a:pt x="503" y="308"/>
                  </a:lnTo>
                  <a:lnTo>
                    <a:pt x="501" y="309"/>
                  </a:lnTo>
                  <a:lnTo>
                    <a:pt x="503" y="309"/>
                  </a:lnTo>
                  <a:lnTo>
                    <a:pt x="503" y="308"/>
                  </a:lnTo>
                  <a:lnTo>
                    <a:pt x="504" y="309"/>
                  </a:lnTo>
                  <a:lnTo>
                    <a:pt x="504" y="310"/>
                  </a:lnTo>
                  <a:lnTo>
                    <a:pt x="504" y="311"/>
                  </a:lnTo>
                  <a:lnTo>
                    <a:pt x="505" y="311"/>
                  </a:lnTo>
                  <a:lnTo>
                    <a:pt x="506" y="310"/>
                  </a:lnTo>
                  <a:lnTo>
                    <a:pt x="507" y="309"/>
                  </a:lnTo>
                  <a:lnTo>
                    <a:pt x="507" y="310"/>
                  </a:lnTo>
                  <a:lnTo>
                    <a:pt x="506" y="310"/>
                  </a:lnTo>
                  <a:lnTo>
                    <a:pt x="506" y="311"/>
                  </a:lnTo>
                  <a:lnTo>
                    <a:pt x="505" y="311"/>
                  </a:lnTo>
                  <a:lnTo>
                    <a:pt x="505" y="312"/>
                  </a:lnTo>
                  <a:lnTo>
                    <a:pt x="504" y="312"/>
                  </a:lnTo>
                  <a:lnTo>
                    <a:pt x="504" y="314"/>
                  </a:lnTo>
                  <a:lnTo>
                    <a:pt x="503" y="315"/>
                  </a:lnTo>
                  <a:lnTo>
                    <a:pt x="501" y="316"/>
                  </a:lnTo>
                  <a:lnTo>
                    <a:pt x="501" y="317"/>
                  </a:lnTo>
                  <a:lnTo>
                    <a:pt x="500" y="317"/>
                  </a:lnTo>
                  <a:lnTo>
                    <a:pt x="500" y="318"/>
                  </a:lnTo>
                  <a:lnTo>
                    <a:pt x="500" y="317"/>
                  </a:lnTo>
                  <a:lnTo>
                    <a:pt x="501" y="317"/>
                  </a:lnTo>
                  <a:lnTo>
                    <a:pt x="501" y="316"/>
                  </a:lnTo>
                  <a:lnTo>
                    <a:pt x="503" y="316"/>
                  </a:lnTo>
                  <a:lnTo>
                    <a:pt x="503" y="315"/>
                  </a:lnTo>
                  <a:lnTo>
                    <a:pt x="504" y="315"/>
                  </a:lnTo>
                  <a:lnTo>
                    <a:pt x="504" y="314"/>
                  </a:lnTo>
                  <a:lnTo>
                    <a:pt x="505" y="314"/>
                  </a:lnTo>
                  <a:lnTo>
                    <a:pt x="505" y="312"/>
                  </a:lnTo>
                  <a:lnTo>
                    <a:pt x="506" y="311"/>
                  </a:lnTo>
                  <a:lnTo>
                    <a:pt x="507" y="311"/>
                  </a:lnTo>
                  <a:lnTo>
                    <a:pt x="507" y="310"/>
                  </a:lnTo>
                  <a:lnTo>
                    <a:pt x="508" y="310"/>
                  </a:lnTo>
                  <a:lnTo>
                    <a:pt x="511" y="310"/>
                  </a:lnTo>
                  <a:lnTo>
                    <a:pt x="512" y="310"/>
                  </a:lnTo>
                  <a:lnTo>
                    <a:pt x="513" y="310"/>
                  </a:lnTo>
                  <a:lnTo>
                    <a:pt x="514" y="310"/>
                  </a:lnTo>
                  <a:lnTo>
                    <a:pt x="515" y="310"/>
                  </a:lnTo>
                  <a:lnTo>
                    <a:pt x="514" y="310"/>
                  </a:lnTo>
                  <a:lnTo>
                    <a:pt x="514" y="311"/>
                  </a:lnTo>
                  <a:lnTo>
                    <a:pt x="515" y="311"/>
                  </a:lnTo>
                  <a:lnTo>
                    <a:pt x="516" y="310"/>
                  </a:lnTo>
                  <a:lnTo>
                    <a:pt x="518" y="310"/>
                  </a:lnTo>
                  <a:lnTo>
                    <a:pt x="519" y="310"/>
                  </a:lnTo>
                  <a:lnTo>
                    <a:pt x="518" y="310"/>
                  </a:lnTo>
                  <a:lnTo>
                    <a:pt x="518" y="311"/>
                  </a:lnTo>
                  <a:lnTo>
                    <a:pt x="518" y="312"/>
                  </a:lnTo>
                  <a:lnTo>
                    <a:pt x="516" y="312"/>
                  </a:lnTo>
                  <a:lnTo>
                    <a:pt x="516" y="314"/>
                  </a:lnTo>
                  <a:lnTo>
                    <a:pt x="516" y="315"/>
                  </a:lnTo>
                  <a:lnTo>
                    <a:pt x="516" y="316"/>
                  </a:lnTo>
                  <a:lnTo>
                    <a:pt x="516" y="317"/>
                  </a:lnTo>
                  <a:lnTo>
                    <a:pt x="515" y="317"/>
                  </a:lnTo>
                  <a:lnTo>
                    <a:pt x="516" y="318"/>
                  </a:lnTo>
                  <a:lnTo>
                    <a:pt x="515" y="318"/>
                  </a:lnTo>
                  <a:lnTo>
                    <a:pt x="516" y="318"/>
                  </a:lnTo>
                  <a:lnTo>
                    <a:pt x="516" y="319"/>
                  </a:lnTo>
                  <a:lnTo>
                    <a:pt x="515" y="319"/>
                  </a:lnTo>
                  <a:lnTo>
                    <a:pt x="515" y="321"/>
                  </a:lnTo>
                  <a:lnTo>
                    <a:pt x="515" y="322"/>
                  </a:lnTo>
                  <a:lnTo>
                    <a:pt x="515" y="323"/>
                  </a:lnTo>
                  <a:lnTo>
                    <a:pt x="514" y="323"/>
                  </a:lnTo>
                  <a:lnTo>
                    <a:pt x="514" y="324"/>
                  </a:lnTo>
                  <a:lnTo>
                    <a:pt x="514" y="325"/>
                  </a:lnTo>
                  <a:lnTo>
                    <a:pt x="514" y="326"/>
                  </a:lnTo>
                  <a:lnTo>
                    <a:pt x="514" y="328"/>
                  </a:lnTo>
                  <a:lnTo>
                    <a:pt x="514" y="329"/>
                  </a:lnTo>
                  <a:lnTo>
                    <a:pt x="514" y="330"/>
                  </a:lnTo>
                  <a:lnTo>
                    <a:pt x="513" y="330"/>
                  </a:lnTo>
                  <a:lnTo>
                    <a:pt x="513" y="331"/>
                  </a:lnTo>
                  <a:lnTo>
                    <a:pt x="513" y="332"/>
                  </a:lnTo>
                  <a:lnTo>
                    <a:pt x="512" y="332"/>
                  </a:lnTo>
                  <a:lnTo>
                    <a:pt x="509" y="335"/>
                  </a:lnTo>
                  <a:lnTo>
                    <a:pt x="508" y="336"/>
                  </a:lnTo>
                  <a:lnTo>
                    <a:pt x="507" y="336"/>
                  </a:lnTo>
                  <a:lnTo>
                    <a:pt x="507" y="337"/>
                  </a:lnTo>
                  <a:lnTo>
                    <a:pt x="506" y="337"/>
                  </a:lnTo>
                  <a:lnTo>
                    <a:pt x="505" y="337"/>
                  </a:lnTo>
                  <a:lnTo>
                    <a:pt x="504" y="337"/>
                  </a:lnTo>
                  <a:lnTo>
                    <a:pt x="506" y="337"/>
                  </a:lnTo>
                  <a:lnTo>
                    <a:pt x="507" y="337"/>
                  </a:lnTo>
                  <a:lnTo>
                    <a:pt x="509" y="336"/>
                  </a:lnTo>
                  <a:lnTo>
                    <a:pt x="512" y="335"/>
                  </a:lnTo>
                  <a:lnTo>
                    <a:pt x="513" y="335"/>
                  </a:lnTo>
                  <a:lnTo>
                    <a:pt x="513" y="336"/>
                  </a:lnTo>
                  <a:lnTo>
                    <a:pt x="512" y="336"/>
                  </a:lnTo>
                  <a:lnTo>
                    <a:pt x="511" y="336"/>
                  </a:lnTo>
                  <a:lnTo>
                    <a:pt x="511" y="337"/>
                  </a:lnTo>
                  <a:lnTo>
                    <a:pt x="509" y="337"/>
                  </a:lnTo>
                  <a:lnTo>
                    <a:pt x="511" y="337"/>
                  </a:lnTo>
                  <a:lnTo>
                    <a:pt x="513" y="336"/>
                  </a:lnTo>
                  <a:lnTo>
                    <a:pt x="514" y="336"/>
                  </a:lnTo>
                  <a:lnTo>
                    <a:pt x="516" y="335"/>
                  </a:lnTo>
                  <a:lnTo>
                    <a:pt x="519" y="335"/>
                  </a:lnTo>
                  <a:lnTo>
                    <a:pt x="522" y="333"/>
                  </a:lnTo>
                  <a:lnTo>
                    <a:pt x="526" y="332"/>
                  </a:lnTo>
                  <a:lnTo>
                    <a:pt x="528" y="332"/>
                  </a:lnTo>
                  <a:lnTo>
                    <a:pt x="530" y="332"/>
                  </a:lnTo>
                  <a:lnTo>
                    <a:pt x="532" y="332"/>
                  </a:lnTo>
                  <a:lnTo>
                    <a:pt x="533" y="332"/>
                  </a:lnTo>
                  <a:lnTo>
                    <a:pt x="534" y="333"/>
                  </a:lnTo>
                  <a:lnTo>
                    <a:pt x="535" y="333"/>
                  </a:lnTo>
                  <a:lnTo>
                    <a:pt x="536" y="335"/>
                  </a:lnTo>
                  <a:lnTo>
                    <a:pt x="537" y="335"/>
                  </a:lnTo>
                  <a:lnTo>
                    <a:pt x="537" y="336"/>
                  </a:lnTo>
                  <a:lnTo>
                    <a:pt x="539" y="336"/>
                  </a:lnTo>
                  <a:lnTo>
                    <a:pt x="540" y="336"/>
                  </a:lnTo>
                  <a:lnTo>
                    <a:pt x="540" y="337"/>
                  </a:lnTo>
                  <a:lnTo>
                    <a:pt x="542" y="337"/>
                  </a:lnTo>
                  <a:lnTo>
                    <a:pt x="543" y="337"/>
                  </a:lnTo>
                  <a:lnTo>
                    <a:pt x="544" y="337"/>
                  </a:lnTo>
                  <a:lnTo>
                    <a:pt x="546" y="338"/>
                  </a:lnTo>
                  <a:lnTo>
                    <a:pt x="547" y="338"/>
                  </a:lnTo>
                  <a:lnTo>
                    <a:pt x="548" y="338"/>
                  </a:lnTo>
                  <a:lnTo>
                    <a:pt x="549" y="338"/>
                  </a:lnTo>
                  <a:lnTo>
                    <a:pt x="550" y="338"/>
                  </a:lnTo>
                  <a:lnTo>
                    <a:pt x="549" y="339"/>
                  </a:lnTo>
                  <a:lnTo>
                    <a:pt x="550" y="339"/>
                  </a:lnTo>
                  <a:lnTo>
                    <a:pt x="550" y="340"/>
                  </a:lnTo>
                  <a:lnTo>
                    <a:pt x="551" y="340"/>
                  </a:lnTo>
                  <a:lnTo>
                    <a:pt x="551" y="342"/>
                  </a:lnTo>
                  <a:lnTo>
                    <a:pt x="553" y="342"/>
                  </a:lnTo>
                  <a:lnTo>
                    <a:pt x="553" y="343"/>
                  </a:lnTo>
                  <a:lnTo>
                    <a:pt x="555" y="344"/>
                  </a:lnTo>
                  <a:lnTo>
                    <a:pt x="556" y="344"/>
                  </a:lnTo>
                  <a:lnTo>
                    <a:pt x="556" y="345"/>
                  </a:lnTo>
                  <a:lnTo>
                    <a:pt x="556" y="346"/>
                  </a:lnTo>
                  <a:lnTo>
                    <a:pt x="557" y="347"/>
                  </a:lnTo>
                  <a:lnTo>
                    <a:pt x="557" y="349"/>
                  </a:lnTo>
                  <a:lnTo>
                    <a:pt x="557" y="350"/>
                  </a:lnTo>
                  <a:lnTo>
                    <a:pt x="556" y="351"/>
                  </a:lnTo>
                  <a:lnTo>
                    <a:pt x="557" y="351"/>
                  </a:lnTo>
                  <a:lnTo>
                    <a:pt x="557" y="350"/>
                  </a:lnTo>
                  <a:lnTo>
                    <a:pt x="558" y="350"/>
                  </a:lnTo>
                  <a:lnTo>
                    <a:pt x="558" y="351"/>
                  </a:lnTo>
                  <a:lnTo>
                    <a:pt x="560" y="351"/>
                  </a:lnTo>
                  <a:lnTo>
                    <a:pt x="558" y="352"/>
                  </a:lnTo>
                  <a:lnTo>
                    <a:pt x="560" y="351"/>
                  </a:lnTo>
                  <a:lnTo>
                    <a:pt x="562" y="352"/>
                  </a:lnTo>
                  <a:lnTo>
                    <a:pt x="563" y="352"/>
                  </a:lnTo>
                  <a:lnTo>
                    <a:pt x="564" y="352"/>
                  </a:lnTo>
                  <a:lnTo>
                    <a:pt x="565" y="352"/>
                  </a:lnTo>
                  <a:lnTo>
                    <a:pt x="565" y="353"/>
                  </a:lnTo>
                  <a:lnTo>
                    <a:pt x="567" y="353"/>
                  </a:lnTo>
                  <a:lnTo>
                    <a:pt x="569" y="354"/>
                  </a:lnTo>
                  <a:lnTo>
                    <a:pt x="572" y="356"/>
                  </a:lnTo>
                  <a:lnTo>
                    <a:pt x="573" y="356"/>
                  </a:lnTo>
                  <a:lnTo>
                    <a:pt x="573" y="357"/>
                  </a:lnTo>
                  <a:lnTo>
                    <a:pt x="575" y="357"/>
                  </a:lnTo>
                  <a:lnTo>
                    <a:pt x="576" y="357"/>
                  </a:lnTo>
                  <a:lnTo>
                    <a:pt x="576" y="358"/>
                  </a:lnTo>
                  <a:lnTo>
                    <a:pt x="576" y="359"/>
                  </a:lnTo>
                  <a:lnTo>
                    <a:pt x="577" y="359"/>
                  </a:lnTo>
                  <a:lnTo>
                    <a:pt x="578" y="360"/>
                  </a:lnTo>
                  <a:lnTo>
                    <a:pt x="579" y="360"/>
                  </a:lnTo>
                  <a:lnTo>
                    <a:pt x="579" y="361"/>
                  </a:lnTo>
                  <a:lnTo>
                    <a:pt x="578" y="361"/>
                  </a:lnTo>
                  <a:lnTo>
                    <a:pt x="578" y="363"/>
                  </a:lnTo>
                  <a:lnTo>
                    <a:pt x="577" y="363"/>
                  </a:lnTo>
                  <a:lnTo>
                    <a:pt x="576" y="364"/>
                  </a:lnTo>
                  <a:lnTo>
                    <a:pt x="575" y="364"/>
                  </a:lnTo>
                  <a:lnTo>
                    <a:pt x="575" y="365"/>
                  </a:lnTo>
                  <a:lnTo>
                    <a:pt x="573" y="365"/>
                  </a:lnTo>
                  <a:lnTo>
                    <a:pt x="573" y="366"/>
                  </a:lnTo>
                  <a:lnTo>
                    <a:pt x="573" y="365"/>
                  </a:lnTo>
                  <a:lnTo>
                    <a:pt x="575" y="365"/>
                  </a:lnTo>
                  <a:lnTo>
                    <a:pt x="576" y="364"/>
                  </a:lnTo>
                  <a:lnTo>
                    <a:pt x="578" y="363"/>
                  </a:lnTo>
                  <a:lnTo>
                    <a:pt x="578" y="361"/>
                  </a:lnTo>
                  <a:lnTo>
                    <a:pt x="579" y="361"/>
                  </a:lnTo>
                  <a:lnTo>
                    <a:pt x="580" y="361"/>
                  </a:lnTo>
                  <a:lnTo>
                    <a:pt x="582" y="361"/>
                  </a:lnTo>
                  <a:lnTo>
                    <a:pt x="585" y="363"/>
                  </a:lnTo>
                  <a:lnTo>
                    <a:pt x="586" y="361"/>
                  </a:lnTo>
                  <a:lnTo>
                    <a:pt x="587" y="361"/>
                  </a:lnTo>
                  <a:lnTo>
                    <a:pt x="590" y="361"/>
                  </a:lnTo>
                  <a:lnTo>
                    <a:pt x="591" y="361"/>
                  </a:lnTo>
                  <a:lnTo>
                    <a:pt x="593" y="361"/>
                  </a:lnTo>
                  <a:lnTo>
                    <a:pt x="594" y="361"/>
                  </a:lnTo>
                  <a:lnTo>
                    <a:pt x="596" y="361"/>
                  </a:lnTo>
                  <a:lnTo>
                    <a:pt x="596" y="363"/>
                  </a:lnTo>
                  <a:lnTo>
                    <a:pt x="594" y="363"/>
                  </a:lnTo>
                  <a:lnTo>
                    <a:pt x="596" y="363"/>
                  </a:lnTo>
                  <a:lnTo>
                    <a:pt x="597" y="363"/>
                  </a:lnTo>
                  <a:lnTo>
                    <a:pt x="596" y="364"/>
                  </a:lnTo>
                  <a:lnTo>
                    <a:pt x="597" y="364"/>
                  </a:lnTo>
                  <a:lnTo>
                    <a:pt x="597" y="363"/>
                  </a:lnTo>
                  <a:lnTo>
                    <a:pt x="596" y="363"/>
                  </a:lnTo>
                  <a:lnTo>
                    <a:pt x="596" y="361"/>
                  </a:lnTo>
                  <a:lnTo>
                    <a:pt x="597" y="361"/>
                  </a:lnTo>
                  <a:lnTo>
                    <a:pt x="598" y="363"/>
                  </a:lnTo>
                  <a:lnTo>
                    <a:pt x="599" y="363"/>
                  </a:lnTo>
                  <a:lnTo>
                    <a:pt x="600" y="363"/>
                  </a:lnTo>
                  <a:lnTo>
                    <a:pt x="601" y="363"/>
                  </a:lnTo>
                  <a:lnTo>
                    <a:pt x="603" y="363"/>
                  </a:lnTo>
                  <a:lnTo>
                    <a:pt x="604" y="363"/>
                  </a:lnTo>
                  <a:lnTo>
                    <a:pt x="604" y="364"/>
                  </a:lnTo>
                  <a:lnTo>
                    <a:pt x="603" y="364"/>
                  </a:lnTo>
                  <a:lnTo>
                    <a:pt x="604" y="364"/>
                  </a:lnTo>
                  <a:lnTo>
                    <a:pt x="605" y="364"/>
                  </a:lnTo>
                  <a:lnTo>
                    <a:pt x="606" y="364"/>
                  </a:lnTo>
                  <a:lnTo>
                    <a:pt x="607" y="364"/>
                  </a:lnTo>
                  <a:lnTo>
                    <a:pt x="607" y="363"/>
                  </a:lnTo>
                  <a:lnTo>
                    <a:pt x="607" y="364"/>
                  </a:lnTo>
                  <a:lnTo>
                    <a:pt x="608" y="364"/>
                  </a:lnTo>
                  <a:lnTo>
                    <a:pt x="610" y="364"/>
                  </a:lnTo>
                  <a:lnTo>
                    <a:pt x="610" y="365"/>
                  </a:lnTo>
                  <a:lnTo>
                    <a:pt x="610" y="364"/>
                  </a:lnTo>
                  <a:lnTo>
                    <a:pt x="611" y="364"/>
                  </a:lnTo>
                  <a:lnTo>
                    <a:pt x="611" y="365"/>
                  </a:lnTo>
                  <a:lnTo>
                    <a:pt x="610" y="366"/>
                  </a:lnTo>
                  <a:lnTo>
                    <a:pt x="610" y="367"/>
                  </a:lnTo>
                  <a:lnTo>
                    <a:pt x="610" y="368"/>
                  </a:lnTo>
                  <a:lnTo>
                    <a:pt x="608" y="370"/>
                  </a:lnTo>
                  <a:lnTo>
                    <a:pt x="606" y="372"/>
                  </a:lnTo>
                  <a:lnTo>
                    <a:pt x="605" y="373"/>
                  </a:lnTo>
                  <a:lnTo>
                    <a:pt x="604" y="374"/>
                  </a:lnTo>
                  <a:lnTo>
                    <a:pt x="604" y="375"/>
                  </a:lnTo>
                  <a:lnTo>
                    <a:pt x="603" y="375"/>
                  </a:lnTo>
                  <a:lnTo>
                    <a:pt x="603" y="377"/>
                  </a:lnTo>
                  <a:lnTo>
                    <a:pt x="603" y="378"/>
                  </a:lnTo>
                  <a:lnTo>
                    <a:pt x="601" y="378"/>
                  </a:lnTo>
                  <a:lnTo>
                    <a:pt x="603" y="379"/>
                  </a:lnTo>
                  <a:lnTo>
                    <a:pt x="601" y="379"/>
                  </a:lnTo>
                  <a:lnTo>
                    <a:pt x="603" y="379"/>
                  </a:lnTo>
                  <a:lnTo>
                    <a:pt x="603" y="380"/>
                  </a:lnTo>
                  <a:lnTo>
                    <a:pt x="603" y="382"/>
                  </a:lnTo>
                  <a:lnTo>
                    <a:pt x="603" y="384"/>
                  </a:lnTo>
                  <a:lnTo>
                    <a:pt x="601" y="385"/>
                  </a:lnTo>
                  <a:lnTo>
                    <a:pt x="600" y="386"/>
                  </a:lnTo>
                  <a:lnTo>
                    <a:pt x="599" y="387"/>
                  </a:lnTo>
                  <a:lnTo>
                    <a:pt x="600" y="387"/>
                  </a:lnTo>
                  <a:lnTo>
                    <a:pt x="599" y="387"/>
                  </a:lnTo>
                  <a:lnTo>
                    <a:pt x="599" y="388"/>
                  </a:lnTo>
                  <a:lnTo>
                    <a:pt x="599" y="389"/>
                  </a:lnTo>
                  <a:lnTo>
                    <a:pt x="599" y="391"/>
                  </a:lnTo>
                  <a:lnTo>
                    <a:pt x="598" y="392"/>
                  </a:lnTo>
                  <a:lnTo>
                    <a:pt x="597" y="392"/>
                  </a:lnTo>
                  <a:lnTo>
                    <a:pt x="597" y="393"/>
                  </a:lnTo>
                  <a:lnTo>
                    <a:pt x="596" y="394"/>
                  </a:lnTo>
                  <a:lnTo>
                    <a:pt x="594" y="394"/>
                  </a:lnTo>
                  <a:lnTo>
                    <a:pt x="594" y="395"/>
                  </a:lnTo>
                  <a:lnTo>
                    <a:pt x="594" y="396"/>
                  </a:lnTo>
                  <a:lnTo>
                    <a:pt x="593" y="396"/>
                  </a:lnTo>
                  <a:lnTo>
                    <a:pt x="594" y="396"/>
                  </a:lnTo>
                  <a:lnTo>
                    <a:pt x="594" y="398"/>
                  </a:lnTo>
                  <a:lnTo>
                    <a:pt x="596" y="398"/>
                  </a:lnTo>
                  <a:lnTo>
                    <a:pt x="596" y="399"/>
                  </a:lnTo>
                  <a:lnTo>
                    <a:pt x="596" y="400"/>
                  </a:lnTo>
                  <a:lnTo>
                    <a:pt x="596" y="401"/>
                  </a:lnTo>
                  <a:lnTo>
                    <a:pt x="597" y="401"/>
                  </a:lnTo>
                  <a:lnTo>
                    <a:pt x="598" y="403"/>
                  </a:lnTo>
                  <a:lnTo>
                    <a:pt x="599" y="405"/>
                  </a:lnTo>
                  <a:lnTo>
                    <a:pt x="598" y="405"/>
                  </a:lnTo>
                  <a:lnTo>
                    <a:pt x="598" y="406"/>
                  </a:lnTo>
                  <a:lnTo>
                    <a:pt x="598" y="407"/>
                  </a:lnTo>
                  <a:lnTo>
                    <a:pt x="598" y="406"/>
                  </a:lnTo>
                  <a:lnTo>
                    <a:pt x="597" y="406"/>
                  </a:lnTo>
                  <a:lnTo>
                    <a:pt x="596" y="407"/>
                  </a:lnTo>
                  <a:lnTo>
                    <a:pt x="594" y="407"/>
                  </a:lnTo>
                  <a:lnTo>
                    <a:pt x="593" y="407"/>
                  </a:lnTo>
                  <a:lnTo>
                    <a:pt x="594" y="407"/>
                  </a:lnTo>
                  <a:lnTo>
                    <a:pt x="593" y="408"/>
                  </a:lnTo>
                  <a:lnTo>
                    <a:pt x="594" y="408"/>
                  </a:lnTo>
                  <a:lnTo>
                    <a:pt x="594" y="407"/>
                  </a:lnTo>
                  <a:lnTo>
                    <a:pt x="598" y="407"/>
                  </a:lnTo>
                  <a:lnTo>
                    <a:pt x="598" y="408"/>
                  </a:lnTo>
                  <a:lnTo>
                    <a:pt x="598" y="409"/>
                  </a:lnTo>
                  <a:lnTo>
                    <a:pt x="599" y="409"/>
                  </a:lnTo>
                  <a:lnTo>
                    <a:pt x="600" y="410"/>
                  </a:lnTo>
                  <a:lnTo>
                    <a:pt x="601" y="410"/>
                  </a:lnTo>
                  <a:lnTo>
                    <a:pt x="603" y="410"/>
                  </a:lnTo>
                  <a:lnTo>
                    <a:pt x="603" y="412"/>
                  </a:lnTo>
                  <a:lnTo>
                    <a:pt x="603" y="413"/>
                  </a:lnTo>
                  <a:lnTo>
                    <a:pt x="604" y="413"/>
                  </a:lnTo>
                  <a:lnTo>
                    <a:pt x="604" y="414"/>
                  </a:lnTo>
                  <a:lnTo>
                    <a:pt x="604" y="415"/>
                  </a:lnTo>
                  <a:lnTo>
                    <a:pt x="605" y="415"/>
                  </a:lnTo>
                  <a:lnTo>
                    <a:pt x="605" y="416"/>
                  </a:lnTo>
                  <a:lnTo>
                    <a:pt x="605" y="417"/>
                  </a:lnTo>
                  <a:lnTo>
                    <a:pt x="605" y="419"/>
                  </a:lnTo>
                  <a:lnTo>
                    <a:pt x="605" y="420"/>
                  </a:lnTo>
                  <a:lnTo>
                    <a:pt x="604" y="421"/>
                  </a:lnTo>
                  <a:lnTo>
                    <a:pt x="601" y="421"/>
                  </a:lnTo>
                  <a:lnTo>
                    <a:pt x="601" y="422"/>
                  </a:lnTo>
                  <a:lnTo>
                    <a:pt x="600" y="422"/>
                  </a:lnTo>
                  <a:lnTo>
                    <a:pt x="599" y="423"/>
                  </a:lnTo>
                  <a:lnTo>
                    <a:pt x="598" y="423"/>
                  </a:lnTo>
                  <a:lnTo>
                    <a:pt x="598" y="424"/>
                  </a:lnTo>
                  <a:lnTo>
                    <a:pt x="597" y="424"/>
                  </a:lnTo>
                  <a:lnTo>
                    <a:pt x="596" y="426"/>
                  </a:lnTo>
                  <a:lnTo>
                    <a:pt x="594" y="426"/>
                  </a:lnTo>
                  <a:lnTo>
                    <a:pt x="596" y="426"/>
                  </a:lnTo>
                  <a:lnTo>
                    <a:pt x="597" y="424"/>
                  </a:lnTo>
                  <a:lnTo>
                    <a:pt x="598" y="424"/>
                  </a:lnTo>
                  <a:lnTo>
                    <a:pt x="599" y="424"/>
                  </a:lnTo>
                  <a:lnTo>
                    <a:pt x="599" y="423"/>
                  </a:lnTo>
                  <a:lnTo>
                    <a:pt x="600" y="423"/>
                  </a:lnTo>
                  <a:lnTo>
                    <a:pt x="601" y="423"/>
                  </a:lnTo>
                  <a:lnTo>
                    <a:pt x="601" y="422"/>
                  </a:lnTo>
                  <a:lnTo>
                    <a:pt x="603" y="422"/>
                  </a:lnTo>
                  <a:lnTo>
                    <a:pt x="604" y="421"/>
                  </a:lnTo>
                  <a:lnTo>
                    <a:pt x="605" y="421"/>
                  </a:lnTo>
                  <a:lnTo>
                    <a:pt x="606" y="421"/>
                  </a:lnTo>
                  <a:lnTo>
                    <a:pt x="606" y="422"/>
                  </a:lnTo>
                  <a:lnTo>
                    <a:pt x="607" y="422"/>
                  </a:lnTo>
                  <a:lnTo>
                    <a:pt x="608" y="422"/>
                  </a:lnTo>
                  <a:lnTo>
                    <a:pt x="610" y="423"/>
                  </a:lnTo>
                  <a:lnTo>
                    <a:pt x="611" y="424"/>
                  </a:lnTo>
                  <a:lnTo>
                    <a:pt x="611" y="426"/>
                  </a:lnTo>
                  <a:lnTo>
                    <a:pt x="612" y="427"/>
                  </a:lnTo>
                  <a:lnTo>
                    <a:pt x="613" y="428"/>
                  </a:lnTo>
                  <a:lnTo>
                    <a:pt x="613" y="429"/>
                  </a:lnTo>
                  <a:lnTo>
                    <a:pt x="613" y="430"/>
                  </a:lnTo>
                  <a:lnTo>
                    <a:pt x="613" y="429"/>
                  </a:lnTo>
                  <a:lnTo>
                    <a:pt x="613" y="428"/>
                  </a:lnTo>
                  <a:lnTo>
                    <a:pt x="613" y="427"/>
                  </a:lnTo>
                  <a:lnTo>
                    <a:pt x="612" y="427"/>
                  </a:lnTo>
                  <a:lnTo>
                    <a:pt x="611" y="426"/>
                  </a:lnTo>
                  <a:lnTo>
                    <a:pt x="611" y="424"/>
                  </a:lnTo>
                  <a:lnTo>
                    <a:pt x="611" y="423"/>
                  </a:lnTo>
                  <a:lnTo>
                    <a:pt x="612" y="422"/>
                  </a:lnTo>
                  <a:lnTo>
                    <a:pt x="613" y="421"/>
                  </a:lnTo>
                  <a:lnTo>
                    <a:pt x="613" y="420"/>
                  </a:lnTo>
                  <a:lnTo>
                    <a:pt x="614" y="420"/>
                  </a:lnTo>
                  <a:lnTo>
                    <a:pt x="615" y="420"/>
                  </a:lnTo>
                  <a:lnTo>
                    <a:pt x="615" y="419"/>
                  </a:lnTo>
                  <a:lnTo>
                    <a:pt x="617" y="419"/>
                  </a:lnTo>
                  <a:lnTo>
                    <a:pt x="617" y="417"/>
                  </a:lnTo>
                  <a:lnTo>
                    <a:pt x="618" y="417"/>
                  </a:lnTo>
                  <a:lnTo>
                    <a:pt x="619" y="416"/>
                  </a:lnTo>
                  <a:lnTo>
                    <a:pt x="620" y="416"/>
                  </a:lnTo>
                  <a:lnTo>
                    <a:pt x="620" y="417"/>
                  </a:lnTo>
                  <a:lnTo>
                    <a:pt x="619" y="417"/>
                  </a:lnTo>
                  <a:lnTo>
                    <a:pt x="619" y="419"/>
                  </a:lnTo>
                  <a:lnTo>
                    <a:pt x="620" y="419"/>
                  </a:lnTo>
                  <a:lnTo>
                    <a:pt x="621" y="419"/>
                  </a:lnTo>
                  <a:lnTo>
                    <a:pt x="621" y="417"/>
                  </a:lnTo>
                  <a:lnTo>
                    <a:pt x="621" y="419"/>
                  </a:lnTo>
                  <a:lnTo>
                    <a:pt x="622" y="419"/>
                  </a:lnTo>
                  <a:lnTo>
                    <a:pt x="622" y="420"/>
                  </a:lnTo>
                  <a:lnTo>
                    <a:pt x="621" y="420"/>
                  </a:lnTo>
                  <a:lnTo>
                    <a:pt x="621" y="421"/>
                  </a:lnTo>
                  <a:lnTo>
                    <a:pt x="621" y="422"/>
                  </a:lnTo>
                  <a:lnTo>
                    <a:pt x="621" y="423"/>
                  </a:lnTo>
                  <a:lnTo>
                    <a:pt x="621" y="422"/>
                  </a:lnTo>
                  <a:lnTo>
                    <a:pt x="622" y="422"/>
                  </a:lnTo>
                  <a:lnTo>
                    <a:pt x="622" y="421"/>
                  </a:lnTo>
                  <a:lnTo>
                    <a:pt x="624" y="421"/>
                  </a:lnTo>
                  <a:lnTo>
                    <a:pt x="622" y="421"/>
                  </a:lnTo>
                  <a:lnTo>
                    <a:pt x="622" y="420"/>
                  </a:lnTo>
                  <a:lnTo>
                    <a:pt x="624" y="420"/>
                  </a:lnTo>
                  <a:lnTo>
                    <a:pt x="625" y="419"/>
                  </a:lnTo>
                  <a:lnTo>
                    <a:pt x="626" y="419"/>
                  </a:lnTo>
                  <a:lnTo>
                    <a:pt x="625" y="419"/>
                  </a:lnTo>
                  <a:lnTo>
                    <a:pt x="625" y="417"/>
                  </a:lnTo>
                  <a:lnTo>
                    <a:pt x="626" y="417"/>
                  </a:lnTo>
                  <a:lnTo>
                    <a:pt x="626" y="416"/>
                  </a:lnTo>
                  <a:lnTo>
                    <a:pt x="625" y="416"/>
                  </a:lnTo>
                  <a:lnTo>
                    <a:pt x="625" y="415"/>
                  </a:lnTo>
                  <a:lnTo>
                    <a:pt x="624" y="415"/>
                  </a:lnTo>
                  <a:lnTo>
                    <a:pt x="624" y="414"/>
                  </a:lnTo>
                  <a:lnTo>
                    <a:pt x="625" y="414"/>
                  </a:lnTo>
                  <a:lnTo>
                    <a:pt x="626" y="414"/>
                  </a:lnTo>
                  <a:lnTo>
                    <a:pt x="627" y="414"/>
                  </a:lnTo>
                  <a:lnTo>
                    <a:pt x="627" y="413"/>
                  </a:lnTo>
                  <a:lnTo>
                    <a:pt x="627" y="412"/>
                  </a:lnTo>
                  <a:lnTo>
                    <a:pt x="628" y="412"/>
                  </a:lnTo>
                  <a:lnTo>
                    <a:pt x="629" y="412"/>
                  </a:lnTo>
                  <a:lnTo>
                    <a:pt x="629" y="410"/>
                  </a:lnTo>
                  <a:lnTo>
                    <a:pt x="631" y="410"/>
                  </a:lnTo>
                  <a:lnTo>
                    <a:pt x="631" y="409"/>
                  </a:lnTo>
                  <a:lnTo>
                    <a:pt x="632" y="409"/>
                  </a:lnTo>
                  <a:lnTo>
                    <a:pt x="632" y="408"/>
                  </a:lnTo>
                  <a:lnTo>
                    <a:pt x="633" y="408"/>
                  </a:lnTo>
                  <a:lnTo>
                    <a:pt x="633" y="407"/>
                  </a:lnTo>
                  <a:lnTo>
                    <a:pt x="634" y="407"/>
                  </a:lnTo>
                  <a:lnTo>
                    <a:pt x="635" y="407"/>
                  </a:lnTo>
                  <a:lnTo>
                    <a:pt x="634" y="407"/>
                  </a:lnTo>
                  <a:lnTo>
                    <a:pt x="633" y="407"/>
                  </a:lnTo>
                  <a:lnTo>
                    <a:pt x="634" y="406"/>
                  </a:lnTo>
                  <a:lnTo>
                    <a:pt x="634" y="405"/>
                  </a:lnTo>
                  <a:lnTo>
                    <a:pt x="635" y="405"/>
                  </a:lnTo>
                  <a:lnTo>
                    <a:pt x="634" y="405"/>
                  </a:lnTo>
                  <a:lnTo>
                    <a:pt x="635" y="405"/>
                  </a:lnTo>
                  <a:lnTo>
                    <a:pt x="635" y="403"/>
                  </a:lnTo>
                  <a:lnTo>
                    <a:pt x="634" y="403"/>
                  </a:lnTo>
                  <a:lnTo>
                    <a:pt x="635" y="403"/>
                  </a:lnTo>
                  <a:lnTo>
                    <a:pt x="635" y="402"/>
                  </a:lnTo>
                  <a:lnTo>
                    <a:pt x="634" y="403"/>
                  </a:lnTo>
                  <a:lnTo>
                    <a:pt x="634" y="402"/>
                  </a:lnTo>
                  <a:lnTo>
                    <a:pt x="633" y="402"/>
                  </a:lnTo>
                  <a:lnTo>
                    <a:pt x="634" y="402"/>
                  </a:lnTo>
                  <a:lnTo>
                    <a:pt x="634" y="401"/>
                  </a:lnTo>
                  <a:lnTo>
                    <a:pt x="633" y="401"/>
                  </a:lnTo>
                  <a:lnTo>
                    <a:pt x="634" y="401"/>
                  </a:lnTo>
                  <a:lnTo>
                    <a:pt x="634" y="400"/>
                  </a:lnTo>
                  <a:lnTo>
                    <a:pt x="633" y="400"/>
                  </a:lnTo>
                  <a:lnTo>
                    <a:pt x="634" y="400"/>
                  </a:lnTo>
                  <a:lnTo>
                    <a:pt x="633" y="400"/>
                  </a:lnTo>
                  <a:lnTo>
                    <a:pt x="633" y="399"/>
                  </a:lnTo>
                  <a:lnTo>
                    <a:pt x="634" y="399"/>
                  </a:lnTo>
                  <a:lnTo>
                    <a:pt x="635" y="399"/>
                  </a:lnTo>
                  <a:lnTo>
                    <a:pt x="634" y="399"/>
                  </a:lnTo>
                  <a:lnTo>
                    <a:pt x="636" y="398"/>
                  </a:lnTo>
                  <a:lnTo>
                    <a:pt x="635" y="398"/>
                  </a:lnTo>
                  <a:lnTo>
                    <a:pt x="634" y="398"/>
                  </a:lnTo>
                  <a:lnTo>
                    <a:pt x="634" y="396"/>
                  </a:lnTo>
                  <a:lnTo>
                    <a:pt x="635" y="396"/>
                  </a:lnTo>
                  <a:lnTo>
                    <a:pt x="635" y="395"/>
                  </a:lnTo>
                  <a:lnTo>
                    <a:pt x="634" y="395"/>
                  </a:lnTo>
                  <a:lnTo>
                    <a:pt x="635" y="393"/>
                  </a:lnTo>
                  <a:lnTo>
                    <a:pt x="636" y="393"/>
                  </a:lnTo>
                  <a:lnTo>
                    <a:pt x="636" y="392"/>
                  </a:lnTo>
                  <a:lnTo>
                    <a:pt x="636" y="391"/>
                  </a:lnTo>
                  <a:lnTo>
                    <a:pt x="636" y="389"/>
                  </a:lnTo>
                  <a:lnTo>
                    <a:pt x="635" y="389"/>
                  </a:lnTo>
                  <a:lnTo>
                    <a:pt x="636" y="389"/>
                  </a:lnTo>
                  <a:lnTo>
                    <a:pt x="635" y="388"/>
                  </a:lnTo>
                  <a:lnTo>
                    <a:pt x="636" y="388"/>
                  </a:lnTo>
                  <a:lnTo>
                    <a:pt x="637" y="388"/>
                  </a:lnTo>
                  <a:lnTo>
                    <a:pt x="637" y="387"/>
                  </a:lnTo>
                  <a:lnTo>
                    <a:pt x="636" y="387"/>
                  </a:lnTo>
                  <a:lnTo>
                    <a:pt x="637" y="387"/>
                  </a:lnTo>
                  <a:lnTo>
                    <a:pt x="639" y="387"/>
                  </a:lnTo>
                  <a:lnTo>
                    <a:pt x="637" y="387"/>
                  </a:lnTo>
                  <a:lnTo>
                    <a:pt x="637" y="386"/>
                  </a:lnTo>
                  <a:lnTo>
                    <a:pt x="637" y="387"/>
                  </a:lnTo>
                  <a:lnTo>
                    <a:pt x="636" y="387"/>
                  </a:lnTo>
                  <a:lnTo>
                    <a:pt x="637" y="386"/>
                  </a:lnTo>
                  <a:lnTo>
                    <a:pt x="637" y="385"/>
                  </a:lnTo>
                  <a:lnTo>
                    <a:pt x="637" y="386"/>
                  </a:lnTo>
                  <a:lnTo>
                    <a:pt x="637" y="385"/>
                  </a:lnTo>
                  <a:lnTo>
                    <a:pt x="636" y="385"/>
                  </a:lnTo>
                  <a:lnTo>
                    <a:pt x="637" y="385"/>
                  </a:lnTo>
                  <a:lnTo>
                    <a:pt x="639" y="385"/>
                  </a:lnTo>
                  <a:lnTo>
                    <a:pt x="637" y="385"/>
                  </a:lnTo>
                  <a:lnTo>
                    <a:pt x="639" y="384"/>
                  </a:lnTo>
                  <a:lnTo>
                    <a:pt x="640" y="384"/>
                  </a:lnTo>
                  <a:lnTo>
                    <a:pt x="640" y="382"/>
                  </a:lnTo>
                  <a:lnTo>
                    <a:pt x="639" y="382"/>
                  </a:lnTo>
                  <a:lnTo>
                    <a:pt x="640" y="382"/>
                  </a:lnTo>
                  <a:lnTo>
                    <a:pt x="640" y="381"/>
                  </a:lnTo>
                  <a:lnTo>
                    <a:pt x="639" y="381"/>
                  </a:lnTo>
                  <a:lnTo>
                    <a:pt x="640" y="381"/>
                  </a:lnTo>
                  <a:lnTo>
                    <a:pt x="639" y="381"/>
                  </a:lnTo>
                  <a:lnTo>
                    <a:pt x="640" y="381"/>
                  </a:lnTo>
                  <a:lnTo>
                    <a:pt x="640" y="380"/>
                  </a:lnTo>
                  <a:lnTo>
                    <a:pt x="641" y="381"/>
                  </a:lnTo>
                  <a:lnTo>
                    <a:pt x="641" y="380"/>
                  </a:lnTo>
                  <a:lnTo>
                    <a:pt x="640" y="380"/>
                  </a:lnTo>
                  <a:lnTo>
                    <a:pt x="640" y="379"/>
                  </a:lnTo>
                  <a:lnTo>
                    <a:pt x="637" y="379"/>
                  </a:lnTo>
                  <a:lnTo>
                    <a:pt x="639" y="379"/>
                  </a:lnTo>
                  <a:lnTo>
                    <a:pt x="640" y="379"/>
                  </a:lnTo>
                  <a:lnTo>
                    <a:pt x="641" y="379"/>
                  </a:lnTo>
                  <a:lnTo>
                    <a:pt x="641" y="378"/>
                  </a:lnTo>
                  <a:lnTo>
                    <a:pt x="640" y="378"/>
                  </a:lnTo>
                  <a:lnTo>
                    <a:pt x="639" y="378"/>
                  </a:lnTo>
                  <a:lnTo>
                    <a:pt x="637" y="378"/>
                  </a:lnTo>
                  <a:lnTo>
                    <a:pt x="639" y="378"/>
                  </a:lnTo>
                  <a:lnTo>
                    <a:pt x="639" y="377"/>
                  </a:lnTo>
                  <a:lnTo>
                    <a:pt x="637" y="377"/>
                  </a:lnTo>
                  <a:lnTo>
                    <a:pt x="637" y="375"/>
                  </a:lnTo>
                  <a:lnTo>
                    <a:pt x="637" y="374"/>
                  </a:lnTo>
                  <a:lnTo>
                    <a:pt x="639" y="374"/>
                  </a:lnTo>
                  <a:lnTo>
                    <a:pt x="637" y="374"/>
                  </a:lnTo>
                  <a:lnTo>
                    <a:pt x="639" y="374"/>
                  </a:lnTo>
                  <a:lnTo>
                    <a:pt x="639" y="373"/>
                  </a:lnTo>
                  <a:lnTo>
                    <a:pt x="637" y="373"/>
                  </a:lnTo>
                  <a:lnTo>
                    <a:pt x="639" y="373"/>
                  </a:lnTo>
                  <a:lnTo>
                    <a:pt x="639" y="372"/>
                  </a:lnTo>
                  <a:lnTo>
                    <a:pt x="637" y="372"/>
                  </a:lnTo>
                  <a:lnTo>
                    <a:pt x="639" y="372"/>
                  </a:lnTo>
                  <a:lnTo>
                    <a:pt x="637" y="372"/>
                  </a:lnTo>
                  <a:lnTo>
                    <a:pt x="639" y="372"/>
                  </a:lnTo>
                  <a:lnTo>
                    <a:pt x="637" y="372"/>
                  </a:lnTo>
                  <a:lnTo>
                    <a:pt x="639" y="372"/>
                  </a:lnTo>
                  <a:lnTo>
                    <a:pt x="639" y="371"/>
                  </a:lnTo>
                  <a:lnTo>
                    <a:pt x="637" y="371"/>
                  </a:lnTo>
                  <a:lnTo>
                    <a:pt x="636" y="371"/>
                  </a:lnTo>
                  <a:lnTo>
                    <a:pt x="637" y="371"/>
                  </a:lnTo>
                  <a:lnTo>
                    <a:pt x="639" y="371"/>
                  </a:lnTo>
                  <a:lnTo>
                    <a:pt x="639" y="370"/>
                  </a:lnTo>
                  <a:lnTo>
                    <a:pt x="640" y="370"/>
                  </a:lnTo>
                  <a:lnTo>
                    <a:pt x="641" y="370"/>
                  </a:lnTo>
                  <a:lnTo>
                    <a:pt x="642" y="370"/>
                  </a:lnTo>
                  <a:lnTo>
                    <a:pt x="643" y="368"/>
                  </a:lnTo>
                  <a:lnTo>
                    <a:pt x="648" y="368"/>
                  </a:lnTo>
                  <a:lnTo>
                    <a:pt x="649" y="367"/>
                  </a:lnTo>
                  <a:lnTo>
                    <a:pt x="650" y="367"/>
                  </a:lnTo>
                  <a:lnTo>
                    <a:pt x="651" y="366"/>
                  </a:lnTo>
                  <a:lnTo>
                    <a:pt x="653" y="366"/>
                  </a:lnTo>
                  <a:lnTo>
                    <a:pt x="654" y="366"/>
                  </a:lnTo>
                  <a:lnTo>
                    <a:pt x="655" y="365"/>
                  </a:lnTo>
                  <a:lnTo>
                    <a:pt x="656" y="365"/>
                  </a:lnTo>
                  <a:lnTo>
                    <a:pt x="657" y="365"/>
                  </a:lnTo>
                  <a:lnTo>
                    <a:pt x="660" y="364"/>
                  </a:lnTo>
                  <a:lnTo>
                    <a:pt x="661" y="363"/>
                  </a:lnTo>
                  <a:lnTo>
                    <a:pt x="663" y="363"/>
                  </a:lnTo>
                  <a:lnTo>
                    <a:pt x="664" y="361"/>
                  </a:lnTo>
                  <a:lnTo>
                    <a:pt x="667" y="360"/>
                  </a:lnTo>
                  <a:lnTo>
                    <a:pt x="674" y="357"/>
                  </a:lnTo>
                  <a:lnTo>
                    <a:pt x="675" y="356"/>
                  </a:lnTo>
                  <a:lnTo>
                    <a:pt x="676" y="356"/>
                  </a:lnTo>
                  <a:lnTo>
                    <a:pt x="675" y="356"/>
                  </a:lnTo>
                  <a:lnTo>
                    <a:pt x="677" y="354"/>
                  </a:lnTo>
                  <a:lnTo>
                    <a:pt x="679" y="352"/>
                  </a:lnTo>
                  <a:lnTo>
                    <a:pt x="681" y="352"/>
                  </a:lnTo>
                  <a:lnTo>
                    <a:pt x="681" y="351"/>
                  </a:lnTo>
                  <a:lnTo>
                    <a:pt x="682" y="351"/>
                  </a:lnTo>
                  <a:lnTo>
                    <a:pt x="683" y="351"/>
                  </a:lnTo>
                  <a:lnTo>
                    <a:pt x="683" y="350"/>
                  </a:lnTo>
                  <a:lnTo>
                    <a:pt x="684" y="350"/>
                  </a:lnTo>
                  <a:lnTo>
                    <a:pt x="684" y="349"/>
                  </a:lnTo>
                  <a:lnTo>
                    <a:pt x="685" y="349"/>
                  </a:lnTo>
                  <a:lnTo>
                    <a:pt x="685" y="347"/>
                  </a:lnTo>
                  <a:lnTo>
                    <a:pt x="686" y="347"/>
                  </a:lnTo>
                  <a:lnTo>
                    <a:pt x="686" y="346"/>
                  </a:lnTo>
                  <a:lnTo>
                    <a:pt x="688" y="346"/>
                  </a:lnTo>
                  <a:lnTo>
                    <a:pt x="688" y="345"/>
                  </a:lnTo>
                  <a:lnTo>
                    <a:pt x="688" y="344"/>
                  </a:lnTo>
                  <a:lnTo>
                    <a:pt x="689" y="344"/>
                  </a:lnTo>
                  <a:lnTo>
                    <a:pt x="689" y="343"/>
                  </a:lnTo>
                  <a:lnTo>
                    <a:pt x="689" y="342"/>
                  </a:lnTo>
                  <a:lnTo>
                    <a:pt x="690" y="340"/>
                  </a:lnTo>
                  <a:lnTo>
                    <a:pt x="691" y="339"/>
                  </a:lnTo>
                  <a:lnTo>
                    <a:pt x="691" y="338"/>
                  </a:lnTo>
                  <a:lnTo>
                    <a:pt x="691" y="337"/>
                  </a:lnTo>
                  <a:lnTo>
                    <a:pt x="692" y="336"/>
                  </a:lnTo>
                  <a:lnTo>
                    <a:pt x="692" y="335"/>
                  </a:lnTo>
                  <a:lnTo>
                    <a:pt x="693" y="335"/>
                  </a:lnTo>
                  <a:lnTo>
                    <a:pt x="693" y="333"/>
                  </a:lnTo>
                  <a:lnTo>
                    <a:pt x="693" y="332"/>
                  </a:lnTo>
                  <a:lnTo>
                    <a:pt x="693" y="330"/>
                  </a:lnTo>
                  <a:lnTo>
                    <a:pt x="693" y="329"/>
                  </a:lnTo>
                  <a:lnTo>
                    <a:pt x="693" y="328"/>
                  </a:lnTo>
                  <a:lnTo>
                    <a:pt x="693" y="326"/>
                  </a:lnTo>
                  <a:lnTo>
                    <a:pt x="695" y="326"/>
                  </a:lnTo>
                  <a:lnTo>
                    <a:pt x="693" y="325"/>
                  </a:lnTo>
                  <a:lnTo>
                    <a:pt x="693" y="324"/>
                  </a:lnTo>
                  <a:lnTo>
                    <a:pt x="693" y="323"/>
                  </a:lnTo>
                  <a:lnTo>
                    <a:pt x="693" y="322"/>
                  </a:lnTo>
                  <a:lnTo>
                    <a:pt x="693" y="321"/>
                  </a:lnTo>
                  <a:lnTo>
                    <a:pt x="692" y="321"/>
                  </a:lnTo>
                  <a:lnTo>
                    <a:pt x="692" y="319"/>
                  </a:lnTo>
                  <a:lnTo>
                    <a:pt x="691" y="319"/>
                  </a:lnTo>
                  <a:lnTo>
                    <a:pt x="690" y="318"/>
                  </a:lnTo>
                  <a:lnTo>
                    <a:pt x="691" y="318"/>
                  </a:lnTo>
                  <a:lnTo>
                    <a:pt x="690" y="318"/>
                  </a:lnTo>
                  <a:lnTo>
                    <a:pt x="690" y="317"/>
                  </a:lnTo>
                  <a:lnTo>
                    <a:pt x="689" y="317"/>
                  </a:lnTo>
                  <a:lnTo>
                    <a:pt x="686" y="316"/>
                  </a:lnTo>
                  <a:lnTo>
                    <a:pt x="686" y="315"/>
                  </a:lnTo>
                  <a:lnTo>
                    <a:pt x="685" y="315"/>
                  </a:lnTo>
                  <a:lnTo>
                    <a:pt x="685" y="314"/>
                  </a:lnTo>
                  <a:lnTo>
                    <a:pt x="684" y="314"/>
                  </a:lnTo>
                  <a:lnTo>
                    <a:pt x="684" y="312"/>
                  </a:lnTo>
                  <a:lnTo>
                    <a:pt x="683" y="312"/>
                  </a:lnTo>
                  <a:lnTo>
                    <a:pt x="684" y="314"/>
                  </a:lnTo>
                  <a:lnTo>
                    <a:pt x="683" y="314"/>
                  </a:lnTo>
                  <a:lnTo>
                    <a:pt x="683" y="312"/>
                  </a:lnTo>
                  <a:lnTo>
                    <a:pt x="682" y="312"/>
                  </a:lnTo>
                  <a:lnTo>
                    <a:pt x="682" y="311"/>
                  </a:lnTo>
                  <a:lnTo>
                    <a:pt x="683" y="311"/>
                  </a:lnTo>
                  <a:lnTo>
                    <a:pt x="684" y="311"/>
                  </a:lnTo>
                  <a:lnTo>
                    <a:pt x="684" y="310"/>
                  </a:lnTo>
                  <a:lnTo>
                    <a:pt x="683" y="310"/>
                  </a:lnTo>
                  <a:lnTo>
                    <a:pt x="684" y="310"/>
                  </a:lnTo>
                  <a:lnTo>
                    <a:pt x="684" y="309"/>
                  </a:lnTo>
                  <a:lnTo>
                    <a:pt x="684" y="308"/>
                  </a:lnTo>
                  <a:lnTo>
                    <a:pt x="685" y="308"/>
                  </a:lnTo>
                  <a:lnTo>
                    <a:pt x="684" y="308"/>
                  </a:lnTo>
                  <a:lnTo>
                    <a:pt x="685" y="307"/>
                  </a:lnTo>
                  <a:lnTo>
                    <a:pt x="685" y="308"/>
                  </a:lnTo>
                  <a:lnTo>
                    <a:pt x="686" y="308"/>
                  </a:lnTo>
                  <a:lnTo>
                    <a:pt x="688" y="308"/>
                  </a:lnTo>
                  <a:lnTo>
                    <a:pt x="688" y="307"/>
                  </a:lnTo>
                  <a:lnTo>
                    <a:pt x="689" y="307"/>
                  </a:lnTo>
                  <a:lnTo>
                    <a:pt x="688" y="307"/>
                  </a:lnTo>
                  <a:lnTo>
                    <a:pt x="689" y="307"/>
                  </a:lnTo>
                  <a:lnTo>
                    <a:pt x="689" y="305"/>
                  </a:lnTo>
                  <a:lnTo>
                    <a:pt x="690" y="305"/>
                  </a:lnTo>
                  <a:lnTo>
                    <a:pt x="691" y="305"/>
                  </a:lnTo>
                  <a:lnTo>
                    <a:pt x="691" y="304"/>
                  </a:lnTo>
                  <a:lnTo>
                    <a:pt x="692" y="304"/>
                  </a:lnTo>
                  <a:lnTo>
                    <a:pt x="692" y="303"/>
                  </a:lnTo>
                  <a:lnTo>
                    <a:pt x="693" y="303"/>
                  </a:lnTo>
                  <a:lnTo>
                    <a:pt x="695" y="303"/>
                  </a:lnTo>
                  <a:lnTo>
                    <a:pt x="696" y="302"/>
                  </a:lnTo>
                  <a:lnTo>
                    <a:pt x="695" y="302"/>
                  </a:lnTo>
                  <a:lnTo>
                    <a:pt x="696" y="302"/>
                  </a:lnTo>
                  <a:lnTo>
                    <a:pt x="697" y="302"/>
                  </a:lnTo>
                  <a:lnTo>
                    <a:pt x="697" y="301"/>
                  </a:lnTo>
                  <a:lnTo>
                    <a:pt x="698" y="301"/>
                  </a:lnTo>
                  <a:lnTo>
                    <a:pt x="697" y="301"/>
                  </a:lnTo>
                  <a:lnTo>
                    <a:pt x="696" y="301"/>
                  </a:lnTo>
                  <a:lnTo>
                    <a:pt x="696" y="300"/>
                  </a:lnTo>
                  <a:lnTo>
                    <a:pt x="697" y="300"/>
                  </a:lnTo>
                  <a:lnTo>
                    <a:pt x="698" y="298"/>
                  </a:lnTo>
                  <a:lnTo>
                    <a:pt x="699" y="298"/>
                  </a:lnTo>
                  <a:lnTo>
                    <a:pt x="699" y="297"/>
                  </a:lnTo>
                  <a:lnTo>
                    <a:pt x="699" y="296"/>
                  </a:lnTo>
                  <a:lnTo>
                    <a:pt x="700" y="296"/>
                  </a:lnTo>
                  <a:lnTo>
                    <a:pt x="699" y="296"/>
                  </a:lnTo>
                  <a:lnTo>
                    <a:pt x="700" y="296"/>
                  </a:lnTo>
                  <a:lnTo>
                    <a:pt x="700" y="297"/>
                  </a:lnTo>
                  <a:lnTo>
                    <a:pt x="701" y="297"/>
                  </a:lnTo>
                  <a:lnTo>
                    <a:pt x="701" y="296"/>
                  </a:lnTo>
                  <a:lnTo>
                    <a:pt x="701" y="297"/>
                  </a:lnTo>
                  <a:lnTo>
                    <a:pt x="703" y="297"/>
                  </a:lnTo>
                  <a:lnTo>
                    <a:pt x="701" y="298"/>
                  </a:lnTo>
                  <a:lnTo>
                    <a:pt x="703" y="298"/>
                  </a:lnTo>
                  <a:lnTo>
                    <a:pt x="704" y="298"/>
                  </a:lnTo>
                  <a:lnTo>
                    <a:pt x="703" y="298"/>
                  </a:lnTo>
                  <a:lnTo>
                    <a:pt x="703" y="297"/>
                  </a:lnTo>
                  <a:lnTo>
                    <a:pt x="701" y="296"/>
                  </a:lnTo>
                  <a:lnTo>
                    <a:pt x="703" y="296"/>
                  </a:lnTo>
                  <a:lnTo>
                    <a:pt x="701" y="296"/>
                  </a:lnTo>
                  <a:lnTo>
                    <a:pt x="703" y="296"/>
                  </a:lnTo>
                  <a:lnTo>
                    <a:pt x="704" y="296"/>
                  </a:lnTo>
                  <a:lnTo>
                    <a:pt x="704" y="295"/>
                  </a:lnTo>
                  <a:lnTo>
                    <a:pt x="705" y="295"/>
                  </a:lnTo>
                  <a:lnTo>
                    <a:pt x="706" y="295"/>
                  </a:lnTo>
                  <a:lnTo>
                    <a:pt x="705" y="294"/>
                  </a:lnTo>
                  <a:lnTo>
                    <a:pt x="706" y="294"/>
                  </a:lnTo>
                  <a:lnTo>
                    <a:pt x="705" y="294"/>
                  </a:lnTo>
                  <a:lnTo>
                    <a:pt x="705" y="293"/>
                  </a:lnTo>
                  <a:lnTo>
                    <a:pt x="706" y="293"/>
                  </a:lnTo>
                  <a:lnTo>
                    <a:pt x="707" y="293"/>
                  </a:lnTo>
                  <a:lnTo>
                    <a:pt x="706" y="293"/>
                  </a:lnTo>
                  <a:lnTo>
                    <a:pt x="707" y="293"/>
                  </a:lnTo>
                  <a:lnTo>
                    <a:pt x="708" y="293"/>
                  </a:lnTo>
                  <a:lnTo>
                    <a:pt x="708" y="291"/>
                  </a:lnTo>
                  <a:lnTo>
                    <a:pt x="707" y="293"/>
                  </a:lnTo>
                  <a:lnTo>
                    <a:pt x="707" y="291"/>
                  </a:lnTo>
                  <a:lnTo>
                    <a:pt x="708" y="291"/>
                  </a:lnTo>
                  <a:lnTo>
                    <a:pt x="707" y="291"/>
                  </a:lnTo>
                  <a:lnTo>
                    <a:pt x="706" y="291"/>
                  </a:lnTo>
                  <a:lnTo>
                    <a:pt x="705" y="291"/>
                  </a:lnTo>
                  <a:lnTo>
                    <a:pt x="704" y="291"/>
                  </a:lnTo>
                  <a:lnTo>
                    <a:pt x="705" y="290"/>
                  </a:lnTo>
                  <a:lnTo>
                    <a:pt x="706" y="290"/>
                  </a:lnTo>
                  <a:lnTo>
                    <a:pt x="707" y="290"/>
                  </a:lnTo>
                  <a:lnTo>
                    <a:pt x="706" y="290"/>
                  </a:lnTo>
                  <a:lnTo>
                    <a:pt x="706" y="289"/>
                  </a:lnTo>
                  <a:lnTo>
                    <a:pt x="707" y="289"/>
                  </a:lnTo>
                  <a:lnTo>
                    <a:pt x="706" y="288"/>
                  </a:lnTo>
                  <a:lnTo>
                    <a:pt x="707" y="288"/>
                  </a:lnTo>
                  <a:lnTo>
                    <a:pt x="706" y="288"/>
                  </a:lnTo>
                  <a:lnTo>
                    <a:pt x="706" y="287"/>
                  </a:lnTo>
                  <a:lnTo>
                    <a:pt x="706" y="286"/>
                  </a:lnTo>
                  <a:lnTo>
                    <a:pt x="708" y="284"/>
                  </a:lnTo>
                  <a:lnTo>
                    <a:pt x="711" y="284"/>
                  </a:lnTo>
                  <a:lnTo>
                    <a:pt x="710" y="284"/>
                  </a:lnTo>
                  <a:lnTo>
                    <a:pt x="710" y="283"/>
                  </a:lnTo>
                  <a:lnTo>
                    <a:pt x="708" y="283"/>
                  </a:lnTo>
                  <a:lnTo>
                    <a:pt x="708" y="284"/>
                  </a:lnTo>
                  <a:lnTo>
                    <a:pt x="707" y="284"/>
                  </a:lnTo>
                  <a:lnTo>
                    <a:pt x="707" y="283"/>
                  </a:lnTo>
                  <a:lnTo>
                    <a:pt x="706" y="283"/>
                  </a:lnTo>
                  <a:lnTo>
                    <a:pt x="707" y="282"/>
                  </a:lnTo>
                  <a:lnTo>
                    <a:pt x="708" y="282"/>
                  </a:lnTo>
                  <a:lnTo>
                    <a:pt x="710" y="281"/>
                  </a:lnTo>
                  <a:lnTo>
                    <a:pt x="708" y="281"/>
                  </a:lnTo>
                  <a:lnTo>
                    <a:pt x="712" y="280"/>
                  </a:lnTo>
                  <a:lnTo>
                    <a:pt x="711" y="280"/>
                  </a:lnTo>
                  <a:lnTo>
                    <a:pt x="707" y="281"/>
                  </a:lnTo>
                  <a:lnTo>
                    <a:pt x="706" y="281"/>
                  </a:lnTo>
                  <a:lnTo>
                    <a:pt x="707" y="280"/>
                  </a:lnTo>
                  <a:lnTo>
                    <a:pt x="706" y="280"/>
                  </a:lnTo>
                  <a:lnTo>
                    <a:pt x="706" y="281"/>
                  </a:lnTo>
                  <a:lnTo>
                    <a:pt x="705" y="281"/>
                  </a:lnTo>
                  <a:lnTo>
                    <a:pt x="704" y="281"/>
                  </a:lnTo>
                  <a:lnTo>
                    <a:pt x="705" y="280"/>
                  </a:lnTo>
                  <a:lnTo>
                    <a:pt x="706" y="279"/>
                  </a:lnTo>
                  <a:lnTo>
                    <a:pt x="707" y="279"/>
                  </a:lnTo>
                  <a:lnTo>
                    <a:pt x="710" y="277"/>
                  </a:lnTo>
                  <a:lnTo>
                    <a:pt x="711" y="276"/>
                  </a:lnTo>
                  <a:lnTo>
                    <a:pt x="711" y="275"/>
                  </a:lnTo>
                  <a:lnTo>
                    <a:pt x="712" y="275"/>
                  </a:lnTo>
                  <a:lnTo>
                    <a:pt x="713" y="275"/>
                  </a:lnTo>
                  <a:lnTo>
                    <a:pt x="712" y="274"/>
                  </a:lnTo>
                  <a:lnTo>
                    <a:pt x="713" y="274"/>
                  </a:lnTo>
                  <a:lnTo>
                    <a:pt x="713" y="273"/>
                  </a:lnTo>
                  <a:lnTo>
                    <a:pt x="713" y="272"/>
                  </a:lnTo>
                  <a:lnTo>
                    <a:pt x="714" y="272"/>
                  </a:lnTo>
                  <a:lnTo>
                    <a:pt x="715" y="272"/>
                  </a:lnTo>
                  <a:lnTo>
                    <a:pt x="715" y="270"/>
                  </a:lnTo>
                  <a:lnTo>
                    <a:pt x="717" y="270"/>
                  </a:lnTo>
                  <a:lnTo>
                    <a:pt x="715" y="270"/>
                  </a:lnTo>
                  <a:lnTo>
                    <a:pt x="717" y="269"/>
                  </a:lnTo>
                  <a:lnTo>
                    <a:pt x="718" y="270"/>
                  </a:lnTo>
                  <a:lnTo>
                    <a:pt x="718" y="269"/>
                  </a:lnTo>
                  <a:lnTo>
                    <a:pt x="717" y="269"/>
                  </a:lnTo>
                  <a:lnTo>
                    <a:pt x="718" y="269"/>
                  </a:lnTo>
                  <a:lnTo>
                    <a:pt x="717" y="269"/>
                  </a:lnTo>
                  <a:lnTo>
                    <a:pt x="715" y="269"/>
                  </a:lnTo>
                  <a:lnTo>
                    <a:pt x="715" y="268"/>
                  </a:lnTo>
                  <a:lnTo>
                    <a:pt x="714" y="268"/>
                  </a:lnTo>
                  <a:lnTo>
                    <a:pt x="714" y="267"/>
                  </a:lnTo>
                  <a:lnTo>
                    <a:pt x="714" y="266"/>
                  </a:lnTo>
                  <a:lnTo>
                    <a:pt x="714" y="265"/>
                  </a:lnTo>
                  <a:lnTo>
                    <a:pt x="714" y="263"/>
                  </a:lnTo>
                  <a:lnTo>
                    <a:pt x="714" y="262"/>
                  </a:lnTo>
                  <a:lnTo>
                    <a:pt x="715" y="262"/>
                  </a:lnTo>
                  <a:lnTo>
                    <a:pt x="715" y="261"/>
                  </a:lnTo>
                  <a:lnTo>
                    <a:pt x="717" y="260"/>
                  </a:lnTo>
                  <a:lnTo>
                    <a:pt x="717" y="259"/>
                  </a:lnTo>
                  <a:lnTo>
                    <a:pt x="718" y="259"/>
                  </a:lnTo>
                  <a:lnTo>
                    <a:pt x="719" y="258"/>
                  </a:lnTo>
                  <a:lnTo>
                    <a:pt x="720" y="258"/>
                  </a:lnTo>
                  <a:lnTo>
                    <a:pt x="721" y="258"/>
                  </a:lnTo>
                  <a:lnTo>
                    <a:pt x="722" y="256"/>
                  </a:lnTo>
                  <a:lnTo>
                    <a:pt x="724" y="256"/>
                  </a:lnTo>
                  <a:lnTo>
                    <a:pt x="725" y="255"/>
                  </a:lnTo>
                  <a:lnTo>
                    <a:pt x="726" y="255"/>
                  </a:lnTo>
                  <a:lnTo>
                    <a:pt x="727" y="255"/>
                  </a:lnTo>
                  <a:lnTo>
                    <a:pt x="728" y="255"/>
                  </a:lnTo>
                  <a:lnTo>
                    <a:pt x="729" y="255"/>
                  </a:lnTo>
                  <a:lnTo>
                    <a:pt x="731" y="255"/>
                  </a:lnTo>
                  <a:lnTo>
                    <a:pt x="731" y="256"/>
                  </a:lnTo>
                  <a:lnTo>
                    <a:pt x="732" y="255"/>
                  </a:lnTo>
                  <a:lnTo>
                    <a:pt x="732" y="256"/>
                  </a:lnTo>
                  <a:lnTo>
                    <a:pt x="734" y="256"/>
                  </a:lnTo>
                  <a:lnTo>
                    <a:pt x="735" y="256"/>
                  </a:lnTo>
                  <a:lnTo>
                    <a:pt x="734" y="256"/>
                  </a:lnTo>
                  <a:lnTo>
                    <a:pt x="735" y="256"/>
                  </a:lnTo>
                  <a:lnTo>
                    <a:pt x="736" y="256"/>
                  </a:lnTo>
                  <a:lnTo>
                    <a:pt x="736" y="258"/>
                  </a:lnTo>
                  <a:lnTo>
                    <a:pt x="738" y="258"/>
                  </a:lnTo>
                  <a:lnTo>
                    <a:pt x="739" y="258"/>
                  </a:lnTo>
                  <a:lnTo>
                    <a:pt x="740" y="258"/>
                  </a:lnTo>
                  <a:lnTo>
                    <a:pt x="740" y="259"/>
                  </a:lnTo>
                  <a:lnTo>
                    <a:pt x="741" y="259"/>
                  </a:lnTo>
                  <a:lnTo>
                    <a:pt x="742" y="259"/>
                  </a:lnTo>
                  <a:lnTo>
                    <a:pt x="745" y="259"/>
                  </a:lnTo>
                  <a:lnTo>
                    <a:pt x="745" y="260"/>
                  </a:lnTo>
                  <a:lnTo>
                    <a:pt x="743" y="260"/>
                  </a:lnTo>
                  <a:lnTo>
                    <a:pt x="742" y="260"/>
                  </a:lnTo>
                  <a:lnTo>
                    <a:pt x="741" y="260"/>
                  </a:lnTo>
                  <a:lnTo>
                    <a:pt x="741" y="261"/>
                  </a:lnTo>
                  <a:lnTo>
                    <a:pt x="740" y="261"/>
                  </a:lnTo>
                  <a:lnTo>
                    <a:pt x="741" y="261"/>
                  </a:lnTo>
                  <a:lnTo>
                    <a:pt x="742" y="261"/>
                  </a:lnTo>
                  <a:lnTo>
                    <a:pt x="743" y="260"/>
                  </a:lnTo>
                  <a:lnTo>
                    <a:pt x="745" y="260"/>
                  </a:lnTo>
                  <a:lnTo>
                    <a:pt x="746" y="259"/>
                  </a:lnTo>
                  <a:lnTo>
                    <a:pt x="748" y="259"/>
                  </a:lnTo>
                  <a:lnTo>
                    <a:pt x="749" y="259"/>
                  </a:lnTo>
                  <a:lnTo>
                    <a:pt x="749" y="260"/>
                  </a:lnTo>
                  <a:lnTo>
                    <a:pt x="750" y="260"/>
                  </a:lnTo>
                  <a:lnTo>
                    <a:pt x="752" y="260"/>
                  </a:lnTo>
                  <a:lnTo>
                    <a:pt x="753" y="260"/>
                  </a:lnTo>
                  <a:lnTo>
                    <a:pt x="753" y="261"/>
                  </a:lnTo>
                  <a:lnTo>
                    <a:pt x="754" y="261"/>
                  </a:lnTo>
                  <a:lnTo>
                    <a:pt x="754" y="262"/>
                  </a:lnTo>
                  <a:lnTo>
                    <a:pt x="755" y="262"/>
                  </a:lnTo>
                  <a:lnTo>
                    <a:pt x="755" y="261"/>
                  </a:lnTo>
                  <a:lnTo>
                    <a:pt x="754" y="261"/>
                  </a:lnTo>
                  <a:lnTo>
                    <a:pt x="753" y="261"/>
                  </a:lnTo>
                  <a:lnTo>
                    <a:pt x="753" y="260"/>
                  </a:lnTo>
                  <a:lnTo>
                    <a:pt x="754" y="260"/>
                  </a:lnTo>
                  <a:lnTo>
                    <a:pt x="757" y="260"/>
                  </a:lnTo>
                  <a:lnTo>
                    <a:pt x="759" y="260"/>
                  </a:lnTo>
                  <a:lnTo>
                    <a:pt x="759" y="259"/>
                  </a:lnTo>
                  <a:lnTo>
                    <a:pt x="760" y="259"/>
                  </a:lnTo>
                  <a:lnTo>
                    <a:pt x="761" y="259"/>
                  </a:lnTo>
                  <a:lnTo>
                    <a:pt x="762" y="259"/>
                  </a:lnTo>
                  <a:lnTo>
                    <a:pt x="763" y="258"/>
                  </a:lnTo>
                  <a:lnTo>
                    <a:pt x="764" y="258"/>
                  </a:lnTo>
                  <a:lnTo>
                    <a:pt x="764" y="256"/>
                  </a:lnTo>
                  <a:lnTo>
                    <a:pt x="767" y="256"/>
                  </a:lnTo>
                  <a:lnTo>
                    <a:pt x="768" y="256"/>
                  </a:lnTo>
                  <a:lnTo>
                    <a:pt x="768" y="258"/>
                  </a:lnTo>
                  <a:lnTo>
                    <a:pt x="769" y="258"/>
                  </a:lnTo>
                  <a:lnTo>
                    <a:pt x="770" y="259"/>
                  </a:lnTo>
                  <a:lnTo>
                    <a:pt x="771" y="259"/>
                  </a:lnTo>
                  <a:lnTo>
                    <a:pt x="770" y="260"/>
                  </a:lnTo>
                  <a:lnTo>
                    <a:pt x="771" y="260"/>
                  </a:lnTo>
                  <a:lnTo>
                    <a:pt x="771" y="261"/>
                  </a:lnTo>
                  <a:lnTo>
                    <a:pt x="772" y="261"/>
                  </a:lnTo>
                  <a:lnTo>
                    <a:pt x="774" y="261"/>
                  </a:lnTo>
                  <a:lnTo>
                    <a:pt x="774" y="262"/>
                  </a:lnTo>
                  <a:lnTo>
                    <a:pt x="774" y="261"/>
                  </a:lnTo>
                  <a:lnTo>
                    <a:pt x="775" y="261"/>
                  </a:lnTo>
                  <a:lnTo>
                    <a:pt x="776" y="261"/>
                  </a:lnTo>
                  <a:lnTo>
                    <a:pt x="776" y="262"/>
                  </a:lnTo>
                  <a:lnTo>
                    <a:pt x="775" y="262"/>
                  </a:lnTo>
                  <a:lnTo>
                    <a:pt x="776" y="262"/>
                  </a:lnTo>
                  <a:lnTo>
                    <a:pt x="775" y="262"/>
                  </a:lnTo>
                  <a:lnTo>
                    <a:pt x="775" y="263"/>
                  </a:lnTo>
                  <a:lnTo>
                    <a:pt x="774" y="263"/>
                  </a:lnTo>
                  <a:lnTo>
                    <a:pt x="774" y="265"/>
                  </a:lnTo>
                  <a:lnTo>
                    <a:pt x="771" y="266"/>
                  </a:lnTo>
                  <a:lnTo>
                    <a:pt x="772" y="266"/>
                  </a:lnTo>
                  <a:lnTo>
                    <a:pt x="772" y="265"/>
                  </a:lnTo>
                  <a:lnTo>
                    <a:pt x="774" y="265"/>
                  </a:lnTo>
                  <a:lnTo>
                    <a:pt x="774" y="266"/>
                  </a:lnTo>
                  <a:lnTo>
                    <a:pt x="774" y="265"/>
                  </a:lnTo>
                  <a:lnTo>
                    <a:pt x="775" y="265"/>
                  </a:lnTo>
                  <a:lnTo>
                    <a:pt x="776" y="265"/>
                  </a:lnTo>
                  <a:lnTo>
                    <a:pt x="777" y="265"/>
                  </a:lnTo>
                  <a:lnTo>
                    <a:pt x="778" y="265"/>
                  </a:lnTo>
                  <a:lnTo>
                    <a:pt x="778" y="266"/>
                  </a:lnTo>
                  <a:lnTo>
                    <a:pt x="778" y="267"/>
                  </a:lnTo>
                  <a:lnTo>
                    <a:pt x="777" y="267"/>
                  </a:lnTo>
                  <a:lnTo>
                    <a:pt x="778" y="267"/>
                  </a:lnTo>
                  <a:lnTo>
                    <a:pt x="779" y="267"/>
                  </a:lnTo>
                  <a:lnTo>
                    <a:pt x="779" y="268"/>
                  </a:lnTo>
                  <a:lnTo>
                    <a:pt x="778" y="268"/>
                  </a:lnTo>
                  <a:lnTo>
                    <a:pt x="778" y="269"/>
                  </a:lnTo>
                  <a:lnTo>
                    <a:pt x="777" y="269"/>
                  </a:lnTo>
                  <a:lnTo>
                    <a:pt x="776" y="269"/>
                  </a:lnTo>
                  <a:lnTo>
                    <a:pt x="775" y="269"/>
                  </a:lnTo>
                  <a:lnTo>
                    <a:pt x="776" y="269"/>
                  </a:lnTo>
                  <a:lnTo>
                    <a:pt x="777" y="269"/>
                  </a:lnTo>
                  <a:lnTo>
                    <a:pt x="778" y="269"/>
                  </a:lnTo>
                  <a:lnTo>
                    <a:pt x="779" y="269"/>
                  </a:lnTo>
                  <a:lnTo>
                    <a:pt x="779" y="268"/>
                  </a:lnTo>
                  <a:lnTo>
                    <a:pt x="779" y="267"/>
                  </a:lnTo>
                  <a:lnTo>
                    <a:pt x="781" y="268"/>
                  </a:lnTo>
                  <a:lnTo>
                    <a:pt x="782" y="268"/>
                  </a:lnTo>
                  <a:lnTo>
                    <a:pt x="783" y="268"/>
                  </a:lnTo>
                  <a:lnTo>
                    <a:pt x="783" y="269"/>
                  </a:lnTo>
                  <a:lnTo>
                    <a:pt x="782" y="269"/>
                  </a:lnTo>
                  <a:lnTo>
                    <a:pt x="782" y="270"/>
                  </a:lnTo>
                  <a:lnTo>
                    <a:pt x="781" y="270"/>
                  </a:lnTo>
                  <a:lnTo>
                    <a:pt x="779" y="270"/>
                  </a:lnTo>
                  <a:lnTo>
                    <a:pt x="781" y="270"/>
                  </a:lnTo>
                  <a:lnTo>
                    <a:pt x="779" y="270"/>
                  </a:lnTo>
                  <a:lnTo>
                    <a:pt x="781" y="270"/>
                  </a:lnTo>
                  <a:lnTo>
                    <a:pt x="779" y="272"/>
                  </a:lnTo>
                  <a:lnTo>
                    <a:pt x="778" y="272"/>
                  </a:lnTo>
                  <a:lnTo>
                    <a:pt x="779" y="272"/>
                  </a:lnTo>
                  <a:lnTo>
                    <a:pt x="782" y="272"/>
                  </a:lnTo>
                  <a:lnTo>
                    <a:pt x="781" y="272"/>
                  </a:lnTo>
                  <a:lnTo>
                    <a:pt x="781" y="273"/>
                  </a:lnTo>
                  <a:lnTo>
                    <a:pt x="779" y="273"/>
                  </a:lnTo>
                  <a:lnTo>
                    <a:pt x="778" y="273"/>
                  </a:lnTo>
                  <a:lnTo>
                    <a:pt x="779" y="273"/>
                  </a:lnTo>
                  <a:lnTo>
                    <a:pt x="778" y="273"/>
                  </a:lnTo>
                  <a:lnTo>
                    <a:pt x="779" y="273"/>
                  </a:lnTo>
                  <a:lnTo>
                    <a:pt x="781" y="273"/>
                  </a:lnTo>
                  <a:lnTo>
                    <a:pt x="779" y="273"/>
                  </a:lnTo>
                  <a:lnTo>
                    <a:pt x="779" y="274"/>
                  </a:lnTo>
                  <a:lnTo>
                    <a:pt x="781" y="274"/>
                  </a:lnTo>
                  <a:lnTo>
                    <a:pt x="779" y="274"/>
                  </a:lnTo>
                  <a:lnTo>
                    <a:pt x="779" y="275"/>
                  </a:lnTo>
                  <a:lnTo>
                    <a:pt x="779" y="274"/>
                  </a:lnTo>
                  <a:lnTo>
                    <a:pt x="781" y="274"/>
                  </a:lnTo>
                  <a:lnTo>
                    <a:pt x="781" y="275"/>
                  </a:lnTo>
                  <a:lnTo>
                    <a:pt x="779" y="275"/>
                  </a:lnTo>
                  <a:lnTo>
                    <a:pt x="781" y="275"/>
                  </a:lnTo>
                  <a:lnTo>
                    <a:pt x="781" y="274"/>
                  </a:lnTo>
                  <a:lnTo>
                    <a:pt x="782" y="274"/>
                  </a:lnTo>
                  <a:lnTo>
                    <a:pt x="782" y="275"/>
                  </a:lnTo>
                  <a:lnTo>
                    <a:pt x="782" y="276"/>
                  </a:lnTo>
                  <a:lnTo>
                    <a:pt x="782" y="275"/>
                  </a:lnTo>
                  <a:lnTo>
                    <a:pt x="783" y="275"/>
                  </a:lnTo>
                  <a:lnTo>
                    <a:pt x="784" y="275"/>
                  </a:lnTo>
                  <a:lnTo>
                    <a:pt x="784" y="276"/>
                  </a:lnTo>
                  <a:lnTo>
                    <a:pt x="784" y="275"/>
                  </a:lnTo>
                  <a:lnTo>
                    <a:pt x="784" y="276"/>
                  </a:lnTo>
                  <a:lnTo>
                    <a:pt x="785" y="276"/>
                  </a:lnTo>
                  <a:lnTo>
                    <a:pt x="786" y="276"/>
                  </a:lnTo>
                  <a:lnTo>
                    <a:pt x="788" y="276"/>
                  </a:lnTo>
                  <a:lnTo>
                    <a:pt x="788" y="277"/>
                  </a:lnTo>
                  <a:lnTo>
                    <a:pt x="788" y="276"/>
                  </a:lnTo>
                  <a:lnTo>
                    <a:pt x="789" y="276"/>
                  </a:lnTo>
                  <a:lnTo>
                    <a:pt x="789" y="277"/>
                  </a:lnTo>
                  <a:lnTo>
                    <a:pt x="790" y="277"/>
                  </a:lnTo>
                  <a:lnTo>
                    <a:pt x="790" y="276"/>
                  </a:lnTo>
                  <a:lnTo>
                    <a:pt x="791" y="276"/>
                  </a:lnTo>
                  <a:lnTo>
                    <a:pt x="791" y="277"/>
                  </a:lnTo>
                  <a:lnTo>
                    <a:pt x="791" y="276"/>
                  </a:lnTo>
                  <a:lnTo>
                    <a:pt x="792" y="276"/>
                  </a:lnTo>
                  <a:lnTo>
                    <a:pt x="793" y="276"/>
                  </a:lnTo>
                  <a:lnTo>
                    <a:pt x="795" y="276"/>
                  </a:lnTo>
                  <a:lnTo>
                    <a:pt x="796" y="276"/>
                  </a:lnTo>
                  <a:lnTo>
                    <a:pt x="795" y="276"/>
                  </a:lnTo>
                  <a:lnTo>
                    <a:pt x="795" y="277"/>
                  </a:lnTo>
                  <a:lnTo>
                    <a:pt x="795" y="279"/>
                  </a:lnTo>
                  <a:lnTo>
                    <a:pt x="793" y="280"/>
                  </a:lnTo>
                  <a:lnTo>
                    <a:pt x="795" y="280"/>
                  </a:lnTo>
                  <a:lnTo>
                    <a:pt x="796" y="280"/>
                  </a:lnTo>
                  <a:lnTo>
                    <a:pt x="796" y="281"/>
                  </a:lnTo>
                  <a:lnTo>
                    <a:pt x="796" y="280"/>
                  </a:lnTo>
                  <a:lnTo>
                    <a:pt x="797" y="280"/>
                  </a:lnTo>
                  <a:lnTo>
                    <a:pt x="796" y="280"/>
                  </a:lnTo>
                  <a:lnTo>
                    <a:pt x="797" y="280"/>
                  </a:lnTo>
                  <a:lnTo>
                    <a:pt x="797" y="279"/>
                  </a:lnTo>
                  <a:lnTo>
                    <a:pt x="798" y="279"/>
                  </a:lnTo>
                  <a:lnTo>
                    <a:pt x="798" y="280"/>
                  </a:lnTo>
                  <a:lnTo>
                    <a:pt x="799" y="280"/>
                  </a:lnTo>
                  <a:lnTo>
                    <a:pt x="799" y="279"/>
                  </a:lnTo>
                  <a:lnTo>
                    <a:pt x="799" y="277"/>
                  </a:lnTo>
                  <a:lnTo>
                    <a:pt x="800" y="277"/>
                  </a:lnTo>
                  <a:lnTo>
                    <a:pt x="800" y="276"/>
                  </a:lnTo>
                  <a:lnTo>
                    <a:pt x="802" y="276"/>
                  </a:lnTo>
                  <a:lnTo>
                    <a:pt x="802" y="277"/>
                  </a:lnTo>
                  <a:lnTo>
                    <a:pt x="802" y="279"/>
                  </a:lnTo>
                  <a:lnTo>
                    <a:pt x="803" y="279"/>
                  </a:lnTo>
                  <a:lnTo>
                    <a:pt x="802" y="279"/>
                  </a:lnTo>
                  <a:lnTo>
                    <a:pt x="802" y="280"/>
                  </a:lnTo>
                  <a:lnTo>
                    <a:pt x="802" y="281"/>
                  </a:lnTo>
                  <a:lnTo>
                    <a:pt x="800" y="281"/>
                  </a:lnTo>
                  <a:lnTo>
                    <a:pt x="799" y="281"/>
                  </a:lnTo>
                  <a:lnTo>
                    <a:pt x="798" y="281"/>
                  </a:lnTo>
                  <a:lnTo>
                    <a:pt x="798" y="282"/>
                  </a:lnTo>
                  <a:lnTo>
                    <a:pt x="797" y="282"/>
                  </a:lnTo>
                  <a:lnTo>
                    <a:pt x="797" y="283"/>
                  </a:lnTo>
                  <a:lnTo>
                    <a:pt x="797" y="284"/>
                  </a:lnTo>
                  <a:lnTo>
                    <a:pt x="796" y="284"/>
                  </a:lnTo>
                  <a:lnTo>
                    <a:pt x="795" y="284"/>
                  </a:lnTo>
                  <a:lnTo>
                    <a:pt x="795" y="286"/>
                  </a:lnTo>
                  <a:lnTo>
                    <a:pt x="795" y="287"/>
                  </a:lnTo>
                  <a:lnTo>
                    <a:pt x="793" y="287"/>
                  </a:lnTo>
                  <a:lnTo>
                    <a:pt x="793" y="288"/>
                  </a:lnTo>
                  <a:lnTo>
                    <a:pt x="795" y="288"/>
                  </a:lnTo>
                  <a:lnTo>
                    <a:pt x="795" y="289"/>
                  </a:lnTo>
                  <a:lnTo>
                    <a:pt x="793" y="289"/>
                  </a:lnTo>
                  <a:lnTo>
                    <a:pt x="795" y="289"/>
                  </a:lnTo>
                  <a:lnTo>
                    <a:pt x="793" y="290"/>
                  </a:lnTo>
                  <a:lnTo>
                    <a:pt x="793" y="291"/>
                  </a:lnTo>
                  <a:lnTo>
                    <a:pt x="792" y="291"/>
                  </a:lnTo>
                  <a:lnTo>
                    <a:pt x="791" y="291"/>
                  </a:lnTo>
                  <a:lnTo>
                    <a:pt x="790" y="291"/>
                  </a:lnTo>
                  <a:lnTo>
                    <a:pt x="791" y="291"/>
                  </a:lnTo>
                  <a:lnTo>
                    <a:pt x="791" y="293"/>
                  </a:lnTo>
                  <a:lnTo>
                    <a:pt x="790" y="293"/>
                  </a:lnTo>
                  <a:lnTo>
                    <a:pt x="790" y="291"/>
                  </a:lnTo>
                  <a:lnTo>
                    <a:pt x="785" y="291"/>
                  </a:lnTo>
                  <a:lnTo>
                    <a:pt x="782" y="293"/>
                  </a:lnTo>
                  <a:lnTo>
                    <a:pt x="782" y="291"/>
                  </a:lnTo>
                  <a:lnTo>
                    <a:pt x="778" y="291"/>
                  </a:lnTo>
                  <a:lnTo>
                    <a:pt x="777" y="291"/>
                  </a:lnTo>
                  <a:lnTo>
                    <a:pt x="778" y="291"/>
                  </a:lnTo>
                  <a:lnTo>
                    <a:pt x="779" y="291"/>
                  </a:lnTo>
                  <a:lnTo>
                    <a:pt x="781" y="291"/>
                  </a:lnTo>
                  <a:lnTo>
                    <a:pt x="782" y="293"/>
                  </a:lnTo>
                  <a:lnTo>
                    <a:pt x="783" y="293"/>
                  </a:lnTo>
                  <a:lnTo>
                    <a:pt x="784" y="293"/>
                  </a:lnTo>
                  <a:lnTo>
                    <a:pt x="785" y="293"/>
                  </a:lnTo>
                  <a:lnTo>
                    <a:pt x="786" y="293"/>
                  </a:lnTo>
                  <a:lnTo>
                    <a:pt x="788" y="293"/>
                  </a:lnTo>
                  <a:lnTo>
                    <a:pt x="789" y="293"/>
                  </a:lnTo>
                  <a:lnTo>
                    <a:pt x="790" y="293"/>
                  </a:lnTo>
                  <a:lnTo>
                    <a:pt x="791" y="293"/>
                  </a:lnTo>
                  <a:lnTo>
                    <a:pt x="791" y="294"/>
                  </a:lnTo>
                  <a:lnTo>
                    <a:pt x="790" y="294"/>
                  </a:lnTo>
                  <a:lnTo>
                    <a:pt x="791" y="294"/>
                  </a:lnTo>
                  <a:lnTo>
                    <a:pt x="792" y="294"/>
                  </a:lnTo>
                  <a:lnTo>
                    <a:pt x="792" y="295"/>
                  </a:lnTo>
                  <a:lnTo>
                    <a:pt x="791" y="295"/>
                  </a:lnTo>
                  <a:lnTo>
                    <a:pt x="792" y="295"/>
                  </a:lnTo>
                  <a:lnTo>
                    <a:pt x="791" y="296"/>
                  </a:lnTo>
                  <a:lnTo>
                    <a:pt x="790" y="296"/>
                  </a:lnTo>
                  <a:lnTo>
                    <a:pt x="791" y="296"/>
                  </a:lnTo>
                  <a:lnTo>
                    <a:pt x="791" y="297"/>
                  </a:lnTo>
                  <a:lnTo>
                    <a:pt x="790" y="298"/>
                  </a:lnTo>
                  <a:lnTo>
                    <a:pt x="789" y="298"/>
                  </a:lnTo>
                  <a:lnTo>
                    <a:pt x="788" y="300"/>
                  </a:lnTo>
                  <a:lnTo>
                    <a:pt x="789" y="300"/>
                  </a:lnTo>
                  <a:lnTo>
                    <a:pt x="789" y="301"/>
                  </a:lnTo>
                  <a:lnTo>
                    <a:pt x="788" y="301"/>
                  </a:lnTo>
                  <a:lnTo>
                    <a:pt x="786" y="302"/>
                  </a:lnTo>
                  <a:lnTo>
                    <a:pt x="788" y="302"/>
                  </a:lnTo>
                  <a:lnTo>
                    <a:pt x="789" y="302"/>
                  </a:lnTo>
                  <a:lnTo>
                    <a:pt x="790" y="302"/>
                  </a:lnTo>
                  <a:lnTo>
                    <a:pt x="791" y="302"/>
                  </a:lnTo>
                  <a:lnTo>
                    <a:pt x="792" y="302"/>
                  </a:lnTo>
                  <a:lnTo>
                    <a:pt x="791" y="302"/>
                  </a:lnTo>
                  <a:lnTo>
                    <a:pt x="791" y="303"/>
                  </a:lnTo>
                  <a:lnTo>
                    <a:pt x="790" y="303"/>
                  </a:lnTo>
                  <a:lnTo>
                    <a:pt x="790" y="304"/>
                  </a:lnTo>
                  <a:lnTo>
                    <a:pt x="789" y="304"/>
                  </a:lnTo>
                  <a:lnTo>
                    <a:pt x="789" y="303"/>
                  </a:lnTo>
                  <a:lnTo>
                    <a:pt x="788" y="304"/>
                  </a:lnTo>
                  <a:lnTo>
                    <a:pt x="788" y="305"/>
                  </a:lnTo>
                  <a:lnTo>
                    <a:pt x="788" y="304"/>
                  </a:lnTo>
                  <a:lnTo>
                    <a:pt x="789" y="304"/>
                  </a:lnTo>
                  <a:lnTo>
                    <a:pt x="789" y="305"/>
                  </a:lnTo>
                  <a:lnTo>
                    <a:pt x="788" y="305"/>
                  </a:lnTo>
                  <a:lnTo>
                    <a:pt x="788" y="307"/>
                  </a:lnTo>
                  <a:lnTo>
                    <a:pt x="788" y="305"/>
                  </a:lnTo>
                  <a:lnTo>
                    <a:pt x="786" y="308"/>
                  </a:lnTo>
                  <a:lnTo>
                    <a:pt x="786" y="309"/>
                  </a:lnTo>
                  <a:lnTo>
                    <a:pt x="786" y="308"/>
                  </a:lnTo>
                  <a:lnTo>
                    <a:pt x="785" y="308"/>
                  </a:lnTo>
                  <a:lnTo>
                    <a:pt x="785" y="309"/>
                  </a:lnTo>
                  <a:lnTo>
                    <a:pt x="784" y="309"/>
                  </a:lnTo>
                  <a:lnTo>
                    <a:pt x="784" y="310"/>
                  </a:lnTo>
                  <a:lnTo>
                    <a:pt x="783" y="310"/>
                  </a:lnTo>
                  <a:lnTo>
                    <a:pt x="783" y="309"/>
                  </a:lnTo>
                  <a:lnTo>
                    <a:pt x="784" y="308"/>
                  </a:lnTo>
                  <a:lnTo>
                    <a:pt x="784" y="307"/>
                  </a:lnTo>
                  <a:lnTo>
                    <a:pt x="783" y="307"/>
                  </a:lnTo>
                  <a:lnTo>
                    <a:pt x="783" y="305"/>
                  </a:lnTo>
                  <a:lnTo>
                    <a:pt x="783" y="307"/>
                  </a:lnTo>
                  <a:lnTo>
                    <a:pt x="782" y="307"/>
                  </a:lnTo>
                  <a:lnTo>
                    <a:pt x="782" y="308"/>
                  </a:lnTo>
                  <a:lnTo>
                    <a:pt x="783" y="308"/>
                  </a:lnTo>
                  <a:lnTo>
                    <a:pt x="782" y="309"/>
                  </a:lnTo>
                  <a:lnTo>
                    <a:pt x="781" y="309"/>
                  </a:lnTo>
                  <a:lnTo>
                    <a:pt x="782" y="309"/>
                  </a:lnTo>
                  <a:lnTo>
                    <a:pt x="781" y="309"/>
                  </a:lnTo>
                  <a:lnTo>
                    <a:pt x="779" y="309"/>
                  </a:lnTo>
                  <a:lnTo>
                    <a:pt x="779" y="310"/>
                  </a:lnTo>
                  <a:lnTo>
                    <a:pt x="778" y="310"/>
                  </a:lnTo>
                  <a:lnTo>
                    <a:pt x="777" y="310"/>
                  </a:lnTo>
                  <a:lnTo>
                    <a:pt x="778" y="310"/>
                  </a:lnTo>
                  <a:lnTo>
                    <a:pt x="779" y="310"/>
                  </a:lnTo>
                  <a:lnTo>
                    <a:pt x="781" y="310"/>
                  </a:lnTo>
                  <a:lnTo>
                    <a:pt x="779" y="310"/>
                  </a:lnTo>
                  <a:lnTo>
                    <a:pt x="779" y="311"/>
                  </a:lnTo>
                  <a:lnTo>
                    <a:pt x="781" y="311"/>
                  </a:lnTo>
                  <a:lnTo>
                    <a:pt x="782" y="311"/>
                  </a:lnTo>
                  <a:lnTo>
                    <a:pt x="781" y="311"/>
                  </a:lnTo>
                  <a:lnTo>
                    <a:pt x="779" y="311"/>
                  </a:lnTo>
                  <a:lnTo>
                    <a:pt x="779" y="312"/>
                  </a:lnTo>
                  <a:lnTo>
                    <a:pt x="781" y="312"/>
                  </a:lnTo>
                  <a:lnTo>
                    <a:pt x="782" y="311"/>
                  </a:lnTo>
                  <a:lnTo>
                    <a:pt x="783" y="311"/>
                  </a:lnTo>
                  <a:lnTo>
                    <a:pt x="783" y="310"/>
                  </a:lnTo>
                  <a:lnTo>
                    <a:pt x="784" y="310"/>
                  </a:lnTo>
                  <a:lnTo>
                    <a:pt x="785" y="310"/>
                  </a:lnTo>
                  <a:lnTo>
                    <a:pt x="786" y="309"/>
                  </a:lnTo>
                  <a:lnTo>
                    <a:pt x="788" y="309"/>
                  </a:lnTo>
                  <a:lnTo>
                    <a:pt x="789" y="308"/>
                  </a:lnTo>
                  <a:lnTo>
                    <a:pt x="790" y="308"/>
                  </a:lnTo>
                  <a:lnTo>
                    <a:pt x="792" y="308"/>
                  </a:lnTo>
                  <a:lnTo>
                    <a:pt x="791" y="309"/>
                  </a:lnTo>
                  <a:lnTo>
                    <a:pt x="792" y="309"/>
                  </a:lnTo>
                  <a:lnTo>
                    <a:pt x="795" y="308"/>
                  </a:lnTo>
                  <a:lnTo>
                    <a:pt x="796" y="308"/>
                  </a:lnTo>
                  <a:lnTo>
                    <a:pt x="797" y="309"/>
                  </a:lnTo>
                  <a:lnTo>
                    <a:pt x="798" y="309"/>
                  </a:lnTo>
                  <a:lnTo>
                    <a:pt x="798" y="310"/>
                  </a:lnTo>
                  <a:lnTo>
                    <a:pt x="797" y="310"/>
                  </a:lnTo>
                  <a:lnTo>
                    <a:pt x="797" y="311"/>
                  </a:lnTo>
                  <a:lnTo>
                    <a:pt x="798" y="311"/>
                  </a:lnTo>
                  <a:lnTo>
                    <a:pt x="797" y="312"/>
                  </a:lnTo>
                  <a:lnTo>
                    <a:pt x="798" y="312"/>
                  </a:lnTo>
                  <a:lnTo>
                    <a:pt x="797" y="312"/>
                  </a:lnTo>
                  <a:lnTo>
                    <a:pt x="797" y="314"/>
                  </a:lnTo>
                  <a:lnTo>
                    <a:pt x="798" y="314"/>
                  </a:lnTo>
                  <a:lnTo>
                    <a:pt x="798" y="315"/>
                  </a:lnTo>
                  <a:lnTo>
                    <a:pt x="797" y="315"/>
                  </a:lnTo>
                  <a:lnTo>
                    <a:pt x="797" y="316"/>
                  </a:lnTo>
                  <a:lnTo>
                    <a:pt x="796" y="316"/>
                  </a:lnTo>
                  <a:lnTo>
                    <a:pt x="795" y="317"/>
                  </a:lnTo>
                  <a:lnTo>
                    <a:pt x="795" y="318"/>
                  </a:lnTo>
                  <a:lnTo>
                    <a:pt x="793" y="318"/>
                  </a:lnTo>
                  <a:lnTo>
                    <a:pt x="793" y="319"/>
                  </a:lnTo>
                  <a:lnTo>
                    <a:pt x="791" y="321"/>
                  </a:lnTo>
                  <a:lnTo>
                    <a:pt x="789" y="321"/>
                  </a:lnTo>
                  <a:lnTo>
                    <a:pt x="786" y="322"/>
                  </a:lnTo>
                  <a:lnTo>
                    <a:pt x="785" y="322"/>
                  </a:lnTo>
                  <a:lnTo>
                    <a:pt x="784" y="323"/>
                  </a:lnTo>
                  <a:lnTo>
                    <a:pt x="783" y="323"/>
                  </a:lnTo>
                  <a:lnTo>
                    <a:pt x="782" y="323"/>
                  </a:lnTo>
                  <a:lnTo>
                    <a:pt x="779" y="324"/>
                  </a:lnTo>
                  <a:lnTo>
                    <a:pt x="783" y="323"/>
                  </a:lnTo>
                  <a:lnTo>
                    <a:pt x="784" y="323"/>
                  </a:lnTo>
                  <a:lnTo>
                    <a:pt x="785" y="322"/>
                  </a:lnTo>
                  <a:lnTo>
                    <a:pt x="788" y="322"/>
                  </a:lnTo>
                  <a:lnTo>
                    <a:pt x="789" y="322"/>
                  </a:lnTo>
                  <a:lnTo>
                    <a:pt x="790" y="322"/>
                  </a:lnTo>
                  <a:lnTo>
                    <a:pt x="791" y="321"/>
                  </a:lnTo>
                  <a:lnTo>
                    <a:pt x="792" y="321"/>
                  </a:lnTo>
                  <a:lnTo>
                    <a:pt x="793" y="321"/>
                  </a:lnTo>
                  <a:lnTo>
                    <a:pt x="793" y="319"/>
                  </a:lnTo>
                  <a:lnTo>
                    <a:pt x="795" y="319"/>
                  </a:lnTo>
                  <a:lnTo>
                    <a:pt x="795" y="318"/>
                  </a:lnTo>
                  <a:lnTo>
                    <a:pt x="796" y="318"/>
                  </a:lnTo>
                  <a:lnTo>
                    <a:pt x="796" y="317"/>
                  </a:lnTo>
                  <a:lnTo>
                    <a:pt x="797" y="316"/>
                  </a:lnTo>
                  <a:lnTo>
                    <a:pt x="797" y="315"/>
                  </a:lnTo>
                  <a:lnTo>
                    <a:pt x="798" y="315"/>
                  </a:lnTo>
                  <a:lnTo>
                    <a:pt x="798" y="314"/>
                  </a:lnTo>
                  <a:lnTo>
                    <a:pt x="799" y="314"/>
                  </a:lnTo>
                  <a:lnTo>
                    <a:pt x="800" y="314"/>
                  </a:lnTo>
                  <a:lnTo>
                    <a:pt x="800" y="312"/>
                  </a:lnTo>
                  <a:lnTo>
                    <a:pt x="800" y="314"/>
                  </a:lnTo>
                  <a:lnTo>
                    <a:pt x="802" y="314"/>
                  </a:lnTo>
                  <a:lnTo>
                    <a:pt x="802" y="315"/>
                  </a:lnTo>
                  <a:lnTo>
                    <a:pt x="800" y="315"/>
                  </a:lnTo>
                  <a:lnTo>
                    <a:pt x="800" y="316"/>
                  </a:lnTo>
                  <a:lnTo>
                    <a:pt x="800" y="317"/>
                  </a:lnTo>
                  <a:lnTo>
                    <a:pt x="799" y="317"/>
                  </a:lnTo>
                  <a:lnTo>
                    <a:pt x="798" y="318"/>
                  </a:lnTo>
                  <a:lnTo>
                    <a:pt x="797" y="319"/>
                  </a:lnTo>
                  <a:lnTo>
                    <a:pt x="796" y="319"/>
                  </a:lnTo>
                  <a:lnTo>
                    <a:pt x="796" y="321"/>
                  </a:lnTo>
                  <a:lnTo>
                    <a:pt x="797" y="319"/>
                  </a:lnTo>
                  <a:lnTo>
                    <a:pt x="798" y="319"/>
                  </a:lnTo>
                  <a:lnTo>
                    <a:pt x="798" y="318"/>
                  </a:lnTo>
                  <a:lnTo>
                    <a:pt x="799" y="318"/>
                  </a:lnTo>
                  <a:lnTo>
                    <a:pt x="800" y="317"/>
                  </a:lnTo>
                  <a:lnTo>
                    <a:pt x="800" y="316"/>
                  </a:lnTo>
                  <a:lnTo>
                    <a:pt x="802" y="316"/>
                  </a:lnTo>
                  <a:lnTo>
                    <a:pt x="802" y="315"/>
                  </a:lnTo>
                  <a:lnTo>
                    <a:pt x="803" y="315"/>
                  </a:lnTo>
                  <a:lnTo>
                    <a:pt x="803" y="316"/>
                  </a:lnTo>
                  <a:lnTo>
                    <a:pt x="802" y="316"/>
                  </a:lnTo>
                  <a:lnTo>
                    <a:pt x="802" y="317"/>
                  </a:lnTo>
                  <a:lnTo>
                    <a:pt x="803" y="317"/>
                  </a:lnTo>
                  <a:lnTo>
                    <a:pt x="803" y="318"/>
                  </a:lnTo>
                  <a:lnTo>
                    <a:pt x="802" y="318"/>
                  </a:lnTo>
                  <a:lnTo>
                    <a:pt x="800" y="319"/>
                  </a:lnTo>
                  <a:lnTo>
                    <a:pt x="800" y="321"/>
                  </a:lnTo>
                  <a:lnTo>
                    <a:pt x="800" y="322"/>
                  </a:lnTo>
                  <a:lnTo>
                    <a:pt x="799" y="322"/>
                  </a:lnTo>
                  <a:lnTo>
                    <a:pt x="799" y="323"/>
                  </a:lnTo>
                  <a:lnTo>
                    <a:pt x="799" y="322"/>
                  </a:lnTo>
                  <a:lnTo>
                    <a:pt x="800" y="322"/>
                  </a:lnTo>
                  <a:lnTo>
                    <a:pt x="800" y="321"/>
                  </a:lnTo>
                  <a:lnTo>
                    <a:pt x="802" y="321"/>
                  </a:lnTo>
                  <a:lnTo>
                    <a:pt x="802" y="319"/>
                  </a:lnTo>
                  <a:lnTo>
                    <a:pt x="803" y="318"/>
                  </a:lnTo>
                  <a:lnTo>
                    <a:pt x="804" y="318"/>
                  </a:lnTo>
                  <a:lnTo>
                    <a:pt x="804" y="317"/>
                  </a:lnTo>
                  <a:lnTo>
                    <a:pt x="805" y="317"/>
                  </a:lnTo>
                  <a:lnTo>
                    <a:pt x="806" y="317"/>
                  </a:lnTo>
                  <a:lnTo>
                    <a:pt x="807" y="316"/>
                  </a:lnTo>
                  <a:lnTo>
                    <a:pt x="809" y="316"/>
                  </a:lnTo>
                  <a:lnTo>
                    <a:pt x="810" y="316"/>
                  </a:lnTo>
                  <a:lnTo>
                    <a:pt x="810" y="315"/>
                  </a:lnTo>
                  <a:lnTo>
                    <a:pt x="811" y="315"/>
                  </a:lnTo>
                  <a:lnTo>
                    <a:pt x="812" y="315"/>
                  </a:lnTo>
                  <a:lnTo>
                    <a:pt x="812" y="314"/>
                  </a:lnTo>
                  <a:lnTo>
                    <a:pt x="812" y="315"/>
                  </a:lnTo>
                  <a:lnTo>
                    <a:pt x="813" y="315"/>
                  </a:lnTo>
                  <a:lnTo>
                    <a:pt x="813" y="314"/>
                  </a:lnTo>
                  <a:lnTo>
                    <a:pt x="814" y="314"/>
                  </a:lnTo>
                  <a:lnTo>
                    <a:pt x="816" y="314"/>
                  </a:lnTo>
                  <a:lnTo>
                    <a:pt x="817" y="312"/>
                  </a:lnTo>
                  <a:lnTo>
                    <a:pt x="817" y="311"/>
                  </a:lnTo>
                  <a:lnTo>
                    <a:pt x="818" y="311"/>
                  </a:lnTo>
                  <a:lnTo>
                    <a:pt x="819" y="311"/>
                  </a:lnTo>
                  <a:lnTo>
                    <a:pt x="819" y="310"/>
                  </a:lnTo>
                  <a:lnTo>
                    <a:pt x="819" y="309"/>
                  </a:lnTo>
                  <a:lnTo>
                    <a:pt x="820" y="309"/>
                  </a:lnTo>
                  <a:lnTo>
                    <a:pt x="821" y="309"/>
                  </a:lnTo>
                  <a:lnTo>
                    <a:pt x="821" y="310"/>
                  </a:lnTo>
                  <a:lnTo>
                    <a:pt x="823" y="310"/>
                  </a:lnTo>
                  <a:lnTo>
                    <a:pt x="823" y="311"/>
                  </a:lnTo>
                  <a:lnTo>
                    <a:pt x="824" y="311"/>
                  </a:lnTo>
                  <a:lnTo>
                    <a:pt x="824" y="312"/>
                  </a:lnTo>
                  <a:lnTo>
                    <a:pt x="824" y="314"/>
                  </a:lnTo>
                  <a:lnTo>
                    <a:pt x="823" y="314"/>
                  </a:lnTo>
                  <a:lnTo>
                    <a:pt x="823" y="315"/>
                  </a:lnTo>
                  <a:lnTo>
                    <a:pt x="821" y="316"/>
                  </a:lnTo>
                  <a:lnTo>
                    <a:pt x="820" y="316"/>
                  </a:lnTo>
                  <a:lnTo>
                    <a:pt x="821" y="316"/>
                  </a:lnTo>
                  <a:lnTo>
                    <a:pt x="823" y="316"/>
                  </a:lnTo>
                  <a:lnTo>
                    <a:pt x="823" y="315"/>
                  </a:lnTo>
                  <a:lnTo>
                    <a:pt x="824" y="315"/>
                  </a:lnTo>
                  <a:lnTo>
                    <a:pt x="823" y="315"/>
                  </a:lnTo>
                  <a:lnTo>
                    <a:pt x="823" y="314"/>
                  </a:lnTo>
                  <a:lnTo>
                    <a:pt x="824" y="314"/>
                  </a:lnTo>
                  <a:lnTo>
                    <a:pt x="825" y="312"/>
                  </a:lnTo>
                  <a:lnTo>
                    <a:pt x="825" y="311"/>
                  </a:lnTo>
                  <a:lnTo>
                    <a:pt x="824" y="311"/>
                  </a:lnTo>
                  <a:lnTo>
                    <a:pt x="824" y="310"/>
                  </a:lnTo>
                  <a:lnTo>
                    <a:pt x="825" y="309"/>
                  </a:lnTo>
                  <a:lnTo>
                    <a:pt x="826" y="309"/>
                  </a:lnTo>
                  <a:lnTo>
                    <a:pt x="827" y="309"/>
                  </a:lnTo>
                  <a:lnTo>
                    <a:pt x="826" y="309"/>
                  </a:lnTo>
                  <a:lnTo>
                    <a:pt x="826" y="308"/>
                  </a:lnTo>
                  <a:lnTo>
                    <a:pt x="827" y="308"/>
                  </a:lnTo>
                  <a:lnTo>
                    <a:pt x="827" y="307"/>
                  </a:lnTo>
                  <a:lnTo>
                    <a:pt x="828" y="307"/>
                  </a:lnTo>
                  <a:lnTo>
                    <a:pt x="829" y="308"/>
                  </a:lnTo>
                  <a:lnTo>
                    <a:pt x="829" y="307"/>
                  </a:lnTo>
                  <a:lnTo>
                    <a:pt x="828" y="307"/>
                  </a:lnTo>
                  <a:lnTo>
                    <a:pt x="829" y="307"/>
                  </a:lnTo>
                  <a:lnTo>
                    <a:pt x="828" y="307"/>
                  </a:lnTo>
                  <a:lnTo>
                    <a:pt x="829" y="307"/>
                  </a:lnTo>
                  <a:lnTo>
                    <a:pt x="829" y="305"/>
                  </a:lnTo>
                  <a:lnTo>
                    <a:pt x="831" y="305"/>
                  </a:lnTo>
                  <a:lnTo>
                    <a:pt x="831" y="307"/>
                  </a:lnTo>
                  <a:lnTo>
                    <a:pt x="832" y="307"/>
                  </a:lnTo>
                  <a:lnTo>
                    <a:pt x="831" y="307"/>
                  </a:lnTo>
                  <a:lnTo>
                    <a:pt x="831" y="305"/>
                  </a:lnTo>
                  <a:lnTo>
                    <a:pt x="832" y="305"/>
                  </a:lnTo>
                  <a:lnTo>
                    <a:pt x="833" y="305"/>
                  </a:lnTo>
                  <a:lnTo>
                    <a:pt x="834" y="307"/>
                  </a:lnTo>
                  <a:lnTo>
                    <a:pt x="834" y="305"/>
                  </a:lnTo>
                  <a:lnTo>
                    <a:pt x="833" y="305"/>
                  </a:lnTo>
                  <a:lnTo>
                    <a:pt x="832" y="305"/>
                  </a:lnTo>
                  <a:lnTo>
                    <a:pt x="831" y="305"/>
                  </a:lnTo>
                  <a:lnTo>
                    <a:pt x="831" y="304"/>
                  </a:lnTo>
                  <a:lnTo>
                    <a:pt x="831" y="303"/>
                  </a:lnTo>
                  <a:lnTo>
                    <a:pt x="832" y="303"/>
                  </a:lnTo>
                  <a:lnTo>
                    <a:pt x="832" y="304"/>
                  </a:lnTo>
                  <a:lnTo>
                    <a:pt x="832" y="303"/>
                  </a:lnTo>
                  <a:lnTo>
                    <a:pt x="833" y="303"/>
                  </a:lnTo>
                  <a:lnTo>
                    <a:pt x="834" y="303"/>
                  </a:lnTo>
                  <a:lnTo>
                    <a:pt x="833" y="303"/>
                  </a:lnTo>
                  <a:lnTo>
                    <a:pt x="833" y="302"/>
                  </a:lnTo>
                  <a:lnTo>
                    <a:pt x="833" y="301"/>
                  </a:lnTo>
                  <a:lnTo>
                    <a:pt x="834" y="301"/>
                  </a:lnTo>
                  <a:lnTo>
                    <a:pt x="834" y="302"/>
                  </a:lnTo>
                  <a:lnTo>
                    <a:pt x="835" y="303"/>
                  </a:lnTo>
                  <a:lnTo>
                    <a:pt x="835" y="302"/>
                  </a:lnTo>
                  <a:lnTo>
                    <a:pt x="835" y="301"/>
                  </a:lnTo>
                  <a:lnTo>
                    <a:pt x="835" y="300"/>
                  </a:lnTo>
                  <a:lnTo>
                    <a:pt x="834" y="300"/>
                  </a:lnTo>
                  <a:lnTo>
                    <a:pt x="835" y="300"/>
                  </a:lnTo>
                  <a:lnTo>
                    <a:pt x="836" y="300"/>
                  </a:lnTo>
                  <a:lnTo>
                    <a:pt x="838" y="300"/>
                  </a:lnTo>
                  <a:lnTo>
                    <a:pt x="839" y="300"/>
                  </a:lnTo>
                  <a:lnTo>
                    <a:pt x="839" y="301"/>
                  </a:lnTo>
                  <a:lnTo>
                    <a:pt x="840" y="301"/>
                  </a:lnTo>
                  <a:lnTo>
                    <a:pt x="839" y="301"/>
                  </a:lnTo>
                  <a:lnTo>
                    <a:pt x="839" y="300"/>
                  </a:lnTo>
                  <a:lnTo>
                    <a:pt x="838" y="300"/>
                  </a:lnTo>
                  <a:lnTo>
                    <a:pt x="836" y="300"/>
                  </a:lnTo>
                  <a:lnTo>
                    <a:pt x="836" y="298"/>
                  </a:lnTo>
                  <a:lnTo>
                    <a:pt x="836" y="297"/>
                  </a:lnTo>
                  <a:lnTo>
                    <a:pt x="836" y="296"/>
                  </a:lnTo>
                  <a:lnTo>
                    <a:pt x="838" y="296"/>
                  </a:lnTo>
                  <a:lnTo>
                    <a:pt x="838" y="295"/>
                  </a:lnTo>
                  <a:lnTo>
                    <a:pt x="839" y="295"/>
                  </a:lnTo>
                  <a:lnTo>
                    <a:pt x="840" y="294"/>
                  </a:lnTo>
                  <a:lnTo>
                    <a:pt x="841" y="295"/>
                  </a:lnTo>
                  <a:lnTo>
                    <a:pt x="842" y="295"/>
                  </a:lnTo>
                  <a:lnTo>
                    <a:pt x="841" y="295"/>
                  </a:lnTo>
                  <a:lnTo>
                    <a:pt x="841" y="294"/>
                  </a:lnTo>
                  <a:lnTo>
                    <a:pt x="842" y="294"/>
                  </a:lnTo>
                  <a:lnTo>
                    <a:pt x="841" y="294"/>
                  </a:lnTo>
                  <a:lnTo>
                    <a:pt x="842" y="294"/>
                  </a:lnTo>
                  <a:lnTo>
                    <a:pt x="842" y="293"/>
                  </a:lnTo>
                  <a:lnTo>
                    <a:pt x="843" y="293"/>
                  </a:lnTo>
                  <a:lnTo>
                    <a:pt x="842" y="293"/>
                  </a:lnTo>
                  <a:lnTo>
                    <a:pt x="843" y="293"/>
                  </a:lnTo>
                  <a:lnTo>
                    <a:pt x="843" y="291"/>
                  </a:lnTo>
                  <a:lnTo>
                    <a:pt x="845" y="291"/>
                  </a:lnTo>
                  <a:lnTo>
                    <a:pt x="845" y="290"/>
                  </a:lnTo>
                  <a:lnTo>
                    <a:pt x="846" y="290"/>
                  </a:lnTo>
                  <a:lnTo>
                    <a:pt x="846" y="289"/>
                  </a:lnTo>
                  <a:lnTo>
                    <a:pt x="847" y="289"/>
                  </a:lnTo>
                  <a:lnTo>
                    <a:pt x="847" y="288"/>
                  </a:lnTo>
                  <a:lnTo>
                    <a:pt x="848" y="288"/>
                  </a:lnTo>
                  <a:lnTo>
                    <a:pt x="848" y="287"/>
                  </a:lnTo>
                  <a:lnTo>
                    <a:pt x="849" y="287"/>
                  </a:lnTo>
                  <a:lnTo>
                    <a:pt x="850" y="287"/>
                  </a:lnTo>
                  <a:lnTo>
                    <a:pt x="852" y="288"/>
                  </a:lnTo>
                  <a:lnTo>
                    <a:pt x="853" y="288"/>
                  </a:lnTo>
                  <a:lnTo>
                    <a:pt x="853" y="289"/>
                  </a:lnTo>
                  <a:lnTo>
                    <a:pt x="852" y="288"/>
                  </a:lnTo>
                  <a:lnTo>
                    <a:pt x="850" y="288"/>
                  </a:lnTo>
                  <a:lnTo>
                    <a:pt x="849" y="288"/>
                  </a:lnTo>
                  <a:lnTo>
                    <a:pt x="848" y="289"/>
                  </a:lnTo>
                  <a:lnTo>
                    <a:pt x="849" y="289"/>
                  </a:lnTo>
                  <a:lnTo>
                    <a:pt x="850" y="288"/>
                  </a:lnTo>
                  <a:lnTo>
                    <a:pt x="852" y="288"/>
                  </a:lnTo>
                  <a:lnTo>
                    <a:pt x="852" y="289"/>
                  </a:lnTo>
                  <a:lnTo>
                    <a:pt x="850" y="289"/>
                  </a:lnTo>
                  <a:lnTo>
                    <a:pt x="852" y="289"/>
                  </a:lnTo>
                  <a:lnTo>
                    <a:pt x="853" y="289"/>
                  </a:lnTo>
                  <a:lnTo>
                    <a:pt x="852" y="289"/>
                  </a:lnTo>
                  <a:lnTo>
                    <a:pt x="853" y="289"/>
                  </a:lnTo>
                  <a:lnTo>
                    <a:pt x="852" y="290"/>
                  </a:lnTo>
                  <a:lnTo>
                    <a:pt x="850" y="290"/>
                  </a:lnTo>
                  <a:lnTo>
                    <a:pt x="850" y="291"/>
                  </a:lnTo>
                  <a:lnTo>
                    <a:pt x="849" y="291"/>
                  </a:lnTo>
                  <a:lnTo>
                    <a:pt x="848" y="291"/>
                  </a:lnTo>
                  <a:lnTo>
                    <a:pt x="846" y="291"/>
                  </a:lnTo>
                  <a:lnTo>
                    <a:pt x="846" y="293"/>
                  </a:lnTo>
                  <a:lnTo>
                    <a:pt x="849" y="291"/>
                  </a:lnTo>
                  <a:lnTo>
                    <a:pt x="850" y="291"/>
                  </a:lnTo>
                  <a:lnTo>
                    <a:pt x="852" y="291"/>
                  </a:lnTo>
                  <a:lnTo>
                    <a:pt x="852" y="290"/>
                  </a:lnTo>
                  <a:lnTo>
                    <a:pt x="852" y="291"/>
                  </a:lnTo>
                  <a:lnTo>
                    <a:pt x="852" y="290"/>
                  </a:lnTo>
                  <a:lnTo>
                    <a:pt x="852" y="291"/>
                  </a:lnTo>
                  <a:lnTo>
                    <a:pt x="850" y="291"/>
                  </a:lnTo>
                  <a:lnTo>
                    <a:pt x="849" y="291"/>
                  </a:lnTo>
                  <a:lnTo>
                    <a:pt x="850" y="293"/>
                  </a:lnTo>
                  <a:lnTo>
                    <a:pt x="849" y="293"/>
                  </a:lnTo>
                  <a:lnTo>
                    <a:pt x="849" y="294"/>
                  </a:lnTo>
                  <a:lnTo>
                    <a:pt x="850" y="294"/>
                  </a:lnTo>
                  <a:lnTo>
                    <a:pt x="850" y="293"/>
                  </a:lnTo>
                  <a:lnTo>
                    <a:pt x="852" y="293"/>
                  </a:lnTo>
                  <a:lnTo>
                    <a:pt x="853" y="293"/>
                  </a:lnTo>
                  <a:lnTo>
                    <a:pt x="853" y="291"/>
                  </a:lnTo>
                  <a:lnTo>
                    <a:pt x="853" y="293"/>
                  </a:lnTo>
                  <a:lnTo>
                    <a:pt x="852" y="291"/>
                  </a:lnTo>
                  <a:lnTo>
                    <a:pt x="853" y="291"/>
                  </a:lnTo>
                  <a:lnTo>
                    <a:pt x="854" y="291"/>
                  </a:lnTo>
                  <a:lnTo>
                    <a:pt x="854" y="293"/>
                  </a:lnTo>
                  <a:lnTo>
                    <a:pt x="853" y="293"/>
                  </a:lnTo>
                  <a:lnTo>
                    <a:pt x="852" y="293"/>
                  </a:lnTo>
                  <a:lnTo>
                    <a:pt x="853" y="293"/>
                  </a:lnTo>
                  <a:lnTo>
                    <a:pt x="853" y="294"/>
                  </a:lnTo>
                  <a:lnTo>
                    <a:pt x="852" y="294"/>
                  </a:lnTo>
                  <a:lnTo>
                    <a:pt x="853" y="294"/>
                  </a:lnTo>
                  <a:lnTo>
                    <a:pt x="853" y="295"/>
                  </a:lnTo>
                  <a:lnTo>
                    <a:pt x="852" y="295"/>
                  </a:lnTo>
                  <a:lnTo>
                    <a:pt x="850" y="295"/>
                  </a:lnTo>
                  <a:lnTo>
                    <a:pt x="850" y="296"/>
                  </a:lnTo>
                  <a:lnTo>
                    <a:pt x="852" y="296"/>
                  </a:lnTo>
                  <a:lnTo>
                    <a:pt x="852" y="297"/>
                  </a:lnTo>
                  <a:lnTo>
                    <a:pt x="853" y="297"/>
                  </a:lnTo>
                  <a:lnTo>
                    <a:pt x="854" y="296"/>
                  </a:lnTo>
                  <a:lnTo>
                    <a:pt x="854" y="297"/>
                  </a:lnTo>
                  <a:lnTo>
                    <a:pt x="853" y="297"/>
                  </a:lnTo>
                  <a:lnTo>
                    <a:pt x="852" y="297"/>
                  </a:lnTo>
                  <a:lnTo>
                    <a:pt x="852" y="298"/>
                  </a:lnTo>
                  <a:lnTo>
                    <a:pt x="850" y="298"/>
                  </a:lnTo>
                  <a:lnTo>
                    <a:pt x="850" y="300"/>
                  </a:lnTo>
                  <a:lnTo>
                    <a:pt x="852" y="298"/>
                  </a:lnTo>
                  <a:lnTo>
                    <a:pt x="853" y="297"/>
                  </a:lnTo>
                  <a:lnTo>
                    <a:pt x="854" y="297"/>
                  </a:lnTo>
                  <a:lnTo>
                    <a:pt x="854" y="298"/>
                  </a:lnTo>
                  <a:lnTo>
                    <a:pt x="853" y="298"/>
                  </a:lnTo>
                  <a:lnTo>
                    <a:pt x="853" y="300"/>
                  </a:lnTo>
                  <a:lnTo>
                    <a:pt x="853" y="298"/>
                  </a:lnTo>
                  <a:lnTo>
                    <a:pt x="854" y="298"/>
                  </a:lnTo>
                  <a:lnTo>
                    <a:pt x="855" y="298"/>
                  </a:lnTo>
                  <a:lnTo>
                    <a:pt x="855" y="300"/>
                  </a:lnTo>
                  <a:lnTo>
                    <a:pt x="854" y="300"/>
                  </a:lnTo>
                  <a:lnTo>
                    <a:pt x="854" y="301"/>
                  </a:lnTo>
                  <a:lnTo>
                    <a:pt x="852" y="301"/>
                  </a:lnTo>
                  <a:lnTo>
                    <a:pt x="850" y="301"/>
                  </a:lnTo>
                  <a:lnTo>
                    <a:pt x="852" y="301"/>
                  </a:lnTo>
                  <a:lnTo>
                    <a:pt x="853" y="301"/>
                  </a:lnTo>
                  <a:lnTo>
                    <a:pt x="854" y="301"/>
                  </a:lnTo>
                  <a:lnTo>
                    <a:pt x="854" y="302"/>
                  </a:lnTo>
                  <a:lnTo>
                    <a:pt x="854" y="301"/>
                  </a:lnTo>
                  <a:lnTo>
                    <a:pt x="854" y="302"/>
                  </a:lnTo>
                  <a:lnTo>
                    <a:pt x="853" y="302"/>
                  </a:lnTo>
                  <a:lnTo>
                    <a:pt x="853" y="303"/>
                  </a:lnTo>
                  <a:lnTo>
                    <a:pt x="854" y="303"/>
                  </a:lnTo>
                  <a:lnTo>
                    <a:pt x="854" y="302"/>
                  </a:lnTo>
                  <a:lnTo>
                    <a:pt x="855" y="302"/>
                  </a:lnTo>
                  <a:lnTo>
                    <a:pt x="855" y="301"/>
                  </a:lnTo>
                  <a:lnTo>
                    <a:pt x="855" y="302"/>
                  </a:lnTo>
                  <a:lnTo>
                    <a:pt x="856" y="302"/>
                  </a:lnTo>
                  <a:lnTo>
                    <a:pt x="856" y="303"/>
                  </a:lnTo>
                  <a:lnTo>
                    <a:pt x="855" y="303"/>
                  </a:lnTo>
                  <a:lnTo>
                    <a:pt x="854" y="303"/>
                  </a:lnTo>
                  <a:lnTo>
                    <a:pt x="855" y="303"/>
                  </a:lnTo>
                  <a:lnTo>
                    <a:pt x="856" y="303"/>
                  </a:lnTo>
                  <a:lnTo>
                    <a:pt x="857" y="302"/>
                  </a:lnTo>
                  <a:lnTo>
                    <a:pt x="857" y="303"/>
                  </a:lnTo>
                  <a:lnTo>
                    <a:pt x="856" y="303"/>
                  </a:lnTo>
                  <a:lnTo>
                    <a:pt x="856" y="304"/>
                  </a:lnTo>
                  <a:lnTo>
                    <a:pt x="856" y="303"/>
                  </a:lnTo>
                  <a:lnTo>
                    <a:pt x="857" y="303"/>
                  </a:lnTo>
                  <a:lnTo>
                    <a:pt x="857" y="304"/>
                  </a:lnTo>
                  <a:lnTo>
                    <a:pt x="856" y="304"/>
                  </a:lnTo>
                  <a:lnTo>
                    <a:pt x="856" y="305"/>
                  </a:lnTo>
                  <a:lnTo>
                    <a:pt x="855" y="305"/>
                  </a:lnTo>
                  <a:lnTo>
                    <a:pt x="854" y="305"/>
                  </a:lnTo>
                  <a:lnTo>
                    <a:pt x="853" y="305"/>
                  </a:lnTo>
                  <a:lnTo>
                    <a:pt x="852" y="305"/>
                  </a:lnTo>
                  <a:lnTo>
                    <a:pt x="849" y="305"/>
                  </a:lnTo>
                  <a:lnTo>
                    <a:pt x="848" y="307"/>
                  </a:lnTo>
                  <a:lnTo>
                    <a:pt x="849" y="307"/>
                  </a:lnTo>
                  <a:lnTo>
                    <a:pt x="849" y="305"/>
                  </a:lnTo>
                  <a:lnTo>
                    <a:pt x="850" y="305"/>
                  </a:lnTo>
                  <a:lnTo>
                    <a:pt x="849" y="307"/>
                  </a:lnTo>
                  <a:lnTo>
                    <a:pt x="849" y="308"/>
                  </a:lnTo>
                  <a:lnTo>
                    <a:pt x="850" y="308"/>
                  </a:lnTo>
                  <a:lnTo>
                    <a:pt x="850" y="307"/>
                  </a:lnTo>
                  <a:lnTo>
                    <a:pt x="852" y="305"/>
                  </a:lnTo>
                  <a:lnTo>
                    <a:pt x="852" y="307"/>
                  </a:lnTo>
                  <a:lnTo>
                    <a:pt x="853" y="307"/>
                  </a:lnTo>
                  <a:lnTo>
                    <a:pt x="854" y="307"/>
                  </a:lnTo>
                  <a:lnTo>
                    <a:pt x="854" y="305"/>
                  </a:lnTo>
                  <a:lnTo>
                    <a:pt x="855" y="305"/>
                  </a:lnTo>
                  <a:lnTo>
                    <a:pt x="856" y="305"/>
                  </a:lnTo>
                  <a:lnTo>
                    <a:pt x="857" y="305"/>
                  </a:lnTo>
                  <a:lnTo>
                    <a:pt x="859" y="305"/>
                  </a:lnTo>
                  <a:lnTo>
                    <a:pt x="859" y="307"/>
                  </a:lnTo>
                  <a:lnTo>
                    <a:pt x="856" y="307"/>
                  </a:lnTo>
                  <a:lnTo>
                    <a:pt x="857" y="307"/>
                  </a:lnTo>
                  <a:lnTo>
                    <a:pt x="856" y="307"/>
                  </a:lnTo>
                  <a:lnTo>
                    <a:pt x="856" y="308"/>
                  </a:lnTo>
                  <a:lnTo>
                    <a:pt x="857" y="307"/>
                  </a:lnTo>
                  <a:lnTo>
                    <a:pt x="857" y="308"/>
                  </a:lnTo>
                  <a:lnTo>
                    <a:pt x="856" y="309"/>
                  </a:lnTo>
                  <a:lnTo>
                    <a:pt x="855" y="309"/>
                  </a:lnTo>
                  <a:lnTo>
                    <a:pt x="856" y="309"/>
                  </a:lnTo>
                  <a:lnTo>
                    <a:pt x="857" y="309"/>
                  </a:lnTo>
                  <a:lnTo>
                    <a:pt x="856" y="309"/>
                  </a:lnTo>
                  <a:lnTo>
                    <a:pt x="857" y="309"/>
                  </a:lnTo>
                  <a:lnTo>
                    <a:pt x="859" y="308"/>
                  </a:lnTo>
                  <a:lnTo>
                    <a:pt x="860" y="309"/>
                  </a:lnTo>
                  <a:lnTo>
                    <a:pt x="859" y="309"/>
                  </a:lnTo>
                  <a:lnTo>
                    <a:pt x="860" y="309"/>
                  </a:lnTo>
                  <a:lnTo>
                    <a:pt x="860" y="310"/>
                  </a:lnTo>
                  <a:lnTo>
                    <a:pt x="857" y="311"/>
                  </a:lnTo>
                  <a:lnTo>
                    <a:pt x="859" y="311"/>
                  </a:lnTo>
                  <a:lnTo>
                    <a:pt x="860" y="311"/>
                  </a:lnTo>
                  <a:lnTo>
                    <a:pt x="859" y="312"/>
                  </a:lnTo>
                  <a:lnTo>
                    <a:pt x="857" y="312"/>
                  </a:lnTo>
                  <a:lnTo>
                    <a:pt x="856" y="314"/>
                  </a:lnTo>
                  <a:lnTo>
                    <a:pt x="855" y="314"/>
                  </a:lnTo>
                  <a:lnTo>
                    <a:pt x="854" y="314"/>
                  </a:lnTo>
                  <a:lnTo>
                    <a:pt x="853" y="314"/>
                  </a:lnTo>
                  <a:lnTo>
                    <a:pt x="852" y="314"/>
                  </a:lnTo>
                  <a:lnTo>
                    <a:pt x="850" y="315"/>
                  </a:lnTo>
                  <a:lnTo>
                    <a:pt x="852" y="314"/>
                  </a:lnTo>
                  <a:lnTo>
                    <a:pt x="853" y="314"/>
                  </a:lnTo>
                  <a:lnTo>
                    <a:pt x="853" y="315"/>
                  </a:lnTo>
                  <a:lnTo>
                    <a:pt x="852" y="315"/>
                  </a:lnTo>
                  <a:lnTo>
                    <a:pt x="852" y="316"/>
                  </a:lnTo>
                  <a:lnTo>
                    <a:pt x="850" y="316"/>
                  </a:lnTo>
                  <a:lnTo>
                    <a:pt x="849" y="316"/>
                  </a:lnTo>
                  <a:lnTo>
                    <a:pt x="849" y="317"/>
                  </a:lnTo>
                  <a:lnTo>
                    <a:pt x="848" y="317"/>
                  </a:lnTo>
                  <a:lnTo>
                    <a:pt x="849" y="317"/>
                  </a:lnTo>
                  <a:lnTo>
                    <a:pt x="850" y="316"/>
                  </a:lnTo>
                  <a:lnTo>
                    <a:pt x="854" y="315"/>
                  </a:lnTo>
                  <a:lnTo>
                    <a:pt x="855" y="315"/>
                  </a:lnTo>
                  <a:lnTo>
                    <a:pt x="854" y="316"/>
                  </a:lnTo>
                  <a:lnTo>
                    <a:pt x="855" y="315"/>
                  </a:lnTo>
                  <a:lnTo>
                    <a:pt x="856" y="315"/>
                  </a:lnTo>
                  <a:lnTo>
                    <a:pt x="857" y="315"/>
                  </a:lnTo>
                  <a:lnTo>
                    <a:pt x="859" y="315"/>
                  </a:lnTo>
                  <a:lnTo>
                    <a:pt x="859" y="314"/>
                  </a:lnTo>
                  <a:lnTo>
                    <a:pt x="859" y="315"/>
                  </a:lnTo>
                  <a:lnTo>
                    <a:pt x="860" y="314"/>
                  </a:lnTo>
                  <a:lnTo>
                    <a:pt x="861" y="314"/>
                  </a:lnTo>
                  <a:lnTo>
                    <a:pt x="861" y="315"/>
                  </a:lnTo>
                  <a:lnTo>
                    <a:pt x="860" y="315"/>
                  </a:lnTo>
                  <a:lnTo>
                    <a:pt x="860" y="316"/>
                  </a:lnTo>
                  <a:lnTo>
                    <a:pt x="860" y="317"/>
                  </a:lnTo>
                  <a:lnTo>
                    <a:pt x="859" y="317"/>
                  </a:lnTo>
                  <a:lnTo>
                    <a:pt x="856" y="317"/>
                  </a:lnTo>
                  <a:lnTo>
                    <a:pt x="856" y="318"/>
                  </a:lnTo>
                  <a:lnTo>
                    <a:pt x="857" y="317"/>
                  </a:lnTo>
                  <a:lnTo>
                    <a:pt x="859" y="317"/>
                  </a:lnTo>
                  <a:lnTo>
                    <a:pt x="860" y="317"/>
                  </a:lnTo>
                  <a:lnTo>
                    <a:pt x="860" y="318"/>
                  </a:lnTo>
                  <a:lnTo>
                    <a:pt x="859" y="318"/>
                  </a:lnTo>
                  <a:lnTo>
                    <a:pt x="857" y="318"/>
                  </a:lnTo>
                  <a:lnTo>
                    <a:pt x="856" y="318"/>
                  </a:lnTo>
                  <a:lnTo>
                    <a:pt x="854" y="319"/>
                  </a:lnTo>
                  <a:lnTo>
                    <a:pt x="852" y="321"/>
                  </a:lnTo>
                  <a:lnTo>
                    <a:pt x="853" y="321"/>
                  </a:lnTo>
                  <a:lnTo>
                    <a:pt x="852" y="321"/>
                  </a:lnTo>
                  <a:lnTo>
                    <a:pt x="850" y="321"/>
                  </a:lnTo>
                  <a:lnTo>
                    <a:pt x="850" y="322"/>
                  </a:lnTo>
                  <a:lnTo>
                    <a:pt x="849" y="322"/>
                  </a:lnTo>
                  <a:lnTo>
                    <a:pt x="852" y="322"/>
                  </a:lnTo>
                  <a:lnTo>
                    <a:pt x="853" y="321"/>
                  </a:lnTo>
                  <a:lnTo>
                    <a:pt x="854" y="321"/>
                  </a:lnTo>
                  <a:lnTo>
                    <a:pt x="854" y="319"/>
                  </a:lnTo>
                  <a:lnTo>
                    <a:pt x="855" y="319"/>
                  </a:lnTo>
                  <a:lnTo>
                    <a:pt x="856" y="319"/>
                  </a:lnTo>
                  <a:lnTo>
                    <a:pt x="857" y="319"/>
                  </a:lnTo>
                  <a:lnTo>
                    <a:pt x="859" y="319"/>
                  </a:lnTo>
                  <a:lnTo>
                    <a:pt x="860" y="319"/>
                  </a:lnTo>
                  <a:lnTo>
                    <a:pt x="860" y="318"/>
                  </a:lnTo>
                  <a:lnTo>
                    <a:pt x="861" y="318"/>
                  </a:lnTo>
                  <a:lnTo>
                    <a:pt x="861" y="319"/>
                  </a:lnTo>
                  <a:lnTo>
                    <a:pt x="860" y="319"/>
                  </a:lnTo>
                  <a:lnTo>
                    <a:pt x="860" y="321"/>
                  </a:lnTo>
                  <a:lnTo>
                    <a:pt x="860" y="319"/>
                  </a:lnTo>
                  <a:lnTo>
                    <a:pt x="861" y="319"/>
                  </a:lnTo>
                  <a:lnTo>
                    <a:pt x="861" y="321"/>
                  </a:lnTo>
                  <a:lnTo>
                    <a:pt x="861" y="322"/>
                  </a:lnTo>
                  <a:lnTo>
                    <a:pt x="860" y="322"/>
                  </a:lnTo>
                  <a:lnTo>
                    <a:pt x="860" y="321"/>
                  </a:lnTo>
                  <a:lnTo>
                    <a:pt x="859" y="321"/>
                  </a:lnTo>
                  <a:lnTo>
                    <a:pt x="859" y="322"/>
                  </a:lnTo>
                  <a:lnTo>
                    <a:pt x="857" y="322"/>
                  </a:lnTo>
                  <a:lnTo>
                    <a:pt x="856" y="322"/>
                  </a:lnTo>
                  <a:lnTo>
                    <a:pt x="857" y="322"/>
                  </a:lnTo>
                  <a:lnTo>
                    <a:pt x="859" y="322"/>
                  </a:lnTo>
                  <a:lnTo>
                    <a:pt x="860" y="322"/>
                  </a:lnTo>
                  <a:lnTo>
                    <a:pt x="860" y="323"/>
                  </a:lnTo>
                  <a:lnTo>
                    <a:pt x="859" y="323"/>
                  </a:lnTo>
                  <a:lnTo>
                    <a:pt x="860" y="323"/>
                  </a:lnTo>
                  <a:lnTo>
                    <a:pt x="860" y="322"/>
                  </a:lnTo>
                  <a:lnTo>
                    <a:pt x="861" y="322"/>
                  </a:lnTo>
                  <a:lnTo>
                    <a:pt x="861" y="323"/>
                  </a:lnTo>
                  <a:lnTo>
                    <a:pt x="860" y="323"/>
                  </a:lnTo>
                  <a:lnTo>
                    <a:pt x="861" y="323"/>
                  </a:lnTo>
                  <a:lnTo>
                    <a:pt x="861" y="322"/>
                  </a:lnTo>
                  <a:lnTo>
                    <a:pt x="862" y="322"/>
                  </a:lnTo>
                  <a:lnTo>
                    <a:pt x="862" y="323"/>
                  </a:lnTo>
                  <a:lnTo>
                    <a:pt x="862" y="322"/>
                  </a:lnTo>
                  <a:lnTo>
                    <a:pt x="863" y="322"/>
                  </a:lnTo>
                  <a:lnTo>
                    <a:pt x="863" y="323"/>
                  </a:lnTo>
                  <a:lnTo>
                    <a:pt x="862" y="323"/>
                  </a:lnTo>
                  <a:lnTo>
                    <a:pt x="862" y="324"/>
                  </a:lnTo>
                  <a:lnTo>
                    <a:pt x="863" y="324"/>
                  </a:lnTo>
                  <a:lnTo>
                    <a:pt x="863" y="325"/>
                  </a:lnTo>
                  <a:lnTo>
                    <a:pt x="863" y="326"/>
                  </a:lnTo>
                  <a:lnTo>
                    <a:pt x="862" y="328"/>
                  </a:lnTo>
                  <a:lnTo>
                    <a:pt x="861" y="328"/>
                  </a:lnTo>
                  <a:lnTo>
                    <a:pt x="860" y="329"/>
                  </a:lnTo>
                  <a:lnTo>
                    <a:pt x="859" y="328"/>
                  </a:lnTo>
                  <a:lnTo>
                    <a:pt x="859" y="329"/>
                  </a:lnTo>
                  <a:lnTo>
                    <a:pt x="857" y="329"/>
                  </a:lnTo>
                  <a:lnTo>
                    <a:pt x="856" y="329"/>
                  </a:lnTo>
                  <a:lnTo>
                    <a:pt x="855" y="329"/>
                  </a:lnTo>
                  <a:lnTo>
                    <a:pt x="856" y="329"/>
                  </a:lnTo>
                  <a:lnTo>
                    <a:pt x="856" y="330"/>
                  </a:lnTo>
                  <a:lnTo>
                    <a:pt x="857" y="330"/>
                  </a:lnTo>
                  <a:lnTo>
                    <a:pt x="859" y="330"/>
                  </a:lnTo>
                  <a:lnTo>
                    <a:pt x="859" y="329"/>
                  </a:lnTo>
                  <a:lnTo>
                    <a:pt x="860" y="329"/>
                  </a:lnTo>
                  <a:lnTo>
                    <a:pt x="861" y="329"/>
                  </a:lnTo>
                  <a:lnTo>
                    <a:pt x="862" y="330"/>
                  </a:lnTo>
                  <a:lnTo>
                    <a:pt x="863" y="330"/>
                  </a:lnTo>
                  <a:lnTo>
                    <a:pt x="863" y="331"/>
                  </a:lnTo>
                  <a:lnTo>
                    <a:pt x="862" y="331"/>
                  </a:lnTo>
                  <a:lnTo>
                    <a:pt x="861" y="331"/>
                  </a:lnTo>
                  <a:lnTo>
                    <a:pt x="862" y="331"/>
                  </a:lnTo>
                  <a:lnTo>
                    <a:pt x="862" y="332"/>
                  </a:lnTo>
                  <a:lnTo>
                    <a:pt x="861" y="332"/>
                  </a:lnTo>
                  <a:lnTo>
                    <a:pt x="860" y="332"/>
                  </a:lnTo>
                  <a:lnTo>
                    <a:pt x="861" y="332"/>
                  </a:lnTo>
                  <a:lnTo>
                    <a:pt x="861" y="333"/>
                  </a:lnTo>
                  <a:lnTo>
                    <a:pt x="862" y="333"/>
                  </a:lnTo>
                  <a:lnTo>
                    <a:pt x="864" y="332"/>
                  </a:lnTo>
                  <a:lnTo>
                    <a:pt x="863" y="333"/>
                  </a:lnTo>
                  <a:lnTo>
                    <a:pt x="864" y="333"/>
                  </a:lnTo>
                  <a:lnTo>
                    <a:pt x="866" y="333"/>
                  </a:lnTo>
                  <a:lnTo>
                    <a:pt x="867" y="335"/>
                  </a:lnTo>
                  <a:lnTo>
                    <a:pt x="866" y="335"/>
                  </a:lnTo>
                  <a:lnTo>
                    <a:pt x="866" y="336"/>
                  </a:lnTo>
                  <a:lnTo>
                    <a:pt x="866" y="337"/>
                  </a:lnTo>
                  <a:lnTo>
                    <a:pt x="866" y="336"/>
                  </a:lnTo>
                  <a:lnTo>
                    <a:pt x="864" y="336"/>
                  </a:lnTo>
                  <a:lnTo>
                    <a:pt x="863" y="337"/>
                  </a:lnTo>
                  <a:lnTo>
                    <a:pt x="862" y="337"/>
                  </a:lnTo>
                  <a:lnTo>
                    <a:pt x="862" y="338"/>
                  </a:lnTo>
                  <a:lnTo>
                    <a:pt x="861" y="338"/>
                  </a:lnTo>
                  <a:lnTo>
                    <a:pt x="861" y="339"/>
                  </a:lnTo>
                  <a:lnTo>
                    <a:pt x="860" y="339"/>
                  </a:lnTo>
                  <a:lnTo>
                    <a:pt x="859" y="339"/>
                  </a:lnTo>
                  <a:lnTo>
                    <a:pt x="857" y="340"/>
                  </a:lnTo>
                  <a:lnTo>
                    <a:pt x="859" y="340"/>
                  </a:lnTo>
                  <a:lnTo>
                    <a:pt x="859" y="339"/>
                  </a:lnTo>
                  <a:lnTo>
                    <a:pt x="860" y="339"/>
                  </a:lnTo>
                  <a:lnTo>
                    <a:pt x="860" y="340"/>
                  </a:lnTo>
                  <a:lnTo>
                    <a:pt x="859" y="340"/>
                  </a:lnTo>
                  <a:lnTo>
                    <a:pt x="860" y="340"/>
                  </a:lnTo>
                  <a:lnTo>
                    <a:pt x="860" y="342"/>
                  </a:lnTo>
                  <a:lnTo>
                    <a:pt x="859" y="342"/>
                  </a:lnTo>
                  <a:lnTo>
                    <a:pt x="857" y="342"/>
                  </a:lnTo>
                  <a:lnTo>
                    <a:pt x="857" y="340"/>
                  </a:lnTo>
                  <a:lnTo>
                    <a:pt x="856" y="340"/>
                  </a:lnTo>
                  <a:lnTo>
                    <a:pt x="855" y="340"/>
                  </a:lnTo>
                  <a:lnTo>
                    <a:pt x="854" y="340"/>
                  </a:lnTo>
                  <a:lnTo>
                    <a:pt x="853" y="339"/>
                  </a:lnTo>
                  <a:lnTo>
                    <a:pt x="852" y="339"/>
                  </a:lnTo>
                  <a:lnTo>
                    <a:pt x="854" y="339"/>
                  </a:lnTo>
                  <a:lnTo>
                    <a:pt x="854" y="338"/>
                  </a:lnTo>
                  <a:lnTo>
                    <a:pt x="855" y="339"/>
                  </a:lnTo>
                  <a:lnTo>
                    <a:pt x="856" y="338"/>
                  </a:lnTo>
                  <a:lnTo>
                    <a:pt x="854" y="338"/>
                  </a:lnTo>
                  <a:lnTo>
                    <a:pt x="853" y="338"/>
                  </a:lnTo>
                  <a:lnTo>
                    <a:pt x="852" y="338"/>
                  </a:lnTo>
                  <a:lnTo>
                    <a:pt x="850" y="338"/>
                  </a:lnTo>
                  <a:lnTo>
                    <a:pt x="850" y="339"/>
                  </a:lnTo>
                  <a:lnTo>
                    <a:pt x="852" y="339"/>
                  </a:lnTo>
                  <a:lnTo>
                    <a:pt x="853" y="340"/>
                  </a:lnTo>
                  <a:lnTo>
                    <a:pt x="854" y="340"/>
                  </a:lnTo>
                  <a:lnTo>
                    <a:pt x="855" y="342"/>
                  </a:lnTo>
                  <a:lnTo>
                    <a:pt x="856" y="342"/>
                  </a:lnTo>
                  <a:lnTo>
                    <a:pt x="857" y="342"/>
                  </a:lnTo>
                  <a:lnTo>
                    <a:pt x="856" y="342"/>
                  </a:lnTo>
                  <a:lnTo>
                    <a:pt x="853" y="342"/>
                  </a:lnTo>
                  <a:lnTo>
                    <a:pt x="855" y="342"/>
                  </a:lnTo>
                  <a:lnTo>
                    <a:pt x="856" y="342"/>
                  </a:lnTo>
                  <a:lnTo>
                    <a:pt x="857" y="342"/>
                  </a:lnTo>
                  <a:lnTo>
                    <a:pt x="859" y="343"/>
                  </a:lnTo>
                  <a:lnTo>
                    <a:pt x="860" y="343"/>
                  </a:lnTo>
                  <a:lnTo>
                    <a:pt x="859" y="344"/>
                  </a:lnTo>
                  <a:lnTo>
                    <a:pt x="857" y="344"/>
                  </a:lnTo>
                  <a:lnTo>
                    <a:pt x="855" y="343"/>
                  </a:lnTo>
                  <a:lnTo>
                    <a:pt x="854" y="344"/>
                  </a:lnTo>
                  <a:lnTo>
                    <a:pt x="855" y="344"/>
                  </a:lnTo>
                  <a:lnTo>
                    <a:pt x="856" y="344"/>
                  </a:lnTo>
                  <a:lnTo>
                    <a:pt x="855" y="344"/>
                  </a:lnTo>
                  <a:lnTo>
                    <a:pt x="854" y="344"/>
                  </a:lnTo>
                  <a:lnTo>
                    <a:pt x="853" y="344"/>
                  </a:lnTo>
                  <a:lnTo>
                    <a:pt x="854" y="344"/>
                  </a:lnTo>
                  <a:lnTo>
                    <a:pt x="855" y="345"/>
                  </a:lnTo>
                  <a:lnTo>
                    <a:pt x="855" y="344"/>
                  </a:lnTo>
                  <a:lnTo>
                    <a:pt x="856" y="345"/>
                  </a:lnTo>
                  <a:lnTo>
                    <a:pt x="857" y="345"/>
                  </a:lnTo>
                  <a:lnTo>
                    <a:pt x="856" y="345"/>
                  </a:lnTo>
                  <a:lnTo>
                    <a:pt x="857" y="345"/>
                  </a:lnTo>
                  <a:lnTo>
                    <a:pt x="857" y="346"/>
                  </a:lnTo>
                  <a:lnTo>
                    <a:pt x="859" y="346"/>
                  </a:lnTo>
                  <a:lnTo>
                    <a:pt x="856" y="346"/>
                  </a:lnTo>
                  <a:lnTo>
                    <a:pt x="857" y="346"/>
                  </a:lnTo>
                  <a:lnTo>
                    <a:pt x="856" y="347"/>
                  </a:lnTo>
                  <a:lnTo>
                    <a:pt x="856" y="346"/>
                  </a:lnTo>
                  <a:lnTo>
                    <a:pt x="856" y="347"/>
                  </a:lnTo>
                  <a:lnTo>
                    <a:pt x="856" y="346"/>
                  </a:lnTo>
                  <a:lnTo>
                    <a:pt x="855" y="346"/>
                  </a:lnTo>
                  <a:lnTo>
                    <a:pt x="854" y="346"/>
                  </a:lnTo>
                  <a:lnTo>
                    <a:pt x="853" y="346"/>
                  </a:lnTo>
                  <a:lnTo>
                    <a:pt x="854" y="346"/>
                  </a:lnTo>
                  <a:lnTo>
                    <a:pt x="854" y="347"/>
                  </a:lnTo>
                  <a:lnTo>
                    <a:pt x="855" y="347"/>
                  </a:lnTo>
                  <a:lnTo>
                    <a:pt x="856" y="347"/>
                  </a:lnTo>
                  <a:lnTo>
                    <a:pt x="857" y="347"/>
                  </a:lnTo>
                  <a:lnTo>
                    <a:pt x="859" y="347"/>
                  </a:lnTo>
                  <a:lnTo>
                    <a:pt x="860" y="347"/>
                  </a:lnTo>
                  <a:lnTo>
                    <a:pt x="861" y="347"/>
                  </a:lnTo>
                  <a:lnTo>
                    <a:pt x="861" y="349"/>
                  </a:lnTo>
                  <a:lnTo>
                    <a:pt x="860" y="349"/>
                  </a:lnTo>
                  <a:lnTo>
                    <a:pt x="861" y="349"/>
                  </a:lnTo>
                  <a:lnTo>
                    <a:pt x="861" y="350"/>
                  </a:lnTo>
                  <a:lnTo>
                    <a:pt x="860" y="350"/>
                  </a:lnTo>
                  <a:lnTo>
                    <a:pt x="859" y="350"/>
                  </a:lnTo>
                  <a:lnTo>
                    <a:pt x="860" y="350"/>
                  </a:lnTo>
                  <a:lnTo>
                    <a:pt x="861" y="350"/>
                  </a:lnTo>
                  <a:lnTo>
                    <a:pt x="860" y="350"/>
                  </a:lnTo>
                  <a:lnTo>
                    <a:pt x="861" y="351"/>
                  </a:lnTo>
                  <a:lnTo>
                    <a:pt x="860" y="351"/>
                  </a:lnTo>
                  <a:lnTo>
                    <a:pt x="859" y="351"/>
                  </a:lnTo>
                  <a:lnTo>
                    <a:pt x="860" y="351"/>
                  </a:lnTo>
                  <a:lnTo>
                    <a:pt x="859" y="351"/>
                  </a:lnTo>
                  <a:lnTo>
                    <a:pt x="860" y="351"/>
                  </a:lnTo>
                  <a:lnTo>
                    <a:pt x="861" y="351"/>
                  </a:lnTo>
                  <a:lnTo>
                    <a:pt x="861" y="352"/>
                  </a:lnTo>
                  <a:lnTo>
                    <a:pt x="862" y="351"/>
                  </a:lnTo>
                  <a:lnTo>
                    <a:pt x="862" y="352"/>
                  </a:lnTo>
                  <a:lnTo>
                    <a:pt x="861" y="352"/>
                  </a:lnTo>
                  <a:lnTo>
                    <a:pt x="861" y="353"/>
                  </a:lnTo>
                  <a:lnTo>
                    <a:pt x="862" y="353"/>
                  </a:lnTo>
                  <a:lnTo>
                    <a:pt x="863" y="353"/>
                  </a:lnTo>
                  <a:lnTo>
                    <a:pt x="864" y="353"/>
                  </a:lnTo>
                  <a:lnTo>
                    <a:pt x="866" y="353"/>
                  </a:lnTo>
                  <a:lnTo>
                    <a:pt x="866" y="354"/>
                  </a:lnTo>
                  <a:lnTo>
                    <a:pt x="864" y="354"/>
                  </a:lnTo>
                  <a:lnTo>
                    <a:pt x="863" y="354"/>
                  </a:lnTo>
                  <a:lnTo>
                    <a:pt x="862" y="354"/>
                  </a:lnTo>
                  <a:lnTo>
                    <a:pt x="863" y="354"/>
                  </a:lnTo>
                  <a:lnTo>
                    <a:pt x="864" y="354"/>
                  </a:lnTo>
                  <a:lnTo>
                    <a:pt x="866" y="354"/>
                  </a:lnTo>
                  <a:lnTo>
                    <a:pt x="867" y="354"/>
                  </a:lnTo>
                  <a:lnTo>
                    <a:pt x="867" y="353"/>
                  </a:lnTo>
                  <a:lnTo>
                    <a:pt x="867" y="354"/>
                  </a:lnTo>
                  <a:lnTo>
                    <a:pt x="867" y="356"/>
                  </a:lnTo>
                  <a:lnTo>
                    <a:pt x="866" y="356"/>
                  </a:lnTo>
                  <a:lnTo>
                    <a:pt x="866" y="357"/>
                  </a:lnTo>
                  <a:lnTo>
                    <a:pt x="864" y="357"/>
                  </a:lnTo>
                  <a:lnTo>
                    <a:pt x="866" y="357"/>
                  </a:lnTo>
                  <a:lnTo>
                    <a:pt x="867" y="356"/>
                  </a:lnTo>
                  <a:lnTo>
                    <a:pt x="868" y="354"/>
                  </a:lnTo>
                  <a:lnTo>
                    <a:pt x="868" y="353"/>
                  </a:lnTo>
                  <a:lnTo>
                    <a:pt x="869" y="353"/>
                  </a:lnTo>
                  <a:lnTo>
                    <a:pt x="869" y="354"/>
                  </a:lnTo>
                  <a:lnTo>
                    <a:pt x="869" y="353"/>
                  </a:lnTo>
                  <a:lnTo>
                    <a:pt x="869" y="354"/>
                  </a:lnTo>
                  <a:lnTo>
                    <a:pt x="870" y="354"/>
                  </a:lnTo>
                  <a:lnTo>
                    <a:pt x="869" y="354"/>
                  </a:lnTo>
                  <a:lnTo>
                    <a:pt x="869" y="356"/>
                  </a:lnTo>
                  <a:lnTo>
                    <a:pt x="868" y="356"/>
                  </a:lnTo>
                  <a:lnTo>
                    <a:pt x="867" y="356"/>
                  </a:lnTo>
                  <a:lnTo>
                    <a:pt x="867" y="357"/>
                  </a:lnTo>
                  <a:lnTo>
                    <a:pt x="868" y="357"/>
                  </a:lnTo>
                  <a:lnTo>
                    <a:pt x="868" y="358"/>
                  </a:lnTo>
                  <a:lnTo>
                    <a:pt x="867" y="358"/>
                  </a:lnTo>
                  <a:lnTo>
                    <a:pt x="868" y="358"/>
                  </a:lnTo>
                  <a:lnTo>
                    <a:pt x="869" y="357"/>
                  </a:lnTo>
                  <a:lnTo>
                    <a:pt x="869" y="358"/>
                  </a:lnTo>
                  <a:lnTo>
                    <a:pt x="868" y="358"/>
                  </a:lnTo>
                  <a:lnTo>
                    <a:pt x="868" y="359"/>
                  </a:lnTo>
                  <a:lnTo>
                    <a:pt x="867" y="359"/>
                  </a:lnTo>
                  <a:lnTo>
                    <a:pt x="867" y="360"/>
                  </a:lnTo>
                  <a:lnTo>
                    <a:pt x="866" y="360"/>
                  </a:lnTo>
                  <a:lnTo>
                    <a:pt x="867" y="360"/>
                  </a:lnTo>
                  <a:lnTo>
                    <a:pt x="867" y="359"/>
                  </a:lnTo>
                  <a:lnTo>
                    <a:pt x="868" y="359"/>
                  </a:lnTo>
                  <a:lnTo>
                    <a:pt x="869" y="358"/>
                  </a:lnTo>
                  <a:lnTo>
                    <a:pt x="868" y="359"/>
                  </a:lnTo>
                  <a:lnTo>
                    <a:pt x="869" y="359"/>
                  </a:lnTo>
                  <a:lnTo>
                    <a:pt x="869" y="358"/>
                  </a:lnTo>
                  <a:lnTo>
                    <a:pt x="870" y="358"/>
                  </a:lnTo>
                  <a:lnTo>
                    <a:pt x="870" y="359"/>
                  </a:lnTo>
                  <a:lnTo>
                    <a:pt x="869" y="359"/>
                  </a:lnTo>
                  <a:lnTo>
                    <a:pt x="870" y="359"/>
                  </a:lnTo>
                  <a:lnTo>
                    <a:pt x="869" y="359"/>
                  </a:lnTo>
                  <a:lnTo>
                    <a:pt x="868" y="360"/>
                  </a:lnTo>
                  <a:lnTo>
                    <a:pt x="867" y="360"/>
                  </a:lnTo>
                  <a:lnTo>
                    <a:pt x="867" y="361"/>
                  </a:lnTo>
                  <a:lnTo>
                    <a:pt x="866" y="361"/>
                  </a:lnTo>
                  <a:lnTo>
                    <a:pt x="864" y="363"/>
                  </a:lnTo>
                  <a:lnTo>
                    <a:pt x="863" y="364"/>
                  </a:lnTo>
                  <a:lnTo>
                    <a:pt x="864" y="363"/>
                  </a:lnTo>
                  <a:lnTo>
                    <a:pt x="866" y="363"/>
                  </a:lnTo>
                  <a:lnTo>
                    <a:pt x="867" y="363"/>
                  </a:lnTo>
                  <a:lnTo>
                    <a:pt x="867" y="361"/>
                  </a:lnTo>
                  <a:lnTo>
                    <a:pt x="867" y="363"/>
                  </a:lnTo>
                  <a:lnTo>
                    <a:pt x="866" y="363"/>
                  </a:lnTo>
                  <a:lnTo>
                    <a:pt x="864" y="364"/>
                  </a:lnTo>
                  <a:lnTo>
                    <a:pt x="863" y="365"/>
                  </a:lnTo>
                  <a:lnTo>
                    <a:pt x="862" y="365"/>
                  </a:lnTo>
                  <a:lnTo>
                    <a:pt x="861" y="366"/>
                  </a:lnTo>
                  <a:lnTo>
                    <a:pt x="862" y="366"/>
                  </a:lnTo>
                  <a:lnTo>
                    <a:pt x="862" y="365"/>
                  </a:lnTo>
                  <a:lnTo>
                    <a:pt x="863" y="365"/>
                  </a:lnTo>
                  <a:lnTo>
                    <a:pt x="864" y="364"/>
                  </a:lnTo>
                  <a:lnTo>
                    <a:pt x="866" y="364"/>
                  </a:lnTo>
                  <a:lnTo>
                    <a:pt x="868" y="363"/>
                  </a:lnTo>
                  <a:lnTo>
                    <a:pt x="868" y="361"/>
                  </a:lnTo>
                  <a:lnTo>
                    <a:pt x="868" y="363"/>
                  </a:lnTo>
                  <a:lnTo>
                    <a:pt x="869" y="361"/>
                  </a:lnTo>
                  <a:lnTo>
                    <a:pt x="869" y="363"/>
                  </a:lnTo>
                  <a:lnTo>
                    <a:pt x="868" y="363"/>
                  </a:lnTo>
                  <a:lnTo>
                    <a:pt x="869" y="363"/>
                  </a:lnTo>
                  <a:lnTo>
                    <a:pt x="870" y="363"/>
                  </a:lnTo>
                  <a:lnTo>
                    <a:pt x="870" y="361"/>
                  </a:lnTo>
                  <a:lnTo>
                    <a:pt x="870" y="363"/>
                  </a:lnTo>
                  <a:lnTo>
                    <a:pt x="869" y="363"/>
                  </a:lnTo>
                  <a:lnTo>
                    <a:pt x="868" y="364"/>
                  </a:lnTo>
                  <a:lnTo>
                    <a:pt x="867" y="365"/>
                  </a:lnTo>
                  <a:lnTo>
                    <a:pt x="866" y="365"/>
                  </a:lnTo>
                  <a:lnTo>
                    <a:pt x="867" y="365"/>
                  </a:lnTo>
                  <a:lnTo>
                    <a:pt x="868" y="365"/>
                  </a:lnTo>
                  <a:lnTo>
                    <a:pt x="869" y="364"/>
                  </a:lnTo>
                  <a:lnTo>
                    <a:pt x="869" y="363"/>
                  </a:lnTo>
                  <a:lnTo>
                    <a:pt x="870" y="363"/>
                  </a:lnTo>
                  <a:lnTo>
                    <a:pt x="871" y="363"/>
                  </a:lnTo>
                  <a:lnTo>
                    <a:pt x="871" y="361"/>
                  </a:lnTo>
                  <a:lnTo>
                    <a:pt x="873" y="361"/>
                  </a:lnTo>
                  <a:lnTo>
                    <a:pt x="874" y="361"/>
                  </a:lnTo>
                  <a:lnTo>
                    <a:pt x="874" y="360"/>
                  </a:lnTo>
                  <a:lnTo>
                    <a:pt x="874" y="361"/>
                  </a:lnTo>
                  <a:lnTo>
                    <a:pt x="874" y="363"/>
                  </a:lnTo>
                  <a:lnTo>
                    <a:pt x="873" y="363"/>
                  </a:lnTo>
                  <a:lnTo>
                    <a:pt x="873" y="364"/>
                  </a:lnTo>
                  <a:lnTo>
                    <a:pt x="871" y="364"/>
                  </a:lnTo>
                  <a:lnTo>
                    <a:pt x="870" y="364"/>
                  </a:lnTo>
                  <a:lnTo>
                    <a:pt x="871" y="364"/>
                  </a:lnTo>
                  <a:lnTo>
                    <a:pt x="873" y="364"/>
                  </a:lnTo>
                  <a:lnTo>
                    <a:pt x="874" y="364"/>
                  </a:lnTo>
                  <a:lnTo>
                    <a:pt x="875" y="364"/>
                  </a:lnTo>
                  <a:lnTo>
                    <a:pt x="876" y="364"/>
                  </a:lnTo>
                  <a:lnTo>
                    <a:pt x="876" y="363"/>
                  </a:lnTo>
                  <a:lnTo>
                    <a:pt x="876" y="364"/>
                  </a:lnTo>
                  <a:lnTo>
                    <a:pt x="877" y="364"/>
                  </a:lnTo>
                  <a:lnTo>
                    <a:pt x="876" y="364"/>
                  </a:lnTo>
                  <a:lnTo>
                    <a:pt x="876" y="365"/>
                  </a:lnTo>
                  <a:lnTo>
                    <a:pt x="875" y="365"/>
                  </a:lnTo>
                  <a:lnTo>
                    <a:pt x="874" y="366"/>
                  </a:lnTo>
                  <a:lnTo>
                    <a:pt x="873" y="366"/>
                  </a:lnTo>
                  <a:lnTo>
                    <a:pt x="873" y="367"/>
                  </a:lnTo>
                  <a:lnTo>
                    <a:pt x="871" y="367"/>
                  </a:lnTo>
                  <a:lnTo>
                    <a:pt x="870" y="367"/>
                  </a:lnTo>
                  <a:lnTo>
                    <a:pt x="870" y="368"/>
                  </a:lnTo>
                  <a:lnTo>
                    <a:pt x="869" y="370"/>
                  </a:lnTo>
                  <a:lnTo>
                    <a:pt x="870" y="370"/>
                  </a:lnTo>
                  <a:lnTo>
                    <a:pt x="870" y="368"/>
                  </a:lnTo>
                  <a:lnTo>
                    <a:pt x="871" y="368"/>
                  </a:lnTo>
                  <a:lnTo>
                    <a:pt x="871" y="367"/>
                  </a:lnTo>
                  <a:lnTo>
                    <a:pt x="873" y="367"/>
                  </a:lnTo>
                  <a:lnTo>
                    <a:pt x="874" y="366"/>
                  </a:lnTo>
                  <a:lnTo>
                    <a:pt x="876" y="365"/>
                  </a:lnTo>
                  <a:lnTo>
                    <a:pt x="877" y="365"/>
                  </a:lnTo>
                  <a:lnTo>
                    <a:pt x="877" y="364"/>
                  </a:lnTo>
                  <a:lnTo>
                    <a:pt x="878" y="364"/>
                  </a:lnTo>
                  <a:lnTo>
                    <a:pt x="878" y="363"/>
                  </a:lnTo>
                  <a:lnTo>
                    <a:pt x="880" y="363"/>
                  </a:lnTo>
                  <a:lnTo>
                    <a:pt x="880" y="364"/>
                  </a:lnTo>
                  <a:lnTo>
                    <a:pt x="880" y="363"/>
                  </a:lnTo>
                  <a:lnTo>
                    <a:pt x="881" y="363"/>
                  </a:lnTo>
                  <a:lnTo>
                    <a:pt x="881" y="364"/>
                  </a:lnTo>
                  <a:lnTo>
                    <a:pt x="880" y="364"/>
                  </a:lnTo>
                  <a:lnTo>
                    <a:pt x="878" y="365"/>
                  </a:lnTo>
                  <a:lnTo>
                    <a:pt x="877" y="365"/>
                  </a:lnTo>
                  <a:lnTo>
                    <a:pt x="876" y="366"/>
                  </a:lnTo>
                  <a:lnTo>
                    <a:pt x="877" y="366"/>
                  </a:lnTo>
                  <a:lnTo>
                    <a:pt x="877" y="365"/>
                  </a:lnTo>
                  <a:lnTo>
                    <a:pt x="878" y="365"/>
                  </a:lnTo>
                  <a:lnTo>
                    <a:pt x="880" y="364"/>
                  </a:lnTo>
                  <a:lnTo>
                    <a:pt x="880" y="365"/>
                  </a:lnTo>
                  <a:lnTo>
                    <a:pt x="880" y="364"/>
                  </a:lnTo>
                  <a:lnTo>
                    <a:pt x="881" y="364"/>
                  </a:lnTo>
                  <a:lnTo>
                    <a:pt x="881" y="365"/>
                  </a:lnTo>
                  <a:lnTo>
                    <a:pt x="881" y="364"/>
                  </a:lnTo>
                  <a:lnTo>
                    <a:pt x="882" y="364"/>
                  </a:lnTo>
                  <a:lnTo>
                    <a:pt x="882" y="365"/>
                  </a:lnTo>
                  <a:lnTo>
                    <a:pt x="881" y="365"/>
                  </a:lnTo>
                  <a:lnTo>
                    <a:pt x="881" y="366"/>
                  </a:lnTo>
                  <a:lnTo>
                    <a:pt x="881" y="365"/>
                  </a:lnTo>
                  <a:lnTo>
                    <a:pt x="882" y="365"/>
                  </a:lnTo>
                  <a:lnTo>
                    <a:pt x="882" y="366"/>
                  </a:lnTo>
                  <a:lnTo>
                    <a:pt x="882" y="367"/>
                  </a:lnTo>
                  <a:lnTo>
                    <a:pt x="881" y="367"/>
                  </a:lnTo>
                  <a:lnTo>
                    <a:pt x="882" y="367"/>
                  </a:lnTo>
                  <a:lnTo>
                    <a:pt x="881" y="368"/>
                  </a:lnTo>
                  <a:lnTo>
                    <a:pt x="882" y="368"/>
                  </a:lnTo>
                  <a:lnTo>
                    <a:pt x="883" y="368"/>
                  </a:lnTo>
                  <a:lnTo>
                    <a:pt x="884" y="368"/>
                  </a:lnTo>
                  <a:lnTo>
                    <a:pt x="885" y="368"/>
                  </a:lnTo>
                  <a:lnTo>
                    <a:pt x="885" y="370"/>
                  </a:lnTo>
                  <a:lnTo>
                    <a:pt x="885" y="368"/>
                  </a:lnTo>
                  <a:lnTo>
                    <a:pt x="887" y="370"/>
                  </a:lnTo>
                  <a:lnTo>
                    <a:pt x="887" y="368"/>
                  </a:lnTo>
                  <a:lnTo>
                    <a:pt x="889" y="368"/>
                  </a:lnTo>
                  <a:lnTo>
                    <a:pt x="889" y="370"/>
                  </a:lnTo>
                  <a:lnTo>
                    <a:pt x="890" y="370"/>
                  </a:lnTo>
                  <a:lnTo>
                    <a:pt x="891" y="370"/>
                  </a:lnTo>
                  <a:lnTo>
                    <a:pt x="892" y="370"/>
                  </a:lnTo>
                  <a:lnTo>
                    <a:pt x="893" y="370"/>
                  </a:lnTo>
                  <a:lnTo>
                    <a:pt x="893" y="371"/>
                  </a:lnTo>
                  <a:lnTo>
                    <a:pt x="895" y="371"/>
                  </a:lnTo>
                  <a:lnTo>
                    <a:pt x="893" y="371"/>
                  </a:lnTo>
                  <a:lnTo>
                    <a:pt x="895" y="371"/>
                  </a:lnTo>
                  <a:lnTo>
                    <a:pt x="896" y="371"/>
                  </a:lnTo>
                  <a:lnTo>
                    <a:pt x="897" y="371"/>
                  </a:lnTo>
                  <a:lnTo>
                    <a:pt x="897" y="372"/>
                  </a:lnTo>
                  <a:lnTo>
                    <a:pt x="898" y="372"/>
                  </a:lnTo>
                  <a:lnTo>
                    <a:pt x="897" y="372"/>
                  </a:lnTo>
                  <a:lnTo>
                    <a:pt x="897" y="373"/>
                  </a:lnTo>
                  <a:lnTo>
                    <a:pt x="896" y="373"/>
                  </a:lnTo>
                  <a:lnTo>
                    <a:pt x="893" y="373"/>
                  </a:lnTo>
                  <a:lnTo>
                    <a:pt x="893" y="374"/>
                  </a:lnTo>
                  <a:lnTo>
                    <a:pt x="896" y="374"/>
                  </a:lnTo>
                  <a:lnTo>
                    <a:pt x="897" y="374"/>
                  </a:lnTo>
                  <a:lnTo>
                    <a:pt x="896" y="374"/>
                  </a:lnTo>
                  <a:lnTo>
                    <a:pt x="895" y="374"/>
                  </a:lnTo>
                  <a:lnTo>
                    <a:pt x="893" y="375"/>
                  </a:lnTo>
                  <a:lnTo>
                    <a:pt x="892" y="375"/>
                  </a:lnTo>
                  <a:lnTo>
                    <a:pt x="891" y="375"/>
                  </a:lnTo>
                  <a:lnTo>
                    <a:pt x="891" y="374"/>
                  </a:lnTo>
                  <a:lnTo>
                    <a:pt x="890" y="375"/>
                  </a:lnTo>
                  <a:lnTo>
                    <a:pt x="887" y="375"/>
                  </a:lnTo>
                  <a:lnTo>
                    <a:pt x="885" y="377"/>
                  </a:lnTo>
                  <a:lnTo>
                    <a:pt x="887" y="377"/>
                  </a:lnTo>
                  <a:lnTo>
                    <a:pt x="888" y="375"/>
                  </a:lnTo>
                  <a:lnTo>
                    <a:pt x="887" y="377"/>
                  </a:lnTo>
                  <a:lnTo>
                    <a:pt x="885" y="377"/>
                  </a:lnTo>
                  <a:lnTo>
                    <a:pt x="884" y="377"/>
                  </a:lnTo>
                  <a:lnTo>
                    <a:pt x="883" y="378"/>
                  </a:lnTo>
                  <a:lnTo>
                    <a:pt x="882" y="378"/>
                  </a:lnTo>
                  <a:lnTo>
                    <a:pt x="880" y="379"/>
                  </a:lnTo>
                  <a:lnTo>
                    <a:pt x="877" y="379"/>
                  </a:lnTo>
                  <a:lnTo>
                    <a:pt x="876" y="379"/>
                  </a:lnTo>
                  <a:lnTo>
                    <a:pt x="875" y="379"/>
                  </a:lnTo>
                  <a:lnTo>
                    <a:pt x="874" y="379"/>
                  </a:lnTo>
                  <a:lnTo>
                    <a:pt x="873" y="380"/>
                  </a:lnTo>
                  <a:lnTo>
                    <a:pt x="871" y="380"/>
                  </a:lnTo>
                  <a:lnTo>
                    <a:pt x="870" y="380"/>
                  </a:lnTo>
                  <a:lnTo>
                    <a:pt x="869" y="380"/>
                  </a:lnTo>
                  <a:lnTo>
                    <a:pt x="869" y="381"/>
                  </a:lnTo>
                  <a:lnTo>
                    <a:pt x="870" y="380"/>
                  </a:lnTo>
                  <a:lnTo>
                    <a:pt x="871" y="380"/>
                  </a:lnTo>
                  <a:lnTo>
                    <a:pt x="874" y="380"/>
                  </a:lnTo>
                  <a:lnTo>
                    <a:pt x="876" y="380"/>
                  </a:lnTo>
                  <a:lnTo>
                    <a:pt x="878" y="379"/>
                  </a:lnTo>
                  <a:lnTo>
                    <a:pt x="880" y="379"/>
                  </a:lnTo>
                  <a:lnTo>
                    <a:pt x="881" y="379"/>
                  </a:lnTo>
                  <a:lnTo>
                    <a:pt x="882" y="378"/>
                  </a:lnTo>
                  <a:lnTo>
                    <a:pt x="883" y="378"/>
                  </a:lnTo>
                  <a:lnTo>
                    <a:pt x="884" y="378"/>
                  </a:lnTo>
                  <a:lnTo>
                    <a:pt x="883" y="378"/>
                  </a:lnTo>
                  <a:lnTo>
                    <a:pt x="883" y="379"/>
                  </a:lnTo>
                  <a:lnTo>
                    <a:pt x="882" y="379"/>
                  </a:lnTo>
                  <a:lnTo>
                    <a:pt x="881" y="379"/>
                  </a:lnTo>
                  <a:lnTo>
                    <a:pt x="881" y="380"/>
                  </a:lnTo>
                  <a:lnTo>
                    <a:pt x="880" y="380"/>
                  </a:lnTo>
                  <a:lnTo>
                    <a:pt x="877" y="380"/>
                  </a:lnTo>
                  <a:lnTo>
                    <a:pt x="875" y="380"/>
                  </a:lnTo>
                  <a:lnTo>
                    <a:pt x="876" y="380"/>
                  </a:lnTo>
                  <a:lnTo>
                    <a:pt x="876" y="381"/>
                  </a:lnTo>
                  <a:lnTo>
                    <a:pt x="875" y="381"/>
                  </a:lnTo>
                  <a:lnTo>
                    <a:pt x="874" y="381"/>
                  </a:lnTo>
                  <a:lnTo>
                    <a:pt x="873" y="381"/>
                  </a:lnTo>
                  <a:lnTo>
                    <a:pt x="871" y="382"/>
                  </a:lnTo>
                  <a:lnTo>
                    <a:pt x="870" y="382"/>
                  </a:lnTo>
                  <a:lnTo>
                    <a:pt x="869" y="384"/>
                  </a:lnTo>
                  <a:lnTo>
                    <a:pt x="868" y="384"/>
                  </a:lnTo>
                  <a:lnTo>
                    <a:pt x="867" y="384"/>
                  </a:lnTo>
                  <a:lnTo>
                    <a:pt x="866" y="384"/>
                  </a:lnTo>
                  <a:lnTo>
                    <a:pt x="864" y="384"/>
                  </a:lnTo>
                  <a:lnTo>
                    <a:pt x="863" y="384"/>
                  </a:lnTo>
                  <a:lnTo>
                    <a:pt x="862" y="384"/>
                  </a:lnTo>
                  <a:lnTo>
                    <a:pt x="862" y="385"/>
                  </a:lnTo>
                  <a:lnTo>
                    <a:pt x="861" y="385"/>
                  </a:lnTo>
                  <a:lnTo>
                    <a:pt x="861" y="384"/>
                  </a:lnTo>
                  <a:lnTo>
                    <a:pt x="861" y="385"/>
                  </a:lnTo>
                  <a:lnTo>
                    <a:pt x="862" y="385"/>
                  </a:lnTo>
                  <a:lnTo>
                    <a:pt x="861" y="385"/>
                  </a:lnTo>
                  <a:lnTo>
                    <a:pt x="861" y="386"/>
                  </a:lnTo>
                  <a:lnTo>
                    <a:pt x="860" y="386"/>
                  </a:lnTo>
                  <a:lnTo>
                    <a:pt x="860" y="387"/>
                  </a:lnTo>
                  <a:lnTo>
                    <a:pt x="860" y="388"/>
                  </a:lnTo>
                  <a:lnTo>
                    <a:pt x="860" y="387"/>
                  </a:lnTo>
                  <a:lnTo>
                    <a:pt x="859" y="387"/>
                  </a:lnTo>
                  <a:lnTo>
                    <a:pt x="857" y="386"/>
                  </a:lnTo>
                  <a:lnTo>
                    <a:pt x="856" y="386"/>
                  </a:lnTo>
                  <a:lnTo>
                    <a:pt x="856" y="385"/>
                  </a:lnTo>
                  <a:lnTo>
                    <a:pt x="854" y="385"/>
                  </a:lnTo>
                  <a:lnTo>
                    <a:pt x="853" y="385"/>
                  </a:lnTo>
                  <a:lnTo>
                    <a:pt x="853" y="384"/>
                  </a:lnTo>
                  <a:lnTo>
                    <a:pt x="852" y="384"/>
                  </a:lnTo>
                  <a:lnTo>
                    <a:pt x="852" y="385"/>
                  </a:lnTo>
                  <a:lnTo>
                    <a:pt x="853" y="385"/>
                  </a:lnTo>
                  <a:lnTo>
                    <a:pt x="854" y="385"/>
                  </a:lnTo>
                  <a:lnTo>
                    <a:pt x="856" y="386"/>
                  </a:lnTo>
                  <a:lnTo>
                    <a:pt x="857" y="387"/>
                  </a:lnTo>
                  <a:lnTo>
                    <a:pt x="859" y="387"/>
                  </a:lnTo>
                  <a:lnTo>
                    <a:pt x="860" y="388"/>
                  </a:lnTo>
                  <a:lnTo>
                    <a:pt x="860" y="389"/>
                  </a:lnTo>
                  <a:lnTo>
                    <a:pt x="860" y="388"/>
                  </a:lnTo>
                  <a:lnTo>
                    <a:pt x="859" y="389"/>
                  </a:lnTo>
                  <a:lnTo>
                    <a:pt x="857" y="389"/>
                  </a:lnTo>
                  <a:lnTo>
                    <a:pt x="856" y="389"/>
                  </a:lnTo>
                  <a:lnTo>
                    <a:pt x="856" y="391"/>
                  </a:lnTo>
                  <a:lnTo>
                    <a:pt x="855" y="391"/>
                  </a:lnTo>
                  <a:lnTo>
                    <a:pt x="856" y="391"/>
                  </a:lnTo>
                  <a:lnTo>
                    <a:pt x="857" y="391"/>
                  </a:lnTo>
                  <a:lnTo>
                    <a:pt x="856" y="392"/>
                  </a:lnTo>
                  <a:lnTo>
                    <a:pt x="855" y="392"/>
                  </a:lnTo>
                  <a:lnTo>
                    <a:pt x="854" y="392"/>
                  </a:lnTo>
                  <a:lnTo>
                    <a:pt x="856" y="392"/>
                  </a:lnTo>
                  <a:lnTo>
                    <a:pt x="857" y="392"/>
                  </a:lnTo>
                  <a:lnTo>
                    <a:pt x="859" y="392"/>
                  </a:lnTo>
                  <a:lnTo>
                    <a:pt x="859" y="391"/>
                  </a:lnTo>
                  <a:lnTo>
                    <a:pt x="857" y="391"/>
                  </a:lnTo>
                  <a:lnTo>
                    <a:pt x="859" y="391"/>
                  </a:lnTo>
                  <a:lnTo>
                    <a:pt x="860" y="391"/>
                  </a:lnTo>
                  <a:lnTo>
                    <a:pt x="860" y="389"/>
                  </a:lnTo>
                  <a:lnTo>
                    <a:pt x="861" y="389"/>
                  </a:lnTo>
                  <a:lnTo>
                    <a:pt x="862" y="389"/>
                  </a:lnTo>
                  <a:lnTo>
                    <a:pt x="862" y="388"/>
                  </a:lnTo>
                  <a:lnTo>
                    <a:pt x="863" y="388"/>
                  </a:lnTo>
                  <a:lnTo>
                    <a:pt x="862" y="388"/>
                  </a:lnTo>
                  <a:lnTo>
                    <a:pt x="863" y="388"/>
                  </a:lnTo>
                  <a:lnTo>
                    <a:pt x="866" y="388"/>
                  </a:lnTo>
                  <a:lnTo>
                    <a:pt x="867" y="387"/>
                  </a:lnTo>
                  <a:lnTo>
                    <a:pt x="868" y="387"/>
                  </a:lnTo>
                  <a:lnTo>
                    <a:pt x="869" y="386"/>
                  </a:lnTo>
                  <a:lnTo>
                    <a:pt x="870" y="386"/>
                  </a:lnTo>
                  <a:lnTo>
                    <a:pt x="871" y="386"/>
                  </a:lnTo>
                  <a:lnTo>
                    <a:pt x="873" y="386"/>
                  </a:lnTo>
                  <a:lnTo>
                    <a:pt x="873" y="385"/>
                  </a:lnTo>
                  <a:lnTo>
                    <a:pt x="874" y="385"/>
                  </a:lnTo>
                  <a:lnTo>
                    <a:pt x="874" y="384"/>
                  </a:lnTo>
                  <a:lnTo>
                    <a:pt x="875" y="384"/>
                  </a:lnTo>
                  <a:lnTo>
                    <a:pt x="875" y="382"/>
                  </a:lnTo>
                  <a:lnTo>
                    <a:pt x="876" y="382"/>
                  </a:lnTo>
                  <a:lnTo>
                    <a:pt x="876" y="381"/>
                  </a:lnTo>
                  <a:lnTo>
                    <a:pt x="877" y="381"/>
                  </a:lnTo>
                  <a:lnTo>
                    <a:pt x="878" y="381"/>
                  </a:lnTo>
                  <a:lnTo>
                    <a:pt x="880" y="381"/>
                  </a:lnTo>
                  <a:lnTo>
                    <a:pt x="881" y="380"/>
                  </a:lnTo>
                  <a:lnTo>
                    <a:pt x="884" y="380"/>
                  </a:lnTo>
                  <a:lnTo>
                    <a:pt x="885" y="380"/>
                  </a:lnTo>
                  <a:lnTo>
                    <a:pt x="885" y="379"/>
                  </a:lnTo>
                  <a:lnTo>
                    <a:pt x="887" y="379"/>
                  </a:lnTo>
                  <a:lnTo>
                    <a:pt x="890" y="380"/>
                  </a:lnTo>
                  <a:lnTo>
                    <a:pt x="890" y="379"/>
                  </a:lnTo>
                  <a:lnTo>
                    <a:pt x="889" y="379"/>
                  </a:lnTo>
                  <a:lnTo>
                    <a:pt x="888" y="379"/>
                  </a:lnTo>
                  <a:lnTo>
                    <a:pt x="887" y="379"/>
                  </a:lnTo>
                  <a:lnTo>
                    <a:pt x="885" y="379"/>
                  </a:lnTo>
                  <a:lnTo>
                    <a:pt x="884" y="379"/>
                  </a:lnTo>
                  <a:lnTo>
                    <a:pt x="883" y="379"/>
                  </a:lnTo>
                  <a:lnTo>
                    <a:pt x="883" y="378"/>
                  </a:lnTo>
                  <a:lnTo>
                    <a:pt x="884" y="378"/>
                  </a:lnTo>
                  <a:lnTo>
                    <a:pt x="885" y="378"/>
                  </a:lnTo>
                  <a:lnTo>
                    <a:pt x="887" y="377"/>
                  </a:lnTo>
                  <a:lnTo>
                    <a:pt x="888" y="378"/>
                  </a:lnTo>
                  <a:lnTo>
                    <a:pt x="888" y="377"/>
                  </a:lnTo>
                  <a:lnTo>
                    <a:pt x="889" y="377"/>
                  </a:lnTo>
                  <a:lnTo>
                    <a:pt x="889" y="378"/>
                  </a:lnTo>
                  <a:lnTo>
                    <a:pt x="890" y="378"/>
                  </a:lnTo>
                  <a:lnTo>
                    <a:pt x="891" y="378"/>
                  </a:lnTo>
                  <a:lnTo>
                    <a:pt x="892" y="378"/>
                  </a:lnTo>
                  <a:lnTo>
                    <a:pt x="893" y="378"/>
                  </a:lnTo>
                  <a:lnTo>
                    <a:pt x="895" y="378"/>
                  </a:lnTo>
                  <a:lnTo>
                    <a:pt x="895" y="379"/>
                  </a:lnTo>
                  <a:lnTo>
                    <a:pt x="896" y="379"/>
                  </a:lnTo>
                  <a:lnTo>
                    <a:pt x="895" y="379"/>
                  </a:lnTo>
                  <a:lnTo>
                    <a:pt x="895" y="380"/>
                  </a:lnTo>
                  <a:lnTo>
                    <a:pt x="896" y="381"/>
                  </a:lnTo>
                  <a:lnTo>
                    <a:pt x="897" y="381"/>
                  </a:lnTo>
                  <a:lnTo>
                    <a:pt x="896" y="381"/>
                  </a:lnTo>
                  <a:lnTo>
                    <a:pt x="896" y="382"/>
                  </a:lnTo>
                  <a:lnTo>
                    <a:pt x="896" y="384"/>
                  </a:lnTo>
                  <a:lnTo>
                    <a:pt x="897" y="384"/>
                  </a:lnTo>
                  <a:lnTo>
                    <a:pt x="896" y="384"/>
                  </a:lnTo>
                  <a:lnTo>
                    <a:pt x="897" y="384"/>
                  </a:lnTo>
                  <a:lnTo>
                    <a:pt x="896" y="384"/>
                  </a:lnTo>
                  <a:lnTo>
                    <a:pt x="896" y="385"/>
                  </a:lnTo>
                  <a:lnTo>
                    <a:pt x="895" y="385"/>
                  </a:lnTo>
                  <a:lnTo>
                    <a:pt x="893" y="386"/>
                  </a:lnTo>
                  <a:lnTo>
                    <a:pt x="891" y="386"/>
                  </a:lnTo>
                  <a:lnTo>
                    <a:pt x="890" y="387"/>
                  </a:lnTo>
                  <a:lnTo>
                    <a:pt x="891" y="387"/>
                  </a:lnTo>
                  <a:lnTo>
                    <a:pt x="891" y="386"/>
                  </a:lnTo>
                  <a:lnTo>
                    <a:pt x="891" y="387"/>
                  </a:lnTo>
                  <a:lnTo>
                    <a:pt x="892" y="387"/>
                  </a:lnTo>
                  <a:lnTo>
                    <a:pt x="892" y="388"/>
                  </a:lnTo>
                  <a:lnTo>
                    <a:pt x="891" y="389"/>
                  </a:lnTo>
                  <a:lnTo>
                    <a:pt x="892" y="389"/>
                  </a:lnTo>
                  <a:lnTo>
                    <a:pt x="892" y="388"/>
                  </a:lnTo>
                  <a:lnTo>
                    <a:pt x="893" y="388"/>
                  </a:lnTo>
                  <a:lnTo>
                    <a:pt x="895" y="388"/>
                  </a:lnTo>
                  <a:lnTo>
                    <a:pt x="895" y="387"/>
                  </a:lnTo>
                  <a:lnTo>
                    <a:pt x="895" y="386"/>
                  </a:lnTo>
                  <a:lnTo>
                    <a:pt x="896" y="386"/>
                  </a:lnTo>
                  <a:lnTo>
                    <a:pt x="897" y="386"/>
                  </a:lnTo>
                  <a:lnTo>
                    <a:pt x="897" y="385"/>
                  </a:lnTo>
                  <a:lnTo>
                    <a:pt x="898" y="385"/>
                  </a:lnTo>
                  <a:lnTo>
                    <a:pt x="899" y="385"/>
                  </a:lnTo>
                  <a:lnTo>
                    <a:pt x="900" y="385"/>
                  </a:lnTo>
                  <a:lnTo>
                    <a:pt x="902" y="385"/>
                  </a:lnTo>
                  <a:lnTo>
                    <a:pt x="903" y="385"/>
                  </a:lnTo>
                  <a:lnTo>
                    <a:pt x="903" y="384"/>
                  </a:lnTo>
                  <a:lnTo>
                    <a:pt x="904" y="384"/>
                  </a:lnTo>
                  <a:lnTo>
                    <a:pt x="904" y="385"/>
                  </a:lnTo>
                  <a:lnTo>
                    <a:pt x="903" y="385"/>
                  </a:lnTo>
                  <a:lnTo>
                    <a:pt x="902" y="385"/>
                  </a:lnTo>
                  <a:lnTo>
                    <a:pt x="902" y="386"/>
                  </a:lnTo>
                  <a:lnTo>
                    <a:pt x="900" y="386"/>
                  </a:lnTo>
                  <a:lnTo>
                    <a:pt x="902" y="386"/>
                  </a:lnTo>
                  <a:lnTo>
                    <a:pt x="904" y="387"/>
                  </a:lnTo>
                  <a:lnTo>
                    <a:pt x="904" y="386"/>
                  </a:lnTo>
                  <a:lnTo>
                    <a:pt x="905" y="386"/>
                  </a:lnTo>
                  <a:lnTo>
                    <a:pt x="905" y="387"/>
                  </a:lnTo>
                  <a:lnTo>
                    <a:pt x="904" y="387"/>
                  </a:lnTo>
                  <a:lnTo>
                    <a:pt x="905" y="387"/>
                  </a:lnTo>
                  <a:lnTo>
                    <a:pt x="906" y="387"/>
                  </a:lnTo>
                  <a:lnTo>
                    <a:pt x="907" y="387"/>
                  </a:lnTo>
                  <a:lnTo>
                    <a:pt x="909" y="387"/>
                  </a:lnTo>
                  <a:lnTo>
                    <a:pt x="909" y="388"/>
                  </a:lnTo>
                  <a:lnTo>
                    <a:pt x="907" y="388"/>
                  </a:lnTo>
                  <a:lnTo>
                    <a:pt x="907" y="387"/>
                  </a:lnTo>
                  <a:lnTo>
                    <a:pt x="906" y="387"/>
                  </a:lnTo>
                  <a:lnTo>
                    <a:pt x="905" y="387"/>
                  </a:lnTo>
                  <a:lnTo>
                    <a:pt x="905" y="388"/>
                  </a:lnTo>
                  <a:lnTo>
                    <a:pt x="907" y="388"/>
                  </a:lnTo>
                  <a:lnTo>
                    <a:pt x="907" y="389"/>
                  </a:lnTo>
                  <a:lnTo>
                    <a:pt x="907" y="391"/>
                  </a:lnTo>
                  <a:lnTo>
                    <a:pt x="906" y="391"/>
                  </a:lnTo>
                  <a:lnTo>
                    <a:pt x="907" y="391"/>
                  </a:lnTo>
                  <a:lnTo>
                    <a:pt x="907" y="389"/>
                  </a:lnTo>
                  <a:lnTo>
                    <a:pt x="909" y="389"/>
                  </a:lnTo>
                  <a:lnTo>
                    <a:pt x="909" y="391"/>
                  </a:lnTo>
                  <a:lnTo>
                    <a:pt x="910" y="391"/>
                  </a:lnTo>
                  <a:lnTo>
                    <a:pt x="909" y="391"/>
                  </a:lnTo>
                  <a:lnTo>
                    <a:pt x="907" y="391"/>
                  </a:lnTo>
                  <a:lnTo>
                    <a:pt x="909" y="392"/>
                  </a:lnTo>
                  <a:lnTo>
                    <a:pt x="910" y="392"/>
                  </a:lnTo>
                  <a:lnTo>
                    <a:pt x="909" y="393"/>
                  </a:lnTo>
                  <a:lnTo>
                    <a:pt x="909" y="394"/>
                  </a:lnTo>
                  <a:lnTo>
                    <a:pt x="907" y="394"/>
                  </a:lnTo>
                  <a:lnTo>
                    <a:pt x="906" y="394"/>
                  </a:lnTo>
                  <a:lnTo>
                    <a:pt x="907" y="394"/>
                  </a:lnTo>
                  <a:lnTo>
                    <a:pt x="907" y="395"/>
                  </a:lnTo>
                  <a:lnTo>
                    <a:pt x="906" y="395"/>
                  </a:lnTo>
                  <a:lnTo>
                    <a:pt x="905" y="395"/>
                  </a:lnTo>
                  <a:lnTo>
                    <a:pt x="904" y="395"/>
                  </a:lnTo>
                  <a:lnTo>
                    <a:pt x="904" y="396"/>
                  </a:lnTo>
                  <a:lnTo>
                    <a:pt x="905" y="395"/>
                  </a:lnTo>
                  <a:lnTo>
                    <a:pt x="906" y="396"/>
                  </a:lnTo>
                  <a:lnTo>
                    <a:pt x="906" y="398"/>
                  </a:lnTo>
                  <a:lnTo>
                    <a:pt x="907" y="398"/>
                  </a:lnTo>
                  <a:lnTo>
                    <a:pt x="906" y="399"/>
                  </a:lnTo>
                  <a:lnTo>
                    <a:pt x="905" y="399"/>
                  </a:lnTo>
                  <a:lnTo>
                    <a:pt x="904" y="399"/>
                  </a:lnTo>
                  <a:lnTo>
                    <a:pt x="905" y="399"/>
                  </a:lnTo>
                  <a:lnTo>
                    <a:pt x="904" y="399"/>
                  </a:lnTo>
                  <a:lnTo>
                    <a:pt x="903" y="399"/>
                  </a:lnTo>
                  <a:lnTo>
                    <a:pt x="904" y="400"/>
                  </a:lnTo>
                  <a:lnTo>
                    <a:pt x="904" y="401"/>
                  </a:lnTo>
                  <a:lnTo>
                    <a:pt x="905" y="401"/>
                  </a:lnTo>
                  <a:lnTo>
                    <a:pt x="906" y="401"/>
                  </a:lnTo>
                  <a:lnTo>
                    <a:pt x="906" y="402"/>
                  </a:lnTo>
                  <a:lnTo>
                    <a:pt x="905" y="402"/>
                  </a:lnTo>
                  <a:lnTo>
                    <a:pt x="905" y="401"/>
                  </a:lnTo>
                  <a:lnTo>
                    <a:pt x="905" y="402"/>
                  </a:lnTo>
                  <a:lnTo>
                    <a:pt x="904" y="401"/>
                  </a:lnTo>
                  <a:lnTo>
                    <a:pt x="903" y="401"/>
                  </a:lnTo>
                  <a:lnTo>
                    <a:pt x="902" y="401"/>
                  </a:lnTo>
                  <a:lnTo>
                    <a:pt x="903" y="401"/>
                  </a:lnTo>
                  <a:lnTo>
                    <a:pt x="904" y="401"/>
                  </a:lnTo>
                  <a:lnTo>
                    <a:pt x="904" y="402"/>
                  </a:lnTo>
                  <a:lnTo>
                    <a:pt x="903" y="402"/>
                  </a:lnTo>
                  <a:lnTo>
                    <a:pt x="902" y="402"/>
                  </a:lnTo>
                  <a:lnTo>
                    <a:pt x="900" y="402"/>
                  </a:lnTo>
                  <a:lnTo>
                    <a:pt x="899" y="402"/>
                  </a:lnTo>
                  <a:lnTo>
                    <a:pt x="898" y="402"/>
                  </a:lnTo>
                  <a:lnTo>
                    <a:pt x="897" y="402"/>
                  </a:lnTo>
                  <a:lnTo>
                    <a:pt x="898" y="402"/>
                  </a:lnTo>
                  <a:lnTo>
                    <a:pt x="899" y="402"/>
                  </a:lnTo>
                  <a:lnTo>
                    <a:pt x="900" y="403"/>
                  </a:lnTo>
                  <a:lnTo>
                    <a:pt x="902" y="402"/>
                  </a:lnTo>
                  <a:lnTo>
                    <a:pt x="903" y="402"/>
                  </a:lnTo>
                  <a:lnTo>
                    <a:pt x="903" y="403"/>
                  </a:lnTo>
                  <a:lnTo>
                    <a:pt x="904" y="403"/>
                  </a:lnTo>
                  <a:lnTo>
                    <a:pt x="905" y="403"/>
                  </a:lnTo>
                  <a:lnTo>
                    <a:pt x="906" y="403"/>
                  </a:lnTo>
                  <a:lnTo>
                    <a:pt x="905" y="405"/>
                  </a:lnTo>
                  <a:lnTo>
                    <a:pt x="906" y="405"/>
                  </a:lnTo>
                  <a:lnTo>
                    <a:pt x="906" y="406"/>
                  </a:lnTo>
                  <a:lnTo>
                    <a:pt x="905" y="406"/>
                  </a:lnTo>
                  <a:lnTo>
                    <a:pt x="905" y="405"/>
                  </a:lnTo>
                  <a:lnTo>
                    <a:pt x="904" y="405"/>
                  </a:lnTo>
                  <a:lnTo>
                    <a:pt x="904" y="406"/>
                  </a:lnTo>
                  <a:lnTo>
                    <a:pt x="905" y="406"/>
                  </a:lnTo>
                  <a:lnTo>
                    <a:pt x="904" y="406"/>
                  </a:lnTo>
                  <a:lnTo>
                    <a:pt x="903" y="406"/>
                  </a:lnTo>
                  <a:lnTo>
                    <a:pt x="900" y="405"/>
                  </a:lnTo>
                  <a:lnTo>
                    <a:pt x="902" y="405"/>
                  </a:lnTo>
                  <a:lnTo>
                    <a:pt x="902" y="406"/>
                  </a:lnTo>
                  <a:lnTo>
                    <a:pt x="903" y="406"/>
                  </a:lnTo>
                  <a:lnTo>
                    <a:pt x="904" y="406"/>
                  </a:lnTo>
                  <a:lnTo>
                    <a:pt x="904" y="407"/>
                  </a:lnTo>
                  <a:lnTo>
                    <a:pt x="904" y="406"/>
                  </a:lnTo>
                  <a:lnTo>
                    <a:pt x="904" y="407"/>
                  </a:lnTo>
                  <a:lnTo>
                    <a:pt x="905" y="407"/>
                  </a:lnTo>
                  <a:lnTo>
                    <a:pt x="904" y="407"/>
                  </a:lnTo>
                  <a:lnTo>
                    <a:pt x="905" y="407"/>
                  </a:lnTo>
                  <a:lnTo>
                    <a:pt x="906" y="408"/>
                  </a:lnTo>
                  <a:lnTo>
                    <a:pt x="905" y="408"/>
                  </a:lnTo>
                  <a:lnTo>
                    <a:pt x="904" y="408"/>
                  </a:lnTo>
                  <a:lnTo>
                    <a:pt x="905" y="408"/>
                  </a:lnTo>
                  <a:lnTo>
                    <a:pt x="904" y="408"/>
                  </a:lnTo>
                  <a:lnTo>
                    <a:pt x="904" y="409"/>
                  </a:lnTo>
                  <a:lnTo>
                    <a:pt x="903" y="409"/>
                  </a:lnTo>
                  <a:lnTo>
                    <a:pt x="903" y="410"/>
                  </a:lnTo>
                  <a:lnTo>
                    <a:pt x="902" y="410"/>
                  </a:lnTo>
                  <a:lnTo>
                    <a:pt x="900" y="410"/>
                  </a:lnTo>
                  <a:lnTo>
                    <a:pt x="902" y="412"/>
                  </a:lnTo>
                  <a:lnTo>
                    <a:pt x="900" y="412"/>
                  </a:lnTo>
                  <a:lnTo>
                    <a:pt x="899" y="413"/>
                  </a:lnTo>
                  <a:lnTo>
                    <a:pt x="898" y="413"/>
                  </a:lnTo>
                  <a:lnTo>
                    <a:pt x="898" y="414"/>
                  </a:lnTo>
                  <a:lnTo>
                    <a:pt x="897" y="414"/>
                  </a:lnTo>
                  <a:lnTo>
                    <a:pt x="896" y="414"/>
                  </a:lnTo>
                  <a:lnTo>
                    <a:pt x="895" y="414"/>
                  </a:lnTo>
                  <a:lnTo>
                    <a:pt x="895" y="415"/>
                  </a:lnTo>
                  <a:lnTo>
                    <a:pt x="893" y="415"/>
                  </a:lnTo>
                  <a:lnTo>
                    <a:pt x="891" y="416"/>
                  </a:lnTo>
                  <a:lnTo>
                    <a:pt x="890" y="416"/>
                  </a:lnTo>
                  <a:lnTo>
                    <a:pt x="890" y="417"/>
                  </a:lnTo>
                  <a:lnTo>
                    <a:pt x="889" y="417"/>
                  </a:lnTo>
                  <a:lnTo>
                    <a:pt x="889" y="419"/>
                  </a:lnTo>
                  <a:lnTo>
                    <a:pt x="888" y="419"/>
                  </a:lnTo>
                  <a:lnTo>
                    <a:pt x="887" y="419"/>
                  </a:lnTo>
                  <a:lnTo>
                    <a:pt x="887" y="420"/>
                  </a:lnTo>
                  <a:lnTo>
                    <a:pt x="885" y="420"/>
                  </a:lnTo>
                  <a:lnTo>
                    <a:pt x="884" y="420"/>
                  </a:lnTo>
                  <a:lnTo>
                    <a:pt x="883" y="420"/>
                  </a:lnTo>
                  <a:lnTo>
                    <a:pt x="883" y="419"/>
                  </a:lnTo>
                  <a:lnTo>
                    <a:pt x="882" y="419"/>
                  </a:lnTo>
                  <a:lnTo>
                    <a:pt x="881" y="419"/>
                  </a:lnTo>
                  <a:lnTo>
                    <a:pt x="881" y="420"/>
                  </a:lnTo>
                  <a:lnTo>
                    <a:pt x="880" y="420"/>
                  </a:lnTo>
                  <a:lnTo>
                    <a:pt x="880" y="419"/>
                  </a:lnTo>
                  <a:lnTo>
                    <a:pt x="880" y="420"/>
                  </a:lnTo>
                  <a:lnTo>
                    <a:pt x="878" y="420"/>
                  </a:lnTo>
                  <a:lnTo>
                    <a:pt x="878" y="419"/>
                  </a:lnTo>
                  <a:lnTo>
                    <a:pt x="878" y="420"/>
                  </a:lnTo>
                  <a:lnTo>
                    <a:pt x="877" y="420"/>
                  </a:lnTo>
                  <a:lnTo>
                    <a:pt x="877" y="419"/>
                  </a:lnTo>
                  <a:lnTo>
                    <a:pt x="876" y="419"/>
                  </a:lnTo>
                  <a:lnTo>
                    <a:pt x="876" y="420"/>
                  </a:lnTo>
                  <a:lnTo>
                    <a:pt x="875" y="420"/>
                  </a:lnTo>
                  <a:lnTo>
                    <a:pt x="874" y="421"/>
                  </a:lnTo>
                  <a:lnTo>
                    <a:pt x="873" y="421"/>
                  </a:lnTo>
                  <a:lnTo>
                    <a:pt x="871" y="422"/>
                  </a:lnTo>
                  <a:lnTo>
                    <a:pt x="870" y="422"/>
                  </a:lnTo>
                  <a:lnTo>
                    <a:pt x="869" y="422"/>
                  </a:lnTo>
                  <a:lnTo>
                    <a:pt x="870" y="421"/>
                  </a:lnTo>
                  <a:lnTo>
                    <a:pt x="869" y="421"/>
                  </a:lnTo>
                  <a:lnTo>
                    <a:pt x="869" y="422"/>
                  </a:lnTo>
                  <a:lnTo>
                    <a:pt x="868" y="421"/>
                  </a:lnTo>
                  <a:lnTo>
                    <a:pt x="866" y="422"/>
                  </a:lnTo>
                  <a:lnTo>
                    <a:pt x="864" y="422"/>
                  </a:lnTo>
                  <a:lnTo>
                    <a:pt x="866" y="422"/>
                  </a:lnTo>
                  <a:lnTo>
                    <a:pt x="864" y="422"/>
                  </a:lnTo>
                  <a:lnTo>
                    <a:pt x="864" y="423"/>
                  </a:lnTo>
                  <a:lnTo>
                    <a:pt x="866" y="423"/>
                  </a:lnTo>
                  <a:lnTo>
                    <a:pt x="864" y="423"/>
                  </a:lnTo>
                  <a:lnTo>
                    <a:pt x="864" y="424"/>
                  </a:lnTo>
                  <a:lnTo>
                    <a:pt x="863" y="424"/>
                  </a:lnTo>
                  <a:lnTo>
                    <a:pt x="862" y="424"/>
                  </a:lnTo>
                  <a:lnTo>
                    <a:pt x="861" y="424"/>
                  </a:lnTo>
                  <a:lnTo>
                    <a:pt x="861" y="426"/>
                  </a:lnTo>
                  <a:lnTo>
                    <a:pt x="861" y="427"/>
                  </a:lnTo>
                  <a:lnTo>
                    <a:pt x="860" y="427"/>
                  </a:lnTo>
                  <a:lnTo>
                    <a:pt x="860" y="426"/>
                  </a:lnTo>
                  <a:lnTo>
                    <a:pt x="861" y="426"/>
                  </a:lnTo>
                  <a:lnTo>
                    <a:pt x="860" y="426"/>
                  </a:lnTo>
                  <a:lnTo>
                    <a:pt x="859" y="426"/>
                  </a:lnTo>
                  <a:lnTo>
                    <a:pt x="860" y="426"/>
                  </a:lnTo>
                  <a:lnTo>
                    <a:pt x="860" y="427"/>
                  </a:lnTo>
                  <a:lnTo>
                    <a:pt x="860" y="428"/>
                  </a:lnTo>
                  <a:lnTo>
                    <a:pt x="859" y="428"/>
                  </a:lnTo>
                  <a:lnTo>
                    <a:pt x="860" y="428"/>
                  </a:lnTo>
                  <a:lnTo>
                    <a:pt x="859" y="428"/>
                  </a:lnTo>
                  <a:lnTo>
                    <a:pt x="859" y="429"/>
                  </a:lnTo>
                  <a:lnTo>
                    <a:pt x="857" y="429"/>
                  </a:lnTo>
                  <a:lnTo>
                    <a:pt x="857" y="430"/>
                  </a:lnTo>
                  <a:lnTo>
                    <a:pt x="857" y="429"/>
                  </a:lnTo>
                  <a:lnTo>
                    <a:pt x="857" y="428"/>
                  </a:lnTo>
                  <a:lnTo>
                    <a:pt x="857" y="429"/>
                  </a:lnTo>
                  <a:lnTo>
                    <a:pt x="856" y="429"/>
                  </a:lnTo>
                  <a:lnTo>
                    <a:pt x="855" y="430"/>
                  </a:lnTo>
                  <a:lnTo>
                    <a:pt x="854" y="430"/>
                  </a:lnTo>
                  <a:lnTo>
                    <a:pt x="853" y="431"/>
                  </a:lnTo>
                  <a:lnTo>
                    <a:pt x="852" y="431"/>
                  </a:lnTo>
                  <a:lnTo>
                    <a:pt x="852" y="433"/>
                  </a:lnTo>
                  <a:lnTo>
                    <a:pt x="852" y="434"/>
                  </a:lnTo>
                  <a:lnTo>
                    <a:pt x="850" y="434"/>
                  </a:lnTo>
                  <a:lnTo>
                    <a:pt x="850" y="433"/>
                  </a:lnTo>
                  <a:lnTo>
                    <a:pt x="850" y="434"/>
                  </a:lnTo>
                  <a:lnTo>
                    <a:pt x="849" y="434"/>
                  </a:lnTo>
                  <a:lnTo>
                    <a:pt x="848" y="434"/>
                  </a:lnTo>
                  <a:lnTo>
                    <a:pt x="848" y="435"/>
                  </a:lnTo>
                  <a:lnTo>
                    <a:pt x="847" y="435"/>
                  </a:lnTo>
                  <a:lnTo>
                    <a:pt x="846" y="435"/>
                  </a:lnTo>
                  <a:lnTo>
                    <a:pt x="846" y="436"/>
                  </a:lnTo>
                  <a:lnTo>
                    <a:pt x="845" y="437"/>
                  </a:lnTo>
                  <a:lnTo>
                    <a:pt x="843" y="437"/>
                  </a:lnTo>
                  <a:lnTo>
                    <a:pt x="842" y="437"/>
                  </a:lnTo>
                  <a:lnTo>
                    <a:pt x="842" y="438"/>
                  </a:lnTo>
                  <a:lnTo>
                    <a:pt x="841" y="438"/>
                  </a:lnTo>
                  <a:lnTo>
                    <a:pt x="841" y="437"/>
                  </a:lnTo>
                  <a:lnTo>
                    <a:pt x="840" y="437"/>
                  </a:lnTo>
                  <a:lnTo>
                    <a:pt x="840" y="438"/>
                  </a:lnTo>
                  <a:lnTo>
                    <a:pt x="840" y="437"/>
                  </a:lnTo>
                  <a:lnTo>
                    <a:pt x="839" y="437"/>
                  </a:lnTo>
                  <a:lnTo>
                    <a:pt x="839" y="438"/>
                  </a:lnTo>
                  <a:lnTo>
                    <a:pt x="839" y="437"/>
                  </a:lnTo>
                  <a:lnTo>
                    <a:pt x="838" y="437"/>
                  </a:lnTo>
                  <a:lnTo>
                    <a:pt x="836" y="438"/>
                  </a:lnTo>
                  <a:lnTo>
                    <a:pt x="835" y="438"/>
                  </a:lnTo>
                  <a:lnTo>
                    <a:pt x="835" y="437"/>
                  </a:lnTo>
                  <a:lnTo>
                    <a:pt x="835" y="438"/>
                  </a:lnTo>
                  <a:lnTo>
                    <a:pt x="834" y="438"/>
                  </a:lnTo>
                  <a:lnTo>
                    <a:pt x="834" y="437"/>
                  </a:lnTo>
                  <a:lnTo>
                    <a:pt x="834" y="438"/>
                  </a:lnTo>
                  <a:lnTo>
                    <a:pt x="833" y="438"/>
                  </a:lnTo>
                  <a:lnTo>
                    <a:pt x="833" y="437"/>
                  </a:lnTo>
                  <a:lnTo>
                    <a:pt x="834" y="437"/>
                  </a:lnTo>
                  <a:lnTo>
                    <a:pt x="833" y="437"/>
                  </a:lnTo>
                  <a:lnTo>
                    <a:pt x="832" y="438"/>
                  </a:lnTo>
                  <a:lnTo>
                    <a:pt x="831" y="438"/>
                  </a:lnTo>
                  <a:lnTo>
                    <a:pt x="829" y="438"/>
                  </a:lnTo>
                  <a:lnTo>
                    <a:pt x="828" y="438"/>
                  </a:lnTo>
                  <a:lnTo>
                    <a:pt x="827" y="438"/>
                  </a:lnTo>
                  <a:lnTo>
                    <a:pt x="826" y="438"/>
                  </a:lnTo>
                  <a:lnTo>
                    <a:pt x="825" y="440"/>
                  </a:lnTo>
                  <a:lnTo>
                    <a:pt x="824" y="440"/>
                  </a:lnTo>
                  <a:lnTo>
                    <a:pt x="823" y="440"/>
                  </a:lnTo>
                  <a:lnTo>
                    <a:pt x="821" y="440"/>
                  </a:lnTo>
                  <a:lnTo>
                    <a:pt x="823" y="440"/>
                  </a:lnTo>
                  <a:lnTo>
                    <a:pt x="824" y="440"/>
                  </a:lnTo>
                  <a:lnTo>
                    <a:pt x="824" y="438"/>
                  </a:lnTo>
                  <a:lnTo>
                    <a:pt x="823" y="438"/>
                  </a:lnTo>
                  <a:lnTo>
                    <a:pt x="823" y="440"/>
                  </a:lnTo>
                  <a:lnTo>
                    <a:pt x="821" y="440"/>
                  </a:lnTo>
                  <a:lnTo>
                    <a:pt x="821" y="438"/>
                  </a:lnTo>
                  <a:lnTo>
                    <a:pt x="820" y="438"/>
                  </a:lnTo>
                  <a:lnTo>
                    <a:pt x="820" y="437"/>
                  </a:lnTo>
                  <a:lnTo>
                    <a:pt x="819" y="437"/>
                  </a:lnTo>
                  <a:lnTo>
                    <a:pt x="819" y="438"/>
                  </a:lnTo>
                  <a:lnTo>
                    <a:pt x="818" y="437"/>
                  </a:lnTo>
                  <a:lnTo>
                    <a:pt x="817" y="437"/>
                  </a:lnTo>
                  <a:lnTo>
                    <a:pt x="816" y="437"/>
                  </a:lnTo>
                  <a:lnTo>
                    <a:pt x="814" y="437"/>
                  </a:lnTo>
                  <a:lnTo>
                    <a:pt x="813" y="437"/>
                  </a:lnTo>
                  <a:lnTo>
                    <a:pt x="812" y="437"/>
                  </a:lnTo>
                  <a:lnTo>
                    <a:pt x="810" y="437"/>
                  </a:lnTo>
                  <a:lnTo>
                    <a:pt x="811" y="437"/>
                  </a:lnTo>
                  <a:lnTo>
                    <a:pt x="811" y="436"/>
                  </a:lnTo>
                  <a:lnTo>
                    <a:pt x="810" y="437"/>
                  </a:lnTo>
                  <a:lnTo>
                    <a:pt x="809" y="437"/>
                  </a:lnTo>
                  <a:lnTo>
                    <a:pt x="807" y="437"/>
                  </a:lnTo>
                  <a:lnTo>
                    <a:pt x="807" y="436"/>
                  </a:lnTo>
                  <a:lnTo>
                    <a:pt x="807" y="437"/>
                  </a:lnTo>
                  <a:lnTo>
                    <a:pt x="806" y="437"/>
                  </a:lnTo>
                  <a:lnTo>
                    <a:pt x="805" y="437"/>
                  </a:lnTo>
                  <a:lnTo>
                    <a:pt x="804" y="437"/>
                  </a:lnTo>
                  <a:lnTo>
                    <a:pt x="803" y="437"/>
                  </a:lnTo>
                  <a:lnTo>
                    <a:pt x="802" y="438"/>
                  </a:lnTo>
                  <a:lnTo>
                    <a:pt x="802" y="437"/>
                  </a:lnTo>
                  <a:lnTo>
                    <a:pt x="800" y="437"/>
                  </a:lnTo>
                  <a:lnTo>
                    <a:pt x="799" y="437"/>
                  </a:lnTo>
                  <a:lnTo>
                    <a:pt x="798" y="437"/>
                  </a:lnTo>
                  <a:lnTo>
                    <a:pt x="798" y="436"/>
                  </a:lnTo>
                  <a:lnTo>
                    <a:pt x="796" y="437"/>
                  </a:lnTo>
                  <a:lnTo>
                    <a:pt x="795" y="437"/>
                  </a:lnTo>
                  <a:lnTo>
                    <a:pt x="793" y="437"/>
                  </a:lnTo>
                  <a:lnTo>
                    <a:pt x="792" y="437"/>
                  </a:lnTo>
                  <a:lnTo>
                    <a:pt x="791" y="437"/>
                  </a:lnTo>
                  <a:lnTo>
                    <a:pt x="790" y="437"/>
                  </a:lnTo>
                  <a:lnTo>
                    <a:pt x="790" y="436"/>
                  </a:lnTo>
                  <a:lnTo>
                    <a:pt x="789" y="436"/>
                  </a:lnTo>
                  <a:lnTo>
                    <a:pt x="789" y="437"/>
                  </a:lnTo>
                  <a:lnTo>
                    <a:pt x="788" y="437"/>
                  </a:lnTo>
                  <a:lnTo>
                    <a:pt x="784" y="437"/>
                  </a:lnTo>
                  <a:lnTo>
                    <a:pt x="783" y="437"/>
                  </a:lnTo>
                  <a:lnTo>
                    <a:pt x="782" y="437"/>
                  </a:lnTo>
                  <a:lnTo>
                    <a:pt x="781" y="437"/>
                  </a:lnTo>
                  <a:lnTo>
                    <a:pt x="781" y="436"/>
                  </a:lnTo>
                  <a:lnTo>
                    <a:pt x="779" y="436"/>
                  </a:lnTo>
                  <a:lnTo>
                    <a:pt x="779" y="437"/>
                  </a:lnTo>
                  <a:lnTo>
                    <a:pt x="777" y="437"/>
                  </a:lnTo>
                  <a:lnTo>
                    <a:pt x="776" y="437"/>
                  </a:lnTo>
                  <a:lnTo>
                    <a:pt x="774" y="437"/>
                  </a:lnTo>
                  <a:lnTo>
                    <a:pt x="772" y="437"/>
                  </a:lnTo>
                  <a:lnTo>
                    <a:pt x="771" y="437"/>
                  </a:lnTo>
                  <a:lnTo>
                    <a:pt x="770" y="437"/>
                  </a:lnTo>
                  <a:lnTo>
                    <a:pt x="770" y="438"/>
                  </a:lnTo>
                  <a:lnTo>
                    <a:pt x="769" y="438"/>
                  </a:lnTo>
                  <a:lnTo>
                    <a:pt x="770" y="437"/>
                  </a:lnTo>
                  <a:lnTo>
                    <a:pt x="769" y="437"/>
                  </a:lnTo>
                  <a:lnTo>
                    <a:pt x="769" y="438"/>
                  </a:lnTo>
                  <a:lnTo>
                    <a:pt x="768" y="438"/>
                  </a:lnTo>
                  <a:lnTo>
                    <a:pt x="767" y="438"/>
                  </a:lnTo>
                  <a:lnTo>
                    <a:pt x="765" y="438"/>
                  </a:lnTo>
                  <a:lnTo>
                    <a:pt x="765" y="437"/>
                  </a:lnTo>
                  <a:lnTo>
                    <a:pt x="764" y="437"/>
                  </a:lnTo>
                  <a:lnTo>
                    <a:pt x="764" y="438"/>
                  </a:lnTo>
                  <a:lnTo>
                    <a:pt x="765" y="438"/>
                  </a:lnTo>
                  <a:lnTo>
                    <a:pt x="765" y="440"/>
                  </a:lnTo>
                  <a:lnTo>
                    <a:pt x="764" y="440"/>
                  </a:lnTo>
                  <a:lnTo>
                    <a:pt x="763" y="440"/>
                  </a:lnTo>
                  <a:lnTo>
                    <a:pt x="763" y="438"/>
                  </a:lnTo>
                  <a:lnTo>
                    <a:pt x="762" y="438"/>
                  </a:lnTo>
                  <a:lnTo>
                    <a:pt x="762" y="440"/>
                  </a:lnTo>
                  <a:lnTo>
                    <a:pt x="763" y="440"/>
                  </a:lnTo>
                  <a:lnTo>
                    <a:pt x="762" y="440"/>
                  </a:lnTo>
                  <a:lnTo>
                    <a:pt x="761" y="440"/>
                  </a:lnTo>
                  <a:lnTo>
                    <a:pt x="761" y="441"/>
                  </a:lnTo>
                  <a:lnTo>
                    <a:pt x="760" y="441"/>
                  </a:lnTo>
                  <a:lnTo>
                    <a:pt x="759" y="441"/>
                  </a:lnTo>
                  <a:lnTo>
                    <a:pt x="757" y="442"/>
                  </a:lnTo>
                  <a:lnTo>
                    <a:pt x="757" y="443"/>
                  </a:lnTo>
                  <a:lnTo>
                    <a:pt x="756" y="443"/>
                  </a:lnTo>
                  <a:lnTo>
                    <a:pt x="756" y="444"/>
                  </a:lnTo>
                  <a:lnTo>
                    <a:pt x="755" y="444"/>
                  </a:lnTo>
                  <a:lnTo>
                    <a:pt x="754" y="444"/>
                  </a:lnTo>
                  <a:lnTo>
                    <a:pt x="754" y="445"/>
                  </a:lnTo>
                  <a:lnTo>
                    <a:pt x="754" y="447"/>
                  </a:lnTo>
                  <a:lnTo>
                    <a:pt x="753" y="447"/>
                  </a:lnTo>
                  <a:lnTo>
                    <a:pt x="753" y="448"/>
                  </a:lnTo>
                  <a:lnTo>
                    <a:pt x="752" y="448"/>
                  </a:lnTo>
                  <a:lnTo>
                    <a:pt x="752" y="449"/>
                  </a:lnTo>
                  <a:lnTo>
                    <a:pt x="752" y="450"/>
                  </a:lnTo>
                  <a:lnTo>
                    <a:pt x="750" y="450"/>
                  </a:lnTo>
                  <a:lnTo>
                    <a:pt x="749" y="451"/>
                  </a:lnTo>
                  <a:lnTo>
                    <a:pt x="748" y="451"/>
                  </a:lnTo>
                  <a:lnTo>
                    <a:pt x="747" y="451"/>
                  </a:lnTo>
                  <a:lnTo>
                    <a:pt x="746" y="452"/>
                  </a:lnTo>
                  <a:lnTo>
                    <a:pt x="745" y="452"/>
                  </a:lnTo>
                  <a:lnTo>
                    <a:pt x="743" y="452"/>
                  </a:lnTo>
                  <a:lnTo>
                    <a:pt x="742" y="452"/>
                  </a:lnTo>
                  <a:lnTo>
                    <a:pt x="741" y="452"/>
                  </a:lnTo>
                  <a:lnTo>
                    <a:pt x="740" y="452"/>
                  </a:lnTo>
                  <a:lnTo>
                    <a:pt x="739" y="452"/>
                  </a:lnTo>
                  <a:lnTo>
                    <a:pt x="739" y="454"/>
                  </a:lnTo>
                  <a:lnTo>
                    <a:pt x="738" y="454"/>
                  </a:lnTo>
                  <a:lnTo>
                    <a:pt x="736" y="454"/>
                  </a:lnTo>
                  <a:lnTo>
                    <a:pt x="738" y="455"/>
                  </a:lnTo>
                  <a:lnTo>
                    <a:pt x="736" y="455"/>
                  </a:lnTo>
                  <a:lnTo>
                    <a:pt x="735" y="456"/>
                  </a:lnTo>
                  <a:lnTo>
                    <a:pt x="734" y="456"/>
                  </a:lnTo>
                  <a:lnTo>
                    <a:pt x="735" y="455"/>
                  </a:lnTo>
                  <a:lnTo>
                    <a:pt x="735" y="454"/>
                  </a:lnTo>
                  <a:lnTo>
                    <a:pt x="735" y="455"/>
                  </a:lnTo>
                  <a:lnTo>
                    <a:pt x="734" y="455"/>
                  </a:lnTo>
                  <a:lnTo>
                    <a:pt x="734" y="456"/>
                  </a:lnTo>
                  <a:lnTo>
                    <a:pt x="733" y="456"/>
                  </a:lnTo>
                  <a:lnTo>
                    <a:pt x="732" y="456"/>
                  </a:lnTo>
                  <a:lnTo>
                    <a:pt x="732" y="457"/>
                  </a:lnTo>
                  <a:lnTo>
                    <a:pt x="731" y="457"/>
                  </a:lnTo>
                  <a:lnTo>
                    <a:pt x="731" y="458"/>
                  </a:lnTo>
                  <a:lnTo>
                    <a:pt x="732" y="458"/>
                  </a:lnTo>
                  <a:lnTo>
                    <a:pt x="729" y="458"/>
                  </a:lnTo>
                  <a:lnTo>
                    <a:pt x="728" y="459"/>
                  </a:lnTo>
                  <a:lnTo>
                    <a:pt x="727" y="459"/>
                  </a:lnTo>
                  <a:lnTo>
                    <a:pt x="726" y="461"/>
                  </a:lnTo>
                  <a:lnTo>
                    <a:pt x="725" y="461"/>
                  </a:lnTo>
                  <a:lnTo>
                    <a:pt x="724" y="463"/>
                  </a:lnTo>
                  <a:lnTo>
                    <a:pt x="722" y="463"/>
                  </a:lnTo>
                  <a:lnTo>
                    <a:pt x="721" y="464"/>
                  </a:lnTo>
                  <a:lnTo>
                    <a:pt x="721" y="465"/>
                  </a:lnTo>
                  <a:lnTo>
                    <a:pt x="720" y="465"/>
                  </a:lnTo>
                  <a:lnTo>
                    <a:pt x="719" y="466"/>
                  </a:lnTo>
                  <a:lnTo>
                    <a:pt x="718" y="468"/>
                  </a:lnTo>
                  <a:lnTo>
                    <a:pt x="717" y="468"/>
                  </a:lnTo>
                  <a:lnTo>
                    <a:pt x="717" y="469"/>
                  </a:lnTo>
                  <a:lnTo>
                    <a:pt x="715" y="469"/>
                  </a:lnTo>
                  <a:lnTo>
                    <a:pt x="714" y="470"/>
                  </a:lnTo>
                  <a:lnTo>
                    <a:pt x="713" y="470"/>
                  </a:lnTo>
                  <a:lnTo>
                    <a:pt x="712" y="470"/>
                  </a:lnTo>
                  <a:lnTo>
                    <a:pt x="712" y="469"/>
                  </a:lnTo>
                  <a:lnTo>
                    <a:pt x="711" y="468"/>
                  </a:lnTo>
                  <a:lnTo>
                    <a:pt x="710" y="468"/>
                  </a:lnTo>
                  <a:lnTo>
                    <a:pt x="708" y="468"/>
                  </a:lnTo>
                  <a:lnTo>
                    <a:pt x="707" y="468"/>
                  </a:lnTo>
                  <a:lnTo>
                    <a:pt x="707" y="466"/>
                  </a:lnTo>
                  <a:lnTo>
                    <a:pt x="706" y="466"/>
                  </a:lnTo>
                  <a:lnTo>
                    <a:pt x="704" y="466"/>
                  </a:lnTo>
                  <a:lnTo>
                    <a:pt x="703" y="466"/>
                  </a:lnTo>
                  <a:lnTo>
                    <a:pt x="703" y="465"/>
                  </a:lnTo>
                  <a:lnTo>
                    <a:pt x="701" y="465"/>
                  </a:lnTo>
                  <a:lnTo>
                    <a:pt x="700" y="465"/>
                  </a:lnTo>
                  <a:lnTo>
                    <a:pt x="699" y="465"/>
                  </a:lnTo>
                  <a:lnTo>
                    <a:pt x="700" y="465"/>
                  </a:lnTo>
                  <a:lnTo>
                    <a:pt x="701" y="465"/>
                  </a:lnTo>
                  <a:lnTo>
                    <a:pt x="701" y="466"/>
                  </a:lnTo>
                  <a:lnTo>
                    <a:pt x="700" y="466"/>
                  </a:lnTo>
                  <a:lnTo>
                    <a:pt x="700" y="468"/>
                  </a:lnTo>
                  <a:lnTo>
                    <a:pt x="701" y="468"/>
                  </a:lnTo>
                  <a:lnTo>
                    <a:pt x="701" y="466"/>
                  </a:lnTo>
                  <a:lnTo>
                    <a:pt x="703" y="466"/>
                  </a:lnTo>
                  <a:lnTo>
                    <a:pt x="704" y="466"/>
                  </a:lnTo>
                  <a:lnTo>
                    <a:pt x="705" y="466"/>
                  </a:lnTo>
                  <a:lnTo>
                    <a:pt x="706" y="466"/>
                  </a:lnTo>
                  <a:lnTo>
                    <a:pt x="707" y="468"/>
                  </a:lnTo>
                  <a:lnTo>
                    <a:pt x="708" y="468"/>
                  </a:lnTo>
                  <a:lnTo>
                    <a:pt x="708" y="469"/>
                  </a:lnTo>
                  <a:lnTo>
                    <a:pt x="710" y="469"/>
                  </a:lnTo>
                  <a:lnTo>
                    <a:pt x="711" y="469"/>
                  </a:lnTo>
                  <a:lnTo>
                    <a:pt x="712" y="469"/>
                  </a:lnTo>
                  <a:lnTo>
                    <a:pt x="712" y="470"/>
                  </a:lnTo>
                  <a:lnTo>
                    <a:pt x="713" y="470"/>
                  </a:lnTo>
                  <a:lnTo>
                    <a:pt x="713" y="471"/>
                  </a:lnTo>
                  <a:lnTo>
                    <a:pt x="712" y="471"/>
                  </a:lnTo>
                  <a:lnTo>
                    <a:pt x="712" y="472"/>
                  </a:lnTo>
                  <a:lnTo>
                    <a:pt x="711" y="473"/>
                  </a:lnTo>
                  <a:lnTo>
                    <a:pt x="710" y="475"/>
                  </a:lnTo>
                  <a:lnTo>
                    <a:pt x="710" y="476"/>
                  </a:lnTo>
                  <a:lnTo>
                    <a:pt x="708" y="476"/>
                  </a:lnTo>
                  <a:lnTo>
                    <a:pt x="707" y="477"/>
                  </a:lnTo>
                  <a:lnTo>
                    <a:pt x="706" y="477"/>
                  </a:lnTo>
                  <a:lnTo>
                    <a:pt x="706" y="478"/>
                  </a:lnTo>
                  <a:lnTo>
                    <a:pt x="705" y="478"/>
                  </a:lnTo>
                  <a:lnTo>
                    <a:pt x="705" y="479"/>
                  </a:lnTo>
                  <a:lnTo>
                    <a:pt x="704" y="479"/>
                  </a:lnTo>
                  <a:lnTo>
                    <a:pt x="704" y="480"/>
                  </a:lnTo>
                  <a:lnTo>
                    <a:pt x="703" y="480"/>
                  </a:lnTo>
                  <a:lnTo>
                    <a:pt x="701" y="480"/>
                  </a:lnTo>
                  <a:lnTo>
                    <a:pt x="700" y="480"/>
                  </a:lnTo>
                  <a:lnTo>
                    <a:pt x="700" y="482"/>
                  </a:lnTo>
                  <a:lnTo>
                    <a:pt x="699" y="482"/>
                  </a:lnTo>
                  <a:lnTo>
                    <a:pt x="699" y="483"/>
                  </a:lnTo>
                  <a:lnTo>
                    <a:pt x="698" y="483"/>
                  </a:lnTo>
                  <a:lnTo>
                    <a:pt x="698" y="484"/>
                  </a:lnTo>
                  <a:lnTo>
                    <a:pt x="697" y="484"/>
                  </a:lnTo>
                  <a:lnTo>
                    <a:pt x="697" y="485"/>
                  </a:lnTo>
                  <a:lnTo>
                    <a:pt x="696" y="486"/>
                  </a:lnTo>
                  <a:lnTo>
                    <a:pt x="695" y="486"/>
                  </a:lnTo>
                  <a:lnTo>
                    <a:pt x="693" y="487"/>
                  </a:lnTo>
                  <a:lnTo>
                    <a:pt x="692" y="487"/>
                  </a:lnTo>
                  <a:lnTo>
                    <a:pt x="689" y="490"/>
                  </a:lnTo>
                  <a:lnTo>
                    <a:pt x="688" y="491"/>
                  </a:lnTo>
                  <a:lnTo>
                    <a:pt x="686" y="491"/>
                  </a:lnTo>
                  <a:lnTo>
                    <a:pt x="686" y="492"/>
                  </a:lnTo>
                  <a:lnTo>
                    <a:pt x="684" y="492"/>
                  </a:lnTo>
                  <a:lnTo>
                    <a:pt x="683" y="492"/>
                  </a:lnTo>
                  <a:lnTo>
                    <a:pt x="682" y="492"/>
                  </a:lnTo>
                  <a:lnTo>
                    <a:pt x="682" y="493"/>
                  </a:lnTo>
                  <a:lnTo>
                    <a:pt x="681" y="493"/>
                  </a:lnTo>
                  <a:lnTo>
                    <a:pt x="679" y="492"/>
                  </a:lnTo>
                  <a:lnTo>
                    <a:pt x="677" y="493"/>
                  </a:lnTo>
                  <a:lnTo>
                    <a:pt x="676" y="494"/>
                  </a:lnTo>
                  <a:lnTo>
                    <a:pt x="675" y="494"/>
                  </a:lnTo>
                  <a:lnTo>
                    <a:pt x="674" y="494"/>
                  </a:lnTo>
                  <a:lnTo>
                    <a:pt x="674" y="496"/>
                  </a:lnTo>
                  <a:lnTo>
                    <a:pt x="672" y="496"/>
                  </a:lnTo>
                  <a:lnTo>
                    <a:pt x="672" y="497"/>
                  </a:lnTo>
                  <a:lnTo>
                    <a:pt x="671" y="497"/>
                  </a:lnTo>
                  <a:lnTo>
                    <a:pt x="670" y="497"/>
                  </a:lnTo>
                  <a:lnTo>
                    <a:pt x="668" y="498"/>
                  </a:lnTo>
                  <a:lnTo>
                    <a:pt x="668" y="499"/>
                  </a:lnTo>
                  <a:lnTo>
                    <a:pt x="667" y="499"/>
                  </a:lnTo>
                  <a:lnTo>
                    <a:pt x="665" y="499"/>
                  </a:lnTo>
                  <a:lnTo>
                    <a:pt x="664" y="499"/>
                  </a:lnTo>
                  <a:lnTo>
                    <a:pt x="663" y="500"/>
                  </a:lnTo>
                  <a:lnTo>
                    <a:pt x="662" y="501"/>
                  </a:lnTo>
                  <a:lnTo>
                    <a:pt x="661" y="501"/>
                  </a:lnTo>
                  <a:lnTo>
                    <a:pt x="660" y="501"/>
                  </a:lnTo>
                  <a:lnTo>
                    <a:pt x="660" y="503"/>
                  </a:lnTo>
                  <a:lnTo>
                    <a:pt x="658" y="504"/>
                  </a:lnTo>
                  <a:lnTo>
                    <a:pt x="657" y="505"/>
                  </a:lnTo>
                  <a:lnTo>
                    <a:pt x="656" y="505"/>
                  </a:lnTo>
                  <a:lnTo>
                    <a:pt x="656" y="506"/>
                  </a:lnTo>
                  <a:lnTo>
                    <a:pt x="655" y="507"/>
                  </a:lnTo>
                  <a:lnTo>
                    <a:pt x="654" y="507"/>
                  </a:lnTo>
                  <a:lnTo>
                    <a:pt x="651" y="507"/>
                  </a:lnTo>
                  <a:lnTo>
                    <a:pt x="650" y="508"/>
                  </a:lnTo>
                  <a:lnTo>
                    <a:pt x="648" y="510"/>
                  </a:lnTo>
                  <a:lnTo>
                    <a:pt x="648" y="511"/>
                  </a:lnTo>
                  <a:lnTo>
                    <a:pt x="647" y="511"/>
                  </a:lnTo>
                  <a:lnTo>
                    <a:pt x="646" y="511"/>
                  </a:lnTo>
                  <a:lnTo>
                    <a:pt x="644" y="511"/>
                  </a:lnTo>
                  <a:lnTo>
                    <a:pt x="643" y="511"/>
                  </a:lnTo>
                  <a:lnTo>
                    <a:pt x="642" y="511"/>
                  </a:lnTo>
                  <a:lnTo>
                    <a:pt x="642" y="510"/>
                  </a:lnTo>
                  <a:lnTo>
                    <a:pt x="642" y="511"/>
                  </a:lnTo>
                  <a:lnTo>
                    <a:pt x="644" y="512"/>
                  </a:lnTo>
                  <a:lnTo>
                    <a:pt x="646" y="512"/>
                  </a:lnTo>
                  <a:lnTo>
                    <a:pt x="646" y="513"/>
                  </a:lnTo>
                  <a:lnTo>
                    <a:pt x="644" y="513"/>
                  </a:lnTo>
                  <a:lnTo>
                    <a:pt x="643" y="513"/>
                  </a:lnTo>
                  <a:lnTo>
                    <a:pt x="643" y="514"/>
                  </a:lnTo>
                  <a:lnTo>
                    <a:pt x="642" y="514"/>
                  </a:lnTo>
                  <a:lnTo>
                    <a:pt x="641" y="515"/>
                  </a:lnTo>
                  <a:lnTo>
                    <a:pt x="640" y="515"/>
                  </a:lnTo>
                  <a:lnTo>
                    <a:pt x="639" y="515"/>
                  </a:lnTo>
                  <a:lnTo>
                    <a:pt x="639" y="517"/>
                  </a:lnTo>
                  <a:lnTo>
                    <a:pt x="637" y="517"/>
                  </a:lnTo>
                  <a:lnTo>
                    <a:pt x="637" y="518"/>
                  </a:lnTo>
                  <a:lnTo>
                    <a:pt x="636" y="518"/>
                  </a:lnTo>
                  <a:lnTo>
                    <a:pt x="635" y="518"/>
                  </a:lnTo>
                  <a:lnTo>
                    <a:pt x="634" y="519"/>
                  </a:lnTo>
                  <a:close/>
                  <a:moveTo>
                    <a:pt x="497" y="120"/>
                  </a:moveTo>
                  <a:lnTo>
                    <a:pt x="496" y="120"/>
                  </a:lnTo>
                  <a:lnTo>
                    <a:pt x="496" y="119"/>
                  </a:lnTo>
                  <a:lnTo>
                    <a:pt x="497" y="120"/>
                  </a:lnTo>
                  <a:close/>
                  <a:moveTo>
                    <a:pt x="497" y="119"/>
                  </a:moveTo>
                  <a:lnTo>
                    <a:pt x="498" y="119"/>
                  </a:lnTo>
                  <a:lnTo>
                    <a:pt x="497" y="119"/>
                  </a:lnTo>
                  <a:close/>
                  <a:moveTo>
                    <a:pt x="499" y="119"/>
                  </a:moveTo>
                  <a:lnTo>
                    <a:pt x="498" y="119"/>
                  </a:lnTo>
                  <a:lnTo>
                    <a:pt x="499" y="119"/>
                  </a:lnTo>
                  <a:close/>
                  <a:moveTo>
                    <a:pt x="642" y="116"/>
                  </a:moveTo>
                  <a:lnTo>
                    <a:pt x="641" y="116"/>
                  </a:lnTo>
                  <a:lnTo>
                    <a:pt x="642" y="115"/>
                  </a:lnTo>
                  <a:lnTo>
                    <a:pt x="642" y="116"/>
                  </a:lnTo>
                  <a:close/>
                  <a:moveTo>
                    <a:pt x="632" y="118"/>
                  </a:moveTo>
                  <a:lnTo>
                    <a:pt x="631" y="118"/>
                  </a:lnTo>
                  <a:lnTo>
                    <a:pt x="629" y="118"/>
                  </a:lnTo>
                  <a:lnTo>
                    <a:pt x="631" y="116"/>
                  </a:lnTo>
                  <a:lnTo>
                    <a:pt x="632" y="116"/>
                  </a:lnTo>
                  <a:lnTo>
                    <a:pt x="633" y="115"/>
                  </a:lnTo>
                  <a:lnTo>
                    <a:pt x="634" y="115"/>
                  </a:lnTo>
                  <a:lnTo>
                    <a:pt x="633" y="116"/>
                  </a:lnTo>
                  <a:lnTo>
                    <a:pt x="633" y="118"/>
                  </a:lnTo>
                  <a:lnTo>
                    <a:pt x="632" y="118"/>
                  </a:lnTo>
                  <a:close/>
                  <a:moveTo>
                    <a:pt x="636" y="113"/>
                  </a:moveTo>
                  <a:lnTo>
                    <a:pt x="637" y="113"/>
                  </a:lnTo>
                  <a:lnTo>
                    <a:pt x="637" y="114"/>
                  </a:lnTo>
                  <a:lnTo>
                    <a:pt x="636" y="114"/>
                  </a:lnTo>
                  <a:lnTo>
                    <a:pt x="635" y="114"/>
                  </a:lnTo>
                  <a:lnTo>
                    <a:pt x="635" y="115"/>
                  </a:lnTo>
                  <a:lnTo>
                    <a:pt x="634" y="115"/>
                  </a:lnTo>
                  <a:lnTo>
                    <a:pt x="633" y="115"/>
                  </a:lnTo>
                  <a:lnTo>
                    <a:pt x="632" y="115"/>
                  </a:lnTo>
                  <a:lnTo>
                    <a:pt x="632" y="114"/>
                  </a:lnTo>
                  <a:lnTo>
                    <a:pt x="632" y="113"/>
                  </a:lnTo>
                  <a:lnTo>
                    <a:pt x="633" y="113"/>
                  </a:lnTo>
                  <a:lnTo>
                    <a:pt x="634" y="112"/>
                  </a:lnTo>
                  <a:lnTo>
                    <a:pt x="635" y="112"/>
                  </a:lnTo>
                  <a:lnTo>
                    <a:pt x="636" y="112"/>
                  </a:lnTo>
                  <a:lnTo>
                    <a:pt x="636" y="113"/>
                  </a:lnTo>
                  <a:close/>
                  <a:moveTo>
                    <a:pt x="471" y="111"/>
                  </a:moveTo>
                  <a:lnTo>
                    <a:pt x="471" y="112"/>
                  </a:lnTo>
                  <a:lnTo>
                    <a:pt x="471" y="113"/>
                  </a:lnTo>
                  <a:lnTo>
                    <a:pt x="470" y="113"/>
                  </a:lnTo>
                  <a:lnTo>
                    <a:pt x="469" y="113"/>
                  </a:lnTo>
                  <a:lnTo>
                    <a:pt x="469" y="114"/>
                  </a:lnTo>
                  <a:lnTo>
                    <a:pt x="468" y="114"/>
                  </a:lnTo>
                  <a:lnTo>
                    <a:pt x="468" y="115"/>
                  </a:lnTo>
                  <a:lnTo>
                    <a:pt x="466" y="115"/>
                  </a:lnTo>
                  <a:lnTo>
                    <a:pt x="465" y="115"/>
                  </a:lnTo>
                  <a:lnTo>
                    <a:pt x="465" y="116"/>
                  </a:lnTo>
                  <a:lnTo>
                    <a:pt x="466" y="116"/>
                  </a:lnTo>
                  <a:lnTo>
                    <a:pt x="465" y="116"/>
                  </a:lnTo>
                  <a:lnTo>
                    <a:pt x="463" y="116"/>
                  </a:lnTo>
                  <a:lnTo>
                    <a:pt x="462" y="118"/>
                  </a:lnTo>
                  <a:lnTo>
                    <a:pt x="461" y="118"/>
                  </a:lnTo>
                  <a:lnTo>
                    <a:pt x="461" y="119"/>
                  </a:lnTo>
                  <a:lnTo>
                    <a:pt x="461" y="118"/>
                  </a:lnTo>
                  <a:lnTo>
                    <a:pt x="462" y="118"/>
                  </a:lnTo>
                  <a:lnTo>
                    <a:pt x="461" y="119"/>
                  </a:lnTo>
                  <a:lnTo>
                    <a:pt x="459" y="119"/>
                  </a:lnTo>
                  <a:lnTo>
                    <a:pt x="458" y="119"/>
                  </a:lnTo>
                  <a:lnTo>
                    <a:pt x="457" y="119"/>
                  </a:lnTo>
                  <a:lnTo>
                    <a:pt x="457" y="120"/>
                  </a:lnTo>
                  <a:lnTo>
                    <a:pt x="456" y="120"/>
                  </a:lnTo>
                  <a:lnTo>
                    <a:pt x="457" y="120"/>
                  </a:lnTo>
                  <a:lnTo>
                    <a:pt x="458" y="120"/>
                  </a:lnTo>
                  <a:lnTo>
                    <a:pt x="459" y="120"/>
                  </a:lnTo>
                  <a:lnTo>
                    <a:pt x="459" y="119"/>
                  </a:lnTo>
                  <a:lnTo>
                    <a:pt x="462" y="119"/>
                  </a:lnTo>
                  <a:lnTo>
                    <a:pt x="464" y="119"/>
                  </a:lnTo>
                  <a:lnTo>
                    <a:pt x="465" y="119"/>
                  </a:lnTo>
                  <a:lnTo>
                    <a:pt x="468" y="118"/>
                  </a:lnTo>
                  <a:lnTo>
                    <a:pt x="469" y="118"/>
                  </a:lnTo>
                  <a:lnTo>
                    <a:pt x="468" y="119"/>
                  </a:lnTo>
                  <a:lnTo>
                    <a:pt x="466" y="119"/>
                  </a:lnTo>
                  <a:lnTo>
                    <a:pt x="465" y="119"/>
                  </a:lnTo>
                  <a:lnTo>
                    <a:pt x="466" y="119"/>
                  </a:lnTo>
                  <a:lnTo>
                    <a:pt x="469" y="119"/>
                  </a:lnTo>
                  <a:lnTo>
                    <a:pt x="470" y="118"/>
                  </a:lnTo>
                  <a:lnTo>
                    <a:pt x="469" y="118"/>
                  </a:lnTo>
                  <a:lnTo>
                    <a:pt x="470" y="116"/>
                  </a:lnTo>
                  <a:lnTo>
                    <a:pt x="471" y="116"/>
                  </a:lnTo>
                  <a:lnTo>
                    <a:pt x="472" y="115"/>
                  </a:lnTo>
                  <a:lnTo>
                    <a:pt x="476" y="114"/>
                  </a:lnTo>
                  <a:lnTo>
                    <a:pt x="478" y="114"/>
                  </a:lnTo>
                  <a:lnTo>
                    <a:pt x="479" y="114"/>
                  </a:lnTo>
                  <a:lnTo>
                    <a:pt x="482" y="115"/>
                  </a:lnTo>
                  <a:lnTo>
                    <a:pt x="483" y="115"/>
                  </a:lnTo>
                  <a:lnTo>
                    <a:pt x="484" y="115"/>
                  </a:lnTo>
                  <a:lnTo>
                    <a:pt x="485" y="115"/>
                  </a:lnTo>
                  <a:lnTo>
                    <a:pt x="486" y="115"/>
                  </a:lnTo>
                  <a:lnTo>
                    <a:pt x="486" y="116"/>
                  </a:lnTo>
                  <a:lnTo>
                    <a:pt x="487" y="116"/>
                  </a:lnTo>
                  <a:lnTo>
                    <a:pt x="489" y="116"/>
                  </a:lnTo>
                  <a:lnTo>
                    <a:pt x="490" y="116"/>
                  </a:lnTo>
                  <a:lnTo>
                    <a:pt x="490" y="118"/>
                  </a:lnTo>
                  <a:lnTo>
                    <a:pt x="489" y="118"/>
                  </a:lnTo>
                  <a:lnTo>
                    <a:pt x="490" y="118"/>
                  </a:lnTo>
                  <a:lnTo>
                    <a:pt x="491" y="118"/>
                  </a:lnTo>
                  <a:lnTo>
                    <a:pt x="491" y="119"/>
                  </a:lnTo>
                  <a:lnTo>
                    <a:pt x="490" y="119"/>
                  </a:lnTo>
                  <a:lnTo>
                    <a:pt x="489" y="120"/>
                  </a:lnTo>
                  <a:lnTo>
                    <a:pt x="485" y="120"/>
                  </a:lnTo>
                  <a:lnTo>
                    <a:pt x="485" y="121"/>
                  </a:lnTo>
                  <a:lnTo>
                    <a:pt x="486" y="121"/>
                  </a:lnTo>
                  <a:lnTo>
                    <a:pt x="485" y="121"/>
                  </a:lnTo>
                  <a:lnTo>
                    <a:pt x="484" y="121"/>
                  </a:lnTo>
                  <a:lnTo>
                    <a:pt x="480" y="122"/>
                  </a:lnTo>
                  <a:lnTo>
                    <a:pt x="479" y="122"/>
                  </a:lnTo>
                  <a:lnTo>
                    <a:pt x="479" y="123"/>
                  </a:lnTo>
                  <a:lnTo>
                    <a:pt x="480" y="122"/>
                  </a:lnTo>
                  <a:lnTo>
                    <a:pt x="482" y="122"/>
                  </a:lnTo>
                  <a:lnTo>
                    <a:pt x="480" y="123"/>
                  </a:lnTo>
                  <a:lnTo>
                    <a:pt x="479" y="123"/>
                  </a:lnTo>
                  <a:lnTo>
                    <a:pt x="478" y="125"/>
                  </a:lnTo>
                  <a:lnTo>
                    <a:pt x="479" y="125"/>
                  </a:lnTo>
                  <a:lnTo>
                    <a:pt x="479" y="123"/>
                  </a:lnTo>
                  <a:lnTo>
                    <a:pt x="480" y="123"/>
                  </a:lnTo>
                  <a:lnTo>
                    <a:pt x="482" y="123"/>
                  </a:lnTo>
                  <a:lnTo>
                    <a:pt x="483" y="122"/>
                  </a:lnTo>
                  <a:lnTo>
                    <a:pt x="484" y="122"/>
                  </a:lnTo>
                  <a:lnTo>
                    <a:pt x="483" y="122"/>
                  </a:lnTo>
                  <a:lnTo>
                    <a:pt x="484" y="122"/>
                  </a:lnTo>
                  <a:lnTo>
                    <a:pt x="485" y="122"/>
                  </a:lnTo>
                  <a:lnTo>
                    <a:pt x="485" y="121"/>
                  </a:lnTo>
                  <a:lnTo>
                    <a:pt x="486" y="121"/>
                  </a:lnTo>
                  <a:lnTo>
                    <a:pt x="487" y="121"/>
                  </a:lnTo>
                  <a:lnTo>
                    <a:pt x="485" y="121"/>
                  </a:lnTo>
                  <a:lnTo>
                    <a:pt x="485" y="122"/>
                  </a:lnTo>
                  <a:lnTo>
                    <a:pt x="486" y="122"/>
                  </a:lnTo>
                  <a:lnTo>
                    <a:pt x="485" y="122"/>
                  </a:lnTo>
                  <a:lnTo>
                    <a:pt x="484" y="122"/>
                  </a:lnTo>
                  <a:lnTo>
                    <a:pt x="485" y="122"/>
                  </a:lnTo>
                  <a:lnTo>
                    <a:pt x="486" y="122"/>
                  </a:lnTo>
                  <a:lnTo>
                    <a:pt x="486" y="123"/>
                  </a:lnTo>
                  <a:lnTo>
                    <a:pt x="487" y="123"/>
                  </a:lnTo>
                  <a:lnTo>
                    <a:pt x="487" y="122"/>
                  </a:lnTo>
                  <a:lnTo>
                    <a:pt x="489" y="121"/>
                  </a:lnTo>
                  <a:lnTo>
                    <a:pt x="490" y="121"/>
                  </a:lnTo>
                  <a:lnTo>
                    <a:pt x="491" y="121"/>
                  </a:lnTo>
                  <a:lnTo>
                    <a:pt x="492" y="121"/>
                  </a:lnTo>
                  <a:lnTo>
                    <a:pt x="492" y="120"/>
                  </a:lnTo>
                  <a:lnTo>
                    <a:pt x="493" y="120"/>
                  </a:lnTo>
                  <a:lnTo>
                    <a:pt x="494" y="120"/>
                  </a:lnTo>
                  <a:lnTo>
                    <a:pt x="496" y="120"/>
                  </a:lnTo>
                  <a:lnTo>
                    <a:pt x="494" y="120"/>
                  </a:lnTo>
                  <a:lnTo>
                    <a:pt x="494" y="121"/>
                  </a:lnTo>
                  <a:lnTo>
                    <a:pt x="496" y="121"/>
                  </a:lnTo>
                  <a:lnTo>
                    <a:pt x="494" y="121"/>
                  </a:lnTo>
                  <a:lnTo>
                    <a:pt x="496" y="120"/>
                  </a:lnTo>
                  <a:lnTo>
                    <a:pt x="497" y="120"/>
                  </a:lnTo>
                  <a:lnTo>
                    <a:pt x="498" y="120"/>
                  </a:lnTo>
                  <a:lnTo>
                    <a:pt x="498" y="121"/>
                  </a:lnTo>
                  <a:lnTo>
                    <a:pt x="499" y="121"/>
                  </a:lnTo>
                  <a:lnTo>
                    <a:pt x="500" y="121"/>
                  </a:lnTo>
                  <a:lnTo>
                    <a:pt x="501" y="121"/>
                  </a:lnTo>
                  <a:lnTo>
                    <a:pt x="500" y="121"/>
                  </a:lnTo>
                  <a:lnTo>
                    <a:pt x="499" y="120"/>
                  </a:lnTo>
                  <a:lnTo>
                    <a:pt x="498" y="120"/>
                  </a:lnTo>
                  <a:lnTo>
                    <a:pt x="499" y="120"/>
                  </a:lnTo>
                  <a:lnTo>
                    <a:pt x="500" y="120"/>
                  </a:lnTo>
                  <a:lnTo>
                    <a:pt x="500" y="121"/>
                  </a:lnTo>
                  <a:lnTo>
                    <a:pt x="501" y="121"/>
                  </a:lnTo>
                  <a:lnTo>
                    <a:pt x="501" y="120"/>
                  </a:lnTo>
                  <a:lnTo>
                    <a:pt x="501" y="119"/>
                  </a:lnTo>
                  <a:lnTo>
                    <a:pt x="500" y="119"/>
                  </a:lnTo>
                  <a:lnTo>
                    <a:pt x="499" y="119"/>
                  </a:lnTo>
                  <a:lnTo>
                    <a:pt x="500" y="119"/>
                  </a:lnTo>
                  <a:lnTo>
                    <a:pt x="500" y="118"/>
                  </a:lnTo>
                  <a:lnTo>
                    <a:pt x="501" y="118"/>
                  </a:lnTo>
                  <a:lnTo>
                    <a:pt x="503" y="118"/>
                  </a:lnTo>
                  <a:lnTo>
                    <a:pt x="504" y="119"/>
                  </a:lnTo>
                  <a:lnTo>
                    <a:pt x="504" y="118"/>
                  </a:lnTo>
                  <a:lnTo>
                    <a:pt x="505" y="118"/>
                  </a:lnTo>
                  <a:lnTo>
                    <a:pt x="504" y="118"/>
                  </a:lnTo>
                  <a:lnTo>
                    <a:pt x="503" y="118"/>
                  </a:lnTo>
                  <a:lnTo>
                    <a:pt x="501" y="118"/>
                  </a:lnTo>
                  <a:lnTo>
                    <a:pt x="500" y="118"/>
                  </a:lnTo>
                  <a:lnTo>
                    <a:pt x="501" y="118"/>
                  </a:lnTo>
                  <a:lnTo>
                    <a:pt x="503" y="118"/>
                  </a:lnTo>
                  <a:lnTo>
                    <a:pt x="503" y="116"/>
                  </a:lnTo>
                  <a:lnTo>
                    <a:pt x="500" y="116"/>
                  </a:lnTo>
                  <a:lnTo>
                    <a:pt x="499" y="116"/>
                  </a:lnTo>
                  <a:lnTo>
                    <a:pt x="499" y="115"/>
                  </a:lnTo>
                  <a:lnTo>
                    <a:pt x="499" y="114"/>
                  </a:lnTo>
                  <a:lnTo>
                    <a:pt x="500" y="114"/>
                  </a:lnTo>
                  <a:lnTo>
                    <a:pt x="503" y="114"/>
                  </a:lnTo>
                  <a:lnTo>
                    <a:pt x="506" y="114"/>
                  </a:lnTo>
                  <a:lnTo>
                    <a:pt x="507" y="114"/>
                  </a:lnTo>
                  <a:lnTo>
                    <a:pt x="507" y="115"/>
                  </a:lnTo>
                  <a:lnTo>
                    <a:pt x="508" y="115"/>
                  </a:lnTo>
                  <a:lnTo>
                    <a:pt x="509" y="115"/>
                  </a:lnTo>
                  <a:lnTo>
                    <a:pt x="508" y="115"/>
                  </a:lnTo>
                  <a:lnTo>
                    <a:pt x="507" y="115"/>
                  </a:lnTo>
                  <a:lnTo>
                    <a:pt x="509" y="118"/>
                  </a:lnTo>
                  <a:lnTo>
                    <a:pt x="512" y="118"/>
                  </a:lnTo>
                  <a:lnTo>
                    <a:pt x="511" y="118"/>
                  </a:lnTo>
                  <a:lnTo>
                    <a:pt x="512" y="119"/>
                  </a:lnTo>
                  <a:lnTo>
                    <a:pt x="511" y="119"/>
                  </a:lnTo>
                  <a:lnTo>
                    <a:pt x="511" y="120"/>
                  </a:lnTo>
                  <a:lnTo>
                    <a:pt x="509" y="120"/>
                  </a:lnTo>
                  <a:lnTo>
                    <a:pt x="511" y="120"/>
                  </a:lnTo>
                  <a:lnTo>
                    <a:pt x="512" y="120"/>
                  </a:lnTo>
                  <a:lnTo>
                    <a:pt x="512" y="119"/>
                  </a:lnTo>
                  <a:lnTo>
                    <a:pt x="514" y="120"/>
                  </a:lnTo>
                  <a:lnTo>
                    <a:pt x="513" y="121"/>
                  </a:lnTo>
                  <a:lnTo>
                    <a:pt x="512" y="121"/>
                  </a:lnTo>
                  <a:lnTo>
                    <a:pt x="512" y="122"/>
                  </a:lnTo>
                  <a:lnTo>
                    <a:pt x="511" y="122"/>
                  </a:lnTo>
                  <a:lnTo>
                    <a:pt x="511" y="123"/>
                  </a:lnTo>
                  <a:lnTo>
                    <a:pt x="509" y="125"/>
                  </a:lnTo>
                  <a:lnTo>
                    <a:pt x="509" y="126"/>
                  </a:lnTo>
                  <a:lnTo>
                    <a:pt x="509" y="125"/>
                  </a:lnTo>
                  <a:lnTo>
                    <a:pt x="511" y="125"/>
                  </a:lnTo>
                  <a:lnTo>
                    <a:pt x="511" y="126"/>
                  </a:lnTo>
                  <a:lnTo>
                    <a:pt x="509" y="126"/>
                  </a:lnTo>
                  <a:lnTo>
                    <a:pt x="509" y="127"/>
                  </a:lnTo>
                  <a:lnTo>
                    <a:pt x="508" y="127"/>
                  </a:lnTo>
                  <a:lnTo>
                    <a:pt x="509" y="127"/>
                  </a:lnTo>
                  <a:lnTo>
                    <a:pt x="508" y="128"/>
                  </a:lnTo>
                  <a:lnTo>
                    <a:pt x="509" y="127"/>
                  </a:lnTo>
                  <a:lnTo>
                    <a:pt x="509" y="128"/>
                  </a:lnTo>
                  <a:lnTo>
                    <a:pt x="508" y="128"/>
                  </a:lnTo>
                  <a:lnTo>
                    <a:pt x="508" y="129"/>
                  </a:lnTo>
                  <a:lnTo>
                    <a:pt x="507" y="129"/>
                  </a:lnTo>
                  <a:lnTo>
                    <a:pt x="507" y="130"/>
                  </a:lnTo>
                  <a:lnTo>
                    <a:pt x="506" y="130"/>
                  </a:lnTo>
                  <a:lnTo>
                    <a:pt x="507" y="130"/>
                  </a:lnTo>
                  <a:lnTo>
                    <a:pt x="508" y="130"/>
                  </a:lnTo>
                  <a:lnTo>
                    <a:pt x="508" y="132"/>
                  </a:lnTo>
                  <a:lnTo>
                    <a:pt x="507" y="132"/>
                  </a:lnTo>
                  <a:lnTo>
                    <a:pt x="508" y="132"/>
                  </a:lnTo>
                  <a:lnTo>
                    <a:pt x="509" y="132"/>
                  </a:lnTo>
                  <a:lnTo>
                    <a:pt x="511" y="132"/>
                  </a:lnTo>
                  <a:lnTo>
                    <a:pt x="509" y="132"/>
                  </a:lnTo>
                  <a:lnTo>
                    <a:pt x="509" y="130"/>
                  </a:lnTo>
                  <a:lnTo>
                    <a:pt x="511" y="130"/>
                  </a:lnTo>
                  <a:lnTo>
                    <a:pt x="512" y="130"/>
                  </a:lnTo>
                  <a:lnTo>
                    <a:pt x="513" y="130"/>
                  </a:lnTo>
                  <a:lnTo>
                    <a:pt x="514" y="130"/>
                  </a:lnTo>
                  <a:lnTo>
                    <a:pt x="514" y="129"/>
                  </a:lnTo>
                  <a:lnTo>
                    <a:pt x="518" y="129"/>
                  </a:lnTo>
                  <a:lnTo>
                    <a:pt x="516" y="129"/>
                  </a:lnTo>
                  <a:lnTo>
                    <a:pt x="515" y="128"/>
                  </a:lnTo>
                  <a:lnTo>
                    <a:pt x="516" y="128"/>
                  </a:lnTo>
                  <a:lnTo>
                    <a:pt x="518" y="128"/>
                  </a:lnTo>
                  <a:lnTo>
                    <a:pt x="519" y="128"/>
                  </a:lnTo>
                  <a:lnTo>
                    <a:pt x="518" y="128"/>
                  </a:lnTo>
                  <a:lnTo>
                    <a:pt x="518" y="127"/>
                  </a:lnTo>
                  <a:lnTo>
                    <a:pt x="516" y="127"/>
                  </a:lnTo>
                  <a:lnTo>
                    <a:pt x="516" y="126"/>
                  </a:lnTo>
                  <a:lnTo>
                    <a:pt x="518" y="126"/>
                  </a:lnTo>
                  <a:lnTo>
                    <a:pt x="516" y="126"/>
                  </a:lnTo>
                  <a:lnTo>
                    <a:pt x="516" y="125"/>
                  </a:lnTo>
                  <a:lnTo>
                    <a:pt x="518" y="125"/>
                  </a:lnTo>
                  <a:lnTo>
                    <a:pt x="518" y="123"/>
                  </a:lnTo>
                  <a:lnTo>
                    <a:pt x="519" y="123"/>
                  </a:lnTo>
                  <a:lnTo>
                    <a:pt x="520" y="122"/>
                  </a:lnTo>
                  <a:lnTo>
                    <a:pt x="519" y="122"/>
                  </a:lnTo>
                  <a:lnTo>
                    <a:pt x="520" y="122"/>
                  </a:lnTo>
                  <a:lnTo>
                    <a:pt x="519" y="122"/>
                  </a:lnTo>
                  <a:lnTo>
                    <a:pt x="520" y="121"/>
                  </a:lnTo>
                  <a:lnTo>
                    <a:pt x="521" y="121"/>
                  </a:lnTo>
                  <a:lnTo>
                    <a:pt x="520" y="121"/>
                  </a:lnTo>
                  <a:lnTo>
                    <a:pt x="520" y="120"/>
                  </a:lnTo>
                  <a:lnTo>
                    <a:pt x="521" y="120"/>
                  </a:lnTo>
                  <a:lnTo>
                    <a:pt x="521" y="119"/>
                  </a:lnTo>
                  <a:lnTo>
                    <a:pt x="522" y="118"/>
                  </a:lnTo>
                  <a:lnTo>
                    <a:pt x="522" y="116"/>
                  </a:lnTo>
                  <a:lnTo>
                    <a:pt x="523" y="116"/>
                  </a:lnTo>
                  <a:lnTo>
                    <a:pt x="523" y="115"/>
                  </a:lnTo>
                  <a:lnTo>
                    <a:pt x="525" y="114"/>
                  </a:lnTo>
                  <a:lnTo>
                    <a:pt x="526" y="114"/>
                  </a:lnTo>
                  <a:lnTo>
                    <a:pt x="525" y="113"/>
                  </a:lnTo>
                  <a:lnTo>
                    <a:pt x="526" y="112"/>
                  </a:lnTo>
                  <a:lnTo>
                    <a:pt x="527" y="112"/>
                  </a:lnTo>
                  <a:lnTo>
                    <a:pt x="528" y="112"/>
                  </a:lnTo>
                  <a:lnTo>
                    <a:pt x="530" y="112"/>
                  </a:lnTo>
                  <a:lnTo>
                    <a:pt x="529" y="112"/>
                  </a:lnTo>
                  <a:lnTo>
                    <a:pt x="529" y="111"/>
                  </a:lnTo>
                  <a:lnTo>
                    <a:pt x="528" y="111"/>
                  </a:lnTo>
                  <a:lnTo>
                    <a:pt x="529" y="111"/>
                  </a:lnTo>
                  <a:lnTo>
                    <a:pt x="530" y="111"/>
                  </a:lnTo>
                  <a:lnTo>
                    <a:pt x="530" y="109"/>
                  </a:lnTo>
                  <a:lnTo>
                    <a:pt x="533" y="111"/>
                  </a:lnTo>
                  <a:lnTo>
                    <a:pt x="534" y="111"/>
                  </a:lnTo>
                  <a:lnTo>
                    <a:pt x="535" y="111"/>
                  </a:lnTo>
                  <a:lnTo>
                    <a:pt x="536" y="111"/>
                  </a:lnTo>
                  <a:lnTo>
                    <a:pt x="536" y="112"/>
                  </a:lnTo>
                  <a:lnTo>
                    <a:pt x="537" y="112"/>
                  </a:lnTo>
                  <a:lnTo>
                    <a:pt x="539" y="112"/>
                  </a:lnTo>
                  <a:lnTo>
                    <a:pt x="537" y="111"/>
                  </a:lnTo>
                  <a:lnTo>
                    <a:pt x="539" y="111"/>
                  </a:lnTo>
                  <a:lnTo>
                    <a:pt x="540" y="111"/>
                  </a:lnTo>
                  <a:lnTo>
                    <a:pt x="541" y="111"/>
                  </a:lnTo>
                  <a:lnTo>
                    <a:pt x="542" y="111"/>
                  </a:lnTo>
                  <a:lnTo>
                    <a:pt x="542" y="112"/>
                  </a:lnTo>
                  <a:lnTo>
                    <a:pt x="543" y="112"/>
                  </a:lnTo>
                  <a:lnTo>
                    <a:pt x="544" y="113"/>
                  </a:lnTo>
                  <a:lnTo>
                    <a:pt x="546" y="114"/>
                  </a:lnTo>
                  <a:lnTo>
                    <a:pt x="547" y="114"/>
                  </a:lnTo>
                  <a:lnTo>
                    <a:pt x="547" y="113"/>
                  </a:lnTo>
                  <a:lnTo>
                    <a:pt x="548" y="113"/>
                  </a:lnTo>
                  <a:lnTo>
                    <a:pt x="548" y="114"/>
                  </a:lnTo>
                  <a:lnTo>
                    <a:pt x="547" y="114"/>
                  </a:lnTo>
                  <a:lnTo>
                    <a:pt x="548" y="114"/>
                  </a:lnTo>
                  <a:lnTo>
                    <a:pt x="548" y="115"/>
                  </a:lnTo>
                  <a:lnTo>
                    <a:pt x="548" y="116"/>
                  </a:lnTo>
                  <a:lnTo>
                    <a:pt x="549" y="116"/>
                  </a:lnTo>
                  <a:lnTo>
                    <a:pt x="548" y="118"/>
                  </a:lnTo>
                  <a:lnTo>
                    <a:pt x="548" y="116"/>
                  </a:lnTo>
                  <a:lnTo>
                    <a:pt x="547" y="118"/>
                  </a:lnTo>
                  <a:lnTo>
                    <a:pt x="547" y="119"/>
                  </a:lnTo>
                  <a:lnTo>
                    <a:pt x="548" y="119"/>
                  </a:lnTo>
                  <a:lnTo>
                    <a:pt x="547" y="119"/>
                  </a:lnTo>
                  <a:lnTo>
                    <a:pt x="547" y="120"/>
                  </a:lnTo>
                  <a:lnTo>
                    <a:pt x="546" y="120"/>
                  </a:lnTo>
                  <a:lnTo>
                    <a:pt x="547" y="120"/>
                  </a:lnTo>
                  <a:lnTo>
                    <a:pt x="546" y="121"/>
                  </a:lnTo>
                  <a:lnTo>
                    <a:pt x="547" y="121"/>
                  </a:lnTo>
                  <a:lnTo>
                    <a:pt x="546" y="121"/>
                  </a:lnTo>
                  <a:lnTo>
                    <a:pt x="544" y="121"/>
                  </a:lnTo>
                  <a:lnTo>
                    <a:pt x="544" y="122"/>
                  </a:lnTo>
                  <a:lnTo>
                    <a:pt x="544" y="123"/>
                  </a:lnTo>
                  <a:lnTo>
                    <a:pt x="544" y="125"/>
                  </a:lnTo>
                  <a:lnTo>
                    <a:pt x="543" y="126"/>
                  </a:lnTo>
                  <a:lnTo>
                    <a:pt x="542" y="126"/>
                  </a:lnTo>
                  <a:lnTo>
                    <a:pt x="543" y="126"/>
                  </a:lnTo>
                  <a:lnTo>
                    <a:pt x="543" y="127"/>
                  </a:lnTo>
                  <a:lnTo>
                    <a:pt x="542" y="128"/>
                  </a:lnTo>
                  <a:lnTo>
                    <a:pt x="542" y="129"/>
                  </a:lnTo>
                  <a:lnTo>
                    <a:pt x="542" y="130"/>
                  </a:lnTo>
                  <a:lnTo>
                    <a:pt x="542" y="132"/>
                  </a:lnTo>
                  <a:lnTo>
                    <a:pt x="542" y="133"/>
                  </a:lnTo>
                  <a:lnTo>
                    <a:pt x="541" y="133"/>
                  </a:lnTo>
                  <a:lnTo>
                    <a:pt x="541" y="134"/>
                  </a:lnTo>
                  <a:lnTo>
                    <a:pt x="541" y="135"/>
                  </a:lnTo>
                  <a:lnTo>
                    <a:pt x="540" y="135"/>
                  </a:lnTo>
                  <a:lnTo>
                    <a:pt x="539" y="135"/>
                  </a:lnTo>
                  <a:lnTo>
                    <a:pt x="537" y="136"/>
                  </a:lnTo>
                  <a:lnTo>
                    <a:pt x="536" y="137"/>
                  </a:lnTo>
                  <a:lnTo>
                    <a:pt x="535" y="137"/>
                  </a:lnTo>
                  <a:lnTo>
                    <a:pt x="535" y="139"/>
                  </a:lnTo>
                  <a:lnTo>
                    <a:pt x="534" y="139"/>
                  </a:lnTo>
                  <a:lnTo>
                    <a:pt x="535" y="140"/>
                  </a:lnTo>
                  <a:lnTo>
                    <a:pt x="536" y="141"/>
                  </a:lnTo>
                  <a:lnTo>
                    <a:pt x="535" y="143"/>
                  </a:lnTo>
                  <a:lnTo>
                    <a:pt x="536" y="143"/>
                  </a:lnTo>
                  <a:lnTo>
                    <a:pt x="537" y="143"/>
                  </a:lnTo>
                  <a:lnTo>
                    <a:pt x="537" y="144"/>
                  </a:lnTo>
                  <a:lnTo>
                    <a:pt x="537" y="146"/>
                  </a:lnTo>
                  <a:lnTo>
                    <a:pt x="539" y="146"/>
                  </a:lnTo>
                  <a:lnTo>
                    <a:pt x="540" y="146"/>
                  </a:lnTo>
                  <a:lnTo>
                    <a:pt x="541" y="146"/>
                  </a:lnTo>
                  <a:lnTo>
                    <a:pt x="541" y="147"/>
                  </a:lnTo>
                  <a:lnTo>
                    <a:pt x="542" y="147"/>
                  </a:lnTo>
                  <a:lnTo>
                    <a:pt x="543" y="147"/>
                  </a:lnTo>
                  <a:lnTo>
                    <a:pt x="543" y="146"/>
                  </a:lnTo>
                  <a:lnTo>
                    <a:pt x="542" y="146"/>
                  </a:lnTo>
                  <a:lnTo>
                    <a:pt x="542" y="144"/>
                  </a:lnTo>
                  <a:lnTo>
                    <a:pt x="543" y="144"/>
                  </a:lnTo>
                  <a:lnTo>
                    <a:pt x="544" y="144"/>
                  </a:lnTo>
                  <a:lnTo>
                    <a:pt x="544" y="146"/>
                  </a:lnTo>
                  <a:lnTo>
                    <a:pt x="544" y="147"/>
                  </a:lnTo>
                  <a:lnTo>
                    <a:pt x="546" y="147"/>
                  </a:lnTo>
                  <a:lnTo>
                    <a:pt x="547" y="147"/>
                  </a:lnTo>
                  <a:lnTo>
                    <a:pt x="547" y="148"/>
                  </a:lnTo>
                  <a:lnTo>
                    <a:pt x="548" y="148"/>
                  </a:lnTo>
                  <a:lnTo>
                    <a:pt x="548" y="149"/>
                  </a:lnTo>
                  <a:lnTo>
                    <a:pt x="549" y="149"/>
                  </a:lnTo>
                  <a:lnTo>
                    <a:pt x="550" y="149"/>
                  </a:lnTo>
                  <a:lnTo>
                    <a:pt x="551" y="149"/>
                  </a:lnTo>
                  <a:lnTo>
                    <a:pt x="553" y="149"/>
                  </a:lnTo>
                  <a:lnTo>
                    <a:pt x="554" y="149"/>
                  </a:lnTo>
                  <a:lnTo>
                    <a:pt x="553" y="150"/>
                  </a:lnTo>
                  <a:lnTo>
                    <a:pt x="551" y="150"/>
                  </a:lnTo>
                  <a:lnTo>
                    <a:pt x="551" y="151"/>
                  </a:lnTo>
                  <a:lnTo>
                    <a:pt x="553" y="151"/>
                  </a:lnTo>
                  <a:lnTo>
                    <a:pt x="554" y="151"/>
                  </a:lnTo>
                  <a:lnTo>
                    <a:pt x="555" y="150"/>
                  </a:lnTo>
                  <a:lnTo>
                    <a:pt x="555" y="151"/>
                  </a:lnTo>
                  <a:lnTo>
                    <a:pt x="556" y="151"/>
                  </a:lnTo>
                  <a:lnTo>
                    <a:pt x="557" y="150"/>
                  </a:lnTo>
                  <a:lnTo>
                    <a:pt x="558" y="150"/>
                  </a:lnTo>
                  <a:lnTo>
                    <a:pt x="558" y="151"/>
                  </a:lnTo>
                  <a:lnTo>
                    <a:pt x="557" y="151"/>
                  </a:lnTo>
                  <a:lnTo>
                    <a:pt x="557" y="153"/>
                  </a:lnTo>
                  <a:lnTo>
                    <a:pt x="556" y="153"/>
                  </a:lnTo>
                  <a:lnTo>
                    <a:pt x="556" y="154"/>
                  </a:lnTo>
                  <a:lnTo>
                    <a:pt x="555" y="154"/>
                  </a:lnTo>
                  <a:lnTo>
                    <a:pt x="556" y="154"/>
                  </a:lnTo>
                  <a:lnTo>
                    <a:pt x="556" y="155"/>
                  </a:lnTo>
                  <a:lnTo>
                    <a:pt x="555" y="156"/>
                  </a:lnTo>
                  <a:lnTo>
                    <a:pt x="554" y="156"/>
                  </a:lnTo>
                  <a:lnTo>
                    <a:pt x="554" y="157"/>
                  </a:lnTo>
                  <a:lnTo>
                    <a:pt x="553" y="157"/>
                  </a:lnTo>
                  <a:lnTo>
                    <a:pt x="551" y="157"/>
                  </a:lnTo>
                  <a:lnTo>
                    <a:pt x="550" y="157"/>
                  </a:lnTo>
                  <a:lnTo>
                    <a:pt x="549" y="157"/>
                  </a:lnTo>
                  <a:lnTo>
                    <a:pt x="549" y="156"/>
                  </a:lnTo>
                  <a:lnTo>
                    <a:pt x="549" y="155"/>
                  </a:lnTo>
                  <a:lnTo>
                    <a:pt x="550" y="155"/>
                  </a:lnTo>
                  <a:lnTo>
                    <a:pt x="550" y="154"/>
                  </a:lnTo>
                  <a:lnTo>
                    <a:pt x="550" y="155"/>
                  </a:lnTo>
                  <a:lnTo>
                    <a:pt x="548" y="156"/>
                  </a:lnTo>
                  <a:lnTo>
                    <a:pt x="547" y="156"/>
                  </a:lnTo>
                  <a:lnTo>
                    <a:pt x="546" y="157"/>
                  </a:lnTo>
                  <a:lnTo>
                    <a:pt x="544" y="157"/>
                  </a:lnTo>
                  <a:lnTo>
                    <a:pt x="546" y="157"/>
                  </a:lnTo>
                  <a:lnTo>
                    <a:pt x="544" y="156"/>
                  </a:lnTo>
                  <a:lnTo>
                    <a:pt x="543" y="156"/>
                  </a:lnTo>
                  <a:lnTo>
                    <a:pt x="543" y="155"/>
                  </a:lnTo>
                  <a:lnTo>
                    <a:pt x="542" y="155"/>
                  </a:lnTo>
                  <a:lnTo>
                    <a:pt x="543" y="155"/>
                  </a:lnTo>
                  <a:lnTo>
                    <a:pt x="543" y="154"/>
                  </a:lnTo>
                  <a:lnTo>
                    <a:pt x="542" y="154"/>
                  </a:lnTo>
                  <a:lnTo>
                    <a:pt x="542" y="155"/>
                  </a:lnTo>
                  <a:lnTo>
                    <a:pt x="541" y="155"/>
                  </a:lnTo>
                  <a:lnTo>
                    <a:pt x="541" y="156"/>
                  </a:lnTo>
                  <a:lnTo>
                    <a:pt x="540" y="156"/>
                  </a:lnTo>
                  <a:lnTo>
                    <a:pt x="540" y="155"/>
                  </a:lnTo>
                  <a:lnTo>
                    <a:pt x="540" y="156"/>
                  </a:lnTo>
                  <a:lnTo>
                    <a:pt x="539" y="156"/>
                  </a:lnTo>
                  <a:lnTo>
                    <a:pt x="537" y="156"/>
                  </a:lnTo>
                  <a:lnTo>
                    <a:pt x="536" y="156"/>
                  </a:lnTo>
                  <a:lnTo>
                    <a:pt x="536" y="157"/>
                  </a:lnTo>
                  <a:lnTo>
                    <a:pt x="537" y="157"/>
                  </a:lnTo>
                  <a:lnTo>
                    <a:pt x="536" y="158"/>
                  </a:lnTo>
                  <a:lnTo>
                    <a:pt x="535" y="158"/>
                  </a:lnTo>
                  <a:lnTo>
                    <a:pt x="535" y="160"/>
                  </a:lnTo>
                  <a:lnTo>
                    <a:pt x="534" y="160"/>
                  </a:lnTo>
                  <a:lnTo>
                    <a:pt x="533" y="160"/>
                  </a:lnTo>
                  <a:lnTo>
                    <a:pt x="532" y="160"/>
                  </a:lnTo>
                  <a:lnTo>
                    <a:pt x="532" y="158"/>
                  </a:lnTo>
                  <a:lnTo>
                    <a:pt x="530" y="158"/>
                  </a:lnTo>
                  <a:lnTo>
                    <a:pt x="529" y="158"/>
                  </a:lnTo>
                  <a:lnTo>
                    <a:pt x="529" y="157"/>
                  </a:lnTo>
                  <a:lnTo>
                    <a:pt x="528" y="157"/>
                  </a:lnTo>
                  <a:lnTo>
                    <a:pt x="527" y="157"/>
                  </a:lnTo>
                  <a:lnTo>
                    <a:pt x="526" y="158"/>
                  </a:lnTo>
                  <a:lnTo>
                    <a:pt x="527" y="158"/>
                  </a:lnTo>
                  <a:lnTo>
                    <a:pt x="528" y="158"/>
                  </a:lnTo>
                  <a:lnTo>
                    <a:pt x="528" y="160"/>
                  </a:lnTo>
                  <a:lnTo>
                    <a:pt x="528" y="161"/>
                  </a:lnTo>
                  <a:lnTo>
                    <a:pt x="528" y="160"/>
                  </a:lnTo>
                  <a:lnTo>
                    <a:pt x="529" y="160"/>
                  </a:lnTo>
                  <a:lnTo>
                    <a:pt x="529" y="161"/>
                  </a:lnTo>
                  <a:lnTo>
                    <a:pt x="528" y="161"/>
                  </a:lnTo>
                  <a:lnTo>
                    <a:pt x="528" y="162"/>
                  </a:lnTo>
                  <a:lnTo>
                    <a:pt x="527" y="163"/>
                  </a:lnTo>
                  <a:lnTo>
                    <a:pt x="526" y="163"/>
                  </a:lnTo>
                  <a:lnTo>
                    <a:pt x="525" y="163"/>
                  </a:lnTo>
                  <a:lnTo>
                    <a:pt x="525" y="164"/>
                  </a:lnTo>
                  <a:lnTo>
                    <a:pt x="523" y="164"/>
                  </a:lnTo>
                  <a:lnTo>
                    <a:pt x="525" y="164"/>
                  </a:lnTo>
                  <a:lnTo>
                    <a:pt x="526" y="164"/>
                  </a:lnTo>
                  <a:lnTo>
                    <a:pt x="526" y="163"/>
                  </a:lnTo>
                  <a:lnTo>
                    <a:pt x="528" y="162"/>
                  </a:lnTo>
                  <a:lnTo>
                    <a:pt x="529" y="162"/>
                  </a:lnTo>
                  <a:lnTo>
                    <a:pt x="530" y="162"/>
                  </a:lnTo>
                  <a:lnTo>
                    <a:pt x="530" y="161"/>
                  </a:lnTo>
                  <a:lnTo>
                    <a:pt x="532" y="161"/>
                  </a:lnTo>
                  <a:lnTo>
                    <a:pt x="533" y="161"/>
                  </a:lnTo>
                  <a:lnTo>
                    <a:pt x="534" y="161"/>
                  </a:lnTo>
                  <a:lnTo>
                    <a:pt x="535" y="160"/>
                  </a:lnTo>
                  <a:lnTo>
                    <a:pt x="536" y="160"/>
                  </a:lnTo>
                  <a:lnTo>
                    <a:pt x="537" y="160"/>
                  </a:lnTo>
                  <a:lnTo>
                    <a:pt x="539" y="160"/>
                  </a:lnTo>
                  <a:lnTo>
                    <a:pt x="540" y="160"/>
                  </a:lnTo>
                  <a:lnTo>
                    <a:pt x="540" y="161"/>
                  </a:lnTo>
                  <a:lnTo>
                    <a:pt x="537" y="162"/>
                  </a:lnTo>
                  <a:lnTo>
                    <a:pt x="536" y="162"/>
                  </a:lnTo>
                  <a:lnTo>
                    <a:pt x="537" y="162"/>
                  </a:lnTo>
                  <a:lnTo>
                    <a:pt x="536" y="162"/>
                  </a:lnTo>
                  <a:lnTo>
                    <a:pt x="537" y="162"/>
                  </a:lnTo>
                  <a:lnTo>
                    <a:pt x="537" y="163"/>
                  </a:lnTo>
                  <a:lnTo>
                    <a:pt x="536" y="163"/>
                  </a:lnTo>
                  <a:lnTo>
                    <a:pt x="535" y="163"/>
                  </a:lnTo>
                  <a:lnTo>
                    <a:pt x="534" y="163"/>
                  </a:lnTo>
                  <a:lnTo>
                    <a:pt x="535" y="163"/>
                  </a:lnTo>
                  <a:lnTo>
                    <a:pt x="535" y="164"/>
                  </a:lnTo>
                  <a:lnTo>
                    <a:pt x="536" y="163"/>
                  </a:lnTo>
                  <a:lnTo>
                    <a:pt x="537" y="163"/>
                  </a:lnTo>
                  <a:lnTo>
                    <a:pt x="539" y="163"/>
                  </a:lnTo>
                  <a:lnTo>
                    <a:pt x="539" y="164"/>
                  </a:lnTo>
                  <a:lnTo>
                    <a:pt x="537" y="164"/>
                  </a:lnTo>
                  <a:lnTo>
                    <a:pt x="537" y="165"/>
                  </a:lnTo>
                  <a:lnTo>
                    <a:pt x="536" y="165"/>
                  </a:lnTo>
                  <a:lnTo>
                    <a:pt x="536" y="167"/>
                  </a:lnTo>
                  <a:lnTo>
                    <a:pt x="535" y="167"/>
                  </a:lnTo>
                  <a:lnTo>
                    <a:pt x="534" y="167"/>
                  </a:lnTo>
                  <a:lnTo>
                    <a:pt x="533" y="167"/>
                  </a:lnTo>
                  <a:lnTo>
                    <a:pt x="532" y="167"/>
                  </a:lnTo>
                  <a:lnTo>
                    <a:pt x="530" y="168"/>
                  </a:lnTo>
                  <a:lnTo>
                    <a:pt x="530" y="167"/>
                  </a:lnTo>
                  <a:lnTo>
                    <a:pt x="529" y="167"/>
                  </a:lnTo>
                  <a:lnTo>
                    <a:pt x="529" y="168"/>
                  </a:lnTo>
                  <a:lnTo>
                    <a:pt x="528" y="168"/>
                  </a:lnTo>
                  <a:lnTo>
                    <a:pt x="527" y="168"/>
                  </a:lnTo>
                  <a:lnTo>
                    <a:pt x="526" y="168"/>
                  </a:lnTo>
                  <a:lnTo>
                    <a:pt x="525" y="168"/>
                  </a:lnTo>
                  <a:lnTo>
                    <a:pt x="525" y="169"/>
                  </a:lnTo>
                  <a:lnTo>
                    <a:pt x="523" y="169"/>
                  </a:lnTo>
                  <a:lnTo>
                    <a:pt x="522" y="169"/>
                  </a:lnTo>
                  <a:lnTo>
                    <a:pt x="521" y="169"/>
                  </a:lnTo>
                  <a:lnTo>
                    <a:pt x="520" y="169"/>
                  </a:lnTo>
                  <a:lnTo>
                    <a:pt x="519" y="169"/>
                  </a:lnTo>
                  <a:lnTo>
                    <a:pt x="518" y="169"/>
                  </a:lnTo>
                  <a:lnTo>
                    <a:pt x="516" y="169"/>
                  </a:lnTo>
                  <a:lnTo>
                    <a:pt x="515" y="169"/>
                  </a:lnTo>
                  <a:lnTo>
                    <a:pt x="514" y="169"/>
                  </a:lnTo>
                  <a:lnTo>
                    <a:pt x="513" y="169"/>
                  </a:lnTo>
                  <a:lnTo>
                    <a:pt x="513" y="168"/>
                  </a:lnTo>
                  <a:lnTo>
                    <a:pt x="512" y="168"/>
                  </a:lnTo>
                  <a:lnTo>
                    <a:pt x="511" y="168"/>
                  </a:lnTo>
                  <a:lnTo>
                    <a:pt x="511" y="167"/>
                  </a:lnTo>
                  <a:lnTo>
                    <a:pt x="509" y="168"/>
                  </a:lnTo>
                  <a:lnTo>
                    <a:pt x="508" y="167"/>
                  </a:lnTo>
                  <a:lnTo>
                    <a:pt x="508" y="168"/>
                  </a:lnTo>
                  <a:lnTo>
                    <a:pt x="507" y="168"/>
                  </a:lnTo>
                  <a:lnTo>
                    <a:pt x="506" y="168"/>
                  </a:lnTo>
                  <a:lnTo>
                    <a:pt x="504" y="168"/>
                  </a:lnTo>
                  <a:lnTo>
                    <a:pt x="501" y="168"/>
                  </a:lnTo>
                  <a:lnTo>
                    <a:pt x="500" y="168"/>
                  </a:lnTo>
                  <a:lnTo>
                    <a:pt x="500" y="167"/>
                  </a:lnTo>
                  <a:lnTo>
                    <a:pt x="501" y="167"/>
                  </a:lnTo>
                  <a:lnTo>
                    <a:pt x="503" y="167"/>
                  </a:lnTo>
                  <a:lnTo>
                    <a:pt x="504" y="167"/>
                  </a:lnTo>
                  <a:lnTo>
                    <a:pt x="505" y="165"/>
                  </a:lnTo>
                  <a:lnTo>
                    <a:pt x="504" y="165"/>
                  </a:lnTo>
                  <a:lnTo>
                    <a:pt x="503" y="165"/>
                  </a:lnTo>
                  <a:lnTo>
                    <a:pt x="500" y="165"/>
                  </a:lnTo>
                  <a:lnTo>
                    <a:pt x="500" y="164"/>
                  </a:lnTo>
                  <a:lnTo>
                    <a:pt x="497" y="164"/>
                  </a:lnTo>
                  <a:lnTo>
                    <a:pt x="496" y="164"/>
                  </a:lnTo>
                  <a:lnTo>
                    <a:pt x="494" y="164"/>
                  </a:lnTo>
                  <a:lnTo>
                    <a:pt x="493" y="164"/>
                  </a:lnTo>
                  <a:lnTo>
                    <a:pt x="492" y="164"/>
                  </a:lnTo>
                  <a:lnTo>
                    <a:pt x="492" y="163"/>
                  </a:lnTo>
                  <a:lnTo>
                    <a:pt x="494" y="163"/>
                  </a:lnTo>
                  <a:lnTo>
                    <a:pt x="494" y="162"/>
                  </a:lnTo>
                  <a:lnTo>
                    <a:pt x="496" y="161"/>
                  </a:lnTo>
                  <a:lnTo>
                    <a:pt x="494" y="161"/>
                  </a:lnTo>
                  <a:lnTo>
                    <a:pt x="494" y="160"/>
                  </a:lnTo>
                  <a:lnTo>
                    <a:pt x="493" y="160"/>
                  </a:lnTo>
                  <a:lnTo>
                    <a:pt x="492" y="160"/>
                  </a:lnTo>
                  <a:lnTo>
                    <a:pt x="492" y="161"/>
                  </a:lnTo>
                  <a:lnTo>
                    <a:pt x="491" y="161"/>
                  </a:lnTo>
                  <a:lnTo>
                    <a:pt x="491" y="162"/>
                  </a:lnTo>
                  <a:lnTo>
                    <a:pt x="489" y="162"/>
                  </a:lnTo>
                  <a:lnTo>
                    <a:pt x="487" y="162"/>
                  </a:lnTo>
                  <a:lnTo>
                    <a:pt x="487" y="163"/>
                  </a:lnTo>
                  <a:lnTo>
                    <a:pt x="486" y="163"/>
                  </a:lnTo>
                  <a:lnTo>
                    <a:pt x="486" y="164"/>
                  </a:lnTo>
                  <a:lnTo>
                    <a:pt x="485" y="164"/>
                  </a:lnTo>
                  <a:lnTo>
                    <a:pt x="484" y="164"/>
                  </a:lnTo>
                  <a:lnTo>
                    <a:pt x="483" y="164"/>
                  </a:lnTo>
                  <a:lnTo>
                    <a:pt x="482" y="165"/>
                  </a:lnTo>
                  <a:lnTo>
                    <a:pt x="480" y="167"/>
                  </a:lnTo>
                  <a:lnTo>
                    <a:pt x="478" y="167"/>
                  </a:lnTo>
                  <a:lnTo>
                    <a:pt x="473" y="167"/>
                  </a:lnTo>
                  <a:lnTo>
                    <a:pt x="473" y="168"/>
                  </a:lnTo>
                  <a:lnTo>
                    <a:pt x="470" y="168"/>
                  </a:lnTo>
                  <a:lnTo>
                    <a:pt x="469" y="167"/>
                  </a:lnTo>
                  <a:lnTo>
                    <a:pt x="466" y="167"/>
                  </a:lnTo>
                  <a:lnTo>
                    <a:pt x="466" y="168"/>
                  </a:lnTo>
                  <a:lnTo>
                    <a:pt x="465" y="168"/>
                  </a:lnTo>
                  <a:lnTo>
                    <a:pt x="464" y="169"/>
                  </a:lnTo>
                  <a:lnTo>
                    <a:pt x="463" y="169"/>
                  </a:lnTo>
                  <a:lnTo>
                    <a:pt x="462" y="169"/>
                  </a:lnTo>
                  <a:lnTo>
                    <a:pt x="461" y="170"/>
                  </a:lnTo>
                  <a:lnTo>
                    <a:pt x="459" y="170"/>
                  </a:lnTo>
                  <a:lnTo>
                    <a:pt x="456" y="170"/>
                  </a:lnTo>
                  <a:lnTo>
                    <a:pt x="452" y="171"/>
                  </a:lnTo>
                  <a:lnTo>
                    <a:pt x="450" y="171"/>
                  </a:lnTo>
                  <a:lnTo>
                    <a:pt x="449" y="171"/>
                  </a:lnTo>
                  <a:lnTo>
                    <a:pt x="448" y="171"/>
                  </a:lnTo>
                  <a:lnTo>
                    <a:pt x="447" y="171"/>
                  </a:lnTo>
                  <a:lnTo>
                    <a:pt x="445" y="171"/>
                  </a:lnTo>
                  <a:lnTo>
                    <a:pt x="444" y="171"/>
                  </a:lnTo>
                  <a:lnTo>
                    <a:pt x="444" y="172"/>
                  </a:lnTo>
                  <a:lnTo>
                    <a:pt x="443" y="172"/>
                  </a:lnTo>
                  <a:lnTo>
                    <a:pt x="443" y="171"/>
                  </a:lnTo>
                  <a:lnTo>
                    <a:pt x="442" y="171"/>
                  </a:lnTo>
                  <a:lnTo>
                    <a:pt x="441" y="172"/>
                  </a:lnTo>
                  <a:lnTo>
                    <a:pt x="440" y="172"/>
                  </a:lnTo>
                  <a:lnTo>
                    <a:pt x="437" y="172"/>
                  </a:lnTo>
                  <a:lnTo>
                    <a:pt x="436" y="172"/>
                  </a:lnTo>
                  <a:lnTo>
                    <a:pt x="437" y="172"/>
                  </a:lnTo>
                  <a:lnTo>
                    <a:pt x="439" y="171"/>
                  </a:lnTo>
                  <a:lnTo>
                    <a:pt x="440" y="171"/>
                  </a:lnTo>
                  <a:lnTo>
                    <a:pt x="439" y="171"/>
                  </a:lnTo>
                  <a:lnTo>
                    <a:pt x="437" y="171"/>
                  </a:lnTo>
                  <a:lnTo>
                    <a:pt x="436" y="172"/>
                  </a:lnTo>
                  <a:lnTo>
                    <a:pt x="434" y="172"/>
                  </a:lnTo>
                  <a:lnTo>
                    <a:pt x="433" y="172"/>
                  </a:lnTo>
                  <a:lnTo>
                    <a:pt x="434" y="172"/>
                  </a:lnTo>
                  <a:lnTo>
                    <a:pt x="435" y="172"/>
                  </a:lnTo>
                  <a:lnTo>
                    <a:pt x="434" y="172"/>
                  </a:lnTo>
                  <a:lnTo>
                    <a:pt x="433" y="172"/>
                  </a:lnTo>
                  <a:lnTo>
                    <a:pt x="432" y="172"/>
                  </a:lnTo>
                  <a:lnTo>
                    <a:pt x="428" y="172"/>
                  </a:lnTo>
                  <a:lnTo>
                    <a:pt x="423" y="172"/>
                  </a:lnTo>
                  <a:lnTo>
                    <a:pt x="422" y="172"/>
                  </a:lnTo>
                  <a:lnTo>
                    <a:pt x="422" y="174"/>
                  </a:lnTo>
                  <a:lnTo>
                    <a:pt x="420" y="172"/>
                  </a:lnTo>
                  <a:lnTo>
                    <a:pt x="420" y="174"/>
                  </a:lnTo>
                  <a:lnTo>
                    <a:pt x="419" y="174"/>
                  </a:lnTo>
                  <a:lnTo>
                    <a:pt x="418" y="174"/>
                  </a:lnTo>
                  <a:lnTo>
                    <a:pt x="416" y="174"/>
                  </a:lnTo>
                  <a:lnTo>
                    <a:pt x="413" y="174"/>
                  </a:lnTo>
                  <a:lnTo>
                    <a:pt x="414" y="174"/>
                  </a:lnTo>
                  <a:lnTo>
                    <a:pt x="415" y="174"/>
                  </a:lnTo>
                  <a:lnTo>
                    <a:pt x="415" y="172"/>
                  </a:lnTo>
                  <a:lnTo>
                    <a:pt x="414" y="172"/>
                  </a:lnTo>
                  <a:lnTo>
                    <a:pt x="413" y="171"/>
                  </a:lnTo>
                  <a:lnTo>
                    <a:pt x="414" y="170"/>
                  </a:lnTo>
                  <a:lnTo>
                    <a:pt x="413" y="170"/>
                  </a:lnTo>
                  <a:lnTo>
                    <a:pt x="413" y="169"/>
                  </a:lnTo>
                  <a:lnTo>
                    <a:pt x="414" y="169"/>
                  </a:lnTo>
                  <a:lnTo>
                    <a:pt x="414" y="168"/>
                  </a:lnTo>
                  <a:lnTo>
                    <a:pt x="415" y="168"/>
                  </a:lnTo>
                  <a:lnTo>
                    <a:pt x="415" y="167"/>
                  </a:lnTo>
                  <a:lnTo>
                    <a:pt x="416" y="167"/>
                  </a:lnTo>
                  <a:lnTo>
                    <a:pt x="418" y="165"/>
                  </a:lnTo>
                  <a:lnTo>
                    <a:pt x="416" y="165"/>
                  </a:lnTo>
                  <a:lnTo>
                    <a:pt x="418" y="165"/>
                  </a:lnTo>
                  <a:lnTo>
                    <a:pt x="418" y="164"/>
                  </a:lnTo>
                  <a:lnTo>
                    <a:pt x="419" y="164"/>
                  </a:lnTo>
                  <a:lnTo>
                    <a:pt x="420" y="164"/>
                  </a:lnTo>
                  <a:lnTo>
                    <a:pt x="419" y="164"/>
                  </a:lnTo>
                  <a:lnTo>
                    <a:pt x="416" y="163"/>
                  </a:lnTo>
                  <a:lnTo>
                    <a:pt x="415" y="163"/>
                  </a:lnTo>
                  <a:lnTo>
                    <a:pt x="414" y="163"/>
                  </a:lnTo>
                  <a:lnTo>
                    <a:pt x="412" y="163"/>
                  </a:lnTo>
                  <a:lnTo>
                    <a:pt x="407" y="163"/>
                  </a:lnTo>
                  <a:lnTo>
                    <a:pt x="406" y="163"/>
                  </a:lnTo>
                  <a:lnTo>
                    <a:pt x="405" y="163"/>
                  </a:lnTo>
                  <a:lnTo>
                    <a:pt x="404" y="163"/>
                  </a:lnTo>
                  <a:lnTo>
                    <a:pt x="400" y="163"/>
                  </a:lnTo>
                  <a:lnTo>
                    <a:pt x="397" y="162"/>
                  </a:lnTo>
                  <a:lnTo>
                    <a:pt x="395" y="162"/>
                  </a:lnTo>
                  <a:lnTo>
                    <a:pt x="393" y="161"/>
                  </a:lnTo>
                  <a:lnTo>
                    <a:pt x="392" y="161"/>
                  </a:lnTo>
                  <a:lnTo>
                    <a:pt x="392" y="160"/>
                  </a:lnTo>
                  <a:lnTo>
                    <a:pt x="393" y="160"/>
                  </a:lnTo>
                  <a:lnTo>
                    <a:pt x="393" y="158"/>
                  </a:lnTo>
                  <a:lnTo>
                    <a:pt x="392" y="158"/>
                  </a:lnTo>
                  <a:lnTo>
                    <a:pt x="392" y="160"/>
                  </a:lnTo>
                  <a:lnTo>
                    <a:pt x="392" y="158"/>
                  </a:lnTo>
                  <a:lnTo>
                    <a:pt x="391" y="158"/>
                  </a:lnTo>
                  <a:lnTo>
                    <a:pt x="392" y="158"/>
                  </a:lnTo>
                  <a:lnTo>
                    <a:pt x="392" y="157"/>
                  </a:lnTo>
                  <a:lnTo>
                    <a:pt x="391" y="157"/>
                  </a:lnTo>
                  <a:lnTo>
                    <a:pt x="391" y="156"/>
                  </a:lnTo>
                  <a:lnTo>
                    <a:pt x="390" y="156"/>
                  </a:lnTo>
                  <a:lnTo>
                    <a:pt x="391" y="156"/>
                  </a:lnTo>
                  <a:lnTo>
                    <a:pt x="391" y="155"/>
                  </a:lnTo>
                  <a:lnTo>
                    <a:pt x="391" y="154"/>
                  </a:lnTo>
                  <a:lnTo>
                    <a:pt x="392" y="153"/>
                  </a:lnTo>
                  <a:lnTo>
                    <a:pt x="393" y="153"/>
                  </a:lnTo>
                  <a:lnTo>
                    <a:pt x="395" y="151"/>
                  </a:lnTo>
                  <a:lnTo>
                    <a:pt x="398" y="151"/>
                  </a:lnTo>
                  <a:lnTo>
                    <a:pt x="400" y="151"/>
                  </a:lnTo>
                  <a:lnTo>
                    <a:pt x="402" y="151"/>
                  </a:lnTo>
                  <a:lnTo>
                    <a:pt x="408" y="150"/>
                  </a:lnTo>
                  <a:lnTo>
                    <a:pt x="413" y="150"/>
                  </a:lnTo>
                  <a:lnTo>
                    <a:pt x="416" y="149"/>
                  </a:lnTo>
                  <a:lnTo>
                    <a:pt x="419" y="149"/>
                  </a:lnTo>
                  <a:lnTo>
                    <a:pt x="422" y="149"/>
                  </a:lnTo>
                  <a:lnTo>
                    <a:pt x="425" y="149"/>
                  </a:lnTo>
                  <a:lnTo>
                    <a:pt x="428" y="149"/>
                  </a:lnTo>
                  <a:lnTo>
                    <a:pt x="429" y="149"/>
                  </a:lnTo>
                  <a:lnTo>
                    <a:pt x="433" y="149"/>
                  </a:lnTo>
                  <a:lnTo>
                    <a:pt x="435" y="149"/>
                  </a:lnTo>
                  <a:lnTo>
                    <a:pt x="437" y="149"/>
                  </a:lnTo>
                  <a:lnTo>
                    <a:pt x="439" y="150"/>
                  </a:lnTo>
                  <a:lnTo>
                    <a:pt x="440" y="150"/>
                  </a:lnTo>
                  <a:lnTo>
                    <a:pt x="441" y="150"/>
                  </a:lnTo>
                  <a:lnTo>
                    <a:pt x="442" y="150"/>
                  </a:lnTo>
                  <a:lnTo>
                    <a:pt x="443" y="150"/>
                  </a:lnTo>
                  <a:lnTo>
                    <a:pt x="444" y="150"/>
                  </a:lnTo>
                  <a:lnTo>
                    <a:pt x="445" y="150"/>
                  </a:lnTo>
                  <a:lnTo>
                    <a:pt x="445" y="149"/>
                  </a:lnTo>
                  <a:lnTo>
                    <a:pt x="448" y="149"/>
                  </a:lnTo>
                  <a:lnTo>
                    <a:pt x="447" y="149"/>
                  </a:lnTo>
                  <a:lnTo>
                    <a:pt x="448" y="149"/>
                  </a:lnTo>
                  <a:lnTo>
                    <a:pt x="450" y="149"/>
                  </a:lnTo>
                  <a:lnTo>
                    <a:pt x="451" y="149"/>
                  </a:lnTo>
                  <a:lnTo>
                    <a:pt x="452" y="149"/>
                  </a:lnTo>
                  <a:lnTo>
                    <a:pt x="454" y="149"/>
                  </a:lnTo>
                  <a:lnTo>
                    <a:pt x="455" y="149"/>
                  </a:lnTo>
                  <a:lnTo>
                    <a:pt x="454" y="149"/>
                  </a:lnTo>
                  <a:lnTo>
                    <a:pt x="455" y="149"/>
                  </a:lnTo>
                  <a:lnTo>
                    <a:pt x="455" y="148"/>
                  </a:lnTo>
                  <a:lnTo>
                    <a:pt x="452" y="148"/>
                  </a:lnTo>
                  <a:lnTo>
                    <a:pt x="451" y="148"/>
                  </a:lnTo>
                  <a:lnTo>
                    <a:pt x="450" y="148"/>
                  </a:lnTo>
                  <a:lnTo>
                    <a:pt x="451" y="147"/>
                  </a:lnTo>
                  <a:lnTo>
                    <a:pt x="450" y="147"/>
                  </a:lnTo>
                  <a:lnTo>
                    <a:pt x="449" y="146"/>
                  </a:lnTo>
                  <a:lnTo>
                    <a:pt x="449" y="147"/>
                  </a:lnTo>
                  <a:lnTo>
                    <a:pt x="449" y="146"/>
                  </a:lnTo>
                  <a:lnTo>
                    <a:pt x="448" y="146"/>
                  </a:lnTo>
                  <a:lnTo>
                    <a:pt x="448" y="147"/>
                  </a:lnTo>
                  <a:lnTo>
                    <a:pt x="447" y="146"/>
                  </a:lnTo>
                  <a:lnTo>
                    <a:pt x="445" y="146"/>
                  </a:lnTo>
                  <a:lnTo>
                    <a:pt x="444" y="146"/>
                  </a:lnTo>
                  <a:lnTo>
                    <a:pt x="443" y="146"/>
                  </a:lnTo>
                  <a:lnTo>
                    <a:pt x="443" y="144"/>
                  </a:lnTo>
                  <a:lnTo>
                    <a:pt x="442" y="146"/>
                  </a:lnTo>
                  <a:lnTo>
                    <a:pt x="442" y="144"/>
                  </a:lnTo>
                  <a:lnTo>
                    <a:pt x="441" y="144"/>
                  </a:lnTo>
                  <a:lnTo>
                    <a:pt x="440" y="144"/>
                  </a:lnTo>
                  <a:lnTo>
                    <a:pt x="439" y="144"/>
                  </a:lnTo>
                  <a:lnTo>
                    <a:pt x="436" y="143"/>
                  </a:lnTo>
                  <a:lnTo>
                    <a:pt x="435" y="143"/>
                  </a:lnTo>
                  <a:lnTo>
                    <a:pt x="434" y="144"/>
                  </a:lnTo>
                  <a:lnTo>
                    <a:pt x="433" y="144"/>
                  </a:lnTo>
                  <a:lnTo>
                    <a:pt x="432" y="144"/>
                  </a:lnTo>
                  <a:lnTo>
                    <a:pt x="429" y="144"/>
                  </a:lnTo>
                  <a:lnTo>
                    <a:pt x="426" y="144"/>
                  </a:lnTo>
                  <a:lnTo>
                    <a:pt x="423" y="146"/>
                  </a:lnTo>
                  <a:lnTo>
                    <a:pt x="422" y="146"/>
                  </a:lnTo>
                  <a:lnTo>
                    <a:pt x="419" y="146"/>
                  </a:lnTo>
                  <a:lnTo>
                    <a:pt x="418" y="146"/>
                  </a:lnTo>
                  <a:lnTo>
                    <a:pt x="416" y="146"/>
                  </a:lnTo>
                  <a:lnTo>
                    <a:pt x="413" y="146"/>
                  </a:lnTo>
                  <a:lnTo>
                    <a:pt x="412" y="146"/>
                  </a:lnTo>
                  <a:lnTo>
                    <a:pt x="412" y="144"/>
                  </a:lnTo>
                  <a:lnTo>
                    <a:pt x="413" y="144"/>
                  </a:lnTo>
                  <a:lnTo>
                    <a:pt x="412" y="144"/>
                  </a:lnTo>
                  <a:lnTo>
                    <a:pt x="408" y="144"/>
                  </a:lnTo>
                  <a:lnTo>
                    <a:pt x="407" y="146"/>
                  </a:lnTo>
                  <a:lnTo>
                    <a:pt x="405" y="146"/>
                  </a:lnTo>
                  <a:lnTo>
                    <a:pt x="402" y="144"/>
                  </a:lnTo>
                  <a:lnTo>
                    <a:pt x="401" y="146"/>
                  </a:lnTo>
                  <a:lnTo>
                    <a:pt x="401" y="144"/>
                  </a:lnTo>
                  <a:lnTo>
                    <a:pt x="399" y="144"/>
                  </a:lnTo>
                  <a:lnTo>
                    <a:pt x="399" y="146"/>
                  </a:lnTo>
                  <a:lnTo>
                    <a:pt x="398" y="144"/>
                  </a:lnTo>
                  <a:lnTo>
                    <a:pt x="399" y="144"/>
                  </a:lnTo>
                  <a:lnTo>
                    <a:pt x="399" y="143"/>
                  </a:lnTo>
                  <a:lnTo>
                    <a:pt x="398" y="143"/>
                  </a:lnTo>
                  <a:lnTo>
                    <a:pt x="395" y="142"/>
                  </a:lnTo>
                  <a:lnTo>
                    <a:pt x="395" y="141"/>
                  </a:lnTo>
                  <a:lnTo>
                    <a:pt x="395" y="140"/>
                  </a:lnTo>
                  <a:lnTo>
                    <a:pt x="397" y="140"/>
                  </a:lnTo>
                  <a:lnTo>
                    <a:pt x="400" y="139"/>
                  </a:lnTo>
                  <a:lnTo>
                    <a:pt x="405" y="137"/>
                  </a:lnTo>
                  <a:lnTo>
                    <a:pt x="408" y="137"/>
                  </a:lnTo>
                  <a:lnTo>
                    <a:pt x="413" y="136"/>
                  </a:lnTo>
                  <a:lnTo>
                    <a:pt x="414" y="136"/>
                  </a:lnTo>
                  <a:lnTo>
                    <a:pt x="415" y="136"/>
                  </a:lnTo>
                  <a:lnTo>
                    <a:pt x="416" y="136"/>
                  </a:lnTo>
                  <a:lnTo>
                    <a:pt x="422" y="135"/>
                  </a:lnTo>
                  <a:lnTo>
                    <a:pt x="425" y="135"/>
                  </a:lnTo>
                  <a:lnTo>
                    <a:pt x="423" y="135"/>
                  </a:lnTo>
                  <a:lnTo>
                    <a:pt x="425" y="135"/>
                  </a:lnTo>
                  <a:lnTo>
                    <a:pt x="427" y="135"/>
                  </a:lnTo>
                  <a:lnTo>
                    <a:pt x="428" y="135"/>
                  </a:lnTo>
                  <a:lnTo>
                    <a:pt x="427" y="135"/>
                  </a:lnTo>
                  <a:lnTo>
                    <a:pt x="425" y="134"/>
                  </a:lnTo>
                  <a:lnTo>
                    <a:pt x="423" y="134"/>
                  </a:lnTo>
                  <a:lnTo>
                    <a:pt x="425" y="134"/>
                  </a:lnTo>
                  <a:lnTo>
                    <a:pt x="426" y="134"/>
                  </a:lnTo>
                  <a:lnTo>
                    <a:pt x="429" y="133"/>
                  </a:lnTo>
                  <a:lnTo>
                    <a:pt x="429" y="134"/>
                  </a:lnTo>
                  <a:lnTo>
                    <a:pt x="430" y="134"/>
                  </a:lnTo>
                  <a:lnTo>
                    <a:pt x="432" y="134"/>
                  </a:lnTo>
                  <a:lnTo>
                    <a:pt x="433" y="134"/>
                  </a:lnTo>
                  <a:lnTo>
                    <a:pt x="435" y="134"/>
                  </a:lnTo>
                  <a:lnTo>
                    <a:pt x="436" y="133"/>
                  </a:lnTo>
                  <a:lnTo>
                    <a:pt x="434" y="134"/>
                  </a:lnTo>
                  <a:lnTo>
                    <a:pt x="433" y="134"/>
                  </a:lnTo>
                  <a:lnTo>
                    <a:pt x="432" y="134"/>
                  </a:lnTo>
                  <a:lnTo>
                    <a:pt x="432" y="133"/>
                  </a:lnTo>
                  <a:lnTo>
                    <a:pt x="433" y="133"/>
                  </a:lnTo>
                  <a:lnTo>
                    <a:pt x="432" y="133"/>
                  </a:lnTo>
                  <a:lnTo>
                    <a:pt x="429" y="133"/>
                  </a:lnTo>
                  <a:lnTo>
                    <a:pt x="428" y="133"/>
                  </a:lnTo>
                  <a:lnTo>
                    <a:pt x="427" y="133"/>
                  </a:lnTo>
                  <a:lnTo>
                    <a:pt x="426" y="134"/>
                  </a:lnTo>
                  <a:lnTo>
                    <a:pt x="425" y="134"/>
                  </a:lnTo>
                  <a:lnTo>
                    <a:pt x="421" y="134"/>
                  </a:lnTo>
                  <a:lnTo>
                    <a:pt x="420" y="134"/>
                  </a:lnTo>
                  <a:lnTo>
                    <a:pt x="419" y="134"/>
                  </a:lnTo>
                  <a:lnTo>
                    <a:pt x="418" y="134"/>
                  </a:lnTo>
                  <a:lnTo>
                    <a:pt x="416" y="134"/>
                  </a:lnTo>
                  <a:lnTo>
                    <a:pt x="415" y="134"/>
                  </a:lnTo>
                  <a:lnTo>
                    <a:pt x="414" y="135"/>
                  </a:lnTo>
                  <a:lnTo>
                    <a:pt x="413" y="135"/>
                  </a:lnTo>
                  <a:lnTo>
                    <a:pt x="412" y="135"/>
                  </a:lnTo>
                  <a:lnTo>
                    <a:pt x="412" y="134"/>
                  </a:lnTo>
                  <a:lnTo>
                    <a:pt x="413" y="134"/>
                  </a:lnTo>
                  <a:lnTo>
                    <a:pt x="412" y="134"/>
                  </a:lnTo>
                  <a:lnTo>
                    <a:pt x="411" y="134"/>
                  </a:lnTo>
                  <a:lnTo>
                    <a:pt x="412" y="134"/>
                  </a:lnTo>
                  <a:lnTo>
                    <a:pt x="411" y="135"/>
                  </a:lnTo>
                  <a:lnTo>
                    <a:pt x="409" y="135"/>
                  </a:lnTo>
                  <a:lnTo>
                    <a:pt x="408" y="135"/>
                  </a:lnTo>
                  <a:lnTo>
                    <a:pt x="407" y="135"/>
                  </a:lnTo>
                  <a:lnTo>
                    <a:pt x="404" y="135"/>
                  </a:lnTo>
                  <a:lnTo>
                    <a:pt x="404" y="134"/>
                  </a:lnTo>
                  <a:lnTo>
                    <a:pt x="405" y="134"/>
                  </a:lnTo>
                  <a:lnTo>
                    <a:pt x="407" y="133"/>
                  </a:lnTo>
                  <a:lnTo>
                    <a:pt x="408" y="133"/>
                  </a:lnTo>
                  <a:lnTo>
                    <a:pt x="409" y="133"/>
                  </a:lnTo>
                  <a:lnTo>
                    <a:pt x="411" y="133"/>
                  </a:lnTo>
                  <a:lnTo>
                    <a:pt x="409" y="133"/>
                  </a:lnTo>
                  <a:lnTo>
                    <a:pt x="411" y="133"/>
                  </a:lnTo>
                  <a:lnTo>
                    <a:pt x="412" y="133"/>
                  </a:lnTo>
                  <a:lnTo>
                    <a:pt x="411" y="133"/>
                  </a:lnTo>
                  <a:lnTo>
                    <a:pt x="411" y="132"/>
                  </a:lnTo>
                  <a:lnTo>
                    <a:pt x="409" y="132"/>
                  </a:lnTo>
                  <a:lnTo>
                    <a:pt x="411" y="132"/>
                  </a:lnTo>
                  <a:lnTo>
                    <a:pt x="413" y="132"/>
                  </a:lnTo>
                  <a:lnTo>
                    <a:pt x="409" y="132"/>
                  </a:lnTo>
                  <a:lnTo>
                    <a:pt x="408" y="132"/>
                  </a:lnTo>
                  <a:lnTo>
                    <a:pt x="407" y="132"/>
                  </a:lnTo>
                  <a:lnTo>
                    <a:pt x="407" y="133"/>
                  </a:lnTo>
                  <a:lnTo>
                    <a:pt x="406" y="133"/>
                  </a:lnTo>
                  <a:lnTo>
                    <a:pt x="405" y="133"/>
                  </a:lnTo>
                  <a:lnTo>
                    <a:pt x="405" y="132"/>
                  </a:lnTo>
                  <a:lnTo>
                    <a:pt x="404" y="132"/>
                  </a:lnTo>
                  <a:lnTo>
                    <a:pt x="402" y="132"/>
                  </a:lnTo>
                  <a:lnTo>
                    <a:pt x="401" y="132"/>
                  </a:lnTo>
                  <a:lnTo>
                    <a:pt x="400" y="132"/>
                  </a:lnTo>
                  <a:lnTo>
                    <a:pt x="400" y="133"/>
                  </a:lnTo>
                  <a:lnTo>
                    <a:pt x="399" y="133"/>
                  </a:lnTo>
                  <a:lnTo>
                    <a:pt x="399" y="132"/>
                  </a:lnTo>
                  <a:lnTo>
                    <a:pt x="400" y="130"/>
                  </a:lnTo>
                  <a:lnTo>
                    <a:pt x="400" y="129"/>
                  </a:lnTo>
                  <a:lnTo>
                    <a:pt x="401" y="129"/>
                  </a:lnTo>
                  <a:lnTo>
                    <a:pt x="402" y="128"/>
                  </a:lnTo>
                  <a:lnTo>
                    <a:pt x="404" y="128"/>
                  </a:lnTo>
                  <a:lnTo>
                    <a:pt x="405" y="127"/>
                  </a:lnTo>
                  <a:lnTo>
                    <a:pt x="407" y="127"/>
                  </a:lnTo>
                  <a:lnTo>
                    <a:pt x="408" y="126"/>
                  </a:lnTo>
                  <a:lnTo>
                    <a:pt x="409" y="126"/>
                  </a:lnTo>
                  <a:lnTo>
                    <a:pt x="411" y="125"/>
                  </a:lnTo>
                  <a:lnTo>
                    <a:pt x="412" y="125"/>
                  </a:lnTo>
                  <a:lnTo>
                    <a:pt x="413" y="125"/>
                  </a:lnTo>
                  <a:lnTo>
                    <a:pt x="416" y="125"/>
                  </a:lnTo>
                  <a:lnTo>
                    <a:pt x="418" y="123"/>
                  </a:lnTo>
                  <a:lnTo>
                    <a:pt x="418" y="122"/>
                  </a:lnTo>
                  <a:lnTo>
                    <a:pt x="415" y="122"/>
                  </a:lnTo>
                  <a:lnTo>
                    <a:pt x="415" y="121"/>
                  </a:lnTo>
                  <a:lnTo>
                    <a:pt x="416" y="121"/>
                  </a:lnTo>
                  <a:lnTo>
                    <a:pt x="418" y="120"/>
                  </a:lnTo>
                  <a:lnTo>
                    <a:pt x="421" y="120"/>
                  </a:lnTo>
                  <a:lnTo>
                    <a:pt x="421" y="119"/>
                  </a:lnTo>
                  <a:lnTo>
                    <a:pt x="422" y="119"/>
                  </a:lnTo>
                  <a:lnTo>
                    <a:pt x="423" y="119"/>
                  </a:lnTo>
                  <a:lnTo>
                    <a:pt x="425" y="119"/>
                  </a:lnTo>
                  <a:lnTo>
                    <a:pt x="427" y="118"/>
                  </a:lnTo>
                  <a:lnTo>
                    <a:pt x="428" y="118"/>
                  </a:lnTo>
                  <a:lnTo>
                    <a:pt x="430" y="116"/>
                  </a:lnTo>
                  <a:lnTo>
                    <a:pt x="432" y="116"/>
                  </a:lnTo>
                  <a:lnTo>
                    <a:pt x="433" y="116"/>
                  </a:lnTo>
                  <a:lnTo>
                    <a:pt x="434" y="115"/>
                  </a:lnTo>
                  <a:lnTo>
                    <a:pt x="436" y="115"/>
                  </a:lnTo>
                  <a:lnTo>
                    <a:pt x="437" y="115"/>
                  </a:lnTo>
                  <a:lnTo>
                    <a:pt x="440" y="114"/>
                  </a:lnTo>
                  <a:lnTo>
                    <a:pt x="443" y="114"/>
                  </a:lnTo>
                  <a:lnTo>
                    <a:pt x="444" y="113"/>
                  </a:lnTo>
                  <a:lnTo>
                    <a:pt x="445" y="113"/>
                  </a:lnTo>
                  <a:lnTo>
                    <a:pt x="447" y="113"/>
                  </a:lnTo>
                  <a:lnTo>
                    <a:pt x="449" y="113"/>
                  </a:lnTo>
                  <a:lnTo>
                    <a:pt x="451" y="113"/>
                  </a:lnTo>
                  <a:lnTo>
                    <a:pt x="454" y="112"/>
                  </a:lnTo>
                  <a:lnTo>
                    <a:pt x="456" y="112"/>
                  </a:lnTo>
                  <a:lnTo>
                    <a:pt x="458" y="112"/>
                  </a:lnTo>
                  <a:lnTo>
                    <a:pt x="458" y="111"/>
                  </a:lnTo>
                  <a:lnTo>
                    <a:pt x="459" y="111"/>
                  </a:lnTo>
                  <a:lnTo>
                    <a:pt x="461" y="111"/>
                  </a:lnTo>
                  <a:lnTo>
                    <a:pt x="462" y="111"/>
                  </a:lnTo>
                  <a:lnTo>
                    <a:pt x="464" y="111"/>
                  </a:lnTo>
                  <a:lnTo>
                    <a:pt x="466" y="109"/>
                  </a:lnTo>
                  <a:lnTo>
                    <a:pt x="468" y="109"/>
                  </a:lnTo>
                  <a:lnTo>
                    <a:pt x="469" y="109"/>
                  </a:lnTo>
                  <a:lnTo>
                    <a:pt x="471" y="109"/>
                  </a:lnTo>
                  <a:lnTo>
                    <a:pt x="471" y="111"/>
                  </a:lnTo>
                  <a:close/>
                  <a:moveTo>
                    <a:pt x="537" y="107"/>
                  </a:moveTo>
                  <a:lnTo>
                    <a:pt x="536" y="107"/>
                  </a:lnTo>
                  <a:lnTo>
                    <a:pt x="534" y="107"/>
                  </a:lnTo>
                  <a:lnTo>
                    <a:pt x="535" y="106"/>
                  </a:lnTo>
                  <a:lnTo>
                    <a:pt x="536" y="106"/>
                  </a:lnTo>
                  <a:lnTo>
                    <a:pt x="537" y="106"/>
                  </a:lnTo>
                  <a:lnTo>
                    <a:pt x="539" y="107"/>
                  </a:lnTo>
                  <a:lnTo>
                    <a:pt x="537" y="107"/>
                  </a:lnTo>
                  <a:close/>
                  <a:moveTo>
                    <a:pt x="563" y="111"/>
                  </a:moveTo>
                  <a:lnTo>
                    <a:pt x="562" y="111"/>
                  </a:lnTo>
                  <a:lnTo>
                    <a:pt x="561" y="112"/>
                  </a:lnTo>
                  <a:lnTo>
                    <a:pt x="560" y="112"/>
                  </a:lnTo>
                  <a:lnTo>
                    <a:pt x="558" y="112"/>
                  </a:lnTo>
                  <a:lnTo>
                    <a:pt x="558" y="113"/>
                  </a:lnTo>
                  <a:lnTo>
                    <a:pt x="557" y="113"/>
                  </a:lnTo>
                  <a:lnTo>
                    <a:pt x="556" y="113"/>
                  </a:lnTo>
                  <a:lnTo>
                    <a:pt x="556" y="114"/>
                  </a:lnTo>
                  <a:lnTo>
                    <a:pt x="555" y="114"/>
                  </a:lnTo>
                  <a:lnTo>
                    <a:pt x="554" y="114"/>
                  </a:lnTo>
                  <a:lnTo>
                    <a:pt x="553" y="115"/>
                  </a:lnTo>
                  <a:lnTo>
                    <a:pt x="551" y="115"/>
                  </a:lnTo>
                  <a:lnTo>
                    <a:pt x="550" y="115"/>
                  </a:lnTo>
                  <a:lnTo>
                    <a:pt x="551" y="115"/>
                  </a:lnTo>
                  <a:lnTo>
                    <a:pt x="551" y="116"/>
                  </a:lnTo>
                  <a:lnTo>
                    <a:pt x="550" y="116"/>
                  </a:lnTo>
                  <a:lnTo>
                    <a:pt x="550" y="115"/>
                  </a:lnTo>
                  <a:lnTo>
                    <a:pt x="549" y="116"/>
                  </a:lnTo>
                  <a:lnTo>
                    <a:pt x="549" y="115"/>
                  </a:lnTo>
                  <a:lnTo>
                    <a:pt x="550" y="115"/>
                  </a:lnTo>
                  <a:lnTo>
                    <a:pt x="549" y="115"/>
                  </a:lnTo>
                  <a:lnTo>
                    <a:pt x="550" y="115"/>
                  </a:lnTo>
                  <a:lnTo>
                    <a:pt x="549" y="114"/>
                  </a:lnTo>
                  <a:lnTo>
                    <a:pt x="549" y="113"/>
                  </a:lnTo>
                  <a:lnTo>
                    <a:pt x="548" y="113"/>
                  </a:lnTo>
                  <a:lnTo>
                    <a:pt x="548" y="112"/>
                  </a:lnTo>
                  <a:lnTo>
                    <a:pt x="549" y="112"/>
                  </a:lnTo>
                  <a:lnTo>
                    <a:pt x="548" y="112"/>
                  </a:lnTo>
                  <a:lnTo>
                    <a:pt x="547" y="112"/>
                  </a:lnTo>
                  <a:lnTo>
                    <a:pt x="548" y="112"/>
                  </a:lnTo>
                  <a:lnTo>
                    <a:pt x="548" y="111"/>
                  </a:lnTo>
                  <a:lnTo>
                    <a:pt x="547" y="109"/>
                  </a:lnTo>
                  <a:lnTo>
                    <a:pt x="546" y="109"/>
                  </a:lnTo>
                  <a:lnTo>
                    <a:pt x="544" y="108"/>
                  </a:lnTo>
                  <a:lnTo>
                    <a:pt x="542" y="108"/>
                  </a:lnTo>
                  <a:lnTo>
                    <a:pt x="543" y="107"/>
                  </a:lnTo>
                  <a:lnTo>
                    <a:pt x="544" y="107"/>
                  </a:lnTo>
                  <a:lnTo>
                    <a:pt x="546" y="107"/>
                  </a:lnTo>
                  <a:lnTo>
                    <a:pt x="547" y="106"/>
                  </a:lnTo>
                  <a:lnTo>
                    <a:pt x="548" y="106"/>
                  </a:lnTo>
                  <a:lnTo>
                    <a:pt x="549" y="105"/>
                  </a:lnTo>
                  <a:lnTo>
                    <a:pt x="554" y="105"/>
                  </a:lnTo>
                  <a:lnTo>
                    <a:pt x="558" y="105"/>
                  </a:lnTo>
                  <a:lnTo>
                    <a:pt x="560" y="105"/>
                  </a:lnTo>
                  <a:lnTo>
                    <a:pt x="562" y="105"/>
                  </a:lnTo>
                  <a:lnTo>
                    <a:pt x="564" y="105"/>
                  </a:lnTo>
                  <a:lnTo>
                    <a:pt x="564" y="106"/>
                  </a:lnTo>
                  <a:lnTo>
                    <a:pt x="565" y="106"/>
                  </a:lnTo>
                  <a:lnTo>
                    <a:pt x="567" y="106"/>
                  </a:lnTo>
                  <a:lnTo>
                    <a:pt x="568" y="107"/>
                  </a:lnTo>
                  <a:lnTo>
                    <a:pt x="567" y="107"/>
                  </a:lnTo>
                  <a:lnTo>
                    <a:pt x="567" y="108"/>
                  </a:lnTo>
                  <a:lnTo>
                    <a:pt x="565" y="108"/>
                  </a:lnTo>
                  <a:lnTo>
                    <a:pt x="565" y="109"/>
                  </a:lnTo>
                  <a:lnTo>
                    <a:pt x="564" y="109"/>
                  </a:lnTo>
                  <a:lnTo>
                    <a:pt x="563" y="109"/>
                  </a:lnTo>
                  <a:lnTo>
                    <a:pt x="563" y="111"/>
                  </a:lnTo>
                  <a:close/>
                  <a:moveTo>
                    <a:pt x="800" y="105"/>
                  </a:moveTo>
                  <a:lnTo>
                    <a:pt x="803" y="106"/>
                  </a:lnTo>
                  <a:lnTo>
                    <a:pt x="803" y="105"/>
                  </a:lnTo>
                  <a:lnTo>
                    <a:pt x="804" y="105"/>
                  </a:lnTo>
                  <a:lnTo>
                    <a:pt x="806" y="106"/>
                  </a:lnTo>
                  <a:lnTo>
                    <a:pt x="807" y="106"/>
                  </a:lnTo>
                  <a:lnTo>
                    <a:pt x="809" y="106"/>
                  </a:lnTo>
                  <a:lnTo>
                    <a:pt x="812" y="106"/>
                  </a:lnTo>
                  <a:lnTo>
                    <a:pt x="813" y="106"/>
                  </a:lnTo>
                  <a:lnTo>
                    <a:pt x="814" y="106"/>
                  </a:lnTo>
                  <a:lnTo>
                    <a:pt x="818" y="106"/>
                  </a:lnTo>
                  <a:lnTo>
                    <a:pt x="821" y="106"/>
                  </a:lnTo>
                  <a:lnTo>
                    <a:pt x="823" y="106"/>
                  </a:lnTo>
                  <a:lnTo>
                    <a:pt x="827" y="107"/>
                  </a:lnTo>
                  <a:lnTo>
                    <a:pt x="827" y="108"/>
                  </a:lnTo>
                  <a:lnTo>
                    <a:pt x="828" y="108"/>
                  </a:lnTo>
                  <a:lnTo>
                    <a:pt x="828" y="109"/>
                  </a:lnTo>
                  <a:lnTo>
                    <a:pt x="829" y="111"/>
                  </a:lnTo>
                  <a:lnTo>
                    <a:pt x="829" y="109"/>
                  </a:lnTo>
                  <a:lnTo>
                    <a:pt x="831" y="111"/>
                  </a:lnTo>
                  <a:lnTo>
                    <a:pt x="831" y="112"/>
                  </a:lnTo>
                  <a:lnTo>
                    <a:pt x="832" y="112"/>
                  </a:lnTo>
                  <a:lnTo>
                    <a:pt x="831" y="112"/>
                  </a:lnTo>
                  <a:lnTo>
                    <a:pt x="831" y="113"/>
                  </a:lnTo>
                  <a:lnTo>
                    <a:pt x="832" y="113"/>
                  </a:lnTo>
                  <a:lnTo>
                    <a:pt x="833" y="113"/>
                  </a:lnTo>
                  <a:lnTo>
                    <a:pt x="832" y="113"/>
                  </a:lnTo>
                  <a:lnTo>
                    <a:pt x="833" y="114"/>
                  </a:lnTo>
                  <a:lnTo>
                    <a:pt x="832" y="114"/>
                  </a:lnTo>
                  <a:lnTo>
                    <a:pt x="832" y="115"/>
                  </a:lnTo>
                  <a:lnTo>
                    <a:pt x="833" y="115"/>
                  </a:lnTo>
                  <a:lnTo>
                    <a:pt x="833" y="116"/>
                  </a:lnTo>
                  <a:lnTo>
                    <a:pt x="832" y="116"/>
                  </a:lnTo>
                  <a:lnTo>
                    <a:pt x="831" y="116"/>
                  </a:lnTo>
                  <a:lnTo>
                    <a:pt x="829" y="116"/>
                  </a:lnTo>
                  <a:lnTo>
                    <a:pt x="827" y="116"/>
                  </a:lnTo>
                  <a:lnTo>
                    <a:pt x="826" y="116"/>
                  </a:lnTo>
                  <a:lnTo>
                    <a:pt x="825" y="116"/>
                  </a:lnTo>
                  <a:lnTo>
                    <a:pt x="823" y="116"/>
                  </a:lnTo>
                  <a:lnTo>
                    <a:pt x="820" y="116"/>
                  </a:lnTo>
                  <a:lnTo>
                    <a:pt x="820" y="115"/>
                  </a:lnTo>
                  <a:lnTo>
                    <a:pt x="817" y="115"/>
                  </a:lnTo>
                  <a:lnTo>
                    <a:pt x="814" y="115"/>
                  </a:lnTo>
                  <a:lnTo>
                    <a:pt x="813" y="115"/>
                  </a:lnTo>
                  <a:lnTo>
                    <a:pt x="807" y="116"/>
                  </a:lnTo>
                  <a:lnTo>
                    <a:pt x="805" y="116"/>
                  </a:lnTo>
                  <a:lnTo>
                    <a:pt x="804" y="116"/>
                  </a:lnTo>
                  <a:lnTo>
                    <a:pt x="802" y="118"/>
                  </a:lnTo>
                  <a:lnTo>
                    <a:pt x="799" y="118"/>
                  </a:lnTo>
                  <a:lnTo>
                    <a:pt x="798" y="118"/>
                  </a:lnTo>
                  <a:lnTo>
                    <a:pt x="796" y="116"/>
                  </a:lnTo>
                  <a:lnTo>
                    <a:pt x="795" y="116"/>
                  </a:lnTo>
                  <a:lnTo>
                    <a:pt x="795" y="115"/>
                  </a:lnTo>
                  <a:lnTo>
                    <a:pt x="795" y="114"/>
                  </a:lnTo>
                  <a:lnTo>
                    <a:pt x="796" y="113"/>
                  </a:lnTo>
                  <a:lnTo>
                    <a:pt x="796" y="112"/>
                  </a:lnTo>
                  <a:lnTo>
                    <a:pt x="797" y="112"/>
                  </a:lnTo>
                  <a:lnTo>
                    <a:pt x="797" y="111"/>
                  </a:lnTo>
                  <a:lnTo>
                    <a:pt x="796" y="111"/>
                  </a:lnTo>
                  <a:lnTo>
                    <a:pt x="795" y="111"/>
                  </a:lnTo>
                  <a:lnTo>
                    <a:pt x="793" y="111"/>
                  </a:lnTo>
                  <a:lnTo>
                    <a:pt x="792" y="111"/>
                  </a:lnTo>
                  <a:lnTo>
                    <a:pt x="791" y="111"/>
                  </a:lnTo>
                  <a:lnTo>
                    <a:pt x="791" y="109"/>
                  </a:lnTo>
                  <a:lnTo>
                    <a:pt x="792" y="109"/>
                  </a:lnTo>
                  <a:lnTo>
                    <a:pt x="791" y="109"/>
                  </a:lnTo>
                  <a:lnTo>
                    <a:pt x="792" y="109"/>
                  </a:lnTo>
                  <a:lnTo>
                    <a:pt x="792" y="108"/>
                  </a:lnTo>
                  <a:lnTo>
                    <a:pt x="793" y="108"/>
                  </a:lnTo>
                  <a:lnTo>
                    <a:pt x="795" y="108"/>
                  </a:lnTo>
                  <a:lnTo>
                    <a:pt x="793" y="108"/>
                  </a:lnTo>
                  <a:lnTo>
                    <a:pt x="793" y="107"/>
                  </a:lnTo>
                  <a:lnTo>
                    <a:pt x="795" y="106"/>
                  </a:lnTo>
                  <a:lnTo>
                    <a:pt x="796" y="106"/>
                  </a:lnTo>
                  <a:lnTo>
                    <a:pt x="796" y="105"/>
                  </a:lnTo>
                  <a:lnTo>
                    <a:pt x="797" y="105"/>
                  </a:lnTo>
                  <a:lnTo>
                    <a:pt x="798" y="105"/>
                  </a:lnTo>
                  <a:lnTo>
                    <a:pt x="799" y="105"/>
                  </a:lnTo>
                  <a:lnTo>
                    <a:pt x="800" y="105"/>
                  </a:lnTo>
                  <a:close/>
                  <a:moveTo>
                    <a:pt x="742" y="104"/>
                  </a:moveTo>
                  <a:lnTo>
                    <a:pt x="745" y="104"/>
                  </a:lnTo>
                  <a:lnTo>
                    <a:pt x="748" y="104"/>
                  </a:lnTo>
                  <a:lnTo>
                    <a:pt x="750" y="104"/>
                  </a:lnTo>
                  <a:lnTo>
                    <a:pt x="754" y="104"/>
                  </a:lnTo>
                  <a:lnTo>
                    <a:pt x="755" y="104"/>
                  </a:lnTo>
                  <a:lnTo>
                    <a:pt x="756" y="104"/>
                  </a:lnTo>
                  <a:lnTo>
                    <a:pt x="757" y="105"/>
                  </a:lnTo>
                  <a:lnTo>
                    <a:pt x="756" y="105"/>
                  </a:lnTo>
                  <a:lnTo>
                    <a:pt x="756" y="106"/>
                  </a:lnTo>
                  <a:lnTo>
                    <a:pt x="753" y="107"/>
                  </a:lnTo>
                  <a:lnTo>
                    <a:pt x="749" y="107"/>
                  </a:lnTo>
                  <a:lnTo>
                    <a:pt x="748" y="107"/>
                  </a:lnTo>
                  <a:lnTo>
                    <a:pt x="748" y="108"/>
                  </a:lnTo>
                  <a:lnTo>
                    <a:pt x="747" y="108"/>
                  </a:lnTo>
                  <a:lnTo>
                    <a:pt x="746" y="108"/>
                  </a:lnTo>
                  <a:lnTo>
                    <a:pt x="741" y="111"/>
                  </a:lnTo>
                  <a:lnTo>
                    <a:pt x="740" y="112"/>
                  </a:lnTo>
                  <a:lnTo>
                    <a:pt x="738" y="112"/>
                  </a:lnTo>
                  <a:lnTo>
                    <a:pt x="738" y="113"/>
                  </a:lnTo>
                  <a:lnTo>
                    <a:pt x="736" y="113"/>
                  </a:lnTo>
                  <a:lnTo>
                    <a:pt x="735" y="113"/>
                  </a:lnTo>
                  <a:lnTo>
                    <a:pt x="735" y="114"/>
                  </a:lnTo>
                  <a:lnTo>
                    <a:pt x="734" y="114"/>
                  </a:lnTo>
                  <a:lnTo>
                    <a:pt x="733" y="115"/>
                  </a:lnTo>
                  <a:lnTo>
                    <a:pt x="732" y="115"/>
                  </a:lnTo>
                  <a:lnTo>
                    <a:pt x="731" y="116"/>
                  </a:lnTo>
                  <a:lnTo>
                    <a:pt x="729" y="116"/>
                  </a:lnTo>
                  <a:lnTo>
                    <a:pt x="729" y="118"/>
                  </a:lnTo>
                  <a:lnTo>
                    <a:pt x="728" y="118"/>
                  </a:lnTo>
                  <a:lnTo>
                    <a:pt x="728" y="119"/>
                  </a:lnTo>
                  <a:lnTo>
                    <a:pt x="729" y="121"/>
                  </a:lnTo>
                  <a:lnTo>
                    <a:pt x="729" y="122"/>
                  </a:lnTo>
                  <a:lnTo>
                    <a:pt x="728" y="122"/>
                  </a:lnTo>
                  <a:lnTo>
                    <a:pt x="727" y="122"/>
                  </a:lnTo>
                  <a:lnTo>
                    <a:pt x="727" y="123"/>
                  </a:lnTo>
                  <a:lnTo>
                    <a:pt x="726" y="123"/>
                  </a:lnTo>
                  <a:lnTo>
                    <a:pt x="725" y="125"/>
                  </a:lnTo>
                  <a:lnTo>
                    <a:pt x="725" y="126"/>
                  </a:lnTo>
                  <a:lnTo>
                    <a:pt x="724" y="126"/>
                  </a:lnTo>
                  <a:lnTo>
                    <a:pt x="724" y="127"/>
                  </a:lnTo>
                  <a:lnTo>
                    <a:pt x="724" y="128"/>
                  </a:lnTo>
                  <a:lnTo>
                    <a:pt x="724" y="129"/>
                  </a:lnTo>
                  <a:lnTo>
                    <a:pt x="725" y="130"/>
                  </a:lnTo>
                  <a:lnTo>
                    <a:pt x="726" y="132"/>
                  </a:lnTo>
                  <a:lnTo>
                    <a:pt x="726" y="133"/>
                  </a:lnTo>
                  <a:lnTo>
                    <a:pt x="727" y="133"/>
                  </a:lnTo>
                  <a:lnTo>
                    <a:pt x="728" y="133"/>
                  </a:lnTo>
                  <a:lnTo>
                    <a:pt x="728" y="134"/>
                  </a:lnTo>
                  <a:lnTo>
                    <a:pt x="729" y="134"/>
                  </a:lnTo>
                  <a:lnTo>
                    <a:pt x="731" y="134"/>
                  </a:lnTo>
                  <a:lnTo>
                    <a:pt x="732" y="134"/>
                  </a:lnTo>
                  <a:lnTo>
                    <a:pt x="732" y="135"/>
                  </a:lnTo>
                  <a:lnTo>
                    <a:pt x="731" y="135"/>
                  </a:lnTo>
                  <a:lnTo>
                    <a:pt x="732" y="135"/>
                  </a:lnTo>
                  <a:lnTo>
                    <a:pt x="732" y="136"/>
                  </a:lnTo>
                  <a:lnTo>
                    <a:pt x="731" y="136"/>
                  </a:lnTo>
                  <a:lnTo>
                    <a:pt x="728" y="136"/>
                  </a:lnTo>
                  <a:lnTo>
                    <a:pt x="727" y="136"/>
                  </a:lnTo>
                  <a:lnTo>
                    <a:pt x="728" y="136"/>
                  </a:lnTo>
                  <a:lnTo>
                    <a:pt x="727" y="136"/>
                  </a:lnTo>
                  <a:lnTo>
                    <a:pt x="726" y="136"/>
                  </a:lnTo>
                  <a:lnTo>
                    <a:pt x="725" y="136"/>
                  </a:lnTo>
                  <a:lnTo>
                    <a:pt x="725" y="137"/>
                  </a:lnTo>
                  <a:lnTo>
                    <a:pt x="724" y="137"/>
                  </a:lnTo>
                  <a:lnTo>
                    <a:pt x="722" y="137"/>
                  </a:lnTo>
                  <a:lnTo>
                    <a:pt x="721" y="137"/>
                  </a:lnTo>
                  <a:lnTo>
                    <a:pt x="720" y="137"/>
                  </a:lnTo>
                  <a:lnTo>
                    <a:pt x="719" y="137"/>
                  </a:lnTo>
                  <a:lnTo>
                    <a:pt x="718" y="139"/>
                  </a:lnTo>
                  <a:lnTo>
                    <a:pt x="717" y="139"/>
                  </a:lnTo>
                  <a:lnTo>
                    <a:pt x="715" y="139"/>
                  </a:lnTo>
                  <a:lnTo>
                    <a:pt x="714" y="140"/>
                  </a:lnTo>
                  <a:lnTo>
                    <a:pt x="713" y="140"/>
                  </a:lnTo>
                  <a:lnTo>
                    <a:pt x="712" y="140"/>
                  </a:lnTo>
                  <a:lnTo>
                    <a:pt x="708" y="140"/>
                  </a:lnTo>
                  <a:lnTo>
                    <a:pt x="710" y="140"/>
                  </a:lnTo>
                  <a:lnTo>
                    <a:pt x="714" y="140"/>
                  </a:lnTo>
                  <a:lnTo>
                    <a:pt x="715" y="140"/>
                  </a:lnTo>
                  <a:lnTo>
                    <a:pt x="717" y="140"/>
                  </a:lnTo>
                  <a:lnTo>
                    <a:pt x="719" y="139"/>
                  </a:lnTo>
                  <a:lnTo>
                    <a:pt x="720" y="139"/>
                  </a:lnTo>
                  <a:lnTo>
                    <a:pt x="722" y="137"/>
                  </a:lnTo>
                  <a:lnTo>
                    <a:pt x="724" y="137"/>
                  </a:lnTo>
                  <a:lnTo>
                    <a:pt x="726" y="137"/>
                  </a:lnTo>
                  <a:lnTo>
                    <a:pt x="726" y="139"/>
                  </a:lnTo>
                  <a:lnTo>
                    <a:pt x="727" y="137"/>
                  </a:lnTo>
                  <a:lnTo>
                    <a:pt x="728" y="137"/>
                  </a:lnTo>
                  <a:lnTo>
                    <a:pt x="729" y="137"/>
                  </a:lnTo>
                  <a:lnTo>
                    <a:pt x="729" y="139"/>
                  </a:lnTo>
                  <a:lnTo>
                    <a:pt x="728" y="139"/>
                  </a:lnTo>
                  <a:lnTo>
                    <a:pt x="726" y="139"/>
                  </a:lnTo>
                  <a:lnTo>
                    <a:pt x="728" y="139"/>
                  </a:lnTo>
                  <a:lnTo>
                    <a:pt x="727" y="140"/>
                  </a:lnTo>
                  <a:lnTo>
                    <a:pt x="727" y="141"/>
                  </a:lnTo>
                  <a:lnTo>
                    <a:pt x="726" y="141"/>
                  </a:lnTo>
                  <a:lnTo>
                    <a:pt x="727" y="141"/>
                  </a:lnTo>
                  <a:lnTo>
                    <a:pt x="728" y="141"/>
                  </a:lnTo>
                  <a:lnTo>
                    <a:pt x="729" y="140"/>
                  </a:lnTo>
                  <a:lnTo>
                    <a:pt x="729" y="139"/>
                  </a:lnTo>
                  <a:lnTo>
                    <a:pt x="731" y="139"/>
                  </a:lnTo>
                  <a:lnTo>
                    <a:pt x="731" y="137"/>
                  </a:lnTo>
                  <a:lnTo>
                    <a:pt x="732" y="137"/>
                  </a:lnTo>
                  <a:lnTo>
                    <a:pt x="732" y="136"/>
                  </a:lnTo>
                  <a:lnTo>
                    <a:pt x="733" y="135"/>
                  </a:lnTo>
                  <a:lnTo>
                    <a:pt x="734" y="134"/>
                  </a:lnTo>
                  <a:lnTo>
                    <a:pt x="735" y="134"/>
                  </a:lnTo>
                  <a:lnTo>
                    <a:pt x="736" y="134"/>
                  </a:lnTo>
                  <a:lnTo>
                    <a:pt x="736" y="133"/>
                  </a:lnTo>
                  <a:lnTo>
                    <a:pt x="736" y="132"/>
                  </a:lnTo>
                  <a:lnTo>
                    <a:pt x="738" y="132"/>
                  </a:lnTo>
                  <a:lnTo>
                    <a:pt x="736" y="132"/>
                  </a:lnTo>
                  <a:lnTo>
                    <a:pt x="735" y="132"/>
                  </a:lnTo>
                  <a:lnTo>
                    <a:pt x="734" y="132"/>
                  </a:lnTo>
                  <a:lnTo>
                    <a:pt x="731" y="132"/>
                  </a:lnTo>
                  <a:lnTo>
                    <a:pt x="731" y="130"/>
                  </a:lnTo>
                  <a:lnTo>
                    <a:pt x="729" y="130"/>
                  </a:lnTo>
                  <a:lnTo>
                    <a:pt x="729" y="129"/>
                  </a:lnTo>
                  <a:lnTo>
                    <a:pt x="731" y="129"/>
                  </a:lnTo>
                  <a:lnTo>
                    <a:pt x="731" y="128"/>
                  </a:lnTo>
                  <a:lnTo>
                    <a:pt x="729" y="128"/>
                  </a:lnTo>
                  <a:lnTo>
                    <a:pt x="727" y="127"/>
                  </a:lnTo>
                  <a:lnTo>
                    <a:pt x="728" y="127"/>
                  </a:lnTo>
                  <a:lnTo>
                    <a:pt x="727" y="127"/>
                  </a:lnTo>
                  <a:lnTo>
                    <a:pt x="728" y="127"/>
                  </a:lnTo>
                  <a:lnTo>
                    <a:pt x="729" y="127"/>
                  </a:lnTo>
                  <a:lnTo>
                    <a:pt x="731" y="127"/>
                  </a:lnTo>
                  <a:lnTo>
                    <a:pt x="729" y="127"/>
                  </a:lnTo>
                  <a:lnTo>
                    <a:pt x="731" y="126"/>
                  </a:lnTo>
                  <a:lnTo>
                    <a:pt x="732" y="126"/>
                  </a:lnTo>
                  <a:lnTo>
                    <a:pt x="733" y="126"/>
                  </a:lnTo>
                  <a:lnTo>
                    <a:pt x="734" y="126"/>
                  </a:lnTo>
                  <a:lnTo>
                    <a:pt x="735" y="126"/>
                  </a:lnTo>
                  <a:lnTo>
                    <a:pt x="735" y="125"/>
                  </a:lnTo>
                  <a:lnTo>
                    <a:pt x="734" y="125"/>
                  </a:lnTo>
                  <a:lnTo>
                    <a:pt x="734" y="123"/>
                  </a:lnTo>
                  <a:lnTo>
                    <a:pt x="735" y="123"/>
                  </a:lnTo>
                  <a:lnTo>
                    <a:pt x="735" y="125"/>
                  </a:lnTo>
                  <a:lnTo>
                    <a:pt x="735" y="123"/>
                  </a:lnTo>
                  <a:lnTo>
                    <a:pt x="736" y="123"/>
                  </a:lnTo>
                  <a:lnTo>
                    <a:pt x="738" y="123"/>
                  </a:lnTo>
                  <a:lnTo>
                    <a:pt x="739" y="123"/>
                  </a:lnTo>
                  <a:lnTo>
                    <a:pt x="739" y="125"/>
                  </a:lnTo>
                  <a:lnTo>
                    <a:pt x="739" y="123"/>
                  </a:lnTo>
                  <a:lnTo>
                    <a:pt x="740" y="123"/>
                  </a:lnTo>
                  <a:lnTo>
                    <a:pt x="741" y="125"/>
                  </a:lnTo>
                  <a:lnTo>
                    <a:pt x="742" y="125"/>
                  </a:lnTo>
                  <a:lnTo>
                    <a:pt x="742" y="126"/>
                  </a:lnTo>
                  <a:lnTo>
                    <a:pt x="743" y="126"/>
                  </a:lnTo>
                  <a:lnTo>
                    <a:pt x="745" y="126"/>
                  </a:lnTo>
                  <a:lnTo>
                    <a:pt x="745" y="127"/>
                  </a:lnTo>
                  <a:lnTo>
                    <a:pt x="745" y="128"/>
                  </a:lnTo>
                  <a:lnTo>
                    <a:pt x="745" y="127"/>
                  </a:lnTo>
                  <a:lnTo>
                    <a:pt x="746" y="127"/>
                  </a:lnTo>
                  <a:lnTo>
                    <a:pt x="746" y="126"/>
                  </a:lnTo>
                  <a:lnTo>
                    <a:pt x="745" y="126"/>
                  </a:lnTo>
                  <a:lnTo>
                    <a:pt x="743" y="125"/>
                  </a:lnTo>
                  <a:lnTo>
                    <a:pt x="742" y="125"/>
                  </a:lnTo>
                  <a:lnTo>
                    <a:pt x="743" y="123"/>
                  </a:lnTo>
                  <a:lnTo>
                    <a:pt x="742" y="123"/>
                  </a:lnTo>
                  <a:lnTo>
                    <a:pt x="741" y="123"/>
                  </a:lnTo>
                  <a:lnTo>
                    <a:pt x="742" y="123"/>
                  </a:lnTo>
                  <a:lnTo>
                    <a:pt x="743" y="122"/>
                  </a:lnTo>
                  <a:lnTo>
                    <a:pt x="746" y="122"/>
                  </a:lnTo>
                  <a:lnTo>
                    <a:pt x="747" y="122"/>
                  </a:lnTo>
                  <a:lnTo>
                    <a:pt x="746" y="122"/>
                  </a:lnTo>
                  <a:lnTo>
                    <a:pt x="743" y="122"/>
                  </a:lnTo>
                  <a:lnTo>
                    <a:pt x="742" y="122"/>
                  </a:lnTo>
                  <a:lnTo>
                    <a:pt x="743" y="122"/>
                  </a:lnTo>
                  <a:lnTo>
                    <a:pt x="743" y="121"/>
                  </a:lnTo>
                  <a:lnTo>
                    <a:pt x="745" y="121"/>
                  </a:lnTo>
                  <a:lnTo>
                    <a:pt x="743" y="121"/>
                  </a:lnTo>
                  <a:lnTo>
                    <a:pt x="741" y="122"/>
                  </a:lnTo>
                  <a:lnTo>
                    <a:pt x="740" y="122"/>
                  </a:lnTo>
                  <a:lnTo>
                    <a:pt x="739" y="122"/>
                  </a:lnTo>
                  <a:lnTo>
                    <a:pt x="738" y="121"/>
                  </a:lnTo>
                  <a:lnTo>
                    <a:pt x="738" y="120"/>
                  </a:lnTo>
                  <a:lnTo>
                    <a:pt x="739" y="120"/>
                  </a:lnTo>
                  <a:lnTo>
                    <a:pt x="738" y="120"/>
                  </a:lnTo>
                  <a:lnTo>
                    <a:pt x="738" y="119"/>
                  </a:lnTo>
                  <a:lnTo>
                    <a:pt x="738" y="118"/>
                  </a:lnTo>
                  <a:lnTo>
                    <a:pt x="739" y="118"/>
                  </a:lnTo>
                  <a:lnTo>
                    <a:pt x="739" y="116"/>
                  </a:lnTo>
                  <a:lnTo>
                    <a:pt x="740" y="116"/>
                  </a:lnTo>
                  <a:lnTo>
                    <a:pt x="740" y="115"/>
                  </a:lnTo>
                  <a:lnTo>
                    <a:pt x="741" y="115"/>
                  </a:lnTo>
                  <a:lnTo>
                    <a:pt x="742" y="115"/>
                  </a:lnTo>
                  <a:lnTo>
                    <a:pt x="742" y="114"/>
                  </a:lnTo>
                  <a:lnTo>
                    <a:pt x="745" y="115"/>
                  </a:lnTo>
                  <a:lnTo>
                    <a:pt x="746" y="115"/>
                  </a:lnTo>
                  <a:lnTo>
                    <a:pt x="748" y="115"/>
                  </a:lnTo>
                  <a:lnTo>
                    <a:pt x="752" y="116"/>
                  </a:lnTo>
                  <a:lnTo>
                    <a:pt x="753" y="116"/>
                  </a:lnTo>
                  <a:lnTo>
                    <a:pt x="754" y="118"/>
                  </a:lnTo>
                  <a:lnTo>
                    <a:pt x="755" y="118"/>
                  </a:lnTo>
                  <a:lnTo>
                    <a:pt x="755" y="116"/>
                  </a:lnTo>
                  <a:lnTo>
                    <a:pt x="753" y="116"/>
                  </a:lnTo>
                  <a:lnTo>
                    <a:pt x="750" y="115"/>
                  </a:lnTo>
                  <a:lnTo>
                    <a:pt x="749" y="115"/>
                  </a:lnTo>
                  <a:lnTo>
                    <a:pt x="748" y="115"/>
                  </a:lnTo>
                  <a:lnTo>
                    <a:pt x="748" y="114"/>
                  </a:lnTo>
                  <a:lnTo>
                    <a:pt x="747" y="114"/>
                  </a:lnTo>
                  <a:lnTo>
                    <a:pt x="743" y="114"/>
                  </a:lnTo>
                  <a:lnTo>
                    <a:pt x="745" y="113"/>
                  </a:lnTo>
                  <a:lnTo>
                    <a:pt x="746" y="113"/>
                  </a:lnTo>
                  <a:lnTo>
                    <a:pt x="747" y="113"/>
                  </a:lnTo>
                  <a:lnTo>
                    <a:pt x="747" y="114"/>
                  </a:lnTo>
                  <a:lnTo>
                    <a:pt x="747" y="113"/>
                  </a:lnTo>
                  <a:lnTo>
                    <a:pt x="748" y="112"/>
                  </a:lnTo>
                  <a:lnTo>
                    <a:pt x="749" y="113"/>
                  </a:lnTo>
                  <a:lnTo>
                    <a:pt x="750" y="113"/>
                  </a:lnTo>
                  <a:lnTo>
                    <a:pt x="752" y="113"/>
                  </a:lnTo>
                  <a:lnTo>
                    <a:pt x="754" y="113"/>
                  </a:lnTo>
                  <a:lnTo>
                    <a:pt x="756" y="114"/>
                  </a:lnTo>
                  <a:lnTo>
                    <a:pt x="759" y="114"/>
                  </a:lnTo>
                  <a:lnTo>
                    <a:pt x="760" y="114"/>
                  </a:lnTo>
                  <a:lnTo>
                    <a:pt x="761" y="114"/>
                  </a:lnTo>
                  <a:lnTo>
                    <a:pt x="760" y="114"/>
                  </a:lnTo>
                  <a:lnTo>
                    <a:pt x="759" y="113"/>
                  </a:lnTo>
                  <a:lnTo>
                    <a:pt x="757" y="113"/>
                  </a:lnTo>
                  <a:lnTo>
                    <a:pt x="756" y="113"/>
                  </a:lnTo>
                  <a:lnTo>
                    <a:pt x="754" y="113"/>
                  </a:lnTo>
                  <a:lnTo>
                    <a:pt x="750" y="112"/>
                  </a:lnTo>
                  <a:lnTo>
                    <a:pt x="749" y="112"/>
                  </a:lnTo>
                  <a:lnTo>
                    <a:pt x="749" y="111"/>
                  </a:lnTo>
                  <a:lnTo>
                    <a:pt x="750" y="111"/>
                  </a:lnTo>
                  <a:lnTo>
                    <a:pt x="754" y="109"/>
                  </a:lnTo>
                  <a:lnTo>
                    <a:pt x="755" y="109"/>
                  </a:lnTo>
                  <a:lnTo>
                    <a:pt x="755" y="111"/>
                  </a:lnTo>
                  <a:lnTo>
                    <a:pt x="756" y="111"/>
                  </a:lnTo>
                  <a:lnTo>
                    <a:pt x="756" y="112"/>
                  </a:lnTo>
                  <a:lnTo>
                    <a:pt x="757" y="112"/>
                  </a:lnTo>
                  <a:lnTo>
                    <a:pt x="756" y="111"/>
                  </a:lnTo>
                  <a:lnTo>
                    <a:pt x="755" y="111"/>
                  </a:lnTo>
                  <a:lnTo>
                    <a:pt x="755" y="109"/>
                  </a:lnTo>
                  <a:lnTo>
                    <a:pt x="756" y="109"/>
                  </a:lnTo>
                  <a:lnTo>
                    <a:pt x="755" y="109"/>
                  </a:lnTo>
                  <a:lnTo>
                    <a:pt x="756" y="109"/>
                  </a:lnTo>
                  <a:lnTo>
                    <a:pt x="761" y="108"/>
                  </a:lnTo>
                  <a:lnTo>
                    <a:pt x="764" y="108"/>
                  </a:lnTo>
                  <a:lnTo>
                    <a:pt x="764" y="109"/>
                  </a:lnTo>
                  <a:lnTo>
                    <a:pt x="764" y="111"/>
                  </a:lnTo>
                  <a:lnTo>
                    <a:pt x="765" y="111"/>
                  </a:lnTo>
                  <a:lnTo>
                    <a:pt x="765" y="109"/>
                  </a:lnTo>
                  <a:lnTo>
                    <a:pt x="765" y="108"/>
                  </a:lnTo>
                  <a:lnTo>
                    <a:pt x="763" y="108"/>
                  </a:lnTo>
                  <a:lnTo>
                    <a:pt x="763" y="107"/>
                  </a:lnTo>
                  <a:lnTo>
                    <a:pt x="768" y="107"/>
                  </a:lnTo>
                  <a:lnTo>
                    <a:pt x="769" y="107"/>
                  </a:lnTo>
                  <a:lnTo>
                    <a:pt x="771" y="106"/>
                  </a:lnTo>
                  <a:lnTo>
                    <a:pt x="772" y="106"/>
                  </a:lnTo>
                  <a:lnTo>
                    <a:pt x="774" y="106"/>
                  </a:lnTo>
                  <a:lnTo>
                    <a:pt x="775" y="106"/>
                  </a:lnTo>
                  <a:lnTo>
                    <a:pt x="776" y="105"/>
                  </a:lnTo>
                  <a:lnTo>
                    <a:pt x="777" y="105"/>
                  </a:lnTo>
                  <a:lnTo>
                    <a:pt x="781" y="105"/>
                  </a:lnTo>
                  <a:lnTo>
                    <a:pt x="784" y="105"/>
                  </a:lnTo>
                  <a:lnTo>
                    <a:pt x="785" y="105"/>
                  </a:lnTo>
                  <a:lnTo>
                    <a:pt x="789" y="105"/>
                  </a:lnTo>
                  <a:lnTo>
                    <a:pt x="790" y="105"/>
                  </a:lnTo>
                  <a:lnTo>
                    <a:pt x="790" y="106"/>
                  </a:lnTo>
                  <a:lnTo>
                    <a:pt x="789" y="106"/>
                  </a:lnTo>
                  <a:lnTo>
                    <a:pt x="790" y="106"/>
                  </a:lnTo>
                  <a:lnTo>
                    <a:pt x="790" y="107"/>
                  </a:lnTo>
                  <a:lnTo>
                    <a:pt x="790" y="108"/>
                  </a:lnTo>
                  <a:lnTo>
                    <a:pt x="789" y="108"/>
                  </a:lnTo>
                  <a:lnTo>
                    <a:pt x="789" y="109"/>
                  </a:lnTo>
                  <a:lnTo>
                    <a:pt x="788" y="111"/>
                  </a:lnTo>
                  <a:lnTo>
                    <a:pt x="792" y="112"/>
                  </a:lnTo>
                  <a:lnTo>
                    <a:pt x="792" y="113"/>
                  </a:lnTo>
                  <a:lnTo>
                    <a:pt x="791" y="113"/>
                  </a:lnTo>
                  <a:lnTo>
                    <a:pt x="791" y="114"/>
                  </a:lnTo>
                  <a:lnTo>
                    <a:pt x="790" y="114"/>
                  </a:lnTo>
                  <a:lnTo>
                    <a:pt x="790" y="115"/>
                  </a:lnTo>
                  <a:lnTo>
                    <a:pt x="789" y="115"/>
                  </a:lnTo>
                  <a:lnTo>
                    <a:pt x="790" y="115"/>
                  </a:lnTo>
                  <a:lnTo>
                    <a:pt x="790" y="116"/>
                  </a:lnTo>
                  <a:lnTo>
                    <a:pt x="791" y="116"/>
                  </a:lnTo>
                  <a:lnTo>
                    <a:pt x="791" y="118"/>
                  </a:lnTo>
                  <a:lnTo>
                    <a:pt x="790" y="118"/>
                  </a:lnTo>
                  <a:lnTo>
                    <a:pt x="789" y="118"/>
                  </a:lnTo>
                  <a:lnTo>
                    <a:pt x="789" y="119"/>
                  </a:lnTo>
                  <a:lnTo>
                    <a:pt x="788" y="119"/>
                  </a:lnTo>
                  <a:lnTo>
                    <a:pt x="786" y="119"/>
                  </a:lnTo>
                  <a:lnTo>
                    <a:pt x="786" y="120"/>
                  </a:lnTo>
                  <a:lnTo>
                    <a:pt x="784" y="120"/>
                  </a:lnTo>
                  <a:lnTo>
                    <a:pt x="782" y="121"/>
                  </a:lnTo>
                  <a:lnTo>
                    <a:pt x="781" y="121"/>
                  </a:lnTo>
                  <a:lnTo>
                    <a:pt x="779" y="122"/>
                  </a:lnTo>
                  <a:lnTo>
                    <a:pt x="778" y="122"/>
                  </a:lnTo>
                  <a:lnTo>
                    <a:pt x="778" y="123"/>
                  </a:lnTo>
                  <a:lnTo>
                    <a:pt x="777" y="123"/>
                  </a:lnTo>
                  <a:lnTo>
                    <a:pt x="776" y="123"/>
                  </a:lnTo>
                  <a:lnTo>
                    <a:pt x="775" y="123"/>
                  </a:lnTo>
                  <a:lnTo>
                    <a:pt x="776" y="123"/>
                  </a:lnTo>
                  <a:lnTo>
                    <a:pt x="777" y="123"/>
                  </a:lnTo>
                  <a:lnTo>
                    <a:pt x="782" y="121"/>
                  </a:lnTo>
                  <a:lnTo>
                    <a:pt x="783" y="121"/>
                  </a:lnTo>
                  <a:lnTo>
                    <a:pt x="784" y="121"/>
                  </a:lnTo>
                  <a:lnTo>
                    <a:pt x="786" y="120"/>
                  </a:lnTo>
                  <a:lnTo>
                    <a:pt x="786" y="121"/>
                  </a:lnTo>
                  <a:lnTo>
                    <a:pt x="785" y="121"/>
                  </a:lnTo>
                  <a:lnTo>
                    <a:pt x="785" y="122"/>
                  </a:lnTo>
                  <a:lnTo>
                    <a:pt x="784" y="122"/>
                  </a:lnTo>
                  <a:lnTo>
                    <a:pt x="783" y="122"/>
                  </a:lnTo>
                  <a:lnTo>
                    <a:pt x="782" y="123"/>
                  </a:lnTo>
                  <a:lnTo>
                    <a:pt x="781" y="123"/>
                  </a:lnTo>
                  <a:lnTo>
                    <a:pt x="781" y="125"/>
                  </a:lnTo>
                  <a:lnTo>
                    <a:pt x="779" y="125"/>
                  </a:lnTo>
                  <a:lnTo>
                    <a:pt x="778" y="125"/>
                  </a:lnTo>
                  <a:lnTo>
                    <a:pt x="781" y="126"/>
                  </a:lnTo>
                  <a:lnTo>
                    <a:pt x="782" y="126"/>
                  </a:lnTo>
                  <a:lnTo>
                    <a:pt x="781" y="126"/>
                  </a:lnTo>
                  <a:lnTo>
                    <a:pt x="779" y="126"/>
                  </a:lnTo>
                  <a:lnTo>
                    <a:pt x="777" y="126"/>
                  </a:lnTo>
                  <a:lnTo>
                    <a:pt x="776" y="126"/>
                  </a:lnTo>
                  <a:lnTo>
                    <a:pt x="776" y="127"/>
                  </a:lnTo>
                  <a:lnTo>
                    <a:pt x="777" y="127"/>
                  </a:lnTo>
                  <a:lnTo>
                    <a:pt x="778" y="126"/>
                  </a:lnTo>
                  <a:lnTo>
                    <a:pt x="778" y="127"/>
                  </a:lnTo>
                  <a:lnTo>
                    <a:pt x="777" y="128"/>
                  </a:lnTo>
                  <a:lnTo>
                    <a:pt x="776" y="128"/>
                  </a:lnTo>
                  <a:lnTo>
                    <a:pt x="775" y="128"/>
                  </a:lnTo>
                  <a:lnTo>
                    <a:pt x="777" y="128"/>
                  </a:lnTo>
                  <a:lnTo>
                    <a:pt x="778" y="128"/>
                  </a:lnTo>
                  <a:lnTo>
                    <a:pt x="778" y="127"/>
                  </a:lnTo>
                  <a:lnTo>
                    <a:pt x="779" y="127"/>
                  </a:lnTo>
                  <a:lnTo>
                    <a:pt x="781" y="127"/>
                  </a:lnTo>
                  <a:lnTo>
                    <a:pt x="782" y="127"/>
                  </a:lnTo>
                  <a:lnTo>
                    <a:pt x="783" y="127"/>
                  </a:lnTo>
                  <a:lnTo>
                    <a:pt x="783" y="126"/>
                  </a:lnTo>
                  <a:lnTo>
                    <a:pt x="784" y="126"/>
                  </a:lnTo>
                  <a:lnTo>
                    <a:pt x="783" y="126"/>
                  </a:lnTo>
                  <a:lnTo>
                    <a:pt x="783" y="125"/>
                  </a:lnTo>
                  <a:lnTo>
                    <a:pt x="784" y="125"/>
                  </a:lnTo>
                  <a:lnTo>
                    <a:pt x="785" y="125"/>
                  </a:lnTo>
                  <a:lnTo>
                    <a:pt x="786" y="125"/>
                  </a:lnTo>
                  <a:lnTo>
                    <a:pt x="785" y="125"/>
                  </a:lnTo>
                  <a:lnTo>
                    <a:pt x="785" y="123"/>
                  </a:lnTo>
                  <a:lnTo>
                    <a:pt x="786" y="123"/>
                  </a:lnTo>
                  <a:lnTo>
                    <a:pt x="788" y="123"/>
                  </a:lnTo>
                  <a:lnTo>
                    <a:pt x="788" y="125"/>
                  </a:lnTo>
                  <a:lnTo>
                    <a:pt x="789" y="125"/>
                  </a:lnTo>
                  <a:lnTo>
                    <a:pt x="791" y="126"/>
                  </a:lnTo>
                  <a:lnTo>
                    <a:pt x="791" y="125"/>
                  </a:lnTo>
                  <a:lnTo>
                    <a:pt x="790" y="125"/>
                  </a:lnTo>
                  <a:lnTo>
                    <a:pt x="789" y="125"/>
                  </a:lnTo>
                  <a:lnTo>
                    <a:pt x="789" y="123"/>
                  </a:lnTo>
                  <a:lnTo>
                    <a:pt x="788" y="123"/>
                  </a:lnTo>
                  <a:lnTo>
                    <a:pt x="788" y="122"/>
                  </a:lnTo>
                  <a:lnTo>
                    <a:pt x="790" y="122"/>
                  </a:lnTo>
                  <a:lnTo>
                    <a:pt x="791" y="122"/>
                  </a:lnTo>
                  <a:lnTo>
                    <a:pt x="791" y="121"/>
                  </a:lnTo>
                  <a:lnTo>
                    <a:pt x="792" y="121"/>
                  </a:lnTo>
                  <a:lnTo>
                    <a:pt x="793" y="120"/>
                  </a:lnTo>
                  <a:lnTo>
                    <a:pt x="793" y="121"/>
                  </a:lnTo>
                  <a:lnTo>
                    <a:pt x="792" y="121"/>
                  </a:lnTo>
                  <a:lnTo>
                    <a:pt x="792" y="122"/>
                  </a:lnTo>
                  <a:lnTo>
                    <a:pt x="793" y="122"/>
                  </a:lnTo>
                  <a:lnTo>
                    <a:pt x="793" y="123"/>
                  </a:lnTo>
                  <a:lnTo>
                    <a:pt x="792" y="123"/>
                  </a:lnTo>
                  <a:lnTo>
                    <a:pt x="791" y="123"/>
                  </a:lnTo>
                  <a:lnTo>
                    <a:pt x="791" y="125"/>
                  </a:lnTo>
                  <a:lnTo>
                    <a:pt x="791" y="123"/>
                  </a:lnTo>
                  <a:lnTo>
                    <a:pt x="792" y="123"/>
                  </a:lnTo>
                  <a:lnTo>
                    <a:pt x="793" y="123"/>
                  </a:lnTo>
                  <a:lnTo>
                    <a:pt x="793" y="125"/>
                  </a:lnTo>
                  <a:lnTo>
                    <a:pt x="793" y="123"/>
                  </a:lnTo>
                  <a:lnTo>
                    <a:pt x="795" y="123"/>
                  </a:lnTo>
                  <a:lnTo>
                    <a:pt x="795" y="122"/>
                  </a:lnTo>
                  <a:lnTo>
                    <a:pt x="796" y="122"/>
                  </a:lnTo>
                  <a:lnTo>
                    <a:pt x="797" y="122"/>
                  </a:lnTo>
                  <a:lnTo>
                    <a:pt x="798" y="122"/>
                  </a:lnTo>
                  <a:lnTo>
                    <a:pt x="798" y="123"/>
                  </a:lnTo>
                  <a:lnTo>
                    <a:pt x="799" y="123"/>
                  </a:lnTo>
                  <a:lnTo>
                    <a:pt x="798" y="123"/>
                  </a:lnTo>
                  <a:lnTo>
                    <a:pt x="798" y="125"/>
                  </a:lnTo>
                  <a:lnTo>
                    <a:pt x="797" y="125"/>
                  </a:lnTo>
                  <a:lnTo>
                    <a:pt x="797" y="126"/>
                  </a:lnTo>
                  <a:lnTo>
                    <a:pt x="796" y="126"/>
                  </a:lnTo>
                  <a:lnTo>
                    <a:pt x="795" y="127"/>
                  </a:lnTo>
                  <a:lnTo>
                    <a:pt x="793" y="127"/>
                  </a:lnTo>
                  <a:lnTo>
                    <a:pt x="793" y="128"/>
                  </a:lnTo>
                  <a:lnTo>
                    <a:pt x="795" y="128"/>
                  </a:lnTo>
                  <a:lnTo>
                    <a:pt x="795" y="127"/>
                  </a:lnTo>
                  <a:lnTo>
                    <a:pt x="798" y="128"/>
                  </a:lnTo>
                  <a:lnTo>
                    <a:pt x="798" y="129"/>
                  </a:lnTo>
                  <a:lnTo>
                    <a:pt x="799" y="129"/>
                  </a:lnTo>
                  <a:lnTo>
                    <a:pt x="799" y="128"/>
                  </a:lnTo>
                  <a:lnTo>
                    <a:pt x="798" y="128"/>
                  </a:lnTo>
                  <a:lnTo>
                    <a:pt x="797" y="127"/>
                  </a:lnTo>
                  <a:lnTo>
                    <a:pt x="798" y="126"/>
                  </a:lnTo>
                  <a:lnTo>
                    <a:pt x="798" y="125"/>
                  </a:lnTo>
                  <a:lnTo>
                    <a:pt x="799" y="125"/>
                  </a:lnTo>
                  <a:lnTo>
                    <a:pt x="802" y="126"/>
                  </a:lnTo>
                  <a:lnTo>
                    <a:pt x="802" y="127"/>
                  </a:lnTo>
                  <a:lnTo>
                    <a:pt x="802" y="128"/>
                  </a:lnTo>
                  <a:lnTo>
                    <a:pt x="802" y="129"/>
                  </a:lnTo>
                  <a:lnTo>
                    <a:pt x="803" y="129"/>
                  </a:lnTo>
                  <a:lnTo>
                    <a:pt x="804" y="130"/>
                  </a:lnTo>
                  <a:lnTo>
                    <a:pt x="804" y="129"/>
                  </a:lnTo>
                  <a:lnTo>
                    <a:pt x="803" y="129"/>
                  </a:lnTo>
                  <a:lnTo>
                    <a:pt x="803" y="128"/>
                  </a:lnTo>
                  <a:lnTo>
                    <a:pt x="802" y="128"/>
                  </a:lnTo>
                  <a:lnTo>
                    <a:pt x="803" y="128"/>
                  </a:lnTo>
                  <a:lnTo>
                    <a:pt x="804" y="127"/>
                  </a:lnTo>
                  <a:lnTo>
                    <a:pt x="804" y="128"/>
                  </a:lnTo>
                  <a:lnTo>
                    <a:pt x="805" y="128"/>
                  </a:lnTo>
                  <a:lnTo>
                    <a:pt x="804" y="129"/>
                  </a:lnTo>
                  <a:lnTo>
                    <a:pt x="805" y="129"/>
                  </a:lnTo>
                  <a:lnTo>
                    <a:pt x="806" y="130"/>
                  </a:lnTo>
                  <a:lnTo>
                    <a:pt x="806" y="129"/>
                  </a:lnTo>
                  <a:lnTo>
                    <a:pt x="805" y="129"/>
                  </a:lnTo>
                  <a:lnTo>
                    <a:pt x="805" y="128"/>
                  </a:lnTo>
                  <a:lnTo>
                    <a:pt x="804" y="128"/>
                  </a:lnTo>
                  <a:lnTo>
                    <a:pt x="804" y="127"/>
                  </a:lnTo>
                  <a:lnTo>
                    <a:pt x="803" y="127"/>
                  </a:lnTo>
                  <a:lnTo>
                    <a:pt x="803" y="126"/>
                  </a:lnTo>
                  <a:lnTo>
                    <a:pt x="802" y="126"/>
                  </a:lnTo>
                  <a:lnTo>
                    <a:pt x="802" y="125"/>
                  </a:lnTo>
                  <a:lnTo>
                    <a:pt x="800" y="125"/>
                  </a:lnTo>
                  <a:lnTo>
                    <a:pt x="799" y="125"/>
                  </a:lnTo>
                  <a:lnTo>
                    <a:pt x="800" y="123"/>
                  </a:lnTo>
                  <a:lnTo>
                    <a:pt x="802" y="123"/>
                  </a:lnTo>
                  <a:lnTo>
                    <a:pt x="800" y="123"/>
                  </a:lnTo>
                  <a:lnTo>
                    <a:pt x="800" y="122"/>
                  </a:lnTo>
                  <a:lnTo>
                    <a:pt x="802" y="122"/>
                  </a:lnTo>
                  <a:lnTo>
                    <a:pt x="803" y="122"/>
                  </a:lnTo>
                  <a:lnTo>
                    <a:pt x="804" y="122"/>
                  </a:lnTo>
                  <a:lnTo>
                    <a:pt x="804" y="123"/>
                  </a:lnTo>
                  <a:lnTo>
                    <a:pt x="803" y="123"/>
                  </a:lnTo>
                  <a:lnTo>
                    <a:pt x="803" y="125"/>
                  </a:lnTo>
                  <a:lnTo>
                    <a:pt x="804" y="125"/>
                  </a:lnTo>
                  <a:lnTo>
                    <a:pt x="803" y="125"/>
                  </a:lnTo>
                  <a:lnTo>
                    <a:pt x="804" y="125"/>
                  </a:lnTo>
                  <a:lnTo>
                    <a:pt x="804" y="123"/>
                  </a:lnTo>
                  <a:lnTo>
                    <a:pt x="805" y="122"/>
                  </a:lnTo>
                  <a:lnTo>
                    <a:pt x="809" y="123"/>
                  </a:lnTo>
                  <a:lnTo>
                    <a:pt x="807" y="123"/>
                  </a:lnTo>
                  <a:lnTo>
                    <a:pt x="809" y="123"/>
                  </a:lnTo>
                  <a:lnTo>
                    <a:pt x="810" y="123"/>
                  </a:lnTo>
                  <a:lnTo>
                    <a:pt x="811" y="125"/>
                  </a:lnTo>
                  <a:lnTo>
                    <a:pt x="811" y="126"/>
                  </a:lnTo>
                  <a:lnTo>
                    <a:pt x="810" y="126"/>
                  </a:lnTo>
                  <a:lnTo>
                    <a:pt x="811" y="126"/>
                  </a:lnTo>
                  <a:lnTo>
                    <a:pt x="811" y="125"/>
                  </a:lnTo>
                  <a:lnTo>
                    <a:pt x="814" y="125"/>
                  </a:lnTo>
                  <a:lnTo>
                    <a:pt x="816" y="125"/>
                  </a:lnTo>
                  <a:lnTo>
                    <a:pt x="817" y="126"/>
                  </a:lnTo>
                  <a:lnTo>
                    <a:pt x="816" y="125"/>
                  </a:lnTo>
                  <a:lnTo>
                    <a:pt x="814" y="125"/>
                  </a:lnTo>
                  <a:lnTo>
                    <a:pt x="812" y="125"/>
                  </a:lnTo>
                  <a:lnTo>
                    <a:pt x="811" y="123"/>
                  </a:lnTo>
                  <a:lnTo>
                    <a:pt x="810" y="123"/>
                  </a:lnTo>
                  <a:lnTo>
                    <a:pt x="809" y="123"/>
                  </a:lnTo>
                  <a:lnTo>
                    <a:pt x="806" y="122"/>
                  </a:lnTo>
                  <a:lnTo>
                    <a:pt x="805" y="121"/>
                  </a:lnTo>
                  <a:lnTo>
                    <a:pt x="805" y="120"/>
                  </a:lnTo>
                  <a:lnTo>
                    <a:pt x="806" y="120"/>
                  </a:lnTo>
                  <a:lnTo>
                    <a:pt x="807" y="120"/>
                  </a:lnTo>
                  <a:lnTo>
                    <a:pt x="810" y="119"/>
                  </a:lnTo>
                  <a:lnTo>
                    <a:pt x="812" y="119"/>
                  </a:lnTo>
                  <a:lnTo>
                    <a:pt x="812" y="118"/>
                  </a:lnTo>
                  <a:lnTo>
                    <a:pt x="813" y="118"/>
                  </a:lnTo>
                  <a:lnTo>
                    <a:pt x="814" y="118"/>
                  </a:lnTo>
                  <a:lnTo>
                    <a:pt x="816" y="118"/>
                  </a:lnTo>
                  <a:lnTo>
                    <a:pt x="817" y="118"/>
                  </a:lnTo>
                  <a:lnTo>
                    <a:pt x="820" y="118"/>
                  </a:lnTo>
                  <a:lnTo>
                    <a:pt x="824" y="118"/>
                  </a:lnTo>
                  <a:lnTo>
                    <a:pt x="825" y="118"/>
                  </a:lnTo>
                  <a:lnTo>
                    <a:pt x="825" y="119"/>
                  </a:lnTo>
                  <a:lnTo>
                    <a:pt x="829" y="119"/>
                  </a:lnTo>
                  <a:lnTo>
                    <a:pt x="829" y="120"/>
                  </a:lnTo>
                  <a:lnTo>
                    <a:pt x="828" y="120"/>
                  </a:lnTo>
                  <a:lnTo>
                    <a:pt x="828" y="121"/>
                  </a:lnTo>
                  <a:lnTo>
                    <a:pt x="829" y="121"/>
                  </a:lnTo>
                  <a:lnTo>
                    <a:pt x="829" y="120"/>
                  </a:lnTo>
                  <a:lnTo>
                    <a:pt x="831" y="120"/>
                  </a:lnTo>
                  <a:lnTo>
                    <a:pt x="832" y="120"/>
                  </a:lnTo>
                  <a:lnTo>
                    <a:pt x="833" y="120"/>
                  </a:lnTo>
                  <a:lnTo>
                    <a:pt x="834" y="120"/>
                  </a:lnTo>
                  <a:lnTo>
                    <a:pt x="835" y="120"/>
                  </a:lnTo>
                  <a:lnTo>
                    <a:pt x="838" y="121"/>
                  </a:lnTo>
                  <a:lnTo>
                    <a:pt x="838" y="122"/>
                  </a:lnTo>
                  <a:lnTo>
                    <a:pt x="838" y="123"/>
                  </a:lnTo>
                  <a:lnTo>
                    <a:pt x="836" y="125"/>
                  </a:lnTo>
                  <a:lnTo>
                    <a:pt x="834" y="126"/>
                  </a:lnTo>
                  <a:lnTo>
                    <a:pt x="833" y="126"/>
                  </a:lnTo>
                  <a:lnTo>
                    <a:pt x="832" y="125"/>
                  </a:lnTo>
                  <a:lnTo>
                    <a:pt x="831" y="125"/>
                  </a:lnTo>
                  <a:lnTo>
                    <a:pt x="826" y="126"/>
                  </a:lnTo>
                  <a:lnTo>
                    <a:pt x="825" y="126"/>
                  </a:lnTo>
                  <a:lnTo>
                    <a:pt x="825" y="127"/>
                  </a:lnTo>
                  <a:lnTo>
                    <a:pt x="824" y="127"/>
                  </a:lnTo>
                  <a:lnTo>
                    <a:pt x="821" y="128"/>
                  </a:lnTo>
                  <a:lnTo>
                    <a:pt x="820" y="128"/>
                  </a:lnTo>
                  <a:lnTo>
                    <a:pt x="820" y="129"/>
                  </a:lnTo>
                  <a:lnTo>
                    <a:pt x="820" y="128"/>
                  </a:lnTo>
                  <a:lnTo>
                    <a:pt x="821" y="128"/>
                  </a:lnTo>
                  <a:lnTo>
                    <a:pt x="823" y="128"/>
                  </a:lnTo>
                  <a:lnTo>
                    <a:pt x="824" y="127"/>
                  </a:lnTo>
                  <a:lnTo>
                    <a:pt x="825" y="127"/>
                  </a:lnTo>
                  <a:lnTo>
                    <a:pt x="826" y="126"/>
                  </a:lnTo>
                  <a:lnTo>
                    <a:pt x="829" y="126"/>
                  </a:lnTo>
                  <a:lnTo>
                    <a:pt x="831" y="126"/>
                  </a:lnTo>
                  <a:lnTo>
                    <a:pt x="833" y="126"/>
                  </a:lnTo>
                  <a:lnTo>
                    <a:pt x="833" y="127"/>
                  </a:lnTo>
                  <a:lnTo>
                    <a:pt x="829" y="127"/>
                  </a:lnTo>
                  <a:lnTo>
                    <a:pt x="828" y="127"/>
                  </a:lnTo>
                  <a:lnTo>
                    <a:pt x="828" y="128"/>
                  </a:lnTo>
                  <a:lnTo>
                    <a:pt x="827" y="128"/>
                  </a:lnTo>
                  <a:lnTo>
                    <a:pt x="827" y="129"/>
                  </a:lnTo>
                  <a:lnTo>
                    <a:pt x="826" y="129"/>
                  </a:lnTo>
                  <a:lnTo>
                    <a:pt x="825" y="130"/>
                  </a:lnTo>
                  <a:lnTo>
                    <a:pt x="824" y="130"/>
                  </a:lnTo>
                  <a:lnTo>
                    <a:pt x="823" y="130"/>
                  </a:lnTo>
                  <a:lnTo>
                    <a:pt x="821" y="130"/>
                  </a:lnTo>
                  <a:lnTo>
                    <a:pt x="823" y="130"/>
                  </a:lnTo>
                  <a:lnTo>
                    <a:pt x="824" y="130"/>
                  </a:lnTo>
                  <a:lnTo>
                    <a:pt x="825" y="130"/>
                  </a:lnTo>
                  <a:lnTo>
                    <a:pt x="826" y="129"/>
                  </a:lnTo>
                  <a:lnTo>
                    <a:pt x="827" y="129"/>
                  </a:lnTo>
                  <a:lnTo>
                    <a:pt x="827" y="128"/>
                  </a:lnTo>
                  <a:lnTo>
                    <a:pt x="828" y="128"/>
                  </a:lnTo>
                  <a:lnTo>
                    <a:pt x="829" y="127"/>
                  </a:lnTo>
                  <a:lnTo>
                    <a:pt x="831" y="127"/>
                  </a:lnTo>
                  <a:lnTo>
                    <a:pt x="832" y="127"/>
                  </a:lnTo>
                  <a:lnTo>
                    <a:pt x="833" y="127"/>
                  </a:lnTo>
                  <a:lnTo>
                    <a:pt x="834" y="127"/>
                  </a:lnTo>
                  <a:lnTo>
                    <a:pt x="834" y="126"/>
                  </a:lnTo>
                  <a:lnTo>
                    <a:pt x="835" y="126"/>
                  </a:lnTo>
                  <a:lnTo>
                    <a:pt x="836" y="126"/>
                  </a:lnTo>
                  <a:lnTo>
                    <a:pt x="838" y="126"/>
                  </a:lnTo>
                  <a:lnTo>
                    <a:pt x="840" y="126"/>
                  </a:lnTo>
                  <a:lnTo>
                    <a:pt x="842" y="126"/>
                  </a:lnTo>
                  <a:lnTo>
                    <a:pt x="843" y="126"/>
                  </a:lnTo>
                  <a:lnTo>
                    <a:pt x="843" y="127"/>
                  </a:lnTo>
                  <a:lnTo>
                    <a:pt x="843" y="128"/>
                  </a:lnTo>
                  <a:lnTo>
                    <a:pt x="842" y="128"/>
                  </a:lnTo>
                  <a:lnTo>
                    <a:pt x="842" y="129"/>
                  </a:lnTo>
                  <a:lnTo>
                    <a:pt x="841" y="129"/>
                  </a:lnTo>
                  <a:lnTo>
                    <a:pt x="840" y="129"/>
                  </a:lnTo>
                  <a:lnTo>
                    <a:pt x="839" y="129"/>
                  </a:lnTo>
                  <a:lnTo>
                    <a:pt x="838" y="129"/>
                  </a:lnTo>
                  <a:lnTo>
                    <a:pt x="836" y="129"/>
                  </a:lnTo>
                  <a:lnTo>
                    <a:pt x="836" y="130"/>
                  </a:lnTo>
                  <a:lnTo>
                    <a:pt x="835" y="130"/>
                  </a:lnTo>
                  <a:lnTo>
                    <a:pt x="834" y="130"/>
                  </a:lnTo>
                  <a:lnTo>
                    <a:pt x="833" y="130"/>
                  </a:lnTo>
                  <a:lnTo>
                    <a:pt x="832" y="130"/>
                  </a:lnTo>
                  <a:lnTo>
                    <a:pt x="828" y="130"/>
                  </a:lnTo>
                  <a:lnTo>
                    <a:pt x="828" y="132"/>
                  </a:lnTo>
                  <a:lnTo>
                    <a:pt x="832" y="130"/>
                  </a:lnTo>
                  <a:lnTo>
                    <a:pt x="833" y="132"/>
                  </a:lnTo>
                  <a:lnTo>
                    <a:pt x="832" y="132"/>
                  </a:lnTo>
                  <a:lnTo>
                    <a:pt x="829" y="132"/>
                  </a:lnTo>
                  <a:lnTo>
                    <a:pt x="828" y="133"/>
                  </a:lnTo>
                  <a:lnTo>
                    <a:pt x="826" y="133"/>
                  </a:lnTo>
                  <a:lnTo>
                    <a:pt x="827" y="133"/>
                  </a:lnTo>
                  <a:lnTo>
                    <a:pt x="828" y="133"/>
                  </a:lnTo>
                  <a:lnTo>
                    <a:pt x="831" y="132"/>
                  </a:lnTo>
                  <a:lnTo>
                    <a:pt x="832" y="132"/>
                  </a:lnTo>
                  <a:lnTo>
                    <a:pt x="833" y="132"/>
                  </a:lnTo>
                  <a:lnTo>
                    <a:pt x="834" y="132"/>
                  </a:lnTo>
                  <a:lnTo>
                    <a:pt x="835" y="130"/>
                  </a:lnTo>
                  <a:lnTo>
                    <a:pt x="835" y="132"/>
                  </a:lnTo>
                  <a:lnTo>
                    <a:pt x="834" y="132"/>
                  </a:lnTo>
                  <a:lnTo>
                    <a:pt x="834" y="133"/>
                  </a:lnTo>
                  <a:lnTo>
                    <a:pt x="833" y="133"/>
                  </a:lnTo>
                  <a:lnTo>
                    <a:pt x="831" y="133"/>
                  </a:lnTo>
                  <a:lnTo>
                    <a:pt x="829" y="133"/>
                  </a:lnTo>
                  <a:lnTo>
                    <a:pt x="828" y="134"/>
                  </a:lnTo>
                  <a:lnTo>
                    <a:pt x="829" y="134"/>
                  </a:lnTo>
                  <a:lnTo>
                    <a:pt x="829" y="133"/>
                  </a:lnTo>
                  <a:lnTo>
                    <a:pt x="831" y="133"/>
                  </a:lnTo>
                  <a:lnTo>
                    <a:pt x="832" y="133"/>
                  </a:lnTo>
                  <a:lnTo>
                    <a:pt x="832" y="134"/>
                  </a:lnTo>
                  <a:lnTo>
                    <a:pt x="831" y="134"/>
                  </a:lnTo>
                  <a:lnTo>
                    <a:pt x="832" y="134"/>
                  </a:lnTo>
                  <a:lnTo>
                    <a:pt x="832" y="135"/>
                  </a:lnTo>
                  <a:lnTo>
                    <a:pt x="831" y="135"/>
                  </a:lnTo>
                  <a:lnTo>
                    <a:pt x="831" y="136"/>
                  </a:lnTo>
                  <a:lnTo>
                    <a:pt x="829" y="136"/>
                  </a:lnTo>
                  <a:lnTo>
                    <a:pt x="828" y="136"/>
                  </a:lnTo>
                  <a:lnTo>
                    <a:pt x="828" y="137"/>
                  </a:lnTo>
                  <a:lnTo>
                    <a:pt x="827" y="137"/>
                  </a:lnTo>
                  <a:lnTo>
                    <a:pt x="826" y="137"/>
                  </a:lnTo>
                  <a:lnTo>
                    <a:pt x="827" y="137"/>
                  </a:lnTo>
                  <a:lnTo>
                    <a:pt x="829" y="136"/>
                  </a:lnTo>
                  <a:lnTo>
                    <a:pt x="831" y="136"/>
                  </a:lnTo>
                  <a:lnTo>
                    <a:pt x="832" y="135"/>
                  </a:lnTo>
                  <a:lnTo>
                    <a:pt x="833" y="135"/>
                  </a:lnTo>
                  <a:lnTo>
                    <a:pt x="833" y="134"/>
                  </a:lnTo>
                  <a:lnTo>
                    <a:pt x="833" y="133"/>
                  </a:lnTo>
                  <a:lnTo>
                    <a:pt x="834" y="133"/>
                  </a:lnTo>
                  <a:lnTo>
                    <a:pt x="835" y="133"/>
                  </a:lnTo>
                  <a:lnTo>
                    <a:pt x="836" y="132"/>
                  </a:lnTo>
                  <a:lnTo>
                    <a:pt x="838" y="132"/>
                  </a:lnTo>
                  <a:lnTo>
                    <a:pt x="839" y="130"/>
                  </a:lnTo>
                  <a:lnTo>
                    <a:pt x="840" y="130"/>
                  </a:lnTo>
                  <a:lnTo>
                    <a:pt x="841" y="130"/>
                  </a:lnTo>
                  <a:lnTo>
                    <a:pt x="841" y="132"/>
                  </a:lnTo>
                  <a:lnTo>
                    <a:pt x="840" y="132"/>
                  </a:lnTo>
                  <a:lnTo>
                    <a:pt x="839" y="132"/>
                  </a:lnTo>
                  <a:lnTo>
                    <a:pt x="839" y="133"/>
                  </a:lnTo>
                  <a:lnTo>
                    <a:pt x="839" y="132"/>
                  </a:lnTo>
                  <a:lnTo>
                    <a:pt x="840" y="132"/>
                  </a:lnTo>
                  <a:lnTo>
                    <a:pt x="841" y="132"/>
                  </a:lnTo>
                  <a:lnTo>
                    <a:pt x="841" y="130"/>
                  </a:lnTo>
                  <a:lnTo>
                    <a:pt x="842" y="130"/>
                  </a:lnTo>
                  <a:lnTo>
                    <a:pt x="843" y="130"/>
                  </a:lnTo>
                  <a:lnTo>
                    <a:pt x="846" y="130"/>
                  </a:lnTo>
                  <a:lnTo>
                    <a:pt x="847" y="130"/>
                  </a:lnTo>
                  <a:lnTo>
                    <a:pt x="846" y="130"/>
                  </a:lnTo>
                  <a:lnTo>
                    <a:pt x="843" y="132"/>
                  </a:lnTo>
                  <a:lnTo>
                    <a:pt x="842" y="132"/>
                  </a:lnTo>
                  <a:lnTo>
                    <a:pt x="842" y="133"/>
                  </a:lnTo>
                  <a:lnTo>
                    <a:pt x="841" y="133"/>
                  </a:lnTo>
                  <a:lnTo>
                    <a:pt x="840" y="133"/>
                  </a:lnTo>
                  <a:lnTo>
                    <a:pt x="840" y="134"/>
                  </a:lnTo>
                  <a:lnTo>
                    <a:pt x="839" y="134"/>
                  </a:lnTo>
                  <a:lnTo>
                    <a:pt x="838" y="134"/>
                  </a:lnTo>
                  <a:lnTo>
                    <a:pt x="836" y="134"/>
                  </a:lnTo>
                  <a:lnTo>
                    <a:pt x="836" y="135"/>
                  </a:lnTo>
                  <a:lnTo>
                    <a:pt x="838" y="134"/>
                  </a:lnTo>
                  <a:lnTo>
                    <a:pt x="839" y="134"/>
                  </a:lnTo>
                  <a:lnTo>
                    <a:pt x="839" y="135"/>
                  </a:lnTo>
                  <a:lnTo>
                    <a:pt x="838" y="135"/>
                  </a:lnTo>
                  <a:lnTo>
                    <a:pt x="836" y="136"/>
                  </a:lnTo>
                  <a:lnTo>
                    <a:pt x="838" y="136"/>
                  </a:lnTo>
                  <a:lnTo>
                    <a:pt x="836" y="136"/>
                  </a:lnTo>
                  <a:lnTo>
                    <a:pt x="835" y="137"/>
                  </a:lnTo>
                  <a:lnTo>
                    <a:pt x="839" y="136"/>
                  </a:lnTo>
                  <a:lnTo>
                    <a:pt x="839" y="135"/>
                  </a:lnTo>
                  <a:lnTo>
                    <a:pt x="840" y="134"/>
                  </a:lnTo>
                  <a:lnTo>
                    <a:pt x="841" y="134"/>
                  </a:lnTo>
                  <a:lnTo>
                    <a:pt x="841" y="133"/>
                  </a:lnTo>
                  <a:lnTo>
                    <a:pt x="842" y="133"/>
                  </a:lnTo>
                  <a:lnTo>
                    <a:pt x="843" y="133"/>
                  </a:lnTo>
                  <a:lnTo>
                    <a:pt x="845" y="133"/>
                  </a:lnTo>
                  <a:lnTo>
                    <a:pt x="843" y="133"/>
                  </a:lnTo>
                  <a:lnTo>
                    <a:pt x="843" y="134"/>
                  </a:lnTo>
                  <a:lnTo>
                    <a:pt x="843" y="135"/>
                  </a:lnTo>
                  <a:lnTo>
                    <a:pt x="842" y="135"/>
                  </a:lnTo>
                  <a:lnTo>
                    <a:pt x="843" y="135"/>
                  </a:lnTo>
                  <a:lnTo>
                    <a:pt x="845" y="135"/>
                  </a:lnTo>
                  <a:lnTo>
                    <a:pt x="845" y="134"/>
                  </a:lnTo>
                  <a:lnTo>
                    <a:pt x="846" y="134"/>
                  </a:lnTo>
                  <a:lnTo>
                    <a:pt x="845" y="134"/>
                  </a:lnTo>
                  <a:lnTo>
                    <a:pt x="845" y="135"/>
                  </a:lnTo>
                  <a:lnTo>
                    <a:pt x="846" y="135"/>
                  </a:lnTo>
                  <a:lnTo>
                    <a:pt x="845" y="135"/>
                  </a:lnTo>
                  <a:lnTo>
                    <a:pt x="843" y="135"/>
                  </a:lnTo>
                  <a:lnTo>
                    <a:pt x="842" y="136"/>
                  </a:lnTo>
                  <a:lnTo>
                    <a:pt x="841" y="136"/>
                  </a:lnTo>
                  <a:lnTo>
                    <a:pt x="841" y="137"/>
                  </a:lnTo>
                  <a:lnTo>
                    <a:pt x="840" y="137"/>
                  </a:lnTo>
                  <a:lnTo>
                    <a:pt x="840" y="139"/>
                  </a:lnTo>
                  <a:lnTo>
                    <a:pt x="839" y="139"/>
                  </a:lnTo>
                  <a:lnTo>
                    <a:pt x="838" y="139"/>
                  </a:lnTo>
                  <a:lnTo>
                    <a:pt x="838" y="140"/>
                  </a:lnTo>
                  <a:lnTo>
                    <a:pt x="838" y="139"/>
                  </a:lnTo>
                  <a:lnTo>
                    <a:pt x="839" y="139"/>
                  </a:lnTo>
                  <a:lnTo>
                    <a:pt x="840" y="139"/>
                  </a:lnTo>
                  <a:lnTo>
                    <a:pt x="840" y="137"/>
                  </a:lnTo>
                  <a:lnTo>
                    <a:pt x="841" y="137"/>
                  </a:lnTo>
                  <a:lnTo>
                    <a:pt x="841" y="136"/>
                  </a:lnTo>
                  <a:lnTo>
                    <a:pt x="842" y="136"/>
                  </a:lnTo>
                  <a:lnTo>
                    <a:pt x="843" y="136"/>
                  </a:lnTo>
                  <a:lnTo>
                    <a:pt x="845" y="136"/>
                  </a:lnTo>
                  <a:lnTo>
                    <a:pt x="845" y="135"/>
                  </a:lnTo>
                  <a:lnTo>
                    <a:pt x="846" y="135"/>
                  </a:lnTo>
                  <a:lnTo>
                    <a:pt x="847" y="136"/>
                  </a:lnTo>
                  <a:lnTo>
                    <a:pt x="846" y="136"/>
                  </a:lnTo>
                  <a:lnTo>
                    <a:pt x="845" y="137"/>
                  </a:lnTo>
                  <a:lnTo>
                    <a:pt x="843" y="139"/>
                  </a:lnTo>
                  <a:lnTo>
                    <a:pt x="842" y="140"/>
                  </a:lnTo>
                  <a:lnTo>
                    <a:pt x="841" y="140"/>
                  </a:lnTo>
                  <a:lnTo>
                    <a:pt x="842" y="140"/>
                  </a:lnTo>
                  <a:lnTo>
                    <a:pt x="843" y="139"/>
                  </a:lnTo>
                  <a:lnTo>
                    <a:pt x="845" y="139"/>
                  </a:lnTo>
                  <a:lnTo>
                    <a:pt x="845" y="137"/>
                  </a:lnTo>
                  <a:lnTo>
                    <a:pt x="846" y="137"/>
                  </a:lnTo>
                  <a:lnTo>
                    <a:pt x="847" y="137"/>
                  </a:lnTo>
                  <a:lnTo>
                    <a:pt x="847" y="136"/>
                  </a:lnTo>
                  <a:lnTo>
                    <a:pt x="848" y="136"/>
                  </a:lnTo>
                  <a:lnTo>
                    <a:pt x="849" y="136"/>
                  </a:lnTo>
                  <a:lnTo>
                    <a:pt x="849" y="135"/>
                  </a:lnTo>
                  <a:lnTo>
                    <a:pt x="850" y="134"/>
                  </a:lnTo>
                  <a:lnTo>
                    <a:pt x="852" y="135"/>
                  </a:lnTo>
                  <a:lnTo>
                    <a:pt x="852" y="134"/>
                  </a:lnTo>
                  <a:lnTo>
                    <a:pt x="852" y="133"/>
                  </a:lnTo>
                  <a:lnTo>
                    <a:pt x="853" y="133"/>
                  </a:lnTo>
                  <a:lnTo>
                    <a:pt x="854" y="133"/>
                  </a:lnTo>
                  <a:lnTo>
                    <a:pt x="855" y="133"/>
                  </a:lnTo>
                  <a:lnTo>
                    <a:pt x="855" y="132"/>
                  </a:lnTo>
                  <a:lnTo>
                    <a:pt x="856" y="132"/>
                  </a:lnTo>
                  <a:lnTo>
                    <a:pt x="859" y="132"/>
                  </a:lnTo>
                  <a:lnTo>
                    <a:pt x="861" y="133"/>
                  </a:lnTo>
                  <a:lnTo>
                    <a:pt x="862" y="133"/>
                  </a:lnTo>
                  <a:lnTo>
                    <a:pt x="864" y="133"/>
                  </a:lnTo>
                  <a:lnTo>
                    <a:pt x="864" y="134"/>
                  </a:lnTo>
                  <a:lnTo>
                    <a:pt x="866" y="134"/>
                  </a:lnTo>
                  <a:lnTo>
                    <a:pt x="864" y="134"/>
                  </a:lnTo>
                  <a:lnTo>
                    <a:pt x="866" y="135"/>
                  </a:lnTo>
                  <a:lnTo>
                    <a:pt x="867" y="136"/>
                  </a:lnTo>
                  <a:lnTo>
                    <a:pt x="866" y="136"/>
                  </a:lnTo>
                  <a:lnTo>
                    <a:pt x="864" y="137"/>
                  </a:lnTo>
                  <a:lnTo>
                    <a:pt x="863" y="137"/>
                  </a:lnTo>
                  <a:lnTo>
                    <a:pt x="862" y="139"/>
                  </a:lnTo>
                  <a:lnTo>
                    <a:pt x="861" y="139"/>
                  </a:lnTo>
                  <a:lnTo>
                    <a:pt x="860" y="139"/>
                  </a:lnTo>
                  <a:lnTo>
                    <a:pt x="859" y="139"/>
                  </a:lnTo>
                  <a:lnTo>
                    <a:pt x="857" y="139"/>
                  </a:lnTo>
                  <a:lnTo>
                    <a:pt x="856" y="139"/>
                  </a:lnTo>
                  <a:lnTo>
                    <a:pt x="855" y="139"/>
                  </a:lnTo>
                  <a:lnTo>
                    <a:pt x="855" y="140"/>
                  </a:lnTo>
                  <a:lnTo>
                    <a:pt x="854" y="140"/>
                  </a:lnTo>
                  <a:lnTo>
                    <a:pt x="853" y="141"/>
                  </a:lnTo>
                  <a:lnTo>
                    <a:pt x="852" y="141"/>
                  </a:lnTo>
                  <a:lnTo>
                    <a:pt x="850" y="141"/>
                  </a:lnTo>
                  <a:lnTo>
                    <a:pt x="850" y="142"/>
                  </a:lnTo>
                  <a:lnTo>
                    <a:pt x="847" y="142"/>
                  </a:lnTo>
                  <a:lnTo>
                    <a:pt x="846" y="142"/>
                  </a:lnTo>
                  <a:lnTo>
                    <a:pt x="849" y="142"/>
                  </a:lnTo>
                  <a:lnTo>
                    <a:pt x="852" y="142"/>
                  </a:lnTo>
                  <a:lnTo>
                    <a:pt x="853" y="142"/>
                  </a:lnTo>
                  <a:lnTo>
                    <a:pt x="852" y="142"/>
                  </a:lnTo>
                  <a:lnTo>
                    <a:pt x="850" y="143"/>
                  </a:lnTo>
                  <a:lnTo>
                    <a:pt x="849" y="143"/>
                  </a:lnTo>
                  <a:lnTo>
                    <a:pt x="849" y="144"/>
                  </a:lnTo>
                  <a:lnTo>
                    <a:pt x="847" y="144"/>
                  </a:lnTo>
                  <a:lnTo>
                    <a:pt x="846" y="144"/>
                  </a:lnTo>
                  <a:lnTo>
                    <a:pt x="847" y="144"/>
                  </a:lnTo>
                  <a:lnTo>
                    <a:pt x="846" y="144"/>
                  </a:lnTo>
                  <a:lnTo>
                    <a:pt x="847" y="146"/>
                  </a:lnTo>
                  <a:lnTo>
                    <a:pt x="847" y="144"/>
                  </a:lnTo>
                  <a:lnTo>
                    <a:pt x="848" y="144"/>
                  </a:lnTo>
                  <a:lnTo>
                    <a:pt x="849" y="144"/>
                  </a:lnTo>
                  <a:lnTo>
                    <a:pt x="850" y="143"/>
                  </a:lnTo>
                  <a:lnTo>
                    <a:pt x="852" y="143"/>
                  </a:lnTo>
                  <a:lnTo>
                    <a:pt x="854" y="143"/>
                  </a:lnTo>
                  <a:lnTo>
                    <a:pt x="855" y="142"/>
                  </a:lnTo>
                  <a:lnTo>
                    <a:pt x="856" y="142"/>
                  </a:lnTo>
                  <a:lnTo>
                    <a:pt x="859" y="142"/>
                  </a:lnTo>
                  <a:lnTo>
                    <a:pt x="861" y="141"/>
                  </a:lnTo>
                  <a:lnTo>
                    <a:pt x="862" y="142"/>
                  </a:lnTo>
                  <a:lnTo>
                    <a:pt x="862" y="141"/>
                  </a:lnTo>
                  <a:lnTo>
                    <a:pt x="863" y="140"/>
                  </a:lnTo>
                  <a:lnTo>
                    <a:pt x="864" y="140"/>
                  </a:lnTo>
                  <a:lnTo>
                    <a:pt x="866" y="139"/>
                  </a:lnTo>
                  <a:lnTo>
                    <a:pt x="868" y="139"/>
                  </a:lnTo>
                  <a:lnTo>
                    <a:pt x="869" y="139"/>
                  </a:lnTo>
                  <a:lnTo>
                    <a:pt x="870" y="140"/>
                  </a:lnTo>
                  <a:lnTo>
                    <a:pt x="869" y="140"/>
                  </a:lnTo>
                  <a:lnTo>
                    <a:pt x="869" y="141"/>
                  </a:lnTo>
                  <a:lnTo>
                    <a:pt x="867" y="142"/>
                  </a:lnTo>
                  <a:lnTo>
                    <a:pt x="866" y="142"/>
                  </a:lnTo>
                  <a:lnTo>
                    <a:pt x="866" y="143"/>
                  </a:lnTo>
                  <a:lnTo>
                    <a:pt x="864" y="143"/>
                  </a:lnTo>
                  <a:lnTo>
                    <a:pt x="862" y="144"/>
                  </a:lnTo>
                  <a:lnTo>
                    <a:pt x="861" y="144"/>
                  </a:lnTo>
                  <a:lnTo>
                    <a:pt x="861" y="146"/>
                  </a:lnTo>
                  <a:lnTo>
                    <a:pt x="860" y="146"/>
                  </a:lnTo>
                  <a:lnTo>
                    <a:pt x="859" y="146"/>
                  </a:lnTo>
                  <a:lnTo>
                    <a:pt x="856" y="144"/>
                  </a:lnTo>
                  <a:lnTo>
                    <a:pt x="856" y="146"/>
                  </a:lnTo>
                  <a:lnTo>
                    <a:pt x="855" y="146"/>
                  </a:lnTo>
                  <a:lnTo>
                    <a:pt x="854" y="147"/>
                  </a:lnTo>
                  <a:lnTo>
                    <a:pt x="853" y="147"/>
                  </a:lnTo>
                  <a:lnTo>
                    <a:pt x="852" y="147"/>
                  </a:lnTo>
                  <a:lnTo>
                    <a:pt x="850" y="148"/>
                  </a:lnTo>
                  <a:lnTo>
                    <a:pt x="853" y="147"/>
                  </a:lnTo>
                  <a:lnTo>
                    <a:pt x="853" y="148"/>
                  </a:lnTo>
                  <a:lnTo>
                    <a:pt x="852" y="149"/>
                  </a:lnTo>
                  <a:lnTo>
                    <a:pt x="850" y="149"/>
                  </a:lnTo>
                  <a:lnTo>
                    <a:pt x="852" y="149"/>
                  </a:lnTo>
                  <a:lnTo>
                    <a:pt x="853" y="148"/>
                  </a:lnTo>
                  <a:lnTo>
                    <a:pt x="854" y="148"/>
                  </a:lnTo>
                  <a:lnTo>
                    <a:pt x="854" y="147"/>
                  </a:lnTo>
                  <a:lnTo>
                    <a:pt x="855" y="147"/>
                  </a:lnTo>
                  <a:lnTo>
                    <a:pt x="856" y="146"/>
                  </a:lnTo>
                  <a:lnTo>
                    <a:pt x="857" y="146"/>
                  </a:lnTo>
                  <a:lnTo>
                    <a:pt x="859" y="146"/>
                  </a:lnTo>
                  <a:lnTo>
                    <a:pt x="860" y="146"/>
                  </a:lnTo>
                  <a:lnTo>
                    <a:pt x="860" y="147"/>
                  </a:lnTo>
                  <a:lnTo>
                    <a:pt x="857" y="148"/>
                  </a:lnTo>
                  <a:lnTo>
                    <a:pt x="856" y="149"/>
                  </a:lnTo>
                  <a:lnTo>
                    <a:pt x="855" y="150"/>
                  </a:lnTo>
                  <a:lnTo>
                    <a:pt x="854" y="150"/>
                  </a:lnTo>
                  <a:lnTo>
                    <a:pt x="854" y="151"/>
                  </a:lnTo>
                  <a:lnTo>
                    <a:pt x="853" y="151"/>
                  </a:lnTo>
                  <a:lnTo>
                    <a:pt x="854" y="151"/>
                  </a:lnTo>
                  <a:lnTo>
                    <a:pt x="853" y="151"/>
                  </a:lnTo>
                  <a:lnTo>
                    <a:pt x="852" y="153"/>
                  </a:lnTo>
                  <a:lnTo>
                    <a:pt x="853" y="153"/>
                  </a:lnTo>
                  <a:lnTo>
                    <a:pt x="853" y="151"/>
                  </a:lnTo>
                  <a:lnTo>
                    <a:pt x="854" y="151"/>
                  </a:lnTo>
                  <a:lnTo>
                    <a:pt x="855" y="151"/>
                  </a:lnTo>
                  <a:lnTo>
                    <a:pt x="855" y="150"/>
                  </a:lnTo>
                  <a:lnTo>
                    <a:pt x="856" y="150"/>
                  </a:lnTo>
                  <a:lnTo>
                    <a:pt x="856" y="149"/>
                  </a:lnTo>
                  <a:lnTo>
                    <a:pt x="857" y="149"/>
                  </a:lnTo>
                  <a:lnTo>
                    <a:pt x="857" y="148"/>
                  </a:lnTo>
                  <a:lnTo>
                    <a:pt x="859" y="148"/>
                  </a:lnTo>
                  <a:lnTo>
                    <a:pt x="859" y="147"/>
                  </a:lnTo>
                  <a:lnTo>
                    <a:pt x="860" y="147"/>
                  </a:lnTo>
                  <a:lnTo>
                    <a:pt x="861" y="147"/>
                  </a:lnTo>
                  <a:lnTo>
                    <a:pt x="861" y="146"/>
                  </a:lnTo>
                  <a:lnTo>
                    <a:pt x="862" y="146"/>
                  </a:lnTo>
                  <a:lnTo>
                    <a:pt x="862" y="144"/>
                  </a:lnTo>
                  <a:lnTo>
                    <a:pt x="863" y="144"/>
                  </a:lnTo>
                  <a:lnTo>
                    <a:pt x="866" y="143"/>
                  </a:lnTo>
                  <a:lnTo>
                    <a:pt x="867" y="143"/>
                  </a:lnTo>
                  <a:lnTo>
                    <a:pt x="868" y="143"/>
                  </a:lnTo>
                  <a:lnTo>
                    <a:pt x="869" y="143"/>
                  </a:lnTo>
                  <a:lnTo>
                    <a:pt x="871" y="142"/>
                  </a:lnTo>
                  <a:lnTo>
                    <a:pt x="875" y="142"/>
                  </a:lnTo>
                  <a:lnTo>
                    <a:pt x="875" y="141"/>
                  </a:lnTo>
                  <a:lnTo>
                    <a:pt x="876" y="142"/>
                  </a:lnTo>
                  <a:lnTo>
                    <a:pt x="875" y="143"/>
                  </a:lnTo>
                  <a:lnTo>
                    <a:pt x="874" y="143"/>
                  </a:lnTo>
                  <a:lnTo>
                    <a:pt x="870" y="144"/>
                  </a:lnTo>
                  <a:lnTo>
                    <a:pt x="869" y="144"/>
                  </a:lnTo>
                  <a:lnTo>
                    <a:pt x="868" y="144"/>
                  </a:lnTo>
                  <a:lnTo>
                    <a:pt x="867" y="144"/>
                  </a:lnTo>
                  <a:lnTo>
                    <a:pt x="867" y="146"/>
                  </a:lnTo>
                  <a:lnTo>
                    <a:pt x="867" y="147"/>
                  </a:lnTo>
                  <a:lnTo>
                    <a:pt x="866" y="147"/>
                  </a:lnTo>
                  <a:lnTo>
                    <a:pt x="867" y="147"/>
                  </a:lnTo>
                  <a:lnTo>
                    <a:pt x="868" y="147"/>
                  </a:lnTo>
                  <a:lnTo>
                    <a:pt x="868" y="146"/>
                  </a:lnTo>
                  <a:lnTo>
                    <a:pt x="868" y="144"/>
                  </a:lnTo>
                  <a:lnTo>
                    <a:pt x="869" y="144"/>
                  </a:lnTo>
                  <a:lnTo>
                    <a:pt x="870" y="144"/>
                  </a:lnTo>
                  <a:lnTo>
                    <a:pt x="871" y="146"/>
                  </a:lnTo>
                  <a:lnTo>
                    <a:pt x="871" y="144"/>
                  </a:lnTo>
                  <a:lnTo>
                    <a:pt x="871" y="146"/>
                  </a:lnTo>
                  <a:lnTo>
                    <a:pt x="873" y="144"/>
                  </a:lnTo>
                  <a:lnTo>
                    <a:pt x="874" y="144"/>
                  </a:lnTo>
                  <a:lnTo>
                    <a:pt x="875" y="144"/>
                  </a:lnTo>
                  <a:lnTo>
                    <a:pt x="875" y="143"/>
                  </a:lnTo>
                  <a:lnTo>
                    <a:pt x="875" y="144"/>
                  </a:lnTo>
                  <a:lnTo>
                    <a:pt x="876" y="144"/>
                  </a:lnTo>
                  <a:lnTo>
                    <a:pt x="876" y="143"/>
                  </a:lnTo>
                  <a:lnTo>
                    <a:pt x="877" y="143"/>
                  </a:lnTo>
                  <a:lnTo>
                    <a:pt x="878" y="143"/>
                  </a:lnTo>
                  <a:lnTo>
                    <a:pt x="880" y="143"/>
                  </a:lnTo>
                  <a:lnTo>
                    <a:pt x="881" y="143"/>
                  </a:lnTo>
                  <a:lnTo>
                    <a:pt x="882" y="143"/>
                  </a:lnTo>
                  <a:lnTo>
                    <a:pt x="885" y="144"/>
                  </a:lnTo>
                  <a:lnTo>
                    <a:pt x="888" y="146"/>
                  </a:lnTo>
                  <a:lnTo>
                    <a:pt x="889" y="146"/>
                  </a:lnTo>
                  <a:lnTo>
                    <a:pt x="888" y="146"/>
                  </a:lnTo>
                  <a:lnTo>
                    <a:pt x="888" y="147"/>
                  </a:lnTo>
                  <a:lnTo>
                    <a:pt x="887" y="147"/>
                  </a:lnTo>
                  <a:lnTo>
                    <a:pt x="887" y="148"/>
                  </a:lnTo>
                  <a:lnTo>
                    <a:pt x="885" y="148"/>
                  </a:lnTo>
                  <a:lnTo>
                    <a:pt x="884" y="148"/>
                  </a:lnTo>
                  <a:lnTo>
                    <a:pt x="884" y="147"/>
                  </a:lnTo>
                  <a:lnTo>
                    <a:pt x="885" y="147"/>
                  </a:lnTo>
                  <a:lnTo>
                    <a:pt x="884" y="147"/>
                  </a:lnTo>
                  <a:lnTo>
                    <a:pt x="883" y="148"/>
                  </a:lnTo>
                  <a:lnTo>
                    <a:pt x="883" y="149"/>
                  </a:lnTo>
                  <a:lnTo>
                    <a:pt x="882" y="149"/>
                  </a:lnTo>
                  <a:lnTo>
                    <a:pt x="881" y="149"/>
                  </a:lnTo>
                  <a:lnTo>
                    <a:pt x="880" y="149"/>
                  </a:lnTo>
                  <a:lnTo>
                    <a:pt x="878" y="149"/>
                  </a:lnTo>
                  <a:lnTo>
                    <a:pt x="877" y="149"/>
                  </a:lnTo>
                  <a:lnTo>
                    <a:pt x="876" y="149"/>
                  </a:lnTo>
                  <a:lnTo>
                    <a:pt x="875" y="150"/>
                  </a:lnTo>
                  <a:lnTo>
                    <a:pt x="874" y="150"/>
                  </a:lnTo>
                  <a:lnTo>
                    <a:pt x="873" y="150"/>
                  </a:lnTo>
                  <a:lnTo>
                    <a:pt x="871" y="150"/>
                  </a:lnTo>
                  <a:lnTo>
                    <a:pt x="870" y="151"/>
                  </a:lnTo>
                  <a:lnTo>
                    <a:pt x="869" y="151"/>
                  </a:lnTo>
                  <a:lnTo>
                    <a:pt x="868" y="151"/>
                  </a:lnTo>
                  <a:lnTo>
                    <a:pt x="867" y="153"/>
                  </a:lnTo>
                  <a:lnTo>
                    <a:pt x="866" y="153"/>
                  </a:lnTo>
                  <a:lnTo>
                    <a:pt x="867" y="153"/>
                  </a:lnTo>
                  <a:lnTo>
                    <a:pt x="868" y="153"/>
                  </a:lnTo>
                  <a:lnTo>
                    <a:pt x="868" y="154"/>
                  </a:lnTo>
                  <a:lnTo>
                    <a:pt x="867" y="153"/>
                  </a:lnTo>
                  <a:lnTo>
                    <a:pt x="867" y="154"/>
                  </a:lnTo>
                  <a:lnTo>
                    <a:pt x="866" y="154"/>
                  </a:lnTo>
                  <a:lnTo>
                    <a:pt x="864" y="154"/>
                  </a:lnTo>
                  <a:lnTo>
                    <a:pt x="863" y="154"/>
                  </a:lnTo>
                  <a:lnTo>
                    <a:pt x="863" y="155"/>
                  </a:lnTo>
                  <a:lnTo>
                    <a:pt x="862" y="155"/>
                  </a:lnTo>
                  <a:lnTo>
                    <a:pt x="861" y="155"/>
                  </a:lnTo>
                  <a:lnTo>
                    <a:pt x="862" y="155"/>
                  </a:lnTo>
                  <a:lnTo>
                    <a:pt x="866" y="154"/>
                  </a:lnTo>
                  <a:lnTo>
                    <a:pt x="867" y="154"/>
                  </a:lnTo>
                  <a:lnTo>
                    <a:pt x="868" y="154"/>
                  </a:lnTo>
                  <a:lnTo>
                    <a:pt x="869" y="154"/>
                  </a:lnTo>
                  <a:lnTo>
                    <a:pt x="869" y="153"/>
                  </a:lnTo>
                  <a:lnTo>
                    <a:pt x="869" y="151"/>
                  </a:lnTo>
                  <a:lnTo>
                    <a:pt x="870" y="151"/>
                  </a:lnTo>
                  <a:lnTo>
                    <a:pt x="871" y="151"/>
                  </a:lnTo>
                  <a:lnTo>
                    <a:pt x="876" y="150"/>
                  </a:lnTo>
                  <a:lnTo>
                    <a:pt x="877" y="150"/>
                  </a:lnTo>
                  <a:lnTo>
                    <a:pt x="877" y="151"/>
                  </a:lnTo>
                  <a:lnTo>
                    <a:pt x="878" y="150"/>
                  </a:lnTo>
                  <a:lnTo>
                    <a:pt x="877" y="150"/>
                  </a:lnTo>
                  <a:lnTo>
                    <a:pt x="878" y="150"/>
                  </a:lnTo>
                  <a:lnTo>
                    <a:pt x="882" y="150"/>
                  </a:lnTo>
                  <a:lnTo>
                    <a:pt x="882" y="151"/>
                  </a:lnTo>
                  <a:lnTo>
                    <a:pt x="880" y="151"/>
                  </a:lnTo>
                  <a:lnTo>
                    <a:pt x="880" y="153"/>
                  </a:lnTo>
                  <a:lnTo>
                    <a:pt x="878" y="153"/>
                  </a:lnTo>
                  <a:lnTo>
                    <a:pt x="876" y="154"/>
                  </a:lnTo>
                  <a:lnTo>
                    <a:pt x="875" y="154"/>
                  </a:lnTo>
                  <a:lnTo>
                    <a:pt x="874" y="154"/>
                  </a:lnTo>
                  <a:lnTo>
                    <a:pt x="873" y="155"/>
                  </a:lnTo>
                  <a:lnTo>
                    <a:pt x="871" y="155"/>
                  </a:lnTo>
                  <a:lnTo>
                    <a:pt x="870" y="155"/>
                  </a:lnTo>
                  <a:lnTo>
                    <a:pt x="868" y="155"/>
                  </a:lnTo>
                  <a:lnTo>
                    <a:pt x="867" y="156"/>
                  </a:lnTo>
                  <a:lnTo>
                    <a:pt x="866" y="156"/>
                  </a:lnTo>
                  <a:lnTo>
                    <a:pt x="866" y="157"/>
                  </a:lnTo>
                  <a:lnTo>
                    <a:pt x="864" y="157"/>
                  </a:lnTo>
                  <a:lnTo>
                    <a:pt x="863" y="157"/>
                  </a:lnTo>
                  <a:lnTo>
                    <a:pt x="863" y="158"/>
                  </a:lnTo>
                  <a:lnTo>
                    <a:pt x="864" y="158"/>
                  </a:lnTo>
                  <a:lnTo>
                    <a:pt x="864" y="157"/>
                  </a:lnTo>
                  <a:lnTo>
                    <a:pt x="866" y="157"/>
                  </a:lnTo>
                  <a:lnTo>
                    <a:pt x="867" y="156"/>
                  </a:lnTo>
                  <a:lnTo>
                    <a:pt x="868" y="156"/>
                  </a:lnTo>
                  <a:lnTo>
                    <a:pt x="869" y="156"/>
                  </a:lnTo>
                  <a:lnTo>
                    <a:pt x="870" y="156"/>
                  </a:lnTo>
                  <a:lnTo>
                    <a:pt x="871" y="156"/>
                  </a:lnTo>
                  <a:lnTo>
                    <a:pt x="874" y="155"/>
                  </a:lnTo>
                  <a:lnTo>
                    <a:pt x="875" y="154"/>
                  </a:lnTo>
                  <a:lnTo>
                    <a:pt x="876" y="154"/>
                  </a:lnTo>
                  <a:lnTo>
                    <a:pt x="877" y="154"/>
                  </a:lnTo>
                  <a:lnTo>
                    <a:pt x="878" y="154"/>
                  </a:lnTo>
                  <a:lnTo>
                    <a:pt x="880" y="154"/>
                  </a:lnTo>
                  <a:lnTo>
                    <a:pt x="881" y="154"/>
                  </a:lnTo>
                  <a:lnTo>
                    <a:pt x="881" y="153"/>
                  </a:lnTo>
                  <a:lnTo>
                    <a:pt x="882" y="153"/>
                  </a:lnTo>
                  <a:lnTo>
                    <a:pt x="883" y="153"/>
                  </a:lnTo>
                  <a:lnTo>
                    <a:pt x="884" y="153"/>
                  </a:lnTo>
                  <a:lnTo>
                    <a:pt x="884" y="151"/>
                  </a:lnTo>
                  <a:lnTo>
                    <a:pt x="885" y="151"/>
                  </a:lnTo>
                  <a:lnTo>
                    <a:pt x="884" y="151"/>
                  </a:lnTo>
                  <a:lnTo>
                    <a:pt x="885" y="151"/>
                  </a:lnTo>
                  <a:lnTo>
                    <a:pt x="884" y="151"/>
                  </a:lnTo>
                  <a:lnTo>
                    <a:pt x="884" y="150"/>
                  </a:lnTo>
                  <a:lnTo>
                    <a:pt x="885" y="150"/>
                  </a:lnTo>
                  <a:lnTo>
                    <a:pt x="887" y="149"/>
                  </a:lnTo>
                  <a:lnTo>
                    <a:pt x="888" y="149"/>
                  </a:lnTo>
                  <a:lnTo>
                    <a:pt x="889" y="149"/>
                  </a:lnTo>
                  <a:lnTo>
                    <a:pt x="890" y="149"/>
                  </a:lnTo>
                  <a:lnTo>
                    <a:pt x="891" y="149"/>
                  </a:lnTo>
                  <a:lnTo>
                    <a:pt x="891" y="150"/>
                  </a:lnTo>
                  <a:lnTo>
                    <a:pt x="892" y="151"/>
                  </a:lnTo>
                  <a:lnTo>
                    <a:pt x="893" y="153"/>
                  </a:lnTo>
                  <a:lnTo>
                    <a:pt x="893" y="154"/>
                  </a:lnTo>
                  <a:lnTo>
                    <a:pt x="893" y="155"/>
                  </a:lnTo>
                  <a:lnTo>
                    <a:pt x="893" y="156"/>
                  </a:lnTo>
                  <a:lnTo>
                    <a:pt x="891" y="157"/>
                  </a:lnTo>
                  <a:lnTo>
                    <a:pt x="889" y="156"/>
                  </a:lnTo>
                  <a:lnTo>
                    <a:pt x="888" y="156"/>
                  </a:lnTo>
                  <a:lnTo>
                    <a:pt x="884" y="156"/>
                  </a:lnTo>
                  <a:lnTo>
                    <a:pt x="883" y="156"/>
                  </a:lnTo>
                  <a:lnTo>
                    <a:pt x="883" y="157"/>
                  </a:lnTo>
                  <a:lnTo>
                    <a:pt x="882" y="157"/>
                  </a:lnTo>
                  <a:lnTo>
                    <a:pt x="881" y="157"/>
                  </a:lnTo>
                  <a:lnTo>
                    <a:pt x="881" y="158"/>
                  </a:lnTo>
                  <a:lnTo>
                    <a:pt x="878" y="158"/>
                  </a:lnTo>
                  <a:lnTo>
                    <a:pt x="877" y="157"/>
                  </a:lnTo>
                  <a:lnTo>
                    <a:pt x="876" y="157"/>
                  </a:lnTo>
                  <a:lnTo>
                    <a:pt x="876" y="158"/>
                  </a:lnTo>
                  <a:lnTo>
                    <a:pt x="874" y="158"/>
                  </a:lnTo>
                  <a:lnTo>
                    <a:pt x="873" y="158"/>
                  </a:lnTo>
                  <a:lnTo>
                    <a:pt x="871" y="158"/>
                  </a:lnTo>
                  <a:lnTo>
                    <a:pt x="870" y="160"/>
                  </a:lnTo>
                  <a:lnTo>
                    <a:pt x="866" y="158"/>
                  </a:lnTo>
                  <a:lnTo>
                    <a:pt x="863" y="160"/>
                  </a:lnTo>
                  <a:lnTo>
                    <a:pt x="862" y="160"/>
                  </a:lnTo>
                  <a:lnTo>
                    <a:pt x="863" y="160"/>
                  </a:lnTo>
                  <a:lnTo>
                    <a:pt x="864" y="160"/>
                  </a:lnTo>
                  <a:lnTo>
                    <a:pt x="866" y="160"/>
                  </a:lnTo>
                  <a:lnTo>
                    <a:pt x="867" y="160"/>
                  </a:lnTo>
                  <a:lnTo>
                    <a:pt x="870" y="160"/>
                  </a:lnTo>
                  <a:lnTo>
                    <a:pt x="871" y="160"/>
                  </a:lnTo>
                  <a:lnTo>
                    <a:pt x="873" y="160"/>
                  </a:lnTo>
                  <a:lnTo>
                    <a:pt x="874" y="158"/>
                  </a:lnTo>
                  <a:lnTo>
                    <a:pt x="876" y="158"/>
                  </a:lnTo>
                  <a:lnTo>
                    <a:pt x="877" y="158"/>
                  </a:lnTo>
                  <a:lnTo>
                    <a:pt x="878" y="158"/>
                  </a:lnTo>
                  <a:lnTo>
                    <a:pt x="880" y="160"/>
                  </a:lnTo>
                  <a:lnTo>
                    <a:pt x="882" y="161"/>
                  </a:lnTo>
                  <a:lnTo>
                    <a:pt x="883" y="161"/>
                  </a:lnTo>
                  <a:lnTo>
                    <a:pt x="884" y="161"/>
                  </a:lnTo>
                  <a:lnTo>
                    <a:pt x="884" y="160"/>
                  </a:lnTo>
                  <a:lnTo>
                    <a:pt x="887" y="160"/>
                  </a:lnTo>
                  <a:lnTo>
                    <a:pt x="890" y="161"/>
                  </a:lnTo>
                  <a:lnTo>
                    <a:pt x="893" y="162"/>
                  </a:lnTo>
                  <a:lnTo>
                    <a:pt x="895" y="163"/>
                  </a:lnTo>
                  <a:lnTo>
                    <a:pt x="893" y="164"/>
                  </a:lnTo>
                  <a:lnTo>
                    <a:pt x="892" y="164"/>
                  </a:lnTo>
                  <a:lnTo>
                    <a:pt x="890" y="164"/>
                  </a:lnTo>
                  <a:lnTo>
                    <a:pt x="889" y="164"/>
                  </a:lnTo>
                  <a:lnTo>
                    <a:pt x="888" y="164"/>
                  </a:lnTo>
                  <a:lnTo>
                    <a:pt x="887" y="164"/>
                  </a:lnTo>
                  <a:lnTo>
                    <a:pt x="885" y="164"/>
                  </a:lnTo>
                  <a:lnTo>
                    <a:pt x="883" y="164"/>
                  </a:lnTo>
                  <a:lnTo>
                    <a:pt x="882" y="163"/>
                  </a:lnTo>
                  <a:lnTo>
                    <a:pt x="881" y="163"/>
                  </a:lnTo>
                  <a:lnTo>
                    <a:pt x="880" y="163"/>
                  </a:lnTo>
                  <a:lnTo>
                    <a:pt x="880" y="162"/>
                  </a:lnTo>
                  <a:lnTo>
                    <a:pt x="878" y="162"/>
                  </a:lnTo>
                  <a:lnTo>
                    <a:pt x="877" y="162"/>
                  </a:lnTo>
                  <a:lnTo>
                    <a:pt x="875" y="162"/>
                  </a:lnTo>
                  <a:lnTo>
                    <a:pt x="871" y="162"/>
                  </a:lnTo>
                  <a:lnTo>
                    <a:pt x="869" y="162"/>
                  </a:lnTo>
                  <a:lnTo>
                    <a:pt x="868" y="163"/>
                  </a:lnTo>
                  <a:lnTo>
                    <a:pt x="869" y="163"/>
                  </a:lnTo>
                  <a:lnTo>
                    <a:pt x="869" y="162"/>
                  </a:lnTo>
                  <a:lnTo>
                    <a:pt x="871" y="162"/>
                  </a:lnTo>
                  <a:lnTo>
                    <a:pt x="874" y="162"/>
                  </a:lnTo>
                  <a:lnTo>
                    <a:pt x="877" y="163"/>
                  </a:lnTo>
                  <a:lnTo>
                    <a:pt x="878" y="163"/>
                  </a:lnTo>
                  <a:lnTo>
                    <a:pt x="880" y="163"/>
                  </a:lnTo>
                  <a:lnTo>
                    <a:pt x="878" y="163"/>
                  </a:lnTo>
                  <a:lnTo>
                    <a:pt x="878" y="164"/>
                  </a:lnTo>
                  <a:lnTo>
                    <a:pt x="878" y="163"/>
                  </a:lnTo>
                  <a:lnTo>
                    <a:pt x="874" y="163"/>
                  </a:lnTo>
                  <a:lnTo>
                    <a:pt x="873" y="163"/>
                  </a:lnTo>
                  <a:lnTo>
                    <a:pt x="870" y="163"/>
                  </a:lnTo>
                  <a:lnTo>
                    <a:pt x="871" y="163"/>
                  </a:lnTo>
                  <a:lnTo>
                    <a:pt x="873" y="163"/>
                  </a:lnTo>
                  <a:lnTo>
                    <a:pt x="874" y="163"/>
                  </a:lnTo>
                  <a:lnTo>
                    <a:pt x="875" y="163"/>
                  </a:lnTo>
                  <a:lnTo>
                    <a:pt x="875" y="164"/>
                  </a:lnTo>
                  <a:lnTo>
                    <a:pt x="874" y="164"/>
                  </a:lnTo>
                  <a:lnTo>
                    <a:pt x="873" y="164"/>
                  </a:lnTo>
                  <a:lnTo>
                    <a:pt x="871" y="164"/>
                  </a:lnTo>
                  <a:lnTo>
                    <a:pt x="870" y="164"/>
                  </a:lnTo>
                  <a:lnTo>
                    <a:pt x="869" y="164"/>
                  </a:lnTo>
                  <a:lnTo>
                    <a:pt x="869" y="165"/>
                  </a:lnTo>
                  <a:lnTo>
                    <a:pt x="868" y="165"/>
                  </a:lnTo>
                  <a:lnTo>
                    <a:pt x="869" y="165"/>
                  </a:lnTo>
                  <a:lnTo>
                    <a:pt x="870" y="165"/>
                  </a:lnTo>
                  <a:lnTo>
                    <a:pt x="869" y="165"/>
                  </a:lnTo>
                  <a:lnTo>
                    <a:pt x="869" y="167"/>
                  </a:lnTo>
                  <a:lnTo>
                    <a:pt x="868" y="167"/>
                  </a:lnTo>
                  <a:lnTo>
                    <a:pt x="869" y="167"/>
                  </a:lnTo>
                  <a:lnTo>
                    <a:pt x="869" y="165"/>
                  </a:lnTo>
                  <a:lnTo>
                    <a:pt x="870" y="165"/>
                  </a:lnTo>
                  <a:lnTo>
                    <a:pt x="871" y="165"/>
                  </a:lnTo>
                  <a:lnTo>
                    <a:pt x="873" y="165"/>
                  </a:lnTo>
                  <a:lnTo>
                    <a:pt x="874" y="164"/>
                  </a:lnTo>
                  <a:lnTo>
                    <a:pt x="875" y="164"/>
                  </a:lnTo>
                  <a:lnTo>
                    <a:pt x="876" y="164"/>
                  </a:lnTo>
                  <a:lnTo>
                    <a:pt x="878" y="164"/>
                  </a:lnTo>
                  <a:lnTo>
                    <a:pt x="882" y="165"/>
                  </a:lnTo>
                  <a:lnTo>
                    <a:pt x="882" y="167"/>
                  </a:lnTo>
                  <a:lnTo>
                    <a:pt x="880" y="167"/>
                  </a:lnTo>
                  <a:lnTo>
                    <a:pt x="878" y="167"/>
                  </a:lnTo>
                  <a:lnTo>
                    <a:pt x="876" y="167"/>
                  </a:lnTo>
                  <a:lnTo>
                    <a:pt x="875" y="167"/>
                  </a:lnTo>
                  <a:lnTo>
                    <a:pt x="874" y="167"/>
                  </a:lnTo>
                  <a:lnTo>
                    <a:pt x="873" y="167"/>
                  </a:lnTo>
                  <a:lnTo>
                    <a:pt x="874" y="167"/>
                  </a:lnTo>
                  <a:lnTo>
                    <a:pt x="876" y="167"/>
                  </a:lnTo>
                  <a:lnTo>
                    <a:pt x="877" y="167"/>
                  </a:lnTo>
                  <a:lnTo>
                    <a:pt x="878" y="167"/>
                  </a:lnTo>
                  <a:lnTo>
                    <a:pt x="877" y="168"/>
                  </a:lnTo>
                  <a:lnTo>
                    <a:pt x="878" y="168"/>
                  </a:lnTo>
                  <a:lnTo>
                    <a:pt x="877" y="168"/>
                  </a:lnTo>
                  <a:lnTo>
                    <a:pt x="876" y="168"/>
                  </a:lnTo>
                  <a:lnTo>
                    <a:pt x="873" y="168"/>
                  </a:lnTo>
                  <a:lnTo>
                    <a:pt x="874" y="168"/>
                  </a:lnTo>
                  <a:lnTo>
                    <a:pt x="875" y="168"/>
                  </a:lnTo>
                  <a:lnTo>
                    <a:pt x="876" y="168"/>
                  </a:lnTo>
                  <a:lnTo>
                    <a:pt x="876" y="169"/>
                  </a:lnTo>
                  <a:lnTo>
                    <a:pt x="878" y="169"/>
                  </a:lnTo>
                  <a:lnTo>
                    <a:pt x="880" y="169"/>
                  </a:lnTo>
                  <a:lnTo>
                    <a:pt x="878" y="169"/>
                  </a:lnTo>
                  <a:lnTo>
                    <a:pt x="875" y="169"/>
                  </a:lnTo>
                  <a:lnTo>
                    <a:pt x="874" y="169"/>
                  </a:lnTo>
                  <a:lnTo>
                    <a:pt x="873" y="169"/>
                  </a:lnTo>
                  <a:lnTo>
                    <a:pt x="871" y="169"/>
                  </a:lnTo>
                  <a:lnTo>
                    <a:pt x="873" y="169"/>
                  </a:lnTo>
                  <a:lnTo>
                    <a:pt x="871" y="169"/>
                  </a:lnTo>
                  <a:lnTo>
                    <a:pt x="870" y="169"/>
                  </a:lnTo>
                  <a:lnTo>
                    <a:pt x="869" y="169"/>
                  </a:lnTo>
                  <a:lnTo>
                    <a:pt x="868" y="169"/>
                  </a:lnTo>
                  <a:lnTo>
                    <a:pt x="867" y="169"/>
                  </a:lnTo>
                  <a:lnTo>
                    <a:pt x="866" y="169"/>
                  </a:lnTo>
                  <a:lnTo>
                    <a:pt x="864" y="168"/>
                  </a:lnTo>
                  <a:lnTo>
                    <a:pt x="863" y="168"/>
                  </a:lnTo>
                  <a:lnTo>
                    <a:pt x="864" y="168"/>
                  </a:lnTo>
                  <a:lnTo>
                    <a:pt x="866" y="169"/>
                  </a:lnTo>
                  <a:lnTo>
                    <a:pt x="863" y="169"/>
                  </a:lnTo>
                  <a:lnTo>
                    <a:pt x="867" y="169"/>
                  </a:lnTo>
                  <a:lnTo>
                    <a:pt x="868" y="169"/>
                  </a:lnTo>
                  <a:lnTo>
                    <a:pt x="867" y="169"/>
                  </a:lnTo>
                  <a:lnTo>
                    <a:pt x="867" y="170"/>
                  </a:lnTo>
                  <a:lnTo>
                    <a:pt x="868" y="170"/>
                  </a:lnTo>
                  <a:lnTo>
                    <a:pt x="868" y="169"/>
                  </a:lnTo>
                  <a:lnTo>
                    <a:pt x="869" y="170"/>
                  </a:lnTo>
                  <a:lnTo>
                    <a:pt x="870" y="170"/>
                  </a:lnTo>
                  <a:lnTo>
                    <a:pt x="871" y="170"/>
                  </a:lnTo>
                  <a:lnTo>
                    <a:pt x="873" y="170"/>
                  </a:lnTo>
                  <a:lnTo>
                    <a:pt x="875" y="170"/>
                  </a:lnTo>
                  <a:lnTo>
                    <a:pt x="876" y="170"/>
                  </a:lnTo>
                  <a:lnTo>
                    <a:pt x="875" y="171"/>
                  </a:lnTo>
                  <a:lnTo>
                    <a:pt x="874" y="171"/>
                  </a:lnTo>
                  <a:lnTo>
                    <a:pt x="873" y="171"/>
                  </a:lnTo>
                  <a:lnTo>
                    <a:pt x="871" y="171"/>
                  </a:lnTo>
                  <a:lnTo>
                    <a:pt x="869" y="171"/>
                  </a:lnTo>
                  <a:lnTo>
                    <a:pt x="868" y="171"/>
                  </a:lnTo>
                  <a:lnTo>
                    <a:pt x="867" y="171"/>
                  </a:lnTo>
                  <a:lnTo>
                    <a:pt x="867" y="172"/>
                  </a:lnTo>
                  <a:lnTo>
                    <a:pt x="868" y="172"/>
                  </a:lnTo>
                  <a:lnTo>
                    <a:pt x="868" y="171"/>
                  </a:lnTo>
                  <a:lnTo>
                    <a:pt x="869" y="171"/>
                  </a:lnTo>
                  <a:lnTo>
                    <a:pt x="870" y="171"/>
                  </a:lnTo>
                  <a:lnTo>
                    <a:pt x="871" y="171"/>
                  </a:lnTo>
                  <a:lnTo>
                    <a:pt x="870" y="171"/>
                  </a:lnTo>
                  <a:lnTo>
                    <a:pt x="870" y="172"/>
                  </a:lnTo>
                  <a:lnTo>
                    <a:pt x="868" y="172"/>
                  </a:lnTo>
                  <a:lnTo>
                    <a:pt x="870" y="172"/>
                  </a:lnTo>
                  <a:lnTo>
                    <a:pt x="871" y="172"/>
                  </a:lnTo>
                  <a:lnTo>
                    <a:pt x="871" y="171"/>
                  </a:lnTo>
                  <a:lnTo>
                    <a:pt x="873" y="171"/>
                  </a:lnTo>
                  <a:lnTo>
                    <a:pt x="874" y="172"/>
                  </a:lnTo>
                  <a:lnTo>
                    <a:pt x="875" y="172"/>
                  </a:lnTo>
                  <a:lnTo>
                    <a:pt x="876" y="172"/>
                  </a:lnTo>
                  <a:lnTo>
                    <a:pt x="876" y="174"/>
                  </a:lnTo>
                  <a:lnTo>
                    <a:pt x="875" y="174"/>
                  </a:lnTo>
                  <a:lnTo>
                    <a:pt x="875" y="175"/>
                  </a:lnTo>
                  <a:lnTo>
                    <a:pt x="875" y="174"/>
                  </a:lnTo>
                  <a:lnTo>
                    <a:pt x="876" y="174"/>
                  </a:lnTo>
                  <a:lnTo>
                    <a:pt x="876" y="172"/>
                  </a:lnTo>
                  <a:lnTo>
                    <a:pt x="877" y="172"/>
                  </a:lnTo>
                  <a:lnTo>
                    <a:pt x="878" y="172"/>
                  </a:lnTo>
                  <a:lnTo>
                    <a:pt x="880" y="172"/>
                  </a:lnTo>
                  <a:lnTo>
                    <a:pt x="881" y="172"/>
                  </a:lnTo>
                  <a:lnTo>
                    <a:pt x="880" y="172"/>
                  </a:lnTo>
                  <a:lnTo>
                    <a:pt x="878" y="174"/>
                  </a:lnTo>
                  <a:lnTo>
                    <a:pt x="878" y="175"/>
                  </a:lnTo>
                  <a:lnTo>
                    <a:pt x="877" y="175"/>
                  </a:lnTo>
                  <a:lnTo>
                    <a:pt x="878" y="175"/>
                  </a:lnTo>
                  <a:lnTo>
                    <a:pt x="878" y="174"/>
                  </a:lnTo>
                  <a:lnTo>
                    <a:pt x="880" y="174"/>
                  </a:lnTo>
                  <a:lnTo>
                    <a:pt x="881" y="174"/>
                  </a:lnTo>
                  <a:lnTo>
                    <a:pt x="882" y="174"/>
                  </a:lnTo>
                  <a:lnTo>
                    <a:pt x="883" y="174"/>
                  </a:lnTo>
                  <a:lnTo>
                    <a:pt x="882" y="174"/>
                  </a:lnTo>
                  <a:lnTo>
                    <a:pt x="883" y="174"/>
                  </a:lnTo>
                  <a:lnTo>
                    <a:pt x="882" y="174"/>
                  </a:lnTo>
                  <a:lnTo>
                    <a:pt x="881" y="174"/>
                  </a:lnTo>
                  <a:lnTo>
                    <a:pt x="881" y="175"/>
                  </a:lnTo>
                  <a:lnTo>
                    <a:pt x="883" y="175"/>
                  </a:lnTo>
                  <a:lnTo>
                    <a:pt x="883" y="174"/>
                  </a:lnTo>
                  <a:lnTo>
                    <a:pt x="884" y="174"/>
                  </a:lnTo>
                  <a:lnTo>
                    <a:pt x="883" y="174"/>
                  </a:lnTo>
                  <a:lnTo>
                    <a:pt x="884" y="174"/>
                  </a:lnTo>
                  <a:lnTo>
                    <a:pt x="885" y="174"/>
                  </a:lnTo>
                  <a:lnTo>
                    <a:pt x="887" y="174"/>
                  </a:lnTo>
                  <a:lnTo>
                    <a:pt x="888" y="174"/>
                  </a:lnTo>
                  <a:lnTo>
                    <a:pt x="887" y="174"/>
                  </a:lnTo>
                  <a:lnTo>
                    <a:pt x="887" y="175"/>
                  </a:lnTo>
                  <a:lnTo>
                    <a:pt x="885" y="175"/>
                  </a:lnTo>
                  <a:lnTo>
                    <a:pt x="885" y="174"/>
                  </a:lnTo>
                  <a:lnTo>
                    <a:pt x="885" y="175"/>
                  </a:lnTo>
                  <a:lnTo>
                    <a:pt x="884" y="175"/>
                  </a:lnTo>
                  <a:lnTo>
                    <a:pt x="883" y="175"/>
                  </a:lnTo>
                  <a:lnTo>
                    <a:pt x="882" y="175"/>
                  </a:lnTo>
                  <a:lnTo>
                    <a:pt x="881" y="175"/>
                  </a:lnTo>
                  <a:lnTo>
                    <a:pt x="880" y="175"/>
                  </a:lnTo>
                  <a:lnTo>
                    <a:pt x="876" y="175"/>
                  </a:lnTo>
                  <a:lnTo>
                    <a:pt x="875" y="176"/>
                  </a:lnTo>
                  <a:lnTo>
                    <a:pt x="874" y="176"/>
                  </a:lnTo>
                  <a:lnTo>
                    <a:pt x="875" y="176"/>
                  </a:lnTo>
                  <a:lnTo>
                    <a:pt x="876" y="176"/>
                  </a:lnTo>
                  <a:lnTo>
                    <a:pt x="877" y="176"/>
                  </a:lnTo>
                  <a:lnTo>
                    <a:pt x="878" y="175"/>
                  </a:lnTo>
                  <a:lnTo>
                    <a:pt x="878" y="176"/>
                  </a:lnTo>
                  <a:lnTo>
                    <a:pt x="877" y="176"/>
                  </a:lnTo>
                  <a:lnTo>
                    <a:pt x="876" y="176"/>
                  </a:lnTo>
                  <a:lnTo>
                    <a:pt x="876" y="177"/>
                  </a:lnTo>
                  <a:lnTo>
                    <a:pt x="876" y="176"/>
                  </a:lnTo>
                  <a:lnTo>
                    <a:pt x="877" y="176"/>
                  </a:lnTo>
                  <a:lnTo>
                    <a:pt x="878" y="176"/>
                  </a:lnTo>
                  <a:lnTo>
                    <a:pt x="880" y="175"/>
                  </a:lnTo>
                  <a:lnTo>
                    <a:pt x="881" y="175"/>
                  </a:lnTo>
                  <a:lnTo>
                    <a:pt x="881" y="176"/>
                  </a:lnTo>
                  <a:lnTo>
                    <a:pt x="881" y="175"/>
                  </a:lnTo>
                  <a:lnTo>
                    <a:pt x="882" y="175"/>
                  </a:lnTo>
                  <a:lnTo>
                    <a:pt x="883" y="176"/>
                  </a:lnTo>
                  <a:lnTo>
                    <a:pt x="881" y="176"/>
                  </a:lnTo>
                  <a:lnTo>
                    <a:pt x="880" y="176"/>
                  </a:lnTo>
                  <a:lnTo>
                    <a:pt x="880" y="177"/>
                  </a:lnTo>
                  <a:lnTo>
                    <a:pt x="878" y="177"/>
                  </a:lnTo>
                  <a:lnTo>
                    <a:pt x="878" y="178"/>
                  </a:lnTo>
                  <a:lnTo>
                    <a:pt x="877" y="178"/>
                  </a:lnTo>
                  <a:lnTo>
                    <a:pt x="877" y="177"/>
                  </a:lnTo>
                  <a:lnTo>
                    <a:pt x="876" y="177"/>
                  </a:lnTo>
                  <a:lnTo>
                    <a:pt x="876" y="178"/>
                  </a:lnTo>
                  <a:lnTo>
                    <a:pt x="878" y="178"/>
                  </a:lnTo>
                  <a:lnTo>
                    <a:pt x="880" y="178"/>
                  </a:lnTo>
                  <a:lnTo>
                    <a:pt x="880" y="177"/>
                  </a:lnTo>
                  <a:lnTo>
                    <a:pt x="882" y="176"/>
                  </a:lnTo>
                  <a:lnTo>
                    <a:pt x="883" y="176"/>
                  </a:lnTo>
                  <a:lnTo>
                    <a:pt x="884" y="176"/>
                  </a:lnTo>
                  <a:lnTo>
                    <a:pt x="885" y="176"/>
                  </a:lnTo>
                  <a:lnTo>
                    <a:pt x="885" y="177"/>
                  </a:lnTo>
                  <a:lnTo>
                    <a:pt x="884" y="177"/>
                  </a:lnTo>
                  <a:lnTo>
                    <a:pt x="884" y="178"/>
                  </a:lnTo>
                  <a:lnTo>
                    <a:pt x="883" y="178"/>
                  </a:lnTo>
                  <a:lnTo>
                    <a:pt x="882" y="178"/>
                  </a:lnTo>
                  <a:lnTo>
                    <a:pt x="882" y="179"/>
                  </a:lnTo>
                  <a:lnTo>
                    <a:pt x="883" y="179"/>
                  </a:lnTo>
                  <a:lnTo>
                    <a:pt x="884" y="178"/>
                  </a:lnTo>
                  <a:lnTo>
                    <a:pt x="885" y="178"/>
                  </a:lnTo>
                  <a:lnTo>
                    <a:pt x="885" y="179"/>
                  </a:lnTo>
                  <a:lnTo>
                    <a:pt x="884" y="179"/>
                  </a:lnTo>
                  <a:lnTo>
                    <a:pt x="885" y="179"/>
                  </a:lnTo>
                  <a:lnTo>
                    <a:pt x="885" y="178"/>
                  </a:lnTo>
                  <a:lnTo>
                    <a:pt x="887" y="178"/>
                  </a:lnTo>
                  <a:lnTo>
                    <a:pt x="889" y="178"/>
                  </a:lnTo>
                  <a:lnTo>
                    <a:pt x="888" y="178"/>
                  </a:lnTo>
                  <a:lnTo>
                    <a:pt x="887" y="178"/>
                  </a:lnTo>
                  <a:lnTo>
                    <a:pt x="888" y="179"/>
                  </a:lnTo>
                  <a:lnTo>
                    <a:pt x="889" y="178"/>
                  </a:lnTo>
                  <a:lnTo>
                    <a:pt x="890" y="178"/>
                  </a:lnTo>
                  <a:lnTo>
                    <a:pt x="889" y="179"/>
                  </a:lnTo>
                  <a:lnTo>
                    <a:pt x="890" y="179"/>
                  </a:lnTo>
                  <a:lnTo>
                    <a:pt x="889" y="179"/>
                  </a:lnTo>
                  <a:lnTo>
                    <a:pt x="888" y="181"/>
                  </a:lnTo>
                  <a:lnTo>
                    <a:pt x="887" y="181"/>
                  </a:lnTo>
                  <a:lnTo>
                    <a:pt x="887" y="182"/>
                  </a:lnTo>
                  <a:lnTo>
                    <a:pt x="885" y="182"/>
                  </a:lnTo>
                  <a:lnTo>
                    <a:pt x="884" y="182"/>
                  </a:lnTo>
                  <a:lnTo>
                    <a:pt x="883" y="182"/>
                  </a:lnTo>
                  <a:lnTo>
                    <a:pt x="884" y="182"/>
                  </a:lnTo>
                  <a:lnTo>
                    <a:pt x="885" y="182"/>
                  </a:lnTo>
                  <a:lnTo>
                    <a:pt x="885" y="183"/>
                  </a:lnTo>
                  <a:lnTo>
                    <a:pt x="887" y="183"/>
                  </a:lnTo>
                  <a:lnTo>
                    <a:pt x="887" y="182"/>
                  </a:lnTo>
                  <a:lnTo>
                    <a:pt x="888" y="181"/>
                  </a:lnTo>
                  <a:lnTo>
                    <a:pt x="889" y="181"/>
                  </a:lnTo>
                  <a:lnTo>
                    <a:pt x="890" y="181"/>
                  </a:lnTo>
                  <a:lnTo>
                    <a:pt x="890" y="179"/>
                  </a:lnTo>
                  <a:lnTo>
                    <a:pt x="891" y="179"/>
                  </a:lnTo>
                  <a:lnTo>
                    <a:pt x="892" y="179"/>
                  </a:lnTo>
                  <a:lnTo>
                    <a:pt x="892" y="178"/>
                  </a:lnTo>
                  <a:lnTo>
                    <a:pt x="893" y="177"/>
                  </a:lnTo>
                  <a:lnTo>
                    <a:pt x="893" y="178"/>
                  </a:lnTo>
                  <a:lnTo>
                    <a:pt x="893" y="179"/>
                  </a:lnTo>
                  <a:lnTo>
                    <a:pt x="892" y="179"/>
                  </a:lnTo>
                  <a:lnTo>
                    <a:pt x="891" y="181"/>
                  </a:lnTo>
                  <a:lnTo>
                    <a:pt x="891" y="182"/>
                  </a:lnTo>
                  <a:lnTo>
                    <a:pt x="890" y="182"/>
                  </a:lnTo>
                  <a:lnTo>
                    <a:pt x="890" y="183"/>
                  </a:lnTo>
                  <a:lnTo>
                    <a:pt x="889" y="183"/>
                  </a:lnTo>
                  <a:lnTo>
                    <a:pt x="889" y="184"/>
                  </a:lnTo>
                  <a:lnTo>
                    <a:pt x="889" y="185"/>
                  </a:lnTo>
                  <a:lnTo>
                    <a:pt x="889" y="184"/>
                  </a:lnTo>
                  <a:lnTo>
                    <a:pt x="890" y="184"/>
                  </a:lnTo>
                  <a:lnTo>
                    <a:pt x="890" y="183"/>
                  </a:lnTo>
                  <a:lnTo>
                    <a:pt x="890" y="182"/>
                  </a:lnTo>
                  <a:lnTo>
                    <a:pt x="891" y="182"/>
                  </a:lnTo>
                  <a:lnTo>
                    <a:pt x="892" y="182"/>
                  </a:lnTo>
                  <a:lnTo>
                    <a:pt x="893" y="182"/>
                  </a:lnTo>
                  <a:lnTo>
                    <a:pt x="893" y="181"/>
                  </a:lnTo>
                  <a:lnTo>
                    <a:pt x="892" y="181"/>
                  </a:lnTo>
                  <a:lnTo>
                    <a:pt x="893" y="181"/>
                  </a:lnTo>
                  <a:lnTo>
                    <a:pt x="895" y="179"/>
                  </a:lnTo>
                  <a:lnTo>
                    <a:pt x="896" y="179"/>
                  </a:lnTo>
                  <a:lnTo>
                    <a:pt x="897" y="179"/>
                  </a:lnTo>
                  <a:lnTo>
                    <a:pt x="897" y="181"/>
                  </a:lnTo>
                  <a:lnTo>
                    <a:pt x="896" y="181"/>
                  </a:lnTo>
                  <a:lnTo>
                    <a:pt x="895" y="182"/>
                  </a:lnTo>
                  <a:lnTo>
                    <a:pt x="895" y="183"/>
                  </a:lnTo>
                  <a:lnTo>
                    <a:pt x="893" y="183"/>
                  </a:lnTo>
                  <a:lnTo>
                    <a:pt x="895" y="183"/>
                  </a:lnTo>
                  <a:lnTo>
                    <a:pt x="895" y="184"/>
                  </a:lnTo>
                  <a:lnTo>
                    <a:pt x="895" y="185"/>
                  </a:lnTo>
                  <a:lnTo>
                    <a:pt x="896" y="185"/>
                  </a:lnTo>
                  <a:lnTo>
                    <a:pt x="896" y="184"/>
                  </a:lnTo>
                  <a:lnTo>
                    <a:pt x="895" y="183"/>
                  </a:lnTo>
                  <a:lnTo>
                    <a:pt x="895" y="182"/>
                  </a:lnTo>
                  <a:lnTo>
                    <a:pt x="896" y="182"/>
                  </a:lnTo>
                  <a:lnTo>
                    <a:pt x="897" y="181"/>
                  </a:lnTo>
                  <a:lnTo>
                    <a:pt x="898" y="181"/>
                  </a:lnTo>
                  <a:lnTo>
                    <a:pt x="899" y="181"/>
                  </a:lnTo>
                  <a:lnTo>
                    <a:pt x="900" y="179"/>
                  </a:lnTo>
                  <a:lnTo>
                    <a:pt x="899" y="179"/>
                  </a:lnTo>
                  <a:lnTo>
                    <a:pt x="900" y="179"/>
                  </a:lnTo>
                  <a:lnTo>
                    <a:pt x="902" y="179"/>
                  </a:lnTo>
                  <a:lnTo>
                    <a:pt x="903" y="179"/>
                  </a:lnTo>
                  <a:lnTo>
                    <a:pt x="904" y="179"/>
                  </a:lnTo>
                  <a:lnTo>
                    <a:pt x="904" y="181"/>
                  </a:lnTo>
                  <a:lnTo>
                    <a:pt x="903" y="181"/>
                  </a:lnTo>
                  <a:lnTo>
                    <a:pt x="902" y="181"/>
                  </a:lnTo>
                  <a:lnTo>
                    <a:pt x="900" y="181"/>
                  </a:lnTo>
                  <a:lnTo>
                    <a:pt x="902" y="181"/>
                  </a:lnTo>
                  <a:lnTo>
                    <a:pt x="900" y="182"/>
                  </a:lnTo>
                  <a:lnTo>
                    <a:pt x="899" y="182"/>
                  </a:lnTo>
                  <a:lnTo>
                    <a:pt x="898" y="183"/>
                  </a:lnTo>
                  <a:lnTo>
                    <a:pt x="899" y="183"/>
                  </a:lnTo>
                  <a:lnTo>
                    <a:pt x="899" y="182"/>
                  </a:lnTo>
                  <a:lnTo>
                    <a:pt x="900" y="182"/>
                  </a:lnTo>
                  <a:lnTo>
                    <a:pt x="900" y="183"/>
                  </a:lnTo>
                  <a:lnTo>
                    <a:pt x="899" y="183"/>
                  </a:lnTo>
                  <a:lnTo>
                    <a:pt x="898" y="183"/>
                  </a:lnTo>
                  <a:lnTo>
                    <a:pt x="897" y="184"/>
                  </a:lnTo>
                  <a:lnTo>
                    <a:pt x="897" y="185"/>
                  </a:lnTo>
                  <a:lnTo>
                    <a:pt x="897" y="184"/>
                  </a:lnTo>
                  <a:lnTo>
                    <a:pt x="898" y="184"/>
                  </a:lnTo>
                  <a:lnTo>
                    <a:pt x="899" y="184"/>
                  </a:lnTo>
                  <a:lnTo>
                    <a:pt x="899" y="183"/>
                  </a:lnTo>
                  <a:lnTo>
                    <a:pt x="900" y="183"/>
                  </a:lnTo>
                  <a:lnTo>
                    <a:pt x="902" y="183"/>
                  </a:lnTo>
                  <a:lnTo>
                    <a:pt x="902" y="184"/>
                  </a:lnTo>
                  <a:lnTo>
                    <a:pt x="900" y="184"/>
                  </a:lnTo>
                  <a:lnTo>
                    <a:pt x="902" y="184"/>
                  </a:lnTo>
                  <a:lnTo>
                    <a:pt x="902" y="183"/>
                  </a:lnTo>
                  <a:lnTo>
                    <a:pt x="903" y="183"/>
                  </a:lnTo>
                  <a:lnTo>
                    <a:pt x="903" y="182"/>
                  </a:lnTo>
                  <a:lnTo>
                    <a:pt x="904" y="182"/>
                  </a:lnTo>
                  <a:lnTo>
                    <a:pt x="905" y="183"/>
                  </a:lnTo>
                  <a:lnTo>
                    <a:pt x="906" y="183"/>
                  </a:lnTo>
                  <a:lnTo>
                    <a:pt x="906" y="184"/>
                  </a:lnTo>
                  <a:lnTo>
                    <a:pt x="905" y="184"/>
                  </a:lnTo>
                  <a:lnTo>
                    <a:pt x="904" y="184"/>
                  </a:lnTo>
                  <a:lnTo>
                    <a:pt x="903" y="184"/>
                  </a:lnTo>
                  <a:lnTo>
                    <a:pt x="905" y="184"/>
                  </a:lnTo>
                  <a:lnTo>
                    <a:pt x="906" y="184"/>
                  </a:lnTo>
                  <a:lnTo>
                    <a:pt x="906" y="183"/>
                  </a:lnTo>
                  <a:lnTo>
                    <a:pt x="907" y="183"/>
                  </a:lnTo>
                  <a:lnTo>
                    <a:pt x="907" y="184"/>
                  </a:lnTo>
                  <a:lnTo>
                    <a:pt x="907" y="185"/>
                  </a:lnTo>
                  <a:lnTo>
                    <a:pt x="906" y="185"/>
                  </a:lnTo>
                  <a:lnTo>
                    <a:pt x="907" y="185"/>
                  </a:lnTo>
                  <a:lnTo>
                    <a:pt x="909" y="185"/>
                  </a:lnTo>
                  <a:lnTo>
                    <a:pt x="907" y="185"/>
                  </a:lnTo>
                  <a:lnTo>
                    <a:pt x="907" y="186"/>
                  </a:lnTo>
                  <a:lnTo>
                    <a:pt x="905" y="188"/>
                  </a:lnTo>
                  <a:lnTo>
                    <a:pt x="904" y="186"/>
                  </a:lnTo>
                  <a:lnTo>
                    <a:pt x="904" y="188"/>
                  </a:lnTo>
                  <a:lnTo>
                    <a:pt x="906" y="188"/>
                  </a:lnTo>
                  <a:lnTo>
                    <a:pt x="907" y="188"/>
                  </a:lnTo>
                  <a:lnTo>
                    <a:pt x="907" y="189"/>
                  </a:lnTo>
                  <a:lnTo>
                    <a:pt x="907" y="190"/>
                  </a:lnTo>
                  <a:lnTo>
                    <a:pt x="906" y="189"/>
                  </a:lnTo>
                  <a:lnTo>
                    <a:pt x="903" y="189"/>
                  </a:lnTo>
                  <a:lnTo>
                    <a:pt x="899" y="189"/>
                  </a:lnTo>
                  <a:lnTo>
                    <a:pt x="903" y="189"/>
                  </a:lnTo>
                  <a:lnTo>
                    <a:pt x="904" y="189"/>
                  </a:lnTo>
                  <a:lnTo>
                    <a:pt x="904" y="190"/>
                  </a:lnTo>
                  <a:lnTo>
                    <a:pt x="903" y="190"/>
                  </a:lnTo>
                  <a:lnTo>
                    <a:pt x="900" y="190"/>
                  </a:lnTo>
                  <a:lnTo>
                    <a:pt x="898" y="190"/>
                  </a:lnTo>
                  <a:lnTo>
                    <a:pt x="897" y="191"/>
                  </a:lnTo>
                  <a:lnTo>
                    <a:pt x="898" y="191"/>
                  </a:lnTo>
                  <a:lnTo>
                    <a:pt x="899" y="190"/>
                  </a:lnTo>
                  <a:lnTo>
                    <a:pt x="900" y="190"/>
                  </a:lnTo>
                  <a:lnTo>
                    <a:pt x="903" y="190"/>
                  </a:lnTo>
                  <a:lnTo>
                    <a:pt x="906" y="190"/>
                  </a:lnTo>
                  <a:lnTo>
                    <a:pt x="907" y="190"/>
                  </a:lnTo>
                  <a:lnTo>
                    <a:pt x="906" y="190"/>
                  </a:lnTo>
                  <a:lnTo>
                    <a:pt x="906" y="191"/>
                  </a:lnTo>
                  <a:lnTo>
                    <a:pt x="905" y="191"/>
                  </a:lnTo>
                  <a:lnTo>
                    <a:pt x="905" y="190"/>
                  </a:lnTo>
                  <a:lnTo>
                    <a:pt x="904" y="190"/>
                  </a:lnTo>
                  <a:lnTo>
                    <a:pt x="904" y="191"/>
                  </a:lnTo>
                  <a:lnTo>
                    <a:pt x="899" y="191"/>
                  </a:lnTo>
                  <a:lnTo>
                    <a:pt x="898" y="192"/>
                  </a:lnTo>
                  <a:lnTo>
                    <a:pt x="897" y="193"/>
                  </a:lnTo>
                  <a:lnTo>
                    <a:pt x="898" y="193"/>
                  </a:lnTo>
                  <a:lnTo>
                    <a:pt x="899" y="192"/>
                  </a:lnTo>
                  <a:lnTo>
                    <a:pt x="900" y="191"/>
                  </a:lnTo>
                  <a:lnTo>
                    <a:pt x="902" y="191"/>
                  </a:lnTo>
                  <a:lnTo>
                    <a:pt x="903" y="191"/>
                  </a:lnTo>
                  <a:lnTo>
                    <a:pt x="904" y="191"/>
                  </a:lnTo>
                  <a:lnTo>
                    <a:pt x="906" y="191"/>
                  </a:lnTo>
                  <a:lnTo>
                    <a:pt x="907" y="190"/>
                  </a:lnTo>
                  <a:lnTo>
                    <a:pt x="909" y="190"/>
                  </a:lnTo>
                  <a:lnTo>
                    <a:pt x="910" y="190"/>
                  </a:lnTo>
                  <a:lnTo>
                    <a:pt x="911" y="190"/>
                  </a:lnTo>
                  <a:lnTo>
                    <a:pt x="912" y="190"/>
                  </a:lnTo>
                  <a:lnTo>
                    <a:pt x="912" y="191"/>
                  </a:lnTo>
                  <a:lnTo>
                    <a:pt x="911" y="191"/>
                  </a:lnTo>
                  <a:lnTo>
                    <a:pt x="910" y="192"/>
                  </a:lnTo>
                  <a:lnTo>
                    <a:pt x="909" y="192"/>
                  </a:lnTo>
                  <a:lnTo>
                    <a:pt x="907" y="192"/>
                  </a:lnTo>
                  <a:lnTo>
                    <a:pt x="907" y="193"/>
                  </a:lnTo>
                  <a:lnTo>
                    <a:pt x="906" y="193"/>
                  </a:lnTo>
                  <a:lnTo>
                    <a:pt x="907" y="193"/>
                  </a:lnTo>
                  <a:lnTo>
                    <a:pt x="909" y="192"/>
                  </a:lnTo>
                  <a:lnTo>
                    <a:pt x="910" y="192"/>
                  </a:lnTo>
                  <a:lnTo>
                    <a:pt x="911" y="192"/>
                  </a:lnTo>
                  <a:lnTo>
                    <a:pt x="912" y="191"/>
                  </a:lnTo>
                  <a:lnTo>
                    <a:pt x="912" y="190"/>
                  </a:lnTo>
                  <a:lnTo>
                    <a:pt x="913" y="190"/>
                  </a:lnTo>
                  <a:lnTo>
                    <a:pt x="914" y="189"/>
                  </a:lnTo>
                  <a:lnTo>
                    <a:pt x="914" y="190"/>
                  </a:lnTo>
                  <a:lnTo>
                    <a:pt x="913" y="190"/>
                  </a:lnTo>
                  <a:lnTo>
                    <a:pt x="914" y="190"/>
                  </a:lnTo>
                  <a:lnTo>
                    <a:pt x="916" y="190"/>
                  </a:lnTo>
                  <a:lnTo>
                    <a:pt x="916" y="189"/>
                  </a:lnTo>
                  <a:lnTo>
                    <a:pt x="914" y="189"/>
                  </a:lnTo>
                  <a:lnTo>
                    <a:pt x="916" y="189"/>
                  </a:lnTo>
                  <a:lnTo>
                    <a:pt x="917" y="189"/>
                  </a:lnTo>
                  <a:lnTo>
                    <a:pt x="917" y="190"/>
                  </a:lnTo>
                  <a:lnTo>
                    <a:pt x="917" y="191"/>
                  </a:lnTo>
                  <a:lnTo>
                    <a:pt x="916" y="191"/>
                  </a:lnTo>
                  <a:lnTo>
                    <a:pt x="913" y="191"/>
                  </a:lnTo>
                  <a:lnTo>
                    <a:pt x="913" y="192"/>
                  </a:lnTo>
                  <a:lnTo>
                    <a:pt x="912" y="192"/>
                  </a:lnTo>
                  <a:lnTo>
                    <a:pt x="913" y="192"/>
                  </a:lnTo>
                  <a:lnTo>
                    <a:pt x="913" y="193"/>
                  </a:lnTo>
                  <a:lnTo>
                    <a:pt x="912" y="193"/>
                  </a:lnTo>
                  <a:lnTo>
                    <a:pt x="912" y="195"/>
                  </a:lnTo>
                  <a:lnTo>
                    <a:pt x="911" y="195"/>
                  </a:lnTo>
                  <a:lnTo>
                    <a:pt x="910" y="195"/>
                  </a:lnTo>
                  <a:lnTo>
                    <a:pt x="909" y="195"/>
                  </a:lnTo>
                  <a:lnTo>
                    <a:pt x="909" y="196"/>
                  </a:lnTo>
                  <a:lnTo>
                    <a:pt x="907" y="196"/>
                  </a:lnTo>
                  <a:lnTo>
                    <a:pt x="906" y="196"/>
                  </a:lnTo>
                  <a:lnTo>
                    <a:pt x="905" y="196"/>
                  </a:lnTo>
                  <a:lnTo>
                    <a:pt x="907" y="196"/>
                  </a:lnTo>
                  <a:lnTo>
                    <a:pt x="909" y="196"/>
                  </a:lnTo>
                  <a:lnTo>
                    <a:pt x="909" y="195"/>
                  </a:lnTo>
                  <a:lnTo>
                    <a:pt x="910" y="195"/>
                  </a:lnTo>
                  <a:lnTo>
                    <a:pt x="910" y="196"/>
                  </a:lnTo>
                  <a:lnTo>
                    <a:pt x="909" y="196"/>
                  </a:lnTo>
                  <a:lnTo>
                    <a:pt x="909" y="197"/>
                  </a:lnTo>
                  <a:lnTo>
                    <a:pt x="907" y="197"/>
                  </a:lnTo>
                  <a:lnTo>
                    <a:pt x="909" y="197"/>
                  </a:lnTo>
                  <a:lnTo>
                    <a:pt x="910" y="197"/>
                  </a:lnTo>
                  <a:lnTo>
                    <a:pt x="910" y="196"/>
                  </a:lnTo>
                  <a:lnTo>
                    <a:pt x="911" y="195"/>
                  </a:lnTo>
                  <a:lnTo>
                    <a:pt x="912" y="195"/>
                  </a:lnTo>
                  <a:lnTo>
                    <a:pt x="913" y="195"/>
                  </a:lnTo>
                  <a:lnTo>
                    <a:pt x="914" y="195"/>
                  </a:lnTo>
                  <a:lnTo>
                    <a:pt x="914" y="193"/>
                  </a:lnTo>
                  <a:lnTo>
                    <a:pt x="916" y="193"/>
                  </a:lnTo>
                  <a:lnTo>
                    <a:pt x="917" y="193"/>
                  </a:lnTo>
                  <a:lnTo>
                    <a:pt x="916" y="195"/>
                  </a:lnTo>
                  <a:lnTo>
                    <a:pt x="916" y="196"/>
                  </a:lnTo>
                  <a:lnTo>
                    <a:pt x="916" y="197"/>
                  </a:lnTo>
                  <a:lnTo>
                    <a:pt x="914" y="197"/>
                  </a:lnTo>
                  <a:lnTo>
                    <a:pt x="914" y="198"/>
                  </a:lnTo>
                  <a:lnTo>
                    <a:pt x="913" y="198"/>
                  </a:lnTo>
                  <a:lnTo>
                    <a:pt x="914" y="198"/>
                  </a:lnTo>
                  <a:lnTo>
                    <a:pt x="914" y="197"/>
                  </a:lnTo>
                  <a:lnTo>
                    <a:pt x="916" y="197"/>
                  </a:lnTo>
                  <a:lnTo>
                    <a:pt x="916" y="196"/>
                  </a:lnTo>
                  <a:lnTo>
                    <a:pt x="917" y="196"/>
                  </a:lnTo>
                  <a:lnTo>
                    <a:pt x="916" y="196"/>
                  </a:lnTo>
                  <a:lnTo>
                    <a:pt x="917" y="196"/>
                  </a:lnTo>
                  <a:lnTo>
                    <a:pt x="917" y="195"/>
                  </a:lnTo>
                  <a:lnTo>
                    <a:pt x="918" y="195"/>
                  </a:lnTo>
                  <a:lnTo>
                    <a:pt x="919" y="195"/>
                  </a:lnTo>
                  <a:lnTo>
                    <a:pt x="919" y="196"/>
                  </a:lnTo>
                  <a:lnTo>
                    <a:pt x="920" y="196"/>
                  </a:lnTo>
                  <a:lnTo>
                    <a:pt x="919" y="197"/>
                  </a:lnTo>
                  <a:lnTo>
                    <a:pt x="920" y="197"/>
                  </a:lnTo>
                  <a:lnTo>
                    <a:pt x="920" y="196"/>
                  </a:lnTo>
                  <a:lnTo>
                    <a:pt x="920" y="195"/>
                  </a:lnTo>
                  <a:lnTo>
                    <a:pt x="921" y="195"/>
                  </a:lnTo>
                  <a:lnTo>
                    <a:pt x="923" y="193"/>
                  </a:lnTo>
                  <a:lnTo>
                    <a:pt x="923" y="192"/>
                  </a:lnTo>
                  <a:lnTo>
                    <a:pt x="924" y="192"/>
                  </a:lnTo>
                  <a:lnTo>
                    <a:pt x="925" y="192"/>
                  </a:lnTo>
                  <a:lnTo>
                    <a:pt x="925" y="193"/>
                  </a:lnTo>
                  <a:lnTo>
                    <a:pt x="924" y="195"/>
                  </a:lnTo>
                  <a:lnTo>
                    <a:pt x="925" y="195"/>
                  </a:lnTo>
                  <a:lnTo>
                    <a:pt x="925" y="193"/>
                  </a:lnTo>
                  <a:lnTo>
                    <a:pt x="926" y="193"/>
                  </a:lnTo>
                  <a:lnTo>
                    <a:pt x="927" y="193"/>
                  </a:lnTo>
                  <a:lnTo>
                    <a:pt x="926" y="193"/>
                  </a:lnTo>
                  <a:lnTo>
                    <a:pt x="926" y="195"/>
                  </a:lnTo>
                  <a:lnTo>
                    <a:pt x="927" y="195"/>
                  </a:lnTo>
                  <a:lnTo>
                    <a:pt x="926" y="195"/>
                  </a:lnTo>
                  <a:lnTo>
                    <a:pt x="925" y="195"/>
                  </a:lnTo>
                  <a:lnTo>
                    <a:pt x="924" y="195"/>
                  </a:lnTo>
                  <a:lnTo>
                    <a:pt x="925" y="195"/>
                  </a:lnTo>
                  <a:lnTo>
                    <a:pt x="926" y="195"/>
                  </a:lnTo>
                  <a:lnTo>
                    <a:pt x="927" y="195"/>
                  </a:lnTo>
                  <a:lnTo>
                    <a:pt x="928" y="196"/>
                  </a:lnTo>
                  <a:lnTo>
                    <a:pt x="927" y="196"/>
                  </a:lnTo>
                  <a:lnTo>
                    <a:pt x="930" y="196"/>
                  </a:lnTo>
                  <a:lnTo>
                    <a:pt x="930" y="197"/>
                  </a:lnTo>
                  <a:lnTo>
                    <a:pt x="931" y="198"/>
                  </a:lnTo>
                  <a:lnTo>
                    <a:pt x="930" y="198"/>
                  </a:lnTo>
                  <a:lnTo>
                    <a:pt x="930" y="199"/>
                  </a:lnTo>
                  <a:lnTo>
                    <a:pt x="928" y="199"/>
                  </a:lnTo>
                  <a:lnTo>
                    <a:pt x="926" y="199"/>
                  </a:lnTo>
                  <a:lnTo>
                    <a:pt x="926" y="198"/>
                  </a:lnTo>
                  <a:lnTo>
                    <a:pt x="925" y="198"/>
                  </a:lnTo>
                  <a:lnTo>
                    <a:pt x="924" y="198"/>
                  </a:lnTo>
                  <a:lnTo>
                    <a:pt x="923" y="198"/>
                  </a:lnTo>
                  <a:lnTo>
                    <a:pt x="920" y="198"/>
                  </a:lnTo>
                  <a:lnTo>
                    <a:pt x="921" y="199"/>
                  </a:lnTo>
                  <a:lnTo>
                    <a:pt x="921" y="198"/>
                  </a:lnTo>
                  <a:lnTo>
                    <a:pt x="923" y="198"/>
                  </a:lnTo>
                  <a:lnTo>
                    <a:pt x="925" y="198"/>
                  </a:lnTo>
                  <a:lnTo>
                    <a:pt x="925" y="199"/>
                  </a:lnTo>
                  <a:lnTo>
                    <a:pt x="925" y="200"/>
                  </a:lnTo>
                  <a:lnTo>
                    <a:pt x="926" y="200"/>
                  </a:lnTo>
                  <a:lnTo>
                    <a:pt x="925" y="200"/>
                  </a:lnTo>
                  <a:lnTo>
                    <a:pt x="924" y="200"/>
                  </a:lnTo>
                  <a:lnTo>
                    <a:pt x="924" y="202"/>
                  </a:lnTo>
                  <a:lnTo>
                    <a:pt x="923" y="200"/>
                  </a:lnTo>
                  <a:lnTo>
                    <a:pt x="923" y="202"/>
                  </a:lnTo>
                  <a:lnTo>
                    <a:pt x="921" y="202"/>
                  </a:lnTo>
                  <a:lnTo>
                    <a:pt x="923" y="202"/>
                  </a:lnTo>
                  <a:lnTo>
                    <a:pt x="926" y="202"/>
                  </a:lnTo>
                  <a:lnTo>
                    <a:pt x="925" y="203"/>
                  </a:lnTo>
                  <a:lnTo>
                    <a:pt x="924" y="203"/>
                  </a:lnTo>
                  <a:lnTo>
                    <a:pt x="923" y="203"/>
                  </a:lnTo>
                  <a:lnTo>
                    <a:pt x="921" y="203"/>
                  </a:lnTo>
                  <a:lnTo>
                    <a:pt x="920" y="203"/>
                  </a:lnTo>
                  <a:lnTo>
                    <a:pt x="919" y="203"/>
                  </a:lnTo>
                  <a:lnTo>
                    <a:pt x="918" y="203"/>
                  </a:lnTo>
                  <a:lnTo>
                    <a:pt x="918" y="202"/>
                  </a:lnTo>
                  <a:lnTo>
                    <a:pt x="919" y="202"/>
                  </a:lnTo>
                  <a:lnTo>
                    <a:pt x="918" y="202"/>
                  </a:lnTo>
                  <a:lnTo>
                    <a:pt x="917" y="202"/>
                  </a:lnTo>
                  <a:lnTo>
                    <a:pt x="916" y="202"/>
                  </a:lnTo>
                  <a:lnTo>
                    <a:pt x="914" y="202"/>
                  </a:lnTo>
                  <a:lnTo>
                    <a:pt x="913" y="202"/>
                  </a:lnTo>
                  <a:lnTo>
                    <a:pt x="914" y="202"/>
                  </a:lnTo>
                  <a:lnTo>
                    <a:pt x="916" y="202"/>
                  </a:lnTo>
                  <a:lnTo>
                    <a:pt x="917" y="203"/>
                  </a:lnTo>
                  <a:lnTo>
                    <a:pt x="916" y="204"/>
                  </a:lnTo>
                  <a:lnTo>
                    <a:pt x="914" y="204"/>
                  </a:lnTo>
                  <a:lnTo>
                    <a:pt x="913" y="204"/>
                  </a:lnTo>
                  <a:lnTo>
                    <a:pt x="912" y="204"/>
                  </a:lnTo>
                  <a:lnTo>
                    <a:pt x="912" y="203"/>
                  </a:lnTo>
                  <a:lnTo>
                    <a:pt x="911" y="203"/>
                  </a:lnTo>
                  <a:lnTo>
                    <a:pt x="912" y="204"/>
                  </a:lnTo>
                  <a:lnTo>
                    <a:pt x="914" y="204"/>
                  </a:lnTo>
                  <a:lnTo>
                    <a:pt x="916" y="205"/>
                  </a:lnTo>
                  <a:lnTo>
                    <a:pt x="918" y="205"/>
                  </a:lnTo>
                  <a:lnTo>
                    <a:pt x="917" y="205"/>
                  </a:lnTo>
                  <a:lnTo>
                    <a:pt x="917" y="206"/>
                  </a:lnTo>
                  <a:lnTo>
                    <a:pt x="918" y="206"/>
                  </a:lnTo>
                  <a:lnTo>
                    <a:pt x="919" y="206"/>
                  </a:lnTo>
                  <a:lnTo>
                    <a:pt x="918" y="206"/>
                  </a:lnTo>
                  <a:lnTo>
                    <a:pt x="919" y="206"/>
                  </a:lnTo>
                  <a:lnTo>
                    <a:pt x="918" y="206"/>
                  </a:lnTo>
                  <a:lnTo>
                    <a:pt x="919" y="206"/>
                  </a:lnTo>
                  <a:lnTo>
                    <a:pt x="919" y="207"/>
                  </a:lnTo>
                  <a:lnTo>
                    <a:pt x="918" y="206"/>
                  </a:lnTo>
                  <a:lnTo>
                    <a:pt x="918" y="207"/>
                  </a:lnTo>
                  <a:lnTo>
                    <a:pt x="917" y="207"/>
                  </a:lnTo>
                  <a:lnTo>
                    <a:pt x="914" y="207"/>
                  </a:lnTo>
                  <a:lnTo>
                    <a:pt x="914" y="206"/>
                  </a:lnTo>
                  <a:lnTo>
                    <a:pt x="913" y="207"/>
                  </a:lnTo>
                  <a:lnTo>
                    <a:pt x="913" y="206"/>
                  </a:lnTo>
                  <a:lnTo>
                    <a:pt x="912" y="206"/>
                  </a:lnTo>
                  <a:lnTo>
                    <a:pt x="911" y="206"/>
                  </a:lnTo>
                  <a:lnTo>
                    <a:pt x="910" y="206"/>
                  </a:lnTo>
                  <a:lnTo>
                    <a:pt x="910" y="205"/>
                  </a:lnTo>
                  <a:lnTo>
                    <a:pt x="909" y="205"/>
                  </a:lnTo>
                  <a:lnTo>
                    <a:pt x="907" y="205"/>
                  </a:lnTo>
                  <a:lnTo>
                    <a:pt x="909" y="205"/>
                  </a:lnTo>
                  <a:lnTo>
                    <a:pt x="910" y="205"/>
                  </a:lnTo>
                  <a:lnTo>
                    <a:pt x="910" y="206"/>
                  </a:lnTo>
                  <a:lnTo>
                    <a:pt x="913" y="207"/>
                  </a:lnTo>
                  <a:lnTo>
                    <a:pt x="913" y="209"/>
                  </a:lnTo>
                  <a:lnTo>
                    <a:pt x="913" y="210"/>
                  </a:lnTo>
                  <a:lnTo>
                    <a:pt x="914" y="210"/>
                  </a:lnTo>
                  <a:lnTo>
                    <a:pt x="913" y="210"/>
                  </a:lnTo>
                  <a:lnTo>
                    <a:pt x="912" y="210"/>
                  </a:lnTo>
                  <a:lnTo>
                    <a:pt x="911" y="210"/>
                  </a:lnTo>
                  <a:lnTo>
                    <a:pt x="910" y="210"/>
                  </a:lnTo>
                  <a:lnTo>
                    <a:pt x="910" y="209"/>
                  </a:lnTo>
                  <a:lnTo>
                    <a:pt x="909" y="209"/>
                  </a:lnTo>
                  <a:lnTo>
                    <a:pt x="909" y="210"/>
                  </a:lnTo>
                  <a:lnTo>
                    <a:pt x="910" y="210"/>
                  </a:lnTo>
                  <a:lnTo>
                    <a:pt x="911" y="210"/>
                  </a:lnTo>
                  <a:lnTo>
                    <a:pt x="911" y="211"/>
                  </a:lnTo>
                  <a:lnTo>
                    <a:pt x="910" y="211"/>
                  </a:lnTo>
                  <a:lnTo>
                    <a:pt x="909" y="211"/>
                  </a:lnTo>
                  <a:lnTo>
                    <a:pt x="907" y="210"/>
                  </a:lnTo>
                  <a:lnTo>
                    <a:pt x="907" y="211"/>
                  </a:lnTo>
                  <a:lnTo>
                    <a:pt x="909" y="211"/>
                  </a:lnTo>
                  <a:lnTo>
                    <a:pt x="910" y="211"/>
                  </a:lnTo>
                  <a:lnTo>
                    <a:pt x="910" y="212"/>
                  </a:lnTo>
                  <a:lnTo>
                    <a:pt x="909" y="212"/>
                  </a:lnTo>
                  <a:lnTo>
                    <a:pt x="909" y="213"/>
                  </a:lnTo>
                  <a:lnTo>
                    <a:pt x="909" y="212"/>
                  </a:lnTo>
                  <a:lnTo>
                    <a:pt x="907" y="212"/>
                  </a:lnTo>
                  <a:lnTo>
                    <a:pt x="907" y="213"/>
                  </a:lnTo>
                  <a:lnTo>
                    <a:pt x="907" y="212"/>
                  </a:lnTo>
                  <a:lnTo>
                    <a:pt x="906" y="212"/>
                  </a:lnTo>
                  <a:lnTo>
                    <a:pt x="907" y="212"/>
                  </a:lnTo>
                  <a:lnTo>
                    <a:pt x="906" y="212"/>
                  </a:lnTo>
                  <a:lnTo>
                    <a:pt x="907" y="211"/>
                  </a:lnTo>
                  <a:lnTo>
                    <a:pt x="906" y="211"/>
                  </a:lnTo>
                  <a:lnTo>
                    <a:pt x="906" y="212"/>
                  </a:lnTo>
                  <a:lnTo>
                    <a:pt x="905" y="213"/>
                  </a:lnTo>
                  <a:lnTo>
                    <a:pt x="905" y="212"/>
                  </a:lnTo>
                  <a:lnTo>
                    <a:pt x="904" y="212"/>
                  </a:lnTo>
                  <a:lnTo>
                    <a:pt x="903" y="212"/>
                  </a:lnTo>
                  <a:lnTo>
                    <a:pt x="903" y="211"/>
                  </a:lnTo>
                  <a:lnTo>
                    <a:pt x="903" y="210"/>
                  </a:lnTo>
                  <a:lnTo>
                    <a:pt x="902" y="210"/>
                  </a:lnTo>
                  <a:lnTo>
                    <a:pt x="902" y="209"/>
                  </a:lnTo>
                  <a:lnTo>
                    <a:pt x="903" y="209"/>
                  </a:lnTo>
                  <a:lnTo>
                    <a:pt x="902" y="207"/>
                  </a:lnTo>
                  <a:lnTo>
                    <a:pt x="902" y="209"/>
                  </a:lnTo>
                  <a:lnTo>
                    <a:pt x="902" y="210"/>
                  </a:lnTo>
                  <a:lnTo>
                    <a:pt x="902" y="211"/>
                  </a:lnTo>
                  <a:lnTo>
                    <a:pt x="902" y="212"/>
                  </a:lnTo>
                  <a:lnTo>
                    <a:pt x="900" y="211"/>
                  </a:lnTo>
                  <a:lnTo>
                    <a:pt x="899" y="212"/>
                  </a:lnTo>
                  <a:lnTo>
                    <a:pt x="898" y="212"/>
                  </a:lnTo>
                  <a:lnTo>
                    <a:pt x="899" y="212"/>
                  </a:lnTo>
                  <a:lnTo>
                    <a:pt x="902" y="212"/>
                  </a:lnTo>
                  <a:lnTo>
                    <a:pt x="902" y="213"/>
                  </a:lnTo>
                  <a:lnTo>
                    <a:pt x="900" y="213"/>
                  </a:lnTo>
                  <a:lnTo>
                    <a:pt x="899" y="213"/>
                  </a:lnTo>
                  <a:lnTo>
                    <a:pt x="898" y="213"/>
                  </a:lnTo>
                  <a:lnTo>
                    <a:pt x="898" y="214"/>
                  </a:lnTo>
                  <a:lnTo>
                    <a:pt x="899" y="214"/>
                  </a:lnTo>
                  <a:lnTo>
                    <a:pt x="900" y="214"/>
                  </a:lnTo>
                  <a:lnTo>
                    <a:pt x="899" y="214"/>
                  </a:lnTo>
                  <a:lnTo>
                    <a:pt x="898" y="214"/>
                  </a:lnTo>
                  <a:lnTo>
                    <a:pt x="897" y="214"/>
                  </a:lnTo>
                  <a:lnTo>
                    <a:pt x="898" y="216"/>
                  </a:lnTo>
                  <a:lnTo>
                    <a:pt x="899" y="216"/>
                  </a:lnTo>
                  <a:lnTo>
                    <a:pt x="898" y="216"/>
                  </a:lnTo>
                  <a:lnTo>
                    <a:pt x="899" y="217"/>
                  </a:lnTo>
                  <a:lnTo>
                    <a:pt x="898" y="217"/>
                  </a:lnTo>
                  <a:lnTo>
                    <a:pt x="899" y="217"/>
                  </a:lnTo>
                  <a:lnTo>
                    <a:pt x="899" y="218"/>
                  </a:lnTo>
                  <a:lnTo>
                    <a:pt x="898" y="218"/>
                  </a:lnTo>
                  <a:lnTo>
                    <a:pt x="897" y="218"/>
                  </a:lnTo>
                  <a:lnTo>
                    <a:pt x="898" y="218"/>
                  </a:lnTo>
                  <a:lnTo>
                    <a:pt x="899" y="218"/>
                  </a:lnTo>
                  <a:lnTo>
                    <a:pt x="898" y="218"/>
                  </a:lnTo>
                  <a:lnTo>
                    <a:pt x="897" y="218"/>
                  </a:lnTo>
                  <a:lnTo>
                    <a:pt x="897" y="219"/>
                  </a:lnTo>
                  <a:lnTo>
                    <a:pt x="898" y="219"/>
                  </a:lnTo>
                  <a:lnTo>
                    <a:pt x="897" y="219"/>
                  </a:lnTo>
                  <a:lnTo>
                    <a:pt x="897" y="220"/>
                  </a:lnTo>
                  <a:lnTo>
                    <a:pt x="896" y="220"/>
                  </a:lnTo>
                  <a:lnTo>
                    <a:pt x="897" y="220"/>
                  </a:lnTo>
                  <a:lnTo>
                    <a:pt x="896" y="220"/>
                  </a:lnTo>
                  <a:lnTo>
                    <a:pt x="896" y="221"/>
                  </a:lnTo>
                  <a:lnTo>
                    <a:pt x="895" y="221"/>
                  </a:lnTo>
                  <a:lnTo>
                    <a:pt x="895" y="223"/>
                  </a:lnTo>
                  <a:lnTo>
                    <a:pt x="893" y="223"/>
                  </a:lnTo>
                  <a:lnTo>
                    <a:pt x="893" y="221"/>
                  </a:lnTo>
                  <a:lnTo>
                    <a:pt x="895" y="221"/>
                  </a:lnTo>
                  <a:lnTo>
                    <a:pt x="893" y="221"/>
                  </a:lnTo>
                  <a:lnTo>
                    <a:pt x="892" y="221"/>
                  </a:lnTo>
                  <a:lnTo>
                    <a:pt x="892" y="220"/>
                  </a:lnTo>
                  <a:lnTo>
                    <a:pt x="893" y="220"/>
                  </a:lnTo>
                  <a:lnTo>
                    <a:pt x="892" y="220"/>
                  </a:lnTo>
                  <a:lnTo>
                    <a:pt x="892" y="219"/>
                  </a:lnTo>
                  <a:lnTo>
                    <a:pt x="893" y="219"/>
                  </a:lnTo>
                  <a:lnTo>
                    <a:pt x="893" y="218"/>
                  </a:lnTo>
                  <a:lnTo>
                    <a:pt x="892" y="219"/>
                  </a:lnTo>
                  <a:lnTo>
                    <a:pt x="891" y="219"/>
                  </a:lnTo>
                  <a:lnTo>
                    <a:pt x="890" y="219"/>
                  </a:lnTo>
                  <a:lnTo>
                    <a:pt x="890" y="220"/>
                  </a:lnTo>
                  <a:lnTo>
                    <a:pt x="889" y="220"/>
                  </a:lnTo>
                  <a:lnTo>
                    <a:pt x="889" y="219"/>
                  </a:lnTo>
                  <a:lnTo>
                    <a:pt x="888" y="219"/>
                  </a:lnTo>
                  <a:lnTo>
                    <a:pt x="889" y="219"/>
                  </a:lnTo>
                  <a:lnTo>
                    <a:pt x="890" y="219"/>
                  </a:lnTo>
                  <a:lnTo>
                    <a:pt x="890" y="218"/>
                  </a:lnTo>
                  <a:lnTo>
                    <a:pt x="891" y="218"/>
                  </a:lnTo>
                  <a:lnTo>
                    <a:pt x="890" y="218"/>
                  </a:lnTo>
                  <a:lnTo>
                    <a:pt x="889" y="218"/>
                  </a:lnTo>
                  <a:lnTo>
                    <a:pt x="889" y="219"/>
                  </a:lnTo>
                  <a:lnTo>
                    <a:pt x="888" y="219"/>
                  </a:lnTo>
                  <a:lnTo>
                    <a:pt x="888" y="218"/>
                  </a:lnTo>
                  <a:lnTo>
                    <a:pt x="888" y="217"/>
                  </a:lnTo>
                  <a:lnTo>
                    <a:pt x="889" y="217"/>
                  </a:lnTo>
                  <a:lnTo>
                    <a:pt x="888" y="217"/>
                  </a:lnTo>
                  <a:lnTo>
                    <a:pt x="889" y="217"/>
                  </a:lnTo>
                  <a:lnTo>
                    <a:pt x="889" y="216"/>
                  </a:lnTo>
                  <a:lnTo>
                    <a:pt x="890" y="216"/>
                  </a:lnTo>
                  <a:lnTo>
                    <a:pt x="891" y="214"/>
                  </a:lnTo>
                  <a:lnTo>
                    <a:pt x="890" y="214"/>
                  </a:lnTo>
                  <a:lnTo>
                    <a:pt x="890" y="216"/>
                  </a:lnTo>
                  <a:lnTo>
                    <a:pt x="889" y="216"/>
                  </a:lnTo>
                  <a:lnTo>
                    <a:pt x="889" y="217"/>
                  </a:lnTo>
                  <a:lnTo>
                    <a:pt x="888" y="217"/>
                  </a:lnTo>
                  <a:lnTo>
                    <a:pt x="887" y="217"/>
                  </a:lnTo>
                  <a:lnTo>
                    <a:pt x="887" y="218"/>
                  </a:lnTo>
                  <a:lnTo>
                    <a:pt x="885" y="219"/>
                  </a:lnTo>
                  <a:lnTo>
                    <a:pt x="885" y="220"/>
                  </a:lnTo>
                  <a:lnTo>
                    <a:pt x="885" y="219"/>
                  </a:lnTo>
                  <a:lnTo>
                    <a:pt x="884" y="219"/>
                  </a:lnTo>
                  <a:lnTo>
                    <a:pt x="885" y="218"/>
                  </a:lnTo>
                  <a:lnTo>
                    <a:pt x="884" y="218"/>
                  </a:lnTo>
                  <a:lnTo>
                    <a:pt x="884" y="219"/>
                  </a:lnTo>
                  <a:lnTo>
                    <a:pt x="883" y="219"/>
                  </a:lnTo>
                  <a:lnTo>
                    <a:pt x="884" y="219"/>
                  </a:lnTo>
                  <a:lnTo>
                    <a:pt x="884" y="218"/>
                  </a:lnTo>
                  <a:lnTo>
                    <a:pt x="885" y="218"/>
                  </a:lnTo>
                  <a:lnTo>
                    <a:pt x="884" y="218"/>
                  </a:lnTo>
                  <a:lnTo>
                    <a:pt x="884" y="217"/>
                  </a:lnTo>
                  <a:lnTo>
                    <a:pt x="884" y="218"/>
                  </a:lnTo>
                  <a:lnTo>
                    <a:pt x="883" y="218"/>
                  </a:lnTo>
                  <a:lnTo>
                    <a:pt x="883" y="217"/>
                  </a:lnTo>
                  <a:lnTo>
                    <a:pt x="884" y="217"/>
                  </a:lnTo>
                  <a:lnTo>
                    <a:pt x="885" y="217"/>
                  </a:lnTo>
                  <a:lnTo>
                    <a:pt x="884" y="216"/>
                  </a:lnTo>
                  <a:lnTo>
                    <a:pt x="883" y="217"/>
                  </a:lnTo>
                  <a:lnTo>
                    <a:pt x="883" y="216"/>
                  </a:lnTo>
                  <a:lnTo>
                    <a:pt x="884" y="216"/>
                  </a:lnTo>
                  <a:lnTo>
                    <a:pt x="885" y="216"/>
                  </a:lnTo>
                  <a:lnTo>
                    <a:pt x="887" y="216"/>
                  </a:lnTo>
                  <a:lnTo>
                    <a:pt x="887" y="214"/>
                  </a:lnTo>
                  <a:lnTo>
                    <a:pt x="888" y="214"/>
                  </a:lnTo>
                  <a:lnTo>
                    <a:pt x="888" y="216"/>
                  </a:lnTo>
                  <a:lnTo>
                    <a:pt x="889" y="216"/>
                  </a:lnTo>
                  <a:lnTo>
                    <a:pt x="889" y="214"/>
                  </a:lnTo>
                  <a:lnTo>
                    <a:pt x="888" y="214"/>
                  </a:lnTo>
                  <a:lnTo>
                    <a:pt x="887" y="214"/>
                  </a:lnTo>
                  <a:lnTo>
                    <a:pt x="885" y="214"/>
                  </a:lnTo>
                  <a:lnTo>
                    <a:pt x="884" y="216"/>
                  </a:lnTo>
                  <a:lnTo>
                    <a:pt x="883" y="216"/>
                  </a:lnTo>
                  <a:lnTo>
                    <a:pt x="882" y="216"/>
                  </a:lnTo>
                  <a:lnTo>
                    <a:pt x="881" y="216"/>
                  </a:lnTo>
                  <a:lnTo>
                    <a:pt x="881" y="214"/>
                  </a:lnTo>
                  <a:lnTo>
                    <a:pt x="882" y="214"/>
                  </a:lnTo>
                  <a:lnTo>
                    <a:pt x="881" y="214"/>
                  </a:lnTo>
                  <a:lnTo>
                    <a:pt x="882" y="214"/>
                  </a:lnTo>
                  <a:lnTo>
                    <a:pt x="883" y="214"/>
                  </a:lnTo>
                  <a:lnTo>
                    <a:pt x="884" y="213"/>
                  </a:lnTo>
                  <a:lnTo>
                    <a:pt x="885" y="213"/>
                  </a:lnTo>
                  <a:lnTo>
                    <a:pt x="885" y="212"/>
                  </a:lnTo>
                  <a:lnTo>
                    <a:pt x="887" y="212"/>
                  </a:lnTo>
                  <a:lnTo>
                    <a:pt x="888" y="212"/>
                  </a:lnTo>
                  <a:lnTo>
                    <a:pt x="887" y="212"/>
                  </a:lnTo>
                  <a:lnTo>
                    <a:pt x="885" y="212"/>
                  </a:lnTo>
                  <a:lnTo>
                    <a:pt x="884" y="213"/>
                  </a:lnTo>
                  <a:lnTo>
                    <a:pt x="883" y="213"/>
                  </a:lnTo>
                  <a:lnTo>
                    <a:pt x="882" y="213"/>
                  </a:lnTo>
                  <a:lnTo>
                    <a:pt x="881" y="213"/>
                  </a:lnTo>
                  <a:lnTo>
                    <a:pt x="882" y="213"/>
                  </a:lnTo>
                  <a:lnTo>
                    <a:pt x="882" y="212"/>
                  </a:lnTo>
                  <a:lnTo>
                    <a:pt x="881" y="213"/>
                  </a:lnTo>
                  <a:lnTo>
                    <a:pt x="880" y="213"/>
                  </a:lnTo>
                  <a:lnTo>
                    <a:pt x="881" y="213"/>
                  </a:lnTo>
                  <a:lnTo>
                    <a:pt x="881" y="212"/>
                  </a:lnTo>
                  <a:lnTo>
                    <a:pt x="882" y="212"/>
                  </a:lnTo>
                  <a:lnTo>
                    <a:pt x="883" y="212"/>
                  </a:lnTo>
                  <a:lnTo>
                    <a:pt x="884" y="211"/>
                  </a:lnTo>
                  <a:lnTo>
                    <a:pt x="885" y="211"/>
                  </a:lnTo>
                  <a:lnTo>
                    <a:pt x="887" y="211"/>
                  </a:lnTo>
                  <a:lnTo>
                    <a:pt x="884" y="211"/>
                  </a:lnTo>
                  <a:lnTo>
                    <a:pt x="883" y="212"/>
                  </a:lnTo>
                  <a:lnTo>
                    <a:pt x="882" y="212"/>
                  </a:lnTo>
                  <a:lnTo>
                    <a:pt x="880" y="212"/>
                  </a:lnTo>
                  <a:lnTo>
                    <a:pt x="880" y="211"/>
                  </a:lnTo>
                  <a:lnTo>
                    <a:pt x="881" y="211"/>
                  </a:lnTo>
                  <a:lnTo>
                    <a:pt x="881" y="210"/>
                  </a:lnTo>
                  <a:lnTo>
                    <a:pt x="881" y="211"/>
                  </a:lnTo>
                  <a:lnTo>
                    <a:pt x="880" y="211"/>
                  </a:lnTo>
                  <a:lnTo>
                    <a:pt x="880" y="210"/>
                  </a:lnTo>
                  <a:lnTo>
                    <a:pt x="881" y="210"/>
                  </a:lnTo>
                  <a:lnTo>
                    <a:pt x="882" y="209"/>
                  </a:lnTo>
                  <a:lnTo>
                    <a:pt x="883" y="209"/>
                  </a:lnTo>
                  <a:lnTo>
                    <a:pt x="884" y="207"/>
                  </a:lnTo>
                  <a:lnTo>
                    <a:pt x="885" y="207"/>
                  </a:lnTo>
                  <a:lnTo>
                    <a:pt x="887" y="207"/>
                  </a:lnTo>
                  <a:lnTo>
                    <a:pt x="888" y="207"/>
                  </a:lnTo>
                  <a:lnTo>
                    <a:pt x="889" y="207"/>
                  </a:lnTo>
                  <a:lnTo>
                    <a:pt x="889" y="206"/>
                  </a:lnTo>
                  <a:lnTo>
                    <a:pt x="890" y="206"/>
                  </a:lnTo>
                  <a:lnTo>
                    <a:pt x="890" y="205"/>
                  </a:lnTo>
                  <a:lnTo>
                    <a:pt x="891" y="204"/>
                  </a:lnTo>
                  <a:lnTo>
                    <a:pt x="892" y="204"/>
                  </a:lnTo>
                  <a:lnTo>
                    <a:pt x="893" y="203"/>
                  </a:lnTo>
                  <a:lnTo>
                    <a:pt x="895" y="203"/>
                  </a:lnTo>
                  <a:lnTo>
                    <a:pt x="896" y="203"/>
                  </a:lnTo>
                  <a:lnTo>
                    <a:pt x="895" y="203"/>
                  </a:lnTo>
                  <a:lnTo>
                    <a:pt x="893" y="203"/>
                  </a:lnTo>
                  <a:lnTo>
                    <a:pt x="892" y="203"/>
                  </a:lnTo>
                  <a:lnTo>
                    <a:pt x="891" y="204"/>
                  </a:lnTo>
                  <a:lnTo>
                    <a:pt x="890" y="204"/>
                  </a:lnTo>
                  <a:lnTo>
                    <a:pt x="890" y="205"/>
                  </a:lnTo>
                  <a:lnTo>
                    <a:pt x="889" y="205"/>
                  </a:lnTo>
                  <a:lnTo>
                    <a:pt x="889" y="206"/>
                  </a:lnTo>
                  <a:lnTo>
                    <a:pt x="888" y="206"/>
                  </a:lnTo>
                  <a:lnTo>
                    <a:pt x="887" y="206"/>
                  </a:lnTo>
                  <a:lnTo>
                    <a:pt x="885" y="206"/>
                  </a:lnTo>
                  <a:lnTo>
                    <a:pt x="884" y="206"/>
                  </a:lnTo>
                  <a:lnTo>
                    <a:pt x="884" y="207"/>
                  </a:lnTo>
                  <a:lnTo>
                    <a:pt x="883" y="207"/>
                  </a:lnTo>
                  <a:lnTo>
                    <a:pt x="878" y="207"/>
                  </a:lnTo>
                  <a:lnTo>
                    <a:pt x="877" y="207"/>
                  </a:lnTo>
                  <a:lnTo>
                    <a:pt x="877" y="206"/>
                  </a:lnTo>
                  <a:lnTo>
                    <a:pt x="878" y="206"/>
                  </a:lnTo>
                  <a:lnTo>
                    <a:pt x="881" y="205"/>
                  </a:lnTo>
                  <a:lnTo>
                    <a:pt x="882" y="205"/>
                  </a:lnTo>
                  <a:lnTo>
                    <a:pt x="882" y="204"/>
                  </a:lnTo>
                  <a:lnTo>
                    <a:pt x="883" y="204"/>
                  </a:lnTo>
                  <a:lnTo>
                    <a:pt x="883" y="203"/>
                  </a:lnTo>
                  <a:lnTo>
                    <a:pt x="884" y="203"/>
                  </a:lnTo>
                  <a:lnTo>
                    <a:pt x="883" y="203"/>
                  </a:lnTo>
                  <a:lnTo>
                    <a:pt x="884" y="203"/>
                  </a:lnTo>
                  <a:lnTo>
                    <a:pt x="884" y="202"/>
                  </a:lnTo>
                  <a:lnTo>
                    <a:pt x="884" y="203"/>
                  </a:lnTo>
                  <a:lnTo>
                    <a:pt x="883" y="203"/>
                  </a:lnTo>
                  <a:lnTo>
                    <a:pt x="883" y="204"/>
                  </a:lnTo>
                  <a:lnTo>
                    <a:pt x="881" y="204"/>
                  </a:lnTo>
                  <a:lnTo>
                    <a:pt x="881" y="205"/>
                  </a:lnTo>
                  <a:lnTo>
                    <a:pt x="880" y="205"/>
                  </a:lnTo>
                  <a:lnTo>
                    <a:pt x="878" y="205"/>
                  </a:lnTo>
                  <a:lnTo>
                    <a:pt x="877" y="205"/>
                  </a:lnTo>
                  <a:lnTo>
                    <a:pt x="876" y="205"/>
                  </a:lnTo>
                  <a:lnTo>
                    <a:pt x="876" y="204"/>
                  </a:lnTo>
                  <a:lnTo>
                    <a:pt x="875" y="204"/>
                  </a:lnTo>
                  <a:lnTo>
                    <a:pt x="876" y="204"/>
                  </a:lnTo>
                  <a:lnTo>
                    <a:pt x="877" y="203"/>
                  </a:lnTo>
                  <a:lnTo>
                    <a:pt x="876" y="204"/>
                  </a:lnTo>
                  <a:lnTo>
                    <a:pt x="875" y="204"/>
                  </a:lnTo>
                  <a:lnTo>
                    <a:pt x="874" y="204"/>
                  </a:lnTo>
                  <a:lnTo>
                    <a:pt x="874" y="203"/>
                  </a:lnTo>
                  <a:lnTo>
                    <a:pt x="874" y="204"/>
                  </a:lnTo>
                  <a:lnTo>
                    <a:pt x="873" y="204"/>
                  </a:lnTo>
                  <a:lnTo>
                    <a:pt x="873" y="203"/>
                  </a:lnTo>
                  <a:lnTo>
                    <a:pt x="874" y="203"/>
                  </a:lnTo>
                  <a:lnTo>
                    <a:pt x="873" y="203"/>
                  </a:lnTo>
                  <a:lnTo>
                    <a:pt x="873" y="202"/>
                  </a:lnTo>
                  <a:lnTo>
                    <a:pt x="874" y="202"/>
                  </a:lnTo>
                  <a:lnTo>
                    <a:pt x="875" y="202"/>
                  </a:lnTo>
                  <a:lnTo>
                    <a:pt x="874" y="202"/>
                  </a:lnTo>
                  <a:lnTo>
                    <a:pt x="873" y="202"/>
                  </a:lnTo>
                  <a:lnTo>
                    <a:pt x="871" y="202"/>
                  </a:lnTo>
                  <a:lnTo>
                    <a:pt x="873" y="202"/>
                  </a:lnTo>
                  <a:lnTo>
                    <a:pt x="873" y="200"/>
                  </a:lnTo>
                  <a:lnTo>
                    <a:pt x="873" y="202"/>
                  </a:lnTo>
                  <a:lnTo>
                    <a:pt x="871" y="202"/>
                  </a:lnTo>
                  <a:lnTo>
                    <a:pt x="871" y="200"/>
                  </a:lnTo>
                  <a:lnTo>
                    <a:pt x="871" y="199"/>
                  </a:lnTo>
                  <a:lnTo>
                    <a:pt x="873" y="199"/>
                  </a:lnTo>
                  <a:lnTo>
                    <a:pt x="874" y="199"/>
                  </a:lnTo>
                  <a:lnTo>
                    <a:pt x="873" y="199"/>
                  </a:lnTo>
                  <a:lnTo>
                    <a:pt x="871" y="199"/>
                  </a:lnTo>
                  <a:lnTo>
                    <a:pt x="871" y="198"/>
                  </a:lnTo>
                  <a:lnTo>
                    <a:pt x="870" y="198"/>
                  </a:lnTo>
                  <a:lnTo>
                    <a:pt x="871" y="199"/>
                  </a:lnTo>
                  <a:lnTo>
                    <a:pt x="870" y="199"/>
                  </a:lnTo>
                  <a:lnTo>
                    <a:pt x="869" y="199"/>
                  </a:lnTo>
                  <a:lnTo>
                    <a:pt x="869" y="200"/>
                  </a:lnTo>
                  <a:lnTo>
                    <a:pt x="869" y="199"/>
                  </a:lnTo>
                  <a:lnTo>
                    <a:pt x="868" y="199"/>
                  </a:lnTo>
                  <a:lnTo>
                    <a:pt x="868" y="200"/>
                  </a:lnTo>
                  <a:lnTo>
                    <a:pt x="869" y="200"/>
                  </a:lnTo>
                  <a:lnTo>
                    <a:pt x="868" y="200"/>
                  </a:lnTo>
                  <a:lnTo>
                    <a:pt x="868" y="199"/>
                  </a:lnTo>
                  <a:lnTo>
                    <a:pt x="867" y="199"/>
                  </a:lnTo>
                  <a:lnTo>
                    <a:pt x="866" y="199"/>
                  </a:lnTo>
                  <a:lnTo>
                    <a:pt x="866" y="198"/>
                  </a:lnTo>
                  <a:lnTo>
                    <a:pt x="864" y="198"/>
                  </a:lnTo>
                  <a:lnTo>
                    <a:pt x="864" y="199"/>
                  </a:lnTo>
                  <a:lnTo>
                    <a:pt x="863" y="199"/>
                  </a:lnTo>
                  <a:lnTo>
                    <a:pt x="862" y="199"/>
                  </a:lnTo>
                  <a:lnTo>
                    <a:pt x="863" y="199"/>
                  </a:lnTo>
                  <a:lnTo>
                    <a:pt x="866" y="199"/>
                  </a:lnTo>
                  <a:lnTo>
                    <a:pt x="867" y="199"/>
                  </a:lnTo>
                  <a:lnTo>
                    <a:pt x="867" y="200"/>
                  </a:lnTo>
                  <a:lnTo>
                    <a:pt x="868" y="200"/>
                  </a:lnTo>
                  <a:lnTo>
                    <a:pt x="868" y="202"/>
                  </a:lnTo>
                  <a:lnTo>
                    <a:pt x="867" y="202"/>
                  </a:lnTo>
                  <a:lnTo>
                    <a:pt x="866" y="202"/>
                  </a:lnTo>
                  <a:lnTo>
                    <a:pt x="864" y="202"/>
                  </a:lnTo>
                  <a:lnTo>
                    <a:pt x="866" y="202"/>
                  </a:lnTo>
                  <a:lnTo>
                    <a:pt x="866" y="203"/>
                  </a:lnTo>
                  <a:lnTo>
                    <a:pt x="867" y="203"/>
                  </a:lnTo>
                  <a:lnTo>
                    <a:pt x="866" y="203"/>
                  </a:lnTo>
                  <a:lnTo>
                    <a:pt x="864" y="203"/>
                  </a:lnTo>
                  <a:lnTo>
                    <a:pt x="863" y="203"/>
                  </a:lnTo>
                  <a:lnTo>
                    <a:pt x="864" y="203"/>
                  </a:lnTo>
                  <a:lnTo>
                    <a:pt x="863" y="203"/>
                  </a:lnTo>
                  <a:lnTo>
                    <a:pt x="863" y="202"/>
                  </a:lnTo>
                  <a:lnTo>
                    <a:pt x="862" y="202"/>
                  </a:lnTo>
                  <a:lnTo>
                    <a:pt x="862" y="200"/>
                  </a:lnTo>
                  <a:lnTo>
                    <a:pt x="862" y="202"/>
                  </a:lnTo>
                  <a:lnTo>
                    <a:pt x="861" y="200"/>
                  </a:lnTo>
                  <a:lnTo>
                    <a:pt x="860" y="200"/>
                  </a:lnTo>
                  <a:lnTo>
                    <a:pt x="860" y="202"/>
                  </a:lnTo>
                  <a:lnTo>
                    <a:pt x="861" y="202"/>
                  </a:lnTo>
                  <a:lnTo>
                    <a:pt x="861" y="203"/>
                  </a:lnTo>
                  <a:lnTo>
                    <a:pt x="860" y="204"/>
                  </a:lnTo>
                  <a:lnTo>
                    <a:pt x="861" y="204"/>
                  </a:lnTo>
                  <a:lnTo>
                    <a:pt x="861" y="205"/>
                  </a:lnTo>
                  <a:lnTo>
                    <a:pt x="862" y="205"/>
                  </a:lnTo>
                  <a:lnTo>
                    <a:pt x="863" y="205"/>
                  </a:lnTo>
                  <a:lnTo>
                    <a:pt x="863" y="206"/>
                  </a:lnTo>
                  <a:lnTo>
                    <a:pt x="864" y="206"/>
                  </a:lnTo>
                  <a:lnTo>
                    <a:pt x="863" y="207"/>
                  </a:lnTo>
                  <a:lnTo>
                    <a:pt x="862" y="207"/>
                  </a:lnTo>
                  <a:lnTo>
                    <a:pt x="863" y="207"/>
                  </a:lnTo>
                  <a:lnTo>
                    <a:pt x="863" y="209"/>
                  </a:lnTo>
                  <a:lnTo>
                    <a:pt x="862" y="209"/>
                  </a:lnTo>
                  <a:lnTo>
                    <a:pt x="861" y="209"/>
                  </a:lnTo>
                  <a:lnTo>
                    <a:pt x="861" y="207"/>
                  </a:lnTo>
                  <a:lnTo>
                    <a:pt x="861" y="209"/>
                  </a:lnTo>
                  <a:lnTo>
                    <a:pt x="860" y="209"/>
                  </a:lnTo>
                  <a:lnTo>
                    <a:pt x="859" y="209"/>
                  </a:lnTo>
                  <a:lnTo>
                    <a:pt x="857" y="209"/>
                  </a:lnTo>
                  <a:lnTo>
                    <a:pt x="857" y="207"/>
                  </a:lnTo>
                  <a:lnTo>
                    <a:pt x="857" y="209"/>
                  </a:lnTo>
                  <a:lnTo>
                    <a:pt x="856" y="209"/>
                  </a:lnTo>
                  <a:lnTo>
                    <a:pt x="855" y="209"/>
                  </a:lnTo>
                  <a:lnTo>
                    <a:pt x="855" y="207"/>
                  </a:lnTo>
                  <a:lnTo>
                    <a:pt x="855" y="206"/>
                  </a:lnTo>
                  <a:lnTo>
                    <a:pt x="856" y="206"/>
                  </a:lnTo>
                  <a:lnTo>
                    <a:pt x="855" y="205"/>
                  </a:lnTo>
                  <a:lnTo>
                    <a:pt x="854" y="205"/>
                  </a:lnTo>
                  <a:lnTo>
                    <a:pt x="854" y="204"/>
                  </a:lnTo>
                  <a:lnTo>
                    <a:pt x="853" y="205"/>
                  </a:lnTo>
                  <a:lnTo>
                    <a:pt x="853" y="204"/>
                  </a:lnTo>
                  <a:lnTo>
                    <a:pt x="853" y="203"/>
                  </a:lnTo>
                  <a:lnTo>
                    <a:pt x="852" y="203"/>
                  </a:lnTo>
                  <a:lnTo>
                    <a:pt x="852" y="204"/>
                  </a:lnTo>
                  <a:lnTo>
                    <a:pt x="853" y="204"/>
                  </a:lnTo>
                  <a:lnTo>
                    <a:pt x="852" y="204"/>
                  </a:lnTo>
                  <a:lnTo>
                    <a:pt x="848" y="204"/>
                  </a:lnTo>
                  <a:lnTo>
                    <a:pt x="849" y="205"/>
                  </a:lnTo>
                  <a:lnTo>
                    <a:pt x="850" y="205"/>
                  </a:lnTo>
                  <a:lnTo>
                    <a:pt x="852" y="204"/>
                  </a:lnTo>
                  <a:lnTo>
                    <a:pt x="852" y="205"/>
                  </a:lnTo>
                  <a:lnTo>
                    <a:pt x="853" y="205"/>
                  </a:lnTo>
                  <a:lnTo>
                    <a:pt x="853" y="206"/>
                  </a:lnTo>
                  <a:lnTo>
                    <a:pt x="854" y="206"/>
                  </a:lnTo>
                  <a:lnTo>
                    <a:pt x="854" y="205"/>
                  </a:lnTo>
                  <a:lnTo>
                    <a:pt x="855" y="205"/>
                  </a:lnTo>
                  <a:lnTo>
                    <a:pt x="855" y="206"/>
                  </a:lnTo>
                  <a:lnTo>
                    <a:pt x="855" y="207"/>
                  </a:lnTo>
                  <a:lnTo>
                    <a:pt x="854" y="207"/>
                  </a:lnTo>
                  <a:lnTo>
                    <a:pt x="854" y="206"/>
                  </a:lnTo>
                  <a:lnTo>
                    <a:pt x="853" y="207"/>
                  </a:lnTo>
                  <a:lnTo>
                    <a:pt x="854" y="207"/>
                  </a:lnTo>
                  <a:lnTo>
                    <a:pt x="853" y="207"/>
                  </a:lnTo>
                  <a:lnTo>
                    <a:pt x="853" y="206"/>
                  </a:lnTo>
                  <a:lnTo>
                    <a:pt x="852" y="206"/>
                  </a:lnTo>
                  <a:lnTo>
                    <a:pt x="852" y="207"/>
                  </a:lnTo>
                  <a:lnTo>
                    <a:pt x="853" y="207"/>
                  </a:lnTo>
                  <a:lnTo>
                    <a:pt x="852" y="207"/>
                  </a:lnTo>
                  <a:lnTo>
                    <a:pt x="852" y="209"/>
                  </a:lnTo>
                  <a:lnTo>
                    <a:pt x="853" y="209"/>
                  </a:lnTo>
                  <a:lnTo>
                    <a:pt x="853" y="210"/>
                  </a:lnTo>
                  <a:lnTo>
                    <a:pt x="852" y="210"/>
                  </a:lnTo>
                  <a:lnTo>
                    <a:pt x="853" y="210"/>
                  </a:lnTo>
                  <a:lnTo>
                    <a:pt x="854" y="210"/>
                  </a:lnTo>
                  <a:lnTo>
                    <a:pt x="855" y="210"/>
                  </a:lnTo>
                  <a:lnTo>
                    <a:pt x="856" y="210"/>
                  </a:lnTo>
                  <a:lnTo>
                    <a:pt x="855" y="210"/>
                  </a:lnTo>
                  <a:lnTo>
                    <a:pt x="855" y="211"/>
                  </a:lnTo>
                  <a:lnTo>
                    <a:pt x="854" y="211"/>
                  </a:lnTo>
                  <a:lnTo>
                    <a:pt x="854" y="212"/>
                  </a:lnTo>
                  <a:lnTo>
                    <a:pt x="853" y="212"/>
                  </a:lnTo>
                  <a:lnTo>
                    <a:pt x="853" y="213"/>
                  </a:lnTo>
                  <a:lnTo>
                    <a:pt x="853" y="212"/>
                  </a:lnTo>
                  <a:lnTo>
                    <a:pt x="852" y="213"/>
                  </a:lnTo>
                  <a:lnTo>
                    <a:pt x="853" y="213"/>
                  </a:lnTo>
                  <a:lnTo>
                    <a:pt x="852" y="214"/>
                  </a:lnTo>
                  <a:lnTo>
                    <a:pt x="852" y="213"/>
                  </a:lnTo>
                  <a:lnTo>
                    <a:pt x="853" y="213"/>
                  </a:lnTo>
                  <a:lnTo>
                    <a:pt x="854" y="213"/>
                  </a:lnTo>
                  <a:lnTo>
                    <a:pt x="854" y="212"/>
                  </a:lnTo>
                  <a:lnTo>
                    <a:pt x="855" y="212"/>
                  </a:lnTo>
                  <a:lnTo>
                    <a:pt x="857" y="212"/>
                  </a:lnTo>
                  <a:lnTo>
                    <a:pt x="859" y="212"/>
                  </a:lnTo>
                  <a:lnTo>
                    <a:pt x="860" y="212"/>
                  </a:lnTo>
                  <a:lnTo>
                    <a:pt x="859" y="212"/>
                  </a:lnTo>
                  <a:lnTo>
                    <a:pt x="860" y="212"/>
                  </a:lnTo>
                  <a:lnTo>
                    <a:pt x="859" y="213"/>
                  </a:lnTo>
                  <a:lnTo>
                    <a:pt x="860" y="213"/>
                  </a:lnTo>
                  <a:lnTo>
                    <a:pt x="859" y="213"/>
                  </a:lnTo>
                  <a:lnTo>
                    <a:pt x="857" y="213"/>
                  </a:lnTo>
                  <a:lnTo>
                    <a:pt x="859" y="213"/>
                  </a:lnTo>
                  <a:lnTo>
                    <a:pt x="859" y="214"/>
                  </a:lnTo>
                  <a:lnTo>
                    <a:pt x="857" y="214"/>
                  </a:lnTo>
                  <a:lnTo>
                    <a:pt x="859" y="214"/>
                  </a:lnTo>
                  <a:lnTo>
                    <a:pt x="860" y="214"/>
                  </a:lnTo>
                  <a:lnTo>
                    <a:pt x="861" y="214"/>
                  </a:lnTo>
                  <a:lnTo>
                    <a:pt x="861" y="216"/>
                  </a:lnTo>
                  <a:lnTo>
                    <a:pt x="860" y="216"/>
                  </a:lnTo>
                  <a:lnTo>
                    <a:pt x="857" y="216"/>
                  </a:lnTo>
                  <a:lnTo>
                    <a:pt x="856" y="216"/>
                  </a:lnTo>
                  <a:lnTo>
                    <a:pt x="856" y="217"/>
                  </a:lnTo>
                  <a:lnTo>
                    <a:pt x="857" y="217"/>
                  </a:lnTo>
                  <a:lnTo>
                    <a:pt x="857" y="216"/>
                  </a:lnTo>
                  <a:lnTo>
                    <a:pt x="859" y="216"/>
                  </a:lnTo>
                  <a:lnTo>
                    <a:pt x="859" y="217"/>
                  </a:lnTo>
                  <a:lnTo>
                    <a:pt x="860" y="217"/>
                  </a:lnTo>
                  <a:lnTo>
                    <a:pt x="859" y="217"/>
                  </a:lnTo>
                  <a:lnTo>
                    <a:pt x="859" y="218"/>
                  </a:lnTo>
                  <a:lnTo>
                    <a:pt x="859" y="217"/>
                  </a:lnTo>
                  <a:lnTo>
                    <a:pt x="859" y="218"/>
                  </a:lnTo>
                  <a:lnTo>
                    <a:pt x="860" y="218"/>
                  </a:lnTo>
                  <a:lnTo>
                    <a:pt x="859" y="218"/>
                  </a:lnTo>
                  <a:lnTo>
                    <a:pt x="860" y="218"/>
                  </a:lnTo>
                  <a:lnTo>
                    <a:pt x="861" y="218"/>
                  </a:lnTo>
                  <a:lnTo>
                    <a:pt x="860" y="219"/>
                  </a:lnTo>
                  <a:lnTo>
                    <a:pt x="859" y="219"/>
                  </a:lnTo>
                  <a:lnTo>
                    <a:pt x="857" y="220"/>
                  </a:lnTo>
                  <a:lnTo>
                    <a:pt x="859" y="220"/>
                  </a:lnTo>
                  <a:lnTo>
                    <a:pt x="860" y="220"/>
                  </a:lnTo>
                  <a:lnTo>
                    <a:pt x="859" y="220"/>
                  </a:lnTo>
                  <a:lnTo>
                    <a:pt x="860" y="220"/>
                  </a:lnTo>
                  <a:lnTo>
                    <a:pt x="860" y="219"/>
                  </a:lnTo>
                  <a:lnTo>
                    <a:pt x="861" y="219"/>
                  </a:lnTo>
                  <a:lnTo>
                    <a:pt x="862" y="219"/>
                  </a:lnTo>
                  <a:lnTo>
                    <a:pt x="862" y="218"/>
                  </a:lnTo>
                  <a:lnTo>
                    <a:pt x="862" y="219"/>
                  </a:lnTo>
                  <a:lnTo>
                    <a:pt x="861" y="219"/>
                  </a:lnTo>
                  <a:lnTo>
                    <a:pt x="861" y="220"/>
                  </a:lnTo>
                  <a:lnTo>
                    <a:pt x="860" y="220"/>
                  </a:lnTo>
                  <a:lnTo>
                    <a:pt x="861" y="220"/>
                  </a:lnTo>
                  <a:lnTo>
                    <a:pt x="861" y="221"/>
                  </a:lnTo>
                  <a:lnTo>
                    <a:pt x="860" y="221"/>
                  </a:lnTo>
                  <a:lnTo>
                    <a:pt x="861" y="221"/>
                  </a:lnTo>
                  <a:lnTo>
                    <a:pt x="861" y="223"/>
                  </a:lnTo>
                  <a:lnTo>
                    <a:pt x="860" y="223"/>
                  </a:lnTo>
                  <a:lnTo>
                    <a:pt x="860" y="224"/>
                  </a:lnTo>
                  <a:lnTo>
                    <a:pt x="861" y="224"/>
                  </a:lnTo>
                  <a:lnTo>
                    <a:pt x="860" y="224"/>
                  </a:lnTo>
                  <a:lnTo>
                    <a:pt x="861" y="223"/>
                  </a:lnTo>
                  <a:lnTo>
                    <a:pt x="861" y="221"/>
                  </a:lnTo>
                  <a:lnTo>
                    <a:pt x="862" y="221"/>
                  </a:lnTo>
                  <a:lnTo>
                    <a:pt x="862" y="220"/>
                  </a:lnTo>
                  <a:lnTo>
                    <a:pt x="863" y="220"/>
                  </a:lnTo>
                  <a:lnTo>
                    <a:pt x="863" y="221"/>
                  </a:lnTo>
                  <a:lnTo>
                    <a:pt x="864" y="223"/>
                  </a:lnTo>
                  <a:lnTo>
                    <a:pt x="864" y="221"/>
                  </a:lnTo>
                  <a:lnTo>
                    <a:pt x="864" y="223"/>
                  </a:lnTo>
                  <a:lnTo>
                    <a:pt x="866" y="223"/>
                  </a:lnTo>
                  <a:lnTo>
                    <a:pt x="867" y="223"/>
                  </a:lnTo>
                  <a:lnTo>
                    <a:pt x="866" y="223"/>
                  </a:lnTo>
                  <a:lnTo>
                    <a:pt x="866" y="224"/>
                  </a:lnTo>
                  <a:lnTo>
                    <a:pt x="863" y="224"/>
                  </a:lnTo>
                  <a:lnTo>
                    <a:pt x="864" y="225"/>
                  </a:lnTo>
                  <a:lnTo>
                    <a:pt x="864" y="224"/>
                  </a:lnTo>
                  <a:lnTo>
                    <a:pt x="864" y="225"/>
                  </a:lnTo>
                  <a:lnTo>
                    <a:pt x="866" y="225"/>
                  </a:lnTo>
                  <a:lnTo>
                    <a:pt x="866" y="224"/>
                  </a:lnTo>
                  <a:lnTo>
                    <a:pt x="867" y="224"/>
                  </a:lnTo>
                  <a:lnTo>
                    <a:pt x="868" y="223"/>
                  </a:lnTo>
                  <a:lnTo>
                    <a:pt x="868" y="224"/>
                  </a:lnTo>
                  <a:lnTo>
                    <a:pt x="867" y="224"/>
                  </a:lnTo>
                  <a:lnTo>
                    <a:pt x="867" y="225"/>
                  </a:lnTo>
                  <a:lnTo>
                    <a:pt x="867" y="224"/>
                  </a:lnTo>
                  <a:lnTo>
                    <a:pt x="868" y="224"/>
                  </a:lnTo>
                  <a:lnTo>
                    <a:pt x="868" y="225"/>
                  </a:lnTo>
                  <a:lnTo>
                    <a:pt x="868" y="226"/>
                  </a:lnTo>
                  <a:lnTo>
                    <a:pt x="868" y="225"/>
                  </a:lnTo>
                  <a:lnTo>
                    <a:pt x="869" y="225"/>
                  </a:lnTo>
                  <a:lnTo>
                    <a:pt x="869" y="224"/>
                  </a:lnTo>
                  <a:lnTo>
                    <a:pt x="868" y="224"/>
                  </a:lnTo>
                  <a:lnTo>
                    <a:pt x="869" y="224"/>
                  </a:lnTo>
                  <a:lnTo>
                    <a:pt x="869" y="223"/>
                  </a:lnTo>
                  <a:lnTo>
                    <a:pt x="870" y="223"/>
                  </a:lnTo>
                  <a:lnTo>
                    <a:pt x="870" y="224"/>
                  </a:lnTo>
                  <a:lnTo>
                    <a:pt x="870" y="223"/>
                  </a:lnTo>
                  <a:lnTo>
                    <a:pt x="871" y="224"/>
                  </a:lnTo>
                  <a:lnTo>
                    <a:pt x="870" y="224"/>
                  </a:lnTo>
                  <a:lnTo>
                    <a:pt x="870" y="225"/>
                  </a:lnTo>
                  <a:lnTo>
                    <a:pt x="871" y="224"/>
                  </a:lnTo>
                  <a:lnTo>
                    <a:pt x="871" y="225"/>
                  </a:lnTo>
                  <a:lnTo>
                    <a:pt x="871" y="226"/>
                  </a:lnTo>
                  <a:lnTo>
                    <a:pt x="870" y="226"/>
                  </a:lnTo>
                  <a:lnTo>
                    <a:pt x="869" y="226"/>
                  </a:lnTo>
                  <a:lnTo>
                    <a:pt x="869" y="227"/>
                  </a:lnTo>
                  <a:lnTo>
                    <a:pt x="868" y="227"/>
                  </a:lnTo>
                  <a:lnTo>
                    <a:pt x="868" y="228"/>
                  </a:lnTo>
                  <a:lnTo>
                    <a:pt x="869" y="228"/>
                  </a:lnTo>
                  <a:lnTo>
                    <a:pt x="870" y="228"/>
                  </a:lnTo>
                  <a:lnTo>
                    <a:pt x="871" y="228"/>
                  </a:lnTo>
                  <a:lnTo>
                    <a:pt x="871" y="227"/>
                  </a:lnTo>
                  <a:lnTo>
                    <a:pt x="873" y="227"/>
                  </a:lnTo>
                  <a:lnTo>
                    <a:pt x="873" y="228"/>
                  </a:lnTo>
                  <a:lnTo>
                    <a:pt x="871" y="228"/>
                  </a:lnTo>
                  <a:lnTo>
                    <a:pt x="873" y="228"/>
                  </a:lnTo>
                  <a:lnTo>
                    <a:pt x="873" y="227"/>
                  </a:lnTo>
                  <a:lnTo>
                    <a:pt x="874" y="227"/>
                  </a:lnTo>
                  <a:lnTo>
                    <a:pt x="874" y="228"/>
                  </a:lnTo>
                  <a:lnTo>
                    <a:pt x="875" y="227"/>
                  </a:lnTo>
                  <a:lnTo>
                    <a:pt x="875" y="228"/>
                  </a:lnTo>
                  <a:lnTo>
                    <a:pt x="874" y="228"/>
                  </a:lnTo>
                  <a:lnTo>
                    <a:pt x="875" y="228"/>
                  </a:lnTo>
                  <a:lnTo>
                    <a:pt x="874" y="230"/>
                  </a:lnTo>
                  <a:lnTo>
                    <a:pt x="873" y="230"/>
                  </a:lnTo>
                  <a:lnTo>
                    <a:pt x="873" y="231"/>
                  </a:lnTo>
                  <a:lnTo>
                    <a:pt x="871" y="231"/>
                  </a:lnTo>
                  <a:lnTo>
                    <a:pt x="869" y="231"/>
                  </a:lnTo>
                  <a:lnTo>
                    <a:pt x="868" y="231"/>
                  </a:lnTo>
                  <a:lnTo>
                    <a:pt x="869" y="231"/>
                  </a:lnTo>
                  <a:lnTo>
                    <a:pt x="870" y="231"/>
                  </a:lnTo>
                  <a:lnTo>
                    <a:pt x="869" y="231"/>
                  </a:lnTo>
                  <a:lnTo>
                    <a:pt x="868" y="231"/>
                  </a:lnTo>
                  <a:lnTo>
                    <a:pt x="868" y="232"/>
                  </a:lnTo>
                  <a:lnTo>
                    <a:pt x="870" y="232"/>
                  </a:lnTo>
                  <a:lnTo>
                    <a:pt x="871" y="232"/>
                  </a:lnTo>
                  <a:lnTo>
                    <a:pt x="870" y="232"/>
                  </a:lnTo>
                  <a:lnTo>
                    <a:pt x="869" y="233"/>
                  </a:lnTo>
                  <a:lnTo>
                    <a:pt x="870" y="233"/>
                  </a:lnTo>
                  <a:lnTo>
                    <a:pt x="870" y="232"/>
                  </a:lnTo>
                  <a:lnTo>
                    <a:pt x="871" y="232"/>
                  </a:lnTo>
                  <a:lnTo>
                    <a:pt x="871" y="233"/>
                  </a:lnTo>
                  <a:lnTo>
                    <a:pt x="870" y="234"/>
                  </a:lnTo>
                  <a:lnTo>
                    <a:pt x="871" y="234"/>
                  </a:lnTo>
                  <a:lnTo>
                    <a:pt x="873" y="234"/>
                  </a:lnTo>
                  <a:lnTo>
                    <a:pt x="871" y="234"/>
                  </a:lnTo>
                  <a:lnTo>
                    <a:pt x="870" y="234"/>
                  </a:lnTo>
                  <a:lnTo>
                    <a:pt x="871" y="234"/>
                  </a:lnTo>
                  <a:lnTo>
                    <a:pt x="873" y="234"/>
                  </a:lnTo>
                  <a:lnTo>
                    <a:pt x="874" y="234"/>
                  </a:lnTo>
                  <a:lnTo>
                    <a:pt x="873" y="235"/>
                  </a:lnTo>
                  <a:lnTo>
                    <a:pt x="874" y="235"/>
                  </a:lnTo>
                  <a:lnTo>
                    <a:pt x="874" y="234"/>
                  </a:lnTo>
                  <a:lnTo>
                    <a:pt x="875" y="234"/>
                  </a:lnTo>
                  <a:lnTo>
                    <a:pt x="875" y="235"/>
                  </a:lnTo>
                  <a:lnTo>
                    <a:pt x="875" y="234"/>
                  </a:lnTo>
                  <a:lnTo>
                    <a:pt x="876" y="234"/>
                  </a:lnTo>
                  <a:lnTo>
                    <a:pt x="876" y="235"/>
                  </a:lnTo>
                  <a:lnTo>
                    <a:pt x="874" y="235"/>
                  </a:lnTo>
                  <a:lnTo>
                    <a:pt x="874" y="237"/>
                  </a:lnTo>
                  <a:lnTo>
                    <a:pt x="873" y="237"/>
                  </a:lnTo>
                  <a:lnTo>
                    <a:pt x="871" y="237"/>
                  </a:lnTo>
                  <a:lnTo>
                    <a:pt x="871" y="238"/>
                  </a:lnTo>
                  <a:lnTo>
                    <a:pt x="873" y="239"/>
                  </a:lnTo>
                  <a:lnTo>
                    <a:pt x="874" y="238"/>
                  </a:lnTo>
                  <a:lnTo>
                    <a:pt x="874" y="239"/>
                  </a:lnTo>
                  <a:lnTo>
                    <a:pt x="875" y="239"/>
                  </a:lnTo>
                  <a:lnTo>
                    <a:pt x="875" y="240"/>
                  </a:lnTo>
                  <a:lnTo>
                    <a:pt x="874" y="240"/>
                  </a:lnTo>
                  <a:lnTo>
                    <a:pt x="874" y="241"/>
                  </a:lnTo>
                  <a:lnTo>
                    <a:pt x="874" y="242"/>
                  </a:lnTo>
                  <a:lnTo>
                    <a:pt x="874" y="244"/>
                  </a:lnTo>
                  <a:lnTo>
                    <a:pt x="873" y="244"/>
                  </a:lnTo>
                  <a:lnTo>
                    <a:pt x="873" y="245"/>
                  </a:lnTo>
                  <a:lnTo>
                    <a:pt x="871" y="245"/>
                  </a:lnTo>
                  <a:lnTo>
                    <a:pt x="873" y="245"/>
                  </a:lnTo>
                  <a:lnTo>
                    <a:pt x="873" y="246"/>
                  </a:lnTo>
                  <a:lnTo>
                    <a:pt x="871" y="246"/>
                  </a:lnTo>
                  <a:lnTo>
                    <a:pt x="870" y="246"/>
                  </a:lnTo>
                  <a:lnTo>
                    <a:pt x="870" y="245"/>
                  </a:lnTo>
                  <a:lnTo>
                    <a:pt x="870" y="244"/>
                  </a:lnTo>
                  <a:lnTo>
                    <a:pt x="870" y="242"/>
                  </a:lnTo>
                  <a:lnTo>
                    <a:pt x="870" y="241"/>
                  </a:lnTo>
                  <a:lnTo>
                    <a:pt x="870" y="240"/>
                  </a:lnTo>
                  <a:lnTo>
                    <a:pt x="869" y="240"/>
                  </a:lnTo>
                  <a:lnTo>
                    <a:pt x="869" y="239"/>
                  </a:lnTo>
                  <a:lnTo>
                    <a:pt x="869" y="238"/>
                  </a:lnTo>
                  <a:lnTo>
                    <a:pt x="868" y="238"/>
                  </a:lnTo>
                  <a:lnTo>
                    <a:pt x="869" y="238"/>
                  </a:lnTo>
                  <a:lnTo>
                    <a:pt x="868" y="238"/>
                  </a:lnTo>
                  <a:lnTo>
                    <a:pt x="868" y="239"/>
                  </a:lnTo>
                  <a:lnTo>
                    <a:pt x="869" y="239"/>
                  </a:lnTo>
                  <a:lnTo>
                    <a:pt x="869" y="240"/>
                  </a:lnTo>
                  <a:lnTo>
                    <a:pt x="869" y="241"/>
                  </a:lnTo>
                  <a:lnTo>
                    <a:pt x="868" y="241"/>
                  </a:lnTo>
                  <a:lnTo>
                    <a:pt x="868" y="242"/>
                  </a:lnTo>
                  <a:lnTo>
                    <a:pt x="867" y="242"/>
                  </a:lnTo>
                  <a:lnTo>
                    <a:pt x="867" y="244"/>
                  </a:lnTo>
                  <a:lnTo>
                    <a:pt x="867" y="242"/>
                  </a:lnTo>
                  <a:lnTo>
                    <a:pt x="868" y="242"/>
                  </a:lnTo>
                  <a:lnTo>
                    <a:pt x="868" y="244"/>
                  </a:lnTo>
                  <a:lnTo>
                    <a:pt x="867" y="244"/>
                  </a:lnTo>
                  <a:lnTo>
                    <a:pt x="868" y="244"/>
                  </a:lnTo>
                  <a:lnTo>
                    <a:pt x="868" y="245"/>
                  </a:lnTo>
                  <a:lnTo>
                    <a:pt x="868" y="246"/>
                  </a:lnTo>
                  <a:lnTo>
                    <a:pt x="867" y="245"/>
                  </a:lnTo>
                  <a:lnTo>
                    <a:pt x="867" y="246"/>
                  </a:lnTo>
                  <a:lnTo>
                    <a:pt x="866" y="245"/>
                  </a:lnTo>
                  <a:lnTo>
                    <a:pt x="866" y="246"/>
                  </a:lnTo>
                  <a:lnTo>
                    <a:pt x="867" y="246"/>
                  </a:lnTo>
                  <a:lnTo>
                    <a:pt x="866" y="246"/>
                  </a:lnTo>
                  <a:lnTo>
                    <a:pt x="866" y="247"/>
                  </a:lnTo>
                  <a:lnTo>
                    <a:pt x="867" y="246"/>
                  </a:lnTo>
                  <a:lnTo>
                    <a:pt x="868" y="247"/>
                  </a:lnTo>
                  <a:lnTo>
                    <a:pt x="867" y="247"/>
                  </a:lnTo>
                  <a:lnTo>
                    <a:pt x="868" y="247"/>
                  </a:lnTo>
                  <a:lnTo>
                    <a:pt x="869" y="247"/>
                  </a:lnTo>
                  <a:lnTo>
                    <a:pt x="868" y="248"/>
                  </a:lnTo>
                  <a:lnTo>
                    <a:pt x="868" y="247"/>
                  </a:lnTo>
                  <a:lnTo>
                    <a:pt x="867" y="248"/>
                  </a:lnTo>
                  <a:lnTo>
                    <a:pt x="868" y="248"/>
                  </a:lnTo>
                  <a:lnTo>
                    <a:pt x="868" y="249"/>
                  </a:lnTo>
                  <a:lnTo>
                    <a:pt x="867" y="249"/>
                  </a:lnTo>
                  <a:lnTo>
                    <a:pt x="868" y="249"/>
                  </a:lnTo>
                  <a:lnTo>
                    <a:pt x="868" y="251"/>
                  </a:lnTo>
                  <a:lnTo>
                    <a:pt x="868" y="249"/>
                  </a:lnTo>
                  <a:lnTo>
                    <a:pt x="869" y="251"/>
                  </a:lnTo>
                  <a:lnTo>
                    <a:pt x="868" y="251"/>
                  </a:lnTo>
                  <a:lnTo>
                    <a:pt x="867" y="251"/>
                  </a:lnTo>
                  <a:lnTo>
                    <a:pt x="866" y="251"/>
                  </a:lnTo>
                  <a:lnTo>
                    <a:pt x="864" y="251"/>
                  </a:lnTo>
                  <a:lnTo>
                    <a:pt x="863" y="249"/>
                  </a:lnTo>
                  <a:lnTo>
                    <a:pt x="863" y="251"/>
                  </a:lnTo>
                  <a:lnTo>
                    <a:pt x="863" y="249"/>
                  </a:lnTo>
                  <a:lnTo>
                    <a:pt x="862" y="249"/>
                  </a:lnTo>
                  <a:lnTo>
                    <a:pt x="862" y="251"/>
                  </a:lnTo>
                  <a:lnTo>
                    <a:pt x="862" y="252"/>
                  </a:lnTo>
                  <a:lnTo>
                    <a:pt x="863" y="252"/>
                  </a:lnTo>
                  <a:lnTo>
                    <a:pt x="863" y="253"/>
                  </a:lnTo>
                  <a:lnTo>
                    <a:pt x="863" y="254"/>
                  </a:lnTo>
                  <a:lnTo>
                    <a:pt x="862" y="254"/>
                  </a:lnTo>
                  <a:lnTo>
                    <a:pt x="861" y="255"/>
                  </a:lnTo>
                  <a:lnTo>
                    <a:pt x="860" y="255"/>
                  </a:lnTo>
                  <a:lnTo>
                    <a:pt x="860" y="254"/>
                  </a:lnTo>
                  <a:lnTo>
                    <a:pt x="860" y="253"/>
                  </a:lnTo>
                  <a:lnTo>
                    <a:pt x="860" y="254"/>
                  </a:lnTo>
                  <a:lnTo>
                    <a:pt x="859" y="254"/>
                  </a:lnTo>
                  <a:lnTo>
                    <a:pt x="859" y="253"/>
                  </a:lnTo>
                  <a:lnTo>
                    <a:pt x="860" y="253"/>
                  </a:lnTo>
                  <a:lnTo>
                    <a:pt x="861" y="252"/>
                  </a:lnTo>
                  <a:lnTo>
                    <a:pt x="860" y="252"/>
                  </a:lnTo>
                  <a:lnTo>
                    <a:pt x="861" y="252"/>
                  </a:lnTo>
                  <a:lnTo>
                    <a:pt x="861" y="251"/>
                  </a:lnTo>
                  <a:lnTo>
                    <a:pt x="860" y="252"/>
                  </a:lnTo>
                  <a:lnTo>
                    <a:pt x="859" y="252"/>
                  </a:lnTo>
                  <a:lnTo>
                    <a:pt x="860" y="252"/>
                  </a:lnTo>
                  <a:lnTo>
                    <a:pt x="859" y="252"/>
                  </a:lnTo>
                  <a:lnTo>
                    <a:pt x="857" y="252"/>
                  </a:lnTo>
                  <a:lnTo>
                    <a:pt x="857" y="251"/>
                  </a:lnTo>
                  <a:lnTo>
                    <a:pt x="856" y="251"/>
                  </a:lnTo>
                  <a:lnTo>
                    <a:pt x="856" y="249"/>
                  </a:lnTo>
                  <a:lnTo>
                    <a:pt x="857" y="249"/>
                  </a:lnTo>
                  <a:lnTo>
                    <a:pt x="857" y="248"/>
                  </a:lnTo>
                  <a:lnTo>
                    <a:pt x="857" y="249"/>
                  </a:lnTo>
                  <a:lnTo>
                    <a:pt x="856" y="249"/>
                  </a:lnTo>
                  <a:lnTo>
                    <a:pt x="855" y="251"/>
                  </a:lnTo>
                  <a:lnTo>
                    <a:pt x="856" y="251"/>
                  </a:lnTo>
                  <a:lnTo>
                    <a:pt x="855" y="251"/>
                  </a:lnTo>
                  <a:lnTo>
                    <a:pt x="854" y="251"/>
                  </a:lnTo>
                  <a:lnTo>
                    <a:pt x="854" y="249"/>
                  </a:lnTo>
                  <a:lnTo>
                    <a:pt x="855" y="249"/>
                  </a:lnTo>
                  <a:lnTo>
                    <a:pt x="856" y="249"/>
                  </a:lnTo>
                  <a:lnTo>
                    <a:pt x="856" y="248"/>
                  </a:lnTo>
                  <a:lnTo>
                    <a:pt x="855" y="248"/>
                  </a:lnTo>
                  <a:lnTo>
                    <a:pt x="855" y="249"/>
                  </a:lnTo>
                  <a:lnTo>
                    <a:pt x="854" y="249"/>
                  </a:lnTo>
                  <a:lnTo>
                    <a:pt x="854" y="248"/>
                  </a:lnTo>
                  <a:lnTo>
                    <a:pt x="853" y="248"/>
                  </a:lnTo>
                  <a:lnTo>
                    <a:pt x="853" y="247"/>
                  </a:lnTo>
                  <a:lnTo>
                    <a:pt x="852" y="247"/>
                  </a:lnTo>
                  <a:lnTo>
                    <a:pt x="853" y="247"/>
                  </a:lnTo>
                  <a:lnTo>
                    <a:pt x="853" y="248"/>
                  </a:lnTo>
                  <a:lnTo>
                    <a:pt x="853" y="249"/>
                  </a:lnTo>
                  <a:lnTo>
                    <a:pt x="852" y="249"/>
                  </a:lnTo>
                  <a:lnTo>
                    <a:pt x="850" y="249"/>
                  </a:lnTo>
                  <a:lnTo>
                    <a:pt x="849" y="249"/>
                  </a:lnTo>
                  <a:lnTo>
                    <a:pt x="849" y="248"/>
                  </a:lnTo>
                  <a:lnTo>
                    <a:pt x="849" y="247"/>
                  </a:lnTo>
                  <a:lnTo>
                    <a:pt x="849" y="246"/>
                  </a:lnTo>
                  <a:lnTo>
                    <a:pt x="849" y="245"/>
                  </a:lnTo>
                  <a:lnTo>
                    <a:pt x="850" y="244"/>
                  </a:lnTo>
                  <a:lnTo>
                    <a:pt x="849" y="244"/>
                  </a:lnTo>
                  <a:lnTo>
                    <a:pt x="849" y="245"/>
                  </a:lnTo>
                  <a:lnTo>
                    <a:pt x="848" y="245"/>
                  </a:lnTo>
                  <a:lnTo>
                    <a:pt x="848" y="246"/>
                  </a:lnTo>
                  <a:lnTo>
                    <a:pt x="849" y="246"/>
                  </a:lnTo>
                  <a:lnTo>
                    <a:pt x="849" y="247"/>
                  </a:lnTo>
                  <a:lnTo>
                    <a:pt x="848" y="247"/>
                  </a:lnTo>
                  <a:lnTo>
                    <a:pt x="849" y="248"/>
                  </a:lnTo>
                  <a:lnTo>
                    <a:pt x="848" y="248"/>
                  </a:lnTo>
                  <a:lnTo>
                    <a:pt x="848" y="247"/>
                  </a:lnTo>
                  <a:lnTo>
                    <a:pt x="848" y="248"/>
                  </a:lnTo>
                  <a:lnTo>
                    <a:pt x="848" y="249"/>
                  </a:lnTo>
                  <a:lnTo>
                    <a:pt x="848" y="248"/>
                  </a:lnTo>
                  <a:lnTo>
                    <a:pt x="847" y="248"/>
                  </a:lnTo>
                  <a:lnTo>
                    <a:pt x="847" y="247"/>
                  </a:lnTo>
                  <a:lnTo>
                    <a:pt x="847" y="246"/>
                  </a:lnTo>
                  <a:lnTo>
                    <a:pt x="848" y="245"/>
                  </a:lnTo>
                  <a:lnTo>
                    <a:pt x="847" y="245"/>
                  </a:lnTo>
                  <a:lnTo>
                    <a:pt x="847" y="246"/>
                  </a:lnTo>
                  <a:lnTo>
                    <a:pt x="847" y="247"/>
                  </a:lnTo>
                  <a:lnTo>
                    <a:pt x="846" y="247"/>
                  </a:lnTo>
                  <a:lnTo>
                    <a:pt x="846" y="246"/>
                  </a:lnTo>
                  <a:lnTo>
                    <a:pt x="845" y="246"/>
                  </a:lnTo>
                  <a:lnTo>
                    <a:pt x="846" y="245"/>
                  </a:lnTo>
                  <a:lnTo>
                    <a:pt x="847" y="244"/>
                  </a:lnTo>
                  <a:lnTo>
                    <a:pt x="846" y="244"/>
                  </a:lnTo>
                  <a:lnTo>
                    <a:pt x="846" y="245"/>
                  </a:lnTo>
                  <a:lnTo>
                    <a:pt x="845" y="245"/>
                  </a:lnTo>
                  <a:lnTo>
                    <a:pt x="843" y="245"/>
                  </a:lnTo>
                  <a:lnTo>
                    <a:pt x="842" y="244"/>
                  </a:lnTo>
                  <a:lnTo>
                    <a:pt x="842" y="242"/>
                  </a:lnTo>
                  <a:lnTo>
                    <a:pt x="842" y="244"/>
                  </a:lnTo>
                  <a:lnTo>
                    <a:pt x="841" y="242"/>
                  </a:lnTo>
                  <a:lnTo>
                    <a:pt x="841" y="241"/>
                  </a:lnTo>
                  <a:lnTo>
                    <a:pt x="841" y="240"/>
                  </a:lnTo>
                  <a:lnTo>
                    <a:pt x="840" y="240"/>
                  </a:lnTo>
                  <a:lnTo>
                    <a:pt x="840" y="239"/>
                  </a:lnTo>
                  <a:lnTo>
                    <a:pt x="839" y="238"/>
                  </a:lnTo>
                  <a:lnTo>
                    <a:pt x="839" y="239"/>
                  </a:lnTo>
                  <a:lnTo>
                    <a:pt x="839" y="240"/>
                  </a:lnTo>
                  <a:lnTo>
                    <a:pt x="840" y="240"/>
                  </a:lnTo>
                  <a:lnTo>
                    <a:pt x="839" y="241"/>
                  </a:lnTo>
                  <a:lnTo>
                    <a:pt x="839" y="242"/>
                  </a:lnTo>
                  <a:lnTo>
                    <a:pt x="839" y="244"/>
                  </a:lnTo>
                  <a:lnTo>
                    <a:pt x="838" y="244"/>
                  </a:lnTo>
                  <a:lnTo>
                    <a:pt x="838" y="242"/>
                  </a:lnTo>
                  <a:lnTo>
                    <a:pt x="836" y="242"/>
                  </a:lnTo>
                  <a:lnTo>
                    <a:pt x="836" y="241"/>
                  </a:lnTo>
                  <a:lnTo>
                    <a:pt x="835" y="241"/>
                  </a:lnTo>
                  <a:lnTo>
                    <a:pt x="835" y="240"/>
                  </a:lnTo>
                  <a:lnTo>
                    <a:pt x="835" y="241"/>
                  </a:lnTo>
                  <a:lnTo>
                    <a:pt x="835" y="240"/>
                  </a:lnTo>
                  <a:lnTo>
                    <a:pt x="834" y="240"/>
                  </a:lnTo>
                  <a:lnTo>
                    <a:pt x="835" y="240"/>
                  </a:lnTo>
                  <a:lnTo>
                    <a:pt x="835" y="239"/>
                  </a:lnTo>
                  <a:lnTo>
                    <a:pt x="834" y="239"/>
                  </a:lnTo>
                  <a:lnTo>
                    <a:pt x="834" y="240"/>
                  </a:lnTo>
                  <a:lnTo>
                    <a:pt x="833" y="240"/>
                  </a:lnTo>
                  <a:lnTo>
                    <a:pt x="833" y="239"/>
                  </a:lnTo>
                  <a:lnTo>
                    <a:pt x="832" y="239"/>
                  </a:lnTo>
                  <a:lnTo>
                    <a:pt x="831" y="238"/>
                  </a:lnTo>
                  <a:lnTo>
                    <a:pt x="831" y="239"/>
                  </a:lnTo>
                  <a:lnTo>
                    <a:pt x="829" y="239"/>
                  </a:lnTo>
                  <a:lnTo>
                    <a:pt x="828" y="239"/>
                  </a:lnTo>
                  <a:lnTo>
                    <a:pt x="827" y="239"/>
                  </a:lnTo>
                  <a:lnTo>
                    <a:pt x="828" y="239"/>
                  </a:lnTo>
                  <a:lnTo>
                    <a:pt x="828" y="240"/>
                  </a:lnTo>
                  <a:lnTo>
                    <a:pt x="828" y="241"/>
                  </a:lnTo>
                  <a:lnTo>
                    <a:pt x="829" y="242"/>
                  </a:lnTo>
                  <a:lnTo>
                    <a:pt x="831" y="242"/>
                  </a:lnTo>
                  <a:lnTo>
                    <a:pt x="831" y="244"/>
                  </a:lnTo>
                  <a:lnTo>
                    <a:pt x="832" y="244"/>
                  </a:lnTo>
                  <a:lnTo>
                    <a:pt x="832" y="245"/>
                  </a:lnTo>
                  <a:lnTo>
                    <a:pt x="832" y="246"/>
                  </a:lnTo>
                  <a:lnTo>
                    <a:pt x="832" y="247"/>
                  </a:lnTo>
                  <a:lnTo>
                    <a:pt x="833" y="247"/>
                  </a:lnTo>
                  <a:lnTo>
                    <a:pt x="834" y="247"/>
                  </a:lnTo>
                  <a:lnTo>
                    <a:pt x="833" y="248"/>
                  </a:lnTo>
                  <a:lnTo>
                    <a:pt x="834" y="248"/>
                  </a:lnTo>
                  <a:lnTo>
                    <a:pt x="834" y="247"/>
                  </a:lnTo>
                  <a:lnTo>
                    <a:pt x="835" y="247"/>
                  </a:lnTo>
                  <a:lnTo>
                    <a:pt x="835" y="248"/>
                  </a:lnTo>
                  <a:lnTo>
                    <a:pt x="836" y="248"/>
                  </a:lnTo>
                  <a:lnTo>
                    <a:pt x="836" y="247"/>
                  </a:lnTo>
                  <a:lnTo>
                    <a:pt x="838" y="247"/>
                  </a:lnTo>
                  <a:lnTo>
                    <a:pt x="838" y="248"/>
                  </a:lnTo>
                  <a:lnTo>
                    <a:pt x="836" y="248"/>
                  </a:lnTo>
                  <a:lnTo>
                    <a:pt x="835" y="248"/>
                  </a:lnTo>
                  <a:lnTo>
                    <a:pt x="835" y="249"/>
                  </a:lnTo>
                  <a:lnTo>
                    <a:pt x="836" y="248"/>
                  </a:lnTo>
                  <a:lnTo>
                    <a:pt x="838" y="248"/>
                  </a:lnTo>
                  <a:lnTo>
                    <a:pt x="838" y="249"/>
                  </a:lnTo>
                  <a:lnTo>
                    <a:pt x="836" y="249"/>
                  </a:lnTo>
                  <a:lnTo>
                    <a:pt x="835" y="249"/>
                  </a:lnTo>
                  <a:lnTo>
                    <a:pt x="835" y="251"/>
                  </a:lnTo>
                  <a:lnTo>
                    <a:pt x="836" y="251"/>
                  </a:lnTo>
                  <a:lnTo>
                    <a:pt x="836" y="249"/>
                  </a:lnTo>
                  <a:lnTo>
                    <a:pt x="838" y="249"/>
                  </a:lnTo>
                  <a:lnTo>
                    <a:pt x="839" y="249"/>
                  </a:lnTo>
                  <a:lnTo>
                    <a:pt x="839" y="251"/>
                  </a:lnTo>
                  <a:lnTo>
                    <a:pt x="839" y="249"/>
                  </a:lnTo>
                  <a:lnTo>
                    <a:pt x="840" y="251"/>
                  </a:lnTo>
                  <a:lnTo>
                    <a:pt x="839" y="251"/>
                  </a:lnTo>
                  <a:lnTo>
                    <a:pt x="839" y="252"/>
                  </a:lnTo>
                  <a:lnTo>
                    <a:pt x="839" y="251"/>
                  </a:lnTo>
                  <a:lnTo>
                    <a:pt x="840" y="251"/>
                  </a:lnTo>
                  <a:lnTo>
                    <a:pt x="839" y="251"/>
                  </a:lnTo>
                  <a:lnTo>
                    <a:pt x="840" y="251"/>
                  </a:lnTo>
                  <a:lnTo>
                    <a:pt x="840" y="252"/>
                  </a:lnTo>
                  <a:lnTo>
                    <a:pt x="841" y="252"/>
                  </a:lnTo>
                  <a:lnTo>
                    <a:pt x="840" y="253"/>
                  </a:lnTo>
                  <a:lnTo>
                    <a:pt x="841" y="253"/>
                  </a:lnTo>
                  <a:lnTo>
                    <a:pt x="841" y="252"/>
                  </a:lnTo>
                  <a:lnTo>
                    <a:pt x="841" y="253"/>
                  </a:lnTo>
                  <a:lnTo>
                    <a:pt x="842" y="253"/>
                  </a:lnTo>
                  <a:lnTo>
                    <a:pt x="841" y="254"/>
                  </a:lnTo>
                  <a:lnTo>
                    <a:pt x="843" y="254"/>
                  </a:lnTo>
                  <a:lnTo>
                    <a:pt x="845" y="254"/>
                  </a:lnTo>
                  <a:lnTo>
                    <a:pt x="843" y="254"/>
                  </a:lnTo>
                  <a:lnTo>
                    <a:pt x="845" y="254"/>
                  </a:lnTo>
                  <a:lnTo>
                    <a:pt x="843" y="254"/>
                  </a:lnTo>
                  <a:lnTo>
                    <a:pt x="845" y="254"/>
                  </a:lnTo>
                  <a:lnTo>
                    <a:pt x="845" y="255"/>
                  </a:lnTo>
                  <a:lnTo>
                    <a:pt x="845" y="256"/>
                  </a:lnTo>
                  <a:lnTo>
                    <a:pt x="846" y="256"/>
                  </a:lnTo>
                  <a:lnTo>
                    <a:pt x="845" y="256"/>
                  </a:lnTo>
                  <a:lnTo>
                    <a:pt x="845" y="258"/>
                  </a:lnTo>
                  <a:lnTo>
                    <a:pt x="846" y="258"/>
                  </a:lnTo>
                  <a:lnTo>
                    <a:pt x="846" y="256"/>
                  </a:lnTo>
                  <a:lnTo>
                    <a:pt x="847" y="256"/>
                  </a:lnTo>
                  <a:lnTo>
                    <a:pt x="846" y="258"/>
                  </a:lnTo>
                  <a:lnTo>
                    <a:pt x="846" y="259"/>
                  </a:lnTo>
                  <a:lnTo>
                    <a:pt x="845" y="259"/>
                  </a:lnTo>
                  <a:lnTo>
                    <a:pt x="846" y="260"/>
                  </a:lnTo>
                  <a:lnTo>
                    <a:pt x="846" y="259"/>
                  </a:lnTo>
                  <a:lnTo>
                    <a:pt x="847" y="259"/>
                  </a:lnTo>
                  <a:lnTo>
                    <a:pt x="848" y="259"/>
                  </a:lnTo>
                  <a:lnTo>
                    <a:pt x="847" y="259"/>
                  </a:lnTo>
                  <a:lnTo>
                    <a:pt x="847" y="260"/>
                  </a:lnTo>
                  <a:lnTo>
                    <a:pt x="846" y="260"/>
                  </a:lnTo>
                  <a:lnTo>
                    <a:pt x="847" y="260"/>
                  </a:lnTo>
                  <a:lnTo>
                    <a:pt x="848" y="260"/>
                  </a:lnTo>
                  <a:lnTo>
                    <a:pt x="849" y="260"/>
                  </a:lnTo>
                  <a:lnTo>
                    <a:pt x="849" y="261"/>
                  </a:lnTo>
                  <a:lnTo>
                    <a:pt x="848" y="261"/>
                  </a:lnTo>
                  <a:lnTo>
                    <a:pt x="847" y="261"/>
                  </a:lnTo>
                  <a:lnTo>
                    <a:pt x="847" y="262"/>
                  </a:lnTo>
                  <a:lnTo>
                    <a:pt x="846" y="262"/>
                  </a:lnTo>
                  <a:lnTo>
                    <a:pt x="846" y="261"/>
                  </a:lnTo>
                  <a:lnTo>
                    <a:pt x="846" y="262"/>
                  </a:lnTo>
                  <a:lnTo>
                    <a:pt x="846" y="261"/>
                  </a:lnTo>
                  <a:lnTo>
                    <a:pt x="846" y="262"/>
                  </a:lnTo>
                  <a:lnTo>
                    <a:pt x="846" y="263"/>
                  </a:lnTo>
                  <a:lnTo>
                    <a:pt x="847" y="263"/>
                  </a:lnTo>
                  <a:lnTo>
                    <a:pt x="846" y="263"/>
                  </a:lnTo>
                  <a:lnTo>
                    <a:pt x="847" y="263"/>
                  </a:lnTo>
                  <a:lnTo>
                    <a:pt x="847" y="265"/>
                  </a:lnTo>
                  <a:lnTo>
                    <a:pt x="846" y="265"/>
                  </a:lnTo>
                  <a:lnTo>
                    <a:pt x="845" y="265"/>
                  </a:lnTo>
                  <a:lnTo>
                    <a:pt x="843" y="266"/>
                  </a:lnTo>
                  <a:lnTo>
                    <a:pt x="842" y="265"/>
                  </a:lnTo>
                  <a:lnTo>
                    <a:pt x="841" y="265"/>
                  </a:lnTo>
                  <a:lnTo>
                    <a:pt x="840" y="265"/>
                  </a:lnTo>
                  <a:lnTo>
                    <a:pt x="840" y="263"/>
                  </a:lnTo>
                  <a:lnTo>
                    <a:pt x="839" y="263"/>
                  </a:lnTo>
                  <a:lnTo>
                    <a:pt x="838" y="263"/>
                  </a:lnTo>
                  <a:lnTo>
                    <a:pt x="838" y="262"/>
                  </a:lnTo>
                  <a:lnTo>
                    <a:pt x="838" y="263"/>
                  </a:lnTo>
                  <a:lnTo>
                    <a:pt x="836" y="263"/>
                  </a:lnTo>
                  <a:lnTo>
                    <a:pt x="836" y="262"/>
                  </a:lnTo>
                  <a:lnTo>
                    <a:pt x="835" y="262"/>
                  </a:lnTo>
                  <a:lnTo>
                    <a:pt x="835" y="263"/>
                  </a:lnTo>
                  <a:lnTo>
                    <a:pt x="835" y="262"/>
                  </a:lnTo>
                  <a:lnTo>
                    <a:pt x="834" y="262"/>
                  </a:lnTo>
                  <a:lnTo>
                    <a:pt x="833" y="262"/>
                  </a:lnTo>
                  <a:lnTo>
                    <a:pt x="833" y="261"/>
                  </a:lnTo>
                  <a:lnTo>
                    <a:pt x="834" y="261"/>
                  </a:lnTo>
                  <a:lnTo>
                    <a:pt x="833" y="261"/>
                  </a:lnTo>
                  <a:lnTo>
                    <a:pt x="832" y="261"/>
                  </a:lnTo>
                  <a:lnTo>
                    <a:pt x="831" y="261"/>
                  </a:lnTo>
                  <a:lnTo>
                    <a:pt x="829" y="261"/>
                  </a:lnTo>
                  <a:lnTo>
                    <a:pt x="828" y="261"/>
                  </a:lnTo>
                  <a:lnTo>
                    <a:pt x="828" y="260"/>
                  </a:lnTo>
                  <a:lnTo>
                    <a:pt x="828" y="261"/>
                  </a:lnTo>
                  <a:lnTo>
                    <a:pt x="827" y="260"/>
                  </a:lnTo>
                  <a:lnTo>
                    <a:pt x="826" y="260"/>
                  </a:lnTo>
                  <a:lnTo>
                    <a:pt x="821" y="260"/>
                  </a:lnTo>
                  <a:lnTo>
                    <a:pt x="820" y="260"/>
                  </a:lnTo>
                  <a:lnTo>
                    <a:pt x="820" y="259"/>
                  </a:lnTo>
                  <a:lnTo>
                    <a:pt x="819" y="259"/>
                  </a:lnTo>
                  <a:lnTo>
                    <a:pt x="819" y="258"/>
                  </a:lnTo>
                  <a:lnTo>
                    <a:pt x="818" y="258"/>
                  </a:lnTo>
                  <a:lnTo>
                    <a:pt x="817" y="258"/>
                  </a:lnTo>
                  <a:lnTo>
                    <a:pt x="816" y="256"/>
                  </a:lnTo>
                  <a:lnTo>
                    <a:pt x="814" y="256"/>
                  </a:lnTo>
                  <a:lnTo>
                    <a:pt x="816" y="255"/>
                  </a:lnTo>
                  <a:lnTo>
                    <a:pt x="816" y="254"/>
                  </a:lnTo>
                  <a:lnTo>
                    <a:pt x="816" y="255"/>
                  </a:lnTo>
                  <a:lnTo>
                    <a:pt x="814" y="255"/>
                  </a:lnTo>
                  <a:lnTo>
                    <a:pt x="814" y="254"/>
                  </a:lnTo>
                  <a:lnTo>
                    <a:pt x="814" y="255"/>
                  </a:lnTo>
                  <a:lnTo>
                    <a:pt x="813" y="255"/>
                  </a:lnTo>
                  <a:lnTo>
                    <a:pt x="813" y="254"/>
                  </a:lnTo>
                  <a:lnTo>
                    <a:pt x="814" y="254"/>
                  </a:lnTo>
                  <a:lnTo>
                    <a:pt x="814" y="253"/>
                  </a:lnTo>
                  <a:lnTo>
                    <a:pt x="816" y="253"/>
                  </a:lnTo>
                  <a:lnTo>
                    <a:pt x="814" y="253"/>
                  </a:lnTo>
                  <a:lnTo>
                    <a:pt x="813" y="253"/>
                  </a:lnTo>
                  <a:lnTo>
                    <a:pt x="814" y="253"/>
                  </a:lnTo>
                  <a:lnTo>
                    <a:pt x="816" y="253"/>
                  </a:lnTo>
                  <a:lnTo>
                    <a:pt x="814" y="253"/>
                  </a:lnTo>
                  <a:lnTo>
                    <a:pt x="814" y="252"/>
                  </a:lnTo>
                  <a:lnTo>
                    <a:pt x="814" y="253"/>
                  </a:lnTo>
                  <a:lnTo>
                    <a:pt x="813" y="252"/>
                  </a:lnTo>
                  <a:lnTo>
                    <a:pt x="813" y="253"/>
                  </a:lnTo>
                  <a:lnTo>
                    <a:pt x="812" y="253"/>
                  </a:lnTo>
                  <a:lnTo>
                    <a:pt x="813" y="252"/>
                  </a:lnTo>
                  <a:lnTo>
                    <a:pt x="812" y="252"/>
                  </a:lnTo>
                  <a:lnTo>
                    <a:pt x="811" y="252"/>
                  </a:lnTo>
                  <a:lnTo>
                    <a:pt x="812" y="252"/>
                  </a:lnTo>
                  <a:lnTo>
                    <a:pt x="812" y="253"/>
                  </a:lnTo>
                  <a:lnTo>
                    <a:pt x="811" y="253"/>
                  </a:lnTo>
                  <a:lnTo>
                    <a:pt x="810" y="252"/>
                  </a:lnTo>
                  <a:lnTo>
                    <a:pt x="810" y="253"/>
                  </a:lnTo>
                  <a:lnTo>
                    <a:pt x="809" y="253"/>
                  </a:lnTo>
                  <a:lnTo>
                    <a:pt x="807" y="253"/>
                  </a:lnTo>
                  <a:lnTo>
                    <a:pt x="806" y="253"/>
                  </a:lnTo>
                  <a:lnTo>
                    <a:pt x="806" y="252"/>
                  </a:lnTo>
                  <a:lnTo>
                    <a:pt x="805" y="252"/>
                  </a:lnTo>
                  <a:lnTo>
                    <a:pt x="805" y="251"/>
                  </a:lnTo>
                  <a:lnTo>
                    <a:pt x="804" y="251"/>
                  </a:lnTo>
                  <a:lnTo>
                    <a:pt x="803" y="251"/>
                  </a:lnTo>
                  <a:lnTo>
                    <a:pt x="802" y="251"/>
                  </a:lnTo>
                  <a:lnTo>
                    <a:pt x="800" y="251"/>
                  </a:lnTo>
                  <a:lnTo>
                    <a:pt x="802" y="251"/>
                  </a:lnTo>
                  <a:lnTo>
                    <a:pt x="803" y="251"/>
                  </a:lnTo>
                  <a:lnTo>
                    <a:pt x="802" y="251"/>
                  </a:lnTo>
                  <a:lnTo>
                    <a:pt x="802" y="249"/>
                  </a:lnTo>
                  <a:lnTo>
                    <a:pt x="800" y="249"/>
                  </a:lnTo>
                  <a:lnTo>
                    <a:pt x="799" y="249"/>
                  </a:lnTo>
                  <a:lnTo>
                    <a:pt x="800" y="249"/>
                  </a:lnTo>
                  <a:lnTo>
                    <a:pt x="802" y="248"/>
                  </a:lnTo>
                  <a:lnTo>
                    <a:pt x="800" y="248"/>
                  </a:lnTo>
                  <a:lnTo>
                    <a:pt x="800" y="249"/>
                  </a:lnTo>
                  <a:lnTo>
                    <a:pt x="799" y="249"/>
                  </a:lnTo>
                  <a:lnTo>
                    <a:pt x="798" y="249"/>
                  </a:lnTo>
                  <a:lnTo>
                    <a:pt x="799" y="249"/>
                  </a:lnTo>
                  <a:lnTo>
                    <a:pt x="799" y="248"/>
                  </a:lnTo>
                  <a:lnTo>
                    <a:pt x="800" y="248"/>
                  </a:lnTo>
                  <a:lnTo>
                    <a:pt x="802" y="248"/>
                  </a:lnTo>
                  <a:lnTo>
                    <a:pt x="802" y="247"/>
                  </a:lnTo>
                  <a:lnTo>
                    <a:pt x="803" y="247"/>
                  </a:lnTo>
                  <a:lnTo>
                    <a:pt x="802" y="247"/>
                  </a:lnTo>
                  <a:lnTo>
                    <a:pt x="803" y="247"/>
                  </a:lnTo>
                  <a:lnTo>
                    <a:pt x="802" y="247"/>
                  </a:lnTo>
                  <a:lnTo>
                    <a:pt x="800" y="248"/>
                  </a:lnTo>
                  <a:lnTo>
                    <a:pt x="799" y="248"/>
                  </a:lnTo>
                  <a:lnTo>
                    <a:pt x="799" y="247"/>
                  </a:lnTo>
                  <a:lnTo>
                    <a:pt x="799" y="248"/>
                  </a:lnTo>
                  <a:lnTo>
                    <a:pt x="798" y="248"/>
                  </a:lnTo>
                  <a:lnTo>
                    <a:pt x="798" y="249"/>
                  </a:lnTo>
                  <a:lnTo>
                    <a:pt x="797" y="249"/>
                  </a:lnTo>
                  <a:lnTo>
                    <a:pt x="797" y="248"/>
                  </a:lnTo>
                  <a:lnTo>
                    <a:pt x="798" y="248"/>
                  </a:lnTo>
                  <a:lnTo>
                    <a:pt x="797" y="248"/>
                  </a:lnTo>
                  <a:lnTo>
                    <a:pt x="796" y="248"/>
                  </a:lnTo>
                  <a:lnTo>
                    <a:pt x="797" y="248"/>
                  </a:lnTo>
                  <a:lnTo>
                    <a:pt x="797" y="247"/>
                  </a:lnTo>
                  <a:lnTo>
                    <a:pt x="796" y="247"/>
                  </a:lnTo>
                  <a:lnTo>
                    <a:pt x="795" y="247"/>
                  </a:lnTo>
                  <a:lnTo>
                    <a:pt x="793" y="247"/>
                  </a:lnTo>
                  <a:lnTo>
                    <a:pt x="795" y="246"/>
                  </a:lnTo>
                  <a:lnTo>
                    <a:pt x="793" y="246"/>
                  </a:lnTo>
                  <a:lnTo>
                    <a:pt x="795" y="246"/>
                  </a:lnTo>
                  <a:lnTo>
                    <a:pt x="796" y="246"/>
                  </a:lnTo>
                  <a:lnTo>
                    <a:pt x="795" y="245"/>
                  </a:lnTo>
                  <a:lnTo>
                    <a:pt x="793" y="246"/>
                  </a:lnTo>
                  <a:lnTo>
                    <a:pt x="793" y="245"/>
                  </a:lnTo>
                  <a:lnTo>
                    <a:pt x="795" y="245"/>
                  </a:lnTo>
                  <a:lnTo>
                    <a:pt x="795" y="244"/>
                  </a:lnTo>
                  <a:lnTo>
                    <a:pt x="795" y="245"/>
                  </a:lnTo>
                  <a:lnTo>
                    <a:pt x="795" y="244"/>
                  </a:lnTo>
                  <a:lnTo>
                    <a:pt x="793" y="244"/>
                  </a:lnTo>
                  <a:lnTo>
                    <a:pt x="793" y="242"/>
                  </a:lnTo>
                  <a:lnTo>
                    <a:pt x="792" y="244"/>
                  </a:lnTo>
                  <a:lnTo>
                    <a:pt x="791" y="242"/>
                  </a:lnTo>
                  <a:lnTo>
                    <a:pt x="792" y="242"/>
                  </a:lnTo>
                  <a:lnTo>
                    <a:pt x="793" y="242"/>
                  </a:lnTo>
                  <a:lnTo>
                    <a:pt x="795" y="242"/>
                  </a:lnTo>
                  <a:lnTo>
                    <a:pt x="796" y="244"/>
                  </a:lnTo>
                  <a:lnTo>
                    <a:pt x="797" y="244"/>
                  </a:lnTo>
                  <a:lnTo>
                    <a:pt x="797" y="242"/>
                  </a:lnTo>
                  <a:lnTo>
                    <a:pt x="798" y="242"/>
                  </a:lnTo>
                  <a:lnTo>
                    <a:pt x="799" y="242"/>
                  </a:lnTo>
                  <a:lnTo>
                    <a:pt x="800" y="241"/>
                  </a:lnTo>
                  <a:lnTo>
                    <a:pt x="802" y="241"/>
                  </a:lnTo>
                  <a:lnTo>
                    <a:pt x="802" y="240"/>
                  </a:lnTo>
                  <a:lnTo>
                    <a:pt x="803" y="240"/>
                  </a:lnTo>
                  <a:lnTo>
                    <a:pt x="802" y="240"/>
                  </a:lnTo>
                  <a:lnTo>
                    <a:pt x="802" y="241"/>
                  </a:lnTo>
                  <a:lnTo>
                    <a:pt x="800" y="241"/>
                  </a:lnTo>
                  <a:lnTo>
                    <a:pt x="800" y="240"/>
                  </a:lnTo>
                  <a:lnTo>
                    <a:pt x="802" y="240"/>
                  </a:lnTo>
                  <a:lnTo>
                    <a:pt x="800" y="240"/>
                  </a:lnTo>
                  <a:lnTo>
                    <a:pt x="800" y="241"/>
                  </a:lnTo>
                  <a:lnTo>
                    <a:pt x="799" y="241"/>
                  </a:lnTo>
                  <a:lnTo>
                    <a:pt x="798" y="241"/>
                  </a:lnTo>
                  <a:lnTo>
                    <a:pt x="799" y="240"/>
                  </a:lnTo>
                  <a:lnTo>
                    <a:pt x="800" y="240"/>
                  </a:lnTo>
                  <a:lnTo>
                    <a:pt x="799" y="240"/>
                  </a:lnTo>
                  <a:lnTo>
                    <a:pt x="799" y="239"/>
                  </a:lnTo>
                  <a:lnTo>
                    <a:pt x="800" y="239"/>
                  </a:lnTo>
                  <a:lnTo>
                    <a:pt x="799" y="239"/>
                  </a:lnTo>
                  <a:lnTo>
                    <a:pt x="798" y="239"/>
                  </a:lnTo>
                  <a:lnTo>
                    <a:pt x="799" y="240"/>
                  </a:lnTo>
                  <a:lnTo>
                    <a:pt x="798" y="240"/>
                  </a:lnTo>
                  <a:lnTo>
                    <a:pt x="798" y="239"/>
                  </a:lnTo>
                  <a:lnTo>
                    <a:pt x="799" y="239"/>
                  </a:lnTo>
                  <a:lnTo>
                    <a:pt x="798" y="239"/>
                  </a:lnTo>
                  <a:lnTo>
                    <a:pt x="797" y="239"/>
                  </a:lnTo>
                  <a:lnTo>
                    <a:pt x="798" y="239"/>
                  </a:lnTo>
                  <a:lnTo>
                    <a:pt x="797" y="238"/>
                  </a:lnTo>
                  <a:lnTo>
                    <a:pt x="796" y="238"/>
                  </a:lnTo>
                  <a:lnTo>
                    <a:pt x="796" y="239"/>
                  </a:lnTo>
                  <a:lnTo>
                    <a:pt x="796" y="238"/>
                  </a:lnTo>
                  <a:lnTo>
                    <a:pt x="796" y="239"/>
                  </a:lnTo>
                  <a:lnTo>
                    <a:pt x="797" y="239"/>
                  </a:lnTo>
                  <a:lnTo>
                    <a:pt x="797" y="238"/>
                  </a:lnTo>
                  <a:lnTo>
                    <a:pt x="797" y="239"/>
                  </a:lnTo>
                  <a:lnTo>
                    <a:pt x="796" y="239"/>
                  </a:lnTo>
                  <a:lnTo>
                    <a:pt x="796" y="240"/>
                  </a:lnTo>
                  <a:lnTo>
                    <a:pt x="795" y="240"/>
                  </a:lnTo>
                  <a:lnTo>
                    <a:pt x="796" y="240"/>
                  </a:lnTo>
                  <a:lnTo>
                    <a:pt x="796" y="239"/>
                  </a:lnTo>
                  <a:lnTo>
                    <a:pt x="795" y="240"/>
                  </a:lnTo>
                  <a:lnTo>
                    <a:pt x="795" y="239"/>
                  </a:lnTo>
                  <a:lnTo>
                    <a:pt x="793" y="239"/>
                  </a:lnTo>
                  <a:lnTo>
                    <a:pt x="793" y="238"/>
                  </a:lnTo>
                  <a:lnTo>
                    <a:pt x="793" y="239"/>
                  </a:lnTo>
                  <a:lnTo>
                    <a:pt x="792" y="239"/>
                  </a:lnTo>
                  <a:lnTo>
                    <a:pt x="792" y="240"/>
                  </a:lnTo>
                  <a:lnTo>
                    <a:pt x="791" y="240"/>
                  </a:lnTo>
                  <a:lnTo>
                    <a:pt x="791" y="239"/>
                  </a:lnTo>
                  <a:lnTo>
                    <a:pt x="792" y="239"/>
                  </a:lnTo>
                  <a:lnTo>
                    <a:pt x="791" y="239"/>
                  </a:lnTo>
                  <a:lnTo>
                    <a:pt x="792" y="238"/>
                  </a:lnTo>
                  <a:lnTo>
                    <a:pt x="793" y="238"/>
                  </a:lnTo>
                  <a:lnTo>
                    <a:pt x="793" y="237"/>
                  </a:lnTo>
                  <a:lnTo>
                    <a:pt x="795" y="237"/>
                  </a:lnTo>
                  <a:lnTo>
                    <a:pt x="796" y="237"/>
                  </a:lnTo>
                  <a:lnTo>
                    <a:pt x="795" y="237"/>
                  </a:lnTo>
                  <a:lnTo>
                    <a:pt x="795" y="235"/>
                  </a:lnTo>
                  <a:lnTo>
                    <a:pt x="793" y="235"/>
                  </a:lnTo>
                  <a:lnTo>
                    <a:pt x="793" y="237"/>
                  </a:lnTo>
                  <a:lnTo>
                    <a:pt x="792" y="237"/>
                  </a:lnTo>
                  <a:lnTo>
                    <a:pt x="791" y="238"/>
                  </a:lnTo>
                  <a:lnTo>
                    <a:pt x="792" y="238"/>
                  </a:lnTo>
                  <a:lnTo>
                    <a:pt x="791" y="238"/>
                  </a:lnTo>
                  <a:lnTo>
                    <a:pt x="790" y="238"/>
                  </a:lnTo>
                  <a:lnTo>
                    <a:pt x="791" y="238"/>
                  </a:lnTo>
                  <a:lnTo>
                    <a:pt x="790" y="237"/>
                  </a:lnTo>
                  <a:lnTo>
                    <a:pt x="789" y="237"/>
                  </a:lnTo>
                  <a:lnTo>
                    <a:pt x="790" y="237"/>
                  </a:lnTo>
                  <a:lnTo>
                    <a:pt x="790" y="235"/>
                  </a:lnTo>
                  <a:lnTo>
                    <a:pt x="791" y="235"/>
                  </a:lnTo>
                  <a:lnTo>
                    <a:pt x="791" y="234"/>
                  </a:lnTo>
                  <a:lnTo>
                    <a:pt x="790" y="234"/>
                  </a:lnTo>
                  <a:lnTo>
                    <a:pt x="791" y="234"/>
                  </a:lnTo>
                  <a:lnTo>
                    <a:pt x="790" y="234"/>
                  </a:lnTo>
                  <a:lnTo>
                    <a:pt x="790" y="235"/>
                  </a:lnTo>
                  <a:lnTo>
                    <a:pt x="789" y="235"/>
                  </a:lnTo>
                  <a:lnTo>
                    <a:pt x="789" y="234"/>
                  </a:lnTo>
                  <a:lnTo>
                    <a:pt x="788" y="234"/>
                  </a:lnTo>
                  <a:lnTo>
                    <a:pt x="789" y="234"/>
                  </a:lnTo>
                  <a:lnTo>
                    <a:pt x="788" y="234"/>
                  </a:lnTo>
                  <a:lnTo>
                    <a:pt x="789" y="234"/>
                  </a:lnTo>
                  <a:lnTo>
                    <a:pt x="789" y="233"/>
                  </a:lnTo>
                  <a:lnTo>
                    <a:pt x="789" y="232"/>
                  </a:lnTo>
                  <a:lnTo>
                    <a:pt x="788" y="232"/>
                  </a:lnTo>
                  <a:lnTo>
                    <a:pt x="788" y="231"/>
                  </a:lnTo>
                  <a:lnTo>
                    <a:pt x="786" y="231"/>
                  </a:lnTo>
                  <a:lnTo>
                    <a:pt x="785" y="231"/>
                  </a:lnTo>
                  <a:lnTo>
                    <a:pt x="786" y="231"/>
                  </a:lnTo>
                  <a:lnTo>
                    <a:pt x="785" y="231"/>
                  </a:lnTo>
                  <a:lnTo>
                    <a:pt x="785" y="232"/>
                  </a:lnTo>
                  <a:lnTo>
                    <a:pt x="785" y="231"/>
                  </a:lnTo>
                  <a:lnTo>
                    <a:pt x="785" y="230"/>
                  </a:lnTo>
                  <a:lnTo>
                    <a:pt x="786" y="230"/>
                  </a:lnTo>
                  <a:lnTo>
                    <a:pt x="785" y="230"/>
                  </a:lnTo>
                  <a:lnTo>
                    <a:pt x="785" y="228"/>
                  </a:lnTo>
                  <a:lnTo>
                    <a:pt x="786" y="228"/>
                  </a:lnTo>
                  <a:lnTo>
                    <a:pt x="788" y="228"/>
                  </a:lnTo>
                  <a:lnTo>
                    <a:pt x="786" y="228"/>
                  </a:lnTo>
                  <a:lnTo>
                    <a:pt x="788" y="227"/>
                  </a:lnTo>
                  <a:lnTo>
                    <a:pt x="789" y="227"/>
                  </a:lnTo>
                  <a:lnTo>
                    <a:pt x="790" y="227"/>
                  </a:lnTo>
                  <a:lnTo>
                    <a:pt x="790" y="226"/>
                  </a:lnTo>
                  <a:lnTo>
                    <a:pt x="789" y="226"/>
                  </a:lnTo>
                  <a:lnTo>
                    <a:pt x="789" y="227"/>
                  </a:lnTo>
                  <a:lnTo>
                    <a:pt x="789" y="226"/>
                  </a:lnTo>
                  <a:lnTo>
                    <a:pt x="788" y="226"/>
                  </a:lnTo>
                  <a:lnTo>
                    <a:pt x="788" y="227"/>
                  </a:lnTo>
                  <a:lnTo>
                    <a:pt x="786" y="227"/>
                  </a:lnTo>
                  <a:lnTo>
                    <a:pt x="785" y="228"/>
                  </a:lnTo>
                  <a:lnTo>
                    <a:pt x="785" y="227"/>
                  </a:lnTo>
                  <a:lnTo>
                    <a:pt x="786" y="227"/>
                  </a:lnTo>
                  <a:lnTo>
                    <a:pt x="786" y="226"/>
                  </a:lnTo>
                  <a:lnTo>
                    <a:pt x="785" y="226"/>
                  </a:lnTo>
                  <a:lnTo>
                    <a:pt x="785" y="227"/>
                  </a:lnTo>
                  <a:lnTo>
                    <a:pt x="785" y="226"/>
                  </a:lnTo>
                  <a:lnTo>
                    <a:pt x="784" y="226"/>
                  </a:lnTo>
                  <a:lnTo>
                    <a:pt x="784" y="227"/>
                  </a:lnTo>
                  <a:lnTo>
                    <a:pt x="783" y="227"/>
                  </a:lnTo>
                  <a:lnTo>
                    <a:pt x="782" y="227"/>
                  </a:lnTo>
                  <a:lnTo>
                    <a:pt x="782" y="226"/>
                  </a:lnTo>
                  <a:lnTo>
                    <a:pt x="782" y="227"/>
                  </a:lnTo>
                  <a:lnTo>
                    <a:pt x="782" y="228"/>
                  </a:lnTo>
                  <a:lnTo>
                    <a:pt x="781" y="228"/>
                  </a:lnTo>
                  <a:lnTo>
                    <a:pt x="779" y="228"/>
                  </a:lnTo>
                  <a:lnTo>
                    <a:pt x="779" y="230"/>
                  </a:lnTo>
                  <a:lnTo>
                    <a:pt x="778" y="231"/>
                  </a:lnTo>
                  <a:lnTo>
                    <a:pt x="777" y="231"/>
                  </a:lnTo>
                  <a:lnTo>
                    <a:pt x="777" y="230"/>
                  </a:lnTo>
                  <a:lnTo>
                    <a:pt x="778" y="230"/>
                  </a:lnTo>
                  <a:lnTo>
                    <a:pt x="778" y="228"/>
                  </a:lnTo>
                  <a:lnTo>
                    <a:pt x="779" y="228"/>
                  </a:lnTo>
                  <a:lnTo>
                    <a:pt x="779" y="227"/>
                  </a:lnTo>
                  <a:lnTo>
                    <a:pt x="781" y="227"/>
                  </a:lnTo>
                  <a:lnTo>
                    <a:pt x="779" y="227"/>
                  </a:lnTo>
                  <a:lnTo>
                    <a:pt x="778" y="227"/>
                  </a:lnTo>
                  <a:lnTo>
                    <a:pt x="779" y="227"/>
                  </a:lnTo>
                  <a:lnTo>
                    <a:pt x="781" y="227"/>
                  </a:lnTo>
                  <a:lnTo>
                    <a:pt x="781" y="226"/>
                  </a:lnTo>
                  <a:lnTo>
                    <a:pt x="781" y="225"/>
                  </a:lnTo>
                  <a:lnTo>
                    <a:pt x="782" y="225"/>
                  </a:lnTo>
                  <a:lnTo>
                    <a:pt x="781" y="225"/>
                  </a:lnTo>
                  <a:lnTo>
                    <a:pt x="779" y="225"/>
                  </a:lnTo>
                  <a:lnTo>
                    <a:pt x="779" y="226"/>
                  </a:lnTo>
                  <a:lnTo>
                    <a:pt x="779" y="225"/>
                  </a:lnTo>
                  <a:lnTo>
                    <a:pt x="779" y="226"/>
                  </a:lnTo>
                  <a:lnTo>
                    <a:pt x="778" y="226"/>
                  </a:lnTo>
                  <a:lnTo>
                    <a:pt x="778" y="227"/>
                  </a:lnTo>
                  <a:lnTo>
                    <a:pt x="778" y="226"/>
                  </a:lnTo>
                  <a:lnTo>
                    <a:pt x="778" y="225"/>
                  </a:lnTo>
                  <a:lnTo>
                    <a:pt x="778" y="226"/>
                  </a:lnTo>
                  <a:lnTo>
                    <a:pt x="777" y="226"/>
                  </a:lnTo>
                  <a:lnTo>
                    <a:pt x="777" y="227"/>
                  </a:lnTo>
                  <a:lnTo>
                    <a:pt x="776" y="227"/>
                  </a:lnTo>
                  <a:lnTo>
                    <a:pt x="776" y="226"/>
                  </a:lnTo>
                  <a:lnTo>
                    <a:pt x="777" y="226"/>
                  </a:lnTo>
                  <a:lnTo>
                    <a:pt x="776" y="226"/>
                  </a:lnTo>
                  <a:lnTo>
                    <a:pt x="775" y="226"/>
                  </a:lnTo>
                  <a:lnTo>
                    <a:pt x="775" y="225"/>
                  </a:lnTo>
                  <a:lnTo>
                    <a:pt x="775" y="224"/>
                  </a:lnTo>
                  <a:lnTo>
                    <a:pt x="776" y="224"/>
                  </a:lnTo>
                  <a:lnTo>
                    <a:pt x="777" y="224"/>
                  </a:lnTo>
                  <a:lnTo>
                    <a:pt x="777" y="223"/>
                  </a:lnTo>
                  <a:lnTo>
                    <a:pt x="777" y="224"/>
                  </a:lnTo>
                  <a:lnTo>
                    <a:pt x="778" y="223"/>
                  </a:lnTo>
                  <a:lnTo>
                    <a:pt x="777" y="223"/>
                  </a:lnTo>
                  <a:lnTo>
                    <a:pt x="776" y="223"/>
                  </a:lnTo>
                  <a:lnTo>
                    <a:pt x="775" y="223"/>
                  </a:lnTo>
                  <a:lnTo>
                    <a:pt x="775" y="224"/>
                  </a:lnTo>
                  <a:lnTo>
                    <a:pt x="774" y="224"/>
                  </a:lnTo>
                  <a:lnTo>
                    <a:pt x="772" y="224"/>
                  </a:lnTo>
                  <a:lnTo>
                    <a:pt x="772" y="225"/>
                  </a:lnTo>
                  <a:lnTo>
                    <a:pt x="774" y="225"/>
                  </a:lnTo>
                  <a:lnTo>
                    <a:pt x="775" y="226"/>
                  </a:lnTo>
                  <a:lnTo>
                    <a:pt x="776" y="227"/>
                  </a:lnTo>
                  <a:lnTo>
                    <a:pt x="775" y="227"/>
                  </a:lnTo>
                  <a:lnTo>
                    <a:pt x="774" y="227"/>
                  </a:lnTo>
                  <a:lnTo>
                    <a:pt x="775" y="227"/>
                  </a:lnTo>
                  <a:lnTo>
                    <a:pt x="775" y="228"/>
                  </a:lnTo>
                  <a:lnTo>
                    <a:pt x="774" y="228"/>
                  </a:lnTo>
                  <a:lnTo>
                    <a:pt x="774" y="227"/>
                  </a:lnTo>
                  <a:lnTo>
                    <a:pt x="774" y="228"/>
                  </a:lnTo>
                  <a:lnTo>
                    <a:pt x="775" y="228"/>
                  </a:lnTo>
                  <a:lnTo>
                    <a:pt x="774" y="228"/>
                  </a:lnTo>
                  <a:lnTo>
                    <a:pt x="772" y="228"/>
                  </a:lnTo>
                  <a:lnTo>
                    <a:pt x="772" y="230"/>
                  </a:lnTo>
                  <a:lnTo>
                    <a:pt x="771" y="230"/>
                  </a:lnTo>
                  <a:lnTo>
                    <a:pt x="770" y="230"/>
                  </a:lnTo>
                  <a:lnTo>
                    <a:pt x="770" y="228"/>
                  </a:lnTo>
                  <a:lnTo>
                    <a:pt x="769" y="228"/>
                  </a:lnTo>
                  <a:lnTo>
                    <a:pt x="769" y="230"/>
                  </a:lnTo>
                  <a:lnTo>
                    <a:pt x="769" y="228"/>
                  </a:lnTo>
                  <a:lnTo>
                    <a:pt x="768" y="228"/>
                  </a:lnTo>
                  <a:lnTo>
                    <a:pt x="767" y="228"/>
                  </a:lnTo>
                  <a:lnTo>
                    <a:pt x="768" y="228"/>
                  </a:lnTo>
                  <a:lnTo>
                    <a:pt x="767" y="228"/>
                  </a:lnTo>
                  <a:lnTo>
                    <a:pt x="765" y="228"/>
                  </a:lnTo>
                  <a:lnTo>
                    <a:pt x="765" y="227"/>
                  </a:lnTo>
                  <a:lnTo>
                    <a:pt x="764" y="227"/>
                  </a:lnTo>
                  <a:lnTo>
                    <a:pt x="763" y="227"/>
                  </a:lnTo>
                  <a:lnTo>
                    <a:pt x="762" y="227"/>
                  </a:lnTo>
                  <a:lnTo>
                    <a:pt x="762" y="226"/>
                  </a:lnTo>
                  <a:lnTo>
                    <a:pt x="761" y="226"/>
                  </a:lnTo>
                  <a:lnTo>
                    <a:pt x="761" y="227"/>
                  </a:lnTo>
                  <a:lnTo>
                    <a:pt x="762" y="227"/>
                  </a:lnTo>
                  <a:lnTo>
                    <a:pt x="761" y="227"/>
                  </a:lnTo>
                  <a:lnTo>
                    <a:pt x="762" y="227"/>
                  </a:lnTo>
                  <a:lnTo>
                    <a:pt x="762" y="228"/>
                  </a:lnTo>
                  <a:lnTo>
                    <a:pt x="761" y="228"/>
                  </a:lnTo>
                  <a:lnTo>
                    <a:pt x="762" y="228"/>
                  </a:lnTo>
                  <a:lnTo>
                    <a:pt x="761" y="228"/>
                  </a:lnTo>
                  <a:lnTo>
                    <a:pt x="760" y="228"/>
                  </a:lnTo>
                  <a:lnTo>
                    <a:pt x="761" y="228"/>
                  </a:lnTo>
                  <a:lnTo>
                    <a:pt x="760" y="228"/>
                  </a:lnTo>
                  <a:lnTo>
                    <a:pt x="760" y="230"/>
                  </a:lnTo>
                  <a:lnTo>
                    <a:pt x="761" y="230"/>
                  </a:lnTo>
                  <a:lnTo>
                    <a:pt x="760" y="230"/>
                  </a:lnTo>
                  <a:lnTo>
                    <a:pt x="759" y="230"/>
                  </a:lnTo>
                  <a:lnTo>
                    <a:pt x="757" y="230"/>
                  </a:lnTo>
                  <a:lnTo>
                    <a:pt x="756" y="230"/>
                  </a:lnTo>
                  <a:lnTo>
                    <a:pt x="755" y="230"/>
                  </a:lnTo>
                  <a:lnTo>
                    <a:pt x="754" y="230"/>
                  </a:lnTo>
                  <a:lnTo>
                    <a:pt x="754" y="231"/>
                  </a:lnTo>
                  <a:lnTo>
                    <a:pt x="755" y="231"/>
                  </a:lnTo>
                  <a:lnTo>
                    <a:pt x="754" y="231"/>
                  </a:lnTo>
                  <a:lnTo>
                    <a:pt x="753" y="231"/>
                  </a:lnTo>
                  <a:lnTo>
                    <a:pt x="752" y="231"/>
                  </a:lnTo>
                  <a:lnTo>
                    <a:pt x="753" y="231"/>
                  </a:lnTo>
                  <a:lnTo>
                    <a:pt x="752" y="231"/>
                  </a:lnTo>
                  <a:lnTo>
                    <a:pt x="750" y="231"/>
                  </a:lnTo>
                  <a:lnTo>
                    <a:pt x="749" y="231"/>
                  </a:lnTo>
                  <a:lnTo>
                    <a:pt x="749" y="232"/>
                  </a:lnTo>
                  <a:lnTo>
                    <a:pt x="748" y="232"/>
                  </a:lnTo>
                  <a:lnTo>
                    <a:pt x="747" y="232"/>
                  </a:lnTo>
                  <a:lnTo>
                    <a:pt x="748" y="232"/>
                  </a:lnTo>
                  <a:lnTo>
                    <a:pt x="747" y="232"/>
                  </a:lnTo>
                  <a:lnTo>
                    <a:pt x="747" y="231"/>
                  </a:lnTo>
                  <a:lnTo>
                    <a:pt x="746" y="232"/>
                  </a:lnTo>
                  <a:lnTo>
                    <a:pt x="746" y="231"/>
                  </a:lnTo>
                  <a:lnTo>
                    <a:pt x="745" y="231"/>
                  </a:lnTo>
                  <a:lnTo>
                    <a:pt x="743" y="231"/>
                  </a:lnTo>
                  <a:lnTo>
                    <a:pt x="742" y="232"/>
                  </a:lnTo>
                  <a:lnTo>
                    <a:pt x="742" y="231"/>
                  </a:lnTo>
                  <a:lnTo>
                    <a:pt x="741" y="231"/>
                  </a:lnTo>
                  <a:lnTo>
                    <a:pt x="742" y="231"/>
                  </a:lnTo>
                  <a:lnTo>
                    <a:pt x="741" y="231"/>
                  </a:lnTo>
                  <a:lnTo>
                    <a:pt x="741" y="230"/>
                  </a:lnTo>
                  <a:lnTo>
                    <a:pt x="740" y="230"/>
                  </a:lnTo>
                  <a:lnTo>
                    <a:pt x="740" y="231"/>
                  </a:lnTo>
                  <a:lnTo>
                    <a:pt x="739" y="231"/>
                  </a:lnTo>
                  <a:lnTo>
                    <a:pt x="739" y="230"/>
                  </a:lnTo>
                  <a:lnTo>
                    <a:pt x="739" y="231"/>
                  </a:lnTo>
                  <a:lnTo>
                    <a:pt x="739" y="230"/>
                  </a:lnTo>
                  <a:lnTo>
                    <a:pt x="738" y="230"/>
                  </a:lnTo>
                  <a:lnTo>
                    <a:pt x="739" y="230"/>
                  </a:lnTo>
                  <a:lnTo>
                    <a:pt x="738" y="230"/>
                  </a:lnTo>
                  <a:lnTo>
                    <a:pt x="736" y="230"/>
                  </a:lnTo>
                  <a:lnTo>
                    <a:pt x="736" y="228"/>
                  </a:lnTo>
                  <a:lnTo>
                    <a:pt x="738" y="228"/>
                  </a:lnTo>
                  <a:lnTo>
                    <a:pt x="736" y="228"/>
                  </a:lnTo>
                  <a:lnTo>
                    <a:pt x="736" y="227"/>
                  </a:lnTo>
                  <a:lnTo>
                    <a:pt x="738" y="227"/>
                  </a:lnTo>
                  <a:lnTo>
                    <a:pt x="736" y="227"/>
                  </a:lnTo>
                  <a:lnTo>
                    <a:pt x="736" y="226"/>
                  </a:lnTo>
                  <a:lnTo>
                    <a:pt x="738" y="225"/>
                  </a:lnTo>
                  <a:lnTo>
                    <a:pt x="736" y="225"/>
                  </a:lnTo>
                  <a:lnTo>
                    <a:pt x="738" y="225"/>
                  </a:lnTo>
                  <a:lnTo>
                    <a:pt x="738" y="224"/>
                  </a:lnTo>
                  <a:lnTo>
                    <a:pt x="739" y="224"/>
                  </a:lnTo>
                  <a:lnTo>
                    <a:pt x="740" y="224"/>
                  </a:lnTo>
                  <a:lnTo>
                    <a:pt x="740" y="223"/>
                  </a:lnTo>
                  <a:lnTo>
                    <a:pt x="740" y="221"/>
                  </a:lnTo>
                  <a:lnTo>
                    <a:pt x="741" y="221"/>
                  </a:lnTo>
                  <a:lnTo>
                    <a:pt x="742" y="220"/>
                  </a:lnTo>
                  <a:lnTo>
                    <a:pt x="743" y="220"/>
                  </a:lnTo>
                  <a:lnTo>
                    <a:pt x="745" y="220"/>
                  </a:lnTo>
                  <a:lnTo>
                    <a:pt x="746" y="219"/>
                  </a:lnTo>
                  <a:lnTo>
                    <a:pt x="747" y="219"/>
                  </a:lnTo>
                  <a:lnTo>
                    <a:pt x="748" y="219"/>
                  </a:lnTo>
                  <a:lnTo>
                    <a:pt x="749" y="219"/>
                  </a:lnTo>
                  <a:lnTo>
                    <a:pt x="750" y="219"/>
                  </a:lnTo>
                  <a:lnTo>
                    <a:pt x="750" y="218"/>
                  </a:lnTo>
                  <a:lnTo>
                    <a:pt x="750" y="217"/>
                  </a:lnTo>
                  <a:lnTo>
                    <a:pt x="749" y="217"/>
                  </a:lnTo>
                  <a:lnTo>
                    <a:pt x="750" y="217"/>
                  </a:lnTo>
                  <a:lnTo>
                    <a:pt x="750" y="216"/>
                  </a:lnTo>
                  <a:lnTo>
                    <a:pt x="753" y="216"/>
                  </a:lnTo>
                  <a:lnTo>
                    <a:pt x="752" y="214"/>
                  </a:lnTo>
                  <a:lnTo>
                    <a:pt x="753" y="214"/>
                  </a:lnTo>
                  <a:lnTo>
                    <a:pt x="754" y="214"/>
                  </a:lnTo>
                  <a:lnTo>
                    <a:pt x="755" y="214"/>
                  </a:lnTo>
                  <a:lnTo>
                    <a:pt x="755" y="216"/>
                  </a:lnTo>
                  <a:lnTo>
                    <a:pt x="756" y="216"/>
                  </a:lnTo>
                  <a:lnTo>
                    <a:pt x="757" y="214"/>
                  </a:lnTo>
                  <a:lnTo>
                    <a:pt x="759" y="216"/>
                  </a:lnTo>
                  <a:lnTo>
                    <a:pt x="760" y="216"/>
                  </a:lnTo>
                  <a:lnTo>
                    <a:pt x="762" y="216"/>
                  </a:lnTo>
                  <a:lnTo>
                    <a:pt x="764" y="217"/>
                  </a:lnTo>
                  <a:lnTo>
                    <a:pt x="765" y="217"/>
                  </a:lnTo>
                  <a:lnTo>
                    <a:pt x="765" y="218"/>
                  </a:lnTo>
                  <a:lnTo>
                    <a:pt x="767" y="218"/>
                  </a:lnTo>
                  <a:lnTo>
                    <a:pt x="768" y="218"/>
                  </a:lnTo>
                  <a:lnTo>
                    <a:pt x="767" y="218"/>
                  </a:lnTo>
                  <a:lnTo>
                    <a:pt x="767" y="219"/>
                  </a:lnTo>
                  <a:lnTo>
                    <a:pt x="768" y="219"/>
                  </a:lnTo>
                  <a:lnTo>
                    <a:pt x="769" y="219"/>
                  </a:lnTo>
                  <a:lnTo>
                    <a:pt x="769" y="220"/>
                  </a:lnTo>
                  <a:lnTo>
                    <a:pt x="769" y="221"/>
                  </a:lnTo>
                  <a:lnTo>
                    <a:pt x="768" y="221"/>
                  </a:lnTo>
                  <a:lnTo>
                    <a:pt x="767" y="221"/>
                  </a:lnTo>
                  <a:lnTo>
                    <a:pt x="765" y="221"/>
                  </a:lnTo>
                  <a:lnTo>
                    <a:pt x="767" y="221"/>
                  </a:lnTo>
                  <a:lnTo>
                    <a:pt x="767" y="223"/>
                  </a:lnTo>
                  <a:lnTo>
                    <a:pt x="768" y="223"/>
                  </a:lnTo>
                  <a:lnTo>
                    <a:pt x="768" y="224"/>
                  </a:lnTo>
                  <a:lnTo>
                    <a:pt x="767" y="224"/>
                  </a:lnTo>
                  <a:lnTo>
                    <a:pt x="765" y="224"/>
                  </a:lnTo>
                  <a:lnTo>
                    <a:pt x="767" y="224"/>
                  </a:lnTo>
                  <a:lnTo>
                    <a:pt x="765" y="224"/>
                  </a:lnTo>
                  <a:lnTo>
                    <a:pt x="767" y="224"/>
                  </a:lnTo>
                  <a:lnTo>
                    <a:pt x="767" y="225"/>
                  </a:lnTo>
                  <a:lnTo>
                    <a:pt x="768" y="225"/>
                  </a:lnTo>
                  <a:lnTo>
                    <a:pt x="768" y="224"/>
                  </a:lnTo>
                  <a:lnTo>
                    <a:pt x="768" y="223"/>
                  </a:lnTo>
                  <a:lnTo>
                    <a:pt x="769" y="223"/>
                  </a:lnTo>
                  <a:lnTo>
                    <a:pt x="768" y="223"/>
                  </a:lnTo>
                  <a:lnTo>
                    <a:pt x="767" y="223"/>
                  </a:lnTo>
                  <a:lnTo>
                    <a:pt x="768" y="223"/>
                  </a:lnTo>
                  <a:lnTo>
                    <a:pt x="768" y="221"/>
                  </a:lnTo>
                  <a:lnTo>
                    <a:pt x="769" y="221"/>
                  </a:lnTo>
                  <a:lnTo>
                    <a:pt x="770" y="221"/>
                  </a:lnTo>
                  <a:lnTo>
                    <a:pt x="771" y="221"/>
                  </a:lnTo>
                  <a:lnTo>
                    <a:pt x="771" y="220"/>
                  </a:lnTo>
                  <a:lnTo>
                    <a:pt x="772" y="220"/>
                  </a:lnTo>
                  <a:lnTo>
                    <a:pt x="772" y="219"/>
                  </a:lnTo>
                  <a:lnTo>
                    <a:pt x="771" y="219"/>
                  </a:lnTo>
                  <a:lnTo>
                    <a:pt x="771" y="220"/>
                  </a:lnTo>
                  <a:lnTo>
                    <a:pt x="770" y="220"/>
                  </a:lnTo>
                  <a:lnTo>
                    <a:pt x="770" y="221"/>
                  </a:lnTo>
                  <a:lnTo>
                    <a:pt x="770" y="220"/>
                  </a:lnTo>
                  <a:lnTo>
                    <a:pt x="769" y="219"/>
                  </a:lnTo>
                  <a:lnTo>
                    <a:pt x="768" y="218"/>
                  </a:lnTo>
                  <a:lnTo>
                    <a:pt x="767" y="218"/>
                  </a:lnTo>
                  <a:lnTo>
                    <a:pt x="767" y="217"/>
                  </a:lnTo>
                  <a:lnTo>
                    <a:pt x="769" y="217"/>
                  </a:lnTo>
                  <a:lnTo>
                    <a:pt x="770" y="217"/>
                  </a:lnTo>
                  <a:lnTo>
                    <a:pt x="772" y="217"/>
                  </a:lnTo>
                  <a:lnTo>
                    <a:pt x="774" y="218"/>
                  </a:lnTo>
                  <a:lnTo>
                    <a:pt x="774" y="217"/>
                  </a:lnTo>
                  <a:lnTo>
                    <a:pt x="775" y="217"/>
                  </a:lnTo>
                  <a:lnTo>
                    <a:pt x="776" y="217"/>
                  </a:lnTo>
                  <a:lnTo>
                    <a:pt x="776" y="216"/>
                  </a:lnTo>
                  <a:lnTo>
                    <a:pt x="777" y="216"/>
                  </a:lnTo>
                  <a:lnTo>
                    <a:pt x="778" y="216"/>
                  </a:lnTo>
                  <a:lnTo>
                    <a:pt x="779" y="216"/>
                  </a:lnTo>
                  <a:lnTo>
                    <a:pt x="779" y="214"/>
                  </a:lnTo>
                  <a:lnTo>
                    <a:pt x="781" y="214"/>
                  </a:lnTo>
                  <a:lnTo>
                    <a:pt x="781" y="216"/>
                  </a:lnTo>
                  <a:lnTo>
                    <a:pt x="779" y="216"/>
                  </a:lnTo>
                  <a:lnTo>
                    <a:pt x="781" y="216"/>
                  </a:lnTo>
                  <a:lnTo>
                    <a:pt x="779" y="216"/>
                  </a:lnTo>
                  <a:lnTo>
                    <a:pt x="781" y="216"/>
                  </a:lnTo>
                  <a:lnTo>
                    <a:pt x="781" y="217"/>
                  </a:lnTo>
                  <a:lnTo>
                    <a:pt x="782" y="217"/>
                  </a:lnTo>
                  <a:lnTo>
                    <a:pt x="783" y="216"/>
                  </a:lnTo>
                  <a:lnTo>
                    <a:pt x="784" y="216"/>
                  </a:lnTo>
                  <a:lnTo>
                    <a:pt x="784" y="214"/>
                  </a:lnTo>
                  <a:lnTo>
                    <a:pt x="785" y="214"/>
                  </a:lnTo>
                  <a:lnTo>
                    <a:pt x="786" y="214"/>
                  </a:lnTo>
                  <a:lnTo>
                    <a:pt x="786" y="213"/>
                  </a:lnTo>
                  <a:lnTo>
                    <a:pt x="788" y="213"/>
                  </a:lnTo>
                  <a:lnTo>
                    <a:pt x="789" y="214"/>
                  </a:lnTo>
                  <a:lnTo>
                    <a:pt x="790" y="213"/>
                  </a:lnTo>
                  <a:lnTo>
                    <a:pt x="791" y="213"/>
                  </a:lnTo>
                  <a:lnTo>
                    <a:pt x="791" y="214"/>
                  </a:lnTo>
                  <a:lnTo>
                    <a:pt x="792" y="214"/>
                  </a:lnTo>
                  <a:lnTo>
                    <a:pt x="793" y="214"/>
                  </a:lnTo>
                  <a:lnTo>
                    <a:pt x="793" y="213"/>
                  </a:lnTo>
                  <a:lnTo>
                    <a:pt x="793" y="212"/>
                  </a:lnTo>
                  <a:lnTo>
                    <a:pt x="793" y="211"/>
                  </a:lnTo>
                  <a:lnTo>
                    <a:pt x="793" y="210"/>
                  </a:lnTo>
                  <a:lnTo>
                    <a:pt x="792" y="210"/>
                  </a:lnTo>
                  <a:lnTo>
                    <a:pt x="791" y="210"/>
                  </a:lnTo>
                  <a:lnTo>
                    <a:pt x="791" y="209"/>
                  </a:lnTo>
                  <a:lnTo>
                    <a:pt x="790" y="209"/>
                  </a:lnTo>
                  <a:lnTo>
                    <a:pt x="790" y="207"/>
                  </a:lnTo>
                  <a:lnTo>
                    <a:pt x="789" y="206"/>
                  </a:lnTo>
                  <a:lnTo>
                    <a:pt x="789" y="205"/>
                  </a:lnTo>
                  <a:lnTo>
                    <a:pt x="790" y="205"/>
                  </a:lnTo>
                  <a:lnTo>
                    <a:pt x="791" y="204"/>
                  </a:lnTo>
                  <a:lnTo>
                    <a:pt x="795" y="203"/>
                  </a:lnTo>
                  <a:lnTo>
                    <a:pt x="796" y="203"/>
                  </a:lnTo>
                  <a:lnTo>
                    <a:pt x="797" y="203"/>
                  </a:lnTo>
                  <a:lnTo>
                    <a:pt x="797" y="202"/>
                  </a:lnTo>
                  <a:lnTo>
                    <a:pt x="798" y="202"/>
                  </a:lnTo>
                  <a:lnTo>
                    <a:pt x="799" y="200"/>
                  </a:lnTo>
                  <a:lnTo>
                    <a:pt x="803" y="199"/>
                  </a:lnTo>
                  <a:lnTo>
                    <a:pt x="804" y="199"/>
                  </a:lnTo>
                  <a:lnTo>
                    <a:pt x="804" y="198"/>
                  </a:lnTo>
                  <a:lnTo>
                    <a:pt x="805" y="198"/>
                  </a:lnTo>
                  <a:lnTo>
                    <a:pt x="806" y="198"/>
                  </a:lnTo>
                  <a:lnTo>
                    <a:pt x="807" y="197"/>
                  </a:lnTo>
                  <a:lnTo>
                    <a:pt x="809" y="197"/>
                  </a:lnTo>
                  <a:lnTo>
                    <a:pt x="810" y="197"/>
                  </a:lnTo>
                  <a:lnTo>
                    <a:pt x="810" y="196"/>
                  </a:lnTo>
                  <a:lnTo>
                    <a:pt x="811" y="196"/>
                  </a:lnTo>
                  <a:lnTo>
                    <a:pt x="811" y="195"/>
                  </a:lnTo>
                  <a:lnTo>
                    <a:pt x="812" y="195"/>
                  </a:lnTo>
                  <a:lnTo>
                    <a:pt x="813" y="193"/>
                  </a:lnTo>
                  <a:lnTo>
                    <a:pt x="813" y="192"/>
                  </a:lnTo>
                  <a:lnTo>
                    <a:pt x="814" y="192"/>
                  </a:lnTo>
                  <a:lnTo>
                    <a:pt x="816" y="192"/>
                  </a:lnTo>
                  <a:lnTo>
                    <a:pt x="818" y="192"/>
                  </a:lnTo>
                  <a:lnTo>
                    <a:pt x="819" y="192"/>
                  </a:lnTo>
                  <a:lnTo>
                    <a:pt x="820" y="191"/>
                  </a:lnTo>
                  <a:lnTo>
                    <a:pt x="820" y="190"/>
                  </a:lnTo>
                  <a:lnTo>
                    <a:pt x="821" y="190"/>
                  </a:lnTo>
                  <a:lnTo>
                    <a:pt x="821" y="189"/>
                  </a:lnTo>
                  <a:lnTo>
                    <a:pt x="820" y="189"/>
                  </a:lnTo>
                  <a:lnTo>
                    <a:pt x="821" y="189"/>
                  </a:lnTo>
                  <a:lnTo>
                    <a:pt x="821" y="188"/>
                  </a:lnTo>
                  <a:lnTo>
                    <a:pt x="821" y="186"/>
                  </a:lnTo>
                  <a:lnTo>
                    <a:pt x="820" y="186"/>
                  </a:lnTo>
                  <a:lnTo>
                    <a:pt x="821" y="186"/>
                  </a:lnTo>
                  <a:lnTo>
                    <a:pt x="821" y="185"/>
                  </a:lnTo>
                  <a:lnTo>
                    <a:pt x="820" y="185"/>
                  </a:lnTo>
                  <a:lnTo>
                    <a:pt x="820" y="184"/>
                  </a:lnTo>
                  <a:lnTo>
                    <a:pt x="821" y="183"/>
                  </a:lnTo>
                  <a:lnTo>
                    <a:pt x="821" y="182"/>
                  </a:lnTo>
                  <a:lnTo>
                    <a:pt x="820" y="182"/>
                  </a:lnTo>
                  <a:lnTo>
                    <a:pt x="820" y="181"/>
                  </a:lnTo>
                  <a:lnTo>
                    <a:pt x="819" y="181"/>
                  </a:lnTo>
                  <a:lnTo>
                    <a:pt x="820" y="181"/>
                  </a:lnTo>
                  <a:lnTo>
                    <a:pt x="820" y="179"/>
                  </a:lnTo>
                  <a:lnTo>
                    <a:pt x="821" y="179"/>
                  </a:lnTo>
                  <a:lnTo>
                    <a:pt x="820" y="179"/>
                  </a:lnTo>
                  <a:lnTo>
                    <a:pt x="821" y="179"/>
                  </a:lnTo>
                  <a:lnTo>
                    <a:pt x="821" y="178"/>
                  </a:lnTo>
                  <a:lnTo>
                    <a:pt x="821" y="177"/>
                  </a:lnTo>
                  <a:lnTo>
                    <a:pt x="820" y="177"/>
                  </a:lnTo>
                  <a:lnTo>
                    <a:pt x="819" y="177"/>
                  </a:lnTo>
                  <a:lnTo>
                    <a:pt x="820" y="176"/>
                  </a:lnTo>
                  <a:lnTo>
                    <a:pt x="819" y="176"/>
                  </a:lnTo>
                  <a:lnTo>
                    <a:pt x="818" y="176"/>
                  </a:lnTo>
                  <a:lnTo>
                    <a:pt x="819" y="176"/>
                  </a:lnTo>
                  <a:lnTo>
                    <a:pt x="818" y="176"/>
                  </a:lnTo>
                  <a:lnTo>
                    <a:pt x="817" y="176"/>
                  </a:lnTo>
                  <a:lnTo>
                    <a:pt x="818" y="176"/>
                  </a:lnTo>
                  <a:lnTo>
                    <a:pt x="819" y="176"/>
                  </a:lnTo>
                  <a:lnTo>
                    <a:pt x="819" y="175"/>
                  </a:lnTo>
                  <a:lnTo>
                    <a:pt x="820" y="175"/>
                  </a:lnTo>
                  <a:lnTo>
                    <a:pt x="819" y="175"/>
                  </a:lnTo>
                  <a:lnTo>
                    <a:pt x="819" y="176"/>
                  </a:lnTo>
                  <a:lnTo>
                    <a:pt x="818" y="175"/>
                  </a:lnTo>
                  <a:lnTo>
                    <a:pt x="818" y="176"/>
                  </a:lnTo>
                  <a:lnTo>
                    <a:pt x="817" y="176"/>
                  </a:lnTo>
                  <a:lnTo>
                    <a:pt x="816" y="176"/>
                  </a:lnTo>
                  <a:lnTo>
                    <a:pt x="814" y="176"/>
                  </a:lnTo>
                  <a:lnTo>
                    <a:pt x="816" y="176"/>
                  </a:lnTo>
                  <a:lnTo>
                    <a:pt x="817" y="176"/>
                  </a:lnTo>
                  <a:lnTo>
                    <a:pt x="816" y="176"/>
                  </a:lnTo>
                  <a:lnTo>
                    <a:pt x="814" y="176"/>
                  </a:lnTo>
                  <a:lnTo>
                    <a:pt x="814" y="175"/>
                  </a:lnTo>
                  <a:lnTo>
                    <a:pt x="813" y="175"/>
                  </a:lnTo>
                  <a:lnTo>
                    <a:pt x="813" y="174"/>
                  </a:lnTo>
                  <a:lnTo>
                    <a:pt x="814" y="174"/>
                  </a:lnTo>
                  <a:lnTo>
                    <a:pt x="816" y="174"/>
                  </a:lnTo>
                  <a:lnTo>
                    <a:pt x="816" y="172"/>
                  </a:lnTo>
                  <a:lnTo>
                    <a:pt x="817" y="172"/>
                  </a:lnTo>
                  <a:lnTo>
                    <a:pt x="816" y="172"/>
                  </a:lnTo>
                  <a:lnTo>
                    <a:pt x="817" y="172"/>
                  </a:lnTo>
                  <a:lnTo>
                    <a:pt x="818" y="171"/>
                  </a:lnTo>
                  <a:lnTo>
                    <a:pt x="817" y="171"/>
                  </a:lnTo>
                  <a:lnTo>
                    <a:pt x="818" y="171"/>
                  </a:lnTo>
                  <a:lnTo>
                    <a:pt x="817" y="171"/>
                  </a:lnTo>
                  <a:lnTo>
                    <a:pt x="818" y="170"/>
                  </a:lnTo>
                  <a:lnTo>
                    <a:pt x="817" y="170"/>
                  </a:lnTo>
                  <a:lnTo>
                    <a:pt x="816" y="170"/>
                  </a:lnTo>
                  <a:lnTo>
                    <a:pt x="814" y="170"/>
                  </a:lnTo>
                  <a:lnTo>
                    <a:pt x="813" y="170"/>
                  </a:lnTo>
                  <a:lnTo>
                    <a:pt x="814" y="170"/>
                  </a:lnTo>
                  <a:lnTo>
                    <a:pt x="814" y="171"/>
                  </a:lnTo>
                  <a:lnTo>
                    <a:pt x="814" y="172"/>
                  </a:lnTo>
                  <a:lnTo>
                    <a:pt x="816" y="172"/>
                  </a:lnTo>
                  <a:lnTo>
                    <a:pt x="814" y="172"/>
                  </a:lnTo>
                  <a:lnTo>
                    <a:pt x="813" y="174"/>
                  </a:lnTo>
                  <a:lnTo>
                    <a:pt x="813" y="172"/>
                  </a:lnTo>
                  <a:lnTo>
                    <a:pt x="814" y="172"/>
                  </a:lnTo>
                  <a:lnTo>
                    <a:pt x="812" y="172"/>
                  </a:lnTo>
                  <a:lnTo>
                    <a:pt x="811" y="172"/>
                  </a:lnTo>
                  <a:lnTo>
                    <a:pt x="810" y="172"/>
                  </a:lnTo>
                  <a:lnTo>
                    <a:pt x="810" y="171"/>
                  </a:lnTo>
                  <a:lnTo>
                    <a:pt x="809" y="171"/>
                  </a:lnTo>
                  <a:lnTo>
                    <a:pt x="809" y="170"/>
                  </a:lnTo>
                  <a:lnTo>
                    <a:pt x="809" y="169"/>
                  </a:lnTo>
                  <a:lnTo>
                    <a:pt x="810" y="169"/>
                  </a:lnTo>
                  <a:lnTo>
                    <a:pt x="811" y="169"/>
                  </a:lnTo>
                  <a:lnTo>
                    <a:pt x="810" y="169"/>
                  </a:lnTo>
                  <a:lnTo>
                    <a:pt x="809" y="169"/>
                  </a:lnTo>
                  <a:lnTo>
                    <a:pt x="810" y="169"/>
                  </a:lnTo>
                  <a:lnTo>
                    <a:pt x="807" y="169"/>
                  </a:lnTo>
                  <a:lnTo>
                    <a:pt x="806" y="169"/>
                  </a:lnTo>
                  <a:lnTo>
                    <a:pt x="807" y="169"/>
                  </a:lnTo>
                  <a:lnTo>
                    <a:pt x="809" y="168"/>
                  </a:lnTo>
                  <a:lnTo>
                    <a:pt x="810" y="168"/>
                  </a:lnTo>
                  <a:lnTo>
                    <a:pt x="811" y="168"/>
                  </a:lnTo>
                  <a:lnTo>
                    <a:pt x="810" y="168"/>
                  </a:lnTo>
                  <a:lnTo>
                    <a:pt x="809" y="168"/>
                  </a:lnTo>
                  <a:lnTo>
                    <a:pt x="806" y="168"/>
                  </a:lnTo>
                  <a:lnTo>
                    <a:pt x="809" y="168"/>
                  </a:lnTo>
                  <a:lnTo>
                    <a:pt x="809" y="167"/>
                  </a:lnTo>
                  <a:lnTo>
                    <a:pt x="807" y="168"/>
                  </a:lnTo>
                  <a:lnTo>
                    <a:pt x="806" y="168"/>
                  </a:lnTo>
                  <a:lnTo>
                    <a:pt x="809" y="167"/>
                  </a:lnTo>
                  <a:lnTo>
                    <a:pt x="807" y="167"/>
                  </a:lnTo>
                  <a:lnTo>
                    <a:pt x="809" y="167"/>
                  </a:lnTo>
                  <a:lnTo>
                    <a:pt x="811" y="167"/>
                  </a:lnTo>
                  <a:lnTo>
                    <a:pt x="810" y="167"/>
                  </a:lnTo>
                  <a:lnTo>
                    <a:pt x="811" y="167"/>
                  </a:lnTo>
                  <a:lnTo>
                    <a:pt x="812" y="167"/>
                  </a:lnTo>
                  <a:lnTo>
                    <a:pt x="812" y="165"/>
                  </a:lnTo>
                  <a:lnTo>
                    <a:pt x="811" y="165"/>
                  </a:lnTo>
                  <a:lnTo>
                    <a:pt x="810" y="165"/>
                  </a:lnTo>
                  <a:lnTo>
                    <a:pt x="809" y="165"/>
                  </a:lnTo>
                  <a:lnTo>
                    <a:pt x="809" y="167"/>
                  </a:lnTo>
                  <a:lnTo>
                    <a:pt x="807" y="167"/>
                  </a:lnTo>
                  <a:lnTo>
                    <a:pt x="806" y="167"/>
                  </a:lnTo>
                  <a:lnTo>
                    <a:pt x="806" y="168"/>
                  </a:lnTo>
                  <a:lnTo>
                    <a:pt x="805" y="168"/>
                  </a:lnTo>
                  <a:lnTo>
                    <a:pt x="804" y="168"/>
                  </a:lnTo>
                  <a:lnTo>
                    <a:pt x="804" y="167"/>
                  </a:lnTo>
                  <a:lnTo>
                    <a:pt x="803" y="167"/>
                  </a:lnTo>
                  <a:lnTo>
                    <a:pt x="802" y="167"/>
                  </a:lnTo>
                  <a:lnTo>
                    <a:pt x="802" y="168"/>
                  </a:lnTo>
                  <a:lnTo>
                    <a:pt x="800" y="168"/>
                  </a:lnTo>
                  <a:lnTo>
                    <a:pt x="799" y="168"/>
                  </a:lnTo>
                  <a:lnTo>
                    <a:pt x="798" y="169"/>
                  </a:lnTo>
                  <a:lnTo>
                    <a:pt x="797" y="169"/>
                  </a:lnTo>
                  <a:lnTo>
                    <a:pt x="796" y="169"/>
                  </a:lnTo>
                  <a:lnTo>
                    <a:pt x="791" y="170"/>
                  </a:lnTo>
                  <a:lnTo>
                    <a:pt x="789" y="171"/>
                  </a:lnTo>
                  <a:lnTo>
                    <a:pt x="789" y="170"/>
                  </a:lnTo>
                  <a:lnTo>
                    <a:pt x="790" y="169"/>
                  </a:lnTo>
                  <a:lnTo>
                    <a:pt x="791" y="169"/>
                  </a:lnTo>
                  <a:lnTo>
                    <a:pt x="791" y="168"/>
                  </a:lnTo>
                  <a:lnTo>
                    <a:pt x="790" y="168"/>
                  </a:lnTo>
                  <a:lnTo>
                    <a:pt x="791" y="167"/>
                  </a:lnTo>
                  <a:lnTo>
                    <a:pt x="792" y="165"/>
                  </a:lnTo>
                  <a:lnTo>
                    <a:pt x="793" y="165"/>
                  </a:lnTo>
                  <a:lnTo>
                    <a:pt x="797" y="165"/>
                  </a:lnTo>
                  <a:lnTo>
                    <a:pt x="797" y="167"/>
                  </a:lnTo>
                  <a:lnTo>
                    <a:pt x="798" y="167"/>
                  </a:lnTo>
                  <a:lnTo>
                    <a:pt x="799" y="165"/>
                  </a:lnTo>
                  <a:lnTo>
                    <a:pt x="800" y="165"/>
                  </a:lnTo>
                  <a:lnTo>
                    <a:pt x="802" y="165"/>
                  </a:lnTo>
                  <a:lnTo>
                    <a:pt x="803" y="165"/>
                  </a:lnTo>
                  <a:lnTo>
                    <a:pt x="803" y="164"/>
                  </a:lnTo>
                  <a:lnTo>
                    <a:pt x="804" y="164"/>
                  </a:lnTo>
                  <a:lnTo>
                    <a:pt x="804" y="163"/>
                  </a:lnTo>
                  <a:lnTo>
                    <a:pt x="803" y="163"/>
                  </a:lnTo>
                  <a:lnTo>
                    <a:pt x="803" y="162"/>
                  </a:lnTo>
                  <a:lnTo>
                    <a:pt x="802" y="162"/>
                  </a:lnTo>
                  <a:lnTo>
                    <a:pt x="800" y="161"/>
                  </a:lnTo>
                  <a:lnTo>
                    <a:pt x="799" y="161"/>
                  </a:lnTo>
                  <a:lnTo>
                    <a:pt x="798" y="161"/>
                  </a:lnTo>
                  <a:lnTo>
                    <a:pt x="797" y="161"/>
                  </a:lnTo>
                  <a:lnTo>
                    <a:pt x="797" y="160"/>
                  </a:lnTo>
                  <a:lnTo>
                    <a:pt x="796" y="160"/>
                  </a:lnTo>
                  <a:lnTo>
                    <a:pt x="796" y="158"/>
                  </a:lnTo>
                  <a:lnTo>
                    <a:pt x="797" y="158"/>
                  </a:lnTo>
                  <a:lnTo>
                    <a:pt x="799" y="157"/>
                  </a:lnTo>
                  <a:lnTo>
                    <a:pt x="800" y="157"/>
                  </a:lnTo>
                  <a:lnTo>
                    <a:pt x="800" y="158"/>
                  </a:lnTo>
                  <a:lnTo>
                    <a:pt x="802" y="158"/>
                  </a:lnTo>
                  <a:lnTo>
                    <a:pt x="800" y="158"/>
                  </a:lnTo>
                  <a:lnTo>
                    <a:pt x="802" y="157"/>
                  </a:lnTo>
                  <a:lnTo>
                    <a:pt x="800" y="157"/>
                  </a:lnTo>
                  <a:lnTo>
                    <a:pt x="799" y="157"/>
                  </a:lnTo>
                  <a:lnTo>
                    <a:pt x="798" y="157"/>
                  </a:lnTo>
                  <a:lnTo>
                    <a:pt x="797" y="157"/>
                  </a:lnTo>
                  <a:lnTo>
                    <a:pt x="798" y="157"/>
                  </a:lnTo>
                  <a:lnTo>
                    <a:pt x="798" y="158"/>
                  </a:lnTo>
                  <a:lnTo>
                    <a:pt x="797" y="158"/>
                  </a:lnTo>
                  <a:lnTo>
                    <a:pt x="796" y="158"/>
                  </a:lnTo>
                  <a:lnTo>
                    <a:pt x="795" y="158"/>
                  </a:lnTo>
                  <a:lnTo>
                    <a:pt x="793" y="158"/>
                  </a:lnTo>
                  <a:lnTo>
                    <a:pt x="795" y="158"/>
                  </a:lnTo>
                  <a:lnTo>
                    <a:pt x="793" y="158"/>
                  </a:lnTo>
                  <a:lnTo>
                    <a:pt x="792" y="158"/>
                  </a:lnTo>
                  <a:lnTo>
                    <a:pt x="791" y="157"/>
                  </a:lnTo>
                  <a:lnTo>
                    <a:pt x="792" y="157"/>
                  </a:lnTo>
                  <a:lnTo>
                    <a:pt x="793" y="157"/>
                  </a:lnTo>
                  <a:lnTo>
                    <a:pt x="795" y="157"/>
                  </a:lnTo>
                  <a:lnTo>
                    <a:pt x="796" y="157"/>
                  </a:lnTo>
                  <a:lnTo>
                    <a:pt x="796" y="156"/>
                  </a:lnTo>
                  <a:lnTo>
                    <a:pt x="797" y="156"/>
                  </a:lnTo>
                  <a:lnTo>
                    <a:pt x="796" y="156"/>
                  </a:lnTo>
                  <a:lnTo>
                    <a:pt x="797" y="156"/>
                  </a:lnTo>
                  <a:lnTo>
                    <a:pt x="797" y="155"/>
                  </a:lnTo>
                  <a:lnTo>
                    <a:pt x="796" y="155"/>
                  </a:lnTo>
                  <a:lnTo>
                    <a:pt x="795" y="155"/>
                  </a:lnTo>
                  <a:lnTo>
                    <a:pt x="796" y="155"/>
                  </a:lnTo>
                  <a:lnTo>
                    <a:pt x="795" y="155"/>
                  </a:lnTo>
                  <a:lnTo>
                    <a:pt x="793" y="155"/>
                  </a:lnTo>
                  <a:lnTo>
                    <a:pt x="792" y="155"/>
                  </a:lnTo>
                  <a:lnTo>
                    <a:pt x="795" y="154"/>
                  </a:lnTo>
                  <a:lnTo>
                    <a:pt x="796" y="154"/>
                  </a:lnTo>
                  <a:lnTo>
                    <a:pt x="793" y="154"/>
                  </a:lnTo>
                  <a:lnTo>
                    <a:pt x="793" y="155"/>
                  </a:lnTo>
                  <a:lnTo>
                    <a:pt x="792" y="155"/>
                  </a:lnTo>
                  <a:lnTo>
                    <a:pt x="790" y="155"/>
                  </a:lnTo>
                  <a:lnTo>
                    <a:pt x="789" y="155"/>
                  </a:lnTo>
                  <a:lnTo>
                    <a:pt x="790" y="155"/>
                  </a:lnTo>
                  <a:lnTo>
                    <a:pt x="790" y="156"/>
                  </a:lnTo>
                  <a:lnTo>
                    <a:pt x="789" y="156"/>
                  </a:lnTo>
                  <a:lnTo>
                    <a:pt x="788" y="156"/>
                  </a:lnTo>
                  <a:lnTo>
                    <a:pt x="788" y="155"/>
                  </a:lnTo>
                  <a:lnTo>
                    <a:pt x="789" y="155"/>
                  </a:lnTo>
                  <a:lnTo>
                    <a:pt x="789" y="154"/>
                  </a:lnTo>
                  <a:lnTo>
                    <a:pt x="790" y="153"/>
                  </a:lnTo>
                  <a:lnTo>
                    <a:pt x="791" y="151"/>
                  </a:lnTo>
                  <a:lnTo>
                    <a:pt x="791" y="150"/>
                  </a:lnTo>
                  <a:lnTo>
                    <a:pt x="790" y="150"/>
                  </a:lnTo>
                  <a:lnTo>
                    <a:pt x="790" y="149"/>
                  </a:lnTo>
                  <a:lnTo>
                    <a:pt x="789" y="150"/>
                  </a:lnTo>
                  <a:lnTo>
                    <a:pt x="788" y="150"/>
                  </a:lnTo>
                  <a:lnTo>
                    <a:pt x="786" y="150"/>
                  </a:lnTo>
                  <a:lnTo>
                    <a:pt x="788" y="150"/>
                  </a:lnTo>
                  <a:lnTo>
                    <a:pt x="786" y="150"/>
                  </a:lnTo>
                  <a:lnTo>
                    <a:pt x="785" y="150"/>
                  </a:lnTo>
                  <a:lnTo>
                    <a:pt x="784" y="150"/>
                  </a:lnTo>
                  <a:lnTo>
                    <a:pt x="784" y="149"/>
                  </a:lnTo>
                  <a:lnTo>
                    <a:pt x="785" y="149"/>
                  </a:lnTo>
                  <a:lnTo>
                    <a:pt x="785" y="148"/>
                  </a:lnTo>
                  <a:lnTo>
                    <a:pt x="784" y="148"/>
                  </a:lnTo>
                  <a:lnTo>
                    <a:pt x="784" y="149"/>
                  </a:lnTo>
                  <a:lnTo>
                    <a:pt x="783" y="148"/>
                  </a:lnTo>
                  <a:lnTo>
                    <a:pt x="784" y="148"/>
                  </a:lnTo>
                  <a:lnTo>
                    <a:pt x="783" y="148"/>
                  </a:lnTo>
                  <a:lnTo>
                    <a:pt x="783" y="147"/>
                  </a:lnTo>
                  <a:lnTo>
                    <a:pt x="782" y="147"/>
                  </a:lnTo>
                  <a:lnTo>
                    <a:pt x="782" y="148"/>
                  </a:lnTo>
                  <a:lnTo>
                    <a:pt x="782" y="147"/>
                  </a:lnTo>
                  <a:lnTo>
                    <a:pt x="781" y="147"/>
                  </a:lnTo>
                  <a:lnTo>
                    <a:pt x="781" y="146"/>
                  </a:lnTo>
                  <a:lnTo>
                    <a:pt x="782" y="146"/>
                  </a:lnTo>
                  <a:lnTo>
                    <a:pt x="783" y="146"/>
                  </a:lnTo>
                  <a:lnTo>
                    <a:pt x="782" y="146"/>
                  </a:lnTo>
                  <a:lnTo>
                    <a:pt x="783" y="146"/>
                  </a:lnTo>
                  <a:lnTo>
                    <a:pt x="784" y="146"/>
                  </a:lnTo>
                  <a:lnTo>
                    <a:pt x="784" y="144"/>
                  </a:lnTo>
                  <a:lnTo>
                    <a:pt x="783" y="144"/>
                  </a:lnTo>
                  <a:lnTo>
                    <a:pt x="782" y="144"/>
                  </a:lnTo>
                  <a:lnTo>
                    <a:pt x="781" y="144"/>
                  </a:lnTo>
                  <a:lnTo>
                    <a:pt x="782" y="144"/>
                  </a:lnTo>
                  <a:lnTo>
                    <a:pt x="783" y="144"/>
                  </a:lnTo>
                  <a:lnTo>
                    <a:pt x="782" y="144"/>
                  </a:lnTo>
                  <a:lnTo>
                    <a:pt x="782" y="146"/>
                  </a:lnTo>
                  <a:lnTo>
                    <a:pt x="781" y="146"/>
                  </a:lnTo>
                  <a:lnTo>
                    <a:pt x="779" y="147"/>
                  </a:lnTo>
                  <a:lnTo>
                    <a:pt x="778" y="147"/>
                  </a:lnTo>
                  <a:lnTo>
                    <a:pt x="778" y="148"/>
                  </a:lnTo>
                  <a:lnTo>
                    <a:pt x="778" y="147"/>
                  </a:lnTo>
                  <a:lnTo>
                    <a:pt x="777" y="147"/>
                  </a:lnTo>
                  <a:lnTo>
                    <a:pt x="778" y="147"/>
                  </a:lnTo>
                  <a:lnTo>
                    <a:pt x="779" y="147"/>
                  </a:lnTo>
                  <a:lnTo>
                    <a:pt x="779" y="146"/>
                  </a:lnTo>
                  <a:lnTo>
                    <a:pt x="778" y="146"/>
                  </a:lnTo>
                  <a:lnTo>
                    <a:pt x="778" y="147"/>
                  </a:lnTo>
                  <a:lnTo>
                    <a:pt x="777" y="147"/>
                  </a:lnTo>
                  <a:lnTo>
                    <a:pt x="776" y="147"/>
                  </a:lnTo>
                  <a:lnTo>
                    <a:pt x="775" y="147"/>
                  </a:lnTo>
                  <a:lnTo>
                    <a:pt x="775" y="148"/>
                  </a:lnTo>
                  <a:lnTo>
                    <a:pt x="776" y="148"/>
                  </a:lnTo>
                  <a:lnTo>
                    <a:pt x="777" y="148"/>
                  </a:lnTo>
                  <a:lnTo>
                    <a:pt x="777" y="149"/>
                  </a:lnTo>
                  <a:lnTo>
                    <a:pt x="778" y="149"/>
                  </a:lnTo>
                  <a:lnTo>
                    <a:pt x="779" y="149"/>
                  </a:lnTo>
                  <a:lnTo>
                    <a:pt x="781" y="149"/>
                  </a:lnTo>
                  <a:lnTo>
                    <a:pt x="781" y="150"/>
                  </a:lnTo>
                  <a:lnTo>
                    <a:pt x="781" y="151"/>
                  </a:lnTo>
                  <a:lnTo>
                    <a:pt x="779" y="151"/>
                  </a:lnTo>
                  <a:lnTo>
                    <a:pt x="779" y="153"/>
                  </a:lnTo>
                  <a:lnTo>
                    <a:pt x="779" y="154"/>
                  </a:lnTo>
                  <a:lnTo>
                    <a:pt x="778" y="154"/>
                  </a:lnTo>
                  <a:lnTo>
                    <a:pt x="777" y="154"/>
                  </a:lnTo>
                  <a:lnTo>
                    <a:pt x="777" y="155"/>
                  </a:lnTo>
                  <a:lnTo>
                    <a:pt x="774" y="155"/>
                  </a:lnTo>
                  <a:lnTo>
                    <a:pt x="771" y="155"/>
                  </a:lnTo>
                  <a:lnTo>
                    <a:pt x="768" y="155"/>
                  </a:lnTo>
                  <a:lnTo>
                    <a:pt x="768" y="154"/>
                  </a:lnTo>
                  <a:lnTo>
                    <a:pt x="767" y="154"/>
                  </a:lnTo>
                  <a:lnTo>
                    <a:pt x="765" y="154"/>
                  </a:lnTo>
                  <a:lnTo>
                    <a:pt x="765" y="153"/>
                  </a:lnTo>
                  <a:lnTo>
                    <a:pt x="764" y="153"/>
                  </a:lnTo>
                  <a:lnTo>
                    <a:pt x="763" y="154"/>
                  </a:lnTo>
                  <a:lnTo>
                    <a:pt x="763" y="153"/>
                  </a:lnTo>
                  <a:lnTo>
                    <a:pt x="761" y="153"/>
                  </a:lnTo>
                  <a:lnTo>
                    <a:pt x="759" y="153"/>
                  </a:lnTo>
                  <a:lnTo>
                    <a:pt x="757" y="153"/>
                  </a:lnTo>
                  <a:lnTo>
                    <a:pt x="756" y="153"/>
                  </a:lnTo>
                  <a:lnTo>
                    <a:pt x="756" y="151"/>
                  </a:lnTo>
                  <a:lnTo>
                    <a:pt x="755" y="151"/>
                  </a:lnTo>
                  <a:lnTo>
                    <a:pt x="752" y="151"/>
                  </a:lnTo>
                  <a:lnTo>
                    <a:pt x="750" y="151"/>
                  </a:lnTo>
                  <a:lnTo>
                    <a:pt x="750" y="153"/>
                  </a:lnTo>
                  <a:lnTo>
                    <a:pt x="752" y="153"/>
                  </a:lnTo>
                  <a:lnTo>
                    <a:pt x="753" y="153"/>
                  </a:lnTo>
                  <a:lnTo>
                    <a:pt x="754" y="153"/>
                  </a:lnTo>
                  <a:lnTo>
                    <a:pt x="755" y="153"/>
                  </a:lnTo>
                  <a:lnTo>
                    <a:pt x="755" y="154"/>
                  </a:lnTo>
                  <a:lnTo>
                    <a:pt x="754" y="154"/>
                  </a:lnTo>
                  <a:lnTo>
                    <a:pt x="755" y="154"/>
                  </a:lnTo>
                  <a:lnTo>
                    <a:pt x="755" y="155"/>
                  </a:lnTo>
                  <a:lnTo>
                    <a:pt x="756" y="156"/>
                  </a:lnTo>
                  <a:lnTo>
                    <a:pt x="755" y="156"/>
                  </a:lnTo>
                  <a:lnTo>
                    <a:pt x="754" y="157"/>
                  </a:lnTo>
                  <a:lnTo>
                    <a:pt x="754" y="156"/>
                  </a:lnTo>
                  <a:lnTo>
                    <a:pt x="753" y="156"/>
                  </a:lnTo>
                  <a:lnTo>
                    <a:pt x="753" y="155"/>
                  </a:lnTo>
                  <a:lnTo>
                    <a:pt x="752" y="155"/>
                  </a:lnTo>
                  <a:lnTo>
                    <a:pt x="752" y="154"/>
                  </a:lnTo>
                  <a:lnTo>
                    <a:pt x="750" y="154"/>
                  </a:lnTo>
                  <a:lnTo>
                    <a:pt x="749" y="154"/>
                  </a:lnTo>
                  <a:lnTo>
                    <a:pt x="748" y="154"/>
                  </a:lnTo>
                  <a:lnTo>
                    <a:pt x="748" y="153"/>
                  </a:lnTo>
                  <a:lnTo>
                    <a:pt x="747" y="153"/>
                  </a:lnTo>
                  <a:lnTo>
                    <a:pt x="747" y="151"/>
                  </a:lnTo>
                  <a:lnTo>
                    <a:pt x="746" y="151"/>
                  </a:lnTo>
                  <a:lnTo>
                    <a:pt x="745" y="151"/>
                  </a:lnTo>
                  <a:lnTo>
                    <a:pt x="743" y="150"/>
                  </a:lnTo>
                  <a:lnTo>
                    <a:pt x="742" y="150"/>
                  </a:lnTo>
                  <a:lnTo>
                    <a:pt x="741" y="149"/>
                  </a:lnTo>
                  <a:lnTo>
                    <a:pt x="740" y="149"/>
                  </a:lnTo>
                  <a:lnTo>
                    <a:pt x="739" y="149"/>
                  </a:lnTo>
                  <a:lnTo>
                    <a:pt x="740" y="150"/>
                  </a:lnTo>
                  <a:lnTo>
                    <a:pt x="741" y="150"/>
                  </a:lnTo>
                  <a:lnTo>
                    <a:pt x="742" y="150"/>
                  </a:lnTo>
                  <a:lnTo>
                    <a:pt x="745" y="151"/>
                  </a:lnTo>
                  <a:lnTo>
                    <a:pt x="746" y="153"/>
                  </a:lnTo>
                  <a:lnTo>
                    <a:pt x="747" y="153"/>
                  </a:lnTo>
                  <a:lnTo>
                    <a:pt x="747" y="154"/>
                  </a:lnTo>
                  <a:lnTo>
                    <a:pt x="748" y="154"/>
                  </a:lnTo>
                  <a:lnTo>
                    <a:pt x="749" y="154"/>
                  </a:lnTo>
                  <a:lnTo>
                    <a:pt x="748" y="154"/>
                  </a:lnTo>
                  <a:lnTo>
                    <a:pt x="748" y="155"/>
                  </a:lnTo>
                  <a:lnTo>
                    <a:pt x="747" y="155"/>
                  </a:lnTo>
                  <a:lnTo>
                    <a:pt x="746" y="155"/>
                  </a:lnTo>
                  <a:lnTo>
                    <a:pt x="745" y="155"/>
                  </a:lnTo>
                  <a:lnTo>
                    <a:pt x="743" y="155"/>
                  </a:lnTo>
                  <a:lnTo>
                    <a:pt x="743" y="156"/>
                  </a:lnTo>
                  <a:lnTo>
                    <a:pt x="742" y="156"/>
                  </a:lnTo>
                  <a:lnTo>
                    <a:pt x="741" y="156"/>
                  </a:lnTo>
                  <a:lnTo>
                    <a:pt x="742" y="156"/>
                  </a:lnTo>
                  <a:lnTo>
                    <a:pt x="742" y="155"/>
                  </a:lnTo>
                  <a:lnTo>
                    <a:pt x="741" y="155"/>
                  </a:lnTo>
                  <a:lnTo>
                    <a:pt x="742" y="155"/>
                  </a:lnTo>
                  <a:lnTo>
                    <a:pt x="741" y="155"/>
                  </a:lnTo>
                  <a:lnTo>
                    <a:pt x="740" y="155"/>
                  </a:lnTo>
                  <a:lnTo>
                    <a:pt x="739" y="155"/>
                  </a:lnTo>
                  <a:lnTo>
                    <a:pt x="739" y="154"/>
                  </a:lnTo>
                  <a:lnTo>
                    <a:pt x="738" y="154"/>
                  </a:lnTo>
                  <a:lnTo>
                    <a:pt x="736" y="154"/>
                  </a:lnTo>
                  <a:lnTo>
                    <a:pt x="736" y="153"/>
                  </a:lnTo>
                  <a:lnTo>
                    <a:pt x="735" y="153"/>
                  </a:lnTo>
                  <a:lnTo>
                    <a:pt x="734" y="153"/>
                  </a:lnTo>
                  <a:lnTo>
                    <a:pt x="733" y="154"/>
                  </a:lnTo>
                  <a:lnTo>
                    <a:pt x="732" y="154"/>
                  </a:lnTo>
                  <a:lnTo>
                    <a:pt x="731" y="154"/>
                  </a:lnTo>
                  <a:lnTo>
                    <a:pt x="729" y="154"/>
                  </a:lnTo>
                  <a:lnTo>
                    <a:pt x="726" y="154"/>
                  </a:lnTo>
                  <a:lnTo>
                    <a:pt x="722" y="154"/>
                  </a:lnTo>
                  <a:lnTo>
                    <a:pt x="721" y="153"/>
                  </a:lnTo>
                  <a:lnTo>
                    <a:pt x="719" y="153"/>
                  </a:lnTo>
                  <a:lnTo>
                    <a:pt x="718" y="153"/>
                  </a:lnTo>
                  <a:lnTo>
                    <a:pt x="719" y="153"/>
                  </a:lnTo>
                  <a:lnTo>
                    <a:pt x="719" y="151"/>
                  </a:lnTo>
                  <a:lnTo>
                    <a:pt x="720" y="151"/>
                  </a:lnTo>
                  <a:lnTo>
                    <a:pt x="719" y="151"/>
                  </a:lnTo>
                  <a:lnTo>
                    <a:pt x="718" y="151"/>
                  </a:lnTo>
                  <a:lnTo>
                    <a:pt x="718" y="153"/>
                  </a:lnTo>
                  <a:lnTo>
                    <a:pt x="715" y="151"/>
                  </a:lnTo>
                  <a:lnTo>
                    <a:pt x="714" y="151"/>
                  </a:lnTo>
                  <a:lnTo>
                    <a:pt x="713" y="151"/>
                  </a:lnTo>
                  <a:lnTo>
                    <a:pt x="712" y="151"/>
                  </a:lnTo>
                  <a:lnTo>
                    <a:pt x="710" y="151"/>
                  </a:lnTo>
                  <a:lnTo>
                    <a:pt x="708" y="151"/>
                  </a:lnTo>
                  <a:lnTo>
                    <a:pt x="708" y="153"/>
                  </a:lnTo>
                  <a:lnTo>
                    <a:pt x="711" y="153"/>
                  </a:lnTo>
                  <a:lnTo>
                    <a:pt x="712" y="153"/>
                  </a:lnTo>
                  <a:lnTo>
                    <a:pt x="713" y="153"/>
                  </a:lnTo>
                  <a:lnTo>
                    <a:pt x="714" y="153"/>
                  </a:lnTo>
                  <a:lnTo>
                    <a:pt x="713" y="154"/>
                  </a:lnTo>
                  <a:lnTo>
                    <a:pt x="711" y="153"/>
                  </a:lnTo>
                  <a:lnTo>
                    <a:pt x="708" y="153"/>
                  </a:lnTo>
                  <a:lnTo>
                    <a:pt x="706" y="153"/>
                  </a:lnTo>
                  <a:lnTo>
                    <a:pt x="705" y="151"/>
                  </a:lnTo>
                  <a:lnTo>
                    <a:pt x="704" y="150"/>
                  </a:lnTo>
                  <a:lnTo>
                    <a:pt x="704" y="149"/>
                  </a:lnTo>
                  <a:lnTo>
                    <a:pt x="704" y="148"/>
                  </a:lnTo>
                  <a:lnTo>
                    <a:pt x="705" y="148"/>
                  </a:lnTo>
                  <a:lnTo>
                    <a:pt x="706" y="148"/>
                  </a:lnTo>
                  <a:lnTo>
                    <a:pt x="707" y="147"/>
                  </a:lnTo>
                  <a:lnTo>
                    <a:pt x="708" y="147"/>
                  </a:lnTo>
                  <a:lnTo>
                    <a:pt x="708" y="146"/>
                  </a:lnTo>
                  <a:lnTo>
                    <a:pt x="707" y="146"/>
                  </a:lnTo>
                  <a:lnTo>
                    <a:pt x="708" y="147"/>
                  </a:lnTo>
                  <a:lnTo>
                    <a:pt x="707" y="147"/>
                  </a:lnTo>
                  <a:lnTo>
                    <a:pt x="706" y="147"/>
                  </a:lnTo>
                  <a:lnTo>
                    <a:pt x="705" y="148"/>
                  </a:lnTo>
                  <a:lnTo>
                    <a:pt x="704" y="148"/>
                  </a:lnTo>
                  <a:lnTo>
                    <a:pt x="704" y="149"/>
                  </a:lnTo>
                  <a:lnTo>
                    <a:pt x="701" y="149"/>
                  </a:lnTo>
                  <a:lnTo>
                    <a:pt x="701" y="148"/>
                  </a:lnTo>
                  <a:lnTo>
                    <a:pt x="703" y="148"/>
                  </a:lnTo>
                  <a:lnTo>
                    <a:pt x="701" y="148"/>
                  </a:lnTo>
                  <a:lnTo>
                    <a:pt x="700" y="147"/>
                  </a:lnTo>
                  <a:lnTo>
                    <a:pt x="701" y="147"/>
                  </a:lnTo>
                  <a:lnTo>
                    <a:pt x="700" y="147"/>
                  </a:lnTo>
                  <a:lnTo>
                    <a:pt x="699" y="147"/>
                  </a:lnTo>
                  <a:lnTo>
                    <a:pt x="699" y="148"/>
                  </a:lnTo>
                  <a:lnTo>
                    <a:pt x="698" y="148"/>
                  </a:lnTo>
                  <a:lnTo>
                    <a:pt x="700" y="148"/>
                  </a:lnTo>
                  <a:lnTo>
                    <a:pt x="700" y="149"/>
                  </a:lnTo>
                  <a:lnTo>
                    <a:pt x="699" y="149"/>
                  </a:lnTo>
                  <a:lnTo>
                    <a:pt x="696" y="149"/>
                  </a:lnTo>
                  <a:lnTo>
                    <a:pt x="695" y="149"/>
                  </a:lnTo>
                  <a:lnTo>
                    <a:pt x="692" y="149"/>
                  </a:lnTo>
                  <a:lnTo>
                    <a:pt x="693" y="149"/>
                  </a:lnTo>
                  <a:lnTo>
                    <a:pt x="691" y="150"/>
                  </a:lnTo>
                  <a:lnTo>
                    <a:pt x="690" y="150"/>
                  </a:lnTo>
                  <a:lnTo>
                    <a:pt x="690" y="149"/>
                  </a:lnTo>
                  <a:lnTo>
                    <a:pt x="689" y="149"/>
                  </a:lnTo>
                  <a:lnTo>
                    <a:pt x="688" y="149"/>
                  </a:lnTo>
                  <a:lnTo>
                    <a:pt x="688" y="148"/>
                  </a:lnTo>
                  <a:lnTo>
                    <a:pt x="688" y="149"/>
                  </a:lnTo>
                  <a:lnTo>
                    <a:pt x="689" y="149"/>
                  </a:lnTo>
                  <a:lnTo>
                    <a:pt x="690" y="149"/>
                  </a:lnTo>
                  <a:lnTo>
                    <a:pt x="691" y="149"/>
                  </a:lnTo>
                  <a:lnTo>
                    <a:pt x="690" y="149"/>
                  </a:lnTo>
                  <a:lnTo>
                    <a:pt x="689" y="148"/>
                  </a:lnTo>
                  <a:lnTo>
                    <a:pt x="688" y="148"/>
                  </a:lnTo>
                  <a:lnTo>
                    <a:pt x="688" y="147"/>
                  </a:lnTo>
                  <a:lnTo>
                    <a:pt x="686" y="147"/>
                  </a:lnTo>
                  <a:lnTo>
                    <a:pt x="684" y="147"/>
                  </a:lnTo>
                  <a:lnTo>
                    <a:pt x="683" y="146"/>
                  </a:lnTo>
                  <a:lnTo>
                    <a:pt x="683" y="144"/>
                  </a:lnTo>
                  <a:lnTo>
                    <a:pt x="683" y="143"/>
                  </a:lnTo>
                  <a:lnTo>
                    <a:pt x="682" y="143"/>
                  </a:lnTo>
                  <a:lnTo>
                    <a:pt x="682" y="142"/>
                  </a:lnTo>
                  <a:lnTo>
                    <a:pt x="682" y="141"/>
                  </a:lnTo>
                  <a:lnTo>
                    <a:pt x="683" y="141"/>
                  </a:lnTo>
                  <a:lnTo>
                    <a:pt x="684" y="141"/>
                  </a:lnTo>
                  <a:lnTo>
                    <a:pt x="685" y="141"/>
                  </a:lnTo>
                  <a:lnTo>
                    <a:pt x="685" y="140"/>
                  </a:lnTo>
                  <a:lnTo>
                    <a:pt x="684" y="140"/>
                  </a:lnTo>
                  <a:lnTo>
                    <a:pt x="683" y="140"/>
                  </a:lnTo>
                  <a:lnTo>
                    <a:pt x="683" y="139"/>
                  </a:lnTo>
                  <a:lnTo>
                    <a:pt x="685" y="139"/>
                  </a:lnTo>
                  <a:lnTo>
                    <a:pt x="685" y="140"/>
                  </a:lnTo>
                  <a:lnTo>
                    <a:pt x="686" y="140"/>
                  </a:lnTo>
                  <a:lnTo>
                    <a:pt x="689" y="140"/>
                  </a:lnTo>
                  <a:lnTo>
                    <a:pt x="690" y="140"/>
                  </a:lnTo>
                  <a:lnTo>
                    <a:pt x="691" y="140"/>
                  </a:lnTo>
                  <a:lnTo>
                    <a:pt x="692" y="140"/>
                  </a:lnTo>
                  <a:lnTo>
                    <a:pt x="693" y="140"/>
                  </a:lnTo>
                  <a:lnTo>
                    <a:pt x="693" y="141"/>
                  </a:lnTo>
                  <a:lnTo>
                    <a:pt x="697" y="141"/>
                  </a:lnTo>
                  <a:lnTo>
                    <a:pt x="698" y="141"/>
                  </a:lnTo>
                  <a:lnTo>
                    <a:pt x="699" y="141"/>
                  </a:lnTo>
                  <a:lnTo>
                    <a:pt x="700" y="141"/>
                  </a:lnTo>
                  <a:lnTo>
                    <a:pt x="701" y="141"/>
                  </a:lnTo>
                  <a:lnTo>
                    <a:pt x="703" y="141"/>
                  </a:lnTo>
                  <a:lnTo>
                    <a:pt x="704" y="140"/>
                  </a:lnTo>
                  <a:lnTo>
                    <a:pt x="705" y="140"/>
                  </a:lnTo>
                  <a:lnTo>
                    <a:pt x="706" y="140"/>
                  </a:lnTo>
                  <a:lnTo>
                    <a:pt x="707" y="140"/>
                  </a:lnTo>
                  <a:lnTo>
                    <a:pt x="706" y="140"/>
                  </a:lnTo>
                  <a:lnTo>
                    <a:pt x="704" y="140"/>
                  </a:lnTo>
                  <a:lnTo>
                    <a:pt x="704" y="139"/>
                  </a:lnTo>
                  <a:lnTo>
                    <a:pt x="703" y="139"/>
                  </a:lnTo>
                  <a:lnTo>
                    <a:pt x="701" y="139"/>
                  </a:lnTo>
                  <a:lnTo>
                    <a:pt x="700" y="137"/>
                  </a:lnTo>
                  <a:lnTo>
                    <a:pt x="701" y="137"/>
                  </a:lnTo>
                  <a:lnTo>
                    <a:pt x="701" y="136"/>
                  </a:lnTo>
                  <a:lnTo>
                    <a:pt x="700" y="136"/>
                  </a:lnTo>
                  <a:lnTo>
                    <a:pt x="699" y="137"/>
                  </a:lnTo>
                  <a:lnTo>
                    <a:pt x="698" y="137"/>
                  </a:lnTo>
                  <a:lnTo>
                    <a:pt x="695" y="136"/>
                  </a:lnTo>
                  <a:lnTo>
                    <a:pt x="693" y="137"/>
                  </a:lnTo>
                  <a:lnTo>
                    <a:pt x="690" y="136"/>
                  </a:lnTo>
                  <a:lnTo>
                    <a:pt x="686" y="136"/>
                  </a:lnTo>
                  <a:lnTo>
                    <a:pt x="683" y="136"/>
                  </a:lnTo>
                  <a:lnTo>
                    <a:pt x="683" y="135"/>
                  </a:lnTo>
                  <a:lnTo>
                    <a:pt x="682" y="135"/>
                  </a:lnTo>
                  <a:lnTo>
                    <a:pt x="683" y="135"/>
                  </a:lnTo>
                  <a:lnTo>
                    <a:pt x="682" y="135"/>
                  </a:lnTo>
                  <a:lnTo>
                    <a:pt x="682" y="134"/>
                  </a:lnTo>
                  <a:lnTo>
                    <a:pt x="683" y="134"/>
                  </a:lnTo>
                  <a:lnTo>
                    <a:pt x="682" y="134"/>
                  </a:lnTo>
                  <a:lnTo>
                    <a:pt x="683" y="134"/>
                  </a:lnTo>
                  <a:lnTo>
                    <a:pt x="683" y="133"/>
                  </a:lnTo>
                  <a:lnTo>
                    <a:pt x="684" y="133"/>
                  </a:lnTo>
                  <a:lnTo>
                    <a:pt x="683" y="133"/>
                  </a:lnTo>
                  <a:lnTo>
                    <a:pt x="684" y="132"/>
                  </a:lnTo>
                  <a:lnTo>
                    <a:pt x="685" y="132"/>
                  </a:lnTo>
                  <a:lnTo>
                    <a:pt x="686" y="130"/>
                  </a:lnTo>
                  <a:lnTo>
                    <a:pt x="688" y="130"/>
                  </a:lnTo>
                  <a:lnTo>
                    <a:pt x="686" y="129"/>
                  </a:lnTo>
                  <a:lnTo>
                    <a:pt x="688" y="129"/>
                  </a:lnTo>
                  <a:lnTo>
                    <a:pt x="686" y="129"/>
                  </a:lnTo>
                  <a:lnTo>
                    <a:pt x="688" y="129"/>
                  </a:lnTo>
                  <a:lnTo>
                    <a:pt x="686" y="129"/>
                  </a:lnTo>
                  <a:lnTo>
                    <a:pt x="686" y="128"/>
                  </a:lnTo>
                  <a:lnTo>
                    <a:pt x="688" y="128"/>
                  </a:lnTo>
                  <a:lnTo>
                    <a:pt x="686" y="128"/>
                  </a:lnTo>
                  <a:lnTo>
                    <a:pt x="688" y="128"/>
                  </a:lnTo>
                  <a:lnTo>
                    <a:pt x="688" y="127"/>
                  </a:lnTo>
                  <a:lnTo>
                    <a:pt x="689" y="127"/>
                  </a:lnTo>
                  <a:lnTo>
                    <a:pt x="689" y="126"/>
                  </a:lnTo>
                  <a:lnTo>
                    <a:pt x="692" y="126"/>
                  </a:lnTo>
                  <a:lnTo>
                    <a:pt x="693" y="126"/>
                  </a:lnTo>
                  <a:lnTo>
                    <a:pt x="695" y="125"/>
                  </a:lnTo>
                  <a:lnTo>
                    <a:pt x="693" y="125"/>
                  </a:lnTo>
                  <a:lnTo>
                    <a:pt x="692" y="125"/>
                  </a:lnTo>
                  <a:lnTo>
                    <a:pt x="691" y="125"/>
                  </a:lnTo>
                  <a:lnTo>
                    <a:pt x="692" y="125"/>
                  </a:lnTo>
                  <a:lnTo>
                    <a:pt x="692" y="123"/>
                  </a:lnTo>
                  <a:lnTo>
                    <a:pt x="692" y="122"/>
                  </a:lnTo>
                  <a:lnTo>
                    <a:pt x="693" y="122"/>
                  </a:lnTo>
                  <a:lnTo>
                    <a:pt x="695" y="122"/>
                  </a:lnTo>
                  <a:lnTo>
                    <a:pt x="695" y="121"/>
                  </a:lnTo>
                  <a:lnTo>
                    <a:pt x="696" y="121"/>
                  </a:lnTo>
                  <a:lnTo>
                    <a:pt x="695" y="121"/>
                  </a:lnTo>
                  <a:lnTo>
                    <a:pt x="696" y="121"/>
                  </a:lnTo>
                  <a:lnTo>
                    <a:pt x="697" y="120"/>
                  </a:lnTo>
                  <a:lnTo>
                    <a:pt x="698" y="119"/>
                  </a:lnTo>
                  <a:lnTo>
                    <a:pt x="699" y="119"/>
                  </a:lnTo>
                  <a:lnTo>
                    <a:pt x="700" y="119"/>
                  </a:lnTo>
                  <a:lnTo>
                    <a:pt x="701" y="119"/>
                  </a:lnTo>
                  <a:lnTo>
                    <a:pt x="700" y="118"/>
                  </a:lnTo>
                  <a:lnTo>
                    <a:pt x="701" y="118"/>
                  </a:lnTo>
                  <a:lnTo>
                    <a:pt x="701" y="116"/>
                  </a:lnTo>
                  <a:lnTo>
                    <a:pt x="703" y="116"/>
                  </a:lnTo>
                  <a:lnTo>
                    <a:pt x="703" y="118"/>
                  </a:lnTo>
                  <a:lnTo>
                    <a:pt x="704" y="118"/>
                  </a:lnTo>
                  <a:lnTo>
                    <a:pt x="704" y="116"/>
                  </a:lnTo>
                  <a:lnTo>
                    <a:pt x="705" y="116"/>
                  </a:lnTo>
                  <a:lnTo>
                    <a:pt x="704" y="116"/>
                  </a:lnTo>
                  <a:lnTo>
                    <a:pt x="705" y="115"/>
                  </a:lnTo>
                  <a:lnTo>
                    <a:pt x="706" y="115"/>
                  </a:lnTo>
                  <a:lnTo>
                    <a:pt x="706" y="114"/>
                  </a:lnTo>
                  <a:lnTo>
                    <a:pt x="707" y="114"/>
                  </a:lnTo>
                  <a:lnTo>
                    <a:pt x="707" y="113"/>
                  </a:lnTo>
                  <a:lnTo>
                    <a:pt x="708" y="113"/>
                  </a:lnTo>
                  <a:lnTo>
                    <a:pt x="710" y="113"/>
                  </a:lnTo>
                  <a:lnTo>
                    <a:pt x="710" y="112"/>
                  </a:lnTo>
                  <a:lnTo>
                    <a:pt x="711" y="112"/>
                  </a:lnTo>
                  <a:lnTo>
                    <a:pt x="712" y="112"/>
                  </a:lnTo>
                  <a:lnTo>
                    <a:pt x="713" y="112"/>
                  </a:lnTo>
                  <a:lnTo>
                    <a:pt x="712" y="112"/>
                  </a:lnTo>
                  <a:lnTo>
                    <a:pt x="712" y="111"/>
                  </a:lnTo>
                  <a:lnTo>
                    <a:pt x="713" y="111"/>
                  </a:lnTo>
                  <a:lnTo>
                    <a:pt x="714" y="111"/>
                  </a:lnTo>
                  <a:lnTo>
                    <a:pt x="715" y="111"/>
                  </a:lnTo>
                  <a:lnTo>
                    <a:pt x="717" y="111"/>
                  </a:lnTo>
                  <a:lnTo>
                    <a:pt x="714" y="111"/>
                  </a:lnTo>
                  <a:lnTo>
                    <a:pt x="714" y="109"/>
                  </a:lnTo>
                  <a:lnTo>
                    <a:pt x="715" y="109"/>
                  </a:lnTo>
                  <a:lnTo>
                    <a:pt x="717" y="109"/>
                  </a:lnTo>
                  <a:lnTo>
                    <a:pt x="718" y="109"/>
                  </a:lnTo>
                  <a:lnTo>
                    <a:pt x="719" y="108"/>
                  </a:lnTo>
                  <a:lnTo>
                    <a:pt x="720" y="108"/>
                  </a:lnTo>
                  <a:lnTo>
                    <a:pt x="721" y="107"/>
                  </a:lnTo>
                  <a:lnTo>
                    <a:pt x="726" y="106"/>
                  </a:lnTo>
                  <a:lnTo>
                    <a:pt x="728" y="106"/>
                  </a:lnTo>
                  <a:lnTo>
                    <a:pt x="729" y="105"/>
                  </a:lnTo>
                  <a:lnTo>
                    <a:pt x="732" y="105"/>
                  </a:lnTo>
                  <a:lnTo>
                    <a:pt x="733" y="105"/>
                  </a:lnTo>
                  <a:lnTo>
                    <a:pt x="734" y="105"/>
                  </a:lnTo>
                  <a:lnTo>
                    <a:pt x="736" y="104"/>
                  </a:lnTo>
                  <a:lnTo>
                    <a:pt x="739" y="104"/>
                  </a:lnTo>
                  <a:lnTo>
                    <a:pt x="741" y="104"/>
                  </a:lnTo>
                  <a:lnTo>
                    <a:pt x="742" y="104"/>
                  </a:lnTo>
                  <a:close/>
                  <a:moveTo>
                    <a:pt x="617" y="102"/>
                  </a:moveTo>
                  <a:lnTo>
                    <a:pt x="617" y="104"/>
                  </a:lnTo>
                  <a:lnTo>
                    <a:pt x="619" y="104"/>
                  </a:lnTo>
                  <a:lnTo>
                    <a:pt x="619" y="105"/>
                  </a:lnTo>
                  <a:lnTo>
                    <a:pt x="620" y="105"/>
                  </a:lnTo>
                  <a:lnTo>
                    <a:pt x="619" y="106"/>
                  </a:lnTo>
                  <a:lnTo>
                    <a:pt x="620" y="106"/>
                  </a:lnTo>
                  <a:lnTo>
                    <a:pt x="620" y="105"/>
                  </a:lnTo>
                  <a:lnTo>
                    <a:pt x="621" y="105"/>
                  </a:lnTo>
                  <a:lnTo>
                    <a:pt x="622" y="105"/>
                  </a:lnTo>
                  <a:lnTo>
                    <a:pt x="624" y="105"/>
                  </a:lnTo>
                  <a:lnTo>
                    <a:pt x="625" y="105"/>
                  </a:lnTo>
                  <a:lnTo>
                    <a:pt x="626" y="105"/>
                  </a:lnTo>
                  <a:lnTo>
                    <a:pt x="627" y="105"/>
                  </a:lnTo>
                  <a:lnTo>
                    <a:pt x="627" y="104"/>
                  </a:lnTo>
                  <a:lnTo>
                    <a:pt x="632" y="104"/>
                  </a:lnTo>
                  <a:lnTo>
                    <a:pt x="633" y="104"/>
                  </a:lnTo>
                  <a:lnTo>
                    <a:pt x="634" y="104"/>
                  </a:lnTo>
                  <a:lnTo>
                    <a:pt x="635" y="102"/>
                  </a:lnTo>
                  <a:lnTo>
                    <a:pt x="636" y="102"/>
                  </a:lnTo>
                  <a:lnTo>
                    <a:pt x="635" y="104"/>
                  </a:lnTo>
                  <a:lnTo>
                    <a:pt x="636" y="104"/>
                  </a:lnTo>
                  <a:lnTo>
                    <a:pt x="637" y="102"/>
                  </a:lnTo>
                  <a:lnTo>
                    <a:pt x="639" y="104"/>
                  </a:lnTo>
                  <a:lnTo>
                    <a:pt x="641" y="104"/>
                  </a:lnTo>
                  <a:lnTo>
                    <a:pt x="641" y="105"/>
                  </a:lnTo>
                  <a:lnTo>
                    <a:pt x="642" y="105"/>
                  </a:lnTo>
                  <a:lnTo>
                    <a:pt x="641" y="106"/>
                  </a:lnTo>
                  <a:lnTo>
                    <a:pt x="640" y="106"/>
                  </a:lnTo>
                  <a:lnTo>
                    <a:pt x="637" y="107"/>
                  </a:lnTo>
                  <a:lnTo>
                    <a:pt x="636" y="107"/>
                  </a:lnTo>
                  <a:lnTo>
                    <a:pt x="635" y="107"/>
                  </a:lnTo>
                  <a:lnTo>
                    <a:pt x="634" y="107"/>
                  </a:lnTo>
                  <a:lnTo>
                    <a:pt x="633" y="107"/>
                  </a:lnTo>
                  <a:lnTo>
                    <a:pt x="633" y="108"/>
                  </a:lnTo>
                  <a:lnTo>
                    <a:pt x="632" y="108"/>
                  </a:lnTo>
                  <a:lnTo>
                    <a:pt x="633" y="108"/>
                  </a:lnTo>
                  <a:lnTo>
                    <a:pt x="634" y="108"/>
                  </a:lnTo>
                  <a:lnTo>
                    <a:pt x="635" y="108"/>
                  </a:lnTo>
                  <a:lnTo>
                    <a:pt x="636" y="108"/>
                  </a:lnTo>
                  <a:lnTo>
                    <a:pt x="635" y="108"/>
                  </a:lnTo>
                  <a:lnTo>
                    <a:pt x="635" y="109"/>
                  </a:lnTo>
                  <a:lnTo>
                    <a:pt x="634" y="109"/>
                  </a:lnTo>
                  <a:lnTo>
                    <a:pt x="631" y="111"/>
                  </a:lnTo>
                  <a:lnTo>
                    <a:pt x="629" y="111"/>
                  </a:lnTo>
                  <a:lnTo>
                    <a:pt x="628" y="111"/>
                  </a:lnTo>
                  <a:lnTo>
                    <a:pt x="627" y="111"/>
                  </a:lnTo>
                  <a:lnTo>
                    <a:pt x="627" y="112"/>
                  </a:lnTo>
                  <a:lnTo>
                    <a:pt x="622" y="113"/>
                  </a:lnTo>
                  <a:lnTo>
                    <a:pt x="621" y="113"/>
                  </a:lnTo>
                  <a:lnTo>
                    <a:pt x="620" y="114"/>
                  </a:lnTo>
                  <a:lnTo>
                    <a:pt x="619" y="114"/>
                  </a:lnTo>
                  <a:lnTo>
                    <a:pt x="618" y="114"/>
                  </a:lnTo>
                  <a:lnTo>
                    <a:pt x="618" y="115"/>
                  </a:lnTo>
                  <a:lnTo>
                    <a:pt x="617" y="115"/>
                  </a:lnTo>
                  <a:lnTo>
                    <a:pt x="617" y="116"/>
                  </a:lnTo>
                  <a:lnTo>
                    <a:pt x="618" y="115"/>
                  </a:lnTo>
                  <a:lnTo>
                    <a:pt x="619" y="115"/>
                  </a:lnTo>
                  <a:lnTo>
                    <a:pt x="620" y="114"/>
                  </a:lnTo>
                  <a:lnTo>
                    <a:pt x="621" y="114"/>
                  </a:lnTo>
                  <a:lnTo>
                    <a:pt x="622" y="114"/>
                  </a:lnTo>
                  <a:lnTo>
                    <a:pt x="624" y="114"/>
                  </a:lnTo>
                  <a:lnTo>
                    <a:pt x="625" y="114"/>
                  </a:lnTo>
                  <a:lnTo>
                    <a:pt x="626" y="114"/>
                  </a:lnTo>
                  <a:lnTo>
                    <a:pt x="629" y="115"/>
                  </a:lnTo>
                  <a:lnTo>
                    <a:pt x="628" y="115"/>
                  </a:lnTo>
                  <a:lnTo>
                    <a:pt x="627" y="116"/>
                  </a:lnTo>
                  <a:lnTo>
                    <a:pt x="626" y="116"/>
                  </a:lnTo>
                  <a:lnTo>
                    <a:pt x="628" y="116"/>
                  </a:lnTo>
                  <a:lnTo>
                    <a:pt x="628" y="118"/>
                  </a:lnTo>
                  <a:lnTo>
                    <a:pt x="627" y="118"/>
                  </a:lnTo>
                  <a:lnTo>
                    <a:pt x="626" y="119"/>
                  </a:lnTo>
                  <a:lnTo>
                    <a:pt x="627" y="119"/>
                  </a:lnTo>
                  <a:lnTo>
                    <a:pt x="629" y="119"/>
                  </a:lnTo>
                  <a:lnTo>
                    <a:pt x="632" y="118"/>
                  </a:lnTo>
                  <a:lnTo>
                    <a:pt x="633" y="118"/>
                  </a:lnTo>
                  <a:lnTo>
                    <a:pt x="634" y="118"/>
                  </a:lnTo>
                  <a:lnTo>
                    <a:pt x="633" y="118"/>
                  </a:lnTo>
                  <a:lnTo>
                    <a:pt x="633" y="119"/>
                  </a:lnTo>
                  <a:lnTo>
                    <a:pt x="633" y="120"/>
                  </a:lnTo>
                  <a:lnTo>
                    <a:pt x="632" y="120"/>
                  </a:lnTo>
                  <a:lnTo>
                    <a:pt x="633" y="120"/>
                  </a:lnTo>
                  <a:lnTo>
                    <a:pt x="633" y="121"/>
                  </a:lnTo>
                  <a:lnTo>
                    <a:pt x="632" y="121"/>
                  </a:lnTo>
                  <a:lnTo>
                    <a:pt x="632" y="122"/>
                  </a:lnTo>
                  <a:lnTo>
                    <a:pt x="631" y="122"/>
                  </a:lnTo>
                  <a:lnTo>
                    <a:pt x="629" y="122"/>
                  </a:lnTo>
                  <a:lnTo>
                    <a:pt x="627" y="123"/>
                  </a:lnTo>
                  <a:lnTo>
                    <a:pt x="626" y="122"/>
                  </a:lnTo>
                  <a:lnTo>
                    <a:pt x="625" y="122"/>
                  </a:lnTo>
                  <a:lnTo>
                    <a:pt x="625" y="123"/>
                  </a:lnTo>
                  <a:lnTo>
                    <a:pt x="626" y="123"/>
                  </a:lnTo>
                  <a:lnTo>
                    <a:pt x="627" y="123"/>
                  </a:lnTo>
                  <a:lnTo>
                    <a:pt x="627" y="125"/>
                  </a:lnTo>
                  <a:lnTo>
                    <a:pt x="627" y="126"/>
                  </a:lnTo>
                  <a:lnTo>
                    <a:pt x="626" y="126"/>
                  </a:lnTo>
                  <a:lnTo>
                    <a:pt x="621" y="127"/>
                  </a:lnTo>
                  <a:lnTo>
                    <a:pt x="622" y="127"/>
                  </a:lnTo>
                  <a:lnTo>
                    <a:pt x="624" y="127"/>
                  </a:lnTo>
                  <a:lnTo>
                    <a:pt x="625" y="127"/>
                  </a:lnTo>
                  <a:lnTo>
                    <a:pt x="624" y="128"/>
                  </a:lnTo>
                  <a:lnTo>
                    <a:pt x="624" y="127"/>
                  </a:lnTo>
                  <a:lnTo>
                    <a:pt x="622" y="128"/>
                  </a:lnTo>
                  <a:lnTo>
                    <a:pt x="621" y="128"/>
                  </a:lnTo>
                  <a:lnTo>
                    <a:pt x="622" y="128"/>
                  </a:lnTo>
                  <a:lnTo>
                    <a:pt x="624" y="128"/>
                  </a:lnTo>
                  <a:lnTo>
                    <a:pt x="622" y="129"/>
                  </a:lnTo>
                  <a:lnTo>
                    <a:pt x="621" y="129"/>
                  </a:lnTo>
                  <a:lnTo>
                    <a:pt x="620" y="129"/>
                  </a:lnTo>
                  <a:lnTo>
                    <a:pt x="621" y="129"/>
                  </a:lnTo>
                  <a:lnTo>
                    <a:pt x="620" y="129"/>
                  </a:lnTo>
                  <a:lnTo>
                    <a:pt x="619" y="129"/>
                  </a:lnTo>
                  <a:lnTo>
                    <a:pt x="618" y="129"/>
                  </a:lnTo>
                  <a:lnTo>
                    <a:pt x="617" y="130"/>
                  </a:lnTo>
                  <a:lnTo>
                    <a:pt x="615" y="130"/>
                  </a:lnTo>
                  <a:lnTo>
                    <a:pt x="614" y="132"/>
                  </a:lnTo>
                  <a:lnTo>
                    <a:pt x="613" y="132"/>
                  </a:lnTo>
                  <a:lnTo>
                    <a:pt x="611" y="132"/>
                  </a:lnTo>
                  <a:lnTo>
                    <a:pt x="608" y="132"/>
                  </a:lnTo>
                  <a:lnTo>
                    <a:pt x="607" y="132"/>
                  </a:lnTo>
                  <a:lnTo>
                    <a:pt x="606" y="132"/>
                  </a:lnTo>
                  <a:lnTo>
                    <a:pt x="605" y="132"/>
                  </a:lnTo>
                  <a:lnTo>
                    <a:pt x="604" y="132"/>
                  </a:lnTo>
                  <a:lnTo>
                    <a:pt x="604" y="130"/>
                  </a:lnTo>
                  <a:lnTo>
                    <a:pt x="604" y="129"/>
                  </a:lnTo>
                  <a:lnTo>
                    <a:pt x="605" y="129"/>
                  </a:lnTo>
                  <a:lnTo>
                    <a:pt x="606" y="128"/>
                  </a:lnTo>
                  <a:lnTo>
                    <a:pt x="607" y="128"/>
                  </a:lnTo>
                  <a:lnTo>
                    <a:pt x="606" y="128"/>
                  </a:lnTo>
                  <a:lnTo>
                    <a:pt x="606" y="129"/>
                  </a:lnTo>
                  <a:lnTo>
                    <a:pt x="605" y="129"/>
                  </a:lnTo>
                  <a:lnTo>
                    <a:pt x="604" y="129"/>
                  </a:lnTo>
                  <a:lnTo>
                    <a:pt x="603" y="130"/>
                  </a:lnTo>
                  <a:lnTo>
                    <a:pt x="601" y="130"/>
                  </a:lnTo>
                  <a:lnTo>
                    <a:pt x="603" y="130"/>
                  </a:lnTo>
                  <a:lnTo>
                    <a:pt x="603" y="132"/>
                  </a:lnTo>
                  <a:lnTo>
                    <a:pt x="603" y="133"/>
                  </a:lnTo>
                  <a:lnTo>
                    <a:pt x="604" y="133"/>
                  </a:lnTo>
                  <a:lnTo>
                    <a:pt x="603" y="133"/>
                  </a:lnTo>
                  <a:lnTo>
                    <a:pt x="604" y="133"/>
                  </a:lnTo>
                  <a:lnTo>
                    <a:pt x="603" y="134"/>
                  </a:lnTo>
                  <a:lnTo>
                    <a:pt x="601" y="134"/>
                  </a:lnTo>
                  <a:lnTo>
                    <a:pt x="600" y="135"/>
                  </a:lnTo>
                  <a:lnTo>
                    <a:pt x="599" y="135"/>
                  </a:lnTo>
                  <a:lnTo>
                    <a:pt x="598" y="135"/>
                  </a:lnTo>
                  <a:lnTo>
                    <a:pt x="597" y="136"/>
                  </a:lnTo>
                  <a:lnTo>
                    <a:pt x="596" y="136"/>
                  </a:lnTo>
                  <a:lnTo>
                    <a:pt x="594" y="136"/>
                  </a:lnTo>
                  <a:lnTo>
                    <a:pt x="593" y="136"/>
                  </a:lnTo>
                  <a:lnTo>
                    <a:pt x="593" y="135"/>
                  </a:lnTo>
                  <a:lnTo>
                    <a:pt x="592" y="135"/>
                  </a:lnTo>
                  <a:lnTo>
                    <a:pt x="591" y="135"/>
                  </a:lnTo>
                  <a:lnTo>
                    <a:pt x="590" y="135"/>
                  </a:lnTo>
                  <a:lnTo>
                    <a:pt x="590" y="134"/>
                  </a:lnTo>
                  <a:lnTo>
                    <a:pt x="591" y="134"/>
                  </a:lnTo>
                  <a:lnTo>
                    <a:pt x="591" y="133"/>
                  </a:lnTo>
                  <a:lnTo>
                    <a:pt x="591" y="132"/>
                  </a:lnTo>
                  <a:lnTo>
                    <a:pt x="590" y="132"/>
                  </a:lnTo>
                  <a:lnTo>
                    <a:pt x="591" y="132"/>
                  </a:lnTo>
                  <a:lnTo>
                    <a:pt x="591" y="130"/>
                  </a:lnTo>
                  <a:lnTo>
                    <a:pt x="590" y="130"/>
                  </a:lnTo>
                  <a:lnTo>
                    <a:pt x="591" y="130"/>
                  </a:lnTo>
                  <a:lnTo>
                    <a:pt x="590" y="129"/>
                  </a:lnTo>
                  <a:lnTo>
                    <a:pt x="589" y="129"/>
                  </a:lnTo>
                  <a:lnTo>
                    <a:pt x="589" y="128"/>
                  </a:lnTo>
                  <a:lnTo>
                    <a:pt x="587" y="128"/>
                  </a:lnTo>
                  <a:lnTo>
                    <a:pt x="587" y="127"/>
                  </a:lnTo>
                  <a:lnTo>
                    <a:pt x="587" y="126"/>
                  </a:lnTo>
                  <a:lnTo>
                    <a:pt x="586" y="126"/>
                  </a:lnTo>
                  <a:lnTo>
                    <a:pt x="586" y="125"/>
                  </a:lnTo>
                  <a:lnTo>
                    <a:pt x="585" y="125"/>
                  </a:lnTo>
                  <a:lnTo>
                    <a:pt x="584" y="125"/>
                  </a:lnTo>
                  <a:lnTo>
                    <a:pt x="583" y="125"/>
                  </a:lnTo>
                  <a:lnTo>
                    <a:pt x="583" y="123"/>
                  </a:lnTo>
                  <a:lnTo>
                    <a:pt x="584" y="123"/>
                  </a:lnTo>
                  <a:lnTo>
                    <a:pt x="583" y="123"/>
                  </a:lnTo>
                  <a:lnTo>
                    <a:pt x="584" y="123"/>
                  </a:lnTo>
                  <a:lnTo>
                    <a:pt x="583" y="123"/>
                  </a:lnTo>
                  <a:lnTo>
                    <a:pt x="583" y="122"/>
                  </a:lnTo>
                  <a:lnTo>
                    <a:pt x="582" y="122"/>
                  </a:lnTo>
                  <a:lnTo>
                    <a:pt x="582" y="123"/>
                  </a:lnTo>
                  <a:lnTo>
                    <a:pt x="580" y="123"/>
                  </a:lnTo>
                  <a:lnTo>
                    <a:pt x="579" y="123"/>
                  </a:lnTo>
                  <a:lnTo>
                    <a:pt x="578" y="123"/>
                  </a:lnTo>
                  <a:lnTo>
                    <a:pt x="577" y="123"/>
                  </a:lnTo>
                  <a:lnTo>
                    <a:pt x="577" y="122"/>
                  </a:lnTo>
                  <a:lnTo>
                    <a:pt x="578" y="122"/>
                  </a:lnTo>
                  <a:lnTo>
                    <a:pt x="577" y="122"/>
                  </a:lnTo>
                  <a:lnTo>
                    <a:pt x="577" y="121"/>
                  </a:lnTo>
                  <a:lnTo>
                    <a:pt x="578" y="121"/>
                  </a:lnTo>
                  <a:lnTo>
                    <a:pt x="577" y="121"/>
                  </a:lnTo>
                  <a:lnTo>
                    <a:pt x="577" y="120"/>
                  </a:lnTo>
                  <a:lnTo>
                    <a:pt x="576" y="120"/>
                  </a:lnTo>
                  <a:lnTo>
                    <a:pt x="575" y="120"/>
                  </a:lnTo>
                  <a:lnTo>
                    <a:pt x="575" y="119"/>
                  </a:lnTo>
                  <a:lnTo>
                    <a:pt x="573" y="119"/>
                  </a:lnTo>
                  <a:lnTo>
                    <a:pt x="573" y="118"/>
                  </a:lnTo>
                  <a:lnTo>
                    <a:pt x="573" y="116"/>
                  </a:lnTo>
                  <a:lnTo>
                    <a:pt x="575" y="116"/>
                  </a:lnTo>
                  <a:lnTo>
                    <a:pt x="576" y="116"/>
                  </a:lnTo>
                  <a:lnTo>
                    <a:pt x="577" y="115"/>
                  </a:lnTo>
                  <a:lnTo>
                    <a:pt x="578" y="115"/>
                  </a:lnTo>
                  <a:lnTo>
                    <a:pt x="578" y="114"/>
                  </a:lnTo>
                  <a:lnTo>
                    <a:pt x="579" y="114"/>
                  </a:lnTo>
                  <a:lnTo>
                    <a:pt x="580" y="114"/>
                  </a:lnTo>
                  <a:lnTo>
                    <a:pt x="582" y="113"/>
                  </a:lnTo>
                  <a:lnTo>
                    <a:pt x="580" y="113"/>
                  </a:lnTo>
                  <a:lnTo>
                    <a:pt x="582" y="113"/>
                  </a:lnTo>
                  <a:lnTo>
                    <a:pt x="583" y="113"/>
                  </a:lnTo>
                  <a:lnTo>
                    <a:pt x="584" y="113"/>
                  </a:lnTo>
                  <a:lnTo>
                    <a:pt x="585" y="113"/>
                  </a:lnTo>
                  <a:lnTo>
                    <a:pt x="585" y="114"/>
                  </a:lnTo>
                  <a:lnTo>
                    <a:pt x="585" y="113"/>
                  </a:lnTo>
                  <a:lnTo>
                    <a:pt x="585" y="114"/>
                  </a:lnTo>
                  <a:lnTo>
                    <a:pt x="586" y="114"/>
                  </a:lnTo>
                  <a:lnTo>
                    <a:pt x="585" y="114"/>
                  </a:lnTo>
                  <a:lnTo>
                    <a:pt x="585" y="115"/>
                  </a:lnTo>
                  <a:lnTo>
                    <a:pt x="586" y="115"/>
                  </a:lnTo>
                  <a:lnTo>
                    <a:pt x="587" y="115"/>
                  </a:lnTo>
                  <a:lnTo>
                    <a:pt x="586" y="115"/>
                  </a:lnTo>
                  <a:lnTo>
                    <a:pt x="587" y="115"/>
                  </a:lnTo>
                  <a:lnTo>
                    <a:pt x="587" y="116"/>
                  </a:lnTo>
                  <a:lnTo>
                    <a:pt x="586" y="116"/>
                  </a:lnTo>
                  <a:lnTo>
                    <a:pt x="587" y="116"/>
                  </a:lnTo>
                  <a:lnTo>
                    <a:pt x="587" y="118"/>
                  </a:lnTo>
                  <a:lnTo>
                    <a:pt x="587" y="116"/>
                  </a:lnTo>
                  <a:lnTo>
                    <a:pt x="589" y="116"/>
                  </a:lnTo>
                  <a:lnTo>
                    <a:pt x="589" y="118"/>
                  </a:lnTo>
                  <a:lnTo>
                    <a:pt x="587" y="118"/>
                  </a:lnTo>
                  <a:lnTo>
                    <a:pt x="586" y="118"/>
                  </a:lnTo>
                  <a:lnTo>
                    <a:pt x="587" y="118"/>
                  </a:lnTo>
                  <a:lnTo>
                    <a:pt x="589" y="118"/>
                  </a:lnTo>
                  <a:lnTo>
                    <a:pt x="590" y="118"/>
                  </a:lnTo>
                  <a:lnTo>
                    <a:pt x="591" y="118"/>
                  </a:lnTo>
                  <a:lnTo>
                    <a:pt x="592" y="118"/>
                  </a:lnTo>
                  <a:lnTo>
                    <a:pt x="591" y="118"/>
                  </a:lnTo>
                  <a:lnTo>
                    <a:pt x="592" y="118"/>
                  </a:lnTo>
                  <a:lnTo>
                    <a:pt x="593" y="118"/>
                  </a:lnTo>
                  <a:lnTo>
                    <a:pt x="594" y="118"/>
                  </a:lnTo>
                  <a:lnTo>
                    <a:pt x="596" y="118"/>
                  </a:lnTo>
                  <a:lnTo>
                    <a:pt x="597" y="118"/>
                  </a:lnTo>
                  <a:lnTo>
                    <a:pt x="597" y="116"/>
                  </a:lnTo>
                  <a:lnTo>
                    <a:pt x="598" y="116"/>
                  </a:lnTo>
                  <a:lnTo>
                    <a:pt x="598" y="115"/>
                  </a:lnTo>
                  <a:lnTo>
                    <a:pt x="599" y="115"/>
                  </a:lnTo>
                  <a:lnTo>
                    <a:pt x="598" y="115"/>
                  </a:lnTo>
                  <a:lnTo>
                    <a:pt x="598" y="114"/>
                  </a:lnTo>
                  <a:lnTo>
                    <a:pt x="599" y="114"/>
                  </a:lnTo>
                  <a:lnTo>
                    <a:pt x="600" y="114"/>
                  </a:lnTo>
                  <a:lnTo>
                    <a:pt x="599" y="114"/>
                  </a:lnTo>
                  <a:lnTo>
                    <a:pt x="600" y="114"/>
                  </a:lnTo>
                  <a:lnTo>
                    <a:pt x="599" y="114"/>
                  </a:lnTo>
                  <a:lnTo>
                    <a:pt x="599" y="115"/>
                  </a:lnTo>
                  <a:lnTo>
                    <a:pt x="600" y="115"/>
                  </a:lnTo>
                  <a:lnTo>
                    <a:pt x="599" y="115"/>
                  </a:lnTo>
                  <a:lnTo>
                    <a:pt x="600" y="115"/>
                  </a:lnTo>
                  <a:lnTo>
                    <a:pt x="599" y="115"/>
                  </a:lnTo>
                  <a:lnTo>
                    <a:pt x="600" y="115"/>
                  </a:lnTo>
                  <a:lnTo>
                    <a:pt x="601" y="115"/>
                  </a:lnTo>
                  <a:lnTo>
                    <a:pt x="603" y="115"/>
                  </a:lnTo>
                  <a:lnTo>
                    <a:pt x="603" y="114"/>
                  </a:lnTo>
                  <a:lnTo>
                    <a:pt x="601" y="114"/>
                  </a:lnTo>
                  <a:lnTo>
                    <a:pt x="603" y="114"/>
                  </a:lnTo>
                  <a:lnTo>
                    <a:pt x="601" y="114"/>
                  </a:lnTo>
                  <a:lnTo>
                    <a:pt x="603" y="113"/>
                  </a:lnTo>
                  <a:lnTo>
                    <a:pt x="601" y="113"/>
                  </a:lnTo>
                  <a:lnTo>
                    <a:pt x="603" y="113"/>
                  </a:lnTo>
                  <a:lnTo>
                    <a:pt x="601" y="113"/>
                  </a:lnTo>
                  <a:lnTo>
                    <a:pt x="603" y="113"/>
                  </a:lnTo>
                  <a:lnTo>
                    <a:pt x="601" y="113"/>
                  </a:lnTo>
                  <a:lnTo>
                    <a:pt x="600" y="113"/>
                  </a:lnTo>
                  <a:lnTo>
                    <a:pt x="599" y="113"/>
                  </a:lnTo>
                  <a:lnTo>
                    <a:pt x="600" y="113"/>
                  </a:lnTo>
                  <a:lnTo>
                    <a:pt x="599" y="113"/>
                  </a:lnTo>
                  <a:lnTo>
                    <a:pt x="599" y="112"/>
                  </a:lnTo>
                  <a:lnTo>
                    <a:pt x="600" y="112"/>
                  </a:lnTo>
                  <a:lnTo>
                    <a:pt x="601" y="112"/>
                  </a:lnTo>
                  <a:lnTo>
                    <a:pt x="600" y="112"/>
                  </a:lnTo>
                  <a:lnTo>
                    <a:pt x="601" y="112"/>
                  </a:lnTo>
                  <a:lnTo>
                    <a:pt x="603" y="111"/>
                  </a:lnTo>
                  <a:lnTo>
                    <a:pt x="604" y="111"/>
                  </a:lnTo>
                  <a:lnTo>
                    <a:pt x="605" y="111"/>
                  </a:lnTo>
                  <a:lnTo>
                    <a:pt x="605" y="112"/>
                  </a:lnTo>
                  <a:lnTo>
                    <a:pt x="605" y="111"/>
                  </a:lnTo>
                  <a:lnTo>
                    <a:pt x="605" y="112"/>
                  </a:lnTo>
                  <a:lnTo>
                    <a:pt x="606" y="112"/>
                  </a:lnTo>
                  <a:lnTo>
                    <a:pt x="607" y="112"/>
                  </a:lnTo>
                  <a:lnTo>
                    <a:pt x="608" y="112"/>
                  </a:lnTo>
                  <a:lnTo>
                    <a:pt x="607" y="112"/>
                  </a:lnTo>
                  <a:lnTo>
                    <a:pt x="606" y="112"/>
                  </a:lnTo>
                  <a:lnTo>
                    <a:pt x="606" y="111"/>
                  </a:lnTo>
                  <a:lnTo>
                    <a:pt x="605" y="111"/>
                  </a:lnTo>
                  <a:lnTo>
                    <a:pt x="606" y="111"/>
                  </a:lnTo>
                  <a:lnTo>
                    <a:pt x="606" y="109"/>
                  </a:lnTo>
                  <a:lnTo>
                    <a:pt x="605" y="109"/>
                  </a:lnTo>
                  <a:lnTo>
                    <a:pt x="604" y="109"/>
                  </a:lnTo>
                  <a:lnTo>
                    <a:pt x="604" y="111"/>
                  </a:lnTo>
                  <a:lnTo>
                    <a:pt x="603" y="111"/>
                  </a:lnTo>
                  <a:lnTo>
                    <a:pt x="600" y="111"/>
                  </a:lnTo>
                  <a:lnTo>
                    <a:pt x="598" y="111"/>
                  </a:lnTo>
                  <a:lnTo>
                    <a:pt x="597" y="111"/>
                  </a:lnTo>
                  <a:lnTo>
                    <a:pt x="598" y="111"/>
                  </a:lnTo>
                  <a:lnTo>
                    <a:pt x="597" y="111"/>
                  </a:lnTo>
                  <a:lnTo>
                    <a:pt x="596" y="109"/>
                  </a:lnTo>
                  <a:lnTo>
                    <a:pt x="594" y="109"/>
                  </a:lnTo>
                  <a:lnTo>
                    <a:pt x="594" y="108"/>
                  </a:lnTo>
                  <a:lnTo>
                    <a:pt x="596" y="108"/>
                  </a:lnTo>
                  <a:lnTo>
                    <a:pt x="596" y="107"/>
                  </a:lnTo>
                  <a:lnTo>
                    <a:pt x="597" y="107"/>
                  </a:lnTo>
                  <a:lnTo>
                    <a:pt x="598" y="107"/>
                  </a:lnTo>
                  <a:lnTo>
                    <a:pt x="599" y="107"/>
                  </a:lnTo>
                  <a:lnTo>
                    <a:pt x="601" y="107"/>
                  </a:lnTo>
                  <a:lnTo>
                    <a:pt x="603" y="107"/>
                  </a:lnTo>
                  <a:lnTo>
                    <a:pt x="603" y="108"/>
                  </a:lnTo>
                  <a:lnTo>
                    <a:pt x="604" y="108"/>
                  </a:lnTo>
                  <a:lnTo>
                    <a:pt x="604" y="109"/>
                  </a:lnTo>
                  <a:lnTo>
                    <a:pt x="605" y="109"/>
                  </a:lnTo>
                  <a:lnTo>
                    <a:pt x="605" y="108"/>
                  </a:lnTo>
                  <a:lnTo>
                    <a:pt x="604" y="108"/>
                  </a:lnTo>
                  <a:lnTo>
                    <a:pt x="604" y="107"/>
                  </a:lnTo>
                  <a:lnTo>
                    <a:pt x="605" y="107"/>
                  </a:lnTo>
                  <a:lnTo>
                    <a:pt x="606" y="107"/>
                  </a:lnTo>
                  <a:lnTo>
                    <a:pt x="605" y="107"/>
                  </a:lnTo>
                  <a:lnTo>
                    <a:pt x="605" y="106"/>
                  </a:lnTo>
                  <a:lnTo>
                    <a:pt x="604" y="106"/>
                  </a:lnTo>
                  <a:lnTo>
                    <a:pt x="604" y="107"/>
                  </a:lnTo>
                  <a:lnTo>
                    <a:pt x="604" y="106"/>
                  </a:lnTo>
                  <a:lnTo>
                    <a:pt x="603" y="106"/>
                  </a:lnTo>
                  <a:lnTo>
                    <a:pt x="604" y="106"/>
                  </a:lnTo>
                  <a:lnTo>
                    <a:pt x="603" y="106"/>
                  </a:lnTo>
                  <a:lnTo>
                    <a:pt x="603" y="105"/>
                  </a:lnTo>
                  <a:lnTo>
                    <a:pt x="601" y="105"/>
                  </a:lnTo>
                  <a:lnTo>
                    <a:pt x="603" y="105"/>
                  </a:lnTo>
                  <a:lnTo>
                    <a:pt x="604" y="105"/>
                  </a:lnTo>
                  <a:lnTo>
                    <a:pt x="604" y="104"/>
                  </a:lnTo>
                  <a:lnTo>
                    <a:pt x="605" y="104"/>
                  </a:lnTo>
                  <a:lnTo>
                    <a:pt x="606" y="104"/>
                  </a:lnTo>
                  <a:lnTo>
                    <a:pt x="607" y="104"/>
                  </a:lnTo>
                  <a:lnTo>
                    <a:pt x="608" y="104"/>
                  </a:lnTo>
                  <a:lnTo>
                    <a:pt x="611" y="104"/>
                  </a:lnTo>
                  <a:lnTo>
                    <a:pt x="612" y="104"/>
                  </a:lnTo>
                  <a:lnTo>
                    <a:pt x="613" y="105"/>
                  </a:lnTo>
                  <a:lnTo>
                    <a:pt x="612" y="105"/>
                  </a:lnTo>
                  <a:lnTo>
                    <a:pt x="613" y="105"/>
                  </a:lnTo>
                  <a:lnTo>
                    <a:pt x="614" y="104"/>
                  </a:lnTo>
                  <a:lnTo>
                    <a:pt x="615" y="104"/>
                  </a:lnTo>
                  <a:lnTo>
                    <a:pt x="617" y="102"/>
                  </a:lnTo>
                  <a:lnTo>
                    <a:pt x="615" y="102"/>
                  </a:lnTo>
                  <a:lnTo>
                    <a:pt x="615" y="104"/>
                  </a:lnTo>
                  <a:lnTo>
                    <a:pt x="615" y="102"/>
                  </a:lnTo>
                  <a:lnTo>
                    <a:pt x="615" y="104"/>
                  </a:lnTo>
                  <a:lnTo>
                    <a:pt x="614" y="104"/>
                  </a:lnTo>
                  <a:lnTo>
                    <a:pt x="613" y="104"/>
                  </a:lnTo>
                  <a:lnTo>
                    <a:pt x="612" y="104"/>
                  </a:lnTo>
                  <a:lnTo>
                    <a:pt x="612" y="102"/>
                  </a:lnTo>
                  <a:lnTo>
                    <a:pt x="613" y="102"/>
                  </a:lnTo>
                  <a:lnTo>
                    <a:pt x="614" y="102"/>
                  </a:lnTo>
                  <a:lnTo>
                    <a:pt x="615" y="102"/>
                  </a:lnTo>
                  <a:lnTo>
                    <a:pt x="618" y="102"/>
                  </a:lnTo>
                  <a:lnTo>
                    <a:pt x="617" y="102"/>
                  </a:lnTo>
                  <a:close/>
                  <a:moveTo>
                    <a:pt x="640" y="100"/>
                  </a:moveTo>
                  <a:lnTo>
                    <a:pt x="639" y="101"/>
                  </a:lnTo>
                  <a:lnTo>
                    <a:pt x="636" y="102"/>
                  </a:lnTo>
                  <a:lnTo>
                    <a:pt x="635" y="102"/>
                  </a:lnTo>
                  <a:lnTo>
                    <a:pt x="634" y="102"/>
                  </a:lnTo>
                  <a:lnTo>
                    <a:pt x="633" y="102"/>
                  </a:lnTo>
                  <a:lnTo>
                    <a:pt x="633" y="104"/>
                  </a:lnTo>
                  <a:lnTo>
                    <a:pt x="629" y="104"/>
                  </a:lnTo>
                  <a:lnTo>
                    <a:pt x="627" y="104"/>
                  </a:lnTo>
                  <a:lnTo>
                    <a:pt x="626" y="104"/>
                  </a:lnTo>
                  <a:lnTo>
                    <a:pt x="625" y="104"/>
                  </a:lnTo>
                  <a:lnTo>
                    <a:pt x="624" y="104"/>
                  </a:lnTo>
                  <a:lnTo>
                    <a:pt x="622" y="104"/>
                  </a:lnTo>
                  <a:lnTo>
                    <a:pt x="625" y="104"/>
                  </a:lnTo>
                  <a:lnTo>
                    <a:pt x="626" y="104"/>
                  </a:lnTo>
                  <a:lnTo>
                    <a:pt x="625" y="104"/>
                  </a:lnTo>
                  <a:lnTo>
                    <a:pt x="621" y="104"/>
                  </a:lnTo>
                  <a:lnTo>
                    <a:pt x="620" y="104"/>
                  </a:lnTo>
                  <a:lnTo>
                    <a:pt x="620" y="102"/>
                  </a:lnTo>
                  <a:lnTo>
                    <a:pt x="621" y="102"/>
                  </a:lnTo>
                  <a:lnTo>
                    <a:pt x="625" y="102"/>
                  </a:lnTo>
                  <a:lnTo>
                    <a:pt x="626" y="102"/>
                  </a:lnTo>
                  <a:lnTo>
                    <a:pt x="625" y="102"/>
                  </a:lnTo>
                  <a:lnTo>
                    <a:pt x="625" y="101"/>
                  </a:lnTo>
                  <a:lnTo>
                    <a:pt x="626" y="101"/>
                  </a:lnTo>
                  <a:lnTo>
                    <a:pt x="627" y="101"/>
                  </a:lnTo>
                  <a:lnTo>
                    <a:pt x="628" y="101"/>
                  </a:lnTo>
                  <a:lnTo>
                    <a:pt x="631" y="101"/>
                  </a:lnTo>
                  <a:lnTo>
                    <a:pt x="635" y="100"/>
                  </a:lnTo>
                  <a:lnTo>
                    <a:pt x="640" y="100"/>
                  </a:lnTo>
                  <a:close/>
                  <a:moveTo>
                    <a:pt x="686" y="100"/>
                  </a:moveTo>
                  <a:lnTo>
                    <a:pt x="688" y="100"/>
                  </a:lnTo>
                  <a:lnTo>
                    <a:pt x="689" y="101"/>
                  </a:lnTo>
                  <a:lnTo>
                    <a:pt x="690" y="101"/>
                  </a:lnTo>
                  <a:lnTo>
                    <a:pt x="690" y="102"/>
                  </a:lnTo>
                  <a:lnTo>
                    <a:pt x="689" y="102"/>
                  </a:lnTo>
                  <a:lnTo>
                    <a:pt x="691" y="102"/>
                  </a:lnTo>
                  <a:lnTo>
                    <a:pt x="691" y="101"/>
                  </a:lnTo>
                  <a:lnTo>
                    <a:pt x="692" y="101"/>
                  </a:lnTo>
                  <a:lnTo>
                    <a:pt x="695" y="101"/>
                  </a:lnTo>
                  <a:lnTo>
                    <a:pt x="697" y="101"/>
                  </a:lnTo>
                  <a:lnTo>
                    <a:pt x="698" y="101"/>
                  </a:lnTo>
                  <a:lnTo>
                    <a:pt x="701" y="101"/>
                  </a:lnTo>
                  <a:lnTo>
                    <a:pt x="705" y="102"/>
                  </a:lnTo>
                  <a:lnTo>
                    <a:pt x="707" y="102"/>
                  </a:lnTo>
                  <a:lnTo>
                    <a:pt x="708" y="102"/>
                  </a:lnTo>
                  <a:lnTo>
                    <a:pt x="707" y="104"/>
                  </a:lnTo>
                  <a:lnTo>
                    <a:pt x="706" y="104"/>
                  </a:lnTo>
                  <a:lnTo>
                    <a:pt x="705" y="105"/>
                  </a:lnTo>
                  <a:lnTo>
                    <a:pt x="704" y="105"/>
                  </a:lnTo>
                  <a:lnTo>
                    <a:pt x="703" y="106"/>
                  </a:lnTo>
                  <a:lnTo>
                    <a:pt x="701" y="106"/>
                  </a:lnTo>
                  <a:lnTo>
                    <a:pt x="699" y="107"/>
                  </a:lnTo>
                  <a:lnTo>
                    <a:pt x="698" y="107"/>
                  </a:lnTo>
                  <a:lnTo>
                    <a:pt x="697" y="107"/>
                  </a:lnTo>
                  <a:lnTo>
                    <a:pt x="697" y="108"/>
                  </a:lnTo>
                  <a:lnTo>
                    <a:pt x="695" y="108"/>
                  </a:lnTo>
                  <a:lnTo>
                    <a:pt x="695" y="109"/>
                  </a:lnTo>
                  <a:lnTo>
                    <a:pt x="693" y="109"/>
                  </a:lnTo>
                  <a:lnTo>
                    <a:pt x="692" y="109"/>
                  </a:lnTo>
                  <a:lnTo>
                    <a:pt x="691" y="111"/>
                  </a:lnTo>
                  <a:lnTo>
                    <a:pt x="690" y="111"/>
                  </a:lnTo>
                  <a:lnTo>
                    <a:pt x="689" y="111"/>
                  </a:lnTo>
                  <a:lnTo>
                    <a:pt x="688" y="111"/>
                  </a:lnTo>
                  <a:lnTo>
                    <a:pt x="686" y="112"/>
                  </a:lnTo>
                  <a:lnTo>
                    <a:pt x="689" y="112"/>
                  </a:lnTo>
                  <a:lnTo>
                    <a:pt x="688" y="113"/>
                  </a:lnTo>
                  <a:lnTo>
                    <a:pt x="686" y="113"/>
                  </a:lnTo>
                  <a:lnTo>
                    <a:pt x="685" y="114"/>
                  </a:lnTo>
                  <a:lnTo>
                    <a:pt x="684" y="114"/>
                  </a:lnTo>
                  <a:lnTo>
                    <a:pt x="682" y="115"/>
                  </a:lnTo>
                  <a:lnTo>
                    <a:pt x="681" y="116"/>
                  </a:lnTo>
                  <a:lnTo>
                    <a:pt x="678" y="116"/>
                  </a:lnTo>
                  <a:lnTo>
                    <a:pt x="677" y="116"/>
                  </a:lnTo>
                  <a:lnTo>
                    <a:pt x="677" y="118"/>
                  </a:lnTo>
                  <a:lnTo>
                    <a:pt x="676" y="118"/>
                  </a:lnTo>
                  <a:lnTo>
                    <a:pt x="674" y="118"/>
                  </a:lnTo>
                  <a:lnTo>
                    <a:pt x="672" y="118"/>
                  </a:lnTo>
                  <a:lnTo>
                    <a:pt x="671" y="118"/>
                  </a:lnTo>
                  <a:lnTo>
                    <a:pt x="668" y="118"/>
                  </a:lnTo>
                  <a:lnTo>
                    <a:pt x="668" y="116"/>
                  </a:lnTo>
                  <a:lnTo>
                    <a:pt x="667" y="116"/>
                  </a:lnTo>
                  <a:lnTo>
                    <a:pt x="665" y="116"/>
                  </a:lnTo>
                  <a:lnTo>
                    <a:pt x="664" y="116"/>
                  </a:lnTo>
                  <a:lnTo>
                    <a:pt x="663" y="116"/>
                  </a:lnTo>
                  <a:lnTo>
                    <a:pt x="662" y="116"/>
                  </a:lnTo>
                  <a:lnTo>
                    <a:pt x="660" y="118"/>
                  </a:lnTo>
                  <a:lnTo>
                    <a:pt x="657" y="118"/>
                  </a:lnTo>
                  <a:lnTo>
                    <a:pt x="656" y="116"/>
                  </a:lnTo>
                  <a:lnTo>
                    <a:pt x="656" y="118"/>
                  </a:lnTo>
                  <a:lnTo>
                    <a:pt x="655" y="118"/>
                  </a:lnTo>
                  <a:lnTo>
                    <a:pt x="656" y="118"/>
                  </a:lnTo>
                  <a:lnTo>
                    <a:pt x="657" y="118"/>
                  </a:lnTo>
                  <a:lnTo>
                    <a:pt x="658" y="118"/>
                  </a:lnTo>
                  <a:lnTo>
                    <a:pt x="660" y="118"/>
                  </a:lnTo>
                  <a:lnTo>
                    <a:pt x="660" y="119"/>
                  </a:lnTo>
                  <a:lnTo>
                    <a:pt x="658" y="119"/>
                  </a:lnTo>
                  <a:lnTo>
                    <a:pt x="660" y="119"/>
                  </a:lnTo>
                  <a:lnTo>
                    <a:pt x="661" y="120"/>
                  </a:lnTo>
                  <a:lnTo>
                    <a:pt x="660" y="121"/>
                  </a:lnTo>
                  <a:lnTo>
                    <a:pt x="658" y="121"/>
                  </a:lnTo>
                  <a:lnTo>
                    <a:pt x="658" y="122"/>
                  </a:lnTo>
                  <a:lnTo>
                    <a:pt x="657" y="122"/>
                  </a:lnTo>
                  <a:lnTo>
                    <a:pt x="656" y="122"/>
                  </a:lnTo>
                  <a:lnTo>
                    <a:pt x="655" y="122"/>
                  </a:lnTo>
                  <a:lnTo>
                    <a:pt x="655" y="123"/>
                  </a:lnTo>
                  <a:lnTo>
                    <a:pt x="654" y="123"/>
                  </a:lnTo>
                  <a:lnTo>
                    <a:pt x="653" y="123"/>
                  </a:lnTo>
                  <a:lnTo>
                    <a:pt x="653" y="125"/>
                  </a:lnTo>
                  <a:lnTo>
                    <a:pt x="650" y="125"/>
                  </a:lnTo>
                  <a:lnTo>
                    <a:pt x="650" y="126"/>
                  </a:lnTo>
                  <a:lnTo>
                    <a:pt x="649" y="126"/>
                  </a:lnTo>
                  <a:lnTo>
                    <a:pt x="648" y="126"/>
                  </a:lnTo>
                  <a:lnTo>
                    <a:pt x="647" y="127"/>
                  </a:lnTo>
                  <a:lnTo>
                    <a:pt x="648" y="127"/>
                  </a:lnTo>
                  <a:lnTo>
                    <a:pt x="649" y="127"/>
                  </a:lnTo>
                  <a:lnTo>
                    <a:pt x="649" y="126"/>
                  </a:lnTo>
                  <a:lnTo>
                    <a:pt x="650" y="126"/>
                  </a:lnTo>
                  <a:lnTo>
                    <a:pt x="649" y="127"/>
                  </a:lnTo>
                  <a:lnTo>
                    <a:pt x="648" y="127"/>
                  </a:lnTo>
                  <a:lnTo>
                    <a:pt x="647" y="127"/>
                  </a:lnTo>
                  <a:lnTo>
                    <a:pt x="646" y="127"/>
                  </a:lnTo>
                  <a:lnTo>
                    <a:pt x="643" y="127"/>
                  </a:lnTo>
                  <a:lnTo>
                    <a:pt x="642" y="127"/>
                  </a:lnTo>
                  <a:lnTo>
                    <a:pt x="637" y="127"/>
                  </a:lnTo>
                  <a:lnTo>
                    <a:pt x="639" y="127"/>
                  </a:lnTo>
                  <a:lnTo>
                    <a:pt x="637" y="127"/>
                  </a:lnTo>
                  <a:lnTo>
                    <a:pt x="639" y="127"/>
                  </a:lnTo>
                  <a:lnTo>
                    <a:pt x="639" y="126"/>
                  </a:lnTo>
                  <a:lnTo>
                    <a:pt x="640" y="126"/>
                  </a:lnTo>
                  <a:lnTo>
                    <a:pt x="639" y="126"/>
                  </a:lnTo>
                  <a:lnTo>
                    <a:pt x="640" y="126"/>
                  </a:lnTo>
                  <a:lnTo>
                    <a:pt x="643" y="125"/>
                  </a:lnTo>
                  <a:lnTo>
                    <a:pt x="640" y="126"/>
                  </a:lnTo>
                  <a:lnTo>
                    <a:pt x="640" y="125"/>
                  </a:lnTo>
                  <a:lnTo>
                    <a:pt x="640" y="123"/>
                  </a:lnTo>
                  <a:lnTo>
                    <a:pt x="641" y="123"/>
                  </a:lnTo>
                  <a:lnTo>
                    <a:pt x="642" y="123"/>
                  </a:lnTo>
                  <a:lnTo>
                    <a:pt x="642" y="122"/>
                  </a:lnTo>
                  <a:lnTo>
                    <a:pt x="642" y="121"/>
                  </a:lnTo>
                  <a:lnTo>
                    <a:pt x="643" y="121"/>
                  </a:lnTo>
                  <a:lnTo>
                    <a:pt x="643" y="120"/>
                  </a:lnTo>
                  <a:lnTo>
                    <a:pt x="643" y="119"/>
                  </a:lnTo>
                  <a:lnTo>
                    <a:pt x="642" y="118"/>
                  </a:lnTo>
                  <a:lnTo>
                    <a:pt x="643" y="118"/>
                  </a:lnTo>
                  <a:lnTo>
                    <a:pt x="643" y="116"/>
                  </a:lnTo>
                  <a:lnTo>
                    <a:pt x="642" y="116"/>
                  </a:lnTo>
                  <a:lnTo>
                    <a:pt x="643" y="116"/>
                  </a:lnTo>
                  <a:lnTo>
                    <a:pt x="643" y="115"/>
                  </a:lnTo>
                  <a:lnTo>
                    <a:pt x="644" y="115"/>
                  </a:lnTo>
                  <a:lnTo>
                    <a:pt x="644" y="114"/>
                  </a:lnTo>
                  <a:lnTo>
                    <a:pt x="646" y="114"/>
                  </a:lnTo>
                  <a:lnTo>
                    <a:pt x="646" y="113"/>
                  </a:lnTo>
                  <a:lnTo>
                    <a:pt x="647" y="113"/>
                  </a:lnTo>
                  <a:lnTo>
                    <a:pt x="648" y="113"/>
                  </a:lnTo>
                  <a:lnTo>
                    <a:pt x="648" y="112"/>
                  </a:lnTo>
                  <a:lnTo>
                    <a:pt x="649" y="112"/>
                  </a:lnTo>
                  <a:lnTo>
                    <a:pt x="649" y="111"/>
                  </a:lnTo>
                  <a:lnTo>
                    <a:pt x="649" y="109"/>
                  </a:lnTo>
                  <a:lnTo>
                    <a:pt x="650" y="109"/>
                  </a:lnTo>
                  <a:lnTo>
                    <a:pt x="650" y="108"/>
                  </a:lnTo>
                  <a:lnTo>
                    <a:pt x="651" y="108"/>
                  </a:lnTo>
                  <a:lnTo>
                    <a:pt x="651" y="107"/>
                  </a:lnTo>
                  <a:lnTo>
                    <a:pt x="653" y="107"/>
                  </a:lnTo>
                  <a:lnTo>
                    <a:pt x="654" y="107"/>
                  </a:lnTo>
                  <a:lnTo>
                    <a:pt x="654" y="106"/>
                  </a:lnTo>
                  <a:lnTo>
                    <a:pt x="653" y="106"/>
                  </a:lnTo>
                  <a:lnTo>
                    <a:pt x="654" y="106"/>
                  </a:lnTo>
                  <a:lnTo>
                    <a:pt x="654" y="105"/>
                  </a:lnTo>
                  <a:lnTo>
                    <a:pt x="655" y="105"/>
                  </a:lnTo>
                  <a:lnTo>
                    <a:pt x="657" y="105"/>
                  </a:lnTo>
                  <a:lnTo>
                    <a:pt x="658" y="105"/>
                  </a:lnTo>
                  <a:lnTo>
                    <a:pt x="660" y="106"/>
                  </a:lnTo>
                  <a:lnTo>
                    <a:pt x="661" y="106"/>
                  </a:lnTo>
                  <a:lnTo>
                    <a:pt x="663" y="106"/>
                  </a:lnTo>
                  <a:lnTo>
                    <a:pt x="662" y="106"/>
                  </a:lnTo>
                  <a:lnTo>
                    <a:pt x="661" y="105"/>
                  </a:lnTo>
                  <a:lnTo>
                    <a:pt x="661" y="104"/>
                  </a:lnTo>
                  <a:lnTo>
                    <a:pt x="662" y="104"/>
                  </a:lnTo>
                  <a:lnTo>
                    <a:pt x="661" y="104"/>
                  </a:lnTo>
                  <a:lnTo>
                    <a:pt x="660" y="104"/>
                  </a:lnTo>
                  <a:lnTo>
                    <a:pt x="660" y="102"/>
                  </a:lnTo>
                  <a:lnTo>
                    <a:pt x="661" y="102"/>
                  </a:lnTo>
                  <a:lnTo>
                    <a:pt x="661" y="101"/>
                  </a:lnTo>
                  <a:lnTo>
                    <a:pt x="662" y="101"/>
                  </a:lnTo>
                  <a:lnTo>
                    <a:pt x="664" y="101"/>
                  </a:lnTo>
                  <a:lnTo>
                    <a:pt x="665" y="101"/>
                  </a:lnTo>
                  <a:lnTo>
                    <a:pt x="667" y="101"/>
                  </a:lnTo>
                  <a:lnTo>
                    <a:pt x="668" y="100"/>
                  </a:lnTo>
                  <a:lnTo>
                    <a:pt x="670" y="100"/>
                  </a:lnTo>
                  <a:lnTo>
                    <a:pt x="671" y="100"/>
                  </a:lnTo>
                  <a:lnTo>
                    <a:pt x="676" y="100"/>
                  </a:lnTo>
                  <a:lnTo>
                    <a:pt x="677" y="100"/>
                  </a:lnTo>
                  <a:lnTo>
                    <a:pt x="678" y="100"/>
                  </a:lnTo>
                  <a:lnTo>
                    <a:pt x="678" y="99"/>
                  </a:lnTo>
                  <a:lnTo>
                    <a:pt x="681" y="99"/>
                  </a:lnTo>
                  <a:lnTo>
                    <a:pt x="683" y="99"/>
                  </a:lnTo>
                  <a:lnTo>
                    <a:pt x="684" y="100"/>
                  </a:lnTo>
                  <a:lnTo>
                    <a:pt x="686" y="100"/>
                  </a:lnTo>
                  <a:close/>
                  <a:moveTo>
                    <a:pt x="420" y="94"/>
                  </a:moveTo>
                  <a:lnTo>
                    <a:pt x="421" y="95"/>
                  </a:lnTo>
                  <a:lnTo>
                    <a:pt x="422" y="95"/>
                  </a:lnTo>
                  <a:lnTo>
                    <a:pt x="423" y="95"/>
                  </a:lnTo>
                  <a:lnTo>
                    <a:pt x="423" y="97"/>
                  </a:lnTo>
                  <a:lnTo>
                    <a:pt x="426" y="98"/>
                  </a:lnTo>
                  <a:lnTo>
                    <a:pt x="429" y="98"/>
                  </a:lnTo>
                  <a:lnTo>
                    <a:pt x="430" y="98"/>
                  </a:lnTo>
                  <a:lnTo>
                    <a:pt x="430" y="99"/>
                  </a:lnTo>
                  <a:lnTo>
                    <a:pt x="434" y="99"/>
                  </a:lnTo>
                  <a:lnTo>
                    <a:pt x="433" y="99"/>
                  </a:lnTo>
                  <a:lnTo>
                    <a:pt x="432" y="99"/>
                  </a:lnTo>
                  <a:lnTo>
                    <a:pt x="429" y="100"/>
                  </a:lnTo>
                  <a:lnTo>
                    <a:pt x="428" y="101"/>
                  </a:lnTo>
                  <a:lnTo>
                    <a:pt x="429" y="101"/>
                  </a:lnTo>
                  <a:lnTo>
                    <a:pt x="429" y="100"/>
                  </a:lnTo>
                  <a:lnTo>
                    <a:pt x="430" y="100"/>
                  </a:lnTo>
                  <a:lnTo>
                    <a:pt x="432" y="100"/>
                  </a:lnTo>
                  <a:lnTo>
                    <a:pt x="433" y="100"/>
                  </a:lnTo>
                  <a:lnTo>
                    <a:pt x="433" y="99"/>
                  </a:lnTo>
                  <a:lnTo>
                    <a:pt x="434" y="99"/>
                  </a:lnTo>
                  <a:lnTo>
                    <a:pt x="435" y="99"/>
                  </a:lnTo>
                  <a:lnTo>
                    <a:pt x="436" y="99"/>
                  </a:lnTo>
                  <a:lnTo>
                    <a:pt x="437" y="99"/>
                  </a:lnTo>
                  <a:lnTo>
                    <a:pt x="437" y="100"/>
                  </a:lnTo>
                  <a:lnTo>
                    <a:pt x="436" y="100"/>
                  </a:lnTo>
                  <a:lnTo>
                    <a:pt x="435" y="100"/>
                  </a:lnTo>
                  <a:lnTo>
                    <a:pt x="435" y="101"/>
                  </a:lnTo>
                  <a:lnTo>
                    <a:pt x="434" y="101"/>
                  </a:lnTo>
                  <a:lnTo>
                    <a:pt x="435" y="101"/>
                  </a:lnTo>
                  <a:lnTo>
                    <a:pt x="436" y="101"/>
                  </a:lnTo>
                  <a:lnTo>
                    <a:pt x="437" y="101"/>
                  </a:lnTo>
                  <a:lnTo>
                    <a:pt x="437" y="100"/>
                  </a:lnTo>
                  <a:lnTo>
                    <a:pt x="439" y="100"/>
                  </a:lnTo>
                  <a:lnTo>
                    <a:pt x="440" y="100"/>
                  </a:lnTo>
                  <a:lnTo>
                    <a:pt x="439" y="100"/>
                  </a:lnTo>
                  <a:lnTo>
                    <a:pt x="439" y="99"/>
                  </a:lnTo>
                  <a:lnTo>
                    <a:pt x="440" y="99"/>
                  </a:lnTo>
                  <a:lnTo>
                    <a:pt x="441" y="99"/>
                  </a:lnTo>
                  <a:lnTo>
                    <a:pt x="442" y="99"/>
                  </a:lnTo>
                  <a:lnTo>
                    <a:pt x="443" y="99"/>
                  </a:lnTo>
                  <a:lnTo>
                    <a:pt x="444" y="99"/>
                  </a:lnTo>
                  <a:lnTo>
                    <a:pt x="445" y="99"/>
                  </a:lnTo>
                  <a:lnTo>
                    <a:pt x="449" y="98"/>
                  </a:lnTo>
                  <a:lnTo>
                    <a:pt x="451" y="99"/>
                  </a:lnTo>
                  <a:lnTo>
                    <a:pt x="454" y="99"/>
                  </a:lnTo>
                  <a:lnTo>
                    <a:pt x="456" y="100"/>
                  </a:lnTo>
                  <a:lnTo>
                    <a:pt x="457" y="100"/>
                  </a:lnTo>
                  <a:lnTo>
                    <a:pt x="458" y="101"/>
                  </a:lnTo>
                  <a:lnTo>
                    <a:pt x="458" y="102"/>
                  </a:lnTo>
                  <a:lnTo>
                    <a:pt x="458" y="104"/>
                  </a:lnTo>
                  <a:lnTo>
                    <a:pt x="459" y="104"/>
                  </a:lnTo>
                  <a:lnTo>
                    <a:pt x="461" y="105"/>
                  </a:lnTo>
                  <a:lnTo>
                    <a:pt x="462" y="106"/>
                  </a:lnTo>
                  <a:lnTo>
                    <a:pt x="463" y="106"/>
                  </a:lnTo>
                  <a:lnTo>
                    <a:pt x="463" y="107"/>
                  </a:lnTo>
                  <a:lnTo>
                    <a:pt x="463" y="108"/>
                  </a:lnTo>
                  <a:lnTo>
                    <a:pt x="462" y="108"/>
                  </a:lnTo>
                  <a:lnTo>
                    <a:pt x="461" y="108"/>
                  </a:lnTo>
                  <a:lnTo>
                    <a:pt x="459" y="108"/>
                  </a:lnTo>
                  <a:lnTo>
                    <a:pt x="459" y="109"/>
                  </a:lnTo>
                  <a:lnTo>
                    <a:pt x="458" y="109"/>
                  </a:lnTo>
                  <a:lnTo>
                    <a:pt x="456" y="109"/>
                  </a:lnTo>
                  <a:lnTo>
                    <a:pt x="454" y="111"/>
                  </a:lnTo>
                  <a:lnTo>
                    <a:pt x="451" y="111"/>
                  </a:lnTo>
                  <a:lnTo>
                    <a:pt x="448" y="111"/>
                  </a:lnTo>
                  <a:lnTo>
                    <a:pt x="448" y="112"/>
                  </a:lnTo>
                  <a:lnTo>
                    <a:pt x="445" y="112"/>
                  </a:lnTo>
                  <a:lnTo>
                    <a:pt x="444" y="112"/>
                  </a:lnTo>
                  <a:lnTo>
                    <a:pt x="443" y="112"/>
                  </a:lnTo>
                  <a:lnTo>
                    <a:pt x="442" y="113"/>
                  </a:lnTo>
                  <a:lnTo>
                    <a:pt x="441" y="113"/>
                  </a:lnTo>
                  <a:lnTo>
                    <a:pt x="440" y="113"/>
                  </a:lnTo>
                  <a:lnTo>
                    <a:pt x="439" y="113"/>
                  </a:lnTo>
                  <a:lnTo>
                    <a:pt x="436" y="113"/>
                  </a:lnTo>
                  <a:lnTo>
                    <a:pt x="433" y="114"/>
                  </a:lnTo>
                  <a:lnTo>
                    <a:pt x="432" y="114"/>
                  </a:lnTo>
                  <a:lnTo>
                    <a:pt x="429" y="115"/>
                  </a:lnTo>
                  <a:lnTo>
                    <a:pt x="428" y="115"/>
                  </a:lnTo>
                  <a:lnTo>
                    <a:pt x="427" y="115"/>
                  </a:lnTo>
                  <a:lnTo>
                    <a:pt x="425" y="116"/>
                  </a:lnTo>
                  <a:lnTo>
                    <a:pt x="422" y="116"/>
                  </a:lnTo>
                  <a:lnTo>
                    <a:pt x="421" y="118"/>
                  </a:lnTo>
                  <a:lnTo>
                    <a:pt x="420" y="118"/>
                  </a:lnTo>
                  <a:lnTo>
                    <a:pt x="419" y="118"/>
                  </a:lnTo>
                  <a:lnTo>
                    <a:pt x="416" y="119"/>
                  </a:lnTo>
                  <a:lnTo>
                    <a:pt x="413" y="119"/>
                  </a:lnTo>
                  <a:lnTo>
                    <a:pt x="412" y="119"/>
                  </a:lnTo>
                  <a:lnTo>
                    <a:pt x="412" y="120"/>
                  </a:lnTo>
                  <a:lnTo>
                    <a:pt x="411" y="120"/>
                  </a:lnTo>
                  <a:lnTo>
                    <a:pt x="409" y="121"/>
                  </a:lnTo>
                  <a:lnTo>
                    <a:pt x="408" y="121"/>
                  </a:lnTo>
                  <a:lnTo>
                    <a:pt x="408" y="122"/>
                  </a:lnTo>
                  <a:lnTo>
                    <a:pt x="407" y="122"/>
                  </a:lnTo>
                  <a:lnTo>
                    <a:pt x="406" y="122"/>
                  </a:lnTo>
                  <a:lnTo>
                    <a:pt x="406" y="123"/>
                  </a:lnTo>
                  <a:lnTo>
                    <a:pt x="402" y="123"/>
                  </a:lnTo>
                  <a:lnTo>
                    <a:pt x="401" y="125"/>
                  </a:lnTo>
                  <a:lnTo>
                    <a:pt x="400" y="125"/>
                  </a:lnTo>
                  <a:lnTo>
                    <a:pt x="399" y="125"/>
                  </a:lnTo>
                  <a:lnTo>
                    <a:pt x="397" y="123"/>
                  </a:lnTo>
                  <a:lnTo>
                    <a:pt x="398" y="123"/>
                  </a:lnTo>
                  <a:lnTo>
                    <a:pt x="397" y="123"/>
                  </a:lnTo>
                  <a:lnTo>
                    <a:pt x="397" y="125"/>
                  </a:lnTo>
                  <a:lnTo>
                    <a:pt x="395" y="125"/>
                  </a:lnTo>
                  <a:lnTo>
                    <a:pt x="395" y="126"/>
                  </a:lnTo>
                  <a:lnTo>
                    <a:pt x="394" y="126"/>
                  </a:lnTo>
                  <a:lnTo>
                    <a:pt x="392" y="127"/>
                  </a:lnTo>
                  <a:lnTo>
                    <a:pt x="391" y="127"/>
                  </a:lnTo>
                  <a:lnTo>
                    <a:pt x="390" y="128"/>
                  </a:lnTo>
                  <a:lnTo>
                    <a:pt x="390" y="129"/>
                  </a:lnTo>
                  <a:lnTo>
                    <a:pt x="388" y="129"/>
                  </a:lnTo>
                  <a:lnTo>
                    <a:pt x="387" y="130"/>
                  </a:lnTo>
                  <a:lnTo>
                    <a:pt x="386" y="130"/>
                  </a:lnTo>
                  <a:lnTo>
                    <a:pt x="386" y="132"/>
                  </a:lnTo>
                  <a:lnTo>
                    <a:pt x="385" y="132"/>
                  </a:lnTo>
                  <a:lnTo>
                    <a:pt x="383" y="133"/>
                  </a:lnTo>
                  <a:lnTo>
                    <a:pt x="381" y="134"/>
                  </a:lnTo>
                  <a:lnTo>
                    <a:pt x="379" y="134"/>
                  </a:lnTo>
                  <a:lnTo>
                    <a:pt x="377" y="134"/>
                  </a:lnTo>
                  <a:lnTo>
                    <a:pt x="375" y="135"/>
                  </a:lnTo>
                  <a:lnTo>
                    <a:pt x="372" y="135"/>
                  </a:lnTo>
                  <a:lnTo>
                    <a:pt x="370" y="135"/>
                  </a:lnTo>
                  <a:lnTo>
                    <a:pt x="371" y="134"/>
                  </a:lnTo>
                  <a:lnTo>
                    <a:pt x="370" y="134"/>
                  </a:lnTo>
                  <a:lnTo>
                    <a:pt x="368" y="135"/>
                  </a:lnTo>
                  <a:lnTo>
                    <a:pt x="366" y="135"/>
                  </a:lnTo>
                  <a:lnTo>
                    <a:pt x="365" y="135"/>
                  </a:lnTo>
                  <a:lnTo>
                    <a:pt x="364" y="136"/>
                  </a:lnTo>
                  <a:lnTo>
                    <a:pt x="363" y="136"/>
                  </a:lnTo>
                  <a:lnTo>
                    <a:pt x="362" y="136"/>
                  </a:lnTo>
                  <a:lnTo>
                    <a:pt x="361" y="137"/>
                  </a:lnTo>
                  <a:lnTo>
                    <a:pt x="359" y="137"/>
                  </a:lnTo>
                  <a:lnTo>
                    <a:pt x="357" y="137"/>
                  </a:lnTo>
                  <a:lnTo>
                    <a:pt x="356" y="137"/>
                  </a:lnTo>
                  <a:lnTo>
                    <a:pt x="356" y="139"/>
                  </a:lnTo>
                  <a:lnTo>
                    <a:pt x="355" y="139"/>
                  </a:lnTo>
                  <a:lnTo>
                    <a:pt x="354" y="139"/>
                  </a:lnTo>
                  <a:lnTo>
                    <a:pt x="351" y="139"/>
                  </a:lnTo>
                  <a:lnTo>
                    <a:pt x="350" y="139"/>
                  </a:lnTo>
                  <a:lnTo>
                    <a:pt x="350" y="137"/>
                  </a:lnTo>
                  <a:lnTo>
                    <a:pt x="350" y="136"/>
                  </a:lnTo>
                  <a:lnTo>
                    <a:pt x="351" y="135"/>
                  </a:lnTo>
                  <a:lnTo>
                    <a:pt x="351" y="134"/>
                  </a:lnTo>
                  <a:lnTo>
                    <a:pt x="351" y="133"/>
                  </a:lnTo>
                  <a:lnTo>
                    <a:pt x="351" y="132"/>
                  </a:lnTo>
                  <a:lnTo>
                    <a:pt x="351" y="130"/>
                  </a:lnTo>
                  <a:lnTo>
                    <a:pt x="349" y="130"/>
                  </a:lnTo>
                  <a:lnTo>
                    <a:pt x="347" y="129"/>
                  </a:lnTo>
                  <a:lnTo>
                    <a:pt x="345" y="129"/>
                  </a:lnTo>
                  <a:lnTo>
                    <a:pt x="344" y="128"/>
                  </a:lnTo>
                  <a:lnTo>
                    <a:pt x="343" y="128"/>
                  </a:lnTo>
                  <a:lnTo>
                    <a:pt x="345" y="127"/>
                  </a:lnTo>
                  <a:lnTo>
                    <a:pt x="345" y="128"/>
                  </a:lnTo>
                  <a:lnTo>
                    <a:pt x="347" y="128"/>
                  </a:lnTo>
                  <a:lnTo>
                    <a:pt x="347" y="127"/>
                  </a:lnTo>
                  <a:lnTo>
                    <a:pt x="345" y="127"/>
                  </a:lnTo>
                  <a:lnTo>
                    <a:pt x="343" y="127"/>
                  </a:lnTo>
                  <a:lnTo>
                    <a:pt x="341" y="127"/>
                  </a:lnTo>
                  <a:lnTo>
                    <a:pt x="337" y="128"/>
                  </a:lnTo>
                  <a:lnTo>
                    <a:pt x="337" y="127"/>
                  </a:lnTo>
                  <a:lnTo>
                    <a:pt x="338" y="127"/>
                  </a:lnTo>
                  <a:lnTo>
                    <a:pt x="340" y="127"/>
                  </a:lnTo>
                  <a:lnTo>
                    <a:pt x="340" y="126"/>
                  </a:lnTo>
                  <a:lnTo>
                    <a:pt x="341" y="126"/>
                  </a:lnTo>
                  <a:lnTo>
                    <a:pt x="341" y="125"/>
                  </a:lnTo>
                  <a:lnTo>
                    <a:pt x="342" y="125"/>
                  </a:lnTo>
                  <a:lnTo>
                    <a:pt x="343" y="125"/>
                  </a:lnTo>
                  <a:lnTo>
                    <a:pt x="343" y="123"/>
                  </a:lnTo>
                  <a:lnTo>
                    <a:pt x="344" y="123"/>
                  </a:lnTo>
                  <a:lnTo>
                    <a:pt x="345" y="123"/>
                  </a:lnTo>
                  <a:lnTo>
                    <a:pt x="347" y="123"/>
                  </a:lnTo>
                  <a:lnTo>
                    <a:pt x="345" y="123"/>
                  </a:lnTo>
                  <a:lnTo>
                    <a:pt x="347" y="123"/>
                  </a:lnTo>
                  <a:lnTo>
                    <a:pt x="347" y="122"/>
                  </a:lnTo>
                  <a:lnTo>
                    <a:pt x="348" y="122"/>
                  </a:lnTo>
                  <a:lnTo>
                    <a:pt x="349" y="122"/>
                  </a:lnTo>
                  <a:lnTo>
                    <a:pt x="349" y="121"/>
                  </a:lnTo>
                  <a:lnTo>
                    <a:pt x="350" y="121"/>
                  </a:lnTo>
                  <a:lnTo>
                    <a:pt x="351" y="121"/>
                  </a:lnTo>
                  <a:lnTo>
                    <a:pt x="352" y="121"/>
                  </a:lnTo>
                  <a:lnTo>
                    <a:pt x="352" y="120"/>
                  </a:lnTo>
                  <a:lnTo>
                    <a:pt x="355" y="120"/>
                  </a:lnTo>
                  <a:lnTo>
                    <a:pt x="356" y="120"/>
                  </a:lnTo>
                  <a:lnTo>
                    <a:pt x="356" y="119"/>
                  </a:lnTo>
                  <a:lnTo>
                    <a:pt x="355" y="119"/>
                  </a:lnTo>
                  <a:lnTo>
                    <a:pt x="356" y="119"/>
                  </a:lnTo>
                  <a:lnTo>
                    <a:pt x="357" y="119"/>
                  </a:lnTo>
                  <a:lnTo>
                    <a:pt x="358" y="118"/>
                  </a:lnTo>
                  <a:lnTo>
                    <a:pt x="357" y="118"/>
                  </a:lnTo>
                  <a:lnTo>
                    <a:pt x="358" y="118"/>
                  </a:lnTo>
                  <a:lnTo>
                    <a:pt x="358" y="116"/>
                  </a:lnTo>
                  <a:lnTo>
                    <a:pt x="359" y="116"/>
                  </a:lnTo>
                  <a:lnTo>
                    <a:pt x="358" y="116"/>
                  </a:lnTo>
                  <a:lnTo>
                    <a:pt x="359" y="116"/>
                  </a:lnTo>
                  <a:lnTo>
                    <a:pt x="359" y="115"/>
                  </a:lnTo>
                  <a:lnTo>
                    <a:pt x="361" y="116"/>
                  </a:lnTo>
                  <a:lnTo>
                    <a:pt x="363" y="115"/>
                  </a:lnTo>
                  <a:lnTo>
                    <a:pt x="365" y="115"/>
                  </a:lnTo>
                  <a:lnTo>
                    <a:pt x="366" y="115"/>
                  </a:lnTo>
                  <a:lnTo>
                    <a:pt x="366" y="114"/>
                  </a:lnTo>
                  <a:lnTo>
                    <a:pt x="365" y="114"/>
                  </a:lnTo>
                  <a:lnTo>
                    <a:pt x="366" y="114"/>
                  </a:lnTo>
                  <a:lnTo>
                    <a:pt x="365" y="114"/>
                  </a:lnTo>
                  <a:lnTo>
                    <a:pt x="364" y="113"/>
                  </a:lnTo>
                  <a:lnTo>
                    <a:pt x="365" y="113"/>
                  </a:lnTo>
                  <a:lnTo>
                    <a:pt x="366" y="113"/>
                  </a:lnTo>
                  <a:lnTo>
                    <a:pt x="368" y="112"/>
                  </a:lnTo>
                  <a:lnTo>
                    <a:pt x="369" y="112"/>
                  </a:lnTo>
                  <a:lnTo>
                    <a:pt x="368" y="112"/>
                  </a:lnTo>
                  <a:lnTo>
                    <a:pt x="369" y="112"/>
                  </a:lnTo>
                  <a:lnTo>
                    <a:pt x="370" y="112"/>
                  </a:lnTo>
                  <a:lnTo>
                    <a:pt x="370" y="111"/>
                  </a:lnTo>
                  <a:lnTo>
                    <a:pt x="371" y="111"/>
                  </a:lnTo>
                  <a:lnTo>
                    <a:pt x="372" y="109"/>
                  </a:lnTo>
                  <a:lnTo>
                    <a:pt x="373" y="109"/>
                  </a:lnTo>
                  <a:lnTo>
                    <a:pt x="375" y="109"/>
                  </a:lnTo>
                  <a:lnTo>
                    <a:pt x="375" y="108"/>
                  </a:lnTo>
                  <a:lnTo>
                    <a:pt x="376" y="108"/>
                  </a:lnTo>
                  <a:lnTo>
                    <a:pt x="377" y="108"/>
                  </a:lnTo>
                  <a:lnTo>
                    <a:pt x="376" y="108"/>
                  </a:lnTo>
                  <a:lnTo>
                    <a:pt x="377" y="108"/>
                  </a:lnTo>
                  <a:lnTo>
                    <a:pt x="378" y="108"/>
                  </a:lnTo>
                  <a:lnTo>
                    <a:pt x="378" y="107"/>
                  </a:lnTo>
                  <a:lnTo>
                    <a:pt x="379" y="107"/>
                  </a:lnTo>
                  <a:lnTo>
                    <a:pt x="380" y="107"/>
                  </a:lnTo>
                  <a:lnTo>
                    <a:pt x="380" y="106"/>
                  </a:lnTo>
                  <a:lnTo>
                    <a:pt x="381" y="106"/>
                  </a:lnTo>
                  <a:lnTo>
                    <a:pt x="383" y="106"/>
                  </a:lnTo>
                  <a:lnTo>
                    <a:pt x="384" y="106"/>
                  </a:lnTo>
                  <a:lnTo>
                    <a:pt x="384" y="105"/>
                  </a:lnTo>
                  <a:lnTo>
                    <a:pt x="385" y="105"/>
                  </a:lnTo>
                  <a:lnTo>
                    <a:pt x="386" y="105"/>
                  </a:lnTo>
                  <a:lnTo>
                    <a:pt x="386" y="104"/>
                  </a:lnTo>
                  <a:lnTo>
                    <a:pt x="384" y="104"/>
                  </a:lnTo>
                  <a:lnTo>
                    <a:pt x="384" y="102"/>
                  </a:lnTo>
                  <a:lnTo>
                    <a:pt x="385" y="102"/>
                  </a:lnTo>
                  <a:lnTo>
                    <a:pt x="384" y="102"/>
                  </a:lnTo>
                  <a:lnTo>
                    <a:pt x="384" y="101"/>
                  </a:lnTo>
                  <a:lnTo>
                    <a:pt x="385" y="101"/>
                  </a:lnTo>
                  <a:lnTo>
                    <a:pt x="385" y="100"/>
                  </a:lnTo>
                  <a:lnTo>
                    <a:pt x="386" y="100"/>
                  </a:lnTo>
                  <a:lnTo>
                    <a:pt x="386" y="99"/>
                  </a:lnTo>
                  <a:lnTo>
                    <a:pt x="387" y="98"/>
                  </a:lnTo>
                  <a:lnTo>
                    <a:pt x="386" y="98"/>
                  </a:lnTo>
                  <a:lnTo>
                    <a:pt x="385" y="98"/>
                  </a:lnTo>
                  <a:lnTo>
                    <a:pt x="386" y="98"/>
                  </a:lnTo>
                  <a:lnTo>
                    <a:pt x="387" y="98"/>
                  </a:lnTo>
                  <a:lnTo>
                    <a:pt x="386" y="98"/>
                  </a:lnTo>
                  <a:lnTo>
                    <a:pt x="387" y="97"/>
                  </a:lnTo>
                  <a:lnTo>
                    <a:pt x="390" y="97"/>
                  </a:lnTo>
                  <a:lnTo>
                    <a:pt x="392" y="97"/>
                  </a:lnTo>
                  <a:lnTo>
                    <a:pt x="393" y="97"/>
                  </a:lnTo>
                  <a:lnTo>
                    <a:pt x="397" y="97"/>
                  </a:lnTo>
                  <a:lnTo>
                    <a:pt x="398" y="97"/>
                  </a:lnTo>
                  <a:lnTo>
                    <a:pt x="399" y="97"/>
                  </a:lnTo>
                  <a:lnTo>
                    <a:pt x="401" y="95"/>
                  </a:lnTo>
                  <a:lnTo>
                    <a:pt x="405" y="95"/>
                  </a:lnTo>
                  <a:lnTo>
                    <a:pt x="408" y="95"/>
                  </a:lnTo>
                  <a:lnTo>
                    <a:pt x="411" y="95"/>
                  </a:lnTo>
                  <a:lnTo>
                    <a:pt x="414" y="95"/>
                  </a:lnTo>
                  <a:lnTo>
                    <a:pt x="418" y="94"/>
                  </a:lnTo>
                  <a:lnTo>
                    <a:pt x="420" y="94"/>
                  </a:lnTo>
                  <a:close/>
                  <a:moveTo>
                    <a:pt x="650" y="94"/>
                  </a:moveTo>
                  <a:lnTo>
                    <a:pt x="649" y="94"/>
                  </a:lnTo>
                  <a:lnTo>
                    <a:pt x="648" y="95"/>
                  </a:lnTo>
                  <a:lnTo>
                    <a:pt x="647" y="95"/>
                  </a:lnTo>
                  <a:lnTo>
                    <a:pt x="644" y="95"/>
                  </a:lnTo>
                  <a:lnTo>
                    <a:pt x="643" y="95"/>
                  </a:lnTo>
                  <a:lnTo>
                    <a:pt x="644" y="95"/>
                  </a:lnTo>
                  <a:lnTo>
                    <a:pt x="646" y="94"/>
                  </a:lnTo>
                  <a:lnTo>
                    <a:pt x="647" y="94"/>
                  </a:lnTo>
                  <a:lnTo>
                    <a:pt x="648" y="94"/>
                  </a:lnTo>
                  <a:lnTo>
                    <a:pt x="647" y="94"/>
                  </a:lnTo>
                  <a:lnTo>
                    <a:pt x="648" y="94"/>
                  </a:lnTo>
                  <a:lnTo>
                    <a:pt x="649" y="94"/>
                  </a:lnTo>
                  <a:lnTo>
                    <a:pt x="650" y="94"/>
                  </a:lnTo>
                  <a:close/>
                  <a:moveTo>
                    <a:pt x="668" y="94"/>
                  </a:moveTo>
                  <a:lnTo>
                    <a:pt x="668" y="95"/>
                  </a:lnTo>
                  <a:lnTo>
                    <a:pt x="667" y="95"/>
                  </a:lnTo>
                  <a:lnTo>
                    <a:pt x="663" y="95"/>
                  </a:lnTo>
                  <a:lnTo>
                    <a:pt x="663" y="94"/>
                  </a:lnTo>
                  <a:lnTo>
                    <a:pt x="664" y="94"/>
                  </a:lnTo>
                  <a:lnTo>
                    <a:pt x="665" y="94"/>
                  </a:lnTo>
                  <a:lnTo>
                    <a:pt x="665" y="93"/>
                  </a:lnTo>
                  <a:lnTo>
                    <a:pt x="667" y="93"/>
                  </a:lnTo>
                  <a:lnTo>
                    <a:pt x="668" y="94"/>
                  </a:lnTo>
                  <a:close/>
                  <a:moveTo>
                    <a:pt x="598" y="86"/>
                  </a:moveTo>
                  <a:lnTo>
                    <a:pt x="598" y="87"/>
                  </a:lnTo>
                  <a:lnTo>
                    <a:pt x="597" y="87"/>
                  </a:lnTo>
                  <a:lnTo>
                    <a:pt x="596" y="88"/>
                  </a:lnTo>
                  <a:lnTo>
                    <a:pt x="594" y="88"/>
                  </a:lnTo>
                  <a:lnTo>
                    <a:pt x="591" y="88"/>
                  </a:lnTo>
                  <a:lnTo>
                    <a:pt x="590" y="88"/>
                  </a:lnTo>
                  <a:lnTo>
                    <a:pt x="589" y="88"/>
                  </a:lnTo>
                  <a:lnTo>
                    <a:pt x="587" y="88"/>
                  </a:lnTo>
                  <a:lnTo>
                    <a:pt x="586" y="88"/>
                  </a:lnTo>
                  <a:lnTo>
                    <a:pt x="585" y="87"/>
                  </a:lnTo>
                  <a:lnTo>
                    <a:pt x="586" y="87"/>
                  </a:lnTo>
                  <a:lnTo>
                    <a:pt x="587" y="87"/>
                  </a:lnTo>
                  <a:lnTo>
                    <a:pt x="587" y="86"/>
                  </a:lnTo>
                  <a:lnTo>
                    <a:pt x="589" y="86"/>
                  </a:lnTo>
                  <a:lnTo>
                    <a:pt x="589" y="85"/>
                  </a:lnTo>
                  <a:lnTo>
                    <a:pt x="590" y="85"/>
                  </a:lnTo>
                  <a:lnTo>
                    <a:pt x="593" y="84"/>
                  </a:lnTo>
                  <a:lnTo>
                    <a:pt x="594" y="84"/>
                  </a:lnTo>
                  <a:lnTo>
                    <a:pt x="597" y="84"/>
                  </a:lnTo>
                  <a:lnTo>
                    <a:pt x="598" y="84"/>
                  </a:lnTo>
                  <a:lnTo>
                    <a:pt x="598" y="85"/>
                  </a:lnTo>
                  <a:lnTo>
                    <a:pt x="599" y="85"/>
                  </a:lnTo>
                  <a:lnTo>
                    <a:pt x="598" y="85"/>
                  </a:lnTo>
                  <a:lnTo>
                    <a:pt x="598" y="86"/>
                  </a:lnTo>
                  <a:close/>
                  <a:moveTo>
                    <a:pt x="690" y="81"/>
                  </a:moveTo>
                  <a:lnTo>
                    <a:pt x="691" y="84"/>
                  </a:lnTo>
                  <a:lnTo>
                    <a:pt x="692" y="84"/>
                  </a:lnTo>
                  <a:lnTo>
                    <a:pt x="692" y="85"/>
                  </a:lnTo>
                  <a:lnTo>
                    <a:pt x="693" y="85"/>
                  </a:lnTo>
                  <a:lnTo>
                    <a:pt x="692" y="85"/>
                  </a:lnTo>
                  <a:lnTo>
                    <a:pt x="691" y="85"/>
                  </a:lnTo>
                  <a:lnTo>
                    <a:pt x="692" y="85"/>
                  </a:lnTo>
                  <a:lnTo>
                    <a:pt x="693" y="86"/>
                  </a:lnTo>
                  <a:lnTo>
                    <a:pt x="692" y="86"/>
                  </a:lnTo>
                  <a:lnTo>
                    <a:pt x="692" y="87"/>
                  </a:lnTo>
                  <a:lnTo>
                    <a:pt x="691" y="88"/>
                  </a:lnTo>
                  <a:lnTo>
                    <a:pt x="690" y="88"/>
                  </a:lnTo>
                  <a:lnTo>
                    <a:pt x="691" y="88"/>
                  </a:lnTo>
                  <a:lnTo>
                    <a:pt x="691" y="90"/>
                  </a:lnTo>
                  <a:lnTo>
                    <a:pt x="690" y="90"/>
                  </a:lnTo>
                  <a:lnTo>
                    <a:pt x="690" y="91"/>
                  </a:lnTo>
                  <a:lnTo>
                    <a:pt x="689" y="91"/>
                  </a:lnTo>
                  <a:lnTo>
                    <a:pt x="689" y="92"/>
                  </a:lnTo>
                  <a:lnTo>
                    <a:pt x="688" y="92"/>
                  </a:lnTo>
                  <a:lnTo>
                    <a:pt x="686" y="92"/>
                  </a:lnTo>
                  <a:lnTo>
                    <a:pt x="688" y="92"/>
                  </a:lnTo>
                  <a:lnTo>
                    <a:pt x="688" y="93"/>
                  </a:lnTo>
                  <a:lnTo>
                    <a:pt x="686" y="93"/>
                  </a:lnTo>
                  <a:lnTo>
                    <a:pt x="685" y="93"/>
                  </a:lnTo>
                  <a:lnTo>
                    <a:pt x="682" y="93"/>
                  </a:lnTo>
                  <a:lnTo>
                    <a:pt x="679" y="93"/>
                  </a:lnTo>
                  <a:lnTo>
                    <a:pt x="678" y="93"/>
                  </a:lnTo>
                  <a:lnTo>
                    <a:pt x="677" y="93"/>
                  </a:lnTo>
                  <a:lnTo>
                    <a:pt x="677" y="94"/>
                  </a:lnTo>
                  <a:lnTo>
                    <a:pt x="675" y="94"/>
                  </a:lnTo>
                  <a:lnTo>
                    <a:pt x="674" y="93"/>
                  </a:lnTo>
                  <a:lnTo>
                    <a:pt x="672" y="93"/>
                  </a:lnTo>
                  <a:lnTo>
                    <a:pt x="671" y="93"/>
                  </a:lnTo>
                  <a:lnTo>
                    <a:pt x="672" y="93"/>
                  </a:lnTo>
                  <a:lnTo>
                    <a:pt x="672" y="92"/>
                  </a:lnTo>
                  <a:lnTo>
                    <a:pt x="671" y="92"/>
                  </a:lnTo>
                  <a:lnTo>
                    <a:pt x="670" y="92"/>
                  </a:lnTo>
                  <a:lnTo>
                    <a:pt x="669" y="92"/>
                  </a:lnTo>
                  <a:lnTo>
                    <a:pt x="670" y="92"/>
                  </a:lnTo>
                  <a:lnTo>
                    <a:pt x="669" y="92"/>
                  </a:lnTo>
                  <a:lnTo>
                    <a:pt x="668" y="92"/>
                  </a:lnTo>
                  <a:lnTo>
                    <a:pt x="669" y="92"/>
                  </a:lnTo>
                  <a:lnTo>
                    <a:pt x="668" y="92"/>
                  </a:lnTo>
                  <a:lnTo>
                    <a:pt x="668" y="91"/>
                  </a:lnTo>
                  <a:lnTo>
                    <a:pt x="667" y="91"/>
                  </a:lnTo>
                  <a:lnTo>
                    <a:pt x="665" y="91"/>
                  </a:lnTo>
                  <a:lnTo>
                    <a:pt x="667" y="91"/>
                  </a:lnTo>
                  <a:lnTo>
                    <a:pt x="665" y="91"/>
                  </a:lnTo>
                  <a:lnTo>
                    <a:pt x="664" y="91"/>
                  </a:lnTo>
                  <a:lnTo>
                    <a:pt x="664" y="90"/>
                  </a:lnTo>
                  <a:lnTo>
                    <a:pt x="665" y="90"/>
                  </a:lnTo>
                  <a:lnTo>
                    <a:pt x="667" y="90"/>
                  </a:lnTo>
                  <a:lnTo>
                    <a:pt x="665" y="90"/>
                  </a:lnTo>
                  <a:lnTo>
                    <a:pt x="667" y="90"/>
                  </a:lnTo>
                  <a:lnTo>
                    <a:pt x="667" y="88"/>
                  </a:lnTo>
                  <a:lnTo>
                    <a:pt x="665" y="88"/>
                  </a:lnTo>
                  <a:lnTo>
                    <a:pt x="665" y="90"/>
                  </a:lnTo>
                  <a:lnTo>
                    <a:pt x="664" y="90"/>
                  </a:lnTo>
                  <a:lnTo>
                    <a:pt x="663" y="90"/>
                  </a:lnTo>
                  <a:lnTo>
                    <a:pt x="663" y="91"/>
                  </a:lnTo>
                  <a:lnTo>
                    <a:pt x="662" y="91"/>
                  </a:lnTo>
                  <a:lnTo>
                    <a:pt x="662" y="90"/>
                  </a:lnTo>
                  <a:lnTo>
                    <a:pt x="663" y="90"/>
                  </a:lnTo>
                  <a:lnTo>
                    <a:pt x="664" y="90"/>
                  </a:lnTo>
                  <a:lnTo>
                    <a:pt x="664" y="88"/>
                  </a:lnTo>
                  <a:lnTo>
                    <a:pt x="662" y="90"/>
                  </a:lnTo>
                  <a:lnTo>
                    <a:pt x="661" y="90"/>
                  </a:lnTo>
                  <a:lnTo>
                    <a:pt x="662" y="88"/>
                  </a:lnTo>
                  <a:lnTo>
                    <a:pt x="663" y="88"/>
                  </a:lnTo>
                  <a:lnTo>
                    <a:pt x="663" y="87"/>
                  </a:lnTo>
                  <a:lnTo>
                    <a:pt x="664" y="87"/>
                  </a:lnTo>
                  <a:lnTo>
                    <a:pt x="665" y="87"/>
                  </a:lnTo>
                  <a:lnTo>
                    <a:pt x="665" y="86"/>
                  </a:lnTo>
                  <a:lnTo>
                    <a:pt x="667" y="86"/>
                  </a:lnTo>
                  <a:lnTo>
                    <a:pt x="669" y="86"/>
                  </a:lnTo>
                  <a:lnTo>
                    <a:pt x="670" y="86"/>
                  </a:lnTo>
                  <a:lnTo>
                    <a:pt x="669" y="86"/>
                  </a:lnTo>
                  <a:lnTo>
                    <a:pt x="670" y="86"/>
                  </a:lnTo>
                  <a:lnTo>
                    <a:pt x="671" y="86"/>
                  </a:lnTo>
                  <a:lnTo>
                    <a:pt x="671" y="85"/>
                  </a:lnTo>
                  <a:lnTo>
                    <a:pt x="669" y="86"/>
                  </a:lnTo>
                  <a:lnTo>
                    <a:pt x="669" y="85"/>
                  </a:lnTo>
                  <a:lnTo>
                    <a:pt x="670" y="85"/>
                  </a:lnTo>
                  <a:lnTo>
                    <a:pt x="671" y="85"/>
                  </a:lnTo>
                  <a:lnTo>
                    <a:pt x="672" y="85"/>
                  </a:lnTo>
                  <a:lnTo>
                    <a:pt x="674" y="85"/>
                  </a:lnTo>
                  <a:lnTo>
                    <a:pt x="671" y="84"/>
                  </a:lnTo>
                  <a:lnTo>
                    <a:pt x="671" y="85"/>
                  </a:lnTo>
                  <a:lnTo>
                    <a:pt x="670" y="85"/>
                  </a:lnTo>
                  <a:lnTo>
                    <a:pt x="671" y="84"/>
                  </a:lnTo>
                  <a:lnTo>
                    <a:pt x="672" y="84"/>
                  </a:lnTo>
                  <a:lnTo>
                    <a:pt x="674" y="84"/>
                  </a:lnTo>
                  <a:lnTo>
                    <a:pt x="675" y="84"/>
                  </a:lnTo>
                  <a:lnTo>
                    <a:pt x="676" y="83"/>
                  </a:lnTo>
                  <a:lnTo>
                    <a:pt x="678" y="83"/>
                  </a:lnTo>
                  <a:lnTo>
                    <a:pt x="679" y="83"/>
                  </a:lnTo>
                  <a:lnTo>
                    <a:pt x="681" y="83"/>
                  </a:lnTo>
                  <a:lnTo>
                    <a:pt x="681" y="81"/>
                  </a:lnTo>
                  <a:lnTo>
                    <a:pt x="682" y="81"/>
                  </a:lnTo>
                  <a:lnTo>
                    <a:pt x="683" y="81"/>
                  </a:lnTo>
                  <a:lnTo>
                    <a:pt x="684" y="81"/>
                  </a:lnTo>
                  <a:lnTo>
                    <a:pt x="685" y="81"/>
                  </a:lnTo>
                  <a:lnTo>
                    <a:pt x="688" y="81"/>
                  </a:lnTo>
                  <a:lnTo>
                    <a:pt x="690" y="81"/>
                  </a:lnTo>
                  <a:close/>
                  <a:moveTo>
                    <a:pt x="672" y="81"/>
                  </a:moveTo>
                  <a:lnTo>
                    <a:pt x="674" y="81"/>
                  </a:lnTo>
                  <a:lnTo>
                    <a:pt x="675" y="81"/>
                  </a:lnTo>
                  <a:lnTo>
                    <a:pt x="675" y="83"/>
                  </a:lnTo>
                  <a:lnTo>
                    <a:pt x="674" y="83"/>
                  </a:lnTo>
                  <a:lnTo>
                    <a:pt x="672" y="83"/>
                  </a:lnTo>
                  <a:lnTo>
                    <a:pt x="671" y="84"/>
                  </a:lnTo>
                  <a:lnTo>
                    <a:pt x="670" y="83"/>
                  </a:lnTo>
                  <a:lnTo>
                    <a:pt x="671" y="83"/>
                  </a:lnTo>
                  <a:lnTo>
                    <a:pt x="670" y="83"/>
                  </a:lnTo>
                  <a:lnTo>
                    <a:pt x="669" y="83"/>
                  </a:lnTo>
                  <a:lnTo>
                    <a:pt x="668" y="84"/>
                  </a:lnTo>
                  <a:lnTo>
                    <a:pt x="667" y="84"/>
                  </a:lnTo>
                  <a:lnTo>
                    <a:pt x="665" y="84"/>
                  </a:lnTo>
                  <a:lnTo>
                    <a:pt x="667" y="84"/>
                  </a:lnTo>
                  <a:lnTo>
                    <a:pt x="665" y="85"/>
                  </a:lnTo>
                  <a:lnTo>
                    <a:pt x="664" y="85"/>
                  </a:lnTo>
                  <a:lnTo>
                    <a:pt x="663" y="85"/>
                  </a:lnTo>
                  <a:lnTo>
                    <a:pt x="663" y="84"/>
                  </a:lnTo>
                  <a:lnTo>
                    <a:pt x="663" y="83"/>
                  </a:lnTo>
                  <a:lnTo>
                    <a:pt x="668" y="83"/>
                  </a:lnTo>
                  <a:lnTo>
                    <a:pt x="670" y="83"/>
                  </a:lnTo>
                  <a:lnTo>
                    <a:pt x="670" y="81"/>
                  </a:lnTo>
                  <a:lnTo>
                    <a:pt x="671" y="81"/>
                  </a:lnTo>
                  <a:lnTo>
                    <a:pt x="672" y="81"/>
                  </a:lnTo>
                  <a:close/>
                  <a:moveTo>
                    <a:pt x="443" y="80"/>
                  </a:moveTo>
                  <a:lnTo>
                    <a:pt x="442" y="80"/>
                  </a:lnTo>
                  <a:lnTo>
                    <a:pt x="443" y="79"/>
                  </a:lnTo>
                  <a:lnTo>
                    <a:pt x="444" y="79"/>
                  </a:lnTo>
                  <a:lnTo>
                    <a:pt x="445" y="79"/>
                  </a:lnTo>
                  <a:lnTo>
                    <a:pt x="447" y="79"/>
                  </a:lnTo>
                  <a:lnTo>
                    <a:pt x="447" y="78"/>
                  </a:lnTo>
                  <a:lnTo>
                    <a:pt x="448" y="78"/>
                  </a:lnTo>
                  <a:lnTo>
                    <a:pt x="449" y="78"/>
                  </a:lnTo>
                  <a:lnTo>
                    <a:pt x="448" y="78"/>
                  </a:lnTo>
                  <a:lnTo>
                    <a:pt x="447" y="79"/>
                  </a:lnTo>
                  <a:lnTo>
                    <a:pt x="444" y="80"/>
                  </a:lnTo>
                  <a:lnTo>
                    <a:pt x="443" y="80"/>
                  </a:lnTo>
                  <a:close/>
                  <a:moveTo>
                    <a:pt x="624" y="77"/>
                  </a:moveTo>
                  <a:lnTo>
                    <a:pt x="624" y="78"/>
                  </a:lnTo>
                  <a:lnTo>
                    <a:pt x="622" y="78"/>
                  </a:lnTo>
                  <a:lnTo>
                    <a:pt x="619" y="78"/>
                  </a:lnTo>
                  <a:lnTo>
                    <a:pt x="619" y="79"/>
                  </a:lnTo>
                  <a:lnTo>
                    <a:pt x="618" y="79"/>
                  </a:lnTo>
                  <a:lnTo>
                    <a:pt x="617" y="79"/>
                  </a:lnTo>
                  <a:lnTo>
                    <a:pt x="615" y="80"/>
                  </a:lnTo>
                  <a:lnTo>
                    <a:pt x="615" y="79"/>
                  </a:lnTo>
                  <a:lnTo>
                    <a:pt x="614" y="79"/>
                  </a:lnTo>
                  <a:lnTo>
                    <a:pt x="614" y="80"/>
                  </a:lnTo>
                  <a:lnTo>
                    <a:pt x="613" y="80"/>
                  </a:lnTo>
                  <a:lnTo>
                    <a:pt x="608" y="80"/>
                  </a:lnTo>
                  <a:lnTo>
                    <a:pt x="610" y="79"/>
                  </a:lnTo>
                  <a:lnTo>
                    <a:pt x="611" y="79"/>
                  </a:lnTo>
                  <a:lnTo>
                    <a:pt x="610" y="79"/>
                  </a:lnTo>
                  <a:lnTo>
                    <a:pt x="611" y="79"/>
                  </a:lnTo>
                  <a:lnTo>
                    <a:pt x="612" y="79"/>
                  </a:lnTo>
                  <a:lnTo>
                    <a:pt x="613" y="78"/>
                  </a:lnTo>
                  <a:lnTo>
                    <a:pt x="617" y="78"/>
                  </a:lnTo>
                  <a:lnTo>
                    <a:pt x="620" y="78"/>
                  </a:lnTo>
                  <a:lnTo>
                    <a:pt x="622" y="77"/>
                  </a:lnTo>
                  <a:lnTo>
                    <a:pt x="624" y="77"/>
                  </a:lnTo>
                  <a:close/>
                  <a:moveTo>
                    <a:pt x="692" y="80"/>
                  </a:moveTo>
                  <a:lnTo>
                    <a:pt x="689" y="80"/>
                  </a:lnTo>
                  <a:lnTo>
                    <a:pt x="689" y="79"/>
                  </a:lnTo>
                  <a:lnTo>
                    <a:pt x="690" y="78"/>
                  </a:lnTo>
                  <a:lnTo>
                    <a:pt x="689" y="78"/>
                  </a:lnTo>
                  <a:lnTo>
                    <a:pt x="690" y="78"/>
                  </a:lnTo>
                  <a:lnTo>
                    <a:pt x="692" y="78"/>
                  </a:lnTo>
                  <a:lnTo>
                    <a:pt x="693" y="77"/>
                  </a:lnTo>
                  <a:lnTo>
                    <a:pt x="693" y="78"/>
                  </a:lnTo>
                  <a:lnTo>
                    <a:pt x="693" y="79"/>
                  </a:lnTo>
                  <a:lnTo>
                    <a:pt x="692" y="80"/>
                  </a:lnTo>
                  <a:close/>
                  <a:moveTo>
                    <a:pt x="622" y="77"/>
                  </a:moveTo>
                  <a:lnTo>
                    <a:pt x="621" y="77"/>
                  </a:lnTo>
                  <a:lnTo>
                    <a:pt x="619" y="77"/>
                  </a:lnTo>
                  <a:lnTo>
                    <a:pt x="615" y="78"/>
                  </a:lnTo>
                  <a:lnTo>
                    <a:pt x="611" y="78"/>
                  </a:lnTo>
                  <a:lnTo>
                    <a:pt x="607" y="78"/>
                  </a:lnTo>
                  <a:lnTo>
                    <a:pt x="606" y="78"/>
                  </a:lnTo>
                  <a:lnTo>
                    <a:pt x="605" y="78"/>
                  </a:lnTo>
                  <a:lnTo>
                    <a:pt x="606" y="78"/>
                  </a:lnTo>
                  <a:lnTo>
                    <a:pt x="605" y="78"/>
                  </a:lnTo>
                  <a:lnTo>
                    <a:pt x="607" y="78"/>
                  </a:lnTo>
                  <a:lnTo>
                    <a:pt x="608" y="77"/>
                  </a:lnTo>
                  <a:lnTo>
                    <a:pt x="611" y="77"/>
                  </a:lnTo>
                  <a:lnTo>
                    <a:pt x="613" y="77"/>
                  </a:lnTo>
                  <a:lnTo>
                    <a:pt x="614" y="77"/>
                  </a:lnTo>
                  <a:lnTo>
                    <a:pt x="615" y="77"/>
                  </a:lnTo>
                  <a:lnTo>
                    <a:pt x="619" y="76"/>
                  </a:lnTo>
                  <a:lnTo>
                    <a:pt x="621" y="76"/>
                  </a:lnTo>
                  <a:lnTo>
                    <a:pt x="622" y="76"/>
                  </a:lnTo>
                  <a:lnTo>
                    <a:pt x="622" y="77"/>
                  </a:lnTo>
                  <a:close/>
                  <a:moveTo>
                    <a:pt x="482" y="76"/>
                  </a:moveTo>
                  <a:lnTo>
                    <a:pt x="483" y="76"/>
                  </a:lnTo>
                  <a:lnTo>
                    <a:pt x="482" y="77"/>
                  </a:lnTo>
                  <a:lnTo>
                    <a:pt x="480" y="77"/>
                  </a:lnTo>
                  <a:lnTo>
                    <a:pt x="479" y="77"/>
                  </a:lnTo>
                  <a:lnTo>
                    <a:pt x="479" y="78"/>
                  </a:lnTo>
                  <a:lnTo>
                    <a:pt x="478" y="78"/>
                  </a:lnTo>
                  <a:lnTo>
                    <a:pt x="477" y="78"/>
                  </a:lnTo>
                  <a:lnTo>
                    <a:pt x="476" y="79"/>
                  </a:lnTo>
                  <a:lnTo>
                    <a:pt x="475" y="79"/>
                  </a:lnTo>
                  <a:lnTo>
                    <a:pt x="473" y="79"/>
                  </a:lnTo>
                  <a:lnTo>
                    <a:pt x="473" y="80"/>
                  </a:lnTo>
                  <a:lnTo>
                    <a:pt x="472" y="80"/>
                  </a:lnTo>
                  <a:lnTo>
                    <a:pt x="468" y="81"/>
                  </a:lnTo>
                  <a:lnTo>
                    <a:pt x="463" y="83"/>
                  </a:lnTo>
                  <a:lnTo>
                    <a:pt x="462" y="83"/>
                  </a:lnTo>
                  <a:lnTo>
                    <a:pt x="461" y="83"/>
                  </a:lnTo>
                  <a:lnTo>
                    <a:pt x="459" y="83"/>
                  </a:lnTo>
                  <a:lnTo>
                    <a:pt x="458" y="83"/>
                  </a:lnTo>
                  <a:lnTo>
                    <a:pt x="457" y="81"/>
                  </a:lnTo>
                  <a:lnTo>
                    <a:pt x="458" y="81"/>
                  </a:lnTo>
                  <a:lnTo>
                    <a:pt x="463" y="80"/>
                  </a:lnTo>
                  <a:lnTo>
                    <a:pt x="464" y="80"/>
                  </a:lnTo>
                  <a:lnTo>
                    <a:pt x="465" y="79"/>
                  </a:lnTo>
                  <a:lnTo>
                    <a:pt x="466" y="79"/>
                  </a:lnTo>
                  <a:lnTo>
                    <a:pt x="468" y="78"/>
                  </a:lnTo>
                  <a:lnTo>
                    <a:pt x="469" y="78"/>
                  </a:lnTo>
                  <a:lnTo>
                    <a:pt x="470" y="78"/>
                  </a:lnTo>
                  <a:lnTo>
                    <a:pt x="473" y="77"/>
                  </a:lnTo>
                  <a:lnTo>
                    <a:pt x="475" y="78"/>
                  </a:lnTo>
                  <a:lnTo>
                    <a:pt x="475" y="77"/>
                  </a:lnTo>
                  <a:lnTo>
                    <a:pt x="476" y="77"/>
                  </a:lnTo>
                  <a:lnTo>
                    <a:pt x="477" y="77"/>
                  </a:lnTo>
                  <a:lnTo>
                    <a:pt x="479" y="76"/>
                  </a:lnTo>
                  <a:lnTo>
                    <a:pt x="480" y="76"/>
                  </a:lnTo>
                  <a:lnTo>
                    <a:pt x="482" y="76"/>
                  </a:lnTo>
                  <a:close/>
                  <a:moveTo>
                    <a:pt x="839" y="76"/>
                  </a:moveTo>
                  <a:lnTo>
                    <a:pt x="840" y="76"/>
                  </a:lnTo>
                  <a:lnTo>
                    <a:pt x="840" y="77"/>
                  </a:lnTo>
                  <a:lnTo>
                    <a:pt x="839" y="77"/>
                  </a:lnTo>
                  <a:lnTo>
                    <a:pt x="835" y="77"/>
                  </a:lnTo>
                  <a:lnTo>
                    <a:pt x="835" y="78"/>
                  </a:lnTo>
                  <a:lnTo>
                    <a:pt x="836" y="78"/>
                  </a:lnTo>
                  <a:lnTo>
                    <a:pt x="836" y="79"/>
                  </a:lnTo>
                  <a:lnTo>
                    <a:pt x="835" y="79"/>
                  </a:lnTo>
                  <a:lnTo>
                    <a:pt x="835" y="78"/>
                  </a:lnTo>
                  <a:lnTo>
                    <a:pt x="835" y="79"/>
                  </a:lnTo>
                  <a:lnTo>
                    <a:pt x="833" y="78"/>
                  </a:lnTo>
                  <a:lnTo>
                    <a:pt x="833" y="79"/>
                  </a:lnTo>
                  <a:lnTo>
                    <a:pt x="832" y="79"/>
                  </a:lnTo>
                  <a:lnTo>
                    <a:pt x="831" y="79"/>
                  </a:lnTo>
                  <a:lnTo>
                    <a:pt x="829" y="79"/>
                  </a:lnTo>
                  <a:lnTo>
                    <a:pt x="831" y="79"/>
                  </a:lnTo>
                  <a:lnTo>
                    <a:pt x="829" y="79"/>
                  </a:lnTo>
                  <a:lnTo>
                    <a:pt x="829" y="78"/>
                  </a:lnTo>
                  <a:lnTo>
                    <a:pt x="831" y="78"/>
                  </a:lnTo>
                  <a:lnTo>
                    <a:pt x="832" y="78"/>
                  </a:lnTo>
                  <a:lnTo>
                    <a:pt x="833" y="77"/>
                  </a:lnTo>
                  <a:lnTo>
                    <a:pt x="834" y="77"/>
                  </a:lnTo>
                  <a:lnTo>
                    <a:pt x="835" y="77"/>
                  </a:lnTo>
                  <a:lnTo>
                    <a:pt x="836" y="76"/>
                  </a:lnTo>
                  <a:lnTo>
                    <a:pt x="838" y="76"/>
                  </a:lnTo>
                  <a:lnTo>
                    <a:pt x="839" y="76"/>
                  </a:lnTo>
                  <a:close/>
                  <a:moveTo>
                    <a:pt x="818" y="76"/>
                  </a:moveTo>
                  <a:lnTo>
                    <a:pt x="817" y="76"/>
                  </a:lnTo>
                  <a:lnTo>
                    <a:pt x="817" y="74"/>
                  </a:lnTo>
                  <a:lnTo>
                    <a:pt x="818" y="74"/>
                  </a:lnTo>
                  <a:lnTo>
                    <a:pt x="819" y="74"/>
                  </a:lnTo>
                  <a:lnTo>
                    <a:pt x="818" y="76"/>
                  </a:lnTo>
                  <a:close/>
                  <a:moveTo>
                    <a:pt x="622" y="73"/>
                  </a:moveTo>
                  <a:lnTo>
                    <a:pt x="622" y="74"/>
                  </a:lnTo>
                  <a:lnTo>
                    <a:pt x="621" y="74"/>
                  </a:lnTo>
                  <a:lnTo>
                    <a:pt x="622" y="74"/>
                  </a:lnTo>
                  <a:lnTo>
                    <a:pt x="622" y="76"/>
                  </a:lnTo>
                  <a:lnTo>
                    <a:pt x="621" y="76"/>
                  </a:lnTo>
                  <a:lnTo>
                    <a:pt x="620" y="76"/>
                  </a:lnTo>
                  <a:lnTo>
                    <a:pt x="618" y="76"/>
                  </a:lnTo>
                  <a:lnTo>
                    <a:pt x="614" y="77"/>
                  </a:lnTo>
                  <a:lnTo>
                    <a:pt x="611" y="77"/>
                  </a:lnTo>
                  <a:lnTo>
                    <a:pt x="608" y="77"/>
                  </a:lnTo>
                  <a:lnTo>
                    <a:pt x="607" y="77"/>
                  </a:lnTo>
                  <a:lnTo>
                    <a:pt x="608" y="77"/>
                  </a:lnTo>
                  <a:lnTo>
                    <a:pt x="606" y="76"/>
                  </a:lnTo>
                  <a:lnTo>
                    <a:pt x="606" y="77"/>
                  </a:lnTo>
                  <a:lnTo>
                    <a:pt x="604" y="76"/>
                  </a:lnTo>
                  <a:lnTo>
                    <a:pt x="605" y="74"/>
                  </a:lnTo>
                  <a:lnTo>
                    <a:pt x="606" y="74"/>
                  </a:lnTo>
                  <a:lnTo>
                    <a:pt x="607" y="74"/>
                  </a:lnTo>
                  <a:lnTo>
                    <a:pt x="608" y="74"/>
                  </a:lnTo>
                  <a:lnTo>
                    <a:pt x="611" y="74"/>
                  </a:lnTo>
                  <a:lnTo>
                    <a:pt x="612" y="74"/>
                  </a:lnTo>
                  <a:lnTo>
                    <a:pt x="613" y="73"/>
                  </a:lnTo>
                  <a:lnTo>
                    <a:pt x="613" y="74"/>
                  </a:lnTo>
                  <a:lnTo>
                    <a:pt x="614" y="73"/>
                  </a:lnTo>
                  <a:lnTo>
                    <a:pt x="615" y="73"/>
                  </a:lnTo>
                  <a:lnTo>
                    <a:pt x="619" y="73"/>
                  </a:lnTo>
                  <a:lnTo>
                    <a:pt x="622" y="73"/>
                  </a:lnTo>
                  <a:close/>
                  <a:moveTo>
                    <a:pt x="746" y="71"/>
                  </a:moveTo>
                  <a:lnTo>
                    <a:pt x="747" y="71"/>
                  </a:lnTo>
                  <a:lnTo>
                    <a:pt x="747" y="72"/>
                  </a:lnTo>
                  <a:lnTo>
                    <a:pt x="745" y="72"/>
                  </a:lnTo>
                  <a:lnTo>
                    <a:pt x="746" y="71"/>
                  </a:lnTo>
                  <a:close/>
                  <a:moveTo>
                    <a:pt x="797" y="72"/>
                  </a:moveTo>
                  <a:lnTo>
                    <a:pt x="796" y="72"/>
                  </a:lnTo>
                  <a:lnTo>
                    <a:pt x="796" y="71"/>
                  </a:lnTo>
                  <a:lnTo>
                    <a:pt x="797" y="71"/>
                  </a:lnTo>
                  <a:lnTo>
                    <a:pt x="797" y="72"/>
                  </a:lnTo>
                  <a:close/>
                  <a:moveTo>
                    <a:pt x="615" y="70"/>
                  </a:moveTo>
                  <a:lnTo>
                    <a:pt x="614" y="70"/>
                  </a:lnTo>
                  <a:lnTo>
                    <a:pt x="615" y="70"/>
                  </a:lnTo>
                  <a:lnTo>
                    <a:pt x="617" y="70"/>
                  </a:lnTo>
                  <a:lnTo>
                    <a:pt x="618" y="70"/>
                  </a:lnTo>
                  <a:lnTo>
                    <a:pt x="619" y="70"/>
                  </a:lnTo>
                  <a:lnTo>
                    <a:pt x="618" y="70"/>
                  </a:lnTo>
                  <a:lnTo>
                    <a:pt x="618" y="71"/>
                  </a:lnTo>
                  <a:lnTo>
                    <a:pt x="619" y="71"/>
                  </a:lnTo>
                  <a:lnTo>
                    <a:pt x="620" y="71"/>
                  </a:lnTo>
                  <a:lnTo>
                    <a:pt x="621" y="71"/>
                  </a:lnTo>
                  <a:lnTo>
                    <a:pt x="621" y="72"/>
                  </a:lnTo>
                  <a:lnTo>
                    <a:pt x="617" y="73"/>
                  </a:lnTo>
                  <a:lnTo>
                    <a:pt x="614" y="73"/>
                  </a:lnTo>
                  <a:lnTo>
                    <a:pt x="612" y="73"/>
                  </a:lnTo>
                  <a:lnTo>
                    <a:pt x="611" y="73"/>
                  </a:lnTo>
                  <a:lnTo>
                    <a:pt x="607" y="73"/>
                  </a:lnTo>
                  <a:lnTo>
                    <a:pt x="608" y="73"/>
                  </a:lnTo>
                  <a:lnTo>
                    <a:pt x="608" y="72"/>
                  </a:lnTo>
                  <a:lnTo>
                    <a:pt x="607" y="72"/>
                  </a:lnTo>
                  <a:lnTo>
                    <a:pt x="608" y="72"/>
                  </a:lnTo>
                  <a:lnTo>
                    <a:pt x="610" y="71"/>
                  </a:lnTo>
                  <a:lnTo>
                    <a:pt x="608" y="71"/>
                  </a:lnTo>
                  <a:lnTo>
                    <a:pt x="608" y="70"/>
                  </a:lnTo>
                  <a:lnTo>
                    <a:pt x="613" y="69"/>
                  </a:lnTo>
                  <a:lnTo>
                    <a:pt x="615" y="69"/>
                  </a:lnTo>
                  <a:lnTo>
                    <a:pt x="617" y="69"/>
                  </a:lnTo>
                  <a:lnTo>
                    <a:pt x="617" y="70"/>
                  </a:lnTo>
                  <a:lnTo>
                    <a:pt x="615" y="70"/>
                  </a:lnTo>
                  <a:close/>
                  <a:moveTo>
                    <a:pt x="667" y="69"/>
                  </a:moveTo>
                  <a:lnTo>
                    <a:pt x="667" y="70"/>
                  </a:lnTo>
                  <a:lnTo>
                    <a:pt x="668" y="70"/>
                  </a:lnTo>
                  <a:lnTo>
                    <a:pt x="667" y="70"/>
                  </a:lnTo>
                  <a:lnTo>
                    <a:pt x="668" y="71"/>
                  </a:lnTo>
                  <a:lnTo>
                    <a:pt x="668" y="70"/>
                  </a:lnTo>
                  <a:lnTo>
                    <a:pt x="668" y="71"/>
                  </a:lnTo>
                  <a:lnTo>
                    <a:pt x="670" y="71"/>
                  </a:lnTo>
                  <a:lnTo>
                    <a:pt x="671" y="71"/>
                  </a:lnTo>
                  <a:lnTo>
                    <a:pt x="670" y="72"/>
                  </a:lnTo>
                  <a:lnTo>
                    <a:pt x="669" y="72"/>
                  </a:lnTo>
                  <a:lnTo>
                    <a:pt x="669" y="73"/>
                  </a:lnTo>
                  <a:lnTo>
                    <a:pt x="668" y="73"/>
                  </a:lnTo>
                  <a:lnTo>
                    <a:pt x="669" y="73"/>
                  </a:lnTo>
                  <a:lnTo>
                    <a:pt x="668" y="73"/>
                  </a:lnTo>
                  <a:lnTo>
                    <a:pt x="669" y="74"/>
                  </a:lnTo>
                  <a:lnTo>
                    <a:pt x="668" y="76"/>
                  </a:lnTo>
                  <a:lnTo>
                    <a:pt x="667" y="76"/>
                  </a:lnTo>
                  <a:lnTo>
                    <a:pt x="667" y="77"/>
                  </a:lnTo>
                  <a:lnTo>
                    <a:pt x="665" y="77"/>
                  </a:lnTo>
                  <a:lnTo>
                    <a:pt x="664" y="77"/>
                  </a:lnTo>
                  <a:lnTo>
                    <a:pt x="664" y="78"/>
                  </a:lnTo>
                  <a:lnTo>
                    <a:pt x="664" y="79"/>
                  </a:lnTo>
                  <a:lnTo>
                    <a:pt x="663" y="79"/>
                  </a:lnTo>
                  <a:lnTo>
                    <a:pt x="662" y="79"/>
                  </a:lnTo>
                  <a:lnTo>
                    <a:pt x="661" y="79"/>
                  </a:lnTo>
                  <a:lnTo>
                    <a:pt x="660" y="80"/>
                  </a:lnTo>
                  <a:lnTo>
                    <a:pt x="658" y="80"/>
                  </a:lnTo>
                  <a:lnTo>
                    <a:pt x="661" y="80"/>
                  </a:lnTo>
                  <a:lnTo>
                    <a:pt x="663" y="80"/>
                  </a:lnTo>
                  <a:lnTo>
                    <a:pt x="663" y="81"/>
                  </a:lnTo>
                  <a:lnTo>
                    <a:pt x="662" y="81"/>
                  </a:lnTo>
                  <a:lnTo>
                    <a:pt x="661" y="83"/>
                  </a:lnTo>
                  <a:lnTo>
                    <a:pt x="660" y="84"/>
                  </a:lnTo>
                  <a:lnTo>
                    <a:pt x="658" y="84"/>
                  </a:lnTo>
                  <a:lnTo>
                    <a:pt x="660" y="84"/>
                  </a:lnTo>
                  <a:lnTo>
                    <a:pt x="660" y="83"/>
                  </a:lnTo>
                  <a:lnTo>
                    <a:pt x="658" y="83"/>
                  </a:lnTo>
                  <a:lnTo>
                    <a:pt x="657" y="83"/>
                  </a:lnTo>
                  <a:lnTo>
                    <a:pt x="656" y="83"/>
                  </a:lnTo>
                  <a:lnTo>
                    <a:pt x="657" y="83"/>
                  </a:lnTo>
                  <a:lnTo>
                    <a:pt x="657" y="84"/>
                  </a:lnTo>
                  <a:lnTo>
                    <a:pt x="656" y="84"/>
                  </a:lnTo>
                  <a:lnTo>
                    <a:pt x="656" y="83"/>
                  </a:lnTo>
                  <a:lnTo>
                    <a:pt x="655" y="83"/>
                  </a:lnTo>
                  <a:lnTo>
                    <a:pt x="654" y="84"/>
                  </a:lnTo>
                  <a:lnTo>
                    <a:pt x="655" y="84"/>
                  </a:lnTo>
                  <a:lnTo>
                    <a:pt x="654" y="84"/>
                  </a:lnTo>
                  <a:lnTo>
                    <a:pt x="655" y="84"/>
                  </a:lnTo>
                  <a:lnTo>
                    <a:pt x="656" y="84"/>
                  </a:lnTo>
                  <a:lnTo>
                    <a:pt x="655" y="84"/>
                  </a:lnTo>
                  <a:lnTo>
                    <a:pt x="654" y="84"/>
                  </a:lnTo>
                  <a:lnTo>
                    <a:pt x="653" y="84"/>
                  </a:lnTo>
                  <a:lnTo>
                    <a:pt x="654" y="85"/>
                  </a:lnTo>
                  <a:lnTo>
                    <a:pt x="653" y="85"/>
                  </a:lnTo>
                  <a:lnTo>
                    <a:pt x="651" y="85"/>
                  </a:lnTo>
                  <a:lnTo>
                    <a:pt x="653" y="85"/>
                  </a:lnTo>
                  <a:lnTo>
                    <a:pt x="651" y="85"/>
                  </a:lnTo>
                  <a:lnTo>
                    <a:pt x="651" y="86"/>
                  </a:lnTo>
                  <a:lnTo>
                    <a:pt x="653" y="85"/>
                  </a:lnTo>
                  <a:lnTo>
                    <a:pt x="654" y="85"/>
                  </a:lnTo>
                  <a:lnTo>
                    <a:pt x="653" y="85"/>
                  </a:lnTo>
                  <a:lnTo>
                    <a:pt x="651" y="86"/>
                  </a:lnTo>
                  <a:lnTo>
                    <a:pt x="653" y="86"/>
                  </a:lnTo>
                  <a:lnTo>
                    <a:pt x="653" y="85"/>
                  </a:lnTo>
                  <a:lnTo>
                    <a:pt x="653" y="86"/>
                  </a:lnTo>
                  <a:lnTo>
                    <a:pt x="654" y="86"/>
                  </a:lnTo>
                  <a:lnTo>
                    <a:pt x="653" y="86"/>
                  </a:lnTo>
                  <a:lnTo>
                    <a:pt x="653" y="87"/>
                  </a:lnTo>
                  <a:lnTo>
                    <a:pt x="654" y="87"/>
                  </a:lnTo>
                  <a:lnTo>
                    <a:pt x="653" y="87"/>
                  </a:lnTo>
                  <a:lnTo>
                    <a:pt x="651" y="87"/>
                  </a:lnTo>
                  <a:lnTo>
                    <a:pt x="650" y="87"/>
                  </a:lnTo>
                  <a:lnTo>
                    <a:pt x="650" y="86"/>
                  </a:lnTo>
                  <a:lnTo>
                    <a:pt x="650" y="87"/>
                  </a:lnTo>
                  <a:lnTo>
                    <a:pt x="649" y="87"/>
                  </a:lnTo>
                  <a:lnTo>
                    <a:pt x="650" y="87"/>
                  </a:lnTo>
                  <a:lnTo>
                    <a:pt x="649" y="88"/>
                  </a:lnTo>
                  <a:lnTo>
                    <a:pt x="648" y="88"/>
                  </a:lnTo>
                  <a:lnTo>
                    <a:pt x="644" y="90"/>
                  </a:lnTo>
                  <a:lnTo>
                    <a:pt x="641" y="90"/>
                  </a:lnTo>
                  <a:lnTo>
                    <a:pt x="641" y="88"/>
                  </a:lnTo>
                  <a:lnTo>
                    <a:pt x="640" y="88"/>
                  </a:lnTo>
                  <a:lnTo>
                    <a:pt x="641" y="88"/>
                  </a:lnTo>
                  <a:lnTo>
                    <a:pt x="640" y="88"/>
                  </a:lnTo>
                  <a:lnTo>
                    <a:pt x="639" y="88"/>
                  </a:lnTo>
                  <a:lnTo>
                    <a:pt x="635" y="90"/>
                  </a:lnTo>
                  <a:lnTo>
                    <a:pt x="635" y="88"/>
                  </a:lnTo>
                  <a:lnTo>
                    <a:pt x="636" y="88"/>
                  </a:lnTo>
                  <a:lnTo>
                    <a:pt x="637" y="88"/>
                  </a:lnTo>
                  <a:lnTo>
                    <a:pt x="637" y="87"/>
                  </a:lnTo>
                  <a:lnTo>
                    <a:pt x="636" y="88"/>
                  </a:lnTo>
                  <a:lnTo>
                    <a:pt x="635" y="88"/>
                  </a:lnTo>
                  <a:lnTo>
                    <a:pt x="634" y="88"/>
                  </a:lnTo>
                  <a:lnTo>
                    <a:pt x="635" y="90"/>
                  </a:lnTo>
                  <a:lnTo>
                    <a:pt x="634" y="90"/>
                  </a:lnTo>
                  <a:lnTo>
                    <a:pt x="633" y="90"/>
                  </a:lnTo>
                  <a:lnTo>
                    <a:pt x="629" y="90"/>
                  </a:lnTo>
                  <a:lnTo>
                    <a:pt x="626" y="88"/>
                  </a:lnTo>
                  <a:lnTo>
                    <a:pt x="627" y="88"/>
                  </a:lnTo>
                  <a:lnTo>
                    <a:pt x="627" y="87"/>
                  </a:lnTo>
                  <a:lnTo>
                    <a:pt x="628" y="87"/>
                  </a:lnTo>
                  <a:lnTo>
                    <a:pt x="627" y="87"/>
                  </a:lnTo>
                  <a:lnTo>
                    <a:pt x="627" y="86"/>
                  </a:lnTo>
                  <a:lnTo>
                    <a:pt x="628" y="86"/>
                  </a:lnTo>
                  <a:lnTo>
                    <a:pt x="632" y="86"/>
                  </a:lnTo>
                  <a:lnTo>
                    <a:pt x="633" y="86"/>
                  </a:lnTo>
                  <a:lnTo>
                    <a:pt x="632" y="86"/>
                  </a:lnTo>
                  <a:lnTo>
                    <a:pt x="631" y="86"/>
                  </a:lnTo>
                  <a:lnTo>
                    <a:pt x="629" y="86"/>
                  </a:lnTo>
                  <a:lnTo>
                    <a:pt x="631" y="86"/>
                  </a:lnTo>
                  <a:lnTo>
                    <a:pt x="632" y="85"/>
                  </a:lnTo>
                  <a:lnTo>
                    <a:pt x="628" y="86"/>
                  </a:lnTo>
                  <a:lnTo>
                    <a:pt x="628" y="85"/>
                  </a:lnTo>
                  <a:lnTo>
                    <a:pt x="627" y="85"/>
                  </a:lnTo>
                  <a:lnTo>
                    <a:pt x="628" y="85"/>
                  </a:lnTo>
                  <a:lnTo>
                    <a:pt x="629" y="85"/>
                  </a:lnTo>
                  <a:lnTo>
                    <a:pt x="631" y="85"/>
                  </a:lnTo>
                  <a:lnTo>
                    <a:pt x="629" y="84"/>
                  </a:lnTo>
                  <a:lnTo>
                    <a:pt x="631" y="84"/>
                  </a:lnTo>
                  <a:lnTo>
                    <a:pt x="629" y="84"/>
                  </a:lnTo>
                  <a:lnTo>
                    <a:pt x="628" y="84"/>
                  </a:lnTo>
                  <a:lnTo>
                    <a:pt x="632" y="84"/>
                  </a:lnTo>
                  <a:lnTo>
                    <a:pt x="635" y="84"/>
                  </a:lnTo>
                  <a:lnTo>
                    <a:pt x="633" y="84"/>
                  </a:lnTo>
                  <a:lnTo>
                    <a:pt x="634" y="83"/>
                  </a:lnTo>
                  <a:lnTo>
                    <a:pt x="635" y="84"/>
                  </a:lnTo>
                  <a:lnTo>
                    <a:pt x="636" y="83"/>
                  </a:lnTo>
                  <a:lnTo>
                    <a:pt x="634" y="83"/>
                  </a:lnTo>
                  <a:lnTo>
                    <a:pt x="639" y="83"/>
                  </a:lnTo>
                  <a:lnTo>
                    <a:pt x="637" y="83"/>
                  </a:lnTo>
                  <a:lnTo>
                    <a:pt x="636" y="83"/>
                  </a:lnTo>
                  <a:lnTo>
                    <a:pt x="637" y="83"/>
                  </a:lnTo>
                  <a:lnTo>
                    <a:pt x="639" y="81"/>
                  </a:lnTo>
                  <a:lnTo>
                    <a:pt x="640" y="81"/>
                  </a:lnTo>
                  <a:lnTo>
                    <a:pt x="641" y="81"/>
                  </a:lnTo>
                  <a:lnTo>
                    <a:pt x="639" y="81"/>
                  </a:lnTo>
                  <a:lnTo>
                    <a:pt x="640" y="81"/>
                  </a:lnTo>
                  <a:lnTo>
                    <a:pt x="644" y="81"/>
                  </a:lnTo>
                  <a:lnTo>
                    <a:pt x="648" y="80"/>
                  </a:lnTo>
                  <a:lnTo>
                    <a:pt x="649" y="80"/>
                  </a:lnTo>
                  <a:lnTo>
                    <a:pt x="646" y="80"/>
                  </a:lnTo>
                  <a:lnTo>
                    <a:pt x="642" y="81"/>
                  </a:lnTo>
                  <a:lnTo>
                    <a:pt x="642" y="80"/>
                  </a:lnTo>
                  <a:lnTo>
                    <a:pt x="643" y="80"/>
                  </a:lnTo>
                  <a:lnTo>
                    <a:pt x="640" y="80"/>
                  </a:lnTo>
                  <a:lnTo>
                    <a:pt x="636" y="81"/>
                  </a:lnTo>
                  <a:lnTo>
                    <a:pt x="635" y="81"/>
                  </a:lnTo>
                  <a:lnTo>
                    <a:pt x="634" y="81"/>
                  </a:lnTo>
                  <a:lnTo>
                    <a:pt x="633" y="81"/>
                  </a:lnTo>
                  <a:lnTo>
                    <a:pt x="631" y="81"/>
                  </a:lnTo>
                  <a:lnTo>
                    <a:pt x="628" y="81"/>
                  </a:lnTo>
                  <a:lnTo>
                    <a:pt x="627" y="81"/>
                  </a:lnTo>
                  <a:lnTo>
                    <a:pt x="626" y="81"/>
                  </a:lnTo>
                  <a:lnTo>
                    <a:pt x="625" y="83"/>
                  </a:lnTo>
                  <a:lnTo>
                    <a:pt x="625" y="81"/>
                  </a:lnTo>
                  <a:lnTo>
                    <a:pt x="621" y="83"/>
                  </a:lnTo>
                  <a:lnTo>
                    <a:pt x="618" y="83"/>
                  </a:lnTo>
                  <a:lnTo>
                    <a:pt x="617" y="83"/>
                  </a:lnTo>
                  <a:lnTo>
                    <a:pt x="614" y="83"/>
                  </a:lnTo>
                  <a:lnTo>
                    <a:pt x="612" y="83"/>
                  </a:lnTo>
                  <a:lnTo>
                    <a:pt x="611" y="83"/>
                  </a:lnTo>
                  <a:lnTo>
                    <a:pt x="612" y="83"/>
                  </a:lnTo>
                  <a:lnTo>
                    <a:pt x="611" y="83"/>
                  </a:lnTo>
                  <a:lnTo>
                    <a:pt x="612" y="83"/>
                  </a:lnTo>
                  <a:lnTo>
                    <a:pt x="612" y="81"/>
                  </a:lnTo>
                  <a:lnTo>
                    <a:pt x="611" y="81"/>
                  </a:lnTo>
                  <a:lnTo>
                    <a:pt x="612" y="81"/>
                  </a:lnTo>
                  <a:lnTo>
                    <a:pt x="613" y="81"/>
                  </a:lnTo>
                  <a:lnTo>
                    <a:pt x="614" y="80"/>
                  </a:lnTo>
                  <a:lnTo>
                    <a:pt x="615" y="80"/>
                  </a:lnTo>
                  <a:lnTo>
                    <a:pt x="619" y="80"/>
                  </a:lnTo>
                  <a:lnTo>
                    <a:pt x="620" y="80"/>
                  </a:lnTo>
                  <a:lnTo>
                    <a:pt x="619" y="80"/>
                  </a:lnTo>
                  <a:lnTo>
                    <a:pt x="620" y="80"/>
                  </a:lnTo>
                  <a:lnTo>
                    <a:pt x="619" y="80"/>
                  </a:lnTo>
                  <a:lnTo>
                    <a:pt x="621" y="79"/>
                  </a:lnTo>
                  <a:lnTo>
                    <a:pt x="620" y="79"/>
                  </a:lnTo>
                  <a:lnTo>
                    <a:pt x="619" y="79"/>
                  </a:lnTo>
                  <a:lnTo>
                    <a:pt x="620" y="79"/>
                  </a:lnTo>
                  <a:lnTo>
                    <a:pt x="625" y="78"/>
                  </a:lnTo>
                  <a:lnTo>
                    <a:pt x="625" y="79"/>
                  </a:lnTo>
                  <a:lnTo>
                    <a:pt x="626" y="79"/>
                  </a:lnTo>
                  <a:lnTo>
                    <a:pt x="627" y="79"/>
                  </a:lnTo>
                  <a:lnTo>
                    <a:pt x="626" y="79"/>
                  </a:lnTo>
                  <a:lnTo>
                    <a:pt x="626" y="80"/>
                  </a:lnTo>
                  <a:lnTo>
                    <a:pt x="627" y="80"/>
                  </a:lnTo>
                  <a:lnTo>
                    <a:pt x="628" y="80"/>
                  </a:lnTo>
                  <a:lnTo>
                    <a:pt x="629" y="79"/>
                  </a:lnTo>
                  <a:lnTo>
                    <a:pt x="631" y="79"/>
                  </a:lnTo>
                  <a:lnTo>
                    <a:pt x="632" y="79"/>
                  </a:lnTo>
                  <a:lnTo>
                    <a:pt x="631" y="79"/>
                  </a:lnTo>
                  <a:lnTo>
                    <a:pt x="629" y="79"/>
                  </a:lnTo>
                  <a:lnTo>
                    <a:pt x="628" y="79"/>
                  </a:lnTo>
                  <a:lnTo>
                    <a:pt x="627" y="79"/>
                  </a:lnTo>
                  <a:lnTo>
                    <a:pt x="628" y="79"/>
                  </a:lnTo>
                  <a:lnTo>
                    <a:pt x="627" y="79"/>
                  </a:lnTo>
                  <a:lnTo>
                    <a:pt x="627" y="78"/>
                  </a:lnTo>
                  <a:lnTo>
                    <a:pt x="628" y="78"/>
                  </a:lnTo>
                  <a:lnTo>
                    <a:pt x="629" y="78"/>
                  </a:lnTo>
                  <a:lnTo>
                    <a:pt x="629" y="77"/>
                  </a:lnTo>
                  <a:lnTo>
                    <a:pt x="631" y="77"/>
                  </a:lnTo>
                  <a:lnTo>
                    <a:pt x="632" y="77"/>
                  </a:lnTo>
                  <a:lnTo>
                    <a:pt x="631" y="77"/>
                  </a:lnTo>
                  <a:lnTo>
                    <a:pt x="627" y="77"/>
                  </a:lnTo>
                  <a:lnTo>
                    <a:pt x="626" y="77"/>
                  </a:lnTo>
                  <a:lnTo>
                    <a:pt x="627" y="76"/>
                  </a:lnTo>
                  <a:lnTo>
                    <a:pt x="628" y="76"/>
                  </a:lnTo>
                  <a:lnTo>
                    <a:pt x="629" y="74"/>
                  </a:lnTo>
                  <a:lnTo>
                    <a:pt x="632" y="74"/>
                  </a:lnTo>
                  <a:lnTo>
                    <a:pt x="634" y="74"/>
                  </a:lnTo>
                  <a:lnTo>
                    <a:pt x="629" y="74"/>
                  </a:lnTo>
                  <a:lnTo>
                    <a:pt x="627" y="74"/>
                  </a:lnTo>
                  <a:lnTo>
                    <a:pt x="626" y="74"/>
                  </a:lnTo>
                  <a:lnTo>
                    <a:pt x="627" y="74"/>
                  </a:lnTo>
                  <a:lnTo>
                    <a:pt x="628" y="74"/>
                  </a:lnTo>
                  <a:lnTo>
                    <a:pt x="628" y="73"/>
                  </a:lnTo>
                  <a:lnTo>
                    <a:pt x="627" y="73"/>
                  </a:lnTo>
                  <a:lnTo>
                    <a:pt x="628" y="73"/>
                  </a:lnTo>
                  <a:lnTo>
                    <a:pt x="629" y="73"/>
                  </a:lnTo>
                  <a:lnTo>
                    <a:pt x="628" y="73"/>
                  </a:lnTo>
                  <a:lnTo>
                    <a:pt x="629" y="73"/>
                  </a:lnTo>
                  <a:lnTo>
                    <a:pt x="631" y="72"/>
                  </a:lnTo>
                  <a:lnTo>
                    <a:pt x="629" y="72"/>
                  </a:lnTo>
                  <a:lnTo>
                    <a:pt x="631" y="72"/>
                  </a:lnTo>
                  <a:lnTo>
                    <a:pt x="632" y="72"/>
                  </a:lnTo>
                  <a:lnTo>
                    <a:pt x="633" y="72"/>
                  </a:lnTo>
                  <a:lnTo>
                    <a:pt x="633" y="71"/>
                  </a:lnTo>
                  <a:lnTo>
                    <a:pt x="636" y="72"/>
                  </a:lnTo>
                  <a:lnTo>
                    <a:pt x="637" y="72"/>
                  </a:lnTo>
                  <a:lnTo>
                    <a:pt x="637" y="73"/>
                  </a:lnTo>
                  <a:lnTo>
                    <a:pt x="636" y="74"/>
                  </a:lnTo>
                  <a:lnTo>
                    <a:pt x="637" y="74"/>
                  </a:lnTo>
                  <a:lnTo>
                    <a:pt x="639" y="74"/>
                  </a:lnTo>
                  <a:lnTo>
                    <a:pt x="639" y="76"/>
                  </a:lnTo>
                  <a:lnTo>
                    <a:pt x="637" y="76"/>
                  </a:lnTo>
                  <a:lnTo>
                    <a:pt x="641" y="76"/>
                  </a:lnTo>
                  <a:lnTo>
                    <a:pt x="640" y="76"/>
                  </a:lnTo>
                  <a:lnTo>
                    <a:pt x="639" y="76"/>
                  </a:lnTo>
                  <a:lnTo>
                    <a:pt x="641" y="77"/>
                  </a:lnTo>
                  <a:lnTo>
                    <a:pt x="641" y="78"/>
                  </a:lnTo>
                  <a:lnTo>
                    <a:pt x="642" y="78"/>
                  </a:lnTo>
                  <a:lnTo>
                    <a:pt x="641" y="78"/>
                  </a:lnTo>
                  <a:lnTo>
                    <a:pt x="642" y="78"/>
                  </a:lnTo>
                  <a:lnTo>
                    <a:pt x="643" y="78"/>
                  </a:lnTo>
                  <a:lnTo>
                    <a:pt x="644" y="78"/>
                  </a:lnTo>
                  <a:lnTo>
                    <a:pt x="646" y="78"/>
                  </a:lnTo>
                  <a:lnTo>
                    <a:pt x="647" y="78"/>
                  </a:lnTo>
                  <a:lnTo>
                    <a:pt x="648" y="77"/>
                  </a:lnTo>
                  <a:lnTo>
                    <a:pt x="644" y="78"/>
                  </a:lnTo>
                  <a:lnTo>
                    <a:pt x="643" y="78"/>
                  </a:lnTo>
                  <a:lnTo>
                    <a:pt x="643" y="77"/>
                  </a:lnTo>
                  <a:lnTo>
                    <a:pt x="644" y="77"/>
                  </a:lnTo>
                  <a:lnTo>
                    <a:pt x="643" y="77"/>
                  </a:lnTo>
                  <a:lnTo>
                    <a:pt x="643" y="76"/>
                  </a:lnTo>
                  <a:lnTo>
                    <a:pt x="644" y="76"/>
                  </a:lnTo>
                  <a:lnTo>
                    <a:pt x="646" y="76"/>
                  </a:lnTo>
                  <a:lnTo>
                    <a:pt x="647" y="76"/>
                  </a:lnTo>
                  <a:lnTo>
                    <a:pt x="648" y="76"/>
                  </a:lnTo>
                  <a:lnTo>
                    <a:pt x="649" y="76"/>
                  </a:lnTo>
                  <a:lnTo>
                    <a:pt x="650" y="76"/>
                  </a:lnTo>
                  <a:lnTo>
                    <a:pt x="650" y="74"/>
                  </a:lnTo>
                  <a:lnTo>
                    <a:pt x="648" y="76"/>
                  </a:lnTo>
                  <a:lnTo>
                    <a:pt x="647" y="76"/>
                  </a:lnTo>
                  <a:lnTo>
                    <a:pt x="647" y="74"/>
                  </a:lnTo>
                  <a:lnTo>
                    <a:pt x="646" y="74"/>
                  </a:lnTo>
                  <a:lnTo>
                    <a:pt x="644" y="74"/>
                  </a:lnTo>
                  <a:lnTo>
                    <a:pt x="642" y="74"/>
                  </a:lnTo>
                  <a:lnTo>
                    <a:pt x="642" y="73"/>
                  </a:lnTo>
                  <a:lnTo>
                    <a:pt x="643" y="73"/>
                  </a:lnTo>
                  <a:lnTo>
                    <a:pt x="646" y="73"/>
                  </a:lnTo>
                  <a:lnTo>
                    <a:pt x="647" y="73"/>
                  </a:lnTo>
                  <a:lnTo>
                    <a:pt x="646" y="73"/>
                  </a:lnTo>
                  <a:lnTo>
                    <a:pt x="647" y="73"/>
                  </a:lnTo>
                  <a:lnTo>
                    <a:pt x="648" y="73"/>
                  </a:lnTo>
                  <a:lnTo>
                    <a:pt x="647" y="73"/>
                  </a:lnTo>
                  <a:lnTo>
                    <a:pt x="648" y="73"/>
                  </a:lnTo>
                  <a:lnTo>
                    <a:pt x="647" y="73"/>
                  </a:lnTo>
                  <a:lnTo>
                    <a:pt x="647" y="72"/>
                  </a:lnTo>
                  <a:lnTo>
                    <a:pt x="646" y="72"/>
                  </a:lnTo>
                  <a:lnTo>
                    <a:pt x="642" y="72"/>
                  </a:lnTo>
                  <a:lnTo>
                    <a:pt x="641" y="71"/>
                  </a:lnTo>
                  <a:lnTo>
                    <a:pt x="643" y="71"/>
                  </a:lnTo>
                  <a:lnTo>
                    <a:pt x="644" y="71"/>
                  </a:lnTo>
                  <a:lnTo>
                    <a:pt x="644" y="70"/>
                  </a:lnTo>
                  <a:lnTo>
                    <a:pt x="646" y="70"/>
                  </a:lnTo>
                  <a:lnTo>
                    <a:pt x="648" y="70"/>
                  </a:lnTo>
                  <a:lnTo>
                    <a:pt x="649" y="70"/>
                  </a:lnTo>
                  <a:lnTo>
                    <a:pt x="653" y="70"/>
                  </a:lnTo>
                  <a:lnTo>
                    <a:pt x="654" y="70"/>
                  </a:lnTo>
                  <a:lnTo>
                    <a:pt x="655" y="70"/>
                  </a:lnTo>
                  <a:lnTo>
                    <a:pt x="656" y="70"/>
                  </a:lnTo>
                  <a:lnTo>
                    <a:pt x="655" y="70"/>
                  </a:lnTo>
                  <a:lnTo>
                    <a:pt x="656" y="70"/>
                  </a:lnTo>
                  <a:lnTo>
                    <a:pt x="656" y="71"/>
                  </a:lnTo>
                  <a:lnTo>
                    <a:pt x="657" y="71"/>
                  </a:lnTo>
                  <a:lnTo>
                    <a:pt x="658" y="71"/>
                  </a:lnTo>
                  <a:lnTo>
                    <a:pt x="657" y="71"/>
                  </a:lnTo>
                  <a:lnTo>
                    <a:pt x="656" y="71"/>
                  </a:lnTo>
                  <a:lnTo>
                    <a:pt x="656" y="72"/>
                  </a:lnTo>
                  <a:lnTo>
                    <a:pt x="657" y="72"/>
                  </a:lnTo>
                  <a:lnTo>
                    <a:pt x="657" y="71"/>
                  </a:lnTo>
                  <a:lnTo>
                    <a:pt x="658" y="72"/>
                  </a:lnTo>
                  <a:lnTo>
                    <a:pt x="658" y="71"/>
                  </a:lnTo>
                  <a:lnTo>
                    <a:pt x="660" y="71"/>
                  </a:lnTo>
                  <a:lnTo>
                    <a:pt x="658" y="72"/>
                  </a:lnTo>
                  <a:lnTo>
                    <a:pt x="660" y="72"/>
                  </a:lnTo>
                  <a:lnTo>
                    <a:pt x="660" y="71"/>
                  </a:lnTo>
                  <a:lnTo>
                    <a:pt x="660" y="70"/>
                  </a:lnTo>
                  <a:lnTo>
                    <a:pt x="661" y="70"/>
                  </a:lnTo>
                  <a:lnTo>
                    <a:pt x="662" y="70"/>
                  </a:lnTo>
                  <a:lnTo>
                    <a:pt x="663" y="70"/>
                  </a:lnTo>
                  <a:lnTo>
                    <a:pt x="662" y="70"/>
                  </a:lnTo>
                  <a:lnTo>
                    <a:pt x="663" y="70"/>
                  </a:lnTo>
                  <a:lnTo>
                    <a:pt x="664" y="70"/>
                  </a:lnTo>
                  <a:lnTo>
                    <a:pt x="665" y="70"/>
                  </a:lnTo>
                  <a:lnTo>
                    <a:pt x="667" y="70"/>
                  </a:lnTo>
                  <a:lnTo>
                    <a:pt x="667" y="69"/>
                  </a:lnTo>
                  <a:lnTo>
                    <a:pt x="665" y="69"/>
                  </a:lnTo>
                  <a:lnTo>
                    <a:pt x="664" y="70"/>
                  </a:lnTo>
                  <a:lnTo>
                    <a:pt x="663" y="70"/>
                  </a:lnTo>
                  <a:lnTo>
                    <a:pt x="663" y="69"/>
                  </a:lnTo>
                  <a:lnTo>
                    <a:pt x="667" y="69"/>
                  </a:lnTo>
                  <a:close/>
                  <a:moveTo>
                    <a:pt x="650" y="69"/>
                  </a:moveTo>
                  <a:lnTo>
                    <a:pt x="646" y="70"/>
                  </a:lnTo>
                  <a:lnTo>
                    <a:pt x="641" y="70"/>
                  </a:lnTo>
                  <a:lnTo>
                    <a:pt x="639" y="70"/>
                  </a:lnTo>
                  <a:lnTo>
                    <a:pt x="636" y="70"/>
                  </a:lnTo>
                  <a:lnTo>
                    <a:pt x="637" y="70"/>
                  </a:lnTo>
                  <a:lnTo>
                    <a:pt x="639" y="70"/>
                  </a:lnTo>
                  <a:lnTo>
                    <a:pt x="641" y="70"/>
                  </a:lnTo>
                  <a:lnTo>
                    <a:pt x="641" y="69"/>
                  </a:lnTo>
                  <a:lnTo>
                    <a:pt x="642" y="69"/>
                  </a:lnTo>
                  <a:lnTo>
                    <a:pt x="643" y="69"/>
                  </a:lnTo>
                  <a:lnTo>
                    <a:pt x="644" y="69"/>
                  </a:lnTo>
                  <a:lnTo>
                    <a:pt x="648" y="67"/>
                  </a:lnTo>
                  <a:lnTo>
                    <a:pt x="651" y="69"/>
                  </a:lnTo>
                  <a:lnTo>
                    <a:pt x="650" y="69"/>
                  </a:lnTo>
                  <a:close/>
                  <a:moveTo>
                    <a:pt x="745" y="71"/>
                  </a:moveTo>
                  <a:lnTo>
                    <a:pt x="743" y="71"/>
                  </a:lnTo>
                  <a:lnTo>
                    <a:pt x="742" y="71"/>
                  </a:lnTo>
                  <a:lnTo>
                    <a:pt x="741" y="71"/>
                  </a:lnTo>
                  <a:lnTo>
                    <a:pt x="740" y="71"/>
                  </a:lnTo>
                  <a:lnTo>
                    <a:pt x="740" y="70"/>
                  </a:lnTo>
                  <a:lnTo>
                    <a:pt x="740" y="69"/>
                  </a:lnTo>
                  <a:lnTo>
                    <a:pt x="740" y="67"/>
                  </a:lnTo>
                  <a:lnTo>
                    <a:pt x="741" y="67"/>
                  </a:lnTo>
                  <a:lnTo>
                    <a:pt x="743" y="67"/>
                  </a:lnTo>
                  <a:lnTo>
                    <a:pt x="745" y="67"/>
                  </a:lnTo>
                  <a:lnTo>
                    <a:pt x="747" y="67"/>
                  </a:lnTo>
                  <a:lnTo>
                    <a:pt x="748" y="67"/>
                  </a:lnTo>
                  <a:lnTo>
                    <a:pt x="748" y="69"/>
                  </a:lnTo>
                  <a:lnTo>
                    <a:pt x="747" y="69"/>
                  </a:lnTo>
                  <a:lnTo>
                    <a:pt x="748" y="69"/>
                  </a:lnTo>
                  <a:lnTo>
                    <a:pt x="747" y="69"/>
                  </a:lnTo>
                  <a:lnTo>
                    <a:pt x="746" y="69"/>
                  </a:lnTo>
                  <a:lnTo>
                    <a:pt x="745" y="70"/>
                  </a:lnTo>
                  <a:lnTo>
                    <a:pt x="745" y="71"/>
                  </a:lnTo>
                  <a:close/>
                  <a:moveTo>
                    <a:pt x="576" y="67"/>
                  </a:moveTo>
                  <a:lnTo>
                    <a:pt x="575" y="67"/>
                  </a:lnTo>
                  <a:lnTo>
                    <a:pt x="576" y="67"/>
                  </a:lnTo>
                  <a:lnTo>
                    <a:pt x="576" y="69"/>
                  </a:lnTo>
                  <a:lnTo>
                    <a:pt x="575" y="69"/>
                  </a:lnTo>
                  <a:lnTo>
                    <a:pt x="573" y="70"/>
                  </a:lnTo>
                  <a:lnTo>
                    <a:pt x="573" y="69"/>
                  </a:lnTo>
                  <a:lnTo>
                    <a:pt x="572" y="69"/>
                  </a:lnTo>
                  <a:lnTo>
                    <a:pt x="572" y="70"/>
                  </a:lnTo>
                  <a:lnTo>
                    <a:pt x="572" y="71"/>
                  </a:lnTo>
                  <a:lnTo>
                    <a:pt x="571" y="71"/>
                  </a:lnTo>
                  <a:lnTo>
                    <a:pt x="572" y="71"/>
                  </a:lnTo>
                  <a:lnTo>
                    <a:pt x="571" y="71"/>
                  </a:lnTo>
                  <a:lnTo>
                    <a:pt x="571" y="72"/>
                  </a:lnTo>
                  <a:lnTo>
                    <a:pt x="570" y="72"/>
                  </a:lnTo>
                  <a:lnTo>
                    <a:pt x="571" y="72"/>
                  </a:lnTo>
                  <a:lnTo>
                    <a:pt x="572" y="72"/>
                  </a:lnTo>
                  <a:lnTo>
                    <a:pt x="572" y="73"/>
                  </a:lnTo>
                  <a:lnTo>
                    <a:pt x="571" y="74"/>
                  </a:lnTo>
                  <a:lnTo>
                    <a:pt x="571" y="73"/>
                  </a:lnTo>
                  <a:lnTo>
                    <a:pt x="571" y="74"/>
                  </a:lnTo>
                  <a:lnTo>
                    <a:pt x="569" y="74"/>
                  </a:lnTo>
                  <a:lnTo>
                    <a:pt x="568" y="74"/>
                  </a:lnTo>
                  <a:lnTo>
                    <a:pt x="568" y="76"/>
                  </a:lnTo>
                  <a:lnTo>
                    <a:pt x="567" y="76"/>
                  </a:lnTo>
                  <a:lnTo>
                    <a:pt x="565" y="77"/>
                  </a:lnTo>
                  <a:lnTo>
                    <a:pt x="567" y="77"/>
                  </a:lnTo>
                  <a:lnTo>
                    <a:pt x="568" y="77"/>
                  </a:lnTo>
                  <a:lnTo>
                    <a:pt x="570" y="76"/>
                  </a:lnTo>
                  <a:lnTo>
                    <a:pt x="571" y="76"/>
                  </a:lnTo>
                  <a:lnTo>
                    <a:pt x="571" y="77"/>
                  </a:lnTo>
                  <a:lnTo>
                    <a:pt x="572" y="77"/>
                  </a:lnTo>
                  <a:lnTo>
                    <a:pt x="571" y="78"/>
                  </a:lnTo>
                  <a:lnTo>
                    <a:pt x="570" y="78"/>
                  </a:lnTo>
                  <a:lnTo>
                    <a:pt x="569" y="78"/>
                  </a:lnTo>
                  <a:lnTo>
                    <a:pt x="568" y="78"/>
                  </a:lnTo>
                  <a:lnTo>
                    <a:pt x="568" y="79"/>
                  </a:lnTo>
                  <a:lnTo>
                    <a:pt x="567" y="79"/>
                  </a:lnTo>
                  <a:lnTo>
                    <a:pt x="565" y="79"/>
                  </a:lnTo>
                  <a:lnTo>
                    <a:pt x="567" y="79"/>
                  </a:lnTo>
                  <a:lnTo>
                    <a:pt x="568" y="79"/>
                  </a:lnTo>
                  <a:lnTo>
                    <a:pt x="569" y="79"/>
                  </a:lnTo>
                  <a:lnTo>
                    <a:pt x="570" y="78"/>
                  </a:lnTo>
                  <a:lnTo>
                    <a:pt x="573" y="78"/>
                  </a:lnTo>
                  <a:lnTo>
                    <a:pt x="575" y="78"/>
                  </a:lnTo>
                  <a:lnTo>
                    <a:pt x="576" y="78"/>
                  </a:lnTo>
                  <a:lnTo>
                    <a:pt x="576" y="79"/>
                  </a:lnTo>
                  <a:lnTo>
                    <a:pt x="575" y="79"/>
                  </a:lnTo>
                  <a:lnTo>
                    <a:pt x="576" y="79"/>
                  </a:lnTo>
                  <a:lnTo>
                    <a:pt x="575" y="79"/>
                  </a:lnTo>
                  <a:lnTo>
                    <a:pt x="575" y="80"/>
                  </a:lnTo>
                  <a:lnTo>
                    <a:pt x="573" y="81"/>
                  </a:lnTo>
                  <a:lnTo>
                    <a:pt x="575" y="81"/>
                  </a:lnTo>
                  <a:lnTo>
                    <a:pt x="575" y="80"/>
                  </a:lnTo>
                  <a:lnTo>
                    <a:pt x="576" y="80"/>
                  </a:lnTo>
                  <a:lnTo>
                    <a:pt x="577" y="79"/>
                  </a:lnTo>
                  <a:lnTo>
                    <a:pt x="579" y="79"/>
                  </a:lnTo>
                  <a:lnTo>
                    <a:pt x="578" y="79"/>
                  </a:lnTo>
                  <a:lnTo>
                    <a:pt x="577" y="79"/>
                  </a:lnTo>
                  <a:lnTo>
                    <a:pt x="578" y="78"/>
                  </a:lnTo>
                  <a:lnTo>
                    <a:pt x="579" y="78"/>
                  </a:lnTo>
                  <a:lnTo>
                    <a:pt x="579" y="77"/>
                  </a:lnTo>
                  <a:lnTo>
                    <a:pt x="582" y="77"/>
                  </a:lnTo>
                  <a:lnTo>
                    <a:pt x="583" y="77"/>
                  </a:lnTo>
                  <a:lnTo>
                    <a:pt x="585" y="77"/>
                  </a:lnTo>
                  <a:lnTo>
                    <a:pt x="587" y="77"/>
                  </a:lnTo>
                  <a:lnTo>
                    <a:pt x="590" y="77"/>
                  </a:lnTo>
                  <a:lnTo>
                    <a:pt x="590" y="78"/>
                  </a:lnTo>
                  <a:lnTo>
                    <a:pt x="591" y="78"/>
                  </a:lnTo>
                  <a:lnTo>
                    <a:pt x="591" y="79"/>
                  </a:lnTo>
                  <a:lnTo>
                    <a:pt x="590" y="79"/>
                  </a:lnTo>
                  <a:lnTo>
                    <a:pt x="589" y="80"/>
                  </a:lnTo>
                  <a:lnTo>
                    <a:pt x="589" y="81"/>
                  </a:lnTo>
                  <a:lnTo>
                    <a:pt x="587" y="81"/>
                  </a:lnTo>
                  <a:lnTo>
                    <a:pt x="586" y="81"/>
                  </a:lnTo>
                  <a:lnTo>
                    <a:pt x="586" y="83"/>
                  </a:lnTo>
                  <a:lnTo>
                    <a:pt x="585" y="83"/>
                  </a:lnTo>
                  <a:lnTo>
                    <a:pt x="584" y="83"/>
                  </a:lnTo>
                  <a:lnTo>
                    <a:pt x="583" y="83"/>
                  </a:lnTo>
                  <a:lnTo>
                    <a:pt x="584" y="83"/>
                  </a:lnTo>
                  <a:lnTo>
                    <a:pt x="583" y="83"/>
                  </a:lnTo>
                  <a:lnTo>
                    <a:pt x="583" y="84"/>
                  </a:lnTo>
                  <a:lnTo>
                    <a:pt x="584" y="84"/>
                  </a:lnTo>
                  <a:lnTo>
                    <a:pt x="583" y="84"/>
                  </a:lnTo>
                  <a:lnTo>
                    <a:pt x="582" y="84"/>
                  </a:lnTo>
                  <a:lnTo>
                    <a:pt x="582" y="85"/>
                  </a:lnTo>
                  <a:lnTo>
                    <a:pt x="580" y="85"/>
                  </a:lnTo>
                  <a:lnTo>
                    <a:pt x="579" y="85"/>
                  </a:lnTo>
                  <a:lnTo>
                    <a:pt x="578" y="86"/>
                  </a:lnTo>
                  <a:lnTo>
                    <a:pt x="577" y="86"/>
                  </a:lnTo>
                  <a:lnTo>
                    <a:pt x="577" y="87"/>
                  </a:lnTo>
                  <a:lnTo>
                    <a:pt x="576" y="87"/>
                  </a:lnTo>
                  <a:lnTo>
                    <a:pt x="575" y="87"/>
                  </a:lnTo>
                  <a:lnTo>
                    <a:pt x="573" y="87"/>
                  </a:lnTo>
                  <a:lnTo>
                    <a:pt x="573" y="88"/>
                  </a:lnTo>
                  <a:lnTo>
                    <a:pt x="570" y="88"/>
                  </a:lnTo>
                  <a:lnTo>
                    <a:pt x="565" y="90"/>
                  </a:lnTo>
                  <a:lnTo>
                    <a:pt x="562" y="90"/>
                  </a:lnTo>
                  <a:lnTo>
                    <a:pt x="561" y="90"/>
                  </a:lnTo>
                  <a:lnTo>
                    <a:pt x="560" y="90"/>
                  </a:lnTo>
                  <a:lnTo>
                    <a:pt x="558" y="90"/>
                  </a:lnTo>
                  <a:lnTo>
                    <a:pt x="557" y="90"/>
                  </a:lnTo>
                  <a:lnTo>
                    <a:pt x="557" y="88"/>
                  </a:lnTo>
                  <a:lnTo>
                    <a:pt x="558" y="88"/>
                  </a:lnTo>
                  <a:lnTo>
                    <a:pt x="557" y="88"/>
                  </a:lnTo>
                  <a:lnTo>
                    <a:pt x="556" y="88"/>
                  </a:lnTo>
                  <a:lnTo>
                    <a:pt x="555" y="90"/>
                  </a:lnTo>
                  <a:lnTo>
                    <a:pt x="555" y="88"/>
                  </a:lnTo>
                  <a:lnTo>
                    <a:pt x="554" y="90"/>
                  </a:lnTo>
                  <a:lnTo>
                    <a:pt x="555" y="90"/>
                  </a:lnTo>
                  <a:lnTo>
                    <a:pt x="554" y="90"/>
                  </a:lnTo>
                  <a:lnTo>
                    <a:pt x="553" y="90"/>
                  </a:lnTo>
                  <a:lnTo>
                    <a:pt x="549" y="90"/>
                  </a:lnTo>
                  <a:lnTo>
                    <a:pt x="548" y="90"/>
                  </a:lnTo>
                  <a:lnTo>
                    <a:pt x="547" y="90"/>
                  </a:lnTo>
                  <a:lnTo>
                    <a:pt x="549" y="90"/>
                  </a:lnTo>
                  <a:lnTo>
                    <a:pt x="549" y="88"/>
                  </a:lnTo>
                  <a:lnTo>
                    <a:pt x="548" y="88"/>
                  </a:lnTo>
                  <a:lnTo>
                    <a:pt x="547" y="88"/>
                  </a:lnTo>
                  <a:lnTo>
                    <a:pt x="546" y="88"/>
                  </a:lnTo>
                  <a:lnTo>
                    <a:pt x="546" y="90"/>
                  </a:lnTo>
                  <a:lnTo>
                    <a:pt x="544" y="90"/>
                  </a:lnTo>
                  <a:lnTo>
                    <a:pt x="541" y="90"/>
                  </a:lnTo>
                  <a:lnTo>
                    <a:pt x="540" y="90"/>
                  </a:lnTo>
                  <a:lnTo>
                    <a:pt x="540" y="91"/>
                  </a:lnTo>
                  <a:lnTo>
                    <a:pt x="537" y="91"/>
                  </a:lnTo>
                  <a:lnTo>
                    <a:pt x="535" y="91"/>
                  </a:lnTo>
                  <a:lnTo>
                    <a:pt x="533" y="91"/>
                  </a:lnTo>
                  <a:lnTo>
                    <a:pt x="532" y="91"/>
                  </a:lnTo>
                  <a:lnTo>
                    <a:pt x="533" y="91"/>
                  </a:lnTo>
                  <a:lnTo>
                    <a:pt x="532" y="91"/>
                  </a:lnTo>
                  <a:lnTo>
                    <a:pt x="530" y="91"/>
                  </a:lnTo>
                  <a:lnTo>
                    <a:pt x="529" y="91"/>
                  </a:lnTo>
                  <a:lnTo>
                    <a:pt x="529" y="92"/>
                  </a:lnTo>
                  <a:lnTo>
                    <a:pt x="527" y="92"/>
                  </a:lnTo>
                  <a:lnTo>
                    <a:pt x="526" y="92"/>
                  </a:lnTo>
                  <a:lnTo>
                    <a:pt x="526" y="93"/>
                  </a:lnTo>
                  <a:lnTo>
                    <a:pt x="523" y="93"/>
                  </a:lnTo>
                  <a:lnTo>
                    <a:pt x="522" y="93"/>
                  </a:lnTo>
                  <a:lnTo>
                    <a:pt x="521" y="93"/>
                  </a:lnTo>
                  <a:lnTo>
                    <a:pt x="521" y="94"/>
                  </a:lnTo>
                  <a:lnTo>
                    <a:pt x="520" y="94"/>
                  </a:lnTo>
                  <a:lnTo>
                    <a:pt x="519" y="94"/>
                  </a:lnTo>
                  <a:lnTo>
                    <a:pt x="518" y="94"/>
                  </a:lnTo>
                  <a:lnTo>
                    <a:pt x="516" y="94"/>
                  </a:lnTo>
                  <a:lnTo>
                    <a:pt x="515" y="94"/>
                  </a:lnTo>
                  <a:lnTo>
                    <a:pt x="514" y="95"/>
                  </a:lnTo>
                  <a:lnTo>
                    <a:pt x="513" y="95"/>
                  </a:lnTo>
                  <a:lnTo>
                    <a:pt x="509" y="95"/>
                  </a:lnTo>
                  <a:lnTo>
                    <a:pt x="506" y="95"/>
                  </a:lnTo>
                  <a:lnTo>
                    <a:pt x="505" y="97"/>
                  </a:lnTo>
                  <a:lnTo>
                    <a:pt x="504" y="97"/>
                  </a:lnTo>
                  <a:lnTo>
                    <a:pt x="503" y="97"/>
                  </a:lnTo>
                  <a:lnTo>
                    <a:pt x="498" y="97"/>
                  </a:lnTo>
                  <a:lnTo>
                    <a:pt x="497" y="97"/>
                  </a:lnTo>
                  <a:lnTo>
                    <a:pt x="494" y="97"/>
                  </a:lnTo>
                  <a:lnTo>
                    <a:pt x="492" y="97"/>
                  </a:lnTo>
                  <a:lnTo>
                    <a:pt x="492" y="95"/>
                  </a:lnTo>
                  <a:lnTo>
                    <a:pt x="490" y="94"/>
                  </a:lnTo>
                  <a:lnTo>
                    <a:pt x="489" y="93"/>
                  </a:lnTo>
                  <a:lnTo>
                    <a:pt x="490" y="93"/>
                  </a:lnTo>
                  <a:lnTo>
                    <a:pt x="491" y="92"/>
                  </a:lnTo>
                  <a:lnTo>
                    <a:pt x="492" y="92"/>
                  </a:lnTo>
                  <a:lnTo>
                    <a:pt x="496" y="92"/>
                  </a:lnTo>
                  <a:lnTo>
                    <a:pt x="497" y="92"/>
                  </a:lnTo>
                  <a:lnTo>
                    <a:pt x="498" y="91"/>
                  </a:lnTo>
                  <a:lnTo>
                    <a:pt x="499" y="91"/>
                  </a:lnTo>
                  <a:lnTo>
                    <a:pt x="500" y="91"/>
                  </a:lnTo>
                  <a:lnTo>
                    <a:pt x="501" y="91"/>
                  </a:lnTo>
                  <a:lnTo>
                    <a:pt x="503" y="91"/>
                  </a:lnTo>
                  <a:lnTo>
                    <a:pt x="504" y="91"/>
                  </a:lnTo>
                  <a:lnTo>
                    <a:pt x="503" y="91"/>
                  </a:lnTo>
                  <a:lnTo>
                    <a:pt x="504" y="91"/>
                  </a:lnTo>
                  <a:lnTo>
                    <a:pt x="505" y="90"/>
                  </a:lnTo>
                  <a:lnTo>
                    <a:pt x="506" y="90"/>
                  </a:lnTo>
                  <a:lnTo>
                    <a:pt x="507" y="90"/>
                  </a:lnTo>
                  <a:lnTo>
                    <a:pt x="508" y="90"/>
                  </a:lnTo>
                  <a:lnTo>
                    <a:pt x="509" y="90"/>
                  </a:lnTo>
                  <a:lnTo>
                    <a:pt x="512" y="90"/>
                  </a:lnTo>
                  <a:lnTo>
                    <a:pt x="514" y="90"/>
                  </a:lnTo>
                  <a:lnTo>
                    <a:pt x="516" y="88"/>
                  </a:lnTo>
                  <a:lnTo>
                    <a:pt x="518" y="90"/>
                  </a:lnTo>
                  <a:lnTo>
                    <a:pt x="519" y="90"/>
                  </a:lnTo>
                  <a:lnTo>
                    <a:pt x="520" y="90"/>
                  </a:lnTo>
                  <a:lnTo>
                    <a:pt x="521" y="90"/>
                  </a:lnTo>
                  <a:lnTo>
                    <a:pt x="521" y="88"/>
                  </a:lnTo>
                  <a:lnTo>
                    <a:pt x="522" y="88"/>
                  </a:lnTo>
                  <a:lnTo>
                    <a:pt x="521" y="88"/>
                  </a:lnTo>
                  <a:lnTo>
                    <a:pt x="522" y="88"/>
                  </a:lnTo>
                  <a:lnTo>
                    <a:pt x="523" y="88"/>
                  </a:lnTo>
                  <a:lnTo>
                    <a:pt x="525" y="88"/>
                  </a:lnTo>
                  <a:lnTo>
                    <a:pt x="525" y="87"/>
                  </a:lnTo>
                  <a:lnTo>
                    <a:pt x="526" y="87"/>
                  </a:lnTo>
                  <a:lnTo>
                    <a:pt x="527" y="87"/>
                  </a:lnTo>
                  <a:lnTo>
                    <a:pt x="528" y="87"/>
                  </a:lnTo>
                  <a:lnTo>
                    <a:pt x="529" y="86"/>
                  </a:lnTo>
                  <a:lnTo>
                    <a:pt x="530" y="86"/>
                  </a:lnTo>
                  <a:lnTo>
                    <a:pt x="529" y="86"/>
                  </a:lnTo>
                  <a:lnTo>
                    <a:pt x="528" y="86"/>
                  </a:lnTo>
                  <a:lnTo>
                    <a:pt x="527" y="86"/>
                  </a:lnTo>
                  <a:lnTo>
                    <a:pt x="526" y="86"/>
                  </a:lnTo>
                  <a:lnTo>
                    <a:pt x="526" y="87"/>
                  </a:lnTo>
                  <a:lnTo>
                    <a:pt x="525" y="87"/>
                  </a:lnTo>
                  <a:lnTo>
                    <a:pt x="523" y="87"/>
                  </a:lnTo>
                  <a:lnTo>
                    <a:pt x="522" y="87"/>
                  </a:lnTo>
                  <a:lnTo>
                    <a:pt x="523" y="87"/>
                  </a:lnTo>
                  <a:lnTo>
                    <a:pt x="522" y="87"/>
                  </a:lnTo>
                  <a:lnTo>
                    <a:pt x="521" y="87"/>
                  </a:lnTo>
                  <a:lnTo>
                    <a:pt x="520" y="87"/>
                  </a:lnTo>
                  <a:lnTo>
                    <a:pt x="519" y="87"/>
                  </a:lnTo>
                  <a:lnTo>
                    <a:pt x="516" y="87"/>
                  </a:lnTo>
                  <a:lnTo>
                    <a:pt x="515" y="87"/>
                  </a:lnTo>
                  <a:lnTo>
                    <a:pt x="514" y="87"/>
                  </a:lnTo>
                  <a:lnTo>
                    <a:pt x="515" y="87"/>
                  </a:lnTo>
                  <a:lnTo>
                    <a:pt x="516" y="87"/>
                  </a:lnTo>
                  <a:lnTo>
                    <a:pt x="516" y="86"/>
                  </a:lnTo>
                  <a:lnTo>
                    <a:pt x="515" y="86"/>
                  </a:lnTo>
                  <a:lnTo>
                    <a:pt x="515" y="87"/>
                  </a:lnTo>
                  <a:lnTo>
                    <a:pt x="514" y="87"/>
                  </a:lnTo>
                  <a:lnTo>
                    <a:pt x="514" y="86"/>
                  </a:lnTo>
                  <a:lnTo>
                    <a:pt x="515" y="86"/>
                  </a:lnTo>
                  <a:lnTo>
                    <a:pt x="514" y="86"/>
                  </a:lnTo>
                  <a:lnTo>
                    <a:pt x="513" y="86"/>
                  </a:lnTo>
                  <a:lnTo>
                    <a:pt x="513" y="87"/>
                  </a:lnTo>
                  <a:lnTo>
                    <a:pt x="512" y="87"/>
                  </a:lnTo>
                  <a:lnTo>
                    <a:pt x="511" y="87"/>
                  </a:lnTo>
                  <a:lnTo>
                    <a:pt x="508" y="88"/>
                  </a:lnTo>
                  <a:lnTo>
                    <a:pt x="508" y="87"/>
                  </a:lnTo>
                  <a:lnTo>
                    <a:pt x="507" y="87"/>
                  </a:lnTo>
                  <a:lnTo>
                    <a:pt x="507" y="88"/>
                  </a:lnTo>
                  <a:lnTo>
                    <a:pt x="505" y="88"/>
                  </a:lnTo>
                  <a:lnTo>
                    <a:pt x="503" y="88"/>
                  </a:lnTo>
                  <a:lnTo>
                    <a:pt x="501" y="88"/>
                  </a:lnTo>
                  <a:lnTo>
                    <a:pt x="500" y="88"/>
                  </a:lnTo>
                  <a:lnTo>
                    <a:pt x="499" y="88"/>
                  </a:lnTo>
                  <a:lnTo>
                    <a:pt x="500" y="87"/>
                  </a:lnTo>
                  <a:lnTo>
                    <a:pt x="501" y="87"/>
                  </a:lnTo>
                  <a:lnTo>
                    <a:pt x="504" y="87"/>
                  </a:lnTo>
                  <a:lnTo>
                    <a:pt x="501" y="87"/>
                  </a:lnTo>
                  <a:lnTo>
                    <a:pt x="503" y="86"/>
                  </a:lnTo>
                  <a:lnTo>
                    <a:pt x="504" y="85"/>
                  </a:lnTo>
                  <a:lnTo>
                    <a:pt x="505" y="85"/>
                  </a:lnTo>
                  <a:lnTo>
                    <a:pt x="506" y="85"/>
                  </a:lnTo>
                  <a:lnTo>
                    <a:pt x="507" y="85"/>
                  </a:lnTo>
                  <a:lnTo>
                    <a:pt x="508" y="85"/>
                  </a:lnTo>
                  <a:lnTo>
                    <a:pt x="511" y="84"/>
                  </a:lnTo>
                  <a:lnTo>
                    <a:pt x="509" y="84"/>
                  </a:lnTo>
                  <a:lnTo>
                    <a:pt x="508" y="84"/>
                  </a:lnTo>
                  <a:lnTo>
                    <a:pt x="505" y="85"/>
                  </a:lnTo>
                  <a:lnTo>
                    <a:pt x="505" y="84"/>
                  </a:lnTo>
                  <a:lnTo>
                    <a:pt x="504" y="84"/>
                  </a:lnTo>
                  <a:lnTo>
                    <a:pt x="504" y="85"/>
                  </a:lnTo>
                  <a:lnTo>
                    <a:pt x="503" y="85"/>
                  </a:lnTo>
                  <a:lnTo>
                    <a:pt x="501" y="85"/>
                  </a:lnTo>
                  <a:lnTo>
                    <a:pt x="501" y="86"/>
                  </a:lnTo>
                  <a:lnTo>
                    <a:pt x="500" y="86"/>
                  </a:lnTo>
                  <a:lnTo>
                    <a:pt x="499" y="86"/>
                  </a:lnTo>
                  <a:lnTo>
                    <a:pt x="498" y="85"/>
                  </a:lnTo>
                  <a:lnTo>
                    <a:pt x="497" y="85"/>
                  </a:lnTo>
                  <a:lnTo>
                    <a:pt x="497" y="86"/>
                  </a:lnTo>
                  <a:lnTo>
                    <a:pt x="498" y="86"/>
                  </a:lnTo>
                  <a:lnTo>
                    <a:pt x="498" y="87"/>
                  </a:lnTo>
                  <a:lnTo>
                    <a:pt x="497" y="87"/>
                  </a:lnTo>
                  <a:lnTo>
                    <a:pt x="496" y="87"/>
                  </a:lnTo>
                  <a:lnTo>
                    <a:pt x="496" y="88"/>
                  </a:lnTo>
                  <a:lnTo>
                    <a:pt x="494" y="88"/>
                  </a:lnTo>
                  <a:lnTo>
                    <a:pt x="492" y="88"/>
                  </a:lnTo>
                  <a:lnTo>
                    <a:pt x="489" y="90"/>
                  </a:lnTo>
                  <a:lnTo>
                    <a:pt x="487" y="90"/>
                  </a:lnTo>
                  <a:lnTo>
                    <a:pt x="486" y="90"/>
                  </a:lnTo>
                  <a:lnTo>
                    <a:pt x="486" y="88"/>
                  </a:lnTo>
                  <a:lnTo>
                    <a:pt x="487" y="88"/>
                  </a:lnTo>
                  <a:lnTo>
                    <a:pt x="489" y="88"/>
                  </a:lnTo>
                  <a:lnTo>
                    <a:pt x="489" y="87"/>
                  </a:lnTo>
                  <a:lnTo>
                    <a:pt x="486" y="88"/>
                  </a:lnTo>
                  <a:lnTo>
                    <a:pt x="485" y="87"/>
                  </a:lnTo>
                  <a:lnTo>
                    <a:pt x="484" y="87"/>
                  </a:lnTo>
                  <a:lnTo>
                    <a:pt x="485" y="87"/>
                  </a:lnTo>
                  <a:lnTo>
                    <a:pt x="484" y="87"/>
                  </a:lnTo>
                  <a:lnTo>
                    <a:pt x="484" y="88"/>
                  </a:lnTo>
                  <a:lnTo>
                    <a:pt x="483" y="90"/>
                  </a:lnTo>
                  <a:lnTo>
                    <a:pt x="482" y="90"/>
                  </a:lnTo>
                  <a:lnTo>
                    <a:pt x="479" y="90"/>
                  </a:lnTo>
                  <a:lnTo>
                    <a:pt x="479" y="88"/>
                  </a:lnTo>
                  <a:lnTo>
                    <a:pt x="478" y="88"/>
                  </a:lnTo>
                  <a:lnTo>
                    <a:pt x="479" y="88"/>
                  </a:lnTo>
                  <a:lnTo>
                    <a:pt x="480" y="88"/>
                  </a:lnTo>
                  <a:lnTo>
                    <a:pt x="480" y="87"/>
                  </a:lnTo>
                  <a:lnTo>
                    <a:pt x="478" y="88"/>
                  </a:lnTo>
                  <a:lnTo>
                    <a:pt x="478" y="87"/>
                  </a:lnTo>
                  <a:lnTo>
                    <a:pt x="479" y="87"/>
                  </a:lnTo>
                  <a:lnTo>
                    <a:pt x="480" y="86"/>
                  </a:lnTo>
                  <a:lnTo>
                    <a:pt x="478" y="87"/>
                  </a:lnTo>
                  <a:lnTo>
                    <a:pt x="477" y="87"/>
                  </a:lnTo>
                  <a:lnTo>
                    <a:pt x="476" y="87"/>
                  </a:lnTo>
                  <a:lnTo>
                    <a:pt x="475" y="87"/>
                  </a:lnTo>
                  <a:lnTo>
                    <a:pt x="473" y="87"/>
                  </a:lnTo>
                  <a:lnTo>
                    <a:pt x="472" y="87"/>
                  </a:lnTo>
                  <a:lnTo>
                    <a:pt x="468" y="86"/>
                  </a:lnTo>
                  <a:lnTo>
                    <a:pt x="469" y="85"/>
                  </a:lnTo>
                  <a:lnTo>
                    <a:pt x="470" y="85"/>
                  </a:lnTo>
                  <a:lnTo>
                    <a:pt x="475" y="84"/>
                  </a:lnTo>
                  <a:lnTo>
                    <a:pt x="476" y="84"/>
                  </a:lnTo>
                  <a:lnTo>
                    <a:pt x="479" y="84"/>
                  </a:lnTo>
                  <a:lnTo>
                    <a:pt x="483" y="84"/>
                  </a:lnTo>
                  <a:lnTo>
                    <a:pt x="484" y="83"/>
                  </a:lnTo>
                  <a:lnTo>
                    <a:pt x="485" y="84"/>
                  </a:lnTo>
                  <a:lnTo>
                    <a:pt x="486" y="84"/>
                  </a:lnTo>
                  <a:lnTo>
                    <a:pt x="492" y="81"/>
                  </a:lnTo>
                  <a:lnTo>
                    <a:pt x="496" y="81"/>
                  </a:lnTo>
                  <a:lnTo>
                    <a:pt x="497" y="81"/>
                  </a:lnTo>
                  <a:lnTo>
                    <a:pt x="498" y="80"/>
                  </a:lnTo>
                  <a:lnTo>
                    <a:pt x="499" y="80"/>
                  </a:lnTo>
                  <a:lnTo>
                    <a:pt x="496" y="81"/>
                  </a:lnTo>
                  <a:lnTo>
                    <a:pt x="492" y="81"/>
                  </a:lnTo>
                  <a:lnTo>
                    <a:pt x="491" y="81"/>
                  </a:lnTo>
                  <a:lnTo>
                    <a:pt x="489" y="81"/>
                  </a:lnTo>
                  <a:lnTo>
                    <a:pt x="487" y="81"/>
                  </a:lnTo>
                  <a:lnTo>
                    <a:pt x="487" y="83"/>
                  </a:lnTo>
                  <a:lnTo>
                    <a:pt x="484" y="83"/>
                  </a:lnTo>
                  <a:lnTo>
                    <a:pt x="480" y="83"/>
                  </a:lnTo>
                  <a:lnTo>
                    <a:pt x="477" y="83"/>
                  </a:lnTo>
                  <a:lnTo>
                    <a:pt x="477" y="81"/>
                  </a:lnTo>
                  <a:lnTo>
                    <a:pt x="478" y="81"/>
                  </a:lnTo>
                  <a:lnTo>
                    <a:pt x="483" y="80"/>
                  </a:lnTo>
                  <a:lnTo>
                    <a:pt x="484" y="79"/>
                  </a:lnTo>
                  <a:lnTo>
                    <a:pt x="487" y="79"/>
                  </a:lnTo>
                  <a:lnTo>
                    <a:pt x="491" y="79"/>
                  </a:lnTo>
                  <a:lnTo>
                    <a:pt x="494" y="79"/>
                  </a:lnTo>
                  <a:lnTo>
                    <a:pt x="496" y="79"/>
                  </a:lnTo>
                  <a:lnTo>
                    <a:pt x="497" y="79"/>
                  </a:lnTo>
                  <a:lnTo>
                    <a:pt x="500" y="79"/>
                  </a:lnTo>
                  <a:lnTo>
                    <a:pt x="504" y="79"/>
                  </a:lnTo>
                  <a:lnTo>
                    <a:pt x="504" y="78"/>
                  </a:lnTo>
                  <a:lnTo>
                    <a:pt x="505" y="78"/>
                  </a:lnTo>
                  <a:lnTo>
                    <a:pt x="504" y="78"/>
                  </a:lnTo>
                  <a:lnTo>
                    <a:pt x="500" y="78"/>
                  </a:lnTo>
                  <a:lnTo>
                    <a:pt x="496" y="78"/>
                  </a:lnTo>
                  <a:lnTo>
                    <a:pt x="491" y="79"/>
                  </a:lnTo>
                  <a:lnTo>
                    <a:pt x="491" y="78"/>
                  </a:lnTo>
                  <a:lnTo>
                    <a:pt x="491" y="79"/>
                  </a:lnTo>
                  <a:lnTo>
                    <a:pt x="487" y="78"/>
                  </a:lnTo>
                  <a:lnTo>
                    <a:pt x="489" y="77"/>
                  </a:lnTo>
                  <a:lnTo>
                    <a:pt x="490" y="77"/>
                  </a:lnTo>
                  <a:lnTo>
                    <a:pt x="491" y="77"/>
                  </a:lnTo>
                  <a:lnTo>
                    <a:pt x="490" y="77"/>
                  </a:lnTo>
                  <a:lnTo>
                    <a:pt x="491" y="77"/>
                  </a:lnTo>
                  <a:lnTo>
                    <a:pt x="490" y="77"/>
                  </a:lnTo>
                  <a:lnTo>
                    <a:pt x="490" y="76"/>
                  </a:lnTo>
                  <a:lnTo>
                    <a:pt x="491" y="76"/>
                  </a:lnTo>
                  <a:lnTo>
                    <a:pt x="492" y="76"/>
                  </a:lnTo>
                  <a:lnTo>
                    <a:pt x="493" y="76"/>
                  </a:lnTo>
                  <a:lnTo>
                    <a:pt x="497" y="74"/>
                  </a:lnTo>
                  <a:lnTo>
                    <a:pt x="499" y="74"/>
                  </a:lnTo>
                  <a:lnTo>
                    <a:pt x="501" y="74"/>
                  </a:lnTo>
                  <a:lnTo>
                    <a:pt x="504" y="74"/>
                  </a:lnTo>
                  <a:lnTo>
                    <a:pt x="506" y="74"/>
                  </a:lnTo>
                  <a:lnTo>
                    <a:pt x="506" y="76"/>
                  </a:lnTo>
                  <a:lnTo>
                    <a:pt x="507" y="74"/>
                  </a:lnTo>
                  <a:lnTo>
                    <a:pt x="508" y="76"/>
                  </a:lnTo>
                  <a:lnTo>
                    <a:pt x="509" y="76"/>
                  </a:lnTo>
                  <a:lnTo>
                    <a:pt x="509" y="74"/>
                  </a:lnTo>
                  <a:lnTo>
                    <a:pt x="508" y="74"/>
                  </a:lnTo>
                  <a:lnTo>
                    <a:pt x="507" y="74"/>
                  </a:lnTo>
                  <a:lnTo>
                    <a:pt x="506" y="74"/>
                  </a:lnTo>
                  <a:lnTo>
                    <a:pt x="504" y="74"/>
                  </a:lnTo>
                  <a:lnTo>
                    <a:pt x="501" y="74"/>
                  </a:lnTo>
                  <a:lnTo>
                    <a:pt x="500" y="74"/>
                  </a:lnTo>
                  <a:lnTo>
                    <a:pt x="500" y="73"/>
                  </a:lnTo>
                  <a:lnTo>
                    <a:pt x="501" y="73"/>
                  </a:lnTo>
                  <a:lnTo>
                    <a:pt x="503" y="72"/>
                  </a:lnTo>
                  <a:lnTo>
                    <a:pt x="507" y="72"/>
                  </a:lnTo>
                  <a:lnTo>
                    <a:pt x="512" y="71"/>
                  </a:lnTo>
                  <a:lnTo>
                    <a:pt x="513" y="71"/>
                  </a:lnTo>
                  <a:lnTo>
                    <a:pt x="514" y="71"/>
                  </a:lnTo>
                  <a:lnTo>
                    <a:pt x="515" y="71"/>
                  </a:lnTo>
                  <a:lnTo>
                    <a:pt x="514" y="71"/>
                  </a:lnTo>
                  <a:lnTo>
                    <a:pt x="518" y="71"/>
                  </a:lnTo>
                  <a:lnTo>
                    <a:pt x="519" y="71"/>
                  </a:lnTo>
                  <a:lnTo>
                    <a:pt x="520" y="71"/>
                  </a:lnTo>
                  <a:lnTo>
                    <a:pt x="520" y="72"/>
                  </a:lnTo>
                  <a:lnTo>
                    <a:pt x="519" y="72"/>
                  </a:lnTo>
                  <a:lnTo>
                    <a:pt x="518" y="73"/>
                  </a:lnTo>
                  <a:lnTo>
                    <a:pt x="518" y="74"/>
                  </a:lnTo>
                  <a:lnTo>
                    <a:pt x="516" y="74"/>
                  </a:lnTo>
                  <a:lnTo>
                    <a:pt x="518" y="74"/>
                  </a:lnTo>
                  <a:lnTo>
                    <a:pt x="520" y="74"/>
                  </a:lnTo>
                  <a:lnTo>
                    <a:pt x="521" y="74"/>
                  </a:lnTo>
                  <a:lnTo>
                    <a:pt x="522" y="74"/>
                  </a:lnTo>
                  <a:lnTo>
                    <a:pt x="523" y="74"/>
                  </a:lnTo>
                  <a:lnTo>
                    <a:pt x="523" y="73"/>
                  </a:lnTo>
                  <a:lnTo>
                    <a:pt x="525" y="73"/>
                  </a:lnTo>
                  <a:lnTo>
                    <a:pt x="525" y="74"/>
                  </a:lnTo>
                  <a:lnTo>
                    <a:pt x="526" y="74"/>
                  </a:lnTo>
                  <a:lnTo>
                    <a:pt x="527" y="73"/>
                  </a:lnTo>
                  <a:lnTo>
                    <a:pt x="528" y="73"/>
                  </a:lnTo>
                  <a:lnTo>
                    <a:pt x="528" y="74"/>
                  </a:lnTo>
                  <a:lnTo>
                    <a:pt x="529" y="74"/>
                  </a:lnTo>
                  <a:lnTo>
                    <a:pt x="530" y="74"/>
                  </a:lnTo>
                  <a:lnTo>
                    <a:pt x="530" y="76"/>
                  </a:lnTo>
                  <a:lnTo>
                    <a:pt x="529" y="76"/>
                  </a:lnTo>
                  <a:lnTo>
                    <a:pt x="529" y="77"/>
                  </a:lnTo>
                  <a:lnTo>
                    <a:pt x="532" y="77"/>
                  </a:lnTo>
                  <a:lnTo>
                    <a:pt x="533" y="78"/>
                  </a:lnTo>
                  <a:lnTo>
                    <a:pt x="534" y="78"/>
                  </a:lnTo>
                  <a:lnTo>
                    <a:pt x="533" y="78"/>
                  </a:lnTo>
                  <a:lnTo>
                    <a:pt x="529" y="78"/>
                  </a:lnTo>
                  <a:lnTo>
                    <a:pt x="528" y="79"/>
                  </a:lnTo>
                  <a:lnTo>
                    <a:pt x="527" y="79"/>
                  </a:lnTo>
                  <a:lnTo>
                    <a:pt x="528" y="79"/>
                  </a:lnTo>
                  <a:lnTo>
                    <a:pt x="529" y="79"/>
                  </a:lnTo>
                  <a:lnTo>
                    <a:pt x="530" y="79"/>
                  </a:lnTo>
                  <a:lnTo>
                    <a:pt x="535" y="79"/>
                  </a:lnTo>
                  <a:lnTo>
                    <a:pt x="534" y="79"/>
                  </a:lnTo>
                  <a:lnTo>
                    <a:pt x="533" y="79"/>
                  </a:lnTo>
                  <a:lnTo>
                    <a:pt x="534" y="79"/>
                  </a:lnTo>
                  <a:lnTo>
                    <a:pt x="534" y="80"/>
                  </a:lnTo>
                  <a:lnTo>
                    <a:pt x="533" y="80"/>
                  </a:lnTo>
                  <a:lnTo>
                    <a:pt x="534" y="80"/>
                  </a:lnTo>
                  <a:lnTo>
                    <a:pt x="533" y="80"/>
                  </a:lnTo>
                  <a:lnTo>
                    <a:pt x="533" y="81"/>
                  </a:lnTo>
                  <a:lnTo>
                    <a:pt x="532" y="81"/>
                  </a:lnTo>
                  <a:lnTo>
                    <a:pt x="532" y="83"/>
                  </a:lnTo>
                  <a:lnTo>
                    <a:pt x="534" y="83"/>
                  </a:lnTo>
                  <a:lnTo>
                    <a:pt x="536" y="83"/>
                  </a:lnTo>
                  <a:lnTo>
                    <a:pt x="540" y="83"/>
                  </a:lnTo>
                  <a:lnTo>
                    <a:pt x="541" y="83"/>
                  </a:lnTo>
                  <a:lnTo>
                    <a:pt x="542" y="83"/>
                  </a:lnTo>
                  <a:lnTo>
                    <a:pt x="543" y="83"/>
                  </a:lnTo>
                  <a:lnTo>
                    <a:pt x="548" y="83"/>
                  </a:lnTo>
                  <a:lnTo>
                    <a:pt x="553" y="83"/>
                  </a:lnTo>
                  <a:lnTo>
                    <a:pt x="553" y="84"/>
                  </a:lnTo>
                  <a:lnTo>
                    <a:pt x="553" y="83"/>
                  </a:lnTo>
                  <a:lnTo>
                    <a:pt x="554" y="83"/>
                  </a:lnTo>
                  <a:lnTo>
                    <a:pt x="553" y="83"/>
                  </a:lnTo>
                  <a:lnTo>
                    <a:pt x="554" y="83"/>
                  </a:lnTo>
                  <a:lnTo>
                    <a:pt x="555" y="83"/>
                  </a:lnTo>
                  <a:lnTo>
                    <a:pt x="555" y="81"/>
                  </a:lnTo>
                  <a:lnTo>
                    <a:pt x="556" y="81"/>
                  </a:lnTo>
                  <a:lnTo>
                    <a:pt x="556" y="80"/>
                  </a:lnTo>
                  <a:lnTo>
                    <a:pt x="557" y="80"/>
                  </a:lnTo>
                  <a:lnTo>
                    <a:pt x="556" y="80"/>
                  </a:lnTo>
                  <a:lnTo>
                    <a:pt x="555" y="80"/>
                  </a:lnTo>
                  <a:lnTo>
                    <a:pt x="553" y="79"/>
                  </a:lnTo>
                  <a:lnTo>
                    <a:pt x="550" y="79"/>
                  </a:lnTo>
                  <a:lnTo>
                    <a:pt x="551" y="79"/>
                  </a:lnTo>
                  <a:lnTo>
                    <a:pt x="551" y="78"/>
                  </a:lnTo>
                  <a:lnTo>
                    <a:pt x="550" y="79"/>
                  </a:lnTo>
                  <a:lnTo>
                    <a:pt x="549" y="79"/>
                  </a:lnTo>
                  <a:lnTo>
                    <a:pt x="549" y="78"/>
                  </a:lnTo>
                  <a:lnTo>
                    <a:pt x="548" y="78"/>
                  </a:lnTo>
                  <a:lnTo>
                    <a:pt x="549" y="78"/>
                  </a:lnTo>
                  <a:lnTo>
                    <a:pt x="553" y="78"/>
                  </a:lnTo>
                  <a:lnTo>
                    <a:pt x="554" y="77"/>
                  </a:lnTo>
                  <a:lnTo>
                    <a:pt x="555" y="77"/>
                  </a:lnTo>
                  <a:lnTo>
                    <a:pt x="556" y="77"/>
                  </a:lnTo>
                  <a:lnTo>
                    <a:pt x="557" y="77"/>
                  </a:lnTo>
                  <a:lnTo>
                    <a:pt x="558" y="77"/>
                  </a:lnTo>
                  <a:lnTo>
                    <a:pt x="557" y="76"/>
                  </a:lnTo>
                  <a:lnTo>
                    <a:pt x="558" y="76"/>
                  </a:lnTo>
                  <a:lnTo>
                    <a:pt x="557" y="76"/>
                  </a:lnTo>
                  <a:lnTo>
                    <a:pt x="557" y="74"/>
                  </a:lnTo>
                  <a:lnTo>
                    <a:pt x="556" y="74"/>
                  </a:lnTo>
                  <a:lnTo>
                    <a:pt x="557" y="74"/>
                  </a:lnTo>
                  <a:lnTo>
                    <a:pt x="556" y="74"/>
                  </a:lnTo>
                  <a:lnTo>
                    <a:pt x="555" y="74"/>
                  </a:lnTo>
                  <a:lnTo>
                    <a:pt x="554" y="74"/>
                  </a:lnTo>
                  <a:lnTo>
                    <a:pt x="554" y="73"/>
                  </a:lnTo>
                  <a:lnTo>
                    <a:pt x="551" y="73"/>
                  </a:lnTo>
                  <a:lnTo>
                    <a:pt x="553" y="73"/>
                  </a:lnTo>
                  <a:lnTo>
                    <a:pt x="553" y="72"/>
                  </a:lnTo>
                  <a:lnTo>
                    <a:pt x="554" y="72"/>
                  </a:lnTo>
                  <a:lnTo>
                    <a:pt x="556" y="72"/>
                  </a:lnTo>
                  <a:lnTo>
                    <a:pt x="557" y="71"/>
                  </a:lnTo>
                  <a:lnTo>
                    <a:pt x="558" y="71"/>
                  </a:lnTo>
                  <a:lnTo>
                    <a:pt x="560" y="71"/>
                  </a:lnTo>
                  <a:lnTo>
                    <a:pt x="561" y="71"/>
                  </a:lnTo>
                  <a:lnTo>
                    <a:pt x="562" y="71"/>
                  </a:lnTo>
                  <a:lnTo>
                    <a:pt x="561" y="71"/>
                  </a:lnTo>
                  <a:lnTo>
                    <a:pt x="561" y="70"/>
                  </a:lnTo>
                  <a:lnTo>
                    <a:pt x="562" y="70"/>
                  </a:lnTo>
                  <a:lnTo>
                    <a:pt x="563" y="70"/>
                  </a:lnTo>
                  <a:lnTo>
                    <a:pt x="564" y="70"/>
                  </a:lnTo>
                  <a:lnTo>
                    <a:pt x="564" y="69"/>
                  </a:lnTo>
                  <a:lnTo>
                    <a:pt x="565" y="69"/>
                  </a:lnTo>
                  <a:lnTo>
                    <a:pt x="567" y="69"/>
                  </a:lnTo>
                  <a:lnTo>
                    <a:pt x="569" y="67"/>
                  </a:lnTo>
                  <a:lnTo>
                    <a:pt x="570" y="67"/>
                  </a:lnTo>
                  <a:lnTo>
                    <a:pt x="571" y="67"/>
                  </a:lnTo>
                  <a:lnTo>
                    <a:pt x="572" y="67"/>
                  </a:lnTo>
                  <a:lnTo>
                    <a:pt x="573" y="67"/>
                  </a:lnTo>
                  <a:lnTo>
                    <a:pt x="575" y="67"/>
                  </a:lnTo>
                  <a:lnTo>
                    <a:pt x="575" y="66"/>
                  </a:lnTo>
                  <a:lnTo>
                    <a:pt x="576" y="66"/>
                  </a:lnTo>
                  <a:lnTo>
                    <a:pt x="575" y="67"/>
                  </a:lnTo>
                  <a:lnTo>
                    <a:pt x="576" y="67"/>
                  </a:lnTo>
                  <a:close/>
                  <a:moveTo>
                    <a:pt x="530" y="66"/>
                  </a:moveTo>
                  <a:lnTo>
                    <a:pt x="530" y="67"/>
                  </a:lnTo>
                  <a:lnTo>
                    <a:pt x="532" y="67"/>
                  </a:lnTo>
                  <a:lnTo>
                    <a:pt x="530" y="67"/>
                  </a:lnTo>
                  <a:lnTo>
                    <a:pt x="529" y="69"/>
                  </a:lnTo>
                  <a:lnTo>
                    <a:pt x="528" y="69"/>
                  </a:lnTo>
                  <a:lnTo>
                    <a:pt x="527" y="69"/>
                  </a:lnTo>
                  <a:lnTo>
                    <a:pt x="523" y="69"/>
                  </a:lnTo>
                  <a:lnTo>
                    <a:pt x="521" y="69"/>
                  </a:lnTo>
                  <a:lnTo>
                    <a:pt x="519" y="67"/>
                  </a:lnTo>
                  <a:lnTo>
                    <a:pt x="518" y="67"/>
                  </a:lnTo>
                  <a:lnTo>
                    <a:pt x="519" y="67"/>
                  </a:lnTo>
                  <a:lnTo>
                    <a:pt x="521" y="66"/>
                  </a:lnTo>
                  <a:lnTo>
                    <a:pt x="523" y="66"/>
                  </a:lnTo>
                  <a:lnTo>
                    <a:pt x="526" y="66"/>
                  </a:lnTo>
                  <a:lnTo>
                    <a:pt x="529" y="66"/>
                  </a:lnTo>
                  <a:lnTo>
                    <a:pt x="530" y="66"/>
                  </a:lnTo>
                  <a:close/>
                  <a:moveTo>
                    <a:pt x="700" y="65"/>
                  </a:moveTo>
                  <a:lnTo>
                    <a:pt x="701" y="65"/>
                  </a:lnTo>
                  <a:lnTo>
                    <a:pt x="703" y="65"/>
                  </a:lnTo>
                  <a:lnTo>
                    <a:pt x="707" y="65"/>
                  </a:lnTo>
                  <a:lnTo>
                    <a:pt x="706" y="65"/>
                  </a:lnTo>
                  <a:lnTo>
                    <a:pt x="706" y="66"/>
                  </a:lnTo>
                  <a:lnTo>
                    <a:pt x="708" y="66"/>
                  </a:lnTo>
                  <a:lnTo>
                    <a:pt x="710" y="66"/>
                  </a:lnTo>
                  <a:lnTo>
                    <a:pt x="711" y="66"/>
                  </a:lnTo>
                  <a:lnTo>
                    <a:pt x="712" y="66"/>
                  </a:lnTo>
                  <a:lnTo>
                    <a:pt x="713" y="66"/>
                  </a:lnTo>
                  <a:lnTo>
                    <a:pt x="714" y="66"/>
                  </a:lnTo>
                  <a:lnTo>
                    <a:pt x="713" y="66"/>
                  </a:lnTo>
                  <a:lnTo>
                    <a:pt x="714" y="66"/>
                  </a:lnTo>
                  <a:lnTo>
                    <a:pt x="714" y="67"/>
                  </a:lnTo>
                  <a:lnTo>
                    <a:pt x="715" y="67"/>
                  </a:lnTo>
                  <a:lnTo>
                    <a:pt x="715" y="69"/>
                  </a:lnTo>
                  <a:lnTo>
                    <a:pt x="715" y="67"/>
                  </a:lnTo>
                  <a:lnTo>
                    <a:pt x="715" y="69"/>
                  </a:lnTo>
                  <a:lnTo>
                    <a:pt x="714" y="69"/>
                  </a:lnTo>
                  <a:lnTo>
                    <a:pt x="713" y="70"/>
                  </a:lnTo>
                  <a:lnTo>
                    <a:pt x="712" y="70"/>
                  </a:lnTo>
                  <a:lnTo>
                    <a:pt x="712" y="71"/>
                  </a:lnTo>
                  <a:lnTo>
                    <a:pt x="711" y="71"/>
                  </a:lnTo>
                  <a:lnTo>
                    <a:pt x="710" y="71"/>
                  </a:lnTo>
                  <a:lnTo>
                    <a:pt x="708" y="71"/>
                  </a:lnTo>
                  <a:lnTo>
                    <a:pt x="707" y="72"/>
                  </a:lnTo>
                  <a:lnTo>
                    <a:pt x="708" y="72"/>
                  </a:lnTo>
                  <a:lnTo>
                    <a:pt x="710" y="72"/>
                  </a:lnTo>
                  <a:lnTo>
                    <a:pt x="711" y="71"/>
                  </a:lnTo>
                  <a:lnTo>
                    <a:pt x="712" y="71"/>
                  </a:lnTo>
                  <a:lnTo>
                    <a:pt x="713" y="71"/>
                  </a:lnTo>
                  <a:lnTo>
                    <a:pt x="713" y="70"/>
                  </a:lnTo>
                  <a:lnTo>
                    <a:pt x="714" y="70"/>
                  </a:lnTo>
                  <a:lnTo>
                    <a:pt x="715" y="70"/>
                  </a:lnTo>
                  <a:lnTo>
                    <a:pt x="717" y="70"/>
                  </a:lnTo>
                  <a:lnTo>
                    <a:pt x="718" y="70"/>
                  </a:lnTo>
                  <a:lnTo>
                    <a:pt x="719" y="70"/>
                  </a:lnTo>
                  <a:lnTo>
                    <a:pt x="720" y="70"/>
                  </a:lnTo>
                  <a:lnTo>
                    <a:pt x="721" y="70"/>
                  </a:lnTo>
                  <a:lnTo>
                    <a:pt x="722" y="70"/>
                  </a:lnTo>
                  <a:lnTo>
                    <a:pt x="724" y="70"/>
                  </a:lnTo>
                  <a:lnTo>
                    <a:pt x="726" y="69"/>
                  </a:lnTo>
                  <a:lnTo>
                    <a:pt x="728" y="69"/>
                  </a:lnTo>
                  <a:lnTo>
                    <a:pt x="731" y="69"/>
                  </a:lnTo>
                  <a:lnTo>
                    <a:pt x="734" y="69"/>
                  </a:lnTo>
                  <a:lnTo>
                    <a:pt x="735" y="70"/>
                  </a:lnTo>
                  <a:lnTo>
                    <a:pt x="738" y="70"/>
                  </a:lnTo>
                  <a:lnTo>
                    <a:pt x="738" y="71"/>
                  </a:lnTo>
                  <a:lnTo>
                    <a:pt x="736" y="71"/>
                  </a:lnTo>
                  <a:lnTo>
                    <a:pt x="735" y="71"/>
                  </a:lnTo>
                  <a:lnTo>
                    <a:pt x="733" y="71"/>
                  </a:lnTo>
                  <a:lnTo>
                    <a:pt x="732" y="71"/>
                  </a:lnTo>
                  <a:lnTo>
                    <a:pt x="731" y="71"/>
                  </a:lnTo>
                  <a:lnTo>
                    <a:pt x="729" y="71"/>
                  </a:lnTo>
                  <a:lnTo>
                    <a:pt x="727" y="71"/>
                  </a:lnTo>
                  <a:lnTo>
                    <a:pt x="728" y="71"/>
                  </a:lnTo>
                  <a:lnTo>
                    <a:pt x="732" y="72"/>
                  </a:lnTo>
                  <a:lnTo>
                    <a:pt x="734" y="72"/>
                  </a:lnTo>
                  <a:lnTo>
                    <a:pt x="735" y="72"/>
                  </a:lnTo>
                  <a:lnTo>
                    <a:pt x="736" y="72"/>
                  </a:lnTo>
                  <a:lnTo>
                    <a:pt x="740" y="72"/>
                  </a:lnTo>
                  <a:lnTo>
                    <a:pt x="742" y="73"/>
                  </a:lnTo>
                  <a:lnTo>
                    <a:pt x="746" y="73"/>
                  </a:lnTo>
                  <a:lnTo>
                    <a:pt x="746" y="74"/>
                  </a:lnTo>
                  <a:lnTo>
                    <a:pt x="745" y="74"/>
                  </a:lnTo>
                  <a:lnTo>
                    <a:pt x="743" y="74"/>
                  </a:lnTo>
                  <a:lnTo>
                    <a:pt x="740" y="74"/>
                  </a:lnTo>
                  <a:lnTo>
                    <a:pt x="736" y="74"/>
                  </a:lnTo>
                  <a:lnTo>
                    <a:pt x="734" y="74"/>
                  </a:lnTo>
                  <a:lnTo>
                    <a:pt x="734" y="76"/>
                  </a:lnTo>
                  <a:lnTo>
                    <a:pt x="736" y="76"/>
                  </a:lnTo>
                  <a:lnTo>
                    <a:pt x="735" y="76"/>
                  </a:lnTo>
                  <a:lnTo>
                    <a:pt x="732" y="74"/>
                  </a:lnTo>
                  <a:lnTo>
                    <a:pt x="727" y="74"/>
                  </a:lnTo>
                  <a:lnTo>
                    <a:pt x="724" y="73"/>
                  </a:lnTo>
                  <a:lnTo>
                    <a:pt x="724" y="74"/>
                  </a:lnTo>
                  <a:lnTo>
                    <a:pt x="725" y="74"/>
                  </a:lnTo>
                  <a:lnTo>
                    <a:pt x="726" y="74"/>
                  </a:lnTo>
                  <a:lnTo>
                    <a:pt x="725" y="74"/>
                  </a:lnTo>
                  <a:lnTo>
                    <a:pt x="725" y="76"/>
                  </a:lnTo>
                  <a:lnTo>
                    <a:pt x="726" y="74"/>
                  </a:lnTo>
                  <a:lnTo>
                    <a:pt x="729" y="76"/>
                  </a:lnTo>
                  <a:lnTo>
                    <a:pt x="731" y="76"/>
                  </a:lnTo>
                  <a:lnTo>
                    <a:pt x="729" y="76"/>
                  </a:lnTo>
                  <a:lnTo>
                    <a:pt x="728" y="76"/>
                  </a:lnTo>
                  <a:lnTo>
                    <a:pt x="729" y="77"/>
                  </a:lnTo>
                  <a:lnTo>
                    <a:pt x="731" y="77"/>
                  </a:lnTo>
                  <a:lnTo>
                    <a:pt x="731" y="76"/>
                  </a:lnTo>
                  <a:lnTo>
                    <a:pt x="732" y="76"/>
                  </a:lnTo>
                  <a:lnTo>
                    <a:pt x="735" y="76"/>
                  </a:lnTo>
                  <a:lnTo>
                    <a:pt x="734" y="77"/>
                  </a:lnTo>
                  <a:lnTo>
                    <a:pt x="733" y="77"/>
                  </a:lnTo>
                  <a:lnTo>
                    <a:pt x="729" y="77"/>
                  </a:lnTo>
                  <a:lnTo>
                    <a:pt x="726" y="77"/>
                  </a:lnTo>
                  <a:lnTo>
                    <a:pt x="725" y="77"/>
                  </a:lnTo>
                  <a:lnTo>
                    <a:pt x="726" y="77"/>
                  </a:lnTo>
                  <a:lnTo>
                    <a:pt x="727" y="77"/>
                  </a:lnTo>
                  <a:lnTo>
                    <a:pt x="726" y="77"/>
                  </a:lnTo>
                  <a:lnTo>
                    <a:pt x="726" y="78"/>
                  </a:lnTo>
                  <a:lnTo>
                    <a:pt x="725" y="78"/>
                  </a:lnTo>
                  <a:lnTo>
                    <a:pt x="724" y="78"/>
                  </a:lnTo>
                  <a:lnTo>
                    <a:pt x="724" y="79"/>
                  </a:lnTo>
                  <a:lnTo>
                    <a:pt x="724" y="78"/>
                  </a:lnTo>
                  <a:lnTo>
                    <a:pt x="725" y="78"/>
                  </a:lnTo>
                  <a:lnTo>
                    <a:pt x="726" y="78"/>
                  </a:lnTo>
                  <a:lnTo>
                    <a:pt x="727" y="78"/>
                  </a:lnTo>
                  <a:lnTo>
                    <a:pt x="728" y="77"/>
                  </a:lnTo>
                  <a:lnTo>
                    <a:pt x="729" y="77"/>
                  </a:lnTo>
                  <a:lnTo>
                    <a:pt x="728" y="77"/>
                  </a:lnTo>
                  <a:lnTo>
                    <a:pt x="728" y="78"/>
                  </a:lnTo>
                  <a:lnTo>
                    <a:pt x="729" y="78"/>
                  </a:lnTo>
                  <a:lnTo>
                    <a:pt x="731" y="77"/>
                  </a:lnTo>
                  <a:lnTo>
                    <a:pt x="732" y="77"/>
                  </a:lnTo>
                  <a:lnTo>
                    <a:pt x="731" y="78"/>
                  </a:lnTo>
                  <a:lnTo>
                    <a:pt x="729" y="78"/>
                  </a:lnTo>
                  <a:lnTo>
                    <a:pt x="731" y="78"/>
                  </a:lnTo>
                  <a:lnTo>
                    <a:pt x="732" y="78"/>
                  </a:lnTo>
                  <a:lnTo>
                    <a:pt x="732" y="77"/>
                  </a:lnTo>
                  <a:lnTo>
                    <a:pt x="733" y="77"/>
                  </a:lnTo>
                  <a:lnTo>
                    <a:pt x="733" y="78"/>
                  </a:lnTo>
                  <a:lnTo>
                    <a:pt x="734" y="78"/>
                  </a:lnTo>
                  <a:lnTo>
                    <a:pt x="734" y="77"/>
                  </a:lnTo>
                  <a:lnTo>
                    <a:pt x="735" y="77"/>
                  </a:lnTo>
                  <a:lnTo>
                    <a:pt x="736" y="77"/>
                  </a:lnTo>
                  <a:lnTo>
                    <a:pt x="735" y="77"/>
                  </a:lnTo>
                  <a:lnTo>
                    <a:pt x="736" y="78"/>
                  </a:lnTo>
                  <a:lnTo>
                    <a:pt x="738" y="78"/>
                  </a:lnTo>
                  <a:lnTo>
                    <a:pt x="736" y="78"/>
                  </a:lnTo>
                  <a:lnTo>
                    <a:pt x="735" y="79"/>
                  </a:lnTo>
                  <a:lnTo>
                    <a:pt x="736" y="79"/>
                  </a:lnTo>
                  <a:lnTo>
                    <a:pt x="738" y="79"/>
                  </a:lnTo>
                  <a:lnTo>
                    <a:pt x="739" y="79"/>
                  </a:lnTo>
                  <a:lnTo>
                    <a:pt x="740" y="79"/>
                  </a:lnTo>
                  <a:lnTo>
                    <a:pt x="741" y="79"/>
                  </a:lnTo>
                  <a:lnTo>
                    <a:pt x="740" y="80"/>
                  </a:lnTo>
                  <a:lnTo>
                    <a:pt x="739" y="80"/>
                  </a:lnTo>
                  <a:lnTo>
                    <a:pt x="739" y="81"/>
                  </a:lnTo>
                  <a:lnTo>
                    <a:pt x="738" y="81"/>
                  </a:lnTo>
                  <a:lnTo>
                    <a:pt x="736" y="81"/>
                  </a:lnTo>
                  <a:lnTo>
                    <a:pt x="734" y="81"/>
                  </a:lnTo>
                  <a:lnTo>
                    <a:pt x="733" y="81"/>
                  </a:lnTo>
                  <a:lnTo>
                    <a:pt x="733" y="83"/>
                  </a:lnTo>
                  <a:lnTo>
                    <a:pt x="734" y="81"/>
                  </a:lnTo>
                  <a:lnTo>
                    <a:pt x="734" y="83"/>
                  </a:lnTo>
                  <a:lnTo>
                    <a:pt x="733" y="83"/>
                  </a:lnTo>
                  <a:lnTo>
                    <a:pt x="734" y="83"/>
                  </a:lnTo>
                  <a:lnTo>
                    <a:pt x="735" y="81"/>
                  </a:lnTo>
                  <a:lnTo>
                    <a:pt x="736" y="81"/>
                  </a:lnTo>
                  <a:lnTo>
                    <a:pt x="738" y="81"/>
                  </a:lnTo>
                  <a:lnTo>
                    <a:pt x="738" y="83"/>
                  </a:lnTo>
                  <a:lnTo>
                    <a:pt x="738" y="84"/>
                  </a:lnTo>
                  <a:lnTo>
                    <a:pt x="739" y="84"/>
                  </a:lnTo>
                  <a:lnTo>
                    <a:pt x="738" y="84"/>
                  </a:lnTo>
                  <a:lnTo>
                    <a:pt x="739" y="84"/>
                  </a:lnTo>
                  <a:lnTo>
                    <a:pt x="740" y="84"/>
                  </a:lnTo>
                  <a:lnTo>
                    <a:pt x="741" y="84"/>
                  </a:lnTo>
                  <a:lnTo>
                    <a:pt x="741" y="83"/>
                  </a:lnTo>
                  <a:lnTo>
                    <a:pt x="741" y="81"/>
                  </a:lnTo>
                  <a:lnTo>
                    <a:pt x="742" y="81"/>
                  </a:lnTo>
                  <a:lnTo>
                    <a:pt x="743" y="81"/>
                  </a:lnTo>
                  <a:lnTo>
                    <a:pt x="743" y="80"/>
                  </a:lnTo>
                  <a:lnTo>
                    <a:pt x="745" y="81"/>
                  </a:lnTo>
                  <a:lnTo>
                    <a:pt x="746" y="83"/>
                  </a:lnTo>
                  <a:lnTo>
                    <a:pt x="747" y="83"/>
                  </a:lnTo>
                  <a:lnTo>
                    <a:pt x="746" y="83"/>
                  </a:lnTo>
                  <a:lnTo>
                    <a:pt x="745" y="83"/>
                  </a:lnTo>
                  <a:lnTo>
                    <a:pt x="746" y="84"/>
                  </a:lnTo>
                  <a:lnTo>
                    <a:pt x="746" y="83"/>
                  </a:lnTo>
                  <a:lnTo>
                    <a:pt x="748" y="83"/>
                  </a:lnTo>
                  <a:lnTo>
                    <a:pt x="749" y="83"/>
                  </a:lnTo>
                  <a:lnTo>
                    <a:pt x="752" y="83"/>
                  </a:lnTo>
                  <a:lnTo>
                    <a:pt x="753" y="83"/>
                  </a:lnTo>
                  <a:lnTo>
                    <a:pt x="753" y="84"/>
                  </a:lnTo>
                  <a:lnTo>
                    <a:pt x="752" y="84"/>
                  </a:lnTo>
                  <a:lnTo>
                    <a:pt x="753" y="84"/>
                  </a:lnTo>
                  <a:lnTo>
                    <a:pt x="754" y="83"/>
                  </a:lnTo>
                  <a:lnTo>
                    <a:pt x="753" y="83"/>
                  </a:lnTo>
                  <a:lnTo>
                    <a:pt x="754" y="83"/>
                  </a:lnTo>
                  <a:lnTo>
                    <a:pt x="754" y="81"/>
                  </a:lnTo>
                  <a:lnTo>
                    <a:pt x="755" y="81"/>
                  </a:lnTo>
                  <a:lnTo>
                    <a:pt x="756" y="81"/>
                  </a:lnTo>
                  <a:lnTo>
                    <a:pt x="757" y="81"/>
                  </a:lnTo>
                  <a:lnTo>
                    <a:pt x="757" y="83"/>
                  </a:lnTo>
                  <a:lnTo>
                    <a:pt x="759" y="84"/>
                  </a:lnTo>
                  <a:lnTo>
                    <a:pt x="761" y="84"/>
                  </a:lnTo>
                  <a:lnTo>
                    <a:pt x="762" y="84"/>
                  </a:lnTo>
                  <a:lnTo>
                    <a:pt x="760" y="85"/>
                  </a:lnTo>
                  <a:lnTo>
                    <a:pt x="761" y="85"/>
                  </a:lnTo>
                  <a:lnTo>
                    <a:pt x="764" y="84"/>
                  </a:lnTo>
                  <a:lnTo>
                    <a:pt x="765" y="84"/>
                  </a:lnTo>
                  <a:lnTo>
                    <a:pt x="767" y="84"/>
                  </a:lnTo>
                  <a:lnTo>
                    <a:pt x="770" y="84"/>
                  </a:lnTo>
                  <a:lnTo>
                    <a:pt x="769" y="84"/>
                  </a:lnTo>
                  <a:lnTo>
                    <a:pt x="768" y="84"/>
                  </a:lnTo>
                  <a:lnTo>
                    <a:pt x="767" y="84"/>
                  </a:lnTo>
                  <a:lnTo>
                    <a:pt x="765" y="84"/>
                  </a:lnTo>
                  <a:lnTo>
                    <a:pt x="765" y="83"/>
                  </a:lnTo>
                  <a:lnTo>
                    <a:pt x="767" y="83"/>
                  </a:lnTo>
                  <a:lnTo>
                    <a:pt x="770" y="83"/>
                  </a:lnTo>
                  <a:lnTo>
                    <a:pt x="771" y="81"/>
                  </a:lnTo>
                  <a:lnTo>
                    <a:pt x="772" y="81"/>
                  </a:lnTo>
                  <a:lnTo>
                    <a:pt x="771" y="83"/>
                  </a:lnTo>
                  <a:lnTo>
                    <a:pt x="772" y="83"/>
                  </a:lnTo>
                  <a:lnTo>
                    <a:pt x="774" y="83"/>
                  </a:lnTo>
                  <a:lnTo>
                    <a:pt x="775" y="83"/>
                  </a:lnTo>
                  <a:lnTo>
                    <a:pt x="774" y="83"/>
                  </a:lnTo>
                  <a:lnTo>
                    <a:pt x="774" y="81"/>
                  </a:lnTo>
                  <a:lnTo>
                    <a:pt x="775" y="81"/>
                  </a:lnTo>
                  <a:lnTo>
                    <a:pt x="776" y="81"/>
                  </a:lnTo>
                  <a:lnTo>
                    <a:pt x="777" y="81"/>
                  </a:lnTo>
                  <a:lnTo>
                    <a:pt x="779" y="81"/>
                  </a:lnTo>
                  <a:lnTo>
                    <a:pt x="782" y="81"/>
                  </a:lnTo>
                  <a:lnTo>
                    <a:pt x="781" y="81"/>
                  </a:lnTo>
                  <a:lnTo>
                    <a:pt x="782" y="81"/>
                  </a:lnTo>
                  <a:lnTo>
                    <a:pt x="782" y="80"/>
                  </a:lnTo>
                  <a:lnTo>
                    <a:pt x="785" y="80"/>
                  </a:lnTo>
                  <a:lnTo>
                    <a:pt x="786" y="80"/>
                  </a:lnTo>
                  <a:lnTo>
                    <a:pt x="789" y="80"/>
                  </a:lnTo>
                  <a:lnTo>
                    <a:pt x="790" y="79"/>
                  </a:lnTo>
                  <a:lnTo>
                    <a:pt x="789" y="79"/>
                  </a:lnTo>
                  <a:lnTo>
                    <a:pt x="790" y="79"/>
                  </a:lnTo>
                  <a:lnTo>
                    <a:pt x="791" y="79"/>
                  </a:lnTo>
                  <a:lnTo>
                    <a:pt x="792" y="79"/>
                  </a:lnTo>
                  <a:lnTo>
                    <a:pt x="791" y="79"/>
                  </a:lnTo>
                  <a:lnTo>
                    <a:pt x="793" y="79"/>
                  </a:lnTo>
                  <a:lnTo>
                    <a:pt x="793" y="80"/>
                  </a:lnTo>
                  <a:lnTo>
                    <a:pt x="795" y="80"/>
                  </a:lnTo>
                  <a:lnTo>
                    <a:pt x="796" y="80"/>
                  </a:lnTo>
                  <a:lnTo>
                    <a:pt x="797" y="80"/>
                  </a:lnTo>
                  <a:lnTo>
                    <a:pt x="802" y="79"/>
                  </a:lnTo>
                  <a:lnTo>
                    <a:pt x="803" y="79"/>
                  </a:lnTo>
                  <a:lnTo>
                    <a:pt x="804" y="79"/>
                  </a:lnTo>
                  <a:lnTo>
                    <a:pt x="805" y="79"/>
                  </a:lnTo>
                  <a:lnTo>
                    <a:pt x="809" y="79"/>
                  </a:lnTo>
                  <a:lnTo>
                    <a:pt x="812" y="79"/>
                  </a:lnTo>
                  <a:lnTo>
                    <a:pt x="816" y="79"/>
                  </a:lnTo>
                  <a:lnTo>
                    <a:pt x="816" y="80"/>
                  </a:lnTo>
                  <a:lnTo>
                    <a:pt x="814" y="80"/>
                  </a:lnTo>
                  <a:lnTo>
                    <a:pt x="813" y="80"/>
                  </a:lnTo>
                  <a:lnTo>
                    <a:pt x="812" y="81"/>
                  </a:lnTo>
                  <a:lnTo>
                    <a:pt x="813" y="81"/>
                  </a:lnTo>
                  <a:lnTo>
                    <a:pt x="814" y="81"/>
                  </a:lnTo>
                  <a:lnTo>
                    <a:pt x="817" y="81"/>
                  </a:lnTo>
                  <a:lnTo>
                    <a:pt x="820" y="81"/>
                  </a:lnTo>
                  <a:lnTo>
                    <a:pt x="821" y="81"/>
                  </a:lnTo>
                  <a:lnTo>
                    <a:pt x="823" y="81"/>
                  </a:lnTo>
                  <a:lnTo>
                    <a:pt x="823" y="83"/>
                  </a:lnTo>
                  <a:lnTo>
                    <a:pt x="824" y="83"/>
                  </a:lnTo>
                  <a:lnTo>
                    <a:pt x="823" y="83"/>
                  </a:lnTo>
                  <a:lnTo>
                    <a:pt x="819" y="84"/>
                  </a:lnTo>
                  <a:lnTo>
                    <a:pt x="823" y="84"/>
                  </a:lnTo>
                  <a:lnTo>
                    <a:pt x="826" y="84"/>
                  </a:lnTo>
                  <a:lnTo>
                    <a:pt x="825" y="84"/>
                  </a:lnTo>
                  <a:lnTo>
                    <a:pt x="826" y="84"/>
                  </a:lnTo>
                  <a:lnTo>
                    <a:pt x="826" y="85"/>
                  </a:lnTo>
                  <a:lnTo>
                    <a:pt x="825" y="85"/>
                  </a:lnTo>
                  <a:lnTo>
                    <a:pt x="826" y="85"/>
                  </a:lnTo>
                  <a:lnTo>
                    <a:pt x="825" y="85"/>
                  </a:lnTo>
                  <a:lnTo>
                    <a:pt x="824" y="85"/>
                  </a:lnTo>
                  <a:lnTo>
                    <a:pt x="824" y="86"/>
                  </a:lnTo>
                  <a:lnTo>
                    <a:pt x="825" y="86"/>
                  </a:lnTo>
                  <a:lnTo>
                    <a:pt x="824" y="86"/>
                  </a:lnTo>
                  <a:lnTo>
                    <a:pt x="823" y="87"/>
                  </a:lnTo>
                  <a:lnTo>
                    <a:pt x="821" y="87"/>
                  </a:lnTo>
                  <a:lnTo>
                    <a:pt x="820" y="87"/>
                  </a:lnTo>
                  <a:lnTo>
                    <a:pt x="819" y="87"/>
                  </a:lnTo>
                  <a:lnTo>
                    <a:pt x="818" y="88"/>
                  </a:lnTo>
                  <a:lnTo>
                    <a:pt x="816" y="88"/>
                  </a:lnTo>
                  <a:lnTo>
                    <a:pt x="814" y="88"/>
                  </a:lnTo>
                  <a:lnTo>
                    <a:pt x="813" y="88"/>
                  </a:lnTo>
                  <a:lnTo>
                    <a:pt x="814" y="88"/>
                  </a:lnTo>
                  <a:lnTo>
                    <a:pt x="814" y="90"/>
                  </a:lnTo>
                  <a:lnTo>
                    <a:pt x="816" y="90"/>
                  </a:lnTo>
                  <a:lnTo>
                    <a:pt x="814" y="90"/>
                  </a:lnTo>
                  <a:lnTo>
                    <a:pt x="816" y="90"/>
                  </a:lnTo>
                  <a:lnTo>
                    <a:pt x="817" y="90"/>
                  </a:lnTo>
                  <a:lnTo>
                    <a:pt x="819" y="88"/>
                  </a:lnTo>
                  <a:lnTo>
                    <a:pt x="820" y="88"/>
                  </a:lnTo>
                  <a:lnTo>
                    <a:pt x="821" y="88"/>
                  </a:lnTo>
                  <a:lnTo>
                    <a:pt x="821" y="90"/>
                  </a:lnTo>
                  <a:lnTo>
                    <a:pt x="823" y="91"/>
                  </a:lnTo>
                  <a:lnTo>
                    <a:pt x="821" y="91"/>
                  </a:lnTo>
                  <a:lnTo>
                    <a:pt x="817" y="91"/>
                  </a:lnTo>
                  <a:lnTo>
                    <a:pt x="817" y="92"/>
                  </a:lnTo>
                  <a:lnTo>
                    <a:pt x="816" y="92"/>
                  </a:lnTo>
                  <a:lnTo>
                    <a:pt x="814" y="91"/>
                  </a:lnTo>
                  <a:lnTo>
                    <a:pt x="814" y="90"/>
                  </a:lnTo>
                  <a:lnTo>
                    <a:pt x="814" y="91"/>
                  </a:lnTo>
                  <a:lnTo>
                    <a:pt x="813" y="91"/>
                  </a:lnTo>
                  <a:lnTo>
                    <a:pt x="813" y="90"/>
                  </a:lnTo>
                  <a:lnTo>
                    <a:pt x="812" y="90"/>
                  </a:lnTo>
                  <a:lnTo>
                    <a:pt x="812" y="91"/>
                  </a:lnTo>
                  <a:lnTo>
                    <a:pt x="814" y="91"/>
                  </a:lnTo>
                  <a:lnTo>
                    <a:pt x="814" y="92"/>
                  </a:lnTo>
                  <a:lnTo>
                    <a:pt x="813" y="92"/>
                  </a:lnTo>
                  <a:lnTo>
                    <a:pt x="812" y="92"/>
                  </a:lnTo>
                  <a:lnTo>
                    <a:pt x="813" y="92"/>
                  </a:lnTo>
                  <a:lnTo>
                    <a:pt x="813" y="93"/>
                  </a:lnTo>
                  <a:lnTo>
                    <a:pt x="812" y="93"/>
                  </a:lnTo>
                  <a:lnTo>
                    <a:pt x="811" y="93"/>
                  </a:lnTo>
                  <a:lnTo>
                    <a:pt x="812" y="93"/>
                  </a:lnTo>
                  <a:lnTo>
                    <a:pt x="812" y="94"/>
                  </a:lnTo>
                  <a:lnTo>
                    <a:pt x="811" y="94"/>
                  </a:lnTo>
                  <a:lnTo>
                    <a:pt x="810" y="94"/>
                  </a:lnTo>
                  <a:lnTo>
                    <a:pt x="809" y="94"/>
                  </a:lnTo>
                  <a:lnTo>
                    <a:pt x="807" y="94"/>
                  </a:lnTo>
                  <a:lnTo>
                    <a:pt x="805" y="94"/>
                  </a:lnTo>
                  <a:lnTo>
                    <a:pt x="802" y="94"/>
                  </a:lnTo>
                  <a:lnTo>
                    <a:pt x="800" y="94"/>
                  </a:lnTo>
                  <a:lnTo>
                    <a:pt x="798" y="95"/>
                  </a:lnTo>
                  <a:lnTo>
                    <a:pt x="797" y="95"/>
                  </a:lnTo>
                  <a:lnTo>
                    <a:pt x="795" y="95"/>
                  </a:lnTo>
                  <a:lnTo>
                    <a:pt x="793" y="95"/>
                  </a:lnTo>
                  <a:lnTo>
                    <a:pt x="792" y="95"/>
                  </a:lnTo>
                  <a:lnTo>
                    <a:pt x="791" y="95"/>
                  </a:lnTo>
                  <a:lnTo>
                    <a:pt x="789" y="95"/>
                  </a:lnTo>
                  <a:lnTo>
                    <a:pt x="790" y="95"/>
                  </a:lnTo>
                  <a:lnTo>
                    <a:pt x="790" y="94"/>
                  </a:lnTo>
                  <a:lnTo>
                    <a:pt x="789" y="94"/>
                  </a:lnTo>
                  <a:lnTo>
                    <a:pt x="788" y="95"/>
                  </a:lnTo>
                  <a:lnTo>
                    <a:pt x="786" y="95"/>
                  </a:lnTo>
                  <a:lnTo>
                    <a:pt x="785" y="94"/>
                  </a:lnTo>
                  <a:lnTo>
                    <a:pt x="784" y="94"/>
                  </a:lnTo>
                  <a:lnTo>
                    <a:pt x="784" y="93"/>
                  </a:lnTo>
                  <a:lnTo>
                    <a:pt x="785" y="92"/>
                  </a:lnTo>
                  <a:lnTo>
                    <a:pt x="786" y="92"/>
                  </a:lnTo>
                  <a:lnTo>
                    <a:pt x="785" y="92"/>
                  </a:lnTo>
                  <a:lnTo>
                    <a:pt x="786" y="92"/>
                  </a:lnTo>
                  <a:lnTo>
                    <a:pt x="786" y="91"/>
                  </a:lnTo>
                  <a:lnTo>
                    <a:pt x="785" y="91"/>
                  </a:lnTo>
                  <a:lnTo>
                    <a:pt x="784" y="91"/>
                  </a:lnTo>
                  <a:lnTo>
                    <a:pt x="783" y="91"/>
                  </a:lnTo>
                  <a:lnTo>
                    <a:pt x="782" y="91"/>
                  </a:lnTo>
                  <a:lnTo>
                    <a:pt x="783" y="92"/>
                  </a:lnTo>
                  <a:lnTo>
                    <a:pt x="782" y="93"/>
                  </a:lnTo>
                  <a:lnTo>
                    <a:pt x="781" y="93"/>
                  </a:lnTo>
                  <a:lnTo>
                    <a:pt x="781" y="94"/>
                  </a:lnTo>
                  <a:lnTo>
                    <a:pt x="779" y="94"/>
                  </a:lnTo>
                  <a:lnTo>
                    <a:pt x="778" y="94"/>
                  </a:lnTo>
                  <a:lnTo>
                    <a:pt x="777" y="94"/>
                  </a:lnTo>
                  <a:lnTo>
                    <a:pt x="774" y="94"/>
                  </a:lnTo>
                  <a:lnTo>
                    <a:pt x="772" y="95"/>
                  </a:lnTo>
                  <a:lnTo>
                    <a:pt x="771" y="95"/>
                  </a:lnTo>
                  <a:lnTo>
                    <a:pt x="769" y="95"/>
                  </a:lnTo>
                  <a:lnTo>
                    <a:pt x="768" y="95"/>
                  </a:lnTo>
                  <a:lnTo>
                    <a:pt x="767" y="95"/>
                  </a:lnTo>
                  <a:lnTo>
                    <a:pt x="765" y="95"/>
                  </a:lnTo>
                  <a:lnTo>
                    <a:pt x="765" y="94"/>
                  </a:lnTo>
                  <a:lnTo>
                    <a:pt x="767" y="94"/>
                  </a:lnTo>
                  <a:lnTo>
                    <a:pt x="767" y="93"/>
                  </a:lnTo>
                  <a:lnTo>
                    <a:pt x="765" y="93"/>
                  </a:lnTo>
                  <a:lnTo>
                    <a:pt x="765" y="94"/>
                  </a:lnTo>
                  <a:lnTo>
                    <a:pt x="764" y="94"/>
                  </a:lnTo>
                  <a:lnTo>
                    <a:pt x="765" y="94"/>
                  </a:lnTo>
                  <a:lnTo>
                    <a:pt x="764" y="94"/>
                  </a:lnTo>
                  <a:lnTo>
                    <a:pt x="764" y="95"/>
                  </a:lnTo>
                  <a:lnTo>
                    <a:pt x="763" y="95"/>
                  </a:lnTo>
                  <a:lnTo>
                    <a:pt x="761" y="95"/>
                  </a:lnTo>
                  <a:lnTo>
                    <a:pt x="762" y="95"/>
                  </a:lnTo>
                  <a:lnTo>
                    <a:pt x="762" y="94"/>
                  </a:lnTo>
                  <a:lnTo>
                    <a:pt x="762" y="93"/>
                  </a:lnTo>
                  <a:lnTo>
                    <a:pt x="761" y="93"/>
                  </a:lnTo>
                  <a:lnTo>
                    <a:pt x="761" y="94"/>
                  </a:lnTo>
                  <a:lnTo>
                    <a:pt x="761" y="95"/>
                  </a:lnTo>
                  <a:lnTo>
                    <a:pt x="760" y="95"/>
                  </a:lnTo>
                  <a:lnTo>
                    <a:pt x="759" y="95"/>
                  </a:lnTo>
                  <a:lnTo>
                    <a:pt x="756" y="95"/>
                  </a:lnTo>
                  <a:lnTo>
                    <a:pt x="754" y="95"/>
                  </a:lnTo>
                  <a:lnTo>
                    <a:pt x="755" y="95"/>
                  </a:lnTo>
                  <a:lnTo>
                    <a:pt x="755" y="94"/>
                  </a:lnTo>
                  <a:lnTo>
                    <a:pt x="754" y="94"/>
                  </a:lnTo>
                  <a:lnTo>
                    <a:pt x="755" y="94"/>
                  </a:lnTo>
                  <a:lnTo>
                    <a:pt x="754" y="94"/>
                  </a:lnTo>
                  <a:lnTo>
                    <a:pt x="753" y="95"/>
                  </a:lnTo>
                  <a:lnTo>
                    <a:pt x="752" y="95"/>
                  </a:lnTo>
                  <a:lnTo>
                    <a:pt x="750" y="95"/>
                  </a:lnTo>
                  <a:lnTo>
                    <a:pt x="749" y="95"/>
                  </a:lnTo>
                  <a:lnTo>
                    <a:pt x="749" y="94"/>
                  </a:lnTo>
                  <a:lnTo>
                    <a:pt x="748" y="94"/>
                  </a:lnTo>
                  <a:lnTo>
                    <a:pt x="748" y="95"/>
                  </a:lnTo>
                  <a:lnTo>
                    <a:pt x="749" y="95"/>
                  </a:lnTo>
                  <a:lnTo>
                    <a:pt x="746" y="95"/>
                  </a:lnTo>
                  <a:lnTo>
                    <a:pt x="745" y="95"/>
                  </a:lnTo>
                  <a:lnTo>
                    <a:pt x="746" y="95"/>
                  </a:lnTo>
                  <a:lnTo>
                    <a:pt x="745" y="95"/>
                  </a:lnTo>
                  <a:lnTo>
                    <a:pt x="742" y="95"/>
                  </a:lnTo>
                  <a:lnTo>
                    <a:pt x="743" y="95"/>
                  </a:lnTo>
                  <a:lnTo>
                    <a:pt x="743" y="94"/>
                  </a:lnTo>
                  <a:lnTo>
                    <a:pt x="742" y="94"/>
                  </a:lnTo>
                  <a:lnTo>
                    <a:pt x="742" y="95"/>
                  </a:lnTo>
                  <a:lnTo>
                    <a:pt x="741" y="95"/>
                  </a:lnTo>
                  <a:lnTo>
                    <a:pt x="740" y="95"/>
                  </a:lnTo>
                  <a:lnTo>
                    <a:pt x="739" y="95"/>
                  </a:lnTo>
                  <a:lnTo>
                    <a:pt x="738" y="95"/>
                  </a:lnTo>
                  <a:lnTo>
                    <a:pt x="735" y="95"/>
                  </a:lnTo>
                  <a:lnTo>
                    <a:pt x="734" y="95"/>
                  </a:lnTo>
                  <a:lnTo>
                    <a:pt x="732" y="95"/>
                  </a:lnTo>
                  <a:lnTo>
                    <a:pt x="732" y="94"/>
                  </a:lnTo>
                  <a:lnTo>
                    <a:pt x="733" y="94"/>
                  </a:lnTo>
                  <a:lnTo>
                    <a:pt x="733" y="93"/>
                  </a:lnTo>
                  <a:lnTo>
                    <a:pt x="734" y="93"/>
                  </a:lnTo>
                  <a:lnTo>
                    <a:pt x="735" y="93"/>
                  </a:lnTo>
                  <a:lnTo>
                    <a:pt x="735" y="92"/>
                  </a:lnTo>
                  <a:lnTo>
                    <a:pt x="736" y="92"/>
                  </a:lnTo>
                  <a:lnTo>
                    <a:pt x="735" y="92"/>
                  </a:lnTo>
                  <a:lnTo>
                    <a:pt x="735" y="91"/>
                  </a:lnTo>
                  <a:lnTo>
                    <a:pt x="736" y="91"/>
                  </a:lnTo>
                  <a:lnTo>
                    <a:pt x="735" y="91"/>
                  </a:lnTo>
                  <a:lnTo>
                    <a:pt x="734" y="91"/>
                  </a:lnTo>
                  <a:lnTo>
                    <a:pt x="733" y="91"/>
                  </a:lnTo>
                  <a:lnTo>
                    <a:pt x="733" y="92"/>
                  </a:lnTo>
                  <a:lnTo>
                    <a:pt x="732" y="92"/>
                  </a:lnTo>
                  <a:lnTo>
                    <a:pt x="732" y="93"/>
                  </a:lnTo>
                  <a:lnTo>
                    <a:pt x="731" y="93"/>
                  </a:lnTo>
                  <a:lnTo>
                    <a:pt x="729" y="93"/>
                  </a:lnTo>
                  <a:lnTo>
                    <a:pt x="731" y="93"/>
                  </a:lnTo>
                  <a:lnTo>
                    <a:pt x="731" y="92"/>
                  </a:lnTo>
                  <a:lnTo>
                    <a:pt x="729" y="91"/>
                  </a:lnTo>
                  <a:lnTo>
                    <a:pt x="729" y="92"/>
                  </a:lnTo>
                  <a:lnTo>
                    <a:pt x="728" y="93"/>
                  </a:lnTo>
                  <a:lnTo>
                    <a:pt x="728" y="92"/>
                  </a:lnTo>
                  <a:lnTo>
                    <a:pt x="727" y="92"/>
                  </a:lnTo>
                  <a:lnTo>
                    <a:pt x="727" y="93"/>
                  </a:lnTo>
                  <a:lnTo>
                    <a:pt x="728" y="93"/>
                  </a:lnTo>
                  <a:lnTo>
                    <a:pt x="727" y="93"/>
                  </a:lnTo>
                  <a:lnTo>
                    <a:pt x="727" y="94"/>
                  </a:lnTo>
                  <a:lnTo>
                    <a:pt x="726" y="94"/>
                  </a:lnTo>
                  <a:lnTo>
                    <a:pt x="725" y="94"/>
                  </a:lnTo>
                  <a:lnTo>
                    <a:pt x="724" y="94"/>
                  </a:lnTo>
                  <a:lnTo>
                    <a:pt x="721" y="94"/>
                  </a:lnTo>
                  <a:lnTo>
                    <a:pt x="722" y="94"/>
                  </a:lnTo>
                  <a:lnTo>
                    <a:pt x="721" y="94"/>
                  </a:lnTo>
                  <a:lnTo>
                    <a:pt x="720" y="95"/>
                  </a:lnTo>
                  <a:lnTo>
                    <a:pt x="719" y="94"/>
                  </a:lnTo>
                  <a:lnTo>
                    <a:pt x="718" y="95"/>
                  </a:lnTo>
                  <a:lnTo>
                    <a:pt x="718" y="94"/>
                  </a:lnTo>
                  <a:lnTo>
                    <a:pt x="719" y="94"/>
                  </a:lnTo>
                  <a:lnTo>
                    <a:pt x="718" y="94"/>
                  </a:lnTo>
                  <a:lnTo>
                    <a:pt x="717" y="94"/>
                  </a:lnTo>
                  <a:lnTo>
                    <a:pt x="715" y="94"/>
                  </a:lnTo>
                  <a:lnTo>
                    <a:pt x="714" y="94"/>
                  </a:lnTo>
                  <a:lnTo>
                    <a:pt x="713" y="94"/>
                  </a:lnTo>
                  <a:lnTo>
                    <a:pt x="712" y="93"/>
                  </a:lnTo>
                  <a:lnTo>
                    <a:pt x="713" y="93"/>
                  </a:lnTo>
                  <a:lnTo>
                    <a:pt x="713" y="92"/>
                  </a:lnTo>
                  <a:lnTo>
                    <a:pt x="712" y="92"/>
                  </a:lnTo>
                  <a:lnTo>
                    <a:pt x="712" y="93"/>
                  </a:lnTo>
                  <a:lnTo>
                    <a:pt x="711" y="93"/>
                  </a:lnTo>
                  <a:lnTo>
                    <a:pt x="710" y="93"/>
                  </a:lnTo>
                  <a:lnTo>
                    <a:pt x="711" y="92"/>
                  </a:lnTo>
                  <a:lnTo>
                    <a:pt x="712" y="92"/>
                  </a:lnTo>
                  <a:lnTo>
                    <a:pt x="713" y="92"/>
                  </a:lnTo>
                  <a:lnTo>
                    <a:pt x="713" y="91"/>
                  </a:lnTo>
                  <a:lnTo>
                    <a:pt x="714" y="91"/>
                  </a:lnTo>
                  <a:lnTo>
                    <a:pt x="713" y="91"/>
                  </a:lnTo>
                  <a:lnTo>
                    <a:pt x="710" y="92"/>
                  </a:lnTo>
                  <a:lnTo>
                    <a:pt x="708" y="92"/>
                  </a:lnTo>
                  <a:lnTo>
                    <a:pt x="708" y="93"/>
                  </a:lnTo>
                  <a:lnTo>
                    <a:pt x="708" y="94"/>
                  </a:lnTo>
                  <a:lnTo>
                    <a:pt x="706" y="93"/>
                  </a:lnTo>
                  <a:lnTo>
                    <a:pt x="707" y="93"/>
                  </a:lnTo>
                  <a:lnTo>
                    <a:pt x="706" y="93"/>
                  </a:lnTo>
                  <a:lnTo>
                    <a:pt x="707" y="93"/>
                  </a:lnTo>
                  <a:lnTo>
                    <a:pt x="706" y="93"/>
                  </a:lnTo>
                  <a:lnTo>
                    <a:pt x="705" y="93"/>
                  </a:lnTo>
                  <a:lnTo>
                    <a:pt x="704" y="93"/>
                  </a:lnTo>
                  <a:lnTo>
                    <a:pt x="705" y="93"/>
                  </a:lnTo>
                  <a:lnTo>
                    <a:pt x="704" y="92"/>
                  </a:lnTo>
                  <a:lnTo>
                    <a:pt x="703" y="93"/>
                  </a:lnTo>
                  <a:lnTo>
                    <a:pt x="701" y="93"/>
                  </a:lnTo>
                  <a:lnTo>
                    <a:pt x="703" y="93"/>
                  </a:lnTo>
                  <a:lnTo>
                    <a:pt x="703" y="92"/>
                  </a:lnTo>
                  <a:lnTo>
                    <a:pt x="701" y="92"/>
                  </a:lnTo>
                  <a:lnTo>
                    <a:pt x="701" y="91"/>
                  </a:lnTo>
                  <a:lnTo>
                    <a:pt x="703" y="91"/>
                  </a:lnTo>
                  <a:lnTo>
                    <a:pt x="703" y="90"/>
                  </a:lnTo>
                  <a:lnTo>
                    <a:pt x="704" y="90"/>
                  </a:lnTo>
                  <a:lnTo>
                    <a:pt x="703" y="88"/>
                  </a:lnTo>
                  <a:lnTo>
                    <a:pt x="704" y="88"/>
                  </a:lnTo>
                  <a:lnTo>
                    <a:pt x="703" y="88"/>
                  </a:lnTo>
                  <a:lnTo>
                    <a:pt x="704" y="88"/>
                  </a:lnTo>
                  <a:lnTo>
                    <a:pt x="705" y="88"/>
                  </a:lnTo>
                  <a:lnTo>
                    <a:pt x="705" y="87"/>
                  </a:lnTo>
                  <a:lnTo>
                    <a:pt x="706" y="87"/>
                  </a:lnTo>
                  <a:lnTo>
                    <a:pt x="704" y="87"/>
                  </a:lnTo>
                  <a:lnTo>
                    <a:pt x="703" y="87"/>
                  </a:lnTo>
                  <a:lnTo>
                    <a:pt x="704" y="87"/>
                  </a:lnTo>
                  <a:lnTo>
                    <a:pt x="703" y="87"/>
                  </a:lnTo>
                  <a:lnTo>
                    <a:pt x="703" y="86"/>
                  </a:lnTo>
                  <a:lnTo>
                    <a:pt x="704" y="86"/>
                  </a:lnTo>
                  <a:lnTo>
                    <a:pt x="705" y="85"/>
                  </a:lnTo>
                  <a:lnTo>
                    <a:pt x="706" y="85"/>
                  </a:lnTo>
                  <a:lnTo>
                    <a:pt x="705" y="85"/>
                  </a:lnTo>
                  <a:lnTo>
                    <a:pt x="706" y="84"/>
                  </a:lnTo>
                  <a:lnTo>
                    <a:pt x="708" y="83"/>
                  </a:lnTo>
                  <a:lnTo>
                    <a:pt x="710" y="83"/>
                  </a:lnTo>
                  <a:lnTo>
                    <a:pt x="711" y="83"/>
                  </a:lnTo>
                  <a:lnTo>
                    <a:pt x="712" y="81"/>
                  </a:lnTo>
                  <a:lnTo>
                    <a:pt x="713" y="81"/>
                  </a:lnTo>
                  <a:lnTo>
                    <a:pt x="712" y="81"/>
                  </a:lnTo>
                  <a:lnTo>
                    <a:pt x="713" y="80"/>
                  </a:lnTo>
                  <a:lnTo>
                    <a:pt x="712" y="80"/>
                  </a:lnTo>
                  <a:lnTo>
                    <a:pt x="713" y="79"/>
                  </a:lnTo>
                  <a:lnTo>
                    <a:pt x="714" y="79"/>
                  </a:lnTo>
                  <a:lnTo>
                    <a:pt x="714" y="78"/>
                  </a:lnTo>
                  <a:lnTo>
                    <a:pt x="713" y="78"/>
                  </a:lnTo>
                  <a:lnTo>
                    <a:pt x="712" y="78"/>
                  </a:lnTo>
                  <a:lnTo>
                    <a:pt x="712" y="77"/>
                  </a:lnTo>
                  <a:lnTo>
                    <a:pt x="712" y="76"/>
                  </a:lnTo>
                  <a:lnTo>
                    <a:pt x="713" y="76"/>
                  </a:lnTo>
                  <a:lnTo>
                    <a:pt x="712" y="76"/>
                  </a:lnTo>
                  <a:lnTo>
                    <a:pt x="712" y="74"/>
                  </a:lnTo>
                  <a:lnTo>
                    <a:pt x="712" y="73"/>
                  </a:lnTo>
                  <a:lnTo>
                    <a:pt x="711" y="73"/>
                  </a:lnTo>
                  <a:lnTo>
                    <a:pt x="712" y="73"/>
                  </a:lnTo>
                  <a:lnTo>
                    <a:pt x="712" y="72"/>
                  </a:lnTo>
                  <a:lnTo>
                    <a:pt x="711" y="72"/>
                  </a:lnTo>
                  <a:lnTo>
                    <a:pt x="710" y="72"/>
                  </a:lnTo>
                  <a:lnTo>
                    <a:pt x="706" y="73"/>
                  </a:lnTo>
                  <a:lnTo>
                    <a:pt x="705" y="73"/>
                  </a:lnTo>
                  <a:lnTo>
                    <a:pt x="706" y="73"/>
                  </a:lnTo>
                  <a:lnTo>
                    <a:pt x="705" y="73"/>
                  </a:lnTo>
                  <a:lnTo>
                    <a:pt x="705" y="74"/>
                  </a:lnTo>
                  <a:lnTo>
                    <a:pt x="704" y="73"/>
                  </a:lnTo>
                  <a:lnTo>
                    <a:pt x="703" y="73"/>
                  </a:lnTo>
                  <a:lnTo>
                    <a:pt x="701" y="73"/>
                  </a:lnTo>
                  <a:lnTo>
                    <a:pt x="701" y="74"/>
                  </a:lnTo>
                  <a:lnTo>
                    <a:pt x="700" y="73"/>
                  </a:lnTo>
                  <a:lnTo>
                    <a:pt x="697" y="73"/>
                  </a:lnTo>
                  <a:lnTo>
                    <a:pt x="696" y="73"/>
                  </a:lnTo>
                  <a:lnTo>
                    <a:pt x="697" y="73"/>
                  </a:lnTo>
                  <a:lnTo>
                    <a:pt x="696" y="73"/>
                  </a:lnTo>
                  <a:lnTo>
                    <a:pt x="695" y="73"/>
                  </a:lnTo>
                  <a:lnTo>
                    <a:pt x="692" y="74"/>
                  </a:lnTo>
                  <a:lnTo>
                    <a:pt x="691" y="74"/>
                  </a:lnTo>
                  <a:lnTo>
                    <a:pt x="689" y="74"/>
                  </a:lnTo>
                  <a:lnTo>
                    <a:pt x="689" y="73"/>
                  </a:lnTo>
                  <a:lnTo>
                    <a:pt x="690" y="73"/>
                  </a:lnTo>
                  <a:lnTo>
                    <a:pt x="691" y="73"/>
                  </a:lnTo>
                  <a:lnTo>
                    <a:pt x="692" y="73"/>
                  </a:lnTo>
                  <a:lnTo>
                    <a:pt x="693" y="73"/>
                  </a:lnTo>
                  <a:lnTo>
                    <a:pt x="695" y="73"/>
                  </a:lnTo>
                  <a:lnTo>
                    <a:pt x="696" y="73"/>
                  </a:lnTo>
                  <a:lnTo>
                    <a:pt x="693" y="72"/>
                  </a:lnTo>
                  <a:lnTo>
                    <a:pt x="692" y="73"/>
                  </a:lnTo>
                  <a:lnTo>
                    <a:pt x="692" y="72"/>
                  </a:lnTo>
                  <a:lnTo>
                    <a:pt x="691" y="72"/>
                  </a:lnTo>
                  <a:lnTo>
                    <a:pt x="690" y="73"/>
                  </a:lnTo>
                  <a:lnTo>
                    <a:pt x="690" y="72"/>
                  </a:lnTo>
                  <a:lnTo>
                    <a:pt x="691" y="72"/>
                  </a:lnTo>
                  <a:lnTo>
                    <a:pt x="690" y="72"/>
                  </a:lnTo>
                  <a:lnTo>
                    <a:pt x="688" y="72"/>
                  </a:lnTo>
                  <a:lnTo>
                    <a:pt x="686" y="72"/>
                  </a:lnTo>
                  <a:lnTo>
                    <a:pt x="686" y="71"/>
                  </a:lnTo>
                  <a:lnTo>
                    <a:pt x="685" y="71"/>
                  </a:lnTo>
                  <a:lnTo>
                    <a:pt x="686" y="71"/>
                  </a:lnTo>
                  <a:lnTo>
                    <a:pt x="689" y="71"/>
                  </a:lnTo>
                  <a:lnTo>
                    <a:pt x="690" y="71"/>
                  </a:lnTo>
                  <a:lnTo>
                    <a:pt x="692" y="70"/>
                  </a:lnTo>
                  <a:lnTo>
                    <a:pt x="691" y="70"/>
                  </a:lnTo>
                  <a:lnTo>
                    <a:pt x="690" y="70"/>
                  </a:lnTo>
                  <a:lnTo>
                    <a:pt x="689" y="70"/>
                  </a:lnTo>
                  <a:lnTo>
                    <a:pt x="688" y="70"/>
                  </a:lnTo>
                  <a:lnTo>
                    <a:pt x="686" y="70"/>
                  </a:lnTo>
                  <a:lnTo>
                    <a:pt x="685" y="70"/>
                  </a:lnTo>
                  <a:lnTo>
                    <a:pt x="685" y="69"/>
                  </a:lnTo>
                  <a:lnTo>
                    <a:pt x="683" y="69"/>
                  </a:lnTo>
                  <a:lnTo>
                    <a:pt x="682" y="69"/>
                  </a:lnTo>
                  <a:lnTo>
                    <a:pt x="683" y="67"/>
                  </a:lnTo>
                  <a:lnTo>
                    <a:pt x="684" y="67"/>
                  </a:lnTo>
                  <a:lnTo>
                    <a:pt x="685" y="67"/>
                  </a:lnTo>
                  <a:lnTo>
                    <a:pt x="686" y="69"/>
                  </a:lnTo>
                  <a:lnTo>
                    <a:pt x="688" y="67"/>
                  </a:lnTo>
                  <a:lnTo>
                    <a:pt x="686" y="67"/>
                  </a:lnTo>
                  <a:lnTo>
                    <a:pt x="685" y="67"/>
                  </a:lnTo>
                  <a:lnTo>
                    <a:pt x="686" y="67"/>
                  </a:lnTo>
                  <a:lnTo>
                    <a:pt x="688" y="67"/>
                  </a:lnTo>
                  <a:lnTo>
                    <a:pt x="686" y="67"/>
                  </a:lnTo>
                  <a:lnTo>
                    <a:pt x="685" y="66"/>
                  </a:lnTo>
                  <a:lnTo>
                    <a:pt x="684" y="66"/>
                  </a:lnTo>
                  <a:lnTo>
                    <a:pt x="685" y="66"/>
                  </a:lnTo>
                  <a:lnTo>
                    <a:pt x="686" y="66"/>
                  </a:lnTo>
                  <a:lnTo>
                    <a:pt x="686" y="65"/>
                  </a:lnTo>
                  <a:lnTo>
                    <a:pt x="685" y="65"/>
                  </a:lnTo>
                  <a:lnTo>
                    <a:pt x="686" y="65"/>
                  </a:lnTo>
                  <a:lnTo>
                    <a:pt x="689" y="65"/>
                  </a:lnTo>
                  <a:lnTo>
                    <a:pt x="690" y="65"/>
                  </a:lnTo>
                  <a:lnTo>
                    <a:pt x="691" y="65"/>
                  </a:lnTo>
                  <a:lnTo>
                    <a:pt x="695" y="64"/>
                  </a:lnTo>
                  <a:lnTo>
                    <a:pt x="696" y="64"/>
                  </a:lnTo>
                  <a:lnTo>
                    <a:pt x="697" y="64"/>
                  </a:lnTo>
                  <a:lnTo>
                    <a:pt x="698" y="64"/>
                  </a:lnTo>
                  <a:lnTo>
                    <a:pt x="699" y="64"/>
                  </a:lnTo>
                  <a:lnTo>
                    <a:pt x="700" y="64"/>
                  </a:lnTo>
                  <a:lnTo>
                    <a:pt x="700" y="65"/>
                  </a:lnTo>
                  <a:close/>
                  <a:moveTo>
                    <a:pt x="518" y="59"/>
                  </a:moveTo>
                  <a:lnTo>
                    <a:pt x="519" y="59"/>
                  </a:lnTo>
                  <a:lnTo>
                    <a:pt x="520" y="60"/>
                  </a:lnTo>
                  <a:lnTo>
                    <a:pt x="521" y="60"/>
                  </a:lnTo>
                  <a:lnTo>
                    <a:pt x="522" y="60"/>
                  </a:lnTo>
                  <a:lnTo>
                    <a:pt x="522" y="62"/>
                  </a:lnTo>
                  <a:lnTo>
                    <a:pt x="521" y="62"/>
                  </a:lnTo>
                  <a:lnTo>
                    <a:pt x="520" y="62"/>
                  </a:lnTo>
                  <a:lnTo>
                    <a:pt x="519" y="62"/>
                  </a:lnTo>
                  <a:lnTo>
                    <a:pt x="518" y="62"/>
                  </a:lnTo>
                  <a:lnTo>
                    <a:pt x="518" y="63"/>
                  </a:lnTo>
                  <a:lnTo>
                    <a:pt x="516" y="63"/>
                  </a:lnTo>
                  <a:lnTo>
                    <a:pt x="515" y="63"/>
                  </a:lnTo>
                  <a:lnTo>
                    <a:pt x="513" y="63"/>
                  </a:lnTo>
                  <a:lnTo>
                    <a:pt x="512" y="63"/>
                  </a:lnTo>
                  <a:lnTo>
                    <a:pt x="511" y="63"/>
                  </a:lnTo>
                  <a:lnTo>
                    <a:pt x="511" y="64"/>
                  </a:lnTo>
                  <a:lnTo>
                    <a:pt x="509" y="64"/>
                  </a:lnTo>
                  <a:lnTo>
                    <a:pt x="511" y="64"/>
                  </a:lnTo>
                  <a:lnTo>
                    <a:pt x="509" y="64"/>
                  </a:lnTo>
                  <a:lnTo>
                    <a:pt x="509" y="65"/>
                  </a:lnTo>
                  <a:lnTo>
                    <a:pt x="513" y="65"/>
                  </a:lnTo>
                  <a:lnTo>
                    <a:pt x="513" y="66"/>
                  </a:lnTo>
                  <a:lnTo>
                    <a:pt x="511" y="66"/>
                  </a:lnTo>
                  <a:lnTo>
                    <a:pt x="509" y="66"/>
                  </a:lnTo>
                  <a:lnTo>
                    <a:pt x="508" y="66"/>
                  </a:lnTo>
                  <a:lnTo>
                    <a:pt x="507" y="66"/>
                  </a:lnTo>
                  <a:lnTo>
                    <a:pt x="507" y="67"/>
                  </a:lnTo>
                  <a:lnTo>
                    <a:pt x="508" y="67"/>
                  </a:lnTo>
                  <a:lnTo>
                    <a:pt x="507" y="67"/>
                  </a:lnTo>
                  <a:lnTo>
                    <a:pt x="507" y="69"/>
                  </a:lnTo>
                  <a:lnTo>
                    <a:pt x="506" y="69"/>
                  </a:lnTo>
                  <a:lnTo>
                    <a:pt x="505" y="70"/>
                  </a:lnTo>
                  <a:lnTo>
                    <a:pt x="501" y="70"/>
                  </a:lnTo>
                  <a:lnTo>
                    <a:pt x="500" y="70"/>
                  </a:lnTo>
                  <a:lnTo>
                    <a:pt x="499" y="70"/>
                  </a:lnTo>
                  <a:lnTo>
                    <a:pt x="498" y="70"/>
                  </a:lnTo>
                  <a:lnTo>
                    <a:pt x="497" y="70"/>
                  </a:lnTo>
                  <a:lnTo>
                    <a:pt x="497" y="71"/>
                  </a:lnTo>
                  <a:lnTo>
                    <a:pt x="496" y="71"/>
                  </a:lnTo>
                  <a:lnTo>
                    <a:pt x="496" y="70"/>
                  </a:lnTo>
                  <a:lnTo>
                    <a:pt x="494" y="71"/>
                  </a:lnTo>
                  <a:lnTo>
                    <a:pt x="493" y="71"/>
                  </a:lnTo>
                  <a:lnTo>
                    <a:pt x="493" y="72"/>
                  </a:lnTo>
                  <a:lnTo>
                    <a:pt x="492" y="72"/>
                  </a:lnTo>
                  <a:lnTo>
                    <a:pt x="492" y="73"/>
                  </a:lnTo>
                  <a:lnTo>
                    <a:pt x="491" y="73"/>
                  </a:lnTo>
                  <a:lnTo>
                    <a:pt x="490" y="73"/>
                  </a:lnTo>
                  <a:lnTo>
                    <a:pt x="487" y="73"/>
                  </a:lnTo>
                  <a:lnTo>
                    <a:pt x="486" y="74"/>
                  </a:lnTo>
                  <a:lnTo>
                    <a:pt x="485" y="73"/>
                  </a:lnTo>
                  <a:lnTo>
                    <a:pt x="484" y="73"/>
                  </a:lnTo>
                  <a:lnTo>
                    <a:pt x="483" y="73"/>
                  </a:lnTo>
                  <a:lnTo>
                    <a:pt x="484" y="73"/>
                  </a:lnTo>
                  <a:lnTo>
                    <a:pt x="483" y="72"/>
                  </a:lnTo>
                  <a:lnTo>
                    <a:pt x="484" y="72"/>
                  </a:lnTo>
                  <a:lnTo>
                    <a:pt x="484" y="71"/>
                  </a:lnTo>
                  <a:lnTo>
                    <a:pt x="485" y="71"/>
                  </a:lnTo>
                  <a:lnTo>
                    <a:pt x="486" y="71"/>
                  </a:lnTo>
                  <a:lnTo>
                    <a:pt x="486" y="70"/>
                  </a:lnTo>
                  <a:lnTo>
                    <a:pt x="487" y="70"/>
                  </a:lnTo>
                  <a:lnTo>
                    <a:pt x="486" y="70"/>
                  </a:lnTo>
                  <a:lnTo>
                    <a:pt x="487" y="70"/>
                  </a:lnTo>
                  <a:lnTo>
                    <a:pt x="489" y="70"/>
                  </a:lnTo>
                  <a:lnTo>
                    <a:pt x="489" y="69"/>
                  </a:lnTo>
                  <a:lnTo>
                    <a:pt x="490" y="69"/>
                  </a:lnTo>
                  <a:lnTo>
                    <a:pt x="491" y="67"/>
                  </a:lnTo>
                  <a:lnTo>
                    <a:pt x="492" y="67"/>
                  </a:lnTo>
                  <a:lnTo>
                    <a:pt x="491" y="67"/>
                  </a:lnTo>
                  <a:lnTo>
                    <a:pt x="490" y="67"/>
                  </a:lnTo>
                  <a:lnTo>
                    <a:pt x="489" y="67"/>
                  </a:lnTo>
                  <a:lnTo>
                    <a:pt x="486" y="67"/>
                  </a:lnTo>
                  <a:lnTo>
                    <a:pt x="486" y="69"/>
                  </a:lnTo>
                  <a:lnTo>
                    <a:pt x="485" y="69"/>
                  </a:lnTo>
                  <a:lnTo>
                    <a:pt x="484" y="69"/>
                  </a:lnTo>
                  <a:lnTo>
                    <a:pt x="484" y="70"/>
                  </a:lnTo>
                  <a:lnTo>
                    <a:pt x="483" y="70"/>
                  </a:lnTo>
                  <a:lnTo>
                    <a:pt x="483" y="71"/>
                  </a:lnTo>
                  <a:lnTo>
                    <a:pt x="482" y="70"/>
                  </a:lnTo>
                  <a:lnTo>
                    <a:pt x="482" y="71"/>
                  </a:lnTo>
                  <a:lnTo>
                    <a:pt x="480" y="71"/>
                  </a:lnTo>
                  <a:lnTo>
                    <a:pt x="479" y="71"/>
                  </a:lnTo>
                  <a:lnTo>
                    <a:pt x="478" y="70"/>
                  </a:lnTo>
                  <a:lnTo>
                    <a:pt x="478" y="71"/>
                  </a:lnTo>
                  <a:lnTo>
                    <a:pt x="477" y="71"/>
                  </a:lnTo>
                  <a:lnTo>
                    <a:pt x="476" y="71"/>
                  </a:lnTo>
                  <a:lnTo>
                    <a:pt x="477" y="71"/>
                  </a:lnTo>
                  <a:lnTo>
                    <a:pt x="477" y="72"/>
                  </a:lnTo>
                  <a:lnTo>
                    <a:pt x="477" y="71"/>
                  </a:lnTo>
                  <a:lnTo>
                    <a:pt x="478" y="72"/>
                  </a:lnTo>
                  <a:lnTo>
                    <a:pt x="477" y="72"/>
                  </a:lnTo>
                  <a:lnTo>
                    <a:pt x="477" y="73"/>
                  </a:lnTo>
                  <a:lnTo>
                    <a:pt x="476" y="73"/>
                  </a:lnTo>
                  <a:lnTo>
                    <a:pt x="475" y="73"/>
                  </a:lnTo>
                  <a:lnTo>
                    <a:pt x="473" y="73"/>
                  </a:lnTo>
                  <a:lnTo>
                    <a:pt x="472" y="73"/>
                  </a:lnTo>
                  <a:lnTo>
                    <a:pt x="472" y="74"/>
                  </a:lnTo>
                  <a:lnTo>
                    <a:pt x="471" y="74"/>
                  </a:lnTo>
                  <a:lnTo>
                    <a:pt x="470" y="74"/>
                  </a:lnTo>
                  <a:lnTo>
                    <a:pt x="470" y="76"/>
                  </a:lnTo>
                  <a:lnTo>
                    <a:pt x="469" y="76"/>
                  </a:lnTo>
                  <a:lnTo>
                    <a:pt x="468" y="76"/>
                  </a:lnTo>
                  <a:lnTo>
                    <a:pt x="466" y="76"/>
                  </a:lnTo>
                  <a:lnTo>
                    <a:pt x="468" y="74"/>
                  </a:lnTo>
                  <a:lnTo>
                    <a:pt x="468" y="73"/>
                  </a:lnTo>
                  <a:lnTo>
                    <a:pt x="469" y="73"/>
                  </a:lnTo>
                  <a:lnTo>
                    <a:pt x="469" y="72"/>
                  </a:lnTo>
                  <a:lnTo>
                    <a:pt x="469" y="73"/>
                  </a:lnTo>
                  <a:lnTo>
                    <a:pt x="468" y="73"/>
                  </a:lnTo>
                  <a:lnTo>
                    <a:pt x="466" y="73"/>
                  </a:lnTo>
                  <a:lnTo>
                    <a:pt x="465" y="73"/>
                  </a:lnTo>
                  <a:lnTo>
                    <a:pt x="465" y="74"/>
                  </a:lnTo>
                  <a:lnTo>
                    <a:pt x="464" y="76"/>
                  </a:lnTo>
                  <a:lnTo>
                    <a:pt x="464" y="74"/>
                  </a:lnTo>
                  <a:lnTo>
                    <a:pt x="463" y="74"/>
                  </a:lnTo>
                  <a:lnTo>
                    <a:pt x="463" y="76"/>
                  </a:lnTo>
                  <a:lnTo>
                    <a:pt x="464" y="76"/>
                  </a:lnTo>
                  <a:lnTo>
                    <a:pt x="462" y="76"/>
                  </a:lnTo>
                  <a:lnTo>
                    <a:pt x="463" y="76"/>
                  </a:lnTo>
                  <a:lnTo>
                    <a:pt x="463" y="77"/>
                  </a:lnTo>
                  <a:lnTo>
                    <a:pt x="462" y="77"/>
                  </a:lnTo>
                  <a:lnTo>
                    <a:pt x="462" y="78"/>
                  </a:lnTo>
                  <a:lnTo>
                    <a:pt x="462" y="77"/>
                  </a:lnTo>
                  <a:lnTo>
                    <a:pt x="461" y="77"/>
                  </a:lnTo>
                  <a:lnTo>
                    <a:pt x="459" y="78"/>
                  </a:lnTo>
                  <a:lnTo>
                    <a:pt x="461" y="78"/>
                  </a:lnTo>
                  <a:lnTo>
                    <a:pt x="459" y="78"/>
                  </a:lnTo>
                  <a:lnTo>
                    <a:pt x="458" y="78"/>
                  </a:lnTo>
                  <a:lnTo>
                    <a:pt x="457" y="79"/>
                  </a:lnTo>
                  <a:lnTo>
                    <a:pt x="455" y="79"/>
                  </a:lnTo>
                  <a:lnTo>
                    <a:pt x="455" y="78"/>
                  </a:lnTo>
                  <a:lnTo>
                    <a:pt x="454" y="79"/>
                  </a:lnTo>
                  <a:lnTo>
                    <a:pt x="452" y="79"/>
                  </a:lnTo>
                  <a:lnTo>
                    <a:pt x="451" y="79"/>
                  </a:lnTo>
                  <a:lnTo>
                    <a:pt x="450" y="79"/>
                  </a:lnTo>
                  <a:lnTo>
                    <a:pt x="451" y="79"/>
                  </a:lnTo>
                  <a:lnTo>
                    <a:pt x="452" y="78"/>
                  </a:lnTo>
                  <a:lnTo>
                    <a:pt x="454" y="78"/>
                  </a:lnTo>
                  <a:lnTo>
                    <a:pt x="454" y="77"/>
                  </a:lnTo>
                  <a:lnTo>
                    <a:pt x="452" y="77"/>
                  </a:lnTo>
                  <a:lnTo>
                    <a:pt x="451" y="77"/>
                  </a:lnTo>
                  <a:lnTo>
                    <a:pt x="452" y="77"/>
                  </a:lnTo>
                  <a:lnTo>
                    <a:pt x="452" y="76"/>
                  </a:lnTo>
                  <a:lnTo>
                    <a:pt x="454" y="76"/>
                  </a:lnTo>
                  <a:lnTo>
                    <a:pt x="452" y="76"/>
                  </a:lnTo>
                  <a:lnTo>
                    <a:pt x="454" y="76"/>
                  </a:lnTo>
                  <a:lnTo>
                    <a:pt x="455" y="76"/>
                  </a:lnTo>
                  <a:lnTo>
                    <a:pt x="454" y="74"/>
                  </a:lnTo>
                  <a:lnTo>
                    <a:pt x="452" y="74"/>
                  </a:lnTo>
                  <a:lnTo>
                    <a:pt x="451" y="74"/>
                  </a:lnTo>
                  <a:lnTo>
                    <a:pt x="451" y="76"/>
                  </a:lnTo>
                  <a:lnTo>
                    <a:pt x="450" y="76"/>
                  </a:lnTo>
                  <a:lnTo>
                    <a:pt x="450" y="77"/>
                  </a:lnTo>
                  <a:lnTo>
                    <a:pt x="449" y="77"/>
                  </a:lnTo>
                  <a:lnTo>
                    <a:pt x="449" y="78"/>
                  </a:lnTo>
                  <a:lnTo>
                    <a:pt x="448" y="78"/>
                  </a:lnTo>
                  <a:lnTo>
                    <a:pt x="448" y="77"/>
                  </a:lnTo>
                  <a:lnTo>
                    <a:pt x="449" y="77"/>
                  </a:lnTo>
                  <a:lnTo>
                    <a:pt x="448" y="77"/>
                  </a:lnTo>
                  <a:lnTo>
                    <a:pt x="447" y="77"/>
                  </a:lnTo>
                  <a:lnTo>
                    <a:pt x="445" y="78"/>
                  </a:lnTo>
                  <a:lnTo>
                    <a:pt x="444" y="78"/>
                  </a:lnTo>
                  <a:lnTo>
                    <a:pt x="444" y="77"/>
                  </a:lnTo>
                  <a:lnTo>
                    <a:pt x="443" y="77"/>
                  </a:lnTo>
                  <a:lnTo>
                    <a:pt x="442" y="77"/>
                  </a:lnTo>
                  <a:lnTo>
                    <a:pt x="440" y="77"/>
                  </a:lnTo>
                  <a:lnTo>
                    <a:pt x="439" y="77"/>
                  </a:lnTo>
                  <a:lnTo>
                    <a:pt x="437" y="77"/>
                  </a:lnTo>
                  <a:lnTo>
                    <a:pt x="435" y="78"/>
                  </a:lnTo>
                  <a:lnTo>
                    <a:pt x="434" y="78"/>
                  </a:lnTo>
                  <a:lnTo>
                    <a:pt x="433" y="78"/>
                  </a:lnTo>
                  <a:lnTo>
                    <a:pt x="433" y="77"/>
                  </a:lnTo>
                  <a:lnTo>
                    <a:pt x="434" y="77"/>
                  </a:lnTo>
                  <a:lnTo>
                    <a:pt x="435" y="77"/>
                  </a:lnTo>
                  <a:lnTo>
                    <a:pt x="434" y="77"/>
                  </a:lnTo>
                  <a:lnTo>
                    <a:pt x="435" y="77"/>
                  </a:lnTo>
                  <a:lnTo>
                    <a:pt x="436" y="77"/>
                  </a:lnTo>
                  <a:lnTo>
                    <a:pt x="436" y="76"/>
                  </a:lnTo>
                  <a:lnTo>
                    <a:pt x="437" y="76"/>
                  </a:lnTo>
                  <a:lnTo>
                    <a:pt x="435" y="76"/>
                  </a:lnTo>
                  <a:lnTo>
                    <a:pt x="437" y="76"/>
                  </a:lnTo>
                  <a:lnTo>
                    <a:pt x="436" y="76"/>
                  </a:lnTo>
                  <a:lnTo>
                    <a:pt x="437" y="74"/>
                  </a:lnTo>
                  <a:lnTo>
                    <a:pt x="436" y="74"/>
                  </a:lnTo>
                  <a:lnTo>
                    <a:pt x="435" y="76"/>
                  </a:lnTo>
                  <a:lnTo>
                    <a:pt x="434" y="76"/>
                  </a:lnTo>
                  <a:lnTo>
                    <a:pt x="433" y="76"/>
                  </a:lnTo>
                  <a:lnTo>
                    <a:pt x="432" y="76"/>
                  </a:lnTo>
                  <a:lnTo>
                    <a:pt x="433" y="76"/>
                  </a:lnTo>
                  <a:lnTo>
                    <a:pt x="434" y="76"/>
                  </a:lnTo>
                  <a:lnTo>
                    <a:pt x="434" y="74"/>
                  </a:lnTo>
                  <a:lnTo>
                    <a:pt x="435" y="74"/>
                  </a:lnTo>
                  <a:lnTo>
                    <a:pt x="436" y="74"/>
                  </a:lnTo>
                  <a:lnTo>
                    <a:pt x="437" y="74"/>
                  </a:lnTo>
                  <a:lnTo>
                    <a:pt x="439" y="73"/>
                  </a:lnTo>
                  <a:lnTo>
                    <a:pt x="440" y="73"/>
                  </a:lnTo>
                  <a:lnTo>
                    <a:pt x="442" y="72"/>
                  </a:lnTo>
                  <a:lnTo>
                    <a:pt x="443" y="72"/>
                  </a:lnTo>
                  <a:lnTo>
                    <a:pt x="448" y="72"/>
                  </a:lnTo>
                  <a:lnTo>
                    <a:pt x="449" y="72"/>
                  </a:lnTo>
                  <a:lnTo>
                    <a:pt x="451" y="72"/>
                  </a:lnTo>
                  <a:lnTo>
                    <a:pt x="452" y="71"/>
                  </a:lnTo>
                  <a:lnTo>
                    <a:pt x="454" y="71"/>
                  </a:lnTo>
                  <a:lnTo>
                    <a:pt x="455" y="71"/>
                  </a:lnTo>
                  <a:lnTo>
                    <a:pt x="455" y="70"/>
                  </a:lnTo>
                  <a:lnTo>
                    <a:pt x="456" y="70"/>
                  </a:lnTo>
                  <a:lnTo>
                    <a:pt x="457" y="70"/>
                  </a:lnTo>
                  <a:lnTo>
                    <a:pt x="458" y="69"/>
                  </a:lnTo>
                  <a:lnTo>
                    <a:pt x="459" y="69"/>
                  </a:lnTo>
                  <a:lnTo>
                    <a:pt x="461" y="69"/>
                  </a:lnTo>
                  <a:lnTo>
                    <a:pt x="462" y="69"/>
                  </a:lnTo>
                  <a:lnTo>
                    <a:pt x="463" y="69"/>
                  </a:lnTo>
                  <a:lnTo>
                    <a:pt x="465" y="67"/>
                  </a:lnTo>
                  <a:lnTo>
                    <a:pt x="466" y="67"/>
                  </a:lnTo>
                  <a:lnTo>
                    <a:pt x="469" y="67"/>
                  </a:lnTo>
                  <a:lnTo>
                    <a:pt x="469" y="66"/>
                  </a:lnTo>
                  <a:lnTo>
                    <a:pt x="470" y="66"/>
                  </a:lnTo>
                  <a:lnTo>
                    <a:pt x="471" y="66"/>
                  </a:lnTo>
                  <a:lnTo>
                    <a:pt x="472" y="66"/>
                  </a:lnTo>
                  <a:lnTo>
                    <a:pt x="472" y="65"/>
                  </a:lnTo>
                  <a:lnTo>
                    <a:pt x="473" y="65"/>
                  </a:lnTo>
                  <a:lnTo>
                    <a:pt x="475" y="65"/>
                  </a:lnTo>
                  <a:lnTo>
                    <a:pt x="476" y="65"/>
                  </a:lnTo>
                  <a:lnTo>
                    <a:pt x="477" y="65"/>
                  </a:lnTo>
                  <a:lnTo>
                    <a:pt x="477" y="64"/>
                  </a:lnTo>
                  <a:lnTo>
                    <a:pt x="478" y="64"/>
                  </a:lnTo>
                  <a:lnTo>
                    <a:pt x="479" y="64"/>
                  </a:lnTo>
                  <a:lnTo>
                    <a:pt x="480" y="64"/>
                  </a:lnTo>
                  <a:lnTo>
                    <a:pt x="482" y="63"/>
                  </a:lnTo>
                  <a:lnTo>
                    <a:pt x="483" y="63"/>
                  </a:lnTo>
                  <a:lnTo>
                    <a:pt x="484" y="63"/>
                  </a:lnTo>
                  <a:lnTo>
                    <a:pt x="485" y="63"/>
                  </a:lnTo>
                  <a:lnTo>
                    <a:pt x="485" y="62"/>
                  </a:lnTo>
                  <a:lnTo>
                    <a:pt x="486" y="62"/>
                  </a:lnTo>
                  <a:lnTo>
                    <a:pt x="487" y="62"/>
                  </a:lnTo>
                  <a:lnTo>
                    <a:pt x="489" y="62"/>
                  </a:lnTo>
                  <a:lnTo>
                    <a:pt x="490" y="62"/>
                  </a:lnTo>
                  <a:lnTo>
                    <a:pt x="491" y="62"/>
                  </a:lnTo>
                  <a:lnTo>
                    <a:pt x="492" y="60"/>
                  </a:lnTo>
                  <a:lnTo>
                    <a:pt x="493" y="60"/>
                  </a:lnTo>
                  <a:lnTo>
                    <a:pt x="496" y="60"/>
                  </a:lnTo>
                  <a:lnTo>
                    <a:pt x="498" y="60"/>
                  </a:lnTo>
                  <a:lnTo>
                    <a:pt x="499" y="60"/>
                  </a:lnTo>
                  <a:lnTo>
                    <a:pt x="501" y="60"/>
                  </a:lnTo>
                  <a:lnTo>
                    <a:pt x="500" y="60"/>
                  </a:lnTo>
                  <a:lnTo>
                    <a:pt x="501" y="60"/>
                  </a:lnTo>
                  <a:lnTo>
                    <a:pt x="501" y="62"/>
                  </a:lnTo>
                  <a:lnTo>
                    <a:pt x="503" y="62"/>
                  </a:lnTo>
                  <a:lnTo>
                    <a:pt x="504" y="62"/>
                  </a:lnTo>
                  <a:lnTo>
                    <a:pt x="505" y="62"/>
                  </a:lnTo>
                  <a:lnTo>
                    <a:pt x="506" y="62"/>
                  </a:lnTo>
                  <a:lnTo>
                    <a:pt x="507" y="62"/>
                  </a:lnTo>
                  <a:lnTo>
                    <a:pt x="506" y="62"/>
                  </a:lnTo>
                  <a:lnTo>
                    <a:pt x="506" y="60"/>
                  </a:lnTo>
                  <a:lnTo>
                    <a:pt x="507" y="60"/>
                  </a:lnTo>
                  <a:lnTo>
                    <a:pt x="508" y="60"/>
                  </a:lnTo>
                  <a:lnTo>
                    <a:pt x="508" y="62"/>
                  </a:lnTo>
                  <a:lnTo>
                    <a:pt x="509" y="62"/>
                  </a:lnTo>
                  <a:lnTo>
                    <a:pt x="511" y="60"/>
                  </a:lnTo>
                  <a:lnTo>
                    <a:pt x="512" y="60"/>
                  </a:lnTo>
                  <a:lnTo>
                    <a:pt x="511" y="60"/>
                  </a:lnTo>
                  <a:lnTo>
                    <a:pt x="509" y="60"/>
                  </a:lnTo>
                  <a:lnTo>
                    <a:pt x="508" y="59"/>
                  </a:lnTo>
                  <a:lnTo>
                    <a:pt x="509" y="59"/>
                  </a:lnTo>
                  <a:lnTo>
                    <a:pt x="511" y="59"/>
                  </a:lnTo>
                  <a:lnTo>
                    <a:pt x="513" y="59"/>
                  </a:lnTo>
                  <a:lnTo>
                    <a:pt x="512" y="59"/>
                  </a:lnTo>
                  <a:lnTo>
                    <a:pt x="518" y="58"/>
                  </a:lnTo>
                  <a:lnTo>
                    <a:pt x="516" y="58"/>
                  </a:lnTo>
                  <a:lnTo>
                    <a:pt x="518" y="59"/>
                  </a:lnTo>
                  <a:lnTo>
                    <a:pt x="516" y="59"/>
                  </a:lnTo>
                  <a:lnTo>
                    <a:pt x="518" y="59"/>
                  </a:lnTo>
                  <a:lnTo>
                    <a:pt x="519" y="59"/>
                  </a:lnTo>
                  <a:lnTo>
                    <a:pt x="518" y="59"/>
                  </a:lnTo>
                  <a:close/>
                  <a:moveTo>
                    <a:pt x="799" y="59"/>
                  </a:moveTo>
                  <a:lnTo>
                    <a:pt x="798" y="59"/>
                  </a:lnTo>
                  <a:lnTo>
                    <a:pt x="799" y="59"/>
                  </a:lnTo>
                  <a:lnTo>
                    <a:pt x="798" y="59"/>
                  </a:lnTo>
                  <a:lnTo>
                    <a:pt x="796" y="59"/>
                  </a:lnTo>
                  <a:lnTo>
                    <a:pt x="796" y="58"/>
                  </a:lnTo>
                  <a:lnTo>
                    <a:pt x="797" y="58"/>
                  </a:lnTo>
                  <a:lnTo>
                    <a:pt x="798" y="58"/>
                  </a:lnTo>
                  <a:lnTo>
                    <a:pt x="800" y="58"/>
                  </a:lnTo>
                  <a:lnTo>
                    <a:pt x="800" y="59"/>
                  </a:lnTo>
                  <a:lnTo>
                    <a:pt x="802" y="59"/>
                  </a:lnTo>
                  <a:lnTo>
                    <a:pt x="800" y="59"/>
                  </a:lnTo>
                  <a:lnTo>
                    <a:pt x="799" y="59"/>
                  </a:lnTo>
                  <a:close/>
                  <a:moveTo>
                    <a:pt x="754" y="58"/>
                  </a:moveTo>
                  <a:lnTo>
                    <a:pt x="755" y="58"/>
                  </a:lnTo>
                  <a:lnTo>
                    <a:pt x="756" y="59"/>
                  </a:lnTo>
                  <a:lnTo>
                    <a:pt x="756" y="60"/>
                  </a:lnTo>
                  <a:lnTo>
                    <a:pt x="755" y="60"/>
                  </a:lnTo>
                  <a:lnTo>
                    <a:pt x="756" y="60"/>
                  </a:lnTo>
                  <a:lnTo>
                    <a:pt x="756" y="62"/>
                  </a:lnTo>
                  <a:lnTo>
                    <a:pt x="755" y="62"/>
                  </a:lnTo>
                  <a:lnTo>
                    <a:pt x="754" y="62"/>
                  </a:lnTo>
                  <a:lnTo>
                    <a:pt x="750" y="63"/>
                  </a:lnTo>
                  <a:lnTo>
                    <a:pt x="749" y="63"/>
                  </a:lnTo>
                  <a:lnTo>
                    <a:pt x="748" y="63"/>
                  </a:lnTo>
                  <a:lnTo>
                    <a:pt x="747" y="63"/>
                  </a:lnTo>
                  <a:lnTo>
                    <a:pt x="748" y="63"/>
                  </a:lnTo>
                  <a:lnTo>
                    <a:pt x="746" y="62"/>
                  </a:lnTo>
                  <a:lnTo>
                    <a:pt x="743" y="62"/>
                  </a:lnTo>
                  <a:lnTo>
                    <a:pt x="743" y="60"/>
                  </a:lnTo>
                  <a:lnTo>
                    <a:pt x="742" y="60"/>
                  </a:lnTo>
                  <a:lnTo>
                    <a:pt x="743" y="60"/>
                  </a:lnTo>
                  <a:lnTo>
                    <a:pt x="743" y="59"/>
                  </a:lnTo>
                  <a:lnTo>
                    <a:pt x="745" y="59"/>
                  </a:lnTo>
                  <a:lnTo>
                    <a:pt x="745" y="58"/>
                  </a:lnTo>
                  <a:lnTo>
                    <a:pt x="746" y="58"/>
                  </a:lnTo>
                  <a:lnTo>
                    <a:pt x="747" y="58"/>
                  </a:lnTo>
                  <a:lnTo>
                    <a:pt x="748" y="57"/>
                  </a:lnTo>
                  <a:lnTo>
                    <a:pt x="749" y="57"/>
                  </a:lnTo>
                  <a:lnTo>
                    <a:pt x="752" y="58"/>
                  </a:lnTo>
                  <a:lnTo>
                    <a:pt x="754" y="58"/>
                  </a:lnTo>
                  <a:close/>
                  <a:moveTo>
                    <a:pt x="618" y="60"/>
                  </a:moveTo>
                  <a:lnTo>
                    <a:pt x="620" y="60"/>
                  </a:lnTo>
                  <a:lnTo>
                    <a:pt x="621" y="62"/>
                  </a:lnTo>
                  <a:lnTo>
                    <a:pt x="621" y="63"/>
                  </a:lnTo>
                  <a:lnTo>
                    <a:pt x="620" y="63"/>
                  </a:lnTo>
                  <a:lnTo>
                    <a:pt x="619" y="63"/>
                  </a:lnTo>
                  <a:lnTo>
                    <a:pt x="618" y="64"/>
                  </a:lnTo>
                  <a:lnTo>
                    <a:pt x="617" y="64"/>
                  </a:lnTo>
                  <a:lnTo>
                    <a:pt x="615" y="64"/>
                  </a:lnTo>
                  <a:lnTo>
                    <a:pt x="614" y="63"/>
                  </a:lnTo>
                  <a:lnTo>
                    <a:pt x="613" y="63"/>
                  </a:lnTo>
                  <a:lnTo>
                    <a:pt x="612" y="63"/>
                  </a:lnTo>
                  <a:lnTo>
                    <a:pt x="613" y="63"/>
                  </a:lnTo>
                  <a:lnTo>
                    <a:pt x="612" y="63"/>
                  </a:lnTo>
                  <a:lnTo>
                    <a:pt x="612" y="62"/>
                  </a:lnTo>
                  <a:lnTo>
                    <a:pt x="612" y="60"/>
                  </a:lnTo>
                  <a:lnTo>
                    <a:pt x="612" y="59"/>
                  </a:lnTo>
                  <a:lnTo>
                    <a:pt x="613" y="59"/>
                  </a:lnTo>
                  <a:lnTo>
                    <a:pt x="612" y="59"/>
                  </a:lnTo>
                  <a:lnTo>
                    <a:pt x="612" y="58"/>
                  </a:lnTo>
                  <a:lnTo>
                    <a:pt x="613" y="58"/>
                  </a:lnTo>
                  <a:lnTo>
                    <a:pt x="613" y="57"/>
                  </a:lnTo>
                  <a:lnTo>
                    <a:pt x="615" y="56"/>
                  </a:lnTo>
                  <a:lnTo>
                    <a:pt x="618" y="56"/>
                  </a:lnTo>
                  <a:lnTo>
                    <a:pt x="618" y="57"/>
                  </a:lnTo>
                  <a:lnTo>
                    <a:pt x="619" y="58"/>
                  </a:lnTo>
                  <a:lnTo>
                    <a:pt x="620" y="59"/>
                  </a:lnTo>
                  <a:lnTo>
                    <a:pt x="619" y="59"/>
                  </a:lnTo>
                  <a:lnTo>
                    <a:pt x="618" y="60"/>
                  </a:lnTo>
                  <a:close/>
                  <a:moveTo>
                    <a:pt x="710" y="56"/>
                  </a:moveTo>
                  <a:lnTo>
                    <a:pt x="710" y="57"/>
                  </a:lnTo>
                  <a:lnTo>
                    <a:pt x="710" y="56"/>
                  </a:lnTo>
                  <a:lnTo>
                    <a:pt x="711" y="56"/>
                  </a:lnTo>
                  <a:lnTo>
                    <a:pt x="712" y="56"/>
                  </a:lnTo>
                  <a:lnTo>
                    <a:pt x="713" y="56"/>
                  </a:lnTo>
                  <a:lnTo>
                    <a:pt x="714" y="56"/>
                  </a:lnTo>
                  <a:lnTo>
                    <a:pt x="717" y="56"/>
                  </a:lnTo>
                  <a:lnTo>
                    <a:pt x="719" y="56"/>
                  </a:lnTo>
                  <a:lnTo>
                    <a:pt x="720" y="56"/>
                  </a:lnTo>
                  <a:lnTo>
                    <a:pt x="721" y="56"/>
                  </a:lnTo>
                  <a:lnTo>
                    <a:pt x="722" y="56"/>
                  </a:lnTo>
                  <a:lnTo>
                    <a:pt x="722" y="57"/>
                  </a:lnTo>
                  <a:lnTo>
                    <a:pt x="722" y="56"/>
                  </a:lnTo>
                  <a:lnTo>
                    <a:pt x="724" y="57"/>
                  </a:lnTo>
                  <a:lnTo>
                    <a:pt x="724" y="56"/>
                  </a:lnTo>
                  <a:lnTo>
                    <a:pt x="725" y="56"/>
                  </a:lnTo>
                  <a:lnTo>
                    <a:pt x="726" y="56"/>
                  </a:lnTo>
                  <a:lnTo>
                    <a:pt x="727" y="56"/>
                  </a:lnTo>
                  <a:lnTo>
                    <a:pt x="727" y="57"/>
                  </a:lnTo>
                  <a:lnTo>
                    <a:pt x="728" y="57"/>
                  </a:lnTo>
                  <a:lnTo>
                    <a:pt x="729" y="57"/>
                  </a:lnTo>
                  <a:lnTo>
                    <a:pt x="727" y="57"/>
                  </a:lnTo>
                  <a:lnTo>
                    <a:pt x="726" y="58"/>
                  </a:lnTo>
                  <a:lnTo>
                    <a:pt x="724" y="58"/>
                  </a:lnTo>
                  <a:lnTo>
                    <a:pt x="724" y="59"/>
                  </a:lnTo>
                  <a:lnTo>
                    <a:pt x="722" y="59"/>
                  </a:lnTo>
                  <a:lnTo>
                    <a:pt x="721" y="60"/>
                  </a:lnTo>
                  <a:lnTo>
                    <a:pt x="721" y="59"/>
                  </a:lnTo>
                  <a:lnTo>
                    <a:pt x="720" y="59"/>
                  </a:lnTo>
                  <a:lnTo>
                    <a:pt x="719" y="59"/>
                  </a:lnTo>
                  <a:lnTo>
                    <a:pt x="720" y="59"/>
                  </a:lnTo>
                  <a:lnTo>
                    <a:pt x="720" y="60"/>
                  </a:lnTo>
                  <a:lnTo>
                    <a:pt x="719" y="60"/>
                  </a:lnTo>
                  <a:lnTo>
                    <a:pt x="719" y="59"/>
                  </a:lnTo>
                  <a:lnTo>
                    <a:pt x="718" y="60"/>
                  </a:lnTo>
                  <a:lnTo>
                    <a:pt x="718" y="59"/>
                  </a:lnTo>
                  <a:lnTo>
                    <a:pt x="719" y="59"/>
                  </a:lnTo>
                  <a:lnTo>
                    <a:pt x="718" y="59"/>
                  </a:lnTo>
                  <a:lnTo>
                    <a:pt x="717" y="59"/>
                  </a:lnTo>
                  <a:lnTo>
                    <a:pt x="715" y="59"/>
                  </a:lnTo>
                  <a:lnTo>
                    <a:pt x="712" y="59"/>
                  </a:lnTo>
                  <a:lnTo>
                    <a:pt x="707" y="59"/>
                  </a:lnTo>
                  <a:lnTo>
                    <a:pt x="704" y="59"/>
                  </a:lnTo>
                  <a:lnTo>
                    <a:pt x="700" y="59"/>
                  </a:lnTo>
                  <a:lnTo>
                    <a:pt x="699" y="59"/>
                  </a:lnTo>
                  <a:lnTo>
                    <a:pt x="700" y="59"/>
                  </a:lnTo>
                  <a:lnTo>
                    <a:pt x="699" y="58"/>
                  </a:lnTo>
                  <a:lnTo>
                    <a:pt x="700" y="58"/>
                  </a:lnTo>
                  <a:lnTo>
                    <a:pt x="700" y="57"/>
                  </a:lnTo>
                  <a:lnTo>
                    <a:pt x="701" y="57"/>
                  </a:lnTo>
                  <a:lnTo>
                    <a:pt x="703" y="57"/>
                  </a:lnTo>
                  <a:lnTo>
                    <a:pt x="704" y="57"/>
                  </a:lnTo>
                  <a:lnTo>
                    <a:pt x="705" y="56"/>
                  </a:lnTo>
                  <a:lnTo>
                    <a:pt x="707" y="56"/>
                  </a:lnTo>
                  <a:lnTo>
                    <a:pt x="710" y="56"/>
                  </a:lnTo>
                  <a:close/>
                  <a:moveTo>
                    <a:pt x="869" y="56"/>
                  </a:moveTo>
                  <a:lnTo>
                    <a:pt x="868" y="56"/>
                  </a:lnTo>
                  <a:lnTo>
                    <a:pt x="868" y="55"/>
                  </a:lnTo>
                  <a:lnTo>
                    <a:pt x="870" y="55"/>
                  </a:lnTo>
                  <a:lnTo>
                    <a:pt x="871" y="55"/>
                  </a:lnTo>
                  <a:lnTo>
                    <a:pt x="870" y="56"/>
                  </a:lnTo>
                  <a:lnTo>
                    <a:pt x="869" y="56"/>
                  </a:lnTo>
                  <a:close/>
                  <a:moveTo>
                    <a:pt x="660" y="56"/>
                  </a:moveTo>
                  <a:lnTo>
                    <a:pt x="658" y="57"/>
                  </a:lnTo>
                  <a:lnTo>
                    <a:pt x="657" y="57"/>
                  </a:lnTo>
                  <a:lnTo>
                    <a:pt x="656" y="57"/>
                  </a:lnTo>
                  <a:lnTo>
                    <a:pt x="655" y="57"/>
                  </a:lnTo>
                  <a:lnTo>
                    <a:pt x="654" y="57"/>
                  </a:lnTo>
                  <a:lnTo>
                    <a:pt x="653" y="57"/>
                  </a:lnTo>
                  <a:lnTo>
                    <a:pt x="650" y="57"/>
                  </a:lnTo>
                  <a:lnTo>
                    <a:pt x="648" y="57"/>
                  </a:lnTo>
                  <a:lnTo>
                    <a:pt x="647" y="57"/>
                  </a:lnTo>
                  <a:lnTo>
                    <a:pt x="646" y="57"/>
                  </a:lnTo>
                  <a:lnTo>
                    <a:pt x="646" y="56"/>
                  </a:lnTo>
                  <a:lnTo>
                    <a:pt x="647" y="56"/>
                  </a:lnTo>
                  <a:lnTo>
                    <a:pt x="646" y="56"/>
                  </a:lnTo>
                  <a:lnTo>
                    <a:pt x="647" y="56"/>
                  </a:lnTo>
                  <a:lnTo>
                    <a:pt x="647" y="55"/>
                  </a:lnTo>
                  <a:lnTo>
                    <a:pt x="648" y="55"/>
                  </a:lnTo>
                  <a:lnTo>
                    <a:pt x="651" y="55"/>
                  </a:lnTo>
                  <a:lnTo>
                    <a:pt x="654" y="55"/>
                  </a:lnTo>
                  <a:lnTo>
                    <a:pt x="655" y="55"/>
                  </a:lnTo>
                  <a:lnTo>
                    <a:pt x="658" y="56"/>
                  </a:lnTo>
                  <a:lnTo>
                    <a:pt x="660" y="56"/>
                  </a:lnTo>
                  <a:close/>
                  <a:moveTo>
                    <a:pt x="543" y="53"/>
                  </a:moveTo>
                  <a:lnTo>
                    <a:pt x="546" y="53"/>
                  </a:lnTo>
                  <a:lnTo>
                    <a:pt x="546" y="55"/>
                  </a:lnTo>
                  <a:lnTo>
                    <a:pt x="547" y="55"/>
                  </a:lnTo>
                  <a:lnTo>
                    <a:pt x="547" y="56"/>
                  </a:lnTo>
                  <a:lnTo>
                    <a:pt x="544" y="56"/>
                  </a:lnTo>
                  <a:lnTo>
                    <a:pt x="540" y="57"/>
                  </a:lnTo>
                  <a:lnTo>
                    <a:pt x="539" y="57"/>
                  </a:lnTo>
                  <a:lnTo>
                    <a:pt x="537" y="56"/>
                  </a:lnTo>
                  <a:lnTo>
                    <a:pt x="536" y="56"/>
                  </a:lnTo>
                  <a:lnTo>
                    <a:pt x="537" y="56"/>
                  </a:lnTo>
                  <a:lnTo>
                    <a:pt x="536" y="55"/>
                  </a:lnTo>
                  <a:lnTo>
                    <a:pt x="535" y="53"/>
                  </a:lnTo>
                  <a:lnTo>
                    <a:pt x="536" y="53"/>
                  </a:lnTo>
                  <a:lnTo>
                    <a:pt x="537" y="53"/>
                  </a:lnTo>
                  <a:lnTo>
                    <a:pt x="539" y="53"/>
                  </a:lnTo>
                  <a:lnTo>
                    <a:pt x="540" y="53"/>
                  </a:lnTo>
                  <a:lnTo>
                    <a:pt x="541" y="53"/>
                  </a:lnTo>
                  <a:lnTo>
                    <a:pt x="542" y="52"/>
                  </a:lnTo>
                  <a:lnTo>
                    <a:pt x="544" y="52"/>
                  </a:lnTo>
                  <a:lnTo>
                    <a:pt x="543" y="53"/>
                  </a:lnTo>
                  <a:lnTo>
                    <a:pt x="544" y="53"/>
                  </a:lnTo>
                  <a:lnTo>
                    <a:pt x="543" y="53"/>
                  </a:lnTo>
                  <a:close/>
                  <a:moveTo>
                    <a:pt x="586" y="52"/>
                  </a:moveTo>
                  <a:lnTo>
                    <a:pt x="586" y="53"/>
                  </a:lnTo>
                  <a:lnTo>
                    <a:pt x="585" y="53"/>
                  </a:lnTo>
                  <a:lnTo>
                    <a:pt x="584" y="53"/>
                  </a:lnTo>
                  <a:lnTo>
                    <a:pt x="583" y="53"/>
                  </a:lnTo>
                  <a:lnTo>
                    <a:pt x="580" y="55"/>
                  </a:lnTo>
                  <a:lnTo>
                    <a:pt x="579" y="55"/>
                  </a:lnTo>
                  <a:lnTo>
                    <a:pt x="578" y="55"/>
                  </a:lnTo>
                  <a:lnTo>
                    <a:pt x="576" y="55"/>
                  </a:lnTo>
                  <a:lnTo>
                    <a:pt x="572" y="55"/>
                  </a:lnTo>
                  <a:lnTo>
                    <a:pt x="571" y="55"/>
                  </a:lnTo>
                  <a:lnTo>
                    <a:pt x="571" y="56"/>
                  </a:lnTo>
                  <a:lnTo>
                    <a:pt x="572" y="56"/>
                  </a:lnTo>
                  <a:lnTo>
                    <a:pt x="571" y="56"/>
                  </a:lnTo>
                  <a:lnTo>
                    <a:pt x="575" y="56"/>
                  </a:lnTo>
                  <a:lnTo>
                    <a:pt x="576" y="56"/>
                  </a:lnTo>
                  <a:lnTo>
                    <a:pt x="577" y="56"/>
                  </a:lnTo>
                  <a:lnTo>
                    <a:pt x="577" y="57"/>
                  </a:lnTo>
                  <a:lnTo>
                    <a:pt x="576" y="57"/>
                  </a:lnTo>
                  <a:lnTo>
                    <a:pt x="576" y="58"/>
                  </a:lnTo>
                  <a:lnTo>
                    <a:pt x="575" y="58"/>
                  </a:lnTo>
                  <a:lnTo>
                    <a:pt x="573" y="58"/>
                  </a:lnTo>
                  <a:lnTo>
                    <a:pt x="575" y="58"/>
                  </a:lnTo>
                  <a:lnTo>
                    <a:pt x="573" y="58"/>
                  </a:lnTo>
                  <a:lnTo>
                    <a:pt x="573" y="59"/>
                  </a:lnTo>
                  <a:lnTo>
                    <a:pt x="572" y="59"/>
                  </a:lnTo>
                  <a:lnTo>
                    <a:pt x="568" y="59"/>
                  </a:lnTo>
                  <a:lnTo>
                    <a:pt x="567" y="59"/>
                  </a:lnTo>
                  <a:lnTo>
                    <a:pt x="565" y="60"/>
                  </a:lnTo>
                  <a:lnTo>
                    <a:pt x="564" y="60"/>
                  </a:lnTo>
                  <a:lnTo>
                    <a:pt x="562" y="60"/>
                  </a:lnTo>
                  <a:lnTo>
                    <a:pt x="560" y="60"/>
                  </a:lnTo>
                  <a:lnTo>
                    <a:pt x="555" y="60"/>
                  </a:lnTo>
                  <a:lnTo>
                    <a:pt x="554" y="62"/>
                  </a:lnTo>
                  <a:lnTo>
                    <a:pt x="553" y="62"/>
                  </a:lnTo>
                  <a:lnTo>
                    <a:pt x="549" y="60"/>
                  </a:lnTo>
                  <a:lnTo>
                    <a:pt x="550" y="59"/>
                  </a:lnTo>
                  <a:lnTo>
                    <a:pt x="549" y="59"/>
                  </a:lnTo>
                  <a:lnTo>
                    <a:pt x="548" y="59"/>
                  </a:lnTo>
                  <a:lnTo>
                    <a:pt x="547" y="59"/>
                  </a:lnTo>
                  <a:lnTo>
                    <a:pt x="546" y="59"/>
                  </a:lnTo>
                  <a:lnTo>
                    <a:pt x="546" y="58"/>
                  </a:lnTo>
                  <a:lnTo>
                    <a:pt x="547" y="58"/>
                  </a:lnTo>
                  <a:lnTo>
                    <a:pt x="548" y="58"/>
                  </a:lnTo>
                  <a:lnTo>
                    <a:pt x="548" y="57"/>
                  </a:lnTo>
                  <a:lnTo>
                    <a:pt x="549" y="57"/>
                  </a:lnTo>
                  <a:lnTo>
                    <a:pt x="549" y="56"/>
                  </a:lnTo>
                  <a:lnTo>
                    <a:pt x="550" y="55"/>
                  </a:lnTo>
                  <a:lnTo>
                    <a:pt x="551" y="55"/>
                  </a:lnTo>
                  <a:lnTo>
                    <a:pt x="553" y="55"/>
                  </a:lnTo>
                  <a:lnTo>
                    <a:pt x="554" y="55"/>
                  </a:lnTo>
                  <a:lnTo>
                    <a:pt x="555" y="55"/>
                  </a:lnTo>
                  <a:lnTo>
                    <a:pt x="558" y="53"/>
                  </a:lnTo>
                  <a:lnTo>
                    <a:pt x="562" y="53"/>
                  </a:lnTo>
                  <a:lnTo>
                    <a:pt x="563" y="53"/>
                  </a:lnTo>
                  <a:lnTo>
                    <a:pt x="564" y="53"/>
                  </a:lnTo>
                  <a:lnTo>
                    <a:pt x="565" y="53"/>
                  </a:lnTo>
                  <a:lnTo>
                    <a:pt x="567" y="52"/>
                  </a:lnTo>
                  <a:lnTo>
                    <a:pt x="567" y="53"/>
                  </a:lnTo>
                  <a:lnTo>
                    <a:pt x="568" y="53"/>
                  </a:lnTo>
                  <a:lnTo>
                    <a:pt x="568" y="52"/>
                  </a:lnTo>
                  <a:lnTo>
                    <a:pt x="569" y="52"/>
                  </a:lnTo>
                  <a:lnTo>
                    <a:pt x="571" y="52"/>
                  </a:lnTo>
                  <a:lnTo>
                    <a:pt x="572" y="52"/>
                  </a:lnTo>
                  <a:lnTo>
                    <a:pt x="575" y="52"/>
                  </a:lnTo>
                  <a:lnTo>
                    <a:pt x="576" y="52"/>
                  </a:lnTo>
                  <a:lnTo>
                    <a:pt x="577" y="52"/>
                  </a:lnTo>
                  <a:lnTo>
                    <a:pt x="580" y="52"/>
                  </a:lnTo>
                  <a:lnTo>
                    <a:pt x="584" y="52"/>
                  </a:lnTo>
                  <a:lnTo>
                    <a:pt x="586" y="52"/>
                  </a:lnTo>
                  <a:close/>
                  <a:moveTo>
                    <a:pt x="647" y="52"/>
                  </a:moveTo>
                  <a:lnTo>
                    <a:pt x="646" y="52"/>
                  </a:lnTo>
                  <a:lnTo>
                    <a:pt x="644" y="52"/>
                  </a:lnTo>
                  <a:lnTo>
                    <a:pt x="644" y="51"/>
                  </a:lnTo>
                  <a:lnTo>
                    <a:pt x="646" y="51"/>
                  </a:lnTo>
                  <a:lnTo>
                    <a:pt x="648" y="50"/>
                  </a:lnTo>
                  <a:lnTo>
                    <a:pt x="649" y="50"/>
                  </a:lnTo>
                  <a:lnTo>
                    <a:pt x="650" y="50"/>
                  </a:lnTo>
                  <a:lnTo>
                    <a:pt x="650" y="51"/>
                  </a:lnTo>
                  <a:lnTo>
                    <a:pt x="649" y="51"/>
                  </a:lnTo>
                  <a:lnTo>
                    <a:pt x="647" y="52"/>
                  </a:lnTo>
                  <a:close/>
                  <a:moveTo>
                    <a:pt x="784" y="48"/>
                  </a:moveTo>
                  <a:lnTo>
                    <a:pt x="784" y="49"/>
                  </a:lnTo>
                  <a:lnTo>
                    <a:pt x="783" y="49"/>
                  </a:lnTo>
                  <a:lnTo>
                    <a:pt x="782" y="50"/>
                  </a:lnTo>
                  <a:lnTo>
                    <a:pt x="781" y="50"/>
                  </a:lnTo>
                  <a:lnTo>
                    <a:pt x="779" y="51"/>
                  </a:lnTo>
                  <a:lnTo>
                    <a:pt x="779" y="50"/>
                  </a:lnTo>
                  <a:lnTo>
                    <a:pt x="781" y="50"/>
                  </a:lnTo>
                  <a:lnTo>
                    <a:pt x="781" y="49"/>
                  </a:lnTo>
                  <a:lnTo>
                    <a:pt x="782" y="49"/>
                  </a:lnTo>
                  <a:lnTo>
                    <a:pt x="783" y="49"/>
                  </a:lnTo>
                  <a:lnTo>
                    <a:pt x="784" y="49"/>
                  </a:lnTo>
                  <a:lnTo>
                    <a:pt x="784" y="48"/>
                  </a:lnTo>
                  <a:close/>
                  <a:moveTo>
                    <a:pt x="591" y="45"/>
                  </a:moveTo>
                  <a:lnTo>
                    <a:pt x="592" y="45"/>
                  </a:lnTo>
                  <a:lnTo>
                    <a:pt x="593" y="45"/>
                  </a:lnTo>
                  <a:lnTo>
                    <a:pt x="594" y="45"/>
                  </a:lnTo>
                  <a:lnTo>
                    <a:pt x="593" y="46"/>
                  </a:lnTo>
                  <a:lnTo>
                    <a:pt x="594" y="46"/>
                  </a:lnTo>
                  <a:lnTo>
                    <a:pt x="596" y="46"/>
                  </a:lnTo>
                  <a:lnTo>
                    <a:pt x="597" y="46"/>
                  </a:lnTo>
                  <a:lnTo>
                    <a:pt x="597" y="48"/>
                  </a:lnTo>
                  <a:lnTo>
                    <a:pt x="596" y="48"/>
                  </a:lnTo>
                  <a:lnTo>
                    <a:pt x="597" y="48"/>
                  </a:lnTo>
                  <a:lnTo>
                    <a:pt x="596" y="48"/>
                  </a:lnTo>
                  <a:lnTo>
                    <a:pt x="596" y="49"/>
                  </a:lnTo>
                  <a:lnTo>
                    <a:pt x="594" y="49"/>
                  </a:lnTo>
                  <a:lnTo>
                    <a:pt x="593" y="49"/>
                  </a:lnTo>
                  <a:lnTo>
                    <a:pt x="592" y="50"/>
                  </a:lnTo>
                  <a:lnTo>
                    <a:pt x="591" y="50"/>
                  </a:lnTo>
                  <a:lnTo>
                    <a:pt x="589" y="50"/>
                  </a:lnTo>
                  <a:lnTo>
                    <a:pt x="587" y="50"/>
                  </a:lnTo>
                  <a:lnTo>
                    <a:pt x="584" y="50"/>
                  </a:lnTo>
                  <a:lnTo>
                    <a:pt x="582" y="50"/>
                  </a:lnTo>
                  <a:lnTo>
                    <a:pt x="579" y="50"/>
                  </a:lnTo>
                  <a:lnTo>
                    <a:pt x="579" y="49"/>
                  </a:lnTo>
                  <a:lnTo>
                    <a:pt x="578" y="49"/>
                  </a:lnTo>
                  <a:lnTo>
                    <a:pt x="577" y="49"/>
                  </a:lnTo>
                  <a:lnTo>
                    <a:pt x="576" y="49"/>
                  </a:lnTo>
                  <a:lnTo>
                    <a:pt x="576" y="50"/>
                  </a:lnTo>
                  <a:lnTo>
                    <a:pt x="575" y="50"/>
                  </a:lnTo>
                  <a:lnTo>
                    <a:pt x="573" y="50"/>
                  </a:lnTo>
                  <a:lnTo>
                    <a:pt x="570" y="50"/>
                  </a:lnTo>
                  <a:lnTo>
                    <a:pt x="570" y="49"/>
                  </a:lnTo>
                  <a:lnTo>
                    <a:pt x="569" y="49"/>
                  </a:lnTo>
                  <a:lnTo>
                    <a:pt x="565" y="49"/>
                  </a:lnTo>
                  <a:lnTo>
                    <a:pt x="563" y="50"/>
                  </a:lnTo>
                  <a:lnTo>
                    <a:pt x="562" y="50"/>
                  </a:lnTo>
                  <a:lnTo>
                    <a:pt x="560" y="50"/>
                  </a:lnTo>
                  <a:lnTo>
                    <a:pt x="558" y="50"/>
                  </a:lnTo>
                  <a:lnTo>
                    <a:pt x="557" y="50"/>
                  </a:lnTo>
                  <a:lnTo>
                    <a:pt x="558" y="50"/>
                  </a:lnTo>
                  <a:lnTo>
                    <a:pt x="557" y="50"/>
                  </a:lnTo>
                  <a:lnTo>
                    <a:pt x="560" y="49"/>
                  </a:lnTo>
                  <a:lnTo>
                    <a:pt x="561" y="49"/>
                  </a:lnTo>
                  <a:lnTo>
                    <a:pt x="562" y="49"/>
                  </a:lnTo>
                  <a:lnTo>
                    <a:pt x="565" y="48"/>
                  </a:lnTo>
                  <a:lnTo>
                    <a:pt x="567" y="48"/>
                  </a:lnTo>
                  <a:lnTo>
                    <a:pt x="568" y="48"/>
                  </a:lnTo>
                  <a:lnTo>
                    <a:pt x="570" y="48"/>
                  </a:lnTo>
                  <a:lnTo>
                    <a:pt x="572" y="46"/>
                  </a:lnTo>
                  <a:lnTo>
                    <a:pt x="572" y="48"/>
                  </a:lnTo>
                  <a:lnTo>
                    <a:pt x="573" y="46"/>
                  </a:lnTo>
                  <a:lnTo>
                    <a:pt x="575" y="48"/>
                  </a:lnTo>
                  <a:lnTo>
                    <a:pt x="579" y="46"/>
                  </a:lnTo>
                  <a:lnTo>
                    <a:pt x="580" y="46"/>
                  </a:lnTo>
                  <a:lnTo>
                    <a:pt x="579" y="46"/>
                  </a:lnTo>
                  <a:lnTo>
                    <a:pt x="580" y="46"/>
                  </a:lnTo>
                  <a:lnTo>
                    <a:pt x="582" y="45"/>
                  </a:lnTo>
                  <a:lnTo>
                    <a:pt x="583" y="45"/>
                  </a:lnTo>
                  <a:lnTo>
                    <a:pt x="585" y="45"/>
                  </a:lnTo>
                  <a:lnTo>
                    <a:pt x="586" y="45"/>
                  </a:lnTo>
                  <a:lnTo>
                    <a:pt x="587" y="45"/>
                  </a:lnTo>
                  <a:lnTo>
                    <a:pt x="587" y="44"/>
                  </a:lnTo>
                  <a:lnTo>
                    <a:pt x="587" y="45"/>
                  </a:lnTo>
                  <a:lnTo>
                    <a:pt x="591" y="44"/>
                  </a:lnTo>
                  <a:lnTo>
                    <a:pt x="591" y="45"/>
                  </a:lnTo>
                  <a:close/>
                  <a:moveTo>
                    <a:pt x="910" y="45"/>
                  </a:moveTo>
                  <a:lnTo>
                    <a:pt x="906" y="45"/>
                  </a:lnTo>
                  <a:lnTo>
                    <a:pt x="907" y="45"/>
                  </a:lnTo>
                  <a:lnTo>
                    <a:pt x="907" y="44"/>
                  </a:lnTo>
                  <a:lnTo>
                    <a:pt x="909" y="44"/>
                  </a:lnTo>
                  <a:lnTo>
                    <a:pt x="910" y="44"/>
                  </a:lnTo>
                  <a:lnTo>
                    <a:pt x="911" y="45"/>
                  </a:lnTo>
                  <a:lnTo>
                    <a:pt x="910" y="45"/>
                  </a:lnTo>
                  <a:close/>
                  <a:moveTo>
                    <a:pt x="710" y="45"/>
                  </a:moveTo>
                  <a:lnTo>
                    <a:pt x="711" y="45"/>
                  </a:lnTo>
                  <a:lnTo>
                    <a:pt x="712" y="45"/>
                  </a:lnTo>
                  <a:lnTo>
                    <a:pt x="713" y="46"/>
                  </a:lnTo>
                  <a:lnTo>
                    <a:pt x="714" y="46"/>
                  </a:lnTo>
                  <a:lnTo>
                    <a:pt x="715" y="46"/>
                  </a:lnTo>
                  <a:lnTo>
                    <a:pt x="714" y="46"/>
                  </a:lnTo>
                  <a:lnTo>
                    <a:pt x="713" y="46"/>
                  </a:lnTo>
                  <a:lnTo>
                    <a:pt x="713" y="48"/>
                  </a:lnTo>
                  <a:lnTo>
                    <a:pt x="715" y="48"/>
                  </a:lnTo>
                  <a:lnTo>
                    <a:pt x="717" y="48"/>
                  </a:lnTo>
                  <a:lnTo>
                    <a:pt x="718" y="48"/>
                  </a:lnTo>
                  <a:lnTo>
                    <a:pt x="719" y="48"/>
                  </a:lnTo>
                  <a:lnTo>
                    <a:pt x="720" y="48"/>
                  </a:lnTo>
                  <a:lnTo>
                    <a:pt x="721" y="48"/>
                  </a:lnTo>
                  <a:lnTo>
                    <a:pt x="722" y="49"/>
                  </a:lnTo>
                  <a:lnTo>
                    <a:pt x="724" y="49"/>
                  </a:lnTo>
                  <a:lnTo>
                    <a:pt x="722" y="50"/>
                  </a:lnTo>
                  <a:lnTo>
                    <a:pt x="717" y="51"/>
                  </a:lnTo>
                  <a:lnTo>
                    <a:pt x="718" y="51"/>
                  </a:lnTo>
                  <a:lnTo>
                    <a:pt x="719" y="52"/>
                  </a:lnTo>
                  <a:lnTo>
                    <a:pt x="718" y="52"/>
                  </a:lnTo>
                  <a:lnTo>
                    <a:pt x="719" y="52"/>
                  </a:lnTo>
                  <a:lnTo>
                    <a:pt x="718" y="52"/>
                  </a:lnTo>
                  <a:lnTo>
                    <a:pt x="718" y="53"/>
                  </a:lnTo>
                  <a:lnTo>
                    <a:pt x="717" y="53"/>
                  </a:lnTo>
                  <a:lnTo>
                    <a:pt x="715" y="53"/>
                  </a:lnTo>
                  <a:lnTo>
                    <a:pt x="714" y="53"/>
                  </a:lnTo>
                  <a:lnTo>
                    <a:pt x="713" y="53"/>
                  </a:lnTo>
                  <a:lnTo>
                    <a:pt x="712" y="53"/>
                  </a:lnTo>
                  <a:lnTo>
                    <a:pt x="712" y="55"/>
                  </a:lnTo>
                  <a:lnTo>
                    <a:pt x="711" y="53"/>
                  </a:lnTo>
                  <a:lnTo>
                    <a:pt x="711" y="55"/>
                  </a:lnTo>
                  <a:lnTo>
                    <a:pt x="710" y="55"/>
                  </a:lnTo>
                  <a:lnTo>
                    <a:pt x="707" y="55"/>
                  </a:lnTo>
                  <a:lnTo>
                    <a:pt x="705" y="55"/>
                  </a:lnTo>
                  <a:lnTo>
                    <a:pt x="703" y="55"/>
                  </a:lnTo>
                  <a:lnTo>
                    <a:pt x="701" y="55"/>
                  </a:lnTo>
                  <a:lnTo>
                    <a:pt x="703" y="55"/>
                  </a:lnTo>
                  <a:lnTo>
                    <a:pt x="701" y="55"/>
                  </a:lnTo>
                  <a:lnTo>
                    <a:pt x="700" y="55"/>
                  </a:lnTo>
                  <a:lnTo>
                    <a:pt x="699" y="55"/>
                  </a:lnTo>
                  <a:lnTo>
                    <a:pt x="700" y="55"/>
                  </a:lnTo>
                  <a:lnTo>
                    <a:pt x="701" y="55"/>
                  </a:lnTo>
                  <a:lnTo>
                    <a:pt x="700" y="55"/>
                  </a:lnTo>
                  <a:lnTo>
                    <a:pt x="700" y="56"/>
                  </a:lnTo>
                  <a:lnTo>
                    <a:pt x="700" y="55"/>
                  </a:lnTo>
                  <a:lnTo>
                    <a:pt x="699" y="56"/>
                  </a:lnTo>
                  <a:lnTo>
                    <a:pt x="698" y="56"/>
                  </a:lnTo>
                  <a:lnTo>
                    <a:pt x="697" y="56"/>
                  </a:lnTo>
                  <a:lnTo>
                    <a:pt x="696" y="56"/>
                  </a:lnTo>
                  <a:lnTo>
                    <a:pt x="695" y="56"/>
                  </a:lnTo>
                  <a:lnTo>
                    <a:pt x="696" y="56"/>
                  </a:lnTo>
                  <a:lnTo>
                    <a:pt x="696" y="55"/>
                  </a:lnTo>
                  <a:lnTo>
                    <a:pt x="697" y="55"/>
                  </a:lnTo>
                  <a:lnTo>
                    <a:pt x="698" y="55"/>
                  </a:lnTo>
                  <a:lnTo>
                    <a:pt x="695" y="53"/>
                  </a:lnTo>
                  <a:lnTo>
                    <a:pt x="693" y="53"/>
                  </a:lnTo>
                  <a:lnTo>
                    <a:pt x="692" y="53"/>
                  </a:lnTo>
                  <a:lnTo>
                    <a:pt x="693" y="52"/>
                  </a:lnTo>
                  <a:lnTo>
                    <a:pt x="695" y="52"/>
                  </a:lnTo>
                  <a:lnTo>
                    <a:pt x="697" y="52"/>
                  </a:lnTo>
                  <a:lnTo>
                    <a:pt x="700" y="52"/>
                  </a:lnTo>
                  <a:lnTo>
                    <a:pt x="701" y="52"/>
                  </a:lnTo>
                  <a:lnTo>
                    <a:pt x="701" y="51"/>
                  </a:lnTo>
                  <a:lnTo>
                    <a:pt x="700" y="51"/>
                  </a:lnTo>
                  <a:lnTo>
                    <a:pt x="699" y="51"/>
                  </a:lnTo>
                  <a:lnTo>
                    <a:pt x="698" y="51"/>
                  </a:lnTo>
                  <a:lnTo>
                    <a:pt x="697" y="51"/>
                  </a:lnTo>
                  <a:lnTo>
                    <a:pt x="695" y="51"/>
                  </a:lnTo>
                  <a:lnTo>
                    <a:pt x="693" y="51"/>
                  </a:lnTo>
                  <a:lnTo>
                    <a:pt x="695" y="51"/>
                  </a:lnTo>
                  <a:lnTo>
                    <a:pt x="696" y="51"/>
                  </a:lnTo>
                  <a:lnTo>
                    <a:pt x="695" y="50"/>
                  </a:lnTo>
                  <a:lnTo>
                    <a:pt x="693" y="50"/>
                  </a:lnTo>
                  <a:lnTo>
                    <a:pt x="695" y="50"/>
                  </a:lnTo>
                  <a:lnTo>
                    <a:pt x="695" y="49"/>
                  </a:lnTo>
                  <a:lnTo>
                    <a:pt x="693" y="49"/>
                  </a:lnTo>
                  <a:lnTo>
                    <a:pt x="693" y="48"/>
                  </a:lnTo>
                  <a:lnTo>
                    <a:pt x="695" y="48"/>
                  </a:lnTo>
                  <a:lnTo>
                    <a:pt x="697" y="48"/>
                  </a:lnTo>
                  <a:lnTo>
                    <a:pt x="697" y="46"/>
                  </a:lnTo>
                  <a:lnTo>
                    <a:pt x="698" y="46"/>
                  </a:lnTo>
                  <a:lnTo>
                    <a:pt x="697" y="46"/>
                  </a:lnTo>
                  <a:lnTo>
                    <a:pt x="696" y="46"/>
                  </a:lnTo>
                  <a:lnTo>
                    <a:pt x="697" y="46"/>
                  </a:lnTo>
                  <a:lnTo>
                    <a:pt x="696" y="46"/>
                  </a:lnTo>
                  <a:lnTo>
                    <a:pt x="696" y="45"/>
                  </a:lnTo>
                  <a:lnTo>
                    <a:pt x="697" y="45"/>
                  </a:lnTo>
                  <a:lnTo>
                    <a:pt x="698" y="45"/>
                  </a:lnTo>
                  <a:lnTo>
                    <a:pt x="698" y="44"/>
                  </a:lnTo>
                  <a:lnTo>
                    <a:pt x="700" y="44"/>
                  </a:lnTo>
                  <a:lnTo>
                    <a:pt x="703" y="44"/>
                  </a:lnTo>
                  <a:lnTo>
                    <a:pt x="706" y="44"/>
                  </a:lnTo>
                  <a:lnTo>
                    <a:pt x="710" y="45"/>
                  </a:lnTo>
                  <a:close/>
                  <a:moveTo>
                    <a:pt x="660" y="38"/>
                  </a:moveTo>
                  <a:lnTo>
                    <a:pt x="662" y="38"/>
                  </a:lnTo>
                  <a:lnTo>
                    <a:pt x="663" y="38"/>
                  </a:lnTo>
                  <a:lnTo>
                    <a:pt x="664" y="39"/>
                  </a:lnTo>
                  <a:lnTo>
                    <a:pt x="663" y="39"/>
                  </a:lnTo>
                  <a:lnTo>
                    <a:pt x="664" y="39"/>
                  </a:lnTo>
                  <a:lnTo>
                    <a:pt x="664" y="41"/>
                  </a:lnTo>
                  <a:lnTo>
                    <a:pt x="665" y="41"/>
                  </a:lnTo>
                  <a:lnTo>
                    <a:pt x="664" y="41"/>
                  </a:lnTo>
                  <a:lnTo>
                    <a:pt x="664" y="42"/>
                  </a:lnTo>
                  <a:lnTo>
                    <a:pt x="663" y="42"/>
                  </a:lnTo>
                  <a:lnTo>
                    <a:pt x="662" y="42"/>
                  </a:lnTo>
                  <a:lnTo>
                    <a:pt x="661" y="43"/>
                  </a:lnTo>
                  <a:lnTo>
                    <a:pt x="662" y="43"/>
                  </a:lnTo>
                  <a:lnTo>
                    <a:pt x="663" y="43"/>
                  </a:lnTo>
                  <a:lnTo>
                    <a:pt x="662" y="43"/>
                  </a:lnTo>
                  <a:lnTo>
                    <a:pt x="663" y="43"/>
                  </a:lnTo>
                  <a:lnTo>
                    <a:pt x="664" y="43"/>
                  </a:lnTo>
                  <a:lnTo>
                    <a:pt x="665" y="43"/>
                  </a:lnTo>
                  <a:lnTo>
                    <a:pt x="665" y="42"/>
                  </a:lnTo>
                  <a:lnTo>
                    <a:pt x="667" y="42"/>
                  </a:lnTo>
                  <a:lnTo>
                    <a:pt x="669" y="42"/>
                  </a:lnTo>
                  <a:lnTo>
                    <a:pt x="670" y="41"/>
                  </a:lnTo>
                  <a:lnTo>
                    <a:pt x="671" y="41"/>
                  </a:lnTo>
                  <a:lnTo>
                    <a:pt x="674" y="41"/>
                  </a:lnTo>
                  <a:lnTo>
                    <a:pt x="674" y="42"/>
                  </a:lnTo>
                  <a:lnTo>
                    <a:pt x="675" y="42"/>
                  </a:lnTo>
                  <a:lnTo>
                    <a:pt x="676" y="43"/>
                  </a:lnTo>
                  <a:lnTo>
                    <a:pt x="676" y="42"/>
                  </a:lnTo>
                  <a:lnTo>
                    <a:pt x="677" y="43"/>
                  </a:lnTo>
                  <a:lnTo>
                    <a:pt x="676" y="43"/>
                  </a:lnTo>
                  <a:lnTo>
                    <a:pt x="675" y="43"/>
                  </a:lnTo>
                  <a:lnTo>
                    <a:pt x="674" y="44"/>
                  </a:lnTo>
                  <a:lnTo>
                    <a:pt x="675" y="44"/>
                  </a:lnTo>
                  <a:lnTo>
                    <a:pt x="676" y="44"/>
                  </a:lnTo>
                  <a:lnTo>
                    <a:pt x="677" y="44"/>
                  </a:lnTo>
                  <a:lnTo>
                    <a:pt x="678" y="44"/>
                  </a:lnTo>
                  <a:lnTo>
                    <a:pt x="679" y="44"/>
                  </a:lnTo>
                  <a:lnTo>
                    <a:pt x="681" y="44"/>
                  </a:lnTo>
                  <a:lnTo>
                    <a:pt x="683" y="45"/>
                  </a:lnTo>
                  <a:lnTo>
                    <a:pt x="681" y="45"/>
                  </a:lnTo>
                  <a:lnTo>
                    <a:pt x="681" y="46"/>
                  </a:lnTo>
                  <a:lnTo>
                    <a:pt x="682" y="46"/>
                  </a:lnTo>
                  <a:lnTo>
                    <a:pt x="683" y="46"/>
                  </a:lnTo>
                  <a:lnTo>
                    <a:pt x="684" y="46"/>
                  </a:lnTo>
                  <a:lnTo>
                    <a:pt x="683" y="46"/>
                  </a:lnTo>
                  <a:lnTo>
                    <a:pt x="683" y="48"/>
                  </a:lnTo>
                  <a:lnTo>
                    <a:pt x="682" y="48"/>
                  </a:lnTo>
                  <a:lnTo>
                    <a:pt x="679" y="48"/>
                  </a:lnTo>
                  <a:lnTo>
                    <a:pt x="679" y="49"/>
                  </a:lnTo>
                  <a:lnTo>
                    <a:pt x="678" y="50"/>
                  </a:lnTo>
                  <a:lnTo>
                    <a:pt x="679" y="50"/>
                  </a:lnTo>
                  <a:lnTo>
                    <a:pt x="681" y="50"/>
                  </a:lnTo>
                  <a:lnTo>
                    <a:pt x="679" y="51"/>
                  </a:lnTo>
                  <a:lnTo>
                    <a:pt x="681" y="51"/>
                  </a:lnTo>
                  <a:lnTo>
                    <a:pt x="682" y="52"/>
                  </a:lnTo>
                  <a:lnTo>
                    <a:pt x="682" y="53"/>
                  </a:lnTo>
                  <a:lnTo>
                    <a:pt x="681" y="53"/>
                  </a:lnTo>
                  <a:lnTo>
                    <a:pt x="679" y="53"/>
                  </a:lnTo>
                  <a:lnTo>
                    <a:pt x="679" y="55"/>
                  </a:lnTo>
                  <a:lnTo>
                    <a:pt x="678" y="55"/>
                  </a:lnTo>
                  <a:lnTo>
                    <a:pt x="679" y="55"/>
                  </a:lnTo>
                  <a:lnTo>
                    <a:pt x="678" y="55"/>
                  </a:lnTo>
                  <a:lnTo>
                    <a:pt x="677" y="55"/>
                  </a:lnTo>
                  <a:lnTo>
                    <a:pt x="677" y="56"/>
                  </a:lnTo>
                  <a:lnTo>
                    <a:pt x="674" y="56"/>
                  </a:lnTo>
                  <a:lnTo>
                    <a:pt x="671" y="56"/>
                  </a:lnTo>
                  <a:lnTo>
                    <a:pt x="670" y="56"/>
                  </a:lnTo>
                  <a:lnTo>
                    <a:pt x="669" y="56"/>
                  </a:lnTo>
                  <a:lnTo>
                    <a:pt x="668" y="56"/>
                  </a:lnTo>
                  <a:lnTo>
                    <a:pt x="667" y="56"/>
                  </a:lnTo>
                  <a:lnTo>
                    <a:pt x="665" y="56"/>
                  </a:lnTo>
                  <a:lnTo>
                    <a:pt x="664" y="55"/>
                  </a:lnTo>
                  <a:lnTo>
                    <a:pt x="664" y="53"/>
                  </a:lnTo>
                  <a:lnTo>
                    <a:pt x="665" y="52"/>
                  </a:lnTo>
                  <a:lnTo>
                    <a:pt x="667" y="52"/>
                  </a:lnTo>
                  <a:lnTo>
                    <a:pt x="665" y="52"/>
                  </a:lnTo>
                  <a:lnTo>
                    <a:pt x="664" y="52"/>
                  </a:lnTo>
                  <a:lnTo>
                    <a:pt x="664" y="51"/>
                  </a:lnTo>
                  <a:lnTo>
                    <a:pt x="665" y="51"/>
                  </a:lnTo>
                  <a:lnTo>
                    <a:pt x="663" y="51"/>
                  </a:lnTo>
                  <a:lnTo>
                    <a:pt x="662" y="51"/>
                  </a:lnTo>
                  <a:lnTo>
                    <a:pt x="660" y="50"/>
                  </a:lnTo>
                  <a:lnTo>
                    <a:pt x="656" y="50"/>
                  </a:lnTo>
                  <a:lnTo>
                    <a:pt x="653" y="51"/>
                  </a:lnTo>
                  <a:lnTo>
                    <a:pt x="651" y="50"/>
                  </a:lnTo>
                  <a:lnTo>
                    <a:pt x="650" y="50"/>
                  </a:lnTo>
                  <a:lnTo>
                    <a:pt x="651" y="50"/>
                  </a:lnTo>
                  <a:lnTo>
                    <a:pt x="654" y="49"/>
                  </a:lnTo>
                  <a:lnTo>
                    <a:pt x="653" y="49"/>
                  </a:lnTo>
                  <a:lnTo>
                    <a:pt x="650" y="49"/>
                  </a:lnTo>
                  <a:lnTo>
                    <a:pt x="647" y="50"/>
                  </a:lnTo>
                  <a:lnTo>
                    <a:pt x="646" y="50"/>
                  </a:lnTo>
                  <a:lnTo>
                    <a:pt x="643" y="50"/>
                  </a:lnTo>
                  <a:lnTo>
                    <a:pt x="641" y="50"/>
                  </a:lnTo>
                  <a:lnTo>
                    <a:pt x="640" y="51"/>
                  </a:lnTo>
                  <a:lnTo>
                    <a:pt x="637" y="50"/>
                  </a:lnTo>
                  <a:lnTo>
                    <a:pt x="636" y="50"/>
                  </a:lnTo>
                  <a:lnTo>
                    <a:pt x="635" y="50"/>
                  </a:lnTo>
                  <a:lnTo>
                    <a:pt x="634" y="50"/>
                  </a:lnTo>
                  <a:lnTo>
                    <a:pt x="634" y="49"/>
                  </a:lnTo>
                  <a:lnTo>
                    <a:pt x="634" y="48"/>
                  </a:lnTo>
                  <a:lnTo>
                    <a:pt x="635" y="48"/>
                  </a:lnTo>
                  <a:lnTo>
                    <a:pt x="636" y="46"/>
                  </a:lnTo>
                  <a:lnTo>
                    <a:pt x="637" y="46"/>
                  </a:lnTo>
                  <a:lnTo>
                    <a:pt x="639" y="46"/>
                  </a:lnTo>
                  <a:lnTo>
                    <a:pt x="641" y="46"/>
                  </a:lnTo>
                  <a:lnTo>
                    <a:pt x="643" y="48"/>
                  </a:lnTo>
                  <a:lnTo>
                    <a:pt x="647" y="48"/>
                  </a:lnTo>
                  <a:lnTo>
                    <a:pt x="648" y="48"/>
                  </a:lnTo>
                  <a:lnTo>
                    <a:pt x="649" y="48"/>
                  </a:lnTo>
                  <a:lnTo>
                    <a:pt x="649" y="46"/>
                  </a:lnTo>
                  <a:lnTo>
                    <a:pt x="650" y="46"/>
                  </a:lnTo>
                  <a:lnTo>
                    <a:pt x="648" y="46"/>
                  </a:lnTo>
                  <a:lnTo>
                    <a:pt x="646" y="46"/>
                  </a:lnTo>
                  <a:lnTo>
                    <a:pt x="646" y="45"/>
                  </a:lnTo>
                  <a:lnTo>
                    <a:pt x="647" y="45"/>
                  </a:lnTo>
                  <a:lnTo>
                    <a:pt x="650" y="45"/>
                  </a:lnTo>
                  <a:lnTo>
                    <a:pt x="651" y="45"/>
                  </a:lnTo>
                  <a:lnTo>
                    <a:pt x="653" y="45"/>
                  </a:lnTo>
                  <a:lnTo>
                    <a:pt x="654" y="45"/>
                  </a:lnTo>
                  <a:lnTo>
                    <a:pt x="653" y="45"/>
                  </a:lnTo>
                  <a:lnTo>
                    <a:pt x="653" y="44"/>
                  </a:lnTo>
                  <a:lnTo>
                    <a:pt x="651" y="44"/>
                  </a:lnTo>
                  <a:lnTo>
                    <a:pt x="651" y="45"/>
                  </a:lnTo>
                  <a:lnTo>
                    <a:pt x="650" y="45"/>
                  </a:lnTo>
                  <a:lnTo>
                    <a:pt x="651" y="44"/>
                  </a:lnTo>
                  <a:lnTo>
                    <a:pt x="650" y="44"/>
                  </a:lnTo>
                  <a:lnTo>
                    <a:pt x="649" y="45"/>
                  </a:lnTo>
                  <a:lnTo>
                    <a:pt x="649" y="44"/>
                  </a:lnTo>
                  <a:lnTo>
                    <a:pt x="650" y="44"/>
                  </a:lnTo>
                  <a:lnTo>
                    <a:pt x="649" y="44"/>
                  </a:lnTo>
                  <a:lnTo>
                    <a:pt x="648" y="44"/>
                  </a:lnTo>
                  <a:lnTo>
                    <a:pt x="647" y="44"/>
                  </a:lnTo>
                  <a:lnTo>
                    <a:pt x="646" y="44"/>
                  </a:lnTo>
                  <a:lnTo>
                    <a:pt x="647" y="44"/>
                  </a:lnTo>
                  <a:lnTo>
                    <a:pt x="650" y="43"/>
                  </a:lnTo>
                  <a:lnTo>
                    <a:pt x="651" y="43"/>
                  </a:lnTo>
                  <a:lnTo>
                    <a:pt x="650" y="43"/>
                  </a:lnTo>
                  <a:lnTo>
                    <a:pt x="650" y="42"/>
                  </a:lnTo>
                  <a:lnTo>
                    <a:pt x="649" y="42"/>
                  </a:lnTo>
                  <a:lnTo>
                    <a:pt x="648" y="42"/>
                  </a:lnTo>
                  <a:lnTo>
                    <a:pt x="648" y="43"/>
                  </a:lnTo>
                  <a:lnTo>
                    <a:pt x="648" y="42"/>
                  </a:lnTo>
                  <a:lnTo>
                    <a:pt x="647" y="42"/>
                  </a:lnTo>
                  <a:lnTo>
                    <a:pt x="647" y="43"/>
                  </a:lnTo>
                  <a:lnTo>
                    <a:pt x="646" y="43"/>
                  </a:lnTo>
                  <a:lnTo>
                    <a:pt x="644" y="43"/>
                  </a:lnTo>
                  <a:lnTo>
                    <a:pt x="642" y="44"/>
                  </a:lnTo>
                  <a:lnTo>
                    <a:pt x="641" y="44"/>
                  </a:lnTo>
                  <a:lnTo>
                    <a:pt x="640" y="44"/>
                  </a:lnTo>
                  <a:lnTo>
                    <a:pt x="642" y="43"/>
                  </a:lnTo>
                  <a:lnTo>
                    <a:pt x="643" y="43"/>
                  </a:lnTo>
                  <a:lnTo>
                    <a:pt x="644" y="42"/>
                  </a:lnTo>
                  <a:lnTo>
                    <a:pt x="646" y="42"/>
                  </a:lnTo>
                  <a:lnTo>
                    <a:pt x="643" y="42"/>
                  </a:lnTo>
                  <a:lnTo>
                    <a:pt x="639" y="42"/>
                  </a:lnTo>
                  <a:lnTo>
                    <a:pt x="637" y="42"/>
                  </a:lnTo>
                  <a:lnTo>
                    <a:pt x="639" y="41"/>
                  </a:lnTo>
                  <a:lnTo>
                    <a:pt x="640" y="41"/>
                  </a:lnTo>
                  <a:lnTo>
                    <a:pt x="640" y="39"/>
                  </a:lnTo>
                  <a:lnTo>
                    <a:pt x="641" y="39"/>
                  </a:lnTo>
                  <a:lnTo>
                    <a:pt x="642" y="39"/>
                  </a:lnTo>
                  <a:lnTo>
                    <a:pt x="642" y="38"/>
                  </a:lnTo>
                  <a:lnTo>
                    <a:pt x="643" y="38"/>
                  </a:lnTo>
                  <a:lnTo>
                    <a:pt x="644" y="38"/>
                  </a:lnTo>
                  <a:lnTo>
                    <a:pt x="646" y="38"/>
                  </a:lnTo>
                  <a:lnTo>
                    <a:pt x="650" y="38"/>
                  </a:lnTo>
                  <a:lnTo>
                    <a:pt x="655" y="38"/>
                  </a:lnTo>
                  <a:lnTo>
                    <a:pt x="660" y="38"/>
                  </a:lnTo>
                  <a:close/>
                  <a:moveTo>
                    <a:pt x="708" y="29"/>
                  </a:moveTo>
                  <a:lnTo>
                    <a:pt x="711" y="29"/>
                  </a:lnTo>
                  <a:lnTo>
                    <a:pt x="712" y="29"/>
                  </a:lnTo>
                  <a:lnTo>
                    <a:pt x="712" y="30"/>
                  </a:lnTo>
                  <a:lnTo>
                    <a:pt x="713" y="30"/>
                  </a:lnTo>
                  <a:lnTo>
                    <a:pt x="712" y="30"/>
                  </a:lnTo>
                  <a:lnTo>
                    <a:pt x="712" y="31"/>
                  </a:lnTo>
                  <a:lnTo>
                    <a:pt x="711" y="31"/>
                  </a:lnTo>
                  <a:lnTo>
                    <a:pt x="711" y="32"/>
                  </a:lnTo>
                  <a:lnTo>
                    <a:pt x="710" y="32"/>
                  </a:lnTo>
                  <a:lnTo>
                    <a:pt x="710" y="34"/>
                  </a:lnTo>
                  <a:lnTo>
                    <a:pt x="708" y="34"/>
                  </a:lnTo>
                  <a:lnTo>
                    <a:pt x="707" y="34"/>
                  </a:lnTo>
                  <a:lnTo>
                    <a:pt x="707" y="35"/>
                  </a:lnTo>
                  <a:lnTo>
                    <a:pt x="706" y="35"/>
                  </a:lnTo>
                  <a:lnTo>
                    <a:pt x="707" y="34"/>
                  </a:lnTo>
                  <a:lnTo>
                    <a:pt x="706" y="34"/>
                  </a:lnTo>
                  <a:lnTo>
                    <a:pt x="704" y="34"/>
                  </a:lnTo>
                  <a:lnTo>
                    <a:pt x="705" y="32"/>
                  </a:lnTo>
                  <a:lnTo>
                    <a:pt x="704" y="31"/>
                  </a:lnTo>
                  <a:lnTo>
                    <a:pt x="703" y="32"/>
                  </a:lnTo>
                  <a:lnTo>
                    <a:pt x="699" y="32"/>
                  </a:lnTo>
                  <a:lnTo>
                    <a:pt x="699" y="31"/>
                  </a:lnTo>
                  <a:lnTo>
                    <a:pt x="700" y="31"/>
                  </a:lnTo>
                  <a:lnTo>
                    <a:pt x="700" y="30"/>
                  </a:lnTo>
                  <a:lnTo>
                    <a:pt x="701" y="30"/>
                  </a:lnTo>
                  <a:lnTo>
                    <a:pt x="703" y="30"/>
                  </a:lnTo>
                  <a:lnTo>
                    <a:pt x="706" y="29"/>
                  </a:lnTo>
                  <a:lnTo>
                    <a:pt x="707" y="29"/>
                  </a:lnTo>
                  <a:lnTo>
                    <a:pt x="708" y="29"/>
                  </a:lnTo>
                  <a:close/>
                  <a:moveTo>
                    <a:pt x="750" y="23"/>
                  </a:moveTo>
                  <a:lnTo>
                    <a:pt x="753" y="23"/>
                  </a:lnTo>
                  <a:lnTo>
                    <a:pt x="754" y="23"/>
                  </a:lnTo>
                  <a:lnTo>
                    <a:pt x="754" y="24"/>
                  </a:lnTo>
                  <a:lnTo>
                    <a:pt x="752" y="24"/>
                  </a:lnTo>
                  <a:lnTo>
                    <a:pt x="749" y="24"/>
                  </a:lnTo>
                  <a:lnTo>
                    <a:pt x="748" y="24"/>
                  </a:lnTo>
                  <a:lnTo>
                    <a:pt x="747" y="24"/>
                  </a:lnTo>
                  <a:lnTo>
                    <a:pt x="745" y="24"/>
                  </a:lnTo>
                  <a:lnTo>
                    <a:pt x="745" y="23"/>
                  </a:lnTo>
                  <a:lnTo>
                    <a:pt x="746" y="23"/>
                  </a:lnTo>
                  <a:lnTo>
                    <a:pt x="748" y="23"/>
                  </a:lnTo>
                  <a:lnTo>
                    <a:pt x="749" y="23"/>
                  </a:lnTo>
                  <a:lnTo>
                    <a:pt x="750" y="23"/>
                  </a:lnTo>
                  <a:close/>
                  <a:moveTo>
                    <a:pt x="782" y="17"/>
                  </a:moveTo>
                  <a:lnTo>
                    <a:pt x="783" y="17"/>
                  </a:lnTo>
                  <a:lnTo>
                    <a:pt x="784" y="17"/>
                  </a:lnTo>
                  <a:lnTo>
                    <a:pt x="785" y="17"/>
                  </a:lnTo>
                  <a:lnTo>
                    <a:pt x="788" y="18"/>
                  </a:lnTo>
                  <a:lnTo>
                    <a:pt x="786" y="18"/>
                  </a:lnTo>
                  <a:lnTo>
                    <a:pt x="786" y="20"/>
                  </a:lnTo>
                  <a:lnTo>
                    <a:pt x="785" y="20"/>
                  </a:lnTo>
                  <a:lnTo>
                    <a:pt x="786" y="20"/>
                  </a:lnTo>
                  <a:lnTo>
                    <a:pt x="788" y="21"/>
                  </a:lnTo>
                  <a:lnTo>
                    <a:pt x="788" y="22"/>
                  </a:lnTo>
                  <a:lnTo>
                    <a:pt x="789" y="22"/>
                  </a:lnTo>
                  <a:lnTo>
                    <a:pt x="789" y="23"/>
                  </a:lnTo>
                  <a:lnTo>
                    <a:pt x="791" y="23"/>
                  </a:lnTo>
                  <a:lnTo>
                    <a:pt x="791" y="24"/>
                  </a:lnTo>
                  <a:lnTo>
                    <a:pt x="790" y="24"/>
                  </a:lnTo>
                  <a:lnTo>
                    <a:pt x="789" y="24"/>
                  </a:lnTo>
                  <a:lnTo>
                    <a:pt x="790" y="24"/>
                  </a:lnTo>
                  <a:lnTo>
                    <a:pt x="791" y="24"/>
                  </a:lnTo>
                  <a:lnTo>
                    <a:pt x="795" y="25"/>
                  </a:lnTo>
                  <a:lnTo>
                    <a:pt x="796" y="25"/>
                  </a:lnTo>
                  <a:lnTo>
                    <a:pt x="797" y="25"/>
                  </a:lnTo>
                  <a:lnTo>
                    <a:pt x="798" y="25"/>
                  </a:lnTo>
                  <a:lnTo>
                    <a:pt x="800" y="25"/>
                  </a:lnTo>
                  <a:lnTo>
                    <a:pt x="803" y="25"/>
                  </a:lnTo>
                  <a:lnTo>
                    <a:pt x="802" y="25"/>
                  </a:lnTo>
                  <a:lnTo>
                    <a:pt x="802" y="27"/>
                  </a:lnTo>
                  <a:lnTo>
                    <a:pt x="800" y="27"/>
                  </a:lnTo>
                  <a:lnTo>
                    <a:pt x="799" y="27"/>
                  </a:lnTo>
                  <a:lnTo>
                    <a:pt x="800" y="27"/>
                  </a:lnTo>
                  <a:lnTo>
                    <a:pt x="802" y="27"/>
                  </a:lnTo>
                  <a:lnTo>
                    <a:pt x="800" y="27"/>
                  </a:lnTo>
                  <a:lnTo>
                    <a:pt x="800" y="28"/>
                  </a:lnTo>
                  <a:lnTo>
                    <a:pt x="799" y="28"/>
                  </a:lnTo>
                  <a:lnTo>
                    <a:pt x="798" y="28"/>
                  </a:lnTo>
                  <a:lnTo>
                    <a:pt x="799" y="29"/>
                  </a:lnTo>
                  <a:lnTo>
                    <a:pt x="802" y="29"/>
                  </a:lnTo>
                  <a:lnTo>
                    <a:pt x="802" y="30"/>
                  </a:lnTo>
                  <a:lnTo>
                    <a:pt x="803" y="30"/>
                  </a:lnTo>
                  <a:lnTo>
                    <a:pt x="804" y="29"/>
                  </a:lnTo>
                  <a:lnTo>
                    <a:pt x="803" y="29"/>
                  </a:lnTo>
                  <a:lnTo>
                    <a:pt x="804" y="29"/>
                  </a:lnTo>
                  <a:lnTo>
                    <a:pt x="805" y="29"/>
                  </a:lnTo>
                  <a:lnTo>
                    <a:pt x="805" y="30"/>
                  </a:lnTo>
                  <a:lnTo>
                    <a:pt x="806" y="30"/>
                  </a:lnTo>
                  <a:lnTo>
                    <a:pt x="805" y="29"/>
                  </a:lnTo>
                  <a:lnTo>
                    <a:pt x="804" y="29"/>
                  </a:lnTo>
                  <a:lnTo>
                    <a:pt x="805" y="29"/>
                  </a:lnTo>
                  <a:lnTo>
                    <a:pt x="806" y="29"/>
                  </a:lnTo>
                  <a:lnTo>
                    <a:pt x="805" y="29"/>
                  </a:lnTo>
                  <a:lnTo>
                    <a:pt x="804" y="28"/>
                  </a:lnTo>
                  <a:lnTo>
                    <a:pt x="803" y="28"/>
                  </a:lnTo>
                  <a:lnTo>
                    <a:pt x="804" y="28"/>
                  </a:lnTo>
                  <a:lnTo>
                    <a:pt x="804" y="27"/>
                  </a:lnTo>
                  <a:lnTo>
                    <a:pt x="805" y="27"/>
                  </a:lnTo>
                  <a:lnTo>
                    <a:pt x="806" y="27"/>
                  </a:lnTo>
                  <a:lnTo>
                    <a:pt x="807" y="27"/>
                  </a:lnTo>
                  <a:lnTo>
                    <a:pt x="810" y="27"/>
                  </a:lnTo>
                  <a:lnTo>
                    <a:pt x="813" y="27"/>
                  </a:lnTo>
                  <a:lnTo>
                    <a:pt x="813" y="28"/>
                  </a:lnTo>
                  <a:lnTo>
                    <a:pt x="812" y="28"/>
                  </a:lnTo>
                  <a:lnTo>
                    <a:pt x="812" y="29"/>
                  </a:lnTo>
                  <a:lnTo>
                    <a:pt x="811" y="29"/>
                  </a:lnTo>
                  <a:lnTo>
                    <a:pt x="807" y="29"/>
                  </a:lnTo>
                  <a:lnTo>
                    <a:pt x="806" y="29"/>
                  </a:lnTo>
                  <a:lnTo>
                    <a:pt x="807" y="29"/>
                  </a:lnTo>
                  <a:lnTo>
                    <a:pt x="807" y="30"/>
                  </a:lnTo>
                  <a:lnTo>
                    <a:pt x="809" y="30"/>
                  </a:lnTo>
                  <a:lnTo>
                    <a:pt x="813" y="30"/>
                  </a:lnTo>
                  <a:lnTo>
                    <a:pt x="813" y="31"/>
                  </a:lnTo>
                  <a:lnTo>
                    <a:pt x="812" y="31"/>
                  </a:lnTo>
                  <a:lnTo>
                    <a:pt x="811" y="31"/>
                  </a:lnTo>
                  <a:lnTo>
                    <a:pt x="810" y="32"/>
                  </a:lnTo>
                  <a:lnTo>
                    <a:pt x="809" y="32"/>
                  </a:lnTo>
                  <a:lnTo>
                    <a:pt x="807" y="32"/>
                  </a:lnTo>
                  <a:lnTo>
                    <a:pt x="809" y="32"/>
                  </a:lnTo>
                  <a:lnTo>
                    <a:pt x="810" y="32"/>
                  </a:lnTo>
                  <a:lnTo>
                    <a:pt x="813" y="31"/>
                  </a:lnTo>
                  <a:lnTo>
                    <a:pt x="813" y="32"/>
                  </a:lnTo>
                  <a:lnTo>
                    <a:pt x="811" y="32"/>
                  </a:lnTo>
                  <a:lnTo>
                    <a:pt x="811" y="34"/>
                  </a:lnTo>
                  <a:lnTo>
                    <a:pt x="810" y="34"/>
                  </a:lnTo>
                  <a:lnTo>
                    <a:pt x="809" y="35"/>
                  </a:lnTo>
                  <a:lnTo>
                    <a:pt x="807" y="35"/>
                  </a:lnTo>
                  <a:lnTo>
                    <a:pt x="805" y="35"/>
                  </a:lnTo>
                  <a:lnTo>
                    <a:pt x="805" y="36"/>
                  </a:lnTo>
                  <a:lnTo>
                    <a:pt x="804" y="36"/>
                  </a:lnTo>
                  <a:lnTo>
                    <a:pt x="805" y="36"/>
                  </a:lnTo>
                  <a:lnTo>
                    <a:pt x="806" y="36"/>
                  </a:lnTo>
                  <a:lnTo>
                    <a:pt x="807" y="36"/>
                  </a:lnTo>
                  <a:lnTo>
                    <a:pt x="807" y="35"/>
                  </a:lnTo>
                  <a:lnTo>
                    <a:pt x="809" y="35"/>
                  </a:lnTo>
                  <a:lnTo>
                    <a:pt x="810" y="35"/>
                  </a:lnTo>
                  <a:lnTo>
                    <a:pt x="811" y="35"/>
                  </a:lnTo>
                  <a:lnTo>
                    <a:pt x="810" y="36"/>
                  </a:lnTo>
                  <a:lnTo>
                    <a:pt x="811" y="36"/>
                  </a:lnTo>
                  <a:lnTo>
                    <a:pt x="811" y="35"/>
                  </a:lnTo>
                  <a:lnTo>
                    <a:pt x="812" y="35"/>
                  </a:lnTo>
                  <a:lnTo>
                    <a:pt x="813" y="35"/>
                  </a:lnTo>
                  <a:lnTo>
                    <a:pt x="816" y="35"/>
                  </a:lnTo>
                  <a:lnTo>
                    <a:pt x="817" y="35"/>
                  </a:lnTo>
                  <a:lnTo>
                    <a:pt x="817" y="36"/>
                  </a:lnTo>
                  <a:lnTo>
                    <a:pt x="816" y="36"/>
                  </a:lnTo>
                  <a:lnTo>
                    <a:pt x="816" y="37"/>
                  </a:lnTo>
                  <a:lnTo>
                    <a:pt x="814" y="37"/>
                  </a:lnTo>
                  <a:lnTo>
                    <a:pt x="816" y="37"/>
                  </a:lnTo>
                  <a:lnTo>
                    <a:pt x="817" y="36"/>
                  </a:lnTo>
                  <a:lnTo>
                    <a:pt x="818" y="36"/>
                  </a:lnTo>
                  <a:lnTo>
                    <a:pt x="819" y="35"/>
                  </a:lnTo>
                  <a:lnTo>
                    <a:pt x="820" y="35"/>
                  </a:lnTo>
                  <a:lnTo>
                    <a:pt x="821" y="35"/>
                  </a:lnTo>
                  <a:lnTo>
                    <a:pt x="821" y="36"/>
                  </a:lnTo>
                  <a:lnTo>
                    <a:pt x="821" y="37"/>
                  </a:lnTo>
                  <a:lnTo>
                    <a:pt x="823" y="38"/>
                  </a:lnTo>
                  <a:lnTo>
                    <a:pt x="824" y="38"/>
                  </a:lnTo>
                  <a:lnTo>
                    <a:pt x="823" y="38"/>
                  </a:lnTo>
                  <a:lnTo>
                    <a:pt x="823" y="39"/>
                  </a:lnTo>
                  <a:lnTo>
                    <a:pt x="820" y="39"/>
                  </a:lnTo>
                  <a:lnTo>
                    <a:pt x="819" y="39"/>
                  </a:lnTo>
                  <a:lnTo>
                    <a:pt x="818" y="39"/>
                  </a:lnTo>
                  <a:lnTo>
                    <a:pt x="817" y="39"/>
                  </a:lnTo>
                  <a:lnTo>
                    <a:pt x="816" y="41"/>
                  </a:lnTo>
                  <a:lnTo>
                    <a:pt x="814" y="41"/>
                  </a:lnTo>
                  <a:lnTo>
                    <a:pt x="811" y="41"/>
                  </a:lnTo>
                  <a:lnTo>
                    <a:pt x="806" y="41"/>
                  </a:lnTo>
                  <a:lnTo>
                    <a:pt x="805" y="42"/>
                  </a:lnTo>
                  <a:lnTo>
                    <a:pt x="804" y="42"/>
                  </a:lnTo>
                  <a:lnTo>
                    <a:pt x="803" y="43"/>
                  </a:lnTo>
                  <a:lnTo>
                    <a:pt x="803" y="42"/>
                  </a:lnTo>
                  <a:lnTo>
                    <a:pt x="802" y="42"/>
                  </a:lnTo>
                  <a:lnTo>
                    <a:pt x="803" y="42"/>
                  </a:lnTo>
                  <a:lnTo>
                    <a:pt x="803" y="41"/>
                  </a:lnTo>
                  <a:lnTo>
                    <a:pt x="802" y="42"/>
                  </a:lnTo>
                  <a:lnTo>
                    <a:pt x="800" y="42"/>
                  </a:lnTo>
                  <a:lnTo>
                    <a:pt x="800" y="43"/>
                  </a:lnTo>
                  <a:lnTo>
                    <a:pt x="799" y="43"/>
                  </a:lnTo>
                  <a:lnTo>
                    <a:pt x="797" y="44"/>
                  </a:lnTo>
                  <a:lnTo>
                    <a:pt x="796" y="44"/>
                  </a:lnTo>
                  <a:lnTo>
                    <a:pt x="795" y="45"/>
                  </a:lnTo>
                  <a:lnTo>
                    <a:pt x="793" y="45"/>
                  </a:lnTo>
                  <a:lnTo>
                    <a:pt x="792" y="45"/>
                  </a:lnTo>
                  <a:lnTo>
                    <a:pt x="791" y="46"/>
                  </a:lnTo>
                  <a:lnTo>
                    <a:pt x="790" y="45"/>
                  </a:lnTo>
                  <a:lnTo>
                    <a:pt x="790" y="44"/>
                  </a:lnTo>
                  <a:lnTo>
                    <a:pt x="791" y="43"/>
                  </a:lnTo>
                  <a:lnTo>
                    <a:pt x="792" y="43"/>
                  </a:lnTo>
                  <a:lnTo>
                    <a:pt x="792" y="42"/>
                  </a:lnTo>
                  <a:lnTo>
                    <a:pt x="793" y="42"/>
                  </a:lnTo>
                  <a:lnTo>
                    <a:pt x="795" y="42"/>
                  </a:lnTo>
                  <a:lnTo>
                    <a:pt x="796" y="42"/>
                  </a:lnTo>
                  <a:lnTo>
                    <a:pt x="796" y="41"/>
                  </a:lnTo>
                  <a:lnTo>
                    <a:pt x="795" y="41"/>
                  </a:lnTo>
                  <a:lnTo>
                    <a:pt x="793" y="42"/>
                  </a:lnTo>
                  <a:lnTo>
                    <a:pt x="791" y="42"/>
                  </a:lnTo>
                  <a:lnTo>
                    <a:pt x="790" y="42"/>
                  </a:lnTo>
                  <a:lnTo>
                    <a:pt x="790" y="43"/>
                  </a:lnTo>
                  <a:lnTo>
                    <a:pt x="789" y="43"/>
                  </a:lnTo>
                  <a:lnTo>
                    <a:pt x="789" y="44"/>
                  </a:lnTo>
                  <a:lnTo>
                    <a:pt x="788" y="44"/>
                  </a:lnTo>
                  <a:lnTo>
                    <a:pt x="788" y="45"/>
                  </a:lnTo>
                  <a:lnTo>
                    <a:pt x="786" y="45"/>
                  </a:lnTo>
                  <a:lnTo>
                    <a:pt x="785" y="45"/>
                  </a:lnTo>
                  <a:lnTo>
                    <a:pt x="784" y="45"/>
                  </a:lnTo>
                  <a:lnTo>
                    <a:pt x="785" y="45"/>
                  </a:lnTo>
                  <a:lnTo>
                    <a:pt x="785" y="46"/>
                  </a:lnTo>
                  <a:lnTo>
                    <a:pt x="785" y="45"/>
                  </a:lnTo>
                  <a:lnTo>
                    <a:pt x="788" y="45"/>
                  </a:lnTo>
                  <a:lnTo>
                    <a:pt x="788" y="46"/>
                  </a:lnTo>
                  <a:lnTo>
                    <a:pt x="785" y="48"/>
                  </a:lnTo>
                  <a:lnTo>
                    <a:pt x="783" y="48"/>
                  </a:lnTo>
                  <a:lnTo>
                    <a:pt x="782" y="46"/>
                  </a:lnTo>
                  <a:lnTo>
                    <a:pt x="781" y="46"/>
                  </a:lnTo>
                  <a:lnTo>
                    <a:pt x="779" y="46"/>
                  </a:lnTo>
                  <a:lnTo>
                    <a:pt x="781" y="46"/>
                  </a:lnTo>
                  <a:lnTo>
                    <a:pt x="779" y="46"/>
                  </a:lnTo>
                  <a:lnTo>
                    <a:pt x="779" y="48"/>
                  </a:lnTo>
                  <a:lnTo>
                    <a:pt x="779" y="49"/>
                  </a:lnTo>
                  <a:lnTo>
                    <a:pt x="777" y="50"/>
                  </a:lnTo>
                  <a:lnTo>
                    <a:pt x="776" y="50"/>
                  </a:lnTo>
                  <a:lnTo>
                    <a:pt x="776" y="51"/>
                  </a:lnTo>
                  <a:lnTo>
                    <a:pt x="775" y="51"/>
                  </a:lnTo>
                  <a:lnTo>
                    <a:pt x="774" y="51"/>
                  </a:lnTo>
                  <a:lnTo>
                    <a:pt x="772" y="51"/>
                  </a:lnTo>
                  <a:lnTo>
                    <a:pt x="771" y="50"/>
                  </a:lnTo>
                  <a:lnTo>
                    <a:pt x="771" y="49"/>
                  </a:lnTo>
                  <a:lnTo>
                    <a:pt x="770" y="49"/>
                  </a:lnTo>
                  <a:lnTo>
                    <a:pt x="770" y="48"/>
                  </a:lnTo>
                  <a:lnTo>
                    <a:pt x="770" y="46"/>
                  </a:lnTo>
                  <a:lnTo>
                    <a:pt x="769" y="46"/>
                  </a:lnTo>
                  <a:lnTo>
                    <a:pt x="768" y="46"/>
                  </a:lnTo>
                  <a:lnTo>
                    <a:pt x="768" y="48"/>
                  </a:lnTo>
                  <a:lnTo>
                    <a:pt x="768" y="49"/>
                  </a:lnTo>
                  <a:lnTo>
                    <a:pt x="769" y="49"/>
                  </a:lnTo>
                  <a:lnTo>
                    <a:pt x="769" y="50"/>
                  </a:lnTo>
                  <a:lnTo>
                    <a:pt x="768" y="51"/>
                  </a:lnTo>
                  <a:lnTo>
                    <a:pt x="769" y="51"/>
                  </a:lnTo>
                  <a:lnTo>
                    <a:pt x="768" y="51"/>
                  </a:lnTo>
                  <a:lnTo>
                    <a:pt x="767" y="51"/>
                  </a:lnTo>
                  <a:lnTo>
                    <a:pt x="765" y="51"/>
                  </a:lnTo>
                  <a:lnTo>
                    <a:pt x="764" y="51"/>
                  </a:lnTo>
                  <a:lnTo>
                    <a:pt x="765" y="50"/>
                  </a:lnTo>
                  <a:lnTo>
                    <a:pt x="764" y="50"/>
                  </a:lnTo>
                  <a:lnTo>
                    <a:pt x="763" y="50"/>
                  </a:lnTo>
                  <a:lnTo>
                    <a:pt x="761" y="50"/>
                  </a:lnTo>
                  <a:lnTo>
                    <a:pt x="760" y="50"/>
                  </a:lnTo>
                  <a:lnTo>
                    <a:pt x="759" y="50"/>
                  </a:lnTo>
                  <a:lnTo>
                    <a:pt x="760" y="50"/>
                  </a:lnTo>
                  <a:lnTo>
                    <a:pt x="762" y="50"/>
                  </a:lnTo>
                  <a:lnTo>
                    <a:pt x="761" y="50"/>
                  </a:lnTo>
                  <a:lnTo>
                    <a:pt x="761" y="51"/>
                  </a:lnTo>
                  <a:lnTo>
                    <a:pt x="760" y="52"/>
                  </a:lnTo>
                  <a:lnTo>
                    <a:pt x="757" y="51"/>
                  </a:lnTo>
                  <a:lnTo>
                    <a:pt x="755" y="52"/>
                  </a:lnTo>
                  <a:lnTo>
                    <a:pt x="753" y="51"/>
                  </a:lnTo>
                  <a:lnTo>
                    <a:pt x="749" y="51"/>
                  </a:lnTo>
                  <a:lnTo>
                    <a:pt x="748" y="51"/>
                  </a:lnTo>
                  <a:lnTo>
                    <a:pt x="747" y="51"/>
                  </a:lnTo>
                  <a:lnTo>
                    <a:pt x="746" y="51"/>
                  </a:lnTo>
                  <a:lnTo>
                    <a:pt x="746" y="50"/>
                  </a:lnTo>
                  <a:lnTo>
                    <a:pt x="745" y="50"/>
                  </a:lnTo>
                  <a:lnTo>
                    <a:pt x="746" y="50"/>
                  </a:lnTo>
                  <a:lnTo>
                    <a:pt x="745" y="50"/>
                  </a:lnTo>
                  <a:lnTo>
                    <a:pt x="743" y="50"/>
                  </a:lnTo>
                  <a:lnTo>
                    <a:pt x="742" y="50"/>
                  </a:lnTo>
                  <a:lnTo>
                    <a:pt x="742" y="49"/>
                  </a:lnTo>
                  <a:lnTo>
                    <a:pt x="743" y="49"/>
                  </a:lnTo>
                  <a:lnTo>
                    <a:pt x="742" y="49"/>
                  </a:lnTo>
                  <a:lnTo>
                    <a:pt x="741" y="49"/>
                  </a:lnTo>
                  <a:lnTo>
                    <a:pt x="741" y="48"/>
                  </a:lnTo>
                  <a:lnTo>
                    <a:pt x="742" y="48"/>
                  </a:lnTo>
                  <a:lnTo>
                    <a:pt x="745" y="48"/>
                  </a:lnTo>
                  <a:lnTo>
                    <a:pt x="746" y="48"/>
                  </a:lnTo>
                  <a:lnTo>
                    <a:pt x="749" y="48"/>
                  </a:lnTo>
                  <a:lnTo>
                    <a:pt x="753" y="48"/>
                  </a:lnTo>
                  <a:lnTo>
                    <a:pt x="754" y="48"/>
                  </a:lnTo>
                  <a:lnTo>
                    <a:pt x="754" y="46"/>
                  </a:lnTo>
                  <a:lnTo>
                    <a:pt x="749" y="46"/>
                  </a:lnTo>
                  <a:lnTo>
                    <a:pt x="746" y="46"/>
                  </a:lnTo>
                  <a:lnTo>
                    <a:pt x="745" y="46"/>
                  </a:lnTo>
                  <a:lnTo>
                    <a:pt x="743" y="46"/>
                  </a:lnTo>
                  <a:lnTo>
                    <a:pt x="741" y="46"/>
                  </a:lnTo>
                  <a:lnTo>
                    <a:pt x="740" y="46"/>
                  </a:lnTo>
                  <a:lnTo>
                    <a:pt x="739" y="46"/>
                  </a:lnTo>
                  <a:lnTo>
                    <a:pt x="739" y="45"/>
                  </a:lnTo>
                  <a:lnTo>
                    <a:pt x="740" y="45"/>
                  </a:lnTo>
                  <a:lnTo>
                    <a:pt x="741" y="45"/>
                  </a:lnTo>
                  <a:lnTo>
                    <a:pt x="739" y="45"/>
                  </a:lnTo>
                  <a:lnTo>
                    <a:pt x="738" y="45"/>
                  </a:lnTo>
                  <a:lnTo>
                    <a:pt x="738" y="44"/>
                  </a:lnTo>
                  <a:lnTo>
                    <a:pt x="739" y="44"/>
                  </a:lnTo>
                  <a:lnTo>
                    <a:pt x="740" y="44"/>
                  </a:lnTo>
                  <a:lnTo>
                    <a:pt x="743" y="45"/>
                  </a:lnTo>
                  <a:lnTo>
                    <a:pt x="745" y="45"/>
                  </a:lnTo>
                  <a:lnTo>
                    <a:pt x="745" y="44"/>
                  </a:lnTo>
                  <a:lnTo>
                    <a:pt x="742" y="44"/>
                  </a:lnTo>
                  <a:lnTo>
                    <a:pt x="741" y="44"/>
                  </a:lnTo>
                  <a:lnTo>
                    <a:pt x="739" y="44"/>
                  </a:lnTo>
                  <a:lnTo>
                    <a:pt x="738" y="44"/>
                  </a:lnTo>
                  <a:lnTo>
                    <a:pt x="738" y="43"/>
                  </a:lnTo>
                  <a:lnTo>
                    <a:pt x="736" y="42"/>
                  </a:lnTo>
                  <a:lnTo>
                    <a:pt x="738" y="42"/>
                  </a:lnTo>
                  <a:lnTo>
                    <a:pt x="740" y="42"/>
                  </a:lnTo>
                  <a:lnTo>
                    <a:pt x="741" y="42"/>
                  </a:lnTo>
                  <a:lnTo>
                    <a:pt x="742" y="42"/>
                  </a:lnTo>
                  <a:lnTo>
                    <a:pt x="743" y="42"/>
                  </a:lnTo>
                  <a:lnTo>
                    <a:pt x="745" y="41"/>
                  </a:lnTo>
                  <a:lnTo>
                    <a:pt x="746" y="41"/>
                  </a:lnTo>
                  <a:lnTo>
                    <a:pt x="747" y="41"/>
                  </a:lnTo>
                  <a:lnTo>
                    <a:pt x="747" y="39"/>
                  </a:lnTo>
                  <a:lnTo>
                    <a:pt x="748" y="39"/>
                  </a:lnTo>
                  <a:lnTo>
                    <a:pt x="749" y="41"/>
                  </a:lnTo>
                  <a:lnTo>
                    <a:pt x="750" y="41"/>
                  </a:lnTo>
                  <a:lnTo>
                    <a:pt x="752" y="41"/>
                  </a:lnTo>
                  <a:lnTo>
                    <a:pt x="753" y="41"/>
                  </a:lnTo>
                  <a:lnTo>
                    <a:pt x="755" y="39"/>
                  </a:lnTo>
                  <a:lnTo>
                    <a:pt x="756" y="41"/>
                  </a:lnTo>
                  <a:lnTo>
                    <a:pt x="761" y="41"/>
                  </a:lnTo>
                  <a:lnTo>
                    <a:pt x="763" y="39"/>
                  </a:lnTo>
                  <a:lnTo>
                    <a:pt x="765" y="39"/>
                  </a:lnTo>
                  <a:lnTo>
                    <a:pt x="767" y="39"/>
                  </a:lnTo>
                  <a:lnTo>
                    <a:pt x="769" y="39"/>
                  </a:lnTo>
                  <a:lnTo>
                    <a:pt x="771" y="39"/>
                  </a:lnTo>
                  <a:lnTo>
                    <a:pt x="772" y="39"/>
                  </a:lnTo>
                  <a:lnTo>
                    <a:pt x="775" y="39"/>
                  </a:lnTo>
                  <a:lnTo>
                    <a:pt x="771" y="39"/>
                  </a:lnTo>
                  <a:lnTo>
                    <a:pt x="769" y="39"/>
                  </a:lnTo>
                  <a:lnTo>
                    <a:pt x="765" y="39"/>
                  </a:lnTo>
                  <a:lnTo>
                    <a:pt x="762" y="39"/>
                  </a:lnTo>
                  <a:lnTo>
                    <a:pt x="761" y="39"/>
                  </a:lnTo>
                  <a:lnTo>
                    <a:pt x="760" y="39"/>
                  </a:lnTo>
                  <a:lnTo>
                    <a:pt x="757" y="39"/>
                  </a:lnTo>
                  <a:lnTo>
                    <a:pt x="755" y="39"/>
                  </a:lnTo>
                  <a:lnTo>
                    <a:pt x="755" y="38"/>
                  </a:lnTo>
                  <a:lnTo>
                    <a:pt x="756" y="38"/>
                  </a:lnTo>
                  <a:lnTo>
                    <a:pt x="760" y="38"/>
                  </a:lnTo>
                  <a:lnTo>
                    <a:pt x="761" y="38"/>
                  </a:lnTo>
                  <a:lnTo>
                    <a:pt x="762" y="38"/>
                  </a:lnTo>
                  <a:lnTo>
                    <a:pt x="763" y="38"/>
                  </a:lnTo>
                  <a:lnTo>
                    <a:pt x="764" y="38"/>
                  </a:lnTo>
                  <a:lnTo>
                    <a:pt x="767" y="38"/>
                  </a:lnTo>
                  <a:lnTo>
                    <a:pt x="769" y="38"/>
                  </a:lnTo>
                  <a:lnTo>
                    <a:pt x="770" y="38"/>
                  </a:lnTo>
                  <a:lnTo>
                    <a:pt x="770" y="37"/>
                  </a:lnTo>
                  <a:lnTo>
                    <a:pt x="768" y="37"/>
                  </a:lnTo>
                  <a:lnTo>
                    <a:pt x="767" y="37"/>
                  </a:lnTo>
                  <a:lnTo>
                    <a:pt x="764" y="38"/>
                  </a:lnTo>
                  <a:lnTo>
                    <a:pt x="763" y="38"/>
                  </a:lnTo>
                  <a:lnTo>
                    <a:pt x="762" y="38"/>
                  </a:lnTo>
                  <a:lnTo>
                    <a:pt x="761" y="38"/>
                  </a:lnTo>
                  <a:lnTo>
                    <a:pt x="759" y="38"/>
                  </a:lnTo>
                  <a:lnTo>
                    <a:pt x="757" y="38"/>
                  </a:lnTo>
                  <a:lnTo>
                    <a:pt x="757" y="37"/>
                  </a:lnTo>
                  <a:lnTo>
                    <a:pt x="759" y="37"/>
                  </a:lnTo>
                  <a:lnTo>
                    <a:pt x="760" y="37"/>
                  </a:lnTo>
                  <a:lnTo>
                    <a:pt x="761" y="37"/>
                  </a:lnTo>
                  <a:lnTo>
                    <a:pt x="759" y="37"/>
                  </a:lnTo>
                  <a:lnTo>
                    <a:pt x="755" y="37"/>
                  </a:lnTo>
                  <a:lnTo>
                    <a:pt x="755" y="36"/>
                  </a:lnTo>
                  <a:lnTo>
                    <a:pt x="754" y="36"/>
                  </a:lnTo>
                  <a:lnTo>
                    <a:pt x="754" y="37"/>
                  </a:lnTo>
                  <a:lnTo>
                    <a:pt x="753" y="38"/>
                  </a:lnTo>
                  <a:lnTo>
                    <a:pt x="749" y="38"/>
                  </a:lnTo>
                  <a:lnTo>
                    <a:pt x="750" y="38"/>
                  </a:lnTo>
                  <a:lnTo>
                    <a:pt x="750" y="37"/>
                  </a:lnTo>
                  <a:lnTo>
                    <a:pt x="752" y="37"/>
                  </a:lnTo>
                  <a:lnTo>
                    <a:pt x="753" y="37"/>
                  </a:lnTo>
                  <a:lnTo>
                    <a:pt x="752" y="37"/>
                  </a:lnTo>
                  <a:lnTo>
                    <a:pt x="750" y="37"/>
                  </a:lnTo>
                  <a:lnTo>
                    <a:pt x="749" y="37"/>
                  </a:lnTo>
                  <a:lnTo>
                    <a:pt x="749" y="38"/>
                  </a:lnTo>
                  <a:lnTo>
                    <a:pt x="748" y="38"/>
                  </a:lnTo>
                  <a:lnTo>
                    <a:pt x="747" y="38"/>
                  </a:lnTo>
                  <a:lnTo>
                    <a:pt x="746" y="38"/>
                  </a:lnTo>
                  <a:lnTo>
                    <a:pt x="743" y="39"/>
                  </a:lnTo>
                  <a:lnTo>
                    <a:pt x="742" y="39"/>
                  </a:lnTo>
                  <a:lnTo>
                    <a:pt x="742" y="38"/>
                  </a:lnTo>
                  <a:lnTo>
                    <a:pt x="741" y="38"/>
                  </a:lnTo>
                  <a:lnTo>
                    <a:pt x="742" y="38"/>
                  </a:lnTo>
                  <a:lnTo>
                    <a:pt x="743" y="38"/>
                  </a:lnTo>
                  <a:lnTo>
                    <a:pt x="745" y="37"/>
                  </a:lnTo>
                  <a:lnTo>
                    <a:pt x="746" y="37"/>
                  </a:lnTo>
                  <a:lnTo>
                    <a:pt x="747" y="37"/>
                  </a:lnTo>
                  <a:lnTo>
                    <a:pt x="745" y="37"/>
                  </a:lnTo>
                  <a:lnTo>
                    <a:pt x="741" y="37"/>
                  </a:lnTo>
                  <a:lnTo>
                    <a:pt x="740" y="37"/>
                  </a:lnTo>
                  <a:lnTo>
                    <a:pt x="741" y="37"/>
                  </a:lnTo>
                  <a:lnTo>
                    <a:pt x="741" y="38"/>
                  </a:lnTo>
                  <a:lnTo>
                    <a:pt x="740" y="38"/>
                  </a:lnTo>
                  <a:lnTo>
                    <a:pt x="735" y="38"/>
                  </a:lnTo>
                  <a:lnTo>
                    <a:pt x="734" y="38"/>
                  </a:lnTo>
                  <a:lnTo>
                    <a:pt x="734" y="39"/>
                  </a:lnTo>
                  <a:lnTo>
                    <a:pt x="734" y="38"/>
                  </a:lnTo>
                  <a:lnTo>
                    <a:pt x="733" y="38"/>
                  </a:lnTo>
                  <a:lnTo>
                    <a:pt x="734" y="38"/>
                  </a:lnTo>
                  <a:lnTo>
                    <a:pt x="733" y="38"/>
                  </a:lnTo>
                  <a:lnTo>
                    <a:pt x="734" y="37"/>
                  </a:lnTo>
                  <a:lnTo>
                    <a:pt x="733" y="37"/>
                  </a:lnTo>
                  <a:lnTo>
                    <a:pt x="734" y="37"/>
                  </a:lnTo>
                  <a:lnTo>
                    <a:pt x="733" y="37"/>
                  </a:lnTo>
                  <a:lnTo>
                    <a:pt x="732" y="37"/>
                  </a:lnTo>
                  <a:lnTo>
                    <a:pt x="731" y="37"/>
                  </a:lnTo>
                  <a:lnTo>
                    <a:pt x="729" y="37"/>
                  </a:lnTo>
                  <a:lnTo>
                    <a:pt x="731" y="37"/>
                  </a:lnTo>
                  <a:lnTo>
                    <a:pt x="729" y="37"/>
                  </a:lnTo>
                  <a:lnTo>
                    <a:pt x="731" y="37"/>
                  </a:lnTo>
                  <a:lnTo>
                    <a:pt x="731" y="36"/>
                  </a:lnTo>
                  <a:lnTo>
                    <a:pt x="732" y="36"/>
                  </a:lnTo>
                  <a:lnTo>
                    <a:pt x="733" y="36"/>
                  </a:lnTo>
                  <a:lnTo>
                    <a:pt x="738" y="35"/>
                  </a:lnTo>
                  <a:lnTo>
                    <a:pt x="742" y="35"/>
                  </a:lnTo>
                  <a:lnTo>
                    <a:pt x="743" y="35"/>
                  </a:lnTo>
                  <a:lnTo>
                    <a:pt x="746" y="34"/>
                  </a:lnTo>
                  <a:lnTo>
                    <a:pt x="747" y="34"/>
                  </a:lnTo>
                  <a:lnTo>
                    <a:pt x="748" y="34"/>
                  </a:lnTo>
                  <a:lnTo>
                    <a:pt x="747" y="34"/>
                  </a:lnTo>
                  <a:lnTo>
                    <a:pt x="745" y="34"/>
                  </a:lnTo>
                  <a:lnTo>
                    <a:pt x="743" y="34"/>
                  </a:lnTo>
                  <a:lnTo>
                    <a:pt x="742" y="35"/>
                  </a:lnTo>
                  <a:lnTo>
                    <a:pt x="739" y="35"/>
                  </a:lnTo>
                  <a:lnTo>
                    <a:pt x="735" y="35"/>
                  </a:lnTo>
                  <a:lnTo>
                    <a:pt x="733" y="35"/>
                  </a:lnTo>
                  <a:lnTo>
                    <a:pt x="732" y="34"/>
                  </a:lnTo>
                  <a:lnTo>
                    <a:pt x="731" y="34"/>
                  </a:lnTo>
                  <a:lnTo>
                    <a:pt x="731" y="32"/>
                  </a:lnTo>
                  <a:lnTo>
                    <a:pt x="729" y="32"/>
                  </a:lnTo>
                  <a:lnTo>
                    <a:pt x="731" y="32"/>
                  </a:lnTo>
                  <a:lnTo>
                    <a:pt x="729" y="32"/>
                  </a:lnTo>
                  <a:lnTo>
                    <a:pt x="729" y="31"/>
                  </a:lnTo>
                  <a:lnTo>
                    <a:pt x="731" y="31"/>
                  </a:lnTo>
                  <a:lnTo>
                    <a:pt x="732" y="31"/>
                  </a:lnTo>
                  <a:lnTo>
                    <a:pt x="732" y="32"/>
                  </a:lnTo>
                  <a:lnTo>
                    <a:pt x="732" y="31"/>
                  </a:lnTo>
                  <a:lnTo>
                    <a:pt x="733" y="31"/>
                  </a:lnTo>
                  <a:lnTo>
                    <a:pt x="734" y="31"/>
                  </a:lnTo>
                  <a:lnTo>
                    <a:pt x="731" y="31"/>
                  </a:lnTo>
                  <a:lnTo>
                    <a:pt x="731" y="30"/>
                  </a:lnTo>
                  <a:lnTo>
                    <a:pt x="734" y="30"/>
                  </a:lnTo>
                  <a:lnTo>
                    <a:pt x="732" y="30"/>
                  </a:lnTo>
                  <a:lnTo>
                    <a:pt x="731" y="30"/>
                  </a:lnTo>
                  <a:lnTo>
                    <a:pt x="732" y="29"/>
                  </a:lnTo>
                  <a:lnTo>
                    <a:pt x="735" y="29"/>
                  </a:lnTo>
                  <a:lnTo>
                    <a:pt x="738" y="30"/>
                  </a:lnTo>
                  <a:lnTo>
                    <a:pt x="740" y="30"/>
                  </a:lnTo>
                  <a:lnTo>
                    <a:pt x="741" y="30"/>
                  </a:lnTo>
                  <a:lnTo>
                    <a:pt x="745" y="30"/>
                  </a:lnTo>
                  <a:lnTo>
                    <a:pt x="746" y="30"/>
                  </a:lnTo>
                  <a:lnTo>
                    <a:pt x="747" y="30"/>
                  </a:lnTo>
                  <a:lnTo>
                    <a:pt x="749" y="31"/>
                  </a:lnTo>
                  <a:lnTo>
                    <a:pt x="750" y="31"/>
                  </a:lnTo>
                  <a:lnTo>
                    <a:pt x="750" y="30"/>
                  </a:lnTo>
                  <a:lnTo>
                    <a:pt x="749" y="30"/>
                  </a:lnTo>
                  <a:lnTo>
                    <a:pt x="748" y="30"/>
                  </a:lnTo>
                  <a:lnTo>
                    <a:pt x="752" y="29"/>
                  </a:lnTo>
                  <a:lnTo>
                    <a:pt x="755" y="29"/>
                  </a:lnTo>
                  <a:lnTo>
                    <a:pt x="753" y="29"/>
                  </a:lnTo>
                  <a:lnTo>
                    <a:pt x="753" y="28"/>
                  </a:lnTo>
                  <a:lnTo>
                    <a:pt x="752" y="28"/>
                  </a:lnTo>
                  <a:lnTo>
                    <a:pt x="750" y="29"/>
                  </a:lnTo>
                  <a:lnTo>
                    <a:pt x="747" y="29"/>
                  </a:lnTo>
                  <a:lnTo>
                    <a:pt x="743" y="29"/>
                  </a:lnTo>
                  <a:lnTo>
                    <a:pt x="742" y="29"/>
                  </a:lnTo>
                  <a:lnTo>
                    <a:pt x="741" y="29"/>
                  </a:lnTo>
                  <a:lnTo>
                    <a:pt x="742" y="29"/>
                  </a:lnTo>
                  <a:lnTo>
                    <a:pt x="743" y="29"/>
                  </a:lnTo>
                  <a:lnTo>
                    <a:pt x="745" y="29"/>
                  </a:lnTo>
                  <a:lnTo>
                    <a:pt x="746" y="28"/>
                  </a:lnTo>
                  <a:lnTo>
                    <a:pt x="745" y="28"/>
                  </a:lnTo>
                  <a:lnTo>
                    <a:pt x="743" y="28"/>
                  </a:lnTo>
                  <a:lnTo>
                    <a:pt x="740" y="29"/>
                  </a:lnTo>
                  <a:lnTo>
                    <a:pt x="738" y="28"/>
                  </a:lnTo>
                  <a:lnTo>
                    <a:pt x="735" y="28"/>
                  </a:lnTo>
                  <a:lnTo>
                    <a:pt x="736" y="28"/>
                  </a:lnTo>
                  <a:lnTo>
                    <a:pt x="735" y="27"/>
                  </a:lnTo>
                  <a:lnTo>
                    <a:pt x="736" y="27"/>
                  </a:lnTo>
                  <a:lnTo>
                    <a:pt x="738" y="27"/>
                  </a:lnTo>
                  <a:lnTo>
                    <a:pt x="739" y="27"/>
                  </a:lnTo>
                  <a:lnTo>
                    <a:pt x="740" y="27"/>
                  </a:lnTo>
                  <a:lnTo>
                    <a:pt x="741" y="27"/>
                  </a:lnTo>
                  <a:lnTo>
                    <a:pt x="742" y="27"/>
                  </a:lnTo>
                  <a:lnTo>
                    <a:pt x="743" y="27"/>
                  </a:lnTo>
                  <a:lnTo>
                    <a:pt x="745" y="27"/>
                  </a:lnTo>
                  <a:lnTo>
                    <a:pt x="746" y="27"/>
                  </a:lnTo>
                  <a:lnTo>
                    <a:pt x="745" y="27"/>
                  </a:lnTo>
                  <a:lnTo>
                    <a:pt x="745" y="25"/>
                  </a:lnTo>
                  <a:lnTo>
                    <a:pt x="742" y="25"/>
                  </a:lnTo>
                  <a:lnTo>
                    <a:pt x="743" y="25"/>
                  </a:lnTo>
                  <a:lnTo>
                    <a:pt x="745" y="25"/>
                  </a:lnTo>
                  <a:lnTo>
                    <a:pt x="743" y="24"/>
                  </a:lnTo>
                  <a:lnTo>
                    <a:pt x="745" y="24"/>
                  </a:lnTo>
                  <a:lnTo>
                    <a:pt x="748" y="24"/>
                  </a:lnTo>
                  <a:lnTo>
                    <a:pt x="750" y="24"/>
                  </a:lnTo>
                  <a:lnTo>
                    <a:pt x="753" y="24"/>
                  </a:lnTo>
                  <a:lnTo>
                    <a:pt x="755" y="24"/>
                  </a:lnTo>
                  <a:lnTo>
                    <a:pt x="756" y="25"/>
                  </a:lnTo>
                  <a:lnTo>
                    <a:pt x="759" y="24"/>
                  </a:lnTo>
                  <a:lnTo>
                    <a:pt x="761" y="25"/>
                  </a:lnTo>
                  <a:lnTo>
                    <a:pt x="761" y="24"/>
                  </a:lnTo>
                  <a:lnTo>
                    <a:pt x="761" y="25"/>
                  </a:lnTo>
                  <a:lnTo>
                    <a:pt x="762" y="25"/>
                  </a:lnTo>
                  <a:lnTo>
                    <a:pt x="763" y="25"/>
                  </a:lnTo>
                  <a:lnTo>
                    <a:pt x="761" y="24"/>
                  </a:lnTo>
                  <a:lnTo>
                    <a:pt x="759" y="24"/>
                  </a:lnTo>
                  <a:lnTo>
                    <a:pt x="757" y="24"/>
                  </a:lnTo>
                  <a:lnTo>
                    <a:pt x="756" y="24"/>
                  </a:lnTo>
                  <a:lnTo>
                    <a:pt x="757" y="23"/>
                  </a:lnTo>
                  <a:lnTo>
                    <a:pt x="760" y="23"/>
                  </a:lnTo>
                  <a:lnTo>
                    <a:pt x="762" y="23"/>
                  </a:lnTo>
                  <a:lnTo>
                    <a:pt x="761" y="23"/>
                  </a:lnTo>
                  <a:lnTo>
                    <a:pt x="760" y="23"/>
                  </a:lnTo>
                  <a:lnTo>
                    <a:pt x="759" y="23"/>
                  </a:lnTo>
                  <a:lnTo>
                    <a:pt x="757" y="23"/>
                  </a:lnTo>
                  <a:lnTo>
                    <a:pt x="755" y="23"/>
                  </a:lnTo>
                  <a:lnTo>
                    <a:pt x="756" y="22"/>
                  </a:lnTo>
                  <a:lnTo>
                    <a:pt x="757" y="22"/>
                  </a:lnTo>
                  <a:lnTo>
                    <a:pt x="756" y="22"/>
                  </a:lnTo>
                  <a:lnTo>
                    <a:pt x="754" y="22"/>
                  </a:lnTo>
                  <a:lnTo>
                    <a:pt x="752" y="22"/>
                  </a:lnTo>
                  <a:lnTo>
                    <a:pt x="753" y="22"/>
                  </a:lnTo>
                  <a:lnTo>
                    <a:pt x="755" y="22"/>
                  </a:lnTo>
                  <a:lnTo>
                    <a:pt x="753" y="22"/>
                  </a:lnTo>
                  <a:lnTo>
                    <a:pt x="753" y="21"/>
                  </a:lnTo>
                  <a:lnTo>
                    <a:pt x="755" y="21"/>
                  </a:lnTo>
                  <a:lnTo>
                    <a:pt x="756" y="21"/>
                  </a:lnTo>
                  <a:lnTo>
                    <a:pt x="757" y="20"/>
                  </a:lnTo>
                  <a:lnTo>
                    <a:pt x="759" y="20"/>
                  </a:lnTo>
                  <a:lnTo>
                    <a:pt x="760" y="20"/>
                  </a:lnTo>
                  <a:lnTo>
                    <a:pt x="761" y="20"/>
                  </a:lnTo>
                  <a:lnTo>
                    <a:pt x="763" y="20"/>
                  </a:lnTo>
                  <a:lnTo>
                    <a:pt x="763" y="21"/>
                  </a:lnTo>
                  <a:lnTo>
                    <a:pt x="762" y="21"/>
                  </a:lnTo>
                  <a:lnTo>
                    <a:pt x="763" y="21"/>
                  </a:lnTo>
                  <a:lnTo>
                    <a:pt x="764" y="21"/>
                  </a:lnTo>
                  <a:lnTo>
                    <a:pt x="764" y="20"/>
                  </a:lnTo>
                  <a:lnTo>
                    <a:pt x="765" y="21"/>
                  </a:lnTo>
                  <a:lnTo>
                    <a:pt x="767" y="20"/>
                  </a:lnTo>
                  <a:lnTo>
                    <a:pt x="768" y="20"/>
                  </a:lnTo>
                  <a:lnTo>
                    <a:pt x="767" y="20"/>
                  </a:lnTo>
                  <a:lnTo>
                    <a:pt x="768" y="20"/>
                  </a:lnTo>
                  <a:lnTo>
                    <a:pt x="767" y="20"/>
                  </a:lnTo>
                  <a:lnTo>
                    <a:pt x="765" y="20"/>
                  </a:lnTo>
                  <a:lnTo>
                    <a:pt x="767" y="20"/>
                  </a:lnTo>
                  <a:lnTo>
                    <a:pt x="770" y="20"/>
                  </a:lnTo>
                  <a:lnTo>
                    <a:pt x="772" y="20"/>
                  </a:lnTo>
                  <a:lnTo>
                    <a:pt x="774" y="20"/>
                  </a:lnTo>
                  <a:lnTo>
                    <a:pt x="775" y="20"/>
                  </a:lnTo>
                  <a:lnTo>
                    <a:pt x="776" y="20"/>
                  </a:lnTo>
                  <a:lnTo>
                    <a:pt x="776" y="18"/>
                  </a:lnTo>
                  <a:lnTo>
                    <a:pt x="777" y="18"/>
                  </a:lnTo>
                  <a:lnTo>
                    <a:pt x="776" y="18"/>
                  </a:lnTo>
                  <a:lnTo>
                    <a:pt x="774" y="18"/>
                  </a:lnTo>
                  <a:lnTo>
                    <a:pt x="771" y="18"/>
                  </a:lnTo>
                  <a:lnTo>
                    <a:pt x="770" y="18"/>
                  </a:lnTo>
                  <a:lnTo>
                    <a:pt x="768" y="18"/>
                  </a:lnTo>
                  <a:lnTo>
                    <a:pt x="767" y="18"/>
                  </a:lnTo>
                  <a:lnTo>
                    <a:pt x="767" y="17"/>
                  </a:lnTo>
                  <a:lnTo>
                    <a:pt x="768" y="17"/>
                  </a:lnTo>
                  <a:lnTo>
                    <a:pt x="769" y="17"/>
                  </a:lnTo>
                  <a:lnTo>
                    <a:pt x="770" y="17"/>
                  </a:lnTo>
                  <a:lnTo>
                    <a:pt x="772" y="17"/>
                  </a:lnTo>
                  <a:lnTo>
                    <a:pt x="774" y="17"/>
                  </a:lnTo>
                  <a:lnTo>
                    <a:pt x="775" y="17"/>
                  </a:lnTo>
                  <a:lnTo>
                    <a:pt x="776" y="17"/>
                  </a:lnTo>
                  <a:lnTo>
                    <a:pt x="775" y="17"/>
                  </a:lnTo>
                  <a:lnTo>
                    <a:pt x="776" y="16"/>
                  </a:lnTo>
                  <a:lnTo>
                    <a:pt x="778" y="16"/>
                  </a:lnTo>
                  <a:lnTo>
                    <a:pt x="779" y="17"/>
                  </a:lnTo>
                  <a:lnTo>
                    <a:pt x="782" y="17"/>
                  </a:lnTo>
                  <a:close/>
                  <a:moveTo>
                    <a:pt x="995" y="0"/>
                  </a:moveTo>
                  <a:lnTo>
                    <a:pt x="994" y="0"/>
                  </a:lnTo>
                  <a:lnTo>
                    <a:pt x="994" y="1"/>
                  </a:lnTo>
                  <a:lnTo>
                    <a:pt x="995" y="1"/>
                  </a:lnTo>
                  <a:lnTo>
                    <a:pt x="994" y="1"/>
                  </a:lnTo>
                  <a:lnTo>
                    <a:pt x="996" y="1"/>
                  </a:lnTo>
                  <a:lnTo>
                    <a:pt x="995" y="1"/>
                  </a:lnTo>
                  <a:lnTo>
                    <a:pt x="994" y="1"/>
                  </a:lnTo>
                  <a:lnTo>
                    <a:pt x="997" y="1"/>
                  </a:lnTo>
                  <a:lnTo>
                    <a:pt x="999" y="1"/>
                  </a:lnTo>
                  <a:lnTo>
                    <a:pt x="1002" y="1"/>
                  </a:lnTo>
                  <a:lnTo>
                    <a:pt x="1003" y="1"/>
                  </a:lnTo>
                  <a:lnTo>
                    <a:pt x="1005" y="1"/>
                  </a:lnTo>
                  <a:lnTo>
                    <a:pt x="1006" y="1"/>
                  </a:lnTo>
                  <a:lnTo>
                    <a:pt x="1005" y="1"/>
                  </a:lnTo>
                  <a:lnTo>
                    <a:pt x="1005" y="2"/>
                  </a:lnTo>
                  <a:lnTo>
                    <a:pt x="1006" y="2"/>
                  </a:lnTo>
                  <a:lnTo>
                    <a:pt x="1010" y="1"/>
                  </a:lnTo>
                  <a:lnTo>
                    <a:pt x="1013" y="2"/>
                  </a:lnTo>
                  <a:lnTo>
                    <a:pt x="1015" y="2"/>
                  </a:lnTo>
                  <a:lnTo>
                    <a:pt x="1015" y="1"/>
                  </a:lnTo>
                  <a:lnTo>
                    <a:pt x="1016" y="2"/>
                  </a:lnTo>
                  <a:lnTo>
                    <a:pt x="1015" y="2"/>
                  </a:lnTo>
                  <a:lnTo>
                    <a:pt x="1016" y="2"/>
                  </a:lnTo>
                  <a:lnTo>
                    <a:pt x="1017" y="2"/>
                  </a:lnTo>
                  <a:lnTo>
                    <a:pt x="1018" y="2"/>
                  </a:lnTo>
                  <a:lnTo>
                    <a:pt x="1020" y="2"/>
                  </a:lnTo>
                  <a:lnTo>
                    <a:pt x="1016" y="3"/>
                  </a:lnTo>
                  <a:lnTo>
                    <a:pt x="1015" y="3"/>
                  </a:lnTo>
                  <a:lnTo>
                    <a:pt x="1012" y="3"/>
                  </a:lnTo>
                  <a:lnTo>
                    <a:pt x="1011" y="3"/>
                  </a:lnTo>
                  <a:lnTo>
                    <a:pt x="1009" y="3"/>
                  </a:lnTo>
                  <a:lnTo>
                    <a:pt x="1008" y="3"/>
                  </a:lnTo>
                  <a:lnTo>
                    <a:pt x="1006" y="3"/>
                  </a:lnTo>
                  <a:lnTo>
                    <a:pt x="1005" y="3"/>
                  </a:lnTo>
                  <a:lnTo>
                    <a:pt x="1003" y="4"/>
                  </a:lnTo>
                  <a:lnTo>
                    <a:pt x="1001" y="4"/>
                  </a:lnTo>
                  <a:lnTo>
                    <a:pt x="998" y="4"/>
                  </a:lnTo>
                  <a:lnTo>
                    <a:pt x="1002" y="4"/>
                  </a:lnTo>
                  <a:lnTo>
                    <a:pt x="1005" y="4"/>
                  </a:lnTo>
                  <a:lnTo>
                    <a:pt x="1009" y="4"/>
                  </a:lnTo>
                  <a:lnTo>
                    <a:pt x="1011" y="4"/>
                  </a:lnTo>
                  <a:lnTo>
                    <a:pt x="1012" y="3"/>
                  </a:lnTo>
                  <a:lnTo>
                    <a:pt x="1015" y="3"/>
                  </a:lnTo>
                  <a:lnTo>
                    <a:pt x="1016" y="3"/>
                  </a:lnTo>
                  <a:lnTo>
                    <a:pt x="1017" y="3"/>
                  </a:lnTo>
                  <a:lnTo>
                    <a:pt x="1020" y="3"/>
                  </a:lnTo>
                  <a:lnTo>
                    <a:pt x="1024" y="2"/>
                  </a:lnTo>
                  <a:lnTo>
                    <a:pt x="1026" y="2"/>
                  </a:lnTo>
                  <a:lnTo>
                    <a:pt x="1026" y="3"/>
                  </a:lnTo>
                  <a:lnTo>
                    <a:pt x="1028" y="3"/>
                  </a:lnTo>
                  <a:lnTo>
                    <a:pt x="1027" y="3"/>
                  </a:lnTo>
                  <a:lnTo>
                    <a:pt x="1028" y="2"/>
                  </a:lnTo>
                  <a:lnTo>
                    <a:pt x="1030" y="2"/>
                  </a:lnTo>
                  <a:lnTo>
                    <a:pt x="1028" y="2"/>
                  </a:lnTo>
                  <a:lnTo>
                    <a:pt x="1030" y="2"/>
                  </a:lnTo>
                  <a:lnTo>
                    <a:pt x="1033" y="2"/>
                  </a:lnTo>
                  <a:lnTo>
                    <a:pt x="1034" y="2"/>
                  </a:lnTo>
                  <a:lnTo>
                    <a:pt x="1033" y="2"/>
                  </a:lnTo>
                  <a:lnTo>
                    <a:pt x="1032" y="2"/>
                  </a:lnTo>
                  <a:lnTo>
                    <a:pt x="1031" y="2"/>
                  </a:lnTo>
                  <a:lnTo>
                    <a:pt x="1032" y="2"/>
                  </a:lnTo>
                  <a:lnTo>
                    <a:pt x="1033" y="2"/>
                  </a:lnTo>
                  <a:lnTo>
                    <a:pt x="1032" y="3"/>
                  </a:lnTo>
                  <a:lnTo>
                    <a:pt x="1033" y="3"/>
                  </a:lnTo>
                  <a:lnTo>
                    <a:pt x="1034" y="3"/>
                  </a:lnTo>
                  <a:lnTo>
                    <a:pt x="1035" y="3"/>
                  </a:lnTo>
                  <a:lnTo>
                    <a:pt x="1038" y="2"/>
                  </a:lnTo>
                  <a:lnTo>
                    <a:pt x="1040" y="3"/>
                  </a:lnTo>
                  <a:lnTo>
                    <a:pt x="1044" y="3"/>
                  </a:lnTo>
                  <a:lnTo>
                    <a:pt x="1042" y="3"/>
                  </a:lnTo>
                  <a:lnTo>
                    <a:pt x="1039" y="3"/>
                  </a:lnTo>
                  <a:lnTo>
                    <a:pt x="1040" y="3"/>
                  </a:lnTo>
                  <a:lnTo>
                    <a:pt x="1041" y="4"/>
                  </a:lnTo>
                  <a:lnTo>
                    <a:pt x="1042" y="4"/>
                  </a:lnTo>
                  <a:lnTo>
                    <a:pt x="1044" y="4"/>
                  </a:lnTo>
                  <a:lnTo>
                    <a:pt x="1042" y="4"/>
                  </a:lnTo>
                  <a:lnTo>
                    <a:pt x="1045" y="4"/>
                  </a:lnTo>
                  <a:lnTo>
                    <a:pt x="1046" y="6"/>
                  </a:lnTo>
                  <a:lnTo>
                    <a:pt x="1045" y="6"/>
                  </a:lnTo>
                  <a:lnTo>
                    <a:pt x="1044" y="6"/>
                  </a:lnTo>
                  <a:lnTo>
                    <a:pt x="1042" y="6"/>
                  </a:lnTo>
                  <a:lnTo>
                    <a:pt x="1044" y="6"/>
                  </a:lnTo>
                  <a:lnTo>
                    <a:pt x="1041" y="6"/>
                  </a:lnTo>
                  <a:lnTo>
                    <a:pt x="1041" y="7"/>
                  </a:lnTo>
                  <a:lnTo>
                    <a:pt x="1040" y="7"/>
                  </a:lnTo>
                  <a:lnTo>
                    <a:pt x="1044" y="6"/>
                  </a:lnTo>
                  <a:lnTo>
                    <a:pt x="1045" y="6"/>
                  </a:lnTo>
                  <a:lnTo>
                    <a:pt x="1046" y="6"/>
                  </a:lnTo>
                  <a:lnTo>
                    <a:pt x="1047" y="6"/>
                  </a:lnTo>
                  <a:lnTo>
                    <a:pt x="1049" y="6"/>
                  </a:lnTo>
                  <a:lnTo>
                    <a:pt x="1052" y="6"/>
                  </a:lnTo>
                  <a:lnTo>
                    <a:pt x="1051" y="6"/>
                  </a:lnTo>
                  <a:lnTo>
                    <a:pt x="1049" y="6"/>
                  </a:lnTo>
                  <a:lnTo>
                    <a:pt x="1051" y="6"/>
                  </a:lnTo>
                  <a:lnTo>
                    <a:pt x="1052" y="6"/>
                  </a:lnTo>
                  <a:lnTo>
                    <a:pt x="1054" y="6"/>
                  </a:lnTo>
                  <a:lnTo>
                    <a:pt x="1056" y="6"/>
                  </a:lnTo>
                  <a:lnTo>
                    <a:pt x="1058" y="7"/>
                  </a:lnTo>
                  <a:lnTo>
                    <a:pt x="1059" y="7"/>
                  </a:lnTo>
                  <a:lnTo>
                    <a:pt x="1059" y="8"/>
                  </a:lnTo>
                  <a:lnTo>
                    <a:pt x="1058" y="8"/>
                  </a:lnTo>
                  <a:lnTo>
                    <a:pt x="1055" y="9"/>
                  </a:lnTo>
                  <a:lnTo>
                    <a:pt x="1053" y="9"/>
                  </a:lnTo>
                  <a:lnTo>
                    <a:pt x="1049" y="9"/>
                  </a:lnTo>
                  <a:lnTo>
                    <a:pt x="1051" y="9"/>
                  </a:lnTo>
                  <a:lnTo>
                    <a:pt x="1049" y="9"/>
                  </a:lnTo>
                  <a:lnTo>
                    <a:pt x="1048" y="10"/>
                  </a:lnTo>
                  <a:lnTo>
                    <a:pt x="1046" y="10"/>
                  </a:lnTo>
                  <a:lnTo>
                    <a:pt x="1045" y="10"/>
                  </a:lnTo>
                  <a:lnTo>
                    <a:pt x="1044" y="10"/>
                  </a:lnTo>
                  <a:lnTo>
                    <a:pt x="1041" y="11"/>
                  </a:lnTo>
                  <a:lnTo>
                    <a:pt x="1039" y="11"/>
                  </a:lnTo>
                  <a:lnTo>
                    <a:pt x="1038" y="11"/>
                  </a:lnTo>
                  <a:lnTo>
                    <a:pt x="1034" y="11"/>
                  </a:lnTo>
                  <a:lnTo>
                    <a:pt x="1031" y="13"/>
                  </a:lnTo>
                  <a:lnTo>
                    <a:pt x="1028" y="13"/>
                  </a:lnTo>
                  <a:lnTo>
                    <a:pt x="1027" y="13"/>
                  </a:lnTo>
                  <a:lnTo>
                    <a:pt x="1028" y="13"/>
                  </a:lnTo>
                  <a:lnTo>
                    <a:pt x="1027" y="13"/>
                  </a:lnTo>
                  <a:lnTo>
                    <a:pt x="1026" y="13"/>
                  </a:lnTo>
                  <a:lnTo>
                    <a:pt x="1023" y="13"/>
                  </a:lnTo>
                  <a:lnTo>
                    <a:pt x="1022" y="13"/>
                  </a:lnTo>
                  <a:lnTo>
                    <a:pt x="1020" y="13"/>
                  </a:lnTo>
                  <a:lnTo>
                    <a:pt x="1018" y="13"/>
                  </a:lnTo>
                  <a:lnTo>
                    <a:pt x="1015" y="14"/>
                  </a:lnTo>
                  <a:lnTo>
                    <a:pt x="1011" y="14"/>
                  </a:lnTo>
                  <a:lnTo>
                    <a:pt x="1012" y="14"/>
                  </a:lnTo>
                  <a:lnTo>
                    <a:pt x="1013" y="14"/>
                  </a:lnTo>
                  <a:lnTo>
                    <a:pt x="1015" y="14"/>
                  </a:lnTo>
                  <a:lnTo>
                    <a:pt x="1018" y="14"/>
                  </a:lnTo>
                  <a:lnTo>
                    <a:pt x="1017" y="14"/>
                  </a:lnTo>
                  <a:lnTo>
                    <a:pt x="1012" y="14"/>
                  </a:lnTo>
                  <a:lnTo>
                    <a:pt x="1011" y="14"/>
                  </a:lnTo>
                  <a:lnTo>
                    <a:pt x="1010" y="14"/>
                  </a:lnTo>
                  <a:lnTo>
                    <a:pt x="1008" y="14"/>
                  </a:lnTo>
                  <a:lnTo>
                    <a:pt x="1006" y="14"/>
                  </a:lnTo>
                  <a:lnTo>
                    <a:pt x="1002" y="14"/>
                  </a:lnTo>
                  <a:lnTo>
                    <a:pt x="999" y="15"/>
                  </a:lnTo>
                  <a:lnTo>
                    <a:pt x="997" y="15"/>
                  </a:lnTo>
                  <a:lnTo>
                    <a:pt x="995" y="15"/>
                  </a:lnTo>
                  <a:lnTo>
                    <a:pt x="992" y="15"/>
                  </a:lnTo>
                  <a:lnTo>
                    <a:pt x="989" y="14"/>
                  </a:lnTo>
                  <a:lnTo>
                    <a:pt x="987" y="14"/>
                  </a:lnTo>
                  <a:lnTo>
                    <a:pt x="984" y="14"/>
                  </a:lnTo>
                  <a:lnTo>
                    <a:pt x="988" y="14"/>
                  </a:lnTo>
                  <a:lnTo>
                    <a:pt x="990" y="15"/>
                  </a:lnTo>
                  <a:lnTo>
                    <a:pt x="987" y="15"/>
                  </a:lnTo>
                  <a:lnTo>
                    <a:pt x="989" y="15"/>
                  </a:lnTo>
                  <a:lnTo>
                    <a:pt x="992" y="15"/>
                  </a:lnTo>
                  <a:lnTo>
                    <a:pt x="996" y="15"/>
                  </a:lnTo>
                  <a:lnTo>
                    <a:pt x="1001" y="15"/>
                  </a:lnTo>
                  <a:lnTo>
                    <a:pt x="1003" y="15"/>
                  </a:lnTo>
                  <a:lnTo>
                    <a:pt x="1005" y="15"/>
                  </a:lnTo>
                  <a:lnTo>
                    <a:pt x="1004" y="15"/>
                  </a:lnTo>
                  <a:lnTo>
                    <a:pt x="1002" y="16"/>
                  </a:lnTo>
                  <a:lnTo>
                    <a:pt x="1001" y="16"/>
                  </a:lnTo>
                  <a:lnTo>
                    <a:pt x="998" y="16"/>
                  </a:lnTo>
                  <a:lnTo>
                    <a:pt x="995" y="16"/>
                  </a:lnTo>
                  <a:lnTo>
                    <a:pt x="991" y="16"/>
                  </a:lnTo>
                  <a:lnTo>
                    <a:pt x="990" y="17"/>
                  </a:lnTo>
                  <a:lnTo>
                    <a:pt x="988" y="17"/>
                  </a:lnTo>
                  <a:lnTo>
                    <a:pt x="987" y="17"/>
                  </a:lnTo>
                  <a:lnTo>
                    <a:pt x="985" y="17"/>
                  </a:lnTo>
                  <a:lnTo>
                    <a:pt x="984" y="17"/>
                  </a:lnTo>
                  <a:lnTo>
                    <a:pt x="983" y="17"/>
                  </a:lnTo>
                  <a:lnTo>
                    <a:pt x="982" y="17"/>
                  </a:lnTo>
                  <a:lnTo>
                    <a:pt x="978" y="17"/>
                  </a:lnTo>
                  <a:lnTo>
                    <a:pt x="980" y="17"/>
                  </a:lnTo>
                  <a:lnTo>
                    <a:pt x="980" y="18"/>
                  </a:lnTo>
                  <a:lnTo>
                    <a:pt x="977" y="18"/>
                  </a:lnTo>
                  <a:lnTo>
                    <a:pt x="976" y="18"/>
                  </a:lnTo>
                  <a:lnTo>
                    <a:pt x="974" y="18"/>
                  </a:lnTo>
                  <a:lnTo>
                    <a:pt x="971" y="18"/>
                  </a:lnTo>
                  <a:lnTo>
                    <a:pt x="973" y="18"/>
                  </a:lnTo>
                  <a:lnTo>
                    <a:pt x="976" y="18"/>
                  </a:lnTo>
                  <a:lnTo>
                    <a:pt x="975" y="18"/>
                  </a:lnTo>
                  <a:lnTo>
                    <a:pt x="974" y="18"/>
                  </a:lnTo>
                  <a:lnTo>
                    <a:pt x="973" y="20"/>
                  </a:lnTo>
                  <a:lnTo>
                    <a:pt x="976" y="18"/>
                  </a:lnTo>
                  <a:lnTo>
                    <a:pt x="977" y="18"/>
                  </a:lnTo>
                  <a:lnTo>
                    <a:pt x="982" y="18"/>
                  </a:lnTo>
                  <a:lnTo>
                    <a:pt x="985" y="17"/>
                  </a:lnTo>
                  <a:lnTo>
                    <a:pt x="989" y="17"/>
                  </a:lnTo>
                  <a:lnTo>
                    <a:pt x="994" y="17"/>
                  </a:lnTo>
                  <a:lnTo>
                    <a:pt x="996" y="17"/>
                  </a:lnTo>
                  <a:lnTo>
                    <a:pt x="998" y="16"/>
                  </a:lnTo>
                  <a:lnTo>
                    <a:pt x="1002" y="16"/>
                  </a:lnTo>
                  <a:lnTo>
                    <a:pt x="1005" y="16"/>
                  </a:lnTo>
                  <a:lnTo>
                    <a:pt x="1008" y="16"/>
                  </a:lnTo>
                  <a:lnTo>
                    <a:pt x="1010" y="16"/>
                  </a:lnTo>
                  <a:lnTo>
                    <a:pt x="1012" y="15"/>
                  </a:lnTo>
                  <a:lnTo>
                    <a:pt x="1017" y="15"/>
                  </a:lnTo>
                  <a:lnTo>
                    <a:pt x="1019" y="15"/>
                  </a:lnTo>
                  <a:lnTo>
                    <a:pt x="1023" y="15"/>
                  </a:lnTo>
                  <a:lnTo>
                    <a:pt x="1023" y="16"/>
                  </a:lnTo>
                  <a:lnTo>
                    <a:pt x="1020" y="16"/>
                  </a:lnTo>
                  <a:lnTo>
                    <a:pt x="1016" y="17"/>
                  </a:lnTo>
                  <a:lnTo>
                    <a:pt x="1013" y="17"/>
                  </a:lnTo>
                  <a:lnTo>
                    <a:pt x="1011" y="17"/>
                  </a:lnTo>
                  <a:lnTo>
                    <a:pt x="1009" y="18"/>
                  </a:lnTo>
                  <a:lnTo>
                    <a:pt x="1008" y="18"/>
                  </a:lnTo>
                  <a:lnTo>
                    <a:pt x="1006" y="18"/>
                  </a:lnTo>
                  <a:lnTo>
                    <a:pt x="1005" y="18"/>
                  </a:lnTo>
                  <a:lnTo>
                    <a:pt x="1004" y="18"/>
                  </a:lnTo>
                  <a:lnTo>
                    <a:pt x="1003" y="20"/>
                  </a:lnTo>
                  <a:lnTo>
                    <a:pt x="1002" y="20"/>
                  </a:lnTo>
                  <a:lnTo>
                    <a:pt x="1001" y="20"/>
                  </a:lnTo>
                  <a:lnTo>
                    <a:pt x="998" y="21"/>
                  </a:lnTo>
                  <a:lnTo>
                    <a:pt x="995" y="21"/>
                  </a:lnTo>
                  <a:lnTo>
                    <a:pt x="991" y="21"/>
                  </a:lnTo>
                  <a:lnTo>
                    <a:pt x="991" y="22"/>
                  </a:lnTo>
                  <a:lnTo>
                    <a:pt x="990" y="22"/>
                  </a:lnTo>
                  <a:lnTo>
                    <a:pt x="989" y="22"/>
                  </a:lnTo>
                  <a:lnTo>
                    <a:pt x="988" y="22"/>
                  </a:lnTo>
                  <a:lnTo>
                    <a:pt x="987" y="22"/>
                  </a:lnTo>
                  <a:lnTo>
                    <a:pt x="984" y="23"/>
                  </a:lnTo>
                  <a:lnTo>
                    <a:pt x="982" y="23"/>
                  </a:lnTo>
                  <a:lnTo>
                    <a:pt x="981" y="23"/>
                  </a:lnTo>
                  <a:lnTo>
                    <a:pt x="980" y="23"/>
                  </a:lnTo>
                  <a:lnTo>
                    <a:pt x="978" y="24"/>
                  </a:lnTo>
                  <a:lnTo>
                    <a:pt x="976" y="24"/>
                  </a:lnTo>
                  <a:lnTo>
                    <a:pt x="977" y="24"/>
                  </a:lnTo>
                  <a:lnTo>
                    <a:pt x="976" y="24"/>
                  </a:lnTo>
                  <a:lnTo>
                    <a:pt x="974" y="25"/>
                  </a:lnTo>
                  <a:lnTo>
                    <a:pt x="973" y="25"/>
                  </a:lnTo>
                  <a:lnTo>
                    <a:pt x="973" y="27"/>
                  </a:lnTo>
                  <a:lnTo>
                    <a:pt x="971" y="27"/>
                  </a:lnTo>
                  <a:lnTo>
                    <a:pt x="968" y="27"/>
                  </a:lnTo>
                  <a:lnTo>
                    <a:pt x="966" y="27"/>
                  </a:lnTo>
                  <a:lnTo>
                    <a:pt x="962" y="27"/>
                  </a:lnTo>
                  <a:lnTo>
                    <a:pt x="963" y="27"/>
                  </a:lnTo>
                  <a:lnTo>
                    <a:pt x="963" y="25"/>
                  </a:lnTo>
                  <a:lnTo>
                    <a:pt x="961" y="24"/>
                  </a:lnTo>
                  <a:lnTo>
                    <a:pt x="960" y="24"/>
                  </a:lnTo>
                  <a:lnTo>
                    <a:pt x="960" y="25"/>
                  </a:lnTo>
                  <a:lnTo>
                    <a:pt x="961" y="25"/>
                  </a:lnTo>
                  <a:lnTo>
                    <a:pt x="962" y="25"/>
                  </a:lnTo>
                  <a:lnTo>
                    <a:pt x="962" y="27"/>
                  </a:lnTo>
                  <a:lnTo>
                    <a:pt x="961" y="27"/>
                  </a:lnTo>
                  <a:lnTo>
                    <a:pt x="964" y="28"/>
                  </a:lnTo>
                  <a:lnTo>
                    <a:pt x="963" y="28"/>
                  </a:lnTo>
                  <a:lnTo>
                    <a:pt x="962" y="29"/>
                  </a:lnTo>
                  <a:lnTo>
                    <a:pt x="960" y="29"/>
                  </a:lnTo>
                  <a:lnTo>
                    <a:pt x="957" y="29"/>
                  </a:lnTo>
                  <a:lnTo>
                    <a:pt x="954" y="29"/>
                  </a:lnTo>
                  <a:lnTo>
                    <a:pt x="952" y="29"/>
                  </a:lnTo>
                  <a:lnTo>
                    <a:pt x="949" y="29"/>
                  </a:lnTo>
                  <a:lnTo>
                    <a:pt x="948" y="29"/>
                  </a:lnTo>
                  <a:lnTo>
                    <a:pt x="947" y="29"/>
                  </a:lnTo>
                  <a:lnTo>
                    <a:pt x="946" y="29"/>
                  </a:lnTo>
                  <a:lnTo>
                    <a:pt x="945" y="29"/>
                  </a:lnTo>
                  <a:lnTo>
                    <a:pt x="944" y="28"/>
                  </a:lnTo>
                  <a:lnTo>
                    <a:pt x="942" y="29"/>
                  </a:lnTo>
                  <a:lnTo>
                    <a:pt x="946" y="29"/>
                  </a:lnTo>
                  <a:lnTo>
                    <a:pt x="945" y="30"/>
                  </a:lnTo>
                  <a:lnTo>
                    <a:pt x="942" y="30"/>
                  </a:lnTo>
                  <a:lnTo>
                    <a:pt x="941" y="30"/>
                  </a:lnTo>
                  <a:lnTo>
                    <a:pt x="942" y="30"/>
                  </a:lnTo>
                  <a:lnTo>
                    <a:pt x="944" y="30"/>
                  </a:lnTo>
                  <a:lnTo>
                    <a:pt x="946" y="30"/>
                  </a:lnTo>
                  <a:lnTo>
                    <a:pt x="947" y="30"/>
                  </a:lnTo>
                  <a:lnTo>
                    <a:pt x="949" y="30"/>
                  </a:lnTo>
                  <a:lnTo>
                    <a:pt x="951" y="30"/>
                  </a:lnTo>
                  <a:lnTo>
                    <a:pt x="954" y="29"/>
                  </a:lnTo>
                  <a:lnTo>
                    <a:pt x="957" y="29"/>
                  </a:lnTo>
                  <a:lnTo>
                    <a:pt x="957" y="30"/>
                  </a:lnTo>
                  <a:lnTo>
                    <a:pt x="959" y="30"/>
                  </a:lnTo>
                  <a:lnTo>
                    <a:pt x="957" y="30"/>
                  </a:lnTo>
                  <a:lnTo>
                    <a:pt x="956" y="30"/>
                  </a:lnTo>
                  <a:lnTo>
                    <a:pt x="955" y="31"/>
                  </a:lnTo>
                  <a:lnTo>
                    <a:pt x="952" y="31"/>
                  </a:lnTo>
                  <a:lnTo>
                    <a:pt x="949" y="31"/>
                  </a:lnTo>
                  <a:lnTo>
                    <a:pt x="948" y="31"/>
                  </a:lnTo>
                  <a:lnTo>
                    <a:pt x="948" y="32"/>
                  </a:lnTo>
                  <a:lnTo>
                    <a:pt x="951" y="31"/>
                  </a:lnTo>
                  <a:lnTo>
                    <a:pt x="953" y="31"/>
                  </a:lnTo>
                  <a:lnTo>
                    <a:pt x="952" y="32"/>
                  </a:lnTo>
                  <a:lnTo>
                    <a:pt x="951" y="32"/>
                  </a:lnTo>
                  <a:lnTo>
                    <a:pt x="949" y="32"/>
                  </a:lnTo>
                  <a:lnTo>
                    <a:pt x="947" y="34"/>
                  </a:lnTo>
                  <a:lnTo>
                    <a:pt x="946" y="34"/>
                  </a:lnTo>
                  <a:lnTo>
                    <a:pt x="941" y="34"/>
                  </a:lnTo>
                  <a:lnTo>
                    <a:pt x="940" y="35"/>
                  </a:lnTo>
                  <a:lnTo>
                    <a:pt x="939" y="35"/>
                  </a:lnTo>
                  <a:lnTo>
                    <a:pt x="938" y="34"/>
                  </a:lnTo>
                  <a:lnTo>
                    <a:pt x="935" y="35"/>
                  </a:lnTo>
                  <a:lnTo>
                    <a:pt x="933" y="34"/>
                  </a:lnTo>
                  <a:lnTo>
                    <a:pt x="933" y="32"/>
                  </a:lnTo>
                  <a:lnTo>
                    <a:pt x="934" y="32"/>
                  </a:lnTo>
                  <a:lnTo>
                    <a:pt x="932" y="32"/>
                  </a:lnTo>
                  <a:lnTo>
                    <a:pt x="931" y="32"/>
                  </a:lnTo>
                  <a:lnTo>
                    <a:pt x="926" y="32"/>
                  </a:lnTo>
                  <a:lnTo>
                    <a:pt x="927" y="32"/>
                  </a:lnTo>
                  <a:lnTo>
                    <a:pt x="924" y="31"/>
                  </a:lnTo>
                  <a:lnTo>
                    <a:pt x="923" y="32"/>
                  </a:lnTo>
                  <a:lnTo>
                    <a:pt x="920" y="32"/>
                  </a:lnTo>
                  <a:lnTo>
                    <a:pt x="918" y="32"/>
                  </a:lnTo>
                  <a:lnTo>
                    <a:pt x="919" y="32"/>
                  </a:lnTo>
                  <a:lnTo>
                    <a:pt x="921" y="32"/>
                  </a:lnTo>
                  <a:lnTo>
                    <a:pt x="925" y="34"/>
                  </a:lnTo>
                  <a:lnTo>
                    <a:pt x="928" y="34"/>
                  </a:lnTo>
                  <a:lnTo>
                    <a:pt x="930" y="34"/>
                  </a:lnTo>
                  <a:lnTo>
                    <a:pt x="930" y="35"/>
                  </a:lnTo>
                  <a:lnTo>
                    <a:pt x="931" y="35"/>
                  </a:lnTo>
                  <a:lnTo>
                    <a:pt x="930" y="35"/>
                  </a:lnTo>
                  <a:lnTo>
                    <a:pt x="930" y="36"/>
                  </a:lnTo>
                  <a:lnTo>
                    <a:pt x="928" y="36"/>
                  </a:lnTo>
                  <a:lnTo>
                    <a:pt x="927" y="36"/>
                  </a:lnTo>
                  <a:lnTo>
                    <a:pt x="926" y="36"/>
                  </a:lnTo>
                  <a:lnTo>
                    <a:pt x="925" y="36"/>
                  </a:lnTo>
                  <a:lnTo>
                    <a:pt x="924" y="36"/>
                  </a:lnTo>
                  <a:lnTo>
                    <a:pt x="923" y="36"/>
                  </a:lnTo>
                  <a:lnTo>
                    <a:pt x="921" y="36"/>
                  </a:lnTo>
                  <a:lnTo>
                    <a:pt x="921" y="37"/>
                  </a:lnTo>
                  <a:lnTo>
                    <a:pt x="920" y="37"/>
                  </a:lnTo>
                  <a:lnTo>
                    <a:pt x="918" y="37"/>
                  </a:lnTo>
                  <a:lnTo>
                    <a:pt x="917" y="37"/>
                  </a:lnTo>
                  <a:lnTo>
                    <a:pt x="914" y="37"/>
                  </a:lnTo>
                  <a:lnTo>
                    <a:pt x="913" y="36"/>
                  </a:lnTo>
                  <a:lnTo>
                    <a:pt x="912" y="36"/>
                  </a:lnTo>
                  <a:lnTo>
                    <a:pt x="912" y="37"/>
                  </a:lnTo>
                  <a:lnTo>
                    <a:pt x="911" y="37"/>
                  </a:lnTo>
                  <a:lnTo>
                    <a:pt x="907" y="37"/>
                  </a:lnTo>
                  <a:lnTo>
                    <a:pt x="906" y="37"/>
                  </a:lnTo>
                  <a:lnTo>
                    <a:pt x="905" y="37"/>
                  </a:lnTo>
                  <a:lnTo>
                    <a:pt x="904" y="37"/>
                  </a:lnTo>
                  <a:lnTo>
                    <a:pt x="903" y="37"/>
                  </a:lnTo>
                  <a:lnTo>
                    <a:pt x="902" y="36"/>
                  </a:lnTo>
                  <a:lnTo>
                    <a:pt x="898" y="36"/>
                  </a:lnTo>
                  <a:lnTo>
                    <a:pt x="895" y="36"/>
                  </a:lnTo>
                  <a:lnTo>
                    <a:pt x="893" y="36"/>
                  </a:lnTo>
                  <a:lnTo>
                    <a:pt x="896" y="36"/>
                  </a:lnTo>
                  <a:lnTo>
                    <a:pt x="897" y="36"/>
                  </a:lnTo>
                  <a:lnTo>
                    <a:pt x="898" y="37"/>
                  </a:lnTo>
                  <a:lnTo>
                    <a:pt x="899" y="36"/>
                  </a:lnTo>
                  <a:lnTo>
                    <a:pt x="902" y="37"/>
                  </a:lnTo>
                  <a:lnTo>
                    <a:pt x="903" y="38"/>
                  </a:lnTo>
                  <a:lnTo>
                    <a:pt x="900" y="38"/>
                  </a:lnTo>
                  <a:lnTo>
                    <a:pt x="897" y="38"/>
                  </a:lnTo>
                  <a:lnTo>
                    <a:pt x="895" y="38"/>
                  </a:lnTo>
                  <a:lnTo>
                    <a:pt x="893" y="38"/>
                  </a:lnTo>
                  <a:lnTo>
                    <a:pt x="893" y="37"/>
                  </a:lnTo>
                  <a:lnTo>
                    <a:pt x="892" y="37"/>
                  </a:lnTo>
                  <a:lnTo>
                    <a:pt x="891" y="37"/>
                  </a:lnTo>
                  <a:lnTo>
                    <a:pt x="891" y="38"/>
                  </a:lnTo>
                  <a:lnTo>
                    <a:pt x="889" y="38"/>
                  </a:lnTo>
                  <a:lnTo>
                    <a:pt x="887" y="38"/>
                  </a:lnTo>
                  <a:lnTo>
                    <a:pt x="885" y="38"/>
                  </a:lnTo>
                  <a:lnTo>
                    <a:pt x="884" y="38"/>
                  </a:lnTo>
                  <a:lnTo>
                    <a:pt x="885" y="38"/>
                  </a:lnTo>
                  <a:lnTo>
                    <a:pt x="888" y="38"/>
                  </a:lnTo>
                  <a:lnTo>
                    <a:pt x="889" y="38"/>
                  </a:lnTo>
                  <a:lnTo>
                    <a:pt x="890" y="39"/>
                  </a:lnTo>
                  <a:lnTo>
                    <a:pt x="889" y="39"/>
                  </a:lnTo>
                  <a:lnTo>
                    <a:pt x="888" y="39"/>
                  </a:lnTo>
                  <a:lnTo>
                    <a:pt x="891" y="39"/>
                  </a:lnTo>
                  <a:lnTo>
                    <a:pt x="895" y="38"/>
                  </a:lnTo>
                  <a:lnTo>
                    <a:pt x="897" y="39"/>
                  </a:lnTo>
                  <a:lnTo>
                    <a:pt x="898" y="39"/>
                  </a:lnTo>
                  <a:lnTo>
                    <a:pt x="899" y="38"/>
                  </a:lnTo>
                  <a:lnTo>
                    <a:pt x="902" y="39"/>
                  </a:lnTo>
                  <a:lnTo>
                    <a:pt x="904" y="39"/>
                  </a:lnTo>
                  <a:lnTo>
                    <a:pt x="906" y="39"/>
                  </a:lnTo>
                  <a:lnTo>
                    <a:pt x="909" y="39"/>
                  </a:lnTo>
                  <a:lnTo>
                    <a:pt x="911" y="39"/>
                  </a:lnTo>
                  <a:lnTo>
                    <a:pt x="914" y="39"/>
                  </a:lnTo>
                  <a:lnTo>
                    <a:pt x="913" y="39"/>
                  </a:lnTo>
                  <a:lnTo>
                    <a:pt x="912" y="39"/>
                  </a:lnTo>
                  <a:lnTo>
                    <a:pt x="911" y="39"/>
                  </a:lnTo>
                  <a:lnTo>
                    <a:pt x="911" y="41"/>
                  </a:lnTo>
                  <a:lnTo>
                    <a:pt x="912" y="41"/>
                  </a:lnTo>
                  <a:lnTo>
                    <a:pt x="911" y="41"/>
                  </a:lnTo>
                  <a:lnTo>
                    <a:pt x="912" y="41"/>
                  </a:lnTo>
                  <a:lnTo>
                    <a:pt x="912" y="42"/>
                  </a:lnTo>
                  <a:lnTo>
                    <a:pt x="910" y="42"/>
                  </a:lnTo>
                  <a:lnTo>
                    <a:pt x="906" y="42"/>
                  </a:lnTo>
                  <a:lnTo>
                    <a:pt x="903" y="41"/>
                  </a:lnTo>
                  <a:lnTo>
                    <a:pt x="902" y="41"/>
                  </a:lnTo>
                  <a:lnTo>
                    <a:pt x="900" y="41"/>
                  </a:lnTo>
                  <a:lnTo>
                    <a:pt x="902" y="41"/>
                  </a:lnTo>
                  <a:lnTo>
                    <a:pt x="900" y="41"/>
                  </a:lnTo>
                  <a:lnTo>
                    <a:pt x="900" y="39"/>
                  </a:lnTo>
                  <a:lnTo>
                    <a:pt x="899" y="39"/>
                  </a:lnTo>
                  <a:lnTo>
                    <a:pt x="897" y="39"/>
                  </a:lnTo>
                  <a:lnTo>
                    <a:pt x="895" y="39"/>
                  </a:lnTo>
                  <a:lnTo>
                    <a:pt x="891" y="39"/>
                  </a:lnTo>
                  <a:lnTo>
                    <a:pt x="890" y="39"/>
                  </a:lnTo>
                  <a:lnTo>
                    <a:pt x="885" y="39"/>
                  </a:lnTo>
                  <a:lnTo>
                    <a:pt x="881" y="39"/>
                  </a:lnTo>
                  <a:lnTo>
                    <a:pt x="881" y="41"/>
                  </a:lnTo>
                  <a:lnTo>
                    <a:pt x="882" y="39"/>
                  </a:lnTo>
                  <a:lnTo>
                    <a:pt x="885" y="39"/>
                  </a:lnTo>
                  <a:lnTo>
                    <a:pt x="888" y="41"/>
                  </a:lnTo>
                  <a:lnTo>
                    <a:pt x="891" y="41"/>
                  </a:lnTo>
                  <a:lnTo>
                    <a:pt x="893" y="41"/>
                  </a:lnTo>
                  <a:lnTo>
                    <a:pt x="896" y="41"/>
                  </a:lnTo>
                  <a:lnTo>
                    <a:pt x="898" y="41"/>
                  </a:lnTo>
                  <a:lnTo>
                    <a:pt x="897" y="41"/>
                  </a:lnTo>
                  <a:lnTo>
                    <a:pt x="896" y="41"/>
                  </a:lnTo>
                  <a:lnTo>
                    <a:pt x="892" y="41"/>
                  </a:lnTo>
                  <a:lnTo>
                    <a:pt x="890" y="41"/>
                  </a:lnTo>
                  <a:lnTo>
                    <a:pt x="889" y="41"/>
                  </a:lnTo>
                  <a:lnTo>
                    <a:pt x="885" y="42"/>
                  </a:lnTo>
                  <a:lnTo>
                    <a:pt x="884" y="42"/>
                  </a:lnTo>
                  <a:lnTo>
                    <a:pt x="883" y="42"/>
                  </a:lnTo>
                  <a:lnTo>
                    <a:pt x="883" y="41"/>
                  </a:lnTo>
                  <a:lnTo>
                    <a:pt x="881" y="41"/>
                  </a:lnTo>
                  <a:lnTo>
                    <a:pt x="878" y="41"/>
                  </a:lnTo>
                  <a:lnTo>
                    <a:pt x="876" y="41"/>
                  </a:lnTo>
                  <a:lnTo>
                    <a:pt x="874" y="41"/>
                  </a:lnTo>
                  <a:lnTo>
                    <a:pt x="874" y="42"/>
                  </a:lnTo>
                  <a:lnTo>
                    <a:pt x="877" y="42"/>
                  </a:lnTo>
                  <a:lnTo>
                    <a:pt x="880" y="42"/>
                  </a:lnTo>
                  <a:lnTo>
                    <a:pt x="882" y="42"/>
                  </a:lnTo>
                  <a:lnTo>
                    <a:pt x="883" y="42"/>
                  </a:lnTo>
                  <a:lnTo>
                    <a:pt x="881" y="43"/>
                  </a:lnTo>
                  <a:lnTo>
                    <a:pt x="880" y="43"/>
                  </a:lnTo>
                  <a:lnTo>
                    <a:pt x="877" y="43"/>
                  </a:lnTo>
                  <a:lnTo>
                    <a:pt x="876" y="44"/>
                  </a:lnTo>
                  <a:lnTo>
                    <a:pt x="875" y="44"/>
                  </a:lnTo>
                  <a:lnTo>
                    <a:pt x="876" y="44"/>
                  </a:lnTo>
                  <a:lnTo>
                    <a:pt x="877" y="44"/>
                  </a:lnTo>
                  <a:lnTo>
                    <a:pt x="878" y="44"/>
                  </a:lnTo>
                  <a:lnTo>
                    <a:pt x="882" y="43"/>
                  </a:lnTo>
                  <a:lnTo>
                    <a:pt x="883" y="42"/>
                  </a:lnTo>
                  <a:lnTo>
                    <a:pt x="888" y="42"/>
                  </a:lnTo>
                  <a:lnTo>
                    <a:pt x="892" y="42"/>
                  </a:lnTo>
                  <a:lnTo>
                    <a:pt x="896" y="42"/>
                  </a:lnTo>
                  <a:lnTo>
                    <a:pt x="899" y="42"/>
                  </a:lnTo>
                  <a:lnTo>
                    <a:pt x="900" y="42"/>
                  </a:lnTo>
                  <a:lnTo>
                    <a:pt x="899" y="43"/>
                  </a:lnTo>
                  <a:lnTo>
                    <a:pt x="895" y="43"/>
                  </a:lnTo>
                  <a:lnTo>
                    <a:pt x="892" y="43"/>
                  </a:lnTo>
                  <a:lnTo>
                    <a:pt x="892" y="44"/>
                  </a:lnTo>
                  <a:lnTo>
                    <a:pt x="895" y="43"/>
                  </a:lnTo>
                  <a:lnTo>
                    <a:pt x="898" y="43"/>
                  </a:lnTo>
                  <a:lnTo>
                    <a:pt x="899" y="43"/>
                  </a:lnTo>
                  <a:lnTo>
                    <a:pt x="900" y="43"/>
                  </a:lnTo>
                  <a:lnTo>
                    <a:pt x="903" y="43"/>
                  </a:lnTo>
                  <a:lnTo>
                    <a:pt x="905" y="43"/>
                  </a:lnTo>
                  <a:lnTo>
                    <a:pt x="906" y="44"/>
                  </a:lnTo>
                  <a:lnTo>
                    <a:pt x="907" y="44"/>
                  </a:lnTo>
                  <a:lnTo>
                    <a:pt x="906" y="44"/>
                  </a:lnTo>
                  <a:lnTo>
                    <a:pt x="905" y="44"/>
                  </a:lnTo>
                  <a:lnTo>
                    <a:pt x="906" y="44"/>
                  </a:lnTo>
                  <a:lnTo>
                    <a:pt x="906" y="45"/>
                  </a:lnTo>
                  <a:lnTo>
                    <a:pt x="905" y="45"/>
                  </a:lnTo>
                  <a:lnTo>
                    <a:pt x="906" y="45"/>
                  </a:lnTo>
                  <a:lnTo>
                    <a:pt x="905" y="45"/>
                  </a:lnTo>
                  <a:lnTo>
                    <a:pt x="904" y="45"/>
                  </a:lnTo>
                  <a:lnTo>
                    <a:pt x="904" y="46"/>
                  </a:lnTo>
                  <a:lnTo>
                    <a:pt x="905" y="46"/>
                  </a:lnTo>
                  <a:lnTo>
                    <a:pt x="904" y="46"/>
                  </a:lnTo>
                  <a:lnTo>
                    <a:pt x="902" y="48"/>
                  </a:lnTo>
                  <a:lnTo>
                    <a:pt x="900" y="48"/>
                  </a:lnTo>
                  <a:lnTo>
                    <a:pt x="898" y="48"/>
                  </a:lnTo>
                  <a:lnTo>
                    <a:pt x="895" y="48"/>
                  </a:lnTo>
                  <a:lnTo>
                    <a:pt x="891" y="48"/>
                  </a:lnTo>
                  <a:lnTo>
                    <a:pt x="889" y="48"/>
                  </a:lnTo>
                  <a:lnTo>
                    <a:pt x="888" y="48"/>
                  </a:lnTo>
                  <a:lnTo>
                    <a:pt x="887" y="48"/>
                  </a:lnTo>
                  <a:lnTo>
                    <a:pt x="890" y="48"/>
                  </a:lnTo>
                  <a:lnTo>
                    <a:pt x="891" y="48"/>
                  </a:lnTo>
                  <a:lnTo>
                    <a:pt x="895" y="49"/>
                  </a:lnTo>
                  <a:lnTo>
                    <a:pt x="899" y="49"/>
                  </a:lnTo>
                  <a:lnTo>
                    <a:pt x="899" y="50"/>
                  </a:lnTo>
                  <a:lnTo>
                    <a:pt x="898" y="50"/>
                  </a:lnTo>
                  <a:lnTo>
                    <a:pt x="897" y="50"/>
                  </a:lnTo>
                  <a:lnTo>
                    <a:pt x="896" y="50"/>
                  </a:lnTo>
                  <a:lnTo>
                    <a:pt x="895" y="50"/>
                  </a:lnTo>
                  <a:lnTo>
                    <a:pt x="893" y="51"/>
                  </a:lnTo>
                  <a:lnTo>
                    <a:pt x="892" y="51"/>
                  </a:lnTo>
                  <a:lnTo>
                    <a:pt x="890" y="51"/>
                  </a:lnTo>
                  <a:lnTo>
                    <a:pt x="888" y="51"/>
                  </a:lnTo>
                  <a:lnTo>
                    <a:pt x="887" y="51"/>
                  </a:lnTo>
                  <a:lnTo>
                    <a:pt x="884" y="50"/>
                  </a:lnTo>
                  <a:lnTo>
                    <a:pt x="883" y="51"/>
                  </a:lnTo>
                  <a:lnTo>
                    <a:pt x="882" y="51"/>
                  </a:lnTo>
                  <a:lnTo>
                    <a:pt x="881" y="51"/>
                  </a:lnTo>
                  <a:lnTo>
                    <a:pt x="882" y="51"/>
                  </a:lnTo>
                  <a:lnTo>
                    <a:pt x="883" y="51"/>
                  </a:lnTo>
                  <a:lnTo>
                    <a:pt x="885" y="51"/>
                  </a:lnTo>
                  <a:lnTo>
                    <a:pt x="887" y="52"/>
                  </a:lnTo>
                  <a:lnTo>
                    <a:pt x="889" y="52"/>
                  </a:lnTo>
                  <a:lnTo>
                    <a:pt x="891" y="52"/>
                  </a:lnTo>
                  <a:lnTo>
                    <a:pt x="892" y="52"/>
                  </a:lnTo>
                  <a:lnTo>
                    <a:pt x="891" y="52"/>
                  </a:lnTo>
                  <a:lnTo>
                    <a:pt x="890" y="52"/>
                  </a:lnTo>
                  <a:lnTo>
                    <a:pt x="888" y="53"/>
                  </a:lnTo>
                  <a:lnTo>
                    <a:pt x="887" y="53"/>
                  </a:lnTo>
                  <a:lnTo>
                    <a:pt x="885" y="53"/>
                  </a:lnTo>
                  <a:lnTo>
                    <a:pt x="883" y="53"/>
                  </a:lnTo>
                  <a:lnTo>
                    <a:pt x="882" y="53"/>
                  </a:lnTo>
                  <a:lnTo>
                    <a:pt x="880" y="55"/>
                  </a:lnTo>
                  <a:lnTo>
                    <a:pt x="878" y="55"/>
                  </a:lnTo>
                  <a:lnTo>
                    <a:pt x="876" y="55"/>
                  </a:lnTo>
                  <a:lnTo>
                    <a:pt x="876" y="53"/>
                  </a:lnTo>
                  <a:lnTo>
                    <a:pt x="873" y="53"/>
                  </a:lnTo>
                  <a:lnTo>
                    <a:pt x="869" y="55"/>
                  </a:lnTo>
                  <a:lnTo>
                    <a:pt x="867" y="53"/>
                  </a:lnTo>
                  <a:lnTo>
                    <a:pt x="864" y="55"/>
                  </a:lnTo>
                  <a:lnTo>
                    <a:pt x="866" y="55"/>
                  </a:lnTo>
                  <a:lnTo>
                    <a:pt x="866" y="56"/>
                  </a:lnTo>
                  <a:lnTo>
                    <a:pt x="867" y="56"/>
                  </a:lnTo>
                  <a:lnTo>
                    <a:pt x="866" y="56"/>
                  </a:lnTo>
                  <a:lnTo>
                    <a:pt x="866" y="57"/>
                  </a:lnTo>
                  <a:lnTo>
                    <a:pt x="864" y="57"/>
                  </a:lnTo>
                  <a:lnTo>
                    <a:pt x="866" y="57"/>
                  </a:lnTo>
                  <a:lnTo>
                    <a:pt x="867" y="57"/>
                  </a:lnTo>
                  <a:lnTo>
                    <a:pt x="866" y="58"/>
                  </a:lnTo>
                  <a:lnTo>
                    <a:pt x="867" y="58"/>
                  </a:lnTo>
                  <a:lnTo>
                    <a:pt x="864" y="58"/>
                  </a:lnTo>
                  <a:lnTo>
                    <a:pt x="864" y="59"/>
                  </a:lnTo>
                  <a:lnTo>
                    <a:pt x="863" y="59"/>
                  </a:lnTo>
                  <a:lnTo>
                    <a:pt x="861" y="59"/>
                  </a:lnTo>
                  <a:lnTo>
                    <a:pt x="860" y="60"/>
                  </a:lnTo>
                  <a:lnTo>
                    <a:pt x="857" y="60"/>
                  </a:lnTo>
                  <a:lnTo>
                    <a:pt x="855" y="62"/>
                  </a:lnTo>
                  <a:lnTo>
                    <a:pt x="854" y="62"/>
                  </a:lnTo>
                  <a:lnTo>
                    <a:pt x="855" y="60"/>
                  </a:lnTo>
                  <a:lnTo>
                    <a:pt x="854" y="60"/>
                  </a:lnTo>
                  <a:lnTo>
                    <a:pt x="853" y="60"/>
                  </a:lnTo>
                  <a:lnTo>
                    <a:pt x="853" y="62"/>
                  </a:lnTo>
                  <a:lnTo>
                    <a:pt x="852" y="62"/>
                  </a:lnTo>
                  <a:lnTo>
                    <a:pt x="850" y="62"/>
                  </a:lnTo>
                  <a:lnTo>
                    <a:pt x="848" y="62"/>
                  </a:lnTo>
                  <a:lnTo>
                    <a:pt x="846" y="62"/>
                  </a:lnTo>
                  <a:lnTo>
                    <a:pt x="845" y="62"/>
                  </a:lnTo>
                  <a:lnTo>
                    <a:pt x="843" y="62"/>
                  </a:lnTo>
                  <a:lnTo>
                    <a:pt x="842" y="62"/>
                  </a:lnTo>
                  <a:lnTo>
                    <a:pt x="841" y="62"/>
                  </a:lnTo>
                  <a:lnTo>
                    <a:pt x="840" y="62"/>
                  </a:lnTo>
                  <a:lnTo>
                    <a:pt x="839" y="62"/>
                  </a:lnTo>
                  <a:lnTo>
                    <a:pt x="838" y="62"/>
                  </a:lnTo>
                  <a:lnTo>
                    <a:pt x="836" y="62"/>
                  </a:lnTo>
                  <a:lnTo>
                    <a:pt x="835" y="60"/>
                  </a:lnTo>
                  <a:lnTo>
                    <a:pt x="834" y="60"/>
                  </a:lnTo>
                  <a:lnTo>
                    <a:pt x="833" y="60"/>
                  </a:lnTo>
                  <a:lnTo>
                    <a:pt x="833" y="59"/>
                  </a:lnTo>
                  <a:lnTo>
                    <a:pt x="832" y="59"/>
                  </a:lnTo>
                  <a:lnTo>
                    <a:pt x="831" y="59"/>
                  </a:lnTo>
                  <a:lnTo>
                    <a:pt x="832" y="59"/>
                  </a:lnTo>
                  <a:lnTo>
                    <a:pt x="832" y="58"/>
                  </a:lnTo>
                  <a:lnTo>
                    <a:pt x="831" y="58"/>
                  </a:lnTo>
                  <a:lnTo>
                    <a:pt x="832" y="58"/>
                  </a:lnTo>
                  <a:lnTo>
                    <a:pt x="831" y="58"/>
                  </a:lnTo>
                  <a:lnTo>
                    <a:pt x="829" y="58"/>
                  </a:lnTo>
                  <a:lnTo>
                    <a:pt x="831" y="57"/>
                  </a:lnTo>
                  <a:lnTo>
                    <a:pt x="829" y="57"/>
                  </a:lnTo>
                  <a:lnTo>
                    <a:pt x="829" y="58"/>
                  </a:lnTo>
                  <a:lnTo>
                    <a:pt x="831" y="59"/>
                  </a:lnTo>
                  <a:lnTo>
                    <a:pt x="829" y="59"/>
                  </a:lnTo>
                  <a:lnTo>
                    <a:pt x="828" y="59"/>
                  </a:lnTo>
                  <a:lnTo>
                    <a:pt x="828" y="60"/>
                  </a:lnTo>
                  <a:lnTo>
                    <a:pt x="829" y="60"/>
                  </a:lnTo>
                  <a:lnTo>
                    <a:pt x="831" y="60"/>
                  </a:lnTo>
                  <a:lnTo>
                    <a:pt x="833" y="60"/>
                  </a:lnTo>
                  <a:lnTo>
                    <a:pt x="833" y="62"/>
                  </a:lnTo>
                  <a:lnTo>
                    <a:pt x="832" y="62"/>
                  </a:lnTo>
                  <a:lnTo>
                    <a:pt x="829" y="62"/>
                  </a:lnTo>
                  <a:lnTo>
                    <a:pt x="826" y="62"/>
                  </a:lnTo>
                  <a:lnTo>
                    <a:pt x="824" y="62"/>
                  </a:lnTo>
                  <a:lnTo>
                    <a:pt x="823" y="62"/>
                  </a:lnTo>
                  <a:lnTo>
                    <a:pt x="824" y="62"/>
                  </a:lnTo>
                  <a:lnTo>
                    <a:pt x="825" y="62"/>
                  </a:lnTo>
                  <a:lnTo>
                    <a:pt x="825" y="63"/>
                  </a:lnTo>
                  <a:lnTo>
                    <a:pt x="827" y="63"/>
                  </a:lnTo>
                  <a:lnTo>
                    <a:pt x="828" y="63"/>
                  </a:lnTo>
                  <a:lnTo>
                    <a:pt x="833" y="62"/>
                  </a:lnTo>
                  <a:lnTo>
                    <a:pt x="835" y="62"/>
                  </a:lnTo>
                  <a:lnTo>
                    <a:pt x="839" y="63"/>
                  </a:lnTo>
                  <a:lnTo>
                    <a:pt x="840" y="63"/>
                  </a:lnTo>
                  <a:lnTo>
                    <a:pt x="841" y="63"/>
                  </a:lnTo>
                  <a:lnTo>
                    <a:pt x="840" y="63"/>
                  </a:lnTo>
                  <a:lnTo>
                    <a:pt x="839" y="63"/>
                  </a:lnTo>
                  <a:lnTo>
                    <a:pt x="839" y="64"/>
                  </a:lnTo>
                  <a:lnTo>
                    <a:pt x="838" y="64"/>
                  </a:lnTo>
                  <a:lnTo>
                    <a:pt x="836" y="64"/>
                  </a:lnTo>
                  <a:lnTo>
                    <a:pt x="838" y="64"/>
                  </a:lnTo>
                  <a:lnTo>
                    <a:pt x="841" y="63"/>
                  </a:lnTo>
                  <a:lnTo>
                    <a:pt x="845" y="63"/>
                  </a:lnTo>
                  <a:lnTo>
                    <a:pt x="847" y="63"/>
                  </a:lnTo>
                  <a:lnTo>
                    <a:pt x="848" y="63"/>
                  </a:lnTo>
                  <a:lnTo>
                    <a:pt x="849" y="63"/>
                  </a:lnTo>
                  <a:lnTo>
                    <a:pt x="850" y="63"/>
                  </a:lnTo>
                  <a:lnTo>
                    <a:pt x="849" y="63"/>
                  </a:lnTo>
                  <a:lnTo>
                    <a:pt x="849" y="64"/>
                  </a:lnTo>
                  <a:lnTo>
                    <a:pt x="848" y="64"/>
                  </a:lnTo>
                  <a:lnTo>
                    <a:pt x="845" y="65"/>
                  </a:lnTo>
                  <a:lnTo>
                    <a:pt x="845" y="66"/>
                  </a:lnTo>
                  <a:lnTo>
                    <a:pt x="847" y="66"/>
                  </a:lnTo>
                  <a:lnTo>
                    <a:pt x="848" y="66"/>
                  </a:lnTo>
                  <a:lnTo>
                    <a:pt x="849" y="66"/>
                  </a:lnTo>
                  <a:lnTo>
                    <a:pt x="848" y="66"/>
                  </a:lnTo>
                  <a:lnTo>
                    <a:pt x="847" y="66"/>
                  </a:lnTo>
                  <a:lnTo>
                    <a:pt x="847" y="67"/>
                  </a:lnTo>
                  <a:lnTo>
                    <a:pt x="849" y="67"/>
                  </a:lnTo>
                  <a:lnTo>
                    <a:pt x="849" y="66"/>
                  </a:lnTo>
                  <a:lnTo>
                    <a:pt x="850" y="66"/>
                  </a:lnTo>
                  <a:lnTo>
                    <a:pt x="852" y="66"/>
                  </a:lnTo>
                  <a:lnTo>
                    <a:pt x="853" y="65"/>
                  </a:lnTo>
                  <a:lnTo>
                    <a:pt x="854" y="65"/>
                  </a:lnTo>
                  <a:lnTo>
                    <a:pt x="855" y="65"/>
                  </a:lnTo>
                  <a:lnTo>
                    <a:pt x="856" y="65"/>
                  </a:lnTo>
                  <a:lnTo>
                    <a:pt x="857" y="65"/>
                  </a:lnTo>
                  <a:lnTo>
                    <a:pt x="859" y="65"/>
                  </a:lnTo>
                  <a:lnTo>
                    <a:pt x="857" y="66"/>
                  </a:lnTo>
                  <a:lnTo>
                    <a:pt x="857" y="67"/>
                  </a:lnTo>
                  <a:lnTo>
                    <a:pt x="859" y="67"/>
                  </a:lnTo>
                  <a:lnTo>
                    <a:pt x="857" y="67"/>
                  </a:lnTo>
                  <a:lnTo>
                    <a:pt x="856" y="69"/>
                  </a:lnTo>
                  <a:lnTo>
                    <a:pt x="855" y="70"/>
                  </a:lnTo>
                  <a:lnTo>
                    <a:pt x="854" y="70"/>
                  </a:lnTo>
                  <a:lnTo>
                    <a:pt x="853" y="70"/>
                  </a:lnTo>
                  <a:lnTo>
                    <a:pt x="852" y="70"/>
                  </a:lnTo>
                  <a:lnTo>
                    <a:pt x="850" y="70"/>
                  </a:lnTo>
                  <a:lnTo>
                    <a:pt x="852" y="71"/>
                  </a:lnTo>
                  <a:lnTo>
                    <a:pt x="849" y="71"/>
                  </a:lnTo>
                  <a:lnTo>
                    <a:pt x="848" y="71"/>
                  </a:lnTo>
                  <a:lnTo>
                    <a:pt x="847" y="71"/>
                  </a:lnTo>
                  <a:lnTo>
                    <a:pt x="846" y="71"/>
                  </a:lnTo>
                  <a:lnTo>
                    <a:pt x="847" y="71"/>
                  </a:lnTo>
                  <a:lnTo>
                    <a:pt x="847" y="70"/>
                  </a:lnTo>
                  <a:lnTo>
                    <a:pt x="848" y="70"/>
                  </a:lnTo>
                  <a:lnTo>
                    <a:pt x="847" y="70"/>
                  </a:lnTo>
                  <a:lnTo>
                    <a:pt x="846" y="70"/>
                  </a:lnTo>
                  <a:lnTo>
                    <a:pt x="845" y="71"/>
                  </a:lnTo>
                  <a:lnTo>
                    <a:pt x="843" y="71"/>
                  </a:lnTo>
                  <a:lnTo>
                    <a:pt x="843" y="72"/>
                  </a:lnTo>
                  <a:lnTo>
                    <a:pt x="842" y="72"/>
                  </a:lnTo>
                  <a:lnTo>
                    <a:pt x="840" y="72"/>
                  </a:lnTo>
                  <a:lnTo>
                    <a:pt x="839" y="72"/>
                  </a:lnTo>
                  <a:lnTo>
                    <a:pt x="839" y="73"/>
                  </a:lnTo>
                  <a:lnTo>
                    <a:pt x="838" y="73"/>
                  </a:lnTo>
                  <a:lnTo>
                    <a:pt x="836" y="73"/>
                  </a:lnTo>
                  <a:lnTo>
                    <a:pt x="835" y="73"/>
                  </a:lnTo>
                  <a:lnTo>
                    <a:pt x="833" y="73"/>
                  </a:lnTo>
                  <a:lnTo>
                    <a:pt x="829" y="74"/>
                  </a:lnTo>
                  <a:lnTo>
                    <a:pt x="828" y="74"/>
                  </a:lnTo>
                  <a:lnTo>
                    <a:pt x="827" y="74"/>
                  </a:lnTo>
                  <a:lnTo>
                    <a:pt x="826" y="74"/>
                  </a:lnTo>
                  <a:lnTo>
                    <a:pt x="825" y="74"/>
                  </a:lnTo>
                  <a:lnTo>
                    <a:pt x="824" y="74"/>
                  </a:lnTo>
                  <a:lnTo>
                    <a:pt x="823" y="74"/>
                  </a:lnTo>
                  <a:lnTo>
                    <a:pt x="821" y="74"/>
                  </a:lnTo>
                  <a:lnTo>
                    <a:pt x="821" y="76"/>
                  </a:lnTo>
                  <a:lnTo>
                    <a:pt x="819" y="76"/>
                  </a:lnTo>
                  <a:lnTo>
                    <a:pt x="820" y="76"/>
                  </a:lnTo>
                  <a:lnTo>
                    <a:pt x="820" y="74"/>
                  </a:lnTo>
                  <a:lnTo>
                    <a:pt x="821" y="74"/>
                  </a:lnTo>
                  <a:lnTo>
                    <a:pt x="820" y="74"/>
                  </a:lnTo>
                  <a:lnTo>
                    <a:pt x="821" y="74"/>
                  </a:lnTo>
                  <a:lnTo>
                    <a:pt x="821" y="73"/>
                  </a:lnTo>
                  <a:lnTo>
                    <a:pt x="823" y="73"/>
                  </a:lnTo>
                  <a:lnTo>
                    <a:pt x="824" y="73"/>
                  </a:lnTo>
                  <a:lnTo>
                    <a:pt x="825" y="73"/>
                  </a:lnTo>
                  <a:lnTo>
                    <a:pt x="825" y="72"/>
                  </a:lnTo>
                  <a:lnTo>
                    <a:pt x="826" y="72"/>
                  </a:lnTo>
                  <a:lnTo>
                    <a:pt x="825" y="72"/>
                  </a:lnTo>
                  <a:lnTo>
                    <a:pt x="825" y="71"/>
                  </a:lnTo>
                  <a:lnTo>
                    <a:pt x="824" y="71"/>
                  </a:lnTo>
                  <a:lnTo>
                    <a:pt x="823" y="71"/>
                  </a:lnTo>
                  <a:lnTo>
                    <a:pt x="824" y="71"/>
                  </a:lnTo>
                  <a:lnTo>
                    <a:pt x="824" y="70"/>
                  </a:lnTo>
                  <a:lnTo>
                    <a:pt x="823" y="71"/>
                  </a:lnTo>
                  <a:lnTo>
                    <a:pt x="821" y="71"/>
                  </a:lnTo>
                  <a:lnTo>
                    <a:pt x="820" y="71"/>
                  </a:lnTo>
                  <a:lnTo>
                    <a:pt x="819" y="71"/>
                  </a:lnTo>
                  <a:lnTo>
                    <a:pt x="816" y="71"/>
                  </a:lnTo>
                  <a:lnTo>
                    <a:pt x="814" y="71"/>
                  </a:lnTo>
                  <a:lnTo>
                    <a:pt x="816" y="71"/>
                  </a:lnTo>
                  <a:lnTo>
                    <a:pt x="816" y="70"/>
                  </a:lnTo>
                  <a:lnTo>
                    <a:pt x="817" y="70"/>
                  </a:lnTo>
                  <a:lnTo>
                    <a:pt x="816" y="70"/>
                  </a:lnTo>
                  <a:lnTo>
                    <a:pt x="817" y="70"/>
                  </a:lnTo>
                  <a:lnTo>
                    <a:pt x="818" y="70"/>
                  </a:lnTo>
                  <a:lnTo>
                    <a:pt x="819" y="69"/>
                  </a:lnTo>
                  <a:lnTo>
                    <a:pt x="818" y="69"/>
                  </a:lnTo>
                  <a:lnTo>
                    <a:pt x="816" y="70"/>
                  </a:lnTo>
                  <a:lnTo>
                    <a:pt x="814" y="70"/>
                  </a:lnTo>
                  <a:lnTo>
                    <a:pt x="813" y="69"/>
                  </a:lnTo>
                  <a:lnTo>
                    <a:pt x="813" y="67"/>
                  </a:lnTo>
                  <a:lnTo>
                    <a:pt x="812" y="67"/>
                  </a:lnTo>
                  <a:lnTo>
                    <a:pt x="812" y="69"/>
                  </a:lnTo>
                  <a:lnTo>
                    <a:pt x="813" y="69"/>
                  </a:lnTo>
                  <a:lnTo>
                    <a:pt x="812" y="69"/>
                  </a:lnTo>
                  <a:lnTo>
                    <a:pt x="813" y="70"/>
                  </a:lnTo>
                  <a:lnTo>
                    <a:pt x="814" y="70"/>
                  </a:lnTo>
                  <a:lnTo>
                    <a:pt x="816" y="70"/>
                  </a:lnTo>
                  <a:lnTo>
                    <a:pt x="814" y="71"/>
                  </a:lnTo>
                  <a:lnTo>
                    <a:pt x="813" y="71"/>
                  </a:lnTo>
                  <a:lnTo>
                    <a:pt x="813" y="72"/>
                  </a:lnTo>
                  <a:lnTo>
                    <a:pt x="812" y="72"/>
                  </a:lnTo>
                  <a:lnTo>
                    <a:pt x="809" y="72"/>
                  </a:lnTo>
                  <a:lnTo>
                    <a:pt x="806" y="72"/>
                  </a:lnTo>
                  <a:lnTo>
                    <a:pt x="805" y="72"/>
                  </a:lnTo>
                  <a:lnTo>
                    <a:pt x="805" y="71"/>
                  </a:lnTo>
                  <a:lnTo>
                    <a:pt x="806" y="71"/>
                  </a:lnTo>
                  <a:lnTo>
                    <a:pt x="806" y="70"/>
                  </a:lnTo>
                  <a:lnTo>
                    <a:pt x="805" y="70"/>
                  </a:lnTo>
                  <a:lnTo>
                    <a:pt x="806" y="70"/>
                  </a:lnTo>
                  <a:lnTo>
                    <a:pt x="805" y="69"/>
                  </a:lnTo>
                  <a:lnTo>
                    <a:pt x="806" y="67"/>
                  </a:lnTo>
                  <a:lnTo>
                    <a:pt x="805" y="67"/>
                  </a:lnTo>
                  <a:lnTo>
                    <a:pt x="805" y="69"/>
                  </a:lnTo>
                  <a:lnTo>
                    <a:pt x="804" y="69"/>
                  </a:lnTo>
                  <a:lnTo>
                    <a:pt x="804" y="70"/>
                  </a:lnTo>
                  <a:lnTo>
                    <a:pt x="805" y="70"/>
                  </a:lnTo>
                  <a:lnTo>
                    <a:pt x="804" y="71"/>
                  </a:lnTo>
                  <a:lnTo>
                    <a:pt x="804" y="72"/>
                  </a:lnTo>
                  <a:lnTo>
                    <a:pt x="803" y="72"/>
                  </a:lnTo>
                  <a:lnTo>
                    <a:pt x="799" y="72"/>
                  </a:lnTo>
                  <a:lnTo>
                    <a:pt x="799" y="71"/>
                  </a:lnTo>
                  <a:lnTo>
                    <a:pt x="798" y="71"/>
                  </a:lnTo>
                  <a:lnTo>
                    <a:pt x="797" y="71"/>
                  </a:lnTo>
                  <a:lnTo>
                    <a:pt x="797" y="70"/>
                  </a:lnTo>
                  <a:lnTo>
                    <a:pt x="798" y="70"/>
                  </a:lnTo>
                  <a:lnTo>
                    <a:pt x="797" y="69"/>
                  </a:lnTo>
                  <a:lnTo>
                    <a:pt x="796" y="69"/>
                  </a:lnTo>
                  <a:lnTo>
                    <a:pt x="796" y="70"/>
                  </a:lnTo>
                  <a:lnTo>
                    <a:pt x="797" y="70"/>
                  </a:lnTo>
                  <a:lnTo>
                    <a:pt x="796" y="70"/>
                  </a:lnTo>
                  <a:lnTo>
                    <a:pt x="796" y="71"/>
                  </a:lnTo>
                  <a:lnTo>
                    <a:pt x="795" y="71"/>
                  </a:lnTo>
                  <a:lnTo>
                    <a:pt x="796" y="71"/>
                  </a:lnTo>
                  <a:lnTo>
                    <a:pt x="795" y="71"/>
                  </a:lnTo>
                  <a:lnTo>
                    <a:pt x="795" y="72"/>
                  </a:lnTo>
                  <a:lnTo>
                    <a:pt x="791" y="72"/>
                  </a:lnTo>
                  <a:lnTo>
                    <a:pt x="790" y="72"/>
                  </a:lnTo>
                  <a:lnTo>
                    <a:pt x="790" y="71"/>
                  </a:lnTo>
                  <a:lnTo>
                    <a:pt x="790" y="70"/>
                  </a:lnTo>
                  <a:lnTo>
                    <a:pt x="789" y="70"/>
                  </a:lnTo>
                  <a:lnTo>
                    <a:pt x="788" y="70"/>
                  </a:lnTo>
                  <a:lnTo>
                    <a:pt x="788" y="71"/>
                  </a:lnTo>
                  <a:lnTo>
                    <a:pt x="788" y="72"/>
                  </a:lnTo>
                  <a:lnTo>
                    <a:pt x="790" y="72"/>
                  </a:lnTo>
                  <a:lnTo>
                    <a:pt x="791" y="73"/>
                  </a:lnTo>
                  <a:lnTo>
                    <a:pt x="788" y="73"/>
                  </a:lnTo>
                  <a:lnTo>
                    <a:pt x="783" y="73"/>
                  </a:lnTo>
                  <a:lnTo>
                    <a:pt x="782" y="73"/>
                  </a:lnTo>
                  <a:lnTo>
                    <a:pt x="781" y="73"/>
                  </a:lnTo>
                  <a:lnTo>
                    <a:pt x="779" y="73"/>
                  </a:lnTo>
                  <a:lnTo>
                    <a:pt x="778" y="73"/>
                  </a:lnTo>
                  <a:lnTo>
                    <a:pt x="777" y="72"/>
                  </a:lnTo>
                  <a:lnTo>
                    <a:pt x="776" y="72"/>
                  </a:lnTo>
                  <a:lnTo>
                    <a:pt x="775" y="72"/>
                  </a:lnTo>
                  <a:lnTo>
                    <a:pt x="774" y="72"/>
                  </a:lnTo>
                  <a:lnTo>
                    <a:pt x="775" y="71"/>
                  </a:lnTo>
                  <a:lnTo>
                    <a:pt x="776" y="71"/>
                  </a:lnTo>
                  <a:lnTo>
                    <a:pt x="777" y="71"/>
                  </a:lnTo>
                  <a:lnTo>
                    <a:pt x="776" y="70"/>
                  </a:lnTo>
                  <a:lnTo>
                    <a:pt x="775" y="70"/>
                  </a:lnTo>
                  <a:lnTo>
                    <a:pt x="776" y="71"/>
                  </a:lnTo>
                  <a:lnTo>
                    <a:pt x="772" y="71"/>
                  </a:lnTo>
                  <a:lnTo>
                    <a:pt x="772" y="72"/>
                  </a:lnTo>
                  <a:lnTo>
                    <a:pt x="771" y="72"/>
                  </a:lnTo>
                  <a:lnTo>
                    <a:pt x="770" y="72"/>
                  </a:lnTo>
                  <a:lnTo>
                    <a:pt x="770" y="73"/>
                  </a:lnTo>
                  <a:lnTo>
                    <a:pt x="769" y="73"/>
                  </a:lnTo>
                  <a:lnTo>
                    <a:pt x="769" y="72"/>
                  </a:lnTo>
                  <a:lnTo>
                    <a:pt x="767" y="72"/>
                  </a:lnTo>
                  <a:lnTo>
                    <a:pt x="768" y="72"/>
                  </a:lnTo>
                  <a:lnTo>
                    <a:pt x="765" y="72"/>
                  </a:lnTo>
                  <a:lnTo>
                    <a:pt x="765" y="71"/>
                  </a:lnTo>
                  <a:lnTo>
                    <a:pt x="765" y="70"/>
                  </a:lnTo>
                  <a:lnTo>
                    <a:pt x="767" y="70"/>
                  </a:lnTo>
                  <a:lnTo>
                    <a:pt x="765" y="70"/>
                  </a:lnTo>
                  <a:lnTo>
                    <a:pt x="764" y="70"/>
                  </a:lnTo>
                  <a:lnTo>
                    <a:pt x="764" y="71"/>
                  </a:lnTo>
                  <a:lnTo>
                    <a:pt x="765" y="71"/>
                  </a:lnTo>
                  <a:lnTo>
                    <a:pt x="764" y="71"/>
                  </a:lnTo>
                  <a:lnTo>
                    <a:pt x="764" y="72"/>
                  </a:lnTo>
                  <a:lnTo>
                    <a:pt x="763" y="72"/>
                  </a:lnTo>
                  <a:lnTo>
                    <a:pt x="764" y="73"/>
                  </a:lnTo>
                  <a:lnTo>
                    <a:pt x="763" y="73"/>
                  </a:lnTo>
                  <a:lnTo>
                    <a:pt x="763" y="72"/>
                  </a:lnTo>
                  <a:lnTo>
                    <a:pt x="762" y="72"/>
                  </a:lnTo>
                  <a:lnTo>
                    <a:pt x="762" y="73"/>
                  </a:lnTo>
                  <a:lnTo>
                    <a:pt x="761" y="73"/>
                  </a:lnTo>
                  <a:lnTo>
                    <a:pt x="761" y="72"/>
                  </a:lnTo>
                  <a:lnTo>
                    <a:pt x="760" y="72"/>
                  </a:lnTo>
                  <a:lnTo>
                    <a:pt x="755" y="72"/>
                  </a:lnTo>
                  <a:lnTo>
                    <a:pt x="756" y="72"/>
                  </a:lnTo>
                  <a:lnTo>
                    <a:pt x="756" y="71"/>
                  </a:lnTo>
                  <a:lnTo>
                    <a:pt x="757" y="71"/>
                  </a:lnTo>
                  <a:lnTo>
                    <a:pt x="757" y="70"/>
                  </a:lnTo>
                  <a:lnTo>
                    <a:pt x="757" y="69"/>
                  </a:lnTo>
                  <a:lnTo>
                    <a:pt x="759" y="69"/>
                  </a:lnTo>
                  <a:lnTo>
                    <a:pt x="757" y="69"/>
                  </a:lnTo>
                  <a:lnTo>
                    <a:pt x="759" y="69"/>
                  </a:lnTo>
                  <a:lnTo>
                    <a:pt x="760" y="67"/>
                  </a:lnTo>
                  <a:lnTo>
                    <a:pt x="759" y="67"/>
                  </a:lnTo>
                  <a:lnTo>
                    <a:pt x="757" y="67"/>
                  </a:lnTo>
                  <a:lnTo>
                    <a:pt x="757" y="69"/>
                  </a:lnTo>
                  <a:lnTo>
                    <a:pt x="756" y="69"/>
                  </a:lnTo>
                  <a:lnTo>
                    <a:pt x="756" y="70"/>
                  </a:lnTo>
                  <a:lnTo>
                    <a:pt x="755" y="70"/>
                  </a:lnTo>
                  <a:lnTo>
                    <a:pt x="756" y="70"/>
                  </a:lnTo>
                  <a:lnTo>
                    <a:pt x="756" y="71"/>
                  </a:lnTo>
                  <a:lnTo>
                    <a:pt x="755" y="71"/>
                  </a:lnTo>
                  <a:lnTo>
                    <a:pt x="754" y="72"/>
                  </a:lnTo>
                  <a:lnTo>
                    <a:pt x="753" y="72"/>
                  </a:lnTo>
                  <a:lnTo>
                    <a:pt x="754" y="71"/>
                  </a:lnTo>
                  <a:lnTo>
                    <a:pt x="755" y="71"/>
                  </a:lnTo>
                  <a:lnTo>
                    <a:pt x="755" y="70"/>
                  </a:lnTo>
                  <a:lnTo>
                    <a:pt x="754" y="70"/>
                  </a:lnTo>
                  <a:lnTo>
                    <a:pt x="754" y="71"/>
                  </a:lnTo>
                  <a:lnTo>
                    <a:pt x="753" y="71"/>
                  </a:lnTo>
                  <a:lnTo>
                    <a:pt x="753" y="72"/>
                  </a:lnTo>
                  <a:lnTo>
                    <a:pt x="752" y="72"/>
                  </a:lnTo>
                  <a:lnTo>
                    <a:pt x="750" y="72"/>
                  </a:lnTo>
                  <a:lnTo>
                    <a:pt x="749" y="72"/>
                  </a:lnTo>
                  <a:lnTo>
                    <a:pt x="750" y="72"/>
                  </a:lnTo>
                  <a:lnTo>
                    <a:pt x="749" y="72"/>
                  </a:lnTo>
                  <a:lnTo>
                    <a:pt x="748" y="72"/>
                  </a:lnTo>
                  <a:lnTo>
                    <a:pt x="748" y="71"/>
                  </a:lnTo>
                  <a:lnTo>
                    <a:pt x="747" y="71"/>
                  </a:lnTo>
                  <a:lnTo>
                    <a:pt x="748" y="71"/>
                  </a:lnTo>
                  <a:lnTo>
                    <a:pt x="748" y="70"/>
                  </a:lnTo>
                  <a:lnTo>
                    <a:pt x="747" y="71"/>
                  </a:lnTo>
                  <a:lnTo>
                    <a:pt x="747" y="70"/>
                  </a:lnTo>
                  <a:lnTo>
                    <a:pt x="746" y="70"/>
                  </a:lnTo>
                  <a:lnTo>
                    <a:pt x="747" y="70"/>
                  </a:lnTo>
                  <a:lnTo>
                    <a:pt x="749" y="69"/>
                  </a:lnTo>
                  <a:lnTo>
                    <a:pt x="750" y="69"/>
                  </a:lnTo>
                  <a:lnTo>
                    <a:pt x="750" y="67"/>
                  </a:lnTo>
                  <a:lnTo>
                    <a:pt x="750" y="66"/>
                  </a:lnTo>
                  <a:lnTo>
                    <a:pt x="752" y="66"/>
                  </a:lnTo>
                  <a:lnTo>
                    <a:pt x="757" y="65"/>
                  </a:lnTo>
                  <a:lnTo>
                    <a:pt x="760" y="65"/>
                  </a:lnTo>
                  <a:lnTo>
                    <a:pt x="761" y="65"/>
                  </a:lnTo>
                  <a:lnTo>
                    <a:pt x="762" y="64"/>
                  </a:lnTo>
                  <a:lnTo>
                    <a:pt x="763" y="64"/>
                  </a:lnTo>
                  <a:lnTo>
                    <a:pt x="764" y="64"/>
                  </a:lnTo>
                  <a:lnTo>
                    <a:pt x="763" y="64"/>
                  </a:lnTo>
                  <a:lnTo>
                    <a:pt x="764" y="64"/>
                  </a:lnTo>
                  <a:lnTo>
                    <a:pt x="765" y="64"/>
                  </a:lnTo>
                  <a:lnTo>
                    <a:pt x="767" y="64"/>
                  </a:lnTo>
                  <a:lnTo>
                    <a:pt x="769" y="64"/>
                  </a:lnTo>
                  <a:lnTo>
                    <a:pt x="770" y="64"/>
                  </a:lnTo>
                  <a:lnTo>
                    <a:pt x="771" y="64"/>
                  </a:lnTo>
                  <a:lnTo>
                    <a:pt x="772" y="64"/>
                  </a:lnTo>
                  <a:lnTo>
                    <a:pt x="774" y="64"/>
                  </a:lnTo>
                  <a:lnTo>
                    <a:pt x="772" y="64"/>
                  </a:lnTo>
                  <a:lnTo>
                    <a:pt x="774" y="64"/>
                  </a:lnTo>
                  <a:lnTo>
                    <a:pt x="774" y="63"/>
                  </a:lnTo>
                  <a:lnTo>
                    <a:pt x="775" y="63"/>
                  </a:lnTo>
                  <a:lnTo>
                    <a:pt x="777" y="63"/>
                  </a:lnTo>
                  <a:lnTo>
                    <a:pt x="778" y="63"/>
                  </a:lnTo>
                  <a:lnTo>
                    <a:pt x="778" y="64"/>
                  </a:lnTo>
                  <a:lnTo>
                    <a:pt x="779" y="64"/>
                  </a:lnTo>
                  <a:lnTo>
                    <a:pt x="778" y="63"/>
                  </a:lnTo>
                  <a:lnTo>
                    <a:pt x="782" y="63"/>
                  </a:lnTo>
                  <a:lnTo>
                    <a:pt x="781" y="63"/>
                  </a:lnTo>
                  <a:lnTo>
                    <a:pt x="779" y="63"/>
                  </a:lnTo>
                  <a:lnTo>
                    <a:pt x="778" y="63"/>
                  </a:lnTo>
                  <a:lnTo>
                    <a:pt x="777" y="63"/>
                  </a:lnTo>
                  <a:lnTo>
                    <a:pt x="776" y="63"/>
                  </a:lnTo>
                  <a:lnTo>
                    <a:pt x="777" y="63"/>
                  </a:lnTo>
                  <a:lnTo>
                    <a:pt x="778" y="62"/>
                  </a:lnTo>
                  <a:lnTo>
                    <a:pt x="779" y="62"/>
                  </a:lnTo>
                  <a:lnTo>
                    <a:pt x="777" y="62"/>
                  </a:lnTo>
                  <a:lnTo>
                    <a:pt x="778" y="62"/>
                  </a:lnTo>
                  <a:lnTo>
                    <a:pt x="779" y="62"/>
                  </a:lnTo>
                  <a:lnTo>
                    <a:pt x="779" y="60"/>
                  </a:lnTo>
                  <a:lnTo>
                    <a:pt x="781" y="62"/>
                  </a:lnTo>
                  <a:lnTo>
                    <a:pt x="782" y="60"/>
                  </a:lnTo>
                  <a:lnTo>
                    <a:pt x="779" y="60"/>
                  </a:lnTo>
                  <a:lnTo>
                    <a:pt x="777" y="62"/>
                  </a:lnTo>
                  <a:lnTo>
                    <a:pt x="774" y="60"/>
                  </a:lnTo>
                  <a:lnTo>
                    <a:pt x="775" y="59"/>
                  </a:lnTo>
                  <a:lnTo>
                    <a:pt x="776" y="59"/>
                  </a:lnTo>
                  <a:lnTo>
                    <a:pt x="776" y="58"/>
                  </a:lnTo>
                  <a:lnTo>
                    <a:pt x="775" y="58"/>
                  </a:lnTo>
                  <a:lnTo>
                    <a:pt x="776" y="58"/>
                  </a:lnTo>
                  <a:lnTo>
                    <a:pt x="775" y="58"/>
                  </a:lnTo>
                  <a:lnTo>
                    <a:pt x="774" y="58"/>
                  </a:lnTo>
                  <a:lnTo>
                    <a:pt x="772" y="58"/>
                  </a:lnTo>
                  <a:lnTo>
                    <a:pt x="772" y="57"/>
                  </a:lnTo>
                  <a:lnTo>
                    <a:pt x="774" y="57"/>
                  </a:lnTo>
                  <a:lnTo>
                    <a:pt x="775" y="57"/>
                  </a:lnTo>
                  <a:lnTo>
                    <a:pt x="775" y="56"/>
                  </a:lnTo>
                  <a:lnTo>
                    <a:pt x="774" y="56"/>
                  </a:lnTo>
                  <a:lnTo>
                    <a:pt x="775" y="56"/>
                  </a:lnTo>
                  <a:lnTo>
                    <a:pt x="776" y="56"/>
                  </a:lnTo>
                  <a:lnTo>
                    <a:pt x="775" y="55"/>
                  </a:lnTo>
                  <a:lnTo>
                    <a:pt x="776" y="55"/>
                  </a:lnTo>
                  <a:lnTo>
                    <a:pt x="776" y="56"/>
                  </a:lnTo>
                  <a:lnTo>
                    <a:pt x="777" y="56"/>
                  </a:lnTo>
                  <a:lnTo>
                    <a:pt x="781" y="55"/>
                  </a:lnTo>
                  <a:lnTo>
                    <a:pt x="785" y="55"/>
                  </a:lnTo>
                  <a:lnTo>
                    <a:pt x="788" y="55"/>
                  </a:lnTo>
                  <a:lnTo>
                    <a:pt x="789" y="55"/>
                  </a:lnTo>
                  <a:lnTo>
                    <a:pt x="791" y="56"/>
                  </a:lnTo>
                  <a:lnTo>
                    <a:pt x="792" y="56"/>
                  </a:lnTo>
                  <a:lnTo>
                    <a:pt x="793" y="57"/>
                  </a:lnTo>
                  <a:lnTo>
                    <a:pt x="793" y="58"/>
                  </a:lnTo>
                  <a:lnTo>
                    <a:pt x="793" y="59"/>
                  </a:lnTo>
                  <a:lnTo>
                    <a:pt x="792" y="59"/>
                  </a:lnTo>
                  <a:lnTo>
                    <a:pt x="792" y="60"/>
                  </a:lnTo>
                  <a:lnTo>
                    <a:pt x="795" y="59"/>
                  </a:lnTo>
                  <a:lnTo>
                    <a:pt x="795" y="60"/>
                  </a:lnTo>
                  <a:lnTo>
                    <a:pt x="798" y="60"/>
                  </a:lnTo>
                  <a:lnTo>
                    <a:pt x="799" y="60"/>
                  </a:lnTo>
                  <a:lnTo>
                    <a:pt x="800" y="62"/>
                  </a:lnTo>
                  <a:lnTo>
                    <a:pt x="803" y="62"/>
                  </a:lnTo>
                  <a:lnTo>
                    <a:pt x="802" y="62"/>
                  </a:lnTo>
                  <a:lnTo>
                    <a:pt x="802" y="60"/>
                  </a:lnTo>
                  <a:lnTo>
                    <a:pt x="803" y="60"/>
                  </a:lnTo>
                  <a:lnTo>
                    <a:pt x="802" y="60"/>
                  </a:lnTo>
                  <a:lnTo>
                    <a:pt x="803" y="60"/>
                  </a:lnTo>
                  <a:lnTo>
                    <a:pt x="804" y="60"/>
                  </a:lnTo>
                  <a:lnTo>
                    <a:pt x="807" y="60"/>
                  </a:lnTo>
                  <a:lnTo>
                    <a:pt x="810" y="60"/>
                  </a:lnTo>
                  <a:lnTo>
                    <a:pt x="812" y="60"/>
                  </a:lnTo>
                  <a:lnTo>
                    <a:pt x="810" y="60"/>
                  </a:lnTo>
                  <a:lnTo>
                    <a:pt x="810" y="59"/>
                  </a:lnTo>
                  <a:lnTo>
                    <a:pt x="811" y="59"/>
                  </a:lnTo>
                  <a:lnTo>
                    <a:pt x="812" y="59"/>
                  </a:lnTo>
                  <a:lnTo>
                    <a:pt x="813" y="59"/>
                  </a:lnTo>
                  <a:lnTo>
                    <a:pt x="814" y="59"/>
                  </a:lnTo>
                  <a:lnTo>
                    <a:pt x="816" y="59"/>
                  </a:lnTo>
                  <a:lnTo>
                    <a:pt x="816" y="58"/>
                  </a:lnTo>
                  <a:lnTo>
                    <a:pt x="817" y="58"/>
                  </a:lnTo>
                  <a:lnTo>
                    <a:pt x="820" y="57"/>
                  </a:lnTo>
                  <a:lnTo>
                    <a:pt x="821" y="57"/>
                  </a:lnTo>
                  <a:lnTo>
                    <a:pt x="824" y="56"/>
                  </a:lnTo>
                  <a:lnTo>
                    <a:pt x="825" y="56"/>
                  </a:lnTo>
                  <a:lnTo>
                    <a:pt x="826" y="55"/>
                  </a:lnTo>
                  <a:lnTo>
                    <a:pt x="827" y="55"/>
                  </a:lnTo>
                  <a:lnTo>
                    <a:pt x="827" y="53"/>
                  </a:lnTo>
                  <a:lnTo>
                    <a:pt x="828" y="53"/>
                  </a:lnTo>
                  <a:lnTo>
                    <a:pt x="829" y="53"/>
                  </a:lnTo>
                  <a:lnTo>
                    <a:pt x="831" y="53"/>
                  </a:lnTo>
                  <a:lnTo>
                    <a:pt x="831" y="52"/>
                  </a:lnTo>
                  <a:lnTo>
                    <a:pt x="829" y="52"/>
                  </a:lnTo>
                  <a:lnTo>
                    <a:pt x="828" y="52"/>
                  </a:lnTo>
                  <a:lnTo>
                    <a:pt x="826" y="53"/>
                  </a:lnTo>
                  <a:lnTo>
                    <a:pt x="826" y="55"/>
                  </a:lnTo>
                  <a:lnTo>
                    <a:pt x="825" y="55"/>
                  </a:lnTo>
                  <a:lnTo>
                    <a:pt x="824" y="55"/>
                  </a:lnTo>
                  <a:lnTo>
                    <a:pt x="823" y="55"/>
                  </a:lnTo>
                  <a:lnTo>
                    <a:pt x="823" y="56"/>
                  </a:lnTo>
                  <a:lnTo>
                    <a:pt x="821" y="56"/>
                  </a:lnTo>
                  <a:lnTo>
                    <a:pt x="820" y="56"/>
                  </a:lnTo>
                  <a:lnTo>
                    <a:pt x="819" y="57"/>
                  </a:lnTo>
                  <a:lnTo>
                    <a:pt x="818" y="57"/>
                  </a:lnTo>
                  <a:lnTo>
                    <a:pt x="817" y="57"/>
                  </a:lnTo>
                  <a:lnTo>
                    <a:pt x="816" y="58"/>
                  </a:lnTo>
                  <a:lnTo>
                    <a:pt x="812" y="59"/>
                  </a:lnTo>
                  <a:lnTo>
                    <a:pt x="810" y="59"/>
                  </a:lnTo>
                  <a:lnTo>
                    <a:pt x="809" y="59"/>
                  </a:lnTo>
                  <a:lnTo>
                    <a:pt x="806" y="59"/>
                  </a:lnTo>
                  <a:lnTo>
                    <a:pt x="803" y="59"/>
                  </a:lnTo>
                  <a:lnTo>
                    <a:pt x="802" y="59"/>
                  </a:lnTo>
                  <a:lnTo>
                    <a:pt x="802" y="58"/>
                  </a:lnTo>
                  <a:lnTo>
                    <a:pt x="803" y="58"/>
                  </a:lnTo>
                  <a:lnTo>
                    <a:pt x="805" y="58"/>
                  </a:lnTo>
                  <a:lnTo>
                    <a:pt x="805" y="57"/>
                  </a:lnTo>
                  <a:lnTo>
                    <a:pt x="806" y="57"/>
                  </a:lnTo>
                  <a:lnTo>
                    <a:pt x="807" y="57"/>
                  </a:lnTo>
                  <a:lnTo>
                    <a:pt x="807" y="56"/>
                  </a:lnTo>
                  <a:lnTo>
                    <a:pt x="807" y="57"/>
                  </a:lnTo>
                  <a:lnTo>
                    <a:pt x="806" y="57"/>
                  </a:lnTo>
                  <a:lnTo>
                    <a:pt x="805" y="57"/>
                  </a:lnTo>
                  <a:lnTo>
                    <a:pt x="804" y="58"/>
                  </a:lnTo>
                  <a:lnTo>
                    <a:pt x="802" y="58"/>
                  </a:lnTo>
                  <a:lnTo>
                    <a:pt x="799" y="57"/>
                  </a:lnTo>
                  <a:lnTo>
                    <a:pt x="800" y="57"/>
                  </a:lnTo>
                  <a:lnTo>
                    <a:pt x="799" y="57"/>
                  </a:lnTo>
                  <a:lnTo>
                    <a:pt x="802" y="56"/>
                  </a:lnTo>
                  <a:lnTo>
                    <a:pt x="803" y="56"/>
                  </a:lnTo>
                  <a:lnTo>
                    <a:pt x="804" y="56"/>
                  </a:lnTo>
                  <a:lnTo>
                    <a:pt x="804" y="55"/>
                  </a:lnTo>
                  <a:lnTo>
                    <a:pt x="804" y="56"/>
                  </a:lnTo>
                  <a:lnTo>
                    <a:pt x="803" y="56"/>
                  </a:lnTo>
                  <a:lnTo>
                    <a:pt x="802" y="56"/>
                  </a:lnTo>
                  <a:lnTo>
                    <a:pt x="800" y="56"/>
                  </a:lnTo>
                  <a:lnTo>
                    <a:pt x="800" y="55"/>
                  </a:lnTo>
                  <a:lnTo>
                    <a:pt x="802" y="55"/>
                  </a:lnTo>
                  <a:lnTo>
                    <a:pt x="803" y="55"/>
                  </a:lnTo>
                  <a:lnTo>
                    <a:pt x="804" y="55"/>
                  </a:lnTo>
                  <a:lnTo>
                    <a:pt x="805" y="55"/>
                  </a:lnTo>
                  <a:lnTo>
                    <a:pt x="806" y="55"/>
                  </a:lnTo>
                  <a:lnTo>
                    <a:pt x="805" y="55"/>
                  </a:lnTo>
                  <a:lnTo>
                    <a:pt x="805" y="56"/>
                  </a:lnTo>
                  <a:lnTo>
                    <a:pt x="807" y="55"/>
                  </a:lnTo>
                  <a:lnTo>
                    <a:pt x="811" y="55"/>
                  </a:lnTo>
                  <a:lnTo>
                    <a:pt x="810" y="55"/>
                  </a:lnTo>
                  <a:lnTo>
                    <a:pt x="806" y="55"/>
                  </a:lnTo>
                  <a:lnTo>
                    <a:pt x="803" y="55"/>
                  </a:lnTo>
                  <a:lnTo>
                    <a:pt x="802" y="55"/>
                  </a:lnTo>
                  <a:lnTo>
                    <a:pt x="800" y="55"/>
                  </a:lnTo>
                  <a:lnTo>
                    <a:pt x="799" y="55"/>
                  </a:lnTo>
                  <a:lnTo>
                    <a:pt x="799" y="53"/>
                  </a:lnTo>
                  <a:lnTo>
                    <a:pt x="803" y="53"/>
                  </a:lnTo>
                  <a:lnTo>
                    <a:pt x="806" y="52"/>
                  </a:lnTo>
                  <a:lnTo>
                    <a:pt x="807" y="53"/>
                  </a:lnTo>
                  <a:lnTo>
                    <a:pt x="810" y="53"/>
                  </a:lnTo>
                  <a:lnTo>
                    <a:pt x="811" y="52"/>
                  </a:lnTo>
                  <a:lnTo>
                    <a:pt x="813" y="52"/>
                  </a:lnTo>
                  <a:lnTo>
                    <a:pt x="811" y="52"/>
                  </a:lnTo>
                  <a:lnTo>
                    <a:pt x="810" y="52"/>
                  </a:lnTo>
                  <a:lnTo>
                    <a:pt x="809" y="52"/>
                  </a:lnTo>
                  <a:lnTo>
                    <a:pt x="806" y="52"/>
                  </a:lnTo>
                  <a:lnTo>
                    <a:pt x="807" y="52"/>
                  </a:lnTo>
                  <a:lnTo>
                    <a:pt x="809" y="51"/>
                  </a:lnTo>
                  <a:lnTo>
                    <a:pt x="807" y="51"/>
                  </a:lnTo>
                  <a:lnTo>
                    <a:pt x="809" y="51"/>
                  </a:lnTo>
                  <a:lnTo>
                    <a:pt x="810" y="51"/>
                  </a:lnTo>
                  <a:lnTo>
                    <a:pt x="812" y="51"/>
                  </a:lnTo>
                  <a:lnTo>
                    <a:pt x="814" y="51"/>
                  </a:lnTo>
                  <a:lnTo>
                    <a:pt x="816" y="51"/>
                  </a:lnTo>
                  <a:lnTo>
                    <a:pt x="817" y="51"/>
                  </a:lnTo>
                  <a:lnTo>
                    <a:pt x="816" y="51"/>
                  </a:lnTo>
                  <a:lnTo>
                    <a:pt x="814" y="51"/>
                  </a:lnTo>
                  <a:lnTo>
                    <a:pt x="811" y="51"/>
                  </a:lnTo>
                  <a:lnTo>
                    <a:pt x="810" y="51"/>
                  </a:lnTo>
                  <a:lnTo>
                    <a:pt x="809" y="51"/>
                  </a:lnTo>
                  <a:lnTo>
                    <a:pt x="810" y="51"/>
                  </a:lnTo>
                  <a:lnTo>
                    <a:pt x="810" y="50"/>
                  </a:lnTo>
                  <a:lnTo>
                    <a:pt x="811" y="50"/>
                  </a:lnTo>
                  <a:lnTo>
                    <a:pt x="812" y="50"/>
                  </a:lnTo>
                  <a:lnTo>
                    <a:pt x="814" y="50"/>
                  </a:lnTo>
                  <a:lnTo>
                    <a:pt x="814" y="49"/>
                  </a:lnTo>
                  <a:lnTo>
                    <a:pt x="813" y="49"/>
                  </a:lnTo>
                  <a:lnTo>
                    <a:pt x="813" y="50"/>
                  </a:lnTo>
                  <a:lnTo>
                    <a:pt x="812" y="50"/>
                  </a:lnTo>
                  <a:lnTo>
                    <a:pt x="812" y="49"/>
                  </a:lnTo>
                  <a:lnTo>
                    <a:pt x="813" y="49"/>
                  </a:lnTo>
                  <a:lnTo>
                    <a:pt x="813" y="48"/>
                  </a:lnTo>
                  <a:lnTo>
                    <a:pt x="814" y="48"/>
                  </a:lnTo>
                  <a:lnTo>
                    <a:pt x="816" y="48"/>
                  </a:lnTo>
                  <a:lnTo>
                    <a:pt x="817" y="46"/>
                  </a:lnTo>
                  <a:lnTo>
                    <a:pt x="816" y="46"/>
                  </a:lnTo>
                  <a:lnTo>
                    <a:pt x="814" y="48"/>
                  </a:lnTo>
                  <a:lnTo>
                    <a:pt x="813" y="48"/>
                  </a:lnTo>
                  <a:lnTo>
                    <a:pt x="812" y="49"/>
                  </a:lnTo>
                  <a:lnTo>
                    <a:pt x="811" y="49"/>
                  </a:lnTo>
                  <a:lnTo>
                    <a:pt x="812" y="49"/>
                  </a:lnTo>
                  <a:lnTo>
                    <a:pt x="811" y="49"/>
                  </a:lnTo>
                  <a:lnTo>
                    <a:pt x="811" y="50"/>
                  </a:lnTo>
                  <a:lnTo>
                    <a:pt x="810" y="50"/>
                  </a:lnTo>
                  <a:lnTo>
                    <a:pt x="809" y="50"/>
                  </a:lnTo>
                  <a:lnTo>
                    <a:pt x="807" y="51"/>
                  </a:lnTo>
                  <a:lnTo>
                    <a:pt x="806" y="51"/>
                  </a:lnTo>
                  <a:lnTo>
                    <a:pt x="805" y="51"/>
                  </a:lnTo>
                  <a:lnTo>
                    <a:pt x="804" y="52"/>
                  </a:lnTo>
                  <a:lnTo>
                    <a:pt x="803" y="52"/>
                  </a:lnTo>
                  <a:lnTo>
                    <a:pt x="799" y="52"/>
                  </a:lnTo>
                  <a:lnTo>
                    <a:pt x="796" y="52"/>
                  </a:lnTo>
                  <a:lnTo>
                    <a:pt x="797" y="52"/>
                  </a:lnTo>
                  <a:lnTo>
                    <a:pt x="797" y="51"/>
                  </a:lnTo>
                  <a:lnTo>
                    <a:pt x="798" y="51"/>
                  </a:lnTo>
                  <a:lnTo>
                    <a:pt x="799" y="51"/>
                  </a:lnTo>
                  <a:lnTo>
                    <a:pt x="800" y="51"/>
                  </a:lnTo>
                  <a:lnTo>
                    <a:pt x="800" y="50"/>
                  </a:lnTo>
                  <a:lnTo>
                    <a:pt x="802" y="50"/>
                  </a:lnTo>
                  <a:lnTo>
                    <a:pt x="803" y="50"/>
                  </a:lnTo>
                  <a:lnTo>
                    <a:pt x="803" y="49"/>
                  </a:lnTo>
                  <a:lnTo>
                    <a:pt x="804" y="49"/>
                  </a:lnTo>
                  <a:lnTo>
                    <a:pt x="803" y="49"/>
                  </a:lnTo>
                  <a:lnTo>
                    <a:pt x="803" y="50"/>
                  </a:lnTo>
                  <a:lnTo>
                    <a:pt x="802" y="50"/>
                  </a:lnTo>
                  <a:lnTo>
                    <a:pt x="800" y="50"/>
                  </a:lnTo>
                  <a:lnTo>
                    <a:pt x="799" y="50"/>
                  </a:lnTo>
                  <a:lnTo>
                    <a:pt x="799" y="51"/>
                  </a:lnTo>
                  <a:lnTo>
                    <a:pt x="798" y="51"/>
                  </a:lnTo>
                  <a:lnTo>
                    <a:pt x="797" y="51"/>
                  </a:lnTo>
                  <a:lnTo>
                    <a:pt x="796" y="51"/>
                  </a:lnTo>
                  <a:lnTo>
                    <a:pt x="795" y="51"/>
                  </a:lnTo>
                  <a:lnTo>
                    <a:pt x="792" y="52"/>
                  </a:lnTo>
                  <a:lnTo>
                    <a:pt x="789" y="52"/>
                  </a:lnTo>
                  <a:lnTo>
                    <a:pt x="785" y="52"/>
                  </a:lnTo>
                  <a:lnTo>
                    <a:pt x="786" y="51"/>
                  </a:lnTo>
                  <a:lnTo>
                    <a:pt x="790" y="51"/>
                  </a:lnTo>
                  <a:lnTo>
                    <a:pt x="789" y="51"/>
                  </a:lnTo>
                  <a:lnTo>
                    <a:pt x="788" y="51"/>
                  </a:lnTo>
                  <a:lnTo>
                    <a:pt x="786" y="51"/>
                  </a:lnTo>
                  <a:lnTo>
                    <a:pt x="788" y="50"/>
                  </a:lnTo>
                  <a:lnTo>
                    <a:pt x="788" y="49"/>
                  </a:lnTo>
                  <a:lnTo>
                    <a:pt x="789" y="49"/>
                  </a:lnTo>
                  <a:lnTo>
                    <a:pt x="790" y="48"/>
                  </a:lnTo>
                  <a:lnTo>
                    <a:pt x="793" y="48"/>
                  </a:lnTo>
                  <a:lnTo>
                    <a:pt x="797" y="48"/>
                  </a:lnTo>
                  <a:lnTo>
                    <a:pt x="797" y="46"/>
                  </a:lnTo>
                  <a:lnTo>
                    <a:pt x="795" y="46"/>
                  </a:lnTo>
                  <a:lnTo>
                    <a:pt x="797" y="46"/>
                  </a:lnTo>
                  <a:lnTo>
                    <a:pt x="797" y="45"/>
                  </a:lnTo>
                  <a:lnTo>
                    <a:pt x="798" y="45"/>
                  </a:lnTo>
                  <a:lnTo>
                    <a:pt x="802" y="44"/>
                  </a:lnTo>
                  <a:lnTo>
                    <a:pt x="803" y="44"/>
                  </a:lnTo>
                  <a:lnTo>
                    <a:pt x="807" y="44"/>
                  </a:lnTo>
                  <a:lnTo>
                    <a:pt x="810" y="44"/>
                  </a:lnTo>
                  <a:lnTo>
                    <a:pt x="813" y="43"/>
                  </a:lnTo>
                  <a:lnTo>
                    <a:pt x="814" y="43"/>
                  </a:lnTo>
                  <a:lnTo>
                    <a:pt x="816" y="43"/>
                  </a:lnTo>
                  <a:lnTo>
                    <a:pt x="817" y="43"/>
                  </a:lnTo>
                  <a:lnTo>
                    <a:pt x="818" y="43"/>
                  </a:lnTo>
                  <a:lnTo>
                    <a:pt x="820" y="43"/>
                  </a:lnTo>
                  <a:lnTo>
                    <a:pt x="824" y="44"/>
                  </a:lnTo>
                  <a:lnTo>
                    <a:pt x="828" y="44"/>
                  </a:lnTo>
                  <a:lnTo>
                    <a:pt x="831" y="44"/>
                  </a:lnTo>
                  <a:lnTo>
                    <a:pt x="831" y="45"/>
                  </a:lnTo>
                  <a:lnTo>
                    <a:pt x="832" y="45"/>
                  </a:lnTo>
                  <a:lnTo>
                    <a:pt x="834" y="45"/>
                  </a:lnTo>
                  <a:lnTo>
                    <a:pt x="835" y="45"/>
                  </a:lnTo>
                  <a:lnTo>
                    <a:pt x="834" y="45"/>
                  </a:lnTo>
                  <a:lnTo>
                    <a:pt x="835" y="46"/>
                  </a:lnTo>
                  <a:lnTo>
                    <a:pt x="836" y="46"/>
                  </a:lnTo>
                  <a:lnTo>
                    <a:pt x="838" y="46"/>
                  </a:lnTo>
                  <a:lnTo>
                    <a:pt x="836" y="45"/>
                  </a:lnTo>
                  <a:lnTo>
                    <a:pt x="838" y="45"/>
                  </a:lnTo>
                  <a:lnTo>
                    <a:pt x="840" y="45"/>
                  </a:lnTo>
                  <a:lnTo>
                    <a:pt x="839" y="44"/>
                  </a:lnTo>
                  <a:lnTo>
                    <a:pt x="835" y="45"/>
                  </a:lnTo>
                  <a:lnTo>
                    <a:pt x="834" y="44"/>
                  </a:lnTo>
                  <a:lnTo>
                    <a:pt x="833" y="44"/>
                  </a:lnTo>
                  <a:lnTo>
                    <a:pt x="832" y="44"/>
                  </a:lnTo>
                  <a:lnTo>
                    <a:pt x="833" y="44"/>
                  </a:lnTo>
                  <a:lnTo>
                    <a:pt x="834" y="44"/>
                  </a:lnTo>
                  <a:lnTo>
                    <a:pt x="838" y="44"/>
                  </a:lnTo>
                  <a:lnTo>
                    <a:pt x="840" y="44"/>
                  </a:lnTo>
                  <a:lnTo>
                    <a:pt x="843" y="43"/>
                  </a:lnTo>
                  <a:lnTo>
                    <a:pt x="846" y="43"/>
                  </a:lnTo>
                  <a:lnTo>
                    <a:pt x="846" y="44"/>
                  </a:lnTo>
                  <a:lnTo>
                    <a:pt x="845" y="44"/>
                  </a:lnTo>
                  <a:lnTo>
                    <a:pt x="846" y="44"/>
                  </a:lnTo>
                  <a:lnTo>
                    <a:pt x="846" y="43"/>
                  </a:lnTo>
                  <a:lnTo>
                    <a:pt x="847" y="43"/>
                  </a:lnTo>
                  <a:lnTo>
                    <a:pt x="846" y="43"/>
                  </a:lnTo>
                  <a:lnTo>
                    <a:pt x="847" y="43"/>
                  </a:lnTo>
                  <a:lnTo>
                    <a:pt x="848" y="42"/>
                  </a:lnTo>
                  <a:lnTo>
                    <a:pt x="850" y="42"/>
                  </a:lnTo>
                  <a:lnTo>
                    <a:pt x="850" y="41"/>
                  </a:lnTo>
                  <a:lnTo>
                    <a:pt x="849" y="42"/>
                  </a:lnTo>
                  <a:lnTo>
                    <a:pt x="847" y="42"/>
                  </a:lnTo>
                  <a:lnTo>
                    <a:pt x="846" y="42"/>
                  </a:lnTo>
                  <a:lnTo>
                    <a:pt x="845" y="42"/>
                  </a:lnTo>
                  <a:lnTo>
                    <a:pt x="846" y="42"/>
                  </a:lnTo>
                  <a:lnTo>
                    <a:pt x="845" y="42"/>
                  </a:lnTo>
                  <a:lnTo>
                    <a:pt x="845" y="43"/>
                  </a:lnTo>
                  <a:lnTo>
                    <a:pt x="843" y="43"/>
                  </a:lnTo>
                  <a:lnTo>
                    <a:pt x="839" y="43"/>
                  </a:lnTo>
                  <a:lnTo>
                    <a:pt x="836" y="43"/>
                  </a:lnTo>
                  <a:lnTo>
                    <a:pt x="833" y="43"/>
                  </a:lnTo>
                  <a:lnTo>
                    <a:pt x="829" y="43"/>
                  </a:lnTo>
                  <a:lnTo>
                    <a:pt x="827" y="42"/>
                  </a:lnTo>
                  <a:lnTo>
                    <a:pt x="825" y="43"/>
                  </a:lnTo>
                  <a:lnTo>
                    <a:pt x="824" y="42"/>
                  </a:lnTo>
                  <a:lnTo>
                    <a:pt x="821" y="42"/>
                  </a:lnTo>
                  <a:lnTo>
                    <a:pt x="821" y="41"/>
                  </a:lnTo>
                  <a:lnTo>
                    <a:pt x="823" y="41"/>
                  </a:lnTo>
                  <a:lnTo>
                    <a:pt x="824" y="41"/>
                  </a:lnTo>
                  <a:lnTo>
                    <a:pt x="825" y="41"/>
                  </a:lnTo>
                  <a:lnTo>
                    <a:pt x="826" y="41"/>
                  </a:lnTo>
                  <a:lnTo>
                    <a:pt x="827" y="41"/>
                  </a:lnTo>
                  <a:lnTo>
                    <a:pt x="828" y="41"/>
                  </a:lnTo>
                  <a:lnTo>
                    <a:pt x="828" y="42"/>
                  </a:lnTo>
                  <a:lnTo>
                    <a:pt x="831" y="42"/>
                  </a:lnTo>
                  <a:lnTo>
                    <a:pt x="833" y="42"/>
                  </a:lnTo>
                  <a:lnTo>
                    <a:pt x="834" y="42"/>
                  </a:lnTo>
                  <a:lnTo>
                    <a:pt x="834" y="41"/>
                  </a:lnTo>
                  <a:lnTo>
                    <a:pt x="833" y="42"/>
                  </a:lnTo>
                  <a:lnTo>
                    <a:pt x="832" y="42"/>
                  </a:lnTo>
                  <a:lnTo>
                    <a:pt x="831" y="41"/>
                  </a:lnTo>
                  <a:lnTo>
                    <a:pt x="832" y="41"/>
                  </a:lnTo>
                  <a:lnTo>
                    <a:pt x="831" y="41"/>
                  </a:lnTo>
                  <a:lnTo>
                    <a:pt x="829" y="41"/>
                  </a:lnTo>
                  <a:lnTo>
                    <a:pt x="829" y="39"/>
                  </a:lnTo>
                  <a:lnTo>
                    <a:pt x="831" y="39"/>
                  </a:lnTo>
                  <a:lnTo>
                    <a:pt x="829" y="39"/>
                  </a:lnTo>
                  <a:lnTo>
                    <a:pt x="828" y="39"/>
                  </a:lnTo>
                  <a:lnTo>
                    <a:pt x="827" y="39"/>
                  </a:lnTo>
                  <a:lnTo>
                    <a:pt x="828" y="39"/>
                  </a:lnTo>
                  <a:lnTo>
                    <a:pt x="827" y="38"/>
                  </a:lnTo>
                  <a:lnTo>
                    <a:pt x="828" y="38"/>
                  </a:lnTo>
                  <a:lnTo>
                    <a:pt x="828" y="37"/>
                  </a:lnTo>
                  <a:lnTo>
                    <a:pt x="827" y="37"/>
                  </a:lnTo>
                  <a:lnTo>
                    <a:pt x="826" y="36"/>
                  </a:lnTo>
                  <a:lnTo>
                    <a:pt x="826" y="35"/>
                  </a:lnTo>
                  <a:lnTo>
                    <a:pt x="825" y="35"/>
                  </a:lnTo>
                  <a:lnTo>
                    <a:pt x="823" y="34"/>
                  </a:lnTo>
                  <a:lnTo>
                    <a:pt x="820" y="34"/>
                  </a:lnTo>
                  <a:lnTo>
                    <a:pt x="818" y="34"/>
                  </a:lnTo>
                  <a:lnTo>
                    <a:pt x="816" y="34"/>
                  </a:lnTo>
                  <a:lnTo>
                    <a:pt x="817" y="32"/>
                  </a:lnTo>
                  <a:lnTo>
                    <a:pt x="818" y="32"/>
                  </a:lnTo>
                  <a:lnTo>
                    <a:pt x="817" y="32"/>
                  </a:lnTo>
                  <a:lnTo>
                    <a:pt x="818" y="32"/>
                  </a:lnTo>
                  <a:lnTo>
                    <a:pt x="818" y="31"/>
                  </a:lnTo>
                  <a:lnTo>
                    <a:pt x="819" y="31"/>
                  </a:lnTo>
                  <a:lnTo>
                    <a:pt x="820" y="31"/>
                  </a:lnTo>
                  <a:lnTo>
                    <a:pt x="823" y="31"/>
                  </a:lnTo>
                  <a:lnTo>
                    <a:pt x="824" y="31"/>
                  </a:lnTo>
                  <a:lnTo>
                    <a:pt x="826" y="31"/>
                  </a:lnTo>
                  <a:lnTo>
                    <a:pt x="827" y="31"/>
                  </a:lnTo>
                  <a:lnTo>
                    <a:pt x="828" y="31"/>
                  </a:lnTo>
                  <a:lnTo>
                    <a:pt x="827" y="31"/>
                  </a:lnTo>
                  <a:lnTo>
                    <a:pt x="824" y="31"/>
                  </a:lnTo>
                  <a:lnTo>
                    <a:pt x="819" y="30"/>
                  </a:lnTo>
                  <a:lnTo>
                    <a:pt x="819" y="29"/>
                  </a:lnTo>
                  <a:lnTo>
                    <a:pt x="820" y="29"/>
                  </a:lnTo>
                  <a:lnTo>
                    <a:pt x="821" y="29"/>
                  </a:lnTo>
                  <a:lnTo>
                    <a:pt x="821" y="28"/>
                  </a:lnTo>
                  <a:lnTo>
                    <a:pt x="823" y="28"/>
                  </a:lnTo>
                  <a:lnTo>
                    <a:pt x="826" y="28"/>
                  </a:lnTo>
                  <a:lnTo>
                    <a:pt x="828" y="27"/>
                  </a:lnTo>
                  <a:lnTo>
                    <a:pt x="829" y="28"/>
                  </a:lnTo>
                  <a:lnTo>
                    <a:pt x="832" y="28"/>
                  </a:lnTo>
                  <a:lnTo>
                    <a:pt x="835" y="28"/>
                  </a:lnTo>
                  <a:lnTo>
                    <a:pt x="838" y="28"/>
                  </a:lnTo>
                  <a:lnTo>
                    <a:pt x="841" y="28"/>
                  </a:lnTo>
                  <a:lnTo>
                    <a:pt x="843" y="28"/>
                  </a:lnTo>
                  <a:lnTo>
                    <a:pt x="845" y="28"/>
                  </a:lnTo>
                  <a:lnTo>
                    <a:pt x="848" y="29"/>
                  </a:lnTo>
                  <a:lnTo>
                    <a:pt x="849" y="30"/>
                  </a:lnTo>
                  <a:lnTo>
                    <a:pt x="852" y="31"/>
                  </a:lnTo>
                  <a:lnTo>
                    <a:pt x="853" y="31"/>
                  </a:lnTo>
                  <a:lnTo>
                    <a:pt x="854" y="32"/>
                  </a:lnTo>
                  <a:lnTo>
                    <a:pt x="855" y="32"/>
                  </a:lnTo>
                  <a:lnTo>
                    <a:pt x="855" y="34"/>
                  </a:lnTo>
                  <a:lnTo>
                    <a:pt x="854" y="34"/>
                  </a:lnTo>
                  <a:lnTo>
                    <a:pt x="855" y="34"/>
                  </a:lnTo>
                  <a:lnTo>
                    <a:pt x="856" y="34"/>
                  </a:lnTo>
                  <a:lnTo>
                    <a:pt x="856" y="35"/>
                  </a:lnTo>
                  <a:lnTo>
                    <a:pt x="855" y="35"/>
                  </a:lnTo>
                  <a:lnTo>
                    <a:pt x="856" y="35"/>
                  </a:lnTo>
                  <a:lnTo>
                    <a:pt x="857" y="35"/>
                  </a:lnTo>
                  <a:lnTo>
                    <a:pt x="859" y="35"/>
                  </a:lnTo>
                  <a:lnTo>
                    <a:pt x="862" y="35"/>
                  </a:lnTo>
                  <a:lnTo>
                    <a:pt x="864" y="36"/>
                  </a:lnTo>
                  <a:lnTo>
                    <a:pt x="864" y="35"/>
                  </a:lnTo>
                  <a:lnTo>
                    <a:pt x="868" y="35"/>
                  </a:lnTo>
                  <a:lnTo>
                    <a:pt x="870" y="35"/>
                  </a:lnTo>
                  <a:lnTo>
                    <a:pt x="871" y="35"/>
                  </a:lnTo>
                  <a:lnTo>
                    <a:pt x="874" y="34"/>
                  </a:lnTo>
                  <a:lnTo>
                    <a:pt x="870" y="34"/>
                  </a:lnTo>
                  <a:lnTo>
                    <a:pt x="868" y="34"/>
                  </a:lnTo>
                  <a:lnTo>
                    <a:pt x="867" y="35"/>
                  </a:lnTo>
                  <a:lnTo>
                    <a:pt x="863" y="35"/>
                  </a:lnTo>
                  <a:lnTo>
                    <a:pt x="860" y="34"/>
                  </a:lnTo>
                  <a:lnTo>
                    <a:pt x="859" y="34"/>
                  </a:lnTo>
                  <a:lnTo>
                    <a:pt x="857" y="34"/>
                  </a:lnTo>
                  <a:lnTo>
                    <a:pt x="859" y="32"/>
                  </a:lnTo>
                  <a:lnTo>
                    <a:pt x="860" y="32"/>
                  </a:lnTo>
                  <a:lnTo>
                    <a:pt x="860" y="31"/>
                  </a:lnTo>
                  <a:lnTo>
                    <a:pt x="861" y="31"/>
                  </a:lnTo>
                  <a:lnTo>
                    <a:pt x="862" y="31"/>
                  </a:lnTo>
                  <a:lnTo>
                    <a:pt x="860" y="31"/>
                  </a:lnTo>
                  <a:lnTo>
                    <a:pt x="857" y="31"/>
                  </a:lnTo>
                  <a:lnTo>
                    <a:pt x="857" y="30"/>
                  </a:lnTo>
                  <a:lnTo>
                    <a:pt x="856" y="30"/>
                  </a:lnTo>
                  <a:lnTo>
                    <a:pt x="854" y="29"/>
                  </a:lnTo>
                  <a:lnTo>
                    <a:pt x="853" y="28"/>
                  </a:lnTo>
                  <a:lnTo>
                    <a:pt x="850" y="28"/>
                  </a:lnTo>
                  <a:lnTo>
                    <a:pt x="852" y="27"/>
                  </a:lnTo>
                  <a:lnTo>
                    <a:pt x="854" y="27"/>
                  </a:lnTo>
                  <a:lnTo>
                    <a:pt x="857" y="27"/>
                  </a:lnTo>
                  <a:lnTo>
                    <a:pt x="860" y="27"/>
                  </a:lnTo>
                  <a:lnTo>
                    <a:pt x="862" y="27"/>
                  </a:lnTo>
                  <a:lnTo>
                    <a:pt x="866" y="27"/>
                  </a:lnTo>
                  <a:lnTo>
                    <a:pt x="869" y="27"/>
                  </a:lnTo>
                  <a:lnTo>
                    <a:pt x="874" y="25"/>
                  </a:lnTo>
                  <a:lnTo>
                    <a:pt x="877" y="25"/>
                  </a:lnTo>
                  <a:lnTo>
                    <a:pt x="878" y="25"/>
                  </a:lnTo>
                  <a:lnTo>
                    <a:pt x="877" y="25"/>
                  </a:lnTo>
                  <a:lnTo>
                    <a:pt x="881" y="25"/>
                  </a:lnTo>
                  <a:lnTo>
                    <a:pt x="883" y="25"/>
                  </a:lnTo>
                  <a:lnTo>
                    <a:pt x="885" y="25"/>
                  </a:lnTo>
                  <a:lnTo>
                    <a:pt x="887" y="25"/>
                  </a:lnTo>
                  <a:lnTo>
                    <a:pt x="889" y="25"/>
                  </a:lnTo>
                  <a:lnTo>
                    <a:pt x="890" y="24"/>
                  </a:lnTo>
                  <a:lnTo>
                    <a:pt x="891" y="25"/>
                  </a:lnTo>
                  <a:lnTo>
                    <a:pt x="892" y="24"/>
                  </a:lnTo>
                  <a:lnTo>
                    <a:pt x="895" y="24"/>
                  </a:lnTo>
                  <a:lnTo>
                    <a:pt x="897" y="24"/>
                  </a:lnTo>
                  <a:lnTo>
                    <a:pt x="898" y="24"/>
                  </a:lnTo>
                  <a:lnTo>
                    <a:pt x="896" y="24"/>
                  </a:lnTo>
                  <a:lnTo>
                    <a:pt x="892" y="24"/>
                  </a:lnTo>
                  <a:lnTo>
                    <a:pt x="888" y="24"/>
                  </a:lnTo>
                  <a:lnTo>
                    <a:pt x="885" y="24"/>
                  </a:lnTo>
                  <a:lnTo>
                    <a:pt x="882" y="24"/>
                  </a:lnTo>
                  <a:lnTo>
                    <a:pt x="883" y="24"/>
                  </a:lnTo>
                  <a:lnTo>
                    <a:pt x="887" y="24"/>
                  </a:lnTo>
                  <a:lnTo>
                    <a:pt x="888" y="23"/>
                  </a:lnTo>
                  <a:lnTo>
                    <a:pt x="891" y="23"/>
                  </a:lnTo>
                  <a:lnTo>
                    <a:pt x="893" y="23"/>
                  </a:lnTo>
                  <a:lnTo>
                    <a:pt x="895" y="23"/>
                  </a:lnTo>
                  <a:lnTo>
                    <a:pt x="896" y="23"/>
                  </a:lnTo>
                  <a:lnTo>
                    <a:pt x="898" y="23"/>
                  </a:lnTo>
                  <a:lnTo>
                    <a:pt x="899" y="22"/>
                  </a:lnTo>
                  <a:lnTo>
                    <a:pt x="904" y="22"/>
                  </a:lnTo>
                  <a:lnTo>
                    <a:pt x="905" y="22"/>
                  </a:lnTo>
                  <a:lnTo>
                    <a:pt x="909" y="22"/>
                  </a:lnTo>
                  <a:lnTo>
                    <a:pt x="911" y="22"/>
                  </a:lnTo>
                  <a:lnTo>
                    <a:pt x="913" y="22"/>
                  </a:lnTo>
                  <a:lnTo>
                    <a:pt x="914" y="22"/>
                  </a:lnTo>
                  <a:lnTo>
                    <a:pt x="914" y="21"/>
                  </a:lnTo>
                  <a:lnTo>
                    <a:pt x="912" y="21"/>
                  </a:lnTo>
                  <a:lnTo>
                    <a:pt x="910" y="22"/>
                  </a:lnTo>
                  <a:lnTo>
                    <a:pt x="907" y="21"/>
                  </a:lnTo>
                  <a:lnTo>
                    <a:pt x="905" y="21"/>
                  </a:lnTo>
                  <a:lnTo>
                    <a:pt x="903" y="21"/>
                  </a:lnTo>
                  <a:lnTo>
                    <a:pt x="900" y="22"/>
                  </a:lnTo>
                  <a:lnTo>
                    <a:pt x="898" y="22"/>
                  </a:lnTo>
                  <a:lnTo>
                    <a:pt x="895" y="22"/>
                  </a:lnTo>
                  <a:lnTo>
                    <a:pt x="893" y="22"/>
                  </a:lnTo>
                  <a:lnTo>
                    <a:pt x="895" y="22"/>
                  </a:lnTo>
                  <a:lnTo>
                    <a:pt x="895" y="21"/>
                  </a:lnTo>
                  <a:lnTo>
                    <a:pt x="896" y="21"/>
                  </a:lnTo>
                  <a:lnTo>
                    <a:pt x="895" y="21"/>
                  </a:lnTo>
                  <a:lnTo>
                    <a:pt x="896" y="21"/>
                  </a:lnTo>
                  <a:lnTo>
                    <a:pt x="900" y="20"/>
                  </a:lnTo>
                  <a:lnTo>
                    <a:pt x="902" y="18"/>
                  </a:lnTo>
                  <a:lnTo>
                    <a:pt x="900" y="18"/>
                  </a:lnTo>
                  <a:lnTo>
                    <a:pt x="902" y="18"/>
                  </a:lnTo>
                  <a:lnTo>
                    <a:pt x="903" y="18"/>
                  </a:lnTo>
                  <a:lnTo>
                    <a:pt x="904" y="18"/>
                  </a:lnTo>
                  <a:lnTo>
                    <a:pt x="905" y="18"/>
                  </a:lnTo>
                  <a:lnTo>
                    <a:pt x="906" y="18"/>
                  </a:lnTo>
                  <a:lnTo>
                    <a:pt x="907" y="17"/>
                  </a:lnTo>
                  <a:lnTo>
                    <a:pt x="910" y="17"/>
                  </a:lnTo>
                  <a:lnTo>
                    <a:pt x="912" y="17"/>
                  </a:lnTo>
                  <a:lnTo>
                    <a:pt x="914" y="16"/>
                  </a:lnTo>
                  <a:lnTo>
                    <a:pt x="916" y="16"/>
                  </a:lnTo>
                  <a:lnTo>
                    <a:pt x="917" y="16"/>
                  </a:lnTo>
                  <a:lnTo>
                    <a:pt x="918" y="16"/>
                  </a:lnTo>
                  <a:lnTo>
                    <a:pt x="919" y="16"/>
                  </a:lnTo>
                  <a:lnTo>
                    <a:pt x="918" y="16"/>
                  </a:lnTo>
                  <a:lnTo>
                    <a:pt x="913" y="16"/>
                  </a:lnTo>
                  <a:lnTo>
                    <a:pt x="909" y="17"/>
                  </a:lnTo>
                  <a:lnTo>
                    <a:pt x="907" y="17"/>
                  </a:lnTo>
                  <a:lnTo>
                    <a:pt x="905" y="17"/>
                  </a:lnTo>
                  <a:lnTo>
                    <a:pt x="902" y="18"/>
                  </a:lnTo>
                  <a:lnTo>
                    <a:pt x="900" y="18"/>
                  </a:lnTo>
                  <a:lnTo>
                    <a:pt x="899" y="18"/>
                  </a:lnTo>
                  <a:lnTo>
                    <a:pt x="898" y="18"/>
                  </a:lnTo>
                  <a:lnTo>
                    <a:pt x="898" y="20"/>
                  </a:lnTo>
                  <a:lnTo>
                    <a:pt x="896" y="20"/>
                  </a:lnTo>
                  <a:lnTo>
                    <a:pt x="895" y="18"/>
                  </a:lnTo>
                  <a:lnTo>
                    <a:pt x="892" y="18"/>
                  </a:lnTo>
                  <a:lnTo>
                    <a:pt x="895" y="20"/>
                  </a:lnTo>
                  <a:lnTo>
                    <a:pt x="893" y="20"/>
                  </a:lnTo>
                  <a:lnTo>
                    <a:pt x="892" y="20"/>
                  </a:lnTo>
                  <a:lnTo>
                    <a:pt x="892" y="21"/>
                  </a:lnTo>
                  <a:lnTo>
                    <a:pt x="893" y="21"/>
                  </a:lnTo>
                  <a:lnTo>
                    <a:pt x="892" y="21"/>
                  </a:lnTo>
                  <a:lnTo>
                    <a:pt x="891" y="21"/>
                  </a:lnTo>
                  <a:lnTo>
                    <a:pt x="890" y="21"/>
                  </a:lnTo>
                  <a:lnTo>
                    <a:pt x="890" y="22"/>
                  </a:lnTo>
                  <a:lnTo>
                    <a:pt x="889" y="22"/>
                  </a:lnTo>
                  <a:lnTo>
                    <a:pt x="888" y="22"/>
                  </a:lnTo>
                  <a:lnTo>
                    <a:pt x="884" y="22"/>
                  </a:lnTo>
                  <a:lnTo>
                    <a:pt x="883" y="23"/>
                  </a:lnTo>
                  <a:lnTo>
                    <a:pt x="882" y="23"/>
                  </a:lnTo>
                  <a:lnTo>
                    <a:pt x="881" y="23"/>
                  </a:lnTo>
                  <a:lnTo>
                    <a:pt x="877" y="23"/>
                  </a:lnTo>
                  <a:lnTo>
                    <a:pt x="875" y="24"/>
                  </a:lnTo>
                  <a:lnTo>
                    <a:pt x="871" y="24"/>
                  </a:lnTo>
                  <a:lnTo>
                    <a:pt x="869" y="24"/>
                  </a:lnTo>
                  <a:lnTo>
                    <a:pt x="866" y="24"/>
                  </a:lnTo>
                  <a:lnTo>
                    <a:pt x="863" y="24"/>
                  </a:lnTo>
                  <a:lnTo>
                    <a:pt x="861" y="24"/>
                  </a:lnTo>
                  <a:lnTo>
                    <a:pt x="861" y="25"/>
                  </a:lnTo>
                  <a:lnTo>
                    <a:pt x="861" y="24"/>
                  </a:lnTo>
                  <a:lnTo>
                    <a:pt x="857" y="25"/>
                  </a:lnTo>
                  <a:lnTo>
                    <a:pt x="856" y="25"/>
                  </a:lnTo>
                  <a:lnTo>
                    <a:pt x="854" y="25"/>
                  </a:lnTo>
                  <a:lnTo>
                    <a:pt x="854" y="24"/>
                  </a:lnTo>
                  <a:lnTo>
                    <a:pt x="855" y="24"/>
                  </a:lnTo>
                  <a:lnTo>
                    <a:pt x="856" y="24"/>
                  </a:lnTo>
                  <a:lnTo>
                    <a:pt x="857" y="24"/>
                  </a:lnTo>
                  <a:lnTo>
                    <a:pt x="859" y="23"/>
                  </a:lnTo>
                  <a:lnTo>
                    <a:pt x="862" y="23"/>
                  </a:lnTo>
                  <a:lnTo>
                    <a:pt x="864" y="23"/>
                  </a:lnTo>
                  <a:lnTo>
                    <a:pt x="866" y="23"/>
                  </a:lnTo>
                  <a:lnTo>
                    <a:pt x="867" y="23"/>
                  </a:lnTo>
                  <a:lnTo>
                    <a:pt x="869" y="22"/>
                  </a:lnTo>
                  <a:lnTo>
                    <a:pt x="868" y="22"/>
                  </a:lnTo>
                  <a:lnTo>
                    <a:pt x="867" y="22"/>
                  </a:lnTo>
                  <a:lnTo>
                    <a:pt x="866" y="22"/>
                  </a:lnTo>
                  <a:lnTo>
                    <a:pt x="863" y="23"/>
                  </a:lnTo>
                  <a:lnTo>
                    <a:pt x="862" y="23"/>
                  </a:lnTo>
                  <a:lnTo>
                    <a:pt x="861" y="23"/>
                  </a:lnTo>
                  <a:lnTo>
                    <a:pt x="857" y="23"/>
                  </a:lnTo>
                  <a:lnTo>
                    <a:pt x="855" y="23"/>
                  </a:lnTo>
                  <a:lnTo>
                    <a:pt x="853" y="23"/>
                  </a:lnTo>
                  <a:lnTo>
                    <a:pt x="855" y="23"/>
                  </a:lnTo>
                  <a:lnTo>
                    <a:pt x="857" y="22"/>
                  </a:lnTo>
                  <a:lnTo>
                    <a:pt x="856" y="22"/>
                  </a:lnTo>
                  <a:lnTo>
                    <a:pt x="855" y="22"/>
                  </a:lnTo>
                  <a:lnTo>
                    <a:pt x="854" y="23"/>
                  </a:lnTo>
                  <a:lnTo>
                    <a:pt x="853" y="23"/>
                  </a:lnTo>
                  <a:lnTo>
                    <a:pt x="852" y="23"/>
                  </a:lnTo>
                  <a:lnTo>
                    <a:pt x="850" y="23"/>
                  </a:lnTo>
                  <a:lnTo>
                    <a:pt x="850" y="24"/>
                  </a:lnTo>
                  <a:lnTo>
                    <a:pt x="849" y="24"/>
                  </a:lnTo>
                  <a:lnTo>
                    <a:pt x="848" y="24"/>
                  </a:lnTo>
                  <a:lnTo>
                    <a:pt x="848" y="25"/>
                  </a:lnTo>
                  <a:lnTo>
                    <a:pt x="847" y="25"/>
                  </a:lnTo>
                  <a:lnTo>
                    <a:pt x="846" y="25"/>
                  </a:lnTo>
                  <a:lnTo>
                    <a:pt x="843" y="25"/>
                  </a:lnTo>
                  <a:lnTo>
                    <a:pt x="841" y="25"/>
                  </a:lnTo>
                  <a:lnTo>
                    <a:pt x="839" y="25"/>
                  </a:lnTo>
                  <a:lnTo>
                    <a:pt x="836" y="25"/>
                  </a:lnTo>
                  <a:lnTo>
                    <a:pt x="833" y="25"/>
                  </a:lnTo>
                  <a:lnTo>
                    <a:pt x="831" y="25"/>
                  </a:lnTo>
                  <a:lnTo>
                    <a:pt x="832" y="24"/>
                  </a:lnTo>
                  <a:lnTo>
                    <a:pt x="833" y="24"/>
                  </a:lnTo>
                  <a:lnTo>
                    <a:pt x="834" y="24"/>
                  </a:lnTo>
                  <a:lnTo>
                    <a:pt x="832" y="24"/>
                  </a:lnTo>
                  <a:lnTo>
                    <a:pt x="829" y="25"/>
                  </a:lnTo>
                  <a:lnTo>
                    <a:pt x="828" y="25"/>
                  </a:lnTo>
                  <a:lnTo>
                    <a:pt x="826" y="24"/>
                  </a:lnTo>
                  <a:lnTo>
                    <a:pt x="824" y="24"/>
                  </a:lnTo>
                  <a:lnTo>
                    <a:pt x="825" y="24"/>
                  </a:lnTo>
                  <a:lnTo>
                    <a:pt x="827" y="23"/>
                  </a:lnTo>
                  <a:lnTo>
                    <a:pt x="832" y="22"/>
                  </a:lnTo>
                  <a:lnTo>
                    <a:pt x="836" y="21"/>
                  </a:lnTo>
                  <a:lnTo>
                    <a:pt x="838" y="21"/>
                  </a:lnTo>
                  <a:lnTo>
                    <a:pt x="839" y="21"/>
                  </a:lnTo>
                  <a:lnTo>
                    <a:pt x="840" y="21"/>
                  </a:lnTo>
                  <a:lnTo>
                    <a:pt x="841" y="21"/>
                  </a:lnTo>
                  <a:lnTo>
                    <a:pt x="842" y="20"/>
                  </a:lnTo>
                  <a:lnTo>
                    <a:pt x="843" y="20"/>
                  </a:lnTo>
                  <a:lnTo>
                    <a:pt x="845" y="20"/>
                  </a:lnTo>
                  <a:lnTo>
                    <a:pt x="848" y="20"/>
                  </a:lnTo>
                  <a:lnTo>
                    <a:pt x="850" y="20"/>
                  </a:lnTo>
                  <a:lnTo>
                    <a:pt x="852" y="20"/>
                  </a:lnTo>
                  <a:lnTo>
                    <a:pt x="856" y="20"/>
                  </a:lnTo>
                  <a:lnTo>
                    <a:pt x="860" y="20"/>
                  </a:lnTo>
                  <a:lnTo>
                    <a:pt x="864" y="18"/>
                  </a:lnTo>
                  <a:lnTo>
                    <a:pt x="867" y="18"/>
                  </a:lnTo>
                  <a:lnTo>
                    <a:pt x="868" y="18"/>
                  </a:lnTo>
                  <a:lnTo>
                    <a:pt x="864" y="18"/>
                  </a:lnTo>
                  <a:lnTo>
                    <a:pt x="860" y="18"/>
                  </a:lnTo>
                  <a:lnTo>
                    <a:pt x="855" y="20"/>
                  </a:lnTo>
                  <a:lnTo>
                    <a:pt x="852" y="20"/>
                  </a:lnTo>
                  <a:lnTo>
                    <a:pt x="847" y="20"/>
                  </a:lnTo>
                  <a:lnTo>
                    <a:pt x="842" y="20"/>
                  </a:lnTo>
                  <a:lnTo>
                    <a:pt x="841" y="20"/>
                  </a:lnTo>
                  <a:lnTo>
                    <a:pt x="840" y="20"/>
                  </a:lnTo>
                  <a:lnTo>
                    <a:pt x="838" y="20"/>
                  </a:lnTo>
                  <a:lnTo>
                    <a:pt x="834" y="21"/>
                  </a:lnTo>
                  <a:lnTo>
                    <a:pt x="831" y="21"/>
                  </a:lnTo>
                  <a:lnTo>
                    <a:pt x="829" y="22"/>
                  </a:lnTo>
                  <a:lnTo>
                    <a:pt x="828" y="22"/>
                  </a:lnTo>
                  <a:lnTo>
                    <a:pt x="823" y="23"/>
                  </a:lnTo>
                  <a:lnTo>
                    <a:pt x="821" y="23"/>
                  </a:lnTo>
                  <a:lnTo>
                    <a:pt x="821" y="24"/>
                  </a:lnTo>
                  <a:lnTo>
                    <a:pt x="820" y="24"/>
                  </a:lnTo>
                  <a:lnTo>
                    <a:pt x="818" y="24"/>
                  </a:lnTo>
                  <a:lnTo>
                    <a:pt x="817" y="24"/>
                  </a:lnTo>
                  <a:lnTo>
                    <a:pt x="814" y="23"/>
                  </a:lnTo>
                  <a:lnTo>
                    <a:pt x="813" y="23"/>
                  </a:lnTo>
                  <a:lnTo>
                    <a:pt x="811" y="23"/>
                  </a:lnTo>
                  <a:lnTo>
                    <a:pt x="810" y="23"/>
                  </a:lnTo>
                  <a:lnTo>
                    <a:pt x="807" y="22"/>
                  </a:lnTo>
                  <a:lnTo>
                    <a:pt x="806" y="22"/>
                  </a:lnTo>
                  <a:lnTo>
                    <a:pt x="805" y="22"/>
                  </a:lnTo>
                  <a:lnTo>
                    <a:pt x="804" y="21"/>
                  </a:lnTo>
                  <a:lnTo>
                    <a:pt x="805" y="21"/>
                  </a:lnTo>
                  <a:lnTo>
                    <a:pt x="806" y="21"/>
                  </a:lnTo>
                  <a:lnTo>
                    <a:pt x="809" y="21"/>
                  </a:lnTo>
                  <a:lnTo>
                    <a:pt x="811" y="21"/>
                  </a:lnTo>
                  <a:lnTo>
                    <a:pt x="814" y="21"/>
                  </a:lnTo>
                  <a:lnTo>
                    <a:pt x="817" y="21"/>
                  </a:lnTo>
                  <a:lnTo>
                    <a:pt x="819" y="21"/>
                  </a:lnTo>
                  <a:lnTo>
                    <a:pt x="821" y="21"/>
                  </a:lnTo>
                  <a:lnTo>
                    <a:pt x="825" y="21"/>
                  </a:lnTo>
                  <a:lnTo>
                    <a:pt x="826" y="21"/>
                  </a:lnTo>
                  <a:lnTo>
                    <a:pt x="829" y="21"/>
                  </a:lnTo>
                  <a:lnTo>
                    <a:pt x="832" y="20"/>
                  </a:lnTo>
                  <a:lnTo>
                    <a:pt x="833" y="20"/>
                  </a:lnTo>
                  <a:lnTo>
                    <a:pt x="836" y="20"/>
                  </a:lnTo>
                  <a:lnTo>
                    <a:pt x="838" y="20"/>
                  </a:lnTo>
                  <a:lnTo>
                    <a:pt x="836" y="20"/>
                  </a:lnTo>
                  <a:lnTo>
                    <a:pt x="838" y="20"/>
                  </a:lnTo>
                  <a:lnTo>
                    <a:pt x="838" y="18"/>
                  </a:lnTo>
                  <a:lnTo>
                    <a:pt x="839" y="18"/>
                  </a:lnTo>
                  <a:lnTo>
                    <a:pt x="840" y="18"/>
                  </a:lnTo>
                  <a:lnTo>
                    <a:pt x="841" y="18"/>
                  </a:lnTo>
                  <a:lnTo>
                    <a:pt x="845" y="18"/>
                  </a:lnTo>
                  <a:lnTo>
                    <a:pt x="848" y="17"/>
                  </a:lnTo>
                  <a:lnTo>
                    <a:pt x="849" y="17"/>
                  </a:lnTo>
                  <a:lnTo>
                    <a:pt x="848" y="17"/>
                  </a:lnTo>
                  <a:lnTo>
                    <a:pt x="847" y="17"/>
                  </a:lnTo>
                  <a:lnTo>
                    <a:pt x="845" y="17"/>
                  </a:lnTo>
                  <a:lnTo>
                    <a:pt x="842" y="17"/>
                  </a:lnTo>
                  <a:lnTo>
                    <a:pt x="839" y="18"/>
                  </a:lnTo>
                  <a:lnTo>
                    <a:pt x="835" y="18"/>
                  </a:lnTo>
                  <a:lnTo>
                    <a:pt x="834" y="18"/>
                  </a:lnTo>
                  <a:lnTo>
                    <a:pt x="832" y="20"/>
                  </a:lnTo>
                  <a:lnTo>
                    <a:pt x="828" y="20"/>
                  </a:lnTo>
                  <a:lnTo>
                    <a:pt x="824" y="20"/>
                  </a:lnTo>
                  <a:lnTo>
                    <a:pt x="820" y="20"/>
                  </a:lnTo>
                  <a:lnTo>
                    <a:pt x="816" y="20"/>
                  </a:lnTo>
                  <a:lnTo>
                    <a:pt x="811" y="20"/>
                  </a:lnTo>
                  <a:lnTo>
                    <a:pt x="807" y="20"/>
                  </a:lnTo>
                  <a:lnTo>
                    <a:pt x="803" y="21"/>
                  </a:lnTo>
                  <a:lnTo>
                    <a:pt x="802" y="20"/>
                  </a:lnTo>
                  <a:lnTo>
                    <a:pt x="800" y="20"/>
                  </a:lnTo>
                  <a:lnTo>
                    <a:pt x="800" y="18"/>
                  </a:lnTo>
                  <a:lnTo>
                    <a:pt x="804" y="17"/>
                  </a:lnTo>
                  <a:lnTo>
                    <a:pt x="804" y="18"/>
                  </a:lnTo>
                  <a:lnTo>
                    <a:pt x="805" y="18"/>
                  </a:lnTo>
                  <a:lnTo>
                    <a:pt x="806" y="18"/>
                  </a:lnTo>
                  <a:lnTo>
                    <a:pt x="807" y="18"/>
                  </a:lnTo>
                  <a:lnTo>
                    <a:pt x="810" y="18"/>
                  </a:lnTo>
                  <a:lnTo>
                    <a:pt x="813" y="18"/>
                  </a:lnTo>
                  <a:lnTo>
                    <a:pt x="813" y="17"/>
                  </a:lnTo>
                  <a:lnTo>
                    <a:pt x="810" y="17"/>
                  </a:lnTo>
                  <a:lnTo>
                    <a:pt x="809" y="17"/>
                  </a:lnTo>
                  <a:lnTo>
                    <a:pt x="806" y="17"/>
                  </a:lnTo>
                  <a:lnTo>
                    <a:pt x="805" y="17"/>
                  </a:lnTo>
                  <a:lnTo>
                    <a:pt x="806" y="17"/>
                  </a:lnTo>
                  <a:lnTo>
                    <a:pt x="809" y="17"/>
                  </a:lnTo>
                  <a:lnTo>
                    <a:pt x="811" y="16"/>
                  </a:lnTo>
                  <a:lnTo>
                    <a:pt x="812" y="16"/>
                  </a:lnTo>
                  <a:lnTo>
                    <a:pt x="816" y="16"/>
                  </a:lnTo>
                  <a:lnTo>
                    <a:pt x="817" y="16"/>
                  </a:lnTo>
                  <a:lnTo>
                    <a:pt x="816" y="16"/>
                  </a:lnTo>
                  <a:lnTo>
                    <a:pt x="817" y="15"/>
                  </a:lnTo>
                  <a:lnTo>
                    <a:pt x="820" y="15"/>
                  </a:lnTo>
                  <a:lnTo>
                    <a:pt x="821" y="15"/>
                  </a:lnTo>
                  <a:lnTo>
                    <a:pt x="825" y="15"/>
                  </a:lnTo>
                  <a:lnTo>
                    <a:pt x="826" y="15"/>
                  </a:lnTo>
                  <a:lnTo>
                    <a:pt x="827" y="15"/>
                  </a:lnTo>
                  <a:lnTo>
                    <a:pt x="828" y="15"/>
                  </a:lnTo>
                  <a:lnTo>
                    <a:pt x="829" y="15"/>
                  </a:lnTo>
                  <a:lnTo>
                    <a:pt x="831" y="15"/>
                  </a:lnTo>
                  <a:lnTo>
                    <a:pt x="827" y="15"/>
                  </a:lnTo>
                  <a:lnTo>
                    <a:pt x="825" y="15"/>
                  </a:lnTo>
                  <a:lnTo>
                    <a:pt x="824" y="15"/>
                  </a:lnTo>
                  <a:lnTo>
                    <a:pt x="823" y="15"/>
                  </a:lnTo>
                  <a:lnTo>
                    <a:pt x="821" y="15"/>
                  </a:lnTo>
                  <a:lnTo>
                    <a:pt x="820" y="15"/>
                  </a:lnTo>
                  <a:lnTo>
                    <a:pt x="819" y="15"/>
                  </a:lnTo>
                  <a:lnTo>
                    <a:pt x="817" y="15"/>
                  </a:lnTo>
                  <a:lnTo>
                    <a:pt x="813" y="15"/>
                  </a:lnTo>
                  <a:lnTo>
                    <a:pt x="811" y="15"/>
                  </a:lnTo>
                  <a:lnTo>
                    <a:pt x="809" y="16"/>
                  </a:lnTo>
                  <a:lnTo>
                    <a:pt x="804" y="16"/>
                  </a:lnTo>
                  <a:lnTo>
                    <a:pt x="803" y="16"/>
                  </a:lnTo>
                  <a:lnTo>
                    <a:pt x="802" y="16"/>
                  </a:lnTo>
                  <a:lnTo>
                    <a:pt x="799" y="16"/>
                  </a:lnTo>
                  <a:lnTo>
                    <a:pt x="804" y="15"/>
                  </a:lnTo>
                  <a:lnTo>
                    <a:pt x="807" y="15"/>
                  </a:lnTo>
                  <a:lnTo>
                    <a:pt x="809" y="15"/>
                  </a:lnTo>
                  <a:lnTo>
                    <a:pt x="812" y="15"/>
                  </a:lnTo>
                  <a:lnTo>
                    <a:pt x="812" y="14"/>
                  </a:lnTo>
                  <a:lnTo>
                    <a:pt x="810" y="14"/>
                  </a:lnTo>
                  <a:lnTo>
                    <a:pt x="809" y="14"/>
                  </a:lnTo>
                  <a:lnTo>
                    <a:pt x="807" y="14"/>
                  </a:lnTo>
                  <a:lnTo>
                    <a:pt x="806" y="14"/>
                  </a:lnTo>
                  <a:lnTo>
                    <a:pt x="805" y="14"/>
                  </a:lnTo>
                  <a:lnTo>
                    <a:pt x="804" y="14"/>
                  </a:lnTo>
                  <a:lnTo>
                    <a:pt x="803" y="14"/>
                  </a:lnTo>
                  <a:lnTo>
                    <a:pt x="802" y="14"/>
                  </a:lnTo>
                  <a:lnTo>
                    <a:pt x="800" y="14"/>
                  </a:lnTo>
                  <a:lnTo>
                    <a:pt x="800" y="15"/>
                  </a:lnTo>
                  <a:lnTo>
                    <a:pt x="799" y="15"/>
                  </a:lnTo>
                  <a:lnTo>
                    <a:pt x="798" y="15"/>
                  </a:lnTo>
                  <a:lnTo>
                    <a:pt x="795" y="15"/>
                  </a:lnTo>
                  <a:lnTo>
                    <a:pt x="796" y="15"/>
                  </a:lnTo>
                  <a:lnTo>
                    <a:pt x="793" y="14"/>
                  </a:lnTo>
                  <a:lnTo>
                    <a:pt x="792" y="14"/>
                  </a:lnTo>
                  <a:lnTo>
                    <a:pt x="793" y="14"/>
                  </a:lnTo>
                  <a:lnTo>
                    <a:pt x="792" y="14"/>
                  </a:lnTo>
                  <a:lnTo>
                    <a:pt x="793" y="14"/>
                  </a:lnTo>
                  <a:lnTo>
                    <a:pt x="795" y="14"/>
                  </a:lnTo>
                  <a:lnTo>
                    <a:pt x="796" y="14"/>
                  </a:lnTo>
                  <a:lnTo>
                    <a:pt x="796" y="13"/>
                  </a:lnTo>
                  <a:lnTo>
                    <a:pt x="797" y="13"/>
                  </a:lnTo>
                  <a:lnTo>
                    <a:pt x="798" y="13"/>
                  </a:lnTo>
                  <a:lnTo>
                    <a:pt x="799" y="13"/>
                  </a:lnTo>
                  <a:lnTo>
                    <a:pt x="800" y="13"/>
                  </a:lnTo>
                  <a:lnTo>
                    <a:pt x="802" y="13"/>
                  </a:lnTo>
                  <a:lnTo>
                    <a:pt x="803" y="13"/>
                  </a:lnTo>
                  <a:lnTo>
                    <a:pt x="805" y="13"/>
                  </a:lnTo>
                  <a:lnTo>
                    <a:pt x="806" y="11"/>
                  </a:lnTo>
                  <a:lnTo>
                    <a:pt x="810" y="11"/>
                  </a:lnTo>
                  <a:lnTo>
                    <a:pt x="812" y="11"/>
                  </a:lnTo>
                  <a:lnTo>
                    <a:pt x="813" y="11"/>
                  </a:lnTo>
                  <a:lnTo>
                    <a:pt x="814" y="11"/>
                  </a:lnTo>
                  <a:lnTo>
                    <a:pt x="816" y="11"/>
                  </a:lnTo>
                  <a:lnTo>
                    <a:pt x="814" y="11"/>
                  </a:lnTo>
                  <a:lnTo>
                    <a:pt x="816" y="11"/>
                  </a:lnTo>
                  <a:lnTo>
                    <a:pt x="816" y="13"/>
                  </a:lnTo>
                  <a:lnTo>
                    <a:pt x="817" y="13"/>
                  </a:lnTo>
                  <a:lnTo>
                    <a:pt x="818" y="13"/>
                  </a:lnTo>
                  <a:lnTo>
                    <a:pt x="819" y="11"/>
                  </a:lnTo>
                  <a:lnTo>
                    <a:pt x="818" y="11"/>
                  </a:lnTo>
                  <a:lnTo>
                    <a:pt x="817" y="11"/>
                  </a:lnTo>
                  <a:lnTo>
                    <a:pt x="818" y="11"/>
                  </a:lnTo>
                  <a:lnTo>
                    <a:pt x="819" y="11"/>
                  </a:lnTo>
                  <a:lnTo>
                    <a:pt x="820" y="11"/>
                  </a:lnTo>
                  <a:lnTo>
                    <a:pt x="821" y="11"/>
                  </a:lnTo>
                  <a:lnTo>
                    <a:pt x="821" y="10"/>
                  </a:lnTo>
                  <a:lnTo>
                    <a:pt x="825" y="10"/>
                  </a:lnTo>
                  <a:lnTo>
                    <a:pt x="829" y="10"/>
                  </a:lnTo>
                  <a:lnTo>
                    <a:pt x="829" y="9"/>
                  </a:lnTo>
                  <a:lnTo>
                    <a:pt x="831" y="9"/>
                  </a:lnTo>
                  <a:lnTo>
                    <a:pt x="832" y="9"/>
                  </a:lnTo>
                  <a:lnTo>
                    <a:pt x="833" y="10"/>
                  </a:lnTo>
                  <a:lnTo>
                    <a:pt x="834" y="9"/>
                  </a:lnTo>
                  <a:lnTo>
                    <a:pt x="836" y="10"/>
                  </a:lnTo>
                  <a:lnTo>
                    <a:pt x="838" y="10"/>
                  </a:lnTo>
                  <a:lnTo>
                    <a:pt x="835" y="10"/>
                  </a:lnTo>
                  <a:lnTo>
                    <a:pt x="835" y="11"/>
                  </a:lnTo>
                  <a:lnTo>
                    <a:pt x="838" y="11"/>
                  </a:lnTo>
                  <a:lnTo>
                    <a:pt x="840" y="11"/>
                  </a:lnTo>
                  <a:lnTo>
                    <a:pt x="839" y="11"/>
                  </a:lnTo>
                  <a:lnTo>
                    <a:pt x="838" y="11"/>
                  </a:lnTo>
                  <a:lnTo>
                    <a:pt x="838" y="10"/>
                  </a:lnTo>
                  <a:lnTo>
                    <a:pt x="840" y="10"/>
                  </a:lnTo>
                  <a:lnTo>
                    <a:pt x="839" y="10"/>
                  </a:lnTo>
                  <a:lnTo>
                    <a:pt x="840" y="10"/>
                  </a:lnTo>
                  <a:lnTo>
                    <a:pt x="842" y="10"/>
                  </a:lnTo>
                  <a:lnTo>
                    <a:pt x="846" y="10"/>
                  </a:lnTo>
                  <a:lnTo>
                    <a:pt x="847" y="10"/>
                  </a:lnTo>
                  <a:lnTo>
                    <a:pt x="848" y="11"/>
                  </a:lnTo>
                  <a:lnTo>
                    <a:pt x="850" y="11"/>
                  </a:lnTo>
                  <a:lnTo>
                    <a:pt x="849" y="11"/>
                  </a:lnTo>
                  <a:lnTo>
                    <a:pt x="849" y="10"/>
                  </a:lnTo>
                  <a:lnTo>
                    <a:pt x="853" y="10"/>
                  </a:lnTo>
                  <a:lnTo>
                    <a:pt x="854" y="10"/>
                  </a:lnTo>
                  <a:lnTo>
                    <a:pt x="854" y="11"/>
                  </a:lnTo>
                  <a:lnTo>
                    <a:pt x="855" y="11"/>
                  </a:lnTo>
                  <a:lnTo>
                    <a:pt x="856" y="11"/>
                  </a:lnTo>
                  <a:lnTo>
                    <a:pt x="855" y="11"/>
                  </a:lnTo>
                  <a:lnTo>
                    <a:pt x="855" y="10"/>
                  </a:lnTo>
                  <a:lnTo>
                    <a:pt x="856" y="10"/>
                  </a:lnTo>
                  <a:lnTo>
                    <a:pt x="856" y="11"/>
                  </a:lnTo>
                  <a:lnTo>
                    <a:pt x="857" y="11"/>
                  </a:lnTo>
                  <a:lnTo>
                    <a:pt x="857" y="10"/>
                  </a:lnTo>
                  <a:lnTo>
                    <a:pt x="854" y="10"/>
                  </a:lnTo>
                  <a:lnTo>
                    <a:pt x="850" y="10"/>
                  </a:lnTo>
                  <a:lnTo>
                    <a:pt x="846" y="9"/>
                  </a:lnTo>
                  <a:lnTo>
                    <a:pt x="842" y="9"/>
                  </a:lnTo>
                  <a:lnTo>
                    <a:pt x="842" y="8"/>
                  </a:lnTo>
                  <a:lnTo>
                    <a:pt x="845" y="8"/>
                  </a:lnTo>
                  <a:lnTo>
                    <a:pt x="847" y="8"/>
                  </a:lnTo>
                  <a:lnTo>
                    <a:pt x="849" y="8"/>
                  </a:lnTo>
                  <a:lnTo>
                    <a:pt x="853" y="8"/>
                  </a:lnTo>
                  <a:lnTo>
                    <a:pt x="854" y="8"/>
                  </a:lnTo>
                  <a:lnTo>
                    <a:pt x="855" y="8"/>
                  </a:lnTo>
                  <a:lnTo>
                    <a:pt x="856" y="8"/>
                  </a:lnTo>
                  <a:lnTo>
                    <a:pt x="855" y="8"/>
                  </a:lnTo>
                  <a:lnTo>
                    <a:pt x="856" y="7"/>
                  </a:lnTo>
                  <a:lnTo>
                    <a:pt x="855" y="7"/>
                  </a:lnTo>
                  <a:lnTo>
                    <a:pt x="856" y="7"/>
                  </a:lnTo>
                  <a:lnTo>
                    <a:pt x="855" y="7"/>
                  </a:lnTo>
                  <a:lnTo>
                    <a:pt x="854" y="7"/>
                  </a:lnTo>
                  <a:lnTo>
                    <a:pt x="853" y="7"/>
                  </a:lnTo>
                  <a:lnTo>
                    <a:pt x="854" y="7"/>
                  </a:lnTo>
                  <a:lnTo>
                    <a:pt x="854" y="6"/>
                  </a:lnTo>
                  <a:lnTo>
                    <a:pt x="857" y="6"/>
                  </a:lnTo>
                  <a:lnTo>
                    <a:pt x="861" y="6"/>
                  </a:lnTo>
                  <a:lnTo>
                    <a:pt x="863" y="6"/>
                  </a:lnTo>
                  <a:lnTo>
                    <a:pt x="863" y="7"/>
                  </a:lnTo>
                  <a:lnTo>
                    <a:pt x="861" y="7"/>
                  </a:lnTo>
                  <a:lnTo>
                    <a:pt x="864" y="7"/>
                  </a:lnTo>
                  <a:lnTo>
                    <a:pt x="867" y="7"/>
                  </a:lnTo>
                  <a:lnTo>
                    <a:pt x="868" y="7"/>
                  </a:lnTo>
                  <a:lnTo>
                    <a:pt x="870" y="7"/>
                  </a:lnTo>
                  <a:lnTo>
                    <a:pt x="873" y="8"/>
                  </a:lnTo>
                  <a:lnTo>
                    <a:pt x="871" y="8"/>
                  </a:lnTo>
                  <a:lnTo>
                    <a:pt x="874" y="9"/>
                  </a:lnTo>
                  <a:lnTo>
                    <a:pt x="873" y="10"/>
                  </a:lnTo>
                  <a:lnTo>
                    <a:pt x="871" y="10"/>
                  </a:lnTo>
                  <a:lnTo>
                    <a:pt x="875" y="10"/>
                  </a:lnTo>
                  <a:lnTo>
                    <a:pt x="877" y="10"/>
                  </a:lnTo>
                  <a:lnTo>
                    <a:pt x="881" y="10"/>
                  </a:lnTo>
                  <a:lnTo>
                    <a:pt x="882" y="10"/>
                  </a:lnTo>
                  <a:lnTo>
                    <a:pt x="881" y="9"/>
                  </a:lnTo>
                  <a:lnTo>
                    <a:pt x="877" y="9"/>
                  </a:lnTo>
                  <a:lnTo>
                    <a:pt x="876" y="9"/>
                  </a:lnTo>
                  <a:lnTo>
                    <a:pt x="875" y="8"/>
                  </a:lnTo>
                  <a:lnTo>
                    <a:pt x="876" y="8"/>
                  </a:lnTo>
                  <a:lnTo>
                    <a:pt x="878" y="8"/>
                  </a:lnTo>
                  <a:lnTo>
                    <a:pt x="880" y="8"/>
                  </a:lnTo>
                  <a:lnTo>
                    <a:pt x="882" y="9"/>
                  </a:lnTo>
                  <a:lnTo>
                    <a:pt x="883" y="9"/>
                  </a:lnTo>
                  <a:lnTo>
                    <a:pt x="885" y="9"/>
                  </a:lnTo>
                  <a:lnTo>
                    <a:pt x="889" y="10"/>
                  </a:lnTo>
                  <a:lnTo>
                    <a:pt x="892" y="10"/>
                  </a:lnTo>
                  <a:lnTo>
                    <a:pt x="893" y="10"/>
                  </a:lnTo>
                  <a:lnTo>
                    <a:pt x="897" y="10"/>
                  </a:lnTo>
                  <a:lnTo>
                    <a:pt x="899" y="11"/>
                  </a:lnTo>
                  <a:lnTo>
                    <a:pt x="899" y="13"/>
                  </a:lnTo>
                  <a:lnTo>
                    <a:pt x="902" y="13"/>
                  </a:lnTo>
                  <a:lnTo>
                    <a:pt x="899" y="11"/>
                  </a:lnTo>
                  <a:lnTo>
                    <a:pt x="899" y="10"/>
                  </a:lnTo>
                  <a:lnTo>
                    <a:pt x="898" y="10"/>
                  </a:lnTo>
                  <a:lnTo>
                    <a:pt x="899" y="10"/>
                  </a:lnTo>
                  <a:lnTo>
                    <a:pt x="898" y="10"/>
                  </a:lnTo>
                  <a:lnTo>
                    <a:pt x="896" y="10"/>
                  </a:lnTo>
                  <a:lnTo>
                    <a:pt x="893" y="10"/>
                  </a:lnTo>
                  <a:lnTo>
                    <a:pt x="890" y="9"/>
                  </a:lnTo>
                  <a:lnTo>
                    <a:pt x="891" y="9"/>
                  </a:lnTo>
                  <a:lnTo>
                    <a:pt x="888" y="9"/>
                  </a:lnTo>
                  <a:lnTo>
                    <a:pt x="885" y="8"/>
                  </a:lnTo>
                  <a:lnTo>
                    <a:pt x="882" y="8"/>
                  </a:lnTo>
                  <a:lnTo>
                    <a:pt x="878" y="7"/>
                  </a:lnTo>
                  <a:lnTo>
                    <a:pt x="880" y="7"/>
                  </a:lnTo>
                  <a:lnTo>
                    <a:pt x="882" y="6"/>
                  </a:lnTo>
                  <a:lnTo>
                    <a:pt x="887" y="6"/>
                  </a:lnTo>
                  <a:lnTo>
                    <a:pt x="890" y="6"/>
                  </a:lnTo>
                  <a:lnTo>
                    <a:pt x="888" y="6"/>
                  </a:lnTo>
                  <a:lnTo>
                    <a:pt x="887" y="6"/>
                  </a:lnTo>
                  <a:lnTo>
                    <a:pt x="884" y="4"/>
                  </a:lnTo>
                  <a:lnTo>
                    <a:pt x="885" y="4"/>
                  </a:lnTo>
                  <a:lnTo>
                    <a:pt x="888" y="4"/>
                  </a:lnTo>
                  <a:lnTo>
                    <a:pt x="890" y="4"/>
                  </a:lnTo>
                  <a:lnTo>
                    <a:pt x="892" y="4"/>
                  </a:lnTo>
                  <a:lnTo>
                    <a:pt x="895" y="4"/>
                  </a:lnTo>
                  <a:lnTo>
                    <a:pt x="896" y="6"/>
                  </a:lnTo>
                  <a:lnTo>
                    <a:pt x="898" y="6"/>
                  </a:lnTo>
                  <a:lnTo>
                    <a:pt x="897" y="4"/>
                  </a:lnTo>
                  <a:lnTo>
                    <a:pt x="896" y="4"/>
                  </a:lnTo>
                  <a:lnTo>
                    <a:pt x="896" y="3"/>
                  </a:lnTo>
                  <a:lnTo>
                    <a:pt x="895" y="3"/>
                  </a:lnTo>
                  <a:lnTo>
                    <a:pt x="893" y="3"/>
                  </a:lnTo>
                  <a:lnTo>
                    <a:pt x="892" y="3"/>
                  </a:lnTo>
                  <a:lnTo>
                    <a:pt x="893" y="3"/>
                  </a:lnTo>
                  <a:lnTo>
                    <a:pt x="895" y="3"/>
                  </a:lnTo>
                  <a:lnTo>
                    <a:pt x="897" y="3"/>
                  </a:lnTo>
                  <a:lnTo>
                    <a:pt x="900" y="3"/>
                  </a:lnTo>
                  <a:lnTo>
                    <a:pt x="903" y="3"/>
                  </a:lnTo>
                  <a:lnTo>
                    <a:pt x="904" y="3"/>
                  </a:lnTo>
                  <a:lnTo>
                    <a:pt x="903" y="3"/>
                  </a:lnTo>
                  <a:lnTo>
                    <a:pt x="904" y="3"/>
                  </a:lnTo>
                  <a:lnTo>
                    <a:pt x="904" y="4"/>
                  </a:lnTo>
                  <a:lnTo>
                    <a:pt x="905" y="4"/>
                  </a:lnTo>
                  <a:lnTo>
                    <a:pt x="906" y="4"/>
                  </a:lnTo>
                  <a:lnTo>
                    <a:pt x="905" y="4"/>
                  </a:lnTo>
                  <a:lnTo>
                    <a:pt x="905" y="3"/>
                  </a:lnTo>
                  <a:lnTo>
                    <a:pt x="906" y="3"/>
                  </a:lnTo>
                  <a:lnTo>
                    <a:pt x="909" y="4"/>
                  </a:lnTo>
                  <a:lnTo>
                    <a:pt x="912" y="4"/>
                  </a:lnTo>
                  <a:lnTo>
                    <a:pt x="913" y="4"/>
                  </a:lnTo>
                  <a:lnTo>
                    <a:pt x="917" y="4"/>
                  </a:lnTo>
                  <a:lnTo>
                    <a:pt x="913" y="3"/>
                  </a:lnTo>
                  <a:lnTo>
                    <a:pt x="910" y="3"/>
                  </a:lnTo>
                  <a:lnTo>
                    <a:pt x="906" y="3"/>
                  </a:lnTo>
                  <a:lnTo>
                    <a:pt x="907" y="3"/>
                  </a:lnTo>
                  <a:lnTo>
                    <a:pt x="909" y="3"/>
                  </a:lnTo>
                  <a:lnTo>
                    <a:pt x="906" y="2"/>
                  </a:lnTo>
                  <a:lnTo>
                    <a:pt x="904" y="2"/>
                  </a:lnTo>
                  <a:lnTo>
                    <a:pt x="905" y="2"/>
                  </a:lnTo>
                  <a:lnTo>
                    <a:pt x="906" y="2"/>
                  </a:lnTo>
                  <a:lnTo>
                    <a:pt x="910" y="2"/>
                  </a:lnTo>
                  <a:lnTo>
                    <a:pt x="913" y="1"/>
                  </a:lnTo>
                  <a:lnTo>
                    <a:pt x="913" y="2"/>
                  </a:lnTo>
                  <a:lnTo>
                    <a:pt x="914" y="2"/>
                  </a:lnTo>
                  <a:lnTo>
                    <a:pt x="916" y="2"/>
                  </a:lnTo>
                  <a:lnTo>
                    <a:pt x="918" y="2"/>
                  </a:lnTo>
                  <a:lnTo>
                    <a:pt x="919" y="2"/>
                  </a:lnTo>
                  <a:lnTo>
                    <a:pt x="920" y="2"/>
                  </a:lnTo>
                  <a:lnTo>
                    <a:pt x="921" y="2"/>
                  </a:lnTo>
                  <a:lnTo>
                    <a:pt x="921" y="3"/>
                  </a:lnTo>
                  <a:lnTo>
                    <a:pt x="923" y="3"/>
                  </a:lnTo>
                  <a:lnTo>
                    <a:pt x="923" y="2"/>
                  </a:lnTo>
                  <a:lnTo>
                    <a:pt x="921" y="2"/>
                  </a:lnTo>
                  <a:lnTo>
                    <a:pt x="923" y="2"/>
                  </a:lnTo>
                  <a:lnTo>
                    <a:pt x="925" y="2"/>
                  </a:lnTo>
                  <a:lnTo>
                    <a:pt x="927" y="2"/>
                  </a:lnTo>
                  <a:lnTo>
                    <a:pt x="931" y="2"/>
                  </a:lnTo>
                  <a:lnTo>
                    <a:pt x="932" y="3"/>
                  </a:lnTo>
                  <a:lnTo>
                    <a:pt x="931" y="3"/>
                  </a:lnTo>
                  <a:lnTo>
                    <a:pt x="932" y="3"/>
                  </a:lnTo>
                  <a:lnTo>
                    <a:pt x="933" y="3"/>
                  </a:lnTo>
                  <a:lnTo>
                    <a:pt x="933" y="4"/>
                  </a:lnTo>
                  <a:lnTo>
                    <a:pt x="934" y="4"/>
                  </a:lnTo>
                  <a:lnTo>
                    <a:pt x="935" y="4"/>
                  </a:lnTo>
                  <a:lnTo>
                    <a:pt x="937" y="4"/>
                  </a:lnTo>
                  <a:lnTo>
                    <a:pt x="938" y="4"/>
                  </a:lnTo>
                  <a:lnTo>
                    <a:pt x="938" y="6"/>
                  </a:lnTo>
                  <a:lnTo>
                    <a:pt x="937" y="6"/>
                  </a:lnTo>
                  <a:lnTo>
                    <a:pt x="935" y="6"/>
                  </a:lnTo>
                  <a:lnTo>
                    <a:pt x="934" y="6"/>
                  </a:lnTo>
                  <a:lnTo>
                    <a:pt x="933" y="6"/>
                  </a:lnTo>
                  <a:lnTo>
                    <a:pt x="934" y="7"/>
                  </a:lnTo>
                  <a:lnTo>
                    <a:pt x="934" y="6"/>
                  </a:lnTo>
                  <a:lnTo>
                    <a:pt x="937" y="6"/>
                  </a:lnTo>
                  <a:lnTo>
                    <a:pt x="940" y="4"/>
                  </a:lnTo>
                  <a:lnTo>
                    <a:pt x="941" y="4"/>
                  </a:lnTo>
                  <a:lnTo>
                    <a:pt x="942" y="4"/>
                  </a:lnTo>
                  <a:lnTo>
                    <a:pt x="940" y="4"/>
                  </a:lnTo>
                  <a:lnTo>
                    <a:pt x="937" y="4"/>
                  </a:lnTo>
                  <a:lnTo>
                    <a:pt x="938" y="4"/>
                  </a:lnTo>
                  <a:lnTo>
                    <a:pt x="937" y="4"/>
                  </a:lnTo>
                  <a:lnTo>
                    <a:pt x="937" y="3"/>
                  </a:lnTo>
                  <a:lnTo>
                    <a:pt x="939" y="3"/>
                  </a:lnTo>
                  <a:lnTo>
                    <a:pt x="935" y="3"/>
                  </a:lnTo>
                  <a:lnTo>
                    <a:pt x="934" y="2"/>
                  </a:lnTo>
                  <a:lnTo>
                    <a:pt x="932" y="2"/>
                  </a:lnTo>
                  <a:lnTo>
                    <a:pt x="930" y="1"/>
                  </a:lnTo>
                  <a:lnTo>
                    <a:pt x="931" y="1"/>
                  </a:lnTo>
                  <a:lnTo>
                    <a:pt x="932" y="1"/>
                  </a:lnTo>
                  <a:lnTo>
                    <a:pt x="935" y="1"/>
                  </a:lnTo>
                  <a:lnTo>
                    <a:pt x="940" y="1"/>
                  </a:lnTo>
                  <a:lnTo>
                    <a:pt x="941" y="1"/>
                  </a:lnTo>
                  <a:lnTo>
                    <a:pt x="944" y="1"/>
                  </a:lnTo>
                  <a:lnTo>
                    <a:pt x="946" y="1"/>
                  </a:lnTo>
                  <a:lnTo>
                    <a:pt x="947" y="1"/>
                  </a:lnTo>
                  <a:lnTo>
                    <a:pt x="948" y="1"/>
                  </a:lnTo>
                  <a:lnTo>
                    <a:pt x="949" y="1"/>
                  </a:lnTo>
                  <a:lnTo>
                    <a:pt x="953" y="1"/>
                  </a:lnTo>
                  <a:lnTo>
                    <a:pt x="956" y="1"/>
                  </a:lnTo>
                  <a:lnTo>
                    <a:pt x="957" y="1"/>
                  </a:lnTo>
                  <a:lnTo>
                    <a:pt x="957" y="2"/>
                  </a:lnTo>
                  <a:lnTo>
                    <a:pt x="961" y="3"/>
                  </a:lnTo>
                  <a:lnTo>
                    <a:pt x="963" y="3"/>
                  </a:lnTo>
                  <a:lnTo>
                    <a:pt x="967" y="4"/>
                  </a:lnTo>
                  <a:lnTo>
                    <a:pt x="967" y="3"/>
                  </a:lnTo>
                  <a:lnTo>
                    <a:pt x="968" y="3"/>
                  </a:lnTo>
                  <a:lnTo>
                    <a:pt x="966" y="3"/>
                  </a:lnTo>
                  <a:lnTo>
                    <a:pt x="963" y="3"/>
                  </a:lnTo>
                  <a:lnTo>
                    <a:pt x="962" y="2"/>
                  </a:lnTo>
                  <a:lnTo>
                    <a:pt x="961" y="2"/>
                  </a:lnTo>
                  <a:lnTo>
                    <a:pt x="962" y="2"/>
                  </a:lnTo>
                  <a:lnTo>
                    <a:pt x="961" y="2"/>
                  </a:lnTo>
                  <a:lnTo>
                    <a:pt x="960" y="2"/>
                  </a:lnTo>
                  <a:lnTo>
                    <a:pt x="961" y="1"/>
                  </a:lnTo>
                  <a:lnTo>
                    <a:pt x="962" y="1"/>
                  </a:lnTo>
                  <a:lnTo>
                    <a:pt x="964" y="1"/>
                  </a:lnTo>
                  <a:lnTo>
                    <a:pt x="967" y="1"/>
                  </a:lnTo>
                  <a:lnTo>
                    <a:pt x="968" y="1"/>
                  </a:lnTo>
                  <a:lnTo>
                    <a:pt x="967" y="1"/>
                  </a:lnTo>
                  <a:lnTo>
                    <a:pt x="968" y="1"/>
                  </a:lnTo>
                  <a:lnTo>
                    <a:pt x="969" y="0"/>
                  </a:lnTo>
                  <a:lnTo>
                    <a:pt x="970" y="0"/>
                  </a:lnTo>
                  <a:lnTo>
                    <a:pt x="970" y="1"/>
                  </a:lnTo>
                  <a:lnTo>
                    <a:pt x="973" y="0"/>
                  </a:lnTo>
                  <a:lnTo>
                    <a:pt x="976" y="0"/>
                  </a:lnTo>
                  <a:lnTo>
                    <a:pt x="978" y="0"/>
                  </a:lnTo>
                  <a:lnTo>
                    <a:pt x="978" y="1"/>
                  </a:lnTo>
                  <a:lnTo>
                    <a:pt x="976" y="1"/>
                  </a:lnTo>
                  <a:lnTo>
                    <a:pt x="977" y="1"/>
                  </a:lnTo>
                  <a:lnTo>
                    <a:pt x="977" y="2"/>
                  </a:lnTo>
                  <a:lnTo>
                    <a:pt x="980" y="2"/>
                  </a:lnTo>
                  <a:lnTo>
                    <a:pt x="983" y="2"/>
                  </a:lnTo>
                  <a:lnTo>
                    <a:pt x="980" y="1"/>
                  </a:lnTo>
                  <a:lnTo>
                    <a:pt x="978" y="1"/>
                  </a:lnTo>
                  <a:lnTo>
                    <a:pt x="981" y="1"/>
                  </a:lnTo>
                  <a:lnTo>
                    <a:pt x="982" y="1"/>
                  </a:lnTo>
                  <a:lnTo>
                    <a:pt x="982" y="0"/>
                  </a:lnTo>
                  <a:lnTo>
                    <a:pt x="983" y="0"/>
                  </a:lnTo>
                  <a:lnTo>
                    <a:pt x="984" y="1"/>
                  </a:lnTo>
                  <a:lnTo>
                    <a:pt x="984" y="0"/>
                  </a:lnTo>
                  <a:lnTo>
                    <a:pt x="985" y="0"/>
                  </a:lnTo>
                  <a:lnTo>
                    <a:pt x="988" y="0"/>
                  </a:lnTo>
                  <a:lnTo>
                    <a:pt x="991" y="0"/>
                  </a:lnTo>
                  <a:lnTo>
                    <a:pt x="995"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01" name="Freeform 854">
              <a:extLst>
                <a:ext uri="{FF2B5EF4-FFF2-40B4-BE49-F238E27FC236}">
                  <a16:creationId xmlns:a16="http://schemas.microsoft.com/office/drawing/2014/main" id="{F3470CC3-44E1-4E78-AE08-C8A3C52099EA}"/>
                </a:ext>
              </a:extLst>
            </p:cNvPr>
            <p:cNvSpPr>
              <a:spLocks/>
            </p:cNvSpPr>
            <p:nvPr/>
          </p:nvSpPr>
          <p:spPr bwMode="auto">
            <a:xfrm>
              <a:off x="5905254" y="2341570"/>
              <a:ext cx="74787" cy="40065"/>
            </a:xfrm>
            <a:custGeom>
              <a:avLst/>
              <a:gdLst>
                <a:gd name="T0" fmla="*/ 42 w 56"/>
                <a:gd name="T1" fmla="*/ 3 h 30"/>
                <a:gd name="T2" fmla="*/ 45 w 56"/>
                <a:gd name="T3" fmla="*/ 4 h 30"/>
                <a:gd name="T4" fmla="*/ 44 w 56"/>
                <a:gd name="T5" fmla="*/ 8 h 30"/>
                <a:gd name="T6" fmla="*/ 44 w 56"/>
                <a:gd name="T7" fmla="*/ 10 h 30"/>
                <a:gd name="T8" fmla="*/ 44 w 56"/>
                <a:gd name="T9" fmla="*/ 10 h 30"/>
                <a:gd name="T10" fmla="*/ 47 w 56"/>
                <a:gd name="T11" fmla="*/ 11 h 30"/>
                <a:gd name="T12" fmla="*/ 51 w 56"/>
                <a:gd name="T13" fmla="*/ 14 h 30"/>
                <a:gd name="T14" fmla="*/ 53 w 56"/>
                <a:gd name="T15" fmla="*/ 11 h 30"/>
                <a:gd name="T16" fmla="*/ 56 w 56"/>
                <a:gd name="T17" fmla="*/ 14 h 30"/>
                <a:gd name="T18" fmla="*/ 54 w 56"/>
                <a:gd name="T19" fmla="*/ 16 h 30"/>
                <a:gd name="T20" fmla="*/ 54 w 56"/>
                <a:gd name="T21" fmla="*/ 18 h 30"/>
                <a:gd name="T22" fmla="*/ 51 w 56"/>
                <a:gd name="T23" fmla="*/ 17 h 30"/>
                <a:gd name="T24" fmla="*/ 52 w 56"/>
                <a:gd name="T25" fmla="*/ 21 h 30"/>
                <a:gd name="T26" fmla="*/ 51 w 56"/>
                <a:gd name="T27" fmla="*/ 23 h 30"/>
                <a:gd name="T28" fmla="*/ 47 w 56"/>
                <a:gd name="T29" fmla="*/ 22 h 30"/>
                <a:gd name="T30" fmla="*/ 44 w 56"/>
                <a:gd name="T31" fmla="*/ 23 h 30"/>
                <a:gd name="T32" fmla="*/ 43 w 56"/>
                <a:gd name="T33" fmla="*/ 20 h 30"/>
                <a:gd name="T34" fmla="*/ 42 w 56"/>
                <a:gd name="T35" fmla="*/ 22 h 30"/>
                <a:gd name="T36" fmla="*/ 39 w 56"/>
                <a:gd name="T37" fmla="*/ 27 h 30"/>
                <a:gd name="T38" fmla="*/ 39 w 56"/>
                <a:gd name="T39" fmla="*/ 29 h 30"/>
                <a:gd name="T40" fmla="*/ 37 w 56"/>
                <a:gd name="T41" fmla="*/ 29 h 30"/>
                <a:gd name="T42" fmla="*/ 36 w 56"/>
                <a:gd name="T43" fmla="*/ 27 h 30"/>
                <a:gd name="T44" fmla="*/ 32 w 56"/>
                <a:gd name="T45" fmla="*/ 24 h 30"/>
                <a:gd name="T46" fmla="*/ 31 w 56"/>
                <a:gd name="T47" fmla="*/ 21 h 30"/>
                <a:gd name="T48" fmla="*/ 29 w 56"/>
                <a:gd name="T49" fmla="*/ 22 h 30"/>
                <a:gd name="T50" fmla="*/ 28 w 56"/>
                <a:gd name="T51" fmla="*/ 24 h 30"/>
                <a:gd name="T52" fmla="*/ 25 w 56"/>
                <a:gd name="T53" fmla="*/ 28 h 30"/>
                <a:gd name="T54" fmla="*/ 22 w 56"/>
                <a:gd name="T55" fmla="*/ 28 h 30"/>
                <a:gd name="T56" fmla="*/ 18 w 56"/>
                <a:gd name="T57" fmla="*/ 29 h 30"/>
                <a:gd name="T58" fmla="*/ 14 w 56"/>
                <a:gd name="T59" fmla="*/ 29 h 30"/>
                <a:gd name="T60" fmla="*/ 11 w 56"/>
                <a:gd name="T61" fmla="*/ 27 h 30"/>
                <a:gd name="T62" fmla="*/ 11 w 56"/>
                <a:gd name="T63" fmla="*/ 23 h 30"/>
                <a:gd name="T64" fmla="*/ 11 w 56"/>
                <a:gd name="T65" fmla="*/ 21 h 30"/>
                <a:gd name="T66" fmla="*/ 10 w 56"/>
                <a:gd name="T67" fmla="*/ 20 h 30"/>
                <a:gd name="T68" fmla="*/ 4 w 56"/>
                <a:gd name="T69" fmla="*/ 20 h 30"/>
                <a:gd name="T70" fmla="*/ 3 w 56"/>
                <a:gd name="T71" fmla="*/ 23 h 30"/>
                <a:gd name="T72" fmla="*/ 2 w 56"/>
                <a:gd name="T73" fmla="*/ 25 h 30"/>
                <a:gd name="T74" fmla="*/ 0 w 56"/>
                <a:gd name="T75" fmla="*/ 24 h 30"/>
                <a:gd name="T76" fmla="*/ 1 w 56"/>
                <a:gd name="T77" fmla="*/ 23 h 30"/>
                <a:gd name="T78" fmla="*/ 1 w 56"/>
                <a:gd name="T79" fmla="*/ 21 h 30"/>
                <a:gd name="T80" fmla="*/ 3 w 56"/>
                <a:gd name="T81" fmla="*/ 16 h 30"/>
                <a:gd name="T82" fmla="*/ 6 w 56"/>
                <a:gd name="T83" fmla="*/ 14 h 30"/>
                <a:gd name="T84" fmla="*/ 9 w 56"/>
                <a:gd name="T85" fmla="*/ 11 h 30"/>
                <a:gd name="T86" fmla="*/ 11 w 56"/>
                <a:gd name="T87" fmla="*/ 7 h 30"/>
                <a:gd name="T88" fmla="*/ 11 w 56"/>
                <a:gd name="T89" fmla="*/ 6 h 30"/>
                <a:gd name="T90" fmla="*/ 15 w 56"/>
                <a:gd name="T91" fmla="*/ 6 h 30"/>
                <a:gd name="T92" fmla="*/ 18 w 56"/>
                <a:gd name="T93" fmla="*/ 4 h 30"/>
                <a:gd name="T94" fmla="*/ 21 w 56"/>
                <a:gd name="T95" fmla="*/ 2 h 30"/>
                <a:gd name="T96" fmla="*/ 22 w 56"/>
                <a:gd name="T97" fmla="*/ 3 h 30"/>
                <a:gd name="T98" fmla="*/ 25 w 56"/>
                <a:gd name="T99" fmla="*/ 3 h 30"/>
                <a:gd name="T100" fmla="*/ 29 w 56"/>
                <a:gd name="T101" fmla="*/ 2 h 30"/>
                <a:gd name="T102" fmla="*/ 32 w 56"/>
                <a:gd name="T103" fmla="*/ 2 h 30"/>
                <a:gd name="T104" fmla="*/ 30 w 56"/>
                <a:gd name="T105" fmla="*/ 2 h 30"/>
                <a:gd name="T106" fmla="*/ 29 w 56"/>
                <a:gd name="T107" fmla="*/ 1 h 30"/>
                <a:gd name="T108" fmla="*/ 32 w 56"/>
                <a:gd name="T109" fmla="*/ 0 h 30"/>
                <a:gd name="T110" fmla="*/ 36 w 56"/>
                <a:gd name="T111"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 h="30">
                  <a:moveTo>
                    <a:pt x="39" y="1"/>
                  </a:moveTo>
                  <a:lnTo>
                    <a:pt x="39" y="2"/>
                  </a:lnTo>
                  <a:lnTo>
                    <a:pt x="42" y="2"/>
                  </a:lnTo>
                  <a:lnTo>
                    <a:pt x="42" y="3"/>
                  </a:lnTo>
                  <a:lnTo>
                    <a:pt x="43" y="4"/>
                  </a:lnTo>
                  <a:lnTo>
                    <a:pt x="44" y="3"/>
                  </a:lnTo>
                  <a:lnTo>
                    <a:pt x="44" y="4"/>
                  </a:lnTo>
                  <a:lnTo>
                    <a:pt x="45" y="4"/>
                  </a:lnTo>
                  <a:lnTo>
                    <a:pt x="45" y="6"/>
                  </a:lnTo>
                  <a:lnTo>
                    <a:pt x="44" y="6"/>
                  </a:lnTo>
                  <a:lnTo>
                    <a:pt x="44" y="7"/>
                  </a:lnTo>
                  <a:lnTo>
                    <a:pt x="44" y="8"/>
                  </a:lnTo>
                  <a:lnTo>
                    <a:pt x="43" y="8"/>
                  </a:lnTo>
                  <a:lnTo>
                    <a:pt x="43" y="9"/>
                  </a:lnTo>
                  <a:lnTo>
                    <a:pt x="44" y="9"/>
                  </a:lnTo>
                  <a:lnTo>
                    <a:pt x="44" y="10"/>
                  </a:lnTo>
                  <a:lnTo>
                    <a:pt x="43" y="10"/>
                  </a:lnTo>
                  <a:lnTo>
                    <a:pt x="44" y="10"/>
                  </a:lnTo>
                  <a:lnTo>
                    <a:pt x="44" y="11"/>
                  </a:lnTo>
                  <a:lnTo>
                    <a:pt x="44" y="10"/>
                  </a:lnTo>
                  <a:lnTo>
                    <a:pt x="45" y="10"/>
                  </a:lnTo>
                  <a:lnTo>
                    <a:pt x="47" y="11"/>
                  </a:lnTo>
                  <a:lnTo>
                    <a:pt x="49" y="11"/>
                  </a:lnTo>
                  <a:lnTo>
                    <a:pt x="47" y="11"/>
                  </a:lnTo>
                  <a:lnTo>
                    <a:pt x="47" y="13"/>
                  </a:lnTo>
                  <a:lnTo>
                    <a:pt x="49" y="13"/>
                  </a:lnTo>
                  <a:lnTo>
                    <a:pt x="50" y="14"/>
                  </a:lnTo>
                  <a:lnTo>
                    <a:pt x="51" y="14"/>
                  </a:lnTo>
                  <a:lnTo>
                    <a:pt x="52" y="14"/>
                  </a:lnTo>
                  <a:lnTo>
                    <a:pt x="52" y="13"/>
                  </a:lnTo>
                  <a:lnTo>
                    <a:pt x="53" y="13"/>
                  </a:lnTo>
                  <a:lnTo>
                    <a:pt x="53" y="11"/>
                  </a:lnTo>
                  <a:lnTo>
                    <a:pt x="54" y="11"/>
                  </a:lnTo>
                  <a:lnTo>
                    <a:pt x="54" y="13"/>
                  </a:lnTo>
                  <a:lnTo>
                    <a:pt x="56" y="13"/>
                  </a:lnTo>
                  <a:lnTo>
                    <a:pt x="56" y="14"/>
                  </a:lnTo>
                  <a:lnTo>
                    <a:pt x="56" y="15"/>
                  </a:lnTo>
                  <a:lnTo>
                    <a:pt x="54" y="15"/>
                  </a:lnTo>
                  <a:lnTo>
                    <a:pt x="56" y="15"/>
                  </a:lnTo>
                  <a:lnTo>
                    <a:pt x="54" y="16"/>
                  </a:lnTo>
                  <a:lnTo>
                    <a:pt x="54" y="17"/>
                  </a:lnTo>
                  <a:lnTo>
                    <a:pt x="56" y="17"/>
                  </a:lnTo>
                  <a:lnTo>
                    <a:pt x="56" y="18"/>
                  </a:lnTo>
                  <a:lnTo>
                    <a:pt x="54" y="18"/>
                  </a:lnTo>
                  <a:lnTo>
                    <a:pt x="53" y="18"/>
                  </a:lnTo>
                  <a:lnTo>
                    <a:pt x="53" y="17"/>
                  </a:lnTo>
                  <a:lnTo>
                    <a:pt x="52" y="17"/>
                  </a:lnTo>
                  <a:lnTo>
                    <a:pt x="51" y="17"/>
                  </a:lnTo>
                  <a:lnTo>
                    <a:pt x="51" y="18"/>
                  </a:lnTo>
                  <a:lnTo>
                    <a:pt x="51" y="20"/>
                  </a:lnTo>
                  <a:lnTo>
                    <a:pt x="51" y="21"/>
                  </a:lnTo>
                  <a:lnTo>
                    <a:pt x="52" y="21"/>
                  </a:lnTo>
                  <a:lnTo>
                    <a:pt x="51" y="22"/>
                  </a:lnTo>
                  <a:lnTo>
                    <a:pt x="52" y="23"/>
                  </a:lnTo>
                  <a:lnTo>
                    <a:pt x="51" y="24"/>
                  </a:lnTo>
                  <a:lnTo>
                    <a:pt x="51" y="23"/>
                  </a:lnTo>
                  <a:lnTo>
                    <a:pt x="50" y="23"/>
                  </a:lnTo>
                  <a:lnTo>
                    <a:pt x="50" y="22"/>
                  </a:lnTo>
                  <a:lnTo>
                    <a:pt x="49" y="22"/>
                  </a:lnTo>
                  <a:lnTo>
                    <a:pt x="47" y="22"/>
                  </a:lnTo>
                  <a:lnTo>
                    <a:pt x="46" y="22"/>
                  </a:lnTo>
                  <a:lnTo>
                    <a:pt x="46" y="23"/>
                  </a:lnTo>
                  <a:lnTo>
                    <a:pt x="45" y="23"/>
                  </a:lnTo>
                  <a:lnTo>
                    <a:pt x="44" y="23"/>
                  </a:lnTo>
                  <a:lnTo>
                    <a:pt x="44" y="22"/>
                  </a:lnTo>
                  <a:lnTo>
                    <a:pt x="43" y="22"/>
                  </a:lnTo>
                  <a:lnTo>
                    <a:pt x="43" y="21"/>
                  </a:lnTo>
                  <a:lnTo>
                    <a:pt x="43" y="20"/>
                  </a:lnTo>
                  <a:lnTo>
                    <a:pt x="42" y="20"/>
                  </a:lnTo>
                  <a:lnTo>
                    <a:pt x="40" y="20"/>
                  </a:lnTo>
                  <a:lnTo>
                    <a:pt x="40" y="21"/>
                  </a:lnTo>
                  <a:lnTo>
                    <a:pt x="42" y="22"/>
                  </a:lnTo>
                  <a:lnTo>
                    <a:pt x="40" y="23"/>
                  </a:lnTo>
                  <a:lnTo>
                    <a:pt x="40" y="24"/>
                  </a:lnTo>
                  <a:lnTo>
                    <a:pt x="39" y="25"/>
                  </a:lnTo>
                  <a:lnTo>
                    <a:pt x="39" y="27"/>
                  </a:lnTo>
                  <a:lnTo>
                    <a:pt x="38" y="27"/>
                  </a:lnTo>
                  <a:lnTo>
                    <a:pt x="38" y="28"/>
                  </a:lnTo>
                  <a:lnTo>
                    <a:pt x="38" y="29"/>
                  </a:lnTo>
                  <a:lnTo>
                    <a:pt x="39" y="29"/>
                  </a:lnTo>
                  <a:lnTo>
                    <a:pt x="38" y="29"/>
                  </a:lnTo>
                  <a:lnTo>
                    <a:pt x="38" y="30"/>
                  </a:lnTo>
                  <a:lnTo>
                    <a:pt x="37" y="30"/>
                  </a:lnTo>
                  <a:lnTo>
                    <a:pt x="37" y="29"/>
                  </a:lnTo>
                  <a:lnTo>
                    <a:pt x="37" y="28"/>
                  </a:lnTo>
                  <a:lnTo>
                    <a:pt x="36" y="28"/>
                  </a:lnTo>
                  <a:lnTo>
                    <a:pt x="35" y="28"/>
                  </a:lnTo>
                  <a:lnTo>
                    <a:pt x="36" y="27"/>
                  </a:lnTo>
                  <a:lnTo>
                    <a:pt x="36" y="25"/>
                  </a:lnTo>
                  <a:lnTo>
                    <a:pt x="35" y="25"/>
                  </a:lnTo>
                  <a:lnTo>
                    <a:pt x="33" y="25"/>
                  </a:lnTo>
                  <a:lnTo>
                    <a:pt x="32" y="24"/>
                  </a:lnTo>
                  <a:lnTo>
                    <a:pt x="31" y="24"/>
                  </a:lnTo>
                  <a:lnTo>
                    <a:pt x="31" y="23"/>
                  </a:lnTo>
                  <a:lnTo>
                    <a:pt x="31" y="22"/>
                  </a:lnTo>
                  <a:lnTo>
                    <a:pt x="31" y="21"/>
                  </a:lnTo>
                  <a:lnTo>
                    <a:pt x="30" y="20"/>
                  </a:lnTo>
                  <a:lnTo>
                    <a:pt x="30" y="21"/>
                  </a:lnTo>
                  <a:lnTo>
                    <a:pt x="29" y="21"/>
                  </a:lnTo>
                  <a:lnTo>
                    <a:pt x="29" y="22"/>
                  </a:lnTo>
                  <a:lnTo>
                    <a:pt x="28" y="22"/>
                  </a:lnTo>
                  <a:lnTo>
                    <a:pt x="26" y="23"/>
                  </a:lnTo>
                  <a:lnTo>
                    <a:pt x="26" y="24"/>
                  </a:lnTo>
                  <a:lnTo>
                    <a:pt x="28" y="24"/>
                  </a:lnTo>
                  <a:lnTo>
                    <a:pt x="26" y="25"/>
                  </a:lnTo>
                  <a:lnTo>
                    <a:pt x="25" y="25"/>
                  </a:lnTo>
                  <a:lnTo>
                    <a:pt x="25" y="27"/>
                  </a:lnTo>
                  <a:lnTo>
                    <a:pt x="25" y="28"/>
                  </a:lnTo>
                  <a:lnTo>
                    <a:pt x="24" y="28"/>
                  </a:lnTo>
                  <a:lnTo>
                    <a:pt x="24" y="29"/>
                  </a:lnTo>
                  <a:lnTo>
                    <a:pt x="23" y="29"/>
                  </a:lnTo>
                  <a:lnTo>
                    <a:pt x="22" y="28"/>
                  </a:lnTo>
                  <a:lnTo>
                    <a:pt x="21" y="28"/>
                  </a:lnTo>
                  <a:lnTo>
                    <a:pt x="20" y="28"/>
                  </a:lnTo>
                  <a:lnTo>
                    <a:pt x="18" y="28"/>
                  </a:lnTo>
                  <a:lnTo>
                    <a:pt x="18" y="29"/>
                  </a:lnTo>
                  <a:lnTo>
                    <a:pt x="17" y="29"/>
                  </a:lnTo>
                  <a:lnTo>
                    <a:pt x="16" y="29"/>
                  </a:lnTo>
                  <a:lnTo>
                    <a:pt x="15" y="29"/>
                  </a:lnTo>
                  <a:lnTo>
                    <a:pt x="14" y="29"/>
                  </a:lnTo>
                  <a:lnTo>
                    <a:pt x="14" y="28"/>
                  </a:lnTo>
                  <a:lnTo>
                    <a:pt x="13" y="28"/>
                  </a:lnTo>
                  <a:lnTo>
                    <a:pt x="13" y="27"/>
                  </a:lnTo>
                  <a:lnTo>
                    <a:pt x="11" y="27"/>
                  </a:lnTo>
                  <a:lnTo>
                    <a:pt x="11" y="25"/>
                  </a:lnTo>
                  <a:lnTo>
                    <a:pt x="10" y="25"/>
                  </a:lnTo>
                  <a:lnTo>
                    <a:pt x="10" y="24"/>
                  </a:lnTo>
                  <a:lnTo>
                    <a:pt x="11" y="23"/>
                  </a:lnTo>
                  <a:lnTo>
                    <a:pt x="10" y="23"/>
                  </a:lnTo>
                  <a:lnTo>
                    <a:pt x="10" y="22"/>
                  </a:lnTo>
                  <a:lnTo>
                    <a:pt x="10" y="21"/>
                  </a:lnTo>
                  <a:lnTo>
                    <a:pt x="11" y="21"/>
                  </a:lnTo>
                  <a:lnTo>
                    <a:pt x="13" y="21"/>
                  </a:lnTo>
                  <a:lnTo>
                    <a:pt x="11" y="21"/>
                  </a:lnTo>
                  <a:lnTo>
                    <a:pt x="11" y="20"/>
                  </a:lnTo>
                  <a:lnTo>
                    <a:pt x="10" y="20"/>
                  </a:lnTo>
                  <a:lnTo>
                    <a:pt x="8" y="20"/>
                  </a:lnTo>
                  <a:lnTo>
                    <a:pt x="7" y="20"/>
                  </a:lnTo>
                  <a:lnTo>
                    <a:pt x="6" y="20"/>
                  </a:lnTo>
                  <a:lnTo>
                    <a:pt x="4" y="20"/>
                  </a:lnTo>
                  <a:lnTo>
                    <a:pt x="3" y="22"/>
                  </a:lnTo>
                  <a:lnTo>
                    <a:pt x="2" y="23"/>
                  </a:lnTo>
                  <a:lnTo>
                    <a:pt x="2" y="24"/>
                  </a:lnTo>
                  <a:lnTo>
                    <a:pt x="3" y="23"/>
                  </a:lnTo>
                  <a:lnTo>
                    <a:pt x="4" y="23"/>
                  </a:lnTo>
                  <a:lnTo>
                    <a:pt x="3" y="24"/>
                  </a:lnTo>
                  <a:lnTo>
                    <a:pt x="2" y="24"/>
                  </a:lnTo>
                  <a:lnTo>
                    <a:pt x="2" y="25"/>
                  </a:lnTo>
                  <a:lnTo>
                    <a:pt x="2" y="24"/>
                  </a:lnTo>
                  <a:lnTo>
                    <a:pt x="1" y="25"/>
                  </a:lnTo>
                  <a:lnTo>
                    <a:pt x="0" y="25"/>
                  </a:lnTo>
                  <a:lnTo>
                    <a:pt x="0" y="24"/>
                  </a:lnTo>
                  <a:lnTo>
                    <a:pt x="1" y="24"/>
                  </a:lnTo>
                  <a:lnTo>
                    <a:pt x="0" y="24"/>
                  </a:lnTo>
                  <a:lnTo>
                    <a:pt x="1" y="24"/>
                  </a:lnTo>
                  <a:lnTo>
                    <a:pt x="1" y="23"/>
                  </a:lnTo>
                  <a:lnTo>
                    <a:pt x="2" y="23"/>
                  </a:lnTo>
                  <a:lnTo>
                    <a:pt x="2" y="22"/>
                  </a:lnTo>
                  <a:lnTo>
                    <a:pt x="2" y="21"/>
                  </a:lnTo>
                  <a:lnTo>
                    <a:pt x="1" y="21"/>
                  </a:lnTo>
                  <a:lnTo>
                    <a:pt x="1" y="20"/>
                  </a:lnTo>
                  <a:lnTo>
                    <a:pt x="2" y="20"/>
                  </a:lnTo>
                  <a:lnTo>
                    <a:pt x="2" y="18"/>
                  </a:lnTo>
                  <a:lnTo>
                    <a:pt x="3" y="16"/>
                  </a:lnTo>
                  <a:lnTo>
                    <a:pt x="4" y="16"/>
                  </a:lnTo>
                  <a:lnTo>
                    <a:pt x="6" y="16"/>
                  </a:lnTo>
                  <a:lnTo>
                    <a:pt x="6" y="15"/>
                  </a:lnTo>
                  <a:lnTo>
                    <a:pt x="6" y="14"/>
                  </a:lnTo>
                  <a:lnTo>
                    <a:pt x="6" y="13"/>
                  </a:lnTo>
                  <a:lnTo>
                    <a:pt x="7" y="13"/>
                  </a:lnTo>
                  <a:lnTo>
                    <a:pt x="8" y="11"/>
                  </a:lnTo>
                  <a:lnTo>
                    <a:pt x="9" y="11"/>
                  </a:lnTo>
                  <a:lnTo>
                    <a:pt x="9" y="10"/>
                  </a:lnTo>
                  <a:lnTo>
                    <a:pt x="10" y="9"/>
                  </a:lnTo>
                  <a:lnTo>
                    <a:pt x="11" y="8"/>
                  </a:lnTo>
                  <a:lnTo>
                    <a:pt x="11" y="7"/>
                  </a:lnTo>
                  <a:lnTo>
                    <a:pt x="13" y="7"/>
                  </a:lnTo>
                  <a:lnTo>
                    <a:pt x="13" y="6"/>
                  </a:lnTo>
                  <a:lnTo>
                    <a:pt x="10" y="7"/>
                  </a:lnTo>
                  <a:lnTo>
                    <a:pt x="11" y="6"/>
                  </a:lnTo>
                  <a:lnTo>
                    <a:pt x="13" y="4"/>
                  </a:lnTo>
                  <a:lnTo>
                    <a:pt x="14" y="4"/>
                  </a:lnTo>
                  <a:lnTo>
                    <a:pt x="15" y="4"/>
                  </a:lnTo>
                  <a:lnTo>
                    <a:pt x="15" y="6"/>
                  </a:lnTo>
                  <a:lnTo>
                    <a:pt x="16" y="6"/>
                  </a:lnTo>
                  <a:lnTo>
                    <a:pt x="16" y="4"/>
                  </a:lnTo>
                  <a:lnTo>
                    <a:pt x="17" y="4"/>
                  </a:lnTo>
                  <a:lnTo>
                    <a:pt x="18" y="4"/>
                  </a:lnTo>
                  <a:lnTo>
                    <a:pt x="18" y="3"/>
                  </a:lnTo>
                  <a:lnTo>
                    <a:pt x="20" y="3"/>
                  </a:lnTo>
                  <a:lnTo>
                    <a:pt x="20" y="2"/>
                  </a:lnTo>
                  <a:lnTo>
                    <a:pt x="21" y="2"/>
                  </a:lnTo>
                  <a:lnTo>
                    <a:pt x="21" y="3"/>
                  </a:lnTo>
                  <a:lnTo>
                    <a:pt x="20" y="3"/>
                  </a:lnTo>
                  <a:lnTo>
                    <a:pt x="21" y="3"/>
                  </a:lnTo>
                  <a:lnTo>
                    <a:pt x="22" y="3"/>
                  </a:lnTo>
                  <a:lnTo>
                    <a:pt x="22" y="2"/>
                  </a:lnTo>
                  <a:lnTo>
                    <a:pt x="23" y="2"/>
                  </a:lnTo>
                  <a:lnTo>
                    <a:pt x="23" y="3"/>
                  </a:lnTo>
                  <a:lnTo>
                    <a:pt x="25" y="3"/>
                  </a:lnTo>
                  <a:lnTo>
                    <a:pt x="25" y="2"/>
                  </a:lnTo>
                  <a:lnTo>
                    <a:pt x="26" y="2"/>
                  </a:lnTo>
                  <a:lnTo>
                    <a:pt x="28" y="2"/>
                  </a:lnTo>
                  <a:lnTo>
                    <a:pt x="29" y="2"/>
                  </a:lnTo>
                  <a:lnTo>
                    <a:pt x="30" y="3"/>
                  </a:lnTo>
                  <a:lnTo>
                    <a:pt x="30" y="2"/>
                  </a:lnTo>
                  <a:lnTo>
                    <a:pt x="31" y="2"/>
                  </a:lnTo>
                  <a:lnTo>
                    <a:pt x="32" y="2"/>
                  </a:lnTo>
                  <a:lnTo>
                    <a:pt x="32" y="1"/>
                  </a:lnTo>
                  <a:lnTo>
                    <a:pt x="31" y="1"/>
                  </a:lnTo>
                  <a:lnTo>
                    <a:pt x="31" y="2"/>
                  </a:lnTo>
                  <a:lnTo>
                    <a:pt x="30" y="2"/>
                  </a:lnTo>
                  <a:lnTo>
                    <a:pt x="30" y="1"/>
                  </a:lnTo>
                  <a:lnTo>
                    <a:pt x="29" y="1"/>
                  </a:lnTo>
                  <a:lnTo>
                    <a:pt x="30" y="1"/>
                  </a:lnTo>
                  <a:lnTo>
                    <a:pt x="29" y="1"/>
                  </a:lnTo>
                  <a:lnTo>
                    <a:pt x="30" y="1"/>
                  </a:lnTo>
                  <a:lnTo>
                    <a:pt x="30" y="0"/>
                  </a:lnTo>
                  <a:lnTo>
                    <a:pt x="31" y="0"/>
                  </a:lnTo>
                  <a:lnTo>
                    <a:pt x="32" y="0"/>
                  </a:lnTo>
                  <a:lnTo>
                    <a:pt x="33" y="0"/>
                  </a:lnTo>
                  <a:lnTo>
                    <a:pt x="33" y="1"/>
                  </a:lnTo>
                  <a:lnTo>
                    <a:pt x="35" y="1"/>
                  </a:lnTo>
                  <a:lnTo>
                    <a:pt x="36" y="2"/>
                  </a:lnTo>
                  <a:lnTo>
                    <a:pt x="37" y="1"/>
                  </a:lnTo>
                  <a:lnTo>
                    <a:pt x="38" y="1"/>
                  </a:lnTo>
                  <a:lnTo>
                    <a:pt x="39"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02" name="Freeform 855">
              <a:extLst>
                <a:ext uri="{FF2B5EF4-FFF2-40B4-BE49-F238E27FC236}">
                  <a16:creationId xmlns:a16="http://schemas.microsoft.com/office/drawing/2014/main" id="{08A9D494-714F-40CC-A88D-8396C815ACA3}"/>
                </a:ext>
              </a:extLst>
            </p:cNvPr>
            <p:cNvSpPr>
              <a:spLocks noEditPoints="1"/>
            </p:cNvSpPr>
            <p:nvPr/>
          </p:nvSpPr>
          <p:spPr bwMode="auto">
            <a:xfrm>
              <a:off x="3833912" y="3718458"/>
              <a:ext cx="941520" cy="802629"/>
            </a:xfrm>
            <a:custGeom>
              <a:avLst/>
              <a:gdLst>
                <a:gd name="T0" fmla="*/ 705 w 705"/>
                <a:gd name="T1" fmla="*/ 590 h 601"/>
                <a:gd name="T2" fmla="*/ 678 w 705"/>
                <a:gd name="T3" fmla="*/ 594 h 601"/>
                <a:gd name="T4" fmla="*/ 673 w 705"/>
                <a:gd name="T5" fmla="*/ 587 h 601"/>
                <a:gd name="T6" fmla="*/ 652 w 705"/>
                <a:gd name="T7" fmla="*/ 587 h 601"/>
                <a:gd name="T8" fmla="*/ 622 w 705"/>
                <a:gd name="T9" fmla="*/ 578 h 601"/>
                <a:gd name="T10" fmla="*/ 645 w 705"/>
                <a:gd name="T11" fmla="*/ 577 h 601"/>
                <a:gd name="T12" fmla="*/ 630 w 705"/>
                <a:gd name="T13" fmla="*/ 570 h 601"/>
                <a:gd name="T14" fmla="*/ 622 w 705"/>
                <a:gd name="T15" fmla="*/ 567 h 601"/>
                <a:gd name="T16" fmla="*/ 614 w 705"/>
                <a:gd name="T17" fmla="*/ 567 h 601"/>
                <a:gd name="T18" fmla="*/ 607 w 705"/>
                <a:gd name="T19" fmla="*/ 557 h 601"/>
                <a:gd name="T20" fmla="*/ 672 w 705"/>
                <a:gd name="T21" fmla="*/ 585 h 601"/>
                <a:gd name="T22" fmla="*/ 643 w 705"/>
                <a:gd name="T23" fmla="*/ 582 h 601"/>
                <a:gd name="T24" fmla="*/ 650 w 705"/>
                <a:gd name="T25" fmla="*/ 580 h 601"/>
                <a:gd name="T26" fmla="*/ 666 w 705"/>
                <a:gd name="T27" fmla="*/ 577 h 601"/>
                <a:gd name="T28" fmla="*/ 597 w 705"/>
                <a:gd name="T29" fmla="*/ 552 h 601"/>
                <a:gd name="T30" fmla="*/ 594 w 705"/>
                <a:gd name="T31" fmla="*/ 540 h 601"/>
                <a:gd name="T32" fmla="*/ 583 w 705"/>
                <a:gd name="T33" fmla="*/ 541 h 601"/>
                <a:gd name="T34" fmla="*/ 579 w 705"/>
                <a:gd name="T35" fmla="*/ 532 h 601"/>
                <a:gd name="T36" fmla="*/ 576 w 705"/>
                <a:gd name="T37" fmla="*/ 521 h 601"/>
                <a:gd name="T38" fmla="*/ 571 w 705"/>
                <a:gd name="T39" fmla="*/ 518 h 601"/>
                <a:gd name="T40" fmla="*/ 576 w 705"/>
                <a:gd name="T41" fmla="*/ 504 h 601"/>
                <a:gd name="T42" fmla="*/ 562 w 705"/>
                <a:gd name="T43" fmla="*/ 494 h 601"/>
                <a:gd name="T44" fmla="*/ 569 w 705"/>
                <a:gd name="T45" fmla="*/ 503 h 601"/>
                <a:gd name="T46" fmla="*/ 562 w 705"/>
                <a:gd name="T47" fmla="*/ 492 h 601"/>
                <a:gd name="T48" fmla="*/ 567 w 705"/>
                <a:gd name="T49" fmla="*/ 485 h 601"/>
                <a:gd name="T50" fmla="*/ 559 w 705"/>
                <a:gd name="T51" fmla="*/ 491 h 601"/>
                <a:gd name="T52" fmla="*/ 551 w 705"/>
                <a:gd name="T53" fmla="*/ 477 h 601"/>
                <a:gd name="T54" fmla="*/ 548 w 705"/>
                <a:gd name="T55" fmla="*/ 447 h 601"/>
                <a:gd name="T56" fmla="*/ 549 w 705"/>
                <a:gd name="T57" fmla="*/ 440 h 601"/>
                <a:gd name="T58" fmla="*/ 552 w 705"/>
                <a:gd name="T59" fmla="*/ 430 h 601"/>
                <a:gd name="T60" fmla="*/ 545 w 705"/>
                <a:gd name="T61" fmla="*/ 426 h 601"/>
                <a:gd name="T62" fmla="*/ 557 w 705"/>
                <a:gd name="T63" fmla="*/ 423 h 601"/>
                <a:gd name="T64" fmla="*/ 535 w 705"/>
                <a:gd name="T65" fmla="*/ 410 h 601"/>
                <a:gd name="T66" fmla="*/ 542 w 705"/>
                <a:gd name="T67" fmla="*/ 393 h 601"/>
                <a:gd name="T68" fmla="*/ 519 w 705"/>
                <a:gd name="T69" fmla="*/ 330 h 601"/>
                <a:gd name="T70" fmla="*/ 540 w 705"/>
                <a:gd name="T71" fmla="*/ 50 h 601"/>
                <a:gd name="T72" fmla="*/ 553 w 705"/>
                <a:gd name="T73" fmla="*/ 151 h 601"/>
                <a:gd name="T74" fmla="*/ 537 w 705"/>
                <a:gd name="T75" fmla="*/ 221 h 601"/>
                <a:gd name="T76" fmla="*/ 556 w 705"/>
                <a:gd name="T77" fmla="*/ 295 h 601"/>
                <a:gd name="T78" fmla="*/ 556 w 705"/>
                <a:gd name="T79" fmla="*/ 363 h 601"/>
                <a:gd name="T80" fmla="*/ 585 w 705"/>
                <a:gd name="T81" fmla="*/ 426 h 601"/>
                <a:gd name="T82" fmla="*/ 592 w 705"/>
                <a:gd name="T83" fmla="*/ 485 h 601"/>
                <a:gd name="T84" fmla="*/ 631 w 705"/>
                <a:gd name="T85" fmla="*/ 541 h 601"/>
                <a:gd name="T86" fmla="*/ 622 w 705"/>
                <a:gd name="T87" fmla="*/ 563 h 601"/>
                <a:gd name="T88" fmla="*/ 622 w 705"/>
                <a:gd name="T89" fmla="*/ 564 h 601"/>
                <a:gd name="T90" fmla="*/ 614 w 705"/>
                <a:gd name="T91" fmla="*/ 549 h 601"/>
                <a:gd name="T92" fmla="*/ 606 w 705"/>
                <a:gd name="T93" fmla="*/ 550 h 601"/>
                <a:gd name="T94" fmla="*/ 614 w 705"/>
                <a:gd name="T95" fmla="*/ 547 h 601"/>
                <a:gd name="T96" fmla="*/ 599 w 705"/>
                <a:gd name="T97" fmla="*/ 540 h 601"/>
                <a:gd name="T98" fmla="*/ 590 w 705"/>
                <a:gd name="T99" fmla="*/ 517 h 601"/>
                <a:gd name="T100" fmla="*/ 581 w 705"/>
                <a:gd name="T101" fmla="*/ 510 h 601"/>
                <a:gd name="T102" fmla="*/ 570 w 705"/>
                <a:gd name="T103" fmla="*/ 494 h 601"/>
                <a:gd name="T104" fmla="*/ 574 w 705"/>
                <a:gd name="T105" fmla="*/ 480 h 601"/>
                <a:gd name="T106" fmla="*/ 562 w 705"/>
                <a:gd name="T107" fmla="*/ 472 h 601"/>
                <a:gd name="T108" fmla="*/ 541 w 705"/>
                <a:gd name="T109" fmla="*/ 459 h 601"/>
                <a:gd name="T110" fmla="*/ 563 w 705"/>
                <a:gd name="T111" fmla="*/ 454 h 601"/>
                <a:gd name="T112" fmla="*/ 566 w 705"/>
                <a:gd name="T113" fmla="*/ 424 h 601"/>
                <a:gd name="T114" fmla="*/ 551 w 705"/>
                <a:gd name="T115" fmla="*/ 384 h 601"/>
                <a:gd name="T116" fmla="*/ 534 w 705"/>
                <a:gd name="T117" fmla="*/ 353 h 601"/>
                <a:gd name="T118" fmla="*/ 528 w 705"/>
                <a:gd name="T119" fmla="*/ 279 h 601"/>
                <a:gd name="T120" fmla="*/ 521 w 705"/>
                <a:gd name="T121" fmla="*/ 189 h 601"/>
                <a:gd name="T122" fmla="*/ 519 w 705"/>
                <a:gd name="T123" fmla="*/ 107 h 601"/>
                <a:gd name="T124" fmla="*/ 516 w 705"/>
                <a:gd name="T125" fmla="*/ 40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5" h="601">
                  <a:moveTo>
                    <a:pt x="699" y="599"/>
                  </a:moveTo>
                  <a:lnTo>
                    <a:pt x="700" y="599"/>
                  </a:lnTo>
                  <a:lnTo>
                    <a:pt x="699" y="599"/>
                  </a:lnTo>
                  <a:lnTo>
                    <a:pt x="698" y="599"/>
                  </a:lnTo>
                  <a:lnTo>
                    <a:pt x="698" y="598"/>
                  </a:lnTo>
                  <a:lnTo>
                    <a:pt x="699" y="599"/>
                  </a:lnTo>
                  <a:close/>
                  <a:moveTo>
                    <a:pt x="702" y="601"/>
                  </a:moveTo>
                  <a:lnTo>
                    <a:pt x="701" y="601"/>
                  </a:lnTo>
                  <a:lnTo>
                    <a:pt x="701" y="599"/>
                  </a:lnTo>
                  <a:lnTo>
                    <a:pt x="700" y="599"/>
                  </a:lnTo>
                  <a:lnTo>
                    <a:pt x="700" y="598"/>
                  </a:lnTo>
                  <a:lnTo>
                    <a:pt x="701" y="598"/>
                  </a:lnTo>
                  <a:lnTo>
                    <a:pt x="701" y="599"/>
                  </a:lnTo>
                  <a:lnTo>
                    <a:pt x="702" y="599"/>
                  </a:lnTo>
                  <a:lnTo>
                    <a:pt x="702" y="601"/>
                  </a:lnTo>
                  <a:close/>
                  <a:moveTo>
                    <a:pt x="695" y="598"/>
                  </a:moveTo>
                  <a:lnTo>
                    <a:pt x="697" y="598"/>
                  </a:lnTo>
                  <a:lnTo>
                    <a:pt x="697" y="599"/>
                  </a:lnTo>
                  <a:lnTo>
                    <a:pt x="697" y="598"/>
                  </a:lnTo>
                  <a:lnTo>
                    <a:pt x="697" y="599"/>
                  </a:lnTo>
                  <a:lnTo>
                    <a:pt x="695" y="599"/>
                  </a:lnTo>
                  <a:lnTo>
                    <a:pt x="695" y="601"/>
                  </a:lnTo>
                  <a:lnTo>
                    <a:pt x="695" y="599"/>
                  </a:lnTo>
                  <a:lnTo>
                    <a:pt x="694" y="599"/>
                  </a:lnTo>
                  <a:lnTo>
                    <a:pt x="693" y="599"/>
                  </a:lnTo>
                  <a:lnTo>
                    <a:pt x="692" y="599"/>
                  </a:lnTo>
                  <a:lnTo>
                    <a:pt x="693" y="598"/>
                  </a:lnTo>
                  <a:lnTo>
                    <a:pt x="693" y="599"/>
                  </a:lnTo>
                  <a:lnTo>
                    <a:pt x="694" y="599"/>
                  </a:lnTo>
                  <a:lnTo>
                    <a:pt x="694" y="598"/>
                  </a:lnTo>
                  <a:lnTo>
                    <a:pt x="694" y="599"/>
                  </a:lnTo>
                  <a:lnTo>
                    <a:pt x="695" y="599"/>
                  </a:lnTo>
                  <a:lnTo>
                    <a:pt x="695" y="598"/>
                  </a:lnTo>
                  <a:close/>
                  <a:moveTo>
                    <a:pt x="700" y="598"/>
                  </a:moveTo>
                  <a:lnTo>
                    <a:pt x="699" y="598"/>
                  </a:lnTo>
                  <a:lnTo>
                    <a:pt x="700" y="598"/>
                  </a:lnTo>
                  <a:close/>
                  <a:moveTo>
                    <a:pt x="697" y="596"/>
                  </a:moveTo>
                  <a:lnTo>
                    <a:pt x="698" y="596"/>
                  </a:lnTo>
                  <a:lnTo>
                    <a:pt x="698" y="597"/>
                  </a:lnTo>
                  <a:lnTo>
                    <a:pt x="699" y="597"/>
                  </a:lnTo>
                  <a:lnTo>
                    <a:pt x="699" y="598"/>
                  </a:lnTo>
                  <a:lnTo>
                    <a:pt x="698" y="598"/>
                  </a:lnTo>
                  <a:lnTo>
                    <a:pt x="697" y="598"/>
                  </a:lnTo>
                  <a:lnTo>
                    <a:pt x="695" y="598"/>
                  </a:lnTo>
                  <a:lnTo>
                    <a:pt x="695" y="597"/>
                  </a:lnTo>
                  <a:lnTo>
                    <a:pt x="694" y="597"/>
                  </a:lnTo>
                  <a:lnTo>
                    <a:pt x="695" y="597"/>
                  </a:lnTo>
                  <a:lnTo>
                    <a:pt x="695" y="596"/>
                  </a:lnTo>
                  <a:lnTo>
                    <a:pt x="695" y="597"/>
                  </a:lnTo>
                  <a:lnTo>
                    <a:pt x="697" y="597"/>
                  </a:lnTo>
                  <a:lnTo>
                    <a:pt x="697" y="596"/>
                  </a:lnTo>
                  <a:lnTo>
                    <a:pt x="695" y="596"/>
                  </a:lnTo>
                  <a:lnTo>
                    <a:pt x="697" y="595"/>
                  </a:lnTo>
                  <a:lnTo>
                    <a:pt x="697" y="596"/>
                  </a:lnTo>
                  <a:close/>
                  <a:moveTo>
                    <a:pt x="693" y="596"/>
                  </a:moveTo>
                  <a:lnTo>
                    <a:pt x="692" y="596"/>
                  </a:lnTo>
                  <a:lnTo>
                    <a:pt x="693" y="595"/>
                  </a:lnTo>
                  <a:lnTo>
                    <a:pt x="692" y="595"/>
                  </a:lnTo>
                  <a:lnTo>
                    <a:pt x="692" y="594"/>
                  </a:lnTo>
                  <a:lnTo>
                    <a:pt x="693" y="594"/>
                  </a:lnTo>
                  <a:lnTo>
                    <a:pt x="693" y="595"/>
                  </a:lnTo>
                  <a:lnTo>
                    <a:pt x="694" y="595"/>
                  </a:lnTo>
                  <a:lnTo>
                    <a:pt x="694" y="596"/>
                  </a:lnTo>
                  <a:lnTo>
                    <a:pt x="693" y="596"/>
                  </a:lnTo>
                  <a:close/>
                  <a:moveTo>
                    <a:pt x="669" y="592"/>
                  </a:moveTo>
                  <a:lnTo>
                    <a:pt x="668" y="592"/>
                  </a:lnTo>
                  <a:lnTo>
                    <a:pt x="669" y="592"/>
                  </a:lnTo>
                  <a:lnTo>
                    <a:pt x="668" y="592"/>
                  </a:lnTo>
                  <a:lnTo>
                    <a:pt x="666" y="591"/>
                  </a:lnTo>
                  <a:lnTo>
                    <a:pt x="668" y="591"/>
                  </a:lnTo>
                  <a:lnTo>
                    <a:pt x="669" y="592"/>
                  </a:lnTo>
                  <a:close/>
                  <a:moveTo>
                    <a:pt x="665" y="591"/>
                  </a:moveTo>
                  <a:lnTo>
                    <a:pt x="664" y="591"/>
                  </a:lnTo>
                  <a:lnTo>
                    <a:pt x="665" y="592"/>
                  </a:lnTo>
                  <a:lnTo>
                    <a:pt x="664" y="592"/>
                  </a:lnTo>
                  <a:lnTo>
                    <a:pt x="664" y="591"/>
                  </a:lnTo>
                  <a:lnTo>
                    <a:pt x="663" y="591"/>
                  </a:lnTo>
                  <a:lnTo>
                    <a:pt x="664" y="591"/>
                  </a:lnTo>
                  <a:lnTo>
                    <a:pt x="665" y="591"/>
                  </a:lnTo>
                  <a:close/>
                  <a:moveTo>
                    <a:pt x="700" y="591"/>
                  </a:moveTo>
                  <a:lnTo>
                    <a:pt x="699" y="591"/>
                  </a:lnTo>
                  <a:lnTo>
                    <a:pt x="698" y="591"/>
                  </a:lnTo>
                  <a:lnTo>
                    <a:pt x="698" y="590"/>
                  </a:lnTo>
                  <a:lnTo>
                    <a:pt x="699" y="590"/>
                  </a:lnTo>
                  <a:lnTo>
                    <a:pt x="700" y="590"/>
                  </a:lnTo>
                  <a:lnTo>
                    <a:pt x="701" y="591"/>
                  </a:lnTo>
                  <a:lnTo>
                    <a:pt x="700" y="591"/>
                  </a:lnTo>
                  <a:close/>
                  <a:moveTo>
                    <a:pt x="705" y="589"/>
                  </a:moveTo>
                  <a:lnTo>
                    <a:pt x="705" y="590"/>
                  </a:lnTo>
                  <a:lnTo>
                    <a:pt x="704" y="590"/>
                  </a:lnTo>
                  <a:lnTo>
                    <a:pt x="704" y="591"/>
                  </a:lnTo>
                  <a:lnTo>
                    <a:pt x="704" y="590"/>
                  </a:lnTo>
                  <a:lnTo>
                    <a:pt x="704" y="591"/>
                  </a:lnTo>
                  <a:lnTo>
                    <a:pt x="702" y="590"/>
                  </a:lnTo>
                  <a:lnTo>
                    <a:pt x="704" y="589"/>
                  </a:lnTo>
                  <a:lnTo>
                    <a:pt x="705" y="589"/>
                  </a:lnTo>
                  <a:close/>
                  <a:moveTo>
                    <a:pt x="699" y="588"/>
                  </a:moveTo>
                  <a:lnTo>
                    <a:pt x="700" y="588"/>
                  </a:lnTo>
                  <a:lnTo>
                    <a:pt x="699" y="588"/>
                  </a:lnTo>
                  <a:lnTo>
                    <a:pt x="698" y="588"/>
                  </a:lnTo>
                  <a:lnTo>
                    <a:pt x="697" y="587"/>
                  </a:lnTo>
                  <a:lnTo>
                    <a:pt x="698" y="587"/>
                  </a:lnTo>
                  <a:lnTo>
                    <a:pt x="699" y="587"/>
                  </a:lnTo>
                  <a:lnTo>
                    <a:pt x="699" y="588"/>
                  </a:lnTo>
                  <a:close/>
                  <a:moveTo>
                    <a:pt x="681" y="587"/>
                  </a:moveTo>
                  <a:lnTo>
                    <a:pt x="681" y="588"/>
                  </a:lnTo>
                  <a:lnTo>
                    <a:pt x="680" y="588"/>
                  </a:lnTo>
                  <a:lnTo>
                    <a:pt x="679" y="588"/>
                  </a:lnTo>
                  <a:lnTo>
                    <a:pt x="678" y="588"/>
                  </a:lnTo>
                  <a:lnTo>
                    <a:pt x="679" y="588"/>
                  </a:lnTo>
                  <a:lnTo>
                    <a:pt x="679" y="589"/>
                  </a:lnTo>
                  <a:lnTo>
                    <a:pt x="678" y="589"/>
                  </a:lnTo>
                  <a:lnTo>
                    <a:pt x="677" y="589"/>
                  </a:lnTo>
                  <a:lnTo>
                    <a:pt x="677" y="588"/>
                  </a:lnTo>
                  <a:lnTo>
                    <a:pt x="676" y="588"/>
                  </a:lnTo>
                  <a:lnTo>
                    <a:pt x="674" y="588"/>
                  </a:lnTo>
                  <a:lnTo>
                    <a:pt x="673" y="588"/>
                  </a:lnTo>
                  <a:lnTo>
                    <a:pt x="673" y="587"/>
                  </a:lnTo>
                  <a:lnTo>
                    <a:pt x="673" y="588"/>
                  </a:lnTo>
                  <a:lnTo>
                    <a:pt x="674" y="588"/>
                  </a:lnTo>
                  <a:lnTo>
                    <a:pt x="677" y="589"/>
                  </a:lnTo>
                  <a:lnTo>
                    <a:pt x="678" y="589"/>
                  </a:lnTo>
                  <a:lnTo>
                    <a:pt x="679" y="589"/>
                  </a:lnTo>
                  <a:lnTo>
                    <a:pt x="680" y="589"/>
                  </a:lnTo>
                  <a:lnTo>
                    <a:pt x="681" y="589"/>
                  </a:lnTo>
                  <a:lnTo>
                    <a:pt x="683" y="590"/>
                  </a:lnTo>
                  <a:lnTo>
                    <a:pt x="684" y="590"/>
                  </a:lnTo>
                  <a:lnTo>
                    <a:pt x="683" y="590"/>
                  </a:lnTo>
                  <a:lnTo>
                    <a:pt x="684" y="590"/>
                  </a:lnTo>
                  <a:lnTo>
                    <a:pt x="685" y="590"/>
                  </a:lnTo>
                  <a:lnTo>
                    <a:pt x="685" y="591"/>
                  </a:lnTo>
                  <a:lnTo>
                    <a:pt x="684" y="591"/>
                  </a:lnTo>
                  <a:lnTo>
                    <a:pt x="683" y="591"/>
                  </a:lnTo>
                  <a:lnTo>
                    <a:pt x="681" y="591"/>
                  </a:lnTo>
                  <a:lnTo>
                    <a:pt x="680" y="591"/>
                  </a:lnTo>
                  <a:lnTo>
                    <a:pt x="679" y="590"/>
                  </a:lnTo>
                  <a:lnTo>
                    <a:pt x="678" y="590"/>
                  </a:lnTo>
                  <a:lnTo>
                    <a:pt x="679" y="590"/>
                  </a:lnTo>
                  <a:lnTo>
                    <a:pt x="679" y="591"/>
                  </a:lnTo>
                  <a:lnTo>
                    <a:pt x="680" y="591"/>
                  </a:lnTo>
                  <a:lnTo>
                    <a:pt x="681" y="591"/>
                  </a:lnTo>
                  <a:lnTo>
                    <a:pt x="680" y="591"/>
                  </a:lnTo>
                  <a:lnTo>
                    <a:pt x="680" y="592"/>
                  </a:lnTo>
                  <a:lnTo>
                    <a:pt x="681" y="591"/>
                  </a:lnTo>
                  <a:lnTo>
                    <a:pt x="683" y="591"/>
                  </a:lnTo>
                  <a:lnTo>
                    <a:pt x="684" y="591"/>
                  </a:lnTo>
                  <a:lnTo>
                    <a:pt x="684" y="592"/>
                  </a:lnTo>
                  <a:lnTo>
                    <a:pt x="685" y="592"/>
                  </a:lnTo>
                  <a:lnTo>
                    <a:pt x="686" y="592"/>
                  </a:lnTo>
                  <a:lnTo>
                    <a:pt x="686" y="594"/>
                  </a:lnTo>
                  <a:lnTo>
                    <a:pt x="687" y="594"/>
                  </a:lnTo>
                  <a:lnTo>
                    <a:pt x="687" y="595"/>
                  </a:lnTo>
                  <a:lnTo>
                    <a:pt x="688" y="595"/>
                  </a:lnTo>
                  <a:lnTo>
                    <a:pt x="688" y="596"/>
                  </a:lnTo>
                  <a:lnTo>
                    <a:pt x="690" y="596"/>
                  </a:lnTo>
                  <a:lnTo>
                    <a:pt x="690" y="597"/>
                  </a:lnTo>
                  <a:lnTo>
                    <a:pt x="688" y="597"/>
                  </a:lnTo>
                  <a:lnTo>
                    <a:pt x="688" y="596"/>
                  </a:lnTo>
                  <a:lnTo>
                    <a:pt x="687" y="596"/>
                  </a:lnTo>
                  <a:lnTo>
                    <a:pt x="686" y="596"/>
                  </a:lnTo>
                  <a:lnTo>
                    <a:pt x="686" y="595"/>
                  </a:lnTo>
                  <a:lnTo>
                    <a:pt x="685" y="594"/>
                  </a:lnTo>
                  <a:lnTo>
                    <a:pt x="684" y="594"/>
                  </a:lnTo>
                  <a:lnTo>
                    <a:pt x="683" y="594"/>
                  </a:lnTo>
                  <a:lnTo>
                    <a:pt x="681" y="594"/>
                  </a:lnTo>
                  <a:lnTo>
                    <a:pt x="681" y="592"/>
                  </a:lnTo>
                  <a:lnTo>
                    <a:pt x="681" y="594"/>
                  </a:lnTo>
                  <a:lnTo>
                    <a:pt x="681" y="592"/>
                  </a:lnTo>
                  <a:lnTo>
                    <a:pt x="680" y="592"/>
                  </a:lnTo>
                  <a:lnTo>
                    <a:pt x="681" y="592"/>
                  </a:lnTo>
                  <a:lnTo>
                    <a:pt x="681" y="594"/>
                  </a:lnTo>
                  <a:lnTo>
                    <a:pt x="680" y="594"/>
                  </a:lnTo>
                  <a:lnTo>
                    <a:pt x="679" y="594"/>
                  </a:lnTo>
                  <a:lnTo>
                    <a:pt x="679" y="592"/>
                  </a:lnTo>
                  <a:lnTo>
                    <a:pt x="679" y="594"/>
                  </a:lnTo>
                  <a:lnTo>
                    <a:pt x="679" y="595"/>
                  </a:lnTo>
                  <a:lnTo>
                    <a:pt x="679" y="594"/>
                  </a:lnTo>
                  <a:lnTo>
                    <a:pt x="678" y="594"/>
                  </a:lnTo>
                  <a:lnTo>
                    <a:pt x="677" y="594"/>
                  </a:lnTo>
                  <a:lnTo>
                    <a:pt x="677" y="592"/>
                  </a:lnTo>
                  <a:lnTo>
                    <a:pt x="678" y="592"/>
                  </a:lnTo>
                  <a:lnTo>
                    <a:pt x="679" y="592"/>
                  </a:lnTo>
                  <a:lnTo>
                    <a:pt x="678" y="592"/>
                  </a:lnTo>
                  <a:lnTo>
                    <a:pt x="679" y="591"/>
                  </a:lnTo>
                  <a:lnTo>
                    <a:pt x="678" y="591"/>
                  </a:lnTo>
                  <a:lnTo>
                    <a:pt x="677" y="592"/>
                  </a:lnTo>
                  <a:lnTo>
                    <a:pt x="677" y="591"/>
                  </a:lnTo>
                  <a:lnTo>
                    <a:pt x="677" y="590"/>
                  </a:lnTo>
                  <a:lnTo>
                    <a:pt x="677" y="589"/>
                  </a:lnTo>
                  <a:lnTo>
                    <a:pt x="677" y="590"/>
                  </a:lnTo>
                  <a:lnTo>
                    <a:pt x="676" y="590"/>
                  </a:lnTo>
                  <a:lnTo>
                    <a:pt x="674" y="590"/>
                  </a:lnTo>
                  <a:lnTo>
                    <a:pt x="673" y="590"/>
                  </a:lnTo>
                  <a:lnTo>
                    <a:pt x="673" y="589"/>
                  </a:lnTo>
                  <a:lnTo>
                    <a:pt x="673" y="590"/>
                  </a:lnTo>
                  <a:lnTo>
                    <a:pt x="674" y="590"/>
                  </a:lnTo>
                  <a:lnTo>
                    <a:pt x="673" y="590"/>
                  </a:lnTo>
                  <a:lnTo>
                    <a:pt x="672" y="590"/>
                  </a:lnTo>
                  <a:lnTo>
                    <a:pt x="672" y="589"/>
                  </a:lnTo>
                  <a:lnTo>
                    <a:pt x="671" y="589"/>
                  </a:lnTo>
                  <a:lnTo>
                    <a:pt x="670" y="589"/>
                  </a:lnTo>
                  <a:lnTo>
                    <a:pt x="671" y="589"/>
                  </a:lnTo>
                  <a:lnTo>
                    <a:pt x="672" y="590"/>
                  </a:lnTo>
                  <a:lnTo>
                    <a:pt x="671" y="590"/>
                  </a:lnTo>
                  <a:lnTo>
                    <a:pt x="670" y="590"/>
                  </a:lnTo>
                  <a:lnTo>
                    <a:pt x="670" y="591"/>
                  </a:lnTo>
                  <a:lnTo>
                    <a:pt x="671" y="591"/>
                  </a:lnTo>
                  <a:lnTo>
                    <a:pt x="672" y="591"/>
                  </a:lnTo>
                  <a:lnTo>
                    <a:pt x="672" y="592"/>
                  </a:lnTo>
                  <a:lnTo>
                    <a:pt x="673" y="592"/>
                  </a:lnTo>
                  <a:lnTo>
                    <a:pt x="673" y="594"/>
                  </a:lnTo>
                  <a:lnTo>
                    <a:pt x="673" y="592"/>
                  </a:lnTo>
                  <a:lnTo>
                    <a:pt x="673" y="594"/>
                  </a:lnTo>
                  <a:lnTo>
                    <a:pt x="674" y="594"/>
                  </a:lnTo>
                  <a:lnTo>
                    <a:pt x="676" y="594"/>
                  </a:lnTo>
                  <a:lnTo>
                    <a:pt x="676" y="595"/>
                  </a:lnTo>
                  <a:lnTo>
                    <a:pt x="674" y="594"/>
                  </a:lnTo>
                  <a:lnTo>
                    <a:pt x="673" y="594"/>
                  </a:lnTo>
                  <a:lnTo>
                    <a:pt x="672" y="594"/>
                  </a:lnTo>
                  <a:lnTo>
                    <a:pt x="672" y="592"/>
                  </a:lnTo>
                  <a:lnTo>
                    <a:pt x="672" y="594"/>
                  </a:lnTo>
                  <a:lnTo>
                    <a:pt x="671" y="594"/>
                  </a:lnTo>
                  <a:lnTo>
                    <a:pt x="671" y="592"/>
                  </a:lnTo>
                  <a:lnTo>
                    <a:pt x="670" y="592"/>
                  </a:lnTo>
                  <a:lnTo>
                    <a:pt x="671" y="592"/>
                  </a:lnTo>
                  <a:lnTo>
                    <a:pt x="670" y="592"/>
                  </a:lnTo>
                  <a:lnTo>
                    <a:pt x="670" y="591"/>
                  </a:lnTo>
                  <a:lnTo>
                    <a:pt x="671" y="591"/>
                  </a:lnTo>
                  <a:lnTo>
                    <a:pt x="670" y="591"/>
                  </a:lnTo>
                  <a:lnTo>
                    <a:pt x="670" y="592"/>
                  </a:lnTo>
                  <a:lnTo>
                    <a:pt x="669" y="592"/>
                  </a:lnTo>
                  <a:lnTo>
                    <a:pt x="669" y="591"/>
                  </a:lnTo>
                  <a:lnTo>
                    <a:pt x="668" y="591"/>
                  </a:lnTo>
                  <a:lnTo>
                    <a:pt x="666" y="591"/>
                  </a:lnTo>
                  <a:lnTo>
                    <a:pt x="668" y="591"/>
                  </a:lnTo>
                  <a:lnTo>
                    <a:pt x="668" y="590"/>
                  </a:lnTo>
                  <a:lnTo>
                    <a:pt x="669" y="590"/>
                  </a:lnTo>
                  <a:lnTo>
                    <a:pt x="668" y="590"/>
                  </a:lnTo>
                  <a:lnTo>
                    <a:pt x="669" y="590"/>
                  </a:lnTo>
                  <a:lnTo>
                    <a:pt x="669" y="589"/>
                  </a:lnTo>
                  <a:lnTo>
                    <a:pt x="668" y="590"/>
                  </a:lnTo>
                  <a:lnTo>
                    <a:pt x="665" y="590"/>
                  </a:lnTo>
                  <a:lnTo>
                    <a:pt x="664" y="590"/>
                  </a:lnTo>
                  <a:lnTo>
                    <a:pt x="665" y="590"/>
                  </a:lnTo>
                  <a:lnTo>
                    <a:pt x="664" y="590"/>
                  </a:lnTo>
                  <a:lnTo>
                    <a:pt x="664" y="589"/>
                  </a:lnTo>
                  <a:lnTo>
                    <a:pt x="665" y="589"/>
                  </a:lnTo>
                  <a:lnTo>
                    <a:pt x="664" y="589"/>
                  </a:lnTo>
                  <a:lnTo>
                    <a:pt x="663" y="589"/>
                  </a:lnTo>
                  <a:lnTo>
                    <a:pt x="663" y="588"/>
                  </a:lnTo>
                  <a:lnTo>
                    <a:pt x="663" y="589"/>
                  </a:lnTo>
                  <a:lnTo>
                    <a:pt x="663" y="588"/>
                  </a:lnTo>
                  <a:lnTo>
                    <a:pt x="664" y="588"/>
                  </a:lnTo>
                  <a:lnTo>
                    <a:pt x="665" y="588"/>
                  </a:lnTo>
                  <a:lnTo>
                    <a:pt x="666" y="588"/>
                  </a:lnTo>
                  <a:lnTo>
                    <a:pt x="668" y="588"/>
                  </a:lnTo>
                  <a:lnTo>
                    <a:pt x="668" y="589"/>
                  </a:lnTo>
                  <a:lnTo>
                    <a:pt x="669" y="589"/>
                  </a:lnTo>
                  <a:lnTo>
                    <a:pt x="668" y="588"/>
                  </a:lnTo>
                  <a:lnTo>
                    <a:pt x="668" y="587"/>
                  </a:lnTo>
                  <a:lnTo>
                    <a:pt x="669" y="587"/>
                  </a:lnTo>
                  <a:lnTo>
                    <a:pt x="669" y="588"/>
                  </a:lnTo>
                  <a:lnTo>
                    <a:pt x="670" y="588"/>
                  </a:lnTo>
                  <a:lnTo>
                    <a:pt x="670" y="587"/>
                  </a:lnTo>
                  <a:lnTo>
                    <a:pt x="671" y="587"/>
                  </a:lnTo>
                  <a:lnTo>
                    <a:pt x="672" y="587"/>
                  </a:lnTo>
                  <a:lnTo>
                    <a:pt x="673" y="587"/>
                  </a:lnTo>
                  <a:lnTo>
                    <a:pt x="676" y="587"/>
                  </a:lnTo>
                  <a:lnTo>
                    <a:pt x="677" y="585"/>
                  </a:lnTo>
                  <a:lnTo>
                    <a:pt x="678" y="585"/>
                  </a:lnTo>
                  <a:lnTo>
                    <a:pt x="679" y="585"/>
                  </a:lnTo>
                  <a:lnTo>
                    <a:pt x="680" y="585"/>
                  </a:lnTo>
                  <a:lnTo>
                    <a:pt x="680" y="587"/>
                  </a:lnTo>
                  <a:lnTo>
                    <a:pt x="681" y="587"/>
                  </a:lnTo>
                  <a:close/>
                  <a:moveTo>
                    <a:pt x="687" y="585"/>
                  </a:moveTo>
                  <a:lnTo>
                    <a:pt x="688" y="585"/>
                  </a:lnTo>
                  <a:lnTo>
                    <a:pt x="691" y="585"/>
                  </a:lnTo>
                  <a:lnTo>
                    <a:pt x="693" y="585"/>
                  </a:lnTo>
                  <a:lnTo>
                    <a:pt x="694" y="585"/>
                  </a:lnTo>
                  <a:lnTo>
                    <a:pt x="694" y="587"/>
                  </a:lnTo>
                  <a:lnTo>
                    <a:pt x="695" y="587"/>
                  </a:lnTo>
                  <a:lnTo>
                    <a:pt x="697" y="588"/>
                  </a:lnTo>
                  <a:lnTo>
                    <a:pt x="697" y="589"/>
                  </a:lnTo>
                  <a:lnTo>
                    <a:pt x="697" y="591"/>
                  </a:lnTo>
                  <a:lnTo>
                    <a:pt x="695" y="591"/>
                  </a:lnTo>
                  <a:lnTo>
                    <a:pt x="694" y="591"/>
                  </a:lnTo>
                  <a:lnTo>
                    <a:pt x="693" y="591"/>
                  </a:lnTo>
                  <a:lnTo>
                    <a:pt x="693" y="590"/>
                  </a:lnTo>
                  <a:lnTo>
                    <a:pt x="693" y="589"/>
                  </a:lnTo>
                  <a:lnTo>
                    <a:pt x="692" y="589"/>
                  </a:lnTo>
                  <a:lnTo>
                    <a:pt x="691" y="589"/>
                  </a:lnTo>
                  <a:lnTo>
                    <a:pt x="691" y="590"/>
                  </a:lnTo>
                  <a:lnTo>
                    <a:pt x="690" y="590"/>
                  </a:lnTo>
                  <a:lnTo>
                    <a:pt x="688" y="590"/>
                  </a:lnTo>
                  <a:lnTo>
                    <a:pt x="690" y="590"/>
                  </a:lnTo>
                  <a:lnTo>
                    <a:pt x="688" y="590"/>
                  </a:lnTo>
                  <a:lnTo>
                    <a:pt x="687" y="589"/>
                  </a:lnTo>
                  <a:lnTo>
                    <a:pt x="687" y="590"/>
                  </a:lnTo>
                  <a:lnTo>
                    <a:pt x="687" y="589"/>
                  </a:lnTo>
                  <a:lnTo>
                    <a:pt x="687" y="590"/>
                  </a:lnTo>
                  <a:lnTo>
                    <a:pt x="686" y="590"/>
                  </a:lnTo>
                  <a:lnTo>
                    <a:pt x="685" y="590"/>
                  </a:lnTo>
                  <a:lnTo>
                    <a:pt x="685" y="589"/>
                  </a:lnTo>
                  <a:lnTo>
                    <a:pt x="684" y="589"/>
                  </a:lnTo>
                  <a:lnTo>
                    <a:pt x="684" y="588"/>
                  </a:lnTo>
                  <a:lnTo>
                    <a:pt x="683" y="587"/>
                  </a:lnTo>
                  <a:lnTo>
                    <a:pt x="681" y="587"/>
                  </a:lnTo>
                  <a:lnTo>
                    <a:pt x="680" y="585"/>
                  </a:lnTo>
                  <a:lnTo>
                    <a:pt x="681" y="585"/>
                  </a:lnTo>
                  <a:lnTo>
                    <a:pt x="683" y="585"/>
                  </a:lnTo>
                  <a:lnTo>
                    <a:pt x="685" y="585"/>
                  </a:lnTo>
                  <a:lnTo>
                    <a:pt x="687" y="585"/>
                  </a:lnTo>
                  <a:close/>
                  <a:moveTo>
                    <a:pt x="656" y="585"/>
                  </a:moveTo>
                  <a:lnTo>
                    <a:pt x="656" y="587"/>
                  </a:lnTo>
                  <a:lnTo>
                    <a:pt x="655" y="587"/>
                  </a:lnTo>
                  <a:lnTo>
                    <a:pt x="654" y="587"/>
                  </a:lnTo>
                  <a:lnTo>
                    <a:pt x="655" y="587"/>
                  </a:lnTo>
                  <a:lnTo>
                    <a:pt x="656" y="587"/>
                  </a:lnTo>
                  <a:lnTo>
                    <a:pt x="657" y="587"/>
                  </a:lnTo>
                  <a:lnTo>
                    <a:pt x="656" y="587"/>
                  </a:lnTo>
                  <a:lnTo>
                    <a:pt x="657" y="588"/>
                  </a:lnTo>
                  <a:lnTo>
                    <a:pt x="658" y="588"/>
                  </a:lnTo>
                  <a:lnTo>
                    <a:pt x="658" y="587"/>
                  </a:lnTo>
                  <a:lnTo>
                    <a:pt x="659" y="588"/>
                  </a:lnTo>
                  <a:lnTo>
                    <a:pt x="658" y="588"/>
                  </a:lnTo>
                  <a:lnTo>
                    <a:pt x="659" y="588"/>
                  </a:lnTo>
                  <a:lnTo>
                    <a:pt x="659" y="589"/>
                  </a:lnTo>
                  <a:lnTo>
                    <a:pt x="658" y="589"/>
                  </a:lnTo>
                  <a:lnTo>
                    <a:pt x="658" y="588"/>
                  </a:lnTo>
                  <a:lnTo>
                    <a:pt x="657" y="588"/>
                  </a:lnTo>
                  <a:lnTo>
                    <a:pt x="658" y="589"/>
                  </a:lnTo>
                  <a:lnTo>
                    <a:pt x="658" y="590"/>
                  </a:lnTo>
                  <a:lnTo>
                    <a:pt x="657" y="589"/>
                  </a:lnTo>
                  <a:lnTo>
                    <a:pt x="657" y="590"/>
                  </a:lnTo>
                  <a:lnTo>
                    <a:pt x="657" y="589"/>
                  </a:lnTo>
                  <a:lnTo>
                    <a:pt x="656" y="589"/>
                  </a:lnTo>
                  <a:lnTo>
                    <a:pt x="657" y="589"/>
                  </a:lnTo>
                  <a:lnTo>
                    <a:pt x="657" y="588"/>
                  </a:lnTo>
                  <a:lnTo>
                    <a:pt x="656" y="588"/>
                  </a:lnTo>
                  <a:lnTo>
                    <a:pt x="655" y="588"/>
                  </a:lnTo>
                  <a:lnTo>
                    <a:pt x="656" y="588"/>
                  </a:lnTo>
                  <a:lnTo>
                    <a:pt x="655" y="588"/>
                  </a:lnTo>
                  <a:lnTo>
                    <a:pt x="655" y="589"/>
                  </a:lnTo>
                  <a:lnTo>
                    <a:pt x="655" y="588"/>
                  </a:lnTo>
                  <a:lnTo>
                    <a:pt x="654" y="588"/>
                  </a:lnTo>
                  <a:lnTo>
                    <a:pt x="652" y="588"/>
                  </a:lnTo>
                  <a:lnTo>
                    <a:pt x="651" y="588"/>
                  </a:lnTo>
                  <a:lnTo>
                    <a:pt x="650" y="588"/>
                  </a:lnTo>
                  <a:lnTo>
                    <a:pt x="651" y="587"/>
                  </a:lnTo>
                  <a:lnTo>
                    <a:pt x="650" y="587"/>
                  </a:lnTo>
                  <a:lnTo>
                    <a:pt x="651" y="587"/>
                  </a:lnTo>
                  <a:lnTo>
                    <a:pt x="650" y="587"/>
                  </a:lnTo>
                  <a:lnTo>
                    <a:pt x="650" y="585"/>
                  </a:lnTo>
                  <a:lnTo>
                    <a:pt x="651" y="585"/>
                  </a:lnTo>
                  <a:lnTo>
                    <a:pt x="651" y="587"/>
                  </a:lnTo>
                  <a:lnTo>
                    <a:pt x="652" y="587"/>
                  </a:lnTo>
                  <a:lnTo>
                    <a:pt x="652" y="585"/>
                  </a:lnTo>
                  <a:lnTo>
                    <a:pt x="654" y="585"/>
                  </a:lnTo>
                  <a:lnTo>
                    <a:pt x="654" y="587"/>
                  </a:lnTo>
                  <a:lnTo>
                    <a:pt x="655" y="587"/>
                  </a:lnTo>
                  <a:lnTo>
                    <a:pt x="655" y="585"/>
                  </a:lnTo>
                  <a:lnTo>
                    <a:pt x="656" y="585"/>
                  </a:lnTo>
                  <a:lnTo>
                    <a:pt x="657" y="585"/>
                  </a:lnTo>
                  <a:lnTo>
                    <a:pt x="658" y="585"/>
                  </a:lnTo>
                  <a:lnTo>
                    <a:pt x="656" y="585"/>
                  </a:lnTo>
                  <a:close/>
                  <a:moveTo>
                    <a:pt x="668" y="585"/>
                  </a:moveTo>
                  <a:lnTo>
                    <a:pt x="669" y="585"/>
                  </a:lnTo>
                  <a:lnTo>
                    <a:pt x="670" y="585"/>
                  </a:lnTo>
                  <a:lnTo>
                    <a:pt x="671" y="585"/>
                  </a:lnTo>
                  <a:lnTo>
                    <a:pt x="671" y="587"/>
                  </a:lnTo>
                  <a:lnTo>
                    <a:pt x="670" y="587"/>
                  </a:lnTo>
                  <a:lnTo>
                    <a:pt x="669" y="585"/>
                  </a:lnTo>
                  <a:lnTo>
                    <a:pt x="670" y="587"/>
                  </a:lnTo>
                  <a:lnTo>
                    <a:pt x="669" y="587"/>
                  </a:lnTo>
                  <a:lnTo>
                    <a:pt x="668" y="587"/>
                  </a:lnTo>
                  <a:lnTo>
                    <a:pt x="666" y="587"/>
                  </a:lnTo>
                  <a:lnTo>
                    <a:pt x="665" y="587"/>
                  </a:lnTo>
                  <a:lnTo>
                    <a:pt x="664" y="587"/>
                  </a:lnTo>
                  <a:lnTo>
                    <a:pt x="664" y="588"/>
                  </a:lnTo>
                  <a:lnTo>
                    <a:pt x="663" y="588"/>
                  </a:lnTo>
                  <a:lnTo>
                    <a:pt x="663" y="587"/>
                  </a:lnTo>
                  <a:lnTo>
                    <a:pt x="662" y="585"/>
                  </a:lnTo>
                  <a:lnTo>
                    <a:pt x="663" y="585"/>
                  </a:lnTo>
                  <a:lnTo>
                    <a:pt x="664" y="585"/>
                  </a:lnTo>
                  <a:lnTo>
                    <a:pt x="663" y="585"/>
                  </a:lnTo>
                  <a:lnTo>
                    <a:pt x="662" y="585"/>
                  </a:lnTo>
                  <a:lnTo>
                    <a:pt x="663" y="584"/>
                  </a:lnTo>
                  <a:lnTo>
                    <a:pt x="664" y="585"/>
                  </a:lnTo>
                  <a:lnTo>
                    <a:pt x="665" y="585"/>
                  </a:lnTo>
                  <a:lnTo>
                    <a:pt x="664" y="585"/>
                  </a:lnTo>
                  <a:lnTo>
                    <a:pt x="665" y="585"/>
                  </a:lnTo>
                  <a:lnTo>
                    <a:pt x="664" y="585"/>
                  </a:lnTo>
                  <a:lnTo>
                    <a:pt x="664" y="584"/>
                  </a:lnTo>
                  <a:lnTo>
                    <a:pt x="665" y="584"/>
                  </a:lnTo>
                  <a:lnTo>
                    <a:pt x="668" y="585"/>
                  </a:lnTo>
                  <a:close/>
                  <a:moveTo>
                    <a:pt x="656" y="584"/>
                  </a:moveTo>
                  <a:lnTo>
                    <a:pt x="657" y="584"/>
                  </a:lnTo>
                  <a:lnTo>
                    <a:pt x="656" y="584"/>
                  </a:lnTo>
                  <a:lnTo>
                    <a:pt x="655" y="584"/>
                  </a:lnTo>
                  <a:lnTo>
                    <a:pt x="655" y="585"/>
                  </a:lnTo>
                  <a:lnTo>
                    <a:pt x="654" y="585"/>
                  </a:lnTo>
                  <a:lnTo>
                    <a:pt x="654" y="584"/>
                  </a:lnTo>
                  <a:lnTo>
                    <a:pt x="652" y="584"/>
                  </a:lnTo>
                  <a:lnTo>
                    <a:pt x="652" y="585"/>
                  </a:lnTo>
                  <a:lnTo>
                    <a:pt x="652" y="584"/>
                  </a:lnTo>
                  <a:lnTo>
                    <a:pt x="654" y="584"/>
                  </a:lnTo>
                  <a:lnTo>
                    <a:pt x="655" y="584"/>
                  </a:lnTo>
                  <a:lnTo>
                    <a:pt x="656" y="584"/>
                  </a:lnTo>
                  <a:close/>
                  <a:moveTo>
                    <a:pt x="645" y="584"/>
                  </a:moveTo>
                  <a:lnTo>
                    <a:pt x="647" y="584"/>
                  </a:lnTo>
                  <a:lnTo>
                    <a:pt x="648" y="584"/>
                  </a:lnTo>
                  <a:lnTo>
                    <a:pt x="649" y="584"/>
                  </a:lnTo>
                  <a:lnTo>
                    <a:pt x="650" y="584"/>
                  </a:lnTo>
                  <a:lnTo>
                    <a:pt x="650" y="585"/>
                  </a:lnTo>
                  <a:lnTo>
                    <a:pt x="651" y="585"/>
                  </a:lnTo>
                  <a:lnTo>
                    <a:pt x="650" y="585"/>
                  </a:lnTo>
                  <a:lnTo>
                    <a:pt x="649" y="585"/>
                  </a:lnTo>
                  <a:lnTo>
                    <a:pt x="648" y="585"/>
                  </a:lnTo>
                  <a:lnTo>
                    <a:pt x="649" y="585"/>
                  </a:lnTo>
                  <a:lnTo>
                    <a:pt x="648" y="585"/>
                  </a:lnTo>
                  <a:lnTo>
                    <a:pt x="647" y="584"/>
                  </a:lnTo>
                  <a:lnTo>
                    <a:pt x="647" y="585"/>
                  </a:lnTo>
                  <a:lnTo>
                    <a:pt x="645" y="585"/>
                  </a:lnTo>
                  <a:lnTo>
                    <a:pt x="647" y="585"/>
                  </a:lnTo>
                  <a:lnTo>
                    <a:pt x="645" y="585"/>
                  </a:lnTo>
                  <a:lnTo>
                    <a:pt x="644" y="585"/>
                  </a:lnTo>
                  <a:lnTo>
                    <a:pt x="644" y="584"/>
                  </a:lnTo>
                  <a:lnTo>
                    <a:pt x="645" y="584"/>
                  </a:lnTo>
                  <a:close/>
                  <a:moveTo>
                    <a:pt x="636" y="581"/>
                  </a:moveTo>
                  <a:lnTo>
                    <a:pt x="636" y="582"/>
                  </a:lnTo>
                  <a:lnTo>
                    <a:pt x="637" y="582"/>
                  </a:lnTo>
                  <a:lnTo>
                    <a:pt x="637" y="583"/>
                  </a:lnTo>
                  <a:lnTo>
                    <a:pt x="637" y="582"/>
                  </a:lnTo>
                  <a:lnTo>
                    <a:pt x="636" y="582"/>
                  </a:lnTo>
                  <a:lnTo>
                    <a:pt x="636" y="581"/>
                  </a:lnTo>
                  <a:lnTo>
                    <a:pt x="635" y="582"/>
                  </a:lnTo>
                  <a:lnTo>
                    <a:pt x="636" y="582"/>
                  </a:lnTo>
                  <a:lnTo>
                    <a:pt x="635" y="582"/>
                  </a:lnTo>
                  <a:lnTo>
                    <a:pt x="635" y="581"/>
                  </a:lnTo>
                  <a:lnTo>
                    <a:pt x="636" y="581"/>
                  </a:lnTo>
                  <a:close/>
                  <a:moveTo>
                    <a:pt x="623" y="578"/>
                  </a:moveTo>
                  <a:lnTo>
                    <a:pt x="623" y="580"/>
                  </a:lnTo>
                  <a:lnTo>
                    <a:pt x="623" y="578"/>
                  </a:lnTo>
                  <a:lnTo>
                    <a:pt x="622" y="580"/>
                  </a:lnTo>
                  <a:lnTo>
                    <a:pt x="622" y="578"/>
                  </a:lnTo>
                  <a:lnTo>
                    <a:pt x="623" y="578"/>
                  </a:lnTo>
                  <a:close/>
                  <a:moveTo>
                    <a:pt x="630" y="576"/>
                  </a:moveTo>
                  <a:lnTo>
                    <a:pt x="630" y="577"/>
                  </a:lnTo>
                  <a:lnTo>
                    <a:pt x="629" y="577"/>
                  </a:lnTo>
                  <a:lnTo>
                    <a:pt x="629" y="578"/>
                  </a:lnTo>
                  <a:lnTo>
                    <a:pt x="629" y="577"/>
                  </a:lnTo>
                  <a:lnTo>
                    <a:pt x="628" y="577"/>
                  </a:lnTo>
                  <a:lnTo>
                    <a:pt x="628" y="576"/>
                  </a:lnTo>
                  <a:lnTo>
                    <a:pt x="629" y="576"/>
                  </a:lnTo>
                  <a:lnTo>
                    <a:pt x="630" y="576"/>
                  </a:lnTo>
                  <a:close/>
                  <a:moveTo>
                    <a:pt x="652" y="575"/>
                  </a:moveTo>
                  <a:lnTo>
                    <a:pt x="654" y="575"/>
                  </a:lnTo>
                  <a:lnTo>
                    <a:pt x="655" y="575"/>
                  </a:lnTo>
                  <a:lnTo>
                    <a:pt x="654" y="575"/>
                  </a:lnTo>
                  <a:lnTo>
                    <a:pt x="654" y="576"/>
                  </a:lnTo>
                  <a:lnTo>
                    <a:pt x="652" y="575"/>
                  </a:lnTo>
                  <a:lnTo>
                    <a:pt x="651" y="575"/>
                  </a:lnTo>
                  <a:lnTo>
                    <a:pt x="650" y="575"/>
                  </a:lnTo>
                  <a:lnTo>
                    <a:pt x="650" y="574"/>
                  </a:lnTo>
                  <a:lnTo>
                    <a:pt x="651" y="574"/>
                  </a:lnTo>
                  <a:lnTo>
                    <a:pt x="652" y="575"/>
                  </a:lnTo>
                  <a:close/>
                  <a:moveTo>
                    <a:pt x="629" y="573"/>
                  </a:moveTo>
                  <a:lnTo>
                    <a:pt x="629" y="574"/>
                  </a:lnTo>
                  <a:lnTo>
                    <a:pt x="630" y="574"/>
                  </a:lnTo>
                  <a:lnTo>
                    <a:pt x="630" y="575"/>
                  </a:lnTo>
                  <a:lnTo>
                    <a:pt x="629" y="575"/>
                  </a:lnTo>
                  <a:lnTo>
                    <a:pt x="630" y="575"/>
                  </a:lnTo>
                  <a:lnTo>
                    <a:pt x="629" y="575"/>
                  </a:lnTo>
                  <a:lnTo>
                    <a:pt x="628" y="575"/>
                  </a:lnTo>
                  <a:lnTo>
                    <a:pt x="627" y="575"/>
                  </a:lnTo>
                  <a:lnTo>
                    <a:pt x="628" y="574"/>
                  </a:lnTo>
                  <a:lnTo>
                    <a:pt x="629" y="574"/>
                  </a:lnTo>
                  <a:lnTo>
                    <a:pt x="628" y="574"/>
                  </a:lnTo>
                  <a:lnTo>
                    <a:pt x="629" y="574"/>
                  </a:lnTo>
                  <a:lnTo>
                    <a:pt x="628" y="574"/>
                  </a:lnTo>
                  <a:lnTo>
                    <a:pt x="628" y="573"/>
                  </a:lnTo>
                  <a:lnTo>
                    <a:pt x="629" y="573"/>
                  </a:lnTo>
                  <a:close/>
                  <a:moveTo>
                    <a:pt x="652" y="573"/>
                  </a:moveTo>
                  <a:lnTo>
                    <a:pt x="652" y="574"/>
                  </a:lnTo>
                  <a:lnTo>
                    <a:pt x="651" y="574"/>
                  </a:lnTo>
                  <a:lnTo>
                    <a:pt x="650" y="574"/>
                  </a:lnTo>
                  <a:lnTo>
                    <a:pt x="650" y="573"/>
                  </a:lnTo>
                  <a:lnTo>
                    <a:pt x="651" y="573"/>
                  </a:lnTo>
                  <a:lnTo>
                    <a:pt x="652" y="573"/>
                  </a:lnTo>
                  <a:close/>
                  <a:moveTo>
                    <a:pt x="617" y="573"/>
                  </a:moveTo>
                  <a:lnTo>
                    <a:pt x="619" y="573"/>
                  </a:lnTo>
                  <a:lnTo>
                    <a:pt x="619" y="574"/>
                  </a:lnTo>
                  <a:lnTo>
                    <a:pt x="617" y="574"/>
                  </a:lnTo>
                  <a:lnTo>
                    <a:pt x="616" y="573"/>
                  </a:lnTo>
                  <a:lnTo>
                    <a:pt x="615" y="573"/>
                  </a:lnTo>
                  <a:lnTo>
                    <a:pt x="615" y="571"/>
                  </a:lnTo>
                  <a:lnTo>
                    <a:pt x="616" y="571"/>
                  </a:lnTo>
                  <a:lnTo>
                    <a:pt x="617" y="573"/>
                  </a:lnTo>
                  <a:close/>
                  <a:moveTo>
                    <a:pt x="637" y="571"/>
                  </a:moveTo>
                  <a:lnTo>
                    <a:pt x="637" y="570"/>
                  </a:lnTo>
                  <a:lnTo>
                    <a:pt x="638" y="571"/>
                  </a:lnTo>
                  <a:lnTo>
                    <a:pt x="638" y="573"/>
                  </a:lnTo>
                  <a:lnTo>
                    <a:pt x="640" y="573"/>
                  </a:lnTo>
                  <a:lnTo>
                    <a:pt x="640" y="571"/>
                  </a:lnTo>
                  <a:lnTo>
                    <a:pt x="638" y="571"/>
                  </a:lnTo>
                  <a:lnTo>
                    <a:pt x="640" y="571"/>
                  </a:lnTo>
                  <a:lnTo>
                    <a:pt x="641" y="571"/>
                  </a:lnTo>
                  <a:lnTo>
                    <a:pt x="641" y="573"/>
                  </a:lnTo>
                  <a:lnTo>
                    <a:pt x="641" y="574"/>
                  </a:lnTo>
                  <a:lnTo>
                    <a:pt x="641" y="573"/>
                  </a:lnTo>
                  <a:lnTo>
                    <a:pt x="641" y="574"/>
                  </a:lnTo>
                  <a:lnTo>
                    <a:pt x="642" y="574"/>
                  </a:lnTo>
                  <a:lnTo>
                    <a:pt x="642" y="575"/>
                  </a:lnTo>
                  <a:lnTo>
                    <a:pt x="642" y="574"/>
                  </a:lnTo>
                  <a:lnTo>
                    <a:pt x="642" y="573"/>
                  </a:lnTo>
                  <a:lnTo>
                    <a:pt x="642" y="574"/>
                  </a:lnTo>
                  <a:lnTo>
                    <a:pt x="643" y="574"/>
                  </a:lnTo>
                  <a:lnTo>
                    <a:pt x="643" y="573"/>
                  </a:lnTo>
                  <a:lnTo>
                    <a:pt x="644" y="573"/>
                  </a:lnTo>
                  <a:lnTo>
                    <a:pt x="644" y="574"/>
                  </a:lnTo>
                  <a:lnTo>
                    <a:pt x="644" y="575"/>
                  </a:lnTo>
                  <a:lnTo>
                    <a:pt x="644" y="574"/>
                  </a:lnTo>
                  <a:lnTo>
                    <a:pt x="644" y="575"/>
                  </a:lnTo>
                  <a:lnTo>
                    <a:pt x="645" y="575"/>
                  </a:lnTo>
                  <a:lnTo>
                    <a:pt x="644" y="575"/>
                  </a:lnTo>
                  <a:lnTo>
                    <a:pt x="645" y="575"/>
                  </a:lnTo>
                  <a:lnTo>
                    <a:pt x="645" y="576"/>
                  </a:lnTo>
                  <a:lnTo>
                    <a:pt x="644" y="576"/>
                  </a:lnTo>
                  <a:lnTo>
                    <a:pt x="645" y="576"/>
                  </a:lnTo>
                  <a:lnTo>
                    <a:pt x="644" y="576"/>
                  </a:lnTo>
                  <a:lnTo>
                    <a:pt x="643" y="576"/>
                  </a:lnTo>
                  <a:lnTo>
                    <a:pt x="644" y="576"/>
                  </a:lnTo>
                  <a:lnTo>
                    <a:pt x="644" y="577"/>
                  </a:lnTo>
                  <a:lnTo>
                    <a:pt x="645" y="577"/>
                  </a:lnTo>
                  <a:lnTo>
                    <a:pt x="644" y="577"/>
                  </a:lnTo>
                  <a:lnTo>
                    <a:pt x="643" y="576"/>
                  </a:lnTo>
                  <a:lnTo>
                    <a:pt x="643" y="577"/>
                  </a:lnTo>
                  <a:lnTo>
                    <a:pt x="644" y="577"/>
                  </a:lnTo>
                  <a:lnTo>
                    <a:pt x="643" y="577"/>
                  </a:lnTo>
                  <a:lnTo>
                    <a:pt x="642" y="576"/>
                  </a:lnTo>
                  <a:lnTo>
                    <a:pt x="641" y="576"/>
                  </a:lnTo>
                  <a:lnTo>
                    <a:pt x="642" y="576"/>
                  </a:lnTo>
                  <a:lnTo>
                    <a:pt x="643" y="576"/>
                  </a:lnTo>
                  <a:lnTo>
                    <a:pt x="642" y="576"/>
                  </a:lnTo>
                  <a:lnTo>
                    <a:pt x="642" y="575"/>
                  </a:lnTo>
                  <a:lnTo>
                    <a:pt x="643" y="575"/>
                  </a:lnTo>
                  <a:lnTo>
                    <a:pt x="642" y="575"/>
                  </a:lnTo>
                  <a:lnTo>
                    <a:pt x="642" y="576"/>
                  </a:lnTo>
                  <a:lnTo>
                    <a:pt x="642" y="575"/>
                  </a:lnTo>
                  <a:lnTo>
                    <a:pt x="641" y="575"/>
                  </a:lnTo>
                  <a:lnTo>
                    <a:pt x="640" y="575"/>
                  </a:lnTo>
                  <a:lnTo>
                    <a:pt x="640" y="574"/>
                  </a:lnTo>
                  <a:lnTo>
                    <a:pt x="638" y="574"/>
                  </a:lnTo>
                  <a:lnTo>
                    <a:pt x="638" y="575"/>
                  </a:lnTo>
                  <a:lnTo>
                    <a:pt x="640" y="575"/>
                  </a:lnTo>
                  <a:lnTo>
                    <a:pt x="638" y="575"/>
                  </a:lnTo>
                  <a:lnTo>
                    <a:pt x="638" y="576"/>
                  </a:lnTo>
                  <a:lnTo>
                    <a:pt x="638" y="575"/>
                  </a:lnTo>
                  <a:lnTo>
                    <a:pt x="638" y="574"/>
                  </a:lnTo>
                  <a:lnTo>
                    <a:pt x="638" y="575"/>
                  </a:lnTo>
                  <a:lnTo>
                    <a:pt x="637" y="575"/>
                  </a:lnTo>
                  <a:lnTo>
                    <a:pt x="638" y="575"/>
                  </a:lnTo>
                  <a:lnTo>
                    <a:pt x="637" y="575"/>
                  </a:lnTo>
                  <a:lnTo>
                    <a:pt x="636" y="575"/>
                  </a:lnTo>
                  <a:lnTo>
                    <a:pt x="636" y="574"/>
                  </a:lnTo>
                  <a:lnTo>
                    <a:pt x="637" y="574"/>
                  </a:lnTo>
                  <a:lnTo>
                    <a:pt x="637" y="573"/>
                  </a:lnTo>
                  <a:lnTo>
                    <a:pt x="636" y="573"/>
                  </a:lnTo>
                  <a:lnTo>
                    <a:pt x="636" y="571"/>
                  </a:lnTo>
                  <a:lnTo>
                    <a:pt x="636" y="570"/>
                  </a:lnTo>
                  <a:lnTo>
                    <a:pt x="637" y="571"/>
                  </a:lnTo>
                  <a:close/>
                  <a:moveTo>
                    <a:pt x="633" y="570"/>
                  </a:moveTo>
                  <a:lnTo>
                    <a:pt x="633" y="571"/>
                  </a:lnTo>
                  <a:lnTo>
                    <a:pt x="634" y="571"/>
                  </a:lnTo>
                  <a:lnTo>
                    <a:pt x="634" y="570"/>
                  </a:lnTo>
                  <a:lnTo>
                    <a:pt x="635" y="570"/>
                  </a:lnTo>
                  <a:lnTo>
                    <a:pt x="635" y="571"/>
                  </a:lnTo>
                  <a:lnTo>
                    <a:pt x="634" y="571"/>
                  </a:lnTo>
                  <a:lnTo>
                    <a:pt x="635" y="571"/>
                  </a:lnTo>
                  <a:lnTo>
                    <a:pt x="635" y="573"/>
                  </a:lnTo>
                  <a:lnTo>
                    <a:pt x="636" y="573"/>
                  </a:lnTo>
                  <a:lnTo>
                    <a:pt x="636" y="574"/>
                  </a:lnTo>
                  <a:lnTo>
                    <a:pt x="635" y="574"/>
                  </a:lnTo>
                  <a:lnTo>
                    <a:pt x="634" y="573"/>
                  </a:lnTo>
                  <a:lnTo>
                    <a:pt x="633" y="573"/>
                  </a:lnTo>
                  <a:lnTo>
                    <a:pt x="633" y="571"/>
                  </a:lnTo>
                  <a:lnTo>
                    <a:pt x="633" y="573"/>
                  </a:lnTo>
                  <a:lnTo>
                    <a:pt x="634" y="574"/>
                  </a:lnTo>
                  <a:lnTo>
                    <a:pt x="635" y="574"/>
                  </a:lnTo>
                  <a:lnTo>
                    <a:pt x="635" y="575"/>
                  </a:lnTo>
                  <a:lnTo>
                    <a:pt x="636" y="575"/>
                  </a:lnTo>
                  <a:lnTo>
                    <a:pt x="636" y="576"/>
                  </a:lnTo>
                  <a:lnTo>
                    <a:pt x="636" y="575"/>
                  </a:lnTo>
                  <a:lnTo>
                    <a:pt x="635" y="575"/>
                  </a:lnTo>
                  <a:lnTo>
                    <a:pt x="635" y="576"/>
                  </a:lnTo>
                  <a:lnTo>
                    <a:pt x="636" y="576"/>
                  </a:lnTo>
                  <a:lnTo>
                    <a:pt x="636" y="577"/>
                  </a:lnTo>
                  <a:lnTo>
                    <a:pt x="636" y="576"/>
                  </a:lnTo>
                  <a:lnTo>
                    <a:pt x="635" y="576"/>
                  </a:lnTo>
                  <a:lnTo>
                    <a:pt x="634" y="576"/>
                  </a:lnTo>
                  <a:lnTo>
                    <a:pt x="634" y="575"/>
                  </a:lnTo>
                  <a:lnTo>
                    <a:pt x="635" y="575"/>
                  </a:lnTo>
                  <a:lnTo>
                    <a:pt x="634" y="575"/>
                  </a:lnTo>
                  <a:lnTo>
                    <a:pt x="633" y="575"/>
                  </a:lnTo>
                  <a:lnTo>
                    <a:pt x="631" y="574"/>
                  </a:lnTo>
                  <a:lnTo>
                    <a:pt x="633" y="574"/>
                  </a:lnTo>
                  <a:lnTo>
                    <a:pt x="631" y="574"/>
                  </a:lnTo>
                  <a:lnTo>
                    <a:pt x="631" y="573"/>
                  </a:lnTo>
                  <a:lnTo>
                    <a:pt x="630" y="573"/>
                  </a:lnTo>
                  <a:lnTo>
                    <a:pt x="629" y="573"/>
                  </a:lnTo>
                  <a:lnTo>
                    <a:pt x="629" y="571"/>
                  </a:lnTo>
                  <a:lnTo>
                    <a:pt x="628" y="570"/>
                  </a:lnTo>
                  <a:lnTo>
                    <a:pt x="630" y="570"/>
                  </a:lnTo>
                  <a:lnTo>
                    <a:pt x="630" y="571"/>
                  </a:lnTo>
                  <a:lnTo>
                    <a:pt x="631" y="571"/>
                  </a:lnTo>
                  <a:lnTo>
                    <a:pt x="630" y="571"/>
                  </a:lnTo>
                  <a:lnTo>
                    <a:pt x="630" y="570"/>
                  </a:lnTo>
                  <a:lnTo>
                    <a:pt x="630" y="571"/>
                  </a:lnTo>
                  <a:lnTo>
                    <a:pt x="631" y="571"/>
                  </a:lnTo>
                  <a:lnTo>
                    <a:pt x="631" y="570"/>
                  </a:lnTo>
                  <a:lnTo>
                    <a:pt x="630" y="570"/>
                  </a:lnTo>
                  <a:lnTo>
                    <a:pt x="631" y="570"/>
                  </a:lnTo>
                  <a:lnTo>
                    <a:pt x="630" y="570"/>
                  </a:lnTo>
                  <a:lnTo>
                    <a:pt x="631" y="570"/>
                  </a:lnTo>
                  <a:lnTo>
                    <a:pt x="631" y="569"/>
                  </a:lnTo>
                  <a:lnTo>
                    <a:pt x="633" y="570"/>
                  </a:lnTo>
                  <a:close/>
                  <a:moveTo>
                    <a:pt x="649" y="569"/>
                  </a:moveTo>
                  <a:lnTo>
                    <a:pt x="649" y="570"/>
                  </a:lnTo>
                  <a:lnTo>
                    <a:pt x="650" y="570"/>
                  </a:lnTo>
                  <a:lnTo>
                    <a:pt x="651" y="571"/>
                  </a:lnTo>
                  <a:lnTo>
                    <a:pt x="651" y="573"/>
                  </a:lnTo>
                  <a:lnTo>
                    <a:pt x="650" y="573"/>
                  </a:lnTo>
                  <a:lnTo>
                    <a:pt x="649" y="571"/>
                  </a:lnTo>
                  <a:lnTo>
                    <a:pt x="648" y="570"/>
                  </a:lnTo>
                  <a:lnTo>
                    <a:pt x="647" y="571"/>
                  </a:lnTo>
                  <a:lnTo>
                    <a:pt x="648" y="571"/>
                  </a:lnTo>
                  <a:lnTo>
                    <a:pt x="649" y="573"/>
                  </a:lnTo>
                  <a:lnTo>
                    <a:pt x="650" y="574"/>
                  </a:lnTo>
                  <a:lnTo>
                    <a:pt x="650" y="575"/>
                  </a:lnTo>
                  <a:lnTo>
                    <a:pt x="649" y="575"/>
                  </a:lnTo>
                  <a:lnTo>
                    <a:pt x="647" y="574"/>
                  </a:lnTo>
                  <a:lnTo>
                    <a:pt x="647" y="573"/>
                  </a:lnTo>
                  <a:lnTo>
                    <a:pt x="645" y="573"/>
                  </a:lnTo>
                  <a:lnTo>
                    <a:pt x="645" y="571"/>
                  </a:lnTo>
                  <a:lnTo>
                    <a:pt x="644" y="571"/>
                  </a:lnTo>
                  <a:lnTo>
                    <a:pt x="644" y="570"/>
                  </a:lnTo>
                  <a:lnTo>
                    <a:pt x="644" y="569"/>
                  </a:lnTo>
                  <a:lnTo>
                    <a:pt x="645" y="569"/>
                  </a:lnTo>
                  <a:lnTo>
                    <a:pt x="647" y="569"/>
                  </a:lnTo>
                  <a:lnTo>
                    <a:pt x="647" y="570"/>
                  </a:lnTo>
                  <a:lnTo>
                    <a:pt x="648" y="569"/>
                  </a:lnTo>
                  <a:lnTo>
                    <a:pt x="647" y="569"/>
                  </a:lnTo>
                  <a:lnTo>
                    <a:pt x="645" y="568"/>
                  </a:lnTo>
                  <a:lnTo>
                    <a:pt x="645" y="567"/>
                  </a:lnTo>
                  <a:lnTo>
                    <a:pt x="647" y="566"/>
                  </a:lnTo>
                  <a:lnTo>
                    <a:pt x="645" y="566"/>
                  </a:lnTo>
                  <a:lnTo>
                    <a:pt x="645" y="564"/>
                  </a:lnTo>
                  <a:lnTo>
                    <a:pt x="647" y="564"/>
                  </a:lnTo>
                  <a:lnTo>
                    <a:pt x="647" y="566"/>
                  </a:lnTo>
                  <a:lnTo>
                    <a:pt x="648" y="566"/>
                  </a:lnTo>
                  <a:lnTo>
                    <a:pt x="648" y="567"/>
                  </a:lnTo>
                  <a:lnTo>
                    <a:pt x="649" y="568"/>
                  </a:lnTo>
                  <a:lnTo>
                    <a:pt x="649" y="569"/>
                  </a:lnTo>
                  <a:close/>
                  <a:moveTo>
                    <a:pt x="608" y="564"/>
                  </a:moveTo>
                  <a:lnTo>
                    <a:pt x="608" y="566"/>
                  </a:lnTo>
                  <a:lnTo>
                    <a:pt x="607" y="566"/>
                  </a:lnTo>
                  <a:lnTo>
                    <a:pt x="607" y="564"/>
                  </a:lnTo>
                  <a:lnTo>
                    <a:pt x="606" y="564"/>
                  </a:lnTo>
                  <a:lnTo>
                    <a:pt x="607" y="564"/>
                  </a:lnTo>
                  <a:lnTo>
                    <a:pt x="607" y="563"/>
                  </a:lnTo>
                  <a:lnTo>
                    <a:pt x="606" y="563"/>
                  </a:lnTo>
                  <a:lnTo>
                    <a:pt x="607" y="563"/>
                  </a:lnTo>
                  <a:lnTo>
                    <a:pt x="608" y="564"/>
                  </a:lnTo>
                  <a:close/>
                  <a:moveTo>
                    <a:pt x="609" y="562"/>
                  </a:moveTo>
                  <a:lnTo>
                    <a:pt x="610" y="562"/>
                  </a:lnTo>
                  <a:lnTo>
                    <a:pt x="612" y="562"/>
                  </a:lnTo>
                  <a:lnTo>
                    <a:pt x="612" y="563"/>
                  </a:lnTo>
                  <a:lnTo>
                    <a:pt x="610" y="563"/>
                  </a:lnTo>
                  <a:lnTo>
                    <a:pt x="612" y="564"/>
                  </a:lnTo>
                  <a:lnTo>
                    <a:pt x="612" y="566"/>
                  </a:lnTo>
                  <a:lnTo>
                    <a:pt x="610" y="566"/>
                  </a:lnTo>
                  <a:lnTo>
                    <a:pt x="610" y="564"/>
                  </a:lnTo>
                  <a:lnTo>
                    <a:pt x="609" y="564"/>
                  </a:lnTo>
                  <a:lnTo>
                    <a:pt x="608" y="563"/>
                  </a:lnTo>
                  <a:lnTo>
                    <a:pt x="607" y="563"/>
                  </a:lnTo>
                  <a:lnTo>
                    <a:pt x="608" y="563"/>
                  </a:lnTo>
                  <a:lnTo>
                    <a:pt x="609" y="563"/>
                  </a:lnTo>
                  <a:lnTo>
                    <a:pt x="609" y="564"/>
                  </a:lnTo>
                  <a:lnTo>
                    <a:pt x="609" y="563"/>
                  </a:lnTo>
                  <a:lnTo>
                    <a:pt x="608" y="562"/>
                  </a:lnTo>
                  <a:lnTo>
                    <a:pt x="609" y="562"/>
                  </a:lnTo>
                  <a:close/>
                  <a:moveTo>
                    <a:pt x="616" y="564"/>
                  </a:moveTo>
                  <a:lnTo>
                    <a:pt x="616" y="563"/>
                  </a:lnTo>
                  <a:lnTo>
                    <a:pt x="615" y="562"/>
                  </a:lnTo>
                  <a:lnTo>
                    <a:pt x="616" y="563"/>
                  </a:lnTo>
                  <a:lnTo>
                    <a:pt x="617" y="563"/>
                  </a:lnTo>
                  <a:lnTo>
                    <a:pt x="617" y="564"/>
                  </a:lnTo>
                  <a:lnTo>
                    <a:pt x="619" y="564"/>
                  </a:lnTo>
                  <a:lnTo>
                    <a:pt x="619" y="566"/>
                  </a:lnTo>
                  <a:lnTo>
                    <a:pt x="619" y="567"/>
                  </a:lnTo>
                  <a:lnTo>
                    <a:pt x="620" y="567"/>
                  </a:lnTo>
                  <a:lnTo>
                    <a:pt x="619" y="567"/>
                  </a:lnTo>
                  <a:lnTo>
                    <a:pt x="619" y="566"/>
                  </a:lnTo>
                  <a:lnTo>
                    <a:pt x="619" y="564"/>
                  </a:lnTo>
                  <a:lnTo>
                    <a:pt x="619" y="563"/>
                  </a:lnTo>
                  <a:lnTo>
                    <a:pt x="617" y="563"/>
                  </a:lnTo>
                  <a:lnTo>
                    <a:pt x="619" y="563"/>
                  </a:lnTo>
                  <a:lnTo>
                    <a:pt x="619" y="564"/>
                  </a:lnTo>
                  <a:lnTo>
                    <a:pt x="620" y="564"/>
                  </a:lnTo>
                  <a:lnTo>
                    <a:pt x="621" y="566"/>
                  </a:lnTo>
                  <a:lnTo>
                    <a:pt x="621" y="567"/>
                  </a:lnTo>
                  <a:lnTo>
                    <a:pt x="622" y="567"/>
                  </a:lnTo>
                  <a:lnTo>
                    <a:pt x="621" y="566"/>
                  </a:lnTo>
                  <a:lnTo>
                    <a:pt x="621" y="564"/>
                  </a:lnTo>
                  <a:lnTo>
                    <a:pt x="622" y="566"/>
                  </a:lnTo>
                  <a:lnTo>
                    <a:pt x="623" y="566"/>
                  </a:lnTo>
                  <a:lnTo>
                    <a:pt x="624" y="566"/>
                  </a:lnTo>
                  <a:lnTo>
                    <a:pt x="624" y="567"/>
                  </a:lnTo>
                  <a:lnTo>
                    <a:pt x="623" y="567"/>
                  </a:lnTo>
                  <a:lnTo>
                    <a:pt x="624" y="567"/>
                  </a:lnTo>
                  <a:lnTo>
                    <a:pt x="624" y="568"/>
                  </a:lnTo>
                  <a:lnTo>
                    <a:pt x="624" y="567"/>
                  </a:lnTo>
                  <a:lnTo>
                    <a:pt x="626" y="567"/>
                  </a:lnTo>
                  <a:lnTo>
                    <a:pt x="627" y="568"/>
                  </a:lnTo>
                  <a:lnTo>
                    <a:pt x="628" y="568"/>
                  </a:lnTo>
                  <a:lnTo>
                    <a:pt x="628" y="569"/>
                  </a:lnTo>
                  <a:lnTo>
                    <a:pt x="629" y="569"/>
                  </a:lnTo>
                  <a:lnTo>
                    <a:pt x="628" y="569"/>
                  </a:lnTo>
                  <a:lnTo>
                    <a:pt x="628" y="570"/>
                  </a:lnTo>
                  <a:lnTo>
                    <a:pt x="628" y="569"/>
                  </a:lnTo>
                  <a:lnTo>
                    <a:pt x="627" y="569"/>
                  </a:lnTo>
                  <a:lnTo>
                    <a:pt x="626" y="569"/>
                  </a:lnTo>
                  <a:lnTo>
                    <a:pt x="627" y="569"/>
                  </a:lnTo>
                  <a:lnTo>
                    <a:pt x="627" y="570"/>
                  </a:lnTo>
                  <a:lnTo>
                    <a:pt x="626" y="570"/>
                  </a:lnTo>
                  <a:lnTo>
                    <a:pt x="627" y="570"/>
                  </a:lnTo>
                  <a:lnTo>
                    <a:pt x="627" y="571"/>
                  </a:lnTo>
                  <a:lnTo>
                    <a:pt x="628" y="571"/>
                  </a:lnTo>
                  <a:lnTo>
                    <a:pt x="628" y="573"/>
                  </a:lnTo>
                  <a:lnTo>
                    <a:pt x="627" y="573"/>
                  </a:lnTo>
                  <a:lnTo>
                    <a:pt x="627" y="571"/>
                  </a:lnTo>
                  <a:lnTo>
                    <a:pt x="626" y="571"/>
                  </a:lnTo>
                  <a:lnTo>
                    <a:pt x="626" y="573"/>
                  </a:lnTo>
                  <a:lnTo>
                    <a:pt x="624" y="573"/>
                  </a:lnTo>
                  <a:lnTo>
                    <a:pt x="624" y="571"/>
                  </a:lnTo>
                  <a:lnTo>
                    <a:pt x="624" y="573"/>
                  </a:lnTo>
                  <a:lnTo>
                    <a:pt x="623" y="573"/>
                  </a:lnTo>
                  <a:lnTo>
                    <a:pt x="623" y="574"/>
                  </a:lnTo>
                  <a:lnTo>
                    <a:pt x="622" y="574"/>
                  </a:lnTo>
                  <a:lnTo>
                    <a:pt x="622" y="573"/>
                  </a:lnTo>
                  <a:lnTo>
                    <a:pt x="621" y="573"/>
                  </a:lnTo>
                  <a:lnTo>
                    <a:pt x="620" y="573"/>
                  </a:lnTo>
                  <a:lnTo>
                    <a:pt x="621" y="573"/>
                  </a:lnTo>
                  <a:lnTo>
                    <a:pt x="622" y="573"/>
                  </a:lnTo>
                  <a:lnTo>
                    <a:pt x="623" y="573"/>
                  </a:lnTo>
                  <a:lnTo>
                    <a:pt x="622" y="573"/>
                  </a:lnTo>
                  <a:lnTo>
                    <a:pt x="621" y="571"/>
                  </a:lnTo>
                  <a:lnTo>
                    <a:pt x="622" y="571"/>
                  </a:lnTo>
                  <a:lnTo>
                    <a:pt x="623" y="573"/>
                  </a:lnTo>
                  <a:lnTo>
                    <a:pt x="623" y="571"/>
                  </a:lnTo>
                  <a:lnTo>
                    <a:pt x="622" y="571"/>
                  </a:lnTo>
                  <a:lnTo>
                    <a:pt x="621" y="571"/>
                  </a:lnTo>
                  <a:lnTo>
                    <a:pt x="621" y="570"/>
                  </a:lnTo>
                  <a:lnTo>
                    <a:pt x="622" y="570"/>
                  </a:lnTo>
                  <a:lnTo>
                    <a:pt x="623" y="570"/>
                  </a:lnTo>
                  <a:lnTo>
                    <a:pt x="623" y="569"/>
                  </a:lnTo>
                  <a:lnTo>
                    <a:pt x="622" y="570"/>
                  </a:lnTo>
                  <a:lnTo>
                    <a:pt x="622" y="569"/>
                  </a:lnTo>
                  <a:lnTo>
                    <a:pt x="621" y="569"/>
                  </a:lnTo>
                  <a:lnTo>
                    <a:pt x="620" y="569"/>
                  </a:lnTo>
                  <a:lnTo>
                    <a:pt x="620" y="570"/>
                  </a:lnTo>
                  <a:lnTo>
                    <a:pt x="620" y="569"/>
                  </a:lnTo>
                  <a:lnTo>
                    <a:pt x="619" y="570"/>
                  </a:lnTo>
                  <a:lnTo>
                    <a:pt x="619" y="569"/>
                  </a:lnTo>
                  <a:lnTo>
                    <a:pt x="617" y="569"/>
                  </a:lnTo>
                  <a:lnTo>
                    <a:pt x="619" y="569"/>
                  </a:lnTo>
                  <a:lnTo>
                    <a:pt x="619" y="570"/>
                  </a:lnTo>
                  <a:lnTo>
                    <a:pt x="619" y="571"/>
                  </a:lnTo>
                  <a:lnTo>
                    <a:pt x="620" y="571"/>
                  </a:lnTo>
                  <a:lnTo>
                    <a:pt x="620" y="573"/>
                  </a:lnTo>
                  <a:lnTo>
                    <a:pt x="619" y="573"/>
                  </a:lnTo>
                  <a:lnTo>
                    <a:pt x="619" y="571"/>
                  </a:lnTo>
                  <a:lnTo>
                    <a:pt x="617" y="571"/>
                  </a:lnTo>
                  <a:lnTo>
                    <a:pt x="616" y="571"/>
                  </a:lnTo>
                  <a:lnTo>
                    <a:pt x="615" y="571"/>
                  </a:lnTo>
                  <a:lnTo>
                    <a:pt x="616" y="571"/>
                  </a:lnTo>
                  <a:lnTo>
                    <a:pt x="616" y="570"/>
                  </a:lnTo>
                  <a:lnTo>
                    <a:pt x="615" y="569"/>
                  </a:lnTo>
                  <a:lnTo>
                    <a:pt x="615" y="568"/>
                  </a:lnTo>
                  <a:lnTo>
                    <a:pt x="614" y="568"/>
                  </a:lnTo>
                  <a:lnTo>
                    <a:pt x="615" y="568"/>
                  </a:lnTo>
                  <a:lnTo>
                    <a:pt x="615" y="567"/>
                  </a:lnTo>
                  <a:lnTo>
                    <a:pt x="614" y="567"/>
                  </a:lnTo>
                  <a:lnTo>
                    <a:pt x="612" y="568"/>
                  </a:lnTo>
                  <a:lnTo>
                    <a:pt x="612" y="567"/>
                  </a:lnTo>
                  <a:lnTo>
                    <a:pt x="610" y="567"/>
                  </a:lnTo>
                  <a:lnTo>
                    <a:pt x="610" y="566"/>
                  </a:lnTo>
                  <a:lnTo>
                    <a:pt x="612" y="566"/>
                  </a:lnTo>
                  <a:lnTo>
                    <a:pt x="613" y="566"/>
                  </a:lnTo>
                  <a:lnTo>
                    <a:pt x="614" y="566"/>
                  </a:lnTo>
                  <a:lnTo>
                    <a:pt x="614" y="567"/>
                  </a:lnTo>
                  <a:lnTo>
                    <a:pt x="615" y="567"/>
                  </a:lnTo>
                  <a:lnTo>
                    <a:pt x="617" y="567"/>
                  </a:lnTo>
                  <a:lnTo>
                    <a:pt x="619" y="567"/>
                  </a:lnTo>
                  <a:lnTo>
                    <a:pt x="617" y="566"/>
                  </a:lnTo>
                  <a:lnTo>
                    <a:pt x="617" y="567"/>
                  </a:lnTo>
                  <a:lnTo>
                    <a:pt x="616" y="567"/>
                  </a:lnTo>
                  <a:lnTo>
                    <a:pt x="616" y="566"/>
                  </a:lnTo>
                  <a:lnTo>
                    <a:pt x="616" y="567"/>
                  </a:lnTo>
                  <a:lnTo>
                    <a:pt x="615" y="567"/>
                  </a:lnTo>
                  <a:lnTo>
                    <a:pt x="614" y="566"/>
                  </a:lnTo>
                  <a:lnTo>
                    <a:pt x="614" y="564"/>
                  </a:lnTo>
                  <a:lnTo>
                    <a:pt x="613" y="564"/>
                  </a:lnTo>
                  <a:lnTo>
                    <a:pt x="612" y="564"/>
                  </a:lnTo>
                  <a:lnTo>
                    <a:pt x="612" y="563"/>
                  </a:lnTo>
                  <a:lnTo>
                    <a:pt x="613" y="563"/>
                  </a:lnTo>
                  <a:lnTo>
                    <a:pt x="613" y="564"/>
                  </a:lnTo>
                  <a:lnTo>
                    <a:pt x="614" y="564"/>
                  </a:lnTo>
                  <a:lnTo>
                    <a:pt x="616" y="564"/>
                  </a:lnTo>
                  <a:lnTo>
                    <a:pt x="615" y="564"/>
                  </a:lnTo>
                  <a:lnTo>
                    <a:pt x="615" y="563"/>
                  </a:lnTo>
                  <a:lnTo>
                    <a:pt x="614" y="563"/>
                  </a:lnTo>
                  <a:lnTo>
                    <a:pt x="614" y="562"/>
                  </a:lnTo>
                  <a:lnTo>
                    <a:pt x="615" y="562"/>
                  </a:lnTo>
                  <a:lnTo>
                    <a:pt x="615" y="563"/>
                  </a:lnTo>
                  <a:lnTo>
                    <a:pt x="616" y="563"/>
                  </a:lnTo>
                  <a:lnTo>
                    <a:pt x="616" y="564"/>
                  </a:lnTo>
                  <a:close/>
                  <a:moveTo>
                    <a:pt x="601" y="561"/>
                  </a:moveTo>
                  <a:lnTo>
                    <a:pt x="601" y="562"/>
                  </a:lnTo>
                  <a:lnTo>
                    <a:pt x="601" y="561"/>
                  </a:lnTo>
                  <a:lnTo>
                    <a:pt x="600" y="561"/>
                  </a:lnTo>
                  <a:lnTo>
                    <a:pt x="601" y="560"/>
                  </a:lnTo>
                  <a:lnTo>
                    <a:pt x="602" y="560"/>
                  </a:lnTo>
                  <a:lnTo>
                    <a:pt x="602" y="561"/>
                  </a:lnTo>
                  <a:lnTo>
                    <a:pt x="601" y="561"/>
                  </a:lnTo>
                  <a:close/>
                  <a:moveTo>
                    <a:pt x="640" y="555"/>
                  </a:moveTo>
                  <a:lnTo>
                    <a:pt x="638" y="555"/>
                  </a:lnTo>
                  <a:lnTo>
                    <a:pt x="640" y="555"/>
                  </a:lnTo>
                  <a:lnTo>
                    <a:pt x="640" y="554"/>
                  </a:lnTo>
                  <a:lnTo>
                    <a:pt x="641" y="554"/>
                  </a:lnTo>
                  <a:lnTo>
                    <a:pt x="640" y="554"/>
                  </a:lnTo>
                  <a:lnTo>
                    <a:pt x="640" y="555"/>
                  </a:lnTo>
                  <a:close/>
                  <a:moveTo>
                    <a:pt x="605" y="554"/>
                  </a:moveTo>
                  <a:lnTo>
                    <a:pt x="606" y="554"/>
                  </a:lnTo>
                  <a:lnTo>
                    <a:pt x="607" y="554"/>
                  </a:lnTo>
                  <a:lnTo>
                    <a:pt x="607" y="555"/>
                  </a:lnTo>
                  <a:lnTo>
                    <a:pt x="607" y="554"/>
                  </a:lnTo>
                  <a:lnTo>
                    <a:pt x="608" y="555"/>
                  </a:lnTo>
                  <a:lnTo>
                    <a:pt x="608" y="556"/>
                  </a:lnTo>
                  <a:lnTo>
                    <a:pt x="607" y="556"/>
                  </a:lnTo>
                  <a:lnTo>
                    <a:pt x="607" y="555"/>
                  </a:lnTo>
                  <a:lnTo>
                    <a:pt x="606" y="555"/>
                  </a:lnTo>
                  <a:lnTo>
                    <a:pt x="605" y="555"/>
                  </a:lnTo>
                  <a:lnTo>
                    <a:pt x="604" y="555"/>
                  </a:lnTo>
                  <a:lnTo>
                    <a:pt x="602" y="555"/>
                  </a:lnTo>
                  <a:lnTo>
                    <a:pt x="604" y="555"/>
                  </a:lnTo>
                  <a:lnTo>
                    <a:pt x="604" y="554"/>
                  </a:lnTo>
                  <a:lnTo>
                    <a:pt x="605" y="554"/>
                  </a:lnTo>
                  <a:close/>
                  <a:moveTo>
                    <a:pt x="592" y="553"/>
                  </a:moveTo>
                  <a:lnTo>
                    <a:pt x="593" y="553"/>
                  </a:lnTo>
                  <a:lnTo>
                    <a:pt x="594" y="554"/>
                  </a:lnTo>
                  <a:lnTo>
                    <a:pt x="595" y="554"/>
                  </a:lnTo>
                  <a:lnTo>
                    <a:pt x="595" y="555"/>
                  </a:lnTo>
                  <a:lnTo>
                    <a:pt x="595" y="554"/>
                  </a:lnTo>
                  <a:lnTo>
                    <a:pt x="597" y="555"/>
                  </a:lnTo>
                  <a:lnTo>
                    <a:pt x="595" y="555"/>
                  </a:lnTo>
                  <a:lnTo>
                    <a:pt x="597" y="555"/>
                  </a:lnTo>
                  <a:lnTo>
                    <a:pt x="597" y="556"/>
                  </a:lnTo>
                  <a:lnTo>
                    <a:pt x="597" y="555"/>
                  </a:lnTo>
                  <a:lnTo>
                    <a:pt x="598" y="556"/>
                  </a:lnTo>
                  <a:lnTo>
                    <a:pt x="599" y="556"/>
                  </a:lnTo>
                  <a:lnTo>
                    <a:pt x="599" y="555"/>
                  </a:lnTo>
                  <a:lnTo>
                    <a:pt x="599" y="556"/>
                  </a:lnTo>
                  <a:lnTo>
                    <a:pt x="600" y="556"/>
                  </a:lnTo>
                  <a:lnTo>
                    <a:pt x="599" y="556"/>
                  </a:lnTo>
                  <a:lnTo>
                    <a:pt x="599" y="555"/>
                  </a:lnTo>
                  <a:lnTo>
                    <a:pt x="600" y="556"/>
                  </a:lnTo>
                  <a:lnTo>
                    <a:pt x="601" y="556"/>
                  </a:lnTo>
                  <a:lnTo>
                    <a:pt x="602" y="556"/>
                  </a:lnTo>
                  <a:lnTo>
                    <a:pt x="601" y="556"/>
                  </a:lnTo>
                  <a:lnTo>
                    <a:pt x="602" y="556"/>
                  </a:lnTo>
                  <a:lnTo>
                    <a:pt x="602" y="557"/>
                  </a:lnTo>
                  <a:lnTo>
                    <a:pt x="602" y="556"/>
                  </a:lnTo>
                  <a:lnTo>
                    <a:pt x="604" y="557"/>
                  </a:lnTo>
                  <a:lnTo>
                    <a:pt x="605" y="557"/>
                  </a:lnTo>
                  <a:lnTo>
                    <a:pt x="606" y="559"/>
                  </a:lnTo>
                  <a:lnTo>
                    <a:pt x="607" y="559"/>
                  </a:lnTo>
                  <a:lnTo>
                    <a:pt x="606" y="559"/>
                  </a:lnTo>
                  <a:lnTo>
                    <a:pt x="606" y="557"/>
                  </a:lnTo>
                  <a:lnTo>
                    <a:pt x="607" y="557"/>
                  </a:lnTo>
                  <a:lnTo>
                    <a:pt x="607" y="559"/>
                  </a:lnTo>
                  <a:lnTo>
                    <a:pt x="608" y="559"/>
                  </a:lnTo>
                  <a:lnTo>
                    <a:pt x="607" y="560"/>
                  </a:lnTo>
                  <a:lnTo>
                    <a:pt x="608" y="560"/>
                  </a:lnTo>
                  <a:lnTo>
                    <a:pt x="609" y="561"/>
                  </a:lnTo>
                  <a:lnTo>
                    <a:pt x="609" y="560"/>
                  </a:lnTo>
                  <a:lnTo>
                    <a:pt x="608" y="560"/>
                  </a:lnTo>
                  <a:lnTo>
                    <a:pt x="608" y="559"/>
                  </a:lnTo>
                  <a:lnTo>
                    <a:pt x="609" y="559"/>
                  </a:lnTo>
                  <a:lnTo>
                    <a:pt x="609" y="560"/>
                  </a:lnTo>
                  <a:lnTo>
                    <a:pt x="610" y="560"/>
                  </a:lnTo>
                  <a:lnTo>
                    <a:pt x="610" y="561"/>
                  </a:lnTo>
                  <a:lnTo>
                    <a:pt x="612" y="561"/>
                  </a:lnTo>
                  <a:lnTo>
                    <a:pt x="613" y="561"/>
                  </a:lnTo>
                  <a:lnTo>
                    <a:pt x="614" y="561"/>
                  </a:lnTo>
                  <a:lnTo>
                    <a:pt x="614" y="562"/>
                  </a:lnTo>
                  <a:lnTo>
                    <a:pt x="613" y="562"/>
                  </a:lnTo>
                  <a:lnTo>
                    <a:pt x="612" y="562"/>
                  </a:lnTo>
                  <a:lnTo>
                    <a:pt x="610" y="561"/>
                  </a:lnTo>
                  <a:lnTo>
                    <a:pt x="609" y="561"/>
                  </a:lnTo>
                  <a:lnTo>
                    <a:pt x="608" y="561"/>
                  </a:lnTo>
                  <a:lnTo>
                    <a:pt x="609" y="561"/>
                  </a:lnTo>
                  <a:lnTo>
                    <a:pt x="608" y="561"/>
                  </a:lnTo>
                  <a:lnTo>
                    <a:pt x="608" y="560"/>
                  </a:lnTo>
                  <a:lnTo>
                    <a:pt x="607" y="560"/>
                  </a:lnTo>
                  <a:lnTo>
                    <a:pt x="608" y="560"/>
                  </a:lnTo>
                  <a:lnTo>
                    <a:pt x="607" y="560"/>
                  </a:lnTo>
                  <a:lnTo>
                    <a:pt x="606" y="559"/>
                  </a:lnTo>
                  <a:lnTo>
                    <a:pt x="605" y="559"/>
                  </a:lnTo>
                  <a:lnTo>
                    <a:pt x="604" y="559"/>
                  </a:lnTo>
                  <a:lnTo>
                    <a:pt x="604" y="557"/>
                  </a:lnTo>
                  <a:lnTo>
                    <a:pt x="602" y="557"/>
                  </a:lnTo>
                  <a:lnTo>
                    <a:pt x="601" y="557"/>
                  </a:lnTo>
                  <a:lnTo>
                    <a:pt x="601" y="559"/>
                  </a:lnTo>
                  <a:lnTo>
                    <a:pt x="601" y="557"/>
                  </a:lnTo>
                  <a:lnTo>
                    <a:pt x="600" y="557"/>
                  </a:lnTo>
                  <a:lnTo>
                    <a:pt x="600" y="559"/>
                  </a:lnTo>
                  <a:lnTo>
                    <a:pt x="600" y="557"/>
                  </a:lnTo>
                  <a:lnTo>
                    <a:pt x="599" y="557"/>
                  </a:lnTo>
                  <a:lnTo>
                    <a:pt x="599" y="559"/>
                  </a:lnTo>
                  <a:lnTo>
                    <a:pt x="598" y="557"/>
                  </a:lnTo>
                  <a:lnTo>
                    <a:pt x="597" y="557"/>
                  </a:lnTo>
                  <a:lnTo>
                    <a:pt x="597" y="556"/>
                  </a:lnTo>
                  <a:lnTo>
                    <a:pt x="595" y="556"/>
                  </a:lnTo>
                  <a:lnTo>
                    <a:pt x="594" y="556"/>
                  </a:lnTo>
                  <a:lnTo>
                    <a:pt x="594" y="555"/>
                  </a:lnTo>
                  <a:lnTo>
                    <a:pt x="593" y="555"/>
                  </a:lnTo>
                  <a:lnTo>
                    <a:pt x="593" y="554"/>
                  </a:lnTo>
                  <a:lnTo>
                    <a:pt x="592" y="553"/>
                  </a:lnTo>
                  <a:lnTo>
                    <a:pt x="591" y="553"/>
                  </a:lnTo>
                  <a:lnTo>
                    <a:pt x="592" y="553"/>
                  </a:lnTo>
                  <a:close/>
                  <a:moveTo>
                    <a:pt x="607" y="553"/>
                  </a:moveTo>
                  <a:lnTo>
                    <a:pt x="607" y="552"/>
                  </a:lnTo>
                  <a:lnTo>
                    <a:pt x="607" y="553"/>
                  </a:lnTo>
                  <a:close/>
                  <a:moveTo>
                    <a:pt x="594" y="550"/>
                  </a:moveTo>
                  <a:lnTo>
                    <a:pt x="593" y="550"/>
                  </a:lnTo>
                  <a:lnTo>
                    <a:pt x="592" y="549"/>
                  </a:lnTo>
                  <a:lnTo>
                    <a:pt x="593" y="549"/>
                  </a:lnTo>
                  <a:lnTo>
                    <a:pt x="594" y="550"/>
                  </a:lnTo>
                  <a:close/>
                  <a:moveTo>
                    <a:pt x="656" y="552"/>
                  </a:moveTo>
                  <a:lnTo>
                    <a:pt x="657" y="552"/>
                  </a:lnTo>
                  <a:lnTo>
                    <a:pt x="658" y="552"/>
                  </a:lnTo>
                  <a:lnTo>
                    <a:pt x="659" y="552"/>
                  </a:lnTo>
                  <a:lnTo>
                    <a:pt x="659" y="550"/>
                  </a:lnTo>
                  <a:lnTo>
                    <a:pt x="661" y="550"/>
                  </a:lnTo>
                  <a:lnTo>
                    <a:pt x="661" y="549"/>
                  </a:lnTo>
                  <a:lnTo>
                    <a:pt x="662" y="550"/>
                  </a:lnTo>
                  <a:lnTo>
                    <a:pt x="663" y="552"/>
                  </a:lnTo>
                  <a:lnTo>
                    <a:pt x="664" y="555"/>
                  </a:lnTo>
                  <a:lnTo>
                    <a:pt x="666" y="559"/>
                  </a:lnTo>
                  <a:lnTo>
                    <a:pt x="668" y="563"/>
                  </a:lnTo>
                  <a:lnTo>
                    <a:pt x="670" y="567"/>
                  </a:lnTo>
                  <a:lnTo>
                    <a:pt x="671" y="571"/>
                  </a:lnTo>
                  <a:lnTo>
                    <a:pt x="673" y="575"/>
                  </a:lnTo>
                  <a:lnTo>
                    <a:pt x="674" y="580"/>
                  </a:lnTo>
                  <a:lnTo>
                    <a:pt x="677" y="583"/>
                  </a:lnTo>
                  <a:lnTo>
                    <a:pt x="676" y="583"/>
                  </a:lnTo>
                  <a:lnTo>
                    <a:pt x="677" y="583"/>
                  </a:lnTo>
                  <a:lnTo>
                    <a:pt x="677" y="584"/>
                  </a:lnTo>
                  <a:lnTo>
                    <a:pt x="677" y="585"/>
                  </a:lnTo>
                  <a:lnTo>
                    <a:pt x="677" y="584"/>
                  </a:lnTo>
                  <a:lnTo>
                    <a:pt x="676" y="584"/>
                  </a:lnTo>
                  <a:lnTo>
                    <a:pt x="673" y="583"/>
                  </a:lnTo>
                  <a:lnTo>
                    <a:pt x="672" y="583"/>
                  </a:lnTo>
                  <a:lnTo>
                    <a:pt x="673" y="584"/>
                  </a:lnTo>
                  <a:lnTo>
                    <a:pt x="674" y="584"/>
                  </a:lnTo>
                  <a:lnTo>
                    <a:pt x="676" y="584"/>
                  </a:lnTo>
                  <a:lnTo>
                    <a:pt x="676" y="585"/>
                  </a:lnTo>
                  <a:lnTo>
                    <a:pt x="672" y="585"/>
                  </a:lnTo>
                  <a:lnTo>
                    <a:pt x="670" y="585"/>
                  </a:lnTo>
                  <a:lnTo>
                    <a:pt x="666" y="584"/>
                  </a:lnTo>
                  <a:lnTo>
                    <a:pt x="665" y="584"/>
                  </a:lnTo>
                  <a:lnTo>
                    <a:pt x="664" y="584"/>
                  </a:lnTo>
                  <a:lnTo>
                    <a:pt x="664" y="583"/>
                  </a:lnTo>
                  <a:lnTo>
                    <a:pt x="665" y="583"/>
                  </a:lnTo>
                  <a:lnTo>
                    <a:pt x="664" y="583"/>
                  </a:lnTo>
                  <a:lnTo>
                    <a:pt x="664" y="582"/>
                  </a:lnTo>
                  <a:lnTo>
                    <a:pt x="664" y="583"/>
                  </a:lnTo>
                  <a:lnTo>
                    <a:pt x="664" y="582"/>
                  </a:lnTo>
                  <a:lnTo>
                    <a:pt x="663" y="582"/>
                  </a:lnTo>
                  <a:lnTo>
                    <a:pt x="664" y="583"/>
                  </a:lnTo>
                  <a:lnTo>
                    <a:pt x="664" y="584"/>
                  </a:lnTo>
                  <a:lnTo>
                    <a:pt x="663" y="583"/>
                  </a:lnTo>
                  <a:lnTo>
                    <a:pt x="663" y="582"/>
                  </a:lnTo>
                  <a:lnTo>
                    <a:pt x="663" y="583"/>
                  </a:lnTo>
                  <a:lnTo>
                    <a:pt x="663" y="584"/>
                  </a:lnTo>
                  <a:lnTo>
                    <a:pt x="662" y="584"/>
                  </a:lnTo>
                  <a:lnTo>
                    <a:pt x="662" y="583"/>
                  </a:lnTo>
                  <a:lnTo>
                    <a:pt x="661" y="583"/>
                  </a:lnTo>
                  <a:lnTo>
                    <a:pt x="661" y="582"/>
                  </a:lnTo>
                  <a:lnTo>
                    <a:pt x="661" y="583"/>
                  </a:lnTo>
                  <a:lnTo>
                    <a:pt x="661" y="584"/>
                  </a:lnTo>
                  <a:lnTo>
                    <a:pt x="659" y="584"/>
                  </a:lnTo>
                  <a:lnTo>
                    <a:pt x="659" y="583"/>
                  </a:lnTo>
                  <a:lnTo>
                    <a:pt x="659" y="584"/>
                  </a:lnTo>
                  <a:lnTo>
                    <a:pt x="659" y="583"/>
                  </a:lnTo>
                  <a:lnTo>
                    <a:pt x="659" y="584"/>
                  </a:lnTo>
                  <a:lnTo>
                    <a:pt x="658" y="584"/>
                  </a:lnTo>
                  <a:lnTo>
                    <a:pt x="657" y="584"/>
                  </a:lnTo>
                  <a:lnTo>
                    <a:pt x="657" y="583"/>
                  </a:lnTo>
                  <a:lnTo>
                    <a:pt x="657" y="582"/>
                  </a:lnTo>
                  <a:lnTo>
                    <a:pt x="657" y="583"/>
                  </a:lnTo>
                  <a:lnTo>
                    <a:pt x="656" y="583"/>
                  </a:lnTo>
                  <a:lnTo>
                    <a:pt x="657" y="583"/>
                  </a:lnTo>
                  <a:lnTo>
                    <a:pt x="657" y="584"/>
                  </a:lnTo>
                  <a:lnTo>
                    <a:pt x="656" y="584"/>
                  </a:lnTo>
                  <a:lnTo>
                    <a:pt x="655" y="583"/>
                  </a:lnTo>
                  <a:lnTo>
                    <a:pt x="654" y="583"/>
                  </a:lnTo>
                  <a:lnTo>
                    <a:pt x="654" y="584"/>
                  </a:lnTo>
                  <a:lnTo>
                    <a:pt x="652" y="584"/>
                  </a:lnTo>
                  <a:lnTo>
                    <a:pt x="651" y="584"/>
                  </a:lnTo>
                  <a:lnTo>
                    <a:pt x="651" y="583"/>
                  </a:lnTo>
                  <a:lnTo>
                    <a:pt x="652" y="583"/>
                  </a:lnTo>
                  <a:lnTo>
                    <a:pt x="654" y="582"/>
                  </a:lnTo>
                  <a:lnTo>
                    <a:pt x="655" y="581"/>
                  </a:lnTo>
                  <a:lnTo>
                    <a:pt x="654" y="581"/>
                  </a:lnTo>
                  <a:lnTo>
                    <a:pt x="652" y="582"/>
                  </a:lnTo>
                  <a:lnTo>
                    <a:pt x="654" y="582"/>
                  </a:lnTo>
                  <a:lnTo>
                    <a:pt x="652" y="582"/>
                  </a:lnTo>
                  <a:lnTo>
                    <a:pt x="652" y="583"/>
                  </a:lnTo>
                  <a:lnTo>
                    <a:pt x="651" y="583"/>
                  </a:lnTo>
                  <a:lnTo>
                    <a:pt x="651" y="582"/>
                  </a:lnTo>
                  <a:lnTo>
                    <a:pt x="651" y="583"/>
                  </a:lnTo>
                  <a:lnTo>
                    <a:pt x="650" y="583"/>
                  </a:lnTo>
                  <a:lnTo>
                    <a:pt x="649" y="583"/>
                  </a:lnTo>
                  <a:lnTo>
                    <a:pt x="649" y="582"/>
                  </a:lnTo>
                  <a:lnTo>
                    <a:pt x="650" y="582"/>
                  </a:lnTo>
                  <a:lnTo>
                    <a:pt x="651" y="582"/>
                  </a:lnTo>
                  <a:lnTo>
                    <a:pt x="650" y="582"/>
                  </a:lnTo>
                  <a:lnTo>
                    <a:pt x="649" y="582"/>
                  </a:lnTo>
                  <a:lnTo>
                    <a:pt x="649" y="583"/>
                  </a:lnTo>
                  <a:lnTo>
                    <a:pt x="648" y="583"/>
                  </a:lnTo>
                  <a:lnTo>
                    <a:pt x="648" y="582"/>
                  </a:lnTo>
                  <a:lnTo>
                    <a:pt x="649" y="582"/>
                  </a:lnTo>
                  <a:lnTo>
                    <a:pt x="648" y="582"/>
                  </a:lnTo>
                  <a:lnTo>
                    <a:pt x="648" y="581"/>
                  </a:lnTo>
                  <a:lnTo>
                    <a:pt x="649" y="581"/>
                  </a:lnTo>
                  <a:lnTo>
                    <a:pt x="648" y="581"/>
                  </a:lnTo>
                  <a:lnTo>
                    <a:pt x="647" y="581"/>
                  </a:lnTo>
                  <a:lnTo>
                    <a:pt x="648" y="581"/>
                  </a:lnTo>
                  <a:lnTo>
                    <a:pt x="648" y="582"/>
                  </a:lnTo>
                  <a:lnTo>
                    <a:pt x="647" y="582"/>
                  </a:lnTo>
                  <a:lnTo>
                    <a:pt x="647" y="581"/>
                  </a:lnTo>
                  <a:lnTo>
                    <a:pt x="647" y="582"/>
                  </a:lnTo>
                  <a:lnTo>
                    <a:pt x="645" y="582"/>
                  </a:lnTo>
                  <a:lnTo>
                    <a:pt x="644" y="582"/>
                  </a:lnTo>
                  <a:lnTo>
                    <a:pt x="644" y="581"/>
                  </a:lnTo>
                  <a:lnTo>
                    <a:pt x="645" y="581"/>
                  </a:lnTo>
                  <a:lnTo>
                    <a:pt x="644" y="581"/>
                  </a:lnTo>
                  <a:lnTo>
                    <a:pt x="644" y="580"/>
                  </a:lnTo>
                  <a:lnTo>
                    <a:pt x="643" y="580"/>
                  </a:lnTo>
                  <a:lnTo>
                    <a:pt x="643" y="581"/>
                  </a:lnTo>
                  <a:lnTo>
                    <a:pt x="644" y="581"/>
                  </a:lnTo>
                  <a:lnTo>
                    <a:pt x="643" y="581"/>
                  </a:lnTo>
                  <a:lnTo>
                    <a:pt x="643" y="582"/>
                  </a:lnTo>
                  <a:lnTo>
                    <a:pt x="643" y="581"/>
                  </a:lnTo>
                  <a:lnTo>
                    <a:pt x="642" y="582"/>
                  </a:lnTo>
                  <a:lnTo>
                    <a:pt x="643" y="582"/>
                  </a:lnTo>
                  <a:lnTo>
                    <a:pt x="642" y="582"/>
                  </a:lnTo>
                  <a:lnTo>
                    <a:pt x="642" y="581"/>
                  </a:lnTo>
                  <a:lnTo>
                    <a:pt x="642" y="582"/>
                  </a:lnTo>
                  <a:lnTo>
                    <a:pt x="641" y="581"/>
                  </a:lnTo>
                  <a:lnTo>
                    <a:pt x="641" y="582"/>
                  </a:lnTo>
                  <a:lnTo>
                    <a:pt x="641" y="581"/>
                  </a:lnTo>
                  <a:lnTo>
                    <a:pt x="641" y="582"/>
                  </a:lnTo>
                  <a:lnTo>
                    <a:pt x="640" y="582"/>
                  </a:lnTo>
                  <a:lnTo>
                    <a:pt x="640" y="581"/>
                  </a:lnTo>
                  <a:lnTo>
                    <a:pt x="638" y="581"/>
                  </a:lnTo>
                  <a:lnTo>
                    <a:pt x="640" y="581"/>
                  </a:lnTo>
                  <a:lnTo>
                    <a:pt x="638" y="581"/>
                  </a:lnTo>
                  <a:lnTo>
                    <a:pt x="638" y="582"/>
                  </a:lnTo>
                  <a:lnTo>
                    <a:pt x="638" y="581"/>
                  </a:lnTo>
                  <a:lnTo>
                    <a:pt x="637" y="581"/>
                  </a:lnTo>
                  <a:lnTo>
                    <a:pt x="637" y="582"/>
                  </a:lnTo>
                  <a:lnTo>
                    <a:pt x="636" y="581"/>
                  </a:lnTo>
                  <a:lnTo>
                    <a:pt x="637" y="581"/>
                  </a:lnTo>
                  <a:lnTo>
                    <a:pt x="637" y="580"/>
                  </a:lnTo>
                  <a:lnTo>
                    <a:pt x="637" y="581"/>
                  </a:lnTo>
                  <a:lnTo>
                    <a:pt x="636" y="580"/>
                  </a:lnTo>
                  <a:lnTo>
                    <a:pt x="636" y="581"/>
                  </a:lnTo>
                  <a:lnTo>
                    <a:pt x="636" y="580"/>
                  </a:lnTo>
                  <a:lnTo>
                    <a:pt x="635" y="580"/>
                  </a:lnTo>
                  <a:lnTo>
                    <a:pt x="636" y="580"/>
                  </a:lnTo>
                  <a:lnTo>
                    <a:pt x="635" y="578"/>
                  </a:lnTo>
                  <a:lnTo>
                    <a:pt x="636" y="578"/>
                  </a:lnTo>
                  <a:lnTo>
                    <a:pt x="637" y="580"/>
                  </a:lnTo>
                  <a:lnTo>
                    <a:pt x="638" y="580"/>
                  </a:lnTo>
                  <a:lnTo>
                    <a:pt x="640" y="580"/>
                  </a:lnTo>
                  <a:lnTo>
                    <a:pt x="640" y="581"/>
                  </a:lnTo>
                  <a:lnTo>
                    <a:pt x="640" y="580"/>
                  </a:lnTo>
                  <a:lnTo>
                    <a:pt x="638" y="580"/>
                  </a:lnTo>
                  <a:lnTo>
                    <a:pt x="640" y="580"/>
                  </a:lnTo>
                  <a:lnTo>
                    <a:pt x="641" y="580"/>
                  </a:lnTo>
                  <a:lnTo>
                    <a:pt x="640" y="580"/>
                  </a:lnTo>
                  <a:lnTo>
                    <a:pt x="638" y="578"/>
                  </a:lnTo>
                  <a:lnTo>
                    <a:pt x="637" y="578"/>
                  </a:lnTo>
                  <a:lnTo>
                    <a:pt x="636" y="578"/>
                  </a:lnTo>
                  <a:lnTo>
                    <a:pt x="637" y="578"/>
                  </a:lnTo>
                  <a:lnTo>
                    <a:pt x="636" y="578"/>
                  </a:lnTo>
                  <a:lnTo>
                    <a:pt x="636" y="577"/>
                  </a:lnTo>
                  <a:lnTo>
                    <a:pt x="637" y="578"/>
                  </a:lnTo>
                  <a:lnTo>
                    <a:pt x="637" y="577"/>
                  </a:lnTo>
                  <a:lnTo>
                    <a:pt x="638" y="577"/>
                  </a:lnTo>
                  <a:lnTo>
                    <a:pt x="637" y="578"/>
                  </a:lnTo>
                  <a:lnTo>
                    <a:pt x="638" y="578"/>
                  </a:lnTo>
                  <a:lnTo>
                    <a:pt x="640" y="580"/>
                  </a:lnTo>
                  <a:lnTo>
                    <a:pt x="641" y="580"/>
                  </a:lnTo>
                  <a:lnTo>
                    <a:pt x="641" y="578"/>
                  </a:lnTo>
                  <a:lnTo>
                    <a:pt x="641" y="580"/>
                  </a:lnTo>
                  <a:lnTo>
                    <a:pt x="641" y="578"/>
                  </a:lnTo>
                  <a:lnTo>
                    <a:pt x="640" y="578"/>
                  </a:lnTo>
                  <a:lnTo>
                    <a:pt x="640" y="577"/>
                  </a:lnTo>
                  <a:lnTo>
                    <a:pt x="640" y="578"/>
                  </a:lnTo>
                  <a:lnTo>
                    <a:pt x="641" y="578"/>
                  </a:lnTo>
                  <a:lnTo>
                    <a:pt x="640" y="577"/>
                  </a:lnTo>
                  <a:lnTo>
                    <a:pt x="641" y="577"/>
                  </a:lnTo>
                  <a:lnTo>
                    <a:pt x="641" y="578"/>
                  </a:lnTo>
                  <a:lnTo>
                    <a:pt x="642" y="578"/>
                  </a:lnTo>
                  <a:lnTo>
                    <a:pt x="643" y="578"/>
                  </a:lnTo>
                  <a:lnTo>
                    <a:pt x="642" y="578"/>
                  </a:lnTo>
                  <a:lnTo>
                    <a:pt x="642" y="577"/>
                  </a:lnTo>
                  <a:lnTo>
                    <a:pt x="641" y="577"/>
                  </a:lnTo>
                  <a:lnTo>
                    <a:pt x="642" y="577"/>
                  </a:lnTo>
                  <a:lnTo>
                    <a:pt x="643" y="577"/>
                  </a:lnTo>
                  <a:lnTo>
                    <a:pt x="644" y="578"/>
                  </a:lnTo>
                  <a:lnTo>
                    <a:pt x="645" y="578"/>
                  </a:lnTo>
                  <a:lnTo>
                    <a:pt x="645" y="580"/>
                  </a:lnTo>
                  <a:lnTo>
                    <a:pt x="645" y="578"/>
                  </a:lnTo>
                  <a:lnTo>
                    <a:pt x="644" y="578"/>
                  </a:lnTo>
                  <a:lnTo>
                    <a:pt x="645" y="578"/>
                  </a:lnTo>
                  <a:lnTo>
                    <a:pt x="647" y="578"/>
                  </a:lnTo>
                  <a:lnTo>
                    <a:pt x="647" y="577"/>
                  </a:lnTo>
                  <a:lnTo>
                    <a:pt x="647" y="576"/>
                  </a:lnTo>
                  <a:lnTo>
                    <a:pt x="648" y="576"/>
                  </a:lnTo>
                  <a:lnTo>
                    <a:pt x="649" y="576"/>
                  </a:lnTo>
                  <a:lnTo>
                    <a:pt x="649" y="577"/>
                  </a:lnTo>
                  <a:lnTo>
                    <a:pt x="650" y="576"/>
                  </a:lnTo>
                  <a:lnTo>
                    <a:pt x="650" y="577"/>
                  </a:lnTo>
                  <a:lnTo>
                    <a:pt x="650" y="578"/>
                  </a:lnTo>
                  <a:lnTo>
                    <a:pt x="650" y="580"/>
                  </a:lnTo>
                  <a:lnTo>
                    <a:pt x="650" y="581"/>
                  </a:lnTo>
                  <a:lnTo>
                    <a:pt x="650" y="580"/>
                  </a:lnTo>
                  <a:lnTo>
                    <a:pt x="651" y="581"/>
                  </a:lnTo>
                  <a:lnTo>
                    <a:pt x="652" y="581"/>
                  </a:lnTo>
                  <a:lnTo>
                    <a:pt x="651" y="581"/>
                  </a:lnTo>
                  <a:lnTo>
                    <a:pt x="651" y="580"/>
                  </a:lnTo>
                  <a:lnTo>
                    <a:pt x="650" y="580"/>
                  </a:lnTo>
                  <a:lnTo>
                    <a:pt x="650" y="578"/>
                  </a:lnTo>
                  <a:lnTo>
                    <a:pt x="650" y="577"/>
                  </a:lnTo>
                  <a:lnTo>
                    <a:pt x="651" y="577"/>
                  </a:lnTo>
                  <a:lnTo>
                    <a:pt x="651" y="578"/>
                  </a:lnTo>
                  <a:lnTo>
                    <a:pt x="652" y="578"/>
                  </a:lnTo>
                  <a:lnTo>
                    <a:pt x="654" y="578"/>
                  </a:lnTo>
                  <a:lnTo>
                    <a:pt x="655" y="580"/>
                  </a:lnTo>
                  <a:lnTo>
                    <a:pt x="656" y="580"/>
                  </a:lnTo>
                  <a:lnTo>
                    <a:pt x="656" y="581"/>
                  </a:lnTo>
                  <a:lnTo>
                    <a:pt x="656" y="580"/>
                  </a:lnTo>
                  <a:lnTo>
                    <a:pt x="655" y="580"/>
                  </a:lnTo>
                  <a:lnTo>
                    <a:pt x="656" y="580"/>
                  </a:lnTo>
                  <a:lnTo>
                    <a:pt x="657" y="580"/>
                  </a:lnTo>
                  <a:lnTo>
                    <a:pt x="656" y="580"/>
                  </a:lnTo>
                  <a:lnTo>
                    <a:pt x="656" y="578"/>
                  </a:lnTo>
                  <a:lnTo>
                    <a:pt x="654" y="578"/>
                  </a:lnTo>
                  <a:lnTo>
                    <a:pt x="652" y="578"/>
                  </a:lnTo>
                  <a:lnTo>
                    <a:pt x="652" y="577"/>
                  </a:lnTo>
                  <a:lnTo>
                    <a:pt x="651" y="577"/>
                  </a:lnTo>
                  <a:lnTo>
                    <a:pt x="651" y="576"/>
                  </a:lnTo>
                  <a:lnTo>
                    <a:pt x="650" y="576"/>
                  </a:lnTo>
                  <a:lnTo>
                    <a:pt x="649" y="576"/>
                  </a:lnTo>
                  <a:lnTo>
                    <a:pt x="648" y="576"/>
                  </a:lnTo>
                  <a:lnTo>
                    <a:pt x="647" y="576"/>
                  </a:lnTo>
                  <a:lnTo>
                    <a:pt x="647" y="575"/>
                  </a:lnTo>
                  <a:lnTo>
                    <a:pt x="645" y="574"/>
                  </a:lnTo>
                  <a:lnTo>
                    <a:pt x="647" y="574"/>
                  </a:lnTo>
                  <a:lnTo>
                    <a:pt x="647" y="575"/>
                  </a:lnTo>
                  <a:lnTo>
                    <a:pt x="647" y="574"/>
                  </a:lnTo>
                  <a:lnTo>
                    <a:pt x="645" y="574"/>
                  </a:lnTo>
                  <a:lnTo>
                    <a:pt x="650" y="575"/>
                  </a:lnTo>
                  <a:lnTo>
                    <a:pt x="652" y="576"/>
                  </a:lnTo>
                  <a:lnTo>
                    <a:pt x="654" y="576"/>
                  </a:lnTo>
                  <a:lnTo>
                    <a:pt x="654" y="577"/>
                  </a:lnTo>
                  <a:lnTo>
                    <a:pt x="655" y="577"/>
                  </a:lnTo>
                  <a:lnTo>
                    <a:pt x="656" y="577"/>
                  </a:lnTo>
                  <a:lnTo>
                    <a:pt x="656" y="578"/>
                  </a:lnTo>
                  <a:lnTo>
                    <a:pt x="657" y="578"/>
                  </a:lnTo>
                  <a:lnTo>
                    <a:pt x="656" y="577"/>
                  </a:lnTo>
                  <a:lnTo>
                    <a:pt x="657" y="577"/>
                  </a:lnTo>
                  <a:lnTo>
                    <a:pt x="656" y="577"/>
                  </a:lnTo>
                  <a:lnTo>
                    <a:pt x="655" y="576"/>
                  </a:lnTo>
                  <a:lnTo>
                    <a:pt x="656" y="576"/>
                  </a:lnTo>
                  <a:lnTo>
                    <a:pt x="656" y="575"/>
                  </a:lnTo>
                  <a:lnTo>
                    <a:pt x="657" y="575"/>
                  </a:lnTo>
                  <a:lnTo>
                    <a:pt x="657" y="576"/>
                  </a:lnTo>
                  <a:lnTo>
                    <a:pt x="658" y="576"/>
                  </a:lnTo>
                  <a:lnTo>
                    <a:pt x="658" y="577"/>
                  </a:lnTo>
                  <a:lnTo>
                    <a:pt x="659" y="577"/>
                  </a:lnTo>
                  <a:lnTo>
                    <a:pt x="659" y="578"/>
                  </a:lnTo>
                  <a:lnTo>
                    <a:pt x="661" y="580"/>
                  </a:lnTo>
                  <a:lnTo>
                    <a:pt x="661" y="578"/>
                  </a:lnTo>
                  <a:lnTo>
                    <a:pt x="662" y="580"/>
                  </a:lnTo>
                  <a:lnTo>
                    <a:pt x="662" y="578"/>
                  </a:lnTo>
                  <a:lnTo>
                    <a:pt x="661" y="578"/>
                  </a:lnTo>
                  <a:lnTo>
                    <a:pt x="661" y="577"/>
                  </a:lnTo>
                  <a:lnTo>
                    <a:pt x="659" y="577"/>
                  </a:lnTo>
                  <a:lnTo>
                    <a:pt x="659" y="576"/>
                  </a:lnTo>
                  <a:lnTo>
                    <a:pt x="658" y="576"/>
                  </a:lnTo>
                  <a:lnTo>
                    <a:pt x="659" y="576"/>
                  </a:lnTo>
                  <a:lnTo>
                    <a:pt x="661" y="576"/>
                  </a:lnTo>
                  <a:lnTo>
                    <a:pt x="662" y="577"/>
                  </a:lnTo>
                  <a:lnTo>
                    <a:pt x="663" y="577"/>
                  </a:lnTo>
                  <a:lnTo>
                    <a:pt x="663" y="578"/>
                  </a:lnTo>
                  <a:lnTo>
                    <a:pt x="664" y="578"/>
                  </a:lnTo>
                  <a:lnTo>
                    <a:pt x="664" y="577"/>
                  </a:lnTo>
                  <a:lnTo>
                    <a:pt x="663" y="577"/>
                  </a:lnTo>
                  <a:lnTo>
                    <a:pt x="663" y="576"/>
                  </a:lnTo>
                  <a:lnTo>
                    <a:pt x="663" y="577"/>
                  </a:lnTo>
                  <a:lnTo>
                    <a:pt x="666" y="578"/>
                  </a:lnTo>
                  <a:lnTo>
                    <a:pt x="668" y="578"/>
                  </a:lnTo>
                  <a:lnTo>
                    <a:pt x="668" y="580"/>
                  </a:lnTo>
                  <a:lnTo>
                    <a:pt x="666" y="580"/>
                  </a:lnTo>
                  <a:lnTo>
                    <a:pt x="666" y="581"/>
                  </a:lnTo>
                  <a:lnTo>
                    <a:pt x="666" y="582"/>
                  </a:lnTo>
                  <a:lnTo>
                    <a:pt x="668" y="582"/>
                  </a:lnTo>
                  <a:lnTo>
                    <a:pt x="666" y="581"/>
                  </a:lnTo>
                  <a:lnTo>
                    <a:pt x="668" y="581"/>
                  </a:lnTo>
                  <a:lnTo>
                    <a:pt x="668" y="580"/>
                  </a:lnTo>
                  <a:lnTo>
                    <a:pt x="669" y="580"/>
                  </a:lnTo>
                  <a:lnTo>
                    <a:pt x="669" y="581"/>
                  </a:lnTo>
                  <a:lnTo>
                    <a:pt x="669" y="580"/>
                  </a:lnTo>
                  <a:lnTo>
                    <a:pt x="669" y="578"/>
                  </a:lnTo>
                  <a:lnTo>
                    <a:pt x="668" y="578"/>
                  </a:lnTo>
                  <a:lnTo>
                    <a:pt x="669" y="578"/>
                  </a:lnTo>
                  <a:lnTo>
                    <a:pt x="670" y="578"/>
                  </a:lnTo>
                  <a:lnTo>
                    <a:pt x="669" y="577"/>
                  </a:lnTo>
                  <a:lnTo>
                    <a:pt x="668" y="577"/>
                  </a:lnTo>
                  <a:lnTo>
                    <a:pt x="666" y="577"/>
                  </a:lnTo>
                  <a:lnTo>
                    <a:pt x="666" y="576"/>
                  </a:lnTo>
                  <a:lnTo>
                    <a:pt x="663" y="575"/>
                  </a:lnTo>
                  <a:lnTo>
                    <a:pt x="662" y="575"/>
                  </a:lnTo>
                  <a:lnTo>
                    <a:pt x="658" y="574"/>
                  </a:lnTo>
                  <a:lnTo>
                    <a:pt x="657" y="574"/>
                  </a:lnTo>
                  <a:lnTo>
                    <a:pt x="656" y="574"/>
                  </a:lnTo>
                  <a:lnTo>
                    <a:pt x="655" y="573"/>
                  </a:lnTo>
                  <a:lnTo>
                    <a:pt x="655" y="571"/>
                  </a:lnTo>
                  <a:lnTo>
                    <a:pt x="654" y="571"/>
                  </a:lnTo>
                  <a:lnTo>
                    <a:pt x="654" y="570"/>
                  </a:lnTo>
                  <a:lnTo>
                    <a:pt x="652" y="570"/>
                  </a:lnTo>
                  <a:lnTo>
                    <a:pt x="652" y="569"/>
                  </a:lnTo>
                  <a:lnTo>
                    <a:pt x="651" y="569"/>
                  </a:lnTo>
                  <a:lnTo>
                    <a:pt x="651" y="568"/>
                  </a:lnTo>
                  <a:lnTo>
                    <a:pt x="652" y="568"/>
                  </a:lnTo>
                  <a:lnTo>
                    <a:pt x="652" y="567"/>
                  </a:lnTo>
                  <a:lnTo>
                    <a:pt x="654" y="567"/>
                  </a:lnTo>
                  <a:lnTo>
                    <a:pt x="655" y="567"/>
                  </a:lnTo>
                  <a:lnTo>
                    <a:pt x="657" y="566"/>
                  </a:lnTo>
                  <a:lnTo>
                    <a:pt x="659" y="564"/>
                  </a:lnTo>
                  <a:lnTo>
                    <a:pt x="659" y="563"/>
                  </a:lnTo>
                  <a:lnTo>
                    <a:pt x="659" y="562"/>
                  </a:lnTo>
                  <a:lnTo>
                    <a:pt x="658" y="562"/>
                  </a:lnTo>
                  <a:lnTo>
                    <a:pt x="657" y="562"/>
                  </a:lnTo>
                  <a:lnTo>
                    <a:pt x="655" y="562"/>
                  </a:lnTo>
                  <a:lnTo>
                    <a:pt x="654" y="562"/>
                  </a:lnTo>
                  <a:lnTo>
                    <a:pt x="652" y="562"/>
                  </a:lnTo>
                  <a:lnTo>
                    <a:pt x="651" y="563"/>
                  </a:lnTo>
                  <a:lnTo>
                    <a:pt x="650" y="563"/>
                  </a:lnTo>
                  <a:lnTo>
                    <a:pt x="649" y="563"/>
                  </a:lnTo>
                  <a:lnTo>
                    <a:pt x="648" y="563"/>
                  </a:lnTo>
                  <a:lnTo>
                    <a:pt x="648" y="562"/>
                  </a:lnTo>
                  <a:lnTo>
                    <a:pt x="647" y="562"/>
                  </a:lnTo>
                  <a:lnTo>
                    <a:pt x="645" y="562"/>
                  </a:lnTo>
                  <a:lnTo>
                    <a:pt x="645" y="561"/>
                  </a:lnTo>
                  <a:lnTo>
                    <a:pt x="644" y="560"/>
                  </a:lnTo>
                  <a:lnTo>
                    <a:pt x="644" y="559"/>
                  </a:lnTo>
                  <a:lnTo>
                    <a:pt x="644" y="557"/>
                  </a:lnTo>
                  <a:lnTo>
                    <a:pt x="644" y="556"/>
                  </a:lnTo>
                  <a:lnTo>
                    <a:pt x="645" y="557"/>
                  </a:lnTo>
                  <a:lnTo>
                    <a:pt x="647" y="557"/>
                  </a:lnTo>
                  <a:lnTo>
                    <a:pt x="647" y="556"/>
                  </a:lnTo>
                  <a:lnTo>
                    <a:pt x="647" y="555"/>
                  </a:lnTo>
                  <a:lnTo>
                    <a:pt x="645" y="555"/>
                  </a:lnTo>
                  <a:lnTo>
                    <a:pt x="645" y="554"/>
                  </a:lnTo>
                  <a:lnTo>
                    <a:pt x="645" y="555"/>
                  </a:lnTo>
                  <a:lnTo>
                    <a:pt x="644" y="555"/>
                  </a:lnTo>
                  <a:lnTo>
                    <a:pt x="644" y="554"/>
                  </a:lnTo>
                  <a:lnTo>
                    <a:pt x="643" y="553"/>
                  </a:lnTo>
                  <a:lnTo>
                    <a:pt x="642" y="553"/>
                  </a:lnTo>
                  <a:lnTo>
                    <a:pt x="643" y="553"/>
                  </a:lnTo>
                  <a:lnTo>
                    <a:pt x="644" y="553"/>
                  </a:lnTo>
                  <a:lnTo>
                    <a:pt x="645" y="553"/>
                  </a:lnTo>
                  <a:lnTo>
                    <a:pt x="647" y="554"/>
                  </a:lnTo>
                  <a:lnTo>
                    <a:pt x="648" y="554"/>
                  </a:lnTo>
                  <a:lnTo>
                    <a:pt x="649" y="554"/>
                  </a:lnTo>
                  <a:lnTo>
                    <a:pt x="649" y="553"/>
                  </a:lnTo>
                  <a:lnTo>
                    <a:pt x="650" y="553"/>
                  </a:lnTo>
                  <a:lnTo>
                    <a:pt x="651" y="553"/>
                  </a:lnTo>
                  <a:lnTo>
                    <a:pt x="651" y="552"/>
                  </a:lnTo>
                  <a:lnTo>
                    <a:pt x="651" y="550"/>
                  </a:lnTo>
                  <a:lnTo>
                    <a:pt x="650" y="550"/>
                  </a:lnTo>
                  <a:lnTo>
                    <a:pt x="650" y="549"/>
                  </a:lnTo>
                  <a:lnTo>
                    <a:pt x="651" y="549"/>
                  </a:lnTo>
                  <a:lnTo>
                    <a:pt x="651" y="548"/>
                  </a:lnTo>
                  <a:lnTo>
                    <a:pt x="652" y="548"/>
                  </a:lnTo>
                  <a:lnTo>
                    <a:pt x="654" y="549"/>
                  </a:lnTo>
                  <a:lnTo>
                    <a:pt x="654" y="550"/>
                  </a:lnTo>
                  <a:lnTo>
                    <a:pt x="655" y="550"/>
                  </a:lnTo>
                  <a:lnTo>
                    <a:pt x="656" y="552"/>
                  </a:lnTo>
                  <a:close/>
                  <a:moveTo>
                    <a:pt x="600" y="548"/>
                  </a:moveTo>
                  <a:lnTo>
                    <a:pt x="601" y="548"/>
                  </a:lnTo>
                  <a:lnTo>
                    <a:pt x="601" y="549"/>
                  </a:lnTo>
                  <a:lnTo>
                    <a:pt x="601" y="550"/>
                  </a:lnTo>
                  <a:lnTo>
                    <a:pt x="601" y="552"/>
                  </a:lnTo>
                  <a:lnTo>
                    <a:pt x="601" y="553"/>
                  </a:lnTo>
                  <a:lnTo>
                    <a:pt x="601" y="552"/>
                  </a:lnTo>
                  <a:lnTo>
                    <a:pt x="600" y="552"/>
                  </a:lnTo>
                  <a:lnTo>
                    <a:pt x="600" y="553"/>
                  </a:lnTo>
                  <a:lnTo>
                    <a:pt x="600" y="552"/>
                  </a:lnTo>
                  <a:lnTo>
                    <a:pt x="600" y="550"/>
                  </a:lnTo>
                  <a:lnTo>
                    <a:pt x="599" y="552"/>
                  </a:lnTo>
                  <a:lnTo>
                    <a:pt x="599" y="550"/>
                  </a:lnTo>
                  <a:lnTo>
                    <a:pt x="600" y="550"/>
                  </a:lnTo>
                  <a:lnTo>
                    <a:pt x="600" y="549"/>
                  </a:lnTo>
                  <a:lnTo>
                    <a:pt x="599" y="550"/>
                  </a:lnTo>
                  <a:lnTo>
                    <a:pt x="599" y="552"/>
                  </a:lnTo>
                  <a:lnTo>
                    <a:pt x="598" y="552"/>
                  </a:lnTo>
                  <a:lnTo>
                    <a:pt x="597" y="552"/>
                  </a:lnTo>
                  <a:lnTo>
                    <a:pt x="597" y="550"/>
                  </a:lnTo>
                  <a:lnTo>
                    <a:pt x="598" y="550"/>
                  </a:lnTo>
                  <a:lnTo>
                    <a:pt x="598" y="549"/>
                  </a:lnTo>
                  <a:lnTo>
                    <a:pt x="599" y="549"/>
                  </a:lnTo>
                  <a:lnTo>
                    <a:pt x="598" y="548"/>
                  </a:lnTo>
                  <a:lnTo>
                    <a:pt x="597" y="548"/>
                  </a:lnTo>
                  <a:lnTo>
                    <a:pt x="598" y="548"/>
                  </a:lnTo>
                  <a:lnTo>
                    <a:pt x="599" y="548"/>
                  </a:lnTo>
                  <a:lnTo>
                    <a:pt x="600" y="548"/>
                  </a:lnTo>
                  <a:lnTo>
                    <a:pt x="600" y="547"/>
                  </a:lnTo>
                  <a:lnTo>
                    <a:pt x="600" y="548"/>
                  </a:lnTo>
                  <a:close/>
                  <a:moveTo>
                    <a:pt x="592" y="548"/>
                  </a:moveTo>
                  <a:lnTo>
                    <a:pt x="591" y="548"/>
                  </a:lnTo>
                  <a:lnTo>
                    <a:pt x="591" y="547"/>
                  </a:lnTo>
                  <a:lnTo>
                    <a:pt x="591" y="546"/>
                  </a:lnTo>
                  <a:lnTo>
                    <a:pt x="591" y="547"/>
                  </a:lnTo>
                  <a:lnTo>
                    <a:pt x="592" y="547"/>
                  </a:lnTo>
                  <a:lnTo>
                    <a:pt x="592" y="548"/>
                  </a:lnTo>
                  <a:close/>
                  <a:moveTo>
                    <a:pt x="586" y="545"/>
                  </a:moveTo>
                  <a:lnTo>
                    <a:pt x="587" y="545"/>
                  </a:lnTo>
                  <a:lnTo>
                    <a:pt x="588" y="545"/>
                  </a:lnTo>
                  <a:lnTo>
                    <a:pt x="590" y="545"/>
                  </a:lnTo>
                  <a:lnTo>
                    <a:pt x="590" y="546"/>
                  </a:lnTo>
                  <a:lnTo>
                    <a:pt x="590" y="547"/>
                  </a:lnTo>
                  <a:lnTo>
                    <a:pt x="588" y="547"/>
                  </a:lnTo>
                  <a:lnTo>
                    <a:pt x="587" y="547"/>
                  </a:lnTo>
                  <a:lnTo>
                    <a:pt x="587" y="546"/>
                  </a:lnTo>
                  <a:lnTo>
                    <a:pt x="586" y="546"/>
                  </a:lnTo>
                  <a:lnTo>
                    <a:pt x="585" y="545"/>
                  </a:lnTo>
                  <a:lnTo>
                    <a:pt x="586" y="545"/>
                  </a:lnTo>
                  <a:close/>
                  <a:moveTo>
                    <a:pt x="595" y="543"/>
                  </a:moveTo>
                  <a:lnTo>
                    <a:pt x="597" y="545"/>
                  </a:lnTo>
                  <a:lnTo>
                    <a:pt x="598" y="545"/>
                  </a:lnTo>
                  <a:lnTo>
                    <a:pt x="599" y="545"/>
                  </a:lnTo>
                  <a:lnTo>
                    <a:pt x="599" y="546"/>
                  </a:lnTo>
                  <a:lnTo>
                    <a:pt x="599" y="547"/>
                  </a:lnTo>
                  <a:lnTo>
                    <a:pt x="600" y="547"/>
                  </a:lnTo>
                  <a:lnTo>
                    <a:pt x="599" y="547"/>
                  </a:lnTo>
                  <a:lnTo>
                    <a:pt x="598" y="547"/>
                  </a:lnTo>
                  <a:lnTo>
                    <a:pt x="599" y="547"/>
                  </a:lnTo>
                  <a:lnTo>
                    <a:pt x="599" y="546"/>
                  </a:lnTo>
                  <a:lnTo>
                    <a:pt x="598" y="546"/>
                  </a:lnTo>
                  <a:lnTo>
                    <a:pt x="597" y="546"/>
                  </a:lnTo>
                  <a:lnTo>
                    <a:pt x="595" y="545"/>
                  </a:lnTo>
                  <a:lnTo>
                    <a:pt x="594" y="545"/>
                  </a:lnTo>
                  <a:lnTo>
                    <a:pt x="594" y="543"/>
                  </a:lnTo>
                  <a:lnTo>
                    <a:pt x="595" y="543"/>
                  </a:lnTo>
                  <a:close/>
                  <a:moveTo>
                    <a:pt x="592" y="543"/>
                  </a:moveTo>
                  <a:lnTo>
                    <a:pt x="594" y="545"/>
                  </a:lnTo>
                  <a:lnTo>
                    <a:pt x="595" y="545"/>
                  </a:lnTo>
                  <a:lnTo>
                    <a:pt x="597" y="546"/>
                  </a:lnTo>
                  <a:lnTo>
                    <a:pt x="598" y="546"/>
                  </a:lnTo>
                  <a:lnTo>
                    <a:pt x="598" y="547"/>
                  </a:lnTo>
                  <a:lnTo>
                    <a:pt x="597" y="547"/>
                  </a:lnTo>
                  <a:lnTo>
                    <a:pt x="598" y="547"/>
                  </a:lnTo>
                  <a:lnTo>
                    <a:pt x="597" y="547"/>
                  </a:lnTo>
                  <a:lnTo>
                    <a:pt x="595" y="547"/>
                  </a:lnTo>
                  <a:lnTo>
                    <a:pt x="594" y="547"/>
                  </a:lnTo>
                  <a:lnTo>
                    <a:pt x="594" y="546"/>
                  </a:lnTo>
                  <a:lnTo>
                    <a:pt x="593" y="545"/>
                  </a:lnTo>
                  <a:lnTo>
                    <a:pt x="594" y="545"/>
                  </a:lnTo>
                  <a:lnTo>
                    <a:pt x="595" y="545"/>
                  </a:lnTo>
                  <a:lnTo>
                    <a:pt x="594" y="545"/>
                  </a:lnTo>
                  <a:lnTo>
                    <a:pt x="593" y="545"/>
                  </a:lnTo>
                  <a:lnTo>
                    <a:pt x="594" y="545"/>
                  </a:lnTo>
                  <a:lnTo>
                    <a:pt x="593" y="543"/>
                  </a:lnTo>
                  <a:lnTo>
                    <a:pt x="592" y="543"/>
                  </a:lnTo>
                  <a:lnTo>
                    <a:pt x="591" y="543"/>
                  </a:lnTo>
                  <a:lnTo>
                    <a:pt x="591" y="542"/>
                  </a:lnTo>
                  <a:lnTo>
                    <a:pt x="592" y="542"/>
                  </a:lnTo>
                  <a:lnTo>
                    <a:pt x="592" y="543"/>
                  </a:lnTo>
                  <a:close/>
                  <a:moveTo>
                    <a:pt x="587" y="543"/>
                  </a:moveTo>
                  <a:lnTo>
                    <a:pt x="587" y="545"/>
                  </a:lnTo>
                  <a:lnTo>
                    <a:pt x="586" y="545"/>
                  </a:lnTo>
                  <a:lnTo>
                    <a:pt x="586" y="543"/>
                  </a:lnTo>
                  <a:lnTo>
                    <a:pt x="587" y="542"/>
                  </a:lnTo>
                  <a:lnTo>
                    <a:pt x="587" y="543"/>
                  </a:lnTo>
                  <a:close/>
                  <a:moveTo>
                    <a:pt x="591" y="542"/>
                  </a:moveTo>
                  <a:lnTo>
                    <a:pt x="590" y="542"/>
                  </a:lnTo>
                  <a:lnTo>
                    <a:pt x="591" y="542"/>
                  </a:lnTo>
                  <a:close/>
                  <a:moveTo>
                    <a:pt x="586" y="542"/>
                  </a:moveTo>
                  <a:lnTo>
                    <a:pt x="586" y="541"/>
                  </a:lnTo>
                  <a:lnTo>
                    <a:pt x="587" y="541"/>
                  </a:lnTo>
                  <a:lnTo>
                    <a:pt x="587" y="540"/>
                  </a:lnTo>
                  <a:lnTo>
                    <a:pt x="588" y="540"/>
                  </a:lnTo>
                  <a:lnTo>
                    <a:pt x="588" y="541"/>
                  </a:lnTo>
                  <a:lnTo>
                    <a:pt x="587" y="542"/>
                  </a:lnTo>
                  <a:lnTo>
                    <a:pt x="586" y="542"/>
                  </a:lnTo>
                  <a:close/>
                  <a:moveTo>
                    <a:pt x="594" y="540"/>
                  </a:moveTo>
                  <a:lnTo>
                    <a:pt x="594" y="541"/>
                  </a:lnTo>
                  <a:lnTo>
                    <a:pt x="595" y="541"/>
                  </a:lnTo>
                  <a:lnTo>
                    <a:pt x="598" y="542"/>
                  </a:lnTo>
                  <a:lnTo>
                    <a:pt x="599" y="543"/>
                  </a:lnTo>
                  <a:lnTo>
                    <a:pt x="599" y="545"/>
                  </a:lnTo>
                  <a:lnTo>
                    <a:pt x="600" y="545"/>
                  </a:lnTo>
                  <a:lnTo>
                    <a:pt x="599" y="545"/>
                  </a:lnTo>
                  <a:lnTo>
                    <a:pt x="598" y="543"/>
                  </a:lnTo>
                  <a:lnTo>
                    <a:pt x="597" y="542"/>
                  </a:lnTo>
                  <a:lnTo>
                    <a:pt x="595" y="542"/>
                  </a:lnTo>
                  <a:lnTo>
                    <a:pt x="594" y="542"/>
                  </a:lnTo>
                  <a:lnTo>
                    <a:pt x="593" y="541"/>
                  </a:lnTo>
                  <a:lnTo>
                    <a:pt x="594" y="541"/>
                  </a:lnTo>
                  <a:lnTo>
                    <a:pt x="593" y="541"/>
                  </a:lnTo>
                  <a:lnTo>
                    <a:pt x="593" y="540"/>
                  </a:lnTo>
                  <a:lnTo>
                    <a:pt x="594" y="540"/>
                  </a:lnTo>
                  <a:close/>
                  <a:moveTo>
                    <a:pt x="585" y="540"/>
                  </a:moveTo>
                  <a:lnTo>
                    <a:pt x="586" y="540"/>
                  </a:lnTo>
                  <a:lnTo>
                    <a:pt x="586" y="539"/>
                  </a:lnTo>
                  <a:lnTo>
                    <a:pt x="586" y="540"/>
                  </a:lnTo>
                  <a:lnTo>
                    <a:pt x="586" y="541"/>
                  </a:lnTo>
                  <a:lnTo>
                    <a:pt x="586" y="542"/>
                  </a:lnTo>
                  <a:lnTo>
                    <a:pt x="585" y="542"/>
                  </a:lnTo>
                  <a:lnTo>
                    <a:pt x="585" y="543"/>
                  </a:lnTo>
                  <a:lnTo>
                    <a:pt x="585" y="542"/>
                  </a:lnTo>
                  <a:lnTo>
                    <a:pt x="585" y="541"/>
                  </a:lnTo>
                  <a:lnTo>
                    <a:pt x="584" y="540"/>
                  </a:lnTo>
                  <a:lnTo>
                    <a:pt x="585" y="539"/>
                  </a:lnTo>
                  <a:lnTo>
                    <a:pt x="585" y="540"/>
                  </a:lnTo>
                  <a:close/>
                  <a:moveTo>
                    <a:pt x="595" y="539"/>
                  </a:moveTo>
                  <a:lnTo>
                    <a:pt x="597" y="539"/>
                  </a:lnTo>
                  <a:lnTo>
                    <a:pt x="598" y="540"/>
                  </a:lnTo>
                  <a:lnTo>
                    <a:pt x="598" y="541"/>
                  </a:lnTo>
                  <a:lnTo>
                    <a:pt x="598" y="540"/>
                  </a:lnTo>
                  <a:lnTo>
                    <a:pt x="598" y="541"/>
                  </a:lnTo>
                  <a:lnTo>
                    <a:pt x="597" y="541"/>
                  </a:lnTo>
                  <a:lnTo>
                    <a:pt x="595" y="540"/>
                  </a:lnTo>
                  <a:lnTo>
                    <a:pt x="594" y="540"/>
                  </a:lnTo>
                  <a:lnTo>
                    <a:pt x="594" y="539"/>
                  </a:lnTo>
                  <a:lnTo>
                    <a:pt x="595" y="539"/>
                  </a:lnTo>
                  <a:close/>
                  <a:moveTo>
                    <a:pt x="581" y="538"/>
                  </a:moveTo>
                  <a:lnTo>
                    <a:pt x="581" y="539"/>
                  </a:lnTo>
                  <a:lnTo>
                    <a:pt x="581" y="540"/>
                  </a:lnTo>
                  <a:lnTo>
                    <a:pt x="580" y="540"/>
                  </a:lnTo>
                  <a:lnTo>
                    <a:pt x="580" y="539"/>
                  </a:lnTo>
                  <a:lnTo>
                    <a:pt x="580" y="538"/>
                  </a:lnTo>
                  <a:lnTo>
                    <a:pt x="581" y="538"/>
                  </a:lnTo>
                  <a:close/>
                  <a:moveTo>
                    <a:pt x="588" y="538"/>
                  </a:moveTo>
                  <a:lnTo>
                    <a:pt x="590" y="538"/>
                  </a:lnTo>
                  <a:lnTo>
                    <a:pt x="590" y="539"/>
                  </a:lnTo>
                  <a:lnTo>
                    <a:pt x="591" y="539"/>
                  </a:lnTo>
                  <a:lnTo>
                    <a:pt x="592" y="539"/>
                  </a:lnTo>
                  <a:lnTo>
                    <a:pt x="592" y="540"/>
                  </a:lnTo>
                  <a:lnTo>
                    <a:pt x="591" y="540"/>
                  </a:lnTo>
                  <a:lnTo>
                    <a:pt x="592" y="540"/>
                  </a:lnTo>
                  <a:lnTo>
                    <a:pt x="593" y="540"/>
                  </a:lnTo>
                  <a:lnTo>
                    <a:pt x="592" y="540"/>
                  </a:lnTo>
                  <a:lnTo>
                    <a:pt x="592" y="541"/>
                  </a:lnTo>
                  <a:lnTo>
                    <a:pt x="591" y="540"/>
                  </a:lnTo>
                  <a:lnTo>
                    <a:pt x="590" y="540"/>
                  </a:lnTo>
                  <a:lnTo>
                    <a:pt x="588" y="539"/>
                  </a:lnTo>
                  <a:lnTo>
                    <a:pt x="587" y="538"/>
                  </a:lnTo>
                  <a:lnTo>
                    <a:pt x="586" y="538"/>
                  </a:lnTo>
                  <a:lnTo>
                    <a:pt x="586" y="536"/>
                  </a:lnTo>
                  <a:lnTo>
                    <a:pt x="587" y="538"/>
                  </a:lnTo>
                  <a:lnTo>
                    <a:pt x="588" y="538"/>
                  </a:lnTo>
                  <a:close/>
                  <a:moveTo>
                    <a:pt x="594" y="536"/>
                  </a:moveTo>
                  <a:lnTo>
                    <a:pt x="594" y="538"/>
                  </a:lnTo>
                  <a:lnTo>
                    <a:pt x="595" y="538"/>
                  </a:lnTo>
                  <a:lnTo>
                    <a:pt x="595" y="539"/>
                  </a:lnTo>
                  <a:lnTo>
                    <a:pt x="595" y="538"/>
                  </a:lnTo>
                  <a:lnTo>
                    <a:pt x="595" y="539"/>
                  </a:lnTo>
                  <a:lnTo>
                    <a:pt x="594" y="538"/>
                  </a:lnTo>
                  <a:lnTo>
                    <a:pt x="593" y="536"/>
                  </a:lnTo>
                  <a:lnTo>
                    <a:pt x="594" y="536"/>
                  </a:lnTo>
                  <a:close/>
                  <a:moveTo>
                    <a:pt x="581" y="536"/>
                  </a:moveTo>
                  <a:lnTo>
                    <a:pt x="583" y="536"/>
                  </a:lnTo>
                  <a:lnTo>
                    <a:pt x="583" y="535"/>
                  </a:lnTo>
                  <a:lnTo>
                    <a:pt x="583" y="536"/>
                  </a:lnTo>
                  <a:lnTo>
                    <a:pt x="584" y="538"/>
                  </a:lnTo>
                  <a:lnTo>
                    <a:pt x="584" y="539"/>
                  </a:lnTo>
                  <a:lnTo>
                    <a:pt x="584" y="540"/>
                  </a:lnTo>
                  <a:lnTo>
                    <a:pt x="584" y="541"/>
                  </a:lnTo>
                  <a:lnTo>
                    <a:pt x="584" y="542"/>
                  </a:lnTo>
                  <a:lnTo>
                    <a:pt x="584" y="543"/>
                  </a:lnTo>
                  <a:lnTo>
                    <a:pt x="584" y="542"/>
                  </a:lnTo>
                  <a:lnTo>
                    <a:pt x="583" y="543"/>
                  </a:lnTo>
                  <a:lnTo>
                    <a:pt x="583" y="542"/>
                  </a:lnTo>
                  <a:lnTo>
                    <a:pt x="583" y="541"/>
                  </a:lnTo>
                  <a:lnTo>
                    <a:pt x="581" y="541"/>
                  </a:lnTo>
                  <a:lnTo>
                    <a:pt x="583" y="541"/>
                  </a:lnTo>
                  <a:lnTo>
                    <a:pt x="583" y="540"/>
                  </a:lnTo>
                  <a:lnTo>
                    <a:pt x="581" y="540"/>
                  </a:lnTo>
                  <a:lnTo>
                    <a:pt x="581" y="539"/>
                  </a:lnTo>
                  <a:lnTo>
                    <a:pt x="583" y="539"/>
                  </a:lnTo>
                  <a:lnTo>
                    <a:pt x="583" y="540"/>
                  </a:lnTo>
                  <a:lnTo>
                    <a:pt x="584" y="540"/>
                  </a:lnTo>
                  <a:lnTo>
                    <a:pt x="584" y="539"/>
                  </a:lnTo>
                  <a:lnTo>
                    <a:pt x="583" y="539"/>
                  </a:lnTo>
                  <a:lnTo>
                    <a:pt x="583" y="538"/>
                  </a:lnTo>
                  <a:lnTo>
                    <a:pt x="583" y="536"/>
                  </a:lnTo>
                  <a:lnTo>
                    <a:pt x="581" y="536"/>
                  </a:lnTo>
                  <a:lnTo>
                    <a:pt x="581" y="535"/>
                  </a:lnTo>
                  <a:lnTo>
                    <a:pt x="581" y="536"/>
                  </a:lnTo>
                  <a:close/>
                  <a:moveTo>
                    <a:pt x="592" y="535"/>
                  </a:moveTo>
                  <a:lnTo>
                    <a:pt x="592" y="536"/>
                  </a:lnTo>
                  <a:lnTo>
                    <a:pt x="593" y="538"/>
                  </a:lnTo>
                  <a:lnTo>
                    <a:pt x="594" y="538"/>
                  </a:lnTo>
                  <a:lnTo>
                    <a:pt x="593" y="539"/>
                  </a:lnTo>
                  <a:lnTo>
                    <a:pt x="590" y="536"/>
                  </a:lnTo>
                  <a:lnTo>
                    <a:pt x="591" y="536"/>
                  </a:lnTo>
                  <a:lnTo>
                    <a:pt x="591" y="535"/>
                  </a:lnTo>
                  <a:lnTo>
                    <a:pt x="590" y="535"/>
                  </a:lnTo>
                  <a:lnTo>
                    <a:pt x="591" y="535"/>
                  </a:lnTo>
                  <a:lnTo>
                    <a:pt x="591" y="534"/>
                  </a:lnTo>
                  <a:lnTo>
                    <a:pt x="591" y="535"/>
                  </a:lnTo>
                  <a:lnTo>
                    <a:pt x="592" y="535"/>
                  </a:lnTo>
                  <a:close/>
                  <a:moveTo>
                    <a:pt x="587" y="533"/>
                  </a:moveTo>
                  <a:lnTo>
                    <a:pt x="586" y="533"/>
                  </a:lnTo>
                  <a:lnTo>
                    <a:pt x="586" y="532"/>
                  </a:lnTo>
                  <a:lnTo>
                    <a:pt x="585" y="532"/>
                  </a:lnTo>
                  <a:lnTo>
                    <a:pt x="586" y="532"/>
                  </a:lnTo>
                  <a:lnTo>
                    <a:pt x="587" y="532"/>
                  </a:lnTo>
                  <a:lnTo>
                    <a:pt x="587" y="533"/>
                  </a:lnTo>
                  <a:close/>
                  <a:moveTo>
                    <a:pt x="587" y="531"/>
                  </a:moveTo>
                  <a:lnTo>
                    <a:pt x="588" y="531"/>
                  </a:lnTo>
                  <a:lnTo>
                    <a:pt x="588" y="532"/>
                  </a:lnTo>
                  <a:lnTo>
                    <a:pt x="590" y="532"/>
                  </a:lnTo>
                  <a:lnTo>
                    <a:pt x="590" y="533"/>
                  </a:lnTo>
                  <a:lnTo>
                    <a:pt x="588" y="533"/>
                  </a:lnTo>
                  <a:lnTo>
                    <a:pt x="587" y="533"/>
                  </a:lnTo>
                  <a:lnTo>
                    <a:pt x="587" y="532"/>
                  </a:lnTo>
                  <a:lnTo>
                    <a:pt x="587" y="531"/>
                  </a:lnTo>
                  <a:close/>
                  <a:moveTo>
                    <a:pt x="577" y="532"/>
                  </a:moveTo>
                  <a:lnTo>
                    <a:pt x="577" y="531"/>
                  </a:lnTo>
                  <a:lnTo>
                    <a:pt x="578" y="532"/>
                  </a:lnTo>
                  <a:lnTo>
                    <a:pt x="578" y="533"/>
                  </a:lnTo>
                  <a:lnTo>
                    <a:pt x="578" y="532"/>
                  </a:lnTo>
                  <a:lnTo>
                    <a:pt x="578" y="533"/>
                  </a:lnTo>
                  <a:lnTo>
                    <a:pt x="577" y="533"/>
                  </a:lnTo>
                  <a:lnTo>
                    <a:pt x="578" y="534"/>
                  </a:lnTo>
                  <a:lnTo>
                    <a:pt x="578" y="535"/>
                  </a:lnTo>
                  <a:lnTo>
                    <a:pt x="577" y="534"/>
                  </a:lnTo>
                  <a:lnTo>
                    <a:pt x="577" y="535"/>
                  </a:lnTo>
                  <a:lnTo>
                    <a:pt x="578" y="535"/>
                  </a:lnTo>
                  <a:lnTo>
                    <a:pt x="577" y="535"/>
                  </a:lnTo>
                  <a:lnTo>
                    <a:pt x="576" y="535"/>
                  </a:lnTo>
                  <a:lnTo>
                    <a:pt x="576" y="534"/>
                  </a:lnTo>
                  <a:lnTo>
                    <a:pt x="577" y="534"/>
                  </a:lnTo>
                  <a:lnTo>
                    <a:pt x="577" y="533"/>
                  </a:lnTo>
                  <a:lnTo>
                    <a:pt x="576" y="533"/>
                  </a:lnTo>
                  <a:lnTo>
                    <a:pt x="576" y="532"/>
                  </a:lnTo>
                  <a:lnTo>
                    <a:pt x="576" y="531"/>
                  </a:lnTo>
                  <a:lnTo>
                    <a:pt x="577" y="531"/>
                  </a:lnTo>
                  <a:lnTo>
                    <a:pt x="577" y="532"/>
                  </a:lnTo>
                  <a:close/>
                  <a:moveTo>
                    <a:pt x="593" y="531"/>
                  </a:moveTo>
                  <a:lnTo>
                    <a:pt x="593" y="532"/>
                  </a:lnTo>
                  <a:lnTo>
                    <a:pt x="592" y="532"/>
                  </a:lnTo>
                  <a:lnTo>
                    <a:pt x="591" y="531"/>
                  </a:lnTo>
                  <a:lnTo>
                    <a:pt x="592" y="531"/>
                  </a:lnTo>
                  <a:lnTo>
                    <a:pt x="591" y="531"/>
                  </a:lnTo>
                  <a:lnTo>
                    <a:pt x="592" y="529"/>
                  </a:lnTo>
                  <a:lnTo>
                    <a:pt x="592" y="531"/>
                  </a:lnTo>
                  <a:lnTo>
                    <a:pt x="593" y="531"/>
                  </a:lnTo>
                  <a:close/>
                  <a:moveTo>
                    <a:pt x="581" y="529"/>
                  </a:moveTo>
                  <a:lnTo>
                    <a:pt x="583" y="529"/>
                  </a:lnTo>
                  <a:lnTo>
                    <a:pt x="583" y="531"/>
                  </a:lnTo>
                  <a:lnTo>
                    <a:pt x="584" y="532"/>
                  </a:lnTo>
                  <a:lnTo>
                    <a:pt x="583" y="533"/>
                  </a:lnTo>
                  <a:lnTo>
                    <a:pt x="583" y="532"/>
                  </a:lnTo>
                  <a:lnTo>
                    <a:pt x="581" y="531"/>
                  </a:lnTo>
                  <a:lnTo>
                    <a:pt x="581" y="532"/>
                  </a:lnTo>
                  <a:lnTo>
                    <a:pt x="581" y="533"/>
                  </a:lnTo>
                  <a:lnTo>
                    <a:pt x="580" y="533"/>
                  </a:lnTo>
                  <a:lnTo>
                    <a:pt x="579" y="533"/>
                  </a:lnTo>
                  <a:lnTo>
                    <a:pt x="580" y="532"/>
                  </a:lnTo>
                  <a:lnTo>
                    <a:pt x="580" y="531"/>
                  </a:lnTo>
                  <a:lnTo>
                    <a:pt x="579" y="532"/>
                  </a:lnTo>
                  <a:lnTo>
                    <a:pt x="578" y="532"/>
                  </a:lnTo>
                  <a:lnTo>
                    <a:pt x="579" y="531"/>
                  </a:lnTo>
                  <a:lnTo>
                    <a:pt x="579" y="529"/>
                  </a:lnTo>
                  <a:lnTo>
                    <a:pt x="580" y="529"/>
                  </a:lnTo>
                  <a:lnTo>
                    <a:pt x="581" y="529"/>
                  </a:lnTo>
                  <a:close/>
                  <a:moveTo>
                    <a:pt x="578" y="528"/>
                  </a:moveTo>
                  <a:lnTo>
                    <a:pt x="577" y="529"/>
                  </a:lnTo>
                  <a:lnTo>
                    <a:pt x="577" y="528"/>
                  </a:lnTo>
                  <a:lnTo>
                    <a:pt x="578" y="528"/>
                  </a:lnTo>
                  <a:close/>
                  <a:moveTo>
                    <a:pt x="583" y="527"/>
                  </a:moveTo>
                  <a:lnTo>
                    <a:pt x="583" y="528"/>
                  </a:lnTo>
                  <a:lnTo>
                    <a:pt x="584" y="528"/>
                  </a:lnTo>
                  <a:lnTo>
                    <a:pt x="584" y="529"/>
                  </a:lnTo>
                  <a:lnTo>
                    <a:pt x="583" y="528"/>
                  </a:lnTo>
                  <a:lnTo>
                    <a:pt x="581" y="528"/>
                  </a:lnTo>
                  <a:lnTo>
                    <a:pt x="581" y="527"/>
                  </a:lnTo>
                  <a:lnTo>
                    <a:pt x="583" y="526"/>
                  </a:lnTo>
                  <a:lnTo>
                    <a:pt x="583" y="527"/>
                  </a:lnTo>
                  <a:close/>
                  <a:moveTo>
                    <a:pt x="586" y="529"/>
                  </a:moveTo>
                  <a:lnTo>
                    <a:pt x="585" y="528"/>
                  </a:lnTo>
                  <a:lnTo>
                    <a:pt x="584" y="527"/>
                  </a:lnTo>
                  <a:lnTo>
                    <a:pt x="584" y="526"/>
                  </a:lnTo>
                  <a:lnTo>
                    <a:pt x="584" y="525"/>
                  </a:lnTo>
                  <a:lnTo>
                    <a:pt x="584" y="526"/>
                  </a:lnTo>
                  <a:lnTo>
                    <a:pt x="585" y="526"/>
                  </a:lnTo>
                  <a:lnTo>
                    <a:pt x="585" y="527"/>
                  </a:lnTo>
                  <a:lnTo>
                    <a:pt x="586" y="528"/>
                  </a:lnTo>
                  <a:lnTo>
                    <a:pt x="587" y="529"/>
                  </a:lnTo>
                  <a:lnTo>
                    <a:pt x="586" y="529"/>
                  </a:lnTo>
                  <a:close/>
                  <a:moveTo>
                    <a:pt x="581" y="524"/>
                  </a:moveTo>
                  <a:lnTo>
                    <a:pt x="583" y="524"/>
                  </a:lnTo>
                  <a:lnTo>
                    <a:pt x="583" y="525"/>
                  </a:lnTo>
                  <a:lnTo>
                    <a:pt x="583" y="526"/>
                  </a:lnTo>
                  <a:lnTo>
                    <a:pt x="584" y="526"/>
                  </a:lnTo>
                  <a:lnTo>
                    <a:pt x="584" y="527"/>
                  </a:lnTo>
                  <a:lnTo>
                    <a:pt x="583" y="527"/>
                  </a:lnTo>
                  <a:lnTo>
                    <a:pt x="584" y="527"/>
                  </a:lnTo>
                  <a:lnTo>
                    <a:pt x="583" y="527"/>
                  </a:lnTo>
                  <a:lnTo>
                    <a:pt x="583" y="526"/>
                  </a:lnTo>
                  <a:lnTo>
                    <a:pt x="581" y="526"/>
                  </a:lnTo>
                  <a:lnTo>
                    <a:pt x="581" y="527"/>
                  </a:lnTo>
                  <a:lnTo>
                    <a:pt x="580" y="527"/>
                  </a:lnTo>
                  <a:lnTo>
                    <a:pt x="581" y="527"/>
                  </a:lnTo>
                  <a:lnTo>
                    <a:pt x="580" y="528"/>
                  </a:lnTo>
                  <a:lnTo>
                    <a:pt x="579" y="528"/>
                  </a:lnTo>
                  <a:lnTo>
                    <a:pt x="579" y="527"/>
                  </a:lnTo>
                  <a:lnTo>
                    <a:pt x="580" y="527"/>
                  </a:lnTo>
                  <a:lnTo>
                    <a:pt x="580" y="526"/>
                  </a:lnTo>
                  <a:lnTo>
                    <a:pt x="579" y="526"/>
                  </a:lnTo>
                  <a:lnTo>
                    <a:pt x="579" y="527"/>
                  </a:lnTo>
                  <a:lnTo>
                    <a:pt x="578" y="527"/>
                  </a:lnTo>
                  <a:lnTo>
                    <a:pt x="578" y="526"/>
                  </a:lnTo>
                  <a:lnTo>
                    <a:pt x="577" y="526"/>
                  </a:lnTo>
                  <a:lnTo>
                    <a:pt x="576" y="526"/>
                  </a:lnTo>
                  <a:lnTo>
                    <a:pt x="576" y="525"/>
                  </a:lnTo>
                  <a:lnTo>
                    <a:pt x="577" y="525"/>
                  </a:lnTo>
                  <a:lnTo>
                    <a:pt x="576" y="525"/>
                  </a:lnTo>
                  <a:lnTo>
                    <a:pt x="577" y="525"/>
                  </a:lnTo>
                  <a:lnTo>
                    <a:pt x="579" y="525"/>
                  </a:lnTo>
                  <a:lnTo>
                    <a:pt x="580" y="525"/>
                  </a:lnTo>
                  <a:lnTo>
                    <a:pt x="579" y="525"/>
                  </a:lnTo>
                  <a:lnTo>
                    <a:pt x="579" y="524"/>
                  </a:lnTo>
                  <a:lnTo>
                    <a:pt x="580" y="524"/>
                  </a:lnTo>
                  <a:lnTo>
                    <a:pt x="579" y="524"/>
                  </a:lnTo>
                  <a:lnTo>
                    <a:pt x="579" y="522"/>
                  </a:lnTo>
                  <a:lnTo>
                    <a:pt x="578" y="522"/>
                  </a:lnTo>
                  <a:lnTo>
                    <a:pt x="579" y="522"/>
                  </a:lnTo>
                  <a:lnTo>
                    <a:pt x="580" y="522"/>
                  </a:lnTo>
                  <a:lnTo>
                    <a:pt x="581" y="524"/>
                  </a:lnTo>
                  <a:close/>
                  <a:moveTo>
                    <a:pt x="577" y="521"/>
                  </a:moveTo>
                  <a:lnTo>
                    <a:pt x="577" y="522"/>
                  </a:lnTo>
                  <a:lnTo>
                    <a:pt x="578" y="522"/>
                  </a:lnTo>
                  <a:lnTo>
                    <a:pt x="578" y="524"/>
                  </a:lnTo>
                  <a:lnTo>
                    <a:pt x="577" y="524"/>
                  </a:lnTo>
                  <a:lnTo>
                    <a:pt x="578" y="524"/>
                  </a:lnTo>
                  <a:lnTo>
                    <a:pt x="579" y="524"/>
                  </a:lnTo>
                  <a:lnTo>
                    <a:pt x="579" y="525"/>
                  </a:lnTo>
                  <a:lnTo>
                    <a:pt x="578" y="525"/>
                  </a:lnTo>
                  <a:lnTo>
                    <a:pt x="577" y="525"/>
                  </a:lnTo>
                  <a:lnTo>
                    <a:pt x="577" y="524"/>
                  </a:lnTo>
                  <a:lnTo>
                    <a:pt x="576" y="524"/>
                  </a:lnTo>
                  <a:lnTo>
                    <a:pt x="577" y="524"/>
                  </a:lnTo>
                  <a:lnTo>
                    <a:pt x="576" y="524"/>
                  </a:lnTo>
                  <a:lnTo>
                    <a:pt x="576" y="522"/>
                  </a:lnTo>
                  <a:lnTo>
                    <a:pt x="574" y="522"/>
                  </a:lnTo>
                  <a:lnTo>
                    <a:pt x="576" y="522"/>
                  </a:lnTo>
                  <a:lnTo>
                    <a:pt x="576" y="521"/>
                  </a:lnTo>
                  <a:lnTo>
                    <a:pt x="574" y="521"/>
                  </a:lnTo>
                  <a:lnTo>
                    <a:pt x="576" y="521"/>
                  </a:lnTo>
                  <a:lnTo>
                    <a:pt x="577" y="521"/>
                  </a:lnTo>
                  <a:close/>
                  <a:moveTo>
                    <a:pt x="573" y="521"/>
                  </a:moveTo>
                  <a:lnTo>
                    <a:pt x="574" y="521"/>
                  </a:lnTo>
                  <a:lnTo>
                    <a:pt x="574" y="522"/>
                  </a:lnTo>
                  <a:lnTo>
                    <a:pt x="574" y="524"/>
                  </a:lnTo>
                  <a:lnTo>
                    <a:pt x="573" y="522"/>
                  </a:lnTo>
                  <a:lnTo>
                    <a:pt x="572" y="522"/>
                  </a:lnTo>
                  <a:lnTo>
                    <a:pt x="573" y="521"/>
                  </a:lnTo>
                  <a:lnTo>
                    <a:pt x="573" y="522"/>
                  </a:lnTo>
                  <a:lnTo>
                    <a:pt x="573" y="521"/>
                  </a:lnTo>
                  <a:lnTo>
                    <a:pt x="572" y="521"/>
                  </a:lnTo>
                  <a:lnTo>
                    <a:pt x="573" y="521"/>
                  </a:lnTo>
                  <a:close/>
                  <a:moveTo>
                    <a:pt x="578" y="520"/>
                  </a:moveTo>
                  <a:lnTo>
                    <a:pt x="577" y="520"/>
                  </a:lnTo>
                  <a:lnTo>
                    <a:pt x="577" y="519"/>
                  </a:lnTo>
                  <a:lnTo>
                    <a:pt x="578" y="519"/>
                  </a:lnTo>
                  <a:lnTo>
                    <a:pt x="578" y="520"/>
                  </a:lnTo>
                  <a:close/>
                  <a:moveTo>
                    <a:pt x="569" y="519"/>
                  </a:moveTo>
                  <a:lnTo>
                    <a:pt x="569" y="518"/>
                  </a:lnTo>
                  <a:lnTo>
                    <a:pt x="569" y="519"/>
                  </a:lnTo>
                  <a:lnTo>
                    <a:pt x="570" y="519"/>
                  </a:lnTo>
                  <a:lnTo>
                    <a:pt x="571" y="519"/>
                  </a:lnTo>
                  <a:lnTo>
                    <a:pt x="571" y="520"/>
                  </a:lnTo>
                  <a:lnTo>
                    <a:pt x="571" y="519"/>
                  </a:lnTo>
                  <a:lnTo>
                    <a:pt x="571" y="520"/>
                  </a:lnTo>
                  <a:lnTo>
                    <a:pt x="570" y="520"/>
                  </a:lnTo>
                  <a:lnTo>
                    <a:pt x="570" y="519"/>
                  </a:lnTo>
                  <a:lnTo>
                    <a:pt x="569" y="519"/>
                  </a:lnTo>
                  <a:lnTo>
                    <a:pt x="570" y="520"/>
                  </a:lnTo>
                  <a:lnTo>
                    <a:pt x="570" y="521"/>
                  </a:lnTo>
                  <a:lnTo>
                    <a:pt x="570" y="520"/>
                  </a:lnTo>
                  <a:lnTo>
                    <a:pt x="570" y="521"/>
                  </a:lnTo>
                  <a:lnTo>
                    <a:pt x="571" y="521"/>
                  </a:lnTo>
                  <a:lnTo>
                    <a:pt x="571" y="522"/>
                  </a:lnTo>
                  <a:lnTo>
                    <a:pt x="570" y="521"/>
                  </a:lnTo>
                  <a:lnTo>
                    <a:pt x="571" y="522"/>
                  </a:lnTo>
                  <a:lnTo>
                    <a:pt x="570" y="522"/>
                  </a:lnTo>
                  <a:lnTo>
                    <a:pt x="569" y="522"/>
                  </a:lnTo>
                  <a:lnTo>
                    <a:pt x="569" y="521"/>
                  </a:lnTo>
                  <a:lnTo>
                    <a:pt x="567" y="521"/>
                  </a:lnTo>
                  <a:lnTo>
                    <a:pt x="567" y="520"/>
                  </a:lnTo>
                  <a:lnTo>
                    <a:pt x="569" y="520"/>
                  </a:lnTo>
                  <a:lnTo>
                    <a:pt x="569" y="519"/>
                  </a:lnTo>
                  <a:lnTo>
                    <a:pt x="567" y="519"/>
                  </a:lnTo>
                  <a:lnTo>
                    <a:pt x="567" y="518"/>
                  </a:lnTo>
                  <a:lnTo>
                    <a:pt x="569" y="519"/>
                  </a:lnTo>
                  <a:close/>
                  <a:moveTo>
                    <a:pt x="579" y="518"/>
                  </a:moveTo>
                  <a:lnTo>
                    <a:pt x="580" y="518"/>
                  </a:lnTo>
                  <a:lnTo>
                    <a:pt x="580" y="519"/>
                  </a:lnTo>
                  <a:lnTo>
                    <a:pt x="581" y="520"/>
                  </a:lnTo>
                  <a:lnTo>
                    <a:pt x="583" y="520"/>
                  </a:lnTo>
                  <a:lnTo>
                    <a:pt x="583" y="521"/>
                  </a:lnTo>
                  <a:lnTo>
                    <a:pt x="581" y="521"/>
                  </a:lnTo>
                  <a:lnTo>
                    <a:pt x="580" y="521"/>
                  </a:lnTo>
                  <a:lnTo>
                    <a:pt x="581" y="521"/>
                  </a:lnTo>
                  <a:lnTo>
                    <a:pt x="583" y="521"/>
                  </a:lnTo>
                  <a:lnTo>
                    <a:pt x="583" y="522"/>
                  </a:lnTo>
                  <a:lnTo>
                    <a:pt x="583" y="521"/>
                  </a:lnTo>
                  <a:lnTo>
                    <a:pt x="584" y="522"/>
                  </a:lnTo>
                  <a:lnTo>
                    <a:pt x="585" y="524"/>
                  </a:lnTo>
                  <a:lnTo>
                    <a:pt x="584" y="524"/>
                  </a:lnTo>
                  <a:lnTo>
                    <a:pt x="584" y="522"/>
                  </a:lnTo>
                  <a:lnTo>
                    <a:pt x="583" y="524"/>
                  </a:lnTo>
                  <a:lnTo>
                    <a:pt x="581" y="524"/>
                  </a:lnTo>
                  <a:lnTo>
                    <a:pt x="581" y="522"/>
                  </a:lnTo>
                  <a:lnTo>
                    <a:pt x="580" y="522"/>
                  </a:lnTo>
                  <a:lnTo>
                    <a:pt x="580" y="521"/>
                  </a:lnTo>
                  <a:lnTo>
                    <a:pt x="579" y="521"/>
                  </a:lnTo>
                  <a:lnTo>
                    <a:pt x="579" y="520"/>
                  </a:lnTo>
                  <a:lnTo>
                    <a:pt x="579" y="519"/>
                  </a:lnTo>
                  <a:lnTo>
                    <a:pt x="580" y="519"/>
                  </a:lnTo>
                  <a:lnTo>
                    <a:pt x="579" y="519"/>
                  </a:lnTo>
                  <a:lnTo>
                    <a:pt x="578" y="519"/>
                  </a:lnTo>
                  <a:lnTo>
                    <a:pt x="577" y="518"/>
                  </a:lnTo>
                  <a:lnTo>
                    <a:pt x="578" y="518"/>
                  </a:lnTo>
                  <a:lnTo>
                    <a:pt x="579" y="518"/>
                  </a:lnTo>
                  <a:close/>
                  <a:moveTo>
                    <a:pt x="577" y="517"/>
                  </a:moveTo>
                  <a:lnTo>
                    <a:pt x="578" y="517"/>
                  </a:lnTo>
                  <a:lnTo>
                    <a:pt x="577" y="517"/>
                  </a:lnTo>
                  <a:lnTo>
                    <a:pt x="577" y="518"/>
                  </a:lnTo>
                  <a:lnTo>
                    <a:pt x="576" y="518"/>
                  </a:lnTo>
                  <a:lnTo>
                    <a:pt x="576" y="519"/>
                  </a:lnTo>
                  <a:lnTo>
                    <a:pt x="576" y="518"/>
                  </a:lnTo>
                  <a:lnTo>
                    <a:pt x="576" y="517"/>
                  </a:lnTo>
                  <a:lnTo>
                    <a:pt x="574" y="517"/>
                  </a:lnTo>
                  <a:lnTo>
                    <a:pt x="576" y="517"/>
                  </a:lnTo>
                  <a:lnTo>
                    <a:pt x="577" y="517"/>
                  </a:lnTo>
                  <a:close/>
                  <a:moveTo>
                    <a:pt x="572" y="518"/>
                  </a:moveTo>
                  <a:lnTo>
                    <a:pt x="571" y="518"/>
                  </a:lnTo>
                  <a:lnTo>
                    <a:pt x="570" y="518"/>
                  </a:lnTo>
                  <a:lnTo>
                    <a:pt x="571" y="517"/>
                  </a:lnTo>
                  <a:lnTo>
                    <a:pt x="572" y="515"/>
                  </a:lnTo>
                  <a:lnTo>
                    <a:pt x="572" y="517"/>
                  </a:lnTo>
                  <a:lnTo>
                    <a:pt x="572" y="518"/>
                  </a:lnTo>
                  <a:close/>
                  <a:moveTo>
                    <a:pt x="566" y="512"/>
                  </a:moveTo>
                  <a:lnTo>
                    <a:pt x="567" y="512"/>
                  </a:lnTo>
                  <a:lnTo>
                    <a:pt x="567" y="511"/>
                  </a:lnTo>
                  <a:lnTo>
                    <a:pt x="567" y="512"/>
                  </a:lnTo>
                  <a:lnTo>
                    <a:pt x="569" y="512"/>
                  </a:lnTo>
                  <a:lnTo>
                    <a:pt x="570" y="513"/>
                  </a:lnTo>
                  <a:lnTo>
                    <a:pt x="570" y="512"/>
                  </a:lnTo>
                  <a:lnTo>
                    <a:pt x="571" y="512"/>
                  </a:lnTo>
                  <a:lnTo>
                    <a:pt x="571" y="513"/>
                  </a:lnTo>
                  <a:lnTo>
                    <a:pt x="570" y="513"/>
                  </a:lnTo>
                  <a:lnTo>
                    <a:pt x="570" y="514"/>
                  </a:lnTo>
                  <a:lnTo>
                    <a:pt x="571" y="513"/>
                  </a:lnTo>
                  <a:lnTo>
                    <a:pt x="572" y="513"/>
                  </a:lnTo>
                  <a:lnTo>
                    <a:pt x="573" y="513"/>
                  </a:lnTo>
                  <a:lnTo>
                    <a:pt x="573" y="514"/>
                  </a:lnTo>
                  <a:lnTo>
                    <a:pt x="571" y="514"/>
                  </a:lnTo>
                  <a:lnTo>
                    <a:pt x="572" y="514"/>
                  </a:lnTo>
                  <a:lnTo>
                    <a:pt x="571" y="515"/>
                  </a:lnTo>
                  <a:lnTo>
                    <a:pt x="570" y="515"/>
                  </a:lnTo>
                  <a:lnTo>
                    <a:pt x="570" y="517"/>
                  </a:lnTo>
                  <a:lnTo>
                    <a:pt x="570" y="518"/>
                  </a:lnTo>
                  <a:lnTo>
                    <a:pt x="569" y="518"/>
                  </a:lnTo>
                  <a:lnTo>
                    <a:pt x="569" y="517"/>
                  </a:lnTo>
                  <a:lnTo>
                    <a:pt x="569" y="515"/>
                  </a:lnTo>
                  <a:lnTo>
                    <a:pt x="567" y="517"/>
                  </a:lnTo>
                  <a:lnTo>
                    <a:pt x="567" y="515"/>
                  </a:lnTo>
                  <a:lnTo>
                    <a:pt x="567" y="517"/>
                  </a:lnTo>
                  <a:lnTo>
                    <a:pt x="567" y="515"/>
                  </a:lnTo>
                  <a:lnTo>
                    <a:pt x="566" y="517"/>
                  </a:lnTo>
                  <a:lnTo>
                    <a:pt x="566" y="515"/>
                  </a:lnTo>
                  <a:lnTo>
                    <a:pt x="566" y="514"/>
                  </a:lnTo>
                  <a:lnTo>
                    <a:pt x="565" y="513"/>
                  </a:lnTo>
                  <a:lnTo>
                    <a:pt x="566" y="513"/>
                  </a:lnTo>
                  <a:lnTo>
                    <a:pt x="567" y="513"/>
                  </a:lnTo>
                  <a:lnTo>
                    <a:pt x="567" y="514"/>
                  </a:lnTo>
                  <a:lnTo>
                    <a:pt x="566" y="514"/>
                  </a:lnTo>
                  <a:lnTo>
                    <a:pt x="567" y="514"/>
                  </a:lnTo>
                  <a:lnTo>
                    <a:pt x="569" y="514"/>
                  </a:lnTo>
                  <a:lnTo>
                    <a:pt x="569" y="513"/>
                  </a:lnTo>
                  <a:lnTo>
                    <a:pt x="567" y="513"/>
                  </a:lnTo>
                  <a:lnTo>
                    <a:pt x="566" y="513"/>
                  </a:lnTo>
                  <a:lnTo>
                    <a:pt x="566" y="512"/>
                  </a:lnTo>
                  <a:lnTo>
                    <a:pt x="565" y="512"/>
                  </a:lnTo>
                  <a:lnTo>
                    <a:pt x="565" y="511"/>
                  </a:lnTo>
                  <a:lnTo>
                    <a:pt x="566" y="511"/>
                  </a:lnTo>
                  <a:lnTo>
                    <a:pt x="566" y="512"/>
                  </a:lnTo>
                  <a:close/>
                  <a:moveTo>
                    <a:pt x="560" y="504"/>
                  </a:moveTo>
                  <a:lnTo>
                    <a:pt x="560" y="505"/>
                  </a:lnTo>
                  <a:lnTo>
                    <a:pt x="562" y="504"/>
                  </a:lnTo>
                  <a:lnTo>
                    <a:pt x="562" y="505"/>
                  </a:lnTo>
                  <a:lnTo>
                    <a:pt x="563" y="505"/>
                  </a:lnTo>
                  <a:lnTo>
                    <a:pt x="563" y="506"/>
                  </a:lnTo>
                  <a:lnTo>
                    <a:pt x="564" y="506"/>
                  </a:lnTo>
                  <a:lnTo>
                    <a:pt x="564" y="507"/>
                  </a:lnTo>
                  <a:lnTo>
                    <a:pt x="565" y="507"/>
                  </a:lnTo>
                  <a:lnTo>
                    <a:pt x="566" y="508"/>
                  </a:lnTo>
                  <a:lnTo>
                    <a:pt x="566" y="510"/>
                  </a:lnTo>
                  <a:lnTo>
                    <a:pt x="566" y="508"/>
                  </a:lnTo>
                  <a:lnTo>
                    <a:pt x="565" y="508"/>
                  </a:lnTo>
                  <a:lnTo>
                    <a:pt x="565" y="510"/>
                  </a:lnTo>
                  <a:lnTo>
                    <a:pt x="564" y="508"/>
                  </a:lnTo>
                  <a:lnTo>
                    <a:pt x="564" y="507"/>
                  </a:lnTo>
                  <a:lnTo>
                    <a:pt x="563" y="506"/>
                  </a:lnTo>
                  <a:lnTo>
                    <a:pt x="563" y="507"/>
                  </a:lnTo>
                  <a:lnTo>
                    <a:pt x="562" y="507"/>
                  </a:lnTo>
                  <a:lnTo>
                    <a:pt x="562" y="508"/>
                  </a:lnTo>
                  <a:lnTo>
                    <a:pt x="560" y="508"/>
                  </a:lnTo>
                  <a:lnTo>
                    <a:pt x="560" y="507"/>
                  </a:lnTo>
                  <a:lnTo>
                    <a:pt x="562" y="507"/>
                  </a:lnTo>
                  <a:lnTo>
                    <a:pt x="562" y="506"/>
                  </a:lnTo>
                  <a:lnTo>
                    <a:pt x="560" y="506"/>
                  </a:lnTo>
                  <a:lnTo>
                    <a:pt x="560" y="505"/>
                  </a:lnTo>
                  <a:lnTo>
                    <a:pt x="559" y="505"/>
                  </a:lnTo>
                  <a:lnTo>
                    <a:pt x="560" y="505"/>
                  </a:lnTo>
                  <a:lnTo>
                    <a:pt x="560" y="504"/>
                  </a:lnTo>
                  <a:close/>
                  <a:moveTo>
                    <a:pt x="574" y="505"/>
                  </a:moveTo>
                  <a:lnTo>
                    <a:pt x="573" y="505"/>
                  </a:lnTo>
                  <a:lnTo>
                    <a:pt x="573" y="504"/>
                  </a:lnTo>
                  <a:lnTo>
                    <a:pt x="573" y="503"/>
                  </a:lnTo>
                  <a:lnTo>
                    <a:pt x="572" y="503"/>
                  </a:lnTo>
                  <a:lnTo>
                    <a:pt x="573" y="503"/>
                  </a:lnTo>
                  <a:lnTo>
                    <a:pt x="574" y="503"/>
                  </a:lnTo>
                  <a:lnTo>
                    <a:pt x="574" y="504"/>
                  </a:lnTo>
                  <a:lnTo>
                    <a:pt x="576" y="504"/>
                  </a:lnTo>
                  <a:lnTo>
                    <a:pt x="574" y="505"/>
                  </a:lnTo>
                  <a:close/>
                  <a:moveTo>
                    <a:pt x="560" y="501"/>
                  </a:moveTo>
                  <a:lnTo>
                    <a:pt x="560" y="503"/>
                  </a:lnTo>
                  <a:lnTo>
                    <a:pt x="560" y="504"/>
                  </a:lnTo>
                  <a:lnTo>
                    <a:pt x="560" y="503"/>
                  </a:lnTo>
                  <a:lnTo>
                    <a:pt x="559" y="503"/>
                  </a:lnTo>
                  <a:lnTo>
                    <a:pt x="559" y="501"/>
                  </a:lnTo>
                  <a:lnTo>
                    <a:pt x="559" y="503"/>
                  </a:lnTo>
                  <a:lnTo>
                    <a:pt x="559" y="501"/>
                  </a:lnTo>
                  <a:lnTo>
                    <a:pt x="560" y="501"/>
                  </a:lnTo>
                  <a:close/>
                  <a:moveTo>
                    <a:pt x="563" y="496"/>
                  </a:moveTo>
                  <a:lnTo>
                    <a:pt x="563" y="497"/>
                  </a:lnTo>
                  <a:lnTo>
                    <a:pt x="564" y="497"/>
                  </a:lnTo>
                  <a:lnTo>
                    <a:pt x="564" y="496"/>
                  </a:lnTo>
                  <a:lnTo>
                    <a:pt x="565" y="497"/>
                  </a:lnTo>
                  <a:lnTo>
                    <a:pt x="565" y="498"/>
                  </a:lnTo>
                  <a:lnTo>
                    <a:pt x="565" y="499"/>
                  </a:lnTo>
                  <a:lnTo>
                    <a:pt x="566" y="499"/>
                  </a:lnTo>
                  <a:lnTo>
                    <a:pt x="566" y="500"/>
                  </a:lnTo>
                  <a:lnTo>
                    <a:pt x="565" y="500"/>
                  </a:lnTo>
                  <a:lnTo>
                    <a:pt x="564" y="499"/>
                  </a:lnTo>
                  <a:lnTo>
                    <a:pt x="563" y="498"/>
                  </a:lnTo>
                  <a:lnTo>
                    <a:pt x="564" y="498"/>
                  </a:lnTo>
                  <a:lnTo>
                    <a:pt x="563" y="498"/>
                  </a:lnTo>
                  <a:lnTo>
                    <a:pt x="562" y="498"/>
                  </a:lnTo>
                  <a:lnTo>
                    <a:pt x="563" y="498"/>
                  </a:lnTo>
                  <a:lnTo>
                    <a:pt x="562" y="498"/>
                  </a:lnTo>
                  <a:lnTo>
                    <a:pt x="562" y="497"/>
                  </a:lnTo>
                  <a:lnTo>
                    <a:pt x="563" y="497"/>
                  </a:lnTo>
                  <a:lnTo>
                    <a:pt x="562" y="497"/>
                  </a:lnTo>
                  <a:lnTo>
                    <a:pt x="562" y="496"/>
                  </a:lnTo>
                  <a:lnTo>
                    <a:pt x="563" y="496"/>
                  </a:lnTo>
                  <a:close/>
                  <a:moveTo>
                    <a:pt x="559" y="497"/>
                  </a:moveTo>
                  <a:lnTo>
                    <a:pt x="560" y="497"/>
                  </a:lnTo>
                  <a:lnTo>
                    <a:pt x="560" y="498"/>
                  </a:lnTo>
                  <a:lnTo>
                    <a:pt x="559" y="498"/>
                  </a:lnTo>
                  <a:lnTo>
                    <a:pt x="558" y="498"/>
                  </a:lnTo>
                  <a:lnTo>
                    <a:pt x="559" y="499"/>
                  </a:lnTo>
                  <a:lnTo>
                    <a:pt x="558" y="499"/>
                  </a:lnTo>
                  <a:lnTo>
                    <a:pt x="559" y="499"/>
                  </a:lnTo>
                  <a:lnTo>
                    <a:pt x="558" y="499"/>
                  </a:lnTo>
                  <a:lnTo>
                    <a:pt x="557" y="499"/>
                  </a:lnTo>
                  <a:lnTo>
                    <a:pt x="557" y="498"/>
                  </a:lnTo>
                  <a:lnTo>
                    <a:pt x="557" y="497"/>
                  </a:lnTo>
                  <a:lnTo>
                    <a:pt x="557" y="498"/>
                  </a:lnTo>
                  <a:lnTo>
                    <a:pt x="558" y="498"/>
                  </a:lnTo>
                  <a:lnTo>
                    <a:pt x="558" y="497"/>
                  </a:lnTo>
                  <a:lnTo>
                    <a:pt x="558" y="496"/>
                  </a:lnTo>
                  <a:lnTo>
                    <a:pt x="559" y="496"/>
                  </a:lnTo>
                  <a:lnTo>
                    <a:pt x="559" y="497"/>
                  </a:lnTo>
                  <a:close/>
                  <a:moveTo>
                    <a:pt x="557" y="493"/>
                  </a:moveTo>
                  <a:lnTo>
                    <a:pt x="558" y="494"/>
                  </a:lnTo>
                  <a:lnTo>
                    <a:pt x="558" y="493"/>
                  </a:lnTo>
                  <a:lnTo>
                    <a:pt x="559" y="493"/>
                  </a:lnTo>
                  <a:lnTo>
                    <a:pt x="559" y="494"/>
                  </a:lnTo>
                  <a:lnTo>
                    <a:pt x="560" y="496"/>
                  </a:lnTo>
                  <a:lnTo>
                    <a:pt x="560" y="497"/>
                  </a:lnTo>
                  <a:lnTo>
                    <a:pt x="559" y="496"/>
                  </a:lnTo>
                  <a:lnTo>
                    <a:pt x="559" y="494"/>
                  </a:lnTo>
                  <a:lnTo>
                    <a:pt x="558" y="496"/>
                  </a:lnTo>
                  <a:lnTo>
                    <a:pt x="558" y="494"/>
                  </a:lnTo>
                  <a:lnTo>
                    <a:pt x="558" y="496"/>
                  </a:lnTo>
                  <a:lnTo>
                    <a:pt x="558" y="497"/>
                  </a:lnTo>
                  <a:lnTo>
                    <a:pt x="557" y="496"/>
                  </a:lnTo>
                  <a:lnTo>
                    <a:pt x="557" y="494"/>
                  </a:lnTo>
                  <a:lnTo>
                    <a:pt x="557" y="496"/>
                  </a:lnTo>
                  <a:lnTo>
                    <a:pt x="556" y="496"/>
                  </a:lnTo>
                  <a:lnTo>
                    <a:pt x="555" y="496"/>
                  </a:lnTo>
                  <a:lnTo>
                    <a:pt x="555" y="494"/>
                  </a:lnTo>
                  <a:lnTo>
                    <a:pt x="555" y="493"/>
                  </a:lnTo>
                  <a:lnTo>
                    <a:pt x="556" y="493"/>
                  </a:lnTo>
                  <a:lnTo>
                    <a:pt x="557" y="493"/>
                  </a:lnTo>
                  <a:lnTo>
                    <a:pt x="556" y="494"/>
                  </a:lnTo>
                  <a:lnTo>
                    <a:pt x="557" y="494"/>
                  </a:lnTo>
                  <a:lnTo>
                    <a:pt x="557" y="493"/>
                  </a:lnTo>
                  <a:close/>
                  <a:moveTo>
                    <a:pt x="562" y="494"/>
                  </a:moveTo>
                  <a:lnTo>
                    <a:pt x="560" y="494"/>
                  </a:lnTo>
                  <a:lnTo>
                    <a:pt x="562" y="494"/>
                  </a:lnTo>
                  <a:lnTo>
                    <a:pt x="562" y="496"/>
                  </a:lnTo>
                  <a:lnTo>
                    <a:pt x="560" y="496"/>
                  </a:lnTo>
                  <a:lnTo>
                    <a:pt x="560" y="494"/>
                  </a:lnTo>
                  <a:lnTo>
                    <a:pt x="559" y="494"/>
                  </a:lnTo>
                  <a:lnTo>
                    <a:pt x="559" y="493"/>
                  </a:lnTo>
                  <a:lnTo>
                    <a:pt x="558" y="493"/>
                  </a:lnTo>
                  <a:lnTo>
                    <a:pt x="558" y="492"/>
                  </a:lnTo>
                  <a:lnTo>
                    <a:pt x="559" y="492"/>
                  </a:lnTo>
                  <a:lnTo>
                    <a:pt x="560" y="493"/>
                  </a:lnTo>
                  <a:lnTo>
                    <a:pt x="562" y="493"/>
                  </a:lnTo>
                  <a:lnTo>
                    <a:pt x="562" y="494"/>
                  </a:lnTo>
                  <a:close/>
                  <a:moveTo>
                    <a:pt x="565" y="491"/>
                  </a:moveTo>
                  <a:lnTo>
                    <a:pt x="566" y="491"/>
                  </a:lnTo>
                  <a:lnTo>
                    <a:pt x="566" y="492"/>
                  </a:lnTo>
                  <a:lnTo>
                    <a:pt x="566" y="493"/>
                  </a:lnTo>
                  <a:lnTo>
                    <a:pt x="567" y="493"/>
                  </a:lnTo>
                  <a:lnTo>
                    <a:pt x="566" y="493"/>
                  </a:lnTo>
                  <a:lnTo>
                    <a:pt x="566" y="492"/>
                  </a:lnTo>
                  <a:lnTo>
                    <a:pt x="566" y="491"/>
                  </a:lnTo>
                  <a:lnTo>
                    <a:pt x="567" y="491"/>
                  </a:lnTo>
                  <a:lnTo>
                    <a:pt x="567" y="492"/>
                  </a:lnTo>
                  <a:lnTo>
                    <a:pt x="569" y="493"/>
                  </a:lnTo>
                  <a:lnTo>
                    <a:pt x="567" y="494"/>
                  </a:lnTo>
                  <a:lnTo>
                    <a:pt x="569" y="494"/>
                  </a:lnTo>
                  <a:lnTo>
                    <a:pt x="570" y="494"/>
                  </a:lnTo>
                  <a:lnTo>
                    <a:pt x="570" y="496"/>
                  </a:lnTo>
                  <a:lnTo>
                    <a:pt x="569" y="496"/>
                  </a:lnTo>
                  <a:lnTo>
                    <a:pt x="570" y="496"/>
                  </a:lnTo>
                  <a:lnTo>
                    <a:pt x="570" y="497"/>
                  </a:lnTo>
                  <a:lnTo>
                    <a:pt x="571" y="498"/>
                  </a:lnTo>
                  <a:lnTo>
                    <a:pt x="571" y="499"/>
                  </a:lnTo>
                  <a:lnTo>
                    <a:pt x="572" y="500"/>
                  </a:lnTo>
                  <a:lnTo>
                    <a:pt x="572" y="501"/>
                  </a:lnTo>
                  <a:lnTo>
                    <a:pt x="572" y="503"/>
                  </a:lnTo>
                  <a:lnTo>
                    <a:pt x="572" y="504"/>
                  </a:lnTo>
                  <a:lnTo>
                    <a:pt x="573" y="505"/>
                  </a:lnTo>
                  <a:lnTo>
                    <a:pt x="572" y="505"/>
                  </a:lnTo>
                  <a:lnTo>
                    <a:pt x="572" y="506"/>
                  </a:lnTo>
                  <a:lnTo>
                    <a:pt x="572" y="507"/>
                  </a:lnTo>
                  <a:lnTo>
                    <a:pt x="573" y="506"/>
                  </a:lnTo>
                  <a:lnTo>
                    <a:pt x="573" y="505"/>
                  </a:lnTo>
                  <a:lnTo>
                    <a:pt x="574" y="505"/>
                  </a:lnTo>
                  <a:lnTo>
                    <a:pt x="574" y="506"/>
                  </a:lnTo>
                  <a:lnTo>
                    <a:pt x="574" y="507"/>
                  </a:lnTo>
                  <a:lnTo>
                    <a:pt x="573" y="507"/>
                  </a:lnTo>
                  <a:lnTo>
                    <a:pt x="574" y="507"/>
                  </a:lnTo>
                  <a:lnTo>
                    <a:pt x="576" y="508"/>
                  </a:lnTo>
                  <a:lnTo>
                    <a:pt x="576" y="510"/>
                  </a:lnTo>
                  <a:lnTo>
                    <a:pt x="576" y="508"/>
                  </a:lnTo>
                  <a:lnTo>
                    <a:pt x="574" y="508"/>
                  </a:lnTo>
                  <a:lnTo>
                    <a:pt x="574" y="510"/>
                  </a:lnTo>
                  <a:lnTo>
                    <a:pt x="576" y="510"/>
                  </a:lnTo>
                  <a:lnTo>
                    <a:pt x="576" y="511"/>
                  </a:lnTo>
                  <a:lnTo>
                    <a:pt x="574" y="511"/>
                  </a:lnTo>
                  <a:lnTo>
                    <a:pt x="573" y="510"/>
                  </a:lnTo>
                  <a:lnTo>
                    <a:pt x="574" y="511"/>
                  </a:lnTo>
                  <a:lnTo>
                    <a:pt x="574" y="512"/>
                  </a:lnTo>
                  <a:lnTo>
                    <a:pt x="573" y="512"/>
                  </a:lnTo>
                  <a:lnTo>
                    <a:pt x="573" y="511"/>
                  </a:lnTo>
                  <a:lnTo>
                    <a:pt x="573" y="512"/>
                  </a:lnTo>
                  <a:lnTo>
                    <a:pt x="572" y="512"/>
                  </a:lnTo>
                  <a:lnTo>
                    <a:pt x="572" y="511"/>
                  </a:lnTo>
                  <a:lnTo>
                    <a:pt x="571" y="511"/>
                  </a:lnTo>
                  <a:lnTo>
                    <a:pt x="572" y="512"/>
                  </a:lnTo>
                  <a:lnTo>
                    <a:pt x="571" y="511"/>
                  </a:lnTo>
                  <a:lnTo>
                    <a:pt x="572" y="510"/>
                  </a:lnTo>
                  <a:lnTo>
                    <a:pt x="573" y="510"/>
                  </a:lnTo>
                  <a:lnTo>
                    <a:pt x="573" y="511"/>
                  </a:lnTo>
                  <a:lnTo>
                    <a:pt x="573" y="510"/>
                  </a:lnTo>
                  <a:lnTo>
                    <a:pt x="572" y="510"/>
                  </a:lnTo>
                  <a:lnTo>
                    <a:pt x="571" y="510"/>
                  </a:lnTo>
                  <a:lnTo>
                    <a:pt x="571" y="511"/>
                  </a:lnTo>
                  <a:lnTo>
                    <a:pt x="570" y="510"/>
                  </a:lnTo>
                  <a:lnTo>
                    <a:pt x="570" y="508"/>
                  </a:lnTo>
                  <a:lnTo>
                    <a:pt x="571" y="508"/>
                  </a:lnTo>
                  <a:lnTo>
                    <a:pt x="571" y="510"/>
                  </a:lnTo>
                  <a:lnTo>
                    <a:pt x="571" y="508"/>
                  </a:lnTo>
                  <a:lnTo>
                    <a:pt x="572" y="508"/>
                  </a:lnTo>
                  <a:lnTo>
                    <a:pt x="571" y="508"/>
                  </a:lnTo>
                  <a:lnTo>
                    <a:pt x="570" y="508"/>
                  </a:lnTo>
                  <a:lnTo>
                    <a:pt x="571" y="508"/>
                  </a:lnTo>
                  <a:lnTo>
                    <a:pt x="571" y="507"/>
                  </a:lnTo>
                  <a:lnTo>
                    <a:pt x="570" y="507"/>
                  </a:lnTo>
                  <a:lnTo>
                    <a:pt x="570" y="508"/>
                  </a:lnTo>
                  <a:lnTo>
                    <a:pt x="570" y="507"/>
                  </a:lnTo>
                  <a:lnTo>
                    <a:pt x="569" y="507"/>
                  </a:lnTo>
                  <a:lnTo>
                    <a:pt x="570" y="507"/>
                  </a:lnTo>
                  <a:lnTo>
                    <a:pt x="569" y="507"/>
                  </a:lnTo>
                  <a:lnTo>
                    <a:pt x="569" y="506"/>
                  </a:lnTo>
                  <a:lnTo>
                    <a:pt x="570" y="506"/>
                  </a:lnTo>
                  <a:lnTo>
                    <a:pt x="569" y="506"/>
                  </a:lnTo>
                  <a:lnTo>
                    <a:pt x="569" y="505"/>
                  </a:lnTo>
                  <a:lnTo>
                    <a:pt x="570" y="505"/>
                  </a:lnTo>
                  <a:lnTo>
                    <a:pt x="571" y="505"/>
                  </a:lnTo>
                  <a:lnTo>
                    <a:pt x="570" y="505"/>
                  </a:lnTo>
                  <a:lnTo>
                    <a:pt x="569" y="505"/>
                  </a:lnTo>
                  <a:lnTo>
                    <a:pt x="569" y="504"/>
                  </a:lnTo>
                  <a:lnTo>
                    <a:pt x="567" y="504"/>
                  </a:lnTo>
                  <a:lnTo>
                    <a:pt x="569" y="504"/>
                  </a:lnTo>
                  <a:lnTo>
                    <a:pt x="569" y="503"/>
                  </a:lnTo>
                  <a:lnTo>
                    <a:pt x="570" y="504"/>
                  </a:lnTo>
                  <a:lnTo>
                    <a:pt x="570" y="503"/>
                  </a:lnTo>
                  <a:lnTo>
                    <a:pt x="569" y="503"/>
                  </a:lnTo>
                  <a:lnTo>
                    <a:pt x="570" y="503"/>
                  </a:lnTo>
                  <a:lnTo>
                    <a:pt x="569" y="503"/>
                  </a:lnTo>
                  <a:lnTo>
                    <a:pt x="569" y="501"/>
                  </a:lnTo>
                  <a:lnTo>
                    <a:pt x="570" y="501"/>
                  </a:lnTo>
                  <a:lnTo>
                    <a:pt x="569" y="501"/>
                  </a:lnTo>
                  <a:lnTo>
                    <a:pt x="567" y="501"/>
                  </a:lnTo>
                  <a:lnTo>
                    <a:pt x="569" y="501"/>
                  </a:lnTo>
                  <a:lnTo>
                    <a:pt x="569" y="503"/>
                  </a:lnTo>
                  <a:lnTo>
                    <a:pt x="569" y="504"/>
                  </a:lnTo>
                  <a:lnTo>
                    <a:pt x="567" y="504"/>
                  </a:lnTo>
                  <a:lnTo>
                    <a:pt x="567" y="503"/>
                  </a:lnTo>
                  <a:lnTo>
                    <a:pt x="567" y="504"/>
                  </a:lnTo>
                  <a:lnTo>
                    <a:pt x="566" y="503"/>
                  </a:lnTo>
                  <a:lnTo>
                    <a:pt x="566" y="504"/>
                  </a:lnTo>
                  <a:lnTo>
                    <a:pt x="566" y="505"/>
                  </a:lnTo>
                  <a:lnTo>
                    <a:pt x="567" y="505"/>
                  </a:lnTo>
                  <a:lnTo>
                    <a:pt x="567" y="506"/>
                  </a:lnTo>
                  <a:lnTo>
                    <a:pt x="567" y="505"/>
                  </a:lnTo>
                  <a:lnTo>
                    <a:pt x="567" y="506"/>
                  </a:lnTo>
                  <a:lnTo>
                    <a:pt x="567" y="507"/>
                  </a:lnTo>
                  <a:lnTo>
                    <a:pt x="569" y="507"/>
                  </a:lnTo>
                  <a:lnTo>
                    <a:pt x="569" y="508"/>
                  </a:lnTo>
                  <a:lnTo>
                    <a:pt x="567" y="508"/>
                  </a:lnTo>
                  <a:lnTo>
                    <a:pt x="569" y="508"/>
                  </a:lnTo>
                  <a:lnTo>
                    <a:pt x="569" y="510"/>
                  </a:lnTo>
                  <a:lnTo>
                    <a:pt x="567" y="510"/>
                  </a:lnTo>
                  <a:lnTo>
                    <a:pt x="567" y="508"/>
                  </a:lnTo>
                  <a:lnTo>
                    <a:pt x="566" y="508"/>
                  </a:lnTo>
                  <a:lnTo>
                    <a:pt x="565" y="507"/>
                  </a:lnTo>
                  <a:lnTo>
                    <a:pt x="565" y="506"/>
                  </a:lnTo>
                  <a:lnTo>
                    <a:pt x="564" y="506"/>
                  </a:lnTo>
                  <a:lnTo>
                    <a:pt x="564" y="505"/>
                  </a:lnTo>
                  <a:lnTo>
                    <a:pt x="563" y="505"/>
                  </a:lnTo>
                  <a:lnTo>
                    <a:pt x="564" y="505"/>
                  </a:lnTo>
                  <a:lnTo>
                    <a:pt x="564" y="504"/>
                  </a:lnTo>
                  <a:lnTo>
                    <a:pt x="563" y="504"/>
                  </a:lnTo>
                  <a:lnTo>
                    <a:pt x="563" y="503"/>
                  </a:lnTo>
                  <a:lnTo>
                    <a:pt x="563" y="504"/>
                  </a:lnTo>
                  <a:lnTo>
                    <a:pt x="562" y="504"/>
                  </a:lnTo>
                  <a:lnTo>
                    <a:pt x="562" y="503"/>
                  </a:lnTo>
                  <a:lnTo>
                    <a:pt x="560" y="503"/>
                  </a:lnTo>
                  <a:lnTo>
                    <a:pt x="560" y="501"/>
                  </a:lnTo>
                  <a:lnTo>
                    <a:pt x="559" y="501"/>
                  </a:lnTo>
                  <a:lnTo>
                    <a:pt x="559" y="500"/>
                  </a:lnTo>
                  <a:lnTo>
                    <a:pt x="560" y="500"/>
                  </a:lnTo>
                  <a:lnTo>
                    <a:pt x="562" y="501"/>
                  </a:lnTo>
                  <a:lnTo>
                    <a:pt x="563" y="501"/>
                  </a:lnTo>
                  <a:lnTo>
                    <a:pt x="564" y="503"/>
                  </a:lnTo>
                  <a:lnTo>
                    <a:pt x="564" y="504"/>
                  </a:lnTo>
                  <a:lnTo>
                    <a:pt x="564" y="503"/>
                  </a:lnTo>
                  <a:lnTo>
                    <a:pt x="563" y="503"/>
                  </a:lnTo>
                  <a:lnTo>
                    <a:pt x="563" y="501"/>
                  </a:lnTo>
                  <a:lnTo>
                    <a:pt x="562" y="501"/>
                  </a:lnTo>
                  <a:lnTo>
                    <a:pt x="562" y="500"/>
                  </a:lnTo>
                  <a:lnTo>
                    <a:pt x="560" y="499"/>
                  </a:lnTo>
                  <a:lnTo>
                    <a:pt x="562" y="499"/>
                  </a:lnTo>
                  <a:lnTo>
                    <a:pt x="563" y="501"/>
                  </a:lnTo>
                  <a:lnTo>
                    <a:pt x="564" y="501"/>
                  </a:lnTo>
                  <a:lnTo>
                    <a:pt x="563" y="500"/>
                  </a:lnTo>
                  <a:lnTo>
                    <a:pt x="564" y="500"/>
                  </a:lnTo>
                  <a:lnTo>
                    <a:pt x="564" y="499"/>
                  </a:lnTo>
                  <a:lnTo>
                    <a:pt x="564" y="500"/>
                  </a:lnTo>
                  <a:lnTo>
                    <a:pt x="564" y="499"/>
                  </a:lnTo>
                  <a:lnTo>
                    <a:pt x="563" y="499"/>
                  </a:lnTo>
                  <a:lnTo>
                    <a:pt x="564" y="499"/>
                  </a:lnTo>
                  <a:lnTo>
                    <a:pt x="565" y="499"/>
                  </a:lnTo>
                  <a:lnTo>
                    <a:pt x="565" y="500"/>
                  </a:lnTo>
                  <a:lnTo>
                    <a:pt x="566" y="500"/>
                  </a:lnTo>
                  <a:lnTo>
                    <a:pt x="566" y="501"/>
                  </a:lnTo>
                  <a:lnTo>
                    <a:pt x="566" y="500"/>
                  </a:lnTo>
                  <a:lnTo>
                    <a:pt x="566" y="499"/>
                  </a:lnTo>
                  <a:lnTo>
                    <a:pt x="566" y="498"/>
                  </a:lnTo>
                  <a:lnTo>
                    <a:pt x="565" y="497"/>
                  </a:lnTo>
                  <a:lnTo>
                    <a:pt x="566" y="497"/>
                  </a:lnTo>
                  <a:lnTo>
                    <a:pt x="564" y="496"/>
                  </a:lnTo>
                  <a:lnTo>
                    <a:pt x="565" y="496"/>
                  </a:lnTo>
                  <a:lnTo>
                    <a:pt x="565" y="494"/>
                  </a:lnTo>
                  <a:lnTo>
                    <a:pt x="564" y="494"/>
                  </a:lnTo>
                  <a:lnTo>
                    <a:pt x="564" y="496"/>
                  </a:lnTo>
                  <a:lnTo>
                    <a:pt x="563" y="496"/>
                  </a:lnTo>
                  <a:lnTo>
                    <a:pt x="563" y="494"/>
                  </a:lnTo>
                  <a:lnTo>
                    <a:pt x="563" y="493"/>
                  </a:lnTo>
                  <a:lnTo>
                    <a:pt x="564" y="493"/>
                  </a:lnTo>
                  <a:lnTo>
                    <a:pt x="563" y="493"/>
                  </a:lnTo>
                  <a:lnTo>
                    <a:pt x="562" y="493"/>
                  </a:lnTo>
                  <a:lnTo>
                    <a:pt x="562" y="492"/>
                  </a:lnTo>
                  <a:lnTo>
                    <a:pt x="563" y="492"/>
                  </a:lnTo>
                  <a:lnTo>
                    <a:pt x="563" y="493"/>
                  </a:lnTo>
                  <a:lnTo>
                    <a:pt x="563" y="492"/>
                  </a:lnTo>
                  <a:lnTo>
                    <a:pt x="562" y="492"/>
                  </a:lnTo>
                  <a:lnTo>
                    <a:pt x="563" y="491"/>
                  </a:lnTo>
                  <a:lnTo>
                    <a:pt x="564" y="491"/>
                  </a:lnTo>
                  <a:lnTo>
                    <a:pt x="564" y="492"/>
                  </a:lnTo>
                  <a:lnTo>
                    <a:pt x="564" y="491"/>
                  </a:lnTo>
                  <a:lnTo>
                    <a:pt x="565" y="491"/>
                  </a:lnTo>
                  <a:close/>
                  <a:moveTo>
                    <a:pt x="560" y="493"/>
                  </a:moveTo>
                  <a:lnTo>
                    <a:pt x="559" y="492"/>
                  </a:lnTo>
                  <a:lnTo>
                    <a:pt x="559" y="491"/>
                  </a:lnTo>
                  <a:lnTo>
                    <a:pt x="559" y="490"/>
                  </a:lnTo>
                  <a:lnTo>
                    <a:pt x="560" y="490"/>
                  </a:lnTo>
                  <a:lnTo>
                    <a:pt x="560" y="491"/>
                  </a:lnTo>
                  <a:lnTo>
                    <a:pt x="560" y="492"/>
                  </a:lnTo>
                  <a:lnTo>
                    <a:pt x="560" y="493"/>
                  </a:lnTo>
                  <a:close/>
                  <a:moveTo>
                    <a:pt x="562" y="490"/>
                  </a:moveTo>
                  <a:lnTo>
                    <a:pt x="563" y="490"/>
                  </a:lnTo>
                  <a:lnTo>
                    <a:pt x="563" y="491"/>
                  </a:lnTo>
                  <a:lnTo>
                    <a:pt x="562" y="492"/>
                  </a:lnTo>
                  <a:lnTo>
                    <a:pt x="560" y="491"/>
                  </a:lnTo>
                  <a:lnTo>
                    <a:pt x="562" y="491"/>
                  </a:lnTo>
                  <a:lnTo>
                    <a:pt x="560" y="491"/>
                  </a:lnTo>
                  <a:lnTo>
                    <a:pt x="562" y="491"/>
                  </a:lnTo>
                  <a:lnTo>
                    <a:pt x="560" y="490"/>
                  </a:lnTo>
                  <a:lnTo>
                    <a:pt x="562" y="490"/>
                  </a:lnTo>
                  <a:close/>
                  <a:moveTo>
                    <a:pt x="557" y="490"/>
                  </a:moveTo>
                  <a:lnTo>
                    <a:pt x="557" y="491"/>
                  </a:lnTo>
                  <a:lnTo>
                    <a:pt x="557" y="490"/>
                  </a:lnTo>
                  <a:lnTo>
                    <a:pt x="557" y="491"/>
                  </a:lnTo>
                  <a:lnTo>
                    <a:pt x="558" y="491"/>
                  </a:lnTo>
                  <a:lnTo>
                    <a:pt x="557" y="491"/>
                  </a:lnTo>
                  <a:lnTo>
                    <a:pt x="556" y="491"/>
                  </a:lnTo>
                  <a:lnTo>
                    <a:pt x="556" y="492"/>
                  </a:lnTo>
                  <a:lnTo>
                    <a:pt x="555" y="492"/>
                  </a:lnTo>
                  <a:lnTo>
                    <a:pt x="553" y="492"/>
                  </a:lnTo>
                  <a:lnTo>
                    <a:pt x="553" y="491"/>
                  </a:lnTo>
                  <a:lnTo>
                    <a:pt x="555" y="491"/>
                  </a:lnTo>
                  <a:lnTo>
                    <a:pt x="556" y="491"/>
                  </a:lnTo>
                  <a:lnTo>
                    <a:pt x="557" y="490"/>
                  </a:lnTo>
                  <a:close/>
                  <a:moveTo>
                    <a:pt x="556" y="487"/>
                  </a:moveTo>
                  <a:lnTo>
                    <a:pt x="556" y="486"/>
                  </a:lnTo>
                  <a:lnTo>
                    <a:pt x="556" y="487"/>
                  </a:lnTo>
                  <a:lnTo>
                    <a:pt x="556" y="489"/>
                  </a:lnTo>
                  <a:lnTo>
                    <a:pt x="557" y="489"/>
                  </a:lnTo>
                  <a:lnTo>
                    <a:pt x="557" y="490"/>
                  </a:lnTo>
                  <a:lnTo>
                    <a:pt x="555" y="491"/>
                  </a:lnTo>
                  <a:lnTo>
                    <a:pt x="553" y="491"/>
                  </a:lnTo>
                  <a:lnTo>
                    <a:pt x="553" y="490"/>
                  </a:lnTo>
                  <a:lnTo>
                    <a:pt x="555" y="491"/>
                  </a:lnTo>
                  <a:lnTo>
                    <a:pt x="555" y="490"/>
                  </a:lnTo>
                  <a:lnTo>
                    <a:pt x="556" y="490"/>
                  </a:lnTo>
                  <a:lnTo>
                    <a:pt x="555" y="490"/>
                  </a:lnTo>
                  <a:lnTo>
                    <a:pt x="553" y="490"/>
                  </a:lnTo>
                  <a:lnTo>
                    <a:pt x="552" y="489"/>
                  </a:lnTo>
                  <a:lnTo>
                    <a:pt x="552" y="487"/>
                  </a:lnTo>
                  <a:lnTo>
                    <a:pt x="553" y="487"/>
                  </a:lnTo>
                  <a:lnTo>
                    <a:pt x="555" y="486"/>
                  </a:lnTo>
                  <a:lnTo>
                    <a:pt x="555" y="487"/>
                  </a:lnTo>
                  <a:lnTo>
                    <a:pt x="555" y="486"/>
                  </a:lnTo>
                  <a:lnTo>
                    <a:pt x="555" y="487"/>
                  </a:lnTo>
                  <a:lnTo>
                    <a:pt x="556" y="487"/>
                  </a:lnTo>
                  <a:close/>
                  <a:moveTo>
                    <a:pt x="567" y="489"/>
                  </a:moveTo>
                  <a:lnTo>
                    <a:pt x="566" y="487"/>
                  </a:lnTo>
                  <a:lnTo>
                    <a:pt x="566" y="486"/>
                  </a:lnTo>
                  <a:lnTo>
                    <a:pt x="565" y="486"/>
                  </a:lnTo>
                  <a:lnTo>
                    <a:pt x="566" y="486"/>
                  </a:lnTo>
                  <a:lnTo>
                    <a:pt x="567" y="486"/>
                  </a:lnTo>
                  <a:lnTo>
                    <a:pt x="569" y="487"/>
                  </a:lnTo>
                  <a:lnTo>
                    <a:pt x="567" y="489"/>
                  </a:lnTo>
                  <a:close/>
                  <a:moveTo>
                    <a:pt x="571" y="487"/>
                  </a:moveTo>
                  <a:lnTo>
                    <a:pt x="570" y="487"/>
                  </a:lnTo>
                  <a:lnTo>
                    <a:pt x="570" y="486"/>
                  </a:lnTo>
                  <a:lnTo>
                    <a:pt x="569" y="486"/>
                  </a:lnTo>
                  <a:lnTo>
                    <a:pt x="570" y="486"/>
                  </a:lnTo>
                  <a:lnTo>
                    <a:pt x="571" y="486"/>
                  </a:lnTo>
                  <a:lnTo>
                    <a:pt x="571" y="487"/>
                  </a:lnTo>
                  <a:close/>
                  <a:moveTo>
                    <a:pt x="567" y="486"/>
                  </a:moveTo>
                  <a:lnTo>
                    <a:pt x="569" y="486"/>
                  </a:lnTo>
                  <a:lnTo>
                    <a:pt x="570" y="487"/>
                  </a:lnTo>
                  <a:lnTo>
                    <a:pt x="569" y="487"/>
                  </a:lnTo>
                  <a:lnTo>
                    <a:pt x="567" y="486"/>
                  </a:lnTo>
                  <a:lnTo>
                    <a:pt x="566" y="486"/>
                  </a:lnTo>
                  <a:lnTo>
                    <a:pt x="565" y="485"/>
                  </a:lnTo>
                  <a:lnTo>
                    <a:pt x="566" y="485"/>
                  </a:lnTo>
                  <a:lnTo>
                    <a:pt x="567" y="486"/>
                  </a:lnTo>
                  <a:lnTo>
                    <a:pt x="566" y="485"/>
                  </a:lnTo>
                  <a:lnTo>
                    <a:pt x="567" y="485"/>
                  </a:lnTo>
                  <a:lnTo>
                    <a:pt x="567" y="484"/>
                  </a:lnTo>
                  <a:lnTo>
                    <a:pt x="567" y="485"/>
                  </a:lnTo>
                  <a:lnTo>
                    <a:pt x="567" y="486"/>
                  </a:lnTo>
                  <a:close/>
                  <a:moveTo>
                    <a:pt x="562" y="484"/>
                  </a:moveTo>
                  <a:lnTo>
                    <a:pt x="563" y="484"/>
                  </a:lnTo>
                  <a:lnTo>
                    <a:pt x="563" y="485"/>
                  </a:lnTo>
                  <a:lnTo>
                    <a:pt x="564" y="485"/>
                  </a:lnTo>
                  <a:lnTo>
                    <a:pt x="564" y="486"/>
                  </a:lnTo>
                  <a:lnTo>
                    <a:pt x="565" y="486"/>
                  </a:lnTo>
                  <a:lnTo>
                    <a:pt x="564" y="486"/>
                  </a:lnTo>
                  <a:lnTo>
                    <a:pt x="564" y="487"/>
                  </a:lnTo>
                  <a:lnTo>
                    <a:pt x="565" y="487"/>
                  </a:lnTo>
                  <a:lnTo>
                    <a:pt x="565" y="489"/>
                  </a:lnTo>
                  <a:lnTo>
                    <a:pt x="566" y="490"/>
                  </a:lnTo>
                  <a:lnTo>
                    <a:pt x="566" y="489"/>
                  </a:lnTo>
                  <a:lnTo>
                    <a:pt x="567" y="490"/>
                  </a:lnTo>
                  <a:lnTo>
                    <a:pt x="567" y="491"/>
                  </a:lnTo>
                  <a:lnTo>
                    <a:pt x="566" y="491"/>
                  </a:lnTo>
                  <a:lnTo>
                    <a:pt x="565" y="491"/>
                  </a:lnTo>
                  <a:lnTo>
                    <a:pt x="565" y="490"/>
                  </a:lnTo>
                  <a:lnTo>
                    <a:pt x="564" y="490"/>
                  </a:lnTo>
                  <a:lnTo>
                    <a:pt x="563" y="490"/>
                  </a:lnTo>
                  <a:lnTo>
                    <a:pt x="562" y="490"/>
                  </a:lnTo>
                  <a:lnTo>
                    <a:pt x="560" y="490"/>
                  </a:lnTo>
                  <a:lnTo>
                    <a:pt x="560" y="489"/>
                  </a:lnTo>
                  <a:lnTo>
                    <a:pt x="559" y="487"/>
                  </a:lnTo>
                  <a:lnTo>
                    <a:pt x="560" y="486"/>
                  </a:lnTo>
                  <a:lnTo>
                    <a:pt x="562" y="486"/>
                  </a:lnTo>
                  <a:lnTo>
                    <a:pt x="562" y="487"/>
                  </a:lnTo>
                  <a:lnTo>
                    <a:pt x="563" y="487"/>
                  </a:lnTo>
                  <a:lnTo>
                    <a:pt x="563" y="486"/>
                  </a:lnTo>
                  <a:lnTo>
                    <a:pt x="562" y="486"/>
                  </a:lnTo>
                  <a:lnTo>
                    <a:pt x="562" y="485"/>
                  </a:lnTo>
                  <a:lnTo>
                    <a:pt x="562" y="484"/>
                  </a:lnTo>
                  <a:lnTo>
                    <a:pt x="562" y="483"/>
                  </a:lnTo>
                  <a:lnTo>
                    <a:pt x="560" y="483"/>
                  </a:lnTo>
                  <a:lnTo>
                    <a:pt x="562" y="482"/>
                  </a:lnTo>
                  <a:lnTo>
                    <a:pt x="562" y="483"/>
                  </a:lnTo>
                  <a:lnTo>
                    <a:pt x="562" y="484"/>
                  </a:lnTo>
                  <a:close/>
                  <a:moveTo>
                    <a:pt x="565" y="483"/>
                  </a:moveTo>
                  <a:lnTo>
                    <a:pt x="565" y="484"/>
                  </a:lnTo>
                  <a:lnTo>
                    <a:pt x="566" y="484"/>
                  </a:lnTo>
                  <a:lnTo>
                    <a:pt x="566" y="485"/>
                  </a:lnTo>
                  <a:lnTo>
                    <a:pt x="565" y="485"/>
                  </a:lnTo>
                  <a:lnTo>
                    <a:pt x="564" y="485"/>
                  </a:lnTo>
                  <a:lnTo>
                    <a:pt x="564" y="484"/>
                  </a:lnTo>
                  <a:lnTo>
                    <a:pt x="564" y="483"/>
                  </a:lnTo>
                  <a:lnTo>
                    <a:pt x="564" y="484"/>
                  </a:lnTo>
                  <a:lnTo>
                    <a:pt x="563" y="484"/>
                  </a:lnTo>
                  <a:lnTo>
                    <a:pt x="563" y="483"/>
                  </a:lnTo>
                  <a:lnTo>
                    <a:pt x="563" y="482"/>
                  </a:lnTo>
                  <a:lnTo>
                    <a:pt x="564" y="482"/>
                  </a:lnTo>
                  <a:lnTo>
                    <a:pt x="564" y="483"/>
                  </a:lnTo>
                  <a:lnTo>
                    <a:pt x="565" y="483"/>
                  </a:lnTo>
                  <a:close/>
                  <a:moveTo>
                    <a:pt x="556" y="482"/>
                  </a:moveTo>
                  <a:lnTo>
                    <a:pt x="557" y="482"/>
                  </a:lnTo>
                  <a:lnTo>
                    <a:pt x="558" y="482"/>
                  </a:lnTo>
                  <a:lnTo>
                    <a:pt x="559" y="482"/>
                  </a:lnTo>
                  <a:lnTo>
                    <a:pt x="560" y="483"/>
                  </a:lnTo>
                  <a:lnTo>
                    <a:pt x="560" y="484"/>
                  </a:lnTo>
                  <a:lnTo>
                    <a:pt x="562" y="485"/>
                  </a:lnTo>
                  <a:lnTo>
                    <a:pt x="562" y="486"/>
                  </a:lnTo>
                  <a:lnTo>
                    <a:pt x="560" y="486"/>
                  </a:lnTo>
                  <a:lnTo>
                    <a:pt x="559" y="486"/>
                  </a:lnTo>
                  <a:lnTo>
                    <a:pt x="559" y="487"/>
                  </a:lnTo>
                  <a:lnTo>
                    <a:pt x="559" y="486"/>
                  </a:lnTo>
                  <a:lnTo>
                    <a:pt x="558" y="486"/>
                  </a:lnTo>
                  <a:lnTo>
                    <a:pt x="558" y="485"/>
                  </a:lnTo>
                  <a:lnTo>
                    <a:pt x="557" y="485"/>
                  </a:lnTo>
                  <a:lnTo>
                    <a:pt x="557" y="484"/>
                  </a:lnTo>
                  <a:lnTo>
                    <a:pt x="556" y="484"/>
                  </a:lnTo>
                  <a:lnTo>
                    <a:pt x="556" y="483"/>
                  </a:lnTo>
                  <a:lnTo>
                    <a:pt x="555" y="482"/>
                  </a:lnTo>
                  <a:lnTo>
                    <a:pt x="556" y="482"/>
                  </a:lnTo>
                  <a:close/>
                  <a:moveTo>
                    <a:pt x="553" y="482"/>
                  </a:moveTo>
                  <a:lnTo>
                    <a:pt x="555" y="482"/>
                  </a:lnTo>
                  <a:lnTo>
                    <a:pt x="555" y="483"/>
                  </a:lnTo>
                  <a:lnTo>
                    <a:pt x="555" y="484"/>
                  </a:lnTo>
                  <a:lnTo>
                    <a:pt x="556" y="484"/>
                  </a:lnTo>
                  <a:lnTo>
                    <a:pt x="557" y="485"/>
                  </a:lnTo>
                  <a:lnTo>
                    <a:pt x="557" y="486"/>
                  </a:lnTo>
                  <a:lnTo>
                    <a:pt x="558" y="486"/>
                  </a:lnTo>
                  <a:lnTo>
                    <a:pt x="558" y="487"/>
                  </a:lnTo>
                  <a:lnTo>
                    <a:pt x="559" y="487"/>
                  </a:lnTo>
                  <a:lnTo>
                    <a:pt x="558" y="487"/>
                  </a:lnTo>
                  <a:lnTo>
                    <a:pt x="559" y="487"/>
                  </a:lnTo>
                  <a:lnTo>
                    <a:pt x="559" y="489"/>
                  </a:lnTo>
                  <a:lnTo>
                    <a:pt x="559" y="490"/>
                  </a:lnTo>
                  <a:lnTo>
                    <a:pt x="559" y="491"/>
                  </a:lnTo>
                  <a:lnTo>
                    <a:pt x="558" y="491"/>
                  </a:lnTo>
                  <a:lnTo>
                    <a:pt x="558" y="490"/>
                  </a:lnTo>
                  <a:lnTo>
                    <a:pt x="557" y="490"/>
                  </a:lnTo>
                  <a:lnTo>
                    <a:pt x="557" y="489"/>
                  </a:lnTo>
                  <a:lnTo>
                    <a:pt x="556" y="487"/>
                  </a:lnTo>
                  <a:lnTo>
                    <a:pt x="557" y="486"/>
                  </a:lnTo>
                  <a:lnTo>
                    <a:pt x="556" y="486"/>
                  </a:lnTo>
                  <a:lnTo>
                    <a:pt x="556" y="485"/>
                  </a:lnTo>
                  <a:lnTo>
                    <a:pt x="555" y="485"/>
                  </a:lnTo>
                  <a:lnTo>
                    <a:pt x="555" y="486"/>
                  </a:lnTo>
                  <a:lnTo>
                    <a:pt x="553" y="486"/>
                  </a:lnTo>
                  <a:lnTo>
                    <a:pt x="552" y="486"/>
                  </a:lnTo>
                  <a:lnTo>
                    <a:pt x="553" y="486"/>
                  </a:lnTo>
                  <a:lnTo>
                    <a:pt x="553" y="485"/>
                  </a:lnTo>
                  <a:lnTo>
                    <a:pt x="555" y="485"/>
                  </a:lnTo>
                  <a:lnTo>
                    <a:pt x="553" y="485"/>
                  </a:lnTo>
                  <a:lnTo>
                    <a:pt x="553" y="484"/>
                  </a:lnTo>
                  <a:lnTo>
                    <a:pt x="553" y="485"/>
                  </a:lnTo>
                  <a:lnTo>
                    <a:pt x="552" y="485"/>
                  </a:lnTo>
                  <a:lnTo>
                    <a:pt x="552" y="484"/>
                  </a:lnTo>
                  <a:lnTo>
                    <a:pt x="553" y="484"/>
                  </a:lnTo>
                  <a:lnTo>
                    <a:pt x="553" y="483"/>
                  </a:lnTo>
                  <a:lnTo>
                    <a:pt x="552" y="483"/>
                  </a:lnTo>
                  <a:lnTo>
                    <a:pt x="552" y="484"/>
                  </a:lnTo>
                  <a:lnTo>
                    <a:pt x="552" y="483"/>
                  </a:lnTo>
                  <a:lnTo>
                    <a:pt x="551" y="483"/>
                  </a:lnTo>
                  <a:lnTo>
                    <a:pt x="551" y="482"/>
                  </a:lnTo>
                  <a:lnTo>
                    <a:pt x="550" y="482"/>
                  </a:lnTo>
                  <a:lnTo>
                    <a:pt x="551" y="480"/>
                  </a:lnTo>
                  <a:lnTo>
                    <a:pt x="552" y="480"/>
                  </a:lnTo>
                  <a:lnTo>
                    <a:pt x="552" y="482"/>
                  </a:lnTo>
                  <a:lnTo>
                    <a:pt x="552" y="480"/>
                  </a:lnTo>
                  <a:lnTo>
                    <a:pt x="553" y="480"/>
                  </a:lnTo>
                  <a:lnTo>
                    <a:pt x="553" y="482"/>
                  </a:lnTo>
                  <a:close/>
                  <a:moveTo>
                    <a:pt x="558" y="477"/>
                  </a:moveTo>
                  <a:lnTo>
                    <a:pt x="559" y="477"/>
                  </a:lnTo>
                  <a:lnTo>
                    <a:pt x="559" y="478"/>
                  </a:lnTo>
                  <a:lnTo>
                    <a:pt x="559" y="479"/>
                  </a:lnTo>
                  <a:lnTo>
                    <a:pt x="559" y="480"/>
                  </a:lnTo>
                  <a:lnTo>
                    <a:pt x="560" y="480"/>
                  </a:lnTo>
                  <a:lnTo>
                    <a:pt x="562" y="482"/>
                  </a:lnTo>
                  <a:lnTo>
                    <a:pt x="560" y="482"/>
                  </a:lnTo>
                  <a:lnTo>
                    <a:pt x="559" y="482"/>
                  </a:lnTo>
                  <a:lnTo>
                    <a:pt x="558" y="480"/>
                  </a:lnTo>
                  <a:lnTo>
                    <a:pt x="557" y="480"/>
                  </a:lnTo>
                  <a:lnTo>
                    <a:pt x="556" y="480"/>
                  </a:lnTo>
                  <a:lnTo>
                    <a:pt x="555" y="480"/>
                  </a:lnTo>
                  <a:lnTo>
                    <a:pt x="553" y="480"/>
                  </a:lnTo>
                  <a:lnTo>
                    <a:pt x="555" y="480"/>
                  </a:lnTo>
                  <a:lnTo>
                    <a:pt x="555" y="479"/>
                  </a:lnTo>
                  <a:lnTo>
                    <a:pt x="555" y="478"/>
                  </a:lnTo>
                  <a:lnTo>
                    <a:pt x="556" y="478"/>
                  </a:lnTo>
                  <a:lnTo>
                    <a:pt x="557" y="478"/>
                  </a:lnTo>
                  <a:lnTo>
                    <a:pt x="557" y="477"/>
                  </a:lnTo>
                  <a:lnTo>
                    <a:pt x="558" y="477"/>
                  </a:lnTo>
                  <a:close/>
                  <a:moveTo>
                    <a:pt x="569" y="478"/>
                  </a:moveTo>
                  <a:lnTo>
                    <a:pt x="570" y="478"/>
                  </a:lnTo>
                  <a:lnTo>
                    <a:pt x="571" y="478"/>
                  </a:lnTo>
                  <a:lnTo>
                    <a:pt x="571" y="479"/>
                  </a:lnTo>
                  <a:lnTo>
                    <a:pt x="570" y="479"/>
                  </a:lnTo>
                  <a:lnTo>
                    <a:pt x="569" y="479"/>
                  </a:lnTo>
                  <a:lnTo>
                    <a:pt x="567" y="479"/>
                  </a:lnTo>
                  <a:lnTo>
                    <a:pt x="565" y="480"/>
                  </a:lnTo>
                  <a:lnTo>
                    <a:pt x="565" y="479"/>
                  </a:lnTo>
                  <a:lnTo>
                    <a:pt x="564" y="479"/>
                  </a:lnTo>
                  <a:lnTo>
                    <a:pt x="563" y="479"/>
                  </a:lnTo>
                  <a:lnTo>
                    <a:pt x="563" y="478"/>
                  </a:lnTo>
                  <a:lnTo>
                    <a:pt x="564" y="478"/>
                  </a:lnTo>
                  <a:lnTo>
                    <a:pt x="565" y="478"/>
                  </a:lnTo>
                  <a:lnTo>
                    <a:pt x="564" y="477"/>
                  </a:lnTo>
                  <a:lnTo>
                    <a:pt x="565" y="477"/>
                  </a:lnTo>
                  <a:lnTo>
                    <a:pt x="567" y="478"/>
                  </a:lnTo>
                  <a:lnTo>
                    <a:pt x="569" y="478"/>
                  </a:lnTo>
                  <a:close/>
                  <a:moveTo>
                    <a:pt x="562" y="478"/>
                  </a:moveTo>
                  <a:lnTo>
                    <a:pt x="562" y="479"/>
                  </a:lnTo>
                  <a:lnTo>
                    <a:pt x="560" y="478"/>
                  </a:lnTo>
                  <a:lnTo>
                    <a:pt x="559" y="477"/>
                  </a:lnTo>
                  <a:lnTo>
                    <a:pt x="560" y="477"/>
                  </a:lnTo>
                  <a:lnTo>
                    <a:pt x="562" y="477"/>
                  </a:lnTo>
                  <a:lnTo>
                    <a:pt x="562" y="478"/>
                  </a:lnTo>
                  <a:close/>
                  <a:moveTo>
                    <a:pt x="555" y="476"/>
                  </a:moveTo>
                  <a:lnTo>
                    <a:pt x="555" y="477"/>
                  </a:lnTo>
                  <a:lnTo>
                    <a:pt x="556" y="477"/>
                  </a:lnTo>
                  <a:lnTo>
                    <a:pt x="555" y="477"/>
                  </a:lnTo>
                  <a:lnTo>
                    <a:pt x="555" y="478"/>
                  </a:lnTo>
                  <a:lnTo>
                    <a:pt x="553" y="478"/>
                  </a:lnTo>
                  <a:lnTo>
                    <a:pt x="553" y="477"/>
                  </a:lnTo>
                  <a:lnTo>
                    <a:pt x="552" y="477"/>
                  </a:lnTo>
                  <a:lnTo>
                    <a:pt x="551" y="477"/>
                  </a:lnTo>
                  <a:lnTo>
                    <a:pt x="551" y="476"/>
                  </a:lnTo>
                  <a:lnTo>
                    <a:pt x="552" y="476"/>
                  </a:lnTo>
                  <a:lnTo>
                    <a:pt x="553" y="476"/>
                  </a:lnTo>
                  <a:lnTo>
                    <a:pt x="555" y="476"/>
                  </a:lnTo>
                  <a:close/>
                  <a:moveTo>
                    <a:pt x="557" y="477"/>
                  </a:moveTo>
                  <a:lnTo>
                    <a:pt x="556" y="477"/>
                  </a:lnTo>
                  <a:lnTo>
                    <a:pt x="556" y="476"/>
                  </a:lnTo>
                  <a:lnTo>
                    <a:pt x="555" y="476"/>
                  </a:lnTo>
                  <a:lnTo>
                    <a:pt x="555" y="475"/>
                  </a:lnTo>
                  <a:lnTo>
                    <a:pt x="556" y="475"/>
                  </a:lnTo>
                  <a:lnTo>
                    <a:pt x="557" y="476"/>
                  </a:lnTo>
                  <a:lnTo>
                    <a:pt x="557" y="477"/>
                  </a:lnTo>
                  <a:close/>
                  <a:moveTo>
                    <a:pt x="559" y="468"/>
                  </a:moveTo>
                  <a:lnTo>
                    <a:pt x="558" y="468"/>
                  </a:lnTo>
                  <a:lnTo>
                    <a:pt x="559" y="466"/>
                  </a:lnTo>
                  <a:lnTo>
                    <a:pt x="558" y="466"/>
                  </a:lnTo>
                  <a:lnTo>
                    <a:pt x="558" y="465"/>
                  </a:lnTo>
                  <a:lnTo>
                    <a:pt x="559" y="465"/>
                  </a:lnTo>
                  <a:lnTo>
                    <a:pt x="560" y="465"/>
                  </a:lnTo>
                  <a:lnTo>
                    <a:pt x="560" y="466"/>
                  </a:lnTo>
                  <a:lnTo>
                    <a:pt x="559" y="466"/>
                  </a:lnTo>
                  <a:lnTo>
                    <a:pt x="559" y="468"/>
                  </a:lnTo>
                  <a:close/>
                  <a:moveTo>
                    <a:pt x="563" y="465"/>
                  </a:moveTo>
                  <a:lnTo>
                    <a:pt x="564" y="465"/>
                  </a:lnTo>
                  <a:lnTo>
                    <a:pt x="564" y="466"/>
                  </a:lnTo>
                  <a:lnTo>
                    <a:pt x="563" y="468"/>
                  </a:lnTo>
                  <a:lnTo>
                    <a:pt x="563" y="466"/>
                  </a:lnTo>
                  <a:lnTo>
                    <a:pt x="562" y="466"/>
                  </a:lnTo>
                  <a:lnTo>
                    <a:pt x="562" y="465"/>
                  </a:lnTo>
                  <a:lnTo>
                    <a:pt x="563" y="465"/>
                  </a:lnTo>
                  <a:close/>
                  <a:moveTo>
                    <a:pt x="549" y="462"/>
                  </a:moveTo>
                  <a:lnTo>
                    <a:pt x="548" y="462"/>
                  </a:lnTo>
                  <a:lnTo>
                    <a:pt x="548" y="461"/>
                  </a:lnTo>
                  <a:lnTo>
                    <a:pt x="546" y="461"/>
                  </a:lnTo>
                  <a:lnTo>
                    <a:pt x="545" y="461"/>
                  </a:lnTo>
                  <a:lnTo>
                    <a:pt x="545" y="459"/>
                  </a:lnTo>
                  <a:lnTo>
                    <a:pt x="546" y="459"/>
                  </a:lnTo>
                  <a:lnTo>
                    <a:pt x="548" y="459"/>
                  </a:lnTo>
                  <a:lnTo>
                    <a:pt x="548" y="461"/>
                  </a:lnTo>
                  <a:lnTo>
                    <a:pt x="549" y="461"/>
                  </a:lnTo>
                  <a:lnTo>
                    <a:pt x="549" y="462"/>
                  </a:lnTo>
                  <a:close/>
                  <a:moveTo>
                    <a:pt x="560" y="450"/>
                  </a:moveTo>
                  <a:lnTo>
                    <a:pt x="562" y="450"/>
                  </a:lnTo>
                  <a:lnTo>
                    <a:pt x="563" y="450"/>
                  </a:lnTo>
                  <a:lnTo>
                    <a:pt x="563" y="451"/>
                  </a:lnTo>
                  <a:lnTo>
                    <a:pt x="562" y="451"/>
                  </a:lnTo>
                  <a:lnTo>
                    <a:pt x="562" y="452"/>
                  </a:lnTo>
                  <a:lnTo>
                    <a:pt x="560" y="451"/>
                  </a:lnTo>
                  <a:lnTo>
                    <a:pt x="559" y="450"/>
                  </a:lnTo>
                  <a:lnTo>
                    <a:pt x="559" y="449"/>
                  </a:lnTo>
                  <a:lnTo>
                    <a:pt x="560" y="449"/>
                  </a:lnTo>
                  <a:lnTo>
                    <a:pt x="560" y="450"/>
                  </a:lnTo>
                  <a:close/>
                  <a:moveTo>
                    <a:pt x="560" y="448"/>
                  </a:moveTo>
                  <a:lnTo>
                    <a:pt x="562" y="448"/>
                  </a:lnTo>
                  <a:lnTo>
                    <a:pt x="562" y="449"/>
                  </a:lnTo>
                  <a:lnTo>
                    <a:pt x="562" y="450"/>
                  </a:lnTo>
                  <a:lnTo>
                    <a:pt x="560" y="449"/>
                  </a:lnTo>
                  <a:lnTo>
                    <a:pt x="560" y="448"/>
                  </a:lnTo>
                  <a:close/>
                  <a:moveTo>
                    <a:pt x="548" y="447"/>
                  </a:moveTo>
                  <a:lnTo>
                    <a:pt x="548" y="448"/>
                  </a:lnTo>
                  <a:lnTo>
                    <a:pt x="548" y="449"/>
                  </a:lnTo>
                  <a:lnTo>
                    <a:pt x="549" y="449"/>
                  </a:lnTo>
                  <a:lnTo>
                    <a:pt x="548" y="449"/>
                  </a:lnTo>
                  <a:lnTo>
                    <a:pt x="548" y="450"/>
                  </a:lnTo>
                  <a:lnTo>
                    <a:pt x="546" y="451"/>
                  </a:lnTo>
                  <a:lnTo>
                    <a:pt x="545" y="451"/>
                  </a:lnTo>
                  <a:lnTo>
                    <a:pt x="545" y="450"/>
                  </a:lnTo>
                  <a:lnTo>
                    <a:pt x="544" y="450"/>
                  </a:lnTo>
                  <a:lnTo>
                    <a:pt x="545" y="449"/>
                  </a:lnTo>
                  <a:lnTo>
                    <a:pt x="546" y="449"/>
                  </a:lnTo>
                  <a:lnTo>
                    <a:pt x="548" y="449"/>
                  </a:lnTo>
                  <a:lnTo>
                    <a:pt x="546" y="449"/>
                  </a:lnTo>
                  <a:lnTo>
                    <a:pt x="545" y="449"/>
                  </a:lnTo>
                  <a:lnTo>
                    <a:pt x="544" y="449"/>
                  </a:lnTo>
                  <a:lnTo>
                    <a:pt x="545" y="449"/>
                  </a:lnTo>
                  <a:lnTo>
                    <a:pt x="544" y="449"/>
                  </a:lnTo>
                  <a:lnTo>
                    <a:pt x="544" y="448"/>
                  </a:lnTo>
                  <a:lnTo>
                    <a:pt x="543" y="448"/>
                  </a:lnTo>
                  <a:lnTo>
                    <a:pt x="543" y="447"/>
                  </a:lnTo>
                  <a:lnTo>
                    <a:pt x="544" y="447"/>
                  </a:lnTo>
                  <a:lnTo>
                    <a:pt x="544" y="448"/>
                  </a:lnTo>
                  <a:lnTo>
                    <a:pt x="545" y="448"/>
                  </a:lnTo>
                  <a:lnTo>
                    <a:pt x="546" y="448"/>
                  </a:lnTo>
                  <a:lnTo>
                    <a:pt x="545" y="448"/>
                  </a:lnTo>
                  <a:lnTo>
                    <a:pt x="545" y="447"/>
                  </a:lnTo>
                  <a:lnTo>
                    <a:pt x="545" y="448"/>
                  </a:lnTo>
                  <a:lnTo>
                    <a:pt x="546" y="448"/>
                  </a:lnTo>
                  <a:lnTo>
                    <a:pt x="546" y="447"/>
                  </a:lnTo>
                  <a:lnTo>
                    <a:pt x="548" y="447"/>
                  </a:lnTo>
                  <a:close/>
                  <a:moveTo>
                    <a:pt x="560" y="447"/>
                  </a:moveTo>
                  <a:lnTo>
                    <a:pt x="560" y="448"/>
                  </a:lnTo>
                  <a:lnTo>
                    <a:pt x="559" y="448"/>
                  </a:lnTo>
                  <a:lnTo>
                    <a:pt x="559" y="449"/>
                  </a:lnTo>
                  <a:lnTo>
                    <a:pt x="558" y="449"/>
                  </a:lnTo>
                  <a:lnTo>
                    <a:pt x="558" y="448"/>
                  </a:lnTo>
                  <a:lnTo>
                    <a:pt x="558" y="447"/>
                  </a:lnTo>
                  <a:lnTo>
                    <a:pt x="559" y="447"/>
                  </a:lnTo>
                  <a:lnTo>
                    <a:pt x="560" y="447"/>
                  </a:lnTo>
                  <a:close/>
                  <a:moveTo>
                    <a:pt x="556" y="445"/>
                  </a:moveTo>
                  <a:lnTo>
                    <a:pt x="557" y="445"/>
                  </a:lnTo>
                  <a:lnTo>
                    <a:pt x="557" y="447"/>
                  </a:lnTo>
                  <a:lnTo>
                    <a:pt x="557" y="448"/>
                  </a:lnTo>
                  <a:lnTo>
                    <a:pt x="557" y="447"/>
                  </a:lnTo>
                  <a:lnTo>
                    <a:pt x="556" y="447"/>
                  </a:lnTo>
                  <a:lnTo>
                    <a:pt x="556" y="445"/>
                  </a:lnTo>
                  <a:close/>
                  <a:moveTo>
                    <a:pt x="546" y="444"/>
                  </a:moveTo>
                  <a:lnTo>
                    <a:pt x="545" y="444"/>
                  </a:lnTo>
                  <a:lnTo>
                    <a:pt x="545" y="443"/>
                  </a:lnTo>
                  <a:lnTo>
                    <a:pt x="546" y="443"/>
                  </a:lnTo>
                  <a:lnTo>
                    <a:pt x="546" y="444"/>
                  </a:lnTo>
                  <a:close/>
                  <a:moveTo>
                    <a:pt x="549" y="445"/>
                  </a:moveTo>
                  <a:lnTo>
                    <a:pt x="548" y="445"/>
                  </a:lnTo>
                  <a:lnTo>
                    <a:pt x="548" y="444"/>
                  </a:lnTo>
                  <a:lnTo>
                    <a:pt x="548" y="443"/>
                  </a:lnTo>
                  <a:lnTo>
                    <a:pt x="549" y="443"/>
                  </a:lnTo>
                  <a:lnTo>
                    <a:pt x="549" y="444"/>
                  </a:lnTo>
                  <a:lnTo>
                    <a:pt x="549" y="445"/>
                  </a:lnTo>
                  <a:close/>
                  <a:moveTo>
                    <a:pt x="557" y="444"/>
                  </a:moveTo>
                  <a:lnTo>
                    <a:pt x="556" y="445"/>
                  </a:lnTo>
                  <a:lnTo>
                    <a:pt x="556" y="444"/>
                  </a:lnTo>
                  <a:lnTo>
                    <a:pt x="555" y="444"/>
                  </a:lnTo>
                  <a:lnTo>
                    <a:pt x="555" y="443"/>
                  </a:lnTo>
                  <a:lnTo>
                    <a:pt x="555" y="442"/>
                  </a:lnTo>
                  <a:lnTo>
                    <a:pt x="556" y="442"/>
                  </a:lnTo>
                  <a:lnTo>
                    <a:pt x="556" y="443"/>
                  </a:lnTo>
                  <a:lnTo>
                    <a:pt x="557" y="443"/>
                  </a:lnTo>
                  <a:lnTo>
                    <a:pt x="557" y="444"/>
                  </a:lnTo>
                  <a:close/>
                  <a:moveTo>
                    <a:pt x="552" y="443"/>
                  </a:moveTo>
                  <a:lnTo>
                    <a:pt x="553" y="443"/>
                  </a:lnTo>
                  <a:lnTo>
                    <a:pt x="553" y="444"/>
                  </a:lnTo>
                  <a:lnTo>
                    <a:pt x="552" y="444"/>
                  </a:lnTo>
                  <a:lnTo>
                    <a:pt x="551" y="444"/>
                  </a:lnTo>
                  <a:lnTo>
                    <a:pt x="552" y="444"/>
                  </a:lnTo>
                  <a:lnTo>
                    <a:pt x="552" y="445"/>
                  </a:lnTo>
                  <a:lnTo>
                    <a:pt x="551" y="445"/>
                  </a:lnTo>
                  <a:lnTo>
                    <a:pt x="550" y="445"/>
                  </a:lnTo>
                  <a:lnTo>
                    <a:pt x="550" y="444"/>
                  </a:lnTo>
                  <a:lnTo>
                    <a:pt x="550" y="443"/>
                  </a:lnTo>
                  <a:lnTo>
                    <a:pt x="550" y="442"/>
                  </a:lnTo>
                  <a:lnTo>
                    <a:pt x="549" y="442"/>
                  </a:lnTo>
                  <a:lnTo>
                    <a:pt x="550" y="441"/>
                  </a:lnTo>
                  <a:lnTo>
                    <a:pt x="551" y="441"/>
                  </a:lnTo>
                  <a:lnTo>
                    <a:pt x="551" y="442"/>
                  </a:lnTo>
                  <a:lnTo>
                    <a:pt x="552" y="442"/>
                  </a:lnTo>
                  <a:lnTo>
                    <a:pt x="552" y="443"/>
                  </a:lnTo>
                  <a:close/>
                  <a:moveTo>
                    <a:pt x="560" y="443"/>
                  </a:moveTo>
                  <a:lnTo>
                    <a:pt x="559" y="443"/>
                  </a:lnTo>
                  <a:lnTo>
                    <a:pt x="560" y="444"/>
                  </a:lnTo>
                  <a:lnTo>
                    <a:pt x="562" y="444"/>
                  </a:lnTo>
                  <a:lnTo>
                    <a:pt x="560" y="445"/>
                  </a:lnTo>
                  <a:lnTo>
                    <a:pt x="559" y="444"/>
                  </a:lnTo>
                  <a:lnTo>
                    <a:pt x="558" y="444"/>
                  </a:lnTo>
                  <a:lnTo>
                    <a:pt x="558" y="443"/>
                  </a:lnTo>
                  <a:lnTo>
                    <a:pt x="559" y="443"/>
                  </a:lnTo>
                  <a:lnTo>
                    <a:pt x="558" y="443"/>
                  </a:lnTo>
                  <a:lnTo>
                    <a:pt x="558" y="442"/>
                  </a:lnTo>
                  <a:lnTo>
                    <a:pt x="558" y="441"/>
                  </a:lnTo>
                  <a:lnTo>
                    <a:pt x="559" y="441"/>
                  </a:lnTo>
                  <a:lnTo>
                    <a:pt x="560" y="441"/>
                  </a:lnTo>
                  <a:lnTo>
                    <a:pt x="560" y="442"/>
                  </a:lnTo>
                  <a:lnTo>
                    <a:pt x="560" y="443"/>
                  </a:lnTo>
                  <a:close/>
                  <a:moveTo>
                    <a:pt x="556" y="441"/>
                  </a:moveTo>
                  <a:lnTo>
                    <a:pt x="557" y="441"/>
                  </a:lnTo>
                  <a:lnTo>
                    <a:pt x="557" y="442"/>
                  </a:lnTo>
                  <a:lnTo>
                    <a:pt x="556" y="442"/>
                  </a:lnTo>
                  <a:lnTo>
                    <a:pt x="555" y="442"/>
                  </a:lnTo>
                  <a:lnTo>
                    <a:pt x="553" y="442"/>
                  </a:lnTo>
                  <a:lnTo>
                    <a:pt x="553" y="443"/>
                  </a:lnTo>
                  <a:lnTo>
                    <a:pt x="553" y="442"/>
                  </a:lnTo>
                  <a:lnTo>
                    <a:pt x="553" y="441"/>
                  </a:lnTo>
                  <a:lnTo>
                    <a:pt x="555" y="441"/>
                  </a:lnTo>
                  <a:lnTo>
                    <a:pt x="556" y="441"/>
                  </a:lnTo>
                  <a:close/>
                  <a:moveTo>
                    <a:pt x="549" y="442"/>
                  </a:moveTo>
                  <a:lnTo>
                    <a:pt x="549" y="443"/>
                  </a:lnTo>
                  <a:lnTo>
                    <a:pt x="549" y="442"/>
                  </a:lnTo>
                  <a:lnTo>
                    <a:pt x="548" y="442"/>
                  </a:lnTo>
                  <a:lnTo>
                    <a:pt x="549" y="441"/>
                  </a:lnTo>
                  <a:lnTo>
                    <a:pt x="549" y="440"/>
                  </a:lnTo>
                  <a:lnTo>
                    <a:pt x="549" y="441"/>
                  </a:lnTo>
                  <a:lnTo>
                    <a:pt x="549" y="442"/>
                  </a:lnTo>
                  <a:close/>
                  <a:moveTo>
                    <a:pt x="555" y="440"/>
                  </a:moveTo>
                  <a:lnTo>
                    <a:pt x="556" y="440"/>
                  </a:lnTo>
                  <a:lnTo>
                    <a:pt x="557" y="440"/>
                  </a:lnTo>
                  <a:lnTo>
                    <a:pt x="556" y="441"/>
                  </a:lnTo>
                  <a:lnTo>
                    <a:pt x="555" y="441"/>
                  </a:lnTo>
                  <a:lnTo>
                    <a:pt x="555" y="440"/>
                  </a:lnTo>
                  <a:close/>
                  <a:moveTo>
                    <a:pt x="550" y="440"/>
                  </a:moveTo>
                  <a:lnTo>
                    <a:pt x="548" y="440"/>
                  </a:lnTo>
                  <a:lnTo>
                    <a:pt x="548" y="438"/>
                  </a:lnTo>
                  <a:lnTo>
                    <a:pt x="549" y="438"/>
                  </a:lnTo>
                  <a:lnTo>
                    <a:pt x="550" y="438"/>
                  </a:lnTo>
                  <a:lnTo>
                    <a:pt x="550" y="440"/>
                  </a:lnTo>
                  <a:close/>
                  <a:moveTo>
                    <a:pt x="553" y="437"/>
                  </a:moveTo>
                  <a:lnTo>
                    <a:pt x="553" y="438"/>
                  </a:lnTo>
                  <a:lnTo>
                    <a:pt x="556" y="437"/>
                  </a:lnTo>
                  <a:lnTo>
                    <a:pt x="556" y="438"/>
                  </a:lnTo>
                  <a:lnTo>
                    <a:pt x="557" y="438"/>
                  </a:lnTo>
                  <a:lnTo>
                    <a:pt x="557" y="440"/>
                  </a:lnTo>
                  <a:lnTo>
                    <a:pt x="556" y="440"/>
                  </a:lnTo>
                  <a:lnTo>
                    <a:pt x="555" y="440"/>
                  </a:lnTo>
                  <a:lnTo>
                    <a:pt x="553" y="438"/>
                  </a:lnTo>
                  <a:lnTo>
                    <a:pt x="552" y="438"/>
                  </a:lnTo>
                  <a:lnTo>
                    <a:pt x="551" y="438"/>
                  </a:lnTo>
                  <a:lnTo>
                    <a:pt x="551" y="437"/>
                  </a:lnTo>
                  <a:lnTo>
                    <a:pt x="552" y="437"/>
                  </a:lnTo>
                  <a:lnTo>
                    <a:pt x="553" y="437"/>
                  </a:lnTo>
                  <a:close/>
                  <a:moveTo>
                    <a:pt x="550" y="438"/>
                  </a:moveTo>
                  <a:lnTo>
                    <a:pt x="549" y="438"/>
                  </a:lnTo>
                  <a:lnTo>
                    <a:pt x="549" y="437"/>
                  </a:lnTo>
                  <a:lnTo>
                    <a:pt x="548" y="437"/>
                  </a:lnTo>
                  <a:lnTo>
                    <a:pt x="548" y="436"/>
                  </a:lnTo>
                  <a:lnTo>
                    <a:pt x="549" y="436"/>
                  </a:lnTo>
                  <a:lnTo>
                    <a:pt x="550" y="437"/>
                  </a:lnTo>
                  <a:lnTo>
                    <a:pt x="550" y="438"/>
                  </a:lnTo>
                  <a:close/>
                  <a:moveTo>
                    <a:pt x="555" y="434"/>
                  </a:moveTo>
                  <a:lnTo>
                    <a:pt x="556" y="434"/>
                  </a:lnTo>
                  <a:lnTo>
                    <a:pt x="556" y="435"/>
                  </a:lnTo>
                  <a:lnTo>
                    <a:pt x="557" y="435"/>
                  </a:lnTo>
                  <a:lnTo>
                    <a:pt x="557" y="436"/>
                  </a:lnTo>
                  <a:lnTo>
                    <a:pt x="557" y="437"/>
                  </a:lnTo>
                  <a:lnTo>
                    <a:pt x="557" y="438"/>
                  </a:lnTo>
                  <a:lnTo>
                    <a:pt x="556" y="437"/>
                  </a:lnTo>
                  <a:lnTo>
                    <a:pt x="555" y="437"/>
                  </a:lnTo>
                  <a:lnTo>
                    <a:pt x="553" y="437"/>
                  </a:lnTo>
                  <a:lnTo>
                    <a:pt x="553" y="436"/>
                  </a:lnTo>
                  <a:lnTo>
                    <a:pt x="552" y="436"/>
                  </a:lnTo>
                  <a:lnTo>
                    <a:pt x="551" y="436"/>
                  </a:lnTo>
                  <a:lnTo>
                    <a:pt x="550" y="436"/>
                  </a:lnTo>
                  <a:lnTo>
                    <a:pt x="550" y="435"/>
                  </a:lnTo>
                  <a:lnTo>
                    <a:pt x="550" y="434"/>
                  </a:lnTo>
                  <a:lnTo>
                    <a:pt x="551" y="434"/>
                  </a:lnTo>
                  <a:lnTo>
                    <a:pt x="552" y="434"/>
                  </a:lnTo>
                  <a:lnTo>
                    <a:pt x="553" y="434"/>
                  </a:lnTo>
                  <a:lnTo>
                    <a:pt x="555" y="434"/>
                  </a:lnTo>
                  <a:close/>
                  <a:moveTo>
                    <a:pt x="553" y="433"/>
                  </a:moveTo>
                  <a:lnTo>
                    <a:pt x="552" y="434"/>
                  </a:lnTo>
                  <a:lnTo>
                    <a:pt x="551" y="434"/>
                  </a:lnTo>
                  <a:lnTo>
                    <a:pt x="551" y="433"/>
                  </a:lnTo>
                  <a:lnTo>
                    <a:pt x="551" y="434"/>
                  </a:lnTo>
                  <a:lnTo>
                    <a:pt x="552" y="434"/>
                  </a:lnTo>
                  <a:lnTo>
                    <a:pt x="551" y="434"/>
                  </a:lnTo>
                  <a:lnTo>
                    <a:pt x="550" y="434"/>
                  </a:lnTo>
                  <a:lnTo>
                    <a:pt x="549" y="434"/>
                  </a:lnTo>
                  <a:lnTo>
                    <a:pt x="548" y="434"/>
                  </a:lnTo>
                  <a:lnTo>
                    <a:pt x="548" y="433"/>
                  </a:lnTo>
                  <a:lnTo>
                    <a:pt x="549" y="433"/>
                  </a:lnTo>
                  <a:lnTo>
                    <a:pt x="549" y="431"/>
                  </a:lnTo>
                  <a:lnTo>
                    <a:pt x="550" y="431"/>
                  </a:lnTo>
                  <a:lnTo>
                    <a:pt x="551" y="433"/>
                  </a:lnTo>
                  <a:lnTo>
                    <a:pt x="552" y="433"/>
                  </a:lnTo>
                  <a:lnTo>
                    <a:pt x="553" y="433"/>
                  </a:lnTo>
                  <a:close/>
                  <a:moveTo>
                    <a:pt x="551" y="431"/>
                  </a:moveTo>
                  <a:lnTo>
                    <a:pt x="550" y="431"/>
                  </a:lnTo>
                  <a:lnTo>
                    <a:pt x="549" y="431"/>
                  </a:lnTo>
                  <a:lnTo>
                    <a:pt x="549" y="430"/>
                  </a:lnTo>
                  <a:lnTo>
                    <a:pt x="550" y="430"/>
                  </a:lnTo>
                  <a:lnTo>
                    <a:pt x="551" y="430"/>
                  </a:lnTo>
                  <a:lnTo>
                    <a:pt x="551" y="431"/>
                  </a:lnTo>
                  <a:close/>
                  <a:moveTo>
                    <a:pt x="553" y="431"/>
                  </a:moveTo>
                  <a:lnTo>
                    <a:pt x="555" y="433"/>
                  </a:lnTo>
                  <a:lnTo>
                    <a:pt x="553" y="433"/>
                  </a:lnTo>
                  <a:lnTo>
                    <a:pt x="552" y="431"/>
                  </a:lnTo>
                  <a:lnTo>
                    <a:pt x="553" y="431"/>
                  </a:lnTo>
                  <a:lnTo>
                    <a:pt x="553" y="433"/>
                  </a:lnTo>
                  <a:lnTo>
                    <a:pt x="553" y="431"/>
                  </a:lnTo>
                  <a:lnTo>
                    <a:pt x="552" y="431"/>
                  </a:lnTo>
                  <a:lnTo>
                    <a:pt x="552" y="430"/>
                  </a:lnTo>
                  <a:lnTo>
                    <a:pt x="553" y="430"/>
                  </a:lnTo>
                  <a:lnTo>
                    <a:pt x="553" y="431"/>
                  </a:lnTo>
                  <a:close/>
                  <a:moveTo>
                    <a:pt x="538" y="433"/>
                  </a:moveTo>
                  <a:lnTo>
                    <a:pt x="537" y="433"/>
                  </a:lnTo>
                  <a:lnTo>
                    <a:pt x="537" y="431"/>
                  </a:lnTo>
                  <a:lnTo>
                    <a:pt x="536" y="431"/>
                  </a:lnTo>
                  <a:lnTo>
                    <a:pt x="536" y="430"/>
                  </a:lnTo>
                  <a:lnTo>
                    <a:pt x="537" y="430"/>
                  </a:lnTo>
                  <a:lnTo>
                    <a:pt x="538" y="431"/>
                  </a:lnTo>
                  <a:lnTo>
                    <a:pt x="538" y="433"/>
                  </a:lnTo>
                  <a:close/>
                  <a:moveTo>
                    <a:pt x="556" y="430"/>
                  </a:moveTo>
                  <a:lnTo>
                    <a:pt x="556" y="431"/>
                  </a:lnTo>
                  <a:lnTo>
                    <a:pt x="555" y="431"/>
                  </a:lnTo>
                  <a:lnTo>
                    <a:pt x="555" y="430"/>
                  </a:lnTo>
                  <a:lnTo>
                    <a:pt x="555" y="429"/>
                  </a:lnTo>
                  <a:lnTo>
                    <a:pt x="556" y="429"/>
                  </a:lnTo>
                  <a:lnTo>
                    <a:pt x="556" y="430"/>
                  </a:lnTo>
                  <a:close/>
                  <a:moveTo>
                    <a:pt x="548" y="431"/>
                  </a:moveTo>
                  <a:lnTo>
                    <a:pt x="546" y="431"/>
                  </a:lnTo>
                  <a:lnTo>
                    <a:pt x="545" y="431"/>
                  </a:lnTo>
                  <a:lnTo>
                    <a:pt x="545" y="430"/>
                  </a:lnTo>
                  <a:lnTo>
                    <a:pt x="544" y="430"/>
                  </a:lnTo>
                  <a:lnTo>
                    <a:pt x="544" y="429"/>
                  </a:lnTo>
                  <a:lnTo>
                    <a:pt x="545" y="429"/>
                  </a:lnTo>
                  <a:lnTo>
                    <a:pt x="545" y="430"/>
                  </a:lnTo>
                  <a:lnTo>
                    <a:pt x="546" y="430"/>
                  </a:lnTo>
                  <a:lnTo>
                    <a:pt x="548" y="431"/>
                  </a:lnTo>
                  <a:close/>
                  <a:moveTo>
                    <a:pt x="544" y="429"/>
                  </a:moveTo>
                  <a:lnTo>
                    <a:pt x="545" y="429"/>
                  </a:lnTo>
                  <a:lnTo>
                    <a:pt x="544" y="429"/>
                  </a:lnTo>
                  <a:lnTo>
                    <a:pt x="543" y="429"/>
                  </a:lnTo>
                  <a:lnTo>
                    <a:pt x="542" y="429"/>
                  </a:lnTo>
                  <a:lnTo>
                    <a:pt x="542" y="428"/>
                  </a:lnTo>
                  <a:lnTo>
                    <a:pt x="543" y="428"/>
                  </a:lnTo>
                  <a:lnTo>
                    <a:pt x="544" y="428"/>
                  </a:lnTo>
                  <a:lnTo>
                    <a:pt x="544" y="429"/>
                  </a:lnTo>
                  <a:close/>
                  <a:moveTo>
                    <a:pt x="551" y="428"/>
                  </a:moveTo>
                  <a:lnTo>
                    <a:pt x="552" y="429"/>
                  </a:lnTo>
                  <a:lnTo>
                    <a:pt x="551" y="429"/>
                  </a:lnTo>
                  <a:lnTo>
                    <a:pt x="550" y="429"/>
                  </a:lnTo>
                  <a:lnTo>
                    <a:pt x="550" y="430"/>
                  </a:lnTo>
                  <a:lnTo>
                    <a:pt x="549" y="430"/>
                  </a:lnTo>
                  <a:lnTo>
                    <a:pt x="548" y="430"/>
                  </a:lnTo>
                  <a:lnTo>
                    <a:pt x="546" y="430"/>
                  </a:lnTo>
                  <a:lnTo>
                    <a:pt x="546" y="429"/>
                  </a:lnTo>
                  <a:lnTo>
                    <a:pt x="545" y="429"/>
                  </a:lnTo>
                  <a:lnTo>
                    <a:pt x="545" y="428"/>
                  </a:lnTo>
                  <a:lnTo>
                    <a:pt x="546" y="428"/>
                  </a:lnTo>
                  <a:lnTo>
                    <a:pt x="550" y="428"/>
                  </a:lnTo>
                  <a:lnTo>
                    <a:pt x="551" y="428"/>
                  </a:lnTo>
                  <a:close/>
                  <a:moveTo>
                    <a:pt x="540" y="427"/>
                  </a:moveTo>
                  <a:lnTo>
                    <a:pt x="541" y="427"/>
                  </a:lnTo>
                  <a:lnTo>
                    <a:pt x="541" y="428"/>
                  </a:lnTo>
                  <a:lnTo>
                    <a:pt x="541" y="429"/>
                  </a:lnTo>
                  <a:lnTo>
                    <a:pt x="540" y="428"/>
                  </a:lnTo>
                  <a:lnTo>
                    <a:pt x="540" y="427"/>
                  </a:lnTo>
                  <a:close/>
                  <a:moveTo>
                    <a:pt x="553" y="427"/>
                  </a:moveTo>
                  <a:lnTo>
                    <a:pt x="555" y="427"/>
                  </a:lnTo>
                  <a:lnTo>
                    <a:pt x="553" y="427"/>
                  </a:lnTo>
                  <a:lnTo>
                    <a:pt x="555" y="427"/>
                  </a:lnTo>
                  <a:lnTo>
                    <a:pt x="555" y="428"/>
                  </a:lnTo>
                  <a:lnTo>
                    <a:pt x="555" y="429"/>
                  </a:lnTo>
                  <a:lnTo>
                    <a:pt x="556" y="429"/>
                  </a:lnTo>
                  <a:lnTo>
                    <a:pt x="555" y="429"/>
                  </a:lnTo>
                  <a:lnTo>
                    <a:pt x="553" y="429"/>
                  </a:lnTo>
                  <a:lnTo>
                    <a:pt x="552" y="428"/>
                  </a:lnTo>
                  <a:lnTo>
                    <a:pt x="552" y="427"/>
                  </a:lnTo>
                  <a:lnTo>
                    <a:pt x="553" y="427"/>
                  </a:lnTo>
                  <a:close/>
                  <a:moveTo>
                    <a:pt x="548" y="426"/>
                  </a:moveTo>
                  <a:lnTo>
                    <a:pt x="548" y="427"/>
                  </a:lnTo>
                  <a:lnTo>
                    <a:pt x="546" y="427"/>
                  </a:lnTo>
                  <a:lnTo>
                    <a:pt x="545" y="427"/>
                  </a:lnTo>
                  <a:lnTo>
                    <a:pt x="545" y="426"/>
                  </a:lnTo>
                  <a:lnTo>
                    <a:pt x="546" y="426"/>
                  </a:lnTo>
                  <a:lnTo>
                    <a:pt x="548" y="426"/>
                  </a:lnTo>
                  <a:close/>
                  <a:moveTo>
                    <a:pt x="550" y="427"/>
                  </a:moveTo>
                  <a:lnTo>
                    <a:pt x="549" y="427"/>
                  </a:lnTo>
                  <a:lnTo>
                    <a:pt x="548" y="427"/>
                  </a:lnTo>
                  <a:lnTo>
                    <a:pt x="548" y="426"/>
                  </a:lnTo>
                  <a:lnTo>
                    <a:pt x="549" y="426"/>
                  </a:lnTo>
                  <a:lnTo>
                    <a:pt x="548" y="426"/>
                  </a:lnTo>
                  <a:lnTo>
                    <a:pt x="546" y="424"/>
                  </a:lnTo>
                  <a:lnTo>
                    <a:pt x="548" y="424"/>
                  </a:lnTo>
                  <a:lnTo>
                    <a:pt x="548" y="426"/>
                  </a:lnTo>
                  <a:lnTo>
                    <a:pt x="549" y="426"/>
                  </a:lnTo>
                  <a:lnTo>
                    <a:pt x="550" y="426"/>
                  </a:lnTo>
                  <a:lnTo>
                    <a:pt x="550" y="427"/>
                  </a:lnTo>
                  <a:close/>
                  <a:moveTo>
                    <a:pt x="546" y="426"/>
                  </a:moveTo>
                  <a:lnTo>
                    <a:pt x="545" y="426"/>
                  </a:lnTo>
                  <a:lnTo>
                    <a:pt x="544" y="426"/>
                  </a:lnTo>
                  <a:lnTo>
                    <a:pt x="544" y="427"/>
                  </a:lnTo>
                  <a:lnTo>
                    <a:pt x="545" y="427"/>
                  </a:lnTo>
                  <a:lnTo>
                    <a:pt x="544" y="427"/>
                  </a:lnTo>
                  <a:lnTo>
                    <a:pt x="543" y="427"/>
                  </a:lnTo>
                  <a:lnTo>
                    <a:pt x="543" y="426"/>
                  </a:lnTo>
                  <a:lnTo>
                    <a:pt x="542" y="426"/>
                  </a:lnTo>
                  <a:lnTo>
                    <a:pt x="543" y="424"/>
                  </a:lnTo>
                  <a:lnTo>
                    <a:pt x="544" y="424"/>
                  </a:lnTo>
                  <a:lnTo>
                    <a:pt x="544" y="426"/>
                  </a:lnTo>
                  <a:lnTo>
                    <a:pt x="544" y="424"/>
                  </a:lnTo>
                  <a:lnTo>
                    <a:pt x="545" y="424"/>
                  </a:lnTo>
                  <a:lnTo>
                    <a:pt x="546" y="424"/>
                  </a:lnTo>
                  <a:lnTo>
                    <a:pt x="546" y="426"/>
                  </a:lnTo>
                  <a:close/>
                  <a:moveTo>
                    <a:pt x="551" y="426"/>
                  </a:moveTo>
                  <a:lnTo>
                    <a:pt x="550" y="426"/>
                  </a:lnTo>
                  <a:lnTo>
                    <a:pt x="550" y="424"/>
                  </a:lnTo>
                  <a:lnTo>
                    <a:pt x="551" y="424"/>
                  </a:lnTo>
                  <a:lnTo>
                    <a:pt x="552" y="424"/>
                  </a:lnTo>
                  <a:lnTo>
                    <a:pt x="551" y="426"/>
                  </a:lnTo>
                  <a:close/>
                  <a:moveTo>
                    <a:pt x="563" y="426"/>
                  </a:moveTo>
                  <a:lnTo>
                    <a:pt x="563" y="424"/>
                  </a:lnTo>
                  <a:lnTo>
                    <a:pt x="564" y="424"/>
                  </a:lnTo>
                  <a:lnTo>
                    <a:pt x="564" y="426"/>
                  </a:lnTo>
                  <a:lnTo>
                    <a:pt x="565" y="426"/>
                  </a:lnTo>
                  <a:lnTo>
                    <a:pt x="565" y="427"/>
                  </a:lnTo>
                  <a:lnTo>
                    <a:pt x="565" y="428"/>
                  </a:lnTo>
                  <a:lnTo>
                    <a:pt x="564" y="428"/>
                  </a:lnTo>
                  <a:lnTo>
                    <a:pt x="563" y="428"/>
                  </a:lnTo>
                  <a:lnTo>
                    <a:pt x="564" y="428"/>
                  </a:lnTo>
                  <a:lnTo>
                    <a:pt x="565" y="428"/>
                  </a:lnTo>
                  <a:lnTo>
                    <a:pt x="565" y="429"/>
                  </a:lnTo>
                  <a:lnTo>
                    <a:pt x="564" y="430"/>
                  </a:lnTo>
                  <a:lnTo>
                    <a:pt x="564" y="431"/>
                  </a:lnTo>
                  <a:lnTo>
                    <a:pt x="563" y="431"/>
                  </a:lnTo>
                  <a:lnTo>
                    <a:pt x="563" y="433"/>
                  </a:lnTo>
                  <a:lnTo>
                    <a:pt x="562" y="433"/>
                  </a:lnTo>
                  <a:lnTo>
                    <a:pt x="560" y="433"/>
                  </a:lnTo>
                  <a:lnTo>
                    <a:pt x="559" y="431"/>
                  </a:lnTo>
                  <a:lnTo>
                    <a:pt x="558" y="431"/>
                  </a:lnTo>
                  <a:lnTo>
                    <a:pt x="558" y="430"/>
                  </a:lnTo>
                  <a:lnTo>
                    <a:pt x="559" y="430"/>
                  </a:lnTo>
                  <a:lnTo>
                    <a:pt x="560" y="430"/>
                  </a:lnTo>
                  <a:lnTo>
                    <a:pt x="559" y="430"/>
                  </a:lnTo>
                  <a:lnTo>
                    <a:pt x="558" y="430"/>
                  </a:lnTo>
                  <a:lnTo>
                    <a:pt x="558" y="429"/>
                  </a:lnTo>
                  <a:lnTo>
                    <a:pt x="557" y="428"/>
                  </a:lnTo>
                  <a:lnTo>
                    <a:pt x="558" y="427"/>
                  </a:lnTo>
                  <a:lnTo>
                    <a:pt x="558" y="428"/>
                  </a:lnTo>
                  <a:lnTo>
                    <a:pt x="559" y="428"/>
                  </a:lnTo>
                  <a:lnTo>
                    <a:pt x="559" y="427"/>
                  </a:lnTo>
                  <a:lnTo>
                    <a:pt x="558" y="427"/>
                  </a:lnTo>
                  <a:lnTo>
                    <a:pt x="559" y="427"/>
                  </a:lnTo>
                  <a:lnTo>
                    <a:pt x="560" y="427"/>
                  </a:lnTo>
                  <a:lnTo>
                    <a:pt x="559" y="427"/>
                  </a:lnTo>
                  <a:lnTo>
                    <a:pt x="559" y="426"/>
                  </a:lnTo>
                  <a:lnTo>
                    <a:pt x="558" y="426"/>
                  </a:lnTo>
                  <a:lnTo>
                    <a:pt x="558" y="424"/>
                  </a:lnTo>
                  <a:lnTo>
                    <a:pt x="559" y="424"/>
                  </a:lnTo>
                  <a:lnTo>
                    <a:pt x="560" y="424"/>
                  </a:lnTo>
                  <a:lnTo>
                    <a:pt x="562" y="426"/>
                  </a:lnTo>
                  <a:lnTo>
                    <a:pt x="560" y="424"/>
                  </a:lnTo>
                  <a:lnTo>
                    <a:pt x="562" y="423"/>
                  </a:lnTo>
                  <a:lnTo>
                    <a:pt x="562" y="424"/>
                  </a:lnTo>
                  <a:lnTo>
                    <a:pt x="563" y="424"/>
                  </a:lnTo>
                  <a:lnTo>
                    <a:pt x="563" y="426"/>
                  </a:lnTo>
                  <a:close/>
                  <a:moveTo>
                    <a:pt x="553" y="424"/>
                  </a:moveTo>
                  <a:lnTo>
                    <a:pt x="552" y="424"/>
                  </a:lnTo>
                  <a:lnTo>
                    <a:pt x="551" y="424"/>
                  </a:lnTo>
                  <a:lnTo>
                    <a:pt x="552" y="423"/>
                  </a:lnTo>
                  <a:lnTo>
                    <a:pt x="553" y="423"/>
                  </a:lnTo>
                  <a:lnTo>
                    <a:pt x="553" y="424"/>
                  </a:lnTo>
                  <a:lnTo>
                    <a:pt x="552" y="424"/>
                  </a:lnTo>
                  <a:lnTo>
                    <a:pt x="553" y="424"/>
                  </a:lnTo>
                  <a:close/>
                  <a:moveTo>
                    <a:pt x="549" y="423"/>
                  </a:moveTo>
                  <a:lnTo>
                    <a:pt x="550" y="423"/>
                  </a:lnTo>
                  <a:lnTo>
                    <a:pt x="550" y="424"/>
                  </a:lnTo>
                  <a:lnTo>
                    <a:pt x="550" y="426"/>
                  </a:lnTo>
                  <a:lnTo>
                    <a:pt x="549" y="424"/>
                  </a:lnTo>
                  <a:lnTo>
                    <a:pt x="548" y="424"/>
                  </a:lnTo>
                  <a:lnTo>
                    <a:pt x="548" y="423"/>
                  </a:lnTo>
                  <a:lnTo>
                    <a:pt x="546" y="423"/>
                  </a:lnTo>
                  <a:lnTo>
                    <a:pt x="548" y="423"/>
                  </a:lnTo>
                  <a:lnTo>
                    <a:pt x="549" y="423"/>
                  </a:lnTo>
                  <a:close/>
                  <a:moveTo>
                    <a:pt x="558" y="423"/>
                  </a:moveTo>
                  <a:lnTo>
                    <a:pt x="559" y="423"/>
                  </a:lnTo>
                  <a:lnTo>
                    <a:pt x="559" y="424"/>
                  </a:lnTo>
                  <a:lnTo>
                    <a:pt x="558" y="424"/>
                  </a:lnTo>
                  <a:lnTo>
                    <a:pt x="557" y="423"/>
                  </a:lnTo>
                  <a:lnTo>
                    <a:pt x="558" y="423"/>
                  </a:lnTo>
                  <a:close/>
                  <a:moveTo>
                    <a:pt x="551" y="422"/>
                  </a:moveTo>
                  <a:lnTo>
                    <a:pt x="551" y="423"/>
                  </a:lnTo>
                  <a:lnTo>
                    <a:pt x="550" y="423"/>
                  </a:lnTo>
                  <a:lnTo>
                    <a:pt x="549" y="423"/>
                  </a:lnTo>
                  <a:lnTo>
                    <a:pt x="549" y="422"/>
                  </a:lnTo>
                  <a:lnTo>
                    <a:pt x="550" y="423"/>
                  </a:lnTo>
                  <a:lnTo>
                    <a:pt x="550" y="422"/>
                  </a:lnTo>
                  <a:lnTo>
                    <a:pt x="551" y="422"/>
                  </a:lnTo>
                  <a:close/>
                  <a:moveTo>
                    <a:pt x="544" y="423"/>
                  </a:moveTo>
                  <a:lnTo>
                    <a:pt x="543" y="422"/>
                  </a:lnTo>
                  <a:lnTo>
                    <a:pt x="544" y="422"/>
                  </a:lnTo>
                  <a:lnTo>
                    <a:pt x="544" y="423"/>
                  </a:lnTo>
                  <a:close/>
                  <a:moveTo>
                    <a:pt x="552" y="422"/>
                  </a:moveTo>
                  <a:lnTo>
                    <a:pt x="552" y="423"/>
                  </a:lnTo>
                  <a:lnTo>
                    <a:pt x="551" y="423"/>
                  </a:lnTo>
                  <a:lnTo>
                    <a:pt x="551" y="422"/>
                  </a:lnTo>
                  <a:lnTo>
                    <a:pt x="552" y="422"/>
                  </a:lnTo>
                  <a:close/>
                  <a:moveTo>
                    <a:pt x="548" y="421"/>
                  </a:moveTo>
                  <a:lnTo>
                    <a:pt x="549" y="421"/>
                  </a:lnTo>
                  <a:lnTo>
                    <a:pt x="549" y="422"/>
                  </a:lnTo>
                  <a:lnTo>
                    <a:pt x="548" y="422"/>
                  </a:lnTo>
                  <a:lnTo>
                    <a:pt x="549" y="423"/>
                  </a:lnTo>
                  <a:lnTo>
                    <a:pt x="548" y="423"/>
                  </a:lnTo>
                  <a:lnTo>
                    <a:pt x="546" y="422"/>
                  </a:lnTo>
                  <a:lnTo>
                    <a:pt x="546" y="421"/>
                  </a:lnTo>
                  <a:lnTo>
                    <a:pt x="548" y="421"/>
                  </a:lnTo>
                  <a:lnTo>
                    <a:pt x="546" y="421"/>
                  </a:lnTo>
                  <a:lnTo>
                    <a:pt x="548" y="421"/>
                  </a:lnTo>
                  <a:close/>
                  <a:moveTo>
                    <a:pt x="544" y="421"/>
                  </a:moveTo>
                  <a:lnTo>
                    <a:pt x="543" y="421"/>
                  </a:lnTo>
                  <a:lnTo>
                    <a:pt x="544" y="420"/>
                  </a:lnTo>
                  <a:lnTo>
                    <a:pt x="544" y="421"/>
                  </a:lnTo>
                  <a:close/>
                  <a:moveTo>
                    <a:pt x="549" y="421"/>
                  </a:moveTo>
                  <a:lnTo>
                    <a:pt x="550" y="421"/>
                  </a:lnTo>
                  <a:lnTo>
                    <a:pt x="549" y="421"/>
                  </a:lnTo>
                  <a:lnTo>
                    <a:pt x="548" y="421"/>
                  </a:lnTo>
                  <a:lnTo>
                    <a:pt x="548" y="420"/>
                  </a:lnTo>
                  <a:lnTo>
                    <a:pt x="549" y="420"/>
                  </a:lnTo>
                  <a:lnTo>
                    <a:pt x="549" y="421"/>
                  </a:lnTo>
                  <a:close/>
                  <a:moveTo>
                    <a:pt x="544" y="419"/>
                  </a:moveTo>
                  <a:lnTo>
                    <a:pt x="543" y="419"/>
                  </a:lnTo>
                  <a:lnTo>
                    <a:pt x="544" y="419"/>
                  </a:lnTo>
                  <a:close/>
                  <a:moveTo>
                    <a:pt x="552" y="420"/>
                  </a:moveTo>
                  <a:lnTo>
                    <a:pt x="551" y="420"/>
                  </a:lnTo>
                  <a:lnTo>
                    <a:pt x="551" y="419"/>
                  </a:lnTo>
                  <a:lnTo>
                    <a:pt x="550" y="419"/>
                  </a:lnTo>
                  <a:lnTo>
                    <a:pt x="550" y="417"/>
                  </a:lnTo>
                  <a:lnTo>
                    <a:pt x="551" y="417"/>
                  </a:lnTo>
                  <a:lnTo>
                    <a:pt x="551" y="419"/>
                  </a:lnTo>
                  <a:lnTo>
                    <a:pt x="552" y="420"/>
                  </a:lnTo>
                  <a:close/>
                  <a:moveTo>
                    <a:pt x="557" y="419"/>
                  </a:moveTo>
                  <a:lnTo>
                    <a:pt x="556" y="419"/>
                  </a:lnTo>
                  <a:lnTo>
                    <a:pt x="556" y="417"/>
                  </a:lnTo>
                  <a:lnTo>
                    <a:pt x="556" y="416"/>
                  </a:lnTo>
                  <a:lnTo>
                    <a:pt x="557" y="416"/>
                  </a:lnTo>
                  <a:lnTo>
                    <a:pt x="557" y="417"/>
                  </a:lnTo>
                  <a:lnTo>
                    <a:pt x="557" y="419"/>
                  </a:lnTo>
                  <a:close/>
                  <a:moveTo>
                    <a:pt x="548" y="414"/>
                  </a:moveTo>
                  <a:lnTo>
                    <a:pt x="549" y="415"/>
                  </a:lnTo>
                  <a:lnTo>
                    <a:pt x="549" y="416"/>
                  </a:lnTo>
                  <a:lnTo>
                    <a:pt x="548" y="416"/>
                  </a:lnTo>
                  <a:lnTo>
                    <a:pt x="546" y="416"/>
                  </a:lnTo>
                  <a:lnTo>
                    <a:pt x="548" y="416"/>
                  </a:lnTo>
                  <a:lnTo>
                    <a:pt x="548" y="415"/>
                  </a:lnTo>
                  <a:lnTo>
                    <a:pt x="546" y="415"/>
                  </a:lnTo>
                  <a:lnTo>
                    <a:pt x="546" y="416"/>
                  </a:lnTo>
                  <a:lnTo>
                    <a:pt x="548" y="416"/>
                  </a:lnTo>
                  <a:lnTo>
                    <a:pt x="546" y="416"/>
                  </a:lnTo>
                  <a:lnTo>
                    <a:pt x="546" y="417"/>
                  </a:lnTo>
                  <a:lnTo>
                    <a:pt x="546" y="416"/>
                  </a:lnTo>
                  <a:lnTo>
                    <a:pt x="545" y="416"/>
                  </a:lnTo>
                  <a:lnTo>
                    <a:pt x="544" y="416"/>
                  </a:lnTo>
                  <a:lnTo>
                    <a:pt x="544" y="415"/>
                  </a:lnTo>
                  <a:lnTo>
                    <a:pt x="545" y="415"/>
                  </a:lnTo>
                  <a:lnTo>
                    <a:pt x="546" y="415"/>
                  </a:lnTo>
                  <a:lnTo>
                    <a:pt x="548" y="415"/>
                  </a:lnTo>
                  <a:lnTo>
                    <a:pt x="548" y="414"/>
                  </a:lnTo>
                  <a:lnTo>
                    <a:pt x="546" y="414"/>
                  </a:lnTo>
                  <a:lnTo>
                    <a:pt x="548" y="414"/>
                  </a:lnTo>
                  <a:close/>
                  <a:moveTo>
                    <a:pt x="536" y="412"/>
                  </a:moveTo>
                  <a:lnTo>
                    <a:pt x="537" y="412"/>
                  </a:lnTo>
                  <a:lnTo>
                    <a:pt x="537" y="413"/>
                  </a:lnTo>
                  <a:lnTo>
                    <a:pt x="536" y="413"/>
                  </a:lnTo>
                  <a:lnTo>
                    <a:pt x="535" y="413"/>
                  </a:lnTo>
                  <a:lnTo>
                    <a:pt x="535" y="412"/>
                  </a:lnTo>
                  <a:lnTo>
                    <a:pt x="534" y="412"/>
                  </a:lnTo>
                  <a:lnTo>
                    <a:pt x="535" y="412"/>
                  </a:lnTo>
                  <a:lnTo>
                    <a:pt x="535" y="410"/>
                  </a:lnTo>
                  <a:lnTo>
                    <a:pt x="536" y="412"/>
                  </a:lnTo>
                  <a:close/>
                  <a:moveTo>
                    <a:pt x="541" y="409"/>
                  </a:moveTo>
                  <a:lnTo>
                    <a:pt x="540" y="409"/>
                  </a:lnTo>
                  <a:lnTo>
                    <a:pt x="540" y="408"/>
                  </a:lnTo>
                  <a:lnTo>
                    <a:pt x="541" y="408"/>
                  </a:lnTo>
                  <a:lnTo>
                    <a:pt x="541" y="409"/>
                  </a:lnTo>
                  <a:close/>
                  <a:moveTo>
                    <a:pt x="546" y="406"/>
                  </a:moveTo>
                  <a:lnTo>
                    <a:pt x="545" y="406"/>
                  </a:lnTo>
                  <a:lnTo>
                    <a:pt x="546" y="406"/>
                  </a:lnTo>
                  <a:close/>
                  <a:moveTo>
                    <a:pt x="549" y="402"/>
                  </a:moveTo>
                  <a:lnTo>
                    <a:pt x="548" y="402"/>
                  </a:lnTo>
                  <a:lnTo>
                    <a:pt x="546" y="402"/>
                  </a:lnTo>
                  <a:lnTo>
                    <a:pt x="546" y="401"/>
                  </a:lnTo>
                  <a:lnTo>
                    <a:pt x="545" y="401"/>
                  </a:lnTo>
                  <a:lnTo>
                    <a:pt x="546" y="401"/>
                  </a:lnTo>
                  <a:lnTo>
                    <a:pt x="548" y="401"/>
                  </a:lnTo>
                  <a:lnTo>
                    <a:pt x="549" y="402"/>
                  </a:lnTo>
                  <a:close/>
                  <a:moveTo>
                    <a:pt x="552" y="399"/>
                  </a:moveTo>
                  <a:lnTo>
                    <a:pt x="553" y="399"/>
                  </a:lnTo>
                  <a:lnTo>
                    <a:pt x="553" y="398"/>
                  </a:lnTo>
                  <a:lnTo>
                    <a:pt x="553" y="399"/>
                  </a:lnTo>
                  <a:lnTo>
                    <a:pt x="553" y="400"/>
                  </a:lnTo>
                  <a:lnTo>
                    <a:pt x="553" y="399"/>
                  </a:lnTo>
                  <a:lnTo>
                    <a:pt x="552" y="399"/>
                  </a:lnTo>
                  <a:lnTo>
                    <a:pt x="552" y="398"/>
                  </a:lnTo>
                  <a:lnTo>
                    <a:pt x="552" y="399"/>
                  </a:lnTo>
                  <a:close/>
                  <a:moveTo>
                    <a:pt x="548" y="396"/>
                  </a:moveTo>
                  <a:lnTo>
                    <a:pt x="549" y="396"/>
                  </a:lnTo>
                  <a:lnTo>
                    <a:pt x="549" y="398"/>
                  </a:lnTo>
                  <a:lnTo>
                    <a:pt x="548" y="396"/>
                  </a:lnTo>
                  <a:close/>
                  <a:moveTo>
                    <a:pt x="544" y="396"/>
                  </a:moveTo>
                  <a:lnTo>
                    <a:pt x="543" y="396"/>
                  </a:lnTo>
                  <a:lnTo>
                    <a:pt x="542" y="396"/>
                  </a:lnTo>
                  <a:lnTo>
                    <a:pt x="543" y="396"/>
                  </a:lnTo>
                  <a:lnTo>
                    <a:pt x="544" y="395"/>
                  </a:lnTo>
                  <a:lnTo>
                    <a:pt x="544" y="396"/>
                  </a:lnTo>
                  <a:close/>
                  <a:moveTo>
                    <a:pt x="546" y="395"/>
                  </a:moveTo>
                  <a:lnTo>
                    <a:pt x="545" y="394"/>
                  </a:lnTo>
                  <a:lnTo>
                    <a:pt x="544" y="394"/>
                  </a:lnTo>
                  <a:lnTo>
                    <a:pt x="543" y="394"/>
                  </a:lnTo>
                  <a:lnTo>
                    <a:pt x="543" y="393"/>
                  </a:lnTo>
                  <a:lnTo>
                    <a:pt x="542" y="393"/>
                  </a:lnTo>
                  <a:lnTo>
                    <a:pt x="543" y="393"/>
                  </a:lnTo>
                  <a:lnTo>
                    <a:pt x="544" y="393"/>
                  </a:lnTo>
                  <a:lnTo>
                    <a:pt x="546" y="395"/>
                  </a:lnTo>
                  <a:close/>
                  <a:moveTo>
                    <a:pt x="549" y="391"/>
                  </a:moveTo>
                  <a:lnTo>
                    <a:pt x="549" y="392"/>
                  </a:lnTo>
                  <a:lnTo>
                    <a:pt x="548" y="392"/>
                  </a:lnTo>
                  <a:lnTo>
                    <a:pt x="548" y="391"/>
                  </a:lnTo>
                  <a:lnTo>
                    <a:pt x="549" y="391"/>
                  </a:lnTo>
                  <a:close/>
                  <a:moveTo>
                    <a:pt x="556" y="389"/>
                  </a:moveTo>
                  <a:lnTo>
                    <a:pt x="555" y="388"/>
                  </a:lnTo>
                  <a:lnTo>
                    <a:pt x="555" y="387"/>
                  </a:lnTo>
                  <a:lnTo>
                    <a:pt x="555" y="388"/>
                  </a:lnTo>
                  <a:lnTo>
                    <a:pt x="556" y="388"/>
                  </a:lnTo>
                  <a:lnTo>
                    <a:pt x="556" y="389"/>
                  </a:lnTo>
                  <a:close/>
                  <a:moveTo>
                    <a:pt x="536" y="384"/>
                  </a:moveTo>
                  <a:lnTo>
                    <a:pt x="536" y="385"/>
                  </a:lnTo>
                  <a:lnTo>
                    <a:pt x="536" y="384"/>
                  </a:lnTo>
                  <a:lnTo>
                    <a:pt x="535" y="384"/>
                  </a:lnTo>
                  <a:lnTo>
                    <a:pt x="535" y="385"/>
                  </a:lnTo>
                  <a:lnTo>
                    <a:pt x="536" y="385"/>
                  </a:lnTo>
                  <a:lnTo>
                    <a:pt x="537" y="385"/>
                  </a:lnTo>
                  <a:lnTo>
                    <a:pt x="538" y="385"/>
                  </a:lnTo>
                  <a:lnTo>
                    <a:pt x="538" y="384"/>
                  </a:lnTo>
                  <a:lnTo>
                    <a:pt x="540" y="384"/>
                  </a:lnTo>
                  <a:lnTo>
                    <a:pt x="540" y="385"/>
                  </a:lnTo>
                  <a:lnTo>
                    <a:pt x="540" y="384"/>
                  </a:lnTo>
                  <a:lnTo>
                    <a:pt x="541" y="384"/>
                  </a:lnTo>
                  <a:lnTo>
                    <a:pt x="541" y="385"/>
                  </a:lnTo>
                  <a:lnTo>
                    <a:pt x="542" y="385"/>
                  </a:lnTo>
                  <a:lnTo>
                    <a:pt x="541" y="385"/>
                  </a:lnTo>
                  <a:lnTo>
                    <a:pt x="542" y="385"/>
                  </a:lnTo>
                  <a:lnTo>
                    <a:pt x="542" y="386"/>
                  </a:lnTo>
                  <a:lnTo>
                    <a:pt x="541" y="386"/>
                  </a:lnTo>
                  <a:lnTo>
                    <a:pt x="542" y="386"/>
                  </a:lnTo>
                  <a:lnTo>
                    <a:pt x="543" y="387"/>
                  </a:lnTo>
                  <a:lnTo>
                    <a:pt x="543" y="388"/>
                  </a:lnTo>
                  <a:lnTo>
                    <a:pt x="543" y="389"/>
                  </a:lnTo>
                  <a:lnTo>
                    <a:pt x="544" y="389"/>
                  </a:lnTo>
                  <a:lnTo>
                    <a:pt x="545" y="389"/>
                  </a:lnTo>
                  <a:lnTo>
                    <a:pt x="545" y="391"/>
                  </a:lnTo>
                  <a:lnTo>
                    <a:pt x="544" y="391"/>
                  </a:lnTo>
                  <a:lnTo>
                    <a:pt x="545" y="391"/>
                  </a:lnTo>
                  <a:lnTo>
                    <a:pt x="545" y="392"/>
                  </a:lnTo>
                  <a:lnTo>
                    <a:pt x="544" y="392"/>
                  </a:lnTo>
                  <a:lnTo>
                    <a:pt x="543" y="392"/>
                  </a:lnTo>
                  <a:lnTo>
                    <a:pt x="542" y="392"/>
                  </a:lnTo>
                  <a:lnTo>
                    <a:pt x="542" y="393"/>
                  </a:lnTo>
                  <a:lnTo>
                    <a:pt x="542" y="394"/>
                  </a:lnTo>
                  <a:lnTo>
                    <a:pt x="543" y="394"/>
                  </a:lnTo>
                  <a:lnTo>
                    <a:pt x="543" y="395"/>
                  </a:lnTo>
                  <a:lnTo>
                    <a:pt x="542" y="395"/>
                  </a:lnTo>
                  <a:lnTo>
                    <a:pt x="542" y="394"/>
                  </a:lnTo>
                  <a:lnTo>
                    <a:pt x="541" y="394"/>
                  </a:lnTo>
                  <a:lnTo>
                    <a:pt x="541" y="395"/>
                  </a:lnTo>
                  <a:lnTo>
                    <a:pt x="542" y="395"/>
                  </a:lnTo>
                  <a:lnTo>
                    <a:pt x="542" y="396"/>
                  </a:lnTo>
                  <a:lnTo>
                    <a:pt x="543" y="398"/>
                  </a:lnTo>
                  <a:lnTo>
                    <a:pt x="544" y="398"/>
                  </a:lnTo>
                  <a:lnTo>
                    <a:pt x="544" y="399"/>
                  </a:lnTo>
                  <a:lnTo>
                    <a:pt x="545" y="399"/>
                  </a:lnTo>
                  <a:lnTo>
                    <a:pt x="546" y="399"/>
                  </a:lnTo>
                  <a:lnTo>
                    <a:pt x="546" y="400"/>
                  </a:lnTo>
                  <a:lnTo>
                    <a:pt x="546" y="401"/>
                  </a:lnTo>
                  <a:lnTo>
                    <a:pt x="545" y="401"/>
                  </a:lnTo>
                  <a:lnTo>
                    <a:pt x="545" y="400"/>
                  </a:lnTo>
                  <a:lnTo>
                    <a:pt x="545" y="401"/>
                  </a:lnTo>
                  <a:lnTo>
                    <a:pt x="544" y="400"/>
                  </a:lnTo>
                  <a:lnTo>
                    <a:pt x="545" y="401"/>
                  </a:lnTo>
                  <a:lnTo>
                    <a:pt x="545" y="402"/>
                  </a:lnTo>
                  <a:lnTo>
                    <a:pt x="546" y="402"/>
                  </a:lnTo>
                  <a:lnTo>
                    <a:pt x="548" y="403"/>
                  </a:lnTo>
                  <a:lnTo>
                    <a:pt x="546" y="403"/>
                  </a:lnTo>
                  <a:lnTo>
                    <a:pt x="548" y="403"/>
                  </a:lnTo>
                  <a:lnTo>
                    <a:pt x="548" y="405"/>
                  </a:lnTo>
                  <a:lnTo>
                    <a:pt x="546" y="405"/>
                  </a:lnTo>
                  <a:lnTo>
                    <a:pt x="545" y="405"/>
                  </a:lnTo>
                  <a:lnTo>
                    <a:pt x="544" y="405"/>
                  </a:lnTo>
                  <a:lnTo>
                    <a:pt x="545" y="405"/>
                  </a:lnTo>
                  <a:lnTo>
                    <a:pt x="545" y="406"/>
                  </a:lnTo>
                  <a:lnTo>
                    <a:pt x="546" y="406"/>
                  </a:lnTo>
                  <a:lnTo>
                    <a:pt x="546" y="407"/>
                  </a:lnTo>
                  <a:lnTo>
                    <a:pt x="548" y="407"/>
                  </a:lnTo>
                  <a:lnTo>
                    <a:pt x="546" y="407"/>
                  </a:lnTo>
                  <a:lnTo>
                    <a:pt x="546" y="408"/>
                  </a:lnTo>
                  <a:lnTo>
                    <a:pt x="548" y="408"/>
                  </a:lnTo>
                  <a:lnTo>
                    <a:pt x="546" y="408"/>
                  </a:lnTo>
                  <a:lnTo>
                    <a:pt x="545" y="408"/>
                  </a:lnTo>
                  <a:lnTo>
                    <a:pt x="546" y="409"/>
                  </a:lnTo>
                  <a:lnTo>
                    <a:pt x="545" y="409"/>
                  </a:lnTo>
                  <a:lnTo>
                    <a:pt x="544" y="408"/>
                  </a:lnTo>
                  <a:lnTo>
                    <a:pt x="543" y="408"/>
                  </a:lnTo>
                  <a:lnTo>
                    <a:pt x="542" y="408"/>
                  </a:lnTo>
                  <a:lnTo>
                    <a:pt x="542" y="409"/>
                  </a:lnTo>
                  <a:lnTo>
                    <a:pt x="542" y="408"/>
                  </a:lnTo>
                  <a:lnTo>
                    <a:pt x="541" y="408"/>
                  </a:lnTo>
                  <a:lnTo>
                    <a:pt x="540" y="408"/>
                  </a:lnTo>
                  <a:lnTo>
                    <a:pt x="540" y="407"/>
                  </a:lnTo>
                  <a:lnTo>
                    <a:pt x="538" y="407"/>
                  </a:lnTo>
                  <a:lnTo>
                    <a:pt x="537" y="407"/>
                  </a:lnTo>
                  <a:lnTo>
                    <a:pt x="537" y="406"/>
                  </a:lnTo>
                  <a:lnTo>
                    <a:pt x="537" y="405"/>
                  </a:lnTo>
                  <a:lnTo>
                    <a:pt x="538" y="405"/>
                  </a:lnTo>
                  <a:lnTo>
                    <a:pt x="537" y="405"/>
                  </a:lnTo>
                  <a:lnTo>
                    <a:pt x="537" y="403"/>
                  </a:lnTo>
                  <a:lnTo>
                    <a:pt x="538" y="403"/>
                  </a:lnTo>
                  <a:lnTo>
                    <a:pt x="538" y="402"/>
                  </a:lnTo>
                  <a:lnTo>
                    <a:pt x="538" y="401"/>
                  </a:lnTo>
                  <a:lnTo>
                    <a:pt x="538" y="400"/>
                  </a:lnTo>
                  <a:lnTo>
                    <a:pt x="538" y="399"/>
                  </a:lnTo>
                  <a:lnTo>
                    <a:pt x="537" y="398"/>
                  </a:lnTo>
                  <a:lnTo>
                    <a:pt x="538" y="398"/>
                  </a:lnTo>
                  <a:lnTo>
                    <a:pt x="537" y="396"/>
                  </a:lnTo>
                  <a:lnTo>
                    <a:pt x="537" y="395"/>
                  </a:lnTo>
                  <a:lnTo>
                    <a:pt x="536" y="395"/>
                  </a:lnTo>
                  <a:lnTo>
                    <a:pt x="536" y="394"/>
                  </a:lnTo>
                  <a:lnTo>
                    <a:pt x="536" y="393"/>
                  </a:lnTo>
                  <a:lnTo>
                    <a:pt x="536" y="392"/>
                  </a:lnTo>
                  <a:lnTo>
                    <a:pt x="535" y="391"/>
                  </a:lnTo>
                  <a:lnTo>
                    <a:pt x="535" y="389"/>
                  </a:lnTo>
                  <a:lnTo>
                    <a:pt x="536" y="389"/>
                  </a:lnTo>
                  <a:lnTo>
                    <a:pt x="536" y="388"/>
                  </a:lnTo>
                  <a:lnTo>
                    <a:pt x="536" y="387"/>
                  </a:lnTo>
                  <a:lnTo>
                    <a:pt x="535" y="387"/>
                  </a:lnTo>
                  <a:lnTo>
                    <a:pt x="535" y="386"/>
                  </a:lnTo>
                  <a:lnTo>
                    <a:pt x="535" y="385"/>
                  </a:lnTo>
                  <a:lnTo>
                    <a:pt x="534" y="384"/>
                  </a:lnTo>
                  <a:lnTo>
                    <a:pt x="535" y="384"/>
                  </a:lnTo>
                  <a:lnTo>
                    <a:pt x="536" y="384"/>
                  </a:lnTo>
                  <a:close/>
                  <a:moveTo>
                    <a:pt x="548" y="385"/>
                  </a:moveTo>
                  <a:lnTo>
                    <a:pt x="546" y="385"/>
                  </a:lnTo>
                  <a:lnTo>
                    <a:pt x="546" y="384"/>
                  </a:lnTo>
                  <a:lnTo>
                    <a:pt x="546" y="382"/>
                  </a:lnTo>
                  <a:lnTo>
                    <a:pt x="548" y="384"/>
                  </a:lnTo>
                  <a:lnTo>
                    <a:pt x="548" y="385"/>
                  </a:lnTo>
                  <a:close/>
                  <a:moveTo>
                    <a:pt x="520" y="330"/>
                  </a:moveTo>
                  <a:lnTo>
                    <a:pt x="519" y="330"/>
                  </a:lnTo>
                  <a:lnTo>
                    <a:pt x="519" y="329"/>
                  </a:lnTo>
                  <a:lnTo>
                    <a:pt x="520" y="329"/>
                  </a:lnTo>
                  <a:lnTo>
                    <a:pt x="520" y="330"/>
                  </a:lnTo>
                  <a:close/>
                  <a:moveTo>
                    <a:pt x="520" y="309"/>
                  </a:moveTo>
                  <a:lnTo>
                    <a:pt x="519" y="309"/>
                  </a:lnTo>
                  <a:lnTo>
                    <a:pt x="519" y="308"/>
                  </a:lnTo>
                  <a:lnTo>
                    <a:pt x="519" y="309"/>
                  </a:lnTo>
                  <a:lnTo>
                    <a:pt x="520" y="309"/>
                  </a:lnTo>
                  <a:close/>
                  <a:moveTo>
                    <a:pt x="410" y="258"/>
                  </a:moveTo>
                  <a:lnTo>
                    <a:pt x="410" y="256"/>
                  </a:lnTo>
                  <a:lnTo>
                    <a:pt x="409" y="256"/>
                  </a:lnTo>
                  <a:lnTo>
                    <a:pt x="410" y="255"/>
                  </a:lnTo>
                  <a:lnTo>
                    <a:pt x="410" y="256"/>
                  </a:lnTo>
                  <a:lnTo>
                    <a:pt x="410" y="258"/>
                  </a:lnTo>
                  <a:close/>
                  <a:moveTo>
                    <a:pt x="435" y="254"/>
                  </a:moveTo>
                  <a:lnTo>
                    <a:pt x="436" y="254"/>
                  </a:lnTo>
                  <a:lnTo>
                    <a:pt x="436" y="255"/>
                  </a:lnTo>
                  <a:lnTo>
                    <a:pt x="435" y="255"/>
                  </a:lnTo>
                  <a:lnTo>
                    <a:pt x="434" y="255"/>
                  </a:lnTo>
                  <a:lnTo>
                    <a:pt x="434" y="254"/>
                  </a:lnTo>
                  <a:lnTo>
                    <a:pt x="435" y="254"/>
                  </a:lnTo>
                  <a:close/>
                  <a:moveTo>
                    <a:pt x="2" y="151"/>
                  </a:moveTo>
                  <a:lnTo>
                    <a:pt x="3" y="151"/>
                  </a:lnTo>
                  <a:lnTo>
                    <a:pt x="2" y="151"/>
                  </a:lnTo>
                  <a:lnTo>
                    <a:pt x="2" y="153"/>
                  </a:lnTo>
                  <a:lnTo>
                    <a:pt x="1" y="153"/>
                  </a:lnTo>
                  <a:lnTo>
                    <a:pt x="0" y="153"/>
                  </a:lnTo>
                  <a:lnTo>
                    <a:pt x="0" y="151"/>
                  </a:lnTo>
                  <a:lnTo>
                    <a:pt x="1" y="151"/>
                  </a:lnTo>
                  <a:lnTo>
                    <a:pt x="2" y="151"/>
                  </a:lnTo>
                  <a:close/>
                  <a:moveTo>
                    <a:pt x="394" y="139"/>
                  </a:moveTo>
                  <a:lnTo>
                    <a:pt x="393" y="139"/>
                  </a:lnTo>
                  <a:lnTo>
                    <a:pt x="394" y="139"/>
                  </a:lnTo>
                  <a:close/>
                  <a:moveTo>
                    <a:pt x="522" y="2"/>
                  </a:moveTo>
                  <a:lnTo>
                    <a:pt x="523" y="3"/>
                  </a:lnTo>
                  <a:lnTo>
                    <a:pt x="524" y="5"/>
                  </a:lnTo>
                  <a:lnTo>
                    <a:pt x="524" y="6"/>
                  </a:lnTo>
                  <a:lnTo>
                    <a:pt x="524" y="7"/>
                  </a:lnTo>
                  <a:lnTo>
                    <a:pt x="526" y="7"/>
                  </a:lnTo>
                  <a:lnTo>
                    <a:pt x="526" y="8"/>
                  </a:lnTo>
                  <a:lnTo>
                    <a:pt x="527" y="8"/>
                  </a:lnTo>
                  <a:lnTo>
                    <a:pt x="528" y="8"/>
                  </a:lnTo>
                  <a:lnTo>
                    <a:pt x="528" y="9"/>
                  </a:lnTo>
                  <a:lnTo>
                    <a:pt x="527" y="9"/>
                  </a:lnTo>
                  <a:lnTo>
                    <a:pt x="527" y="10"/>
                  </a:lnTo>
                  <a:lnTo>
                    <a:pt x="528" y="12"/>
                  </a:lnTo>
                  <a:lnTo>
                    <a:pt x="528" y="13"/>
                  </a:lnTo>
                  <a:lnTo>
                    <a:pt x="528" y="14"/>
                  </a:lnTo>
                  <a:lnTo>
                    <a:pt x="529" y="15"/>
                  </a:lnTo>
                  <a:lnTo>
                    <a:pt x="529" y="16"/>
                  </a:lnTo>
                  <a:lnTo>
                    <a:pt x="529" y="17"/>
                  </a:lnTo>
                  <a:lnTo>
                    <a:pt x="530" y="19"/>
                  </a:lnTo>
                  <a:lnTo>
                    <a:pt x="530" y="20"/>
                  </a:lnTo>
                  <a:lnTo>
                    <a:pt x="530" y="21"/>
                  </a:lnTo>
                  <a:lnTo>
                    <a:pt x="530" y="22"/>
                  </a:lnTo>
                  <a:lnTo>
                    <a:pt x="530" y="23"/>
                  </a:lnTo>
                  <a:lnTo>
                    <a:pt x="531" y="23"/>
                  </a:lnTo>
                  <a:lnTo>
                    <a:pt x="531" y="24"/>
                  </a:lnTo>
                  <a:lnTo>
                    <a:pt x="533" y="24"/>
                  </a:lnTo>
                  <a:lnTo>
                    <a:pt x="533" y="26"/>
                  </a:lnTo>
                  <a:lnTo>
                    <a:pt x="535" y="27"/>
                  </a:lnTo>
                  <a:lnTo>
                    <a:pt x="535" y="28"/>
                  </a:lnTo>
                  <a:lnTo>
                    <a:pt x="536" y="28"/>
                  </a:lnTo>
                  <a:lnTo>
                    <a:pt x="538" y="29"/>
                  </a:lnTo>
                  <a:lnTo>
                    <a:pt x="538" y="30"/>
                  </a:lnTo>
                  <a:lnTo>
                    <a:pt x="538" y="31"/>
                  </a:lnTo>
                  <a:lnTo>
                    <a:pt x="537" y="31"/>
                  </a:lnTo>
                  <a:lnTo>
                    <a:pt x="537" y="33"/>
                  </a:lnTo>
                  <a:lnTo>
                    <a:pt x="536" y="34"/>
                  </a:lnTo>
                  <a:lnTo>
                    <a:pt x="536" y="35"/>
                  </a:lnTo>
                  <a:lnTo>
                    <a:pt x="536" y="36"/>
                  </a:lnTo>
                  <a:lnTo>
                    <a:pt x="537" y="36"/>
                  </a:lnTo>
                  <a:lnTo>
                    <a:pt x="537" y="37"/>
                  </a:lnTo>
                  <a:lnTo>
                    <a:pt x="538" y="37"/>
                  </a:lnTo>
                  <a:lnTo>
                    <a:pt x="538" y="38"/>
                  </a:lnTo>
                  <a:lnTo>
                    <a:pt x="538" y="40"/>
                  </a:lnTo>
                  <a:lnTo>
                    <a:pt x="537" y="40"/>
                  </a:lnTo>
                  <a:lnTo>
                    <a:pt x="535" y="41"/>
                  </a:lnTo>
                  <a:lnTo>
                    <a:pt x="536" y="42"/>
                  </a:lnTo>
                  <a:lnTo>
                    <a:pt x="536" y="43"/>
                  </a:lnTo>
                  <a:lnTo>
                    <a:pt x="537" y="44"/>
                  </a:lnTo>
                  <a:lnTo>
                    <a:pt x="536" y="44"/>
                  </a:lnTo>
                  <a:lnTo>
                    <a:pt x="536" y="45"/>
                  </a:lnTo>
                  <a:lnTo>
                    <a:pt x="536" y="47"/>
                  </a:lnTo>
                  <a:lnTo>
                    <a:pt x="537" y="48"/>
                  </a:lnTo>
                  <a:lnTo>
                    <a:pt x="538" y="48"/>
                  </a:lnTo>
                  <a:lnTo>
                    <a:pt x="540" y="49"/>
                  </a:lnTo>
                  <a:lnTo>
                    <a:pt x="541" y="49"/>
                  </a:lnTo>
                  <a:lnTo>
                    <a:pt x="540" y="50"/>
                  </a:lnTo>
                  <a:lnTo>
                    <a:pt x="540" y="51"/>
                  </a:lnTo>
                  <a:lnTo>
                    <a:pt x="540" y="54"/>
                  </a:lnTo>
                  <a:lnTo>
                    <a:pt x="541" y="54"/>
                  </a:lnTo>
                  <a:lnTo>
                    <a:pt x="542" y="55"/>
                  </a:lnTo>
                  <a:lnTo>
                    <a:pt x="545" y="59"/>
                  </a:lnTo>
                  <a:lnTo>
                    <a:pt x="545" y="61"/>
                  </a:lnTo>
                  <a:lnTo>
                    <a:pt x="545" y="64"/>
                  </a:lnTo>
                  <a:lnTo>
                    <a:pt x="545" y="65"/>
                  </a:lnTo>
                  <a:lnTo>
                    <a:pt x="546" y="66"/>
                  </a:lnTo>
                  <a:lnTo>
                    <a:pt x="548" y="68"/>
                  </a:lnTo>
                  <a:lnTo>
                    <a:pt x="548" y="70"/>
                  </a:lnTo>
                  <a:lnTo>
                    <a:pt x="548" y="71"/>
                  </a:lnTo>
                  <a:lnTo>
                    <a:pt x="549" y="71"/>
                  </a:lnTo>
                  <a:lnTo>
                    <a:pt x="549" y="72"/>
                  </a:lnTo>
                  <a:lnTo>
                    <a:pt x="550" y="72"/>
                  </a:lnTo>
                  <a:lnTo>
                    <a:pt x="550" y="73"/>
                  </a:lnTo>
                  <a:lnTo>
                    <a:pt x="550" y="75"/>
                  </a:lnTo>
                  <a:lnTo>
                    <a:pt x="550" y="76"/>
                  </a:lnTo>
                  <a:lnTo>
                    <a:pt x="550" y="77"/>
                  </a:lnTo>
                  <a:lnTo>
                    <a:pt x="551" y="78"/>
                  </a:lnTo>
                  <a:lnTo>
                    <a:pt x="551" y="79"/>
                  </a:lnTo>
                  <a:lnTo>
                    <a:pt x="552" y="79"/>
                  </a:lnTo>
                  <a:lnTo>
                    <a:pt x="552" y="80"/>
                  </a:lnTo>
                  <a:lnTo>
                    <a:pt x="552" y="83"/>
                  </a:lnTo>
                  <a:lnTo>
                    <a:pt x="552" y="84"/>
                  </a:lnTo>
                  <a:lnTo>
                    <a:pt x="553" y="85"/>
                  </a:lnTo>
                  <a:lnTo>
                    <a:pt x="556" y="85"/>
                  </a:lnTo>
                  <a:lnTo>
                    <a:pt x="557" y="85"/>
                  </a:lnTo>
                  <a:lnTo>
                    <a:pt x="562" y="84"/>
                  </a:lnTo>
                  <a:lnTo>
                    <a:pt x="564" y="86"/>
                  </a:lnTo>
                  <a:lnTo>
                    <a:pt x="564" y="87"/>
                  </a:lnTo>
                  <a:lnTo>
                    <a:pt x="564" y="89"/>
                  </a:lnTo>
                  <a:lnTo>
                    <a:pt x="564" y="91"/>
                  </a:lnTo>
                  <a:lnTo>
                    <a:pt x="563" y="94"/>
                  </a:lnTo>
                  <a:lnTo>
                    <a:pt x="563" y="98"/>
                  </a:lnTo>
                  <a:lnTo>
                    <a:pt x="562" y="100"/>
                  </a:lnTo>
                  <a:lnTo>
                    <a:pt x="562" y="101"/>
                  </a:lnTo>
                  <a:lnTo>
                    <a:pt x="562" y="103"/>
                  </a:lnTo>
                  <a:lnTo>
                    <a:pt x="560" y="104"/>
                  </a:lnTo>
                  <a:lnTo>
                    <a:pt x="559" y="104"/>
                  </a:lnTo>
                  <a:lnTo>
                    <a:pt x="558" y="105"/>
                  </a:lnTo>
                  <a:lnTo>
                    <a:pt x="556" y="106"/>
                  </a:lnTo>
                  <a:lnTo>
                    <a:pt x="555" y="106"/>
                  </a:lnTo>
                  <a:lnTo>
                    <a:pt x="553" y="107"/>
                  </a:lnTo>
                  <a:lnTo>
                    <a:pt x="552" y="107"/>
                  </a:lnTo>
                  <a:lnTo>
                    <a:pt x="551" y="108"/>
                  </a:lnTo>
                  <a:lnTo>
                    <a:pt x="550" y="108"/>
                  </a:lnTo>
                  <a:lnTo>
                    <a:pt x="550" y="110"/>
                  </a:lnTo>
                  <a:lnTo>
                    <a:pt x="549" y="111"/>
                  </a:lnTo>
                  <a:lnTo>
                    <a:pt x="548" y="111"/>
                  </a:lnTo>
                  <a:lnTo>
                    <a:pt x="548" y="112"/>
                  </a:lnTo>
                  <a:lnTo>
                    <a:pt x="548" y="113"/>
                  </a:lnTo>
                  <a:lnTo>
                    <a:pt x="548" y="112"/>
                  </a:lnTo>
                  <a:lnTo>
                    <a:pt x="546" y="112"/>
                  </a:lnTo>
                  <a:lnTo>
                    <a:pt x="546" y="113"/>
                  </a:lnTo>
                  <a:lnTo>
                    <a:pt x="546" y="114"/>
                  </a:lnTo>
                  <a:lnTo>
                    <a:pt x="546" y="115"/>
                  </a:lnTo>
                  <a:lnTo>
                    <a:pt x="546" y="117"/>
                  </a:lnTo>
                  <a:lnTo>
                    <a:pt x="548" y="117"/>
                  </a:lnTo>
                  <a:lnTo>
                    <a:pt x="548" y="118"/>
                  </a:lnTo>
                  <a:lnTo>
                    <a:pt x="549" y="118"/>
                  </a:lnTo>
                  <a:lnTo>
                    <a:pt x="549" y="119"/>
                  </a:lnTo>
                  <a:lnTo>
                    <a:pt x="549" y="120"/>
                  </a:lnTo>
                  <a:lnTo>
                    <a:pt x="550" y="120"/>
                  </a:lnTo>
                  <a:lnTo>
                    <a:pt x="549" y="121"/>
                  </a:lnTo>
                  <a:lnTo>
                    <a:pt x="548" y="121"/>
                  </a:lnTo>
                  <a:lnTo>
                    <a:pt x="548" y="124"/>
                  </a:lnTo>
                  <a:lnTo>
                    <a:pt x="548" y="125"/>
                  </a:lnTo>
                  <a:lnTo>
                    <a:pt x="548" y="126"/>
                  </a:lnTo>
                  <a:lnTo>
                    <a:pt x="548" y="127"/>
                  </a:lnTo>
                  <a:lnTo>
                    <a:pt x="548" y="128"/>
                  </a:lnTo>
                  <a:lnTo>
                    <a:pt x="549" y="129"/>
                  </a:lnTo>
                  <a:lnTo>
                    <a:pt x="549" y="130"/>
                  </a:lnTo>
                  <a:lnTo>
                    <a:pt x="550" y="132"/>
                  </a:lnTo>
                  <a:lnTo>
                    <a:pt x="551" y="135"/>
                  </a:lnTo>
                  <a:lnTo>
                    <a:pt x="551" y="136"/>
                  </a:lnTo>
                  <a:lnTo>
                    <a:pt x="551" y="137"/>
                  </a:lnTo>
                  <a:lnTo>
                    <a:pt x="550" y="139"/>
                  </a:lnTo>
                  <a:lnTo>
                    <a:pt x="550" y="140"/>
                  </a:lnTo>
                  <a:lnTo>
                    <a:pt x="550" y="141"/>
                  </a:lnTo>
                  <a:lnTo>
                    <a:pt x="550" y="142"/>
                  </a:lnTo>
                  <a:lnTo>
                    <a:pt x="550" y="143"/>
                  </a:lnTo>
                  <a:lnTo>
                    <a:pt x="551" y="143"/>
                  </a:lnTo>
                  <a:lnTo>
                    <a:pt x="551" y="144"/>
                  </a:lnTo>
                  <a:lnTo>
                    <a:pt x="555" y="148"/>
                  </a:lnTo>
                  <a:lnTo>
                    <a:pt x="555" y="149"/>
                  </a:lnTo>
                  <a:lnTo>
                    <a:pt x="555" y="150"/>
                  </a:lnTo>
                  <a:lnTo>
                    <a:pt x="553" y="150"/>
                  </a:lnTo>
                  <a:lnTo>
                    <a:pt x="553" y="151"/>
                  </a:lnTo>
                  <a:lnTo>
                    <a:pt x="552" y="151"/>
                  </a:lnTo>
                  <a:lnTo>
                    <a:pt x="551" y="151"/>
                  </a:lnTo>
                  <a:lnTo>
                    <a:pt x="551" y="153"/>
                  </a:lnTo>
                  <a:lnTo>
                    <a:pt x="550" y="153"/>
                  </a:lnTo>
                  <a:lnTo>
                    <a:pt x="550" y="151"/>
                  </a:lnTo>
                  <a:lnTo>
                    <a:pt x="549" y="151"/>
                  </a:lnTo>
                  <a:lnTo>
                    <a:pt x="548" y="151"/>
                  </a:lnTo>
                  <a:lnTo>
                    <a:pt x="548" y="153"/>
                  </a:lnTo>
                  <a:lnTo>
                    <a:pt x="548" y="154"/>
                  </a:lnTo>
                  <a:lnTo>
                    <a:pt x="548" y="155"/>
                  </a:lnTo>
                  <a:lnTo>
                    <a:pt x="548" y="156"/>
                  </a:lnTo>
                  <a:lnTo>
                    <a:pt x="546" y="156"/>
                  </a:lnTo>
                  <a:lnTo>
                    <a:pt x="546" y="157"/>
                  </a:lnTo>
                  <a:lnTo>
                    <a:pt x="546" y="158"/>
                  </a:lnTo>
                  <a:lnTo>
                    <a:pt x="546" y="160"/>
                  </a:lnTo>
                  <a:lnTo>
                    <a:pt x="545" y="160"/>
                  </a:lnTo>
                  <a:lnTo>
                    <a:pt x="545" y="161"/>
                  </a:lnTo>
                  <a:lnTo>
                    <a:pt x="546" y="161"/>
                  </a:lnTo>
                  <a:lnTo>
                    <a:pt x="545" y="161"/>
                  </a:lnTo>
                  <a:lnTo>
                    <a:pt x="545" y="162"/>
                  </a:lnTo>
                  <a:lnTo>
                    <a:pt x="545" y="164"/>
                  </a:lnTo>
                  <a:lnTo>
                    <a:pt x="545" y="165"/>
                  </a:lnTo>
                  <a:lnTo>
                    <a:pt x="544" y="165"/>
                  </a:lnTo>
                  <a:lnTo>
                    <a:pt x="544" y="167"/>
                  </a:lnTo>
                  <a:lnTo>
                    <a:pt x="543" y="168"/>
                  </a:lnTo>
                  <a:lnTo>
                    <a:pt x="543" y="169"/>
                  </a:lnTo>
                  <a:lnTo>
                    <a:pt x="542" y="169"/>
                  </a:lnTo>
                  <a:lnTo>
                    <a:pt x="542" y="170"/>
                  </a:lnTo>
                  <a:lnTo>
                    <a:pt x="542" y="171"/>
                  </a:lnTo>
                  <a:lnTo>
                    <a:pt x="541" y="171"/>
                  </a:lnTo>
                  <a:lnTo>
                    <a:pt x="541" y="172"/>
                  </a:lnTo>
                  <a:lnTo>
                    <a:pt x="540" y="172"/>
                  </a:lnTo>
                  <a:lnTo>
                    <a:pt x="541" y="175"/>
                  </a:lnTo>
                  <a:lnTo>
                    <a:pt x="540" y="175"/>
                  </a:lnTo>
                  <a:lnTo>
                    <a:pt x="540" y="176"/>
                  </a:lnTo>
                  <a:lnTo>
                    <a:pt x="540" y="177"/>
                  </a:lnTo>
                  <a:lnTo>
                    <a:pt x="540" y="178"/>
                  </a:lnTo>
                  <a:lnTo>
                    <a:pt x="541" y="178"/>
                  </a:lnTo>
                  <a:lnTo>
                    <a:pt x="540" y="179"/>
                  </a:lnTo>
                  <a:lnTo>
                    <a:pt x="540" y="181"/>
                  </a:lnTo>
                  <a:lnTo>
                    <a:pt x="540" y="182"/>
                  </a:lnTo>
                  <a:lnTo>
                    <a:pt x="540" y="183"/>
                  </a:lnTo>
                  <a:lnTo>
                    <a:pt x="540" y="184"/>
                  </a:lnTo>
                  <a:lnTo>
                    <a:pt x="538" y="184"/>
                  </a:lnTo>
                  <a:lnTo>
                    <a:pt x="538" y="185"/>
                  </a:lnTo>
                  <a:lnTo>
                    <a:pt x="537" y="185"/>
                  </a:lnTo>
                  <a:lnTo>
                    <a:pt x="537" y="186"/>
                  </a:lnTo>
                  <a:lnTo>
                    <a:pt x="537" y="188"/>
                  </a:lnTo>
                  <a:lnTo>
                    <a:pt x="538" y="188"/>
                  </a:lnTo>
                  <a:lnTo>
                    <a:pt x="538" y="189"/>
                  </a:lnTo>
                  <a:lnTo>
                    <a:pt x="540" y="191"/>
                  </a:lnTo>
                  <a:lnTo>
                    <a:pt x="540" y="192"/>
                  </a:lnTo>
                  <a:lnTo>
                    <a:pt x="540" y="193"/>
                  </a:lnTo>
                  <a:lnTo>
                    <a:pt x="541" y="193"/>
                  </a:lnTo>
                  <a:lnTo>
                    <a:pt x="541" y="195"/>
                  </a:lnTo>
                  <a:lnTo>
                    <a:pt x="541" y="197"/>
                  </a:lnTo>
                  <a:lnTo>
                    <a:pt x="541" y="198"/>
                  </a:lnTo>
                  <a:lnTo>
                    <a:pt x="541" y="199"/>
                  </a:lnTo>
                  <a:lnTo>
                    <a:pt x="542" y="199"/>
                  </a:lnTo>
                  <a:lnTo>
                    <a:pt x="543" y="200"/>
                  </a:lnTo>
                  <a:lnTo>
                    <a:pt x="542" y="200"/>
                  </a:lnTo>
                  <a:lnTo>
                    <a:pt x="542" y="202"/>
                  </a:lnTo>
                  <a:lnTo>
                    <a:pt x="542" y="203"/>
                  </a:lnTo>
                  <a:lnTo>
                    <a:pt x="541" y="204"/>
                  </a:lnTo>
                  <a:lnTo>
                    <a:pt x="540" y="203"/>
                  </a:lnTo>
                  <a:lnTo>
                    <a:pt x="538" y="203"/>
                  </a:lnTo>
                  <a:lnTo>
                    <a:pt x="538" y="204"/>
                  </a:lnTo>
                  <a:lnTo>
                    <a:pt x="540" y="204"/>
                  </a:lnTo>
                  <a:lnTo>
                    <a:pt x="540" y="205"/>
                  </a:lnTo>
                  <a:lnTo>
                    <a:pt x="538" y="205"/>
                  </a:lnTo>
                  <a:lnTo>
                    <a:pt x="538" y="206"/>
                  </a:lnTo>
                  <a:lnTo>
                    <a:pt x="538" y="207"/>
                  </a:lnTo>
                  <a:lnTo>
                    <a:pt x="538" y="209"/>
                  </a:lnTo>
                  <a:lnTo>
                    <a:pt x="538" y="210"/>
                  </a:lnTo>
                  <a:lnTo>
                    <a:pt x="538" y="212"/>
                  </a:lnTo>
                  <a:lnTo>
                    <a:pt x="538" y="213"/>
                  </a:lnTo>
                  <a:lnTo>
                    <a:pt x="540" y="213"/>
                  </a:lnTo>
                  <a:lnTo>
                    <a:pt x="540" y="214"/>
                  </a:lnTo>
                  <a:lnTo>
                    <a:pt x="538" y="213"/>
                  </a:lnTo>
                  <a:lnTo>
                    <a:pt x="538" y="214"/>
                  </a:lnTo>
                  <a:lnTo>
                    <a:pt x="538" y="216"/>
                  </a:lnTo>
                  <a:lnTo>
                    <a:pt x="537" y="216"/>
                  </a:lnTo>
                  <a:lnTo>
                    <a:pt x="537" y="214"/>
                  </a:lnTo>
                  <a:lnTo>
                    <a:pt x="536" y="216"/>
                  </a:lnTo>
                  <a:lnTo>
                    <a:pt x="536" y="217"/>
                  </a:lnTo>
                  <a:lnTo>
                    <a:pt x="536" y="218"/>
                  </a:lnTo>
                  <a:lnTo>
                    <a:pt x="537" y="219"/>
                  </a:lnTo>
                  <a:lnTo>
                    <a:pt x="537" y="220"/>
                  </a:lnTo>
                  <a:lnTo>
                    <a:pt x="537" y="221"/>
                  </a:lnTo>
                  <a:lnTo>
                    <a:pt x="537" y="223"/>
                  </a:lnTo>
                  <a:lnTo>
                    <a:pt x="538" y="224"/>
                  </a:lnTo>
                  <a:lnTo>
                    <a:pt x="538" y="225"/>
                  </a:lnTo>
                  <a:lnTo>
                    <a:pt x="540" y="225"/>
                  </a:lnTo>
                  <a:lnTo>
                    <a:pt x="540" y="226"/>
                  </a:lnTo>
                  <a:lnTo>
                    <a:pt x="540" y="227"/>
                  </a:lnTo>
                  <a:lnTo>
                    <a:pt x="541" y="227"/>
                  </a:lnTo>
                  <a:lnTo>
                    <a:pt x="542" y="227"/>
                  </a:lnTo>
                  <a:lnTo>
                    <a:pt x="543" y="228"/>
                  </a:lnTo>
                  <a:lnTo>
                    <a:pt x="543" y="230"/>
                  </a:lnTo>
                  <a:lnTo>
                    <a:pt x="542" y="230"/>
                  </a:lnTo>
                  <a:lnTo>
                    <a:pt x="541" y="230"/>
                  </a:lnTo>
                  <a:lnTo>
                    <a:pt x="542" y="230"/>
                  </a:lnTo>
                  <a:lnTo>
                    <a:pt x="542" y="231"/>
                  </a:lnTo>
                  <a:lnTo>
                    <a:pt x="542" y="232"/>
                  </a:lnTo>
                  <a:lnTo>
                    <a:pt x="543" y="232"/>
                  </a:lnTo>
                  <a:lnTo>
                    <a:pt x="543" y="233"/>
                  </a:lnTo>
                  <a:lnTo>
                    <a:pt x="544" y="234"/>
                  </a:lnTo>
                  <a:lnTo>
                    <a:pt x="544" y="235"/>
                  </a:lnTo>
                  <a:lnTo>
                    <a:pt x="545" y="237"/>
                  </a:lnTo>
                  <a:lnTo>
                    <a:pt x="545" y="238"/>
                  </a:lnTo>
                  <a:lnTo>
                    <a:pt x="546" y="238"/>
                  </a:lnTo>
                  <a:lnTo>
                    <a:pt x="545" y="238"/>
                  </a:lnTo>
                  <a:lnTo>
                    <a:pt x="545" y="239"/>
                  </a:lnTo>
                  <a:lnTo>
                    <a:pt x="546" y="239"/>
                  </a:lnTo>
                  <a:lnTo>
                    <a:pt x="546" y="241"/>
                  </a:lnTo>
                  <a:lnTo>
                    <a:pt x="548" y="242"/>
                  </a:lnTo>
                  <a:lnTo>
                    <a:pt x="549" y="242"/>
                  </a:lnTo>
                  <a:lnTo>
                    <a:pt x="549" y="244"/>
                  </a:lnTo>
                  <a:lnTo>
                    <a:pt x="549" y="245"/>
                  </a:lnTo>
                  <a:lnTo>
                    <a:pt x="549" y="246"/>
                  </a:lnTo>
                  <a:lnTo>
                    <a:pt x="549" y="247"/>
                  </a:lnTo>
                  <a:lnTo>
                    <a:pt x="549" y="248"/>
                  </a:lnTo>
                  <a:lnTo>
                    <a:pt x="550" y="248"/>
                  </a:lnTo>
                  <a:lnTo>
                    <a:pt x="550" y="249"/>
                  </a:lnTo>
                  <a:lnTo>
                    <a:pt x="551" y="249"/>
                  </a:lnTo>
                  <a:lnTo>
                    <a:pt x="551" y="248"/>
                  </a:lnTo>
                  <a:lnTo>
                    <a:pt x="552" y="248"/>
                  </a:lnTo>
                  <a:lnTo>
                    <a:pt x="552" y="249"/>
                  </a:lnTo>
                  <a:lnTo>
                    <a:pt x="553" y="249"/>
                  </a:lnTo>
                  <a:lnTo>
                    <a:pt x="553" y="251"/>
                  </a:lnTo>
                  <a:lnTo>
                    <a:pt x="553" y="252"/>
                  </a:lnTo>
                  <a:lnTo>
                    <a:pt x="553" y="253"/>
                  </a:lnTo>
                  <a:lnTo>
                    <a:pt x="553" y="254"/>
                  </a:lnTo>
                  <a:lnTo>
                    <a:pt x="553" y="255"/>
                  </a:lnTo>
                  <a:lnTo>
                    <a:pt x="553" y="256"/>
                  </a:lnTo>
                  <a:lnTo>
                    <a:pt x="553" y="258"/>
                  </a:lnTo>
                  <a:lnTo>
                    <a:pt x="553" y="259"/>
                  </a:lnTo>
                  <a:lnTo>
                    <a:pt x="555" y="259"/>
                  </a:lnTo>
                  <a:lnTo>
                    <a:pt x="555" y="260"/>
                  </a:lnTo>
                  <a:lnTo>
                    <a:pt x="555" y="261"/>
                  </a:lnTo>
                  <a:lnTo>
                    <a:pt x="556" y="262"/>
                  </a:lnTo>
                  <a:lnTo>
                    <a:pt x="556" y="263"/>
                  </a:lnTo>
                  <a:lnTo>
                    <a:pt x="556" y="265"/>
                  </a:lnTo>
                  <a:lnTo>
                    <a:pt x="556" y="266"/>
                  </a:lnTo>
                  <a:lnTo>
                    <a:pt x="555" y="265"/>
                  </a:lnTo>
                  <a:lnTo>
                    <a:pt x="553" y="265"/>
                  </a:lnTo>
                  <a:lnTo>
                    <a:pt x="553" y="266"/>
                  </a:lnTo>
                  <a:lnTo>
                    <a:pt x="553" y="267"/>
                  </a:lnTo>
                  <a:lnTo>
                    <a:pt x="553" y="268"/>
                  </a:lnTo>
                  <a:lnTo>
                    <a:pt x="553" y="269"/>
                  </a:lnTo>
                  <a:lnTo>
                    <a:pt x="552" y="269"/>
                  </a:lnTo>
                  <a:lnTo>
                    <a:pt x="552" y="270"/>
                  </a:lnTo>
                  <a:lnTo>
                    <a:pt x="552" y="272"/>
                  </a:lnTo>
                  <a:lnTo>
                    <a:pt x="552" y="273"/>
                  </a:lnTo>
                  <a:lnTo>
                    <a:pt x="551" y="273"/>
                  </a:lnTo>
                  <a:lnTo>
                    <a:pt x="552" y="273"/>
                  </a:lnTo>
                  <a:lnTo>
                    <a:pt x="552" y="274"/>
                  </a:lnTo>
                  <a:lnTo>
                    <a:pt x="552" y="276"/>
                  </a:lnTo>
                  <a:lnTo>
                    <a:pt x="552" y="277"/>
                  </a:lnTo>
                  <a:lnTo>
                    <a:pt x="552" y="279"/>
                  </a:lnTo>
                  <a:lnTo>
                    <a:pt x="550" y="280"/>
                  </a:lnTo>
                  <a:lnTo>
                    <a:pt x="550" y="281"/>
                  </a:lnTo>
                  <a:lnTo>
                    <a:pt x="551" y="281"/>
                  </a:lnTo>
                  <a:lnTo>
                    <a:pt x="552" y="281"/>
                  </a:lnTo>
                  <a:lnTo>
                    <a:pt x="552" y="282"/>
                  </a:lnTo>
                  <a:lnTo>
                    <a:pt x="552" y="283"/>
                  </a:lnTo>
                  <a:lnTo>
                    <a:pt x="553" y="284"/>
                  </a:lnTo>
                  <a:lnTo>
                    <a:pt x="553" y="286"/>
                  </a:lnTo>
                  <a:lnTo>
                    <a:pt x="553" y="287"/>
                  </a:lnTo>
                  <a:lnTo>
                    <a:pt x="555" y="289"/>
                  </a:lnTo>
                  <a:lnTo>
                    <a:pt x="556" y="289"/>
                  </a:lnTo>
                  <a:lnTo>
                    <a:pt x="555" y="290"/>
                  </a:lnTo>
                  <a:lnTo>
                    <a:pt x="555" y="291"/>
                  </a:lnTo>
                  <a:lnTo>
                    <a:pt x="556" y="291"/>
                  </a:lnTo>
                  <a:lnTo>
                    <a:pt x="555" y="291"/>
                  </a:lnTo>
                  <a:lnTo>
                    <a:pt x="556" y="293"/>
                  </a:lnTo>
                  <a:lnTo>
                    <a:pt x="556" y="294"/>
                  </a:lnTo>
                  <a:lnTo>
                    <a:pt x="556" y="295"/>
                  </a:lnTo>
                  <a:lnTo>
                    <a:pt x="555" y="295"/>
                  </a:lnTo>
                  <a:lnTo>
                    <a:pt x="553" y="295"/>
                  </a:lnTo>
                  <a:lnTo>
                    <a:pt x="553" y="296"/>
                  </a:lnTo>
                  <a:lnTo>
                    <a:pt x="552" y="296"/>
                  </a:lnTo>
                  <a:lnTo>
                    <a:pt x="552" y="297"/>
                  </a:lnTo>
                  <a:lnTo>
                    <a:pt x="552" y="298"/>
                  </a:lnTo>
                  <a:lnTo>
                    <a:pt x="553" y="298"/>
                  </a:lnTo>
                  <a:lnTo>
                    <a:pt x="552" y="300"/>
                  </a:lnTo>
                  <a:lnTo>
                    <a:pt x="551" y="300"/>
                  </a:lnTo>
                  <a:lnTo>
                    <a:pt x="551" y="298"/>
                  </a:lnTo>
                  <a:lnTo>
                    <a:pt x="550" y="298"/>
                  </a:lnTo>
                  <a:lnTo>
                    <a:pt x="550" y="300"/>
                  </a:lnTo>
                  <a:lnTo>
                    <a:pt x="549" y="300"/>
                  </a:lnTo>
                  <a:lnTo>
                    <a:pt x="549" y="301"/>
                  </a:lnTo>
                  <a:lnTo>
                    <a:pt x="549" y="302"/>
                  </a:lnTo>
                  <a:lnTo>
                    <a:pt x="550" y="303"/>
                  </a:lnTo>
                  <a:lnTo>
                    <a:pt x="549" y="303"/>
                  </a:lnTo>
                  <a:lnTo>
                    <a:pt x="549" y="304"/>
                  </a:lnTo>
                  <a:lnTo>
                    <a:pt x="549" y="305"/>
                  </a:lnTo>
                  <a:lnTo>
                    <a:pt x="549" y="307"/>
                  </a:lnTo>
                  <a:lnTo>
                    <a:pt x="550" y="307"/>
                  </a:lnTo>
                  <a:lnTo>
                    <a:pt x="550" y="308"/>
                  </a:lnTo>
                  <a:lnTo>
                    <a:pt x="549" y="308"/>
                  </a:lnTo>
                  <a:lnTo>
                    <a:pt x="550" y="308"/>
                  </a:lnTo>
                  <a:lnTo>
                    <a:pt x="550" y="309"/>
                  </a:lnTo>
                  <a:lnTo>
                    <a:pt x="551" y="310"/>
                  </a:lnTo>
                  <a:lnTo>
                    <a:pt x="550" y="310"/>
                  </a:lnTo>
                  <a:lnTo>
                    <a:pt x="550" y="311"/>
                  </a:lnTo>
                  <a:lnTo>
                    <a:pt x="551" y="311"/>
                  </a:lnTo>
                  <a:lnTo>
                    <a:pt x="550" y="312"/>
                  </a:lnTo>
                  <a:lnTo>
                    <a:pt x="550" y="314"/>
                  </a:lnTo>
                  <a:lnTo>
                    <a:pt x="551" y="315"/>
                  </a:lnTo>
                  <a:lnTo>
                    <a:pt x="552" y="315"/>
                  </a:lnTo>
                  <a:lnTo>
                    <a:pt x="552" y="316"/>
                  </a:lnTo>
                  <a:lnTo>
                    <a:pt x="552" y="317"/>
                  </a:lnTo>
                  <a:lnTo>
                    <a:pt x="552" y="318"/>
                  </a:lnTo>
                  <a:lnTo>
                    <a:pt x="552" y="319"/>
                  </a:lnTo>
                  <a:lnTo>
                    <a:pt x="553" y="322"/>
                  </a:lnTo>
                  <a:lnTo>
                    <a:pt x="555" y="322"/>
                  </a:lnTo>
                  <a:lnTo>
                    <a:pt x="555" y="323"/>
                  </a:lnTo>
                  <a:lnTo>
                    <a:pt x="555" y="324"/>
                  </a:lnTo>
                  <a:lnTo>
                    <a:pt x="556" y="324"/>
                  </a:lnTo>
                  <a:lnTo>
                    <a:pt x="556" y="325"/>
                  </a:lnTo>
                  <a:lnTo>
                    <a:pt x="556" y="326"/>
                  </a:lnTo>
                  <a:lnTo>
                    <a:pt x="557" y="326"/>
                  </a:lnTo>
                  <a:lnTo>
                    <a:pt x="557" y="328"/>
                  </a:lnTo>
                  <a:lnTo>
                    <a:pt x="558" y="331"/>
                  </a:lnTo>
                  <a:lnTo>
                    <a:pt x="559" y="331"/>
                  </a:lnTo>
                  <a:lnTo>
                    <a:pt x="559" y="332"/>
                  </a:lnTo>
                  <a:lnTo>
                    <a:pt x="560" y="332"/>
                  </a:lnTo>
                  <a:lnTo>
                    <a:pt x="560" y="333"/>
                  </a:lnTo>
                  <a:lnTo>
                    <a:pt x="560" y="335"/>
                  </a:lnTo>
                  <a:lnTo>
                    <a:pt x="559" y="336"/>
                  </a:lnTo>
                  <a:lnTo>
                    <a:pt x="558" y="336"/>
                  </a:lnTo>
                  <a:lnTo>
                    <a:pt x="557" y="337"/>
                  </a:lnTo>
                  <a:lnTo>
                    <a:pt x="556" y="337"/>
                  </a:lnTo>
                  <a:lnTo>
                    <a:pt x="555" y="338"/>
                  </a:lnTo>
                  <a:lnTo>
                    <a:pt x="555" y="339"/>
                  </a:lnTo>
                  <a:lnTo>
                    <a:pt x="555" y="340"/>
                  </a:lnTo>
                  <a:lnTo>
                    <a:pt x="556" y="342"/>
                  </a:lnTo>
                  <a:lnTo>
                    <a:pt x="556" y="344"/>
                  </a:lnTo>
                  <a:lnTo>
                    <a:pt x="556" y="345"/>
                  </a:lnTo>
                  <a:lnTo>
                    <a:pt x="556" y="346"/>
                  </a:lnTo>
                  <a:lnTo>
                    <a:pt x="556" y="347"/>
                  </a:lnTo>
                  <a:lnTo>
                    <a:pt x="556" y="349"/>
                  </a:lnTo>
                  <a:lnTo>
                    <a:pt x="556" y="350"/>
                  </a:lnTo>
                  <a:lnTo>
                    <a:pt x="555" y="350"/>
                  </a:lnTo>
                  <a:lnTo>
                    <a:pt x="555" y="349"/>
                  </a:lnTo>
                  <a:lnTo>
                    <a:pt x="553" y="349"/>
                  </a:lnTo>
                  <a:lnTo>
                    <a:pt x="553" y="350"/>
                  </a:lnTo>
                  <a:lnTo>
                    <a:pt x="555" y="350"/>
                  </a:lnTo>
                  <a:lnTo>
                    <a:pt x="555" y="351"/>
                  </a:lnTo>
                  <a:lnTo>
                    <a:pt x="555" y="352"/>
                  </a:lnTo>
                  <a:lnTo>
                    <a:pt x="555" y="353"/>
                  </a:lnTo>
                  <a:lnTo>
                    <a:pt x="556" y="353"/>
                  </a:lnTo>
                  <a:lnTo>
                    <a:pt x="556" y="354"/>
                  </a:lnTo>
                  <a:lnTo>
                    <a:pt x="556" y="356"/>
                  </a:lnTo>
                  <a:lnTo>
                    <a:pt x="556" y="357"/>
                  </a:lnTo>
                  <a:lnTo>
                    <a:pt x="555" y="357"/>
                  </a:lnTo>
                  <a:lnTo>
                    <a:pt x="555" y="358"/>
                  </a:lnTo>
                  <a:lnTo>
                    <a:pt x="555" y="359"/>
                  </a:lnTo>
                  <a:lnTo>
                    <a:pt x="556" y="359"/>
                  </a:lnTo>
                  <a:lnTo>
                    <a:pt x="556" y="360"/>
                  </a:lnTo>
                  <a:lnTo>
                    <a:pt x="557" y="360"/>
                  </a:lnTo>
                  <a:lnTo>
                    <a:pt x="557" y="361"/>
                  </a:lnTo>
                  <a:lnTo>
                    <a:pt x="557" y="363"/>
                  </a:lnTo>
                  <a:lnTo>
                    <a:pt x="557" y="361"/>
                  </a:lnTo>
                  <a:lnTo>
                    <a:pt x="556" y="361"/>
                  </a:lnTo>
                  <a:lnTo>
                    <a:pt x="556" y="363"/>
                  </a:lnTo>
                  <a:lnTo>
                    <a:pt x="556" y="364"/>
                  </a:lnTo>
                  <a:lnTo>
                    <a:pt x="556" y="365"/>
                  </a:lnTo>
                  <a:lnTo>
                    <a:pt x="557" y="365"/>
                  </a:lnTo>
                  <a:lnTo>
                    <a:pt x="557" y="366"/>
                  </a:lnTo>
                  <a:lnTo>
                    <a:pt x="556" y="366"/>
                  </a:lnTo>
                  <a:lnTo>
                    <a:pt x="556" y="367"/>
                  </a:lnTo>
                  <a:lnTo>
                    <a:pt x="557" y="368"/>
                  </a:lnTo>
                  <a:lnTo>
                    <a:pt x="558" y="370"/>
                  </a:lnTo>
                  <a:lnTo>
                    <a:pt x="558" y="371"/>
                  </a:lnTo>
                  <a:lnTo>
                    <a:pt x="558" y="372"/>
                  </a:lnTo>
                  <a:lnTo>
                    <a:pt x="559" y="372"/>
                  </a:lnTo>
                  <a:lnTo>
                    <a:pt x="559" y="373"/>
                  </a:lnTo>
                  <a:lnTo>
                    <a:pt x="559" y="374"/>
                  </a:lnTo>
                  <a:lnTo>
                    <a:pt x="559" y="375"/>
                  </a:lnTo>
                  <a:lnTo>
                    <a:pt x="559" y="377"/>
                  </a:lnTo>
                  <a:lnTo>
                    <a:pt x="559" y="378"/>
                  </a:lnTo>
                  <a:lnTo>
                    <a:pt x="560" y="378"/>
                  </a:lnTo>
                  <a:lnTo>
                    <a:pt x="560" y="379"/>
                  </a:lnTo>
                  <a:lnTo>
                    <a:pt x="560" y="380"/>
                  </a:lnTo>
                  <a:lnTo>
                    <a:pt x="562" y="380"/>
                  </a:lnTo>
                  <a:lnTo>
                    <a:pt x="560" y="380"/>
                  </a:lnTo>
                  <a:lnTo>
                    <a:pt x="560" y="381"/>
                  </a:lnTo>
                  <a:lnTo>
                    <a:pt x="562" y="382"/>
                  </a:lnTo>
                  <a:lnTo>
                    <a:pt x="562" y="384"/>
                  </a:lnTo>
                  <a:lnTo>
                    <a:pt x="563" y="384"/>
                  </a:lnTo>
                  <a:lnTo>
                    <a:pt x="563" y="385"/>
                  </a:lnTo>
                  <a:lnTo>
                    <a:pt x="564" y="385"/>
                  </a:lnTo>
                  <a:lnTo>
                    <a:pt x="564" y="386"/>
                  </a:lnTo>
                  <a:lnTo>
                    <a:pt x="564" y="387"/>
                  </a:lnTo>
                  <a:lnTo>
                    <a:pt x="565" y="387"/>
                  </a:lnTo>
                  <a:lnTo>
                    <a:pt x="565" y="388"/>
                  </a:lnTo>
                  <a:lnTo>
                    <a:pt x="565" y="389"/>
                  </a:lnTo>
                  <a:lnTo>
                    <a:pt x="564" y="389"/>
                  </a:lnTo>
                  <a:lnTo>
                    <a:pt x="563" y="389"/>
                  </a:lnTo>
                  <a:lnTo>
                    <a:pt x="563" y="388"/>
                  </a:lnTo>
                  <a:lnTo>
                    <a:pt x="562" y="388"/>
                  </a:lnTo>
                  <a:lnTo>
                    <a:pt x="562" y="389"/>
                  </a:lnTo>
                  <a:lnTo>
                    <a:pt x="562" y="391"/>
                  </a:lnTo>
                  <a:lnTo>
                    <a:pt x="562" y="392"/>
                  </a:lnTo>
                  <a:lnTo>
                    <a:pt x="563" y="392"/>
                  </a:lnTo>
                  <a:lnTo>
                    <a:pt x="563" y="393"/>
                  </a:lnTo>
                  <a:lnTo>
                    <a:pt x="563" y="394"/>
                  </a:lnTo>
                  <a:lnTo>
                    <a:pt x="564" y="394"/>
                  </a:lnTo>
                  <a:lnTo>
                    <a:pt x="563" y="395"/>
                  </a:lnTo>
                  <a:lnTo>
                    <a:pt x="563" y="396"/>
                  </a:lnTo>
                  <a:lnTo>
                    <a:pt x="563" y="398"/>
                  </a:lnTo>
                  <a:lnTo>
                    <a:pt x="564" y="398"/>
                  </a:lnTo>
                  <a:lnTo>
                    <a:pt x="564" y="400"/>
                  </a:lnTo>
                  <a:lnTo>
                    <a:pt x="564" y="401"/>
                  </a:lnTo>
                  <a:lnTo>
                    <a:pt x="565" y="402"/>
                  </a:lnTo>
                  <a:lnTo>
                    <a:pt x="565" y="403"/>
                  </a:lnTo>
                  <a:lnTo>
                    <a:pt x="566" y="403"/>
                  </a:lnTo>
                  <a:lnTo>
                    <a:pt x="566" y="405"/>
                  </a:lnTo>
                  <a:lnTo>
                    <a:pt x="567" y="405"/>
                  </a:lnTo>
                  <a:lnTo>
                    <a:pt x="569" y="405"/>
                  </a:lnTo>
                  <a:lnTo>
                    <a:pt x="570" y="405"/>
                  </a:lnTo>
                  <a:lnTo>
                    <a:pt x="571" y="405"/>
                  </a:lnTo>
                  <a:lnTo>
                    <a:pt x="571" y="406"/>
                  </a:lnTo>
                  <a:lnTo>
                    <a:pt x="571" y="407"/>
                  </a:lnTo>
                  <a:lnTo>
                    <a:pt x="570" y="407"/>
                  </a:lnTo>
                  <a:lnTo>
                    <a:pt x="570" y="408"/>
                  </a:lnTo>
                  <a:lnTo>
                    <a:pt x="570" y="409"/>
                  </a:lnTo>
                  <a:lnTo>
                    <a:pt x="571" y="409"/>
                  </a:lnTo>
                  <a:lnTo>
                    <a:pt x="571" y="410"/>
                  </a:lnTo>
                  <a:lnTo>
                    <a:pt x="572" y="410"/>
                  </a:lnTo>
                  <a:lnTo>
                    <a:pt x="572" y="412"/>
                  </a:lnTo>
                  <a:lnTo>
                    <a:pt x="573" y="412"/>
                  </a:lnTo>
                  <a:lnTo>
                    <a:pt x="573" y="413"/>
                  </a:lnTo>
                  <a:lnTo>
                    <a:pt x="573" y="414"/>
                  </a:lnTo>
                  <a:lnTo>
                    <a:pt x="573" y="415"/>
                  </a:lnTo>
                  <a:lnTo>
                    <a:pt x="573" y="414"/>
                  </a:lnTo>
                  <a:lnTo>
                    <a:pt x="573" y="415"/>
                  </a:lnTo>
                  <a:lnTo>
                    <a:pt x="574" y="415"/>
                  </a:lnTo>
                  <a:lnTo>
                    <a:pt x="574" y="416"/>
                  </a:lnTo>
                  <a:lnTo>
                    <a:pt x="576" y="417"/>
                  </a:lnTo>
                  <a:lnTo>
                    <a:pt x="576" y="419"/>
                  </a:lnTo>
                  <a:lnTo>
                    <a:pt x="574" y="420"/>
                  </a:lnTo>
                  <a:lnTo>
                    <a:pt x="574" y="421"/>
                  </a:lnTo>
                  <a:lnTo>
                    <a:pt x="576" y="421"/>
                  </a:lnTo>
                  <a:lnTo>
                    <a:pt x="576" y="422"/>
                  </a:lnTo>
                  <a:lnTo>
                    <a:pt x="576" y="423"/>
                  </a:lnTo>
                  <a:lnTo>
                    <a:pt x="576" y="424"/>
                  </a:lnTo>
                  <a:lnTo>
                    <a:pt x="577" y="424"/>
                  </a:lnTo>
                  <a:lnTo>
                    <a:pt x="578" y="424"/>
                  </a:lnTo>
                  <a:lnTo>
                    <a:pt x="581" y="424"/>
                  </a:lnTo>
                  <a:lnTo>
                    <a:pt x="583" y="424"/>
                  </a:lnTo>
                  <a:lnTo>
                    <a:pt x="584" y="424"/>
                  </a:lnTo>
                  <a:lnTo>
                    <a:pt x="585" y="424"/>
                  </a:lnTo>
                  <a:lnTo>
                    <a:pt x="585" y="426"/>
                  </a:lnTo>
                  <a:lnTo>
                    <a:pt x="586" y="427"/>
                  </a:lnTo>
                  <a:lnTo>
                    <a:pt x="585" y="427"/>
                  </a:lnTo>
                  <a:lnTo>
                    <a:pt x="585" y="428"/>
                  </a:lnTo>
                  <a:lnTo>
                    <a:pt x="585" y="429"/>
                  </a:lnTo>
                  <a:lnTo>
                    <a:pt x="585" y="430"/>
                  </a:lnTo>
                  <a:lnTo>
                    <a:pt x="584" y="430"/>
                  </a:lnTo>
                  <a:lnTo>
                    <a:pt x="583" y="430"/>
                  </a:lnTo>
                  <a:lnTo>
                    <a:pt x="583" y="429"/>
                  </a:lnTo>
                  <a:lnTo>
                    <a:pt x="581" y="430"/>
                  </a:lnTo>
                  <a:lnTo>
                    <a:pt x="580" y="430"/>
                  </a:lnTo>
                  <a:lnTo>
                    <a:pt x="579" y="430"/>
                  </a:lnTo>
                  <a:lnTo>
                    <a:pt x="578" y="430"/>
                  </a:lnTo>
                  <a:lnTo>
                    <a:pt x="576" y="430"/>
                  </a:lnTo>
                  <a:lnTo>
                    <a:pt x="574" y="430"/>
                  </a:lnTo>
                  <a:lnTo>
                    <a:pt x="576" y="431"/>
                  </a:lnTo>
                  <a:lnTo>
                    <a:pt x="576" y="433"/>
                  </a:lnTo>
                  <a:lnTo>
                    <a:pt x="577" y="433"/>
                  </a:lnTo>
                  <a:lnTo>
                    <a:pt x="578" y="433"/>
                  </a:lnTo>
                  <a:lnTo>
                    <a:pt x="579" y="433"/>
                  </a:lnTo>
                  <a:lnTo>
                    <a:pt x="580" y="433"/>
                  </a:lnTo>
                  <a:lnTo>
                    <a:pt x="581" y="434"/>
                  </a:lnTo>
                  <a:lnTo>
                    <a:pt x="583" y="434"/>
                  </a:lnTo>
                  <a:lnTo>
                    <a:pt x="584" y="435"/>
                  </a:lnTo>
                  <a:lnTo>
                    <a:pt x="585" y="436"/>
                  </a:lnTo>
                  <a:lnTo>
                    <a:pt x="586" y="436"/>
                  </a:lnTo>
                  <a:lnTo>
                    <a:pt x="586" y="437"/>
                  </a:lnTo>
                  <a:lnTo>
                    <a:pt x="587" y="437"/>
                  </a:lnTo>
                  <a:lnTo>
                    <a:pt x="587" y="438"/>
                  </a:lnTo>
                  <a:lnTo>
                    <a:pt x="587" y="440"/>
                  </a:lnTo>
                  <a:lnTo>
                    <a:pt x="586" y="440"/>
                  </a:lnTo>
                  <a:lnTo>
                    <a:pt x="586" y="441"/>
                  </a:lnTo>
                  <a:lnTo>
                    <a:pt x="586" y="442"/>
                  </a:lnTo>
                  <a:lnTo>
                    <a:pt x="585" y="442"/>
                  </a:lnTo>
                  <a:lnTo>
                    <a:pt x="584" y="442"/>
                  </a:lnTo>
                  <a:lnTo>
                    <a:pt x="584" y="443"/>
                  </a:lnTo>
                  <a:lnTo>
                    <a:pt x="584" y="444"/>
                  </a:lnTo>
                  <a:lnTo>
                    <a:pt x="584" y="445"/>
                  </a:lnTo>
                  <a:lnTo>
                    <a:pt x="585" y="445"/>
                  </a:lnTo>
                  <a:lnTo>
                    <a:pt x="585" y="447"/>
                  </a:lnTo>
                  <a:lnTo>
                    <a:pt x="586" y="447"/>
                  </a:lnTo>
                  <a:lnTo>
                    <a:pt x="586" y="448"/>
                  </a:lnTo>
                  <a:lnTo>
                    <a:pt x="587" y="448"/>
                  </a:lnTo>
                  <a:lnTo>
                    <a:pt x="587" y="449"/>
                  </a:lnTo>
                  <a:lnTo>
                    <a:pt x="586" y="450"/>
                  </a:lnTo>
                  <a:lnTo>
                    <a:pt x="586" y="451"/>
                  </a:lnTo>
                  <a:lnTo>
                    <a:pt x="585" y="451"/>
                  </a:lnTo>
                  <a:lnTo>
                    <a:pt x="586" y="452"/>
                  </a:lnTo>
                  <a:lnTo>
                    <a:pt x="587" y="452"/>
                  </a:lnTo>
                  <a:lnTo>
                    <a:pt x="587" y="454"/>
                  </a:lnTo>
                  <a:lnTo>
                    <a:pt x="587" y="455"/>
                  </a:lnTo>
                  <a:lnTo>
                    <a:pt x="588" y="455"/>
                  </a:lnTo>
                  <a:lnTo>
                    <a:pt x="590" y="457"/>
                  </a:lnTo>
                  <a:lnTo>
                    <a:pt x="590" y="458"/>
                  </a:lnTo>
                  <a:lnTo>
                    <a:pt x="591" y="459"/>
                  </a:lnTo>
                  <a:lnTo>
                    <a:pt x="591" y="461"/>
                  </a:lnTo>
                  <a:lnTo>
                    <a:pt x="590" y="461"/>
                  </a:lnTo>
                  <a:lnTo>
                    <a:pt x="590" y="462"/>
                  </a:lnTo>
                  <a:lnTo>
                    <a:pt x="588" y="462"/>
                  </a:lnTo>
                  <a:lnTo>
                    <a:pt x="588" y="463"/>
                  </a:lnTo>
                  <a:lnTo>
                    <a:pt x="588" y="464"/>
                  </a:lnTo>
                  <a:lnTo>
                    <a:pt x="590" y="464"/>
                  </a:lnTo>
                  <a:lnTo>
                    <a:pt x="590" y="465"/>
                  </a:lnTo>
                  <a:lnTo>
                    <a:pt x="588" y="465"/>
                  </a:lnTo>
                  <a:lnTo>
                    <a:pt x="588" y="466"/>
                  </a:lnTo>
                  <a:lnTo>
                    <a:pt x="590" y="466"/>
                  </a:lnTo>
                  <a:lnTo>
                    <a:pt x="591" y="466"/>
                  </a:lnTo>
                  <a:lnTo>
                    <a:pt x="591" y="468"/>
                  </a:lnTo>
                  <a:lnTo>
                    <a:pt x="591" y="469"/>
                  </a:lnTo>
                  <a:lnTo>
                    <a:pt x="590" y="468"/>
                  </a:lnTo>
                  <a:lnTo>
                    <a:pt x="588" y="468"/>
                  </a:lnTo>
                  <a:lnTo>
                    <a:pt x="590" y="469"/>
                  </a:lnTo>
                  <a:lnTo>
                    <a:pt x="590" y="470"/>
                  </a:lnTo>
                  <a:lnTo>
                    <a:pt x="588" y="471"/>
                  </a:lnTo>
                  <a:lnTo>
                    <a:pt x="587" y="471"/>
                  </a:lnTo>
                  <a:lnTo>
                    <a:pt x="586" y="471"/>
                  </a:lnTo>
                  <a:lnTo>
                    <a:pt x="586" y="472"/>
                  </a:lnTo>
                  <a:lnTo>
                    <a:pt x="587" y="472"/>
                  </a:lnTo>
                  <a:lnTo>
                    <a:pt x="587" y="473"/>
                  </a:lnTo>
                  <a:lnTo>
                    <a:pt x="587" y="475"/>
                  </a:lnTo>
                  <a:lnTo>
                    <a:pt x="587" y="476"/>
                  </a:lnTo>
                  <a:lnTo>
                    <a:pt x="587" y="477"/>
                  </a:lnTo>
                  <a:lnTo>
                    <a:pt x="587" y="478"/>
                  </a:lnTo>
                  <a:lnTo>
                    <a:pt x="587" y="479"/>
                  </a:lnTo>
                  <a:lnTo>
                    <a:pt x="588" y="480"/>
                  </a:lnTo>
                  <a:lnTo>
                    <a:pt x="590" y="480"/>
                  </a:lnTo>
                  <a:lnTo>
                    <a:pt x="590" y="482"/>
                  </a:lnTo>
                  <a:lnTo>
                    <a:pt x="591" y="482"/>
                  </a:lnTo>
                  <a:lnTo>
                    <a:pt x="592" y="484"/>
                  </a:lnTo>
                  <a:lnTo>
                    <a:pt x="592" y="485"/>
                  </a:lnTo>
                  <a:lnTo>
                    <a:pt x="591" y="486"/>
                  </a:lnTo>
                  <a:lnTo>
                    <a:pt x="590" y="486"/>
                  </a:lnTo>
                  <a:lnTo>
                    <a:pt x="590" y="487"/>
                  </a:lnTo>
                  <a:lnTo>
                    <a:pt x="590" y="489"/>
                  </a:lnTo>
                  <a:lnTo>
                    <a:pt x="591" y="490"/>
                  </a:lnTo>
                  <a:lnTo>
                    <a:pt x="591" y="491"/>
                  </a:lnTo>
                  <a:lnTo>
                    <a:pt x="591" y="492"/>
                  </a:lnTo>
                  <a:lnTo>
                    <a:pt x="592" y="492"/>
                  </a:lnTo>
                  <a:lnTo>
                    <a:pt x="591" y="493"/>
                  </a:lnTo>
                  <a:lnTo>
                    <a:pt x="591" y="494"/>
                  </a:lnTo>
                  <a:lnTo>
                    <a:pt x="590" y="494"/>
                  </a:lnTo>
                  <a:lnTo>
                    <a:pt x="588" y="494"/>
                  </a:lnTo>
                  <a:lnTo>
                    <a:pt x="587" y="494"/>
                  </a:lnTo>
                  <a:lnTo>
                    <a:pt x="587" y="496"/>
                  </a:lnTo>
                  <a:lnTo>
                    <a:pt x="587" y="497"/>
                  </a:lnTo>
                  <a:lnTo>
                    <a:pt x="587" y="498"/>
                  </a:lnTo>
                  <a:lnTo>
                    <a:pt x="586" y="498"/>
                  </a:lnTo>
                  <a:lnTo>
                    <a:pt x="586" y="499"/>
                  </a:lnTo>
                  <a:lnTo>
                    <a:pt x="587" y="499"/>
                  </a:lnTo>
                  <a:lnTo>
                    <a:pt x="588" y="499"/>
                  </a:lnTo>
                  <a:lnTo>
                    <a:pt x="588" y="500"/>
                  </a:lnTo>
                  <a:lnTo>
                    <a:pt x="587" y="500"/>
                  </a:lnTo>
                  <a:lnTo>
                    <a:pt x="584" y="500"/>
                  </a:lnTo>
                  <a:lnTo>
                    <a:pt x="584" y="501"/>
                  </a:lnTo>
                  <a:lnTo>
                    <a:pt x="584" y="503"/>
                  </a:lnTo>
                  <a:lnTo>
                    <a:pt x="584" y="504"/>
                  </a:lnTo>
                  <a:lnTo>
                    <a:pt x="585" y="505"/>
                  </a:lnTo>
                  <a:lnTo>
                    <a:pt x="585" y="506"/>
                  </a:lnTo>
                  <a:lnTo>
                    <a:pt x="586" y="507"/>
                  </a:lnTo>
                  <a:lnTo>
                    <a:pt x="587" y="507"/>
                  </a:lnTo>
                  <a:lnTo>
                    <a:pt x="586" y="508"/>
                  </a:lnTo>
                  <a:lnTo>
                    <a:pt x="586" y="510"/>
                  </a:lnTo>
                  <a:lnTo>
                    <a:pt x="587" y="511"/>
                  </a:lnTo>
                  <a:lnTo>
                    <a:pt x="588" y="511"/>
                  </a:lnTo>
                  <a:lnTo>
                    <a:pt x="587" y="512"/>
                  </a:lnTo>
                  <a:lnTo>
                    <a:pt x="587" y="513"/>
                  </a:lnTo>
                  <a:lnTo>
                    <a:pt x="588" y="513"/>
                  </a:lnTo>
                  <a:lnTo>
                    <a:pt x="590" y="514"/>
                  </a:lnTo>
                  <a:lnTo>
                    <a:pt x="591" y="514"/>
                  </a:lnTo>
                  <a:lnTo>
                    <a:pt x="592" y="515"/>
                  </a:lnTo>
                  <a:lnTo>
                    <a:pt x="593" y="517"/>
                  </a:lnTo>
                  <a:lnTo>
                    <a:pt x="593" y="518"/>
                  </a:lnTo>
                  <a:lnTo>
                    <a:pt x="593" y="519"/>
                  </a:lnTo>
                  <a:lnTo>
                    <a:pt x="594" y="519"/>
                  </a:lnTo>
                  <a:lnTo>
                    <a:pt x="594" y="520"/>
                  </a:lnTo>
                  <a:lnTo>
                    <a:pt x="595" y="520"/>
                  </a:lnTo>
                  <a:lnTo>
                    <a:pt x="595" y="521"/>
                  </a:lnTo>
                  <a:lnTo>
                    <a:pt x="595" y="522"/>
                  </a:lnTo>
                  <a:lnTo>
                    <a:pt x="597" y="522"/>
                  </a:lnTo>
                  <a:lnTo>
                    <a:pt x="598" y="522"/>
                  </a:lnTo>
                  <a:lnTo>
                    <a:pt x="599" y="521"/>
                  </a:lnTo>
                  <a:lnTo>
                    <a:pt x="600" y="520"/>
                  </a:lnTo>
                  <a:lnTo>
                    <a:pt x="601" y="520"/>
                  </a:lnTo>
                  <a:lnTo>
                    <a:pt x="601" y="521"/>
                  </a:lnTo>
                  <a:lnTo>
                    <a:pt x="602" y="521"/>
                  </a:lnTo>
                  <a:lnTo>
                    <a:pt x="602" y="520"/>
                  </a:lnTo>
                  <a:lnTo>
                    <a:pt x="604" y="520"/>
                  </a:lnTo>
                  <a:lnTo>
                    <a:pt x="605" y="520"/>
                  </a:lnTo>
                  <a:lnTo>
                    <a:pt x="606" y="520"/>
                  </a:lnTo>
                  <a:lnTo>
                    <a:pt x="606" y="521"/>
                  </a:lnTo>
                  <a:lnTo>
                    <a:pt x="606" y="522"/>
                  </a:lnTo>
                  <a:lnTo>
                    <a:pt x="607" y="522"/>
                  </a:lnTo>
                  <a:lnTo>
                    <a:pt x="607" y="524"/>
                  </a:lnTo>
                  <a:lnTo>
                    <a:pt x="608" y="524"/>
                  </a:lnTo>
                  <a:lnTo>
                    <a:pt x="608" y="525"/>
                  </a:lnTo>
                  <a:lnTo>
                    <a:pt x="608" y="526"/>
                  </a:lnTo>
                  <a:lnTo>
                    <a:pt x="608" y="527"/>
                  </a:lnTo>
                  <a:lnTo>
                    <a:pt x="608" y="528"/>
                  </a:lnTo>
                  <a:lnTo>
                    <a:pt x="609" y="529"/>
                  </a:lnTo>
                  <a:lnTo>
                    <a:pt x="610" y="529"/>
                  </a:lnTo>
                  <a:lnTo>
                    <a:pt x="610" y="531"/>
                  </a:lnTo>
                  <a:lnTo>
                    <a:pt x="610" y="532"/>
                  </a:lnTo>
                  <a:lnTo>
                    <a:pt x="610" y="533"/>
                  </a:lnTo>
                  <a:lnTo>
                    <a:pt x="610" y="534"/>
                  </a:lnTo>
                  <a:lnTo>
                    <a:pt x="610" y="535"/>
                  </a:lnTo>
                  <a:lnTo>
                    <a:pt x="612" y="535"/>
                  </a:lnTo>
                  <a:lnTo>
                    <a:pt x="613" y="536"/>
                  </a:lnTo>
                  <a:lnTo>
                    <a:pt x="614" y="538"/>
                  </a:lnTo>
                  <a:lnTo>
                    <a:pt x="615" y="538"/>
                  </a:lnTo>
                  <a:lnTo>
                    <a:pt x="616" y="538"/>
                  </a:lnTo>
                  <a:lnTo>
                    <a:pt x="617" y="539"/>
                  </a:lnTo>
                  <a:lnTo>
                    <a:pt x="617" y="540"/>
                  </a:lnTo>
                  <a:lnTo>
                    <a:pt x="619" y="540"/>
                  </a:lnTo>
                  <a:lnTo>
                    <a:pt x="619" y="541"/>
                  </a:lnTo>
                  <a:lnTo>
                    <a:pt x="620" y="541"/>
                  </a:lnTo>
                  <a:lnTo>
                    <a:pt x="623" y="541"/>
                  </a:lnTo>
                  <a:lnTo>
                    <a:pt x="626" y="541"/>
                  </a:lnTo>
                  <a:lnTo>
                    <a:pt x="628" y="541"/>
                  </a:lnTo>
                  <a:lnTo>
                    <a:pt x="631" y="541"/>
                  </a:lnTo>
                  <a:lnTo>
                    <a:pt x="634" y="541"/>
                  </a:lnTo>
                  <a:lnTo>
                    <a:pt x="636" y="541"/>
                  </a:lnTo>
                  <a:lnTo>
                    <a:pt x="640" y="541"/>
                  </a:lnTo>
                  <a:lnTo>
                    <a:pt x="642" y="541"/>
                  </a:lnTo>
                  <a:lnTo>
                    <a:pt x="643" y="541"/>
                  </a:lnTo>
                  <a:lnTo>
                    <a:pt x="644" y="542"/>
                  </a:lnTo>
                  <a:lnTo>
                    <a:pt x="647" y="542"/>
                  </a:lnTo>
                  <a:lnTo>
                    <a:pt x="649" y="543"/>
                  </a:lnTo>
                  <a:lnTo>
                    <a:pt x="652" y="543"/>
                  </a:lnTo>
                  <a:lnTo>
                    <a:pt x="655" y="545"/>
                  </a:lnTo>
                  <a:lnTo>
                    <a:pt x="657" y="545"/>
                  </a:lnTo>
                  <a:lnTo>
                    <a:pt x="658" y="545"/>
                  </a:lnTo>
                  <a:lnTo>
                    <a:pt x="661" y="546"/>
                  </a:lnTo>
                  <a:lnTo>
                    <a:pt x="662" y="546"/>
                  </a:lnTo>
                  <a:lnTo>
                    <a:pt x="663" y="546"/>
                  </a:lnTo>
                  <a:lnTo>
                    <a:pt x="663" y="547"/>
                  </a:lnTo>
                  <a:lnTo>
                    <a:pt x="662" y="547"/>
                  </a:lnTo>
                  <a:lnTo>
                    <a:pt x="659" y="546"/>
                  </a:lnTo>
                  <a:lnTo>
                    <a:pt x="658" y="546"/>
                  </a:lnTo>
                  <a:lnTo>
                    <a:pt x="657" y="546"/>
                  </a:lnTo>
                  <a:lnTo>
                    <a:pt x="656" y="546"/>
                  </a:lnTo>
                  <a:lnTo>
                    <a:pt x="655" y="545"/>
                  </a:lnTo>
                  <a:lnTo>
                    <a:pt x="654" y="545"/>
                  </a:lnTo>
                  <a:lnTo>
                    <a:pt x="652" y="545"/>
                  </a:lnTo>
                  <a:lnTo>
                    <a:pt x="651" y="545"/>
                  </a:lnTo>
                  <a:lnTo>
                    <a:pt x="650" y="546"/>
                  </a:lnTo>
                  <a:lnTo>
                    <a:pt x="650" y="547"/>
                  </a:lnTo>
                  <a:lnTo>
                    <a:pt x="650" y="548"/>
                  </a:lnTo>
                  <a:lnTo>
                    <a:pt x="650" y="549"/>
                  </a:lnTo>
                  <a:lnTo>
                    <a:pt x="649" y="549"/>
                  </a:lnTo>
                  <a:lnTo>
                    <a:pt x="648" y="549"/>
                  </a:lnTo>
                  <a:lnTo>
                    <a:pt x="647" y="549"/>
                  </a:lnTo>
                  <a:lnTo>
                    <a:pt x="645" y="550"/>
                  </a:lnTo>
                  <a:lnTo>
                    <a:pt x="644" y="550"/>
                  </a:lnTo>
                  <a:lnTo>
                    <a:pt x="644" y="552"/>
                  </a:lnTo>
                  <a:lnTo>
                    <a:pt x="643" y="552"/>
                  </a:lnTo>
                  <a:lnTo>
                    <a:pt x="643" y="550"/>
                  </a:lnTo>
                  <a:lnTo>
                    <a:pt x="642" y="552"/>
                  </a:lnTo>
                  <a:lnTo>
                    <a:pt x="641" y="553"/>
                  </a:lnTo>
                  <a:lnTo>
                    <a:pt x="640" y="552"/>
                  </a:lnTo>
                  <a:lnTo>
                    <a:pt x="641" y="552"/>
                  </a:lnTo>
                  <a:lnTo>
                    <a:pt x="640" y="552"/>
                  </a:lnTo>
                  <a:lnTo>
                    <a:pt x="640" y="553"/>
                  </a:lnTo>
                  <a:lnTo>
                    <a:pt x="640" y="552"/>
                  </a:lnTo>
                  <a:lnTo>
                    <a:pt x="638" y="553"/>
                  </a:lnTo>
                  <a:lnTo>
                    <a:pt x="638" y="552"/>
                  </a:lnTo>
                  <a:lnTo>
                    <a:pt x="637" y="553"/>
                  </a:lnTo>
                  <a:lnTo>
                    <a:pt x="636" y="553"/>
                  </a:lnTo>
                  <a:lnTo>
                    <a:pt x="637" y="553"/>
                  </a:lnTo>
                  <a:lnTo>
                    <a:pt x="638" y="553"/>
                  </a:lnTo>
                  <a:lnTo>
                    <a:pt x="638" y="554"/>
                  </a:lnTo>
                  <a:lnTo>
                    <a:pt x="637" y="554"/>
                  </a:lnTo>
                  <a:lnTo>
                    <a:pt x="638" y="554"/>
                  </a:lnTo>
                  <a:lnTo>
                    <a:pt x="638" y="555"/>
                  </a:lnTo>
                  <a:lnTo>
                    <a:pt x="637" y="555"/>
                  </a:lnTo>
                  <a:lnTo>
                    <a:pt x="638" y="555"/>
                  </a:lnTo>
                  <a:lnTo>
                    <a:pt x="638" y="556"/>
                  </a:lnTo>
                  <a:lnTo>
                    <a:pt x="638" y="557"/>
                  </a:lnTo>
                  <a:lnTo>
                    <a:pt x="638" y="559"/>
                  </a:lnTo>
                  <a:lnTo>
                    <a:pt x="638" y="560"/>
                  </a:lnTo>
                  <a:lnTo>
                    <a:pt x="640" y="561"/>
                  </a:lnTo>
                  <a:lnTo>
                    <a:pt x="640" y="562"/>
                  </a:lnTo>
                  <a:lnTo>
                    <a:pt x="640" y="563"/>
                  </a:lnTo>
                  <a:lnTo>
                    <a:pt x="641" y="564"/>
                  </a:lnTo>
                  <a:lnTo>
                    <a:pt x="642" y="566"/>
                  </a:lnTo>
                  <a:lnTo>
                    <a:pt x="642" y="567"/>
                  </a:lnTo>
                  <a:lnTo>
                    <a:pt x="642" y="568"/>
                  </a:lnTo>
                  <a:lnTo>
                    <a:pt x="642" y="569"/>
                  </a:lnTo>
                  <a:lnTo>
                    <a:pt x="640" y="570"/>
                  </a:lnTo>
                  <a:lnTo>
                    <a:pt x="638" y="570"/>
                  </a:lnTo>
                  <a:lnTo>
                    <a:pt x="637" y="569"/>
                  </a:lnTo>
                  <a:lnTo>
                    <a:pt x="636" y="569"/>
                  </a:lnTo>
                  <a:lnTo>
                    <a:pt x="635" y="569"/>
                  </a:lnTo>
                  <a:lnTo>
                    <a:pt x="634" y="569"/>
                  </a:lnTo>
                  <a:lnTo>
                    <a:pt x="634" y="568"/>
                  </a:lnTo>
                  <a:lnTo>
                    <a:pt x="633" y="568"/>
                  </a:lnTo>
                  <a:lnTo>
                    <a:pt x="631" y="568"/>
                  </a:lnTo>
                  <a:lnTo>
                    <a:pt x="631" y="567"/>
                  </a:lnTo>
                  <a:lnTo>
                    <a:pt x="630" y="567"/>
                  </a:lnTo>
                  <a:lnTo>
                    <a:pt x="630" y="568"/>
                  </a:lnTo>
                  <a:lnTo>
                    <a:pt x="630" y="567"/>
                  </a:lnTo>
                  <a:lnTo>
                    <a:pt x="629" y="567"/>
                  </a:lnTo>
                  <a:lnTo>
                    <a:pt x="628" y="567"/>
                  </a:lnTo>
                  <a:lnTo>
                    <a:pt x="627" y="566"/>
                  </a:lnTo>
                  <a:lnTo>
                    <a:pt x="626" y="566"/>
                  </a:lnTo>
                  <a:lnTo>
                    <a:pt x="626" y="564"/>
                  </a:lnTo>
                  <a:lnTo>
                    <a:pt x="624" y="564"/>
                  </a:lnTo>
                  <a:lnTo>
                    <a:pt x="623" y="563"/>
                  </a:lnTo>
                  <a:lnTo>
                    <a:pt x="622" y="563"/>
                  </a:lnTo>
                  <a:lnTo>
                    <a:pt x="622" y="562"/>
                  </a:lnTo>
                  <a:lnTo>
                    <a:pt x="622" y="561"/>
                  </a:lnTo>
                  <a:lnTo>
                    <a:pt x="623" y="560"/>
                  </a:lnTo>
                  <a:lnTo>
                    <a:pt x="624" y="561"/>
                  </a:lnTo>
                  <a:lnTo>
                    <a:pt x="626" y="561"/>
                  </a:lnTo>
                  <a:lnTo>
                    <a:pt x="627" y="562"/>
                  </a:lnTo>
                  <a:lnTo>
                    <a:pt x="626" y="562"/>
                  </a:lnTo>
                  <a:lnTo>
                    <a:pt x="626" y="563"/>
                  </a:lnTo>
                  <a:lnTo>
                    <a:pt x="624" y="563"/>
                  </a:lnTo>
                  <a:lnTo>
                    <a:pt x="626" y="563"/>
                  </a:lnTo>
                  <a:lnTo>
                    <a:pt x="627" y="563"/>
                  </a:lnTo>
                  <a:lnTo>
                    <a:pt x="627" y="562"/>
                  </a:lnTo>
                  <a:lnTo>
                    <a:pt x="628" y="562"/>
                  </a:lnTo>
                  <a:lnTo>
                    <a:pt x="627" y="562"/>
                  </a:lnTo>
                  <a:lnTo>
                    <a:pt x="627" y="561"/>
                  </a:lnTo>
                  <a:lnTo>
                    <a:pt x="627" y="560"/>
                  </a:lnTo>
                  <a:lnTo>
                    <a:pt x="628" y="560"/>
                  </a:lnTo>
                  <a:lnTo>
                    <a:pt x="629" y="560"/>
                  </a:lnTo>
                  <a:lnTo>
                    <a:pt x="629" y="562"/>
                  </a:lnTo>
                  <a:lnTo>
                    <a:pt x="630" y="562"/>
                  </a:lnTo>
                  <a:lnTo>
                    <a:pt x="630" y="563"/>
                  </a:lnTo>
                  <a:lnTo>
                    <a:pt x="630" y="564"/>
                  </a:lnTo>
                  <a:lnTo>
                    <a:pt x="629" y="564"/>
                  </a:lnTo>
                  <a:lnTo>
                    <a:pt x="628" y="564"/>
                  </a:lnTo>
                  <a:lnTo>
                    <a:pt x="629" y="564"/>
                  </a:lnTo>
                  <a:lnTo>
                    <a:pt x="629" y="566"/>
                  </a:lnTo>
                  <a:lnTo>
                    <a:pt x="629" y="564"/>
                  </a:lnTo>
                  <a:lnTo>
                    <a:pt x="630" y="564"/>
                  </a:lnTo>
                  <a:lnTo>
                    <a:pt x="631" y="563"/>
                  </a:lnTo>
                  <a:lnTo>
                    <a:pt x="630" y="563"/>
                  </a:lnTo>
                  <a:lnTo>
                    <a:pt x="630" y="562"/>
                  </a:lnTo>
                  <a:lnTo>
                    <a:pt x="630" y="561"/>
                  </a:lnTo>
                  <a:lnTo>
                    <a:pt x="629" y="560"/>
                  </a:lnTo>
                  <a:lnTo>
                    <a:pt x="630" y="560"/>
                  </a:lnTo>
                  <a:lnTo>
                    <a:pt x="631" y="559"/>
                  </a:lnTo>
                  <a:lnTo>
                    <a:pt x="633" y="559"/>
                  </a:lnTo>
                  <a:lnTo>
                    <a:pt x="634" y="559"/>
                  </a:lnTo>
                  <a:lnTo>
                    <a:pt x="634" y="557"/>
                  </a:lnTo>
                  <a:lnTo>
                    <a:pt x="634" y="556"/>
                  </a:lnTo>
                  <a:lnTo>
                    <a:pt x="634" y="555"/>
                  </a:lnTo>
                  <a:lnTo>
                    <a:pt x="635" y="555"/>
                  </a:lnTo>
                  <a:lnTo>
                    <a:pt x="634" y="554"/>
                  </a:lnTo>
                  <a:lnTo>
                    <a:pt x="633" y="554"/>
                  </a:lnTo>
                  <a:lnTo>
                    <a:pt x="633" y="553"/>
                  </a:lnTo>
                  <a:lnTo>
                    <a:pt x="631" y="554"/>
                  </a:lnTo>
                  <a:lnTo>
                    <a:pt x="631" y="553"/>
                  </a:lnTo>
                  <a:lnTo>
                    <a:pt x="630" y="553"/>
                  </a:lnTo>
                  <a:lnTo>
                    <a:pt x="630" y="554"/>
                  </a:lnTo>
                  <a:lnTo>
                    <a:pt x="631" y="554"/>
                  </a:lnTo>
                  <a:lnTo>
                    <a:pt x="630" y="554"/>
                  </a:lnTo>
                  <a:lnTo>
                    <a:pt x="629" y="554"/>
                  </a:lnTo>
                  <a:lnTo>
                    <a:pt x="629" y="555"/>
                  </a:lnTo>
                  <a:lnTo>
                    <a:pt x="628" y="555"/>
                  </a:lnTo>
                  <a:lnTo>
                    <a:pt x="627" y="556"/>
                  </a:lnTo>
                  <a:lnTo>
                    <a:pt x="626" y="556"/>
                  </a:lnTo>
                  <a:lnTo>
                    <a:pt x="626" y="557"/>
                  </a:lnTo>
                  <a:lnTo>
                    <a:pt x="626" y="559"/>
                  </a:lnTo>
                  <a:lnTo>
                    <a:pt x="624" y="559"/>
                  </a:lnTo>
                  <a:lnTo>
                    <a:pt x="623" y="559"/>
                  </a:lnTo>
                  <a:lnTo>
                    <a:pt x="623" y="557"/>
                  </a:lnTo>
                  <a:lnTo>
                    <a:pt x="622" y="557"/>
                  </a:lnTo>
                  <a:lnTo>
                    <a:pt x="621" y="557"/>
                  </a:lnTo>
                  <a:lnTo>
                    <a:pt x="622" y="557"/>
                  </a:lnTo>
                  <a:lnTo>
                    <a:pt x="621" y="557"/>
                  </a:lnTo>
                  <a:lnTo>
                    <a:pt x="620" y="557"/>
                  </a:lnTo>
                  <a:lnTo>
                    <a:pt x="619" y="557"/>
                  </a:lnTo>
                  <a:lnTo>
                    <a:pt x="620" y="557"/>
                  </a:lnTo>
                  <a:lnTo>
                    <a:pt x="621" y="557"/>
                  </a:lnTo>
                  <a:lnTo>
                    <a:pt x="622" y="559"/>
                  </a:lnTo>
                  <a:lnTo>
                    <a:pt x="623" y="559"/>
                  </a:lnTo>
                  <a:lnTo>
                    <a:pt x="624" y="560"/>
                  </a:lnTo>
                  <a:lnTo>
                    <a:pt x="623" y="560"/>
                  </a:lnTo>
                  <a:lnTo>
                    <a:pt x="622" y="560"/>
                  </a:lnTo>
                  <a:lnTo>
                    <a:pt x="621" y="560"/>
                  </a:lnTo>
                  <a:lnTo>
                    <a:pt x="620" y="560"/>
                  </a:lnTo>
                  <a:lnTo>
                    <a:pt x="621" y="560"/>
                  </a:lnTo>
                  <a:lnTo>
                    <a:pt x="622" y="561"/>
                  </a:lnTo>
                  <a:lnTo>
                    <a:pt x="621" y="561"/>
                  </a:lnTo>
                  <a:lnTo>
                    <a:pt x="621" y="562"/>
                  </a:lnTo>
                  <a:lnTo>
                    <a:pt x="620" y="562"/>
                  </a:lnTo>
                  <a:lnTo>
                    <a:pt x="620" y="561"/>
                  </a:lnTo>
                  <a:lnTo>
                    <a:pt x="620" y="562"/>
                  </a:lnTo>
                  <a:lnTo>
                    <a:pt x="621" y="562"/>
                  </a:lnTo>
                  <a:lnTo>
                    <a:pt x="621" y="563"/>
                  </a:lnTo>
                  <a:lnTo>
                    <a:pt x="621" y="562"/>
                  </a:lnTo>
                  <a:lnTo>
                    <a:pt x="622" y="562"/>
                  </a:lnTo>
                  <a:lnTo>
                    <a:pt x="622" y="563"/>
                  </a:lnTo>
                  <a:lnTo>
                    <a:pt x="624" y="564"/>
                  </a:lnTo>
                  <a:lnTo>
                    <a:pt x="622" y="564"/>
                  </a:lnTo>
                  <a:lnTo>
                    <a:pt x="621" y="564"/>
                  </a:lnTo>
                  <a:lnTo>
                    <a:pt x="621" y="563"/>
                  </a:lnTo>
                  <a:lnTo>
                    <a:pt x="620" y="563"/>
                  </a:lnTo>
                  <a:lnTo>
                    <a:pt x="619" y="563"/>
                  </a:lnTo>
                  <a:lnTo>
                    <a:pt x="619" y="562"/>
                  </a:lnTo>
                  <a:lnTo>
                    <a:pt x="619" y="563"/>
                  </a:lnTo>
                  <a:lnTo>
                    <a:pt x="619" y="562"/>
                  </a:lnTo>
                  <a:lnTo>
                    <a:pt x="617" y="562"/>
                  </a:lnTo>
                  <a:lnTo>
                    <a:pt x="616" y="562"/>
                  </a:lnTo>
                  <a:lnTo>
                    <a:pt x="614" y="561"/>
                  </a:lnTo>
                  <a:lnTo>
                    <a:pt x="613" y="561"/>
                  </a:lnTo>
                  <a:lnTo>
                    <a:pt x="613" y="560"/>
                  </a:lnTo>
                  <a:lnTo>
                    <a:pt x="612" y="560"/>
                  </a:lnTo>
                  <a:lnTo>
                    <a:pt x="612" y="559"/>
                  </a:lnTo>
                  <a:lnTo>
                    <a:pt x="610" y="559"/>
                  </a:lnTo>
                  <a:lnTo>
                    <a:pt x="612" y="560"/>
                  </a:lnTo>
                  <a:lnTo>
                    <a:pt x="613" y="560"/>
                  </a:lnTo>
                  <a:lnTo>
                    <a:pt x="613" y="559"/>
                  </a:lnTo>
                  <a:lnTo>
                    <a:pt x="614" y="559"/>
                  </a:lnTo>
                  <a:lnTo>
                    <a:pt x="615" y="559"/>
                  </a:lnTo>
                  <a:lnTo>
                    <a:pt x="615" y="560"/>
                  </a:lnTo>
                  <a:lnTo>
                    <a:pt x="616" y="560"/>
                  </a:lnTo>
                  <a:lnTo>
                    <a:pt x="617" y="560"/>
                  </a:lnTo>
                  <a:lnTo>
                    <a:pt x="617" y="561"/>
                  </a:lnTo>
                  <a:lnTo>
                    <a:pt x="619" y="561"/>
                  </a:lnTo>
                  <a:lnTo>
                    <a:pt x="619" y="560"/>
                  </a:lnTo>
                  <a:lnTo>
                    <a:pt x="617" y="560"/>
                  </a:lnTo>
                  <a:lnTo>
                    <a:pt x="616" y="559"/>
                  </a:lnTo>
                  <a:lnTo>
                    <a:pt x="617" y="559"/>
                  </a:lnTo>
                  <a:lnTo>
                    <a:pt x="617" y="560"/>
                  </a:lnTo>
                  <a:lnTo>
                    <a:pt x="617" y="559"/>
                  </a:lnTo>
                  <a:lnTo>
                    <a:pt x="616" y="559"/>
                  </a:lnTo>
                  <a:lnTo>
                    <a:pt x="617" y="559"/>
                  </a:lnTo>
                  <a:lnTo>
                    <a:pt x="619" y="559"/>
                  </a:lnTo>
                  <a:lnTo>
                    <a:pt x="617" y="559"/>
                  </a:lnTo>
                  <a:lnTo>
                    <a:pt x="616" y="559"/>
                  </a:lnTo>
                  <a:lnTo>
                    <a:pt x="615" y="559"/>
                  </a:lnTo>
                  <a:lnTo>
                    <a:pt x="614" y="557"/>
                  </a:lnTo>
                  <a:lnTo>
                    <a:pt x="615" y="557"/>
                  </a:lnTo>
                  <a:lnTo>
                    <a:pt x="615" y="556"/>
                  </a:lnTo>
                  <a:lnTo>
                    <a:pt x="614" y="557"/>
                  </a:lnTo>
                  <a:lnTo>
                    <a:pt x="614" y="556"/>
                  </a:lnTo>
                  <a:lnTo>
                    <a:pt x="613" y="555"/>
                  </a:lnTo>
                  <a:lnTo>
                    <a:pt x="613" y="554"/>
                  </a:lnTo>
                  <a:lnTo>
                    <a:pt x="614" y="553"/>
                  </a:lnTo>
                  <a:lnTo>
                    <a:pt x="615" y="552"/>
                  </a:lnTo>
                  <a:lnTo>
                    <a:pt x="615" y="553"/>
                  </a:lnTo>
                  <a:lnTo>
                    <a:pt x="616" y="553"/>
                  </a:lnTo>
                  <a:lnTo>
                    <a:pt x="616" y="554"/>
                  </a:lnTo>
                  <a:lnTo>
                    <a:pt x="615" y="554"/>
                  </a:lnTo>
                  <a:lnTo>
                    <a:pt x="615" y="555"/>
                  </a:lnTo>
                  <a:lnTo>
                    <a:pt x="616" y="554"/>
                  </a:lnTo>
                  <a:lnTo>
                    <a:pt x="617" y="554"/>
                  </a:lnTo>
                  <a:lnTo>
                    <a:pt x="616" y="554"/>
                  </a:lnTo>
                  <a:lnTo>
                    <a:pt x="617" y="554"/>
                  </a:lnTo>
                  <a:lnTo>
                    <a:pt x="619" y="554"/>
                  </a:lnTo>
                  <a:lnTo>
                    <a:pt x="619" y="553"/>
                  </a:lnTo>
                  <a:lnTo>
                    <a:pt x="620" y="553"/>
                  </a:lnTo>
                  <a:lnTo>
                    <a:pt x="620" y="552"/>
                  </a:lnTo>
                  <a:lnTo>
                    <a:pt x="621" y="552"/>
                  </a:lnTo>
                  <a:lnTo>
                    <a:pt x="622" y="552"/>
                  </a:lnTo>
                  <a:lnTo>
                    <a:pt x="623" y="552"/>
                  </a:lnTo>
                  <a:lnTo>
                    <a:pt x="624" y="552"/>
                  </a:lnTo>
                  <a:lnTo>
                    <a:pt x="627" y="552"/>
                  </a:lnTo>
                  <a:lnTo>
                    <a:pt x="628" y="552"/>
                  </a:lnTo>
                  <a:lnTo>
                    <a:pt x="629" y="552"/>
                  </a:lnTo>
                  <a:lnTo>
                    <a:pt x="628" y="550"/>
                  </a:lnTo>
                  <a:lnTo>
                    <a:pt x="627" y="550"/>
                  </a:lnTo>
                  <a:lnTo>
                    <a:pt x="626" y="550"/>
                  </a:lnTo>
                  <a:lnTo>
                    <a:pt x="624" y="550"/>
                  </a:lnTo>
                  <a:lnTo>
                    <a:pt x="624" y="549"/>
                  </a:lnTo>
                  <a:lnTo>
                    <a:pt x="623" y="549"/>
                  </a:lnTo>
                  <a:lnTo>
                    <a:pt x="622" y="550"/>
                  </a:lnTo>
                  <a:lnTo>
                    <a:pt x="622" y="549"/>
                  </a:lnTo>
                  <a:lnTo>
                    <a:pt x="622" y="550"/>
                  </a:lnTo>
                  <a:lnTo>
                    <a:pt x="621" y="549"/>
                  </a:lnTo>
                  <a:lnTo>
                    <a:pt x="620" y="549"/>
                  </a:lnTo>
                  <a:lnTo>
                    <a:pt x="619" y="549"/>
                  </a:lnTo>
                  <a:lnTo>
                    <a:pt x="617" y="549"/>
                  </a:lnTo>
                  <a:lnTo>
                    <a:pt x="617" y="550"/>
                  </a:lnTo>
                  <a:lnTo>
                    <a:pt x="617" y="552"/>
                  </a:lnTo>
                  <a:lnTo>
                    <a:pt x="617" y="550"/>
                  </a:lnTo>
                  <a:lnTo>
                    <a:pt x="616" y="550"/>
                  </a:lnTo>
                  <a:lnTo>
                    <a:pt x="615" y="550"/>
                  </a:lnTo>
                  <a:lnTo>
                    <a:pt x="616" y="549"/>
                  </a:lnTo>
                  <a:lnTo>
                    <a:pt x="617" y="549"/>
                  </a:lnTo>
                  <a:lnTo>
                    <a:pt x="616" y="549"/>
                  </a:lnTo>
                  <a:lnTo>
                    <a:pt x="615" y="549"/>
                  </a:lnTo>
                  <a:lnTo>
                    <a:pt x="614" y="549"/>
                  </a:lnTo>
                  <a:lnTo>
                    <a:pt x="613" y="549"/>
                  </a:lnTo>
                  <a:lnTo>
                    <a:pt x="612" y="549"/>
                  </a:lnTo>
                  <a:lnTo>
                    <a:pt x="612" y="550"/>
                  </a:lnTo>
                  <a:lnTo>
                    <a:pt x="612" y="552"/>
                  </a:lnTo>
                  <a:lnTo>
                    <a:pt x="612" y="553"/>
                  </a:lnTo>
                  <a:lnTo>
                    <a:pt x="612" y="552"/>
                  </a:lnTo>
                  <a:lnTo>
                    <a:pt x="612" y="550"/>
                  </a:lnTo>
                  <a:lnTo>
                    <a:pt x="613" y="550"/>
                  </a:lnTo>
                  <a:lnTo>
                    <a:pt x="614" y="550"/>
                  </a:lnTo>
                  <a:lnTo>
                    <a:pt x="614" y="552"/>
                  </a:lnTo>
                  <a:lnTo>
                    <a:pt x="615" y="552"/>
                  </a:lnTo>
                  <a:lnTo>
                    <a:pt x="614" y="552"/>
                  </a:lnTo>
                  <a:lnTo>
                    <a:pt x="614" y="553"/>
                  </a:lnTo>
                  <a:lnTo>
                    <a:pt x="613" y="553"/>
                  </a:lnTo>
                  <a:lnTo>
                    <a:pt x="613" y="554"/>
                  </a:lnTo>
                  <a:lnTo>
                    <a:pt x="612" y="554"/>
                  </a:lnTo>
                  <a:lnTo>
                    <a:pt x="613" y="555"/>
                  </a:lnTo>
                  <a:lnTo>
                    <a:pt x="613" y="556"/>
                  </a:lnTo>
                  <a:lnTo>
                    <a:pt x="614" y="556"/>
                  </a:lnTo>
                  <a:lnTo>
                    <a:pt x="614" y="557"/>
                  </a:lnTo>
                  <a:lnTo>
                    <a:pt x="613" y="557"/>
                  </a:lnTo>
                  <a:lnTo>
                    <a:pt x="612" y="559"/>
                  </a:lnTo>
                  <a:lnTo>
                    <a:pt x="612" y="557"/>
                  </a:lnTo>
                  <a:lnTo>
                    <a:pt x="612" y="556"/>
                  </a:lnTo>
                  <a:lnTo>
                    <a:pt x="610" y="557"/>
                  </a:lnTo>
                  <a:lnTo>
                    <a:pt x="612" y="557"/>
                  </a:lnTo>
                  <a:lnTo>
                    <a:pt x="612" y="559"/>
                  </a:lnTo>
                  <a:lnTo>
                    <a:pt x="610" y="557"/>
                  </a:lnTo>
                  <a:lnTo>
                    <a:pt x="609" y="557"/>
                  </a:lnTo>
                  <a:lnTo>
                    <a:pt x="608" y="556"/>
                  </a:lnTo>
                  <a:lnTo>
                    <a:pt x="609" y="556"/>
                  </a:lnTo>
                  <a:lnTo>
                    <a:pt x="608" y="556"/>
                  </a:lnTo>
                  <a:lnTo>
                    <a:pt x="609" y="556"/>
                  </a:lnTo>
                  <a:lnTo>
                    <a:pt x="609" y="555"/>
                  </a:lnTo>
                  <a:lnTo>
                    <a:pt x="609" y="556"/>
                  </a:lnTo>
                  <a:lnTo>
                    <a:pt x="610" y="556"/>
                  </a:lnTo>
                  <a:lnTo>
                    <a:pt x="609" y="556"/>
                  </a:lnTo>
                  <a:lnTo>
                    <a:pt x="609" y="555"/>
                  </a:lnTo>
                  <a:lnTo>
                    <a:pt x="610" y="555"/>
                  </a:lnTo>
                  <a:lnTo>
                    <a:pt x="609" y="555"/>
                  </a:lnTo>
                  <a:lnTo>
                    <a:pt x="610" y="555"/>
                  </a:lnTo>
                  <a:lnTo>
                    <a:pt x="609" y="555"/>
                  </a:lnTo>
                  <a:lnTo>
                    <a:pt x="608" y="555"/>
                  </a:lnTo>
                  <a:lnTo>
                    <a:pt x="608" y="554"/>
                  </a:lnTo>
                  <a:lnTo>
                    <a:pt x="607" y="554"/>
                  </a:lnTo>
                  <a:lnTo>
                    <a:pt x="606" y="554"/>
                  </a:lnTo>
                  <a:lnTo>
                    <a:pt x="605" y="554"/>
                  </a:lnTo>
                  <a:lnTo>
                    <a:pt x="605" y="553"/>
                  </a:lnTo>
                  <a:lnTo>
                    <a:pt x="606" y="553"/>
                  </a:lnTo>
                  <a:lnTo>
                    <a:pt x="606" y="554"/>
                  </a:lnTo>
                  <a:lnTo>
                    <a:pt x="607" y="554"/>
                  </a:lnTo>
                  <a:lnTo>
                    <a:pt x="607" y="553"/>
                  </a:lnTo>
                  <a:lnTo>
                    <a:pt x="607" y="554"/>
                  </a:lnTo>
                  <a:lnTo>
                    <a:pt x="608" y="554"/>
                  </a:lnTo>
                  <a:lnTo>
                    <a:pt x="608" y="553"/>
                  </a:lnTo>
                  <a:lnTo>
                    <a:pt x="608" y="554"/>
                  </a:lnTo>
                  <a:lnTo>
                    <a:pt x="609" y="554"/>
                  </a:lnTo>
                  <a:lnTo>
                    <a:pt x="609" y="553"/>
                  </a:lnTo>
                  <a:lnTo>
                    <a:pt x="608" y="553"/>
                  </a:lnTo>
                  <a:lnTo>
                    <a:pt x="607" y="553"/>
                  </a:lnTo>
                  <a:lnTo>
                    <a:pt x="608" y="553"/>
                  </a:lnTo>
                  <a:lnTo>
                    <a:pt x="608" y="552"/>
                  </a:lnTo>
                  <a:lnTo>
                    <a:pt x="609" y="550"/>
                  </a:lnTo>
                  <a:lnTo>
                    <a:pt x="608" y="550"/>
                  </a:lnTo>
                  <a:lnTo>
                    <a:pt x="608" y="549"/>
                  </a:lnTo>
                  <a:lnTo>
                    <a:pt x="609" y="549"/>
                  </a:lnTo>
                  <a:lnTo>
                    <a:pt x="609" y="550"/>
                  </a:lnTo>
                  <a:lnTo>
                    <a:pt x="610" y="550"/>
                  </a:lnTo>
                  <a:lnTo>
                    <a:pt x="610" y="549"/>
                  </a:lnTo>
                  <a:lnTo>
                    <a:pt x="609" y="549"/>
                  </a:lnTo>
                  <a:lnTo>
                    <a:pt x="608" y="549"/>
                  </a:lnTo>
                  <a:lnTo>
                    <a:pt x="609" y="549"/>
                  </a:lnTo>
                  <a:lnTo>
                    <a:pt x="610" y="549"/>
                  </a:lnTo>
                  <a:lnTo>
                    <a:pt x="612" y="549"/>
                  </a:lnTo>
                  <a:lnTo>
                    <a:pt x="610" y="549"/>
                  </a:lnTo>
                  <a:lnTo>
                    <a:pt x="609" y="548"/>
                  </a:lnTo>
                  <a:lnTo>
                    <a:pt x="608" y="548"/>
                  </a:lnTo>
                  <a:lnTo>
                    <a:pt x="608" y="549"/>
                  </a:lnTo>
                  <a:lnTo>
                    <a:pt x="607" y="548"/>
                  </a:lnTo>
                  <a:lnTo>
                    <a:pt x="607" y="549"/>
                  </a:lnTo>
                  <a:lnTo>
                    <a:pt x="608" y="549"/>
                  </a:lnTo>
                  <a:lnTo>
                    <a:pt x="608" y="550"/>
                  </a:lnTo>
                  <a:lnTo>
                    <a:pt x="608" y="552"/>
                  </a:lnTo>
                  <a:lnTo>
                    <a:pt x="607" y="552"/>
                  </a:lnTo>
                  <a:lnTo>
                    <a:pt x="607" y="550"/>
                  </a:lnTo>
                  <a:lnTo>
                    <a:pt x="606" y="550"/>
                  </a:lnTo>
                  <a:lnTo>
                    <a:pt x="606" y="549"/>
                  </a:lnTo>
                  <a:lnTo>
                    <a:pt x="605" y="549"/>
                  </a:lnTo>
                  <a:lnTo>
                    <a:pt x="606" y="550"/>
                  </a:lnTo>
                  <a:lnTo>
                    <a:pt x="606" y="552"/>
                  </a:lnTo>
                  <a:lnTo>
                    <a:pt x="606" y="550"/>
                  </a:lnTo>
                  <a:lnTo>
                    <a:pt x="606" y="552"/>
                  </a:lnTo>
                  <a:lnTo>
                    <a:pt x="605" y="552"/>
                  </a:lnTo>
                  <a:lnTo>
                    <a:pt x="605" y="553"/>
                  </a:lnTo>
                  <a:lnTo>
                    <a:pt x="604" y="553"/>
                  </a:lnTo>
                  <a:lnTo>
                    <a:pt x="602" y="553"/>
                  </a:lnTo>
                  <a:lnTo>
                    <a:pt x="602" y="552"/>
                  </a:lnTo>
                  <a:lnTo>
                    <a:pt x="604" y="552"/>
                  </a:lnTo>
                  <a:lnTo>
                    <a:pt x="604" y="550"/>
                  </a:lnTo>
                  <a:lnTo>
                    <a:pt x="604" y="552"/>
                  </a:lnTo>
                  <a:lnTo>
                    <a:pt x="602" y="552"/>
                  </a:lnTo>
                  <a:lnTo>
                    <a:pt x="602" y="550"/>
                  </a:lnTo>
                  <a:lnTo>
                    <a:pt x="604" y="550"/>
                  </a:lnTo>
                  <a:lnTo>
                    <a:pt x="602" y="549"/>
                  </a:lnTo>
                  <a:lnTo>
                    <a:pt x="604" y="549"/>
                  </a:lnTo>
                  <a:lnTo>
                    <a:pt x="602" y="549"/>
                  </a:lnTo>
                  <a:lnTo>
                    <a:pt x="602" y="548"/>
                  </a:lnTo>
                  <a:lnTo>
                    <a:pt x="604" y="548"/>
                  </a:lnTo>
                  <a:lnTo>
                    <a:pt x="602" y="548"/>
                  </a:lnTo>
                  <a:lnTo>
                    <a:pt x="601" y="548"/>
                  </a:lnTo>
                  <a:lnTo>
                    <a:pt x="601" y="547"/>
                  </a:lnTo>
                  <a:lnTo>
                    <a:pt x="602" y="547"/>
                  </a:lnTo>
                  <a:lnTo>
                    <a:pt x="601" y="547"/>
                  </a:lnTo>
                  <a:lnTo>
                    <a:pt x="602" y="547"/>
                  </a:lnTo>
                  <a:lnTo>
                    <a:pt x="602" y="546"/>
                  </a:lnTo>
                  <a:lnTo>
                    <a:pt x="601" y="546"/>
                  </a:lnTo>
                  <a:lnTo>
                    <a:pt x="601" y="545"/>
                  </a:lnTo>
                  <a:lnTo>
                    <a:pt x="600" y="545"/>
                  </a:lnTo>
                  <a:lnTo>
                    <a:pt x="600" y="543"/>
                  </a:lnTo>
                  <a:lnTo>
                    <a:pt x="599" y="543"/>
                  </a:lnTo>
                  <a:lnTo>
                    <a:pt x="599" y="542"/>
                  </a:lnTo>
                  <a:lnTo>
                    <a:pt x="598" y="542"/>
                  </a:lnTo>
                  <a:lnTo>
                    <a:pt x="599" y="542"/>
                  </a:lnTo>
                  <a:lnTo>
                    <a:pt x="599" y="543"/>
                  </a:lnTo>
                  <a:lnTo>
                    <a:pt x="600" y="543"/>
                  </a:lnTo>
                  <a:lnTo>
                    <a:pt x="601" y="543"/>
                  </a:lnTo>
                  <a:lnTo>
                    <a:pt x="601" y="545"/>
                  </a:lnTo>
                  <a:lnTo>
                    <a:pt x="602" y="545"/>
                  </a:lnTo>
                  <a:lnTo>
                    <a:pt x="602" y="543"/>
                  </a:lnTo>
                  <a:lnTo>
                    <a:pt x="601" y="543"/>
                  </a:lnTo>
                  <a:lnTo>
                    <a:pt x="602" y="543"/>
                  </a:lnTo>
                  <a:lnTo>
                    <a:pt x="604" y="545"/>
                  </a:lnTo>
                  <a:lnTo>
                    <a:pt x="605" y="545"/>
                  </a:lnTo>
                  <a:lnTo>
                    <a:pt x="605" y="543"/>
                  </a:lnTo>
                  <a:lnTo>
                    <a:pt x="606" y="543"/>
                  </a:lnTo>
                  <a:lnTo>
                    <a:pt x="606" y="542"/>
                  </a:lnTo>
                  <a:lnTo>
                    <a:pt x="607" y="542"/>
                  </a:lnTo>
                  <a:lnTo>
                    <a:pt x="607" y="543"/>
                  </a:lnTo>
                  <a:lnTo>
                    <a:pt x="607" y="545"/>
                  </a:lnTo>
                  <a:lnTo>
                    <a:pt x="608" y="545"/>
                  </a:lnTo>
                  <a:lnTo>
                    <a:pt x="609" y="545"/>
                  </a:lnTo>
                  <a:lnTo>
                    <a:pt x="609" y="546"/>
                  </a:lnTo>
                  <a:lnTo>
                    <a:pt x="609" y="545"/>
                  </a:lnTo>
                  <a:lnTo>
                    <a:pt x="610" y="545"/>
                  </a:lnTo>
                  <a:lnTo>
                    <a:pt x="609" y="545"/>
                  </a:lnTo>
                  <a:lnTo>
                    <a:pt x="609" y="543"/>
                  </a:lnTo>
                  <a:lnTo>
                    <a:pt x="609" y="542"/>
                  </a:lnTo>
                  <a:lnTo>
                    <a:pt x="609" y="543"/>
                  </a:lnTo>
                  <a:lnTo>
                    <a:pt x="609" y="545"/>
                  </a:lnTo>
                  <a:lnTo>
                    <a:pt x="608" y="545"/>
                  </a:lnTo>
                  <a:lnTo>
                    <a:pt x="608" y="543"/>
                  </a:lnTo>
                  <a:lnTo>
                    <a:pt x="608" y="542"/>
                  </a:lnTo>
                  <a:lnTo>
                    <a:pt x="607" y="542"/>
                  </a:lnTo>
                  <a:lnTo>
                    <a:pt x="608" y="542"/>
                  </a:lnTo>
                  <a:lnTo>
                    <a:pt x="608" y="541"/>
                  </a:lnTo>
                  <a:lnTo>
                    <a:pt x="608" y="540"/>
                  </a:lnTo>
                  <a:lnTo>
                    <a:pt x="609" y="541"/>
                  </a:lnTo>
                  <a:lnTo>
                    <a:pt x="610" y="541"/>
                  </a:lnTo>
                  <a:lnTo>
                    <a:pt x="610" y="542"/>
                  </a:lnTo>
                  <a:lnTo>
                    <a:pt x="612" y="542"/>
                  </a:lnTo>
                  <a:lnTo>
                    <a:pt x="612" y="543"/>
                  </a:lnTo>
                  <a:lnTo>
                    <a:pt x="613" y="543"/>
                  </a:lnTo>
                  <a:lnTo>
                    <a:pt x="613" y="545"/>
                  </a:lnTo>
                  <a:lnTo>
                    <a:pt x="613" y="546"/>
                  </a:lnTo>
                  <a:lnTo>
                    <a:pt x="614" y="546"/>
                  </a:lnTo>
                  <a:lnTo>
                    <a:pt x="613" y="547"/>
                  </a:lnTo>
                  <a:lnTo>
                    <a:pt x="613" y="546"/>
                  </a:lnTo>
                  <a:lnTo>
                    <a:pt x="613" y="547"/>
                  </a:lnTo>
                  <a:lnTo>
                    <a:pt x="612" y="547"/>
                  </a:lnTo>
                  <a:lnTo>
                    <a:pt x="612" y="548"/>
                  </a:lnTo>
                  <a:lnTo>
                    <a:pt x="610" y="548"/>
                  </a:lnTo>
                  <a:lnTo>
                    <a:pt x="612" y="548"/>
                  </a:lnTo>
                  <a:lnTo>
                    <a:pt x="613" y="548"/>
                  </a:lnTo>
                  <a:lnTo>
                    <a:pt x="614" y="548"/>
                  </a:lnTo>
                  <a:lnTo>
                    <a:pt x="615" y="548"/>
                  </a:lnTo>
                  <a:lnTo>
                    <a:pt x="614" y="548"/>
                  </a:lnTo>
                  <a:lnTo>
                    <a:pt x="613" y="547"/>
                  </a:lnTo>
                  <a:lnTo>
                    <a:pt x="614" y="547"/>
                  </a:lnTo>
                  <a:lnTo>
                    <a:pt x="614" y="546"/>
                  </a:lnTo>
                  <a:lnTo>
                    <a:pt x="614" y="545"/>
                  </a:lnTo>
                  <a:lnTo>
                    <a:pt x="612" y="543"/>
                  </a:lnTo>
                  <a:lnTo>
                    <a:pt x="612" y="542"/>
                  </a:lnTo>
                  <a:lnTo>
                    <a:pt x="610" y="542"/>
                  </a:lnTo>
                  <a:lnTo>
                    <a:pt x="610" y="541"/>
                  </a:lnTo>
                  <a:lnTo>
                    <a:pt x="612" y="541"/>
                  </a:lnTo>
                  <a:lnTo>
                    <a:pt x="610" y="541"/>
                  </a:lnTo>
                  <a:lnTo>
                    <a:pt x="612" y="540"/>
                  </a:lnTo>
                  <a:lnTo>
                    <a:pt x="612" y="541"/>
                  </a:lnTo>
                  <a:lnTo>
                    <a:pt x="612" y="540"/>
                  </a:lnTo>
                  <a:lnTo>
                    <a:pt x="613" y="540"/>
                  </a:lnTo>
                  <a:lnTo>
                    <a:pt x="612" y="540"/>
                  </a:lnTo>
                  <a:lnTo>
                    <a:pt x="612" y="539"/>
                  </a:lnTo>
                  <a:lnTo>
                    <a:pt x="610" y="538"/>
                  </a:lnTo>
                  <a:lnTo>
                    <a:pt x="609" y="536"/>
                  </a:lnTo>
                  <a:lnTo>
                    <a:pt x="608" y="536"/>
                  </a:lnTo>
                  <a:lnTo>
                    <a:pt x="608" y="535"/>
                  </a:lnTo>
                  <a:lnTo>
                    <a:pt x="607" y="535"/>
                  </a:lnTo>
                  <a:lnTo>
                    <a:pt x="606" y="535"/>
                  </a:lnTo>
                  <a:lnTo>
                    <a:pt x="605" y="534"/>
                  </a:lnTo>
                  <a:lnTo>
                    <a:pt x="604" y="534"/>
                  </a:lnTo>
                  <a:lnTo>
                    <a:pt x="602" y="534"/>
                  </a:lnTo>
                  <a:lnTo>
                    <a:pt x="602" y="533"/>
                  </a:lnTo>
                  <a:lnTo>
                    <a:pt x="601" y="533"/>
                  </a:lnTo>
                  <a:lnTo>
                    <a:pt x="600" y="533"/>
                  </a:lnTo>
                  <a:lnTo>
                    <a:pt x="600" y="534"/>
                  </a:lnTo>
                  <a:lnTo>
                    <a:pt x="601" y="534"/>
                  </a:lnTo>
                  <a:lnTo>
                    <a:pt x="602" y="534"/>
                  </a:lnTo>
                  <a:lnTo>
                    <a:pt x="602" y="535"/>
                  </a:lnTo>
                  <a:lnTo>
                    <a:pt x="604" y="535"/>
                  </a:lnTo>
                  <a:lnTo>
                    <a:pt x="604" y="534"/>
                  </a:lnTo>
                  <a:lnTo>
                    <a:pt x="605" y="535"/>
                  </a:lnTo>
                  <a:lnTo>
                    <a:pt x="606" y="535"/>
                  </a:lnTo>
                  <a:lnTo>
                    <a:pt x="607" y="535"/>
                  </a:lnTo>
                  <a:lnTo>
                    <a:pt x="608" y="536"/>
                  </a:lnTo>
                  <a:lnTo>
                    <a:pt x="609" y="536"/>
                  </a:lnTo>
                  <a:lnTo>
                    <a:pt x="609" y="538"/>
                  </a:lnTo>
                  <a:lnTo>
                    <a:pt x="610" y="538"/>
                  </a:lnTo>
                  <a:lnTo>
                    <a:pt x="610" y="539"/>
                  </a:lnTo>
                  <a:lnTo>
                    <a:pt x="609" y="539"/>
                  </a:lnTo>
                  <a:lnTo>
                    <a:pt x="608" y="539"/>
                  </a:lnTo>
                  <a:lnTo>
                    <a:pt x="607" y="539"/>
                  </a:lnTo>
                  <a:lnTo>
                    <a:pt x="607" y="538"/>
                  </a:lnTo>
                  <a:lnTo>
                    <a:pt x="606" y="538"/>
                  </a:lnTo>
                  <a:lnTo>
                    <a:pt x="605" y="538"/>
                  </a:lnTo>
                  <a:lnTo>
                    <a:pt x="604" y="536"/>
                  </a:lnTo>
                  <a:lnTo>
                    <a:pt x="602" y="536"/>
                  </a:lnTo>
                  <a:lnTo>
                    <a:pt x="601" y="535"/>
                  </a:lnTo>
                  <a:lnTo>
                    <a:pt x="600" y="535"/>
                  </a:lnTo>
                  <a:lnTo>
                    <a:pt x="601" y="536"/>
                  </a:lnTo>
                  <a:lnTo>
                    <a:pt x="602" y="536"/>
                  </a:lnTo>
                  <a:lnTo>
                    <a:pt x="602" y="538"/>
                  </a:lnTo>
                  <a:lnTo>
                    <a:pt x="604" y="538"/>
                  </a:lnTo>
                  <a:lnTo>
                    <a:pt x="605" y="538"/>
                  </a:lnTo>
                  <a:lnTo>
                    <a:pt x="605" y="539"/>
                  </a:lnTo>
                  <a:lnTo>
                    <a:pt x="605" y="538"/>
                  </a:lnTo>
                  <a:lnTo>
                    <a:pt x="604" y="538"/>
                  </a:lnTo>
                  <a:lnTo>
                    <a:pt x="605" y="538"/>
                  </a:lnTo>
                  <a:lnTo>
                    <a:pt x="605" y="539"/>
                  </a:lnTo>
                  <a:lnTo>
                    <a:pt x="604" y="539"/>
                  </a:lnTo>
                  <a:lnTo>
                    <a:pt x="604" y="540"/>
                  </a:lnTo>
                  <a:lnTo>
                    <a:pt x="605" y="540"/>
                  </a:lnTo>
                  <a:lnTo>
                    <a:pt x="605" y="539"/>
                  </a:lnTo>
                  <a:lnTo>
                    <a:pt x="606" y="539"/>
                  </a:lnTo>
                  <a:lnTo>
                    <a:pt x="607" y="539"/>
                  </a:lnTo>
                  <a:lnTo>
                    <a:pt x="606" y="540"/>
                  </a:lnTo>
                  <a:lnTo>
                    <a:pt x="605" y="540"/>
                  </a:lnTo>
                  <a:lnTo>
                    <a:pt x="605" y="541"/>
                  </a:lnTo>
                  <a:lnTo>
                    <a:pt x="605" y="542"/>
                  </a:lnTo>
                  <a:lnTo>
                    <a:pt x="604" y="542"/>
                  </a:lnTo>
                  <a:lnTo>
                    <a:pt x="604" y="541"/>
                  </a:lnTo>
                  <a:lnTo>
                    <a:pt x="602" y="541"/>
                  </a:lnTo>
                  <a:lnTo>
                    <a:pt x="602" y="540"/>
                  </a:lnTo>
                  <a:lnTo>
                    <a:pt x="601" y="539"/>
                  </a:lnTo>
                  <a:lnTo>
                    <a:pt x="601" y="538"/>
                  </a:lnTo>
                  <a:lnTo>
                    <a:pt x="600" y="536"/>
                  </a:lnTo>
                  <a:lnTo>
                    <a:pt x="600" y="538"/>
                  </a:lnTo>
                  <a:lnTo>
                    <a:pt x="601" y="538"/>
                  </a:lnTo>
                  <a:lnTo>
                    <a:pt x="601" y="539"/>
                  </a:lnTo>
                  <a:lnTo>
                    <a:pt x="602" y="541"/>
                  </a:lnTo>
                  <a:lnTo>
                    <a:pt x="602" y="542"/>
                  </a:lnTo>
                  <a:lnTo>
                    <a:pt x="604" y="543"/>
                  </a:lnTo>
                  <a:lnTo>
                    <a:pt x="602" y="543"/>
                  </a:lnTo>
                  <a:lnTo>
                    <a:pt x="601" y="542"/>
                  </a:lnTo>
                  <a:lnTo>
                    <a:pt x="600" y="542"/>
                  </a:lnTo>
                  <a:lnTo>
                    <a:pt x="600" y="541"/>
                  </a:lnTo>
                  <a:lnTo>
                    <a:pt x="599" y="541"/>
                  </a:lnTo>
                  <a:lnTo>
                    <a:pt x="599" y="540"/>
                  </a:lnTo>
                  <a:lnTo>
                    <a:pt x="598" y="540"/>
                  </a:lnTo>
                  <a:lnTo>
                    <a:pt x="598" y="539"/>
                  </a:lnTo>
                  <a:lnTo>
                    <a:pt x="599" y="539"/>
                  </a:lnTo>
                  <a:lnTo>
                    <a:pt x="599" y="540"/>
                  </a:lnTo>
                  <a:lnTo>
                    <a:pt x="600" y="540"/>
                  </a:lnTo>
                  <a:lnTo>
                    <a:pt x="600" y="541"/>
                  </a:lnTo>
                  <a:lnTo>
                    <a:pt x="601" y="541"/>
                  </a:lnTo>
                  <a:lnTo>
                    <a:pt x="600" y="540"/>
                  </a:lnTo>
                  <a:lnTo>
                    <a:pt x="600" y="539"/>
                  </a:lnTo>
                  <a:lnTo>
                    <a:pt x="599" y="539"/>
                  </a:lnTo>
                  <a:lnTo>
                    <a:pt x="598" y="538"/>
                  </a:lnTo>
                  <a:lnTo>
                    <a:pt x="599" y="538"/>
                  </a:lnTo>
                  <a:lnTo>
                    <a:pt x="599" y="536"/>
                  </a:lnTo>
                  <a:lnTo>
                    <a:pt x="598" y="538"/>
                  </a:lnTo>
                  <a:lnTo>
                    <a:pt x="598" y="536"/>
                  </a:lnTo>
                  <a:lnTo>
                    <a:pt x="598" y="538"/>
                  </a:lnTo>
                  <a:lnTo>
                    <a:pt x="597" y="536"/>
                  </a:lnTo>
                  <a:lnTo>
                    <a:pt x="597" y="538"/>
                  </a:lnTo>
                  <a:lnTo>
                    <a:pt x="595" y="538"/>
                  </a:lnTo>
                  <a:lnTo>
                    <a:pt x="594" y="536"/>
                  </a:lnTo>
                  <a:lnTo>
                    <a:pt x="595" y="536"/>
                  </a:lnTo>
                  <a:lnTo>
                    <a:pt x="594" y="536"/>
                  </a:lnTo>
                  <a:lnTo>
                    <a:pt x="594" y="535"/>
                  </a:lnTo>
                  <a:lnTo>
                    <a:pt x="593" y="535"/>
                  </a:lnTo>
                  <a:lnTo>
                    <a:pt x="593" y="534"/>
                  </a:lnTo>
                  <a:lnTo>
                    <a:pt x="592" y="534"/>
                  </a:lnTo>
                  <a:lnTo>
                    <a:pt x="592" y="533"/>
                  </a:lnTo>
                  <a:lnTo>
                    <a:pt x="591" y="532"/>
                  </a:lnTo>
                  <a:lnTo>
                    <a:pt x="592" y="532"/>
                  </a:lnTo>
                  <a:lnTo>
                    <a:pt x="593" y="532"/>
                  </a:lnTo>
                  <a:lnTo>
                    <a:pt x="593" y="533"/>
                  </a:lnTo>
                  <a:lnTo>
                    <a:pt x="594" y="533"/>
                  </a:lnTo>
                  <a:lnTo>
                    <a:pt x="595" y="534"/>
                  </a:lnTo>
                  <a:lnTo>
                    <a:pt x="595" y="535"/>
                  </a:lnTo>
                  <a:lnTo>
                    <a:pt x="597" y="535"/>
                  </a:lnTo>
                  <a:lnTo>
                    <a:pt x="595" y="534"/>
                  </a:lnTo>
                  <a:lnTo>
                    <a:pt x="597" y="534"/>
                  </a:lnTo>
                  <a:lnTo>
                    <a:pt x="595" y="534"/>
                  </a:lnTo>
                  <a:lnTo>
                    <a:pt x="595" y="533"/>
                  </a:lnTo>
                  <a:lnTo>
                    <a:pt x="594" y="533"/>
                  </a:lnTo>
                  <a:lnTo>
                    <a:pt x="593" y="532"/>
                  </a:lnTo>
                  <a:lnTo>
                    <a:pt x="593" y="531"/>
                  </a:lnTo>
                  <a:lnTo>
                    <a:pt x="593" y="529"/>
                  </a:lnTo>
                  <a:lnTo>
                    <a:pt x="592" y="529"/>
                  </a:lnTo>
                  <a:lnTo>
                    <a:pt x="593" y="529"/>
                  </a:lnTo>
                  <a:lnTo>
                    <a:pt x="593" y="531"/>
                  </a:lnTo>
                  <a:lnTo>
                    <a:pt x="593" y="529"/>
                  </a:lnTo>
                  <a:lnTo>
                    <a:pt x="592" y="529"/>
                  </a:lnTo>
                  <a:lnTo>
                    <a:pt x="592" y="528"/>
                  </a:lnTo>
                  <a:lnTo>
                    <a:pt x="591" y="529"/>
                  </a:lnTo>
                  <a:lnTo>
                    <a:pt x="590" y="529"/>
                  </a:lnTo>
                  <a:lnTo>
                    <a:pt x="590" y="528"/>
                  </a:lnTo>
                  <a:lnTo>
                    <a:pt x="588" y="528"/>
                  </a:lnTo>
                  <a:lnTo>
                    <a:pt x="588" y="529"/>
                  </a:lnTo>
                  <a:lnTo>
                    <a:pt x="587" y="529"/>
                  </a:lnTo>
                  <a:lnTo>
                    <a:pt x="587" y="528"/>
                  </a:lnTo>
                  <a:lnTo>
                    <a:pt x="587" y="527"/>
                  </a:lnTo>
                  <a:lnTo>
                    <a:pt x="586" y="527"/>
                  </a:lnTo>
                  <a:lnTo>
                    <a:pt x="587" y="526"/>
                  </a:lnTo>
                  <a:lnTo>
                    <a:pt x="586" y="526"/>
                  </a:lnTo>
                  <a:lnTo>
                    <a:pt x="586" y="527"/>
                  </a:lnTo>
                  <a:lnTo>
                    <a:pt x="585" y="527"/>
                  </a:lnTo>
                  <a:lnTo>
                    <a:pt x="585" y="526"/>
                  </a:lnTo>
                  <a:lnTo>
                    <a:pt x="585" y="525"/>
                  </a:lnTo>
                  <a:lnTo>
                    <a:pt x="586" y="525"/>
                  </a:lnTo>
                  <a:lnTo>
                    <a:pt x="587" y="525"/>
                  </a:lnTo>
                  <a:lnTo>
                    <a:pt x="588" y="525"/>
                  </a:lnTo>
                  <a:lnTo>
                    <a:pt x="588" y="524"/>
                  </a:lnTo>
                  <a:lnTo>
                    <a:pt x="588" y="525"/>
                  </a:lnTo>
                  <a:lnTo>
                    <a:pt x="590" y="525"/>
                  </a:lnTo>
                  <a:lnTo>
                    <a:pt x="590" y="526"/>
                  </a:lnTo>
                  <a:lnTo>
                    <a:pt x="590" y="525"/>
                  </a:lnTo>
                  <a:lnTo>
                    <a:pt x="588" y="524"/>
                  </a:lnTo>
                  <a:lnTo>
                    <a:pt x="590" y="524"/>
                  </a:lnTo>
                  <a:lnTo>
                    <a:pt x="590" y="522"/>
                  </a:lnTo>
                  <a:lnTo>
                    <a:pt x="588" y="522"/>
                  </a:lnTo>
                  <a:lnTo>
                    <a:pt x="588" y="521"/>
                  </a:lnTo>
                  <a:lnTo>
                    <a:pt x="590" y="521"/>
                  </a:lnTo>
                  <a:lnTo>
                    <a:pt x="590" y="520"/>
                  </a:lnTo>
                  <a:lnTo>
                    <a:pt x="590" y="521"/>
                  </a:lnTo>
                  <a:lnTo>
                    <a:pt x="591" y="521"/>
                  </a:lnTo>
                  <a:lnTo>
                    <a:pt x="592" y="521"/>
                  </a:lnTo>
                  <a:lnTo>
                    <a:pt x="591" y="521"/>
                  </a:lnTo>
                  <a:lnTo>
                    <a:pt x="591" y="520"/>
                  </a:lnTo>
                  <a:lnTo>
                    <a:pt x="590" y="520"/>
                  </a:lnTo>
                  <a:lnTo>
                    <a:pt x="588" y="519"/>
                  </a:lnTo>
                  <a:lnTo>
                    <a:pt x="590" y="519"/>
                  </a:lnTo>
                  <a:lnTo>
                    <a:pt x="590" y="518"/>
                  </a:lnTo>
                  <a:lnTo>
                    <a:pt x="590" y="517"/>
                  </a:lnTo>
                  <a:lnTo>
                    <a:pt x="588" y="518"/>
                  </a:lnTo>
                  <a:lnTo>
                    <a:pt x="588" y="519"/>
                  </a:lnTo>
                  <a:lnTo>
                    <a:pt x="587" y="519"/>
                  </a:lnTo>
                  <a:lnTo>
                    <a:pt x="588" y="520"/>
                  </a:lnTo>
                  <a:lnTo>
                    <a:pt x="587" y="520"/>
                  </a:lnTo>
                  <a:lnTo>
                    <a:pt x="588" y="520"/>
                  </a:lnTo>
                  <a:lnTo>
                    <a:pt x="588" y="521"/>
                  </a:lnTo>
                  <a:lnTo>
                    <a:pt x="588" y="522"/>
                  </a:lnTo>
                  <a:lnTo>
                    <a:pt x="588" y="524"/>
                  </a:lnTo>
                  <a:lnTo>
                    <a:pt x="587" y="524"/>
                  </a:lnTo>
                  <a:lnTo>
                    <a:pt x="586" y="524"/>
                  </a:lnTo>
                  <a:lnTo>
                    <a:pt x="585" y="522"/>
                  </a:lnTo>
                  <a:lnTo>
                    <a:pt x="585" y="521"/>
                  </a:lnTo>
                  <a:lnTo>
                    <a:pt x="585" y="522"/>
                  </a:lnTo>
                  <a:lnTo>
                    <a:pt x="584" y="521"/>
                  </a:lnTo>
                  <a:lnTo>
                    <a:pt x="583" y="520"/>
                  </a:lnTo>
                  <a:lnTo>
                    <a:pt x="583" y="519"/>
                  </a:lnTo>
                  <a:lnTo>
                    <a:pt x="581" y="519"/>
                  </a:lnTo>
                  <a:lnTo>
                    <a:pt x="581" y="518"/>
                  </a:lnTo>
                  <a:lnTo>
                    <a:pt x="583" y="518"/>
                  </a:lnTo>
                  <a:lnTo>
                    <a:pt x="583" y="519"/>
                  </a:lnTo>
                  <a:lnTo>
                    <a:pt x="584" y="520"/>
                  </a:lnTo>
                  <a:lnTo>
                    <a:pt x="583" y="519"/>
                  </a:lnTo>
                  <a:lnTo>
                    <a:pt x="584" y="519"/>
                  </a:lnTo>
                  <a:lnTo>
                    <a:pt x="583" y="519"/>
                  </a:lnTo>
                  <a:lnTo>
                    <a:pt x="583" y="518"/>
                  </a:lnTo>
                  <a:lnTo>
                    <a:pt x="584" y="519"/>
                  </a:lnTo>
                  <a:lnTo>
                    <a:pt x="586" y="519"/>
                  </a:lnTo>
                  <a:lnTo>
                    <a:pt x="585" y="519"/>
                  </a:lnTo>
                  <a:lnTo>
                    <a:pt x="584" y="518"/>
                  </a:lnTo>
                  <a:lnTo>
                    <a:pt x="583" y="518"/>
                  </a:lnTo>
                  <a:lnTo>
                    <a:pt x="583" y="517"/>
                  </a:lnTo>
                  <a:lnTo>
                    <a:pt x="584" y="517"/>
                  </a:lnTo>
                  <a:lnTo>
                    <a:pt x="583" y="517"/>
                  </a:lnTo>
                  <a:lnTo>
                    <a:pt x="581" y="518"/>
                  </a:lnTo>
                  <a:lnTo>
                    <a:pt x="581" y="517"/>
                  </a:lnTo>
                  <a:lnTo>
                    <a:pt x="581" y="518"/>
                  </a:lnTo>
                  <a:lnTo>
                    <a:pt x="580" y="518"/>
                  </a:lnTo>
                  <a:lnTo>
                    <a:pt x="580" y="517"/>
                  </a:lnTo>
                  <a:lnTo>
                    <a:pt x="580" y="515"/>
                  </a:lnTo>
                  <a:lnTo>
                    <a:pt x="579" y="515"/>
                  </a:lnTo>
                  <a:lnTo>
                    <a:pt x="579" y="517"/>
                  </a:lnTo>
                  <a:lnTo>
                    <a:pt x="578" y="517"/>
                  </a:lnTo>
                  <a:lnTo>
                    <a:pt x="578" y="515"/>
                  </a:lnTo>
                  <a:lnTo>
                    <a:pt x="577" y="515"/>
                  </a:lnTo>
                  <a:lnTo>
                    <a:pt x="577" y="514"/>
                  </a:lnTo>
                  <a:lnTo>
                    <a:pt x="577" y="515"/>
                  </a:lnTo>
                  <a:lnTo>
                    <a:pt x="577" y="514"/>
                  </a:lnTo>
                  <a:lnTo>
                    <a:pt x="576" y="514"/>
                  </a:lnTo>
                  <a:lnTo>
                    <a:pt x="574" y="514"/>
                  </a:lnTo>
                  <a:lnTo>
                    <a:pt x="574" y="513"/>
                  </a:lnTo>
                  <a:lnTo>
                    <a:pt x="576" y="512"/>
                  </a:lnTo>
                  <a:lnTo>
                    <a:pt x="576" y="513"/>
                  </a:lnTo>
                  <a:lnTo>
                    <a:pt x="577" y="513"/>
                  </a:lnTo>
                  <a:lnTo>
                    <a:pt x="576" y="513"/>
                  </a:lnTo>
                  <a:lnTo>
                    <a:pt x="576" y="512"/>
                  </a:lnTo>
                  <a:lnTo>
                    <a:pt x="577" y="512"/>
                  </a:lnTo>
                  <a:lnTo>
                    <a:pt x="578" y="512"/>
                  </a:lnTo>
                  <a:lnTo>
                    <a:pt x="578" y="513"/>
                  </a:lnTo>
                  <a:lnTo>
                    <a:pt x="579" y="513"/>
                  </a:lnTo>
                  <a:lnTo>
                    <a:pt x="580" y="514"/>
                  </a:lnTo>
                  <a:lnTo>
                    <a:pt x="580" y="515"/>
                  </a:lnTo>
                  <a:lnTo>
                    <a:pt x="581" y="514"/>
                  </a:lnTo>
                  <a:lnTo>
                    <a:pt x="584" y="515"/>
                  </a:lnTo>
                  <a:lnTo>
                    <a:pt x="585" y="515"/>
                  </a:lnTo>
                  <a:lnTo>
                    <a:pt x="584" y="514"/>
                  </a:lnTo>
                  <a:lnTo>
                    <a:pt x="583" y="514"/>
                  </a:lnTo>
                  <a:lnTo>
                    <a:pt x="581" y="514"/>
                  </a:lnTo>
                  <a:lnTo>
                    <a:pt x="580" y="514"/>
                  </a:lnTo>
                  <a:lnTo>
                    <a:pt x="580" y="513"/>
                  </a:lnTo>
                  <a:lnTo>
                    <a:pt x="579" y="513"/>
                  </a:lnTo>
                  <a:lnTo>
                    <a:pt x="579" y="512"/>
                  </a:lnTo>
                  <a:lnTo>
                    <a:pt x="578" y="512"/>
                  </a:lnTo>
                  <a:lnTo>
                    <a:pt x="578" y="511"/>
                  </a:lnTo>
                  <a:lnTo>
                    <a:pt x="577" y="511"/>
                  </a:lnTo>
                  <a:lnTo>
                    <a:pt x="577" y="510"/>
                  </a:lnTo>
                  <a:lnTo>
                    <a:pt x="578" y="510"/>
                  </a:lnTo>
                  <a:lnTo>
                    <a:pt x="579" y="511"/>
                  </a:lnTo>
                  <a:lnTo>
                    <a:pt x="580" y="511"/>
                  </a:lnTo>
                  <a:lnTo>
                    <a:pt x="581" y="512"/>
                  </a:lnTo>
                  <a:lnTo>
                    <a:pt x="583" y="511"/>
                  </a:lnTo>
                  <a:lnTo>
                    <a:pt x="583" y="512"/>
                  </a:lnTo>
                  <a:lnTo>
                    <a:pt x="584" y="512"/>
                  </a:lnTo>
                  <a:lnTo>
                    <a:pt x="583" y="512"/>
                  </a:lnTo>
                  <a:lnTo>
                    <a:pt x="583" y="511"/>
                  </a:lnTo>
                  <a:lnTo>
                    <a:pt x="581" y="511"/>
                  </a:lnTo>
                  <a:lnTo>
                    <a:pt x="581" y="510"/>
                  </a:lnTo>
                  <a:lnTo>
                    <a:pt x="583" y="510"/>
                  </a:lnTo>
                  <a:lnTo>
                    <a:pt x="581" y="510"/>
                  </a:lnTo>
                  <a:lnTo>
                    <a:pt x="581" y="508"/>
                  </a:lnTo>
                  <a:lnTo>
                    <a:pt x="581" y="510"/>
                  </a:lnTo>
                  <a:lnTo>
                    <a:pt x="581" y="511"/>
                  </a:lnTo>
                  <a:lnTo>
                    <a:pt x="580" y="511"/>
                  </a:lnTo>
                  <a:lnTo>
                    <a:pt x="579" y="510"/>
                  </a:lnTo>
                  <a:lnTo>
                    <a:pt x="577" y="510"/>
                  </a:lnTo>
                  <a:lnTo>
                    <a:pt x="577" y="508"/>
                  </a:lnTo>
                  <a:lnTo>
                    <a:pt x="576" y="508"/>
                  </a:lnTo>
                  <a:lnTo>
                    <a:pt x="576" y="507"/>
                  </a:lnTo>
                  <a:lnTo>
                    <a:pt x="577" y="507"/>
                  </a:lnTo>
                  <a:lnTo>
                    <a:pt x="578" y="507"/>
                  </a:lnTo>
                  <a:lnTo>
                    <a:pt x="579" y="507"/>
                  </a:lnTo>
                  <a:lnTo>
                    <a:pt x="579" y="506"/>
                  </a:lnTo>
                  <a:lnTo>
                    <a:pt x="578" y="506"/>
                  </a:lnTo>
                  <a:lnTo>
                    <a:pt x="578" y="507"/>
                  </a:lnTo>
                  <a:lnTo>
                    <a:pt x="577" y="507"/>
                  </a:lnTo>
                  <a:lnTo>
                    <a:pt x="576" y="506"/>
                  </a:lnTo>
                  <a:lnTo>
                    <a:pt x="576" y="505"/>
                  </a:lnTo>
                  <a:lnTo>
                    <a:pt x="576" y="504"/>
                  </a:lnTo>
                  <a:lnTo>
                    <a:pt x="577" y="504"/>
                  </a:lnTo>
                  <a:lnTo>
                    <a:pt x="578" y="504"/>
                  </a:lnTo>
                  <a:lnTo>
                    <a:pt x="579" y="505"/>
                  </a:lnTo>
                  <a:lnTo>
                    <a:pt x="579" y="504"/>
                  </a:lnTo>
                  <a:lnTo>
                    <a:pt x="580" y="504"/>
                  </a:lnTo>
                  <a:lnTo>
                    <a:pt x="580" y="505"/>
                  </a:lnTo>
                  <a:lnTo>
                    <a:pt x="580" y="506"/>
                  </a:lnTo>
                  <a:lnTo>
                    <a:pt x="581" y="506"/>
                  </a:lnTo>
                  <a:lnTo>
                    <a:pt x="583" y="506"/>
                  </a:lnTo>
                  <a:lnTo>
                    <a:pt x="583" y="507"/>
                  </a:lnTo>
                  <a:lnTo>
                    <a:pt x="584" y="507"/>
                  </a:lnTo>
                  <a:lnTo>
                    <a:pt x="584" y="506"/>
                  </a:lnTo>
                  <a:lnTo>
                    <a:pt x="583" y="506"/>
                  </a:lnTo>
                  <a:lnTo>
                    <a:pt x="581" y="506"/>
                  </a:lnTo>
                  <a:lnTo>
                    <a:pt x="581" y="505"/>
                  </a:lnTo>
                  <a:lnTo>
                    <a:pt x="580" y="505"/>
                  </a:lnTo>
                  <a:lnTo>
                    <a:pt x="580" y="504"/>
                  </a:lnTo>
                  <a:lnTo>
                    <a:pt x="579" y="504"/>
                  </a:lnTo>
                  <a:lnTo>
                    <a:pt x="578" y="504"/>
                  </a:lnTo>
                  <a:lnTo>
                    <a:pt x="577" y="504"/>
                  </a:lnTo>
                  <a:lnTo>
                    <a:pt x="577" y="503"/>
                  </a:lnTo>
                  <a:lnTo>
                    <a:pt x="577" y="501"/>
                  </a:lnTo>
                  <a:lnTo>
                    <a:pt x="577" y="500"/>
                  </a:lnTo>
                  <a:lnTo>
                    <a:pt x="576" y="500"/>
                  </a:lnTo>
                  <a:lnTo>
                    <a:pt x="576" y="499"/>
                  </a:lnTo>
                  <a:lnTo>
                    <a:pt x="577" y="499"/>
                  </a:lnTo>
                  <a:lnTo>
                    <a:pt x="577" y="500"/>
                  </a:lnTo>
                  <a:lnTo>
                    <a:pt x="578" y="500"/>
                  </a:lnTo>
                  <a:lnTo>
                    <a:pt x="579" y="501"/>
                  </a:lnTo>
                  <a:lnTo>
                    <a:pt x="579" y="500"/>
                  </a:lnTo>
                  <a:lnTo>
                    <a:pt x="578" y="500"/>
                  </a:lnTo>
                  <a:lnTo>
                    <a:pt x="577" y="500"/>
                  </a:lnTo>
                  <a:lnTo>
                    <a:pt x="577" y="499"/>
                  </a:lnTo>
                  <a:lnTo>
                    <a:pt x="577" y="498"/>
                  </a:lnTo>
                  <a:lnTo>
                    <a:pt x="576" y="498"/>
                  </a:lnTo>
                  <a:lnTo>
                    <a:pt x="576" y="497"/>
                  </a:lnTo>
                  <a:lnTo>
                    <a:pt x="576" y="496"/>
                  </a:lnTo>
                  <a:lnTo>
                    <a:pt x="577" y="496"/>
                  </a:lnTo>
                  <a:lnTo>
                    <a:pt x="577" y="497"/>
                  </a:lnTo>
                  <a:lnTo>
                    <a:pt x="578" y="497"/>
                  </a:lnTo>
                  <a:lnTo>
                    <a:pt x="578" y="496"/>
                  </a:lnTo>
                  <a:lnTo>
                    <a:pt x="577" y="496"/>
                  </a:lnTo>
                  <a:lnTo>
                    <a:pt x="576" y="496"/>
                  </a:lnTo>
                  <a:lnTo>
                    <a:pt x="574" y="496"/>
                  </a:lnTo>
                  <a:lnTo>
                    <a:pt x="574" y="497"/>
                  </a:lnTo>
                  <a:lnTo>
                    <a:pt x="576" y="497"/>
                  </a:lnTo>
                  <a:lnTo>
                    <a:pt x="576" y="498"/>
                  </a:lnTo>
                  <a:lnTo>
                    <a:pt x="576" y="499"/>
                  </a:lnTo>
                  <a:lnTo>
                    <a:pt x="574" y="499"/>
                  </a:lnTo>
                  <a:lnTo>
                    <a:pt x="576" y="499"/>
                  </a:lnTo>
                  <a:lnTo>
                    <a:pt x="576" y="500"/>
                  </a:lnTo>
                  <a:lnTo>
                    <a:pt x="576" y="501"/>
                  </a:lnTo>
                  <a:lnTo>
                    <a:pt x="576" y="503"/>
                  </a:lnTo>
                  <a:lnTo>
                    <a:pt x="576" y="504"/>
                  </a:lnTo>
                  <a:lnTo>
                    <a:pt x="574" y="503"/>
                  </a:lnTo>
                  <a:lnTo>
                    <a:pt x="573" y="503"/>
                  </a:lnTo>
                  <a:lnTo>
                    <a:pt x="573" y="501"/>
                  </a:lnTo>
                  <a:lnTo>
                    <a:pt x="572" y="501"/>
                  </a:lnTo>
                  <a:lnTo>
                    <a:pt x="572" y="500"/>
                  </a:lnTo>
                  <a:lnTo>
                    <a:pt x="572" y="499"/>
                  </a:lnTo>
                  <a:lnTo>
                    <a:pt x="572" y="498"/>
                  </a:lnTo>
                  <a:lnTo>
                    <a:pt x="571" y="498"/>
                  </a:lnTo>
                  <a:lnTo>
                    <a:pt x="571" y="497"/>
                  </a:lnTo>
                  <a:lnTo>
                    <a:pt x="570" y="497"/>
                  </a:lnTo>
                  <a:lnTo>
                    <a:pt x="570" y="496"/>
                  </a:lnTo>
                  <a:lnTo>
                    <a:pt x="571" y="496"/>
                  </a:lnTo>
                  <a:lnTo>
                    <a:pt x="570" y="496"/>
                  </a:lnTo>
                  <a:lnTo>
                    <a:pt x="570" y="494"/>
                  </a:lnTo>
                  <a:lnTo>
                    <a:pt x="571" y="494"/>
                  </a:lnTo>
                  <a:lnTo>
                    <a:pt x="570" y="494"/>
                  </a:lnTo>
                  <a:lnTo>
                    <a:pt x="570" y="493"/>
                  </a:lnTo>
                  <a:lnTo>
                    <a:pt x="569" y="493"/>
                  </a:lnTo>
                  <a:lnTo>
                    <a:pt x="569" y="492"/>
                  </a:lnTo>
                  <a:lnTo>
                    <a:pt x="569" y="491"/>
                  </a:lnTo>
                  <a:lnTo>
                    <a:pt x="570" y="492"/>
                  </a:lnTo>
                  <a:lnTo>
                    <a:pt x="571" y="492"/>
                  </a:lnTo>
                  <a:lnTo>
                    <a:pt x="571" y="491"/>
                  </a:lnTo>
                  <a:lnTo>
                    <a:pt x="572" y="491"/>
                  </a:lnTo>
                  <a:lnTo>
                    <a:pt x="573" y="492"/>
                  </a:lnTo>
                  <a:lnTo>
                    <a:pt x="573" y="491"/>
                  </a:lnTo>
                  <a:lnTo>
                    <a:pt x="572" y="491"/>
                  </a:lnTo>
                  <a:lnTo>
                    <a:pt x="571" y="491"/>
                  </a:lnTo>
                  <a:lnTo>
                    <a:pt x="570" y="491"/>
                  </a:lnTo>
                  <a:lnTo>
                    <a:pt x="569" y="491"/>
                  </a:lnTo>
                  <a:lnTo>
                    <a:pt x="569" y="490"/>
                  </a:lnTo>
                  <a:lnTo>
                    <a:pt x="569" y="489"/>
                  </a:lnTo>
                  <a:lnTo>
                    <a:pt x="570" y="489"/>
                  </a:lnTo>
                  <a:lnTo>
                    <a:pt x="569" y="489"/>
                  </a:lnTo>
                  <a:lnTo>
                    <a:pt x="570" y="487"/>
                  </a:lnTo>
                  <a:lnTo>
                    <a:pt x="571" y="487"/>
                  </a:lnTo>
                  <a:lnTo>
                    <a:pt x="572" y="489"/>
                  </a:lnTo>
                  <a:lnTo>
                    <a:pt x="572" y="490"/>
                  </a:lnTo>
                  <a:lnTo>
                    <a:pt x="573" y="490"/>
                  </a:lnTo>
                  <a:lnTo>
                    <a:pt x="573" y="489"/>
                  </a:lnTo>
                  <a:lnTo>
                    <a:pt x="572" y="489"/>
                  </a:lnTo>
                  <a:lnTo>
                    <a:pt x="572" y="487"/>
                  </a:lnTo>
                  <a:lnTo>
                    <a:pt x="573" y="486"/>
                  </a:lnTo>
                  <a:lnTo>
                    <a:pt x="572" y="486"/>
                  </a:lnTo>
                  <a:lnTo>
                    <a:pt x="571" y="486"/>
                  </a:lnTo>
                  <a:lnTo>
                    <a:pt x="570" y="486"/>
                  </a:lnTo>
                  <a:lnTo>
                    <a:pt x="570" y="485"/>
                  </a:lnTo>
                  <a:lnTo>
                    <a:pt x="569" y="485"/>
                  </a:lnTo>
                  <a:lnTo>
                    <a:pt x="570" y="485"/>
                  </a:lnTo>
                  <a:lnTo>
                    <a:pt x="569" y="485"/>
                  </a:lnTo>
                  <a:lnTo>
                    <a:pt x="567" y="485"/>
                  </a:lnTo>
                  <a:lnTo>
                    <a:pt x="567" y="484"/>
                  </a:lnTo>
                  <a:lnTo>
                    <a:pt x="566" y="484"/>
                  </a:lnTo>
                  <a:lnTo>
                    <a:pt x="566" y="483"/>
                  </a:lnTo>
                  <a:lnTo>
                    <a:pt x="565" y="483"/>
                  </a:lnTo>
                  <a:lnTo>
                    <a:pt x="564" y="483"/>
                  </a:lnTo>
                  <a:lnTo>
                    <a:pt x="564" y="482"/>
                  </a:lnTo>
                  <a:lnTo>
                    <a:pt x="564" y="480"/>
                  </a:lnTo>
                  <a:lnTo>
                    <a:pt x="563" y="482"/>
                  </a:lnTo>
                  <a:lnTo>
                    <a:pt x="562" y="482"/>
                  </a:lnTo>
                  <a:lnTo>
                    <a:pt x="562" y="480"/>
                  </a:lnTo>
                  <a:lnTo>
                    <a:pt x="563" y="480"/>
                  </a:lnTo>
                  <a:lnTo>
                    <a:pt x="563" y="479"/>
                  </a:lnTo>
                  <a:lnTo>
                    <a:pt x="564" y="479"/>
                  </a:lnTo>
                  <a:lnTo>
                    <a:pt x="564" y="480"/>
                  </a:lnTo>
                  <a:lnTo>
                    <a:pt x="565" y="480"/>
                  </a:lnTo>
                  <a:lnTo>
                    <a:pt x="566" y="482"/>
                  </a:lnTo>
                  <a:lnTo>
                    <a:pt x="567" y="483"/>
                  </a:lnTo>
                  <a:lnTo>
                    <a:pt x="567" y="484"/>
                  </a:lnTo>
                  <a:lnTo>
                    <a:pt x="569" y="484"/>
                  </a:lnTo>
                  <a:lnTo>
                    <a:pt x="569" y="483"/>
                  </a:lnTo>
                  <a:lnTo>
                    <a:pt x="567" y="483"/>
                  </a:lnTo>
                  <a:lnTo>
                    <a:pt x="567" y="482"/>
                  </a:lnTo>
                  <a:lnTo>
                    <a:pt x="566" y="482"/>
                  </a:lnTo>
                  <a:lnTo>
                    <a:pt x="566" y="480"/>
                  </a:lnTo>
                  <a:lnTo>
                    <a:pt x="565" y="480"/>
                  </a:lnTo>
                  <a:lnTo>
                    <a:pt x="566" y="480"/>
                  </a:lnTo>
                  <a:lnTo>
                    <a:pt x="569" y="480"/>
                  </a:lnTo>
                  <a:lnTo>
                    <a:pt x="570" y="480"/>
                  </a:lnTo>
                  <a:lnTo>
                    <a:pt x="571" y="480"/>
                  </a:lnTo>
                  <a:lnTo>
                    <a:pt x="571" y="482"/>
                  </a:lnTo>
                  <a:lnTo>
                    <a:pt x="572" y="482"/>
                  </a:lnTo>
                  <a:lnTo>
                    <a:pt x="572" y="480"/>
                  </a:lnTo>
                  <a:lnTo>
                    <a:pt x="573" y="480"/>
                  </a:lnTo>
                  <a:lnTo>
                    <a:pt x="573" y="482"/>
                  </a:lnTo>
                  <a:lnTo>
                    <a:pt x="572" y="482"/>
                  </a:lnTo>
                  <a:lnTo>
                    <a:pt x="573" y="482"/>
                  </a:lnTo>
                  <a:lnTo>
                    <a:pt x="574" y="482"/>
                  </a:lnTo>
                  <a:lnTo>
                    <a:pt x="576" y="482"/>
                  </a:lnTo>
                  <a:lnTo>
                    <a:pt x="576" y="483"/>
                  </a:lnTo>
                  <a:lnTo>
                    <a:pt x="576" y="484"/>
                  </a:lnTo>
                  <a:lnTo>
                    <a:pt x="577" y="484"/>
                  </a:lnTo>
                  <a:lnTo>
                    <a:pt x="577" y="483"/>
                  </a:lnTo>
                  <a:lnTo>
                    <a:pt x="578" y="483"/>
                  </a:lnTo>
                  <a:lnTo>
                    <a:pt x="579" y="484"/>
                  </a:lnTo>
                  <a:lnTo>
                    <a:pt x="579" y="483"/>
                  </a:lnTo>
                  <a:lnTo>
                    <a:pt x="579" y="482"/>
                  </a:lnTo>
                  <a:lnTo>
                    <a:pt x="578" y="482"/>
                  </a:lnTo>
                  <a:lnTo>
                    <a:pt x="579" y="482"/>
                  </a:lnTo>
                  <a:lnTo>
                    <a:pt x="579" y="483"/>
                  </a:lnTo>
                  <a:lnTo>
                    <a:pt x="578" y="483"/>
                  </a:lnTo>
                  <a:lnTo>
                    <a:pt x="577" y="483"/>
                  </a:lnTo>
                  <a:lnTo>
                    <a:pt x="577" y="482"/>
                  </a:lnTo>
                  <a:lnTo>
                    <a:pt x="576" y="482"/>
                  </a:lnTo>
                  <a:lnTo>
                    <a:pt x="574" y="480"/>
                  </a:lnTo>
                  <a:lnTo>
                    <a:pt x="573" y="480"/>
                  </a:lnTo>
                  <a:lnTo>
                    <a:pt x="573" y="479"/>
                  </a:lnTo>
                  <a:lnTo>
                    <a:pt x="573" y="478"/>
                  </a:lnTo>
                  <a:lnTo>
                    <a:pt x="574" y="479"/>
                  </a:lnTo>
                  <a:lnTo>
                    <a:pt x="576" y="479"/>
                  </a:lnTo>
                  <a:lnTo>
                    <a:pt x="577" y="480"/>
                  </a:lnTo>
                  <a:lnTo>
                    <a:pt x="577" y="479"/>
                  </a:lnTo>
                  <a:lnTo>
                    <a:pt x="578" y="479"/>
                  </a:lnTo>
                  <a:lnTo>
                    <a:pt x="578" y="480"/>
                  </a:lnTo>
                  <a:lnTo>
                    <a:pt x="579" y="480"/>
                  </a:lnTo>
                  <a:lnTo>
                    <a:pt x="578" y="479"/>
                  </a:lnTo>
                  <a:lnTo>
                    <a:pt x="577" y="479"/>
                  </a:lnTo>
                  <a:lnTo>
                    <a:pt x="576" y="479"/>
                  </a:lnTo>
                  <a:lnTo>
                    <a:pt x="574" y="479"/>
                  </a:lnTo>
                  <a:lnTo>
                    <a:pt x="574" y="478"/>
                  </a:lnTo>
                  <a:lnTo>
                    <a:pt x="573" y="478"/>
                  </a:lnTo>
                  <a:lnTo>
                    <a:pt x="573" y="477"/>
                  </a:lnTo>
                  <a:lnTo>
                    <a:pt x="572" y="477"/>
                  </a:lnTo>
                  <a:lnTo>
                    <a:pt x="571" y="477"/>
                  </a:lnTo>
                  <a:lnTo>
                    <a:pt x="571" y="476"/>
                  </a:lnTo>
                  <a:lnTo>
                    <a:pt x="571" y="475"/>
                  </a:lnTo>
                  <a:lnTo>
                    <a:pt x="571" y="473"/>
                  </a:lnTo>
                  <a:lnTo>
                    <a:pt x="570" y="473"/>
                  </a:lnTo>
                  <a:lnTo>
                    <a:pt x="571" y="475"/>
                  </a:lnTo>
                  <a:lnTo>
                    <a:pt x="571" y="476"/>
                  </a:lnTo>
                  <a:lnTo>
                    <a:pt x="571" y="477"/>
                  </a:lnTo>
                  <a:lnTo>
                    <a:pt x="570" y="477"/>
                  </a:lnTo>
                  <a:lnTo>
                    <a:pt x="570" y="478"/>
                  </a:lnTo>
                  <a:lnTo>
                    <a:pt x="569" y="478"/>
                  </a:lnTo>
                  <a:lnTo>
                    <a:pt x="569" y="477"/>
                  </a:lnTo>
                  <a:lnTo>
                    <a:pt x="567" y="477"/>
                  </a:lnTo>
                  <a:lnTo>
                    <a:pt x="566" y="477"/>
                  </a:lnTo>
                  <a:lnTo>
                    <a:pt x="565" y="477"/>
                  </a:lnTo>
                  <a:lnTo>
                    <a:pt x="564" y="477"/>
                  </a:lnTo>
                  <a:lnTo>
                    <a:pt x="563" y="477"/>
                  </a:lnTo>
                  <a:lnTo>
                    <a:pt x="564" y="477"/>
                  </a:lnTo>
                  <a:lnTo>
                    <a:pt x="564" y="476"/>
                  </a:lnTo>
                  <a:lnTo>
                    <a:pt x="563" y="476"/>
                  </a:lnTo>
                  <a:lnTo>
                    <a:pt x="562" y="477"/>
                  </a:lnTo>
                  <a:lnTo>
                    <a:pt x="560" y="477"/>
                  </a:lnTo>
                  <a:lnTo>
                    <a:pt x="559" y="477"/>
                  </a:lnTo>
                  <a:lnTo>
                    <a:pt x="559" y="476"/>
                  </a:lnTo>
                  <a:lnTo>
                    <a:pt x="558" y="476"/>
                  </a:lnTo>
                  <a:lnTo>
                    <a:pt x="559" y="476"/>
                  </a:lnTo>
                  <a:lnTo>
                    <a:pt x="559" y="475"/>
                  </a:lnTo>
                  <a:lnTo>
                    <a:pt x="560" y="475"/>
                  </a:lnTo>
                  <a:lnTo>
                    <a:pt x="560" y="476"/>
                  </a:lnTo>
                  <a:lnTo>
                    <a:pt x="560" y="475"/>
                  </a:lnTo>
                  <a:lnTo>
                    <a:pt x="559" y="475"/>
                  </a:lnTo>
                  <a:lnTo>
                    <a:pt x="559" y="473"/>
                  </a:lnTo>
                  <a:lnTo>
                    <a:pt x="560" y="473"/>
                  </a:lnTo>
                  <a:lnTo>
                    <a:pt x="560" y="475"/>
                  </a:lnTo>
                  <a:lnTo>
                    <a:pt x="560" y="473"/>
                  </a:lnTo>
                  <a:lnTo>
                    <a:pt x="562" y="473"/>
                  </a:lnTo>
                  <a:lnTo>
                    <a:pt x="562" y="475"/>
                  </a:lnTo>
                  <a:lnTo>
                    <a:pt x="563" y="475"/>
                  </a:lnTo>
                  <a:lnTo>
                    <a:pt x="562" y="475"/>
                  </a:lnTo>
                  <a:lnTo>
                    <a:pt x="562" y="473"/>
                  </a:lnTo>
                  <a:lnTo>
                    <a:pt x="563" y="473"/>
                  </a:lnTo>
                  <a:lnTo>
                    <a:pt x="563" y="475"/>
                  </a:lnTo>
                  <a:lnTo>
                    <a:pt x="562" y="475"/>
                  </a:lnTo>
                  <a:lnTo>
                    <a:pt x="562" y="476"/>
                  </a:lnTo>
                  <a:lnTo>
                    <a:pt x="563" y="476"/>
                  </a:lnTo>
                  <a:lnTo>
                    <a:pt x="563" y="475"/>
                  </a:lnTo>
                  <a:lnTo>
                    <a:pt x="564" y="475"/>
                  </a:lnTo>
                  <a:lnTo>
                    <a:pt x="564" y="476"/>
                  </a:lnTo>
                  <a:lnTo>
                    <a:pt x="565" y="476"/>
                  </a:lnTo>
                  <a:lnTo>
                    <a:pt x="565" y="477"/>
                  </a:lnTo>
                  <a:lnTo>
                    <a:pt x="566" y="476"/>
                  </a:lnTo>
                  <a:lnTo>
                    <a:pt x="565" y="476"/>
                  </a:lnTo>
                  <a:lnTo>
                    <a:pt x="564" y="476"/>
                  </a:lnTo>
                  <a:lnTo>
                    <a:pt x="564" y="475"/>
                  </a:lnTo>
                  <a:lnTo>
                    <a:pt x="565" y="475"/>
                  </a:lnTo>
                  <a:lnTo>
                    <a:pt x="566" y="475"/>
                  </a:lnTo>
                  <a:lnTo>
                    <a:pt x="565" y="475"/>
                  </a:lnTo>
                  <a:lnTo>
                    <a:pt x="564" y="475"/>
                  </a:lnTo>
                  <a:lnTo>
                    <a:pt x="565" y="475"/>
                  </a:lnTo>
                  <a:lnTo>
                    <a:pt x="566" y="475"/>
                  </a:lnTo>
                  <a:lnTo>
                    <a:pt x="565" y="475"/>
                  </a:lnTo>
                  <a:lnTo>
                    <a:pt x="565" y="473"/>
                  </a:lnTo>
                  <a:lnTo>
                    <a:pt x="566" y="473"/>
                  </a:lnTo>
                  <a:lnTo>
                    <a:pt x="565" y="473"/>
                  </a:lnTo>
                  <a:lnTo>
                    <a:pt x="564" y="473"/>
                  </a:lnTo>
                  <a:lnTo>
                    <a:pt x="564" y="475"/>
                  </a:lnTo>
                  <a:lnTo>
                    <a:pt x="564" y="473"/>
                  </a:lnTo>
                  <a:lnTo>
                    <a:pt x="563" y="473"/>
                  </a:lnTo>
                  <a:lnTo>
                    <a:pt x="563" y="472"/>
                  </a:lnTo>
                  <a:lnTo>
                    <a:pt x="562" y="473"/>
                  </a:lnTo>
                  <a:lnTo>
                    <a:pt x="562" y="472"/>
                  </a:lnTo>
                  <a:lnTo>
                    <a:pt x="560" y="472"/>
                  </a:lnTo>
                  <a:lnTo>
                    <a:pt x="562" y="472"/>
                  </a:lnTo>
                  <a:lnTo>
                    <a:pt x="562" y="471"/>
                  </a:lnTo>
                  <a:lnTo>
                    <a:pt x="560" y="471"/>
                  </a:lnTo>
                  <a:lnTo>
                    <a:pt x="560" y="472"/>
                  </a:lnTo>
                  <a:lnTo>
                    <a:pt x="559" y="471"/>
                  </a:lnTo>
                  <a:lnTo>
                    <a:pt x="560" y="470"/>
                  </a:lnTo>
                  <a:lnTo>
                    <a:pt x="560" y="469"/>
                  </a:lnTo>
                  <a:lnTo>
                    <a:pt x="560" y="468"/>
                  </a:lnTo>
                  <a:lnTo>
                    <a:pt x="562" y="469"/>
                  </a:lnTo>
                  <a:lnTo>
                    <a:pt x="562" y="468"/>
                  </a:lnTo>
                  <a:lnTo>
                    <a:pt x="562" y="469"/>
                  </a:lnTo>
                  <a:lnTo>
                    <a:pt x="563" y="469"/>
                  </a:lnTo>
                  <a:lnTo>
                    <a:pt x="562" y="469"/>
                  </a:lnTo>
                  <a:lnTo>
                    <a:pt x="562" y="468"/>
                  </a:lnTo>
                  <a:lnTo>
                    <a:pt x="563" y="468"/>
                  </a:lnTo>
                  <a:lnTo>
                    <a:pt x="563" y="469"/>
                  </a:lnTo>
                  <a:lnTo>
                    <a:pt x="564" y="469"/>
                  </a:lnTo>
                  <a:lnTo>
                    <a:pt x="564" y="470"/>
                  </a:lnTo>
                  <a:lnTo>
                    <a:pt x="564" y="469"/>
                  </a:lnTo>
                  <a:lnTo>
                    <a:pt x="563" y="469"/>
                  </a:lnTo>
                  <a:lnTo>
                    <a:pt x="563" y="468"/>
                  </a:lnTo>
                  <a:lnTo>
                    <a:pt x="564" y="468"/>
                  </a:lnTo>
                  <a:lnTo>
                    <a:pt x="565" y="468"/>
                  </a:lnTo>
                  <a:lnTo>
                    <a:pt x="565" y="469"/>
                  </a:lnTo>
                  <a:lnTo>
                    <a:pt x="565" y="468"/>
                  </a:lnTo>
                  <a:lnTo>
                    <a:pt x="564" y="468"/>
                  </a:lnTo>
                  <a:lnTo>
                    <a:pt x="564" y="465"/>
                  </a:lnTo>
                  <a:lnTo>
                    <a:pt x="563" y="464"/>
                  </a:lnTo>
                  <a:lnTo>
                    <a:pt x="562" y="464"/>
                  </a:lnTo>
                  <a:lnTo>
                    <a:pt x="560" y="463"/>
                  </a:lnTo>
                  <a:lnTo>
                    <a:pt x="560" y="462"/>
                  </a:lnTo>
                  <a:lnTo>
                    <a:pt x="562" y="462"/>
                  </a:lnTo>
                  <a:lnTo>
                    <a:pt x="560" y="462"/>
                  </a:lnTo>
                  <a:lnTo>
                    <a:pt x="560" y="463"/>
                  </a:lnTo>
                  <a:lnTo>
                    <a:pt x="559" y="463"/>
                  </a:lnTo>
                  <a:lnTo>
                    <a:pt x="559" y="462"/>
                  </a:lnTo>
                  <a:lnTo>
                    <a:pt x="558" y="462"/>
                  </a:lnTo>
                  <a:lnTo>
                    <a:pt x="558" y="461"/>
                  </a:lnTo>
                  <a:lnTo>
                    <a:pt x="557" y="461"/>
                  </a:lnTo>
                  <a:lnTo>
                    <a:pt x="556" y="461"/>
                  </a:lnTo>
                  <a:lnTo>
                    <a:pt x="555" y="461"/>
                  </a:lnTo>
                  <a:lnTo>
                    <a:pt x="556" y="461"/>
                  </a:lnTo>
                  <a:lnTo>
                    <a:pt x="556" y="462"/>
                  </a:lnTo>
                  <a:lnTo>
                    <a:pt x="555" y="462"/>
                  </a:lnTo>
                  <a:lnTo>
                    <a:pt x="555" y="463"/>
                  </a:lnTo>
                  <a:lnTo>
                    <a:pt x="556" y="462"/>
                  </a:lnTo>
                  <a:lnTo>
                    <a:pt x="557" y="463"/>
                  </a:lnTo>
                  <a:lnTo>
                    <a:pt x="556" y="463"/>
                  </a:lnTo>
                  <a:lnTo>
                    <a:pt x="555" y="463"/>
                  </a:lnTo>
                  <a:lnTo>
                    <a:pt x="553" y="463"/>
                  </a:lnTo>
                  <a:lnTo>
                    <a:pt x="553" y="462"/>
                  </a:lnTo>
                  <a:lnTo>
                    <a:pt x="552" y="462"/>
                  </a:lnTo>
                  <a:lnTo>
                    <a:pt x="552" y="461"/>
                  </a:lnTo>
                  <a:lnTo>
                    <a:pt x="552" y="462"/>
                  </a:lnTo>
                  <a:lnTo>
                    <a:pt x="551" y="462"/>
                  </a:lnTo>
                  <a:lnTo>
                    <a:pt x="550" y="461"/>
                  </a:lnTo>
                  <a:lnTo>
                    <a:pt x="549" y="461"/>
                  </a:lnTo>
                  <a:lnTo>
                    <a:pt x="549" y="459"/>
                  </a:lnTo>
                  <a:lnTo>
                    <a:pt x="548" y="459"/>
                  </a:lnTo>
                  <a:lnTo>
                    <a:pt x="548" y="458"/>
                  </a:lnTo>
                  <a:lnTo>
                    <a:pt x="549" y="458"/>
                  </a:lnTo>
                  <a:lnTo>
                    <a:pt x="549" y="457"/>
                  </a:lnTo>
                  <a:lnTo>
                    <a:pt x="549" y="456"/>
                  </a:lnTo>
                  <a:lnTo>
                    <a:pt x="549" y="457"/>
                  </a:lnTo>
                  <a:lnTo>
                    <a:pt x="548" y="457"/>
                  </a:lnTo>
                  <a:lnTo>
                    <a:pt x="548" y="458"/>
                  </a:lnTo>
                  <a:lnTo>
                    <a:pt x="546" y="459"/>
                  </a:lnTo>
                  <a:lnTo>
                    <a:pt x="546" y="458"/>
                  </a:lnTo>
                  <a:lnTo>
                    <a:pt x="546" y="459"/>
                  </a:lnTo>
                  <a:lnTo>
                    <a:pt x="545" y="459"/>
                  </a:lnTo>
                  <a:lnTo>
                    <a:pt x="544" y="459"/>
                  </a:lnTo>
                  <a:lnTo>
                    <a:pt x="542" y="459"/>
                  </a:lnTo>
                  <a:lnTo>
                    <a:pt x="542" y="461"/>
                  </a:lnTo>
                  <a:lnTo>
                    <a:pt x="542" y="462"/>
                  </a:lnTo>
                  <a:lnTo>
                    <a:pt x="543" y="461"/>
                  </a:lnTo>
                  <a:lnTo>
                    <a:pt x="544" y="461"/>
                  </a:lnTo>
                  <a:lnTo>
                    <a:pt x="544" y="462"/>
                  </a:lnTo>
                  <a:lnTo>
                    <a:pt x="545" y="462"/>
                  </a:lnTo>
                  <a:lnTo>
                    <a:pt x="545" y="463"/>
                  </a:lnTo>
                  <a:lnTo>
                    <a:pt x="546" y="463"/>
                  </a:lnTo>
                  <a:lnTo>
                    <a:pt x="545" y="464"/>
                  </a:lnTo>
                  <a:lnTo>
                    <a:pt x="544" y="464"/>
                  </a:lnTo>
                  <a:lnTo>
                    <a:pt x="543" y="463"/>
                  </a:lnTo>
                  <a:lnTo>
                    <a:pt x="542" y="463"/>
                  </a:lnTo>
                  <a:lnTo>
                    <a:pt x="542" y="462"/>
                  </a:lnTo>
                  <a:lnTo>
                    <a:pt x="541" y="462"/>
                  </a:lnTo>
                  <a:lnTo>
                    <a:pt x="541" y="461"/>
                  </a:lnTo>
                  <a:lnTo>
                    <a:pt x="541" y="459"/>
                  </a:lnTo>
                  <a:lnTo>
                    <a:pt x="541" y="458"/>
                  </a:lnTo>
                  <a:lnTo>
                    <a:pt x="542" y="458"/>
                  </a:lnTo>
                  <a:lnTo>
                    <a:pt x="542" y="457"/>
                  </a:lnTo>
                  <a:lnTo>
                    <a:pt x="543" y="457"/>
                  </a:lnTo>
                  <a:lnTo>
                    <a:pt x="543" y="456"/>
                  </a:lnTo>
                  <a:lnTo>
                    <a:pt x="543" y="455"/>
                  </a:lnTo>
                  <a:lnTo>
                    <a:pt x="544" y="455"/>
                  </a:lnTo>
                  <a:lnTo>
                    <a:pt x="545" y="455"/>
                  </a:lnTo>
                  <a:lnTo>
                    <a:pt x="545" y="456"/>
                  </a:lnTo>
                  <a:lnTo>
                    <a:pt x="544" y="455"/>
                  </a:lnTo>
                  <a:lnTo>
                    <a:pt x="545" y="455"/>
                  </a:lnTo>
                  <a:lnTo>
                    <a:pt x="544" y="454"/>
                  </a:lnTo>
                  <a:lnTo>
                    <a:pt x="545" y="454"/>
                  </a:lnTo>
                  <a:lnTo>
                    <a:pt x="545" y="455"/>
                  </a:lnTo>
                  <a:lnTo>
                    <a:pt x="546" y="455"/>
                  </a:lnTo>
                  <a:lnTo>
                    <a:pt x="545" y="455"/>
                  </a:lnTo>
                  <a:lnTo>
                    <a:pt x="545" y="454"/>
                  </a:lnTo>
                  <a:lnTo>
                    <a:pt x="545" y="452"/>
                  </a:lnTo>
                  <a:lnTo>
                    <a:pt x="546" y="452"/>
                  </a:lnTo>
                  <a:lnTo>
                    <a:pt x="546" y="454"/>
                  </a:lnTo>
                  <a:lnTo>
                    <a:pt x="548" y="454"/>
                  </a:lnTo>
                  <a:lnTo>
                    <a:pt x="548" y="452"/>
                  </a:lnTo>
                  <a:lnTo>
                    <a:pt x="548" y="451"/>
                  </a:lnTo>
                  <a:lnTo>
                    <a:pt x="549" y="452"/>
                  </a:lnTo>
                  <a:lnTo>
                    <a:pt x="550" y="452"/>
                  </a:lnTo>
                  <a:lnTo>
                    <a:pt x="549" y="452"/>
                  </a:lnTo>
                  <a:lnTo>
                    <a:pt x="550" y="452"/>
                  </a:lnTo>
                  <a:lnTo>
                    <a:pt x="549" y="451"/>
                  </a:lnTo>
                  <a:lnTo>
                    <a:pt x="549" y="450"/>
                  </a:lnTo>
                  <a:lnTo>
                    <a:pt x="549" y="449"/>
                  </a:lnTo>
                  <a:lnTo>
                    <a:pt x="549" y="448"/>
                  </a:lnTo>
                  <a:lnTo>
                    <a:pt x="549" y="447"/>
                  </a:lnTo>
                  <a:lnTo>
                    <a:pt x="550" y="447"/>
                  </a:lnTo>
                  <a:lnTo>
                    <a:pt x="550" y="448"/>
                  </a:lnTo>
                  <a:lnTo>
                    <a:pt x="551" y="448"/>
                  </a:lnTo>
                  <a:lnTo>
                    <a:pt x="552" y="448"/>
                  </a:lnTo>
                  <a:lnTo>
                    <a:pt x="552" y="449"/>
                  </a:lnTo>
                  <a:lnTo>
                    <a:pt x="552" y="450"/>
                  </a:lnTo>
                  <a:lnTo>
                    <a:pt x="552" y="449"/>
                  </a:lnTo>
                  <a:lnTo>
                    <a:pt x="552" y="448"/>
                  </a:lnTo>
                  <a:lnTo>
                    <a:pt x="551" y="448"/>
                  </a:lnTo>
                  <a:lnTo>
                    <a:pt x="551" y="447"/>
                  </a:lnTo>
                  <a:lnTo>
                    <a:pt x="552" y="447"/>
                  </a:lnTo>
                  <a:lnTo>
                    <a:pt x="552" y="445"/>
                  </a:lnTo>
                  <a:lnTo>
                    <a:pt x="552" y="447"/>
                  </a:lnTo>
                  <a:lnTo>
                    <a:pt x="553" y="447"/>
                  </a:lnTo>
                  <a:lnTo>
                    <a:pt x="555" y="445"/>
                  </a:lnTo>
                  <a:lnTo>
                    <a:pt x="555" y="447"/>
                  </a:lnTo>
                  <a:lnTo>
                    <a:pt x="556" y="447"/>
                  </a:lnTo>
                  <a:lnTo>
                    <a:pt x="555" y="448"/>
                  </a:lnTo>
                  <a:lnTo>
                    <a:pt x="556" y="448"/>
                  </a:lnTo>
                  <a:lnTo>
                    <a:pt x="557" y="448"/>
                  </a:lnTo>
                  <a:lnTo>
                    <a:pt x="557" y="449"/>
                  </a:lnTo>
                  <a:lnTo>
                    <a:pt x="556" y="449"/>
                  </a:lnTo>
                  <a:lnTo>
                    <a:pt x="557" y="449"/>
                  </a:lnTo>
                  <a:lnTo>
                    <a:pt x="557" y="450"/>
                  </a:lnTo>
                  <a:lnTo>
                    <a:pt x="557" y="451"/>
                  </a:lnTo>
                  <a:lnTo>
                    <a:pt x="557" y="450"/>
                  </a:lnTo>
                  <a:lnTo>
                    <a:pt x="557" y="449"/>
                  </a:lnTo>
                  <a:lnTo>
                    <a:pt x="558" y="450"/>
                  </a:lnTo>
                  <a:lnTo>
                    <a:pt x="558" y="451"/>
                  </a:lnTo>
                  <a:lnTo>
                    <a:pt x="558" y="452"/>
                  </a:lnTo>
                  <a:lnTo>
                    <a:pt x="557" y="452"/>
                  </a:lnTo>
                  <a:lnTo>
                    <a:pt x="556" y="452"/>
                  </a:lnTo>
                  <a:lnTo>
                    <a:pt x="556" y="454"/>
                  </a:lnTo>
                  <a:lnTo>
                    <a:pt x="555" y="454"/>
                  </a:lnTo>
                  <a:lnTo>
                    <a:pt x="555" y="452"/>
                  </a:lnTo>
                  <a:lnTo>
                    <a:pt x="553" y="452"/>
                  </a:lnTo>
                  <a:lnTo>
                    <a:pt x="552" y="451"/>
                  </a:lnTo>
                  <a:lnTo>
                    <a:pt x="552" y="452"/>
                  </a:lnTo>
                  <a:lnTo>
                    <a:pt x="553" y="452"/>
                  </a:lnTo>
                  <a:lnTo>
                    <a:pt x="555" y="452"/>
                  </a:lnTo>
                  <a:lnTo>
                    <a:pt x="555" y="454"/>
                  </a:lnTo>
                  <a:lnTo>
                    <a:pt x="557" y="452"/>
                  </a:lnTo>
                  <a:lnTo>
                    <a:pt x="558" y="452"/>
                  </a:lnTo>
                  <a:lnTo>
                    <a:pt x="559" y="454"/>
                  </a:lnTo>
                  <a:lnTo>
                    <a:pt x="559" y="455"/>
                  </a:lnTo>
                  <a:lnTo>
                    <a:pt x="559" y="454"/>
                  </a:lnTo>
                  <a:lnTo>
                    <a:pt x="560" y="454"/>
                  </a:lnTo>
                  <a:lnTo>
                    <a:pt x="560" y="455"/>
                  </a:lnTo>
                  <a:lnTo>
                    <a:pt x="562" y="455"/>
                  </a:lnTo>
                  <a:lnTo>
                    <a:pt x="560" y="454"/>
                  </a:lnTo>
                  <a:lnTo>
                    <a:pt x="559" y="454"/>
                  </a:lnTo>
                  <a:lnTo>
                    <a:pt x="559" y="452"/>
                  </a:lnTo>
                  <a:lnTo>
                    <a:pt x="559" y="451"/>
                  </a:lnTo>
                  <a:lnTo>
                    <a:pt x="560" y="451"/>
                  </a:lnTo>
                  <a:lnTo>
                    <a:pt x="560" y="452"/>
                  </a:lnTo>
                  <a:lnTo>
                    <a:pt x="562" y="452"/>
                  </a:lnTo>
                  <a:lnTo>
                    <a:pt x="563" y="454"/>
                  </a:lnTo>
                  <a:lnTo>
                    <a:pt x="563" y="455"/>
                  </a:lnTo>
                  <a:lnTo>
                    <a:pt x="563" y="456"/>
                  </a:lnTo>
                  <a:lnTo>
                    <a:pt x="562" y="456"/>
                  </a:lnTo>
                  <a:lnTo>
                    <a:pt x="562" y="457"/>
                  </a:lnTo>
                  <a:lnTo>
                    <a:pt x="562" y="458"/>
                  </a:lnTo>
                  <a:lnTo>
                    <a:pt x="563" y="458"/>
                  </a:lnTo>
                  <a:lnTo>
                    <a:pt x="563" y="457"/>
                  </a:lnTo>
                  <a:lnTo>
                    <a:pt x="564" y="457"/>
                  </a:lnTo>
                  <a:lnTo>
                    <a:pt x="564" y="456"/>
                  </a:lnTo>
                  <a:lnTo>
                    <a:pt x="564" y="455"/>
                  </a:lnTo>
                  <a:lnTo>
                    <a:pt x="565" y="454"/>
                  </a:lnTo>
                  <a:lnTo>
                    <a:pt x="566" y="454"/>
                  </a:lnTo>
                  <a:lnTo>
                    <a:pt x="565" y="454"/>
                  </a:lnTo>
                  <a:lnTo>
                    <a:pt x="565" y="452"/>
                  </a:lnTo>
                  <a:lnTo>
                    <a:pt x="565" y="451"/>
                  </a:lnTo>
                  <a:lnTo>
                    <a:pt x="565" y="450"/>
                  </a:lnTo>
                  <a:lnTo>
                    <a:pt x="566" y="450"/>
                  </a:lnTo>
                  <a:lnTo>
                    <a:pt x="565" y="450"/>
                  </a:lnTo>
                  <a:lnTo>
                    <a:pt x="564" y="452"/>
                  </a:lnTo>
                  <a:lnTo>
                    <a:pt x="564" y="454"/>
                  </a:lnTo>
                  <a:lnTo>
                    <a:pt x="564" y="455"/>
                  </a:lnTo>
                  <a:lnTo>
                    <a:pt x="563" y="454"/>
                  </a:lnTo>
                  <a:lnTo>
                    <a:pt x="563" y="452"/>
                  </a:lnTo>
                  <a:lnTo>
                    <a:pt x="564" y="452"/>
                  </a:lnTo>
                  <a:lnTo>
                    <a:pt x="563" y="452"/>
                  </a:lnTo>
                  <a:lnTo>
                    <a:pt x="563" y="451"/>
                  </a:lnTo>
                  <a:lnTo>
                    <a:pt x="563" y="450"/>
                  </a:lnTo>
                  <a:lnTo>
                    <a:pt x="562" y="449"/>
                  </a:lnTo>
                  <a:lnTo>
                    <a:pt x="563" y="449"/>
                  </a:lnTo>
                  <a:lnTo>
                    <a:pt x="563" y="448"/>
                  </a:lnTo>
                  <a:lnTo>
                    <a:pt x="562" y="448"/>
                  </a:lnTo>
                  <a:lnTo>
                    <a:pt x="563" y="448"/>
                  </a:lnTo>
                  <a:lnTo>
                    <a:pt x="563" y="447"/>
                  </a:lnTo>
                  <a:lnTo>
                    <a:pt x="564" y="444"/>
                  </a:lnTo>
                  <a:lnTo>
                    <a:pt x="566" y="444"/>
                  </a:lnTo>
                  <a:lnTo>
                    <a:pt x="565" y="444"/>
                  </a:lnTo>
                  <a:lnTo>
                    <a:pt x="564" y="444"/>
                  </a:lnTo>
                  <a:lnTo>
                    <a:pt x="564" y="443"/>
                  </a:lnTo>
                  <a:lnTo>
                    <a:pt x="564" y="444"/>
                  </a:lnTo>
                  <a:lnTo>
                    <a:pt x="563" y="444"/>
                  </a:lnTo>
                  <a:lnTo>
                    <a:pt x="563" y="445"/>
                  </a:lnTo>
                  <a:lnTo>
                    <a:pt x="562" y="445"/>
                  </a:lnTo>
                  <a:lnTo>
                    <a:pt x="562" y="444"/>
                  </a:lnTo>
                  <a:lnTo>
                    <a:pt x="562" y="443"/>
                  </a:lnTo>
                  <a:lnTo>
                    <a:pt x="560" y="442"/>
                  </a:lnTo>
                  <a:lnTo>
                    <a:pt x="560" y="441"/>
                  </a:lnTo>
                  <a:lnTo>
                    <a:pt x="562" y="441"/>
                  </a:lnTo>
                  <a:lnTo>
                    <a:pt x="562" y="440"/>
                  </a:lnTo>
                  <a:lnTo>
                    <a:pt x="562" y="441"/>
                  </a:lnTo>
                  <a:lnTo>
                    <a:pt x="562" y="440"/>
                  </a:lnTo>
                  <a:lnTo>
                    <a:pt x="563" y="440"/>
                  </a:lnTo>
                  <a:lnTo>
                    <a:pt x="563" y="438"/>
                  </a:lnTo>
                  <a:lnTo>
                    <a:pt x="564" y="438"/>
                  </a:lnTo>
                  <a:lnTo>
                    <a:pt x="564" y="440"/>
                  </a:lnTo>
                  <a:lnTo>
                    <a:pt x="565" y="440"/>
                  </a:lnTo>
                  <a:lnTo>
                    <a:pt x="566" y="440"/>
                  </a:lnTo>
                  <a:lnTo>
                    <a:pt x="567" y="441"/>
                  </a:lnTo>
                  <a:lnTo>
                    <a:pt x="569" y="441"/>
                  </a:lnTo>
                  <a:lnTo>
                    <a:pt x="569" y="440"/>
                  </a:lnTo>
                  <a:lnTo>
                    <a:pt x="567" y="440"/>
                  </a:lnTo>
                  <a:lnTo>
                    <a:pt x="566" y="440"/>
                  </a:lnTo>
                  <a:lnTo>
                    <a:pt x="564" y="438"/>
                  </a:lnTo>
                  <a:lnTo>
                    <a:pt x="564" y="437"/>
                  </a:lnTo>
                  <a:lnTo>
                    <a:pt x="563" y="437"/>
                  </a:lnTo>
                  <a:lnTo>
                    <a:pt x="562" y="438"/>
                  </a:lnTo>
                  <a:lnTo>
                    <a:pt x="560" y="438"/>
                  </a:lnTo>
                  <a:lnTo>
                    <a:pt x="560" y="437"/>
                  </a:lnTo>
                  <a:lnTo>
                    <a:pt x="560" y="436"/>
                  </a:lnTo>
                  <a:lnTo>
                    <a:pt x="560" y="437"/>
                  </a:lnTo>
                  <a:lnTo>
                    <a:pt x="562" y="436"/>
                  </a:lnTo>
                  <a:lnTo>
                    <a:pt x="562" y="435"/>
                  </a:lnTo>
                  <a:lnTo>
                    <a:pt x="560" y="435"/>
                  </a:lnTo>
                  <a:lnTo>
                    <a:pt x="559" y="434"/>
                  </a:lnTo>
                  <a:lnTo>
                    <a:pt x="560" y="433"/>
                  </a:lnTo>
                  <a:lnTo>
                    <a:pt x="562" y="433"/>
                  </a:lnTo>
                  <a:lnTo>
                    <a:pt x="563" y="433"/>
                  </a:lnTo>
                  <a:lnTo>
                    <a:pt x="564" y="431"/>
                  </a:lnTo>
                  <a:lnTo>
                    <a:pt x="565" y="431"/>
                  </a:lnTo>
                  <a:lnTo>
                    <a:pt x="566" y="430"/>
                  </a:lnTo>
                  <a:lnTo>
                    <a:pt x="567" y="429"/>
                  </a:lnTo>
                  <a:lnTo>
                    <a:pt x="566" y="429"/>
                  </a:lnTo>
                  <a:lnTo>
                    <a:pt x="566" y="428"/>
                  </a:lnTo>
                  <a:lnTo>
                    <a:pt x="566" y="427"/>
                  </a:lnTo>
                  <a:lnTo>
                    <a:pt x="566" y="426"/>
                  </a:lnTo>
                  <a:lnTo>
                    <a:pt x="567" y="426"/>
                  </a:lnTo>
                  <a:lnTo>
                    <a:pt x="566" y="426"/>
                  </a:lnTo>
                  <a:lnTo>
                    <a:pt x="566" y="424"/>
                  </a:lnTo>
                  <a:lnTo>
                    <a:pt x="566" y="423"/>
                  </a:lnTo>
                  <a:lnTo>
                    <a:pt x="566" y="424"/>
                  </a:lnTo>
                  <a:lnTo>
                    <a:pt x="565" y="424"/>
                  </a:lnTo>
                  <a:lnTo>
                    <a:pt x="566" y="424"/>
                  </a:lnTo>
                  <a:lnTo>
                    <a:pt x="566" y="426"/>
                  </a:lnTo>
                  <a:lnTo>
                    <a:pt x="565" y="426"/>
                  </a:lnTo>
                  <a:lnTo>
                    <a:pt x="564" y="424"/>
                  </a:lnTo>
                  <a:lnTo>
                    <a:pt x="563" y="424"/>
                  </a:lnTo>
                  <a:lnTo>
                    <a:pt x="562" y="423"/>
                  </a:lnTo>
                  <a:lnTo>
                    <a:pt x="560" y="422"/>
                  </a:lnTo>
                  <a:lnTo>
                    <a:pt x="558" y="422"/>
                  </a:lnTo>
                  <a:lnTo>
                    <a:pt x="558" y="421"/>
                  </a:lnTo>
                  <a:lnTo>
                    <a:pt x="559" y="421"/>
                  </a:lnTo>
                  <a:lnTo>
                    <a:pt x="558" y="421"/>
                  </a:lnTo>
                  <a:lnTo>
                    <a:pt x="557" y="421"/>
                  </a:lnTo>
                  <a:lnTo>
                    <a:pt x="556" y="420"/>
                  </a:lnTo>
                  <a:lnTo>
                    <a:pt x="557" y="420"/>
                  </a:lnTo>
                  <a:lnTo>
                    <a:pt x="557" y="419"/>
                  </a:lnTo>
                  <a:lnTo>
                    <a:pt x="558" y="420"/>
                  </a:lnTo>
                  <a:lnTo>
                    <a:pt x="558" y="419"/>
                  </a:lnTo>
                  <a:lnTo>
                    <a:pt x="557" y="417"/>
                  </a:lnTo>
                  <a:lnTo>
                    <a:pt x="558" y="417"/>
                  </a:lnTo>
                  <a:lnTo>
                    <a:pt x="558" y="416"/>
                  </a:lnTo>
                  <a:lnTo>
                    <a:pt x="558" y="415"/>
                  </a:lnTo>
                  <a:lnTo>
                    <a:pt x="559" y="415"/>
                  </a:lnTo>
                  <a:lnTo>
                    <a:pt x="560" y="415"/>
                  </a:lnTo>
                  <a:lnTo>
                    <a:pt x="559" y="414"/>
                  </a:lnTo>
                  <a:lnTo>
                    <a:pt x="559" y="413"/>
                  </a:lnTo>
                  <a:lnTo>
                    <a:pt x="559" y="414"/>
                  </a:lnTo>
                  <a:lnTo>
                    <a:pt x="558" y="414"/>
                  </a:lnTo>
                  <a:lnTo>
                    <a:pt x="557" y="414"/>
                  </a:lnTo>
                  <a:lnTo>
                    <a:pt x="557" y="413"/>
                  </a:lnTo>
                  <a:lnTo>
                    <a:pt x="558" y="413"/>
                  </a:lnTo>
                  <a:lnTo>
                    <a:pt x="557" y="412"/>
                  </a:lnTo>
                  <a:lnTo>
                    <a:pt x="558" y="412"/>
                  </a:lnTo>
                  <a:lnTo>
                    <a:pt x="557" y="412"/>
                  </a:lnTo>
                  <a:lnTo>
                    <a:pt x="556" y="410"/>
                  </a:lnTo>
                  <a:lnTo>
                    <a:pt x="555" y="409"/>
                  </a:lnTo>
                  <a:lnTo>
                    <a:pt x="555" y="408"/>
                  </a:lnTo>
                  <a:lnTo>
                    <a:pt x="555" y="407"/>
                  </a:lnTo>
                  <a:lnTo>
                    <a:pt x="556" y="406"/>
                  </a:lnTo>
                  <a:lnTo>
                    <a:pt x="556" y="405"/>
                  </a:lnTo>
                  <a:lnTo>
                    <a:pt x="556" y="403"/>
                  </a:lnTo>
                  <a:lnTo>
                    <a:pt x="556" y="402"/>
                  </a:lnTo>
                  <a:lnTo>
                    <a:pt x="557" y="402"/>
                  </a:lnTo>
                  <a:lnTo>
                    <a:pt x="557" y="403"/>
                  </a:lnTo>
                  <a:lnTo>
                    <a:pt x="558" y="403"/>
                  </a:lnTo>
                  <a:lnTo>
                    <a:pt x="557" y="403"/>
                  </a:lnTo>
                  <a:lnTo>
                    <a:pt x="557" y="402"/>
                  </a:lnTo>
                  <a:lnTo>
                    <a:pt x="557" y="401"/>
                  </a:lnTo>
                  <a:lnTo>
                    <a:pt x="556" y="401"/>
                  </a:lnTo>
                  <a:lnTo>
                    <a:pt x="556" y="400"/>
                  </a:lnTo>
                  <a:lnTo>
                    <a:pt x="555" y="400"/>
                  </a:lnTo>
                  <a:lnTo>
                    <a:pt x="555" y="399"/>
                  </a:lnTo>
                  <a:lnTo>
                    <a:pt x="555" y="398"/>
                  </a:lnTo>
                  <a:lnTo>
                    <a:pt x="553" y="398"/>
                  </a:lnTo>
                  <a:lnTo>
                    <a:pt x="555" y="398"/>
                  </a:lnTo>
                  <a:lnTo>
                    <a:pt x="553" y="396"/>
                  </a:lnTo>
                  <a:lnTo>
                    <a:pt x="553" y="395"/>
                  </a:lnTo>
                  <a:lnTo>
                    <a:pt x="553" y="394"/>
                  </a:lnTo>
                  <a:lnTo>
                    <a:pt x="555" y="394"/>
                  </a:lnTo>
                  <a:lnTo>
                    <a:pt x="556" y="395"/>
                  </a:lnTo>
                  <a:lnTo>
                    <a:pt x="557" y="395"/>
                  </a:lnTo>
                  <a:lnTo>
                    <a:pt x="556" y="394"/>
                  </a:lnTo>
                  <a:lnTo>
                    <a:pt x="555" y="394"/>
                  </a:lnTo>
                  <a:lnTo>
                    <a:pt x="555" y="393"/>
                  </a:lnTo>
                  <a:lnTo>
                    <a:pt x="553" y="393"/>
                  </a:lnTo>
                  <a:lnTo>
                    <a:pt x="553" y="392"/>
                  </a:lnTo>
                  <a:lnTo>
                    <a:pt x="552" y="392"/>
                  </a:lnTo>
                  <a:lnTo>
                    <a:pt x="552" y="391"/>
                  </a:lnTo>
                  <a:lnTo>
                    <a:pt x="553" y="391"/>
                  </a:lnTo>
                  <a:lnTo>
                    <a:pt x="555" y="389"/>
                  </a:lnTo>
                  <a:lnTo>
                    <a:pt x="556" y="391"/>
                  </a:lnTo>
                  <a:lnTo>
                    <a:pt x="558" y="394"/>
                  </a:lnTo>
                  <a:lnTo>
                    <a:pt x="558" y="393"/>
                  </a:lnTo>
                  <a:lnTo>
                    <a:pt x="557" y="392"/>
                  </a:lnTo>
                  <a:lnTo>
                    <a:pt x="557" y="391"/>
                  </a:lnTo>
                  <a:lnTo>
                    <a:pt x="556" y="389"/>
                  </a:lnTo>
                  <a:lnTo>
                    <a:pt x="557" y="389"/>
                  </a:lnTo>
                  <a:lnTo>
                    <a:pt x="556" y="389"/>
                  </a:lnTo>
                  <a:lnTo>
                    <a:pt x="556" y="388"/>
                  </a:lnTo>
                  <a:lnTo>
                    <a:pt x="556" y="387"/>
                  </a:lnTo>
                  <a:lnTo>
                    <a:pt x="556" y="386"/>
                  </a:lnTo>
                  <a:lnTo>
                    <a:pt x="555" y="386"/>
                  </a:lnTo>
                  <a:lnTo>
                    <a:pt x="555" y="387"/>
                  </a:lnTo>
                  <a:lnTo>
                    <a:pt x="553" y="387"/>
                  </a:lnTo>
                  <a:lnTo>
                    <a:pt x="552" y="387"/>
                  </a:lnTo>
                  <a:lnTo>
                    <a:pt x="551" y="386"/>
                  </a:lnTo>
                  <a:lnTo>
                    <a:pt x="550" y="386"/>
                  </a:lnTo>
                  <a:lnTo>
                    <a:pt x="550" y="385"/>
                  </a:lnTo>
                  <a:lnTo>
                    <a:pt x="551" y="384"/>
                  </a:lnTo>
                  <a:lnTo>
                    <a:pt x="551" y="382"/>
                  </a:lnTo>
                  <a:lnTo>
                    <a:pt x="552" y="382"/>
                  </a:lnTo>
                  <a:lnTo>
                    <a:pt x="553" y="382"/>
                  </a:lnTo>
                  <a:lnTo>
                    <a:pt x="555" y="382"/>
                  </a:lnTo>
                  <a:lnTo>
                    <a:pt x="555" y="381"/>
                  </a:lnTo>
                  <a:lnTo>
                    <a:pt x="556" y="381"/>
                  </a:lnTo>
                  <a:lnTo>
                    <a:pt x="555" y="381"/>
                  </a:lnTo>
                  <a:lnTo>
                    <a:pt x="555" y="380"/>
                  </a:lnTo>
                  <a:lnTo>
                    <a:pt x="555" y="379"/>
                  </a:lnTo>
                  <a:lnTo>
                    <a:pt x="555" y="378"/>
                  </a:lnTo>
                  <a:lnTo>
                    <a:pt x="555" y="377"/>
                  </a:lnTo>
                  <a:lnTo>
                    <a:pt x="553" y="377"/>
                  </a:lnTo>
                  <a:lnTo>
                    <a:pt x="553" y="378"/>
                  </a:lnTo>
                  <a:lnTo>
                    <a:pt x="555" y="378"/>
                  </a:lnTo>
                  <a:lnTo>
                    <a:pt x="555" y="380"/>
                  </a:lnTo>
                  <a:lnTo>
                    <a:pt x="555" y="381"/>
                  </a:lnTo>
                  <a:lnTo>
                    <a:pt x="553" y="381"/>
                  </a:lnTo>
                  <a:lnTo>
                    <a:pt x="553" y="382"/>
                  </a:lnTo>
                  <a:lnTo>
                    <a:pt x="552" y="382"/>
                  </a:lnTo>
                  <a:lnTo>
                    <a:pt x="551" y="382"/>
                  </a:lnTo>
                  <a:lnTo>
                    <a:pt x="551" y="381"/>
                  </a:lnTo>
                  <a:lnTo>
                    <a:pt x="550" y="380"/>
                  </a:lnTo>
                  <a:lnTo>
                    <a:pt x="549" y="379"/>
                  </a:lnTo>
                  <a:lnTo>
                    <a:pt x="548" y="379"/>
                  </a:lnTo>
                  <a:lnTo>
                    <a:pt x="546" y="379"/>
                  </a:lnTo>
                  <a:lnTo>
                    <a:pt x="545" y="379"/>
                  </a:lnTo>
                  <a:lnTo>
                    <a:pt x="546" y="380"/>
                  </a:lnTo>
                  <a:lnTo>
                    <a:pt x="545" y="380"/>
                  </a:lnTo>
                  <a:lnTo>
                    <a:pt x="545" y="381"/>
                  </a:lnTo>
                  <a:lnTo>
                    <a:pt x="546" y="381"/>
                  </a:lnTo>
                  <a:lnTo>
                    <a:pt x="546" y="382"/>
                  </a:lnTo>
                  <a:lnTo>
                    <a:pt x="545" y="382"/>
                  </a:lnTo>
                  <a:lnTo>
                    <a:pt x="545" y="384"/>
                  </a:lnTo>
                  <a:lnTo>
                    <a:pt x="544" y="384"/>
                  </a:lnTo>
                  <a:lnTo>
                    <a:pt x="543" y="384"/>
                  </a:lnTo>
                  <a:lnTo>
                    <a:pt x="542" y="384"/>
                  </a:lnTo>
                  <a:lnTo>
                    <a:pt x="543" y="384"/>
                  </a:lnTo>
                  <a:lnTo>
                    <a:pt x="542" y="384"/>
                  </a:lnTo>
                  <a:lnTo>
                    <a:pt x="541" y="384"/>
                  </a:lnTo>
                  <a:lnTo>
                    <a:pt x="540" y="382"/>
                  </a:lnTo>
                  <a:lnTo>
                    <a:pt x="538" y="382"/>
                  </a:lnTo>
                  <a:lnTo>
                    <a:pt x="537" y="382"/>
                  </a:lnTo>
                  <a:lnTo>
                    <a:pt x="538" y="382"/>
                  </a:lnTo>
                  <a:lnTo>
                    <a:pt x="538" y="381"/>
                  </a:lnTo>
                  <a:lnTo>
                    <a:pt x="540" y="381"/>
                  </a:lnTo>
                  <a:lnTo>
                    <a:pt x="540" y="380"/>
                  </a:lnTo>
                  <a:lnTo>
                    <a:pt x="540" y="379"/>
                  </a:lnTo>
                  <a:lnTo>
                    <a:pt x="540" y="380"/>
                  </a:lnTo>
                  <a:lnTo>
                    <a:pt x="538" y="380"/>
                  </a:lnTo>
                  <a:lnTo>
                    <a:pt x="537" y="380"/>
                  </a:lnTo>
                  <a:lnTo>
                    <a:pt x="536" y="380"/>
                  </a:lnTo>
                  <a:lnTo>
                    <a:pt x="536" y="379"/>
                  </a:lnTo>
                  <a:lnTo>
                    <a:pt x="535" y="379"/>
                  </a:lnTo>
                  <a:lnTo>
                    <a:pt x="535" y="378"/>
                  </a:lnTo>
                  <a:lnTo>
                    <a:pt x="535" y="377"/>
                  </a:lnTo>
                  <a:lnTo>
                    <a:pt x="534" y="375"/>
                  </a:lnTo>
                  <a:lnTo>
                    <a:pt x="534" y="374"/>
                  </a:lnTo>
                  <a:lnTo>
                    <a:pt x="533" y="373"/>
                  </a:lnTo>
                  <a:lnTo>
                    <a:pt x="533" y="372"/>
                  </a:lnTo>
                  <a:lnTo>
                    <a:pt x="531" y="372"/>
                  </a:lnTo>
                  <a:lnTo>
                    <a:pt x="531" y="371"/>
                  </a:lnTo>
                  <a:lnTo>
                    <a:pt x="533" y="370"/>
                  </a:lnTo>
                  <a:lnTo>
                    <a:pt x="531" y="370"/>
                  </a:lnTo>
                  <a:lnTo>
                    <a:pt x="531" y="368"/>
                  </a:lnTo>
                  <a:lnTo>
                    <a:pt x="531" y="367"/>
                  </a:lnTo>
                  <a:lnTo>
                    <a:pt x="531" y="366"/>
                  </a:lnTo>
                  <a:lnTo>
                    <a:pt x="531" y="365"/>
                  </a:lnTo>
                  <a:lnTo>
                    <a:pt x="533" y="365"/>
                  </a:lnTo>
                  <a:lnTo>
                    <a:pt x="533" y="364"/>
                  </a:lnTo>
                  <a:lnTo>
                    <a:pt x="531" y="364"/>
                  </a:lnTo>
                  <a:lnTo>
                    <a:pt x="531" y="363"/>
                  </a:lnTo>
                  <a:lnTo>
                    <a:pt x="531" y="361"/>
                  </a:lnTo>
                  <a:lnTo>
                    <a:pt x="530" y="361"/>
                  </a:lnTo>
                  <a:lnTo>
                    <a:pt x="530" y="360"/>
                  </a:lnTo>
                  <a:lnTo>
                    <a:pt x="530" y="359"/>
                  </a:lnTo>
                  <a:lnTo>
                    <a:pt x="530" y="358"/>
                  </a:lnTo>
                  <a:lnTo>
                    <a:pt x="531" y="358"/>
                  </a:lnTo>
                  <a:lnTo>
                    <a:pt x="531" y="357"/>
                  </a:lnTo>
                  <a:lnTo>
                    <a:pt x="530" y="357"/>
                  </a:lnTo>
                  <a:lnTo>
                    <a:pt x="530" y="356"/>
                  </a:lnTo>
                  <a:lnTo>
                    <a:pt x="529" y="356"/>
                  </a:lnTo>
                  <a:lnTo>
                    <a:pt x="529" y="354"/>
                  </a:lnTo>
                  <a:lnTo>
                    <a:pt x="530" y="354"/>
                  </a:lnTo>
                  <a:lnTo>
                    <a:pt x="531" y="354"/>
                  </a:lnTo>
                  <a:lnTo>
                    <a:pt x="531" y="353"/>
                  </a:lnTo>
                  <a:lnTo>
                    <a:pt x="533" y="353"/>
                  </a:lnTo>
                  <a:lnTo>
                    <a:pt x="534" y="353"/>
                  </a:lnTo>
                  <a:lnTo>
                    <a:pt x="534" y="354"/>
                  </a:lnTo>
                  <a:lnTo>
                    <a:pt x="534" y="353"/>
                  </a:lnTo>
                  <a:lnTo>
                    <a:pt x="533" y="352"/>
                  </a:lnTo>
                  <a:lnTo>
                    <a:pt x="533" y="351"/>
                  </a:lnTo>
                  <a:lnTo>
                    <a:pt x="533" y="350"/>
                  </a:lnTo>
                  <a:lnTo>
                    <a:pt x="534" y="349"/>
                  </a:lnTo>
                  <a:lnTo>
                    <a:pt x="533" y="349"/>
                  </a:lnTo>
                  <a:lnTo>
                    <a:pt x="534" y="347"/>
                  </a:lnTo>
                  <a:lnTo>
                    <a:pt x="534" y="346"/>
                  </a:lnTo>
                  <a:lnTo>
                    <a:pt x="533" y="346"/>
                  </a:lnTo>
                  <a:lnTo>
                    <a:pt x="533" y="345"/>
                  </a:lnTo>
                  <a:lnTo>
                    <a:pt x="533" y="344"/>
                  </a:lnTo>
                  <a:lnTo>
                    <a:pt x="533" y="343"/>
                  </a:lnTo>
                  <a:lnTo>
                    <a:pt x="531" y="343"/>
                  </a:lnTo>
                  <a:lnTo>
                    <a:pt x="531" y="342"/>
                  </a:lnTo>
                  <a:lnTo>
                    <a:pt x="531" y="340"/>
                  </a:lnTo>
                  <a:lnTo>
                    <a:pt x="529" y="338"/>
                  </a:lnTo>
                  <a:lnTo>
                    <a:pt x="527" y="335"/>
                  </a:lnTo>
                  <a:lnTo>
                    <a:pt x="528" y="336"/>
                  </a:lnTo>
                  <a:lnTo>
                    <a:pt x="527" y="336"/>
                  </a:lnTo>
                  <a:lnTo>
                    <a:pt x="527" y="335"/>
                  </a:lnTo>
                  <a:lnTo>
                    <a:pt x="527" y="333"/>
                  </a:lnTo>
                  <a:lnTo>
                    <a:pt x="526" y="333"/>
                  </a:lnTo>
                  <a:lnTo>
                    <a:pt x="526" y="332"/>
                  </a:lnTo>
                  <a:lnTo>
                    <a:pt x="526" y="331"/>
                  </a:lnTo>
                  <a:lnTo>
                    <a:pt x="524" y="331"/>
                  </a:lnTo>
                  <a:lnTo>
                    <a:pt x="524" y="330"/>
                  </a:lnTo>
                  <a:lnTo>
                    <a:pt x="524" y="329"/>
                  </a:lnTo>
                  <a:lnTo>
                    <a:pt x="524" y="328"/>
                  </a:lnTo>
                  <a:lnTo>
                    <a:pt x="524" y="325"/>
                  </a:lnTo>
                  <a:lnTo>
                    <a:pt x="523" y="324"/>
                  </a:lnTo>
                  <a:lnTo>
                    <a:pt x="523" y="323"/>
                  </a:lnTo>
                  <a:lnTo>
                    <a:pt x="522" y="322"/>
                  </a:lnTo>
                  <a:lnTo>
                    <a:pt x="521" y="321"/>
                  </a:lnTo>
                  <a:lnTo>
                    <a:pt x="521" y="319"/>
                  </a:lnTo>
                  <a:lnTo>
                    <a:pt x="520" y="319"/>
                  </a:lnTo>
                  <a:lnTo>
                    <a:pt x="520" y="318"/>
                  </a:lnTo>
                  <a:lnTo>
                    <a:pt x="520" y="317"/>
                  </a:lnTo>
                  <a:lnTo>
                    <a:pt x="520" y="316"/>
                  </a:lnTo>
                  <a:lnTo>
                    <a:pt x="520" y="315"/>
                  </a:lnTo>
                  <a:lnTo>
                    <a:pt x="519" y="314"/>
                  </a:lnTo>
                  <a:lnTo>
                    <a:pt x="519" y="312"/>
                  </a:lnTo>
                  <a:lnTo>
                    <a:pt x="519" y="311"/>
                  </a:lnTo>
                  <a:lnTo>
                    <a:pt x="519" y="310"/>
                  </a:lnTo>
                  <a:lnTo>
                    <a:pt x="519" y="311"/>
                  </a:lnTo>
                  <a:lnTo>
                    <a:pt x="520" y="311"/>
                  </a:lnTo>
                  <a:lnTo>
                    <a:pt x="521" y="311"/>
                  </a:lnTo>
                  <a:lnTo>
                    <a:pt x="521" y="312"/>
                  </a:lnTo>
                  <a:lnTo>
                    <a:pt x="521" y="311"/>
                  </a:lnTo>
                  <a:lnTo>
                    <a:pt x="521" y="312"/>
                  </a:lnTo>
                  <a:lnTo>
                    <a:pt x="521" y="311"/>
                  </a:lnTo>
                  <a:lnTo>
                    <a:pt x="522" y="311"/>
                  </a:lnTo>
                  <a:lnTo>
                    <a:pt x="523" y="311"/>
                  </a:lnTo>
                  <a:lnTo>
                    <a:pt x="523" y="310"/>
                  </a:lnTo>
                  <a:lnTo>
                    <a:pt x="523" y="309"/>
                  </a:lnTo>
                  <a:lnTo>
                    <a:pt x="523" y="308"/>
                  </a:lnTo>
                  <a:lnTo>
                    <a:pt x="523" y="305"/>
                  </a:lnTo>
                  <a:lnTo>
                    <a:pt x="522" y="305"/>
                  </a:lnTo>
                  <a:lnTo>
                    <a:pt x="522" y="304"/>
                  </a:lnTo>
                  <a:lnTo>
                    <a:pt x="523" y="304"/>
                  </a:lnTo>
                  <a:lnTo>
                    <a:pt x="522" y="303"/>
                  </a:lnTo>
                  <a:lnTo>
                    <a:pt x="522" y="302"/>
                  </a:lnTo>
                  <a:lnTo>
                    <a:pt x="523" y="302"/>
                  </a:lnTo>
                  <a:lnTo>
                    <a:pt x="523" y="303"/>
                  </a:lnTo>
                  <a:lnTo>
                    <a:pt x="523" y="304"/>
                  </a:lnTo>
                  <a:lnTo>
                    <a:pt x="524" y="304"/>
                  </a:lnTo>
                  <a:lnTo>
                    <a:pt x="524" y="303"/>
                  </a:lnTo>
                  <a:lnTo>
                    <a:pt x="524" y="302"/>
                  </a:lnTo>
                  <a:lnTo>
                    <a:pt x="523" y="301"/>
                  </a:lnTo>
                  <a:lnTo>
                    <a:pt x="524" y="301"/>
                  </a:lnTo>
                  <a:lnTo>
                    <a:pt x="524" y="300"/>
                  </a:lnTo>
                  <a:lnTo>
                    <a:pt x="524" y="298"/>
                  </a:lnTo>
                  <a:lnTo>
                    <a:pt x="524" y="297"/>
                  </a:lnTo>
                  <a:lnTo>
                    <a:pt x="524" y="296"/>
                  </a:lnTo>
                  <a:lnTo>
                    <a:pt x="524" y="295"/>
                  </a:lnTo>
                  <a:lnTo>
                    <a:pt x="524" y="294"/>
                  </a:lnTo>
                  <a:lnTo>
                    <a:pt x="524" y="293"/>
                  </a:lnTo>
                  <a:lnTo>
                    <a:pt x="524" y="291"/>
                  </a:lnTo>
                  <a:lnTo>
                    <a:pt x="526" y="290"/>
                  </a:lnTo>
                  <a:lnTo>
                    <a:pt x="526" y="289"/>
                  </a:lnTo>
                  <a:lnTo>
                    <a:pt x="526" y="288"/>
                  </a:lnTo>
                  <a:lnTo>
                    <a:pt x="524" y="286"/>
                  </a:lnTo>
                  <a:lnTo>
                    <a:pt x="526" y="284"/>
                  </a:lnTo>
                  <a:lnTo>
                    <a:pt x="526" y="283"/>
                  </a:lnTo>
                  <a:lnTo>
                    <a:pt x="526" y="282"/>
                  </a:lnTo>
                  <a:lnTo>
                    <a:pt x="527" y="282"/>
                  </a:lnTo>
                  <a:lnTo>
                    <a:pt x="527" y="281"/>
                  </a:lnTo>
                  <a:lnTo>
                    <a:pt x="526" y="281"/>
                  </a:lnTo>
                  <a:lnTo>
                    <a:pt x="527" y="280"/>
                  </a:lnTo>
                  <a:lnTo>
                    <a:pt x="528" y="280"/>
                  </a:lnTo>
                  <a:lnTo>
                    <a:pt x="528" y="279"/>
                  </a:lnTo>
                  <a:lnTo>
                    <a:pt x="528" y="277"/>
                  </a:lnTo>
                  <a:lnTo>
                    <a:pt x="528" y="275"/>
                  </a:lnTo>
                  <a:lnTo>
                    <a:pt x="528" y="274"/>
                  </a:lnTo>
                  <a:lnTo>
                    <a:pt x="528" y="273"/>
                  </a:lnTo>
                  <a:lnTo>
                    <a:pt x="529" y="272"/>
                  </a:lnTo>
                  <a:lnTo>
                    <a:pt x="528" y="269"/>
                  </a:lnTo>
                  <a:lnTo>
                    <a:pt x="528" y="268"/>
                  </a:lnTo>
                  <a:lnTo>
                    <a:pt x="528" y="267"/>
                  </a:lnTo>
                  <a:lnTo>
                    <a:pt x="528" y="266"/>
                  </a:lnTo>
                  <a:lnTo>
                    <a:pt x="528" y="265"/>
                  </a:lnTo>
                  <a:lnTo>
                    <a:pt x="528" y="263"/>
                  </a:lnTo>
                  <a:lnTo>
                    <a:pt x="527" y="263"/>
                  </a:lnTo>
                  <a:lnTo>
                    <a:pt x="528" y="262"/>
                  </a:lnTo>
                  <a:lnTo>
                    <a:pt x="528" y="261"/>
                  </a:lnTo>
                  <a:lnTo>
                    <a:pt x="528" y="260"/>
                  </a:lnTo>
                  <a:lnTo>
                    <a:pt x="528" y="259"/>
                  </a:lnTo>
                  <a:lnTo>
                    <a:pt x="528" y="258"/>
                  </a:lnTo>
                  <a:lnTo>
                    <a:pt x="529" y="258"/>
                  </a:lnTo>
                  <a:lnTo>
                    <a:pt x="529" y="256"/>
                  </a:lnTo>
                  <a:lnTo>
                    <a:pt x="530" y="256"/>
                  </a:lnTo>
                  <a:lnTo>
                    <a:pt x="530" y="255"/>
                  </a:lnTo>
                  <a:lnTo>
                    <a:pt x="530" y="254"/>
                  </a:lnTo>
                  <a:lnTo>
                    <a:pt x="530" y="253"/>
                  </a:lnTo>
                  <a:lnTo>
                    <a:pt x="529" y="252"/>
                  </a:lnTo>
                  <a:lnTo>
                    <a:pt x="528" y="251"/>
                  </a:lnTo>
                  <a:lnTo>
                    <a:pt x="529" y="251"/>
                  </a:lnTo>
                  <a:lnTo>
                    <a:pt x="528" y="249"/>
                  </a:lnTo>
                  <a:lnTo>
                    <a:pt x="528" y="248"/>
                  </a:lnTo>
                  <a:lnTo>
                    <a:pt x="528" y="247"/>
                  </a:lnTo>
                  <a:lnTo>
                    <a:pt x="527" y="247"/>
                  </a:lnTo>
                  <a:lnTo>
                    <a:pt x="527" y="246"/>
                  </a:lnTo>
                  <a:lnTo>
                    <a:pt x="528" y="246"/>
                  </a:lnTo>
                  <a:lnTo>
                    <a:pt x="528" y="245"/>
                  </a:lnTo>
                  <a:lnTo>
                    <a:pt x="529" y="245"/>
                  </a:lnTo>
                  <a:lnTo>
                    <a:pt x="529" y="244"/>
                  </a:lnTo>
                  <a:lnTo>
                    <a:pt x="529" y="242"/>
                  </a:lnTo>
                  <a:lnTo>
                    <a:pt x="528" y="241"/>
                  </a:lnTo>
                  <a:lnTo>
                    <a:pt x="529" y="241"/>
                  </a:lnTo>
                  <a:lnTo>
                    <a:pt x="529" y="240"/>
                  </a:lnTo>
                  <a:lnTo>
                    <a:pt x="529" y="239"/>
                  </a:lnTo>
                  <a:lnTo>
                    <a:pt x="529" y="238"/>
                  </a:lnTo>
                  <a:lnTo>
                    <a:pt x="528" y="238"/>
                  </a:lnTo>
                  <a:lnTo>
                    <a:pt x="529" y="237"/>
                  </a:lnTo>
                  <a:lnTo>
                    <a:pt x="529" y="235"/>
                  </a:lnTo>
                  <a:lnTo>
                    <a:pt x="528" y="234"/>
                  </a:lnTo>
                  <a:lnTo>
                    <a:pt x="528" y="233"/>
                  </a:lnTo>
                  <a:lnTo>
                    <a:pt x="527" y="233"/>
                  </a:lnTo>
                  <a:lnTo>
                    <a:pt x="527" y="232"/>
                  </a:lnTo>
                  <a:lnTo>
                    <a:pt x="527" y="231"/>
                  </a:lnTo>
                  <a:lnTo>
                    <a:pt x="526" y="228"/>
                  </a:lnTo>
                  <a:lnTo>
                    <a:pt x="526" y="227"/>
                  </a:lnTo>
                  <a:lnTo>
                    <a:pt x="526" y="226"/>
                  </a:lnTo>
                  <a:lnTo>
                    <a:pt x="526" y="225"/>
                  </a:lnTo>
                  <a:lnTo>
                    <a:pt x="524" y="223"/>
                  </a:lnTo>
                  <a:lnTo>
                    <a:pt x="523" y="221"/>
                  </a:lnTo>
                  <a:lnTo>
                    <a:pt x="523" y="220"/>
                  </a:lnTo>
                  <a:lnTo>
                    <a:pt x="522" y="217"/>
                  </a:lnTo>
                  <a:lnTo>
                    <a:pt x="521" y="216"/>
                  </a:lnTo>
                  <a:lnTo>
                    <a:pt x="521" y="214"/>
                  </a:lnTo>
                  <a:lnTo>
                    <a:pt x="521" y="213"/>
                  </a:lnTo>
                  <a:lnTo>
                    <a:pt x="521" y="212"/>
                  </a:lnTo>
                  <a:lnTo>
                    <a:pt x="520" y="212"/>
                  </a:lnTo>
                  <a:lnTo>
                    <a:pt x="520" y="211"/>
                  </a:lnTo>
                  <a:lnTo>
                    <a:pt x="520" y="210"/>
                  </a:lnTo>
                  <a:lnTo>
                    <a:pt x="520" y="209"/>
                  </a:lnTo>
                  <a:lnTo>
                    <a:pt x="519" y="207"/>
                  </a:lnTo>
                  <a:lnTo>
                    <a:pt x="519" y="206"/>
                  </a:lnTo>
                  <a:lnTo>
                    <a:pt x="519" y="205"/>
                  </a:lnTo>
                  <a:lnTo>
                    <a:pt x="519" y="203"/>
                  </a:lnTo>
                  <a:lnTo>
                    <a:pt x="519" y="202"/>
                  </a:lnTo>
                  <a:lnTo>
                    <a:pt x="520" y="202"/>
                  </a:lnTo>
                  <a:lnTo>
                    <a:pt x="521" y="202"/>
                  </a:lnTo>
                  <a:lnTo>
                    <a:pt x="521" y="200"/>
                  </a:lnTo>
                  <a:lnTo>
                    <a:pt x="522" y="200"/>
                  </a:lnTo>
                  <a:lnTo>
                    <a:pt x="522" y="199"/>
                  </a:lnTo>
                  <a:lnTo>
                    <a:pt x="522" y="198"/>
                  </a:lnTo>
                  <a:lnTo>
                    <a:pt x="521" y="198"/>
                  </a:lnTo>
                  <a:lnTo>
                    <a:pt x="521" y="197"/>
                  </a:lnTo>
                  <a:lnTo>
                    <a:pt x="522" y="197"/>
                  </a:lnTo>
                  <a:lnTo>
                    <a:pt x="522" y="196"/>
                  </a:lnTo>
                  <a:lnTo>
                    <a:pt x="522" y="197"/>
                  </a:lnTo>
                  <a:lnTo>
                    <a:pt x="522" y="196"/>
                  </a:lnTo>
                  <a:lnTo>
                    <a:pt x="522" y="195"/>
                  </a:lnTo>
                  <a:lnTo>
                    <a:pt x="521" y="193"/>
                  </a:lnTo>
                  <a:lnTo>
                    <a:pt x="521" y="192"/>
                  </a:lnTo>
                  <a:lnTo>
                    <a:pt x="522" y="191"/>
                  </a:lnTo>
                  <a:lnTo>
                    <a:pt x="521" y="191"/>
                  </a:lnTo>
                  <a:lnTo>
                    <a:pt x="521" y="190"/>
                  </a:lnTo>
                  <a:lnTo>
                    <a:pt x="521" y="189"/>
                  </a:lnTo>
                  <a:lnTo>
                    <a:pt x="521" y="188"/>
                  </a:lnTo>
                  <a:lnTo>
                    <a:pt x="520" y="188"/>
                  </a:lnTo>
                  <a:lnTo>
                    <a:pt x="520" y="186"/>
                  </a:lnTo>
                  <a:lnTo>
                    <a:pt x="519" y="185"/>
                  </a:lnTo>
                  <a:lnTo>
                    <a:pt x="517" y="185"/>
                  </a:lnTo>
                  <a:lnTo>
                    <a:pt x="517" y="184"/>
                  </a:lnTo>
                  <a:lnTo>
                    <a:pt x="517" y="183"/>
                  </a:lnTo>
                  <a:lnTo>
                    <a:pt x="517" y="182"/>
                  </a:lnTo>
                  <a:lnTo>
                    <a:pt x="517" y="181"/>
                  </a:lnTo>
                  <a:lnTo>
                    <a:pt x="516" y="182"/>
                  </a:lnTo>
                  <a:lnTo>
                    <a:pt x="516" y="181"/>
                  </a:lnTo>
                  <a:lnTo>
                    <a:pt x="516" y="179"/>
                  </a:lnTo>
                  <a:lnTo>
                    <a:pt x="517" y="178"/>
                  </a:lnTo>
                  <a:lnTo>
                    <a:pt x="519" y="177"/>
                  </a:lnTo>
                  <a:lnTo>
                    <a:pt x="519" y="176"/>
                  </a:lnTo>
                  <a:lnTo>
                    <a:pt x="519" y="175"/>
                  </a:lnTo>
                  <a:lnTo>
                    <a:pt x="519" y="174"/>
                  </a:lnTo>
                  <a:lnTo>
                    <a:pt x="520" y="172"/>
                  </a:lnTo>
                  <a:lnTo>
                    <a:pt x="520" y="171"/>
                  </a:lnTo>
                  <a:lnTo>
                    <a:pt x="520" y="170"/>
                  </a:lnTo>
                  <a:lnTo>
                    <a:pt x="520" y="169"/>
                  </a:lnTo>
                  <a:lnTo>
                    <a:pt x="520" y="168"/>
                  </a:lnTo>
                  <a:lnTo>
                    <a:pt x="519" y="168"/>
                  </a:lnTo>
                  <a:lnTo>
                    <a:pt x="519" y="167"/>
                  </a:lnTo>
                  <a:lnTo>
                    <a:pt x="519" y="165"/>
                  </a:lnTo>
                  <a:lnTo>
                    <a:pt x="519" y="164"/>
                  </a:lnTo>
                  <a:lnTo>
                    <a:pt x="520" y="164"/>
                  </a:lnTo>
                  <a:lnTo>
                    <a:pt x="520" y="163"/>
                  </a:lnTo>
                  <a:lnTo>
                    <a:pt x="519" y="163"/>
                  </a:lnTo>
                  <a:lnTo>
                    <a:pt x="520" y="163"/>
                  </a:lnTo>
                  <a:lnTo>
                    <a:pt x="520" y="162"/>
                  </a:lnTo>
                  <a:lnTo>
                    <a:pt x="520" y="161"/>
                  </a:lnTo>
                  <a:lnTo>
                    <a:pt x="521" y="161"/>
                  </a:lnTo>
                  <a:lnTo>
                    <a:pt x="521" y="160"/>
                  </a:lnTo>
                  <a:lnTo>
                    <a:pt x="521" y="158"/>
                  </a:lnTo>
                  <a:lnTo>
                    <a:pt x="521" y="157"/>
                  </a:lnTo>
                  <a:lnTo>
                    <a:pt x="521" y="156"/>
                  </a:lnTo>
                  <a:lnTo>
                    <a:pt x="520" y="156"/>
                  </a:lnTo>
                  <a:lnTo>
                    <a:pt x="520" y="155"/>
                  </a:lnTo>
                  <a:lnTo>
                    <a:pt x="520" y="154"/>
                  </a:lnTo>
                  <a:lnTo>
                    <a:pt x="520" y="153"/>
                  </a:lnTo>
                  <a:lnTo>
                    <a:pt x="520" y="151"/>
                  </a:lnTo>
                  <a:lnTo>
                    <a:pt x="521" y="151"/>
                  </a:lnTo>
                  <a:lnTo>
                    <a:pt x="521" y="150"/>
                  </a:lnTo>
                  <a:lnTo>
                    <a:pt x="521" y="149"/>
                  </a:lnTo>
                  <a:lnTo>
                    <a:pt x="521" y="148"/>
                  </a:lnTo>
                  <a:lnTo>
                    <a:pt x="521" y="147"/>
                  </a:lnTo>
                  <a:lnTo>
                    <a:pt x="521" y="146"/>
                  </a:lnTo>
                  <a:lnTo>
                    <a:pt x="521" y="144"/>
                  </a:lnTo>
                  <a:lnTo>
                    <a:pt x="521" y="143"/>
                  </a:lnTo>
                  <a:lnTo>
                    <a:pt x="521" y="142"/>
                  </a:lnTo>
                  <a:lnTo>
                    <a:pt x="521" y="141"/>
                  </a:lnTo>
                  <a:lnTo>
                    <a:pt x="521" y="140"/>
                  </a:lnTo>
                  <a:lnTo>
                    <a:pt x="522" y="140"/>
                  </a:lnTo>
                  <a:lnTo>
                    <a:pt x="522" y="139"/>
                  </a:lnTo>
                  <a:lnTo>
                    <a:pt x="521" y="139"/>
                  </a:lnTo>
                  <a:lnTo>
                    <a:pt x="521" y="137"/>
                  </a:lnTo>
                  <a:lnTo>
                    <a:pt x="521" y="136"/>
                  </a:lnTo>
                  <a:lnTo>
                    <a:pt x="521" y="135"/>
                  </a:lnTo>
                  <a:lnTo>
                    <a:pt x="521" y="134"/>
                  </a:lnTo>
                  <a:lnTo>
                    <a:pt x="521" y="133"/>
                  </a:lnTo>
                  <a:lnTo>
                    <a:pt x="520" y="133"/>
                  </a:lnTo>
                  <a:lnTo>
                    <a:pt x="520" y="132"/>
                  </a:lnTo>
                  <a:lnTo>
                    <a:pt x="519" y="132"/>
                  </a:lnTo>
                  <a:lnTo>
                    <a:pt x="519" y="130"/>
                  </a:lnTo>
                  <a:lnTo>
                    <a:pt x="520" y="130"/>
                  </a:lnTo>
                  <a:lnTo>
                    <a:pt x="520" y="129"/>
                  </a:lnTo>
                  <a:lnTo>
                    <a:pt x="520" y="128"/>
                  </a:lnTo>
                  <a:lnTo>
                    <a:pt x="520" y="127"/>
                  </a:lnTo>
                  <a:lnTo>
                    <a:pt x="520" y="126"/>
                  </a:lnTo>
                  <a:lnTo>
                    <a:pt x="521" y="126"/>
                  </a:lnTo>
                  <a:lnTo>
                    <a:pt x="521" y="125"/>
                  </a:lnTo>
                  <a:lnTo>
                    <a:pt x="522" y="125"/>
                  </a:lnTo>
                  <a:lnTo>
                    <a:pt x="522" y="124"/>
                  </a:lnTo>
                  <a:lnTo>
                    <a:pt x="522" y="122"/>
                  </a:lnTo>
                  <a:lnTo>
                    <a:pt x="522" y="121"/>
                  </a:lnTo>
                  <a:lnTo>
                    <a:pt x="521" y="120"/>
                  </a:lnTo>
                  <a:lnTo>
                    <a:pt x="521" y="119"/>
                  </a:lnTo>
                  <a:lnTo>
                    <a:pt x="521" y="118"/>
                  </a:lnTo>
                  <a:lnTo>
                    <a:pt x="520" y="117"/>
                  </a:lnTo>
                  <a:lnTo>
                    <a:pt x="520" y="115"/>
                  </a:lnTo>
                  <a:lnTo>
                    <a:pt x="520" y="114"/>
                  </a:lnTo>
                  <a:lnTo>
                    <a:pt x="519" y="114"/>
                  </a:lnTo>
                  <a:lnTo>
                    <a:pt x="519" y="113"/>
                  </a:lnTo>
                  <a:lnTo>
                    <a:pt x="519" y="112"/>
                  </a:lnTo>
                  <a:lnTo>
                    <a:pt x="519" y="111"/>
                  </a:lnTo>
                  <a:lnTo>
                    <a:pt x="519" y="110"/>
                  </a:lnTo>
                  <a:lnTo>
                    <a:pt x="519" y="108"/>
                  </a:lnTo>
                  <a:lnTo>
                    <a:pt x="519" y="107"/>
                  </a:lnTo>
                  <a:lnTo>
                    <a:pt x="519" y="106"/>
                  </a:lnTo>
                  <a:lnTo>
                    <a:pt x="519" y="105"/>
                  </a:lnTo>
                  <a:lnTo>
                    <a:pt x="519" y="104"/>
                  </a:lnTo>
                  <a:lnTo>
                    <a:pt x="519" y="103"/>
                  </a:lnTo>
                  <a:lnTo>
                    <a:pt x="519" y="101"/>
                  </a:lnTo>
                  <a:lnTo>
                    <a:pt x="519" y="100"/>
                  </a:lnTo>
                  <a:lnTo>
                    <a:pt x="519" y="99"/>
                  </a:lnTo>
                  <a:lnTo>
                    <a:pt x="519" y="98"/>
                  </a:lnTo>
                  <a:lnTo>
                    <a:pt x="520" y="97"/>
                  </a:lnTo>
                  <a:lnTo>
                    <a:pt x="520" y="96"/>
                  </a:lnTo>
                  <a:lnTo>
                    <a:pt x="519" y="96"/>
                  </a:lnTo>
                  <a:lnTo>
                    <a:pt x="519" y="94"/>
                  </a:lnTo>
                  <a:lnTo>
                    <a:pt x="517" y="94"/>
                  </a:lnTo>
                  <a:lnTo>
                    <a:pt x="517" y="96"/>
                  </a:lnTo>
                  <a:lnTo>
                    <a:pt x="516" y="94"/>
                  </a:lnTo>
                  <a:lnTo>
                    <a:pt x="516" y="96"/>
                  </a:lnTo>
                  <a:lnTo>
                    <a:pt x="516" y="94"/>
                  </a:lnTo>
                  <a:lnTo>
                    <a:pt x="516" y="93"/>
                  </a:lnTo>
                  <a:lnTo>
                    <a:pt x="516" y="92"/>
                  </a:lnTo>
                  <a:lnTo>
                    <a:pt x="516" y="91"/>
                  </a:lnTo>
                  <a:lnTo>
                    <a:pt x="516" y="90"/>
                  </a:lnTo>
                  <a:lnTo>
                    <a:pt x="516" y="89"/>
                  </a:lnTo>
                  <a:lnTo>
                    <a:pt x="516" y="87"/>
                  </a:lnTo>
                  <a:lnTo>
                    <a:pt x="517" y="87"/>
                  </a:lnTo>
                  <a:lnTo>
                    <a:pt x="516" y="87"/>
                  </a:lnTo>
                  <a:lnTo>
                    <a:pt x="517" y="87"/>
                  </a:lnTo>
                  <a:lnTo>
                    <a:pt x="517" y="89"/>
                  </a:lnTo>
                  <a:lnTo>
                    <a:pt x="519" y="87"/>
                  </a:lnTo>
                  <a:lnTo>
                    <a:pt x="519" y="86"/>
                  </a:lnTo>
                  <a:lnTo>
                    <a:pt x="520" y="86"/>
                  </a:lnTo>
                  <a:lnTo>
                    <a:pt x="520" y="85"/>
                  </a:lnTo>
                  <a:lnTo>
                    <a:pt x="520" y="84"/>
                  </a:lnTo>
                  <a:lnTo>
                    <a:pt x="519" y="84"/>
                  </a:lnTo>
                  <a:lnTo>
                    <a:pt x="519" y="83"/>
                  </a:lnTo>
                  <a:lnTo>
                    <a:pt x="519" y="82"/>
                  </a:lnTo>
                  <a:lnTo>
                    <a:pt x="519" y="80"/>
                  </a:lnTo>
                  <a:lnTo>
                    <a:pt x="520" y="80"/>
                  </a:lnTo>
                  <a:lnTo>
                    <a:pt x="519" y="80"/>
                  </a:lnTo>
                  <a:lnTo>
                    <a:pt x="519" y="79"/>
                  </a:lnTo>
                  <a:lnTo>
                    <a:pt x="520" y="79"/>
                  </a:lnTo>
                  <a:lnTo>
                    <a:pt x="520" y="78"/>
                  </a:lnTo>
                  <a:lnTo>
                    <a:pt x="519" y="78"/>
                  </a:lnTo>
                  <a:lnTo>
                    <a:pt x="519" y="77"/>
                  </a:lnTo>
                  <a:lnTo>
                    <a:pt x="519" y="76"/>
                  </a:lnTo>
                  <a:lnTo>
                    <a:pt x="519" y="73"/>
                  </a:lnTo>
                  <a:lnTo>
                    <a:pt x="519" y="72"/>
                  </a:lnTo>
                  <a:lnTo>
                    <a:pt x="520" y="72"/>
                  </a:lnTo>
                  <a:lnTo>
                    <a:pt x="520" y="71"/>
                  </a:lnTo>
                  <a:lnTo>
                    <a:pt x="519" y="71"/>
                  </a:lnTo>
                  <a:lnTo>
                    <a:pt x="520" y="70"/>
                  </a:lnTo>
                  <a:lnTo>
                    <a:pt x="519" y="70"/>
                  </a:lnTo>
                  <a:lnTo>
                    <a:pt x="519" y="69"/>
                  </a:lnTo>
                  <a:lnTo>
                    <a:pt x="520" y="69"/>
                  </a:lnTo>
                  <a:lnTo>
                    <a:pt x="520" y="68"/>
                  </a:lnTo>
                  <a:lnTo>
                    <a:pt x="520" y="66"/>
                  </a:lnTo>
                  <a:lnTo>
                    <a:pt x="519" y="65"/>
                  </a:lnTo>
                  <a:lnTo>
                    <a:pt x="520" y="65"/>
                  </a:lnTo>
                  <a:lnTo>
                    <a:pt x="520" y="64"/>
                  </a:lnTo>
                  <a:lnTo>
                    <a:pt x="520" y="63"/>
                  </a:lnTo>
                  <a:lnTo>
                    <a:pt x="520" y="62"/>
                  </a:lnTo>
                  <a:lnTo>
                    <a:pt x="520" y="61"/>
                  </a:lnTo>
                  <a:lnTo>
                    <a:pt x="520" y="59"/>
                  </a:lnTo>
                  <a:lnTo>
                    <a:pt x="520" y="58"/>
                  </a:lnTo>
                  <a:lnTo>
                    <a:pt x="519" y="58"/>
                  </a:lnTo>
                  <a:lnTo>
                    <a:pt x="519" y="57"/>
                  </a:lnTo>
                  <a:lnTo>
                    <a:pt x="519" y="56"/>
                  </a:lnTo>
                  <a:lnTo>
                    <a:pt x="517" y="56"/>
                  </a:lnTo>
                  <a:lnTo>
                    <a:pt x="517" y="55"/>
                  </a:lnTo>
                  <a:lnTo>
                    <a:pt x="519" y="55"/>
                  </a:lnTo>
                  <a:lnTo>
                    <a:pt x="519" y="54"/>
                  </a:lnTo>
                  <a:lnTo>
                    <a:pt x="517" y="54"/>
                  </a:lnTo>
                  <a:lnTo>
                    <a:pt x="517" y="52"/>
                  </a:lnTo>
                  <a:lnTo>
                    <a:pt x="516" y="52"/>
                  </a:lnTo>
                  <a:lnTo>
                    <a:pt x="517" y="52"/>
                  </a:lnTo>
                  <a:lnTo>
                    <a:pt x="517" y="51"/>
                  </a:lnTo>
                  <a:lnTo>
                    <a:pt x="516" y="51"/>
                  </a:lnTo>
                  <a:lnTo>
                    <a:pt x="517" y="50"/>
                  </a:lnTo>
                  <a:lnTo>
                    <a:pt x="516" y="50"/>
                  </a:lnTo>
                  <a:lnTo>
                    <a:pt x="516" y="49"/>
                  </a:lnTo>
                  <a:lnTo>
                    <a:pt x="516" y="48"/>
                  </a:lnTo>
                  <a:lnTo>
                    <a:pt x="516" y="47"/>
                  </a:lnTo>
                  <a:lnTo>
                    <a:pt x="516" y="45"/>
                  </a:lnTo>
                  <a:lnTo>
                    <a:pt x="516" y="44"/>
                  </a:lnTo>
                  <a:lnTo>
                    <a:pt x="517" y="44"/>
                  </a:lnTo>
                  <a:lnTo>
                    <a:pt x="517" y="43"/>
                  </a:lnTo>
                  <a:lnTo>
                    <a:pt x="516" y="43"/>
                  </a:lnTo>
                  <a:lnTo>
                    <a:pt x="516" y="42"/>
                  </a:lnTo>
                  <a:lnTo>
                    <a:pt x="516" y="41"/>
                  </a:lnTo>
                  <a:lnTo>
                    <a:pt x="516" y="40"/>
                  </a:lnTo>
                  <a:lnTo>
                    <a:pt x="516" y="38"/>
                  </a:lnTo>
                  <a:lnTo>
                    <a:pt x="516" y="37"/>
                  </a:lnTo>
                  <a:lnTo>
                    <a:pt x="516" y="36"/>
                  </a:lnTo>
                  <a:lnTo>
                    <a:pt x="516" y="35"/>
                  </a:lnTo>
                  <a:lnTo>
                    <a:pt x="515" y="34"/>
                  </a:lnTo>
                  <a:lnTo>
                    <a:pt x="514" y="33"/>
                  </a:lnTo>
                  <a:lnTo>
                    <a:pt x="515" y="33"/>
                  </a:lnTo>
                  <a:lnTo>
                    <a:pt x="515" y="31"/>
                  </a:lnTo>
                  <a:lnTo>
                    <a:pt x="514" y="30"/>
                  </a:lnTo>
                  <a:lnTo>
                    <a:pt x="514" y="29"/>
                  </a:lnTo>
                  <a:lnTo>
                    <a:pt x="514" y="28"/>
                  </a:lnTo>
                  <a:lnTo>
                    <a:pt x="513" y="28"/>
                  </a:lnTo>
                  <a:lnTo>
                    <a:pt x="513" y="27"/>
                  </a:lnTo>
                  <a:lnTo>
                    <a:pt x="513" y="26"/>
                  </a:lnTo>
                  <a:lnTo>
                    <a:pt x="513" y="23"/>
                  </a:lnTo>
                  <a:lnTo>
                    <a:pt x="512" y="22"/>
                  </a:lnTo>
                  <a:lnTo>
                    <a:pt x="512" y="21"/>
                  </a:lnTo>
                  <a:lnTo>
                    <a:pt x="512" y="20"/>
                  </a:lnTo>
                  <a:lnTo>
                    <a:pt x="512" y="19"/>
                  </a:lnTo>
                  <a:lnTo>
                    <a:pt x="512" y="17"/>
                  </a:lnTo>
                  <a:lnTo>
                    <a:pt x="512" y="16"/>
                  </a:lnTo>
                  <a:lnTo>
                    <a:pt x="512" y="15"/>
                  </a:lnTo>
                  <a:lnTo>
                    <a:pt x="512" y="14"/>
                  </a:lnTo>
                  <a:lnTo>
                    <a:pt x="510" y="14"/>
                  </a:lnTo>
                  <a:lnTo>
                    <a:pt x="510" y="13"/>
                  </a:lnTo>
                  <a:lnTo>
                    <a:pt x="512" y="13"/>
                  </a:lnTo>
                  <a:lnTo>
                    <a:pt x="513" y="13"/>
                  </a:lnTo>
                  <a:lnTo>
                    <a:pt x="514" y="13"/>
                  </a:lnTo>
                  <a:lnTo>
                    <a:pt x="515" y="12"/>
                  </a:lnTo>
                  <a:lnTo>
                    <a:pt x="516" y="12"/>
                  </a:lnTo>
                  <a:lnTo>
                    <a:pt x="516" y="10"/>
                  </a:lnTo>
                  <a:lnTo>
                    <a:pt x="517" y="10"/>
                  </a:lnTo>
                  <a:lnTo>
                    <a:pt x="517" y="9"/>
                  </a:lnTo>
                  <a:lnTo>
                    <a:pt x="517" y="7"/>
                  </a:lnTo>
                  <a:lnTo>
                    <a:pt x="517" y="6"/>
                  </a:lnTo>
                  <a:lnTo>
                    <a:pt x="517" y="5"/>
                  </a:lnTo>
                  <a:lnTo>
                    <a:pt x="516" y="3"/>
                  </a:lnTo>
                  <a:lnTo>
                    <a:pt x="516" y="2"/>
                  </a:lnTo>
                  <a:lnTo>
                    <a:pt x="517" y="2"/>
                  </a:lnTo>
                  <a:lnTo>
                    <a:pt x="519" y="2"/>
                  </a:lnTo>
                  <a:lnTo>
                    <a:pt x="520" y="2"/>
                  </a:lnTo>
                  <a:lnTo>
                    <a:pt x="521" y="0"/>
                  </a:lnTo>
                  <a:lnTo>
                    <a:pt x="521" y="1"/>
                  </a:lnTo>
                  <a:lnTo>
                    <a:pt x="522"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03" name="Freeform 856">
              <a:extLst>
                <a:ext uri="{FF2B5EF4-FFF2-40B4-BE49-F238E27FC236}">
                  <a16:creationId xmlns:a16="http://schemas.microsoft.com/office/drawing/2014/main" id="{B0509012-98D2-48E8-860C-C405E9A5899C}"/>
                </a:ext>
              </a:extLst>
            </p:cNvPr>
            <p:cNvSpPr>
              <a:spLocks noEditPoints="1"/>
            </p:cNvSpPr>
            <p:nvPr/>
          </p:nvSpPr>
          <p:spPr bwMode="auto">
            <a:xfrm>
              <a:off x="7073806" y="2222711"/>
              <a:ext cx="953539" cy="741196"/>
            </a:xfrm>
            <a:custGeom>
              <a:avLst/>
              <a:gdLst>
                <a:gd name="T0" fmla="*/ 556 w 714"/>
                <a:gd name="T1" fmla="*/ 554 h 555"/>
                <a:gd name="T2" fmla="*/ 558 w 714"/>
                <a:gd name="T3" fmla="*/ 527 h 555"/>
                <a:gd name="T4" fmla="*/ 578 w 714"/>
                <a:gd name="T5" fmla="*/ 502 h 555"/>
                <a:gd name="T6" fmla="*/ 646 w 714"/>
                <a:gd name="T7" fmla="*/ 471 h 555"/>
                <a:gd name="T8" fmla="*/ 683 w 714"/>
                <a:gd name="T9" fmla="*/ 400 h 555"/>
                <a:gd name="T10" fmla="*/ 685 w 714"/>
                <a:gd name="T11" fmla="*/ 366 h 555"/>
                <a:gd name="T12" fmla="*/ 619 w 714"/>
                <a:gd name="T13" fmla="*/ 243 h 555"/>
                <a:gd name="T14" fmla="*/ 526 w 714"/>
                <a:gd name="T15" fmla="*/ 7 h 555"/>
                <a:gd name="T16" fmla="*/ 584 w 714"/>
                <a:gd name="T17" fmla="*/ 44 h 555"/>
                <a:gd name="T18" fmla="*/ 649 w 714"/>
                <a:gd name="T19" fmla="*/ 78 h 555"/>
                <a:gd name="T20" fmla="*/ 704 w 714"/>
                <a:gd name="T21" fmla="*/ 86 h 555"/>
                <a:gd name="T22" fmla="*/ 700 w 714"/>
                <a:gd name="T23" fmla="*/ 126 h 555"/>
                <a:gd name="T24" fmla="*/ 700 w 714"/>
                <a:gd name="T25" fmla="*/ 165 h 555"/>
                <a:gd name="T26" fmla="*/ 674 w 714"/>
                <a:gd name="T27" fmla="*/ 186 h 555"/>
                <a:gd name="T28" fmla="*/ 641 w 714"/>
                <a:gd name="T29" fmla="*/ 214 h 555"/>
                <a:gd name="T30" fmla="*/ 620 w 714"/>
                <a:gd name="T31" fmla="*/ 222 h 555"/>
                <a:gd name="T32" fmla="*/ 601 w 714"/>
                <a:gd name="T33" fmla="*/ 196 h 555"/>
                <a:gd name="T34" fmla="*/ 571 w 714"/>
                <a:gd name="T35" fmla="*/ 226 h 555"/>
                <a:gd name="T36" fmla="*/ 626 w 714"/>
                <a:gd name="T37" fmla="*/ 246 h 555"/>
                <a:gd name="T38" fmla="*/ 636 w 714"/>
                <a:gd name="T39" fmla="*/ 260 h 555"/>
                <a:gd name="T40" fmla="*/ 623 w 714"/>
                <a:gd name="T41" fmla="*/ 279 h 555"/>
                <a:gd name="T42" fmla="*/ 655 w 714"/>
                <a:gd name="T43" fmla="*/ 326 h 555"/>
                <a:gd name="T44" fmla="*/ 647 w 714"/>
                <a:gd name="T45" fmla="*/ 337 h 555"/>
                <a:gd name="T46" fmla="*/ 667 w 714"/>
                <a:gd name="T47" fmla="*/ 364 h 555"/>
                <a:gd name="T48" fmla="*/ 686 w 714"/>
                <a:gd name="T49" fmla="*/ 377 h 555"/>
                <a:gd name="T50" fmla="*/ 682 w 714"/>
                <a:gd name="T51" fmla="*/ 388 h 555"/>
                <a:gd name="T52" fmla="*/ 677 w 714"/>
                <a:gd name="T53" fmla="*/ 412 h 555"/>
                <a:gd name="T54" fmla="*/ 667 w 714"/>
                <a:gd name="T55" fmla="*/ 421 h 555"/>
                <a:gd name="T56" fmla="*/ 672 w 714"/>
                <a:gd name="T57" fmla="*/ 440 h 555"/>
                <a:gd name="T58" fmla="*/ 662 w 714"/>
                <a:gd name="T59" fmla="*/ 449 h 555"/>
                <a:gd name="T60" fmla="*/ 649 w 714"/>
                <a:gd name="T61" fmla="*/ 464 h 555"/>
                <a:gd name="T62" fmla="*/ 628 w 714"/>
                <a:gd name="T63" fmla="*/ 479 h 555"/>
                <a:gd name="T64" fmla="*/ 608 w 714"/>
                <a:gd name="T65" fmla="*/ 485 h 555"/>
                <a:gd name="T66" fmla="*/ 596 w 714"/>
                <a:gd name="T67" fmla="*/ 488 h 555"/>
                <a:gd name="T68" fmla="*/ 578 w 714"/>
                <a:gd name="T69" fmla="*/ 500 h 555"/>
                <a:gd name="T70" fmla="*/ 558 w 714"/>
                <a:gd name="T71" fmla="*/ 512 h 555"/>
                <a:gd name="T72" fmla="*/ 554 w 714"/>
                <a:gd name="T73" fmla="*/ 505 h 555"/>
                <a:gd name="T74" fmla="*/ 535 w 714"/>
                <a:gd name="T75" fmla="*/ 498 h 555"/>
                <a:gd name="T76" fmla="*/ 508 w 714"/>
                <a:gd name="T77" fmla="*/ 495 h 555"/>
                <a:gd name="T78" fmla="*/ 468 w 714"/>
                <a:gd name="T79" fmla="*/ 485 h 555"/>
                <a:gd name="T80" fmla="*/ 441 w 714"/>
                <a:gd name="T81" fmla="*/ 507 h 555"/>
                <a:gd name="T82" fmla="*/ 404 w 714"/>
                <a:gd name="T83" fmla="*/ 477 h 555"/>
                <a:gd name="T84" fmla="*/ 380 w 714"/>
                <a:gd name="T85" fmla="*/ 441 h 555"/>
                <a:gd name="T86" fmla="*/ 363 w 714"/>
                <a:gd name="T87" fmla="*/ 393 h 555"/>
                <a:gd name="T88" fmla="*/ 320 w 714"/>
                <a:gd name="T89" fmla="*/ 379 h 555"/>
                <a:gd name="T90" fmla="*/ 271 w 714"/>
                <a:gd name="T91" fmla="*/ 397 h 555"/>
                <a:gd name="T92" fmla="*/ 223 w 714"/>
                <a:gd name="T93" fmla="*/ 400 h 555"/>
                <a:gd name="T94" fmla="*/ 181 w 714"/>
                <a:gd name="T95" fmla="*/ 380 h 555"/>
                <a:gd name="T96" fmla="*/ 131 w 714"/>
                <a:gd name="T97" fmla="*/ 363 h 555"/>
                <a:gd name="T98" fmla="*/ 103 w 714"/>
                <a:gd name="T99" fmla="*/ 328 h 555"/>
                <a:gd name="T100" fmla="*/ 52 w 714"/>
                <a:gd name="T101" fmla="*/ 275 h 555"/>
                <a:gd name="T102" fmla="*/ 24 w 714"/>
                <a:gd name="T103" fmla="*/ 244 h 555"/>
                <a:gd name="T104" fmla="*/ 16 w 714"/>
                <a:gd name="T105" fmla="*/ 202 h 555"/>
                <a:gd name="T106" fmla="*/ 72 w 714"/>
                <a:gd name="T107" fmla="*/ 179 h 555"/>
                <a:gd name="T108" fmla="*/ 72 w 714"/>
                <a:gd name="T109" fmla="*/ 127 h 555"/>
                <a:gd name="T110" fmla="*/ 106 w 714"/>
                <a:gd name="T111" fmla="*/ 95 h 555"/>
                <a:gd name="T112" fmla="*/ 146 w 714"/>
                <a:gd name="T113" fmla="*/ 85 h 555"/>
                <a:gd name="T114" fmla="*/ 202 w 714"/>
                <a:gd name="T115" fmla="*/ 131 h 555"/>
                <a:gd name="T116" fmla="*/ 347 w 714"/>
                <a:gd name="T117" fmla="*/ 175 h 555"/>
                <a:gd name="T118" fmla="*/ 449 w 714"/>
                <a:gd name="T119" fmla="*/ 141 h 555"/>
                <a:gd name="T120" fmla="*/ 519 w 714"/>
                <a:gd name="T121" fmla="*/ 105 h 555"/>
                <a:gd name="T122" fmla="*/ 469 w 714"/>
                <a:gd name="T123" fmla="*/ 82 h 555"/>
                <a:gd name="T124" fmla="*/ 490 w 714"/>
                <a:gd name="T125" fmla="*/ 22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14" h="555">
                  <a:moveTo>
                    <a:pt x="566" y="524"/>
                  </a:moveTo>
                  <a:lnTo>
                    <a:pt x="568" y="525"/>
                  </a:lnTo>
                  <a:lnTo>
                    <a:pt x="569" y="526"/>
                  </a:lnTo>
                  <a:lnTo>
                    <a:pt x="570" y="526"/>
                  </a:lnTo>
                  <a:lnTo>
                    <a:pt x="571" y="526"/>
                  </a:lnTo>
                  <a:lnTo>
                    <a:pt x="572" y="528"/>
                  </a:lnTo>
                  <a:lnTo>
                    <a:pt x="572" y="530"/>
                  </a:lnTo>
                  <a:lnTo>
                    <a:pt x="572" y="531"/>
                  </a:lnTo>
                  <a:lnTo>
                    <a:pt x="573" y="532"/>
                  </a:lnTo>
                  <a:lnTo>
                    <a:pt x="572" y="532"/>
                  </a:lnTo>
                  <a:lnTo>
                    <a:pt x="571" y="533"/>
                  </a:lnTo>
                  <a:lnTo>
                    <a:pt x="570" y="533"/>
                  </a:lnTo>
                  <a:lnTo>
                    <a:pt x="570" y="532"/>
                  </a:lnTo>
                  <a:lnTo>
                    <a:pt x="571" y="532"/>
                  </a:lnTo>
                  <a:lnTo>
                    <a:pt x="570" y="532"/>
                  </a:lnTo>
                  <a:lnTo>
                    <a:pt x="570" y="533"/>
                  </a:lnTo>
                  <a:lnTo>
                    <a:pt x="570" y="534"/>
                  </a:lnTo>
                  <a:lnTo>
                    <a:pt x="570" y="535"/>
                  </a:lnTo>
                  <a:lnTo>
                    <a:pt x="569" y="535"/>
                  </a:lnTo>
                  <a:lnTo>
                    <a:pt x="569" y="537"/>
                  </a:lnTo>
                  <a:lnTo>
                    <a:pt x="569" y="538"/>
                  </a:lnTo>
                  <a:lnTo>
                    <a:pt x="569" y="539"/>
                  </a:lnTo>
                  <a:lnTo>
                    <a:pt x="568" y="539"/>
                  </a:lnTo>
                  <a:lnTo>
                    <a:pt x="568" y="540"/>
                  </a:lnTo>
                  <a:lnTo>
                    <a:pt x="568" y="539"/>
                  </a:lnTo>
                  <a:lnTo>
                    <a:pt x="566" y="539"/>
                  </a:lnTo>
                  <a:lnTo>
                    <a:pt x="568" y="540"/>
                  </a:lnTo>
                  <a:lnTo>
                    <a:pt x="569" y="540"/>
                  </a:lnTo>
                  <a:lnTo>
                    <a:pt x="568" y="540"/>
                  </a:lnTo>
                  <a:lnTo>
                    <a:pt x="569" y="541"/>
                  </a:lnTo>
                  <a:lnTo>
                    <a:pt x="568" y="541"/>
                  </a:lnTo>
                  <a:lnTo>
                    <a:pt x="568" y="542"/>
                  </a:lnTo>
                  <a:lnTo>
                    <a:pt x="568" y="544"/>
                  </a:lnTo>
                  <a:lnTo>
                    <a:pt x="568" y="545"/>
                  </a:lnTo>
                  <a:lnTo>
                    <a:pt x="566" y="545"/>
                  </a:lnTo>
                  <a:lnTo>
                    <a:pt x="568" y="545"/>
                  </a:lnTo>
                  <a:lnTo>
                    <a:pt x="568" y="544"/>
                  </a:lnTo>
                  <a:lnTo>
                    <a:pt x="569" y="545"/>
                  </a:lnTo>
                  <a:lnTo>
                    <a:pt x="569" y="546"/>
                  </a:lnTo>
                  <a:lnTo>
                    <a:pt x="568" y="546"/>
                  </a:lnTo>
                  <a:lnTo>
                    <a:pt x="568" y="547"/>
                  </a:lnTo>
                  <a:lnTo>
                    <a:pt x="566" y="547"/>
                  </a:lnTo>
                  <a:lnTo>
                    <a:pt x="568" y="547"/>
                  </a:lnTo>
                  <a:lnTo>
                    <a:pt x="566" y="547"/>
                  </a:lnTo>
                  <a:lnTo>
                    <a:pt x="565" y="547"/>
                  </a:lnTo>
                  <a:lnTo>
                    <a:pt x="564" y="547"/>
                  </a:lnTo>
                  <a:lnTo>
                    <a:pt x="564" y="548"/>
                  </a:lnTo>
                  <a:lnTo>
                    <a:pt x="563" y="549"/>
                  </a:lnTo>
                  <a:lnTo>
                    <a:pt x="562" y="549"/>
                  </a:lnTo>
                  <a:lnTo>
                    <a:pt x="563" y="549"/>
                  </a:lnTo>
                  <a:lnTo>
                    <a:pt x="563" y="551"/>
                  </a:lnTo>
                  <a:lnTo>
                    <a:pt x="563" y="552"/>
                  </a:lnTo>
                  <a:lnTo>
                    <a:pt x="563" y="551"/>
                  </a:lnTo>
                  <a:lnTo>
                    <a:pt x="563" y="552"/>
                  </a:lnTo>
                  <a:lnTo>
                    <a:pt x="562" y="552"/>
                  </a:lnTo>
                  <a:lnTo>
                    <a:pt x="563" y="551"/>
                  </a:lnTo>
                  <a:lnTo>
                    <a:pt x="562" y="551"/>
                  </a:lnTo>
                  <a:lnTo>
                    <a:pt x="562" y="552"/>
                  </a:lnTo>
                  <a:lnTo>
                    <a:pt x="562" y="551"/>
                  </a:lnTo>
                  <a:lnTo>
                    <a:pt x="561" y="551"/>
                  </a:lnTo>
                  <a:lnTo>
                    <a:pt x="561" y="552"/>
                  </a:lnTo>
                  <a:lnTo>
                    <a:pt x="559" y="552"/>
                  </a:lnTo>
                  <a:lnTo>
                    <a:pt x="558" y="552"/>
                  </a:lnTo>
                  <a:lnTo>
                    <a:pt x="558" y="553"/>
                  </a:lnTo>
                  <a:lnTo>
                    <a:pt x="558" y="554"/>
                  </a:lnTo>
                  <a:lnTo>
                    <a:pt x="559" y="554"/>
                  </a:lnTo>
                  <a:lnTo>
                    <a:pt x="558" y="554"/>
                  </a:lnTo>
                  <a:lnTo>
                    <a:pt x="557" y="554"/>
                  </a:lnTo>
                  <a:lnTo>
                    <a:pt x="557" y="555"/>
                  </a:lnTo>
                  <a:lnTo>
                    <a:pt x="557" y="554"/>
                  </a:lnTo>
                  <a:lnTo>
                    <a:pt x="556" y="554"/>
                  </a:lnTo>
                  <a:lnTo>
                    <a:pt x="557" y="554"/>
                  </a:lnTo>
                  <a:lnTo>
                    <a:pt x="556" y="554"/>
                  </a:lnTo>
                  <a:lnTo>
                    <a:pt x="556" y="555"/>
                  </a:lnTo>
                  <a:lnTo>
                    <a:pt x="555" y="554"/>
                  </a:lnTo>
                  <a:lnTo>
                    <a:pt x="556" y="554"/>
                  </a:lnTo>
                  <a:lnTo>
                    <a:pt x="555" y="554"/>
                  </a:lnTo>
                  <a:lnTo>
                    <a:pt x="555" y="553"/>
                  </a:lnTo>
                  <a:lnTo>
                    <a:pt x="554" y="553"/>
                  </a:lnTo>
                  <a:lnTo>
                    <a:pt x="551" y="553"/>
                  </a:lnTo>
                  <a:lnTo>
                    <a:pt x="550" y="553"/>
                  </a:lnTo>
                  <a:lnTo>
                    <a:pt x="550" y="552"/>
                  </a:lnTo>
                  <a:lnTo>
                    <a:pt x="549" y="552"/>
                  </a:lnTo>
                  <a:lnTo>
                    <a:pt x="548" y="552"/>
                  </a:lnTo>
                  <a:lnTo>
                    <a:pt x="547" y="551"/>
                  </a:lnTo>
                  <a:lnTo>
                    <a:pt x="546" y="551"/>
                  </a:lnTo>
                  <a:lnTo>
                    <a:pt x="546" y="549"/>
                  </a:lnTo>
                  <a:lnTo>
                    <a:pt x="544" y="549"/>
                  </a:lnTo>
                  <a:lnTo>
                    <a:pt x="543" y="549"/>
                  </a:lnTo>
                  <a:lnTo>
                    <a:pt x="543" y="548"/>
                  </a:lnTo>
                  <a:lnTo>
                    <a:pt x="543" y="547"/>
                  </a:lnTo>
                  <a:lnTo>
                    <a:pt x="543" y="546"/>
                  </a:lnTo>
                  <a:lnTo>
                    <a:pt x="543" y="545"/>
                  </a:lnTo>
                  <a:lnTo>
                    <a:pt x="542" y="545"/>
                  </a:lnTo>
                  <a:lnTo>
                    <a:pt x="542" y="544"/>
                  </a:lnTo>
                  <a:lnTo>
                    <a:pt x="542" y="542"/>
                  </a:lnTo>
                  <a:lnTo>
                    <a:pt x="542" y="541"/>
                  </a:lnTo>
                  <a:lnTo>
                    <a:pt x="541" y="540"/>
                  </a:lnTo>
                  <a:lnTo>
                    <a:pt x="542" y="540"/>
                  </a:lnTo>
                  <a:lnTo>
                    <a:pt x="542" y="539"/>
                  </a:lnTo>
                  <a:lnTo>
                    <a:pt x="542" y="540"/>
                  </a:lnTo>
                  <a:lnTo>
                    <a:pt x="542" y="539"/>
                  </a:lnTo>
                  <a:lnTo>
                    <a:pt x="541" y="539"/>
                  </a:lnTo>
                  <a:lnTo>
                    <a:pt x="541" y="538"/>
                  </a:lnTo>
                  <a:lnTo>
                    <a:pt x="541" y="537"/>
                  </a:lnTo>
                  <a:lnTo>
                    <a:pt x="542" y="537"/>
                  </a:lnTo>
                  <a:lnTo>
                    <a:pt x="542" y="535"/>
                  </a:lnTo>
                  <a:lnTo>
                    <a:pt x="543" y="535"/>
                  </a:lnTo>
                  <a:lnTo>
                    <a:pt x="544" y="534"/>
                  </a:lnTo>
                  <a:lnTo>
                    <a:pt x="544" y="533"/>
                  </a:lnTo>
                  <a:lnTo>
                    <a:pt x="546" y="533"/>
                  </a:lnTo>
                  <a:lnTo>
                    <a:pt x="546" y="532"/>
                  </a:lnTo>
                  <a:lnTo>
                    <a:pt x="547" y="532"/>
                  </a:lnTo>
                  <a:lnTo>
                    <a:pt x="548" y="532"/>
                  </a:lnTo>
                  <a:lnTo>
                    <a:pt x="548" y="531"/>
                  </a:lnTo>
                  <a:lnTo>
                    <a:pt x="549" y="531"/>
                  </a:lnTo>
                  <a:lnTo>
                    <a:pt x="549" y="530"/>
                  </a:lnTo>
                  <a:lnTo>
                    <a:pt x="548" y="530"/>
                  </a:lnTo>
                  <a:lnTo>
                    <a:pt x="548" y="531"/>
                  </a:lnTo>
                  <a:lnTo>
                    <a:pt x="547" y="531"/>
                  </a:lnTo>
                  <a:lnTo>
                    <a:pt x="547" y="530"/>
                  </a:lnTo>
                  <a:lnTo>
                    <a:pt x="548" y="528"/>
                  </a:lnTo>
                  <a:lnTo>
                    <a:pt x="548" y="527"/>
                  </a:lnTo>
                  <a:lnTo>
                    <a:pt x="549" y="527"/>
                  </a:lnTo>
                  <a:lnTo>
                    <a:pt x="550" y="527"/>
                  </a:lnTo>
                  <a:lnTo>
                    <a:pt x="550" y="528"/>
                  </a:lnTo>
                  <a:lnTo>
                    <a:pt x="551" y="528"/>
                  </a:lnTo>
                  <a:lnTo>
                    <a:pt x="553" y="528"/>
                  </a:lnTo>
                  <a:lnTo>
                    <a:pt x="551" y="528"/>
                  </a:lnTo>
                  <a:lnTo>
                    <a:pt x="551" y="527"/>
                  </a:lnTo>
                  <a:lnTo>
                    <a:pt x="553" y="527"/>
                  </a:lnTo>
                  <a:lnTo>
                    <a:pt x="551" y="527"/>
                  </a:lnTo>
                  <a:lnTo>
                    <a:pt x="553" y="526"/>
                  </a:lnTo>
                  <a:lnTo>
                    <a:pt x="554" y="526"/>
                  </a:lnTo>
                  <a:lnTo>
                    <a:pt x="555" y="526"/>
                  </a:lnTo>
                  <a:lnTo>
                    <a:pt x="554" y="526"/>
                  </a:lnTo>
                  <a:lnTo>
                    <a:pt x="554" y="527"/>
                  </a:lnTo>
                  <a:lnTo>
                    <a:pt x="555" y="527"/>
                  </a:lnTo>
                  <a:lnTo>
                    <a:pt x="555" y="526"/>
                  </a:lnTo>
                  <a:lnTo>
                    <a:pt x="556" y="527"/>
                  </a:lnTo>
                  <a:lnTo>
                    <a:pt x="556" y="526"/>
                  </a:lnTo>
                  <a:lnTo>
                    <a:pt x="556" y="527"/>
                  </a:lnTo>
                  <a:lnTo>
                    <a:pt x="556" y="526"/>
                  </a:lnTo>
                  <a:lnTo>
                    <a:pt x="557" y="526"/>
                  </a:lnTo>
                  <a:lnTo>
                    <a:pt x="557" y="527"/>
                  </a:lnTo>
                  <a:lnTo>
                    <a:pt x="558" y="527"/>
                  </a:lnTo>
                  <a:lnTo>
                    <a:pt x="557" y="527"/>
                  </a:lnTo>
                  <a:lnTo>
                    <a:pt x="558" y="527"/>
                  </a:lnTo>
                  <a:lnTo>
                    <a:pt x="558" y="526"/>
                  </a:lnTo>
                  <a:lnTo>
                    <a:pt x="559" y="526"/>
                  </a:lnTo>
                  <a:lnTo>
                    <a:pt x="559" y="525"/>
                  </a:lnTo>
                  <a:lnTo>
                    <a:pt x="561" y="525"/>
                  </a:lnTo>
                  <a:lnTo>
                    <a:pt x="562" y="526"/>
                  </a:lnTo>
                  <a:lnTo>
                    <a:pt x="562" y="525"/>
                  </a:lnTo>
                  <a:lnTo>
                    <a:pt x="563" y="525"/>
                  </a:lnTo>
                  <a:lnTo>
                    <a:pt x="563" y="526"/>
                  </a:lnTo>
                  <a:lnTo>
                    <a:pt x="564" y="526"/>
                  </a:lnTo>
                  <a:lnTo>
                    <a:pt x="564" y="527"/>
                  </a:lnTo>
                  <a:lnTo>
                    <a:pt x="564" y="526"/>
                  </a:lnTo>
                  <a:lnTo>
                    <a:pt x="563" y="526"/>
                  </a:lnTo>
                  <a:lnTo>
                    <a:pt x="563" y="525"/>
                  </a:lnTo>
                  <a:lnTo>
                    <a:pt x="564" y="525"/>
                  </a:lnTo>
                  <a:lnTo>
                    <a:pt x="564" y="526"/>
                  </a:lnTo>
                  <a:lnTo>
                    <a:pt x="565" y="526"/>
                  </a:lnTo>
                  <a:lnTo>
                    <a:pt x="566" y="526"/>
                  </a:lnTo>
                  <a:lnTo>
                    <a:pt x="566" y="527"/>
                  </a:lnTo>
                  <a:lnTo>
                    <a:pt x="566" y="526"/>
                  </a:lnTo>
                  <a:lnTo>
                    <a:pt x="565" y="526"/>
                  </a:lnTo>
                  <a:lnTo>
                    <a:pt x="565" y="525"/>
                  </a:lnTo>
                  <a:lnTo>
                    <a:pt x="566" y="524"/>
                  </a:lnTo>
                  <a:lnTo>
                    <a:pt x="566" y="525"/>
                  </a:lnTo>
                  <a:lnTo>
                    <a:pt x="566" y="524"/>
                  </a:lnTo>
                  <a:close/>
                  <a:moveTo>
                    <a:pt x="562" y="516"/>
                  </a:moveTo>
                  <a:lnTo>
                    <a:pt x="563" y="516"/>
                  </a:lnTo>
                  <a:lnTo>
                    <a:pt x="563" y="517"/>
                  </a:lnTo>
                  <a:lnTo>
                    <a:pt x="562" y="516"/>
                  </a:lnTo>
                  <a:close/>
                  <a:moveTo>
                    <a:pt x="564" y="512"/>
                  </a:moveTo>
                  <a:lnTo>
                    <a:pt x="563" y="512"/>
                  </a:lnTo>
                  <a:lnTo>
                    <a:pt x="563" y="511"/>
                  </a:lnTo>
                  <a:lnTo>
                    <a:pt x="564" y="511"/>
                  </a:lnTo>
                  <a:lnTo>
                    <a:pt x="564" y="512"/>
                  </a:lnTo>
                  <a:close/>
                  <a:moveTo>
                    <a:pt x="561" y="509"/>
                  </a:moveTo>
                  <a:lnTo>
                    <a:pt x="561" y="510"/>
                  </a:lnTo>
                  <a:lnTo>
                    <a:pt x="562" y="510"/>
                  </a:lnTo>
                  <a:lnTo>
                    <a:pt x="562" y="509"/>
                  </a:lnTo>
                  <a:lnTo>
                    <a:pt x="563" y="509"/>
                  </a:lnTo>
                  <a:lnTo>
                    <a:pt x="563" y="510"/>
                  </a:lnTo>
                  <a:lnTo>
                    <a:pt x="563" y="511"/>
                  </a:lnTo>
                  <a:lnTo>
                    <a:pt x="562" y="511"/>
                  </a:lnTo>
                  <a:lnTo>
                    <a:pt x="562" y="510"/>
                  </a:lnTo>
                  <a:lnTo>
                    <a:pt x="561" y="510"/>
                  </a:lnTo>
                  <a:lnTo>
                    <a:pt x="559" y="510"/>
                  </a:lnTo>
                  <a:lnTo>
                    <a:pt x="559" y="511"/>
                  </a:lnTo>
                  <a:lnTo>
                    <a:pt x="558" y="511"/>
                  </a:lnTo>
                  <a:lnTo>
                    <a:pt x="559" y="511"/>
                  </a:lnTo>
                  <a:lnTo>
                    <a:pt x="559" y="510"/>
                  </a:lnTo>
                  <a:lnTo>
                    <a:pt x="558" y="510"/>
                  </a:lnTo>
                  <a:lnTo>
                    <a:pt x="559" y="510"/>
                  </a:lnTo>
                  <a:lnTo>
                    <a:pt x="558" y="510"/>
                  </a:lnTo>
                  <a:lnTo>
                    <a:pt x="559" y="510"/>
                  </a:lnTo>
                  <a:lnTo>
                    <a:pt x="559" y="509"/>
                  </a:lnTo>
                  <a:lnTo>
                    <a:pt x="559" y="510"/>
                  </a:lnTo>
                  <a:lnTo>
                    <a:pt x="559" y="509"/>
                  </a:lnTo>
                  <a:lnTo>
                    <a:pt x="561" y="509"/>
                  </a:lnTo>
                  <a:close/>
                  <a:moveTo>
                    <a:pt x="562" y="507"/>
                  </a:moveTo>
                  <a:lnTo>
                    <a:pt x="563" y="507"/>
                  </a:lnTo>
                  <a:lnTo>
                    <a:pt x="562" y="507"/>
                  </a:lnTo>
                  <a:lnTo>
                    <a:pt x="563" y="507"/>
                  </a:lnTo>
                  <a:lnTo>
                    <a:pt x="563" y="509"/>
                  </a:lnTo>
                  <a:lnTo>
                    <a:pt x="562" y="509"/>
                  </a:lnTo>
                  <a:lnTo>
                    <a:pt x="562" y="507"/>
                  </a:lnTo>
                  <a:lnTo>
                    <a:pt x="561" y="507"/>
                  </a:lnTo>
                  <a:lnTo>
                    <a:pt x="562" y="507"/>
                  </a:lnTo>
                  <a:lnTo>
                    <a:pt x="561" y="507"/>
                  </a:lnTo>
                  <a:lnTo>
                    <a:pt x="562" y="507"/>
                  </a:lnTo>
                  <a:close/>
                  <a:moveTo>
                    <a:pt x="580" y="500"/>
                  </a:moveTo>
                  <a:lnTo>
                    <a:pt x="579" y="500"/>
                  </a:lnTo>
                  <a:lnTo>
                    <a:pt x="579" y="502"/>
                  </a:lnTo>
                  <a:lnTo>
                    <a:pt x="578" y="502"/>
                  </a:lnTo>
                  <a:lnTo>
                    <a:pt x="579" y="500"/>
                  </a:lnTo>
                  <a:lnTo>
                    <a:pt x="578" y="500"/>
                  </a:lnTo>
                  <a:lnTo>
                    <a:pt x="579" y="500"/>
                  </a:lnTo>
                  <a:lnTo>
                    <a:pt x="579" y="499"/>
                  </a:lnTo>
                  <a:lnTo>
                    <a:pt x="580" y="499"/>
                  </a:lnTo>
                  <a:lnTo>
                    <a:pt x="580" y="500"/>
                  </a:lnTo>
                  <a:close/>
                  <a:moveTo>
                    <a:pt x="590" y="500"/>
                  </a:moveTo>
                  <a:lnTo>
                    <a:pt x="589" y="500"/>
                  </a:lnTo>
                  <a:lnTo>
                    <a:pt x="589" y="499"/>
                  </a:lnTo>
                  <a:lnTo>
                    <a:pt x="590" y="499"/>
                  </a:lnTo>
                  <a:lnTo>
                    <a:pt x="590" y="500"/>
                  </a:lnTo>
                  <a:close/>
                  <a:moveTo>
                    <a:pt x="592" y="498"/>
                  </a:moveTo>
                  <a:lnTo>
                    <a:pt x="592" y="499"/>
                  </a:lnTo>
                  <a:lnTo>
                    <a:pt x="592" y="500"/>
                  </a:lnTo>
                  <a:lnTo>
                    <a:pt x="592" y="502"/>
                  </a:lnTo>
                  <a:lnTo>
                    <a:pt x="591" y="502"/>
                  </a:lnTo>
                  <a:lnTo>
                    <a:pt x="591" y="500"/>
                  </a:lnTo>
                  <a:lnTo>
                    <a:pt x="591" y="499"/>
                  </a:lnTo>
                  <a:lnTo>
                    <a:pt x="591" y="498"/>
                  </a:lnTo>
                  <a:lnTo>
                    <a:pt x="592" y="498"/>
                  </a:lnTo>
                  <a:close/>
                  <a:moveTo>
                    <a:pt x="598" y="496"/>
                  </a:moveTo>
                  <a:lnTo>
                    <a:pt x="597" y="496"/>
                  </a:lnTo>
                  <a:lnTo>
                    <a:pt x="598" y="496"/>
                  </a:lnTo>
                  <a:close/>
                  <a:moveTo>
                    <a:pt x="611" y="493"/>
                  </a:moveTo>
                  <a:lnTo>
                    <a:pt x="611" y="495"/>
                  </a:lnTo>
                  <a:lnTo>
                    <a:pt x="610" y="495"/>
                  </a:lnTo>
                  <a:lnTo>
                    <a:pt x="610" y="493"/>
                  </a:lnTo>
                  <a:lnTo>
                    <a:pt x="611" y="493"/>
                  </a:lnTo>
                  <a:close/>
                  <a:moveTo>
                    <a:pt x="599" y="493"/>
                  </a:moveTo>
                  <a:lnTo>
                    <a:pt x="599" y="495"/>
                  </a:lnTo>
                  <a:lnTo>
                    <a:pt x="598" y="495"/>
                  </a:lnTo>
                  <a:lnTo>
                    <a:pt x="598" y="493"/>
                  </a:lnTo>
                  <a:lnTo>
                    <a:pt x="599" y="493"/>
                  </a:lnTo>
                  <a:close/>
                  <a:moveTo>
                    <a:pt x="600" y="493"/>
                  </a:moveTo>
                  <a:lnTo>
                    <a:pt x="599" y="492"/>
                  </a:lnTo>
                  <a:lnTo>
                    <a:pt x="600" y="492"/>
                  </a:lnTo>
                  <a:lnTo>
                    <a:pt x="600" y="493"/>
                  </a:lnTo>
                  <a:close/>
                  <a:moveTo>
                    <a:pt x="598" y="492"/>
                  </a:moveTo>
                  <a:lnTo>
                    <a:pt x="598" y="493"/>
                  </a:lnTo>
                  <a:lnTo>
                    <a:pt x="597" y="493"/>
                  </a:lnTo>
                  <a:lnTo>
                    <a:pt x="597" y="492"/>
                  </a:lnTo>
                  <a:lnTo>
                    <a:pt x="598" y="492"/>
                  </a:lnTo>
                  <a:close/>
                  <a:moveTo>
                    <a:pt x="600" y="488"/>
                  </a:moveTo>
                  <a:lnTo>
                    <a:pt x="601" y="488"/>
                  </a:lnTo>
                  <a:lnTo>
                    <a:pt x="601" y="489"/>
                  </a:lnTo>
                  <a:lnTo>
                    <a:pt x="600" y="488"/>
                  </a:lnTo>
                  <a:close/>
                  <a:moveTo>
                    <a:pt x="600" y="485"/>
                  </a:moveTo>
                  <a:lnTo>
                    <a:pt x="599" y="484"/>
                  </a:lnTo>
                  <a:lnTo>
                    <a:pt x="598" y="483"/>
                  </a:lnTo>
                  <a:lnTo>
                    <a:pt x="599" y="483"/>
                  </a:lnTo>
                  <a:lnTo>
                    <a:pt x="600" y="484"/>
                  </a:lnTo>
                  <a:lnTo>
                    <a:pt x="600" y="485"/>
                  </a:lnTo>
                  <a:close/>
                  <a:moveTo>
                    <a:pt x="598" y="481"/>
                  </a:moveTo>
                  <a:lnTo>
                    <a:pt x="599" y="482"/>
                  </a:lnTo>
                  <a:lnTo>
                    <a:pt x="599" y="483"/>
                  </a:lnTo>
                  <a:lnTo>
                    <a:pt x="599" y="482"/>
                  </a:lnTo>
                  <a:lnTo>
                    <a:pt x="598" y="482"/>
                  </a:lnTo>
                  <a:lnTo>
                    <a:pt x="598" y="481"/>
                  </a:lnTo>
                  <a:lnTo>
                    <a:pt x="598" y="482"/>
                  </a:lnTo>
                  <a:lnTo>
                    <a:pt x="597" y="481"/>
                  </a:lnTo>
                  <a:lnTo>
                    <a:pt x="597" y="479"/>
                  </a:lnTo>
                  <a:lnTo>
                    <a:pt x="598" y="481"/>
                  </a:lnTo>
                  <a:close/>
                  <a:moveTo>
                    <a:pt x="599" y="481"/>
                  </a:moveTo>
                  <a:lnTo>
                    <a:pt x="598" y="481"/>
                  </a:lnTo>
                  <a:lnTo>
                    <a:pt x="598" y="479"/>
                  </a:lnTo>
                  <a:lnTo>
                    <a:pt x="599" y="481"/>
                  </a:lnTo>
                  <a:close/>
                  <a:moveTo>
                    <a:pt x="646" y="471"/>
                  </a:moveTo>
                  <a:lnTo>
                    <a:pt x="646" y="472"/>
                  </a:lnTo>
                  <a:lnTo>
                    <a:pt x="644" y="472"/>
                  </a:lnTo>
                  <a:lnTo>
                    <a:pt x="643" y="472"/>
                  </a:lnTo>
                  <a:lnTo>
                    <a:pt x="643" y="471"/>
                  </a:lnTo>
                  <a:lnTo>
                    <a:pt x="644" y="471"/>
                  </a:lnTo>
                  <a:lnTo>
                    <a:pt x="646" y="471"/>
                  </a:lnTo>
                  <a:close/>
                  <a:moveTo>
                    <a:pt x="643" y="470"/>
                  </a:moveTo>
                  <a:lnTo>
                    <a:pt x="642" y="470"/>
                  </a:lnTo>
                  <a:lnTo>
                    <a:pt x="643" y="470"/>
                  </a:lnTo>
                  <a:close/>
                  <a:moveTo>
                    <a:pt x="649" y="467"/>
                  </a:moveTo>
                  <a:lnTo>
                    <a:pt x="650" y="467"/>
                  </a:lnTo>
                  <a:lnTo>
                    <a:pt x="650" y="468"/>
                  </a:lnTo>
                  <a:lnTo>
                    <a:pt x="649" y="468"/>
                  </a:lnTo>
                  <a:lnTo>
                    <a:pt x="649" y="469"/>
                  </a:lnTo>
                  <a:lnTo>
                    <a:pt x="648" y="470"/>
                  </a:lnTo>
                  <a:lnTo>
                    <a:pt x="648" y="469"/>
                  </a:lnTo>
                  <a:lnTo>
                    <a:pt x="648" y="468"/>
                  </a:lnTo>
                  <a:lnTo>
                    <a:pt x="648" y="467"/>
                  </a:lnTo>
                  <a:lnTo>
                    <a:pt x="649" y="467"/>
                  </a:lnTo>
                  <a:close/>
                  <a:moveTo>
                    <a:pt x="656" y="454"/>
                  </a:moveTo>
                  <a:lnTo>
                    <a:pt x="656" y="455"/>
                  </a:lnTo>
                  <a:lnTo>
                    <a:pt x="656" y="454"/>
                  </a:lnTo>
                  <a:lnTo>
                    <a:pt x="656" y="455"/>
                  </a:lnTo>
                  <a:lnTo>
                    <a:pt x="656" y="456"/>
                  </a:lnTo>
                  <a:lnTo>
                    <a:pt x="655" y="456"/>
                  </a:lnTo>
                  <a:lnTo>
                    <a:pt x="655" y="455"/>
                  </a:lnTo>
                  <a:lnTo>
                    <a:pt x="655" y="454"/>
                  </a:lnTo>
                  <a:lnTo>
                    <a:pt x="656" y="454"/>
                  </a:lnTo>
                  <a:close/>
                  <a:moveTo>
                    <a:pt x="672" y="443"/>
                  </a:moveTo>
                  <a:lnTo>
                    <a:pt x="672" y="444"/>
                  </a:lnTo>
                  <a:lnTo>
                    <a:pt x="672" y="443"/>
                  </a:lnTo>
                  <a:lnTo>
                    <a:pt x="671" y="443"/>
                  </a:lnTo>
                  <a:lnTo>
                    <a:pt x="672" y="443"/>
                  </a:lnTo>
                  <a:close/>
                  <a:moveTo>
                    <a:pt x="669" y="440"/>
                  </a:moveTo>
                  <a:lnTo>
                    <a:pt x="668" y="440"/>
                  </a:lnTo>
                  <a:lnTo>
                    <a:pt x="668" y="439"/>
                  </a:lnTo>
                  <a:lnTo>
                    <a:pt x="669" y="437"/>
                  </a:lnTo>
                  <a:lnTo>
                    <a:pt x="669" y="439"/>
                  </a:lnTo>
                  <a:lnTo>
                    <a:pt x="669" y="440"/>
                  </a:lnTo>
                  <a:close/>
                  <a:moveTo>
                    <a:pt x="675" y="437"/>
                  </a:moveTo>
                  <a:lnTo>
                    <a:pt x="676" y="437"/>
                  </a:lnTo>
                  <a:lnTo>
                    <a:pt x="676" y="439"/>
                  </a:lnTo>
                  <a:lnTo>
                    <a:pt x="675" y="439"/>
                  </a:lnTo>
                  <a:lnTo>
                    <a:pt x="676" y="440"/>
                  </a:lnTo>
                  <a:lnTo>
                    <a:pt x="675" y="440"/>
                  </a:lnTo>
                  <a:lnTo>
                    <a:pt x="675" y="441"/>
                  </a:lnTo>
                  <a:lnTo>
                    <a:pt x="674" y="440"/>
                  </a:lnTo>
                  <a:lnTo>
                    <a:pt x="674" y="439"/>
                  </a:lnTo>
                  <a:lnTo>
                    <a:pt x="675" y="439"/>
                  </a:lnTo>
                  <a:lnTo>
                    <a:pt x="674" y="439"/>
                  </a:lnTo>
                  <a:lnTo>
                    <a:pt x="674" y="437"/>
                  </a:lnTo>
                  <a:lnTo>
                    <a:pt x="674" y="436"/>
                  </a:lnTo>
                  <a:lnTo>
                    <a:pt x="674" y="437"/>
                  </a:lnTo>
                  <a:lnTo>
                    <a:pt x="675" y="437"/>
                  </a:lnTo>
                  <a:close/>
                  <a:moveTo>
                    <a:pt x="668" y="432"/>
                  </a:moveTo>
                  <a:lnTo>
                    <a:pt x="667" y="432"/>
                  </a:lnTo>
                  <a:lnTo>
                    <a:pt x="665" y="432"/>
                  </a:lnTo>
                  <a:lnTo>
                    <a:pt x="665" y="430"/>
                  </a:lnTo>
                  <a:lnTo>
                    <a:pt x="664" y="429"/>
                  </a:lnTo>
                  <a:lnTo>
                    <a:pt x="665" y="429"/>
                  </a:lnTo>
                  <a:lnTo>
                    <a:pt x="665" y="430"/>
                  </a:lnTo>
                  <a:lnTo>
                    <a:pt x="667" y="430"/>
                  </a:lnTo>
                  <a:lnTo>
                    <a:pt x="668" y="432"/>
                  </a:lnTo>
                  <a:close/>
                  <a:moveTo>
                    <a:pt x="670" y="430"/>
                  </a:moveTo>
                  <a:lnTo>
                    <a:pt x="670" y="429"/>
                  </a:lnTo>
                  <a:lnTo>
                    <a:pt x="669" y="429"/>
                  </a:lnTo>
                  <a:lnTo>
                    <a:pt x="670" y="429"/>
                  </a:lnTo>
                  <a:lnTo>
                    <a:pt x="670" y="430"/>
                  </a:lnTo>
                  <a:close/>
                  <a:moveTo>
                    <a:pt x="677" y="416"/>
                  </a:moveTo>
                  <a:lnTo>
                    <a:pt x="676" y="416"/>
                  </a:lnTo>
                  <a:lnTo>
                    <a:pt x="676" y="415"/>
                  </a:lnTo>
                  <a:lnTo>
                    <a:pt x="677" y="415"/>
                  </a:lnTo>
                  <a:lnTo>
                    <a:pt x="677" y="416"/>
                  </a:lnTo>
                  <a:close/>
                  <a:moveTo>
                    <a:pt x="684" y="402"/>
                  </a:moveTo>
                  <a:lnTo>
                    <a:pt x="683" y="402"/>
                  </a:lnTo>
                  <a:lnTo>
                    <a:pt x="684" y="402"/>
                  </a:lnTo>
                  <a:lnTo>
                    <a:pt x="684" y="401"/>
                  </a:lnTo>
                  <a:lnTo>
                    <a:pt x="684" y="402"/>
                  </a:lnTo>
                  <a:close/>
                  <a:moveTo>
                    <a:pt x="683" y="400"/>
                  </a:moveTo>
                  <a:lnTo>
                    <a:pt x="682" y="400"/>
                  </a:lnTo>
                  <a:lnTo>
                    <a:pt x="683" y="400"/>
                  </a:lnTo>
                  <a:close/>
                  <a:moveTo>
                    <a:pt x="684" y="398"/>
                  </a:moveTo>
                  <a:lnTo>
                    <a:pt x="684" y="399"/>
                  </a:lnTo>
                  <a:lnTo>
                    <a:pt x="683" y="399"/>
                  </a:lnTo>
                  <a:lnTo>
                    <a:pt x="683" y="398"/>
                  </a:lnTo>
                  <a:lnTo>
                    <a:pt x="682" y="398"/>
                  </a:lnTo>
                  <a:lnTo>
                    <a:pt x="683" y="397"/>
                  </a:lnTo>
                  <a:lnTo>
                    <a:pt x="683" y="395"/>
                  </a:lnTo>
                  <a:lnTo>
                    <a:pt x="683" y="397"/>
                  </a:lnTo>
                  <a:lnTo>
                    <a:pt x="684" y="397"/>
                  </a:lnTo>
                  <a:lnTo>
                    <a:pt x="684" y="398"/>
                  </a:lnTo>
                  <a:close/>
                  <a:moveTo>
                    <a:pt x="688" y="381"/>
                  </a:moveTo>
                  <a:lnTo>
                    <a:pt x="688" y="383"/>
                  </a:lnTo>
                  <a:lnTo>
                    <a:pt x="686" y="383"/>
                  </a:lnTo>
                  <a:lnTo>
                    <a:pt x="686" y="381"/>
                  </a:lnTo>
                  <a:lnTo>
                    <a:pt x="688" y="381"/>
                  </a:lnTo>
                  <a:close/>
                  <a:moveTo>
                    <a:pt x="689" y="383"/>
                  </a:moveTo>
                  <a:lnTo>
                    <a:pt x="688" y="383"/>
                  </a:lnTo>
                  <a:lnTo>
                    <a:pt x="688" y="381"/>
                  </a:lnTo>
                  <a:lnTo>
                    <a:pt x="689" y="381"/>
                  </a:lnTo>
                  <a:lnTo>
                    <a:pt x="689" y="383"/>
                  </a:lnTo>
                  <a:close/>
                  <a:moveTo>
                    <a:pt x="688" y="372"/>
                  </a:moveTo>
                  <a:lnTo>
                    <a:pt x="689" y="372"/>
                  </a:lnTo>
                  <a:lnTo>
                    <a:pt x="689" y="373"/>
                  </a:lnTo>
                  <a:lnTo>
                    <a:pt x="688" y="373"/>
                  </a:lnTo>
                  <a:lnTo>
                    <a:pt x="688" y="372"/>
                  </a:lnTo>
                  <a:lnTo>
                    <a:pt x="686" y="372"/>
                  </a:lnTo>
                  <a:lnTo>
                    <a:pt x="686" y="371"/>
                  </a:lnTo>
                  <a:lnTo>
                    <a:pt x="688" y="371"/>
                  </a:lnTo>
                  <a:lnTo>
                    <a:pt x="688" y="372"/>
                  </a:lnTo>
                  <a:close/>
                  <a:moveTo>
                    <a:pt x="690" y="371"/>
                  </a:moveTo>
                  <a:lnTo>
                    <a:pt x="689" y="371"/>
                  </a:lnTo>
                  <a:lnTo>
                    <a:pt x="689" y="370"/>
                  </a:lnTo>
                  <a:lnTo>
                    <a:pt x="690" y="371"/>
                  </a:lnTo>
                  <a:close/>
                  <a:moveTo>
                    <a:pt x="685" y="370"/>
                  </a:moveTo>
                  <a:lnTo>
                    <a:pt x="684" y="370"/>
                  </a:lnTo>
                  <a:lnTo>
                    <a:pt x="684" y="369"/>
                  </a:lnTo>
                  <a:lnTo>
                    <a:pt x="685" y="369"/>
                  </a:lnTo>
                  <a:lnTo>
                    <a:pt x="685" y="370"/>
                  </a:lnTo>
                  <a:close/>
                  <a:moveTo>
                    <a:pt x="690" y="369"/>
                  </a:moveTo>
                  <a:lnTo>
                    <a:pt x="691" y="370"/>
                  </a:lnTo>
                  <a:lnTo>
                    <a:pt x="690" y="370"/>
                  </a:lnTo>
                  <a:lnTo>
                    <a:pt x="691" y="370"/>
                  </a:lnTo>
                  <a:lnTo>
                    <a:pt x="691" y="371"/>
                  </a:lnTo>
                  <a:lnTo>
                    <a:pt x="690" y="370"/>
                  </a:lnTo>
                  <a:lnTo>
                    <a:pt x="690" y="369"/>
                  </a:lnTo>
                  <a:lnTo>
                    <a:pt x="689" y="369"/>
                  </a:lnTo>
                  <a:lnTo>
                    <a:pt x="690" y="369"/>
                  </a:lnTo>
                  <a:close/>
                  <a:moveTo>
                    <a:pt x="683" y="369"/>
                  </a:moveTo>
                  <a:lnTo>
                    <a:pt x="683" y="367"/>
                  </a:lnTo>
                  <a:lnTo>
                    <a:pt x="682" y="367"/>
                  </a:lnTo>
                  <a:lnTo>
                    <a:pt x="683" y="367"/>
                  </a:lnTo>
                  <a:lnTo>
                    <a:pt x="682" y="367"/>
                  </a:lnTo>
                  <a:lnTo>
                    <a:pt x="682" y="366"/>
                  </a:lnTo>
                  <a:lnTo>
                    <a:pt x="683" y="366"/>
                  </a:lnTo>
                  <a:lnTo>
                    <a:pt x="683" y="367"/>
                  </a:lnTo>
                  <a:lnTo>
                    <a:pt x="683" y="369"/>
                  </a:lnTo>
                  <a:close/>
                  <a:moveTo>
                    <a:pt x="686" y="366"/>
                  </a:moveTo>
                  <a:lnTo>
                    <a:pt x="688" y="366"/>
                  </a:lnTo>
                  <a:lnTo>
                    <a:pt x="689" y="366"/>
                  </a:lnTo>
                  <a:lnTo>
                    <a:pt x="689" y="367"/>
                  </a:lnTo>
                  <a:lnTo>
                    <a:pt x="689" y="369"/>
                  </a:lnTo>
                  <a:lnTo>
                    <a:pt x="688" y="369"/>
                  </a:lnTo>
                  <a:lnTo>
                    <a:pt x="688" y="367"/>
                  </a:lnTo>
                  <a:lnTo>
                    <a:pt x="686" y="367"/>
                  </a:lnTo>
                  <a:lnTo>
                    <a:pt x="685" y="367"/>
                  </a:lnTo>
                  <a:lnTo>
                    <a:pt x="684" y="367"/>
                  </a:lnTo>
                  <a:lnTo>
                    <a:pt x="684" y="366"/>
                  </a:lnTo>
                  <a:lnTo>
                    <a:pt x="683" y="365"/>
                  </a:lnTo>
                  <a:lnTo>
                    <a:pt x="684" y="365"/>
                  </a:lnTo>
                  <a:lnTo>
                    <a:pt x="685" y="365"/>
                  </a:lnTo>
                  <a:lnTo>
                    <a:pt x="685" y="366"/>
                  </a:lnTo>
                  <a:lnTo>
                    <a:pt x="686" y="366"/>
                  </a:lnTo>
                  <a:close/>
                  <a:moveTo>
                    <a:pt x="689" y="364"/>
                  </a:moveTo>
                  <a:lnTo>
                    <a:pt x="688" y="364"/>
                  </a:lnTo>
                  <a:lnTo>
                    <a:pt x="689" y="364"/>
                  </a:lnTo>
                  <a:close/>
                  <a:moveTo>
                    <a:pt x="686" y="364"/>
                  </a:moveTo>
                  <a:lnTo>
                    <a:pt x="685" y="364"/>
                  </a:lnTo>
                  <a:lnTo>
                    <a:pt x="684" y="363"/>
                  </a:lnTo>
                  <a:lnTo>
                    <a:pt x="685" y="363"/>
                  </a:lnTo>
                  <a:lnTo>
                    <a:pt x="686" y="363"/>
                  </a:lnTo>
                  <a:lnTo>
                    <a:pt x="686" y="364"/>
                  </a:lnTo>
                  <a:close/>
                  <a:moveTo>
                    <a:pt x="686" y="360"/>
                  </a:moveTo>
                  <a:lnTo>
                    <a:pt x="688" y="360"/>
                  </a:lnTo>
                  <a:lnTo>
                    <a:pt x="688" y="362"/>
                  </a:lnTo>
                  <a:lnTo>
                    <a:pt x="688" y="360"/>
                  </a:lnTo>
                  <a:lnTo>
                    <a:pt x="686" y="362"/>
                  </a:lnTo>
                  <a:lnTo>
                    <a:pt x="686" y="360"/>
                  </a:lnTo>
                  <a:close/>
                  <a:moveTo>
                    <a:pt x="688" y="357"/>
                  </a:moveTo>
                  <a:lnTo>
                    <a:pt x="688" y="356"/>
                  </a:lnTo>
                  <a:lnTo>
                    <a:pt x="688" y="357"/>
                  </a:lnTo>
                  <a:lnTo>
                    <a:pt x="686" y="357"/>
                  </a:lnTo>
                  <a:lnTo>
                    <a:pt x="686" y="356"/>
                  </a:lnTo>
                  <a:lnTo>
                    <a:pt x="688" y="357"/>
                  </a:lnTo>
                  <a:close/>
                  <a:moveTo>
                    <a:pt x="676" y="348"/>
                  </a:moveTo>
                  <a:lnTo>
                    <a:pt x="675" y="348"/>
                  </a:lnTo>
                  <a:lnTo>
                    <a:pt x="675" y="346"/>
                  </a:lnTo>
                  <a:lnTo>
                    <a:pt x="676" y="346"/>
                  </a:lnTo>
                  <a:lnTo>
                    <a:pt x="676" y="348"/>
                  </a:lnTo>
                  <a:close/>
                  <a:moveTo>
                    <a:pt x="675" y="346"/>
                  </a:moveTo>
                  <a:lnTo>
                    <a:pt x="674" y="346"/>
                  </a:lnTo>
                  <a:lnTo>
                    <a:pt x="671" y="345"/>
                  </a:lnTo>
                  <a:lnTo>
                    <a:pt x="672" y="345"/>
                  </a:lnTo>
                  <a:lnTo>
                    <a:pt x="674" y="345"/>
                  </a:lnTo>
                  <a:lnTo>
                    <a:pt x="674" y="346"/>
                  </a:lnTo>
                  <a:lnTo>
                    <a:pt x="675" y="346"/>
                  </a:lnTo>
                  <a:close/>
                  <a:moveTo>
                    <a:pt x="676" y="345"/>
                  </a:moveTo>
                  <a:lnTo>
                    <a:pt x="675" y="345"/>
                  </a:lnTo>
                  <a:lnTo>
                    <a:pt x="674" y="344"/>
                  </a:lnTo>
                  <a:lnTo>
                    <a:pt x="672" y="344"/>
                  </a:lnTo>
                  <a:lnTo>
                    <a:pt x="671" y="344"/>
                  </a:lnTo>
                  <a:lnTo>
                    <a:pt x="670" y="343"/>
                  </a:lnTo>
                  <a:lnTo>
                    <a:pt x="669" y="343"/>
                  </a:lnTo>
                  <a:lnTo>
                    <a:pt x="668" y="342"/>
                  </a:lnTo>
                  <a:lnTo>
                    <a:pt x="667" y="342"/>
                  </a:lnTo>
                  <a:lnTo>
                    <a:pt x="665" y="341"/>
                  </a:lnTo>
                  <a:lnTo>
                    <a:pt x="664" y="340"/>
                  </a:lnTo>
                  <a:lnTo>
                    <a:pt x="664" y="338"/>
                  </a:lnTo>
                  <a:lnTo>
                    <a:pt x="665" y="338"/>
                  </a:lnTo>
                  <a:lnTo>
                    <a:pt x="667" y="340"/>
                  </a:lnTo>
                  <a:lnTo>
                    <a:pt x="668" y="340"/>
                  </a:lnTo>
                  <a:lnTo>
                    <a:pt x="669" y="341"/>
                  </a:lnTo>
                  <a:lnTo>
                    <a:pt x="670" y="341"/>
                  </a:lnTo>
                  <a:lnTo>
                    <a:pt x="670" y="342"/>
                  </a:lnTo>
                  <a:lnTo>
                    <a:pt x="671" y="342"/>
                  </a:lnTo>
                  <a:lnTo>
                    <a:pt x="672" y="342"/>
                  </a:lnTo>
                  <a:lnTo>
                    <a:pt x="674" y="342"/>
                  </a:lnTo>
                  <a:lnTo>
                    <a:pt x="675" y="343"/>
                  </a:lnTo>
                  <a:lnTo>
                    <a:pt x="676" y="343"/>
                  </a:lnTo>
                  <a:lnTo>
                    <a:pt x="676" y="344"/>
                  </a:lnTo>
                  <a:lnTo>
                    <a:pt x="676" y="345"/>
                  </a:lnTo>
                  <a:close/>
                  <a:moveTo>
                    <a:pt x="646" y="335"/>
                  </a:moveTo>
                  <a:lnTo>
                    <a:pt x="644" y="335"/>
                  </a:lnTo>
                  <a:lnTo>
                    <a:pt x="643" y="335"/>
                  </a:lnTo>
                  <a:lnTo>
                    <a:pt x="643" y="334"/>
                  </a:lnTo>
                  <a:lnTo>
                    <a:pt x="643" y="333"/>
                  </a:lnTo>
                  <a:lnTo>
                    <a:pt x="642" y="333"/>
                  </a:lnTo>
                  <a:lnTo>
                    <a:pt x="642" y="331"/>
                  </a:lnTo>
                  <a:lnTo>
                    <a:pt x="643" y="331"/>
                  </a:lnTo>
                  <a:lnTo>
                    <a:pt x="643" y="333"/>
                  </a:lnTo>
                  <a:lnTo>
                    <a:pt x="644" y="334"/>
                  </a:lnTo>
                  <a:lnTo>
                    <a:pt x="646" y="335"/>
                  </a:lnTo>
                  <a:close/>
                  <a:moveTo>
                    <a:pt x="619" y="243"/>
                  </a:moveTo>
                  <a:lnTo>
                    <a:pt x="618" y="243"/>
                  </a:lnTo>
                  <a:lnTo>
                    <a:pt x="619" y="243"/>
                  </a:lnTo>
                  <a:close/>
                  <a:moveTo>
                    <a:pt x="617" y="243"/>
                  </a:moveTo>
                  <a:lnTo>
                    <a:pt x="617" y="242"/>
                  </a:lnTo>
                  <a:lnTo>
                    <a:pt x="617" y="243"/>
                  </a:lnTo>
                  <a:close/>
                  <a:moveTo>
                    <a:pt x="618" y="239"/>
                  </a:moveTo>
                  <a:lnTo>
                    <a:pt x="617" y="239"/>
                  </a:lnTo>
                  <a:lnTo>
                    <a:pt x="617" y="238"/>
                  </a:lnTo>
                  <a:lnTo>
                    <a:pt x="617" y="239"/>
                  </a:lnTo>
                  <a:lnTo>
                    <a:pt x="618" y="239"/>
                  </a:lnTo>
                  <a:close/>
                  <a:moveTo>
                    <a:pt x="583" y="225"/>
                  </a:moveTo>
                  <a:lnTo>
                    <a:pt x="583" y="226"/>
                  </a:lnTo>
                  <a:lnTo>
                    <a:pt x="582" y="226"/>
                  </a:lnTo>
                  <a:lnTo>
                    <a:pt x="582" y="225"/>
                  </a:lnTo>
                  <a:lnTo>
                    <a:pt x="583" y="225"/>
                  </a:lnTo>
                  <a:lnTo>
                    <a:pt x="583" y="224"/>
                  </a:lnTo>
                  <a:lnTo>
                    <a:pt x="583" y="225"/>
                  </a:lnTo>
                  <a:close/>
                  <a:moveTo>
                    <a:pt x="642" y="224"/>
                  </a:moveTo>
                  <a:lnTo>
                    <a:pt x="642" y="225"/>
                  </a:lnTo>
                  <a:lnTo>
                    <a:pt x="641" y="225"/>
                  </a:lnTo>
                  <a:lnTo>
                    <a:pt x="641" y="224"/>
                  </a:lnTo>
                  <a:lnTo>
                    <a:pt x="642" y="224"/>
                  </a:lnTo>
                  <a:close/>
                  <a:moveTo>
                    <a:pt x="630" y="223"/>
                  </a:moveTo>
                  <a:lnTo>
                    <a:pt x="629" y="223"/>
                  </a:lnTo>
                  <a:lnTo>
                    <a:pt x="630" y="223"/>
                  </a:lnTo>
                  <a:lnTo>
                    <a:pt x="630" y="222"/>
                  </a:lnTo>
                  <a:lnTo>
                    <a:pt x="630" y="223"/>
                  </a:lnTo>
                  <a:close/>
                  <a:moveTo>
                    <a:pt x="635" y="222"/>
                  </a:moveTo>
                  <a:lnTo>
                    <a:pt x="635" y="223"/>
                  </a:lnTo>
                  <a:lnTo>
                    <a:pt x="634" y="223"/>
                  </a:lnTo>
                  <a:lnTo>
                    <a:pt x="634" y="222"/>
                  </a:lnTo>
                  <a:lnTo>
                    <a:pt x="633" y="222"/>
                  </a:lnTo>
                  <a:lnTo>
                    <a:pt x="634" y="222"/>
                  </a:lnTo>
                  <a:lnTo>
                    <a:pt x="635" y="222"/>
                  </a:lnTo>
                  <a:close/>
                  <a:moveTo>
                    <a:pt x="634" y="222"/>
                  </a:moveTo>
                  <a:lnTo>
                    <a:pt x="633" y="222"/>
                  </a:lnTo>
                  <a:lnTo>
                    <a:pt x="632" y="222"/>
                  </a:lnTo>
                  <a:lnTo>
                    <a:pt x="632" y="221"/>
                  </a:lnTo>
                  <a:lnTo>
                    <a:pt x="633" y="222"/>
                  </a:lnTo>
                  <a:lnTo>
                    <a:pt x="634" y="222"/>
                  </a:lnTo>
                  <a:close/>
                  <a:moveTo>
                    <a:pt x="615" y="218"/>
                  </a:moveTo>
                  <a:lnTo>
                    <a:pt x="617" y="218"/>
                  </a:lnTo>
                  <a:lnTo>
                    <a:pt x="617" y="219"/>
                  </a:lnTo>
                  <a:lnTo>
                    <a:pt x="615" y="219"/>
                  </a:lnTo>
                  <a:lnTo>
                    <a:pt x="615" y="218"/>
                  </a:lnTo>
                  <a:lnTo>
                    <a:pt x="615" y="219"/>
                  </a:lnTo>
                  <a:lnTo>
                    <a:pt x="614" y="219"/>
                  </a:lnTo>
                  <a:lnTo>
                    <a:pt x="614" y="218"/>
                  </a:lnTo>
                  <a:lnTo>
                    <a:pt x="615" y="218"/>
                  </a:lnTo>
                  <a:close/>
                  <a:moveTo>
                    <a:pt x="636" y="217"/>
                  </a:moveTo>
                  <a:lnTo>
                    <a:pt x="636" y="218"/>
                  </a:lnTo>
                  <a:lnTo>
                    <a:pt x="635" y="217"/>
                  </a:lnTo>
                  <a:lnTo>
                    <a:pt x="636" y="217"/>
                  </a:lnTo>
                  <a:close/>
                  <a:moveTo>
                    <a:pt x="507" y="1"/>
                  </a:moveTo>
                  <a:lnTo>
                    <a:pt x="506" y="0"/>
                  </a:lnTo>
                  <a:lnTo>
                    <a:pt x="507" y="0"/>
                  </a:lnTo>
                  <a:lnTo>
                    <a:pt x="507" y="1"/>
                  </a:lnTo>
                  <a:lnTo>
                    <a:pt x="507" y="0"/>
                  </a:lnTo>
                  <a:lnTo>
                    <a:pt x="508" y="0"/>
                  </a:lnTo>
                  <a:lnTo>
                    <a:pt x="509" y="1"/>
                  </a:lnTo>
                  <a:lnTo>
                    <a:pt x="512" y="1"/>
                  </a:lnTo>
                  <a:lnTo>
                    <a:pt x="513" y="2"/>
                  </a:lnTo>
                  <a:lnTo>
                    <a:pt x="514" y="2"/>
                  </a:lnTo>
                  <a:lnTo>
                    <a:pt x="515" y="2"/>
                  </a:lnTo>
                  <a:lnTo>
                    <a:pt x="516" y="4"/>
                  </a:lnTo>
                  <a:lnTo>
                    <a:pt x="518" y="4"/>
                  </a:lnTo>
                  <a:lnTo>
                    <a:pt x="519" y="4"/>
                  </a:lnTo>
                  <a:lnTo>
                    <a:pt x="519" y="5"/>
                  </a:lnTo>
                  <a:lnTo>
                    <a:pt x="520" y="5"/>
                  </a:lnTo>
                  <a:lnTo>
                    <a:pt x="521" y="5"/>
                  </a:lnTo>
                  <a:lnTo>
                    <a:pt x="521" y="6"/>
                  </a:lnTo>
                  <a:lnTo>
                    <a:pt x="522" y="6"/>
                  </a:lnTo>
                  <a:lnTo>
                    <a:pt x="525" y="6"/>
                  </a:lnTo>
                  <a:lnTo>
                    <a:pt x="526" y="6"/>
                  </a:lnTo>
                  <a:lnTo>
                    <a:pt x="526" y="7"/>
                  </a:lnTo>
                  <a:lnTo>
                    <a:pt x="527" y="6"/>
                  </a:lnTo>
                  <a:lnTo>
                    <a:pt x="527" y="7"/>
                  </a:lnTo>
                  <a:lnTo>
                    <a:pt x="528" y="7"/>
                  </a:lnTo>
                  <a:lnTo>
                    <a:pt x="528" y="6"/>
                  </a:lnTo>
                  <a:lnTo>
                    <a:pt x="527" y="6"/>
                  </a:lnTo>
                  <a:lnTo>
                    <a:pt x="528" y="6"/>
                  </a:lnTo>
                  <a:lnTo>
                    <a:pt x="529" y="6"/>
                  </a:lnTo>
                  <a:lnTo>
                    <a:pt x="530" y="6"/>
                  </a:lnTo>
                  <a:lnTo>
                    <a:pt x="535" y="7"/>
                  </a:lnTo>
                  <a:lnTo>
                    <a:pt x="536" y="8"/>
                  </a:lnTo>
                  <a:lnTo>
                    <a:pt x="537" y="8"/>
                  </a:lnTo>
                  <a:lnTo>
                    <a:pt x="539" y="8"/>
                  </a:lnTo>
                  <a:lnTo>
                    <a:pt x="540" y="9"/>
                  </a:lnTo>
                  <a:lnTo>
                    <a:pt x="540" y="11"/>
                  </a:lnTo>
                  <a:lnTo>
                    <a:pt x="541" y="11"/>
                  </a:lnTo>
                  <a:lnTo>
                    <a:pt x="542" y="11"/>
                  </a:lnTo>
                  <a:lnTo>
                    <a:pt x="543" y="11"/>
                  </a:lnTo>
                  <a:lnTo>
                    <a:pt x="546" y="13"/>
                  </a:lnTo>
                  <a:lnTo>
                    <a:pt x="546" y="12"/>
                  </a:lnTo>
                  <a:lnTo>
                    <a:pt x="547" y="12"/>
                  </a:lnTo>
                  <a:lnTo>
                    <a:pt x="547" y="13"/>
                  </a:lnTo>
                  <a:lnTo>
                    <a:pt x="547" y="14"/>
                  </a:lnTo>
                  <a:lnTo>
                    <a:pt x="547" y="15"/>
                  </a:lnTo>
                  <a:lnTo>
                    <a:pt x="548" y="15"/>
                  </a:lnTo>
                  <a:lnTo>
                    <a:pt x="550" y="15"/>
                  </a:lnTo>
                  <a:lnTo>
                    <a:pt x="550" y="16"/>
                  </a:lnTo>
                  <a:lnTo>
                    <a:pt x="551" y="16"/>
                  </a:lnTo>
                  <a:lnTo>
                    <a:pt x="553" y="16"/>
                  </a:lnTo>
                  <a:lnTo>
                    <a:pt x="553" y="18"/>
                  </a:lnTo>
                  <a:lnTo>
                    <a:pt x="554" y="18"/>
                  </a:lnTo>
                  <a:lnTo>
                    <a:pt x="554" y="19"/>
                  </a:lnTo>
                  <a:lnTo>
                    <a:pt x="555" y="19"/>
                  </a:lnTo>
                  <a:lnTo>
                    <a:pt x="555" y="20"/>
                  </a:lnTo>
                  <a:lnTo>
                    <a:pt x="556" y="20"/>
                  </a:lnTo>
                  <a:lnTo>
                    <a:pt x="555" y="21"/>
                  </a:lnTo>
                  <a:lnTo>
                    <a:pt x="556" y="21"/>
                  </a:lnTo>
                  <a:lnTo>
                    <a:pt x="557" y="21"/>
                  </a:lnTo>
                  <a:lnTo>
                    <a:pt x="558" y="21"/>
                  </a:lnTo>
                  <a:lnTo>
                    <a:pt x="559" y="22"/>
                  </a:lnTo>
                  <a:lnTo>
                    <a:pt x="559" y="23"/>
                  </a:lnTo>
                  <a:lnTo>
                    <a:pt x="559" y="25"/>
                  </a:lnTo>
                  <a:lnTo>
                    <a:pt x="565" y="28"/>
                  </a:lnTo>
                  <a:lnTo>
                    <a:pt x="566" y="28"/>
                  </a:lnTo>
                  <a:lnTo>
                    <a:pt x="566" y="29"/>
                  </a:lnTo>
                  <a:lnTo>
                    <a:pt x="566" y="30"/>
                  </a:lnTo>
                  <a:lnTo>
                    <a:pt x="568" y="30"/>
                  </a:lnTo>
                  <a:lnTo>
                    <a:pt x="569" y="30"/>
                  </a:lnTo>
                  <a:lnTo>
                    <a:pt x="569" y="32"/>
                  </a:lnTo>
                  <a:lnTo>
                    <a:pt x="570" y="32"/>
                  </a:lnTo>
                  <a:lnTo>
                    <a:pt x="570" y="33"/>
                  </a:lnTo>
                  <a:lnTo>
                    <a:pt x="571" y="33"/>
                  </a:lnTo>
                  <a:lnTo>
                    <a:pt x="572" y="33"/>
                  </a:lnTo>
                  <a:lnTo>
                    <a:pt x="572" y="34"/>
                  </a:lnTo>
                  <a:lnTo>
                    <a:pt x="571" y="34"/>
                  </a:lnTo>
                  <a:lnTo>
                    <a:pt x="572" y="35"/>
                  </a:lnTo>
                  <a:lnTo>
                    <a:pt x="573" y="35"/>
                  </a:lnTo>
                  <a:lnTo>
                    <a:pt x="572" y="35"/>
                  </a:lnTo>
                  <a:lnTo>
                    <a:pt x="572" y="34"/>
                  </a:lnTo>
                  <a:lnTo>
                    <a:pt x="573" y="34"/>
                  </a:lnTo>
                  <a:lnTo>
                    <a:pt x="573" y="35"/>
                  </a:lnTo>
                  <a:lnTo>
                    <a:pt x="573" y="36"/>
                  </a:lnTo>
                  <a:lnTo>
                    <a:pt x="575" y="36"/>
                  </a:lnTo>
                  <a:lnTo>
                    <a:pt x="575" y="37"/>
                  </a:lnTo>
                  <a:lnTo>
                    <a:pt x="576" y="37"/>
                  </a:lnTo>
                  <a:lnTo>
                    <a:pt x="576" y="39"/>
                  </a:lnTo>
                  <a:lnTo>
                    <a:pt x="577" y="39"/>
                  </a:lnTo>
                  <a:lnTo>
                    <a:pt x="578" y="40"/>
                  </a:lnTo>
                  <a:lnTo>
                    <a:pt x="579" y="40"/>
                  </a:lnTo>
                  <a:lnTo>
                    <a:pt x="580" y="41"/>
                  </a:lnTo>
                  <a:lnTo>
                    <a:pt x="583" y="42"/>
                  </a:lnTo>
                  <a:lnTo>
                    <a:pt x="583" y="43"/>
                  </a:lnTo>
                  <a:lnTo>
                    <a:pt x="584" y="43"/>
                  </a:lnTo>
                  <a:lnTo>
                    <a:pt x="584" y="44"/>
                  </a:lnTo>
                  <a:lnTo>
                    <a:pt x="585" y="44"/>
                  </a:lnTo>
                  <a:lnTo>
                    <a:pt x="586" y="46"/>
                  </a:lnTo>
                  <a:lnTo>
                    <a:pt x="586" y="47"/>
                  </a:lnTo>
                  <a:lnTo>
                    <a:pt x="587" y="48"/>
                  </a:lnTo>
                  <a:lnTo>
                    <a:pt x="589" y="48"/>
                  </a:lnTo>
                  <a:lnTo>
                    <a:pt x="589" y="49"/>
                  </a:lnTo>
                  <a:lnTo>
                    <a:pt x="590" y="50"/>
                  </a:lnTo>
                  <a:lnTo>
                    <a:pt x="593" y="51"/>
                  </a:lnTo>
                  <a:lnTo>
                    <a:pt x="593" y="53"/>
                  </a:lnTo>
                  <a:lnTo>
                    <a:pt x="594" y="53"/>
                  </a:lnTo>
                  <a:lnTo>
                    <a:pt x="594" y="54"/>
                  </a:lnTo>
                  <a:lnTo>
                    <a:pt x="594" y="55"/>
                  </a:lnTo>
                  <a:lnTo>
                    <a:pt x="596" y="55"/>
                  </a:lnTo>
                  <a:lnTo>
                    <a:pt x="596" y="56"/>
                  </a:lnTo>
                  <a:lnTo>
                    <a:pt x="597" y="57"/>
                  </a:lnTo>
                  <a:lnTo>
                    <a:pt x="599" y="58"/>
                  </a:lnTo>
                  <a:lnTo>
                    <a:pt x="600" y="58"/>
                  </a:lnTo>
                  <a:lnTo>
                    <a:pt x="600" y="60"/>
                  </a:lnTo>
                  <a:lnTo>
                    <a:pt x="601" y="60"/>
                  </a:lnTo>
                  <a:lnTo>
                    <a:pt x="601" y="61"/>
                  </a:lnTo>
                  <a:lnTo>
                    <a:pt x="603" y="61"/>
                  </a:lnTo>
                  <a:lnTo>
                    <a:pt x="604" y="61"/>
                  </a:lnTo>
                  <a:lnTo>
                    <a:pt x="605" y="61"/>
                  </a:lnTo>
                  <a:lnTo>
                    <a:pt x="606" y="61"/>
                  </a:lnTo>
                  <a:lnTo>
                    <a:pt x="606" y="62"/>
                  </a:lnTo>
                  <a:lnTo>
                    <a:pt x="607" y="62"/>
                  </a:lnTo>
                  <a:lnTo>
                    <a:pt x="608" y="62"/>
                  </a:lnTo>
                  <a:lnTo>
                    <a:pt x="608" y="61"/>
                  </a:lnTo>
                  <a:lnTo>
                    <a:pt x="610" y="62"/>
                  </a:lnTo>
                  <a:lnTo>
                    <a:pt x="610" y="61"/>
                  </a:lnTo>
                  <a:lnTo>
                    <a:pt x="612" y="61"/>
                  </a:lnTo>
                  <a:lnTo>
                    <a:pt x="613" y="61"/>
                  </a:lnTo>
                  <a:lnTo>
                    <a:pt x="614" y="61"/>
                  </a:lnTo>
                  <a:lnTo>
                    <a:pt x="615" y="61"/>
                  </a:lnTo>
                  <a:lnTo>
                    <a:pt x="615" y="62"/>
                  </a:lnTo>
                  <a:lnTo>
                    <a:pt x="615" y="63"/>
                  </a:lnTo>
                  <a:lnTo>
                    <a:pt x="617" y="63"/>
                  </a:lnTo>
                  <a:lnTo>
                    <a:pt x="617" y="62"/>
                  </a:lnTo>
                  <a:lnTo>
                    <a:pt x="617" y="63"/>
                  </a:lnTo>
                  <a:lnTo>
                    <a:pt x="618" y="63"/>
                  </a:lnTo>
                  <a:lnTo>
                    <a:pt x="619" y="63"/>
                  </a:lnTo>
                  <a:lnTo>
                    <a:pt x="620" y="64"/>
                  </a:lnTo>
                  <a:lnTo>
                    <a:pt x="621" y="64"/>
                  </a:lnTo>
                  <a:lnTo>
                    <a:pt x="622" y="64"/>
                  </a:lnTo>
                  <a:lnTo>
                    <a:pt x="623" y="64"/>
                  </a:lnTo>
                  <a:lnTo>
                    <a:pt x="623" y="63"/>
                  </a:lnTo>
                  <a:lnTo>
                    <a:pt x="625" y="63"/>
                  </a:lnTo>
                  <a:lnTo>
                    <a:pt x="626" y="64"/>
                  </a:lnTo>
                  <a:lnTo>
                    <a:pt x="626" y="65"/>
                  </a:lnTo>
                  <a:lnTo>
                    <a:pt x="627" y="65"/>
                  </a:lnTo>
                  <a:lnTo>
                    <a:pt x="628" y="65"/>
                  </a:lnTo>
                  <a:lnTo>
                    <a:pt x="629" y="65"/>
                  </a:lnTo>
                  <a:lnTo>
                    <a:pt x="629" y="67"/>
                  </a:lnTo>
                  <a:lnTo>
                    <a:pt x="630" y="67"/>
                  </a:lnTo>
                  <a:lnTo>
                    <a:pt x="632" y="67"/>
                  </a:lnTo>
                  <a:lnTo>
                    <a:pt x="632" y="68"/>
                  </a:lnTo>
                  <a:lnTo>
                    <a:pt x="633" y="68"/>
                  </a:lnTo>
                  <a:lnTo>
                    <a:pt x="634" y="69"/>
                  </a:lnTo>
                  <a:lnTo>
                    <a:pt x="635" y="70"/>
                  </a:lnTo>
                  <a:lnTo>
                    <a:pt x="636" y="70"/>
                  </a:lnTo>
                  <a:lnTo>
                    <a:pt x="639" y="71"/>
                  </a:lnTo>
                  <a:lnTo>
                    <a:pt x="640" y="72"/>
                  </a:lnTo>
                  <a:lnTo>
                    <a:pt x="640" y="71"/>
                  </a:lnTo>
                  <a:lnTo>
                    <a:pt x="641" y="71"/>
                  </a:lnTo>
                  <a:lnTo>
                    <a:pt x="642" y="71"/>
                  </a:lnTo>
                  <a:lnTo>
                    <a:pt x="643" y="72"/>
                  </a:lnTo>
                  <a:lnTo>
                    <a:pt x="644" y="71"/>
                  </a:lnTo>
                  <a:lnTo>
                    <a:pt x="646" y="72"/>
                  </a:lnTo>
                  <a:lnTo>
                    <a:pt x="646" y="76"/>
                  </a:lnTo>
                  <a:lnTo>
                    <a:pt x="647" y="76"/>
                  </a:lnTo>
                  <a:lnTo>
                    <a:pt x="648" y="77"/>
                  </a:lnTo>
                  <a:lnTo>
                    <a:pt x="648" y="78"/>
                  </a:lnTo>
                  <a:lnTo>
                    <a:pt x="649" y="78"/>
                  </a:lnTo>
                  <a:lnTo>
                    <a:pt x="649" y="77"/>
                  </a:lnTo>
                  <a:lnTo>
                    <a:pt x="650" y="77"/>
                  </a:lnTo>
                  <a:lnTo>
                    <a:pt x="650" y="78"/>
                  </a:lnTo>
                  <a:lnTo>
                    <a:pt x="650" y="79"/>
                  </a:lnTo>
                  <a:lnTo>
                    <a:pt x="651" y="79"/>
                  </a:lnTo>
                  <a:lnTo>
                    <a:pt x="653" y="79"/>
                  </a:lnTo>
                  <a:lnTo>
                    <a:pt x="653" y="81"/>
                  </a:lnTo>
                  <a:lnTo>
                    <a:pt x="653" y="82"/>
                  </a:lnTo>
                  <a:lnTo>
                    <a:pt x="653" y="83"/>
                  </a:lnTo>
                  <a:lnTo>
                    <a:pt x="653" y="84"/>
                  </a:lnTo>
                  <a:lnTo>
                    <a:pt x="654" y="84"/>
                  </a:lnTo>
                  <a:lnTo>
                    <a:pt x="657" y="86"/>
                  </a:lnTo>
                  <a:lnTo>
                    <a:pt x="658" y="86"/>
                  </a:lnTo>
                  <a:lnTo>
                    <a:pt x="660" y="88"/>
                  </a:lnTo>
                  <a:lnTo>
                    <a:pt x="660" y="89"/>
                  </a:lnTo>
                  <a:lnTo>
                    <a:pt x="661" y="90"/>
                  </a:lnTo>
                  <a:lnTo>
                    <a:pt x="662" y="90"/>
                  </a:lnTo>
                  <a:lnTo>
                    <a:pt x="663" y="90"/>
                  </a:lnTo>
                  <a:lnTo>
                    <a:pt x="664" y="90"/>
                  </a:lnTo>
                  <a:lnTo>
                    <a:pt x="665" y="89"/>
                  </a:lnTo>
                  <a:lnTo>
                    <a:pt x="667" y="89"/>
                  </a:lnTo>
                  <a:lnTo>
                    <a:pt x="668" y="90"/>
                  </a:lnTo>
                  <a:lnTo>
                    <a:pt x="669" y="90"/>
                  </a:lnTo>
                  <a:lnTo>
                    <a:pt x="670" y="90"/>
                  </a:lnTo>
                  <a:lnTo>
                    <a:pt x="671" y="90"/>
                  </a:lnTo>
                  <a:lnTo>
                    <a:pt x="672" y="90"/>
                  </a:lnTo>
                  <a:lnTo>
                    <a:pt x="674" y="90"/>
                  </a:lnTo>
                  <a:lnTo>
                    <a:pt x="675" y="90"/>
                  </a:lnTo>
                  <a:lnTo>
                    <a:pt x="676" y="90"/>
                  </a:lnTo>
                  <a:lnTo>
                    <a:pt x="677" y="90"/>
                  </a:lnTo>
                  <a:lnTo>
                    <a:pt x="677" y="89"/>
                  </a:lnTo>
                  <a:lnTo>
                    <a:pt x="678" y="89"/>
                  </a:lnTo>
                  <a:lnTo>
                    <a:pt x="678" y="90"/>
                  </a:lnTo>
                  <a:lnTo>
                    <a:pt x="679" y="90"/>
                  </a:lnTo>
                  <a:lnTo>
                    <a:pt x="681" y="90"/>
                  </a:lnTo>
                  <a:lnTo>
                    <a:pt x="681" y="89"/>
                  </a:lnTo>
                  <a:lnTo>
                    <a:pt x="679" y="89"/>
                  </a:lnTo>
                  <a:lnTo>
                    <a:pt x="679" y="88"/>
                  </a:lnTo>
                  <a:lnTo>
                    <a:pt x="679" y="86"/>
                  </a:lnTo>
                  <a:lnTo>
                    <a:pt x="679" y="85"/>
                  </a:lnTo>
                  <a:lnTo>
                    <a:pt x="679" y="86"/>
                  </a:lnTo>
                  <a:lnTo>
                    <a:pt x="681" y="86"/>
                  </a:lnTo>
                  <a:lnTo>
                    <a:pt x="682" y="86"/>
                  </a:lnTo>
                  <a:lnTo>
                    <a:pt x="682" y="85"/>
                  </a:lnTo>
                  <a:lnTo>
                    <a:pt x="683" y="84"/>
                  </a:lnTo>
                  <a:lnTo>
                    <a:pt x="684" y="83"/>
                  </a:lnTo>
                  <a:lnTo>
                    <a:pt x="685" y="83"/>
                  </a:lnTo>
                  <a:lnTo>
                    <a:pt x="685" y="84"/>
                  </a:lnTo>
                  <a:lnTo>
                    <a:pt x="686" y="84"/>
                  </a:lnTo>
                  <a:lnTo>
                    <a:pt x="688" y="84"/>
                  </a:lnTo>
                  <a:lnTo>
                    <a:pt x="689" y="84"/>
                  </a:lnTo>
                  <a:lnTo>
                    <a:pt x="689" y="83"/>
                  </a:lnTo>
                  <a:lnTo>
                    <a:pt x="689" y="82"/>
                  </a:lnTo>
                  <a:lnTo>
                    <a:pt x="690" y="82"/>
                  </a:lnTo>
                  <a:lnTo>
                    <a:pt x="690" y="81"/>
                  </a:lnTo>
                  <a:lnTo>
                    <a:pt x="691" y="81"/>
                  </a:lnTo>
                  <a:lnTo>
                    <a:pt x="692" y="81"/>
                  </a:lnTo>
                  <a:lnTo>
                    <a:pt x="693" y="81"/>
                  </a:lnTo>
                  <a:lnTo>
                    <a:pt x="693" y="79"/>
                  </a:lnTo>
                  <a:lnTo>
                    <a:pt x="696" y="79"/>
                  </a:lnTo>
                  <a:lnTo>
                    <a:pt x="697" y="79"/>
                  </a:lnTo>
                  <a:lnTo>
                    <a:pt x="698" y="79"/>
                  </a:lnTo>
                  <a:lnTo>
                    <a:pt x="698" y="81"/>
                  </a:lnTo>
                  <a:lnTo>
                    <a:pt x="699" y="81"/>
                  </a:lnTo>
                  <a:lnTo>
                    <a:pt x="700" y="81"/>
                  </a:lnTo>
                  <a:lnTo>
                    <a:pt x="701" y="81"/>
                  </a:lnTo>
                  <a:lnTo>
                    <a:pt x="700" y="82"/>
                  </a:lnTo>
                  <a:lnTo>
                    <a:pt x="701" y="82"/>
                  </a:lnTo>
                  <a:lnTo>
                    <a:pt x="701" y="83"/>
                  </a:lnTo>
                  <a:lnTo>
                    <a:pt x="701" y="84"/>
                  </a:lnTo>
                  <a:lnTo>
                    <a:pt x="701" y="85"/>
                  </a:lnTo>
                  <a:lnTo>
                    <a:pt x="703" y="86"/>
                  </a:lnTo>
                  <a:lnTo>
                    <a:pt x="704" y="86"/>
                  </a:lnTo>
                  <a:lnTo>
                    <a:pt x="705" y="88"/>
                  </a:lnTo>
                  <a:lnTo>
                    <a:pt x="706" y="89"/>
                  </a:lnTo>
                  <a:lnTo>
                    <a:pt x="707" y="89"/>
                  </a:lnTo>
                  <a:lnTo>
                    <a:pt x="707" y="90"/>
                  </a:lnTo>
                  <a:lnTo>
                    <a:pt x="707" y="91"/>
                  </a:lnTo>
                  <a:lnTo>
                    <a:pt x="707" y="92"/>
                  </a:lnTo>
                  <a:lnTo>
                    <a:pt x="707" y="93"/>
                  </a:lnTo>
                  <a:lnTo>
                    <a:pt x="707" y="95"/>
                  </a:lnTo>
                  <a:lnTo>
                    <a:pt x="706" y="95"/>
                  </a:lnTo>
                  <a:lnTo>
                    <a:pt x="706" y="93"/>
                  </a:lnTo>
                  <a:lnTo>
                    <a:pt x="705" y="95"/>
                  </a:lnTo>
                  <a:lnTo>
                    <a:pt x="705" y="96"/>
                  </a:lnTo>
                  <a:lnTo>
                    <a:pt x="704" y="96"/>
                  </a:lnTo>
                  <a:lnTo>
                    <a:pt x="705" y="96"/>
                  </a:lnTo>
                  <a:lnTo>
                    <a:pt x="705" y="97"/>
                  </a:lnTo>
                  <a:lnTo>
                    <a:pt x="706" y="97"/>
                  </a:lnTo>
                  <a:lnTo>
                    <a:pt x="706" y="98"/>
                  </a:lnTo>
                  <a:lnTo>
                    <a:pt x="707" y="98"/>
                  </a:lnTo>
                  <a:lnTo>
                    <a:pt x="707" y="99"/>
                  </a:lnTo>
                  <a:lnTo>
                    <a:pt x="706" y="99"/>
                  </a:lnTo>
                  <a:lnTo>
                    <a:pt x="706" y="100"/>
                  </a:lnTo>
                  <a:lnTo>
                    <a:pt x="706" y="102"/>
                  </a:lnTo>
                  <a:lnTo>
                    <a:pt x="707" y="102"/>
                  </a:lnTo>
                  <a:lnTo>
                    <a:pt x="707" y="103"/>
                  </a:lnTo>
                  <a:lnTo>
                    <a:pt x="707" y="104"/>
                  </a:lnTo>
                  <a:lnTo>
                    <a:pt x="708" y="104"/>
                  </a:lnTo>
                  <a:lnTo>
                    <a:pt x="708" y="105"/>
                  </a:lnTo>
                  <a:lnTo>
                    <a:pt x="710" y="106"/>
                  </a:lnTo>
                  <a:lnTo>
                    <a:pt x="708" y="107"/>
                  </a:lnTo>
                  <a:lnTo>
                    <a:pt x="710" y="107"/>
                  </a:lnTo>
                  <a:lnTo>
                    <a:pt x="710" y="109"/>
                  </a:lnTo>
                  <a:lnTo>
                    <a:pt x="710" y="110"/>
                  </a:lnTo>
                  <a:lnTo>
                    <a:pt x="711" y="110"/>
                  </a:lnTo>
                  <a:lnTo>
                    <a:pt x="711" y="111"/>
                  </a:lnTo>
                  <a:lnTo>
                    <a:pt x="712" y="111"/>
                  </a:lnTo>
                  <a:lnTo>
                    <a:pt x="712" y="112"/>
                  </a:lnTo>
                  <a:lnTo>
                    <a:pt x="712" y="113"/>
                  </a:lnTo>
                  <a:lnTo>
                    <a:pt x="711" y="113"/>
                  </a:lnTo>
                  <a:lnTo>
                    <a:pt x="711" y="114"/>
                  </a:lnTo>
                  <a:lnTo>
                    <a:pt x="712" y="114"/>
                  </a:lnTo>
                  <a:lnTo>
                    <a:pt x="712" y="116"/>
                  </a:lnTo>
                  <a:lnTo>
                    <a:pt x="712" y="117"/>
                  </a:lnTo>
                  <a:lnTo>
                    <a:pt x="712" y="118"/>
                  </a:lnTo>
                  <a:lnTo>
                    <a:pt x="711" y="118"/>
                  </a:lnTo>
                  <a:lnTo>
                    <a:pt x="711" y="119"/>
                  </a:lnTo>
                  <a:lnTo>
                    <a:pt x="712" y="119"/>
                  </a:lnTo>
                  <a:lnTo>
                    <a:pt x="712" y="120"/>
                  </a:lnTo>
                  <a:lnTo>
                    <a:pt x="712" y="121"/>
                  </a:lnTo>
                  <a:lnTo>
                    <a:pt x="713" y="121"/>
                  </a:lnTo>
                  <a:lnTo>
                    <a:pt x="713" y="123"/>
                  </a:lnTo>
                  <a:lnTo>
                    <a:pt x="712" y="123"/>
                  </a:lnTo>
                  <a:lnTo>
                    <a:pt x="712" y="124"/>
                  </a:lnTo>
                  <a:lnTo>
                    <a:pt x="711" y="124"/>
                  </a:lnTo>
                  <a:lnTo>
                    <a:pt x="711" y="125"/>
                  </a:lnTo>
                  <a:lnTo>
                    <a:pt x="711" y="126"/>
                  </a:lnTo>
                  <a:lnTo>
                    <a:pt x="712" y="127"/>
                  </a:lnTo>
                  <a:lnTo>
                    <a:pt x="712" y="128"/>
                  </a:lnTo>
                  <a:lnTo>
                    <a:pt x="713" y="128"/>
                  </a:lnTo>
                  <a:lnTo>
                    <a:pt x="713" y="130"/>
                  </a:lnTo>
                  <a:lnTo>
                    <a:pt x="714" y="130"/>
                  </a:lnTo>
                  <a:lnTo>
                    <a:pt x="713" y="130"/>
                  </a:lnTo>
                  <a:lnTo>
                    <a:pt x="713" y="131"/>
                  </a:lnTo>
                  <a:lnTo>
                    <a:pt x="712" y="131"/>
                  </a:lnTo>
                  <a:lnTo>
                    <a:pt x="711" y="131"/>
                  </a:lnTo>
                  <a:lnTo>
                    <a:pt x="711" y="130"/>
                  </a:lnTo>
                  <a:lnTo>
                    <a:pt x="710" y="130"/>
                  </a:lnTo>
                  <a:lnTo>
                    <a:pt x="710" y="128"/>
                  </a:lnTo>
                  <a:lnTo>
                    <a:pt x="708" y="128"/>
                  </a:lnTo>
                  <a:lnTo>
                    <a:pt x="707" y="127"/>
                  </a:lnTo>
                  <a:lnTo>
                    <a:pt x="705" y="127"/>
                  </a:lnTo>
                  <a:lnTo>
                    <a:pt x="704" y="127"/>
                  </a:lnTo>
                  <a:lnTo>
                    <a:pt x="703" y="126"/>
                  </a:lnTo>
                  <a:lnTo>
                    <a:pt x="700" y="126"/>
                  </a:lnTo>
                  <a:lnTo>
                    <a:pt x="699" y="126"/>
                  </a:lnTo>
                  <a:lnTo>
                    <a:pt x="699" y="127"/>
                  </a:lnTo>
                  <a:lnTo>
                    <a:pt x="699" y="128"/>
                  </a:lnTo>
                  <a:lnTo>
                    <a:pt x="698" y="128"/>
                  </a:lnTo>
                  <a:lnTo>
                    <a:pt x="698" y="127"/>
                  </a:lnTo>
                  <a:lnTo>
                    <a:pt x="697" y="127"/>
                  </a:lnTo>
                  <a:lnTo>
                    <a:pt x="696" y="126"/>
                  </a:lnTo>
                  <a:lnTo>
                    <a:pt x="696" y="127"/>
                  </a:lnTo>
                  <a:lnTo>
                    <a:pt x="696" y="128"/>
                  </a:lnTo>
                  <a:lnTo>
                    <a:pt x="694" y="128"/>
                  </a:lnTo>
                  <a:lnTo>
                    <a:pt x="694" y="130"/>
                  </a:lnTo>
                  <a:lnTo>
                    <a:pt x="696" y="130"/>
                  </a:lnTo>
                  <a:lnTo>
                    <a:pt x="696" y="131"/>
                  </a:lnTo>
                  <a:lnTo>
                    <a:pt x="694" y="132"/>
                  </a:lnTo>
                  <a:lnTo>
                    <a:pt x="693" y="132"/>
                  </a:lnTo>
                  <a:lnTo>
                    <a:pt x="692" y="132"/>
                  </a:lnTo>
                  <a:lnTo>
                    <a:pt x="692" y="133"/>
                  </a:lnTo>
                  <a:lnTo>
                    <a:pt x="691" y="133"/>
                  </a:lnTo>
                  <a:lnTo>
                    <a:pt x="690" y="133"/>
                  </a:lnTo>
                  <a:lnTo>
                    <a:pt x="690" y="134"/>
                  </a:lnTo>
                  <a:lnTo>
                    <a:pt x="690" y="135"/>
                  </a:lnTo>
                  <a:lnTo>
                    <a:pt x="691" y="135"/>
                  </a:lnTo>
                  <a:lnTo>
                    <a:pt x="692" y="137"/>
                  </a:lnTo>
                  <a:lnTo>
                    <a:pt x="697" y="141"/>
                  </a:lnTo>
                  <a:lnTo>
                    <a:pt x="701" y="146"/>
                  </a:lnTo>
                  <a:lnTo>
                    <a:pt x="701" y="147"/>
                  </a:lnTo>
                  <a:lnTo>
                    <a:pt x="701" y="148"/>
                  </a:lnTo>
                  <a:lnTo>
                    <a:pt x="703" y="148"/>
                  </a:lnTo>
                  <a:lnTo>
                    <a:pt x="703" y="149"/>
                  </a:lnTo>
                  <a:lnTo>
                    <a:pt x="703" y="151"/>
                  </a:lnTo>
                  <a:lnTo>
                    <a:pt x="704" y="152"/>
                  </a:lnTo>
                  <a:lnTo>
                    <a:pt x="704" y="153"/>
                  </a:lnTo>
                  <a:lnTo>
                    <a:pt x="705" y="153"/>
                  </a:lnTo>
                  <a:lnTo>
                    <a:pt x="705" y="154"/>
                  </a:lnTo>
                  <a:lnTo>
                    <a:pt x="705" y="155"/>
                  </a:lnTo>
                  <a:lnTo>
                    <a:pt x="707" y="155"/>
                  </a:lnTo>
                  <a:lnTo>
                    <a:pt x="707" y="156"/>
                  </a:lnTo>
                  <a:lnTo>
                    <a:pt x="708" y="156"/>
                  </a:lnTo>
                  <a:lnTo>
                    <a:pt x="708" y="158"/>
                  </a:lnTo>
                  <a:lnTo>
                    <a:pt x="708" y="159"/>
                  </a:lnTo>
                  <a:lnTo>
                    <a:pt x="708" y="160"/>
                  </a:lnTo>
                  <a:lnTo>
                    <a:pt x="710" y="161"/>
                  </a:lnTo>
                  <a:lnTo>
                    <a:pt x="708" y="161"/>
                  </a:lnTo>
                  <a:lnTo>
                    <a:pt x="708" y="162"/>
                  </a:lnTo>
                  <a:lnTo>
                    <a:pt x="708" y="163"/>
                  </a:lnTo>
                  <a:lnTo>
                    <a:pt x="710" y="163"/>
                  </a:lnTo>
                  <a:lnTo>
                    <a:pt x="710" y="165"/>
                  </a:lnTo>
                  <a:lnTo>
                    <a:pt x="710" y="166"/>
                  </a:lnTo>
                  <a:lnTo>
                    <a:pt x="707" y="166"/>
                  </a:lnTo>
                  <a:lnTo>
                    <a:pt x="707" y="165"/>
                  </a:lnTo>
                  <a:lnTo>
                    <a:pt x="706" y="165"/>
                  </a:lnTo>
                  <a:lnTo>
                    <a:pt x="706" y="166"/>
                  </a:lnTo>
                  <a:lnTo>
                    <a:pt x="705" y="166"/>
                  </a:lnTo>
                  <a:lnTo>
                    <a:pt x="704" y="166"/>
                  </a:lnTo>
                  <a:lnTo>
                    <a:pt x="703" y="167"/>
                  </a:lnTo>
                  <a:lnTo>
                    <a:pt x="703" y="168"/>
                  </a:lnTo>
                  <a:lnTo>
                    <a:pt x="704" y="168"/>
                  </a:lnTo>
                  <a:lnTo>
                    <a:pt x="705" y="168"/>
                  </a:lnTo>
                  <a:lnTo>
                    <a:pt x="706" y="168"/>
                  </a:lnTo>
                  <a:lnTo>
                    <a:pt x="706" y="169"/>
                  </a:lnTo>
                  <a:lnTo>
                    <a:pt x="707" y="169"/>
                  </a:lnTo>
                  <a:lnTo>
                    <a:pt x="707" y="170"/>
                  </a:lnTo>
                  <a:lnTo>
                    <a:pt x="706" y="170"/>
                  </a:lnTo>
                  <a:lnTo>
                    <a:pt x="706" y="169"/>
                  </a:lnTo>
                  <a:lnTo>
                    <a:pt x="705" y="169"/>
                  </a:lnTo>
                  <a:lnTo>
                    <a:pt x="705" y="170"/>
                  </a:lnTo>
                  <a:lnTo>
                    <a:pt x="705" y="169"/>
                  </a:lnTo>
                  <a:lnTo>
                    <a:pt x="704" y="169"/>
                  </a:lnTo>
                  <a:lnTo>
                    <a:pt x="703" y="168"/>
                  </a:lnTo>
                  <a:lnTo>
                    <a:pt x="701" y="167"/>
                  </a:lnTo>
                  <a:lnTo>
                    <a:pt x="700" y="167"/>
                  </a:lnTo>
                  <a:lnTo>
                    <a:pt x="700" y="166"/>
                  </a:lnTo>
                  <a:lnTo>
                    <a:pt x="700" y="165"/>
                  </a:lnTo>
                  <a:lnTo>
                    <a:pt x="699" y="165"/>
                  </a:lnTo>
                  <a:lnTo>
                    <a:pt x="698" y="165"/>
                  </a:lnTo>
                  <a:lnTo>
                    <a:pt x="697" y="165"/>
                  </a:lnTo>
                  <a:lnTo>
                    <a:pt x="698" y="163"/>
                  </a:lnTo>
                  <a:lnTo>
                    <a:pt x="697" y="163"/>
                  </a:lnTo>
                  <a:lnTo>
                    <a:pt x="696" y="163"/>
                  </a:lnTo>
                  <a:lnTo>
                    <a:pt x="694" y="162"/>
                  </a:lnTo>
                  <a:lnTo>
                    <a:pt x="694" y="163"/>
                  </a:lnTo>
                  <a:lnTo>
                    <a:pt x="693" y="163"/>
                  </a:lnTo>
                  <a:lnTo>
                    <a:pt x="694" y="163"/>
                  </a:lnTo>
                  <a:lnTo>
                    <a:pt x="693" y="163"/>
                  </a:lnTo>
                  <a:lnTo>
                    <a:pt x="694" y="165"/>
                  </a:lnTo>
                  <a:lnTo>
                    <a:pt x="694" y="166"/>
                  </a:lnTo>
                  <a:lnTo>
                    <a:pt x="694" y="167"/>
                  </a:lnTo>
                  <a:lnTo>
                    <a:pt x="694" y="168"/>
                  </a:lnTo>
                  <a:lnTo>
                    <a:pt x="696" y="168"/>
                  </a:lnTo>
                  <a:lnTo>
                    <a:pt x="696" y="169"/>
                  </a:lnTo>
                  <a:lnTo>
                    <a:pt x="696" y="170"/>
                  </a:lnTo>
                  <a:lnTo>
                    <a:pt x="697" y="170"/>
                  </a:lnTo>
                  <a:lnTo>
                    <a:pt x="697" y="172"/>
                  </a:lnTo>
                  <a:lnTo>
                    <a:pt x="696" y="172"/>
                  </a:lnTo>
                  <a:lnTo>
                    <a:pt x="696" y="173"/>
                  </a:lnTo>
                  <a:lnTo>
                    <a:pt x="694" y="173"/>
                  </a:lnTo>
                  <a:lnTo>
                    <a:pt x="694" y="172"/>
                  </a:lnTo>
                  <a:lnTo>
                    <a:pt x="693" y="172"/>
                  </a:lnTo>
                  <a:lnTo>
                    <a:pt x="692" y="172"/>
                  </a:lnTo>
                  <a:lnTo>
                    <a:pt x="692" y="173"/>
                  </a:lnTo>
                  <a:lnTo>
                    <a:pt x="691" y="173"/>
                  </a:lnTo>
                  <a:lnTo>
                    <a:pt x="692" y="173"/>
                  </a:lnTo>
                  <a:lnTo>
                    <a:pt x="692" y="174"/>
                  </a:lnTo>
                  <a:lnTo>
                    <a:pt x="691" y="174"/>
                  </a:lnTo>
                  <a:lnTo>
                    <a:pt x="692" y="174"/>
                  </a:lnTo>
                  <a:lnTo>
                    <a:pt x="692" y="175"/>
                  </a:lnTo>
                  <a:lnTo>
                    <a:pt x="692" y="176"/>
                  </a:lnTo>
                  <a:lnTo>
                    <a:pt x="691" y="176"/>
                  </a:lnTo>
                  <a:lnTo>
                    <a:pt x="691" y="177"/>
                  </a:lnTo>
                  <a:lnTo>
                    <a:pt x="690" y="179"/>
                  </a:lnTo>
                  <a:lnTo>
                    <a:pt x="689" y="177"/>
                  </a:lnTo>
                  <a:lnTo>
                    <a:pt x="688" y="177"/>
                  </a:lnTo>
                  <a:lnTo>
                    <a:pt x="688" y="179"/>
                  </a:lnTo>
                  <a:lnTo>
                    <a:pt x="686" y="179"/>
                  </a:lnTo>
                  <a:lnTo>
                    <a:pt x="685" y="179"/>
                  </a:lnTo>
                  <a:lnTo>
                    <a:pt x="684" y="179"/>
                  </a:lnTo>
                  <a:lnTo>
                    <a:pt x="682" y="179"/>
                  </a:lnTo>
                  <a:lnTo>
                    <a:pt x="681" y="179"/>
                  </a:lnTo>
                  <a:lnTo>
                    <a:pt x="679" y="179"/>
                  </a:lnTo>
                  <a:lnTo>
                    <a:pt x="681" y="181"/>
                  </a:lnTo>
                  <a:lnTo>
                    <a:pt x="682" y="181"/>
                  </a:lnTo>
                  <a:lnTo>
                    <a:pt x="683" y="182"/>
                  </a:lnTo>
                  <a:lnTo>
                    <a:pt x="684" y="183"/>
                  </a:lnTo>
                  <a:lnTo>
                    <a:pt x="685" y="183"/>
                  </a:lnTo>
                  <a:lnTo>
                    <a:pt x="685" y="184"/>
                  </a:lnTo>
                  <a:lnTo>
                    <a:pt x="686" y="184"/>
                  </a:lnTo>
                  <a:lnTo>
                    <a:pt x="686" y="186"/>
                  </a:lnTo>
                  <a:lnTo>
                    <a:pt x="686" y="188"/>
                  </a:lnTo>
                  <a:lnTo>
                    <a:pt x="685" y="188"/>
                  </a:lnTo>
                  <a:lnTo>
                    <a:pt x="684" y="188"/>
                  </a:lnTo>
                  <a:lnTo>
                    <a:pt x="684" y="187"/>
                  </a:lnTo>
                  <a:lnTo>
                    <a:pt x="683" y="187"/>
                  </a:lnTo>
                  <a:lnTo>
                    <a:pt x="683" y="188"/>
                  </a:lnTo>
                  <a:lnTo>
                    <a:pt x="682" y="188"/>
                  </a:lnTo>
                  <a:lnTo>
                    <a:pt x="682" y="187"/>
                  </a:lnTo>
                  <a:lnTo>
                    <a:pt x="682" y="188"/>
                  </a:lnTo>
                  <a:lnTo>
                    <a:pt x="681" y="187"/>
                  </a:lnTo>
                  <a:lnTo>
                    <a:pt x="679" y="187"/>
                  </a:lnTo>
                  <a:lnTo>
                    <a:pt x="679" y="188"/>
                  </a:lnTo>
                  <a:lnTo>
                    <a:pt x="679" y="187"/>
                  </a:lnTo>
                  <a:lnTo>
                    <a:pt x="678" y="187"/>
                  </a:lnTo>
                  <a:lnTo>
                    <a:pt x="677" y="187"/>
                  </a:lnTo>
                  <a:lnTo>
                    <a:pt x="676" y="187"/>
                  </a:lnTo>
                  <a:lnTo>
                    <a:pt x="675" y="187"/>
                  </a:lnTo>
                  <a:lnTo>
                    <a:pt x="675" y="186"/>
                  </a:lnTo>
                  <a:lnTo>
                    <a:pt x="674" y="186"/>
                  </a:lnTo>
                  <a:lnTo>
                    <a:pt x="672" y="186"/>
                  </a:lnTo>
                  <a:lnTo>
                    <a:pt x="672" y="184"/>
                  </a:lnTo>
                  <a:lnTo>
                    <a:pt x="671" y="184"/>
                  </a:lnTo>
                  <a:lnTo>
                    <a:pt x="670" y="184"/>
                  </a:lnTo>
                  <a:lnTo>
                    <a:pt x="670" y="183"/>
                  </a:lnTo>
                  <a:lnTo>
                    <a:pt x="669" y="183"/>
                  </a:lnTo>
                  <a:lnTo>
                    <a:pt x="669" y="182"/>
                  </a:lnTo>
                  <a:lnTo>
                    <a:pt x="668" y="182"/>
                  </a:lnTo>
                  <a:lnTo>
                    <a:pt x="667" y="182"/>
                  </a:lnTo>
                  <a:lnTo>
                    <a:pt x="667" y="183"/>
                  </a:lnTo>
                  <a:lnTo>
                    <a:pt x="665" y="183"/>
                  </a:lnTo>
                  <a:lnTo>
                    <a:pt x="665" y="182"/>
                  </a:lnTo>
                  <a:lnTo>
                    <a:pt x="664" y="183"/>
                  </a:lnTo>
                  <a:lnTo>
                    <a:pt x="665" y="183"/>
                  </a:lnTo>
                  <a:lnTo>
                    <a:pt x="664" y="183"/>
                  </a:lnTo>
                  <a:lnTo>
                    <a:pt x="664" y="184"/>
                  </a:lnTo>
                  <a:lnTo>
                    <a:pt x="665" y="186"/>
                  </a:lnTo>
                  <a:lnTo>
                    <a:pt x="665" y="187"/>
                  </a:lnTo>
                  <a:lnTo>
                    <a:pt x="665" y="188"/>
                  </a:lnTo>
                  <a:lnTo>
                    <a:pt x="667" y="189"/>
                  </a:lnTo>
                  <a:lnTo>
                    <a:pt x="665" y="189"/>
                  </a:lnTo>
                  <a:lnTo>
                    <a:pt x="665" y="188"/>
                  </a:lnTo>
                  <a:lnTo>
                    <a:pt x="665" y="189"/>
                  </a:lnTo>
                  <a:lnTo>
                    <a:pt x="664" y="189"/>
                  </a:lnTo>
                  <a:lnTo>
                    <a:pt x="664" y="190"/>
                  </a:lnTo>
                  <a:lnTo>
                    <a:pt x="664" y="191"/>
                  </a:lnTo>
                  <a:lnTo>
                    <a:pt x="663" y="193"/>
                  </a:lnTo>
                  <a:lnTo>
                    <a:pt x="663" y="194"/>
                  </a:lnTo>
                  <a:lnTo>
                    <a:pt x="663" y="195"/>
                  </a:lnTo>
                  <a:lnTo>
                    <a:pt x="663" y="196"/>
                  </a:lnTo>
                  <a:lnTo>
                    <a:pt x="662" y="196"/>
                  </a:lnTo>
                  <a:lnTo>
                    <a:pt x="661" y="196"/>
                  </a:lnTo>
                  <a:lnTo>
                    <a:pt x="660" y="196"/>
                  </a:lnTo>
                  <a:lnTo>
                    <a:pt x="660" y="197"/>
                  </a:lnTo>
                  <a:lnTo>
                    <a:pt x="661" y="198"/>
                  </a:lnTo>
                  <a:lnTo>
                    <a:pt x="660" y="198"/>
                  </a:lnTo>
                  <a:lnTo>
                    <a:pt x="660" y="197"/>
                  </a:lnTo>
                  <a:lnTo>
                    <a:pt x="658" y="197"/>
                  </a:lnTo>
                  <a:lnTo>
                    <a:pt x="658" y="198"/>
                  </a:lnTo>
                  <a:lnTo>
                    <a:pt x="658" y="200"/>
                  </a:lnTo>
                  <a:lnTo>
                    <a:pt x="657" y="200"/>
                  </a:lnTo>
                  <a:lnTo>
                    <a:pt x="658" y="200"/>
                  </a:lnTo>
                  <a:lnTo>
                    <a:pt x="657" y="200"/>
                  </a:lnTo>
                  <a:lnTo>
                    <a:pt x="656" y="200"/>
                  </a:lnTo>
                  <a:lnTo>
                    <a:pt x="656" y="201"/>
                  </a:lnTo>
                  <a:lnTo>
                    <a:pt x="655" y="201"/>
                  </a:lnTo>
                  <a:lnTo>
                    <a:pt x="654" y="201"/>
                  </a:lnTo>
                  <a:lnTo>
                    <a:pt x="654" y="202"/>
                  </a:lnTo>
                  <a:lnTo>
                    <a:pt x="655" y="202"/>
                  </a:lnTo>
                  <a:lnTo>
                    <a:pt x="655" y="203"/>
                  </a:lnTo>
                  <a:lnTo>
                    <a:pt x="654" y="203"/>
                  </a:lnTo>
                  <a:lnTo>
                    <a:pt x="653" y="203"/>
                  </a:lnTo>
                  <a:lnTo>
                    <a:pt x="653" y="202"/>
                  </a:lnTo>
                  <a:lnTo>
                    <a:pt x="653" y="203"/>
                  </a:lnTo>
                  <a:lnTo>
                    <a:pt x="653" y="204"/>
                  </a:lnTo>
                  <a:lnTo>
                    <a:pt x="651" y="204"/>
                  </a:lnTo>
                  <a:lnTo>
                    <a:pt x="651" y="205"/>
                  </a:lnTo>
                  <a:lnTo>
                    <a:pt x="650" y="205"/>
                  </a:lnTo>
                  <a:lnTo>
                    <a:pt x="650" y="207"/>
                  </a:lnTo>
                  <a:lnTo>
                    <a:pt x="649" y="208"/>
                  </a:lnTo>
                  <a:lnTo>
                    <a:pt x="649" y="209"/>
                  </a:lnTo>
                  <a:lnTo>
                    <a:pt x="649" y="210"/>
                  </a:lnTo>
                  <a:lnTo>
                    <a:pt x="649" y="211"/>
                  </a:lnTo>
                  <a:lnTo>
                    <a:pt x="648" y="211"/>
                  </a:lnTo>
                  <a:lnTo>
                    <a:pt x="648" y="212"/>
                  </a:lnTo>
                  <a:lnTo>
                    <a:pt x="647" y="212"/>
                  </a:lnTo>
                  <a:lnTo>
                    <a:pt x="646" y="212"/>
                  </a:lnTo>
                  <a:lnTo>
                    <a:pt x="644" y="212"/>
                  </a:lnTo>
                  <a:lnTo>
                    <a:pt x="643" y="212"/>
                  </a:lnTo>
                  <a:lnTo>
                    <a:pt x="642" y="212"/>
                  </a:lnTo>
                  <a:lnTo>
                    <a:pt x="641" y="211"/>
                  </a:lnTo>
                  <a:lnTo>
                    <a:pt x="641" y="212"/>
                  </a:lnTo>
                  <a:lnTo>
                    <a:pt x="641" y="214"/>
                  </a:lnTo>
                  <a:lnTo>
                    <a:pt x="640" y="214"/>
                  </a:lnTo>
                  <a:lnTo>
                    <a:pt x="640" y="215"/>
                  </a:lnTo>
                  <a:lnTo>
                    <a:pt x="640" y="214"/>
                  </a:lnTo>
                  <a:lnTo>
                    <a:pt x="639" y="214"/>
                  </a:lnTo>
                  <a:lnTo>
                    <a:pt x="639" y="212"/>
                  </a:lnTo>
                  <a:lnTo>
                    <a:pt x="639" y="214"/>
                  </a:lnTo>
                  <a:lnTo>
                    <a:pt x="637" y="214"/>
                  </a:lnTo>
                  <a:lnTo>
                    <a:pt x="637" y="212"/>
                  </a:lnTo>
                  <a:lnTo>
                    <a:pt x="637" y="214"/>
                  </a:lnTo>
                  <a:lnTo>
                    <a:pt x="636" y="212"/>
                  </a:lnTo>
                  <a:lnTo>
                    <a:pt x="636" y="214"/>
                  </a:lnTo>
                  <a:lnTo>
                    <a:pt x="637" y="214"/>
                  </a:lnTo>
                  <a:lnTo>
                    <a:pt x="636" y="214"/>
                  </a:lnTo>
                  <a:lnTo>
                    <a:pt x="637" y="214"/>
                  </a:lnTo>
                  <a:lnTo>
                    <a:pt x="637" y="215"/>
                  </a:lnTo>
                  <a:lnTo>
                    <a:pt x="636" y="215"/>
                  </a:lnTo>
                  <a:lnTo>
                    <a:pt x="635" y="215"/>
                  </a:lnTo>
                  <a:lnTo>
                    <a:pt x="634" y="215"/>
                  </a:lnTo>
                  <a:lnTo>
                    <a:pt x="635" y="216"/>
                  </a:lnTo>
                  <a:lnTo>
                    <a:pt x="634" y="216"/>
                  </a:lnTo>
                  <a:lnTo>
                    <a:pt x="633" y="216"/>
                  </a:lnTo>
                  <a:lnTo>
                    <a:pt x="633" y="217"/>
                  </a:lnTo>
                  <a:lnTo>
                    <a:pt x="632" y="217"/>
                  </a:lnTo>
                  <a:lnTo>
                    <a:pt x="630" y="218"/>
                  </a:lnTo>
                  <a:lnTo>
                    <a:pt x="630" y="219"/>
                  </a:lnTo>
                  <a:lnTo>
                    <a:pt x="629" y="219"/>
                  </a:lnTo>
                  <a:lnTo>
                    <a:pt x="628" y="219"/>
                  </a:lnTo>
                  <a:lnTo>
                    <a:pt x="628" y="221"/>
                  </a:lnTo>
                  <a:lnTo>
                    <a:pt x="628" y="222"/>
                  </a:lnTo>
                  <a:lnTo>
                    <a:pt x="627" y="223"/>
                  </a:lnTo>
                  <a:lnTo>
                    <a:pt x="628" y="223"/>
                  </a:lnTo>
                  <a:lnTo>
                    <a:pt x="627" y="223"/>
                  </a:lnTo>
                  <a:lnTo>
                    <a:pt x="627" y="224"/>
                  </a:lnTo>
                  <a:lnTo>
                    <a:pt x="627" y="225"/>
                  </a:lnTo>
                  <a:lnTo>
                    <a:pt x="626" y="225"/>
                  </a:lnTo>
                  <a:lnTo>
                    <a:pt x="625" y="225"/>
                  </a:lnTo>
                  <a:lnTo>
                    <a:pt x="626" y="225"/>
                  </a:lnTo>
                  <a:lnTo>
                    <a:pt x="625" y="225"/>
                  </a:lnTo>
                  <a:lnTo>
                    <a:pt x="626" y="225"/>
                  </a:lnTo>
                  <a:lnTo>
                    <a:pt x="626" y="226"/>
                  </a:lnTo>
                  <a:lnTo>
                    <a:pt x="625" y="226"/>
                  </a:lnTo>
                  <a:lnTo>
                    <a:pt x="625" y="225"/>
                  </a:lnTo>
                  <a:lnTo>
                    <a:pt x="623" y="225"/>
                  </a:lnTo>
                  <a:lnTo>
                    <a:pt x="622" y="225"/>
                  </a:lnTo>
                  <a:lnTo>
                    <a:pt x="622" y="226"/>
                  </a:lnTo>
                  <a:lnTo>
                    <a:pt x="623" y="226"/>
                  </a:lnTo>
                  <a:lnTo>
                    <a:pt x="623" y="228"/>
                  </a:lnTo>
                  <a:lnTo>
                    <a:pt x="625" y="228"/>
                  </a:lnTo>
                  <a:lnTo>
                    <a:pt x="623" y="228"/>
                  </a:lnTo>
                  <a:lnTo>
                    <a:pt x="622" y="228"/>
                  </a:lnTo>
                  <a:lnTo>
                    <a:pt x="622" y="229"/>
                  </a:lnTo>
                  <a:lnTo>
                    <a:pt x="621" y="229"/>
                  </a:lnTo>
                  <a:lnTo>
                    <a:pt x="620" y="229"/>
                  </a:lnTo>
                  <a:lnTo>
                    <a:pt x="619" y="229"/>
                  </a:lnTo>
                  <a:lnTo>
                    <a:pt x="619" y="230"/>
                  </a:lnTo>
                  <a:lnTo>
                    <a:pt x="618" y="230"/>
                  </a:lnTo>
                  <a:lnTo>
                    <a:pt x="618" y="229"/>
                  </a:lnTo>
                  <a:lnTo>
                    <a:pt x="617" y="229"/>
                  </a:lnTo>
                  <a:lnTo>
                    <a:pt x="617" y="228"/>
                  </a:lnTo>
                  <a:lnTo>
                    <a:pt x="615" y="228"/>
                  </a:lnTo>
                  <a:lnTo>
                    <a:pt x="615" y="226"/>
                  </a:lnTo>
                  <a:lnTo>
                    <a:pt x="617" y="226"/>
                  </a:lnTo>
                  <a:lnTo>
                    <a:pt x="618" y="226"/>
                  </a:lnTo>
                  <a:lnTo>
                    <a:pt x="619" y="226"/>
                  </a:lnTo>
                  <a:lnTo>
                    <a:pt x="618" y="225"/>
                  </a:lnTo>
                  <a:lnTo>
                    <a:pt x="619" y="225"/>
                  </a:lnTo>
                  <a:lnTo>
                    <a:pt x="620" y="225"/>
                  </a:lnTo>
                  <a:lnTo>
                    <a:pt x="621" y="225"/>
                  </a:lnTo>
                  <a:lnTo>
                    <a:pt x="621" y="224"/>
                  </a:lnTo>
                  <a:lnTo>
                    <a:pt x="622" y="224"/>
                  </a:lnTo>
                  <a:lnTo>
                    <a:pt x="621" y="223"/>
                  </a:lnTo>
                  <a:lnTo>
                    <a:pt x="620" y="223"/>
                  </a:lnTo>
                  <a:lnTo>
                    <a:pt x="620" y="222"/>
                  </a:lnTo>
                  <a:lnTo>
                    <a:pt x="621" y="222"/>
                  </a:lnTo>
                  <a:lnTo>
                    <a:pt x="621" y="221"/>
                  </a:lnTo>
                  <a:lnTo>
                    <a:pt x="621" y="219"/>
                  </a:lnTo>
                  <a:lnTo>
                    <a:pt x="622" y="219"/>
                  </a:lnTo>
                  <a:lnTo>
                    <a:pt x="623" y="219"/>
                  </a:lnTo>
                  <a:lnTo>
                    <a:pt x="622" y="219"/>
                  </a:lnTo>
                  <a:lnTo>
                    <a:pt x="621" y="219"/>
                  </a:lnTo>
                  <a:lnTo>
                    <a:pt x="620" y="219"/>
                  </a:lnTo>
                  <a:lnTo>
                    <a:pt x="619" y="219"/>
                  </a:lnTo>
                  <a:lnTo>
                    <a:pt x="618" y="219"/>
                  </a:lnTo>
                  <a:lnTo>
                    <a:pt x="617" y="218"/>
                  </a:lnTo>
                  <a:lnTo>
                    <a:pt x="615" y="217"/>
                  </a:lnTo>
                  <a:lnTo>
                    <a:pt x="614" y="217"/>
                  </a:lnTo>
                  <a:lnTo>
                    <a:pt x="614" y="218"/>
                  </a:lnTo>
                  <a:lnTo>
                    <a:pt x="614" y="217"/>
                  </a:lnTo>
                  <a:lnTo>
                    <a:pt x="613" y="217"/>
                  </a:lnTo>
                  <a:lnTo>
                    <a:pt x="613" y="216"/>
                  </a:lnTo>
                  <a:lnTo>
                    <a:pt x="614" y="216"/>
                  </a:lnTo>
                  <a:lnTo>
                    <a:pt x="615" y="216"/>
                  </a:lnTo>
                  <a:lnTo>
                    <a:pt x="617" y="216"/>
                  </a:lnTo>
                  <a:lnTo>
                    <a:pt x="615" y="216"/>
                  </a:lnTo>
                  <a:lnTo>
                    <a:pt x="615" y="215"/>
                  </a:lnTo>
                  <a:lnTo>
                    <a:pt x="617" y="215"/>
                  </a:lnTo>
                  <a:lnTo>
                    <a:pt x="615" y="215"/>
                  </a:lnTo>
                  <a:lnTo>
                    <a:pt x="614" y="214"/>
                  </a:lnTo>
                  <a:lnTo>
                    <a:pt x="614" y="212"/>
                  </a:lnTo>
                  <a:lnTo>
                    <a:pt x="615" y="212"/>
                  </a:lnTo>
                  <a:lnTo>
                    <a:pt x="615" y="211"/>
                  </a:lnTo>
                  <a:lnTo>
                    <a:pt x="617" y="211"/>
                  </a:lnTo>
                  <a:lnTo>
                    <a:pt x="618" y="211"/>
                  </a:lnTo>
                  <a:lnTo>
                    <a:pt x="617" y="210"/>
                  </a:lnTo>
                  <a:lnTo>
                    <a:pt x="618" y="210"/>
                  </a:lnTo>
                  <a:lnTo>
                    <a:pt x="617" y="210"/>
                  </a:lnTo>
                  <a:lnTo>
                    <a:pt x="618" y="209"/>
                  </a:lnTo>
                  <a:lnTo>
                    <a:pt x="618" y="208"/>
                  </a:lnTo>
                  <a:lnTo>
                    <a:pt x="618" y="207"/>
                  </a:lnTo>
                  <a:lnTo>
                    <a:pt x="619" y="207"/>
                  </a:lnTo>
                  <a:lnTo>
                    <a:pt x="619" y="205"/>
                  </a:lnTo>
                  <a:lnTo>
                    <a:pt x="618" y="205"/>
                  </a:lnTo>
                  <a:lnTo>
                    <a:pt x="619" y="204"/>
                  </a:lnTo>
                  <a:lnTo>
                    <a:pt x="619" y="203"/>
                  </a:lnTo>
                  <a:lnTo>
                    <a:pt x="619" y="202"/>
                  </a:lnTo>
                  <a:lnTo>
                    <a:pt x="618" y="201"/>
                  </a:lnTo>
                  <a:lnTo>
                    <a:pt x="617" y="201"/>
                  </a:lnTo>
                  <a:lnTo>
                    <a:pt x="617" y="200"/>
                  </a:lnTo>
                  <a:lnTo>
                    <a:pt x="615" y="200"/>
                  </a:lnTo>
                  <a:lnTo>
                    <a:pt x="615" y="198"/>
                  </a:lnTo>
                  <a:lnTo>
                    <a:pt x="615" y="200"/>
                  </a:lnTo>
                  <a:lnTo>
                    <a:pt x="615" y="198"/>
                  </a:lnTo>
                  <a:lnTo>
                    <a:pt x="614" y="198"/>
                  </a:lnTo>
                  <a:lnTo>
                    <a:pt x="612" y="197"/>
                  </a:lnTo>
                  <a:lnTo>
                    <a:pt x="611" y="197"/>
                  </a:lnTo>
                  <a:lnTo>
                    <a:pt x="611" y="196"/>
                  </a:lnTo>
                  <a:lnTo>
                    <a:pt x="610" y="196"/>
                  </a:lnTo>
                  <a:lnTo>
                    <a:pt x="610" y="195"/>
                  </a:lnTo>
                  <a:lnTo>
                    <a:pt x="610" y="194"/>
                  </a:lnTo>
                  <a:lnTo>
                    <a:pt x="610" y="195"/>
                  </a:lnTo>
                  <a:lnTo>
                    <a:pt x="608" y="195"/>
                  </a:lnTo>
                  <a:lnTo>
                    <a:pt x="610" y="196"/>
                  </a:lnTo>
                  <a:lnTo>
                    <a:pt x="608" y="196"/>
                  </a:lnTo>
                  <a:lnTo>
                    <a:pt x="607" y="196"/>
                  </a:lnTo>
                  <a:lnTo>
                    <a:pt x="607" y="197"/>
                  </a:lnTo>
                  <a:lnTo>
                    <a:pt x="607" y="196"/>
                  </a:lnTo>
                  <a:lnTo>
                    <a:pt x="606" y="196"/>
                  </a:lnTo>
                  <a:lnTo>
                    <a:pt x="605" y="196"/>
                  </a:lnTo>
                  <a:lnTo>
                    <a:pt x="605" y="195"/>
                  </a:lnTo>
                  <a:lnTo>
                    <a:pt x="604" y="195"/>
                  </a:lnTo>
                  <a:lnTo>
                    <a:pt x="604" y="196"/>
                  </a:lnTo>
                  <a:lnTo>
                    <a:pt x="603" y="196"/>
                  </a:lnTo>
                  <a:lnTo>
                    <a:pt x="603" y="195"/>
                  </a:lnTo>
                  <a:lnTo>
                    <a:pt x="603" y="196"/>
                  </a:lnTo>
                  <a:lnTo>
                    <a:pt x="601" y="195"/>
                  </a:lnTo>
                  <a:lnTo>
                    <a:pt x="601" y="196"/>
                  </a:lnTo>
                  <a:lnTo>
                    <a:pt x="600" y="196"/>
                  </a:lnTo>
                  <a:lnTo>
                    <a:pt x="601" y="197"/>
                  </a:lnTo>
                  <a:lnTo>
                    <a:pt x="600" y="197"/>
                  </a:lnTo>
                  <a:lnTo>
                    <a:pt x="601" y="197"/>
                  </a:lnTo>
                  <a:lnTo>
                    <a:pt x="600" y="197"/>
                  </a:lnTo>
                  <a:lnTo>
                    <a:pt x="599" y="197"/>
                  </a:lnTo>
                  <a:lnTo>
                    <a:pt x="600" y="197"/>
                  </a:lnTo>
                  <a:lnTo>
                    <a:pt x="599" y="198"/>
                  </a:lnTo>
                  <a:lnTo>
                    <a:pt x="600" y="198"/>
                  </a:lnTo>
                  <a:lnTo>
                    <a:pt x="601" y="198"/>
                  </a:lnTo>
                  <a:lnTo>
                    <a:pt x="600" y="198"/>
                  </a:lnTo>
                  <a:lnTo>
                    <a:pt x="600" y="200"/>
                  </a:lnTo>
                  <a:lnTo>
                    <a:pt x="599" y="200"/>
                  </a:lnTo>
                  <a:lnTo>
                    <a:pt x="599" y="201"/>
                  </a:lnTo>
                  <a:lnTo>
                    <a:pt x="598" y="202"/>
                  </a:lnTo>
                  <a:lnTo>
                    <a:pt x="598" y="203"/>
                  </a:lnTo>
                  <a:lnTo>
                    <a:pt x="598" y="204"/>
                  </a:lnTo>
                  <a:lnTo>
                    <a:pt x="598" y="205"/>
                  </a:lnTo>
                  <a:lnTo>
                    <a:pt x="598" y="207"/>
                  </a:lnTo>
                  <a:lnTo>
                    <a:pt x="597" y="207"/>
                  </a:lnTo>
                  <a:lnTo>
                    <a:pt x="596" y="207"/>
                  </a:lnTo>
                  <a:lnTo>
                    <a:pt x="596" y="208"/>
                  </a:lnTo>
                  <a:lnTo>
                    <a:pt x="594" y="208"/>
                  </a:lnTo>
                  <a:lnTo>
                    <a:pt x="594" y="209"/>
                  </a:lnTo>
                  <a:lnTo>
                    <a:pt x="592" y="209"/>
                  </a:lnTo>
                  <a:lnTo>
                    <a:pt x="592" y="210"/>
                  </a:lnTo>
                  <a:lnTo>
                    <a:pt x="591" y="210"/>
                  </a:lnTo>
                  <a:lnTo>
                    <a:pt x="591" y="211"/>
                  </a:lnTo>
                  <a:lnTo>
                    <a:pt x="591" y="210"/>
                  </a:lnTo>
                  <a:lnTo>
                    <a:pt x="590" y="211"/>
                  </a:lnTo>
                  <a:lnTo>
                    <a:pt x="589" y="211"/>
                  </a:lnTo>
                  <a:lnTo>
                    <a:pt x="589" y="212"/>
                  </a:lnTo>
                  <a:lnTo>
                    <a:pt x="587" y="214"/>
                  </a:lnTo>
                  <a:lnTo>
                    <a:pt x="587" y="215"/>
                  </a:lnTo>
                  <a:lnTo>
                    <a:pt x="587" y="216"/>
                  </a:lnTo>
                  <a:lnTo>
                    <a:pt x="586" y="216"/>
                  </a:lnTo>
                  <a:lnTo>
                    <a:pt x="586" y="217"/>
                  </a:lnTo>
                  <a:lnTo>
                    <a:pt x="587" y="217"/>
                  </a:lnTo>
                  <a:lnTo>
                    <a:pt x="587" y="218"/>
                  </a:lnTo>
                  <a:lnTo>
                    <a:pt x="589" y="218"/>
                  </a:lnTo>
                  <a:lnTo>
                    <a:pt x="589" y="219"/>
                  </a:lnTo>
                  <a:lnTo>
                    <a:pt x="589" y="221"/>
                  </a:lnTo>
                  <a:lnTo>
                    <a:pt x="589" y="219"/>
                  </a:lnTo>
                  <a:lnTo>
                    <a:pt x="587" y="221"/>
                  </a:lnTo>
                  <a:lnTo>
                    <a:pt x="587" y="222"/>
                  </a:lnTo>
                  <a:lnTo>
                    <a:pt x="587" y="223"/>
                  </a:lnTo>
                  <a:lnTo>
                    <a:pt x="586" y="223"/>
                  </a:lnTo>
                  <a:lnTo>
                    <a:pt x="586" y="224"/>
                  </a:lnTo>
                  <a:lnTo>
                    <a:pt x="586" y="223"/>
                  </a:lnTo>
                  <a:lnTo>
                    <a:pt x="585" y="223"/>
                  </a:lnTo>
                  <a:lnTo>
                    <a:pt x="585" y="222"/>
                  </a:lnTo>
                  <a:lnTo>
                    <a:pt x="585" y="223"/>
                  </a:lnTo>
                  <a:lnTo>
                    <a:pt x="584" y="223"/>
                  </a:lnTo>
                  <a:lnTo>
                    <a:pt x="583" y="223"/>
                  </a:lnTo>
                  <a:lnTo>
                    <a:pt x="582" y="223"/>
                  </a:lnTo>
                  <a:lnTo>
                    <a:pt x="580" y="223"/>
                  </a:lnTo>
                  <a:lnTo>
                    <a:pt x="582" y="224"/>
                  </a:lnTo>
                  <a:lnTo>
                    <a:pt x="580" y="224"/>
                  </a:lnTo>
                  <a:lnTo>
                    <a:pt x="580" y="225"/>
                  </a:lnTo>
                  <a:lnTo>
                    <a:pt x="579" y="225"/>
                  </a:lnTo>
                  <a:lnTo>
                    <a:pt x="578" y="225"/>
                  </a:lnTo>
                  <a:lnTo>
                    <a:pt x="577" y="224"/>
                  </a:lnTo>
                  <a:lnTo>
                    <a:pt x="576" y="223"/>
                  </a:lnTo>
                  <a:lnTo>
                    <a:pt x="575" y="223"/>
                  </a:lnTo>
                  <a:lnTo>
                    <a:pt x="575" y="222"/>
                  </a:lnTo>
                  <a:lnTo>
                    <a:pt x="573" y="222"/>
                  </a:lnTo>
                  <a:lnTo>
                    <a:pt x="572" y="222"/>
                  </a:lnTo>
                  <a:lnTo>
                    <a:pt x="572" y="223"/>
                  </a:lnTo>
                  <a:lnTo>
                    <a:pt x="571" y="224"/>
                  </a:lnTo>
                  <a:lnTo>
                    <a:pt x="572" y="225"/>
                  </a:lnTo>
                  <a:lnTo>
                    <a:pt x="572" y="226"/>
                  </a:lnTo>
                  <a:lnTo>
                    <a:pt x="571" y="225"/>
                  </a:lnTo>
                  <a:lnTo>
                    <a:pt x="571" y="226"/>
                  </a:lnTo>
                  <a:lnTo>
                    <a:pt x="571" y="229"/>
                  </a:lnTo>
                  <a:lnTo>
                    <a:pt x="572" y="230"/>
                  </a:lnTo>
                  <a:lnTo>
                    <a:pt x="572" y="231"/>
                  </a:lnTo>
                  <a:lnTo>
                    <a:pt x="572" y="232"/>
                  </a:lnTo>
                  <a:lnTo>
                    <a:pt x="575" y="235"/>
                  </a:lnTo>
                  <a:lnTo>
                    <a:pt x="576" y="236"/>
                  </a:lnTo>
                  <a:lnTo>
                    <a:pt x="578" y="237"/>
                  </a:lnTo>
                  <a:lnTo>
                    <a:pt x="579" y="238"/>
                  </a:lnTo>
                  <a:lnTo>
                    <a:pt x="580" y="238"/>
                  </a:lnTo>
                  <a:lnTo>
                    <a:pt x="582" y="238"/>
                  </a:lnTo>
                  <a:lnTo>
                    <a:pt x="582" y="239"/>
                  </a:lnTo>
                  <a:lnTo>
                    <a:pt x="583" y="239"/>
                  </a:lnTo>
                  <a:lnTo>
                    <a:pt x="584" y="239"/>
                  </a:lnTo>
                  <a:lnTo>
                    <a:pt x="585" y="239"/>
                  </a:lnTo>
                  <a:lnTo>
                    <a:pt x="587" y="239"/>
                  </a:lnTo>
                  <a:lnTo>
                    <a:pt x="589" y="240"/>
                  </a:lnTo>
                  <a:lnTo>
                    <a:pt x="590" y="240"/>
                  </a:lnTo>
                  <a:lnTo>
                    <a:pt x="590" y="239"/>
                  </a:lnTo>
                  <a:lnTo>
                    <a:pt x="591" y="239"/>
                  </a:lnTo>
                  <a:lnTo>
                    <a:pt x="592" y="239"/>
                  </a:lnTo>
                  <a:lnTo>
                    <a:pt x="593" y="239"/>
                  </a:lnTo>
                  <a:lnTo>
                    <a:pt x="594" y="240"/>
                  </a:lnTo>
                  <a:lnTo>
                    <a:pt x="596" y="242"/>
                  </a:lnTo>
                  <a:lnTo>
                    <a:pt x="597" y="243"/>
                  </a:lnTo>
                  <a:lnTo>
                    <a:pt x="598" y="244"/>
                  </a:lnTo>
                  <a:lnTo>
                    <a:pt x="599" y="244"/>
                  </a:lnTo>
                  <a:lnTo>
                    <a:pt x="599" y="245"/>
                  </a:lnTo>
                  <a:lnTo>
                    <a:pt x="600" y="245"/>
                  </a:lnTo>
                  <a:lnTo>
                    <a:pt x="601" y="246"/>
                  </a:lnTo>
                  <a:lnTo>
                    <a:pt x="600" y="246"/>
                  </a:lnTo>
                  <a:lnTo>
                    <a:pt x="599" y="245"/>
                  </a:lnTo>
                  <a:lnTo>
                    <a:pt x="598" y="245"/>
                  </a:lnTo>
                  <a:lnTo>
                    <a:pt x="598" y="246"/>
                  </a:lnTo>
                  <a:lnTo>
                    <a:pt x="598" y="247"/>
                  </a:lnTo>
                  <a:lnTo>
                    <a:pt x="598" y="249"/>
                  </a:lnTo>
                  <a:lnTo>
                    <a:pt x="599" y="251"/>
                  </a:lnTo>
                  <a:lnTo>
                    <a:pt x="599" y="252"/>
                  </a:lnTo>
                  <a:lnTo>
                    <a:pt x="600" y="252"/>
                  </a:lnTo>
                  <a:lnTo>
                    <a:pt x="600" y="253"/>
                  </a:lnTo>
                  <a:lnTo>
                    <a:pt x="601" y="253"/>
                  </a:lnTo>
                  <a:lnTo>
                    <a:pt x="603" y="254"/>
                  </a:lnTo>
                  <a:lnTo>
                    <a:pt x="605" y="256"/>
                  </a:lnTo>
                  <a:lnTo>
                    <a:pt x="607" y="256"/>
                  </a:lnTo>
                  <a:lnTo>
                    <a:pt x="608" y="256"/>
                  </a:lnTo>
                  <a:lnTo>
                    <a:pt x="608" y="254"/>
                  </a:lnTo>
                  <a:lnTo>
                    <a:pt x="610" y="256"/>
                  </a:lnTo>
                  <a:lnTo>
                    <a:pt x="611" y="254"/>
                  </a:lnTo>
                  <a:lnTo>
                    <a:pt x="612" y="254"/>
                  </a:lnTo>
                  <a:lnTo>
                    <a:pt x="612" y="253"/>
                  </a:lnTo>
                  <a:lnTo>
                    <a:pt x="612" y="252"/>
                  </a:lnTo>
                  <a:lnTo>
                    <a:pt x="611" y="252"/>
                  </a:lnTo>
                  <a:lnTo>
                    <a:pt x="612" y="251"/>
                  </a:lnTo>
                  <a:lnTo>
                    <a:pt x="613" y="251"/>
                  </a:lnTo>
                  <a:lnTo>
                    <a:pt x="613" y="250"/>
                  </a:lnTo>
                  <a:lnTo>
                    <a:pt x="614" y="249"/>
                  </a:lnTo>
                  <a:lnTo>
                    <a:pt x="615" y="247"/>
                  </a:lnTo>
                  <a:lnTo>
                    <a:pt x="615" y="246"/>
                  </a:lnTo>
                  <a:lnTo>
                    <a:pt x="614" y="246"/>
                  </a:lnTo>
                  <a:lnTo>
                    <a:pt x="613" y="246"/>
                  </a:lnTo>
                  <a:lnTo>
                    <a:pt x="614" y="246"/>
                  </a:lnTo>
                  <a:lnTo>
                    <a:pt x="615" y="246"/>
                  </a:lnTo>
                  <a:lnTo>
                    <a:pt x="617" y="245"/>
                  </a:lnTo>
                  <a:lnTo>
                    <a:pt x="618" y="245"/>
                  </a:lnTo>
                  <a:lnTo>
                    <a:pt x="619" y="245"/>
                  </a:lnTo>
                  <a:lnTo>
                    <a:pt x="619" y="244"/>
                  </a:lnTo>
                  <a:lnTo>
                    <a:pt x="620" y="244"/>
                  </a:lnTo>
                  <a:lnTo>
                    <a:pt x="621" y="244"/>
                  </a:lnTo>
                  <a:lnTo>
                    <a:pt x="622" y="244"/>
                  </a:lnTo>
                  <a:lnTo>
                    <a:pt x="622" y="245"/>
                  </a:lnTo>
                  <a:lnTo>
                    <a:pt x="623" y="245"/>
                  </a:lnTo>
                  <a:lnTo>
                    <a:pt x="623" y="246"/>
                  </a:lnTo>
                  <a:lnTo>
                    <a:pt x="625" y="246"/>
                  </a:lnTo>
                  <a:lnTo>
                    <a:pt x="626" y="246"/>
                  </a:lnTo>
                  <a:lnTo>
                    <a:pt x="626" y="247"/>
                  </a:lnTo>
                  <a:lnTo>
                    <a:pt x="627" y="249"/>
                  </a:lnTo>
                  <a:lnTo>
                    <a:pt x="628" y="249"/>
                  </a:lnTo>
                  <a:lnTo>
                    <a:pt x="629" y="247"/>
                  </a:lnTo>
                  <a:lnTo>
                    <a:pt x="628" y="247"/>
                  </a:lnTo>
                  <a:lnTo>
                    <a:pt x="629" y="247"/>
                  </a:lnTo>
                  <a:lnTo>
                    <a:pt x="629" y="249"/>
                  </a:lnTo>
                  <a:lnTo>
                    <a:pt x="630" y="249"/>
                  </a:lnTo>
                  <a:lnTo>
                    <a:pt x="630" y="250"/>
                  </a:lnTo>
                  <a:lnTo>
                    <a:pt x="632" y="250"/>
                  </a:lnTo>
                  <a:lnTo>
                    <a:pt x="633" y="250"/>
                  </a:lnTo>
                  <a:lnTo>
                    <a:pt x="633" y="251"/>
                  </a:lnTo>
                  <a:lnTo>
                    <a:pt x="634" y="250"/>
                  </a:lnTo>
                  <a:lnTo>
                    <a:pt x="633" y="250"/>
                  </a:lnTo>
                  <a:lnTo>
                    <a:pt x="634" y="250"/>
                  </a:lnTo>
                  <a:lnTo>
                    <a:pt x="635" y="250"/>
                  </a:lnTo>
                  <a:lnTo>
                    <a:pt x="637" y="250"/>
                  </a:lnTo>
                  <a:lnTo>
                    <a:pt x="637" y="251"/>
                  </a:lnTo>
                  <a:lnTo>
                    <a:pt x="639" y="251"/>
                  </a:lnTo>
                  <a:lnTo>
                    <a:pt x="637" y="250"/>
                  </a:lnTo>
                  <a:lnTo>
                    <a:pt x="639" y="249"/>
                  </a:lnTo>
                  <a:lnTo>
                    <a:pt x="640" y="249"/>
                  </a:lnTo>
                  <a:lnTo>
                    <a:pt x="640" y="250"/>
                  </a:lnTo>
                  <a:lnTo>
                    <a:pt x="641" y="251"/>
                  </a:lnTo>
                  <a:lnTo>
                    <a:pt x="641" y="250"/>
                  </a:lnTo>
                  <a:lnTo>
                    <a:pt x="642" y="250"/>
                  </a:lnTo>
                  <a:lnTo>
                    <a:pt x="642" y="251"/>
                  </a:lnTo>
                  <a:lnTo>
                    <a:pt x="644" y="251"/>
                  </a:lnTo>
                  <a:lnTo>
                    <a:pt x="646" y="251"/>
                  </a:lnTo>
                  <a:lnTo>
                    <a:pt x="647" y="251"/>
                  </a:lnTo>
                  <a:lnTo>
                    <a:pt x="648" y="251"/>
                  </a:lnTo>
                  <a:lnTo>
                    <a:pt x="647" y="251"/>
                  </a:lnTo>
                  <a:lnTo>
                    <a:pt x="647" y="252"/>
                  </a:lnTo>
                  <a:lnTo>
                    <a:pt x="647" y="253"/>
                  </a:lnTo>
                  <a:lnTo>
                    <a:pt x="648" y="253"/>
                  </a:lnTo>
                  <a:lnTo>
                    <a:pt x="648" y="254"/>
                  </a:lnTo>
                  <a:lnTo>
                    <a:pt x="647" y="254"/>
                  </a:lnTo>
                  <a:lnTo>
                    <a:pt x="647" y="256"/>
                  </a:lnTo>
                  <a:lnTo>
                    <a:pt x="647" y="254"/>
                  </a:lnTo>
                  <a:lnTo>
                    <a:pt x="647" y="256"/>
                  </a:lnTo>
                  <a:lnTo>
                    <a:pt x="647" y="257"/>
                  </a:lnTo>
                  <a:lnTo>
                    <a:pt x="648" y="257"/>
                  </a:lnTo>
                  <a:lnTo>
                    <a:pt x="649" y="258"/>
                  </a:lnTo>
                  <a:lnTo>
                    <a:pt x="649" y="259"/>
                  </a:lnTo>
                  <a:lnTo>
                    <a:pt x="649" y="258"/>
                  </a:lnTo>
                  <a:lnTo>
                    <a:pt x="648" y="258"/>
                  </a:lnTo>
                  <a:lnTo>
                    <a:pt x="648" y="259"/>
                  </a:lnTo>
                  <a:lnTo>
                    <a:pt x="648" y="258"/>
                  </a:lnTo>
                  <a:lnTo>
                    <a:pt x="648" y="259"/>
                  </a:lnTo>
                  <a:lnTo>
                    <a:pt x="648" y="260"/>
                  </a:lnTo>
                  <a:lnTo>
                    <a:pt x="647" y="260"/>
                  </a:lnTo>
                  <a:lnTo>
                    <a:pt x="646" y="260"/>
                  </a:lnTo>
                  <a:lnTo>
                    <a:pt x="646" y="259"/>
                  </a:lnTo>
                  <a:lnTo>
                    <a:pt x="644" y="259"/>
                  </a:lnTo>
                  <a:lnTo>
                    <a:pt x="646" y="259"/>
                  </a:lnTo>
                  <a:lnTo>
                    <a:pt x="644" y="259"/>
                  </a:lnTo>
                  <a:lnTo>
                    <a:pt x="644" y="258"/>
                  </a:lnTo>
                  <a:lnTo>
                    <a:pt x="643" y="257"/>
                  </a:lnTo>
                  <a:lnTo>
                    <a:pt x="643" y="258"/>
                  </a:lnTo>
                  <a:lnTo>
                    <a:pt x="643" y="259"/>
                  </a:lnTo>
                  <a:lnTo>
                    <a:pt x="642" y="259"/>
                  </a:lnTo>
                  <a:lnTo>
                    <a:pt x="642" y="258"/>
                  </a:lnTo>
                  <a:lnTo>
                    <a:pt x="641" y="257"/>
                  </a:lnTo>
                  <a:lnTo>
                    <a:pt x="641" y="258"/>
                  </a:lnTo>
                  <a:lnTo>
                    <a:pt x="640" y="259"/>
                  </a:lnTo>
                  <a:lnTo>
                    <a:pt x="640" y="260"/>
                  </a:lnTo>
                  <a:lnTo>
                    <a:pt x="639" y="260"/>
                  </a:lnTo>
                  <a:lnTo>
                    <a:pt x="637" y="260"/>
                  </a:lnTo>
                  <a:lnTo>
                    <a:pt x="639" y="260"/>
                  </a:lnTo>
                  <a:lnTo>
                    <a:pt x="639" y="261"/>
                  </a:lnTo>
                  <a:lnTo>
                    <a:pt x="637" y="261"/>
                  </a:lnTo>
                  <a:lnTo>
                    <a:pt x="636" y="261"/>
                  </a:lnTo>
                  <a:lnTo>
                    <a:pt x="636" y="260"/>
                  </a:lnTo>
                  <a:lnTo>
                    <a:pt x="637" y="260"/>
                  </a:lnTo>
                  <a:lnTo>
                    <a:pt x="637" y="259"/>
                  </a:lnTo>
                  <a:lnTo>
                    <a:pt x="637" y="260"/>
                  </a:lnTo>
                  <a:lnTo>
                    <a:pt x="636" y="260"/>
                  </a:lnTo>
                  <a:lnTo>
                    <a:pt x="635" y="260"/>
                  </a:lnTo>
                  <a:lnTo>
                    <a:pt x="636" y="260"/>
                  </a:lnTo>
                  <a:lnTo>
                    <a:pt x="636" y="261"/>
                  </a:lnTo>
                  <a:lnTo>
                    <a:pt x="635" y="261"/>
                  </a:lnTo>
                  <a:lnTo>
                    <a:pt x="636" y="261"/>
                  </a:lnTo>
                  <a:lnTo>
                    <a:pt x="635" y="261"/>
                  </a:lnTo>
                  <a:lnTo>
                    <a:pt x="633" y="263"/>
                  </a:lnTo>
                  <a:lnTo>
                    <a:pt x="633" y="264"/>
                  </a:lnTo>
                  <a:lnTo>
                    <a:pt x="632" y="264"/>
                  </a:lnTo>
                  <a:lnTo>
                    <a:pt x="632" y="263"/>
                  </a:lnTo>
                  <a:lnTo>
                    <a:pt x="632" y="264"/>
                  </a:lnTo>
                  <a:lnTo>
                    <a:pt x="630" y="264"/>
                  </a:lnTo>
                  <a:lnTo>
                    <a:pt x="630" y="263"/>
                  </a:lnTo>
                  <a:lnTo>
                    <a:pt x="629" y="263"/>
                  </a:lnTo>
                  <a:lnTo>
                    <a:pt x="628" y="263"/>
                  </a:lnTo>
                  <a:lnTo>
                    <a:pt x="628" y="264"/>
                  </a:lnTo>
                  <a:lnTo>
                    <a:pt x="628" y="265"/>
                  </a:lnTo>
                  <a:lnTo>
                    <a:pt x="629" y="265"/>
                  </a:lnTo>
                  <a:lnTo>
                    <a:pt x="629" y="264"/>
                  </a:lnTo>
                  <a:lnTo>
                    <a:pt x="630" y="264"/>
                  </a:lnTo>
                  <a:lnTo>
                    <a:pt x="630" y="265"/>
                  </a:lnTo>
                  <a:lnTo>
                    <a:pt x="632" y="265"/>
                  </a:lnTo>
                  <a:lnTo>
                    <a:pt x="632" y="266"/>
                  </a:lnTo>
                  <a:lnTo>
                    <a:pt x="630" y="266"/>
                  </a:lnTo>
                  <a:lnTo>
                    <a:pt x="632" y="266"/>
                  </a:lnTo>
                  <a:lnTo>
                    <a:pt x="632" y="267"/>
                  </a:lnTo>
                  <a:lnTo>
                    <a:pt x="630" y="267"/>
                  </a:lnTo>
                  <a:lnTo>
                    <a:pt x="630" y="266"/>
                  </a:lnTo>
                  <a:lnTo>
                    <a:pt x="629" y="266"/>
                  </a:lnTo>
                  <a:lnTo>
                    <a:pt x="628" y="267"/>
                  </a:lnTo>
                  <a:lnTo>
                    <a:pt x="629" y="267"/>
                  </a:lnTo>
                  <a:lnTo>
                    <a:pt x="629" y="268"/>
                  </a:lnTo>
                  <a:lnTo>
                    <a:pt x="629" y="267"/>
                  </a:lnTo>
                  <a:lnTo>
                    <a:pt x="628" y="267"/>
                  </a:lnTo>
                  <a:lnTo>
                    <a:pt x="628" y="268"/>
                  </a:lnTo>
                  <a:lnTo>
                    <a:pt x="629" y="268"/>
                  </a:lnTo>
                  <a:lnTo>
                    <a:pt x="629" y="270"/>
                  </a:lnTo>
                  <a:lnTo>
                    <a:pt x="630" y="270"/>
                  </a:lnTo>
                  <a:lnTo>
                    <a:pt x="630" y="271"/>
                  </a:lnTo>
                  <a:lnTo>
                    <a:pt x="629" y="271"/>
                  </a:lnTo>
                  <a:lnTo>
                    <a:pt x="629" y="272"/>
                  </a:lnTo>
                  <a:lnTo>
                    <a:pt x="628" y="272"/>
                  </a:lnTo>
                  <a:lnTo>
                    <a:pt x="627" y="272"/>
                  </a:lnTo>
                  <a:lnTo>
                    <a:pt x="626" y="272"/>
                  </a:lnTo>
                  <a:lnTo>
                    <a:pt x="626" y="271"/>
                  </a:lnTo>
                  <a:lnTo>
                    <a:pt x="626" y="270"/>
                  </a:lnTo>
                  <a:lnTo>
                    <a:pt x="625" y="270"/>
                  </a:lnTo>
                  <a:lnTo>
                    <a:pt x="625" y="268"/>
                  </a:lnTo>
                  <a:lnTo>
                    <a:pt x="625" y="270"/>
                  </a:lnTo>
                  <a:lnTo>
                    <a:pt x="625" y="271"/>
                  </a:lnTo>
                  <a:lnTo>
                    <a:pt x="625" y="270"/>
                  </a:lnTo>
                  <a:lnTo>
                    <a:pt x="623" y="270"/>
                  </a:lnTo>
                  <a:lnTo>
                    <a:pt x="622" y="270"/>
                  </a:lnTo>
                  <a:lnTo>
                    <a:pt x="622" y="271"/>
                  </a:lnTo>
                  <a:lnTo>
                    <a:pt x="623" y="272"/>
                  </a:lnTo>
                  <a:lnTo>
                    <a:pt x="625" y="272"/>
                  </a:lnTo>
                  <a:lnTo>
                    <a:pt x="625" y="273"/>
                  </a:lnTo>
                  <a:lnTo>
                    <a:pt x="626" y="273"/>
                  </a:lnTo>
                  <a:lnTo>
                    <a:pt x="626" y="274"/>
                  </a:lnTo>
                  <a:lnTo>
                    <a:pt x="625" y="274"/>
                  </a:lnTo>
                  <a:lnTo>
                    <a:pt x="623" y="275"/>
                  </a:lnTo>
                  <a:lnTo>
                    <a:pt x="625" y="277"/>
                  </a:lnTo>
                  <a:lnTo>
                    <a:pt x="625" y="278"/>
                  </a:lnTo>
                  <a:lnTo>
                    <a:pt x="623" y="278"/>
                  </a:lnTo>
                  <a:lnTo>
                    <a:pt x="623" y="277"/>
                  </a:lnTo>
                  <a:lnTo>
                    <a:pt x="622" y="277"/>
                  </a:lnTo>
                  <a:lnTo>
                    <a:pt x="622" y="278"/>
                  </a:lnTo>
                  <a:lnTo>
                    <a:pt x="623" y="278"/>
                  </a:lnTo>
                  <a:lnTo>
                    <a:pt x="623" y="279"/>
                  </a:lnTo>
                  <a:lnTo>
                    <a:pt x="622" y="279"/>
                  </a:lnTo>
                  <a:lnTo>
                    <a:pt x="621" y="280"/>
                  </a:lnTo>
                  <a:lnTo>
                    <a:pt x="621" y="279"/>
                  </a:lnTo>
                  <a:lnTo>
                    <a:pt x="620" y="279"/>
                  </a:lnTo>
                  <a:lnTo>
                    <a:pt x="620" y="280"/>
                  </a:lnTo>
                  <a:lnTo>
                    <a:pt x="620" y="281"/>
                  </a:lnTo>
                  <a:lnTo>
                    <a:pt x="620" y="282"/>
                  </a:lnTo>
                  <a:lnTo>
                    <a:pt x="620" y="284"/>
                  </a:lnTo>
                  <a:lnTo>
                    <a:pt x="619" y="284"/>
                  </a:lnTo>
                  <a:lnTo>
                    <a:pt x="620" y="285"/>
                  </a:lnTo>
                  <a:lnTo>
                    <a:pt x="619" y="285"/>
                  </a:lnTo>
                  <a:lnTo>
                    <a:pt x="620" y="286"/>
                  </a:lnTo>
                  <a:lnTo>
                    <a:pt x="620" y="287"/>
                  </a:lnTo>
                  <a:lnTo>
                    <a:pt x="619" y="287"/>
                  </a:lnTo>
                  <a:lnTo>
                    <a:pt x="619" y="288"/>
                  </a:lnTo>
                  <a:lnTo>
                    <a:pt x="618" y="288"/>
                  </a:lnTo>
                  <a:lnTo>
                    <a:pt x="619" y="289"/>
                  </a:lnTo>
                  <a:lnTo>
                    <a:pt x="619" y="291"/>
                  </a:lnTo>
                  <a:lnTo>
                    <a:pt x="620" y="292"/>
                  </a:lnTo>
                  <a:lnTo>
                    <a:pt x="620" y="293"/>
                  </a:lnTo>
                  <a:lnTo>
                    <a:pt x="621" y="293"/>
                  </a:lnTo>
                  <a:lnTo>
                    <a:pt x="621" y="292"/>
                  </a:lnTo>
                  <a:lnTo>
                    <a:pt x="622" y="293"/>
                  </a:lnTo>
                  <a:lnTo>
                    <a:pt x="623" y="293"/>
                  </a:lnTo>
                  <a:lnTo>
                    <a:pt x="623" y="294"/>
                  </a:lnTo>
                  <a:lnTo>
                    <a:pt x="625" y="295"/>
                  </a:lnTo>
                  <a:lnTo>
                    <a:pt x="626" y="295"/>
                  </a:lnTo>
                  <a:lnTo>
                    <a:pt x="627" y="295"/>
                  </a:lnTo>
                  <a:lnTo>
                    <a:pt x="627" y="296"/>
                  </a:lnTo>
                  <a:lnTo>
                    <a:pt x="628" y="296"/>
                  </a:lnTo>
                  <a:lnTo>
                    <a:pt x="629" y="298"/>
                  </a:lnTo>
                  <a:lnTo>
                    <a:pt x="630" y="298"/>
                  </a:lnTo>
                  <a:lnTo>
                    <a:pt x="632" y="298"/>
                  </a:lnTo>
                  <a:lnTo>
                    <a:pt x="633" y="298"/>
                  </a:lnTo>
                  <a:lnTo>
                    <a:pt x="634" y="299"/>
                  </a:lnTo>
                  <a:lnTo>
                    <a:pt x="636" y="300"/>
                  </a:lnTo>
                  <a:lnTo>
                    <a:pt x="637" y="300"/>
                  </a:lnTo>
                  <a:lnTo>
                    <a:pt x="637" y="301"/>
                  </a:lnTo>
                  <a:lnTo>
                    <a:pt x="639" y="302"/>
                  </a:lnTo>
                  <a:lnTo>
                    <a:pt x="639" y="303"/>
                  </a:lnTo>
                  <a:lnTo>
                    <a:pt x="640" y="303"/>
                  </a:lnTo>
                  <a:lnTo>
                    <a:pt x="640" y="305"/>
                  </a:lnTo>
                  <a:lnTo>
                    <a:pt x="641" y="305"/>
                  </a:lnTo>
                  <a:lnTo>
                    <a:pt x="641" y="306"/>
                  </a:lnTo>
                  <a:lnTo>
                    <a:pt x="641" y="307"/>
                  </a:lnTo>
                  <a:lnTo>
                    <a:pt x="642" y="307"/>
                  </a:lnTo>
                  <a:lnTo>
                    <a:pt x="642" y="308"/>
                  </a:lnTo>
                  <a:lnTo>
                    <a:pt x="643" y="308"/>
                  </a:lnTo>
                  <a:lnTo>
                    <a:pt x="643" y="309"/>
                  </a:lnTo>
                  <a:lnTo>
                    <a:pt x="644" y="310"/>
                  </a:lnTo>
                  <a:lnTo>
                    <a:pt x="643" y="310"/>
                  </a:lnTo>
                  <a:lnTo>
                    <a:pt x="644" y="310"/>
                  </a:lnTo>
                  <a:lnTo>
                    <a:pt x="644" y="312"/>
                  </a:lnTo>
                  <a:lnTo>
                    <a:pt x="646" y="312"/>
                  </a:lnTo>
                  <a:lnTo>
                    <a:pt x="647" y="313"/>
                  </a:lnTo>
                  <a:lnTo>
                    <a:pt x="647" y="314"/>
                  </a:lnTo>
                  <a:lnTo>
                    <a:pt x="648" y="314"/>
                  </a:lnTo>
                  <a:lnTo>
                    <a:pt x="648" y="315"/>
                  </a:lnTo>
                  <a:lnTo>
                    <a:pt x="649" y="316"/>
                  </a:lnTo>
                  <a:lnTo>
                    <a:pt x="650" y="317"/>
                  </a:lnTo>
                  <a:lnTo>
                    <a:pt x="651" y="319"/>
                  </a:lnTo>
                  <a:lnTo>
                    <a:pt x="651" y="320"/>
                  </a:lnTo>
                  <a:lnTo>
                    <a:pt x="653" y="320"/>
                  </a:lnTo>
                  <a:lnTo>
                    <a:pt x="654" y="321"/>
                  </a:lnTo>
                  <a:lnTo>
                    <a:pt x="654" y="323"/>
                  </a:lnTo>
                  <a:lnTo>
                    <a:pt x="655" y="323"/>
                  </a:lnTo>
                  <a:lnTo>
                    <a:pt x="654" y="324"/>
                  </a:lnTo>
                  <a:lnTo>
                    <a:pt x="655" y="324"/>
                  </a:lnTo>
                  <a:lnTo>
                    <a:pt x="655" y="326"/>
                  </a:lnTo>
                  <a:lnTo>
                    <a:pt x="654" y="326"/>
                  </a:lnTo>
                  <a:lnTo>
                    <a:pt x="654" y="324"/>
                  </a:lnTo>
                  <a:lnTo>
                    <a:pt x="654" y="326"/>
                  </a:lnTo>
                  <a:lnTo>
                    <a:pt x="655" y="326"/>
                  </a:lnTo>
                  <a:lnTo>
                    <a:pt x="656" y="327"/>
                  </a:lnTo>
                  <a:lnTo>
                    <a:pt x="657" y="327"/>
                  </a:lnTo>
                  <a:lnTo>
                    <a:pt x="657" y="328"/>
                  </a:lnTo>
                  <a:lnTo>
                    <a:pt x="658" y="328"/>
                  </a:lnTo>
                  <a:lnTo>
                    <a:pt x="660" y="328"/>
                  </a:lnTo>
                  <a:lnTo>
                    <a:pt x="660" y="329"/>
                  </a:lnTo>
                  <a:lnTo>
                    <a:pt x="661" y="329"/>
                  </a:lnTo>
                  <a:lnTo>
                    <a:pt x="662" y="329"/>
                  </a:lnTo>
                  <a:lnTo>
                    <a:pt x="663" y="330"/>
                  </a:lnTo>
                  <a:lnTo>
                    <a:pt x="664" y="330"/>
                  </a:lnTo>
                  <a:lnTo>
                    <a:pt x="664" y="333"/>
                  </a:lnTo>
                  <a:lnTo>
                    <a:pt x="664" y="334"/>
                  </a:lnTo>
                  <a:lnTo>
                    <a:pt x="665" y="334"/>
                  </a:lnTo>
                  <a:lnTo>
                    <a:pt x="665" y="335"/>
                  </a:lnTo>
                  <a:lnTo>
                    <a:pt x="667" y="335"/>
                  </a:lnTo>
                  <a:lnTo>
                    <a:pt x="668" y="335"/>
                  </a:lnTo>
                  <a:lnTo>
                    <a:pt x="669" y="335"/>
                  </a:lnTo>
                  <a:lnTo>
                    <a:pt x="669" y="336"/>
                  </a:lnTo>
                  <a:lnTo>
                    <a:pt x="670" y="336"/>
                  </a:lnTo>
                  <a:lnTo>
                    <a:pt x="671" y="337"/>
                  </a:lnTo>
                  <a:lnTo>
                    <a:pt x="672" y="337"/>
                  </a:lnTo>
                  <a:lnTo>
                    <a:pt x="672" y="338"/>
                  </a:lnTo>
                  <a:lnTo>
                    <a:pt x="674" y="340"/>
                  </a:lnTo>
                  <a:lnTo>
                    <a:pt x="674" y="341"/>
                  </a:lnTo>
                  <a:lnTo>
                    <a:pt x="675" y="341"/>
                  </a:lnTo>
                  <a:lnTo>
                    <a:pt x="674" y="341"/>
                  </a:lnTo>
                  <a:lnTo>
                    <a:pt x="672" y="341"/>
                  </a:lnTo>
                  <a:lnTo>
                    <a:pt x="671" y="341"/>
                  </a:lnTo>
                  <a:lnTo>
                    <a:pt x="670" y="341"/>
                  </a:lnTo>
                  <a:lnTo>
                    <a:pt x="669" y="340"/>
                  </a:lnTo>
                  <a:lnTo>
                    <a:pt x="668" y="340"/>
                  </a:lnTo>
                  <a:lnTo>
                    <a:pt x="667" y="338"/>
                  </a:lnTo>
                  <a:lnTo>
                    <a:pt x="665" y="338"/>
                  </a:lnTo>
                  <a:lnTo>
                    <a:pt x="664" y="338"/>
                  </a:lnTo>
                  <a:lnTo>
                    <a:pt x="663" y="340"/>
                  </a:lnTo>
                  <a:lnTo>
                    <a:pt x="662" y="340"/>
                  </a:lnTo>
                  <a:lnTo>
                    <a:pt x="661" y="340"/>
                  </a:lnTo>
                  <a:lnTo>
                    <a:pt x="661" y="338"/>
                  </a:lnTo>
                  <a:lnTo>
                    <a:pt x="660" y="338"/>
                  </a:lnTo>
                  <a:lnTo>
                    <a:pt x="660" y="337"/>
                  </a:lnTo>
                  <a:lnTo>
                    <a:pt x="658" y="336"/>
                  </a:lnTo>
                  <a:lnTo>
                    <a:pt x="657" y="336"/>
                  </a:lnTo>
                  <a:lnTo>
                    <a:pt x="655" y="335"/>
                  </a:lnTo>
                  <a:lnTo>
                    <a:pt x="654" y="335"/>
                  </a:lnTo>
                  <a:lnTo>
                    <a:pt x="653" y="335"/>
                  </a:lnTo>
                  <a:lnTo>
                    <a:pt x="651" y="336"/>
                  </a:lnTo>
                  <a:lnTo>
                    <a:pt x="651" y="337"/>
                  </a:lnTo>
                  <a:lnTo>
                    <a:pt x="650" y="337"/>
                  </a:lnTo>
                  <a:lnTo>
                    <a:pt x="649" y="337"/>
                  </a:lnTo>
                  <a:lnTo>
                    <a:pt x="648" y="337"/>
                  </a:lnTo>
                  <a:lnTo>
                    <a:pt x="648" y="336"/>
                  </a:lnTo>
                  <a:lnTo>
                    <a:pt x="647" y="336"/>
                  </a:lnTo>
                  <a:lnTo>
                    <a:pt x="646" y="335"/>
                  </a:lnTo>
                  <a:lnTo>
                    <a:pt x="646" y="334"/>
                  </a:lnTo>
                  <a:lnTo>
                    <a:pt x="644" y="334"/>
                  </a:lnTo>
                  <a:lnTo>
                    <a:pt x="644" y="333"/>
                  </a:lnTo>
                  <a:lnTo>
                    <a:pt x="643" y="331"/>
                  </a:lnTo>
                  <a:lnTo>
                    <a:pt x="642" y="331"/>
                  </a:lnTo>
                  <a:lnTo>
                    <a:pt x="641" y="331"/>
                  </a:lnTo>
                  <a:lnTo>
                    <a:pt x="641" y="330"/>
                  </a:lnTo>
                  <a:lnTo>
                    <a:pt x="640" y="330"/>
                  </a:lnTo>
                  <a:lnTo>
                    <a:pt x="641" y="331"/>
                  </a:lnTo>
                  <a:lnTo>
                    <a:pt x="641" y="333"/>
                  </a:lnTo>
                  <a:lnTo>
                    <a:pt x="641" y="334"/>
                  </a:lnTo>
                  <a:lnTo>
                    <a:pt x="641" y="333"/>
                  </a:lnTo>
                  <a:lnTo>
                    <a:pt x="642" y="333"/>
                  </a:lnTo>
                  <a:lnTo>
                    <a:pt x="643" y="333"/>
                  </a:lnTo>
                  <a:lnTo>
                    <a:pt x="643" y="334"/>
                  </a:lnTo>
                  <a:lnTo>
                    <a:pt x="643" y="335"/>
                  </a:lnTo>
                  <a:lnTo>
                    <a:pt x="644" y="335"/>
                  </a:lnTo>
                  <a:lnTo>
                    <a:pt x="646" y="336"/>
                  </a:lnTo>
                  <a:lnTo>
                    <a:pt x="647" y="336"/>
                  </a:lnTo>
                  <a:lnTo>
                    <a:pt x="647" y="337"/>
                  </a:lnTo>
                  <a:lnTo>
                    <a:pt x="648" y="337"/>
                  </a:lnTo>
                  <a:lnTo>
                    <a:pt x="649" y="337"/>
                  </a:lnTo>
                  <a:lnTo>
                    <a:pt x="650" y="337"/>
                  </a:lnTo>
                  <a:lnTo>
                    <a:pt x="651" y="337"/>
                  </a:lnTo>
                  <a:lnTo>
                    <a:pt x="653" y="337"/>
                  </a:lnTo>
                  <a:lnTo>
                    <a:pt x="654" y="336"/>
                  </a:lnTo>
                  <a:lnTo>
                    <a:pt x="653" y="336"/>
                  </a:lnTo>
                  <a:lnTo>
                    <a:pt x="654" y="336"/>
                  </a:lnTo>
                  <a:lnTo>
                    <a:pt x="655" y="336"/>
                  </a:lnTo>
                  <a:lnTo>
                    <a:pt x="656" y="336"/>
                  </a:lnTo>
                  <a:lnTo>
                    <a:pt x="657" y="336"/>
                  </a:lnTo>
                  <a:lnTo>
                    <a:pt x="658" y="337"/>
                  </a:lnTo>
                  <a:lnTo>
                    <a:pt x="658" y="338"/>
                  </a:lnTo>
                  <a:lnTo>
                    <a:pt x="660" y="340"/>
                  </a:lnTo>
                  <a:lnTo>
                    <a:pt x="658" y="340"/>
                  </a:lnTo>
                  <a:lnTo>
                    <a:pt x="658" y="338"/>
                  </a:lnTo>
                  <a:lnTo>
                    <a:pt x="657" y="338"/>
                  </a:lnTo>
                  <a:lnTo>
                    <a:pt x="658" y="340"/>
                  </a:lnTo>
                  <a:lnTo>
                    <a:pt x="660" y="340"/>
                  </a:lnTo>
                  <a:lnTo>
                    <a:pt x="661" y="340"/>
                  </a:lnTo>
                  <a:lnTo>
                    <a:pt x="662" y="341"/>
                  </a:lnTo>
                  <a:lnTo>
                    <a:pt x="663" y="341"/>
                  </a:lnTo>
                  <a:lnTo>
                    <a:pt x="664" y="341"/>
                  </a:lnTo>
                  <a:lnTo>
                    <a:pt x="665" y="342"/>
                  </a:lnTo>
                  <a:lnTo>
                    <a:pt x="665" y="343"/>
                  </a:lnTo>
                  <a:lnTo>
                    <a:pt x="668" y="344"/>
                  </a:lnTo>
                  <a:lnTo>
                    <a:pt x="669" y="345"/>
                  </a:lnTo>
                  <a:lnTo>
                    <a:pt x="670" y="345"/>
                  </a:lnTo>
                  <a:lnTo>
                    <a:pt x="671" y="346"/>
                  </a:lnTo>
                  <a:lnTo>
                    <a:pt x="672" y="346"/>
                  </a:lnTo>
                  <a:lnTo>
                    <a:pt x="674" y="348"/>
                  </a:lnTo>
                  <a:lnTo>
                    <a:pt x="675" y="349"/>
                  </a:lnTo>
                  <a:lnTo>
                    <a:pt x="677" y="350"/>
                  </a:lnTo>
                  <a:lnTo>
                    <a:pt x="678" y="352"/>
                  </a:lnTo>
                  <a:lnTo>
                    <a:pt x="679" y="353"/>
                  </a:lnTo>
                  <a:lnTo>
                    <a:pt x="679" y="355"/>
                  </a:lnTo>
                  <a:lnTo>
                    <a:pt x="677" y="355"/>
                  </a:lnTo>
                  <a:lnTo>
                    <a:pt x="675" y="355"/>
                  </a:lnTo>
                  <a:lnTo>
                    <a:pt x="674" y="355"/>
                  </a:lnTo>
                  <a:lnTo>
                    <a:pt x="674" y="356"/>
                  </a:lnTo>
                  <a:lnTo>
                    <a:pt x="672" y="356"/>
                  </a:lnTo>
                  <a:lnTo>
                    <a:pt x="672" y="357"/>
                  </a:lnTo>
                  <a:lnTo>
                    <a:pt x="671" y="357"/>
                  </a:lnTo>
                  <a:lnTo>
                    <a:pt x="670" y="357"/>
                  </a:lnTo>
                  <a:lnTo>
                    <a:pt x="670" y="358"/>
                  </a:lnTo>
                  <a:lnTo>
                    <a:pt x="669" y="358"/>
                  </a:lnTo>
                  <a:lnTo>
                    <a:pt x="669" y="359"/>
                  </a:lnTo>
                  <a:lnTo>
                    <a:pt x="668" y="359"/>
                  </a:lnTo>
                  <a:lnTo>
                    <a:pt x="668" y="360"/>
                  </a:lnTo>
                  <a:lnTo>
                    <a:pt x="668" y="362"/>
                  </a:lnTo>
                  <a:lnTo>
                    <a:pt x="668" y="363"/>
                  </a:lnTo>
                  <a:lnTo>
                    <a:pt x="667" y="363"/>
                  </a:lnTo>
                  <a:lnTo>
                    <a:pt x="665" y="362"/>
                  </a:lnTo>
                  <a:lnTo>
                    <a:pt x="664" y="362"/>
                  </a:lnTo>
                  <a:lnTo>
                    <a:pt x="662" y="362"/>
                  </a:lnTo>
                  <a:lnTo>
                    <a:pt x="662" y="363"/>
                  </a:lnTo>
                  <a:lnTo>
                    <a:pt x="662" y="364"/>
                  </a:lnTo>
                  <a:lnTo>
                    <a:pt x="661" y="364"/>
                  </a:lnTo>
                  <a:lnTo>
                    <a:pt x="661" y="363"/>
                  </a:lnTo>
                  <a:lnTo>
                    <a:pt x="660" y="363"/>
                  </a:lnTo>
                  <a:lnTo>
                    <a:pt x="660" y="364"/>
                  </a:lnTo>
                  <a:lnTo>
                    <a:pt x="658" y="365"/>
                  </a:lnTo>
                  <a:lnTo>
                    <a:pt x="660" y="365"/>
                  </a:lnTo>
                  <a:lnTo>
                    <a:pt x="660" y="364"/>
                  </a:lnTo>
                  <a:lnTo>
                    <a:pt x="661" y="364"/>
                  </a:lnTo>
                  <a:lnTo>
                    <a:pt x="662" y="364"/>
                  </a:lnTo>
                  <a:lnTo>
                    <a:pt x="662" y="363"/>
                  </a:lnTo>
                  <a:lnTo>
                    <a:pt x="662" y="362"/>
                  </a:lnTo>
                  <a:lnTo>
                    <a:pt x="663" y="362"/>
                  </a:lnTo>
                  <a:lnTo>
                    <a:pt x="664" y="362"/>
                  </a:lnTo>
                  <a:lnTo>
                    <a:pt x="665" y="363"/>
                  </a:lnTo>
                  <a:lnTo>
                    <a:pt x="665" y="364"/>
                  </a:lnTo>
                  <a:lnTo>
                    <a:pt x="667" y="364"/>
                  </a:lnTo>
                  <a:lnTo>
                    <a:pt x="667" y="365"/>
                  </a:lnTo>
                  <a:lnTo>
                    <a:pt x="665" y="365"/>
                  </a:lnTo>
                  <a:lnTo>
                    <a:pt x="665" y="366"/>
                  </a:lnTo>
                  <a:lnTo>
                    <a:pt x="667" y="366"/>
                  </a:lnTo>
                  <a:lnTo>
                    <a:pt x="668" y="366"/>
                  </a:lnTo>
                  <a:lnTo>
                    <a:pt x="667" y="366"/>
                  </a:lnTo>
                  <a:lnTo>
                    <a:pt x="665" y="366"/>
                  </a:lnTo>
                  <a:lnTo>
                    <a:pt x="665" y="365"/>
                  </a:lnTo>
                  <a:lnTo>
                    <a:pt x="667" y="365"/>
                  </a:lnTo>
                  <a:lnTo>
                    <a:pt x="667" y="364"/>
                  </a:lnTo>
                  <a:lnTo>
                    <a:pt x="668" y="364"/>
                  </a:lnTo>
                  <a:lnTo>
                    <a:pt x="668" y="365"/>
                  </a:lnTo>
                  <a:lnTo>
                    <a:pt x="669" y="365"/>
                  </a:lnTo>
                  <a:lnTo>
                    <a:pt x="670" y="365"/>
                  </a:lnTo>
                  <a:lnTo>
                    <a:pt x="670" y="364"/>
                  </a:lnTo>
                  <a:lnTo>
                    <a:pt x="671" y="363"/>
                  </a:lnTo>
                  <a:lnTo>
                    <a:pt x="672" y="363"/>
                  </a:lnTo>
                  <a:lnTo>
                    <a:pt x="674" y="363"/>
                  </a:lnTo>
                  <a:lnTo>
                    <a:pt x="675" y="363"/>
                  </a:lnTo>
                  <a:lnTo>
                    <a:pt x="676" y="363"/>
                  </a:lnTo>
                  <a:lnTo>
                    <a:pt x="677" y="364"/>
                  </a:lnTo>
                  <a:lnTo>
                    <a:pt x="678" y="365"/>
                  </a:lnTo>
                  <a:lnTo>
                    <a:pt x="678" y="366"/>
                  </a:lnTo>
                  <a:lnTo>
                    <a:pt x="679" y="367"/>
                  </a:lnTo>
                  <a:lnTo>
                    <a:pt x="681" y="367"/>
                  </a:lnTo>
                  <a:lnTo>
                    <a:pt x="681" y="369"/>
                  </a:lnTo>
                  <a:lnTo>
                    <a:pt x="682" y="369"/>
                  </a:lnTo>
                  <a:lnTo>
                    <a:pt x="681" y="369"/>
                  </a:lnTo>
                  <a:lnTo>
                    <a:pt x="682" y="369"/>
                  </a:lnTo>
                  <a:lnTo>
                    <a:pt x="683" y="369"/>
                  </a:lnTo>
                  <a:lnTo>
                    <a:pt x="684" y="369"/>
                  </a:lnTo>
                  <a:lnTo>
                    <a:pt x="684" y="370"/>
                  </a:lnTo>
                  <a:lnTo>
                    <a:pt x="685" y="370"/>
                  </a:lnTo>
                  <a:lnTo>
                    <a:pt x="686" y="370"/>
                  </a:lnTo>
                  <a:lnTo>
                    <a:pt x="688" y="370"/>
                  </a:lnTo>
                  <a:lnTo>
                    <a:pt x="686" y="370"/>
                  </a:lnTo>
                  <a:lnTo>
                    <a:pt x="686" y="371"/>
                  </a:lnTo>
                  <a:lnTo>
                    <a:pt x="685" y="371"/>
                  </a:lnTo>
                  <a:lnTo>
                    <a:pt x="684" y="372"/>
                  </a:lnTo>
                  <a:lnTo>
                    <a:pt x="684" y="373"/>
                  </a:lnTo>
                  <a:lnTo>
                    <a:pt x="683" y="373"/>
                  </a:lnTo>
                  <a:lnTo>
                    <a:pt x="683" y="374"/>
                  </a:lnTo>
                  <a:lnTo>
                    <a:pt x="682" y="374"/>
                  </a:lnTo>
                  <a:lnTo>
                    <a:pt x="682" y="376"/>
                  </a:lnTo>
                  <a:lnTo>
                    <a:pt x="682" y="374"/>
                  </a:lnTo>
                  <a:lnTo>
                    <a:pt x="681" y="376"/>
                  </a:lnTo>
                  <a:lnTo>
                    <a:pt x="681" y="374"/>
                  </a:lnTo>
                  <a:lnTo>
                    <a:pt x="679" y="376"/>
                  </a:lnTo>
                  <a:lnTo>
                    <a:pt x="679" y="377"/>
                  </a:lnTo>
                  <a:lnTo>
                    <a:pt x="681" y="377"/>
                  </a:lnTo>
                  <a:lnTo>
                    <a:pt x="681" y="376"/>
                  </a:lnTo>
                  <a:lnTo>
                    <a:pt x="681" y="377"/>
                  </a:lnTo>
                  <a:lnTo>
                    <a:pt x="681" y="378"/>
                  </a:lnTo>
                  <a:lnTo>
                    <a:pt x="681" y="377"/>
                  </a:lnTo>
                  <a:lnTo>
                    <a:pt x="682" y="377"/>
                  </a:lnTo>
                  <a:lnTo>
                    <a:pt x="682" y="376"/>
                  </a:lnTo>
                  <a:lnTo>
                    <a:pt x="683" y="376"/>
                  </a:lnTo>
                  <a:lnTo>
                    <a:pt x="684" y="376"/>
                  </a:lnTo>
                  <a:lnTo>
                    <a:pt x="684" y="377"/>
                  </a:lnTo>
                  <a:lnTo>
                    <a:pt x="684" y="376"/>
                  </a:lnTo>
                  <a:lnTo>
                    <a:pt x="685" y="376"/>
                  </a:lnTo>
                  <a:lnTo>
                    <a:pt x="684" y="374"/>
                  </a:lnTo>
                  <a:lnTo>
                    <a:pt x="684" y="376"/>
                  </a:lnTo>
                  <a:lnTo>
                    <a:pt x="684" y="374"/>
                  </a:lnTo>
                  <a:lnTo>
                    <a:pt x="683" y="374"/>
                  </a:lnTo>
                  <a:lnTo>
                    <a:pt x="684" y="374"/>
                  </a:lnTo>
                  <a:lnTo>
                    <a:pt x="685" y="373"/>
                  </a:lnTo>
                  <a:lnTo>
                    <a:pt x="686" y="374"/>
                  </a:lnTo>
                  <a:lnTo>
                    <a:pt x="686" y="376"/>
                  </a:lnTo>
                  <a:lnTo>
                    <a:pt x="688" y="377"/>
                  </a:lnTo>
                  <a:lnTo>
                    <a:pt x="686" y="377"/>
                  </a:lnTo>
                  <a:lnTo>
                    <a:pt x="688" y="377"/>
                  </a:lnTo>
                  <a:lnTo>
                    <a:pt x="686" y="377"/>
                  </a:lnTo>
                  <a:lnTo>
                    <a:pt x="686" y="378"/>
                  </a:lnTo>
                  <a:lnTo>
                    <a:pt x="688" y="378"/>
                  </a:lnTo>
                  <a:lnTo>
                    <a:pt x="688" y="379"/>
                  </a:lnTo>
                  <a:lnTo>
                    <a:pt x="686" y="379"/>
                  </a:lnTo>
                  <a:lnTo>
                    <a:pt x="688" y="379"/>
                  </a:lnTo>
                  <a:lnTo>
                    <a:pt x="689" y="379"/>
                  </a:lnTo>
                  <a:lnTo>
                    <a:pt x="688" y="379"/>
                  </a:lnTo>
                  <a:lnTo>
                    <a:pt x="688" y="380"/>
                  </a:lnTo>
                  <a:lnTo>
                    <a:pt x="686" y="381"/>
                  </a:lnTo>
                  <a:lnTo>
                    <a:pt x="685" y="380"/>
                  </a:lnTo>
                  <a:lnTo>
                    <a:pt x="685" y="379"/>
                  </a:lnTo>
                  <a:lnTo>
                    <a:pt x="686" y="379"/>
                  </a:lnTo>
                  <a:lnTo>
                    <a:pt x="685" y="378"/>
                  </a:lnTo>
                  <a:lnTo>
                    <a:pt x="685" y="379"/>
                  </a:lnTo>
                  <a:lnTo>
                    <a:pt x="685" y="378"/>
                  </a:lnTo>
                  <a:lnTo>
                    <a:pt x="684" y="378"/>
                  </a:lnTo>
                  <a:lnTo>
                    <a:pt x="685" y="378"/>
                  </a:lnTo>
                  <a:lnTo>
                    <a:pt x="685" y="379"/>
                  </a:lnTo>
                  <a:lnTo>
                    <a:pt x="685" y="380"/>
                  </a:lnTo>
                  <a:lnTo>
                    <a:pt x="685" y="381"/>
                  </a:lnTo>
                  <a:lnTo>
                    <a:pt x="684" y="380"/>
                  </a:lnTo>
                  <a:lnTo>
                    <a:pt x="683" y="379"/>
                  </a:lnTo>
                  <a:lnTo>
                    <a:pt x="684" y="379"/>
                  </a:lnTo>
                  <a:lnTo>
                    <a:pt x="683" y="379"/>
                  </a:lnTo>
                  <a:lnTo>
                    <a:pt x="684" y="380"/>
                  </a:lnTo>
                  <a:lnTo>
                    <a:pt x="683" y="380"/>
                  </a:lnTo>
                  <a:lnTo>
                    <a:pt x="683" y="379"/>
                  </a:lnTo>
                  <a:lnTo>
                    <a:pt x="682" y="379"/>
                  </a:lnTo>
                  <a:lnTo>
                    <a:pt x="683" y="379"/>
                  </a:lnTo>
                  <a:lnTo>
                    <a:pt x="682" y="379"/>
                  </a:lnTo>
                  <a:lnTo>
                    <a:pt x="682" y="380"/>
                  </a:lnTo>
                  <a:lnTo>
                    <a:pt x="682" y="381"/>
                  </a:lnTo>
                  <a:lnTo>
                    <a:pt x="681" y="381"/>
                  </a:lnTo>
                  <a:lnTo>
                    <a:pt x="682" y="381"/>
                  </a:lnTo>
                  <a:lnTo>
                    <a:pt x="681" y="381"/>
                  </a:lnTo>
                  <a:lnTo>
                    <a:pt x="682" y="381"/>
                  </a:lnTo>
                  <a:lnTo>
                    <a:pt x="683" y="381"/>
                  </a:lnTo>
                  <a:lnTo>
                    <a:pt x="684" y="381"/>
                  </a:lnTo>
                  <a:lnTo>
                    <a:pt x="684" y="383"/>
                  </a:lnTo>
                  <a:lnTo>
                    <a:pt x="683" y="383"/>
                  </a:lnTo>
                  <a:lnTo>
                    <a:pt x="683" y="384"/>
                  </a:lnTo>
                  <a:lnTo>
                    <a:pt x="683" y="383"/>
                  </a:lnTo>
                  <a:lnTo>
                    <a:pt x="684" y="383"/>
                  </a:lnTo>
                  <a:lnTo>
                    <a:pt x="685" y="384"/>
                  </a:lnTo>
                  <a:lnTo>
                    <a:pt x="685" y="385"/>
                  </a:lnTo>
                  <a:lnTo>
                    <a:pt x="686" y="385"/>
                  </a:lnTo>
                  <a:lnTo>
                    <a:pt x="685" y="385"/>
                  </a:lnTo>
                  <a:lnTo>
                    <a:pt x="684" y="385"/>
                  </a:lnTo>
                  <a:lnTo>
                    <a:pt x="684" y="384"/>
                  </a:lnTo>
                  <a:lnTo>
                    <a:pt x="684" y="385"/>
                  </a:lnTo>
                  <a:lnTo>
                    <a:pt x="684" y="384"/>
                  </a:lnTo>
                  <a:lnTo>
                    <a:pt x="683" y="384"/>
                  </a:lnTo>
                  <a:lnTo>
                    <a:pt x="683" y="385"/>
                  </a:lnTo>
                  <a:lnTo>
                    <a:pt x="684" y="385"/>
                  </a:lnTo>
                  <a:lnTo>
                    <a:pt x="685" y="385"/>
                  </a:lnTo>
                  <a:lnTo>
                    <a:pt x="685" y="386"/>
                  </a:lnTo>
                  <a:lnTo>
                    <a:pt x="686" y="386"/>
                  </a:lnTo>
                  <a:lnTo>
                    <a:pt x="685" y="386"/>
                  </a:lnTo>
                  <a:lnTo>
                    <a:pt x="685" y="387"/>
                  </a:lnTo>
                  <a:lnTo>
                    <a:pt x="686" y="387"/>
                  </a:lnTo>
                  <a:lnTo>
                    <a:pt x="685" y="387"/>
                  </a:lnTo>
                  <a:lnTo>
                    <a:pt x="685" y="388"/>
                  </a:lnTo>
                  <a:lnTo>
                    <a:pt x="684" y="388"/>
                  </a:lnTo>
                  <a:lnTo>
                    <a:pt x="682" y="388"/>
                  </a:lnTo>
                  <a:lnTo>
                    <a:pt x="682" y="387"/>
                  </a:lnTo>
                  <a:lnTo>
                    <a:pt x="681" y="387"/>
                  </a:lnTo>
                  <a:lnTo>
                    <a:pt x="679" y="386"/>
                  </a:lnTo>
                  <a:lnTo>
                    <a:pt x="678" y="386"/>
                  </a:lnTo>
                  <a:lnTo>
                    <a:pt x="679" y="386"/>
                  </a:lnTo>
                  <a:lnTo>
                    <a:pt x="679" y="387"/>
                  </a:lnTo>
                  <a:lnTo>
                    <a:pt x="681" y="387"/>
                  </a:lnTo>
                  <a:lnTo>
                    <a:pt x="682" y="387"/>
                  </a:lnTo>
                  <a:lnTo>
                    <a:pt x="682" y="388"/>
                  </a:lnTo>
                  <a:lnTo>
                    <a:pt x="683" y="388"/>
                  </a:lnTo>
                  <a:lnTo>
                    <a:pt x="684" y="388"/>
                  </a:lnTo>
                  <a:lnTo>
                    <a:pt x="684" y="390"/>
                  </a:lnTo>
                  <a:lnTo>
                    <a:pt x="685" y="390"/>
                  </a:lnTo>
                  <a:lnTo>
                    <a:pt x="685" y="391"/>
                  </a:lnTo>
                  <a:lnTo>
                    <a:pt x="686" y="391"/>
                  </a:lnTo>
                  <a:lnTo>
                    <a:pt x="686" y="392"/>
                  </a:lnTo>
                  <a:lnTo>
                    <a:pt x="685" y="392"/>
                  </a:lnTo>
                  <a:lnTo>
                    <a:pt x="686" y="392"/>
                  </a:lnTo>
                  <a:lnTo>
                    <a:pt x="686" y="393"/>
                  </a:lnTo>
                  <a:lnTo>
                    <a:pt x="688" y="393"/>
                  </a:lnTo>
                  <a:lnTo>
                    <a:pt x="688" y="394"/>
                  </a:lnTo>
                  <a:lnTo>
                    <a:pt x="688" y="395"/>
                  </a:lnTo>
                  <a:lnTo>
                    <a:pt x="688" y="394"/>
                  </a:lnTo>
                  <a:lnTo>
                    <a:pt x="686" y="394"/>
                  </a:lnTo>
                  <a:lnTo>
                    <a:pt x="685" y="394"/>
                  </a:lnTo>
                  <a:lnTo>
                    <a:pt x="685" y="395"/>
                  </a:lnTo>
                  <a:lnTo>
                    <a:pt x="685" y="397"/>
                  </a:lnTo>
                  <a:lnTo>
                    <a:pt x="684" y="397"/>
                  </a:lnTo>
                  <a:lnTo>
                    <a:pt x="683" y="395"/>
                  </a:lnTo>
                  <a:lnTo>
                    <a:pt x="683" y="394"/>
                  </a:lnTo>
                  <a:lnTo>
                    <a:pt x="682" y="394"/>
                  </a:lnTo>
                  <a:lnTo>
                    <a:pt x="683" y="394"/>
                  </a:lnTo>
                  <a:lnTo>
                    <a:pt x="683" y="393"/>
                  </a:lnTo>
                  <a:lnTo>
                    <a:pt x="682" y="394"/>
                  </a:lnTo>
                  <a:lnTo>
                    <a:pt x="682" y="393"/>
                  </a:lnTo>
                  <a:lnTo>
                    <a:pt x="682" y="394"/>
                  </a:lnTo>
                  <a:lnTo>
                    <a:pt x="681" y="394"/>
                  </a:lnTo>
                  <a:lnTo>
                    <a:pt x="679" y="394"/>
                  </a:lnTo>
                  <a:lnTo>
                    <a:pt x="681" y="395"/>
                  </a:lnTo>
                  <a:lnTo>
                    <a:pt x="682" y="395"/>
                  </a:lnTo>
                  <a:lnTo>
                    <a:pt x="682" y="397"/>
                  </a:lnTo>
                  <a:lnTo>
                    <a:pt x="681" y="397"/>
                  </a:lnTo>
                  <a:lnTo>
                    <a:pt x="681" y="398"/>
                  </a:lnTo>
                  <a:lnTo>
                    <a:pt x="681" y="399"/>
                  </a:lnTo>
                  <a:lnTo>
                    <a:pt x="681" y="400"/>
                  </a:lnTo>
                  <a:lnTo>
                    <a:pt x="679" y="400"/>
                  </a:lnTo>
                  <a:lnTo>
                    <a:pt x="679" y="399"/>
                  </a:lnTo>
                  <a:lnTo>
                    <a:pt x="678" y="400"/>
                  </a:lnTo>
                  <a:lnTo>
                    <a:pt x="678" y="399"/>
                  </a:lnTo>
                  <a:lnTo>
                    <a:pt x="677" y="399"/>
                  </a:lnTo>
                  <a:lnTo>
                    <a:pt x="676" y="399"/>
                  </a:lnTo>
                  <a:lnTo>
                    <a:pt x="675" y="399"/>
                  </a:lnTo>
                  <a:lnTo>
                    <a:pt x="675" y="398"/>
                  </a:lnTo>
                  <a:lnTo>
                    <a:pt x="675" y="399"/>
                  </a:lnTo>
                  <a:lnTo>
                    <a:pt x="676" y="399"/>
                  </a:lnTo>
                  <a:lnTo>
                    <a:pt x="677" y="399"/>
                  </a:lnTo>
                  <a:lnTo>
                    <a:pt x="677" y="400"/>
                  </a:lnTo>
                  <a:lnTo>
                    <a:pt x="678" y="400"/>
                  </a:lnTo>
                  <a:lnTo>
                    <a:pt x="679" y="400"/>
                  </a:lnTo>
                  <a:lnTo>
                    <a:pt x="679" y="401"/>
                  </a:lnTo>
                  <a:lnTo>
                    <a:pt x="679" y="402"/>
                  </a:lnTo>
                  <a:lnTo>
                    <a:pt x="678" y="404"/>
                  </a:lnTo>
                  <a:lnTo>
                    <a:pt x="677" y="404"/>
                  </a:lnTo>
                  <a:lnTo>
                    <a:pt x="678" y="404"/>
                  </a:lnTo>
                  <a:lnTo>
                    <a:pt x="678" y="405"/>
                  </a:lnTo>
                  <a:lnTo>
                    <a:pt x="678" y="406"/>
                  </a:lnTo>
                  <a:lnTo>
                    <a:pt x="677" y="406"/>
                  </a:lnTo>
                  <a:lnTo>
                    <a:pt x="677" y="407"/>
                  </a:lnTo>
                  <a:lnTo>
                    <a:pt x="678" y="407"/>
                  </a:lnTo>
                  <a:lnTo>
                    <a:pt x="678" y="408"/>
                  </a:lnTo>
                  <a:lnTo>
                    <a:pt x="678" y="409"/>
                  </a:lnTo>
                  <a:lnTo>
                    <a:pt x="677" y="409"/>
                  </a:lnTo>
                  <a:lnTo>
                    <a:pt x="677" y="411"/>
                  </a:lnTo>
                  <a:lnTo>
                    <a:pt x="678" y="411"/>
                  </a:lnTo>
                  <a:lnTo>
                    <a:pt x="677" y="411"/>
                  </a:lnTo>
                  <a:lnTo>
                    <a:pt x="677" y="412"/>
                  </a:lnTo>
                  <a:lnTo>
                    <a:pt x="678" y="412"/>
                  </a:lnTo>
                  <a:lnTo>
                    <a:pt x="677" y="412"/>
                  </a:lnTo>
                  <a:lnTo>
                    <a:pt x="678" y="412"/>
                  </a:lnTo>
                  <a:lnTo>
                    <a:pt x="677" y="412"/>
                  </a:lnTo>
                  <a:lnTo>
                    <a:pt x="677" y="413"/>
                  </a:lnTo>
                  <a:lnTo>
                    <a:pt x="677" y="412"/>
                  </a:lnTo>
                  <a:lnTo>
                    <a:pt x="676" y="412"/>
                  </a:lnTo>
                  <a:lnTo>
                    <a:pt x="677" y="412"/>
                  </a:lnTo>
                  <a:lnTo>
                    <a:pt x="677" y="413"/>
                  </a:lnTo>
                  <a:lnTo>
                    <a:pt x="676" y="413"/>
                  </a:lnTo>
                  <a:lnTo>
                    <a:pt x="676" y="412"/>
                  </a:lnTo>
                  <a:lnTo>
                    <a:pt x="675" y="412"/>
                  </a:lnTo>
                  <a:lnTo>
                    <a:pt x="675" y="411"/>
                  </a:lnTo>
                  <a:lnTo>
                    <a:pt x="674" y="411"/>
                  </a:lnTo>
                  <a:lnTo>
                    <a:pt x="674" y="412"/>
                  </a:lnTo>
                  <a:lnTo>
                    <a:pt x="675" y="412"/>
                  </a:lnTo>
                  <a:lnTo>
                    <a:pt x="676" y="412"/>
                  </a:lnTo>
                  <a:lnTo>
                    <a:pt x="676" y="413"/>
                  </a:lnTo>
                  <a:lnTo>
                    <a:pt x="676" y="412"/>
                  </a:lnTo>
                  <a:lnTo>
                    <a:pt x="676" y="413"/>
                  </a:lnTo>
                  <a:lnTo>
                    <a:pt x="677" y="413"/>
                  </a:lnTo>
                  <a:lnTo>
                    <a:pt x="676" y="413"/>
                  </a:lnTo>
                  <a:lnTo>
                    <a:pt x="677" y="413"/>
                  </a:lnTo>
                  <a:lnTo>
                    <a:pt x="676" y="413"/>
                  </a:lnTo>
                  <a:lnTo>
                    <a:pt x="676" y="414"/>
                  </a:lnTo>
                  <a:lnTo>
                    <a:pt x="677" y="414"/>
                  </a:lnTo>
                  <a:lnTo>
                    <a:pt x="676" y="414"/>
                  </a:lnTo>
                  <a:lnTo>
                    <a:pt x="675" y="413"/>
                  </a:lnTo>
                  <a:lnTo>
                    <a:pt x="675" y="414"/>
                  </a:lnTo>
                  <a:lnTo>
                    <a:pt x="675" y="415"/>
                  </a:lnTo>
                  <a:lnTo>
                    <a:pt x="674" y="415"/>
                  </a:lnTo>
                  <a:lnTo>
                    <a:pt x="675" y="416"/>
                  </a:lnTo>
                  <a:lnTo>
                    <a:pt x="675" y="415"/>
                  </a:lnTo>
                  <a:lnTo>
                    <a:pt x="675" y="416"/>
                  </a:lnTo>
                  <a:lnTo>
                    <a:pt x="674" y="416"/>
                  </a:lnTo>
                  <a:lnTo>
                    <a:pt x="674" y="418"/>
                  </a:lnTo>
                  <a:lnTo>
                    <a:pt x="674" y="416"/>
                  </a:lnTo>
                  <a:lnTo>
                    <a:pt x="672" y="416"/>
                  </a:lnTo>
                  <a:lnTo>
                    <a:pt x="672" y="418"/>
                  </a:lnTo>
                  <a:lnTo>
                    <a:pt x="674" y="418"/>
                  </a:lnTo>
                  <a:lnTo>
                    <a:pt x="674" y="419"/>
                  </a:lnTo>
                  <a:lnTo>
                    <a:pt x="675" y="419"/>
                  </a:lnTo>
                  <a:lnTo>
                    <a:pt x="674" y="419"/>
                  </a:lnTo>
                  <a:lnTo>
                    <a:pt x="674" y="420"/>
                  </a:lnTo>
                  <a:lnTo>
                    <a:pt x="675" y="420"/>
                  </a:lnTo>
                  <a:lnTo>
                    <a:pt x="675" y="421"/>
                  </a:lnTo>
                  <a:lnTo>
                    <a:pt x="674" y="421"/>
                  </a:lnTo>
                  <a:lnTo>
                    <a:pt x="672" y="421"/>
                  </a:lnTo>
                  <a:lnTo>
                    <a:pt x="672" y="422"/>
                  </a:lnTo>
                  <a:lnTo>
                    <a:pt x="671" y="422"/>
                  </a:lnTo>
                  <a:lnTo>
                    <a:pt x="671" y="421"/>
                  </a:lnTo>
                  <a:lnTo>
                    <a:pt x="672" y="421"/>
                  </a:lnTo>
                  <a:lnTo>
                    <a:pt x="672" y="420"/>
                  </a:lnTo>
                  <a:lnTo>
                    <a:pt x="674" y="420"/>
                  </a:lnTo>
                  <a:lnTo>
                    <a:pt x="674" y="419"/>
                  </a:lnTo>
                  <a:lnTo>
                    <a:pt x="672" y="419"/>
                  </a:lnTo>
                  <a:lnTo>
                    <a:pt x="671" y="419"/>
                  </a:lnTo>
                  <a:lnTo>
                    <a:pt x="671" y="420"/>
                  </a:lnTo>
                  <a:lnTo>
                    <a:pt x="671" y="421"/>
                  </a:lnTo>
                  <a:lnTo>
                    <a:pt x="671" y="420"/>
                  </a:lnTo>
                  <a:lnTo>
                    <a:pt x="670" y="420"/>
                  </a:lnTo>
                  <a:lnTo>
                    <a:pt x="670" y="419"/>
                  </a:lnTo>
                  <a:lnTo>
                    <a:pt x="670" y="418"/>
                  </a:lnTo>
                  <a:lnTo>
                    <a:pt x="669" y="418"/>
                  </a:lnTo>
                  <a:lnTo>
                    <a:pt x="669" y="419"/>
                  </a:lnTo>
                  <a:lnTo>
                    <a:pt x="670" y="419"/>
                  </a:lnTo>
                  <a:lnTo>
                    <a:pt x="669" y="420"/>
                  </a:lnTo>
                  <a:lnTo>
                    <a:pt x="669" y="419"/>
                  </a:lnTo>
                  <a:lnTo>
                    <a:pt x="668" y="418"/>
                  </a:lnTo>
                  <a:lnTo>
                    <a:pt x="668" y="419"/>
                  </a:lnTo>
                  <a:lnTo>
                    <a:pt x="669" y="419"/>
                  </a:lnTo>
                  <a:lnTo>
                    <a:pt x="669" y="420"/>
                  </a:lnTo>
                  <a:lnTo>
                    <a:pt x="668" y="420"/>
                  </a:lnTo>
                  <a:lnTo>
                    <a:pt x="668" y="419"/>
                  </a:lnTo>
                  <a:lnTo>
                    <a:pt x="667" y="419"/>
                  </a:lnTo>
                  <a:lnTo>
                    <a:pt x="667" y="420"/>
                  </a:lnTo>
                  <a:lnTo>
                    <a:pt x="668" y="420"/>
                  </a:lnTo>
                  <a:lnTo>
                    <a:pt x="668" y="421"/>
                  </a:lnTo>
                  <a:lnTo>
                    <a:pt x="667" y="421"/>
                  </a:lnTo>
                  <a:lnTo>
                    <a:pt x="668" y="421"/>
                  </a:lnTo>
                  <a:lnTo>
                    <a:pt x="668" y="422"/>
                  </a:lnTo>
                  <a:lnTo>
                    <a:pt x="669" y="421"/>
                  </a:lnTo>
                  <a:lnTo>
                    <a:pt x="670" y="421"/>
                  </a:lnTo>
                  <a:lnTo>
                    <a:pt x="670" y="422"/>
                  </a:lnTo>
                  <a:lnTo>
                    <a:pt x="671" y="423"/>
                  </a:lnTo>
                  <a:lnTo>
                    <a:pt x="671" y="425"/>
                  </a:lnTo>
                  <a:lnTo>
                    <a:pt x="670" y="425"/>
                  </a:lnTo>
                  <a:lnTo>
                    <a:pt x="670" y="423"/>
                  </a:lnTo>
                  <a:lnTo>
                    <a:pt x="669" y="423"/>
                  </a:lnTo>
                  <a:lnTo>
                    <a:pt x="668" y="423"/>
                  </a:lnTo>
                  <a:lnTo>
                    <a:pt x="668" y="425"/>
                  </a:lnTo>
                  <a:lnTo>
                    <a:pt x="669" y="425"/>
                  </a:lnTo>
                  <a:lnTo>
                    <a:pt x="669" y="423"/>
                  </a:lnTo>
                  <a:lnTo>
                    <a:pt x="669" y="425"/>
                  </a:lnTo>
                  <a:lnTo>
                    <a:pt x="670" y="426"/>
                  </a:lnTo>
                  <a:lnTo>
                    <a:pt x="671" y="426"/>
                  </a:lnTo>
                  <a:lnTo>
                    <a:pt x="671" y="425"/>
                  </a:lnTo>
                  <a:lnTo>
                    <a:pt x="672" y="425"/>
                  </a:lnTo>
                  <a:lnTo>
                    <a:pt x="672" y="426"/>
                  </a:lnTo>
                  <a:lnTo>
                    <a:pt x="674" y="426"/>
                  </a:lnTo>
                  <a:lnTo>
                    <a:pt x="672" y="426"/>
                  </a:lnTo>
                  <a:lnTo>
                    <a:pt x="671" y="426"/>
                  </a:lnTo>
                  <a:lnTo>
                    <a:pt x="671" y="427"/>
                  </a:lnTo>
                  <a:lnTo>
                    <a:pt x="672" y="427"/>
                  </a:lnTo>
                  <a:lnTo>
                    <a:pt x="671" y="427"/>
                  </a:lnTo>
                  <a:lnTo>
                    <a:pt x="670" y="427"/>
                  </a:lnTo>
                  <a:lnTo>
                    <a:pt x="670" y="428"/>
                  </a:lnTo>
                  <a:lnTo>
                    <a:pt x="670" y="429"/>
                  </a:lnTo>
                  <a:lnTo>
                    <a:pt x="669" y="429"/>
                  </a:lnTo>
                  <a:lnTo>
                    <a:pt x="669" y="430"/>
                  </a:lnTo>
                  <a:lnTo>
                    <a:pt x="669" y="432"/>
                  </a:lnTo>
                  <a:lnTo>
                    <a:pt x="668" y="432"/>
                  </a:lnTo>
                  <a:lnTo>
                    <a:pt x="668" y="430"/>
                  </a:lnTo>
                  <a:lnTo>
                    <a:pt x="667" y="430"/>
                  </a:lnTo>
                  <a:lnTo>
                    <a:pt x="665" y="430"/>
                  </a:lnTo>
                  <a:lnTo>
                    <a:pt x="665" y="429"/>
                  </a:lnTo>
                  <a:lnTo>
                    <a:pt x="664" y="429"/>
                  </a:lnTo>
                  <a:lnTo>
                    <a:pt x="663" y="429"/>
                  </a:lnTo>
                  <a:lnTo>
                    <a:pt x="664" y="429"/>
                  </a:lnTo>
                  <a:lnTo>
                    <a:pt x="664" y="430"/>
                  </a:lnTo>
                  <a:lnTo>
                    <a:pt x="665" y="430"/>
                  </a:lnTo>
                  <a:lnTo>
                    <a:pt x="665" y="432"/>
                  </a:lnTo>
                  <a:lnTo>
                    <a:pt x="667" y="432"/>
                  </a:lnTo>
                  <a:lnTo>
                    <a:pt x="668" y="432"/>
                  </a:lnTo>
                  <a:lnTo>
                    <a:pt x="669" y="432"/>
                  </a:lnTo>
                  <a:lnTo>
                    <a:pt x="669" y="430"/>
                  </a:lnTo>
                  <a:lnTo>
                    <a:pt x="670" y="430"/>
                  </a:lnTo>
                  <a:lnTo>
                    <a:pt x="671" y="430"/>
                  </a:lnTo>
                  <a:lnTo>
                    <a:pt x="671" y="432"/>
                  </a:lnTo>
                  <a:lnTo>
                    <a:pt x="671" y="433"/>
                  </a:lnTo>
                  <a:lnTo>
                    <a:pt x="671" y="434"/>
                  </a:lnTo>
                  <a:lnTo>
                    <a:pt x="670" y="433"/>
                  </a:lnTo>
                  <a:lnTo>
                    <a:pt x="671" y="434"/>
                  </a:lnTo>
                  <a:lnTo>
                    <a:pt x="671" y="435"/>
                  </a:lnTo>
                  <a:lnTo>
                    <a:pt x="671" y="436"/>
                  </a:lnTo>
                  <a:lnTo>
                    <a:pt x="670" y="436"/>
                  </a:lnTo>
                  <a:lnTo>
                    <a:pt x="670" y="437"/>
                  </a:lnTo>
                  <a:lnTo>
                    <a:pt x="671" y="439"/>
                  </a:lnTo>
                  <a:lnTo>
                    <a:pt x="671" y="437"/>
                  </a:lnTo>
                  <a:lnTo>
                    <a:pt x="671" y="439"/>
                  </a:lnTo>
                  <a:lnTo>
                    <a:pt x="671" y="437"/>
                  </a:lnTo>
                  <a:lnTo>
                    <a:pt x="671" y="439"/>
                  </a:lnTo>
                  <a:lnTo>
                    <a:pt x="672" y="439"/>
                  </a:lnTo>
                  <a:lnTo>
                    <a:pt x="671" y="439"/>
                  </a:lnTo>
                  <a:lnTo>
                    <a:pt x="672" y="439"/>
                  </a:lnTo>
                  <a:lnTo>
                    <a:pt x="672" y="440"/>
                  </a:lnTo>
                  <a:lnTo>
                    <a:pt x="672" y="439"/>
                  </a:lnTo>
                  <a:lnTo>
                    <a:pt x="672" y="440"/>
                  </a:lnTo>
                  <a:lnTo>
                    <a:pt x="674" y="440"/>
                  </a:lnTo>
                  <a:lnTo>
                    <a:pt x="674" y="441"/>
                  </a:lnTo>
                  <a:lnTo>
                    <a:pt x="672" y="441"/>
                  </a:lnTo>
                  <a:lnTo>
                    <a:pt x="672" y="440"/>
                  </a:lnTo>
                  <a:lnTo>
                    <a:pt x="671" y="440"/>
                  </a:lnTo>
                  <a:lnTo>
                    <a:pt x="672" y="441"/>
                  </a:lnTo>
                  <a:lnTo>
                    <a:pt x="671" y="441"/>
                  </a:lnTo>
                  <a:lnTo>
                    <a:pt x="671" y="440"/>
                  </a:lnTo>
                  <a:lnTo>
                    <a:pt x="670" y="440"/>
                  </a:lnTo>
                  <a:lnTo>
                    <a:pt x="670" y="439"/>
                  </a:lnTo>
                  <a:lnTo>
                    <a:pt x="669" y="439"/>
                  </a:lnTo>
                  <a:lnTo>
                    <a:pt x="669" y="437"/>
                  </a:lnTo>
                  <a:lnTo>
                    <a:pt x="668" y="437"/>
                  </a:lnTo>
                  <a:lnTo>
                    <a:pt x="668" y="439"/>
                  </a:lnTo>
                  <a:lnTo>
                    <a:pt x="668" y="440"/>
                  </a:lnTo>
                  <a:lnTo>
                    <a:pt x="667" y="440"/>
                  </a:lnTo>
                  <a:lnTo>
                    <a:pt x="665" y="440"/>
                  </a:lnTo>
                  <a:lnTo>
                    <a:pt x="665" y="441"/>
                  </a:lnTo>
                  <a:lnTo>
                    <a:pt x="667" y="441"/>
                  </a:lnTo>
                  <a:lnTo>
                    <a:pt x="667" y="442"/>
                  </a:lnTo>
                  <a:lnTo>
                    <a:pt x="668" y="442"/>
                  </a:lnTo>
                  <a:lnTo>
                    <a:pt x="668" y="441"/>
                  </a:lnTo>
                  <a:lnTo>
                    <a:pt x="668" y="442"/>
                  </a:lnTo>
                  <a:lnTo>
                    <a:pt x="668" y="443"/>
                  </a:lnTo>
                  <a:lnTo>
                    <a:pt x="668" y="442"/>
                  </a:lnTo>
                  <a:lnTo>
                    <a:pt x="669" y="442"/>
                  </a:lnTo>
                  <a:lnTo>
                    <a:pt x="670" y="442"/>
                  </a:lnTo>
                  <a:lnTo>
                    <a:pt x="670" y="443"/>
                  </a:lnTo>
                  <a:lnTo>
                    <a:pt x="669" y="443"/>
                  </a:lnTo>
                  <a:lnTo>
                    <a:pt x="669" y="444"/>
                  </a:lnTo>
                  <a:lnTo>
                    <a:pt x="668" y="444"/>
                  </a:lnTo>
                  <a:lnTo>
                    <a:pt x="668" y="443"/>
                  </a:lnTo>
                  <a:lnTo>
                    <a:pt x="667" y="443"/>
                  </a:lnTo>
                  <a:lnTo>
                    <a:pt x="667" y="444"/>
                  </a:lnTo>
                  <a:lnTo>
                    <a:pt x="668" y="444"/>
                  </a:lnTo>
                  <a:lnTo>
                    <a:pt x="667" y="444"/>
                  </a:lnTo>
                  <a:lnTo>
                    <a:pt x="667" y="446"/>
                  </a:lnTo>
                  <a:lnTo>
                    <a:pt x="667" y="444"/>
                  </a:lnTo>
                  <a:lnTo>
                    <a:pt x="665" y="444"/>
                  </a:lnTo>
                  <a:lnTo>
                    <a:pt x="667" y="444"/>
                  </a:lnTo>
                  <a:lnTo>
                    <a:pt x="667" y="443"/>
                  </a:lnTo>
                  <a:lnTo>
                    <a:pt x="665" y="443"/>
                  </a:lnTo>
                  <a:lnTo>
                    <a:pt x="664" y="443"/>
                  </a:lnTo>
                  <a:lnTo>
                    <a:pt x="665" y="443"/>
                  </a:lnTo>
                  <a:lnTo>
                    <a:pt x="665" y="442"/>
                  </a:lnTo>
                  <a:lnTo>
                    <a:pt x="664" y="442"/>
                  </a:lnTo>
                  <a:lnTo>
                    <a:pt x="664" y="443"/>
                  </a:lnTo>
                  <a:lnTo>
                    <a:pt x="663" y="443"/>
                  </a:lnTo>
                  <a:lnTo>
                    <a:pt x="664" y="443"/>
                  </a:lnTo>
                  <a:lnTo>
                    <a:pt x="664" y="444"/>
                  </a:lnTo>
                  <a:lnTo>
                    <a:pt x="664" y="443"/>
                  </a:lnTo>
                  <a:lnTo>
                    <a:pt x="664" y="444"/>
                  </a:lnTo>
                  <a:lnTo>
                    <a:pt x="665" y="444"/>
                  </a:lnTo>
                  <a:lnTo>
                    <a:pt x="664" y="444"/>
                  </a:lnTo>
                  <a:lnTo>
                    <a:pt x="665" y="446"/>
                  </a:lnTo>
                  <a:lnTo>
                    <a:pt x="664" y="446"/>
                  </a:lnTo>
                  <a:lnTo>
                    <a:pt x="663" y="446"/>
                  </a:lnTo>
                  <a:lnTo>
                    <a:pt x="664" y="446"/>
                  </a:lnTo>
                  <a:lnTo>
                    <a:pt x="664" y="447"/>
                  </a:lnTo>
                  <a:lnTo>
                    <a:pt x="665" y="447"/>
                  </a:lnTo>
                  <a:lnTo>
                    <a:pt x="665" y="446"/>
                  </a:lnTo>
                  <a:lnTo>
                    <a:pt x="665" y="447"/>
                  </a:lnTo>
                  <a:lnTo>
                    <a:pt x="667" y="448"/>
                  </a:lnTo>
                  <a:lnTo>
                    <a:pt x="665" y="448"/>
                  </a:lnTo>
                  <a:lnTo>
                    <a:pt x="665" y="449"/>
                  </a:lnTo>
                  <a:lnTo>
                    <a:pt x="667" y="449"/>
                  </a:lnTo>
                  <a:lnTo>
                    <a:pt x="665" y="449"/>
                  </a:lnTo>
                  <a:lnTo>
                    <a:pt x="667" y="449"/>
                  </a:lnTo>
                  <a:lnTo>
                    <a:pt x="665" y="449"/>
                  </a:lnTo>
                  <a:lnTo>
                    <a:pt x="664" y="449"/>
                  </a:lnTo>
                  <a:lnTo>
                    <a:pt x="663" y="449"/>
                  </a:lnTo>
                  <a:lnTo>
                    <a:pt x="662" y="449"/>
                  </a:lnTo>
                  <a:lnTo>
                    <a:pt x="663" y="449"/>
                  </a:lnTo>
                  <a:lnTo>
                    <a:pt x="662" y="448"/>
                  </a:lnTo>
                  <a:lnTo>
                    <a:pt x="662" y="449"/>
                  </a:lnTo>
                  <a:lnTo>
                    <a:pt x="662" y="448"/>
                  </a:lnTo>
                  <a:lnTo>
                    <a:pt x="662" y="449"/>
                  </a:lnTo>
                  <a:lnTo>
                    <a:pt x="661" y="449"/>
                  </a:lnTo>
                  <a:lnTo>
                    <a:pt x="662" y="449"/>
                  </a:lnTo>
                  <a:lnTo>
                    <a:pt x="662" y="450"/>
                  </a:lnTo>
                  <a:lnTo>
                    <a:pt x="663" y="450"/>
                  </a:lnTo>
                  <a:lnTo>
                    <a:pt x="663" y="451"/>
                  </a:lnTo>
                  <a:lnTo>
                    <a:pt x="663" y="453"/>
                  </a:lnTo>
                  <a:lnTo>
                    <a:pt x="663" y="451"/>
                  </a:lnTo>
                  <a:lnTo>
                    <a:pt x="662" y="451"/>
                  </a:lnTo>
                  <a:lnTo>
                    <a:pt x="662" y="453"/>
                  </a:lnTo>
                  <a:lnTo>
                    <a:pt x="663" y="453"/>
                  </a:lnTo>
                  <a:lnTo>
                    <a:pt x="663" y="454"/>
                  </a:lnTo>
                  <a:lnTo>
                    <a:pt x="662" y="454"/>
                  </a:lnTo>
                  <a:lnTo>
                    <a:pt x="662" y="455"/>
                  </a:lnTo>
                  <a:lnTo>
                    <a:pt x="662" y="454"/>
                  </a:lnTo>
                  <a:lnTo>
                    <a:pt x="661" y="453"/>
                  </a:lnTo>
                  <a:lnTo>
                    <a:pt x="660" y="453"/>
                  </a:lnTo>
                  <a:lnTo>
                    <a:pt x="660" y="451"/>
                  </a:lnTo>
                  <a:lnTo>
                    <a:pt x="658" y="453"/>
                  </a:lnTo>
                  <a:lnTo>
                    <a:pt x="660" y="453"/>
                  </a:lnTo>
                  <a:lnTo>
                    <a:pt x="658" y="454"/>
                  </a:lnTo>
                  <a:lnTo>
                    <a:pt x="657" y="454"/>
                  </a:lnTo>
                  <a:lnTo>
                    <a:pt x="656" y="454"/>
                  </a:lnTo>
                  <a:lnTo>
                    <a:pt x="656" y="453"/>
                  </a:lnTo>
                  <a:lnTo>
                    <a:pt x="656" y="451"/>
                  </a:lnTo>
                  <a:lnTo>
                    <a:pt x="656" y="453"/>
                  </a:lnTo>
                  <a:lnTo>
                    <a:pt x="655" y="453"/>
                  </a:lnTo>
                  <a:lnTo>
                    <a:pt x="655" y="454"/>
                  </a:lnTo>
                  <a:lnTo>
                    <a:pt x="654" y="453"/>
                  </a:lnTo>
                  <a:lnTo>
                    <a:pt x="654" y="454"/>
                  </a:lnTo>
                  <a:lnTo>
                    <a:pt x="655" y="454"/>
                  </a:lnTo>
                  <a:lnTo>
                    <a:pt x="654" y="454"/>
                  </a:lnTo>
                  <a:lnTo>
                    <a:pt x="655" y="455"/>
                  </a:lnTo>
                  <a:lnTo>
                    <a:pt x="654" y="455"/>
                  </a:lnTo>
                  <a:lnTo>
                    <a:pt x="655" y="456"/>
                  </a:lnTo>
                  <a:lnTo>
                    <a:pt x="654" y="456"/>
                  </a:lnTo>
                  <a:lnTo>
                    <a:pt x="653" y="455"/>
                  </a:lnTo>
                  <a:lnTo>
                    <a:pt x="651" y="455"/>
                  </a:lnTo>
                  <a:lnTo>
                    <a:pt x="653" y="455"/>
                  </a:lnTo>
                  <a:lnTo>
                    <a:pt x="653" y="456"/>
                  </a:lnTo>
                  <a:lnTo>
                    <a:pt x="651" y="455"/>
                  </a:lnTo>
                  <a:lnTo>
                    <a:pt x="653" y="456"/>
                  </a:lnTo>
                  <a:lnTo>
                    <a:pt x="653" y="457"/>
                  </a:lnTo>
                  <a:lnTo>
                    <a:pt x="654" y="456"/>
                  </a:lnTo>
                  <a:lnTo>
                    <a:pt x="655" y="456"/>
                  </a:lnTo>
                  <a:lnTo>
                    <a:pt x="655" y="457"/>
                  </a:lnTo>
                  <a:lnTo>
                    <a:pt x="656" y="457"/>
                  </a:lnTo>
                  <a:lnTo>
                    <a:pt x="656" y="458"/>
                  </a:lnTo>
                  <a:lnTo>
                    <a:pt x="655" y="460"/>
                  </a:lnTo>
                  <a:lnTo>
                    <a:pt x="655" y="461"/>
                  </a:lnTo>
                  <a:lnTo>
                    <a:pt x="655" y="460"/>
                  </a:lnTo>
                  <a:lnTo>
                    <a:pt x="654" y="460"/>
                  </a:lnTo>
                  <a:lnTo>
                    <a:pt x="654" y="461"/>
                  </a:lnTo>
                  <a:lnTo>
                    <a:pt x="654" y="462"/>
                  </a:lnTo>
                  <a:lnTo>
                    <a:pt x="653" y="463"/>
                  </a:lnTo>
                  <a:lnTo>
                    <a:pt x="653" y="464"/>
                  </a:lnTo>
                  <a:lnTo>
                    <a:pt x="653" y="463"/>
                  </a:lnTo>
                  <a:lnTo>
                    <a:pt x="653" y="462"/>
                  </a:lnTo>
                  <a:lnTo>
                    <a:pt x="653" y="463"/>
                  </a:lnTo>
                  <a:lnTo>
                    <a:pt x="653" y="462"/>
                  </a:lnTo>
                  <a:lnTo>
                    <a:pt x="651" y="462"/>
                  </a:lnTo>
                  <a:lnTo>
                    <a:pt x="651" y="463"/>
                  </a:lnTo>
                  <a:lnTo>
                    <a:pt x="651" y="464"/>
                  </a:lnTo>
                  <a:lnTo>
                    <a:pt x="651" y="465"/>
                  </a:lnTo>
                  <a:lnTo>
                    <a:pt x="651" y="467"/>
                  </a:lnTo>
                  <a:lnTo>
                    <a:pt x="650" y="467"/>
                  </a:lnTo>
                  <a:lnTo>
                    <a:pt x="651" y="465"/>
                  </a:lnTo>
                  <a:lnTo>
                    <a:pt x="650" y="465"/>
                  </a:lnTo>
                  <a:lnTo>
                    <a:pt x="650" y="464"/>
                  </a:lnTo>
                  <a:lnTo>
                    <a:pt x="649" y="464"/>
                  </a:lnTo>
                  <a:lnTo>
                    <a:pt x="648" y="464"/>
                  </a:lnTo>
                  <a:lnTo>
                    <a:pt x="648" y="463"/>
                  </a:lnTo>
                  <a:lnTo>
                    <a:pt x="648" y="464"/>
                  </a:lnTo>
                  <a:lnTo>
                    <a:pt x="649" y="464"/>
                  </a:lnTo>
                  <a:lnTo>
                    <a:pt x="649" y="465"/>
                  </a:lnTo>
                  <a:lnTo>
                    <a:pt x="649" y="467"/>
                  </a:lnTo>
                  <a:lnTo>
                    <a:pt x="648" y="467"/>
                  </a:lnTo>
                  <a:lnTo>
                    <a:pt x="647" y="467"/>
                  </a:lnTo>
                  <a:lnTo>
                    <a:pt x="647" y="468"/>
                  </a:lnTo>
                  <a:lnTo>
                    <a:pt x="647" y="469"/>
                  </a:lnTo>
                  <a:lnTo>
                    <a:pt x="647" y="468"/>
                  </a:lnTo>
                  <a:lnTo>
                    <a:pt x="646" y="468"/>
                  </a:lnTo>
                  <a:lnTo>
                    <a:pt x="646" y="469"/>
                  </a:lnTo>
                  <a:lnTo>
                    <a:pt x="646" y="470"/>
                  </a:lnTo>
                  <a:lnTo>
                    <a:pt x="644" y="470"/>
                  </a:lnTo>
                  <a:lnTo>
                    <a:pt x="644" y="469"/>
                  </a:lnTo>
                  <a:lnTo>
                    <a:pt x="644" y="468"/>
                  </a:lnTo>
                  <a:lnTo>
                    <a:pt x="643" y="468"/>
                  </a:lnTo>
                  <a:lnTo>
                    <a:pt x="643" y="469"/>
                  </a:lnTo>
                  <a:lnTo>
                    <a:pt x="642" y="469"/>
                  </a:lnTo>
                  <a:lnTo>
                    <a:pt x="642" y="468"/>
                  </a:lnTo>
                  <a:lnTo>
                    <a:pt x="642" y="469"/>
                  </a:lnTo>
                  <a:lnTo>
                    <a:pt x="641" y="469"/>
                  </a:lnTo>
                  <a:lnTo>
                    <a:pt x="642" y="469"/>
                  </a:lnTo>
                  <a:lnTo>
                    <a:pt x="642" y="470"/>
                  </a:lnTo>
                  <a:lnTo>
                    <a:pt x="641" y="470"/>
                  </a:lnTo>
                  <a:lnTo>
                    <a:pt x="642" y="471"/>
                  </a:lnTo>
                  <a:lnTo>
                    <a:pt x="641" y="474"/>
                  </a:lnTo>
                  <a:lnTo>
                    <a:pt x="640" y="472"/>
                  </a:lnTo>
                  <a:lnTo>
                    <a:pt x="639" y="472"/>
                  </a:lnTo>
                  <a:lnTo>
                    <a:pt x="637" y="472"/>
                  </a:lnTo>
                  <a:lnTo>
                    <a:pt x="637" y="474"/>
                  </a:lnTo>
                  <a:lnTo>
                    <a:pt x="639" y="474"/>
                  </a:lnTo>
                  <a:lnTo>
                    <a:pt x="640" y="474"/>
                  </a:lnTo>
                  <a:lnTo>
                    <a:pt x="641" y="474"/>
                  </a:lnTo>
                  <a:lnTo>
                    <a:pt x="641" y="475"/>
                  </a:lnTo>
                  <a:lnTo>
                    <a:pt x="642" y="475"/>
                  </a:lnTo>
                  <a:lnTo>
                    <a:pt x="641" y="475"/>
                  </a:lnTo>
                  <a:lnTo>
                    <a:pt x="640" y="475"/>
                  </a:lnTo>
                  <a:lnTo>
                    <a:pt x="640" y="474"/>
                  </a:lnTo>
                  <a:lnTo>
                    <a:pt x="640" y="475"/>
                  </a:lnTo>
                  <a:lnTo>
                    <a:pt x="641" y="475"/>
                  </a:lnTo>
                  <a:lnTo>
                    <a:pt x="640" y="475"/>
                  </a:lnTo>
                  <a:lnTo>
                    <a:pt x="640" y="476"/>
                  </a:lnTo>
                  <a:lnTo>
                    <a:pt x="640" y="475"/>
                  </a:lnTo>
                  <a:lnTo>
                    <a:pt x="639" y="475"/>
                  </a:lnTo>
                  <a:lnTo>
                    <a:pt x="637" y="475"/>
                  </a:lnTo>
                  <a:lnTo>
                    <a:pt x="639" y="476"/>
                  </a:lnTo>
                  <a:lnTo>
                    <a:pt x="639" y="475"/>
                  </a:lnTo>
                  <a:lnTo>
                    <a:pt x="639" y="476"/>
                  </a:lnTo>
                  <a:lnTo>
                    <a:pt x="639" y="477"/>
                  </a:lnTo>
                  <a:lnTo>
                    <a:pt x="639" y="478"/>
                  </a:lnTo>
                  <a:lnTo>
                    <a:pt x="639" y="479"/>
                  </a:lnTo>
                  <a:lnTo>
                    <a:pt x="637" y="479"/>
                  </a:lnTo>
                  <a:lnTo>
                    <a:pt x="636" y="479"/>
                  </a:lnTo>
                  <a:lnTo>
                    <a:pt x="635" y="479"/>
                  </a:lnTo>
                  <a:lnTo>
                    <a:pt x="634" y="479"/>
                  </a:lnTo>
                  <a:lnTo>
                    <a:pt x="635" y="479"/>
                  </a:lnTo>
                  <a:lnTo>
                    <a:pt x="635" y="481"/>
                  </a:lnTo>
                  <a:lnTo>
                    <a:pt x="634" y="481"/>
                  </a:lnTo>
                  <a:lnTo>
                    <a:pt x="634" y="482"/>
                  </a:lnTo>
                  <a:lnTo>
                    <a:pt x="633" y="482"/>
                  </a:lnTo>
                  <a:lnTo>
                    <a:pt x="633" y="481"/>
                  </a:lnTo>
                  <a:lnTo>
                    <a:pt x="634" y="481"/>
                  </a:lnTo>
                  <a:lnTo>
                    <a:pt x="633" y="481"/>
                  </a:lnTo>
                  <a:lnTo>
                    <a:pt x="633" y="479"/>
                  </a:lnTo>
                  <a:lnTo>
                    <a:pt x="633" y="481"/>
                  </a:lnTo>
                  <a:lnTo>
                    <a:pt x="632" y="481"/>
                  </a:lnTo>
                  <a:lnTo>
                    <a:pt x="632" y="482"/>
                  </a:lnTo>
                  <a:lnTo>
                    <a:pt x="630" y="482"/>
                  </a:lnTo>
                  <a:lnTo>
                    <a:pt x="629" y="483"/>
                  </a:lnTo>
                  <a:lnTo>
                    <a:pt x="629" y="482"/>
                  </a:lnTo>
                  <a:lnTo>
                    <a:pt x="629" y="481"/>
                  </a:lnTo>
                  <a:lnTo>
                    <a:pt x="628" y="481"/>
                  </a:lnTo>
                  <a:lnTo>
                    <a:pt x="627" y="481"/>
                  </a:lnTo>
                  <a:lnTo>
                    <a:pt x="628" y="481"/>
                  </a:lnTo>
                  <a:lnTo>
                    <a:pt x="628" y="479"/>
                  </a:lnTo>
                  <a:lnTo>
                    <a:pt x="627" y="479"/>
                  </a:lnTo>
                  <a:lnTo>
                    <a:pt x="627" y="481"/>
                  </a:lnTo>
                  <a:lnTo>
                    <a:pt x="626" y="481"/>
                  </a:lnTo>
                  <a:lnTo>
                    <a:pt x="625" y="481"/>
                  </a:lnTo>
                  <a:lnTo>
                    <a:pt x="625" y="479"/>
                  </a:lnTo>
                  <a:lnTo>
                    <a:pt x="623" y="479"/>
                  </a:lnTo>
                  <a:lnTo>
                    <a:pt x="623" y="481"/>
                  </a:lnTo>
                  <a:lnTo>
                    <a:pt x="625" y="481"/>
                  </a:lnTo>
                  <a:lnTo>
                    <a:pt x="625" y="479"/>
                  </a:lnTo>
                  <a:lnTo>
                    <a:pt x="625" y="481"/>
                  </a:lnTo>
                  <a:lnTo>
                    <a:pt x="626" y="481"/>
                  </a:lnTo>
                  <a:lnTo>
                    <a:pt x="626" y="482"/>
                  </a:lnTo>
                  <a:lnTo>
                    <a:pt x="626" y="481"/>
                  </a:lnTo>
                  <a:lnTo>
                    <a:pt x="627" y="481"/>
                  </a:lnTo>
                  <a:lnTo>
                    <a:pt x="626" y="481"/>
                  </a:lnTo>
                  <a:lnTo>
                    <a:pt x="626" y="482"/>
                  </a:lnTo>
                  <a:lnTo>
                    <a:pt x="626" y="483"/>
                  </a:lnTo>
                  <a:lnTo>
                    <a:pt x="627" y="483"/>
                  </a:lnTo>
                  <a:lnTo>
                    <a:pt x="627" y="484"/>
                  </a:lnTo>
                  <a:lnTo>
                    <a:pt x="626" y="484"/>
                  </a:lnTo>
                  <a:lnTo>
                    <a:pt x="625" y="483"/>
                  </a:lnTo>
                  <a:lnTo>
                    <a:pt x="625" y="484"/>
                  </a:lnTo>
                  <a:lnTo>
                    <a:pt x="623" y="483"/>
                  </a:lnTo>
                  <a:lnTo>
                    <a:pt x="625" y="483"/>
                  </a:lnTo>
                  <a:lnTo>
                    <a:pt x="625" y="482"/>
                  </a:lnTo>
                  <a:lnTo>
                    <a:pt x="623" y="482"/>
                  </a:lnTo>
                  <a:lnTo>
                    <a:pt x="622" y="482"/>
                  </a:lnTo>
                  <a:lnTo>
                    <a:pt x="621" y="482"/>
                  </a:lnTo>
                  <a:lnTo>
                    <a:pt x="622" y="482"/>
                  </a:lnTo>
                  <a:lnTo>
                    <a:pt x="622" y="481"/>
                  </a:lnTo>
                  <a:lnTo>
                    <a:pt x="621" y="482"/>
                  </a:lnTo>
                  <a:lnTo>
                    <a:pt x="620" y="482"/>
                  </a:lnTo>
                  <a:lnTo>
                    <a:pt x="619" y="482"/>
                  </a:lnTo>
                  <a:lnTo>
                    <a:pt x="619" y="483"/>
                  </a:lnTo>
                  <a:lnTo>
                    <a:pt x="619" y="484"/>
                  </a:lnTo>
                  <a:lnTo>
                    <a:pt x="619" y="483"/>
                  </a:lnTo>
                  <a:lnTo>
                    <a:pt x="618" y="483"/>
                  </a:lnTo>
                  <a:lnTo>
                    <a:pt x="617" y="482"/>
                  </a:lnTo>
                  <a:lnTo>
                    <a:pt x="617" y="483"/>
                  </a:lnTo>
                  <a:lnTo>
                    <a:pt x="618" y="483"/>
                  </a:lnTo>
                  <a:lnTo>
                    <a:pt x="617" y="483"/>
                  </a:lnTo>
                  <a:lnTo>
                    <a:pt x="618" y="483"/>
                  </a:lnTo>
                  <a:lnTo>
                    <a:pt x="618" y="484"/>
                  </a:lnTo>
                  <a:lnTo>
                    <a:pt x="619" y="484"/>
                  </a:lnTo>
                  <a:lnTo>
                    <a:pt x="618" y="484"/>
                  </a:lnTo>
                  <a:lnTo>
                    <a:pt x="618" y="485"/>
                  </a:lnTo>
                  <a:lnTo>
                    <a:pt x="617" y="485"/>
                  </a:lnTo>
                  <a:lnTo>
                    <a:pt x="615" y="485"/>
                  </a:lnTo>
                  <a:lnTo>
                    <a:pt x="615" y="484"/>
                  </a:lnTo>
                  <a:lnTo>
                    <a:pt x="615" y="483"/>
                  </a:lnTo>
                  <a:lnTo>
                    <a:pt x="615" y="482"/>
                  </a:lnTo>
                  <a:lnTo>
                    <a:pt x="617" y="482"/>
                  </a:lnTo>
                  <a:lnTo>
                    <a:pt x="615" y="482"/>
                  </a:lnTo>
                  <a:lnTo>
                    <a:pt x="614" y="482"/>
                  </a:lnTo>
                  <a:lnTo>
                    <a:pt x="614" y="483"/>
                  </a:lnTo>
                  <a:lnTo>
                    <a:pt x="613" y="483"/>
                  </a:lnTo>
                  <a:lnTo>
                    <a:pt x="612" y="483"/>
                  </a:lnTo>
                  <a:lnTo>
                    <a:pt x="612" y="484"/>
                  </a:lnTo>
                  <a:lnTo>
                    <a:pt x="613" y="484"/>
                  </a:lnTo>
                  <a:lnTo>
                    <a:pt x="612" y="484"/>
                  </a:lnTo>
                  <a:lnTo>
                    <a:pt x="613" y="484"/>
                  </a:lnTo>
                  <a:lnTo>
                    <a:pt x="613" y="485"/>
                  </a:lnTo>
                  <a:lnTo>
                    <a:pt x="612" y="485"/>
                  </a:lnTo>
                  <a:lnTo>
                    <a:pt x="613" y="485"/>
                  </a:lnTo>
                  <a:lnTo>
                    <a:pt x="614" y="486"/>
                  </a:lnTo>
                  <a:lnTo>
                    <a:pt x="613" y="486"/>
                  </a:lnTo>
                  <a:lnTo>
                    <a:pt x="613" y="488"/>
                  </a:lnTo>
                  <a:lnTo>
                    <a:pt x="612" y="488"/>
                  </a:lnTo>
                  <a:lnTo>
                    <a:pt x="612" y="486"/>
                  </a:lnTo>
                  <a:lnTo>
                    <a:pt x="612" y="485"/>
                  </a:lnTo>
                  <a:lnTo>
                    <a:pt x="611" y="485"/>
                  </a:lnTo>
                  <a:lnTo>
                    <a:pt x="610" y="485"/>
                  </a:lnTo>
                  <a:lnTo>
                    <a:pt x="608" y="485"/>
                  </a:lnTo>
                  <a:lnTo>
                    <a:pt x="607" y="485"/>
                  </a:lnTo>
                  <a:lnTo>
                    <a:pt x="607" y="486"/>
                  </a:lnTo>
                  <a:lnTo>
                    <a:pt x="606" y="486"/>
                  </a:lnTo>
                  <a:lnTo>
                    <a:pt x="605" y="486"/>
                  </a:lnTo>
                  <a:lnTo>
                    <a:pt x="605" y="488"/>
                  </a:lnTo>
                  <a:lnTo>
                    <a:pt x="604" y="486"/>
                  </a:lnTo>
                  <a:lnTo>
                    <a:pt x="604" y="485"/>
                  </a:lnTo>
                  <a:lnTo>
                    <a:pt x="603" y="485"/>
                  </a:lnTo>
                  <a:lnTo>
                    <a:pt x="603" y="484"/>
                  </a:lnTo>
                  <a:lnTo>
                    <a:pt x="601" y="483"/>
                  </a:lnTo>
                  <a:lnTo>
                    <a:pt x="600" y="483"/>
                  </a:lnTo>
                  <a:lnTo>
                    <a:pt x="600" y="482"/>
                  </a:lnTo>
                  <a:lnTo>
                    <a:pt x="600" y="481"/>
                  </a:lnTo>
                  <a:lnTo>
                    <a:pt x="599" y="481"/>
                  </a:lnTo>
                  <a:lnTo>
                    <a:pt x="599" y="482"/>
                  </a:lnTo>
                  <a:lnTo>
                    <a:pt x="599" y="481"/>
                  </a:lnTo>
                  <a:lnTo>
                    <a:pt x="599" y="479"/>
                  </a:lnTo>
                  <a:lnTo>
                    <a:pt x="599" y="478"/>
                  </a:lnTo>
                  <a:lnTo>
                    <a:pt x="599" y="479"/>
                  </a:lnTo>
                  <a:lnTo>
                    <a:pt x="599" y="478"/>
                  </a:lnTo>
                  <a:lnTo>
                    <a:pt x="599" y="479"/>
                  </a:lnTo>
                  <a:lnTo>
                    <a:pt x="599" y="478"/>
                  </a:lnTo>
                  <a:lnTo>
                    <a:pt x="598" y="478"/>
                  </a:lnTo>
                  <a:lnTo>
                    <a:pt x="598" y="477"/>
                  </a:lnTo>
                  <a:lnTo>
                    <a:pt x="599" y="477"/>
                  </a:lnTo>
                  <a:lnTo>
                    <a:pt x="600" y="476"/>
                  </a:lnTo>
                  <a:lnTo>
                    <a:pt x="600" y="477"/>
                  </a:lnTo>
                  <a:lnTo>
                    <a:pt x="601" y="477"/>
                  </a:lnTo>
                  <a:lnTo>
                    <a:pt x="601" y="476"/>
                  </a:lnTo>
                  <a:lnTo>
                    <a:pt x="600" y="476"/>
                  </a:lnTo>
                  <a:lnTo>
                    <a:pt x="599" y="476"/>
                  </a:lnTo>
                  <a:lnTo>
                    <a:pt x="599" y="477"/>
                  </a:lnTo>
                  <a:lnTo>
                    <a:pt x="598" y="477"/>
                  </a:lnTo>
                  <a:lnTo>
                    <a:pt x="597" y="477"/>
                  </a:lnTo>
                  <a:lnTo>
                    <a:pt x="596" y="477"/>
                  </a:lnTo>
                  <a:lnTo>
                    <a:pt x="597" y="477"/>
                  </a:lnTo>
                  <a:lnTo>
                    <a:pt x="597" y="478"/>
                  </a:lnTo>
                  <a:lnTo>
                    <a:pt x="598" y="478"/>
                  </a:lnTo>
                  <a:lnTo>
                    <a:pt x="598" y="479"/>
                  </a:lnTo>
                  <a:lnTo>
                    <a:pt x="597" y="479"/>
                  </a:lnTo>
                  <a:lnTo>
                    <a:pt x="596" y="481"/>
                  </a:lnTo>
                  <a:lnTo>
                    <a:pt x="593" y="479"/>
                  </a:lnTo>
                  <a:lnTo>
                    <a:pt x="593" y="481"/>
                  </a:lnTo>
                  <a:lnTo>
                    <a:pt x="594" y="481"/>
                  </a:lnTo>
                  <a:lnTo>
                    <a:pt x="596" y="481"/>
                  </a:lnTo>
                  <a:lnTo>
                    <a:pt x="597" y="482"/>
                  </a:lnTo>
                  <a:lnTo>
                    <a:pt x="598" y="482"/>
                  </a:lnTo>
                  <a:lnTo>
                    <a:pt x="598" y="483"/>
                  </a:lnTo>
                  <a:lnTo>
                    <a:pt x="597" y="483"/>
                  </a:lnTo>
                  <a:lnTo>
                    <a:pt x="597" y="482"/>
                  </a:lnTo>
                  <a:lnTo>
                    <a:pt x="597" y="483"/>
                  </a:lnTo>
                  <a:lnTo>
                    <a:pt x="598" y="483"/>
                  </a:lnTo>
                  <a:lnTo>
                    <a:pt x="599" y="484"/>
                  </a:lnTo>
                  <a:lnTo>
                    <a:pt x="599" y="485"/>
                  </a:lnTo>
                  <a:lnTo>
                    <a:pt x="600" y="485"/>
                  </a:lnTo>
                  <a:lnTo>
                    <a:pt x="600" y="486"/>
                  </a:lnTo>
                  <a:lnTo>
                    <a:pt x="600" y="488"/>
                  </a:lnTo>
                  <a:lnTo>
                    <a:pt x="600" y="489"/>
                  </a:lnTo>
                  <a:lnTo>
                    <a:pt x="600" y="490"/>
                  </a:lnTo>
                  <a:lnTo>
                    <a:pt x="601" y="490"/>
                  </a:lnTo>
                  <a:lnTo>
                    <a:pt x="601" y="491"/>
                  </a:lnTo>
                  <a:lnTo>
                    <a:pt x="600" y="491"/>
                  </a:lnTo>
                  <a:lnTo>
                    <a:pt x="600" y="492"/>
                  </a:lnTo>
                  <a:lnTo>
                    <a:pt x="599" y="492"/>
                  </a:lnTo>
                  <a:lnTo>
                    <a:pt x="599" y="491"/>
                  </a:lnTo>
                  <a:lnTo>
                    <a:pt x="598" y="490"/>
                  </a:lnTo>
                  <a:lnTo>
                    <a:pt x="597" y="489"/>
                  </a:lnTo>
                  <a:lnTo>
                    <a:pt x="596" y="488"/>
                  </a:lnTo>
                  <a:lnTo>
                    <a:pt x="596" y="486"/>
                  </a:lnTo>
                  <a:lnTo>
                    <a:pt x="594" y="485"/>
                  </a:lnTo>
                  <a:lnTo>
                    <a:pt x="594" y="486"/>
                  </a:lnTo>
                  <a:lnTo>
                    <a:pt x="594" y="488"/>
                  </a:lnTo>
                  <a:lnTo>
                    <a:pt x="596" y="488"/>
                  </a:lnTo>
                  <a:lnTo>
                    <a:pt x="597" y="490"/>
                  </a:lnTo>
                  <a:lnTo>
                    <a:pt x="598" y="491"/>
                  </a:lnTo>
                  <a:lnTo>
                    <a:pt x="599" y="491"/>
                  </a:lnTo>
                  <a:lnTo>
                    <a:pt x="598" y="492"/>
                  </a:lnTo>
                  <a:lnTo>
                    <a:pt x="598" y="491"/>
                  </a:lnTo>
                  <a:lnTo>
                    <a:pt x="597" y="491"/>
                  </a:lnTo>
                  <a:lnTo>
                    <a:pt x="597" y="492"/>
                  </a:lnTo>
                  <a:lnTo>
                    <a:pt x="597" y="493"/>
                  </a:lnTo>
                  <a:lnTo>
                    <a:pt x="596" y="493"/>
                  </a:lnTo>
                  <a:lnTo>
                    <a:pt x="596" y="495"/>
                  </a:lnTo>
                  <a:lnTo>
                    <a:pt x="596" y="493"/>
                  </a:lnTo>
                  <a:lnTo>
                    <a:pt x="594" y="493"/>
                  </a:lnTo>
                  <a:lnTo>
                    <a:pt x="594" y="492"/>
                  </a:lnTo>
                  <a:lnTo>
                    <a:pt x="594" y="491"/>
                  </a:lnTo>
                  <a:lnTo>
                    <a:pt x="594" y="492"/>
                  </a:lnTo>
                  <a:lnTo>
                    <a:pt x="593" y="492"/>
                  </a:lnTo>
                  <a:lnTo>
                    <a:pt x="593" y="493"/>
                  </a:lnTo>
                  <a:lnTo>
                    <a:pt x="593" y="495"/>
                  </a:lnTo>
                  <a:lnTo>
                    <a:pt x="594" y="495"/>
                  </a:lnTo>
                  <a:lnTo>
                    <a:pt x="594" y="496"/>
                  </a:lnTo>
                  <a:lnTo>
                    <a:pt x="593" y="496"/>
                  </a:lnTo>
                  <a:lnTo>
                    <a:pt x="593" y="497"/>
                  </a:lnTo>
                  <a:lnTo>
                    <a:pt x="592" y="497"/>
                  </a:lnTo>
                  <a:lnTo>
                    <a:pt x="592" y="496"/>
                  </a:lnTo>
                  <a:lnTo>
                    <a:pt x="591" y="495"/>
                  </a:lnTo>
                  <a:lnTo>
                    <a:pt x="591" y="496"/>
                  </a:lnTo>
                  <a:lnTo>
                    <a:pt x="590" y="496"/>
                  </a:lnTo>
                  <a:lnTo>
                    <a:pt x="590" y="497"/>
                  </a:lnTo>
                  <a:lnTo>
                    <a:pt x="589" y="497"/>
                  </a:lnTo>
                  <a:lnTo>
                    <a:pt x="590" y="497"/>
                  </a:lnTo>
                  <a:lnTo>
                    <a:pt x="589" y="498"/>
                  </a:lnTo>
                  <a:lnTo>
                    <a:pt x="586" y="497"/>
                  </a:lnTo>
                  <a:lnTo>
                    <a:pt x="586" y="496"/>
                  </a:lnTo>
                  <a:lnTo>
                    <a:pt x="586" y="495"/>
                  </a:lnTo>
                  <a:lnTo>
                    <a:pt x="586" y="496"/>
                  </a:lnTo>
                  <a:lnTo>
                    <a:pt x="585" y="496"/>
                  </a:lnTo>
                  <a:lnTo>
                    <a:pt x="585" y="495"/>
                  </a:lnTo>
                  <a:lnTo>
                    <a:pt x="585" y="493"/>
                  </a:lnTo>
                  <a:lnTo>
                    <a:pt x="585" y="495"/>
                  </a:lnTo>
                  <a:lnTo>
                    <a:pt x="585" y="496"/>
                  </a:lnTo>
                  <a:lnTo>
                    <a:pt x="585" y="497"/>
                  </a:lnTo>
                  <a:lnTo>
                    <a:pt x="586" y="497"/>
                  </a:lnTo>
                  <a:lnTo>
                    <a:pt x="586" y="498"/>
                  </a:lnTo>
                  <a:lnTo>
                    <a:pt x="585" y="498"/>
                  </a:lnTo>
                  <a:lnTo>
                    <a:pt x="585" y="499"/>
                  </a:lnTo>
                  <a:lnTo>
                    <a:pt x="584" y="499"/>
                  </a:lnTo>
                  <a:lnTo>
                    <a:pt x="584" y="498"/>
                  </a:lnTo>
                  <a:lnTo>
                    <a:pt x="583" y="498"/>
                  </a:lnTo>
                  <a:lnTo>
                    <a:pt x="583" y="497"/>
                  </a:lnTo>
                  <a:lnTo>
                    <a:pt x="582" y="498"/>
                  </a:lnTo>
                  <a:lnTo>
                    <a:pt x="580" y="498"/>
                  </a:lnTo>
                  <a:lnTo>
                    <a:pt x="580" y="497"/>
                  </a:lnTo>
                  <a:lnTo>
                    <a:pt x="580" y="496"/>
                  </a:lnTo>
                  <a:lnTo>
                    <a:pt x="580" y="497"/>
                  </a:lnTo>
                  <a:lnTo>
                    <a:pt x="579" y="497"/>
                  </a:lnTo>
                  <a:lnTo>
                    <a:pt x="579" y="496"/>
                  </a:lnTo>
                  <a:lnTo>
                    <a:pt x="578" y="496"/>
                  </a:lnTo>
                  <a:lnTo>
                    <a:pt x="579" y="497"/>
                  </a:lnTo>
                  <a:lnTo>
                    <a:pt x="579" y="498"/>
                  </a:lnTo>
                  <a:lnTo>
                    <a:pt x="580" y="498"/>
                  </a:lnTo>
                  <a:lnTo>
                    <a:pt x="579" y="499"/>
                  </a:lnTo>
                  <a:lnTo>
                    <a:pt x="578" y="499"/>
                  </a:lnTo>
                  <a:lnTo>
                    <a:pt x="579" y="499"/>
                  </a:lnTo>
                  <a:lnTo>
                    <a:pt x="578" y="499"/>
                  </a:lnTo>
                  <a:lnTo>
                    <a:pt x="578" y="498"/>
                  </a:lnTo>
                  <a:lnTo>
                    <a:pt x="577" y="498"/>
                  </a:lnTo>
                  <a:lnTo>
                    <a:pt x="576" y="498"/>
                  </a:lnTo>
                  <a:lnTo>
                    <a:pt x="577" y="498"/>
                  </a:lnTo>
                  <a:lnTo>
                    <a:pt x="577" y="499"/>
                  </a:lnTo>
                  <a:lnTo>
                    <a:pt x="578" y="499"/>
                  </a:lnTo>
                  <a:lnTo>
                    <a:pt x="578" y="500"/>
                  </a:lnTo>
                  <a:lnTo>
                    <a:pt x="577" y="500"/>
                  </a:lnTo>
                  <a:lnTo>
                    <a:pt x="578" y="500"/>
                  </a:lnTo>
                  <a:lnTo>
                    <a:pt x="577" y="500"/>
                  </a:lnTo>
                  <a:lnTo>
                    <a:pt x="577" y="502"/>
                  </a:lnTo>
                  <a:lnTo>
                    <a:pt x="576" y="502"/>
                  </a:lnTo>
                  <a:lnTo>
                    <a:pt x="575" y="502"/>
                  </a:lnTo>
                  <a:lnTo>
                    <a:pt x="573" y="502"/>
                  </a:lnTo>
                  <a:lnTo>
                    <a:pt x="573" y="500"/>
                  </a:lnTo>
                  <a:lnTo>
                    <a:pt x="573" y="502"/>
                  </a:lnTo>
                  <a:lnTo>
                    <a:pt x="572" y="502"/>
                  </a:lnTo>
                  <a:lnTo>
                    <a:pt x="573" y="502"/>
                  </a:lnTo>
                  <a:lnTo>
                    <a:pt x="572" y="503"/>
                  </a:lnTo>
                  <a:lnTo>
                    <a:pt x="571" y="503"/>
                  </a:lnTo>
                  <a:lnTo>
                    <a:pt x="572" y="503"/>
                  </a:lnTo>
                  <a:lnTo>
                    <a:pt x="571" y="503"/>
                  </a:lnTo>
                  <a:lnTo>
                    <a:pt x="571" y="502"/>
                  </a:lnTo>
                  <a:lnTo>
                    <a:pt x="570" y="502"/>
                  </a:lnTo>
                  <a:lnTo>
                    <a:pt x="570" y="503"/>
                  </a:lnTo>
                  <a:lnTo>
                    <a:pt x="571" y="503"/>
                  </a:lnTo>
                  <a:lnTo>
                    <a:pt x="570" y="503"/>
                  </a:lnTo>
                  <a:lnTo>
                    <a:pt x="569" y="503"/>
                  </a:lnTo>
                  <a:lnTo>
                    <a:pt x="570" y="503"/>
                  </a:lnTo>
                  <a:lnTo>
                    <a:pt x="569" y="503"/>
                  </a:lnTo>
                  <a:lnTo>
                    <a:pt x="569" y="502"/>
                  </a:lnTo>
                  <a:lnTo>
                    <a:pt x="568" y="502"/>
                  </a:lnTo>
                  <a:lnTo>
                    <a:pt x="568" y="503"/>
                  </a:lnTo>
                  <a:lnTo>
                    <a:pt x="569" y="503"/>
                  </a:lnTo>
                  <a:lnTo>
                    <a:pt x="568" y="503"/>
                  </a:lnTo>
                  <a:lnTo>
                    <a:pt x="568" y="504"/>
                  </a:lnTo>
                  <a:lnTo>
                    <a:pt x="566" y="504"/>
                  </a:lnTo>
                  <a:lnTo>
                    <a:pt x="565" y="504"/>
                  </a:lnTo>
                  <a:lnTo>
                    <a:pt x="564" y="504"/>
                  </a:lnTo>
                  <a:lnTo>
                    <a:pt x="564" y="505"/>
                  </a:lnTo>
                  <a:lnTo>
                    <a:pt x="564" y="506"/>
                  </a:lnTo>
                  <a:lnTo>
                    <a:pt x="563" y="506"/>
                  </a:lnTo>
                  <a:lnTo>
                    <a:pt x="563" y="505"/>
                  </a:lnTo>
                  <a:lnTo>
                    <a:pt x="564" y="505"/>
                  </a:lnTo>
                  <a:lnTo>
                    <a:pt x="563" y="505"/>
                  </a:lnTo>
                  <a:lnTo>
                    <a:pt x="563" y="504"/>
                  </a:lnTo>
                  <a:lnTo>
                    <a:pt x="564" y="504"/>
                  </a:lnTo>
                  <a:lnTo>
                    <a:pt x="564" y="503"/>
                  </a:lnTo>
                  <a:lnTo>
                    <a:pt x="564" y="504"/>
                  </a:lnTo>
                  <a:lnTo>
                    <a:pt x="563" y="504"/>
                  </a:lnTo>
                  <a:lnTo>
                    <a:pt x="563" y="505"/>
                  </a:lnTo>
                  <a:lnTo>
                    <a:pt x="563" y="506"/>
                  </a:lnTo>
                  <a:lnTo>
                    <a:pt x="562" y="506"/>
                  </a:lnTo>
                  <a:lnTo>
                    <a:pt x="561" y="507"/>
                  </a:lnTo>
                  <a:lnTo>
                    <a:pt x="561" y="506"/>
                  </a:lnTo>
                  <a:lnTo>
                    <a:pt x="561" y="505"/>
                  </a:lnTo>
                  <a:lnTo>
                    <a:pt x="561" y="506"/>
                  </a:lnTo>
                  <a:lnTo>
                    <a:pt x="561" y="505"/>
                  </a:lnTo>
                  <a:lnTo>
                    <a:pt x="561" y="504"/>
                  </a:lnTo>
                  <a:lnTo>
                    <a:pt x="559" y="504"/>
                  </a:lnTo>
                  <a:lnTo>
                    <a:pt x="559" y="503"/>
                  </a:lnTo>
                  <a:lnTo>
                    <a:pt x="559" y="504"/>
                  </a:lnTo>
                  <a:lnTo>
                    <a:pt x="559" y="505"/>
                  </a:lnTo>
                  <a:lnTo>
                    <a:pt x="558" y="505"/>
                  </a:lnTo>
                  <a:lnTo>
                    <a:pt x="559" y="505"/>
                  </a:lnTo>
                  <a:lnTo>
                    <a:pt x="559" y="506"/>
                  </a:lnTo>
                  <a:lnTo>
                    <a:pt x="561" y="506"/>
                  </a:lnTo>
                  <a:lnTo>
                    <a:pt x="561" y="507"/>
                  </a:lnTo>
                  <a:lnTo>
                    <a:pt x="559" y="507"/>
                  </a:lnTo>
                  <a:lnTo>
                    <a:pt x="559" y="509"/>
                  </a:lnTo>
                  <a:lnTo>
                    <a:pt x="558" y="509"/>
                  </a:lnTo>
                  <a:lnTo>
                    <a:pt x="558" y="510"/>
                  </a:lnTo>
                  <a:lnTo>
                    <a:pt x="558" y="509"/>
                  </a:lnTo>
                  <a:lnTo>
                    <a:pt x="558" y="510"/>
                  </a:lnTo>
                  <a:lnTo>
                    <a:pt x="557" y="510"/>
                  </a:lnTo>
                  <a:lnTo>
                    <a:pt x="557" y="511"/>
                  </a:lnTo>
                  <a:lnTo>
                    <a:pt x="557" y="512"/>
                  </a:lnTo>
                  <a:lnTo>
                    <a:pt x="558" y="512"/>
                  </a:lnTo>
                  <a:lnTo>
                    <a:pt x="558" y="513"/>
                  </a:lnTo>
                  <a:lnTo>
                    <a:pt x="558" y="512"/>
                  </a:lnTo>
                  <a:lnTo>
                    <a:pt x="558" y="513"/>
                  </a:lnTo>
                  <a:lnTo>
                    <a:pt x="558" y="512"/>
                  </a:lnTo>
                  <a:lnTo>
                    <a:pt x="558" y="513"/>
                  </a:lnTo>
                  <a:lnTo>
                    <a:pt x="559" y="513"/>
                  </a:lnTo>
                  <a:lnTo>
                    <a:pt x="559" y="512"/>
                  </a:lnTo>
                  <a:lnTo>
                    <a:pt x="561" y="512"/>
                  </a:lnTo>
                  <a:lnTo>
                    <a:pt x="561" y="513"/>
                  </a:lnTo>
                  <a:lnTo>
                    <a:pt x="561" y="512"/>
                  </a:lnTo>
                  <a:lnTo>
                    <a:pt x="561" y="513"/>
                  </a:lnTo>
                  <a:lnTo>
                    <a:pt x="561" y="512"/>
                  </a:lnTo>
                  <a:lnTo>
                    <a:pt x="561" y="513"/>
                  </a:lnTo>
                  <a:lnTo>
                    <a:pt x="562" y="513"/>
                  </a:lnTo>
                  <a:lnTo>
                    <a:pt x="562" y="514"/>
                  </a:lnTo>
                  <a:lnTo>
                    <a:pt x="561" y="514"/>
                  </a:lnTo>
                  <a:lnTo>
                    <a:pt x="561" y="513"/>
                  </a:lnTo>
                  <a:lnTo>
                    <a:pt x="561" y="514"/>
                  </a:lnTo>
                  <a:lnTo>
                    <a:pt x="561" y="516"/>
                  </a:lnTo>
                  <a:lnTo>
                    <a:pt x="562" y="517"/>
                  </a:lnTo>
                  <a:lnTo>
                    <a:pt x="562" y="516"/>
                  </a:lnTo>
                  <a:lnTo>
                    <a:pt x="562" y="517"/>
                  </a:lnTo>
                  <a:lnTo>
                    <a:pt x="563" y="517"/>
                  </a:lnTo>
                  <a:lnTo>
                    <a:pt x="564" y="518"/>
                  </a:lnTo>
                  <a:lnTo>
                    <a:pt x="564" y="519"/>
                  </a:lnTo>
                  <a:lnTo>
                    <a:pt x="563" y="520"/>
                  </a:lnTo>
                  <a:lnTo>
                    <a:pt x="563" y="521"/>
                  </a:lnTo>
                  <a:lnTo>
                    <a:pt x="562" y="521"/>
                  </a:lnTo>
                  <a:lnTo>
                    <a:pt x="561" y="523"/>
                  </a:lnTo>
                  <a:lnTo>
                    <a:pt x="561" y="521"/>
                  </a:lnTo>
                  <a:lnTo>
                    <a:pt x="559" y="521"/>
                  </a:lnTo>
                  <a:lnTo>
                    <a:pt x="559" y="523"/>
                  </a:lnTo>
                  <a:lnTo>
                    <a:pt x="558" y="523"/>
                  </a:lnTo>
                  <a:lnTo>
                    <a:pt x="558" y="521"/>
                  </a:lnTo>
                  <a:lnTo>
                    <a:pt x="557" y="521"/>
                  </a:lnTo>
                  <a:lnTo>
                    <a:pt x="556" y="521"/>
                  </a:lnTo>
                  <a:lnTo>
                    <a:pt x="556" y="523"/>
                  </a:lnTo>
                  <a:lnTo>
                    <a:pt x="556" y="521"/>
                  </a:lnTo>
                  <a:lnTo>
                    <a:pt x="556" y="520"/>
                  </a:lnTo>
                  <a:lnTo>
                    <a:pt x="555" y="520"/>
                  </a:lnTo>
                  <a:lnTo>
                    <a:pt x="556" y="520"/>
                  </a:lnTo>
                  <a:lnTo>
                    <a:pt x="555" y="519"/>
                  </a:lnTo>
                  <a:lnTo>
                    <a:pt x="556" y="519"/>
                  </a:lnTo>
                  <a:lnTo>
                    <a:pt x="556" y="520"/>
                  </a:lnTo>
                  <a:lnTo>
                    <a:pt x="557" y="520"/>
                  </a:lnTo>
                  <a:lnTo>
                    <a:pt x="557" y="519"/>
                  </a:lnTo>
                  <a:lnTo>
                    <a:pt x="556" y="519"/>
                  </a:lnTo>
                  <a:lnTo>
                    <a:pt x="556" y="518"/>
                  </a:lnTo>
                  <a:lnTo>
                    <a:pt x="556" y="519"/>
                  </a:lnTo>
                  <a:lnTo>
                    <a:pt x="555" y="518"/>
                  </a:lnTo>
                  <a:lnTo>
                    <a:pt x="554" y="518"/>
                  </a:lnTo>
                  <a:lnTo>
                    <a:pt x="555" y="518"/>
                  </a:lnTo>
                  <a:lnTo>
                    <a:pt x="555" y="517"/>
                  </a:lnTo>
                  <a:lnTo>
                    <a:pt x="554" y="517"/>
                  </a:lnTo>
                  <a:lnTo>
                    <a:pt x="554" y="516"/>
                  </a:lnTo>
                  <a:lnTo>
                    <a:pt x="553" y="516"/>
                  </a:lnTo>
                  <a:lnTo>
                    <a:pt x="554" y="516"/>
                  </a:lnTo>
                  <a:lnTo>
                    <a:pt x="554" y="514"/>
                  </a:lnTo>
                  <a:lnTo>
                    <a:pt x="554" y="516"/>
                  </a:lnTo>
                  <a:lnTo>
                    <a:pt x="553" y="514"/>
                  </a:lnTo>
                  <a:lnTo>
                    <a:pt x="553" y="513"/>
                  </a:lnTo>
                  <a:lnTo>
                    <a:pt x="553" y="512"/>
                  </a:lnTo>
                  <a:lnTo>
                    <a:pt x="553" y="513"/>
                  </a:lnTo>
                  <a:lnTo>
                    <a:pt x="551" y="513"/>
                  </a:lnTo>
                  <a:lnTo>
                    <a:pt x="553" y="513"/>
                  </a:lnTo>
                  <a:lnTo>
                    <a:pt x="551" y="513"/>
                  </a:lnTo>
                  <a:lnTo>
                    <a:pt x="551" y="512"/>
                  </a:lnTo>
                  <a:lnTo>
                    <a:pt x="551" y="511"/>
                  </a:lnTo>
                  <a:lnTo>
                    <a:pt x="551" y="510"/>
                  </a:lnTo>
                  <a:lnTo>
                    <a:pt x="551" y="509"/>
                  </a:lnTo>
                  <a:lnTo>
                    <a:pt x="550" y="509"/>
                  </a:lnTo>
                  <a:lnTo>
                    <a:pt x="550" y="507"/>
                  </a:lnTo>
                  <a:lnTo>
                    <a:pt x="551" y="507"/>
                  </a:lnTo>
                  <a:lnTo>
                    <a:pt x="551" y="506"/>
                  </a:lnTo>
                  <a:lnTo>
                    <a:pt x="551" y="505"/>
                  </a:lnTo>
                  <a:lnTo>
                    <a:pt x="553" y="505"/>
                  </a:lnTo>
                  <a:lnTo>
                    <a:pt x="554" y="505"/>
                  </a:lnTo>
                  <a:lnTo>
                    <a:pt x="554" y="504"/>
                  </a:lnTo>
                  <a:lnTo>
                    <a:pt x="553" y="504"/>
                  </a:lnTo>
                  <a:lnTo>
                    <a:pt x="554" y="503"/>
                  </a:lnTo>
                  <a:lnTo>
                    <a:pt x="553" y="503"/>
                  </a:lnTo>
                  <a:lnTo>
                    <a:pt x="554" y="503"/>
                  </a:lnTo>
                  <a:lnTo>
                    <a:pt x="553" y="503"/>
                  </a:lnTo>
                  <a:lnTo>
                    <a:pt x="551" y="503"/>
                  </a:lnTo>
                  <a:lnTo>
                    <a:pt x="551" y="502"/>
                  </a:lnTo>
                  <a:lnTo>
                    <a:pt x="550" y="502"/>
                  </a:lnTo>
                  <a:lnTo>
                    <a:pt x="551" y="503"/>
                  </a:lnTo>
                  <a:lnTo>
                    <a:pt x="550" y="503"/>
                  </a:lnTo>
                  <a:lnTo>
                    <a:pt x="549" y="502"/>
                  </a:lnTo>
                  <a:lnTo>
                    <a:pt x="549" y="500"/>
                  </a:lnTo>
                  <a:lnTo>
                    <a:pt x="549" y="502"/>
                  </a:lnTo>
                  <a:lnTo>
                    <a:pt x="548" y="502"/>
                  </a:lnTo>
                  <a:lnTo>
                    <a:pt x="548" y="500"/>
                  </a:lnTo>
                  <a:lnTo>
                    <a:pt x="548" y="499"/>
                  </a:lnTo>
                  <a:lnTo>
                    <a:pt x="548" y="498"/>
                  </a:lnTo>
                  <a:lnTo>
                    <a:pt x="547" y="499"/>
                  </a:lnTo>
                  <a:lnTo>
                    <a:pt x="547" y="500"/>
                  </a:lnTo>
                  <a:lnTo>
                    <a:pt x="547" y="499"/>
                  </a:lnTo>
                  <a:lnTo>
                    <a:pt x="547" y="500"/>
                  </a:lnTo>
                  <a:lnTo>
                    <a:pt x="548" y="500"/>
                  </a:lnTo>
                  <a:lnTo>
                    <a:pt x="548" y="502"/>
                  </a:lnTo>
                  <a:lnTo>
                    <a:pt x="548" y="503"/>
                  </a:lnTo>
                  <a:lnTo>
                    <a:pt x="547" y="503"/>
                  </a:lnTo>
                  <a:lnTo>
                    <a:pt x="546" y="503"/>
                  </a:lnTo>
                  <a:lnTo>
                    <a:pt x="544" y="503"/>
                  </a:lnTo>
                  <a:lnTo>
                    <a:pt x="544" y="504"/>
                  </a:lnTo>
                  <a:lnTo>
                    <a:pt x="543" y="504"/>
                  </a:lnTo>
                  <a:lnTo>
                    <a:pt x="543" y="503"/>
                  </a:lnTo>
                  <a:lnTo>
                    <a:pt x="543" y="504"/>
                  </a:lnTo>
                  <a:lnTo>
                    <a:pt x="542" y="503"/>
                  </a:lnTo>
                  <a:lnTo>
                    <a:pt x="542" y="504"/>
                  </a:lnTo>
                  <a:lnTo>
                    <a:pt x="543" y="504"/>
                  </a:lnTo>
                  <a:lnTo>
                    <a:pt x="542" y="504"/>
                  </a:lnTo>
                  <a:lnTo>
                    <a:pt x="541" y="503"/>
                  </a:lnTo>
                  <a:lnTo>
                    <a:pt x="542" y="503"/>
                  </a:lnTo>
                  <a:lnTo>
                    <a:pt x="542" y="502"/>
                  </a:lnTo>
                  <a:lnTo>
                    <a:pt x="542" y="500"/>
                  </a:lnTo>
                  <a:lnTo>
                    <a:pt x="541" y="500"/>
                  </a:lnTo>
                  <a:lnTo>
                    <a:pt x="540" y="500"/>
                  </a:lnTo>
                  <a:lnTo>
                    <a:pt x="539" y="500"/>
                  </a:lnTo>
                  <a:lnTo>
                    <a:pt x="539" y="499"/>
                  </a:lnTo>
                  <a:lnTo>
                    <a:pt x="537" y="499"/>
                  </a:lnTo>
                  <a:lnTo>
                    <a:pt x="537" y="498"/>
                  </a:lnTo>
                  <a:lnTo>
                    <a:pt x="539" y="498"/>
                  </a:lnTo>
                  <a:lnTo>
                    <a:pt x="537" y="498"/>
                  </a:lnTo>
                  <a:lnTo>
                    <a:pt x="537" y="497"/>
                  </a:lnTo>
                  <a:lnTo>
                    <a:pt x="536" y="497"/>
                  </a:lnTo>
                  <a:lnTo>
                    <a:pt x="537" y="498"/>
                  </a:lnTo>
                  <a:lnTo>
                    <a:pt x="537" y="499"/>
                  </a:lnTo>
                  <a:lnTo>
                    <a:pt x="537" y="498"/>
                  </a:lnTo>
                  <a:lnTo>
                    <a:pt x="536" y="498"/>
                  </a:lnTo>
                  <a:lnTo>
                    <a:pt x="537" y="498"/>
                  </a:lnTo>
                  <a:lnTo>
                    <a:pt x="536" y="498"/>
                  </a:lnTo>
                  <a:lnTo>
                    <a:pt x="537" y="498"/>
                  </a:lnTo>
                  <a:lnTo>
                    <a:pt x="536" y="499"/>
                  </a:lnTo>
                  <a:lnTo>
                    <a:pt x="537" y="499"/>
                  </a:lnTo>
                  <a:lnTo>
                    <a:pt x="537" y="500"/>
                  </a:lnTo>
                  <a:lnTo>
                    <a:pt x="539" y="500"/>
                  </a:lnTo>
                  <a:lnTo>
                    <a:pt x="537" y="500"/>
                  </a:lnTo>
                  <a:lnTo>
                    <a:pt x="536" y="500"/>
                  </a:lnTo>
                  <a:lnTo>
                    <a:pt x="536" y="499"/>
                  </a:lnTo>
                  <a:lnTo>
                    <a:pt x="536" y="500"/>
                  </a:lnTo>
                  <a:lnTo>
                    <a:pt x="536" y="499"/>
                  </a:lnTo>
                  <a:lnTo>
                    <a:pt x="536" y="498"/>
                  </a:lnTo>
                  <a:lnTo>
                    <a:pt x="535" y="499"/>
                  </a:lnTo>
                  <a:lnTo>
                    <a:pt x="535" y="498"/>
                  </a:lnTo>
                  <a:lnTo>
                    <a:pt x="535" y="497"/>
                  </a:lnTo>
                  <a:lnTo>
                    <a:pt x="535" y="498"/>
                  </a:lnTo>
                  <a:lnTo>
                    <a:pt x="535" y="497"/>
                  </a:lnTo>
                  <a:lnTo>
                    <a:pt x="535" y="498"/>
                  </a:lnTo>
                  <a:lnTo>
                    <a:pt x="534" y="498"/>
                  </a:lnTo>
                  <a:lnTo>
                    <a:pt x="535" y="498"/>
                  </a:lnTo>
                  <a:lnTo>
                    <a:pt x="534" y="498"/>
                  </a:lnTo>
                  <a:lnTo>
                    <a:pt x="534" y="497"/>
                  </a:lnTo>
                  <a:lnTo>
                    <a:pt x="534" y="496"/>
                  </a:lnTo>
                  <a:lnTo>
                    <a:pt x="533" y="496"/>
                  </a:lnTo>
                  <a:lnTo>
                    <a:pt x="534" y="496"/>
                  </a:lnTo>
                  <a:lnTo>
                    <a:pt x="533" y="496"/>
                  </a:lnTo>
                  <a:lnTo>
                    <a:pt x="533" y="497"/>
                  </a:lnTo>
                  <a:lnTo>
                    <a:pt x="532" y="497"/>
                  </a:lnTo>
                  <a:lnTo>
                    <a:pt x="532" y="496"/>
                  </a:lnTo>
                  <a:lnTo>
                    <a:pt x="532" y="497"/>
                  </a:lnTo>
                  <a:lnTo>
                    <a:pt x="533" y="497"/>
                  </a:lnTo>
                  <a:lnTo>
                    <a:pt x="533" y="498"/>
                  </a:lnTo>
                  <a:lnTo>
                    <a:pt x="533" y="499"/>
                  </a:lnTo>
                  <a:lnTo>
                    <a:pt x="534" y="499"/>
                  </a:lnTo>
                  <a:lnTo>
                    <a:pt x="533" y="499"/>
                  </a:lnTo>
                  <a:lnTo>
                    <a:pt x="534" y="499"/>
                  </a:lnTo>
                  <a:lnTo>
                    <a:pt x="534" y="500"/>
                  </a:lnTo>
                  <a:lnTo>
                    <a:pt x="533" y="500"/>
                  </a:lnTo>
                  <a:lnTo>
                    <a:pt x="534" y="500"/>
                  </a:lnTo>
                  <a:lnTo>
                    <a:pt x="533" y="502"/>
                  </a:lnTo>
                  <a:lnTo>
                    <a:pt x="533" y="500"/>
                  </a:lnTo>
                  <a:lnTo>
                    <a:pt x="533" y="502"/>
                  </a:lnTo>
                  <a:lnTo>
                    <a:pt x="532" y="502"/>
                  </a:lnTo>
                  <a:lnTo>
                    <a:pt x="532" y="500"/>
                  </a:lnTo>
                  <a:lnTo>
                    <a:pt x="532" y="502"/>
                  </a:lnTo>
                  <a:lnTo>
                    <a:pt x="533" y="502"/>
                  </a:lnTo>
                  <a:lnTo>
                    <a:pt x="533" y="500"/>
                  </a:lnTo>
                  <a:lnTo>
                    <a:pt x="532" y="500"/>
                  </a:lnTo>
                  <a:lnTo>
                    <a:pt x="533" y="500"/>
                  </a:lnTo>
                  <a:lnTo>
                    <a:pt x="533" y="499"/>
                  </a:lnTo>
                  <a:lnTo>
                    <a:pt x="532" y="499"/>
                  </a:lnTo>
                  <a:lnTo>
                    <a:pt x="530" y="499"/>
                  </a:lnTo>
                  <a:lnTo>
                    <a:pt x="530" y="500"/>
                  </a:lnTo>
                  <a:lnTo>
                    <a:pt x="530" y="502"/>
                  </a:lnTo>
                  <a:lnTo>
                    <a:pt x="529" y="503"/>
                  </a:lnTo>
                  <a:lnTo>
                    <a:pt x="529" y="502"/>
                  </a:lnTo>
                  <a:lnTo>
                    <a:pt x="530" y="502"/>
                  </a:lnTo>
                  <a:lnTo>
                    <a:pt x="530" y="500"/>
                  </a:lnTo>
                  <a:lnTo>
                    <a:pt x="529" y="500"/>
                  </a:lnTo>
                  <a:lnTo>
                    <a:pt x="529" y="502"/>
                  </a:lnTo>
                  <a:lnTo>
                    <a:pt x="528" y="502"/>
                  </a:lnTo>
                  <a:lnTo>
                    <a:pt x="527" y="502"/>
                  </a:lnTo>
                  <a:lnTo>
                    <a:pt x="528" y="502"/>
                  </a:lnTo>
                  <a:lnTo>
                    <a:pt x="527" y="502"/>
                  </a:lnTo>
                  <a:lnTo>
                    <a:pt x="527" y="503"/>
                  </a:lnTo>
                  <a:lnTo>
                    <a:pt x="528" y="503"/>
                  </a:lnTo>
                  <a:lnTo>
                    <a:pt x="527" y="503"/>
                  </a:lnTo>
                  <a:lnTo>
                    <a:pt x="527" y="504"/>
                  </a:lnTo>
                  <a:lnTo>
                    <a:pt x="526" y="504"/>
                  </a:lnTo>
                  <a:lnTo>
                    <a:pt x="526" y="503"/>
                  </a:lnTo>
                  <a:lnTo>
                    <a:pt x="527" y="503"/>
                  </a:lnTo>
                  <a:lnTo>
                    <a:pt x="526" y="502"/>
                  </a:lnTo>
                  <a:lnTo>
                    <a:pt x="525" y="502"/>
                  </a:lnTo>
                  <a:lnTo>
                    <a:pt x="525" y="500"/>
                  </a:lnTo>
                  <a:lnTo>
                    <a:pt x="523" y="500"/>
                  </a:lnTo>
                  <a:lnTo>
                    <a:pt x="523" y="499"/>
                  </a:lnTo>
                  <a:lnTo>
                    <a:pt x="522" y="500"/>
                  </a:lnTo>
                  <a:lnTo>
                    <a:pt x="521" y="500"/>
                  </a:lnTo>
                  <a:lnTo>
                    <a:pt x="520" y="500"/>
                  </a:lnTo>
                  <a:lnTo>
                    <a:pt x="520" y="502"/>
                  </a:lnTo>
                  <a:lnTo>
                    <a:pt x="519" y="500"/>
                  </a:lnTo>
                  <a:lnTo>
                    <a:pt x="518" y="500"/>
                  </a:lnTo>
                  <a:lnTo>
                    <a:pt x="516" y="499"/>
                  </a:lnTo>
                  <a:lnTo>
                    <a:pt x="515" y="499"/>
                  </a:lnTo>
                  <a:lnTo>
                    <a:pt x="513" y="498"/>
                  </a:lnTo>
                  <a:lnTo>
                    <a:pt x="512" y="497"/>
                  </a:lnTo>
                  <a:lnTo>
                    <a:pt x="512" y="496"/>
                  </a:lnTo>
                  <a:lnTo>
                    <a:pt x="511" y="496"/>
                  </a:lnTo>
                  <a:lnTo>
                    <a:pt x="511" y="495"/>
                  </a:lnTo>
                  <a:lnTo>
                    <a:pt x="509" y="495"/>
                  </a:lnTo>
                  <a:lnTo>
                    <a:pt x="508" y="495"/>
                  </a:lnTo>
                  <a:lnTo>
                    <a:pt x="507" y="495"/>
                  </a:lnTo>
                  <a:lnTo>
                    <a:pt x="507" y="493"/>
                  </a:lnTo>
                  <a:lnTo>
                    <a:pt x="507" y="492"/>
                  </a:lnTo>
                  <a:lnTo>
                    <a:pt x="506" y="492"/>
                  </a:lnTo>
                  <a:lnTo>
                    <a:pt x="506" y="491"/>
                  </a:lnTo>
                  <a:lnTo>
                    <a:pt x="506" y="490"/>
                  </a:lnTo>
                  <a:lnTo>
                    <a:pt x="506" y="489"/>
                  </a:lnTo>
                  <a:lnTo>
                    <a:pt x="505" y="489"/>
                  </a:lnTo>
                  <a:lnTo>
                    <a:pt x="504" y="488"/>
                  </a:lnTo>
                  <a:lnTo>
                    <a:pt x="504" y="486"/>
                  </a:lnTo>
                  <a:lnTo>
                    <a:pt x="504" y="485"/>
                  </a:lnTo>
                  <a:lnTo>
                    <a:pt x="505" y="485"/>
                  </a:lnTo>
                  <a:lnTo>
                    <a:pt x="506" y="485"/>
                  </a:lnTo>
                  <a:lnTo>
                    <a:pt x="506" y="484"/>
                  </a:lnTo>
                  <a:lnTo>
                    <a:pt x="506" y="483"/>
                  </a:lnTo>
                  <a:lnTo>
                    <a:pt x="507" y="482"/>
                  </a:lnTo>
                  <a:lnTo>
                    <a:pt x="506" y="482"/>
                  </a:lnTo>
                  <a:lnTo>
                    <a:pt x="505" y="481"/>
                  </a:lnTo>
                  <a:lnTo>
                    <a:pt x="504" y="481"/>
                  </a:lnTo>
                  <a:lnTo>
                    <a:pt x="502" y="479"/>
                  </a:lnTo>
                  <a:lnTo>
                    <a:pt x="502" y="481"/>
                  </a:lnTo>
                  <a:lnTo>
                    <a:pt x="501" y="481"/>
                  </a:lnTo>
                  <a:lnTo>
                    <a:pt x="500" y="481"/>
                  </a:lnTo>
                  <a:lnTo>
                    <a:pt x="499" y="481"/>
                  </a:lnTo>
                  <a:lnTo>
                    <a:pt x="499" y="479"/>
                  </a:lnTo>
                  <a:lnTo>
                    <a:pt x="498" y="479"/>
                  </a:lnTo>
                  <a:lnTo>
                    <a:pt x="497" y="479"/>
                  </a:lnTo>
                  <a:lnTo>
                    <a:pt x="495" y="479"/>
                  </a:lnTo>
                  <a:lnTo>
                    <a:pt x="494" y="479"/>
                  </a:lnTo>
                  <a:lnTo>
                    <a:pt x="493" y="479"/>
                  </a:lnTo>
                  <a:lnTo>
                    <a:pt x="493" y="481"/>
                  </a:lnTo>
                  <a:lnTo>
                    <a:pt x="493" y="479"/>
                  </a:lnTo>
                  <a:lnTo>
                    <a:pt x="492" y="479"/>
                  </a:lnTo>
                  <a:lnTo>
                    <a:pt x="492" y="478"/>
                  </a:lnTo>
                  <a:lnTo>
                    <a:pt x="491" y="478"/>
                  </a:lnTo>
                  <a:lnTo>
                    <a:pt x="490" y="478"/>
                  </a:lnTo>
                  <a:lnTo>
                    <a:pt x="489" y="477"/>
                  </a:lnTo>
                  <a:lnTo>
                    <a:pt x="489" y="476"/>
                  </a:lnTo>
                  <a:lnTo>
                    <a:pt x="487" y="476"/>
                  </a:lnTo>
                  <a:lnTo>
                    <a:pt x="487" y="475"/>
                  </a:lnTo>
                  <a:lnTo>
                    <a:pt x="486" y="475"/>
                  </a:lnTo>
                  <a:lnTo>
                    <a:pt x="486" y="474"/>
                  </a:lnTo>
                  <a:lnTo>
                    <a:pt x="485" y="474"/>
                  </a:lnTo>
                  <a:lnTo>
                    <a:pt x="485" y="472"/>
                  </a:lnTo>
                  <a:lnTo>
                    <a:pt x="484" y="474"/>
                  </a:lnTo>
                  <a:lnTo>
                    <a:pt x="484" y="475"/>
                  </a:lnTo>
                  <a:lnTo>
                    <a:pt x="483" y="475"/>
                  </a:lnTo>
                  <a:lnTo>
                    <a:pt x="482" y="475"/>
                  </a:lnTo>
                  <a:lnTo>
                    <a:pt x="480" y="476"/>
                  </a:lnTo>
                  <a:lnTo>
                    <a:pt x="479" y="476"/>
                  </a:lnTo>
                  <a:lnTo>
                    <a:pt x="479" y="477"/>
                  </a:lnTo>
                  <a:lnTo>
                    <a:pt x="479" y="479"/>
                  </a:lnTo>
                  <a:lnTo>
                    <a:pt x="479" y="481"/>
                  </a:lnTo>
                  <a:lnTo>
                    <a:pt x="478" y="481"/>
                  </a:lnTo>
                  <a:lnTo>
                    <a:pt x="478" y="482"/>
                  </a:lnTo>
                  <a:lnTo>
                    <a:pt x="477" y="482"/>
                  </a:lnTo>
                  <a:lnTo>
                    <a:pt x="476" y="482"/>
                  </a:lnTo>
                  <a:lnTo>
                    <a:pt x="475" y="482"/>
                  </a:lnTo>
                  <a:lnTo>
                    <a:pt x="475" y="483"/>
                  </a:lnTo>
                  <a:lnTo>
                    <a:pt x="473" y="483"/>
                  </a:lnTo>
                  <a:lnTo>
                    <a:pt x="473" y="484"/>
                  </a:lnTo>
                  <a:lnTo>
                    <a:pt x="473" y="483"/>
                  </a:lnTo>
                  <a:lnTo>
                    <a:pt x="472" y="483"/>
                  </a:lnTo>
                  <a:lnTo>
                    <a:pt x="472" y="482"/>
                  </a:lnTo>
                  <a:lnTo>
                    <a:pt x="471" y="482"/>
                  </a:lnTo>
                  <a:lnTo>
                    <a:pt x="470" y="482"/>
                  </a:lnTo>
                  <a:lnTo>
                    <a:pt x="470" y="483"/>
                  </a:lnTo>
                  <a:lnTo>
                    <a:pt x="469" y="483"/>
                  </a:lnTo>
                  <a:lnTo>
                    <a:pt x="469" y="484"/>
                  </a:lnTo>
                  <a:lnTo>
                    <a:pt x="469" y="485"/>
                  </a:lnTo>
                  <a:lnTo>
                    <a:pt x="469" y="486"/>
                  </a:lnTo>
                  <a:lnTo>
                    <a:pt x="468" y="486"/>
                  </a:lnTo>
                  <a:lnTo>
                    <a:pt x="468" y="485"/>
                  </a:lnTo>
                  <a:lnTo>
                    <a:pt x="466" y="485"/>
                  </a:lnTo>
                  <a:lnTo>
                    <a:pt x="466" y="484"/>
                  </a:lnTo>
                  <a:lnTo>
                    <a:pt x="465" y="483"/>
                  </a:lnTo>
                  <a:lnTo>
                    <a:pt x="464" y="482"/>
                  </a:lnTo>
                  <a:lnTo>
                    <a:pt x="463" y="482"/>
                  </a:lnTo>
                  <a:lnTo>
                    <a:pt x="463" y="483"/>
                  </a:lnTo>
                  <a:lnTo>
                    <a:pt x="463" y="484"/>
                  </a:lnTo>
                  <a:lnTo>
                    <a:pt x="463" y="485"/>
                  </a:lnTo>
                  <a:lnTo>
                    <a:pt x="462" y="485"/>
                  </a:lnTo>
                  <a:lnTo>
                    <a:pt x="462" y="484"/>
                  </a:lnTo>
                  <a:lnTo>
                    <a:pt x="461" y="484"/>
                  </a:lnTo>
                  <a:lnTo>
                    <a:pt x="461" y="483"/>
                  </a:lnTo>
                  <a:lnTo>
                    <a:pt x="461" y="482"/>
                  </a:lnTo>
                  <a:lnTo>
                    <a:pt x="459" y="482"/>
                  </a:lnTo>
                  <a:lnTo>
                    <a:pt x="458" y="483"/>
                  </a:lnTo>
                  <a:lnTo>
                    <a:pt x="458" y="484"/>
                  </a:lnTo>
                  <a:lnTo>
                    <a:pt x="457" y="485"/>
                  </a:lnTo>
                  <a:lnTo>
                    <a:pt x="457" y="486"/>
                  </a:lnTo>
                  <a:lnTo>
                    <a:pt x="456" y="486"/>
                  </a:lnTo>
                  <a:lnTo>
                    <a:pt x="456" y="488"/>
                  </a:lnTo>
                  <a:lnTo>
                    <a:pt x="455" y="488"/>
                  </a:lnTo>
                  <a:lnTo>
                    <a:pt x="455" y="486"/>
                  </a:lnTo>
                  <a:lnTo>
                    <a:pt x="454" y="485"/>
                  </a:lnTo>
                  <a:lnTo>
                    <a:pt x="452" y="485"/>
                  </a:lnTo>
                  <a:lnTo>
                    <a:pt x="452" y="484"/>
                  </a:lnTo>
                  <a:lnTo>
                    <a:pt x="451" y="484"/>
                  </a:lnTo>
                  <a:lnTo>
                    <a:pt x="450" y="484"/>
                  </a:lnTo>
                  <a:lnTo>
                    <a:pt x="450" y="483"/>
                  </a:lnTo>
                  <a:lnTo>
                    <a:pt x="449" y="483"/>
                  </a:lnTo>
                  <a:lnTo>
                    <a:pt x="448" y="483"/>
                  </a:lnTo>
                  <a:lnTo>
                    <a:pt x="448" y="482"/>
                  </a:lnTo>
                  <a:lnTo>
                    <a:pt x="448" y="483"/>
                  </a:lnTo>
                  <a:lnTo>
                    <a:pt x="447" y="483"/>
                  </a:lnTo>
                  <a:lnTo>
                    <a:pt x="447" y="484"/>
                  </a:lnTo>
                  <a:lnTo>
                    <a:pt x="447" y="485"/>
                  </a:lnTo>
                  <a:lnTo>
                    <a:pt x="445" y="486"/>
                  </a:lnTo>
                  <a:lnTo>
                    <a:pt x="445" y="488"/>
                  </a:lnTo>
                  <a:lnTo>
                    <a:pt x="444" y="488"/>
                  </a:lnTo>
                  <a:lnTo>
                    <a:pt x="443" y="488"/>
                  </a:lnTo>
                  <a:lnTo>
                    <a:pt x="442" y="488"/>
                  </a:lnTo>
                  <a:lnTo>
                    <a:pt x="441" y="488"/>
                  </a:lnTo>
                  <a:lnTo>
                    <a:pt x="441" y="489"/>
                  </a:lnTo>
                  <a:lnTo>
                    <a:pt x="440" y="488"/>
                  </a:lnTo>
                  <a:lnTo>
                    <a:pt x="440" y="486"/>
                  </a:lnTo>
                  <a:lnTo>
                    <a:pt x="438" y="486"/>
                  </a:lnTo>
                  <a:lnTo>
                    <a:pt x="437" y="488"/>
                  </a:lnTo>
                  <a:lnTo>
                    <a:pt x="437" y="489"/>
                  </a:lnTo>
                  <a:lnTo>
                    <a:pt x="437" y="490"/>
                  </a:lnTo>
                  <a:lnTo>
                    <a:pt x="436" y="490"/>
                  </a:lnTo>
                  <a:lnTo>
                    <a:pt x="436" y="491"/>
                  </a:lnTo>
                  <a:lnTo>
                    <a:pt x="437" y="491"/>
                  </a:lnTo>
                  <a:lnTo>
                    <a:pt x="437" y="492"/>
                  </a:lnTo>
                  <a:lnTo>
                    <a:pt x="437" y="493"/>
                  </a:lnTo>
                  <a:lnTo>
                    <a:pt x="438" y="495"/>
                  </a:lnTo>
                  <a:lnTo>
                    <a:pt x="438" y="496"/>
                  </a:lnTo>
                  <a:lnTo>
                    <a:pt x="440" y="496"/>
                  </a:lnTo>
                  <a:lnTo>
                    <a:pt x="440" y="497"/>
                  </a:lnTo>
                  <a:lnTo>
                    <a:pt x="441" y="497"/>
                  </a:lnTo>
                  <a:lnTo>
                    <a:pt x="441" y="498"/>
                  </a:lnTo>
                  <a:lnTo>
                    <a:pt x="441" y="499"/>
                  </a:lnTo>
                  <a:lnTo>
                    <a:pt x="441" y="500"/>
                  </a:lnTo>
                  <a:lnTo>
                    <a:pt x="442" y="500"/>
                  </a:lnTo>
                  <a:lnTo>
                    <a:pt x="441" y="502"/>
                  </a:lnTo>
                  <a:lnTo>
                    <a:pt x="441" y="503"/>
                  </a:lnTo>
                  <a:lnTo>
                    <a:pt x="441" y="504"/>
                  </a:lnTo>
                  <a:lnTo>
                    <a:pt x="441" y="505"/>
                  </a:lnTo>
                  <a:lnTo>
                    <a:pt x="442" y="505"/>
                  </a:lnTo>
                  <a:lnTo>
                    <a:pt x="442" y="506"/>
                  </a:lnTo>
                  <a:lnTo>
                    <a:pt x="443" y="506"/>
                  </a:lnTo>
                  <a:lnTo>
                    <a:pt x="443" y="507"/>
                  </a:lnTo>
                  <a:lnTo>
                    <a:pt x="442" y="507"/>
                  </a:lnTo>
                  <a:lnTo>
                    <a:pt x="442" y="509"/>
                  </a:lnTo>
                  <a:lnTo>
                    <a:pt x="441" y="507"/>
                  </a:lnTo>
                  <a:lnTo>
                    <a:pt x="440" y="507"/>
                  </a:lnTo>
                  <a:lnTo>
                    <a:pt x="440" y="506"/>
                  </a:lnTo>
                  <a:lnTo>
                    <a:pt x="438" y="506"/>
                  </a:lnTo>
                  <a:lnTo>
                    <a:pt x="437" y="506"/>
                  </a:lnTo>
                  <a:lnTo>
                    <a:pt x="436" y="506"/>
                  </a:lnTo>
                  <a:lnTo>
                    <a:pt x="436" y="507"/>
                  </a:lnTo>
                  <a:lnTo>
                    <a:pt x="435" y="507"/>
                  </a:lnTo>
                  <a:lnTo>
                    <a:pt x="435" y="506"/>
                  </a:lnTo>
                  <a:lnTo>
                    <a:pt x="435" y="505"/>
                  </a:lnTo>
                  <a:lnTo>
                    <a:pt x="434" y="505"/>
                  </a:lnTo>
                  <a:lnTo>
                    <a:pt x="435" y="505"/>
                  </a:lnTo>
                  <a:lnTo>
                    <a:pt x="435" y="504"/>
                  </a:lnTo>
                  <a:lnTo>
                    <a:pt x="434" y="504"/>
                  </a:lnTo>
                  <a:lnTo>
                    <a:pt x="434" y="503"/>
                  </a:lnTo>
                  <a:lnTo>
                    <a:pt x="434" y="502"/>
                  </a:lnTo>
                  <a:lnTo>
                    <a:pt x="433" y="502"/>
                  </a:lnTo>
                  <a:lnTo>
                    <a:pt x="433" y="500"/>
                  </a:lnTo>
                  <a:lnTo>
                    <a:pt x="433" y="499"/>
                  </a:lnTo>
                  <a:lnTo>
                    <a:pt x="433" y="498"/>
                  </a:lnTo>
                  <a:lnTo>
                    <a:pt x="431" y="498"/>
                  </a:lnTo>
                  <a:lnTo>
                    <a:pt x="430" y="499"/>
                  </a:lnTo>
                  <a:lnTo>
                    <a:pt x="429" y="499"/>
                  </a:lnTo>
                  <a:lnTo>
                    <a:pt x="428" y="500"/>
                  </a:lnTo>
                  <a:lnTo>
                    <a:pt x="428" y="502"/>
                  </a:lnTo>
                  <a:lnTo>
                    <a:pt x="427" y="502"/>
                  </a:lnTo>
                  <a:lnTo>
                    <a:pt x="427" y="503"/>
                  </a:lnTo>
                  <a:lnTo>
                    <a:pt x="426" y="503"/>
                  </a:lnTo>
                  <a:lnTo>
                    <a:pt x="425" y="503"/>
                  </a:lnTo>
                  <a:lnTo>
                    <a:pt x="423" y="503"/>
                  </a:lnTo>
                  <a:lnTo>
                    <a:pt x="422" y="502"/>
                  </a:lnTo>
                  <a:lnTo>
                    <a:pt x="421" y="503"/>
                  </a:lnTo>
                  <a:lnTo>
                    <a:pt x="420" y="504"/>
                  </a:lnTo>
                  <a:lnTo>
                    <a:pt x="419" y="503"/>
                  </a:lnTo>
                  <a:lnTo>
                    <a:pt x="419" y="502"/>
                  </a:lnTo>
                  <a:lnTo>
                    <a:pt x="419" y="500"/>
                  </a:lnTo>
                  <a:lnTo>
                    <a:pt x="419" y="499"/>
                  </a:lnTo>
                  <a:lnTo>
                    <a:pt x="418" y="499"/>
                  </a:lnTo>
                  <a:lnTo>
                    <a:pt x="416" y="499"/>
                  </a:lnTo>
                  <a:lnTo>
                    <a:pt x="416" y="498"/>
                  </a:lnTo>
                  <a:lnTo>
                    <a:pt x="415" y="497"/>
                  </a:lnTo>
                  <a:lnTo>
                    <a:pt x="415" y="496"/>
                  </a:lnTo>
                  <a:lnTo>
                    <a:pt x="415" y="495"/>
                  </a:lnTo>
                  <a:lnTo>
                    <a:pt x="415" y="493"/>
                  </a:lnTo>
                  <a:lnTo>
                    <a:pt x="414" y="493"/>
                  </a:lnTo>
                  <a:lnTo>
                    <a:pt x="414" y="495"/>
                  </a:lnTo>
                  <a:lnTo>
                    <a:pt x="413" y="493"/>
                  </a:lnTo>
                  <a:lnTo>
                    <a:pt x="412" y="493"/>
                  </a:lnTo>
                  <a:lnTo>
                    <a:pt x="411" y="493"/>
                  </a:lnTo>
                  <a:lnTo>
                    <a:pt x="409" y="492"/>
                  </a:lnTo>
                  <a:lnTo>
                    <a:pt x="408" y="492"/>
                  </a:lnTo>
                  <a:lnTo>
                    <a:pt x="407" y="493"/>
                  </a:lnTo>
                  <a:lnTo>
                    <a:pt x="406" y="492"/>
                  </a:lnTo>
                  <a:lnTo>
                    <a:pt x="405" y="492"/>
                  </a:lnTo>
                  <a:lnTo>
                    <a:pt x="404" y="492"/>
                  </a:lnTo>
                  <a:lnTo>
                    <a:pt x="405" y="492"/>
                  </a:lnTo>
                  <a:lnTo>
                    <a:pt x="405" y="491"/>
                  </a:lnTo>
                  <a:lnTo>
                    <a:pt x="405" y="490"/>
                  </a:lnTo>
                  <a:lnTo>
                    <a:pt x="405" y="489"/>
                  </a:lnTo>
                  <a:lnTo>
                    <a:pt x="405" y="488"/>
                  </a:lnTo>
                  <a:lnTo>
                    <a:pt x="406" y="486"/>
                  </a:lnTo>
                  <a:lnTo>
                    <a:pt x="406" y="485"/>
                  </a:lnTo>
                  <a:lnTo>
                    <a:pt x="405" y="483"/>
                  </a:lnTo>
                  <a:lnTo>
                    <a:pt x="405" y="482"/>
                  </a:lnTo>
                  <a:lnTo>
                    <a:pt x="406" y="482"/>
                  </a:lnTo>
                  <a:lnTo>
                    <a:pt x="406" y="481"/>
                  </a:lnTo>
                  <a:lnTo>
                    <a:pt x="406" y="479"/>
                  </a:lnTo>
                  <a:lnTo>
                    <a:pt x="407" y="481"/>
                  </a:lnTo>
                  <a:lnTo>
                    <a:pt x="407" y="479"/>
                  </a:lnTo>
                  <a:lnTo>
                    <a:pt x="407" y="478"/>
                  </a:lnTo>
                  <a:lnTo>
                    <a:pt x="406" y="478"/>
                  </a:lnTo>
                  <a:lnTo>
                    <a:pt x="406" y="477"/>
                  </a:lnTo>
                  <a:lnTo>
                    <a:pt x="405" y="477"/>
                  </a:lnTo>
                  <a:lnTo>
                    <a:pt x="404" y="477"/>
                  </a:lnTo>
                  <a:lnTo>
                    <a:pt x="402" y="477"/>
                  </a:lnTo>
                  <a:lnTo>
                    <a:pt x="402" y="478"/>
                  </a:lnTo>
                  <a:lnTo>
                    <a:pt x="402" y="477"/>
                  </a:lnTo>
                  <a:lnTo>
                    <a:pt x="401" y="477"/>
                  </a:lnTo>
                  <a:lnTo>
                    <a:pt x="400" y="477"/>
                  </a:lnTo>
                  <a:lnTo>
                    <a:pt x="400" y="476"/>
                  </a:lnTo>
                  <a:lnTo>
                    <a:pt x="399" y="476"/>
                  </a:lnTo>
                  <a:lnTo>
                    <a:pt x="398" y="476"/>
                  </a:lnTo>
                  <a:lnTo>
                    <a:pt x="398" y="475"/>
                  </a:lnTo>
                  <a:lnTo>
                    <a:pt x="398" y="474"/>
                  </a:lnTo>
                  <a:lnTo>
                    <a:pt x="397" y="474"/>
                  </a:lnTo>
                  <a:lnTo>
                    <a:pt x="398" y="474"/>
                  </a:lnTo>
                  <a:lnTo>
                    <a:pt x="398" y="472"/>
                  </a:lnTo>
                  <a:lnTo>
                    <a:pt x="397" y="471"/>
                  </a:lnTo>
                  <a:lnTo>
                    <a:pt x="395" y="471"/>
                  </a:lnTo>
                  <a:lnTo>
                    <a:pt x="395" y="470"/>
                  </a:lnTo>
                  <a:lnTo>
                    <a:pt x="397" y="469"/>
                  </a:lnTo>
                  <a:lnTo>
                    <a:pt x="395" y="468"/>
                  </a:lnTo>
                  <a:lnTo>
                    <a:pt x="395" y="467"/>
                  </a:lnTo>
                  <a:lnTo>
                    <a:pt x="394" y="467"/>
                  </a:lnTo>
                  <a:lnTo>
                    <a:pt x="393" y="467"/>
                  </a:lnTo>
                  <a:lnTo>
                    <a:pt x="393" y="465"/>
                  </a:lnTo>
                  <a:lnTo>
                    <a:pt x="393" y="464"/>
                  </a:lnTo>
                  <a:lnTo>
                    <a:pt x="393" y="463"/>
                  </a:lnTo>
                  <a:lnTo>
                    <a:pt x="394" y="462"/>
                  </a:lnTo>
                  <a:lnTo>
                    <a:pt x="395" y="462"/>
                  </a:lnTo>
                  <a:lnTo>
                    <a:pt x="395" y="461"/>
                  </a:lnTo>
                  <a:lnTo>
                    <a:pt x="394" y="461"/>
                  </a:lnTo>
                  <a:lnTo>
                    <a:pt x="393" y="461"/>
                  </a:lnTo>
                  <a:lnTo>
                    <a:pt x="392" y="461"/>
                  </a:lnTo>
                  <a:lnTo>
                    <a:pt x="392" y="462"/>
                  </a:lnTo>
                  <a:lnTo>
                    <a:pt x="391" y="462"/>
                  </a:lnTo>
                  <a:lnTo>
                    <a:pt x="391" y="461"/>
                  </a:lnTo>
                  <a:lnTo>
                    <a:pt x="390" y="461"/>
                  </a:lnTo>
                  <a:lnTo>
                    <a:pt x="388" y="461"/>
                  </a:lnTo>
                  <a:lnTo>
                    <a:pt x="387" y="461"/>
                  </a:lnTo>
                  <a:lnTo>
                    <a:pt x="386" y="461"/>
                  </a:lnTo>
                  <a:lnTo>
                    <a:pt x="385" y="461"/>
                  </a:lnTo>
                  <a:lnTo>
                    <a:pt x="383" y="462"/>
                  </a:lnTo>
                  <a:lnTo>
                    <a:pt x="381" y="463"/>
                  </a:lnTo>
                  <a:lnTo>
                    <a:pt x="380" y="463"/>
                  </a:lnTo>
                  <a:lnTo>
                    <a:pt x="380" y="464"/>
                  </a:lnTo>
                  <a:lnTo>
                    <a:pt x="379" y="464"/>
                  </a:lnTo>
                  <a:lnTo>
                    <a:pt x="379" y="465"/>
                  </a:lnTo>
                  <a:lnTo>
                    <a:pt x="379" y="464"/>
                  </a:lnTo>
                  <a:lnTo>
                    <a:pt x="378" y="464"/>
                  </a:lnTo>
                  <a:lnTo>
                    <a:pt x="377" y="463"/>
                  </a:lnTo>
                  <a:lnTo>
                    <a:pt x="379" y="461"/>
                  </a:lnTo>
                  <a:lnTo>
                    <a:pt x="379" y="460"/>
                  </a:lnTo>
                  <a:lnTo>
                    <a:pt x="379" y="458"/>
                  </a:lnTo>
                  <a:lnTo>
                    <a:pt x="378" y="458"/>
                  </a:lnTo>
                  <a:lnTo>
                    <a:pt x="378" y="457"/>
                  </a:lnTo>
                  <a:lnTo>
                    <a:pt x="379" y="457"/>
                  </a:lnTo>
                  <a:lnTo>
                    <a:pt x="378" y="457"/>
                  </a:lnTo>
                  <a:lnTo>
                    <a:pt x="378" y="456"/>
                  </a:lnTo>
                  <a:lnTo>
                    <a:pt x="377" y="456"/>
                  </a:lnTo>
                  <a:lnTo>
                    <a:pt x="376" y="456"/>
                  </a:lnTo>
                  <a:lnTo>
                    <a:pt x="376" y="455"/>
                  </a:lnTo>
                  <a:lnTo>
                    <a:pt x="376" y="454"/>
                  </a:lnTo>
                  <a:lnTo>
                    <a:pt x="376" y="451"/>
                  </a:lnTo>
                  <a:lnTo>
                    <a:pt x="376" y="450"/>
                  </a:lnTo>
                  <a:lnTo>
                    <a:pt x="377" y="450"/>
                  </a:lnTo>
                  <a:lnTo>
                    <a:pt x="377" y="449"/>
                  </a:lnTo>
                  <a:lnTo>
                    <a:pt x="378" y="450"/>
                  </a:lnTo>
                  <a:lnTo>
                    <a:pt x="378" y="449"/>
                  </a:lnTo>
                  <a:lnTo>
                    <a:pt x="377" y="448"/>
                  </a:lnTo>
                  <a:lnTo>
                    <a:pt x="377" y="447"/>
                  </a:lnTo>
                  <a:lnTo>
                    <a:pt x="377" y="446"/>
                  </a:lnTo>
                  <a:lnTo>
                    <a:pt x="378" y="444"/>
                  </a:lnTo>
                  <a:lnTo>
                    <a:pt x="378" y="443"/>
                  </a:lnTo>
                  <a:lnTo>
                    <a:pt x="379" y="443"/>
                  </a:lnTo>
                  <a:lnTo>
                    <a:pt x="380" y="442"/>
                  </a:lnTo>
                  <a:lnTo>
                    <a:pt x="380" y="441"/>
                  </a:lnTo>
                  <a:lnTo>
                    <a:pt x="381" y="441"/>
                  </a:lnTo>
                  <a:lnTo>
                    <a:pt x="381" y="440"/>
                  </a:lnTo>
                  <a:lnTo>
                    <a:pt x="380" y="439"/>
                  </a:lnTo>
                  <a:lnTo>
                    <a:pt x="381" y="439"/>
                  </a:lnTo>
                  <a:lnTo>
                    <a:pt x="381" y="437"/>
                  </a:lnTo>
                  <a:lnTo>
                    <a:pt x="383" y="437"/>
                  </a:lnTo>
                  <a:lnTo>
                    <a:pt x="383" y="439"/>
                  </a:lnTo>
                  <a:lnTo>
                    <a:pt x="384" y="439"/>
                  </a:lnTo>
                  <a:lnTo>
                    <a:pt x="384" y="437"/>
                  </a:lnTo>
                  <a:lnTo>
                    <a:pt x="384" y="436"/>
                  </a:lnTo>
                  <a:lnTo>
                    <a:pt x="385" y="436"/>
                  </a:lnTo>
                  <a:lnTo>
                    <a:pt x="385" y="435"/>
                  </a:lnTo>
                  <a:lnTo>
                    <a:pt x="385" y="434"/>
                  </a:lnTo>
                  <a:lnTo>
                    <a:pt x="386" y="434"/>
                  </a:lnTo>
                  <a:lnTo>
                    <a:pt x="387" y="434"/>
                  </a:lnTo>
                  <a:lnTo>
                    <a:pt x="387" y="433"/>
                  </a:lnTo>
                  <a:lnTo>
                    <a:pt x="386" y="432"/>
                  </a:lnTo>
                  <a:lnTo>
                    <a:pt x="386" y="430"/>
                  </a:lnTo>
                  <a:lnTo>
                    <a:pt x="385" y="430"/>
                  </a:lnTo>
                  <a:lnTo>
                    <a:pt x="385" y="429"/>
                  </a:lnTo>
                  <a:lnTo>
                    <a:pt x="386" y="429"/>
                  </a:lnTo>
                  <a:lnTo>
                    <a:pt x="387" y="429"/>
                  </a:lnTo>
                  <a:lnTo>
                    <a:pt x="386" y="428"/>
                  </a:lnTo>
                  <a:lnTo>
                    <a:pt x="387" y="428"/>
                  </a:lnTo>
                  <a:lnTo>
                    <a:pt x="386" y="427"/>
                  </a:lnTo>
                  <a:lnTo>
                    <a:pt x="386" y="426"/>
                  </a:lnTo>
                  <a:lnTo>
                    <a:pt x="386" y="425"/>
                  </a:lnTo>
                  <a:lnTo>
                    <a:pt x="386" y="422"/>
                  </a:lnTo>
                  <a:lnTo>
                    <a:pt x="386" y="421"/>
                  </a:lnTo>
                  <a:lnTo>
                    <a:pt x="386" y="420"/>
                  </a:lnTo>
                  <a:lnTo>
                    <a:pt x="385" y="420"/>
                  </a:lnTo>
                  <a:lnTo>
                    <a:pt x="385" y="419"/>
                  </a:lnTo>
                  <a:lnTo>
                    <a:pt x="385" y="418"/>
                  </a:lnTo>
                  <a:lnTo>
                    <a:pt x="385" y="416"/>
                  </a:lnTo>
                  <a:lnTo>
                    <a:pt x="384" y="415"/>
                  </a:lnTo>
                  <a:lnTo>
                    <a:pt x="384" y="414"/>
                  </a:lnTo>
                  <a:lnTo>
                    <a:pt x="383" y="413"/>
                  </a:lnTo>
                  <a:lnTo>
                    <a:pt x="383" y="412"/>
                  </a:lnTo>
                  <a:lnTo>
                    <a:pt x="383" y="411"/>
                  </a:lnTo>
                  <a:lnTo>
                    <a:pt x="383" y="409"/>
                  </a:lnTo>
                  <a:lnTo>
                    <a:pt x="381" y="408"/>
                  </a:lnTo>
                  <a:lnTo>
                    <a:pt x="381" y="407"/>
                  </a:lnTo>
                  <a:lnTo>
                    <a:pt x="381" y="406"/>
                  </a:lnTo>
                  <a:lnTo>
                    <a:pt x="380" y="406"/>
                  </a:lnTo>
                  <a:lnTo>
                    <a:pt x="379" y="405"/>
                  </a:lnTo>
                  <a:lnTo>
                    <a:pt x="378" y="405"/>
                  </a:lnTo>
                  <a:lnTo>
                    <a:pt x="378" y="406"/>
                  </a:lnTo>
                  <a:lnTo>
                    <a:pt x="378" y="407"/>
                  </a:lnTo>
                  <a:lnTo>
                    <a:pt x="377" y="407"/>
                  </a:lnTo>
                  <a:lnTo>
                    <a:pt x="377" y="406"/>
                  </a:lnTo>
                  <a:lnTo>
                    <a:pt x="376" y="405"/>
                  </a:lnTo>
                  <a:lnTo>
                    <a:pt x="374" y="404"/>
                  </a:lnTo>
                  <a:lnTo>
                    <a:pt x="374" y="402"/>
                  </a:lnTo>
                  <a:lnTo>
                    <a:pt x="373" y="402"/>
                  </a:lnTo>
                  <a:lnTo>
                    <a:pt x="373" y="401"/>
                  </a:lnTo>
                  <a:lnTo>
                    <a:pt x="373" y="400"/>
                  </a:lnTo>
                  <a:lnTo>
                    <a:pt x="372" y="400"/>
                  </a:lnTo>
                  <a:lnTo>
                    <a:pt x="372" y="399"/>
                  </a:lnTo>
                  <a:lnTo>
                    <a:pt x="372" y="398"/>
                  </a:lnTo>
                  <a:lnTo>
                    <a:pt x="372" y="397"/>
                  </a:lnTo>
                  <a:lnTo>
                    <a:pt x="371" y="397"/>
                  </a:lnTo>
                  <a:lnTo>
                    <a:pt x="370" y="397"/>
                  </a:lnTo>
                  <a:lnTo>
                    <a:pt x="370" y="395"/>
                  </a:lnTo>
                  <a:lnTo>
                    <a:pt x="369" y="394"/>
                  </a:lnTo>
                  <a:lnTo>
                    <a:pt x="367" y="393"/>
                  </a:lnTo>
                  <a:lnTo>
                    <a:pt x="367" y="394"/>
                  </a:lnTo>
                  <a:lnTo>
                    <a:pt x="366" y="394"/>
                  </a:lnTo>
                  <a:lnTo>
                    <a:pt x="366" y="393"/>
                  </a:lnTo>
                  <a:lnTo>
                    <a:pt x="365" y="392"/>
                  </a:lnTo>
                  <a:lnTo>
                    <a:pt x="364" y="392"/>
                  </a:lnTo>
                  <a:lnTo>
                    <a:pt x="363" y="391"/>
                  </a:lnTo>
                  <a:lnTo>
                    <a:pt x="363" y="392"/>
                  </a:lnTo>
                  <a:lnTo>
                    <a:pt x="363" y="393"/>
                  </a:lnTo>
                  <a:lnTo>
                    <a:pt x="362" y="393"/>
                  </a:lnTo>
                  <a:lnTo>
                    <a:pt x="362" y="394"/>
                  </a:lnTo>
                  <a:lnTo>
                    <a:pt x="363" y="394"/>
                  </a:lnTo>
                  <a:lnTo>
                    <a:pt x="363" y="395"/>
                  </a:lnTo>
                  <a:lnTo>
                    <a:pt x="362" y="395"/>
                  </a:lnTo>
                  <a:lnTo>
                    <a:pt x="361" y="397"/>
                  </a:lnTo>
                  <a:lnTo>
                    <a:pt x="361" y="395"/>
                  </a:lnTo>
                  <a:lnTo>
                    <a:pt x="359" y="395"/>
                  </a:lnTo>
                  <a:lnTo>
                    <a:pt x="359" y="394"/>
                  </a:lnTo>
                  <a:lnTo>
                    <a:pt x="358" y="393"/>
                  </a:lnTo>
                  <a:lnTo>
                    <a:pt x="357" y="393"/>
                  </a:lnTo>
                  <a:lnTo>
                    <a:pt x="357" y="394"/>
                  </a:lnTo>
                  <a:lnTo>
                    <a:pt x="356" y="394"/>
                  </a:lnTo>
                  <a:lnTo>
                    <a:pt x="355" y="394"/>
                  </a:lnTo>
                  <a:lnTo>
                    <a:pt x="355" y="393"/>
                  </a:lnTo>
                  <a:lnTo>
                    <a:pt x="354" y="392"/>
                  </a:lnTo>
                  <a:lnTo>
                    <a:pt x="352" y="391"/>
                  </a:lnTo>
                  <a:lnTo>
                    <a:pt x="351" y="390"/>
                  </a:lnTo>
                  <a:lnTo>
                    <a:pt x="350" y="390"/>
                  </a:lnTo>
                  <a:lnTo>
                    <a:pt x="349" y="391"/>
                  </a:lnTo>
                  <a:lnTo>
                    <a:pt x="349" y="392"/>
                  </a:lnTo>
                  <a:lnTo>
                    <a:pt x="349" y="393"/>
                  </a:lnTo>
                  <a:lnTo>
                    <a:pt x="349" y="392"/>
                  </a:lnTo>
                  <a:lnTo>
                    <a:pt x="348" y="391"/>
                  </a:lnTo>
                  <a:lnTo>
                    <a:pt x="348" y="390"/>
                  </a:lnTo>
                  <a:lnTo>
                    <a:pt x="349" y="390"/>
                  </a:lnTo>
                  <a:lnTo>
                    <a:pt x="350" y="388"/>
                  </a:lnTo>
                  <a:lnTo>
                    <a:pt x="349" y="387"/>
                  </a:lnTo>
                  <a:lnTo>
                    <a:pt x="349" y="386"/>
                  </a:lnTo>
                  <a:lnTo>
                    <a:pt x="348" y="386"/>
                  </a:lnTo>
                  <a:lnTo>
                    <a:pt x="348" y="385"/>
                  </a:lnTo>
                  <a:lnTo>
                    <a:pt x="347" y="384"/>
                  </a:lnTo>
                  <a:lnTo>
                    <a:pt x="345" y="383"/>
                  </a:lnTo>
                  <a:lnTo>
                    <a:pt x="344" y="383"/>
                  </a:lnTo>
                  <a:lnTo>
                    <a:pt x="343" y="384"/>
                  </a:lnTo>
                  <a:lnTo>
                    <a:pt x="342" y="381"/>
                  </a:lnTo>
                  <a:lnTo>
                    <a:pt x="343" y="381"/>
                  </a:lnTo>
                  <a:lnTo>
                    <a:pt x="344" y="381"/>
                  </a:lnTo>
                  <a:lnTo>
                    <a:pt x="344" y="380"/>
                  </a:lnTo>
                  <a:lnTo>
                    <a:pt x="344" y="379"/>
                  </a:lnTo>
                  <a:lnTo>
                    <a:pt x="343" y="379"/>
                  </a:lnTo>
                  <a:lnTo>
                    <a:pt x="343" y="380"/>
                  </a:lnTo>
                  <a:lnTo>
                    <a:pt x="342" y="379"/>
                  </a:lnTo>
                  <a:lnTo>
                    <a:pt x="341" y="378"/>
                  </a:lnTo>
                  <a:lnTo>
                    <a:pt x="340" y="378"/>
                  </a:lnTo>
                  <a:lnTo>
                    <a:pt x="338" y="378"/>
                  </a:lnTo>
                  <a:lnTo>
                    <a:pt x="337" y="378"/>
                  </a:lnTo>
                  <a:lnTo>
                    <a:pt x="336" y="378"/>
                  </a:lnTo>
                  <a:lnTo>
                    <a:pt x="336" y="379"/>
                  </a:lnTo>
                  <a:lnTo>
                    <a:pt x="336" y="380"/>
                  </a:lnTo>
                  <a:lnTo>
                    <a:pt x="335" y="380"/>
                  </a:lnTo>
                  <a:lnTo>
                    <a:pt x="334" y="379"/>
                  </a:lnTo>
                  <a:lnTo>
                    <a:pt x="334" y="380"/>
                  </a:lnTo>
                  <a:lnTo>
                    <a:pt x="333" y="380"/>
                  </a:lnTo>
                  <a:lnTo>
                    <a:pt x="334" y="381"/>
                  </a:lnTo>
                  <a:lnTo>
                    <a:pt x="333" y="381"/>
                  </a:lnTo>
                  <a:lnTo>
                    <a:pt x="333" y="380"/>
                  </a:lnTo>
                  <a:lnTo>
                    <a:pt x="331" y="380"/>
                  </a:lnTo>
                  <a:lnTo>
                    <a:pt x="331" y="381"/>
                  </a:lnTo>
                  <a:lnTo>
                    <a:pt x="330" y="381"/>
                  </a:lnTo>
                  <a:lnTo>
                    <a:pt x="330" y="383"/>
                  </a:lnTo>
                  <a:lnTo>
                    <a:pt x="329" y="383"/>
                  </a:lnTo>
                  <a:lnTo>
                    <a:pt x="328" y="381"/>
                  </a:lnTo>
                  <a:lnTo>
                    <a:pt x="327" y="381"/>
                  </a:lnTo>
                  <a:lnTo>
                    <a:pt x="326" y="381"/>
                  </a:lnTo>
                  <a:lnTo>
                    <a:pt x="327" y="381"/>
                  </a:lnTo>
                  <a:lnTo>
                    <a:pt x="326" y="381"/>
                  </a:lnTo>
                  <a:lnTo>
                    <a:pt x="324" y="381"/>
                  </a:lnTo>
                  <a:lnTo>
                    <a:pt x="323" y="381"/>
                  </a:lnTo>
                  <a:lnTo>
                    <a:pt x="323" y="380"/>
                  </a:lnTo>
                  <a:lnTo>
                    <a:pt x="322" y="379"/>
                  </a:lnTo>
                  <a:lnTo>
                    <a:pt x="321" y="379"/>
                  </a:lnTo>
                  <a:lnTo>
                    <a:pt x="320" y="379"/>
                  </a:lnTo>
                  <a:lnTo>
                    <a:pt x="320" y="380"/>
                  </a:lnTo>
                  <a:lnTo>
                    <a:pt x="319" y="380"/>
                  </a:lnTo>
                  <a:lnTo>
                    <a:pt x="317" y="380"/>
                  </a:lnTo>
                  <a:lnTo>
                    <a:pt x="317" y="381"/>
                  </a:lnTo>
                  <a:lnTo>
                    <a:pt x="316" y="381"/>
                  </a:lnTo>
                  <a:lnTo>
                    <a:pt x="316" y="383"/>
                  </a:lnTo>
                  <a:lnTo>
                    <a:pt x="317" y="383"/>
                  </a:lnTo>
                  <a:lnTo>
                    <a:pt x="319" y="384"/>
                  </a:lnTo>
                  <a:lnTo>
                    <a:pt x="317" y="384"/>
                  </a:lnTo>
                  <a:lnTo>
                    <a:pt x="317" y="385"/>
                  </a:lnTo>
                  <a:lnTo>
                    <a:pt x="316" y="385"/>
                  </a:lnTo>
                  <a:lnTo>
                    <a:pt x="315" y="385"/>
                  </a:lnTo>
                  <a:lnTo>
                    <a:pt x="314" y="386"/>
                  </a:lnTo>
                  <a:lnTo>
                    <a:pt x="313" y="386"/>
                  </a:lnTo>
                  <a:lnTo>
                    <a:pt x="313" y="387"/>
                  </a:lnTo>
                  <a:lnTo>
                    <a:pt x="312" y="387"/>
                  </a:lnTo>
                  <a:lnTo>
                    <a:pt x="310" y="388"/>
                  </a:lnTo>
                  <a:lnTo>
                    <a:pt x="309" y="388"/>
                  </a:lnTo>
                  <a:lnTo>
                    <a:pt x="308" y="388"/>
                  </a:lnTo>
                  <a:lnTo>
                    <a:pt x="307" y="388"/>
                  </a:lnTo>
                  <a:lnTo>
                    <a:pt x="306" y="390"/>
                  </a:lnTo>
                  <a:lnTo>
                    <a:pt x="305" y="391"/>
                  </a:lnTo>
                  <a:lnTo>
                    <a:pt x="303" y="392"/>
                  </a:lnTo>
                  <a:lnTo>
                    <a:pt x="303" y="393"/>
                  </a:lnTo>
                  <a:lnTo>
                    <a:pt x="302" y="394"/>
                  </a:lnTo>
                  <a:lnTo>
                    <a:pt x="302" y="395"/>
                  </a:lnTo>
                  <a:lnTo>
                    <a:pt x="301" y="395"/>
                  </a:lnTo>
                  <a:lnTo>
                    <a:pt x="301" y="397"/>
                  </a:lnTo>
                  <a:lnTo>
                    <a:pt x="300" y="397"/>
                  </a:lnTo>
                  <a:lnTo>
                    <a:pt x="299" y="397"/>
                  </a:lnTo>
                  <a:lnTo>
                    <a:pt x="299" y="398"/>
                  </a:lnTo>
                  <a:lnTo>
                    <a:pt x="299" y="399"/>
                  </a:lnTo>
                  <a:lnTo>
                    <a:pt x="300" y="399"/>
                  </a:lnTo>
                  <a:lnTo>
                    <a:pt x="300" y="400"/>
                  </a:lnTo>
                  <a:lnTo>
                    <a:pt x="299" y="400"/>
                  </a:lnTo>
                  <a:lnTo>
                    <a:pt x="299" y="401"/>
                  </a:lnTo>
                  <a:lnTo>
                    <a:pt x="298" y="401"/>
                  </a:lnTo>
                  <a:lnTo>
                    <a:pt x="298" y="402"/>
                  </a:lnTo>
                  <a:lnTo>
                    <a:pt x="297" y="402"/>
                  </a:lnTo>
                  <a:lnTo>
                    <a:pt x="297" y="401"/>
                  </a:lnTo>
                  <a:lnTo>
                    <a:pt x="295" y="402"/>
                  </a:lnTo>
                  <a:lnTo>
                    <a:pt x="294" y="402"/>
                  </a:lnTo>
                  <a:lnTo>
                    <a:pt x="294" y="401"/>
                  </a:lnTo>
                  <a:lnTo>
                    <a:pt x="294" y="402"/>
                  </a:lnTo>
                  <a:lnTo>
                    <a:pt x="293" y="402"/>
                  </a:lnTo>
                  <a:lnTo>
                    <a:pt x="292" y="402"/>
                  </a:lnTo>
                  <a:lnTo>
                    <a:pt x="291" y="404"/>
                  </a:lnTo>
                  <a:lnTo>
                    <a:pt x="290" y="404"/>
                  </a:lnTo>
                  <a:lnTo>
                    <a:pt x="288" y="404"/>
                  </a:lnTo>
                  <a:lnTo>
                    <a:pt x="286" y="404"/>
                  </a:lnTo>
                  <a:lnTo>
                    <a:pt x="286" y="402"/>
                  </a:lnTo>
                  <a:lnTo>
                    <a:pt x="286" y="401"/>
                  </a:lnTo>
                  <a:lnTo>
                    <a:pt x="286" y="400"/>
                  </a:lnTo>
                  <a:lnTo>
                    <a:pt x="285" y="400"/>
                  </a:lnTo>
                  <a:lnTo>
                    <a:pt x="284" y="400"/>
                  </a:lnTo>
                  <a:lnTo>
                    <a:pt x="283" y="400"/>
                  </a:lnTo>
                  <a:lnTo>
                    <a:pt x="281" y="399"/>
                  </a:lnTo>
                  <a:lnTo>
                    <a:pt x="280" y="399"/>
                  </a:lnTo>
                  <a:lnTo>
                    <a:pt x="280" y="398"/>
                  </a:lnTo>
                  <a:lnTo>
                    <a:pt x="279" y="398"/>
                  </a:lnTo>
                  <a:lnTo>
                    <a:pt x="279" y="399"/>
                  </a:lnTo>
                  <a:lnTo>
                    <a:pt x="278" y="399"/>
                  </a:lnTo>
                  <a:lnTo>
                    <a:pt x="278" y="400"/>
                  </a:lnTo>
                  <a:lnTo>
                    <a:pt x="277" y="400"/>
                  </a:lnTo>
                  <a:lnTo>
                    <a:pt x="276" y="399"/>
                  </a:lnTo>
                  <a:lnTo>
                    <a:pt x="274" y="399"/>
                  </a:lnTo>
                  <a:lnTo>
                    <a:pt x="273" y="399"/>
                  </a:lnTo>
                  <a:lnTo>
                    <a:pt x="272" y="398"/>
                  </a:lnTo>
                  <a:lnTo>
                    <a:pt x="271" y="398"/>
                  </a:lnTo>
                  <a:lnTo>
                    <a:pt x="271" y="399"/>
                  </a:lnTo>
                  <a:lnTo>
                    <a:pt x="270" y="398"/>
                  </a:lnTo>
                  <a:lnTo>
                    <a:pt x="270" y="397"/>
                  </a:lnTo>
                  <a:lnTo>
                    <a:pt x="271" y="397"/>
                  </a:lnTo>
                  <a:lnTo>
                    <a:pt x="271" y="395"/>
                  </a:lnTo>
                  <a:lnTo>
                    <a:pt x="270" y="395"/>
                  </a:lnTo>
                  <a:lnTo>
                    <a:pt x="269" y="395"/>
                  </a:lnTo>
                  <a:lnTo>
                    <a:pt x="267" y="395"/>
                  </a:lnTo>
                  <a:lnTo>
                    <a:pt x="267" y="394"/>
                  </a:lnTo>
                  <a:lnTo>
                    <a:pt x="266" y="395"/>
                  </a:lnTo>
                  <a:lnTo>
                    <a:pt x="266" y="394"/>
                  </a:lnTo>
                  <a:lnTo>
                    <a:pt x="265" y="394"/>
                  </a:lnTo>
                  <a:lnTo>
                    <a:pt x="264" y="394"/>
                  </a:lnTo>
                  <a:lnTo>
                    <a:pt x="263" y="394"/>
                  </a:lnTo>
                  <a:lnTo>
                    <a:pt x="262" y="394"/>
                  </a:lnTo>
                  <a:lnTo>
                    <a:pt x="260" y="394"/>
                  </a:lnTo>
                  <a:lnTo>
                    <a:pt x="260" y="395"/>
                  </a:lnTo>
                  <a:lnTo>
                    <a:pt x="259" y="395"/>
                  </a:lnTo>
                  <a:lnTo>
                    <a:pt x="259" y="397"/>
                  </a:lnTo>
                  <a:lnTo>
                    <a:pt x="257" y="397"/>
                  </a:lnTo>
                  <a:lnTo>
                    <a:pt x="257" y="398"/>
                  </a:lnTo>
                  <a:lnTo>
                    <a:pt x="256" y="399"/>
                  </a:lnTo>
                  <a:lnTo>
                    <a:pt x="256" y="400"/>
                  </a:lnTo>
                  <a:lnTo>
                    <a:pt x="255" y="401"/>
                  </a:lnTo>
                  <a:lnTo>
                    <a:pt x="255" y="402"/>
                  </a:lnTo>
                  <a:lnTo>
                    <a:pt x="253" y="402"/>
                  </a:lnTo>
                  <a:lnTo>
                    <a:pt x="253" y="404"/>
                  </a:lnTo>
                  <a:lnTo>
                    <a:pt x="253" y="405"/>
                  </a:lnTo>
                  <a:lnTo>
                    <a:pt x="252" y="406"/>
                  </a:lnTo>
                  <a:lnTo>
                    <a:pt x="251" y="406"/>
                  </a:lnTo>
                  <a:lnTo>
                    <a:pt x="251" y="407"/>
                  </a:lnTo>
                  <a:lnTo>
                    <a:pt x="251" y="408"/>
                  </a:lnTo>
                  <a:lnTo>
                    <a:pt x="251" y="409"/>
                  </a:lnTo>
                  <a:lnTo>
                    <a:pt x="252" y="411"/>
                  </a:lnTo>
                  <a:lnTo>
                    <a:pt x="251" y="411"/>
                  </a:lnTo>
                  <a:lnTo>
                    <a:pt x="250" y="411"/>
                  </a:lnTo>
                  <a:lnTo>
                    <a:pt x="250" y="409"/>
                  </a:lnTo>
                  <a:lnTo>
                    <a:pt x="249" y="409"/>
                  </a:lnTo>
                  <a:lnTo>
                    <a:pt x="249" y="408"/>
                  </a:lnTo>
                  <a:lnTo>
                    <a:pt x="248" y="408"/>
                  </a:lnTo>
                  <a:lnTo>
                    <a:pt x="248" y="407"/>
                  </a:lnTo>
                  <a:lnTo>
                    <a:pt x="248" y="406"/>
                  </a:lnTo>
                  <a:lnTo>
                    <a:pt x="249" y="405"/>
                  </a:lnTo>
                  <a:lnTo>
                    <a:pt x="249" y="402"/>
                  </a:lnTo>
                  <a:lnTo>
                    <a:pt x="249" y="401"/>
                  </a:lnTo>
                  <a:lnTo>
                    <a:pt x="248" y="401"/>
                  </a:lnTo>
                  <a:lnTo>
                    <a:pt x="248" y="400"/>
                  </a:lnTo>
                  <a:lnTo>
                    <a:pt x="248" y="399"/>
                  </a:lnTo>
                  <a:lnTo>
                    <a:pt x="246" y="399"/>
                  </a:lnTo>
                  <a:lnTo>
                    <a:pt x="245" y="399"/>
                  </a:lnTo>
                  <a:lnTo>
                    <a:pt x="244" y="398"/>
                  </a:lnTo>
                  <a:lnTo>
                    <a:pt x="243" y="398"/>
                  </a:lnTo>
                  <a:lnTo>
                    <a:pt x="243" y="399"/>
                  </a:lnTo>
                  <a:lnTo>
                    <a:pt x="242" y="399"/>
                  </a:lnTo>
                  <a:lnTo>
                    <a:pt x="242" y="400"/>
                  </a:lnTo>
                  <a:lnTo>
                    <a:pt x="239" y="400"/>
                  </a:lnTo>
                  <a:lnTo>
                    <a:pt x="238" y="400"/>
                  </a:lnTo>
                  <a:lnTo>
                    <a:pt x="238" y="401"/>
                  </a:lnTo>
                  <a:lnTo>
                    <a:pt x="237" y="401"/>
                  </a:lnTo>
                  <a:lnTo>
                    <a:pt x="236" y="401"/>
                  </a:lnTo>
                  <a:lnTo>
                    <a:pt x="235" y="401"/>
                  </a:lnTo>
                  <a:lnTo>
                    <a:pt x="234" y="401"/>
                  </a:lnTo>
                  <a:lnTo>
                    <a:pt x="234" y="402"/>
                  </a:lnTo>
                  <a:lnTo>
                    <a:pt x="233" y="402"/>
                  </a:lnTo>
                  <a:lnTo>
                    <a:pt x="231" y="402"/>
                  </a:lnTo>
                  <a:lnTo>
                    <a:pt x="230" y="402"/>
                  </a:lnTo>
                  <a:lnTo>
                    <a:pt x="229" y="402"/>
                  </a:lnTo>
                  <a:lnTo>
                    <a:pt x="228" y="402"/>
                  </a:lnTo>
                  <a:lnTo>
                    <a:pt x="229" y="402"/>
                  </a:lnTo>
                  <a:lnTo>
                    <a:pt x="229" y="401"/>
                  </a:lnTo>
                  <a:lnTo>
                    <a:pt x="228" y="401"/>
                  </a:lnTo>
                  <a:lnTo>
                    <a:pt x="228" y="402"/>
                  </a:lnTo>
                  <a:lnTo>
                    <a:pt x="227" y="402"/>
                  </a:lnTo>
                  <a:lnTo>
                    <a:pt x="226" y="402"/>
                  </a:lnTo>
                  <a:lnTo>
                    <a:pt x="224" y="402"/>
                  </a:lnTo>
                  <a:lnTo>
                    <a:pt x="224" y="401"/>
                  </a:lnTo>
                  <a:lnTo>
                    <a:pt x="223" y="400"/>
                  </a:lnTo>
                  <a:lnTo>
                    <a:pt x="222" y="400"/>
                  </a:lnTo>
                  <a:lnTo>
                    <a:pt x="221" y="400"/>
                  </a:lnTo>
                  <a:lnTo>
                    <a:pt x="221" y="399"/>
                  </a:lnTo>
                  <a:lnTo>
                    <a:pt x="220" y="399"/>
                  </a:lnTo>
                  <a:lnTo>
                    <a:pt x="219" y="399"/>
                  </a:lnTo>
                  <a:lnTo>
                    <a:pt x="219" y="398"/>
                  </a:lnTo>
                  <a:lnTo>
                    <a:pt x="217" y="398"/>
                  </a:lnTo>
                  <a:lnTo>
                    <a:pt x="216" y="398"/>
                  </a:lnTo>
                  <a:lnTo>
                    <a:pt x="216" y="399"/>
                  </a:lnTo>
                  <a:lnTo>
                    <a:pt x="216" y="400"/>
                  </a:lnTo>
                  <a:lnTo>
                    <a:pt x="215" y="401"/>
                  </a:lnTo>
                  <a:lnTo>
                    <a:pt x="215" y="400"/>
                  </a:lnTo>
                  <a:lnTo>
                    <a:pt x="214" y="400"/>
                  </a:lnTo>
                  <a:lnTo>
                    <a:pt x="213" y="400"/>
                  </a:lnTo>
                  <a:lnTo>
                    <a:pt x="212" y="399"/>
                  </a:lnTo>
                  <a:lnTo>
                    <a:pt x="212" y="398"/>
                  </a:lnTo>
                  <a:lnTo>
                    <a:pt x="212" y="397"/>
                  </a:lnTo>
                  <a:lnTo>
                    <a:pt x="210" y="397"/>
                  </a:lnTo>
                  <a:lnTo>
                    <a:pt x="210" y="398"/>
                  </a:lnTo>
                  <a:lnTo>
                    <a:pt x="210" y="399"/>
                  </a:lnTo>
                  <a:lnTo>
                    <a:pt x="210" y="400"/>
                  </a:lnTo>
                  <a:lnTo>
                    <a:pt x="212" y="400"/>
                  </a:lnTo>
                  <a:lnTo>
                    <a:pt x="210" y="401"/>
                  </a:lnTo>
                  <a:lnTo>
                    <a:pt x="209" y="401"/>
                  </a:lnTo>
                  <a:lnTo>
                    <a:pt x="209" y="400"/>
                  </a:lnTo>
                  <a:lnTo>
                    <a:pt x="208" y="400"/>
                  </a:lnTo>
                  <a:lnTo>
                    <a:pt x="208" y="399"/>
                  </a:lnTo>
                  <a:lnTo>
                    <a:pt x="208" y="398"/>
                  </a:lnTo>
                  <a:lnTo>
                    <a:pt x="207" y="398"/>
                  </a:lnTo>
                  <a:lnTo>
                    <a:pt x="207" y="397"/>
                  </a:lnTo>
                  <a:lnTo>
                    <a:pt x="206" y="397"/>
                  </a:lnTo>
                  <a:lnTo>
                    <a:pt x="205" y="395"/>
                  </a:lnTo>
                  <a:lnTo>
                    <a:pt x="205" y="394"/>
                  </a:lnTo>
                  <a:lnTo>
                    <a:pt x="203" y="394"/>
                  </a:lnTo>
                  <a:lnTo>
                    <a:pt x="205" y="394"/>
                  </a:lnTo>
                  <a:lnTo>
                    <a:pt x="203" y="394"/>
                  </a:lnTo>
                  <a:lnTo>
                    <a:pt x="203" y="395"/>
                  </a:lnTo>
                  <a:lnTo>
                    <a:pt x="202" y="395"/>
                  </a:lnTo>
                  <a:lnTo>
                    <a:pt x="201" y="395"/>
                  </a:lnTo>
                  <a:lnTo>
                    <a:pt x="201" y="394"/>
                  </a:lnTo>
                  <a:lnTo>
                    <a:pt x="200" y="395"/>
                  </a:lnTo>
                  <a:lnTo>
                    <a:pt x="199" y="395"/>
                  </a:lnTo>
                  <a:lnTo>
                    <a:pt x="198" y="395"/>
                  </a:lnTo>
                  <a:lnTo>
                    <a:pt x="198" y="394"/>
                  </a:lnTo>
                  <a:lnTo>
                    <a:pt x="196" y="394"/>
                  </a:lnTo>
                  <a:lnTo>
                    <a:pt x="195" y="393"/>
                  </a:lnTo>
                  <a:lnTo>
                    <a:pt x="195" y="392"/>
                  </a:lnTo>
                  <a:lnTo>
                    <a:pt x="196" y="392"/>
                  </a:lnTo>
                  <a:lnTo>
                    <a:pt x="196" y="391"/>
                  </a:lnTo>
                  <a:lnTo>
                    <a:pt x="196" y="390"/>
                  </a:lnTo>
                  <a:lnTo>
                    <a:pt x="195" y="390"/>
                  </a:lnTo>
                  <a:lnTo>
                    <a:pt x="194" y="390"/>
                  </a:lnTo>
                  <a:lnTo>
                    <a:pt x="193" y="391"/>
                  </a:lnTo>
                  <a:lnTo>
                    <a:pt x="192" y="391"/>
                  </a:lnTo>
                  <a:lnTo>
                    <a:pt x="191" y="391"/>
                  </a:lnTo>
                  <a:lnTo>
                    <a:pt x="191" y="390"/>
                  </a:lnTo>
                  <a:lnTo>
                    <a:pt x="189" y="390"/>
                  </a:lnTo>
                  <a:lnTo>
                    <a:pt x="189" y="388"/>
                  </a:lnTo>
                  <a:lnTo>
                    <a:pt x="188" y="388"/>
                  </a:lnTo>
                  <a:lnTo>
                    <a:pt x="187" y="388"/>
                  </a:lnTo>
                  <a:lnTo>
                    <a:pt x="186" y="388"/>
                  </a:lnTo>
                  <a:lnTo>
                    <a:pt x="186" y="387"/>
                  </a:lnTo>
                  <a:lnTo>
                    <a:pt x="186" y="386"/>
                  </a:lnTo>
                  <a:lnTo>
                    <a:pt x="185" y="386"/>
                  </a:lnTo>
                  <a:lnTo>
                    <a:pt x="184" y="386"/>
                  </a:lnTo>
                  <a:lnTo>
                    <a:pt x="182" y="385"/>
                  </a:lnTo>
                  <a:lnTo>
                    <a:pt x="182" y="384"/>
                  </a:lnTo>
                  <a:lnTo>
                    <a:pt x="182" y="383"/>
                  </a:lnTo>
                  <a:lnTo>
                    <a:pt x="181" y="383"/>
                  </a:lnTo>
                  <a:lnTo>
                    <a:pt x="181" y="381"/>
                  </a:lnTo>
                  <a:lnTo>
                    <a:pt x="180" y="381"/>
                  </a:lnTo>
                  <a:lnTo>
                    <a:pt x="180" y="380"/>
                  </a:lnTo>
                  <a:lnTo>
                    <a:pt x="181" y="380"/>
                  </a:lnTo>
                  <a:lnTo>
                    <a:pt x="180" y="380"/>
                  </a:lnTo>
                  <a:lnTo>
                    <a:pt x="179" y="379"/>
                  </a:lnTo>
                  <a:lnTo>
                    <a:pt x="179" y="380"/>
                  </a:lnTo>
                  <a:lnTo>
                    <a:pt x="179" y="379"/>
                  </a:lnTo>
                  <a:lnTo>
                    <a:pt x="178" y="379"/>
                  </a:lnTo>
                  <a:lnTo>
                    <a:pt x="177" y="379"/>
                  </a:lnTo>
                  <a:lnTo>
                    <a:pt x="175" y="380"/>
                  </a:lnTo>
                  <a:lnTo>
                    <a:pt x="174" y="380"/>
                  </a:lnTo>
                  <a:lnTo>
                    <a:pt x="174" y="381"/>
                  </a:lnTo>
                  <a:lnTo>
                    <a:pt x="173" y="381"/>
                  </a:lnTo>
                  <a:lnTo>
                    <a:pt x="173" y="380"/>
                  </a:lnTo>
                  <a:lnTo>
                    <a:pt x="172" y="380"/>
                  </a:lnTo>
                  <a:lnTo>
                    <a:pt x="172" y="379"/>
                  </a:lnTo>
                  <a:lnTo>
                    <a:pt x="171" y="379"/>
                  </a:lnTo>
                  <a:lnTo>
                    <a:pt x="171" y="378"/>
                  </a:lnTo>
                  <a:lnTo>
                    <a:pt x="170" y="378"/>
                  </a:lnTo>
                  <a:lnTo>
                    <a:pt x="170" y="377"/>
                  </a:lnTo>
                  <a:lnTo>
                    <a:pt x="169" y="377"/>
                  </a:lnTo>
                  <a:lnTo>
                    <a:pt x="169" y="376"/>
                  </a:lnTo>
                  <a:lnTo>
                    <a:pt x="167" y="376"/>
                  </a:lnTo>
                  <a:lnTo>
                    <a:pt x="167" y="374"/>
                  </a:lnTo>
                  <a:lnTo>
                    <a:pt x="166" y="374"/>
                  </a:lnTo>
                  <a:lnTo>
                    <a:pt x="166" y="373"/>
                  </a:lnTo>
                  <a:lnTo>
                    <a:pt x="165" y="373"/>
                  </a:lnTo>
                  <a:lnTo>
                    <a:pt x="165" y="374"/>
                  </a:lnTo>
                  <a:lnTo>
                    <a:pt x="164" y="374"/>
                  </a:lnTo>
                  <a:lnTo>
                    <a:pt x="164" y="373"/>
                  </a:lnTo>
                  <a:lnTo>
                    <a:pt x="163" y="373"/>
                  </a:lnTo>
                  <a:lnTo>
                    <a:pt x="162" y="373"/>
                  </a:lnTo>
                  <a:lnTo>
                    <a:pt x="160" y="372"/>
                  </a:lnTo>
                  <a:lnTo>
                    <a:pt x="159" y="371"/>
                  </a:lnTo>
                  <a:lnTo>
                    <a:pt x="158" y="371"/>
                  </a:lnTo>
                  <a:lnTo>
                    <a:pt x="158" y="370"/>
                  </a:lnTo>
                  <a:lnTo>
                    <a:pt x="157" y="369"/>
                  </a:lnTo>
                  <a:lnTo>
                    <a:pt x="156" y="369"/>
                  </a:lnTo>
                  <a:lnTo>
                    <a:pt x="155" y="369"/>
                  </a:lnTo>
                  <a:lnTo>
                    <a:pt x="155" y="367"/>
                  </a:lnTo>
                  <a:lnTo>
                    <a:pt x="153" y="367"/>
                  </a:lnTo>
                  <a:lnTo>
                    <a:pt x="152" y="367"/>
                  </a:lnTo>
                  <a:lnTo>
                    <a:pt x="151" y="366"/>
                  </a:lnTo>
                  <a:lnTo>
                    <a:pt x="151" y="367"/>
                  </a:lnTo>
                  <a:lnTo>
                    <a:pt x="151" y="366"/>
                  </a:lnTo>
                  <a:lnTo>
                    <a:pt x="150" y="366"/>
                  </a:lnTo>
                  <a:lnTo>
                    <a:pt x="151" y="365"/>
                  </a:lnTo>
                  <a:lnTo>
                    <a:pt x="150" y="365"/>
                  </a:lnTo>
                  <a:lnTo>
                    <a:pt x="150" y="364"/>
                  </a:lnTo>
                  <a:lnTo>
                    <a:pt x="149" y="364"/>
                  </a:lnTo>
                  <a:lnTo>
                    <a:pt x="149" y="363"/>
                  </a:lnTo>
                  <a:lnTo>
                    <a:pt x="148" y="363"/>
                  </a:lnTo>
                  <a:lnTo>
                    <a:pt x="146" y="362"/>
                  </a:lnTo>
                  <a:lnTo>
                    <a:pt x="145" y="362"/>
                  </a:lnTo>
                  <a:lnTo>
                    <a:pt x="144" y="362"/>
                  </a:lnTo>
                  <a:lnTo>
                    <a:pt x="143" y="362"/>
                  </a:lnTo>
                  <a:lnTo>
                    <a:pt x="142" y="362"/>
                  </a:lnTo>
                  <a:lnTo>
                    <a:pt x="142" y="363"/>
                  </a:lnTo>
                  <a:lnTo>
                    <a:pt x="141" y="363"/>
                  </a:lnTo>
                  <a:lnTo>
                    <a:pt x="141" y="362"/>
                  </a:lnTo>
                  <a:lnTo>
                    <a:pt x="139" y="362"/>
                  </a:lnTo>
                  <a:lnTo>
                    <a:pt x="139" y="363"/>
                  </a:lnTo>
                  <a:lnTo>
                    <a:pt x="139" y="364"/>
                  </a:lnTo>
                  <a:lnTo>
                    <a:pt x="139" y="365"/>
                  </a:lnTo>
                  <a:lnTo>
                    <a:pt x="139" y="366"/>
                  </a:lnTo>
                  <a:lnTo>
                    <a:pt x="138" y="366"/>
                  </a:lnTo>
                  <a:lnTo>
                    <a:pt x="139" y="366"/>
                  </a:lnTo>
                  <a:lnTo>
                    <a:pt x="138" y="367"/>
                  </a:lnTo>
                  <a:lnTo>
                    <a:pt x="137" y="367"/>
                  </a:lnTo>
                  <a:lnTo>
                    <a:pt x="136" y="366"/>
                  </a:lnTo>
                  <a:lnTo>
                    <a:pt x="136" y="365"/>
                  </a:lnTo>
                  <a:lnTo>
                    <a:pt x="135" y="365"/>
                  </a:lnTo>
                  <a:lnTo>
                    <a:pt x="135" y="364"/>
                  </a:lnTo>
                  <a:lnTo>
                    <a:pt x="134" y="364"/>
                  </a:lnTo>
                  <a:lnTo>
                    <a:pt x="132" y="363"/>
                  </a:lnTo>
                  <a:lnTo>
                    <a:pt x="131" y="363"/>
                  </a:lnTo>
                  <a:lnTo>
                    <a:pt x="131" y="362"/>
                  </a:lnTo>
                  <a:lnTo>
                    <a:pt x="130" y="362"/>
                  </a:lnTo>
                  <a:lnTo>
                    <a:pt x="129" y="360"/>
                  </a:lnTo>
                  <a:lnTo>
                    <a:pt x="128" y="360"/>
                  </a:lnTo>
                  <a:lnTo>
                    <a:pt x="127" y="360"/>
                  </a:lnTo>
                  <a:lnTo>
                    <a:pt x="124" y="359"/>
                  </a:lnTo>
                  <a:lnTo>
                    <a:pt x="123" y="359"/>
                  </a:lnTo>
                  <a:lnTo>
                    <a:pt x="123" y="358"/>
                  </a:lnTo>
                  <a:lnTo>
                    <a:pt x="122" y="357"/>
                  </a:lnTo>
                  <a:lnTo>
                    <a:pt x="123" y="357"/>
                  </a:lnTo>
                  <a:lnTo>
                    <a:pt x="123" y="356"/>
                  </a:lnTo>
                  <a:lnTo>
                    <a:pt x="122" y="356"/>
                  </a:lnTo>
                  <a:lnTo>
                    <a:pt x="121" y="356"/>
                  </a:lnTo>
                  <a:lnTo>
                    <a:pt x="120" y="355"/>
                  </a:lnTo>
                  <a:lnTo>
                    <a:pt x="118" y="353"/>
                  </a:lnTo>
                  <a:lnTo>
                    <a:pt x="117" y="353"/>
                  </a:lnTo>
                  <a:lnTo>
                    <a:pt x="117" y="352"/>
                  </a:lnTo>
                  <a:lnTo>
                    <a:pt x="116" y="352"/>
                  </a:lnTo>
                  <a:lnTo>
                    <a:pt x="115" y="352"/>
                  </a:lnTo>
                  <a:lnTo>
                    <a:pt x="114" y="352"/>
                  </a:lnTo>
                  <a:lnTo>
                    <a:pt x="114" y="353"/>
                  </a:lnTo>
                  <a:lnTo>
                    <a:pt x="113" y="353"/>
                  </a:lnTo>
                  <a:lnTo>
                    <a:pt x="113" y="352"/>
                  </a:lnTo>
                  <a:lnTo>
                    <a:pt x="111" y="352"/>
                  </a:lnTo>
                  <a:lnTo>
                    <a:pt x="111" y="351"/>
                  </a:lnTo>
                  <a:lnTo>
                    <a:pt x="110" y="351"/>
                  </a:lnTo>
                  <a:lnTo>
                    <a:pt x="110" y="350"/>
                  </a:lnTo>
                  <a:lnTo>
                    <a:pt x="109" y="350"/>
                  </a:lnTo>
                  <a:lnTo>
                    <a:pt x="108" y="350"/>
                  </a:lnTo>
                  <a:lnTo>
                    <a:pt x="108" y="349"/>
                  </a:lnTo>
                  <a:lnTo>
                    <a:pt x="108" y="348"/>
                  </a:lnTo>
                  <a:lnTo>
                    <a:pt x="107" y="348"/>
                  </a:lnTo>
                  <a:lnTo>
                    <a:pt x="107" y="346"/>
                  </a:lnTo>
                  <a:lnTo>
                    <a:pt x="106" y="346"/>
                  </a:lnTo>
                  <a:lnTo>
                    <a:pt x="106" y="345"/>
                  </a:lnTo>
                  <a:lnTo>
                    <a:pt x="105" y="345"/>
                  </a:lnTo>
                  <a:lnTo>
                    <a:pt x="105" y="346"/>
                  </a:lnTo>
                  <a:lnTo>
                    <a:pt x="103" y="346"/>
                  </a:lnTo>
                  <a:lnTo>
                    <a:pt x="103" y="348"/>
                  </a:lnTo>
                  <a:lnTo>
                    <a:pt x="102" y="348"/>
                  </a:lnTo>
                  <a:lnTo>
                    <a:pt x="101" y="348"/>
                  </a:lnTo>
                  <a:lnTo>
                    <a:pt x="101" y="346"/>
                  </a:lnTo>
                  <a:lnTo>
                    <a:pt x="101" y="345"/>
                  </a:lnTo>
                  <a:lnTo>
                    <a:pt x="100" y="344"/>
                  </a:lnTo>
                  <a:lnTo>
                    <a:pt x="101" y="343"/>
                  </a:lnTo>
                  <a:lnTo>
                    <a:pt x="100" y="342"/>
                  </a:lnTo>
                  <a:lnTo>
                    <a:pt x="99" y="342"/>
                  </a:lnTo>
                  <a:lnTo>
                    <a:pt x="99" y="341"/>
                  </a:lnTo>
                  <a:lnTo>
                    <a:pt x="99" y="340"/>
                  </a:lnTo>
                  <a:lnTo>
                    <a:pt x="99" y="338"/>
                  </a:lnTo>
                  <a:lnTo>
                    <a:pt x="99" y="337"/>
                  </a:lnTo>
                  <a:lnTo>
                    <a:pt x="99" y="336"/>
                  </a:lnTo>
                  <a:lnTo>
                    <a:pt x="98" y="336"/>
                  </a:lnTo>
                  <a:lnTo>
                    <a:pt x="95" y="334"/>
                  </a:lnTo>
                  <a:lnTo>
                    <a:pt x="94" y="333"/>
                  </a:lnTo>
                  <a:lnTo>
                    <a:pt x="94" y="331"/>
                  </a:lnTo>
                  <a:lnTo>
                    <a:pt x="93" y="330"/>
                  </a:lnTo>
                  <a:lnTo>
                    <a:pt x="93" y="329"/>
                  </a:lnTo>
                  <a:lnTo>
                    <a:pt x="92" y="329"/>
                  </a:lnTo>
                  <a:lnTo>
                    <a:pt x="92" y="328"/>
                  </a:lnTo>
                  <a:lnTo>
                    <a:pt x="93" y="327"/>
                  </a:lnTo>
                  <a:lnTo>
                    <a:pt x="94" y="327"/>
                  </a:lnTo>
                  <a:lnTo>
                    <a:pt x="95" y="327"/>
                  </a:lnTo>
                  <a:lnTo>
                    <a:pt x="96" y="327"/>
                  </a:lnTo>
                  <a:lnTo>
                    <a:pt x="96" y="328"/>
                  </a:lnTo>
                  <a:lnTo>
                    <a:pt x="98" y="329"/>
                  </a:lnTo>
                  <a:lnTo>
                    <a:pt x="99" y="330"/>
                  </a:lnTo>
                  <a:lnTo>
                    <a:pt x="100" y="330"/>
                  </a:lnTo>
                  <a:lnTo>
                    <a:pt x="101" y="330"/>
                  </a:lnTo>
                  <a:lnTo>
                    <a:pt x="101" y="329"/>
                  </a:lnTo>
                  <a:lnTo>
                    <a:pt x="102" y="329"/>
                  </a:lnTo>
                  <a:lnTo>
                    <a:pt x="102" y="328"/>
                  </a:lnTo>
                  <a:lnTo>
                    <a:pt x="103" y="328"/>
                  </a:lnTo>
                  <a:lnTo>
                    <a:pt x="103" y="329"/>
                  </a:lnTo>
                  <a:lnTo>
                    <a:pt x="103" y="328"/>
                  </a:lnTo>
                  <a:lnTo>
                    <a:pt x="105" y="328"/>
                  </a:lnTo>
                  <a:lnTo>
                    <a:pt x="106" y="327"/>
                  </a:lnTo>
                  <a:lnTo>
                    <a:pt x="106" y="326"/>
                  </a:lnTo>
                  <a:lnTo>
                    <a:pt x="106" y="324"/>
                  </a:lnTo>
                  <a:lnTo>
                    <a:pt x="105" y="323"/>
                  </a:lnTo>
                  <a:lnTo>
                    <a:pt x="103" y="322"/>
                  </a:lnTo>
                  <a:lnTo>
                    <a:pt x="102" y="321"/>
                  </a:lnTo>
                  <a:lnTo>
                    <a:pt x="102" y="320"/>
                  </a:lnTo>
                  <a:lnTo>
                    <a:pt x="102" y="319"/>
                  </a:lnTo>
                  <a:lnTo>
                    <a:pt x="102" y="317"/>
                  </a:lnTo>
                  <a:lnTo>
                    <a:pt x="101" y="317"/>
                  </a:lnTo>
                  <a:lnTo>
                    <a:pt x="100" y="317"/>
                  </a:lnTo>
                  <a:lnTo>
                    <a:pt x="99" y="317"/>
                  </a:lnTo>
                  <a:lnTo>
                    <a:pt x="98" y="316"/>
                  </a:lnTo>
                  <a:lnTo>
                    <a:pt x="96" y="316"/>
                  </a:lnTo>
                  <a:lnTo>
                    <a:pt x="96" y="315"/>
                  </a:lnTo>
                  <a:lnTo>
                    <a:pt x="95" y="314"/>
                  </a:lnTo>
                  <a:lnTo>
                    <a:pt x="94" y="313"/>
                  </a:lnTo>
                  <a:lnTo>
                    <a:pt x="93" y="313"/>
                  </a:lnTo>
                  <a:lnTo>
                    <a:pt x="93" y="312"/>
                  </a:lnTo>
                  <a:lnTo>
                    <a:pt x="93" y="309"/>
                  </a:lnTo>
                  <a:lnTo>
                    <a:pt x="92" y="308"/>
                  </a:lnTo>
                  <a:lnTo>
                    <a:pt x="92" y="307"/>
                  </a:lnTo>
                  <a:lnTo>
                    <a:pt x="91" y="305"/>
                  </a:lnTo>
                  <a:lnTo>
                    <a:pt x="91" y="303"/>
                  </a:lnTo>
                  <a:lnTo>
                    <a:pt x="91" y="302"/>
                  </a:lnTo>
                  <a:lnTo>
                    <a:pt x="92" y="302"/>
                  </a:lnTo>
                  <a:lnTo>
                    <a:pt x="93" y="301"/>
                  </a:lnTo>
                  <a:lnTo>
                    <a:pt x="93" y="300"/>
                  </a:lnTo>
                  <a:lnTo>
                    <a:pt x="92" y="299"/>
                  </a:lnTo>
                  <a:lnTo>
                    <a:pt x="91" y="299"/>
                  </a:lnTo>
                  <a:lnTo>
                    <a:pt x="89" y="298"/>
                  </a:lnTo>
                  <a:lnTo>
                    <a:pt x="88" y="298"/>
                  </a:lnTo>
                  <a:lnTo>
                    <a:pt x="87" y="296"/>
                  </a:lnTo>
                  <a:lnTo>
                    <a:pt x="84" y="295"/>
                  </a:lnTo>
                  <a:lnTo>
                    <a:pt x="82" y="295"/>
                  </a:lnTo>
                  <a:lnTo>
                    <a:pt x="81" y="294"/>
                  </a:lnTo>
                  <a:lnTo>
                    <a:pt x="80" y="292"/>
                  </a:lnTo>
                  <a:lnTo>
                    <a:pt x="80" y="291"/>
                  </a:lnTo>
                  <a:lnTo>
                    <a:pt x="79" y="291"/>
                  </a:lnTo>
                  <a:lnTo>
                    <a:pt x="79" y="289"/>
                  </a:lnTo>
                  <a:lnTo>
                    <a:pt x="79" y="288"/>
                  </a:lnTo>
                  <a:lnTo>
                    <a:pt x="78" y="288"/>
                  </a:lnTo>
                  <a:lnTo>
                    <a:pt x="77" y="286"/>
                  </a:lnTo>
                  <a:lnTo>
                    <a:pt x="75" y="285"/>
                  </a:lnTo>
                  <a:lnTo>
                    <a:pt x="75" y="284"/>
                  </a:lnTo>
                  <a:lnTo>
                    <a:pt x="75" y="282"/>
                  </a:lnTo>
                  <a:lnTo>
                    <a:pt x="75" y="281"/>
                  </a:lnTo>
                  <a:lnTo>
                    <a:pt x="74" y="281"/>
                  </a:lnTo>
                  <a:lnTo>
                    <a:pt x="73" y="282"/>
                  </a:lnTo>
                  <a:lnTo>
                    <a:pt x="73" y="281"/>
                  </a:lnTo>
                  <a:lnTo>
                    <a:pt x="72" y="281"/>
                  </a:lnTo>
                  <a:lnTo>
                    <a:pt x="71" y="281"/>
                  </a:lnTo>
                  <a:lnTo>
                    <a:pt x="68" y="281"/>
                  </a:lnTo>
                  <a:lnTo>
                    <a:pt x="67" y="281"/>
                  </a:lnTo>
                  <a:lnTo>
                    <a:pt x="66" y="281"/>
                  </a:lnTo>
                  <a:lnTo>
                    <a:pt x="65" y="280"/>
                  </a:lnTo>
                  <a:lnTo>
                    <a:pt x="64" y="280"/>
                  </a:lnTo>
                  <a:lnTo>
                    <a:pt x="63" y="280"/>
                  </a:lnTo>
                  <a:lnTo>
                    <a:pt x="61" y="280"/>
                  </a:lnTo>
                  <a:lnTo>
                    <a:pt x="60" y="280"/>
                  </a:lnTo>
                  <a:lnTo>
                    <a:pt x="59" y="279"/>
                  </a:lnTo>
                  <a:lnTo>
                    <a:pt x="58" y="279"/>
                  </a:lnTo>
                  <a:lnTo>
                    <a:pt x="57" y="278"/>
                  </a:lnTo>
                  <a:lnTo>
                    <a:pt x="56" y="278"/>
                  </a:lnTo>
                  <a:lnTo>
                    <a:pt x="54" y="277"/>
                  </a:lnTo>
                  <a:lnTo>
                    <a:pt x="54" y="275"/>
                  </a:lnTo>
                  <a:lnTo>
                    <a:pt x="54" y="274"/>
                  </a:lnTo>
                  <a:lnTo>
                    <a:pt x="53" y="274"/>
                  </a:lnTo>
                  <a:lnTo>
                    <a:pt x="53" y="275"/>
                  </a:lnTo>
                  <a:lnTo>
                    <a:pt x="52" y="275"/>
                  </a:lnTo>
                  <a:lnTo>
                    <a:pt x="51" y="275"/>
                  </a:lnTo>
                  <a:lnTo>
                    <a:pt x="51" y="277"/>
                  </a:lnTo>
                  <a:lnTo>
                    <a:pt x="51" y="275"/>
                  </a:lnTo>
                  <a:lnTo>
                    <a:pt x="50" y="275"/>
                  </a:lnTo>
                  <a:lnTo>
                    <a:pt x="50" y="277"/>
                  </a:lnTo>
                  <a:lnTo>
                    <a:pt x="49" y="277"/>
                  </a:lnTo>
                  <a:lnTo>
                    <a:pt x="49" y="275"/>
                  </a:lnTo>
                  <a:lnTo>
                    <a:pt x="49" y="274"/>
                  </a:lnTo>
                  <a:lnTo>
                    <a:pt x="47" y="274"/>
                  </a:lnTo>
                  <a:lnTo>
                    <a:pt x="47" y="273"/>
                  </a:lnTo>
                  <a:lnTo>
                    <a:pt x="46" y="273"/>
                  </a:lnTo>
                  <a:lnTo>
                    <a:pt x="45" y="273"/>
                  </a:lnTo>
                  <a:lnTo>
                    <a:pt x="45" y="272"/>
                  </a:lnTo>
                  <a:lnTo>
                    <a:pt x="44" y="272"/>
                  </a:lnTo>
                  <a:lnTo>
                    <a:pt x="44" y="271"/>
                  </a:lnTo>
                  <a:lnTo>
                    <a:pt x="45" y="271"/>
                  </a:lnTo>
                  <a:lnTo>
                    <a:pt x="45" y="270"/>
                  </a:lnTo>
                  <a:lnTo>
                    <a:pt x="45" y="268"/>
                  </a:lnTo>
                  <a:lnTo>
                    <a:pt x="44" y="268"/>
                  </a:lnTo>
                  <a:lnTo>
                    <a:pt x="44" y="267"/>
                  </a:lnTo>
                  <a:lnTo>
                    <a:pt x="44" y="266"/>
                  </a:lnTo>
                  <a:lnTo>
                    <a:pt x="42" y="264"/>
                  </a:lnTo>
                  <a:lnTo>
                    <a:pt x="42" y="263"/>
                  </a:lnTo>
                  <a:lnTo>
                    <a:pt x="41" y="263"/>
                  </a:lnTo>
                  <a:lnTo>
                    <a:pt x="39" y="261"/>
                  </a:lnTo>
                  <a:lnTo>
                    <a:pt x="38" y="261"/>
                  </a:lnTo>
                  <a:lnTo>
                    <a:pt x="37" y="261"/>
                  </a:lnTo>
                  <a:lnTo>
                    <a:pt x="36" y="261"/>
                  </a:lnTo>
                  <a:lnTo>
                    <a:pt x="35" y="260"/>
                  </a:lnTo>
                  <a:lnTo>
                    <a:pt x="35" y="259"/>
                  </a:lnTo>
                  <a:lnTo>
                    <a:pt x="34" y="259"/>
                  </a:lnTo>
                  <a:lnTo>
                    <a:pt x="34" y="258"/>
                  </a:lnTo>
                  <a:lnTo>
                    <a:pt x="31" y="258"/>
                  </a:lnTo>
                  <a:lnTo>
                    <a:pt x="30" y="258"/>
                  </a:lnTo>
                  <a:lnTo>
                    <a:pt x="30" y="257"/>
                  </a:lnTo>
                  <a:lnTo>
                    <a:pt x="29" y="258"/>
                  </a:lnTo>
                  <a:lnTo>
                    <a:pt x="28" y="258"/>
                  </a:lnTo>
                  <a:lnTo>
                    <a:pt x="28" y="259"/>
                  </a:lnTo>
                  <a:lnTo>
                    <a:pt x="28" y="258"/>
                  </a:lnTo>
                  <a:lnTo>
                    <a:pt x="27" y="258"/>
                  </a:lnTo>
                  <a:lnTo>
                    <a:pt x="27" y="257"/>
                  </a:lnTo>
                  <a:lnTo>
                    <a:pt x="25" y="257"/>
                  </a:lnTo>
                  <a:lnTo>
                    <a:pt x="24" y="257"/>
                  </a:lnTo>
                  <a:lnTo>
                    <a:pt x="23" y="257"/>
                  </a:lnTo>
                  <a:lnTo>
                    <a:pt x="22" y="257"/>
                  </a:lnTo>
                  <a:lnTo>
                    <a:pt x="22" y="256"/>
                  </a:lnTo>
                  <a:lnTo>
                    <a:pt x="21" y="256"/>
                  </a:lnTo>
                  <a:lnTo>
                    <a:pt x="20" y="254"/>
                  </a:lnTo>
                  <a:lnTo>
                    <a:pt x="21" y="254"/>
                  </a:lnTo>
                  <a:lnTo>
                    <a:pt x="21" y="253"/>
                  </a:lnTo>
                  <a:lnTo>
                    <a:pt x="22" y="253"/>
                  </a:lnTo>
                  <a:lnTo>
                    <a:pt x="23" y="253"/>
                  </a:lnTo>
                  <a:lnTo>
                    <a:pt x="24" y="253"/>
                  </a:lnTo>
                  <a:lnTo>
                    <a:pt x="24" y="252"/>
                  </a:lnTo>
                  <a:lnTo>
                    <a:pt x="25" y="253"/>
                  </a:lnTo>
                  <a:lnTo>
                    <a:pt x="25" y="254"/>
                  </a:lnTo>
                  <a:lnTo>
                    <a:pt x="25" y="253"/>
                  </a:lnTo>
                  <a:lnTo>
                    <a:pt x="27" y="253"/>
                  </a:lnTo>
                  <a:lnTo>
                    <a:pt x="28" y="253"/>
                  </a:lnTo>
                  <a:lnTo>
                    <a:pt x="29" y="252"/>
                  </a:lnTo>
                  <a:lnTo>
                    <a:pt x="29" y="251"/>
                  </a:lnTo>
                  <a:lnTo>
                    <a:pt x="28" y="250"/>
                  </a:lnTo>
                  <a:lnTo>
                    <a:pt x="27" y="250"/>
                  </a:lnTo>
                  <a:lnTo>
                    <a:pt x="25" y="249"/>
                  </a:lnTo>
                  <a:lnTo>
                    <a:pt x="25" y="247"/>
                  </a:lnTo>
                  <a:lnTo>
                    <a:pt x="24" y="247"/>
                  </a:lnTo>
                  <a:lnTo>
                    <a:pt x="24" y="246"/>
                  </a:lnTo>
                  <a:lnTo>
                    <a:pt x="25" y="246"/>
                  </a:lnTo>
                  <a:lnTo>
                    <a:pt x="25" y="245"/>
                  </a:lnTo>
                  <a:lnTo>
                    <a:pt x="24" y="245"/>
                  </a:lnTo>
                  <a:lnTo>
                    <a:pt x="24" y="244"/>
                  </a:lnTo>
                  <a:lnTo>
                    <a:pt x="23" y="244"/>
                  </a:lnTo>
                  <a:lnTo>
                    <a:pt x="24" y="244"/>
                  </a:lnTo>
                  <a:lnTo>
                    <a:pt x="24" y="243"/>
                  </a:lnTo>
                  <a:lnTo>
                    <a:pt x="23" y="243"/>
                  </a:lnTo>
                  <a:lnTo>
                    <a:pt x="23" y="242"/>
                  </a:lnTo>
                  <a:lnTo>
                    <a:pt x="22" y="240"/>
                  </a:lnTo>
                  <a:lnTo>
                    <a:pt x="21" y="238"/>
                  </a:lnTo>
                  <a:lnTo>
                    <a:pt x="21" y="237"/>
                  </a:lnTo>
                  <a:lnTo>
                    <a:pt x="20" y="237"/>
                  </a:lnTo>
                  <a:lnTo>
                    <a:pt x="21" y="236"/>
                  </a:lnTo>
                  <a:lnTo>
                    <a:pt x="21" y="235"/>
                  </a:lnTo>
                  <a:lnTo>
                    <a:pt x="20" y="235"/>
                  </a:lnTo>
                  <a:lnTo>
                    <a:pt x="20" y="233"/>
                  </a:lnTo>
                  <a:lnTo>
                    <a:pt x="18" y="233"/>
                  </a:lnTo>
                  <a:lnTo>
                    <a:pt x="17" y="232"/>
                  </a:lnTo>
                  <a:lnTo>
                    <a:pt x="15" y="232"/>
                  </a:lnTo>
                  <a:lnTo>
                    <a:pt x="13" y="231"/>
                  </a:lnTo>
                  <a:lnTo>
                    <a:pt x="11" y="231"/>
                  </a:lnTo>
                  <a:lnTo>
                    <a:pt x="10" y="231"/>
                  </a:lnTo>
                  <a:lnTo>
                    <a:pt x="10" y="232"/>
                  </a:lnTo>
                  <a:lnTo>
                    <a:pt x="9" y="232"/>
                  </a:lnTo>
                  <a:lnTo>
                    <a:pt x="10" y="232"/>
                  </a:lnTo>
                  <a:lnTo>
                    <a:pt x="10" y="233"/>
                  </a:lnTo>
                  <a:lnTo>
                    <a:pt x="9" y="233"/>
                  </a:lnTo>
                  <a:lnTo>
                    <a:pt x="8" y="233"/>
                  </a:lnTo>
                  <a:lnTo>
                    <a:pt x="8" y="232"/>
                  </a:lnTo>
                  <a:lnTo>
                    <a:pt x="7" y="232"/>
                  </a:lnTo>
                  <a:lnTo>
                    <a:pt x="6" y="232"/>
                  </a:lnTo>
                  <a:lnTo>
                    <a:pt x="6" y="231"/>
                  </a:lnTo>
                  <a:lnTo>
                    <a:pt x="4" y="230"/>
                  </a:lnTo>
                  <a:lnTo>
                    <a:pt x="4" y="229"/>
                  </a:lnTo>
                  <a:lnTo>
                    <a:pt x="3" y="229"/>
                  </a:lnTo>
                  <a:lnTo>
                    <a:pt x="3" y="228"/>
                  </a:lnTo>
                  <a:lnTo>
                    <a:pt x="3" y="226"/>
                  </a:lnTo>
                  <a:lnTo>
                    <a:pt x="4" y="226"/>
                  </a:lnTo>
                  <a:lnTo>
                    <a:pt x="4" y="225"/>
                  </a:lnTo>
                  <a:lnTo>
                    <a:pt x="3" y="225"/>
                  </a:lnTo>
                  <a:lnTo>
                    <a:pt x="3" y="224"/>
                  </a:lnTo>
                  <a:lnTo>
                    <a:pt x="2" y="224"/>
                  </a:lnTo>
                  <a:lnTo>
                    <a:pt x="2" y="223"/>
                  </a:lnTo>
                  <a:lnTo>
                    <a:pt x="1" y="223"/>
                  </a:lnTo>
                  <a:lnTo>
                    <a:pt x="1" y="222"/>
                  </a:lnTo>
                  <a:lnTo>
                    <a:pt x="1" y="221"/>
                  </a:lnTo>
                  <a:lnTo>
                    <a:pt x="1" y="219"/>
                  </a:lnTo>
                  <a:lnTo>
                    <a:pt x="0" y="219"/>
                  </a:lnTo>
                  <a:lnTo>
                    <a:pt x="0" y="218"/>
                  </a:lnTo>
                  <a:lnTo>
                    <a:pt x="2" y="218"/>
                  </a:lnTo>
                  <a:lnTo>
                    <a:pt x="3" y="218"/>
                  </a:lnTo>
                  <a:lnTo>
                    <a:pt x="3" y="217"/>
                  </a:lnTo>
                  <a:lnTo>
                    <a:pt x="3" y="216"/>
                  </a:lnTo>
                  <a:lnTo>
                    <a:pt x="2" y="215"/>
                  </a:lnTo>
                  <a:lnTo>
                    <a:pt x="2" y="214"/>
                  </a:lnTo>
                  <a:lnTo>
                    <a:pt x="1" y="214"/>
                  </a:lnTo>
                  <a:lnTo>
                    <a:pt x="1" y="212"/>
                  </a:lnTo>
                  <a:lnTo>
                    <a:pt x="1" y="211"/>
                  </a:lnTo>
                  <a:lnTo>
                    <a:pt x="2" y="210"/>
                  </a:lnTo>
                  <a:lnTo>
                    <a:pt x="2" y="209"/>
                  </a:lnTo>
                  <a:lnTo>
                    <a:pt x="3" y="209"/>
                  </a:lnTo>
                  <a:lnTo>
                    <a:pt x="4" y="208"/>
                  </a:lnTo>
                  <a:lnTo>
                    <a:pt x="6" y="209"/>
                  </a:lnTo>
                  <a:lnTo>
                    <a:pt x="7" y="208"/>
                  </a:lnTo>
                  <a:lnTo>
                    <a:pt x="8" y="208"/>
                  </a:lnTo>
                  <a:lnTo>
                    <a:pt x="8" y="207"/>
                  </a:lnTo>
                  <a:lnTo>
                    <a:pt x="9" y="205"/>
                  </a:lnTo>
                  <a:lnTo>
                    <a:pt x="10" y="204"/>
                  </a:lnTo>
                  <a:lnTo>
                    <a:pt x="11" y="205"/>
                  </a:lnTo>
                  <a:lnTo>
                    <a:pt x="11" y="204"/>
                  </a:lnTo>
                  <a:lnTo>
                    <a:pt x="10" y="203"/>
                  </a:lnTo>
                  <a:lnTo>
                    <a:pt x="10" y="202"/>
                  </a:lnTo>
                  <a:lnTo>
                    <a:pt x="11" y="202"/>
                  </a:lnTo>
                  <a:lnTo>
                    <a:pt x="13" y="203"/>
                  </a:lnTo>
                  <a:lnTo>
                    <a:pt x="14" y="203"/>
                  </a:lnTo>
                  <a:lnTo>
                    <a:pt x="15" y="203"/>
                  </a:lnTo>
                  <a:lnTo>
                    <a:pt x="16" y="203"/>
                  </a:lnTo>
                  <a:lnTo>
                    <a:pt x="16" y="202"/>
                  </a:lnTo>
                  <a:lnTo>
                    <a:pt x="18" y="201"/>
                  </a:lnTo>
                  <a:lnTo>
                    <a:pt x="18" y="200"/>
                  </a:lnTo>
                  <a:lnTo>
                    <a:pt x="20" y="200"/>
                  </a:lnTo>
                  <a:lnTo>
                    <a:pt x="20" y="201"/>
                  </a:lnTo>
                  <a:lnTo>
                    <a:pt x="21" y="202"/>
                  </a:lnTo>
                  <a:lnTo>
                    <a:pt x="22" y="203"/>
                  </a:lnTo>
                  <a:lnTo>
                    <a:pt x="22" y="204"/>
                  </a:lnTo>
                  <a:lnTo>
                    <a:pt x="22" y="205"/>
                  </a:lnTo>
                  <a:lnTo>
                    <a:pt x="23" y="205"/>
                  </a:lnTo>
                  <a:lnTo>
                    <a:pt x="24" y="205"/>
                  </a:lnTo>
                  <a:lnTo>
                    <a:pt x="25" y="205"/>
                  </a:lnTo>
                  <a:lnTo>
                    <a:pt x="25" y="204"/>
                  </a:lnTo>
                  <a:lnTo>
                    <a:pt x="27" y="204"/>
                  </a:lnTo>
                  <a:lnTo>
                    <a:pt x="28" y="204"/>
                  </a:lnTo>
                  <a:lnTo>
                    <a:pt x="29" y="204"/>
                  </a:lnTo>
                  <a:lnTo>
                    <a:pt x="29" y="203"/>
                  </a:lnTo>
                  <a:lnTo>
                    <a:pt x="30" y="203"/>
                  </a:lnTo>
                  <a:lnTo>
                    <a:pt x="30" y="204"/>
                  </a:lnTo>
                  <a:lnTo>
                    <a:pt x="31" y="204"/>
                  </a:lnTo>
                  <a:lnTo>
                    <a:pt x="31" y="203"/>
                  </a:lnTo>
                  <a:lnTo>
                    <a:pt x="32" y="203"/>
                  </a:lnTo>
                  <a:lnTo>
                    <a:pt x="32" y="202"/>
                  </a:lnTo>
                  <a:lnTo>
                    <a:pt x="32" y="201"/>
                  </a:lnTo>
                  <a:lnTo>
                    <a:pt x="32" y="200"/>
                  </a:lnTo>
                  <a:lnTo>
                    <a:pt x="32" y="198"/>
                  </a:lnTo>
                  <a:lnTo>
                    <a:pt x="32" y="197"/>
                  </a:lnTo>
                  <a:lnTo>
                    <a:pt x="34" y="197"/>
                  </a:lnTo>
                  <a:lnTo>
                    <a:pt x="34" y="196"/>
                  </a:lnTo>
                  <a:lnTo>
                    <a:pt x="34" y="195"/>
                  </a:lnTo>
                  <a:lnTo>
                    <a:pt x="34" y="194"/>
                  </a:lnTo>
                  <a:lnTo>
                    <a:pt x="35" y="194"/>
                  </a:lnTo>
                  <a:lnTo>
                    <a:pt x="36" y="194"/>
                  </a:lnTo>
                  <a:lnTo>
                    <a:pt x="37" y="194"/>
                  </a:lnTo>
                  <a:lnTo>
                    <a:pt x="39" y="194"/>
                  </a:lnTo>
                  <a:lnTo>
                    <a:pt x="41" y="194"/>
                  </a:lnTo>
                  <a:lnTo>
                    <a:pt x="42" y="194"/>
                  </a:lnTo>
                  <a:lnTo>
                    <a:pt x="42" y="195"/>
                  </a:lnTo>
                  <a:lnTo>
                    <a:pt x="43" y="195"/>
                  </a:lnTo>
                  <a:lnTo>
                    <a:pt x="43" y="194"/>
                  </a:lnTo>
                  <a:lnTo>
                    <a:pt x="44" y="194"/>
                  </a:lnTo>
                  <a:lnTo>
                    <a:pt x="45" y="194"/>
                  </a:lnTo>
                  <a:lnTo>
                    <a:pt x="46" y="194"/>
                  </a:lnTo>
                  <a:lnTo>
                    <a:pt x="49" y="194"/>
                  </a:lnTo>
                  <a:lnTo>
                    <a:pt x="50" y="194"/>
                  </a:lnTo>
                  <a:lnTo>
                    <a:pt x="50" y="193"/>
                  </a:lnTo>
                  <a:lnTo>
                    <a:pt x="51" y="193"/>
                  </a:lnTo>
                  <a:lnTo>
                    <a:pt x="51" y="191"/>
                  </a:lnTo>
                  <a:lnTo>
                    <a:pt x="51" y="190"/>
                  </a:lnTo>
                  <a:lnTo>
                    <a:pt x="52" y="190"/>
                  </a:lnTo>
                  <a:lnTo>
                    <a:pt x="51" y="189"/>
                  </a:lnTo>
                  <a:lnTo>
                    <a:pt x="51" y="188"/>
                  </a:lnTo>
                  <a:lnTo>
                    <a:pt x="52" y="188"/>
                  </a:lnTo>
                  <a:lnTo>
                    <a:pt x="52" y="187"/>
                  </a:lnTo>
                  <a:lnTo>
                    <a:pt x="53" y="187"/>
                  </a:lnTo>
                  <a:lnTo>
                    <a:pt x="54" y="187"/>
                  </a:lnTo>
                  <a:lnTo>
                    <a:pt x="54" y="186"/>
                  </a:lnTo>
                  <a:lnTo>
                    <a:pt x="56" y="186"/>
                  </a:lnTo>
                  <a:lnTo>
                    <a:pt x="57" y="184"/>
                  </a:lnTo>
                  <a:lnTo>
                    <a:pt x="58" y="184"/>
                  </a:lnTo>
                  <a:lnTo>
                    <a:pt x="59" y="183"/>
                  </a:lnTo>
                  <a:lnTo>
                    <a:pt x="60" y="183"/>
                  </a:lnTo>
                  <a:lnTo>
                    <a:pt x="60" y="182"/>
                  </a:lnTo>
                  <a:lnTo>
                    <a:pt x="61" y="182"/>
                  </a:lnTo>
                  <a:lnTo>
                    <a:pt x="63" y="182"/>
                  </a:lnTo>
                  <a:lnTo>
                    <a:pt x="63" y="181"/>
                  </a:lnTo>
                  <a:lnTo>
                    <a:pt x="64" y="181"/>
                  </a:lnTo>
                  <a:lnTo>
                    <a:pt x="65" y="181"/>
                  </a:lnTo>
                  <a:lnTo>
                    <a:pt x="66" y="181"/>
                  </a:lnTo>
                  <a:lnTo>
                    <a:pt x="66" y="180"/>
                  </a:lnTo>
                  <a:lnTo>
                    <a:pt x="66" y="179"/>
                  </a:lnTo>
                  <a:lnTo>
                    <a:pt x="67" y="179"/>
                  </a:lnTo>
                  <a:lnTo>
                    <a:pt x="71" y="179"/>
                  </a:lnTo>
                  <a:lnTo>
                    <a:pt x="72" y="179"/>
                  </a:lnTo>
                  <a:lnTo>
                    <a:pt x="72" y="177"/>
                  </a:lnTo>
                  <a:lnTo>
                    <a:pt x="71" y="177"/>
                  </a:lnTo>
                  <a:lnTo>
                    <a:pt x="71" y="176"/>
                  </a:lnTo>
                  <a:lnTo>
                    <a:pt x="71" y="175"/>
                  </a:lnTo>
                  <a:lnTo>
                    <a:pt x="70" y="174"/>
                  </a:lnTo>
                  <a:lnTo>
                    <a:pt x="70" y="173"/>
                  </a:lnTo>
                  <a:lnTo>
                    <a:pt x="68" y="172"/>
                  </a:lnTo>
                  <a:lnTo>
                    <a:pt x="68" y="170"/>
                  </a:lnTo>
                  <a:lnTo>
                    <a:pt x="67" y="170"/>
                  </a:lnTo>
                  <a:lnTo>
                    <a:pt x="67" y="169"/>
                  </a:lnTo>
                  <a:lnTo>
                    <a:pt x="67" y="168"/>
                  </a:lnTo>
                  <a:lnTo>
                    <a:pt x="67" y="167"/>
                  </a:lnTo>
                  <a:lnTo>
                    <a:pt x="67" y="166"/>
                  </a:lnTo>
                  <a:lnTo>
                    <a:pt x="68" y="166"/>
                  </a:lnTo>
                  <a:lnTo>
                    <a:pt x="70" y="165"/>
                  </a:lnTo>
                  <a:lnTo>
                    <a:pt x="71" y="165"/>
                  </a:lnTo>
                  <a:lnTo>
                    <a:pt x="70" y="165"/>
                  </a:lnTo>
                  <a:lnTo>
                    <a:pt x="70" y="163"/>
                  </a:lnTo>
                  <a:lnTo>
                    <a:pt x="68" y="163"/>
                  </a:lnTo>
                  <a:lnTo>
                    <a:pt x="67" y="163"/>
                  </a:lnTo>
                  <a:lnTo>
                    <a:pt x="67" y="162"/>
                  </a:lnTo>
                  <a:lnTo>
                    <a:pt x="68" y="162"/>
                  </a:lnTo>
                  <a:lnTo>
                    <a:pt x="70" y="161"/>
                  </a:lnTo>
                  <a:lnTo>
                    <a:pt x="71" y="161"/>
                  </a:lnTo>
                  <a:lnTo>
                    <a:pt x="72" y="161"/>
                  </a:lnTo>
                  <a:lnTo>
                    <a:pt x="72" y="160"/>
                  </a:lnTo>
                  <a:lnTo>
                    <a:pt x="71" y="160"/>
                  </a:lnTo>
                  <a:lnTo>
                    <a:pt x="71" y="159"/>
                  </a:lnTo>
                  <a:lnTo>
                    <a:pt x="70" y="158"/>
                  </a:lnTo>
                  <a:lnTo>
                    <a:pt x="70" y="156"/>
                  </a:lnTo>
                  <a:lnTo>
                    <a:pt x="70" y="155"/>
                  </a:lnTo>
                  <a:lnTo>
                    <a:pt x="66" y="152"/>
                  </a:lnTo>
                  <a:lnTo>
                    <a:pt x="64" y="148"/>
                  </a:lnTo>
                  <a:lnTo>
                    <a:pt x="63" y="148"/>
                  </a:lnTo>
                  <a:lnTo>
                    <a:pt x="63" y="147"/>
                  </a:lnTo>
                  <a:lnTo>
                    <a:pt x="61" y="146"/>
                  </a:lnTo>
                  <a:lnTo>
                    <a:pt x="60" y="146"/>
                  </a:lnTo>
                  <a:lnTo>
                    <a:pt x="60" y="145"/>
                  </a:lnTo>
                  <a:lnTo>
                    <a:pt x="60" y="144"/>
                  </a:lnTo>
                  <a:lnTo>
                    <a:pt x="59" y="141"/>
                  </a:lnTo>
                  <a:lnTo>
                    <a:pt x="59" y="140"/>
                  </a:lnTo>
                  <a:lnTo>
                    <a:pt x="58" y="140"/>
                  </a:lnTo>
                  <a:lnTo>
                    <a:pt x="58" y="139"/>
                  </a:lnTo>
                  <a:lnTo>
                    <a:pt x="58" y="138"/>
                  </a:lnTo>
                  <a:lnTo>
                    <a:pt x="58" y="137"/>
                  </a:lnTo>
                  <a:lnTo>
                    <a:pt x="59" y="137"/>
                  </a:lnTo>
                  <a:lnTo>
                    <a:pt x="59" y="135"/>
                  </a:lnTo>
                  <a:lnTo>
                    <a:pt x="57" y="135"/>
                  </a:lnTo>
                  <a:lnTo>
                    <a:pt x="56" y="134"/>
                  </a:lnTo>
                  <a:lnTo>
                    <a:pt x="54" y="134"/>
                  </a:lnTo>
                  <a:lnTo>
                    <a:pt x="53" y="135"/>
                  </a:lnTo>
                  <a:lnTo>
                    <a:pt x="52" y="135"/>
                  </a:lnTo>
                  <a:lnTo>
                    <a:pt x="50" y="134"/>
                  </a:lnTo>
                  <a:lnTo>
                    <a:pt x="50" y="133"/>
                  </a:lnTo>
                  <a:lnTo>
                    <a:pt x="51" y="133"/>
                  </a:lnTo>
                  <a:lnTo>
                    <a:pt x="51" y="132"/>
                  </a:lnTo>
                  <a:lnTo>
                    <a:pt x="52" y="132"/>
                  </a:lnTo>
                  <a:lnTo>
                    <a:pt x="52" y="131"/>
                  </a:lnTo>
                  <a:lnTo>
                    <a:pt x="53" y="131"/>
                  </a:lnTo>
                  <a:lnTo>
                    <a:pt x="54" y="131"/>
                  </a:lnTo>
                  <a:lnTo>
                    <a:pt x="56" y="131"/>
                  </a:lnTo>
                  <a:lnTo>
                    <a:pt x="56" y="130"/>
                  </a:lnTo>
                  <a:lnTo>
                    <a:pt x="57" y="130"/>
                  </a:lnTo>
                  <a:lnTo>
                    <a:pt x="59" y="130"/>
                  </a:lnTo>
                  <a:lnTo>
                    <a:pt x="60" y="130"/>
                  </a:lnTo>
                  <a:lnTo>
                    <a:pt x="61" y="130"/>
                  </a:lnTo>
                  <a:lnTo>
                    <a:pt x="63" y="130"/>
                  </a:lnTo>
                  <a:lnTo>
                    <a:pt x="64" y="128"/>
                  </a:lnTo>
                  <a:lnTo>
                    <a:pt x="68" y="127"/>
                  </a:lnTo>
                  <a:lnTo>
                    <a:pt x="70" y="126"/>
                  </a:lnTo>
                  <a:lnTo>
                    <a:pt x="71" y="126"/>
                  </a:lnTo>
                  <a:lnTo>
                    <a:pt x="71" y="127"/>
                  </a:lnTo>
                  <a:lnTo>
                    <a:pt x="72" y="127"/>
                  </a:lnTo>
                  <a:lnTo>
                    <a:pt x="72" y="128"/>
                  </a:lnTo>
                  <a:lnTo>
                    <a:pt x="73" y="128"/>
                  </a:lnTo>
                  <a:lnTo>
                    <a:pt x="74" y="130"/>
                  </a:lnTo>
                  <a:lnTo>
                    <a:pt x="75" y="130"/>
                  </a:lnTo>
                  <a:lnTo>
                    <a:pt x="77" y="128"/>
                  </a:lnTo>
                  <a:lnTo>
                    <a:pt x="78" y="128"/>
                  </a:lnTo>
                  <a:lnTo>
                    <a:pt x="79" y="128"/>
                  </a:lnTo>
                  <a:lnTo>
                    <a:pt x="80" y="130"/>
                  </a:lnTo>
                  <a:lnTo>
                    <a:pt x="81" y="130"/>
                  </a:lnTo>
                  <a:lnTo>
                    <a:pt x="82" y="130"/>
                  </a:lnTo>
                  <a:lnTo>
                    <a:pt x="82" y="128"/>
                  </a:lnTo>
                  <a:lnTo>
                    <a:pt x="82" y="127"/>
                  </a:lnTo>
                  <a:lnTo>
                    <a:pt x="82" y="126"/>
                  </a:lnTo>
                  <a:lnTo>
                    <a:pt x="81" y="126"/>
                  </a:lnTo>
                  <a:lnTo>
                    <a:pt x="81" y="125"/>
                  </a:lnTo>
                  <a:lnTo>
                    <a:pt x="80" y="125"/>
                  </a:lnTo>
                  <a:lnTo>
                    <a:pt x="78" y="124"/>
                  </a:lnTo>
                  <a:lnTo>
                    <a:pt x="77" y="124"/>
                  </a:lnTo>
                  <a:lnTo>
                    <a:pt x="77" y="123"/>
                  </a:lnTo>
                  <a:lnTo>
                    <a:pt x="77" y="121"/>
                  </a:lnTo>
                  <a:lnTo>
                    <a:pt x="77" y="120"/>
                  </a:lnTo>
                  <a:lnTo>
                    <a:pt x="77" y="119"/>
                  </a:lnTo>
                  <a:lnTo>
                    <a:pt x="77" y="118"/>
                  </a:lnTo>
                  <a:lnTo>
                    <a:pt x="77" y="117"/>
                  </a:lnTo>
                  <a:lnTo>
                    <a:pt x="75" y="114"/>
                  </a:lnTo>
                  <a:lnTo>
                    <a:pt x="75" y="113"/>
                  </a:lnTo>
                  <a:lnTo>
                    <a:pt x="75" y="112"/>
                  </a:lnTo>
                  <a:lnTo>
                    <a:pt x="77" y="111"/>
                  </a:lnTo>
                  <a:lnTo>
                    <a:pt x="75" y="110"/>
                  </a:lnTo>
                  <a:lnTo>
                    <a:pt x="77" y="109"/>
                  </a:lnTo>
                  <a:lnTo>
                    <a:pt x="75" y="105"/>
                  </a:lnTo>
                  <a:lnTo>
                    <a:pt x="77" y="102"/>
                  </a:lnTo>
                  <a:lnTo>
                    <a:pt x="75" y="102"/>
                  </a:lnTo>
                  <a:lnTo>
                    <a:pt x="75" y="100"/>
                  </a:lnTo>
                  <a:lnTo>
                    <a:pt x="75" y="99"/>
                  </a:lnTo>
                  <a:lnTo>
                    <a:pt x="75" y="98"/>
                  </a:lnTo>
                  <a:lnTo>
                    <a:pt x="74" y="98"/>
                  </a:lnTo>
                  <a:lnTo>
                    <a:pt x="74" y="97"/>
                  </a:lnTo>
                  <a:lnTo>
                    <a:pt x="75" y="97"/>
                  </a:lnTo>
                  <a:lnTo>
                    <a:pt x="77" y="97"/>
                  </a:lnTo>
                  <a:lnTo>
                    <a:pt x="78" y="98"/>
                  </a:lnTo>
                  <a:lnTo>
                    <a:pt x="79" y="98"/>
                  </a:lnTo>
                  <a:lnTo>
                    <a:pt x="82" y="99"/>
                  </a:lnTo>
                  <a:lnTo>
                    <a:pt x="87" y="102"/>
                  </a:lnTo>
                  <a:lnTo>
                    <a:pt x="88" y="102"/>
                  </a:lnTo>
                  <a:lnTo>
                    <a:pt x="89" y="102"/>
                  </a:lnTo>
                  <a:lnTo>
                    <a:pt x="91" y="100"/>
                  </a:lnTo>
                  <a:lnTo>
                    <a:pt x="92" y="100"/>
                  </a:lnTo>
                  <a:lnTo>
                    <a:pt x="93" y="100"/>
                  </a:lnTo>
                  <a:lnTo>
                    <a:pt x="94" y="100"/>
                  </a:lnTo>
                  <a:lnTo>
                    <a:pt x="94" y="102"/>
                  </a:lnTo>
                  <a:lnTo>
                    <a:pt x="95" y="102"/>
                  </a:lnTo>
                  <a:lnTo>
                    <a:pt x="96" y="100"/>
                  </a:lnTo>
                  <a:lnTo>
                    <a:pt x="98" y="102"/>
                  </a:lnTo>
                  <a:lnTo>
                    <a:pt x="99" y="103"/>
                  </a:lnTo>
                  <a:lnTo>
                    <a:pt x="99" y="104"/>
                  </a:lnTo>
                  <a:lnTo>
                    <a:pt x="100" y="103"/>
                  </a:lnTo>
                  <a:lnTo>
                    <a:pt x="101" y="103"/>
                  </a:lnTo>
                  <a:lnTo>
                    <a:pt x="101" y="102"/>
                  </a:lnTo>
                  <a:lnTo>
                    <a:pt x="102" y="102"/>
                  </a:lnTo>
                  <a:lnTo>
                    <a:pt x="102" y="100"/>
                  </a:lnTo>
                  <a:lnTo>
                    <a:pt x="103" y="100"/>
                  </a:lnTo>
                  <a:lnTo>
                    <a:pt x="105" y="100"/>
                  </a:lnTo>
                  <a:lnTo>
                    <a:pt x="106" y="99"/>
                  </a:lnTo>
                  <a:lnTo>
                    <a:pt x="107" y="100"/>
                  </a:lnTo>
                  <a:lnTo>
                    <a:pt x="107" y="99"/>
                  </a:lnTo>
                  <a:lnTo>
                    <a:pt x="107" y="98"/>
                  </a:lnTo>
                  <a:lnTo>
                    <a:pt x="106" y="98"/>
                  </a:lnTo>
                  <a:lnTo>
                    <a:pt x="107" y="98"/>
                  </a:lnTo>
                  <a:lnTo>
                    <a:pt x="107" y="97"/>
                  </a:lnTo>
                  <a:lnTo>
                    <a:pt x="107" y="96"/>
                  </a:lnTo>
                  <a:lnTo>
                    <a:pt x="107" y="95"/>
                  </a:lnTo>
                  <a:lnTo>
                    <a:pt x="106" y="95"/>
                  </a:lnTo>
                  <a:lnTo>
                    <a:pt x="105" y="93"/>
                  </a:lnTo>
                  <a:lnTo>
                    <a:pt x="105" y="92"/>
                  </a:lnTo>
                  <a:lnTo>
                    <a:pt x="105" y="91"/>
                  </a:lnTo>
                  <a:lnTo>
                    <a:pt x="103" y="91"/>
                  </a:lnTo>
                  <a:lnTo>
                    <a:pt x="101" y="86"/>
                  </a:lnTo>
                  <a:lnTo>
                    <a:pt x="101" y="85"/>
                  </a:lnTo>
                  <a:lnTo>
                    <a:pt x="100" y="83"/>
                  </a:lnTo>
                  <a:lnTo>
                    <a:pt x="100" y="79"/>
                  </a:lnTo>
                  <a:lnTo>
                    <a:pt x="101" y="79"/>
                  </a:lnTo>
                  <a:lnTo>
                    <a:pt x="103" y="78"/>
                  </a:lnTo>
                  <a:lnTo>
                    <a:pt x="106" y="78"/>
                  </a:lnTo>
                  <a:lnTo>
                    <a:pt x="107" y="78"/>
                  </a:lnTo>
                  <a:lnTo>
                    <a:pt x="107" y="77"/>
                  </a:lnTo>
                  <a:lnTo>
                    <a:pt x="108" y="78"/>
                  </a:lnTo>
                  <a:lnTo>
                    <a:pt x="109" y="77"/>
                  </a:lnTo>
                  <a:lnTo>
                    <a:pt x="109" y="76"/>
                  </a:lnTo>
                  <a:lnTo>
                    <a:pt x="110" y="76"/>
                  </a:lnTo>
                  <a:lnTo>
                    <a:pt x="110" y="75"/>
                  </a:lnTo>
                  <a:lnTo>
                    <a:pt x="110" y="74"/>
                  </a:lnTo>
                  <a:lnTo>
                    <a:pt x="109" y="74"/>
                  </a:lnTo>
                  <a:lnTo>
                    <a:pt x="109" y="72"/>
                  </a:lnTo>
                  <a:lnTo>
                    <a:pt x="110" y="72"/>
                  </a:lnTo>
                  <a:lnTo>
                    <a:pt x="109" y="72"/>
                  </a:lnTo>
                  <a:lnTo>
                    <a:pt x="109" y="71"/>
                  </a:lnTo>
                  <a:lnTo>
                    <a:pt x="108" y="71"/>
                  </a:lnTo>
                  <a:lnTo>
                    <a:pt x="108" y="70"/>
                  </a:lnTo>
                  <a:lnTo>
                    <a:pt x="108" y="69"/>
                  </a:lnTo>
                  <a:lnTo>
                    <a:pt x="109" y="69"/>
                  </a:lnTo>
                  <a:lnTo>
                    <a:pt x="109" y="68"/>
                  </a:lnTo>
                  <a:lnTo>
                    <a:pt x="110" y="69"/>
                  </a:lnTo>
                  <a:lnTo>
                    <a:pt x="111" y="68"/>
                  </a:lnTo>
                  <a:lnTo>
                    <a:pt x="113" y="68"/>
                  </a:lnTo>
                  <a:lnTo>
                    <a:pt x="115" y="69"/>
                  </a:lnTo>
                  <a:lnTo>
                    <a:pt x="116" y="69"/>
                  </a:lnTo>
                  <a:lnTo>
                    <a:pt x="116" y="68"/>
                  </a:lnTo>
                  <a:lnTo>
                    <a:pt x="117" y="68"/>
                  </a:lnTo>
                  <a:lnTo>
                    <a:pt x="118" y="68"/>
                  </a:lnTo>
                  <a:lnTo>
                    <a:pt x="120" y="68"/>
                  </a:lnTo>
                  <a:lnTo>
                    <a:pt x="121" y="68"/>
                  </a:lnTo>
                  <a:lnTo>
                    <a:pt x="121" y="69"/>
                  </a:lnTo>
                  <a:lnTo>
                    <a:pt x="122" y="69"/>
                  </a:lnTo>
                  <a:lnTo>
                    <a:pt x="122" y="70"/>
                  </a:lnTo>
                  <a:lnTo>
                    <a:pt x="121" y="71"/>
                  </a:lnTo>
                  <a:lnTo>
                    <a:pt x="122" y="72"/>
                  </a:lnTo>
                  <a:lnTo>
                    <a:pt x="123" y="72"/>
                  </a:lnTo>
                  <a:lnTo>
                    <a:pt x="123" y="74"/>
                  </a:lnTo>
                  <a:lnTo>
                    <a:pt x="124" y="74"/>
                  </a:lnTo>
                  <a:lnTo>
                    <a:pt x="125" y="74"/>
                  </a:lnTo>
                  <a:lnTo>
                    <a:pt x="127" y="75"/>
                  </a:lnTo>
                  <a:lnTo>
                    <a:pt x="127" y="76"/>
                  </a:lnTo>
                  <a:lnTo>
                    <a:pt x="125" y="76"/>
                  </a:lnTo>
                  <a:lnTo>
                    <a:pt x="127" y="77"/>
                  </a:lnTo>
                  <a:lnTo>
                    <a:pt x="128" y="77"/>
                  </a:lnTo>
                  <a:lnTo>
                    <a:pt x="129" y="77"/>
                  </a:lnTo>
                  <a:lnTo>
                    <a:pt x="130" y="77"/>
                  </a:lnTo>
                  <a:lnTo>
                    <a:pt x="131" y="78"/>
                  </a:lnTo>
                  <a:lnTo>
                    <a:pt x="132" y="79"/>
                  </a:lnTo>
                  <a:lnTo>
                    <a:pt x="134" y="79"/>
                  </a:lnTo>
                  <a:lnTo>
                    <a:pt x="135" y="79"/>
                  </a:lnTo>
                  <a:lnTo>
                    <a:pt x="136" y="81"/>
                  </a:lnTo>
                  <a:lnTo>
                    <a:pt x="136" y="82"/>
                  </a:lnTo>
                  <a:lnTo>
                    <a:pt x="137" y="82"/>
                  </a:lnTo>
                  <a:lnTo>
                    <a:pt x="137" y="83"/>
                  </a:lnTo>
                  <a:lnTo>
                    <a:pt x="138" y="83"/>
                  </a:lnTo>
                  <a:lnTo>
                    <a:pt x="139" y="83"/>
                  </a:lnTo>
                  <a:lnTo>
                    <a:pt x="139" y="84"/>
                  </a:lnTo>
                  <a:lnTo>
                    <a:pt x="141" y="84"/>
                  </a:lnTo>
                  <a:lnTo>
                    <a:pt x="141" y="83"/>
                  </a:lnTo>
                  <a:lnTo>
                    <a:pt x="141" y="84"/>
                  </a:lnTo>
                  <a:lnTo>
                    <a:pt x="142" y="84"/>
                  </a:lnTo>
                  <a:lnTo>
                    <a:pt x="144" y="85"/>
                  </a:lnTo>
                  <a:lnTo>
                    <a:pt x="145" y="85"/>
                  </a:lnTo>
                  <a:lnTo>
                    <a:pt x="146" y="85"/>
                  </a:lnTo>
                  <a:lnTo>
                    <a:pt x="148" y="84"/>
                  </a:lnTo>
                  <a:lnTo>
                    <a:pt x="148" y="85"/>
                  </a:lnTo>
                  <a:lnTo>
                    <a:pt x="149" y="85"/>
                  </a:lnTo>
                  <a:lnTo>
                    <a:pt x="150" y="85"/>
                  </a:lnTo>
                  <a:lnTo>
                    <a:pt x="151" y="86"/>
                  </a:lnTo>
                  <a:lnTo>
                    <a:pt x="152" y="86"/>
                  </a:lnTo>
                  <a:lnTo>
                    <a:pt x="152" y="88"/>
                  </a:lnTo>
                  <a:lnTo>
                    <a:pt x="153" y="88"/>
                  </a:lnTo>
                  <a:lnTo>
                    <a:pt x="155" y="88"/>
                  </a:lnTo>
                  <a:lnTo>
                    <a:pt x="156" y="88"/>
                  </a:lnTo>
                  <a:lnTo>
                    <a:pt x="156" y="86"/>
                  </a:lnTo>
                  <a:lnTo>
                    <a:pt x="156" y="88"/>
                  </a:lnTo>
                  <a:lnTo>
                    <a:pt x="157" y="88"/>
                  </a:lnTo>
                  <a:lnTo>
                    <a:pt x="157" y="89"/>
                  </a:lnTo>
                  <a:lnTo>
                    <a:pt x="158" y="89"/>
                  </a:lnTo>
                  <a:lnTo>
                    <a:pt x="158" y="90"/>
                  </a:lnTo>
                  <a:lnTo>
                    <a:pt x="159" y="90"/>
                  </a:lnTo>
                  <a:lnTo>
                    <a:pt x="160" y="90"/>
                  </a:lnTo>
                  <a:lnTo>
                    <a:pt x="162" y="90"/>
                  </a:lnTo>
                  <a:lnTo>
                    <a:pt x="162" y="91"/>
                  </a:lnTo>
                  <a:lnTo>
                    <a:pt x="163" y="91"/>
                  </a:lnTo>
                  <a:lnTo>
                    <a:pt x="163" y="92"/>
                  </a:lnTo>
                  <a:lnTo>
                    <a:pt x="164" y="92"/>
                  </a:lnTo>
                  <a:lnTo>
                    <a:pt x="164" y="93"/>
                  </a:lnTo>
                  <a:lnTo>
                    <a:pt x="165" y="93"/>
                  </a:lnTo>
                  <a:lnTo>
                    <a:pt x="165" y="95"/>
                  </a:lnTo>
                  <a:lnTo>
                    <a:pt x="166" y="95"/>
                  </a:lnTo>
                  <a:lnTo>
                    <a:pt x="166" y="96"/>
                  </a:lnTo>
                  <a:lnTo>
                    <a:pt x="171" y="100"/>
                  </a:lnTo>
                  <a:lnTo>
                    <a:pt x="172" y="100"/>
                  </a:lnTo>
                  <a:lnTo>
                    <a:pt x="173" y="100"/>
                  </a:lnTo>
                  <a:lnTo>
                    <a:pt x="173" y="102"/>
                  </a:lnTo>
                  <a:lnTo>
                    <a:pt x="174" y="102"/>
                  </a:lnTo>
                  <a:lnTo>
                    <a:pt x="174" y="103"/>
                  </a:lnTo>
                  <a:lnTo>
                    <a:pt x="175" y="104"/>
                  </a:lnTo>
                  <a:lnTo>
                    <a:pt x="177" y="105"/>
                  </a:lnTo>
                  <a:lnTo>
                    <a:pt x="177" y="106"/>
                  </a:lnTo>
                  <a:lnTo>
                    <a:pt x="178" y="106"/>
                  </a:lnTo>
                  <a:lnTo>
                    <a:pt x="178" y="107"/>
                  </a:lnTo>
                  <a:lnTo>
                    <a:pt x="179" y="107"/>
                  </a:lnTo>
                  <a:lnTo>
                    <a:pt x="178" y="109"/>
                  </a:lnTo>
                  <a:lnTo>
                    <a:pt x="179" y="110"/>
                  </a:lnTo>
                  <a:lnTo>
                    <a:pt x="179" y="111"/>
                  </a:lnTo>
                  <a:lnTo>
                    <a:pt x="178" y="111"/>
                  </a:lnTo>
                  <a:lnTo>
                    <a:pt x="179" y="112"/>
                  </a:lnTo>
                  <a:lnTo>
                    <a:pt x="180" y="113"/>
                  </a:lnTo>
                  <a:lnTo>
                    <a:pt x="180" y="114"/>
                  </a:lnTo>
                  <a:lnTo>
                    <a:pt x="181" y="114"/>
                  </a:lnTo>
                  <a:lnTo>
                    <a:pt x="181" y="116"/>
                  </a:lnTo>
                  <a:lnTo>
                    <a:pt x="181" y="117"/>
                  </a:lnTo>
                  <a:lnTo>
                    <a:pt x="180" y="120"/>
                  </a:lnTo>
                  <a:lnTo>
                    <a:pt x="181" y="124"/>
                  </a:lnTo>
                  <a:lnTo>
                    <a:pt x="182" y="125"/>
                  </a:lnTo>
                  <a:lnTo>
                    <a:pt x="182" y="126"/>
                  </a:lnTo>
                  <a:lnTo>
                    <a:pt x="184" y="126"/>
                  </a:lnTo>
                  <a:lnTo>
                    <a:pt x="184" y="127"/>
                  </a:lnTo>
                  <a:lnTo>
                    <a:pt x="185" y="127"/>
                  </a:lnTo>
                  <a:lnTo>
                    <a:pt x="185" y="128"/>
                  </a:lnTo>
                  <a:lnTo>
                    <a:pt x="186" y="128"/>
                  </a:lnTo>
                  <a:lnTo>
                    <a:pt x="187" y="128"/>
                  </a:lnTo>
                  <a:lnTo>
                    <a:pt x="188" y="128"/>
                  </a:lnTo>
                  <a:lnTo>
                    <a:pt x="189" y="128"/>
                  </a:lnTo>
                  <a:lnTo>
                    <a:pt x="189" y="130"/>
                  </a:lnTo>
                  <a:lnTo>
                    <a:pt x="191" y="130"/>
                  </a:lnTo>
                  <a:lnTo>
                    <a:pt x="192" y="130"/>
                  </a:lnTo>
                  <a:lnTo>
                    <a:pt x="193" y="130"/>
                  </a:lnTo>
                  <a:lnTo>
                    <a:pt x="194" y="131"/>
                  </a:lnTo>
                  <a:lnTo>
                    <a:pt x="195" y="131"/>
                  </a:lnTo>
                  <a:lnTo>
                    <a:pt x="196" y="131"/>
                  </a:lnTo>
                  <a:lnTo>
                    <a:pt x="198" y="131"/>
                  </a:lnTo>
                  <a:lnTo>
                    <a:pt x="200" y="131"/>
                  </a:lnTo>
                  <a:lnTo>
                    <a:pt x="201" y="131"/>
                  </a:lnTo>
                  <a:lnTo>
                    <a:pt x="202" y="131"/>
                  </a:lnTo>
                  <a:lnTo>
                    <a:pt x="203" y="132"/>
                  </a:lnTo>
                  <a:lnTo>
                    <a:pt x="205" y="132"/>
                  </a:lnTo>
                  <a:lnTo>
                    <a:pt x="206" y="132"/>
                  </a:lnTo>
                  <a:lnTo>
                    <a:pt x="207" y="132"/>
                  </a:lnTo>
                  <a:lnTo>
                    <a:pt x="208" y="132"/>
                  </a:lnTo>
                  <a:lnTo>
                    <a:pt x="209" y="132"/>
                  </a:lnTo>
                  <a:lnTo>
                    <a:pt x="210" y="131"/>
                  </a:lnTo>
                  <a:lnTo>
                    <a:pt x="212" y="131"/>
                  </a:lnTo>
                  <a:lnTo>
                    <a:pt x="213" y="132"/>
                  </a:lnTo>
                  <a:lnTo>
                    <a:pt x="214" y="132"/>
                  </a:lnTo>
                  <a:lnTo>
                    <a:pt x="215" y="132"/>
                  </a:lnTo>
                  <a:lnTo>
                    <a:pt x="216" y="132"/>
                  </a:lnTo>
                  <a:lnTo>
                    <a:pt x="217" y="132"/>
                  </a:lnTo>
                  <a:lnTo>
                    <a:pt x="219" y="132"/>
                  </a:lnTo>
                  <a:lnTo>
                    <a:pt x="220" y="132"/>
                  </a:lnTo>
                  <a:lnTo>
                    <a:pt x="221" y="132"/>
                  </a:lnTo>
                  <a:lnTo>
                    <a:pt x="223" y="133"/>
                  </a:lnTo>
                  <a:lnTo>
                    <a:pt x="227" y="137"/>
                  </a:lnTo>
                  <a:lnTo>
                    <a:pt x="228" y="137"/>
                  </a:lnTo>
                  <a:lnTo>
                    <a:pt x="229" y="137"/>
                  </a:lnTo>
                  <a:lnTo>
                    <a:pt x="230" y="137"/>
                  </a:lnTo>
                  <a:lnTo>
                    <a:pt x="231" y="137"/>
                  </a:lnTo>
                  <a:lnTo>
                    <a:pt x="233" y="138"/>
                  </a:lnTo>
                  <a:lnTo>
                    <a:pt x="233" y="139"/>
                  </a:lnTo>
                  <a:lnTo>
                    <a:pt x="234" y="139"/>
                  </a:lnTo>
                  <a:lnTo>
                    <a:pt x="235" y="139"/>
                  </a:lnTo>
                  <a:lnTo>
                    <a:pt x="236" y="140"/>
                  </a:lnTo>
                  <a:lnTo>
                    <a:pt x="237" y="140"/>
                  </a:lnTo>
                  <a:lnTo>
                    <a:pt x="238" y="141"/>
                  </a:lnTo>
                  <a:lnTo>
                    <a:pt x="239" y="141"/>
                  </a:lnTo>
                  <a:lnTo>
                    <a:pt x="239" y="142"/>
                  </a:lnTo>
                  <a:lnTo>
                    <a:pt x="243" y="142"/>
                  </a:lnTo>
                  <a:lnTo>
                    <a:pt x="244" y="144"/>
                  </a:lnTo>
                  <a:lnTo>
                    <a:pt x="249" y="142"/>
                  </a:lnTo>
                  <a:lnTo>
                    <a:pt x="249" y="144"/>
                  </a:lnTo>
                  <a:lnTo>
                    <a:pt x="249" y="145"/>
                  </a:lnTo>
                  <a:lnTo>
                    <a:pt x="249" y="146"/>
                  </a:lnTo>
                  <a:lnTo>
                    <a:pt x="250" y="147"/>
                  </a:lnTo>
                  <a:lnTo>
                    <a:pt x="251" y="147"/>
                  </a:lnTo>
                  <a:lnTo>
                    <a:pt x="252" y="147"/>
                  </a:lnTo>
                  <a:lnTo>
                    <a:pt x="252" y="148"/>
                  </a:lnTo>
                  <a:lnTo>
                    <a:pt x="255" y="149"/>
                  </a:lnTo>
                  <a:lnTo>
                    <a:pt x="257" y="153"/>
                  </a:lnTo>
                  <a:lnTo>
                    <a:pt x="260" y="156"/>
                  </a:lnTo>
                  <a:lnTo>
                    <a:pt x="260" y="158"/>
                  </a:lnTo>
                  <a:lnTo>
                    <a:pt x="262" y="158"/>
                  </a:lnTo>
                  <a:lnTo>
                    <a:pt x="262" y="159"/>
                  </a:lnTo>
                  <a:lnTo>
                    <a:pt x="263" y="160"/>
                  </a:lnTo>
                  <a:lnTo>
                    <a:pt x="270" y="163"/>
                  </a:lnTo>
                  <a:lnTo>
                    <a:pt x="270" y="165"/>
                  </a:lnTo>
                  <a:lnTo>
                    <a:pt x="271" y="165"/>
                  </a:lnTo>
                  <a:lnTo>
                    <a:pt x="272" y="167"/>
                  </a:lnTo>
                  <a:lnTo>
                    <a:pt x="273" y="167"/>
                  </a:lnTo>
                  <a:lnTo>
                    <a:pt x="278" y="167"/>
                  </a:lnTo>
                  <a:lnTo>
                    <a:pt x="281" y="166"/>
                  </a:lnTo>
                  <a:lnTo>
                    <a:pt x="286" y="167"/>
                  </a:lnTo>
                  <a:lnTo>
                    <a:pt x="291" y="167"/>
                  </a:lnTo>
                  <a:lnTo>
                    <a:pt x="297" y="168"/>
                  </a:lnTo>
                  <a:lnTo>
                    <a:pt x="301" y="168"/>
                  </a:lnTo>
                  <a:lnTo>
                    <a:pt x="307" y="169"/>
                  </a:lnTo>
                  <a:lnTo>
                    <a:pt x="313" y="169"/>
                  </a:lnTo>
                  <a:lnTo>
                    <a:pt x="314" y="169"/>
                  </a:lnTo>
                  <a:lnTo>
                    <a:pt x="317" y="168"/>
                  </a:lnTo>
                  <a:lnTo>
                    <a:pt x="319" y="168"/>
                  </a:lnTo>
                  <a:lnTo>
                    <a:pt x="324" y="169"/>
                  </a:lnTo>
                  <a:lnTo>
                    <a:pt x="329" y="169"/>
                  </a:lnTo>
                  <a:lnTo>
                    <a:pt x="335" y="170"/>
                  </a:lnTo>
                  <a:lnTo>
                    <a:pt x="337" y="170"/>
                  </a:lnTo>
                  <a:lnTo>
                    <a:pt x="338" y="170"/>
                  </a:lnTo>
                  <a:lnTo>
                    <a:pt x="341" y="170"/>
                  </a:lnTo>
                  <a:lnTo>
                    <a:pt x="342" y="172"/>
                  </a:lnTo>
                  <a:lnTo>
                    <a:pt x="345" y="174"/>
                  </a:lnTo>
                  <a:lnTo>
                    <a:pt x="347" y="175"/>
                  </a:lnTo>
                  <a:lnTo>
                    <a:pt x="348" y="175"/>
                  </a:lnTo>
                  <a:lnTo>
                    <a:pt x="352" y="176"/>
                  </a:lnTo>
                  <a:lnTo>
                    <a:pt x="357" y="177"/>
                  </a:lnTo>
                  <a:lnTo>
                    <a:pt x="362" y="179"/>
                  </a:lnTo>
                  <a:lnTo>
                    <a:pt x="363" y="179"/>
                  </a:lnTo>
                  <a:lnTo>
                    <a:pt x="367" y="181"/>
                  </a:lnTo>
                  <a:lnTo>
                    <a:pt x="372" y="182"/>
                  </a:lnTo>
                  <a:lnTo>
                    <a:pt x="377" y="181"/>
                  </a:lnTo>
                  <a:lnTo>
                    <a:pt x="381" y="181"/>
                  </a:lnTo>
                  <a:lnTo>
                    <a:pt x="383" y="183"/>
                  </a:lnTo>
                  <a:lnTo>
                    <a:pt x="383" y="184"/>
                  </a:lnTo>
                  <a:lnTo>
                    <a:pt x="384" y="184"/>
                  </a:lnTo>
                  <a:lnTo>
                    <a:pt x="387" y="184"/>
                  </a:lnTo>
                  <a:lnTo>
                    <a:pt x="388" y="184"/>
                  </a:lnTo>
                  <a:lnTo>
                    <a:pt x="390" y="186"/>
                  </a:lnTo>
                  <a:lnTo>
                    <a:pt x="390" y="184"/>
                  </a:lnTo>
                  <a:lnTo>
                    <a:pt x="391" y="182"/>
                  </a:lnTo>
                  <a:lnTo>
                    <a:pt x="392" y="182"/>
                  </a:lnTo>
                  <a:lnTo>
                    <a:pt x="393" y="182"/>
                  </a:lnTo>
                  <a:lnTo>
                    <a:pt x="393" y="181"/>
                  </a:lnTo>
                  <a:lnTo>
                    <a:pt x="394" y="181"/>
                  </a:lnTo>
                  <a:lnTo>
                    <a:pt x="398" y="179"/>
                  </a:lnTo>
                  <a:lnTo>
                    <a:pt x="402" y="176"/>
                  </a:lnTo>
                  <a:lnTo>
                    <a:pt x="407" y="174"/>
                  </a:lnTo>
                  <a:lnTo>
                    <a:pt x="412" y="173"/>
                  </a:lnTo>
                  <a:lnTo>
                    <a:pt x="418" y="173"/>
                  </a:lnTo>
                  <a:lnTo>
                    <a:pt x="422" y="172"/>
                  </a:lnTo>
                  <a:lnTo>
                    <a:pt x="423" y="172"/>
                  </a:lnTo>
                  <a:lnTo>
                    <a:pt x="425" y="172"/>
                  </a:lnTo>
                  <a:lnTo>
                    <a:pt x="426" y="172"/>
                  </a:lnTo>
                  <a:lnTo>
                    <a:pt x="428" y="172"/>
                  </a:lnTo>
                  <a:lnTo>
                    <a:pt x="431" y="173"/>
                  </a:lnTo>
                  <a:lnTo>
                    <a:pt x="433" y="173"/>
                  </a:lnTo>
                  <a:lnTo>
                    <a:pt x="433" y="172"/>
                  </a:lnTo>
                  <a:lnTo>
                    <a:pt x="434" y="172"/>
                  </a:lnTo>
                  <a:lnTo>
                    <a:pt x="437" y="172"/>
                  </a:lnTo>
                  <a:lnTo>
                    <a:pt x="438" y="172"/>
                  </a:lnTo>
                  <a:lnTo>
                    <a:pt x="440" y="172"/>
                  </a:lnTo>
                  <a:lnTo>
                    <a:pt x="441" y="172"/>
                  </a:lnTo>
                  <a:lnTo>
                    <a:pt x="442" y="170"/>
                  </a:lnTo>
                  <a:lnTo>
                    <a:pt x="444" y="169"/>
                  </a:lnTo>
                  <a:lnTo>
                    <a:pt x="445" y="168"/>
                  </a:lnTo>
                  <a:lnTo>
                    <a:pt x="447" y="168"/>
                  </a:lnTo>
                  <a:lnTo>
                    <a:pt x="449" y="167"/>
                  </a:lnTo>
                  <a:lnTo>
                    <a:pt x="449" y="166"/>
                  </a:lnTo>
                  <a:lnTo>
                    <a:pt x="450" y="165"/>
                  </a:lnTo>
                  <a:lnTo>
                    <a:pt x="450" y="163"/>
                  </a:lnTo>
                  <a:lnTo>
                    <a:pt x="450" y="162"/>
                  </a:lnTo>
                  <a:lnTo>
                    <a:pt x="451" y="161"/>
                  </a:lnTo>
                  <a:lnTo>
                    <a:pt x="452" y="159"/>
                  </a:lnTo>
                  <a:lnTo>
                    <a:pt x="452" y="158"/>
                  </a:lnTo>
                  <a:lnTo>
                    <a:pt x="454" y="158"/>
                  </a:lnTo>
                  <a:lnTo>
                    <a:pt x="456" y="156"/>
                  </a:lnTo>
                  <a:lnTo>
                    <a:pt x="456" y="155"/>
                  </a:lnTo>
                  <a:lnTo>
                    <a:pt x="457" y="155"/>
                  </a:lnTo>
                  <a:lnTo>
                    <a:pt x="458" y="155"/>
                  </a:lnTo>
                  <a:lnTo>
                    <a:pt x="459" y="153"/>
                  </a:lnTo>
                  <a:lnTo>
                    <a:pt x="461" y="153"/>
                  </a:lnTo>
                  <a:lnTo>
                    <a:pt x="461" y="152"/>
                  </a:lnTo>
                  <a:lnTo>
                    <a:pt x="462" y="152"/>
                  </a:lnTo>
                  <a:lnTo>
                    <a:pt x="461" y="152"/>
                  </a:lnTo>
                  <a:lnTo>
                    <a:pt x="461" y="151"/>
                  </a:lnTo>
                  <a:lnTo>
                    <a:pt x="458" y="148"/>
                  </a:lnTo>
                  <a:lnTo>
                    <a:pt x="457" y="148"/>
                  </a:lnTo>
                  <a:lnTo>
                    <a:pt x="457" y="147"/>
                  </a:lnTo>
                  <a:lnTo>
                    <a:pt x="455" y="147"/>
                  </a:lnTo>
                  <a:lnTo>
                    <a:pt x="455" y="146"/>
                  </a:lnTo>
                  <a:lnTo>
                    <a:pt x="452" y="145"/>
                  </a:lnTo>
                  <a:lnTo>
                    <a:pt x="451" y="144"/>
                  </a:lnTo>
                  <a:lnTo>
                    <a:pt x="451" y="142"/>
                  </a:lnTo>
                  <a:lnTo>
                    <a:pt x="450" y="142"/>
                  </a:lnTo>
                  <a:lnTo>
                    <a:pt x="449" y="142"/>
                  </a:lnTo>
                  <a:lnTo>
                    <a:pt x="449" y="141"/>
                  </a:lnTo>
                  <a:lnTo>
                    <a:pt x="449" y="140"/>
                  </a:lnTo>
                  <a:lnTo>
                    <a:pt x="449" y="139"/>
                  </a:lnTo>
                  <a:lnTo>
                    <a:pt x="449" y="138"/>
                  </a:lnTo>
                  <a:lnTo>
                    <a:pt x="448" y="137"/>
                  </a:lnTo>
                  <a:lnTo>
                    <a:pt x="448" y="132"/>
                  </a:lnTo>
                  <a:lnTo>
                    <a:pt x="449" y="131"/>
                  </a:lnTo>
                  <a:lnTo>
                    <a:pt x="450" y="131"/>
                  </a:lnTo>
                  <a:lnTo>
                    <a:pt x="451" y="131"/>
                  </a:lnTo>
                  <a:lnTo>
                    <a:pt x="455" y="131"/>
                  </a:lnTo>
                  <a:lnTo>
                    <a:pt x="456" y="131"/>
                  </a:lnTo>
                  <a:lnTo>
                    <a:pt x="457" y="132"/>
                  </a:lnTo>
                  <a:lnTo>
                    <a:pt x="458" y="133"/>
                  </a:lnTo>
                  <a:lnTo>
                    <a:pt x="459" y="133"/>
                  </a:lnTo>
                  <a:lnTo>
                    <a:pt x="462" y="134"/>
                  </a:lnTo>
                  <a:lnTo>
                    <a:pt x="465" y="134"/>
                  </a:lnTo>
                  <a:lnTo>
                    <a:pt x="466" y="135"/>
                  </a:lnTo>
                  <a:lnTo>
                    <a:pt x="471" y="135"/>
                  </a:lnTo>
                  <a:lnTo>
                    <a:pt x="472" y="135"/>
                  </a:lnTo>
                  <a:lnTo>
                    <a:pt x="473" y="135"/>
                  </a:lnTo>
                  <a:lnTo>
                    <a:pt x="475" y="134"/>
                  </a:lnTo>
                  <a:lnTo>
                    <a:pt x="476" y="134"/>
                  </a:lnTo>
                  <a:lnTo>
                    <a:pt x="476" y="133"/>
                  </a:lnTo>
                  <a:lnTo>
                    <a:pt x="477" y="133"/>
                  </a:lnTo>
                  <a:lnTo>
                    <a:pt x="478" y="132"/>
                  </a:lnTo>
                  <a:lnTo>
                    <a:pt x="478" y="131"/>
                  </a:lnTo>
                  <a:lnTo>
                    <a:pt x="479" y="128"/>
                  </a:lnTo>
                  <a:lnTo>
                    <a:pt x="479" y="127"/>
                  </a:lnTo>
                  <a:lnTo>
                    <a:pt x="479" y="126"/>
                  </a:lnTo>
                  <a:lnTo>
                    <a:pt x="480" y="125"/>
                  </a:lnTo>
                  <a:lnTo>
                    <a:pt x="482" y="125"/>
                  </a:lnTo>
                  <a:lnTo>
                    <a:pt x="484" y="126"/>
                  </a:lnTo>
                  <a:lnTo>
                    <a:pt x="485" y="126"/>
                  </a:lnTo>
                  <a:lnTo>
                    <a:pt x="486" y="126"/>
                  </a:lnTo>
                  <a:lnTo>
                    <a:pt x="490" y="126"/>
                  </a:lnTo>
                  <a:lnTo>
                    <a:pt x="491" y="125"/>
                  </a:lnTo>
                  <a:lnTo>
                    <a:pt x="493" y="125"/>
                  </a:lnTo>
                  <a:lnTo>
                    <a:pt x="493" y="124"/>
                  </a:lnTo>
                  <a:lnTo>
                    <a:pt x="495" y="121"/>
                  </a:lnTo>
                  <a:lnTo>
                    <a:pt x="497" y="121"/>
                  </a:lnTo>
                  <a:lnTo>
                    <a:pt x="497" y="120"/>
                  </a:lnTo>
                  <a:lnTo>
                    <a:pt x="497" y="119"/>
                  </a:lnTo>
                  <a:lnTo>
                    <a:pt x="497" y="118"/>
                  </a:lnTo>
                  <a:lnTo>
                    <a:pt x="495" y="118"/>
                  </a:lnTo>
                  <a:lnTo>
                    <a:pt x="495" y="114"/>
                  </a:lnTo>
                  <a:lnTo>
                    <a:pt x="497" y="112"/>
                  </a:lnTo>
                  <a:lnTo>
                    <a:pt x="497" y="111"/>
                  </a:lnTo>
                  <a:lnTo>
                    <a:pt x="498" y="111"/>
                  </a:lnTo>
                  <a:lnTo>
                    <a:pt x="499" y="111"/>
                  </a:lnTo>
                  <a:lnTo>
                    <a:pt x="499" y="110"/>
                  </a:lnTo>
                  <a:lnTo>
                    <a:pt x="501" y="111"/>
                  </a:lnTo>
                  <a:lnTo>
                    <a:pt x="505" y="111"/>
                  </a:lnTo>
                  <a:lnTo>
                    <a:pt x="506" y="111"/>
                  </a:lnTo>
                  <a:lnTo>
                    <a:pt x="506" y="110"/>
                  </a:lnTo>
                  <a:lnTo>
                    <a:pt x="505" y="110"/>
                  </a:lnTo>
                  <a:lnTo>
                    <a:pt x="505" y="109"/>
                  </a:lnTo>
                  <a:lnTo>
                    <a:pt x="505" y="107"/>
                  </a:lnTo>
                  <a:lnTo>
                    <a:pt x="506" y="107"/>
                  </a:lnTo>
                  <a:lnTo>
                    <a:pt x="506" y="106"/>
                  </a:lnTo>
                  <a:lnTo>
                    <a:pt x="506" y="107"/>
                  </a:lnTo>
                  <a:lnTo>
                    <a:pt x="507" y="107"/>
                  </a:lnTo>
                  <a:lnTo>
                    <a:pt x="508" y="109"/>
                  </a:lnTo>
                  <a:lnTo>
                    <a:pt x="509" y="109"/>
                  </a:lnTo>
                  <a:lnTo>
                    <a:pt x="509" y="107"/>
                  </a:lnTo>
                  <a:lnTo>
                    <a:pt x="511" y="107"/>
                  </a:lnTo>
                  <a:lnTo>
                    <a:pt x="511" y="106"/>
                  </a:lnTo>
                  <a:lnTo>
                    <a:pt x="512" y="106"/>
                  </a:lnTo>
                  <a:lnTo>
                    <a:pt x="513" y="106"/>
                  </a:lnTo>
                  <a:lnTo>
                    <a:pt x="513" y="105"/>
                  </a:lnTo>
                  <a:lnTo>
                    <a:pt x="514" y="105"/>
                  </a:lnTo>
                  <a:lnTo>
                    <a:pt x="515" y="105"/>
                  </a:lnTo>
                  <a:lnTo>
                    <a:pt x="516" y="105"/>
                  </a:lnTo>
                  <a:lnTo>
                    <a:pt x="518" y="105"/>
                  </a:lnTo>
                  <a:lnTo>
                    <a:pt x="519" y="105"/>
                  </a:lnTo>
                  <a:lnTo>
                    <a:pt x="520" y="105"/>
                  </a:lnTo>
                  <a:lnTo>
                    <a:pt x="520" y="104"/>
                  </a:lnTo>
                  <a:lnTo>
                    <a:pt x="521" y="104"/>
                  </a:lnTo>
                  <a:lnTo>
                    <a:pt x="521" y="105"/>
                  </a:lnTo>
                  <a:lnTo>
                    <a:pt x="522" y="105"/>
                  </a:lnTo>
                  <a:lnTo>
                    <a:pt x="523" y="105"/>
                  </a:lnTo>
                  <a:lnTo>
                    <a:pt x="523" y="106"/>
                  </a:lnTo>
                  <a:lnTo>
                    <a:pt x="525" y="106"/>
                  </a:lnTo>
                  <a:lnTo>
                    <a:pt x="528" y="106"/>
                  </a:lnTo>
                  <a:lnTo>
                    <a:pt x="529" y="106"/>
                  </a:lnTo>
                  <a:lnTo>
                    <a:pt x="530" y="106"/>
                  </a:lnTo>
                  <a:lnTo>
                    <a:pt x="532" y="106"/>
                  </a:lnTo>
                  <a:lnTo>
                    <a:pt x="533" y="107"/>
                  </a:lnTo>
                  <a:lnTo>
                    <a:pt x="533" y="106"/>
                  </a:lnTo>
                  <a:lnTo>
                    <a:pt x="534" y="106"/>
                  </a:lnTo>
                  <a:lnTo>
                    <a:pt x="534" y="105"/>
                  </a:lnTo>
                  <a:lnTo>
                    <a:pt x="534" y="104"/>
                  </a:lnTo>
                  <a:lnTo>
                    <a:pt x="533" y="104"/>
                  </a:lnTo>
                  <a:lnTo>
                    <a:pt x="533" y="103"/>
                  </a:lnTo>
                  <a:lnTo>
                    <a:pt x="533" y="102"/>
                  </a:lnTo>
                  <a:lnTo>
                    <a:pt x="532" y="102"/>
                  </a:lnTo>
                  <a:lnTo>
                    <a:pt x="530" y="102"/>
                  </a:lnTo>
                  <a:lnTo>
                    <a:pt x="530" y="100"/>
                  </a:lnTo>
                  <a:lnTo>
                    <a:pt x="529" y="100"/>
                  </a:lnTo>
                  <a:lnTo>
                    <a:pt x="529" y="99"/>
                  </a:lnTo>
                  <a:lnTo>
                    <a:pt x="528" y="98"/>
                  </a:lnTo>
                  <a:lnTo>
                    <a:pt x="527" y="98"/>
                  </a:lnTo>
                  <a:lnTo>
                    <a:pt x="526" y="97"/>
                  </a:lnTo>
                  <a:lnTo>
                    <a:pt x="525" y="97"/>
                  </a:lnTo>
                  <a:lnTo>
                    <a:pt x="523" y="96"/>
                  </a:lnTo>
                  <a:lnTo>
                    <a:pt x="520" y="95"/>
                  </a:lnTo>
                  <a:lnTo>
                    <a:pt x="520" y="93"/>
                  </a:lnTo>
                  <a:lnTo>
                    <a:pt x="519" y="93"/>
                  </a:lnTo>
                  <a:lnTo>
                    <a:pt x="518" y="92"/>
                  </a:lnTo>
                  <a:lnTo>
                    <a:pt x="516" y="92"/>
                  </a:lnTo>
                  <a:lnTo>
                    <a:pt x="515" y="91"/>
                  </a:lnTo>
                  <a:lnTo>
                    <a:pt x="515" y="90"/>
                  </a:lnTo>
                  <a:lnTo>
                    <a:pt x="513" y="90"/>
                  </a:lnTo>
                  <a:lnTo>
                    <a:pt x="511" y="89"/>
                  </a:lnTo>
                  <a:lnTo>
                    <a:pt x="509" y="89"/>
                  </a:lnTo>
                  <a:lnTo>
                    <a:pt x="507" y="86"/>
                  </a:lnTo>
                  <a:lnTo>
                    <a:pt x="506" y="85"/>
                  </a:lnTo>
                  <a:lnTo>
                    <a:pt x="505" y="85"/>
                  </a:lnTo>
                  <a:lnTo>
                    <a:pt x="502" y="85"/>
                  </a:lnTo>
                  <a:lnTo>
                    <a:pt x="501" y="85"/>
                  </a:lnTo>
                  <a:lnTo>
                    <a:pt x="500" y="85"/>
                  </a:lnTo>
                  <a:lnTo>
                    <a:pt x="499" y="85"/>
                  </a:lnTo>
                  <a:lnTo>
                    <a:pt x="498" y="85"/>
                  </a:lnTo>
                  <a:lnTo>
                    <a:pt x="497" y="85"/>
                  </a:lnTo>
                  <a:lnTo>
                    <a:pt x="495" y="85"/>
                  </a:lnTo>
                  <a:lnTo>
                    <a:pt x="495" y="86"/>
                  </a:lnTo>
                  <a:lnTo>
                    <a:pt x="494" y="88"/>
                  </a:lnTo>
                  <a:lnTo>
                    <a:pt x="494" y="89"/>
                  </a:lnTo>
                  <a:lnTo>
                    <a:pt x="494" y="90"/>
                  </a:lnTo>
                  <a:lnTo>
                    <a:pt x="494" y="91"/>
                  </a:lnTo>
                  <a:lnTo>
                    <a:pt x="493" y="91"/>
                  </a:lnTo>
                  <a:lnTo>
                    <a:pt x="489" y="88"/>
                  </a:lnTo>
                  <a:lnTo>
                    <a:pt x="487" y="88"/>
                  </a:lnTo>
                  <a:lnTo>
                    <a:pt x="486" y="88"/>
                  </a:lnTo>
                  <a:lnTo>
                    <a:pt x="485" y="88"/>
                  </a:lnTo>
                  <a:lnTo>
                    <a:pt x="482" y="88"/>
                  </a:lnTo>
                  <a:lnTo>
                    <a:pt x="480" y="88"/>
                  </a:lnTo>
                  <a:lnTo>
                    <a:pt x="478" y="88"/>
                  </a:lnTo>
                  <a:lnTo>
                    <a:pt x="477" y="89"/>
                  </a:lnTo>
                  <a:lnTo>
                    <a:pt x="477" y="90"/>
                  </a:lnTo>
                  <a:lnTo>
                    <a:pt x="476" y="90"/>
                  </a:lnTo>
                  <a:lnTo>
                    <a:pt x="475" y="90"/>
                  </a:lnTo>
                  <a:lnTo>
                    <a:pt x="470" y="86"/>
                  </a:lnTo>
                  <a:lnTo>
                    <a:pt x="469" y="85"/>
                  </a:lnTo>
                  <a:lnTo>
                    <a:pt x="468" y="83"/>
                  </a:lnTo>
                  <a:lnTo>
                    <a:pt x="466" y="83"/>
                  </a:lnTo>
                  <a:lnTo>
                    <a:pt x="468" y="83"/>
                  </a:lnTo>
                  <a:lnTo>
                    <a:pt x="469" y="82"/>
                  </a:lnTo>
                  <a:lnTo>
                    <a:pt x="470" y="82"/>
                  </a:lnTo>
                  <a:lnTo>
                    <a:pt x="469" y="81"/>
                  </a:lnTo>
                  <a:lnTo>
                    <a:pt x="468" y="78"/>
                  </a:lnTo>
                  <a:lnTo>
                    <a:pt x="466" y="77"/>
                  </a:lnTo>
                  <a:lnTo>
                    <a:pt x="468" y="74"/>
                  </a:lnTo>
                  <a:lnTo>
                    <a:pt x="468" y="72"/>
                  </a:lnTo>
                  <a:lnTo>
                    <a:pt x="466" y="72"/>
                  </a:lnTo>
                  <a:lnTo>
                    <a:pt x="466" y="71"/>
                  </a:lnTo>
                  <a:lnTo>
                    <a:pt x="466" y="67"/>
                  </a:lnTo>
                  <a:lnTo>
                    <a:pt x="465" y="62"/>
                  </a:lnTo>
                  <a:lnTo>
                    <a:pt x="465" y="57"/>
                  </a:lnTo>
                  <a:lnTo>
                    <a:pt x="466" y="57"/>
                  </a:lnTo>
                  <a:lnTo>
                    <a:pt x="471" y="60"/>
                  </a:lnTo>
                  <a:lnTo>
                    <a:pt x="475" y="61"/>
                  </a:lnTo>
                  <a:lnTo>
                    <a:pt x="477" y="61"/>
                  </a:lnTo>
                  <a:lnTo>
                    <a:pt x="482" y="62"/>
                  </a:lnTo>
                  <a:lnTo>
                    <a:pt x="483" y="62"/>
                  </a:lnTo>
                  <a:lnTo>
                    <a:pt x="483" y="61"/>
                  </a:lnTo>
                  <a:lnTo>
                    <a:pt x="484" y="61"/>
                  </a:lnTo>
                  <a:lnTo>
                    <a:pt x="484" y="60"/>
                  </a:lnTo>
                  <a:lnTo>
                    <a:pt x="485" y="60"/>
                  </a:lnTo>
                  <a:lnTo>
                    <a:pt x="485" y="58"/>
                  </a:lnTo>
                  <a:lnTo>
                    <a:pt x="486" y="58"/>
                  </a:lnTo>
                  <a:lnTo>
                    <a:pt x="486" y="57"/>
                  </a:lnTo>
                  <a:lnTo>
                    <a:pt x="487" y="57"/>
                  </a:lnTo>
                  <a:lnTo>
                    <a:pt x="486" y="56"/>
                  </a:lnTo>
                  <a:lnTo>
                    <a:pt x="487" y="56"/>
                  </a:lnTo>
                  <a:lnTo>
                    <a:pt x="487" y="55"/>
                  </a:lnTo>
                  <a:lnTo>
                    <a:pt x="489" y="55"/>
                  </a:lnTo>
                  <a:lnTo>
                    <a:pt x="490" y="55"/>
                  </a:lnTo>
                  <a:lnTo>
                    <a:pt x="491" y="55"/>
                  </a:lnTo>
                  <a:lnTo>
                    <a:pt x="492" y="55"/>
                  </a:lnTo>
                  <a:lnTo>
                    <a:pt x="493" y="55"/>
                  </a:lnTo>
                  <a:lnTo>
                    <a:pt x="494" y="54"/>
                  </a:lnTo>
                  <a:lnTo>
                    <a:pt x="494" y="53"/>
                  </a:lnTo>
                  <a:lnTo>
                    <a:pt x="494" y="51"/>
                  </a:lnTo>
                  <a:lnTo>
                    <a:pt x="493" y="51"/>
                  </a:lnTo>
                  <a:lnTo>
                    <a:pt x="493" y="50"/>
                  </a:lnTo>
                  <a:lnTo>
                    <a:pt x="493" y="49"/>
                  </a:lnTo>
                  <a:lnTo>
                    <a:pt x="492" y="49"/>
                  </a:lnTo>
                  <a:lnTo>
                    <a:pt x="491" y="49"/>
                  </a:lnTo>
                  <a:lnTo>
                    <a:pt x="490" y="49"/>
                  </a:lnTo>
                  <a:lnTo>
                    <a:pt x="490" y="48"/>
                  </a:lnTo>
                  <a:lnTo>
                    <a:pt x="490" y="47"/>
                  </a:lnTo>
                  <a:lnTo>
                    <a:pt x="489" y="46"/>
                  </a:lnTo>
                  <a:lnTo>
                    <a:pt x="490" y="46"/>
                  </a:lnTo>
                  <a:lnTo>
                    <a:pt x="490" y="44"/>
                  </a:lnTo>
                  <a:lnTo>
                    <a:pt x="490" y="43"/>
                  </a:lnTo>
                  <a:lnTo>
                    <a:pt x="490" y="42"/>
                  </a:lnTo>
                  <a:lnTo>
                    <a:pt x="489" y="42"/>
                  </a:lnTo>
                  <a:lnTo>
                    <a:pt x="489" y="41"/>
                  </a:lnTo>
                  <a:lnTo>
                    <a:pt x="489" y="40"/>
                  </a:lnTo>
                  <a:lnTo>
                    <a:pt x="490" y="39"/>
                  </a:lnTo>
                  <a:lnTo>
                    <a:pt x="490" y="37"/>
                  </a:lnTo>
                  <a:lnTo>
                    <a:pt x="489" y="37"/>
                  </a:lnTo>
                  <a:lnTo>
                    <a:pt x="489" y="36"/>
                  </a:lnTo>
                  <a:lnTo>
                    <a:pt x="489" y="35"/>
                  </a:lnTo>
                  <a:lnTo>
                    <a:pt x="489" y="34"/>
                  </a:lnTo>
                  <a:lnTo>
                    <a:pt x="489" y="33"/>
                  </a:lnTo>
                  <a:lnTo>
                    <a:pt x="489" y="32"/>
                  </a:lnTo>
                  <a:lnTo>
                    <a:pt x="487" y="32"/>
                  </a:lnTo>
                  <a:lnTo>
                    <a:pt x="489" y="30"/>
                  </a:lnTo>
                  <a:lnTo>
                    <a:pt x="487" y="30"/>
                  </a:lnTo>
                  <a:lnTo>
                    <a:pt x="487" y="29"/>
                  </a:lnTo>
                  <a:lnTo>
                    <a:pt x="489" y="29"/>
                  </a:lnTo>
                  <a:lnTo>
                    <a:pt x="489" y="27"/>
                  </a:lnTo>
                  <a:lnTo>
                    <a:pt x="490" y="27"/>
                  </a:lnTo>
                  <a:lnTo>
                    <a:pt x="490" y="26"/>
                  </a:lnTo>
                  <a:lnTo>
                    <a:pt x="491" y="26"/>
                  </a:lnTo>
                  <a:lnTo>
                    <a:pt x="491" y="25"/>
                  </a:lnTo>
                  <a:lnTo>
                    <a:pt x="491" y="23"/>
                  </a:lnTo>
                  <a:lnTo>
                    <a:pt x="491" y="22"/>
                  </a:lnTo>
                  <a:lnTo>
                    <a:pt x="490" y="22"/>
                  </a:lnTo>
                  <a:lnTo>
                    <a:pt x="490" y="21"/>
                  </a:lnTo>
                  <a:lnTo>
                    <a:pt x="489" y="21"/>
                  </a:lnTo>
                  <a:lnTo>
                    <a:pt x="489" y="20"/>
                  </a:lnTo>
                  <a:lnTo>
                    <a:pt x="487" y="20"/>
                  </a:lnTo>
                  <a:lnTo>
                    <a:pt x="486" y="19"/>
                  </a:lnTo>
                  <a:lnTo>
                    <a:pt x="486" y="18"/>
                  </a:lnTo>
                  <a:lnTo>
                    <a:pt x="486" y="16"/>
                  </a:lnTo>
                  <a:lnTo>
                    <a:pt x="485" y="16"/>
                  </a:lnTo>
                  <a:lnTo>
                    <a:pt x="485" y="15"/>
                  </a:lnTo>
                  <a:lnTo>
                    <a:pt x="484" y="15"/>
                  </a:lnTo>
                  <a:lnTo>
                    <a:pt x="483" y="15"/>
                  </a:lnTo>
                  <a:lnTo>
                    <a:pt x="482" y="14"/>
                  </a:lnTo>
                  <a:lnTo>
                    <a:pt x="480" y="14"/>
                  </a:lnTo>
                  <a:lnTo>
                    <a:pt x="479" y="15"/>
                  </a:lnTo>
                  <a:lnTo>
                    <a:pt x="478" y="15"/>
                  </a:lnTo>
                  <a:lnTo>
                    <a:pt x="477" y="15"/>
                  </a:lnTo>
                  <a:lnTo>
                    <a:pt x="476" y="14"/>
                  </a:lnTo>
                  <a:lnTo>
                    <a:pt x="476" y="13"/>
                  </a:lnTo>
                  <a:lnTo>
                    <a:pt x="475" y="13"/>
                  </a:lnTo>
                  <a:lnTo>
                    <a:pt x="475" y="12"/>
                  </a:lnTo>
                  <a:lnTo>
                    <a:pt x="476" y="12"/>
                  </a:lnTo>
                  <a:lnTo>
                    <a:pt x="476" y="11"/>
                  </a:lnTo>
                  <a:lnTo>
                    <a:pt x="477" y="11"/>
                  </a:lnTo>
                  <a:lnTo>
                    <a:pt x="476" y="11"/>
                  </a:lnTo>
                  <a:lnTo>
                    <a:pt x="477" y="11"/>
                  </a:lnTo>
                  <a:lnTo>
                    <a:pt x="477" y="9"/>
                  </a:lnTo>
                  <a:lnTo>
                    <a:pt x="477" y="8"/>
                  </a:lnTo>
                  <a:lnTo>
                    <a:pt x="478" y="7"/>
                  </a:lnTo>
                  <a:lnTo>
                    <a:pt x="478" y="6"/>
                  </a:lnTo>
                  <a:lnTo>
                    <a:pt x="479" y="5"/>
                  </a:lnTo>
                  <a:lnTo>
                    <a:pt x="478" y="5"/>
                  </a:lnTo>
                  <a:lnTo>
                    <a:pt x="479" y="5"/>
                  </a:lnTo>
                  <a:lnTo>
                    <a:pt x="480" y="5"/>
                  </a:lnTo>
                  <a:lnTo>
                    <a:pt x="482" y="5"/>
                  </a:lnTo>
                  <a:lnTo>
                    <a:pt x="483" y="5"/>
                  </a:lnTo>
                  <a:lnTo>
                    <a:pt x="484" y="5"/>
                  </a:lnTo>
                  <a:lnTo>
                    <a:pt x="484" y="4"/>
                  </a:lnTo>
                  <a:lnTo>
                    <a:pt x="485" y="4"/>
                  </a:lnTo>
                  <a:lnTo>
                    <a:pt x="486" y="4"/>
                  </a:lnTo>
                  <a:lnTo>
                    <a:pt x="489" y="2"/>
                  </a:lnTo>
                  <a:lnTo>
                    <a:pt x="491" y="2"/>
                  </a:lnTo>
                  <a:lnTo>
                    <a:pt x="492" y="2"/>
                  </a:lnTo>
                  <a:lnTo>
                    <a:pt x="492" y="1"/>
                  </a:lnTo>
                  <a:lnTo>
                    <a:pt x="493" y="1"/>
                  </a:lnTo>
                  <a:lnTo>
                    <a:pt x="494" y="1"/>
                  </a:lnTo>
                  <a:lnTo>
                    <a:pt x="494" y="2"/>
                  </a:lnTo>
                  <a:lnTo>
                    <a:pt x="495" y="2"/>
                  </a:lnTo>
                  <a:lnTo>
                    <a:pt x="495" y="1"/>
                  </a:lnTo>
                  <a:lnTo>
                    <a:pt x="500" y="1"/>
                  </a:lnTo>
                  <a:lnTo>
                    <a:pt x="501" y="1"/>
                  </a:lnTo>
                  <a:lnTo>
                    <a:pt x="502" y="1"/>
                  </a:lnTo>
                  <a:lnTo>
                    <a:pt x="504" y="1"/>
                  </a:lnTo>
                  <a:lnTo>
                    <a:pt x="504" y="0"/>
                  </a:lnTo>
                  <a:lnTo>
                    <a:pt x="505" y="0"/>
                  </a:lnTo>
                  <a:lnTo>
                    <a:pt x="506" y="1"/>
                  </a:lnTo>
                  <a:lnTo>
                    <a:pt x="507" y="1"/>
                  </a:lnTo>
                  <a:close/>
                </a:path>
              </a:pathLst>
            </a:custGeom>
            <a:solidFill>
              <a:srgbClr val="0053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04" name="Freeform 857">
              <a:extLst>
                <a:ext uri="{FF2B5EF4-FFF2-40B4-BE49-F238E27FC236}">
                  <a16:creationId xmlns:a16="http://schemas.microsoft.com/office/drawing/2014/main" id="{5B8C80DA-3D7B-45CC-99C6-24D26C52E883}"/>
                </a:ext>
              </a:extLst>
            </p:cNvPr>
            <p:cNvSpPr>
              <a:spLocks noEditPoints="1"/>
            </p:cNvSpPr>
            <p:nvPr/>
          </p:nvSpPr>
          <p:spPr bwMode="auto">
            <a:xfrm>
              <a:off x="5647505" y="3121495"/>
              <a:ext cx="113517" cy="133549"/>
            </a:xfrm>
            <a:custGeom>
              <a:avLst/>
              <a:gdLst>
                <a:gd name="T0" fmla="*/ 32 w 85"/>
                <a:gd name="T1" fmla="*/ 1 h 100"/>
                <a:gd name="T2" fmla="*/ 33 w 85"/>
                <a:gd name="T3" fmla="*/ 5 h 100"/>
                <a:gd name="T4" fmla="*/ 36 w 85"/>
                <a:gd name="T5" fmla="*/ 8 h 100"/>
                <a:gd name="T6" fmla="*/ 43 w 85"/>
                <a:gd name="T7" fmla="*/ 5 h 100"/>
                <a:gd name="T8" fmla="*/ 46 w 85"/>
                <a:gd name="T9" fmla="*/ 6 h 100"/>
                <a:gd name="T10" fmla="*/ 50 w 85"/>
                <a:gd name="T11" fmla="*/ 9 h 100"/>
                <a:gd name="T12" fmla="*/ 51 w 85"/>
                <a:gd name="T13" fmla="*/ 12 h 100"/>
                <a:gd name="T14" fmla="*/ 54 w 85"/>
                <a:gd name="T15" fmla="*/ 15 h 100"/>
                <a:gd name="T16" fmla="*/ 58 w 85"/>
                <a:gd name="T17" fmla="*/ 16 h 100"/>
                <a:gd name="T18" fmla="*/ 62 w 85"/>
                <a:gd name="T19" fmla="*/ 14 h 100"/>
                <a:gd name="T20" fmla="*/ 68 w 85"/>
                <a:gd name="T21" fmla="*/ 12 h 100"/>
                <a:gd name="T22" fmla="*/ 75 w 85"/>
                <a:gd name="T23" fmla="*/ 13 h 100"/>
                <a:gd name="T24" fmla="*/ 80 w 85"/>
                <a:gd name="T25" fmla="*/ 21 h 100"/>
                <a:gd name="T26" fmla="*/ 82 w 85"/>
                <a:gd name="T27" fmla="*/ 23 h 100"/>
                <a:gd name="T28" fmla="*/ 83 w 85"/>
                <a:gd name="T29" fmla="*/ 29 h 100"/>
                <a:gd name="T30" fmla="*/ 83 w 85"/>
                <a:gd name="T31" fmla="*/ 42 h 100"/>
                <a:gd name="T32" fmla="*/ 79 w 85"/>
                <a:gd name="T33" fmla="*/ 49 h 100"/>
                <a:gd name="T34" fmla="*/ 74 w 85"/>
                <a:gd name="T35" fmla="*/ 62 h 100"/>
                <a:gd name="T36" fmla="*/ 76 w 85"/>
                <a:gd name="T37" fmla="*/ 76 h 100"/>
                <a:gd name="T38" fmla="*/ 81 w 85"/>
                <a:gd name="T39" fmla="*/ 84 h 100"/>
                <a:gd name="T40" fmla="*/ 79 w 85"/>
                <a:gd name="T41" fmla="*/ 88 h 100"/>
                <a:gd name="T42" fmla="*/ 74 w 85"/>
                <a:gd name="T43" fmla="*/ 88 h 100"/>
                <a:gd name="T44" fmla="*/ 74 w 85"/>
                <a:gd name="T45" fmla="*/ 88 h 100"/>
                <a:gd name="T46" fmla="*/ 65 w 85"/>
                <a:gd name="T47" fmla="*/ 86 h 100"/>
                <a:gd name="T48" fmla="*/ 66 w 85"/>
                <a:gd name="T49" fmla="*/ 84 h 100"/>
                <a:gd name="T50" fmla="*/ 65 w 85"/>
                <a:gd name="T51" fmla="*/ 86 h 100"/>
                <a:gd name="T52" fmla="*/ 61 w 85"/>
                <a:gd name="T53" fmla="*/ 86 h 100"/>
                <a:gd name="T54" fmla="*/ 58 w 85"/>
                <a:gd name="T55" fmla="*/ 86 h 100"/>
                <a:gd name="T56" fmla="*/ 53 w 85"/>
                <a:gd name="T57" fmla="*/ 86 h 100"/>
                <a:gd name="T58" fmla="*/ 54 w 85"/>
                <a:gd name="T59" fmla="*/ 88 h 100"/>
                <a:gd name="T60" fmla="*/ 58 w 85"/>
                <a:gd name="T61" fmla="*/ 86 h 100"/>
                <a:gd name="T62" fmla="*/ 59 w 85"/>
                <a:gd name="T63" fmla="*/ 88 h 100"/>
                <a:gd name="T64" fmla="*/ 46 w 85"/>
                <a:gd name="T65" fmla="*/ 88 h 100"/>
                <a:gd name="T66" fmla="*/ 45 w 85"/>
                <a:gd name="T67" fmla="*/ 89 h 100"/>
                <a:gd name="T68" fmla="*/ 46 w 85"/>
                <a:gd name="T69" fmla="*/ 88 h 100"/>
                <a:gd name="T70" fmla="*/ 41 w 85"/>
                <a:gd name="T71" fmla="*/ 89 h 100"/>
                <a:gd name="T72" fmla="*/ 26 w 85"/>
                <a:gd name="T73" fmla="*/ 95 h 100"/>
                <a:gd name="T74" fmla="*/ 18 w 85"/>
                <a:gd name="T75" fmla="*/ 98 h 100"/>
                <a:gd name="T76" fmla="*/ 14 w 85"/>
                <a:gd name="T77" fmla="*/ 95 h 100"/>
                <a:gd name="T78" fmla="*/ 15 w 85"/>
                <a:gd name="T79" fmla="*/ 86 h 100"/>
                <a:gd name="T80" fmla="*/ 16 w 85"/>
                <a:gd name="T81" fmla="*/ 78 h 100"/>
                <a:gd name="T82" fmla="*/ 11 w 85"/>
                <a:gd name="T83" fmla="*/ 76 h 100"/>
                <a:gd name="T84" fmla="*/ 9 w 85"/>
                <a:gd name="T85" fmla="*/ 70 h 100"/>
                <a:gd name="T86" fmla="*/ 2 w 85"/>
                <a:gd name="T87" fmla="*/ 68 h 100"/>
                <a:gd name="T88" fmla="*/ 2 w 85"/>
                <a:gd name="T89" fmla="*/ 64 h 100"/>
                <a:gd name="T90" fmla="*/ 4 w 85"/>
                <a:gd name="T91" fmla="*/ 56 h 100"/>
                <a:gd name="T92" fmla="*/ 1 w 85"/>
                <a:gd name="T93" fmla="*/ 50 h 100"/>
                <a:gd name="T94" fmla="*/ 7 w 85"/>
                <a:gd name="T95" fmla="*/ 48 h 100"/>
                <a:gd name="T96" fmla="*/ 9 w 85"/>
                <a:gd name="T97" fmla="*/ 43 h 100"/>
                <a:gd name="T98" fmla="*/ 4 w 85"/>
                <a:gd name="T99" fmla="*/ 37 h 100"/>
                <a:gd name="T100" fmla="*/ 10 w 85"/>
                <a:gd name="T101" fmla="*/ 35 h 100"/>
                <a:gd name="T102" fmla="*/ 11 w 85"/>
                <a:gd name="T103" fmla="*/ 33 h 100"/>
                <a:gd name="T104" fmla="*/ 10 w 85"/>
                <a:gd name="T105" fmla="*/ 26 h 100"/>
                <a:gd name="T106" fmla="*/ 8 w 85"/>
                <a:gd name="T107" fmla="*/ 21 h 100"/>
                <a:gd name="T108" fmla="*/ 7 w 85"/>
                <a:gd name="T109" fmla="*/ 13 h 100"/>
                <a:gd name="T110" fmla="*/ 7 w 85"/>
                <a:gd name="T111" fmla="*/ 11 h 100"/>
                <a:gd name="T112" fmla="*/ 11 w 85"/>
                <a:gd name="T113" fmla="*/ 6 h 100"/>
                <a:gd name="T114" fmla="*/ 17 w 85"/>
                <a:gd name="T115" fmla="*/ 6 h 100"/>
                <a:gd name="T116" fmla="*/ 22 w 85"/>
                <a:gd name="T117" fmla="*/ 7 h 100"/>
                <a:gd name="T118" fmla="*/ 26 w 85"/>
                <a:gd name="T119" fmla="*/ 4 h 100"/>
                <a:gd name="T120" fmla="*/ 30 w 85"/>
                <a:gd name="T12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5" h="100">
                  <a:moveTo>
                    <a:pt x="75" y="89"/>
                  </a:moveTo>
                  <a:lnTo>
                    <a:pt x="76" y="89"/>
                  </a:lnTo>
                  <a:lnTo>
                    <a:pt x="75" y="89"/>
                  </a:lnTo>
                  <a:lnTo>
                    <a:pt x="74" y="89"/>
                  </a:lnTo>
                  <a:lnTo>
                    <a:pt x="74" y="88"/>
                  </a:lnTo>
                  <a:lnTo>
                    <a:pt x="75" y="89"/>
                  </a:lnTo>
                  <a:close/>
                  <a:moveTo>
                    <a:pt x="32" y="0"/>
                  </a:moveTo>
                  <a:lnTo>
                    <a:pt x="32" y="1"/>
                  </a:lnTo>
                  <a:lnTo>
                    <a:pt x="33" y="1"/>
                  </a:lnTo>
                  <a:lnTo>
                    <a:pt x="32" y="1"/>
                  </a:lnTo>
                  <a:lnTo>
                    <a:pt x="32" y="2"/>
                  </a:lnTo>
                  <a:lnTo>
                    <a:pt x="33" y="2"/>
                  </a:lnTo>
                  <a:lnTo>
                    <a:pt x="32" y="2"/>
                  </a:lnTo>
                  <a:lnTo>
                    <a:pt x="32" y="4"/>
                  </a:lnTo>
                  <a:lnTo>
                    <a:pt x="33" y="4"/>
                  </a:lnTo>
                  <a:lnTo>
                    <a:pt x="33" y="5"/>
                  </a:lnTo>
                  <a:lnTo>
                    <a:pt x="33" y="6"/>
                  </a:lnTo>
                  <a:lnTo>
                    <a:pt x="33" y="7"/>
                  </a:lnTo>
                  <a:lnTo>
                    <a:pt x="33" y="6"/>
                  </a:lnTo>
                  <a:lnTo>
                    <a:pt x="32" y="7"/>
                  </a:lnTo>
                  <a:lnTo>
                    <a:pt x="33" y="7"/>
                  </a:lnTo>
                  <a:lnTo>
                    <a:pt x="33" y="8"/>
                  </a:lnTo>
                  <a:lnTo>
                    <a:pt x="34" y="8"/>
                  </a:lnTo>
                  <a:lnTo>
                    <a:pt x="36" y="8"/>
                  </a:lnTo>
                  <a:lnTo>
                    <a:pt x="36" y="7"/>
                  </a:lnTo>
                  <a:lnTo>
                    <a:pt x="37" y="7"/>
                  </a:lnTo>
                  <a:lnTo>
                    <a:pt x="37" y="6"/>
                  </a:lnTo>
                  <a:lnTo>
                    <a:pt x="38" y="6"/>
                  </a:lnTo>
                  <a:lnTo>
                    <a:pt x="39" y="5"/>
                  </a:lnTo>
                  <a:lnTo>
                    <a:pt x="40" y="5"/>
                  </a:lnTo>
                  <a:lnTo>
                    <a:pt x="41" y="5"/>
                  </a:lnTo>
                  <a:lnTo>
                    <a:pt x="43" y="5"/>
                  </a:lnTo>
                  <a:lnTo>
                    <a:pt x="43" y="6"/>
                  </a:lnTo>
                  <a:lnTo>
                    <a:pt x="44" y="6"/>
                  </a:lnTo>
                  <a:lnTo>
                    <a:pt x="44" y="7"/>
                  </a:lnTo>
                  <a:lnTo>
                    <a:pt x="45" y="7"/>
                  </a:lnTo>
                  <a:lnTo>
                    <a:pt x="45" y="6"/>
                  </a:lnTo>
                  <a:lnTo>
                    <a:pt x="45" y="7"/>
                  </a:lnTo>
                  <a:lnTo>
                    <a:pt x="45" y="6"/>
                  </a:lnTo>
                  <a:lnTo>
                    <a:pt x="46" y="6"/>
                  </a:lnTo>
                  <a:lnTo>
                    <a:pt x="47" y="6"/>
                  </a:lnTo>
                  <a:lnTo>
                    <a:pt x="47" y="7"/>
                  </a:lnTo>
                  <a:lnTo>
                    <a:pt x="48" y="7"/>
                  </a:lnTo>
                  <a:lnTo>
                    <a:pt x="48" y="8"/>
                  </a:lnTo>
                  <a:lnTo>
                    <a:pt x="48" y="9"/>
                  </a:lnTo>
                  <a:lnTo>
                    <a:pt x="50" y="9"/>
                  </a:lnTo>
                  <a:lnTo>
                    <a:pt x="48" y="9"/>
                  </a:lnTo>
                  <a:lnTo>
                    <a:pt x="50" y="9"/>
                  </a:lnTo>
                  <a:lnTo>
                    <a:pt x="48" y="9"/>
                  </a:lnTo>
                  <a:lnTo>
                    <a:pt x="50" y="11"/>
                  </a:lnTo>
                  <a:lnTo>
                    <a:pt x="50" y="9"/>
                  </a:lnTo>
                  <a:lnTo>
                    <a:pt x="50" y="11"/>
                  </a:lnTo>
                  <a:lnTo>
                    <a:pt x="51" y="11"/>
                  </a:lnTo>
                  <a:lnTo>
                    <a:pt x="51" y="12"/>
                  </a:lnTo>
                  <a:lnTo>
                    <a:pt x="50" y="12"/>
                  </a:lnTo>
                  <a:lnTo>
                    <a:pt x="51" y="12"/>
                  </a:lnTo>
                  <a:lnTo>
                    <a:pt x="51" y="13"/>
                  </a:lnTo>
                  <a:lnTo>
                    <a:pt x="52" y="13"/>
                  </a:lnTo>
                  <a:lnTo>
                    <a:pt x="52" y="14"/>
                  </a:lnTo>
                  <a:lnTo>
                    <a:pt x="53" y="14"/>
                  </a:lnTo>
                  <a:lnTo>
                    <a:pt x="53" y="15"/>
                  </a:lnTo>
                  <a:lnTo>
                    <a:pt x="52" y="15"/>
                  </a:lnTo>
                  <a:lnTo>
                    <a:pt x="53" y="15"/>
                  </a:lnTo>
                  <a:lnTo>
                    <a:pt x="54" y="15"/>
                  </a:lnTo>
                  <a:lnTo>
                    <a:pt x="54" y="16"/>
                  </a:lnTo>
                  <a:lnTo>
                    <a:pt x="55" y="16"/>
                  </a:lnTo>
                  <a:lnTo>
                    <a:pt x="55" y="15"/>
                  </a:lnTo>
                  <a:lnTo>
                    <a:pt x="55" y="16"/>
                  </a:lnTo>
                  <a:lnTo>
                    <a:pt x="57" y="16"/>
                  </a:lnTo>
                  <a:lnTo>
                    <a:pt x="57" y="15"/>
                  </a:lnTo>
                  <a:lnTo>
                    <a:pt x="57" y="16"/>
                  </a:lnTo>
                  <a:lnTo>
                    <a:pt x="58" y="16"/>
                  </a:lnTo>
                  <a:lnTo>
                    <a:pt x="58" y="18"/>
                  </a:lnTo>
                  <a:lnTo>
                    <a:pt x="59" y="18"/>
                  </a:lnTo>
                  <a:lnTo>
                    <a:pt x="59" y="16"/>
                  </a:lnTo>
                  <a:lnTo>
                    <a:pt x="60" y="16"/>
                  </a:lnTo>
                  <a:lnTo>
                    <a:pt x="60" y="15"/>
                  </a:lnTo>
                  <a:lnTo>
                    <a:pt x="61" y="15"/>
                  </a:lnTo>
                  <a:lnTo>
                    <a:pt x="61" y="14"/>
                  </a:lnTo>
                  <a:lnTo>
                    <a:pt x="62" y="14"/>
                  </a:lnTo>
                  <a:lnTo>
                    <a:pt x="64" y="14"/>
                  </a:lnTo>
                  <a:lnTo>
                    <a:pt x="65" y="14"/>
                  </a:lnTo>
                  <a:lnTo>
                    <a:pt x="65" y="13"/>
                  </a:lnTo>
                  <a:lnTo>
                    <a:pt x="66" y="13"/>
                  </a:lnTo>
                  <a:lnTo>
                    <a:pt x="67" y="13"/>
                  </a:lnTo>
                  <a:lnTo>
                    <a:pt x="68" y="12"/>
                  </a:lnTo>
                  <a:lnTo>
                    <a:pt x="68" y="13"/>
                  </a:lnTo>
                  <a:lnTo>
                    <a:pt x="68" y="12"/>
                  </a:lnTo>
                  <a:lnTo>
                    <a:pt x="68" y="13"/>
                  </a:lnTo>
                  <a:lnTo>
                    <a:pt x="69" y="13"/>
                  </a:lnTo>
                  <a:lnTo>
                    <a:pt x="72" y="13"/>
                  </a:lnTo>
                  <a:lnTo>
                    <a:pt x="73" y="13"/>
                  </a:lnTo>
                  <a:lnTo>
                    <a:pt x="73" y="14"/>
                  </a:lnTo>
                  <a:lnTo>
                    <a:pt x="74" y="14"/>
                  </a:lnTo>
                  <a:lnTo>
                    <a:pt x="74" y="13"/>
                  </a:lnTo>
                  <a:lnTo>
                    <a:pt x="75" y="13"/>
                  </a:lnTo>
                  <a:lnTo>
                    <a:pt x="75" y="14"/>
                  </a:lnTo>
                  <a:lnTo>
                    <a:pt x="76" y="14"/>
                  </a:lnTo>
                  <a:lnTo>
                    <a:pt x="76" y="15"/>
                  </a:lnTo>
                  <a:lnTo>
                    <a:pt x="78" y="15"/>
                  </a:lnTo>
                  <a:lnTo>
                    <a:pt x="78" y="16"/>
                  </a:lnTo>
                  <a:lnTo>
                    <a:pt x="78" y="18"/>
                  </a:lnTo>
                  <a:lnTo>
                    <a:pt x="79" y="19"/>
                  </a:lnTo>
                  <a:lnTo>
                    <a:pt x="80" y="21"/>
                  </a:lnTo>
                  <a:lnTo>
                    <a:pt x="81" y="21"/>
                  </a:lnTo>
                  <a:lnTo>
                    <a:pt x="81" y="20"/>
                  </a:lnTo>
                  <a:lnTo>
                    <a:pt x="82" y="20"/>
                  </a:lnTo>
                  <a:lnTo>
                    <a:pt x="82" y="21"/>
                  </a:lnTo>
                  <a:lnTo>
                    <a:pt x="82" y="22"/>
                  </a:lnTo>
                  <a:lnTo>
                    <a:pt x="81" y="22"/>
                  </a:lnTo>
                  <a:lnTo>
                    <a:pt x="82" y="22"/>
                  </a:lnTo>
                  <a:lnTo>
                    <a:pt x="82" y="23"/>
                  </a:lnTo>
                  <a:lnTo>
                    <a:pt x="81" y="23"/>
                  </a:lnTo>
                  <a:lnTo>
                    <a:pt x="81" y="25"/>
                  </a:lnTo>
                  <a:lnTo>
                    <a:pt x="81" y="26"/>
                  </a:lnTo>
                  <a:lnTo>
                    <a:pt x="81" y="27"/>
                  </a:lnTo>
                  <a:lnTo>
                    <a:pt x="82" y="27"/>
                  </a:lnTo>
                  <a:lnTo>
                    <a:pt x="82" y="28"/>
                  </a:lnTo>
                  <a:lnTo>
                    <a:pt x="83" y="28"/>
                  </a:lnTo>
                  <a:lnTo>
                    <a:pt x="83" y="29"/>
                  </a:lnTo>
                  <a:lnTo>
                    <a:pt x="83" y="30"/>
                  </a:lnTo>
                  <a:lnTo>
                    <a:pt x="83" y="35"/>
                  </a:lnTo>
                  <a:lnTo>
                    <a:pt x="85" y="40"/>
                  </a:lnTo>
                  <a:lnTo>
                    <a:pt x="83" y="41"/>
                  </a:lnTo>
                  <a:lnTo>
                    <a:pt x="83" y="40"/>
                  </a:lnTo>
                  <a:lnTo>
                    <a:pt x="83" y="41"/>
                  </a:lnTo>
                  <a:lnTo>
                    <a:pt x="82" y="41"/>
                  </a:lnTo>
                  <a:lnTo>
                    <a:pt x="83" y="42"/>
                  </a:lnTo>
                  <a:lnTo>
                    <a:pt x="82" y="42"/>
                  </a:lnTo>
                  <a:lnTo>
                    <a:pt x="82" y="43"/>
                  </a:lnTo>
                  <a:lnTo>
                    <a:pt x="81" y="43"/>
                  </a:lnTo>
                  <a:lnTo>
                    <a:pt x="81" y="44"/>
                  </a:lnTo>
                  <a:lnTo>
                    <a:pt x="80" y="44"/>
                  </a:lnTo>
                  <a:lnTo>
                    <a:pt x="80" y="46"/>
                  </a:lnTo>
                  <a:lnTo>
                    <a:pt x="80" y="47"/>
                  </a:lnTo>
                  <a:lnTo>
                    <a:pt x="79" y="49"/>
                  </a:lnTo>
                  <a:lnTo>
                    <a:pt x="79" y="50"/>
                  </a:lnTo>
                  <a:lnTo>
                    <a:pt x="78" y="55"/>
                  </a:lnTo>
                  <a:lnTo>
                    <a:pt x="78" y="56"/>
                  </a:lnTo>
                  <a:lnTo>
                    <a:pt x="78" y="57"/>
                  </a:lnTo>
                  <a:lnTo>
                    <a:pt x="76" y="57"/>
                  </a:lnTo>
                  <a:lnTo>
                    <a:pt x="76" y="58"/>
                  </a:lnTo>
                  <a:lnTo>
                    <a:pt x="74" y="61"/>
                  </a:lnTo>
                  <a:lnTo>
                    <a:pt x="74" y="62"/>
                  </a:lnTo>
                  <a:lnTo>
                    <a:pt x="74" y="63"/>
                  </a:lnTo>
                  <a:lnTo>
                    <a:pt x="74" y="64"/>
                  </a:lnTo>
                  <a:lnTo>
                    <a:pt x="74" y="65"/>
                  </a:lnTo>
                  <a:lnTo>
                    <a:pt x="75" y="70"/>
                  </a:lnTo>
                  <a:lnTo>
                    <a:pt x="75" y="71"/>
                  </a:lnTo>
                  <a:lnTo>
                    <a:pt x="75" y="72"/>
                  </a:lnTo>
                  <a:lnTo>
                    <a:pt x="76" y="75"/>
                  </a:lnTo>
                  <a:lnTo>
                    <a:pt x="76" y="76"/>
                  </a:lnTo>
                  <a:lnTo>
                    <a:pt x="78" y="77"/>
                  </a:lnTo>
                  <a:lnTo>
                    <a:pt x="78" y="79"/>
                  </a:lnTo>
                  <a:lnTo>
                    <a:pt x="78" y="81"/>
                  </a:lnTo>
                  <a:lnTo>
                    <a:pt x="79" y="81"/>
                  </a:lnTo>
                  <a:lnTo>
                    <a:pt x="80" y="81"/>
                  </a:lnTo>
                  <a:lnTo>
                    <a:pt x="81" y="82"/>
                  </a:lnTo>
                  <a:lnTo>
                    <a:pt x="81" y="83"/>
                  </a:lnTo>
                  <a:lnTo>
                    <a:pt x="81" y="84"/>
                  </a:lnTo>
                  <a:lnTo>
                    <a:pt x="81" y="85"/>
                  </a:lnTo>
                  <a:lnTo>
                    <a:pt x="80" y="85"/>
                  </a:lnTo>
                  <a:lnTo>
                    <a:pt x="80" y="86"/>
                  </a:lnTo>
                  <a:lnTo>
                    <a:pt x="81" y="86"/>
                  </a:lnTo>
                  <a:lnTo>
                    <a:pt x="81" y="88"/>
                  </a:lnTo>
                  <a:lnTo>
                    <a:pt x="80" y="89"/>
                  </a:lnTo>
                  <a:lnTo>
                    <a:pt x="80" y="88"/>
                  </a:lnTo>
                  <a:lnTo>
                    <a:pt x="79" y="88"/>
                  </a:lnTo>
                  <a:lnTo>
                    <a:pt x="79" y="89"/>
                  </a:lnTo>
                  <a:lnTo>
                    <a:pt x="78" y="89"/>
                  </a:lnTo>
                  <a:lnTo>
                    <a:pt x="76" y="89"/>
                  </a:lnTo>
                  <a:lnTo>
                    <a:pt x="76" y="88"/>
                  </a:lnTo>
                  <a:lnTo>
                    <a:pt x="75" y="88"/>
                  </a:lnTo>
                  <a:lnTo>
                    <a:pt x="75" y="89"/>
                  </a:lnTo>
                  <a:lnTo>
                    <a:pt x="75" y="88"/>
                  </a:lnTo>
                  <a:lnTo>
                    <a:pt x="74" y="88"/>
                  </a:lnTo>
                  <a:lnTo>
                    <a:pt x="75" y="86"/>
                  </a:lnTo>
                  <a:lnTo>
                    <a:pt x="75" y="85"/>
                  </a:lnTo>
                  <a:lnTo>
                    <a:pt x="74" y="85"/>
                  </a:lnTo>
                  <a:lnTo>
                    <a:pt x="74" y="86"/>
                  </a:lnTo>
                  <a:lnTo>
                    <a:pt x="73" y="86"/>
                  </a:lnTo>
                  <a:lnTo>
                    <a:pt x="74" y="86"/>
                  </a:lnTo>
                  <a:lnTo>
                    <a:pt x="73" y="88"/>
                  </a:lnTo>
                  <a:lnTo>
                    <a:pt x="74" y="88"/>
                  </a:lnTo>
                  <a:lnTo>
                    <a:pt x="73" y="89"/>
                  </a:lnTo>
                  <a:lnTo>
                    <a:pt x="72" y="89"/>
                  </a:lnTo>
                  <a:lnTo>
                    <a:pt x="68" y="88"/>
                  </a:lnTo>
                  <a:lnTo>
                    <a:pt x="67" y="88"/>
                  </a:lnTo>
                  <a:lnTo>
                    <a:pt x="67" y="86"/>
                  </a:lnTo>
                  <a:lnTo>
                    <a:pt x="67" y="88"/>
                  </a:lnTo>
                  <a:lnTo>
                    <a:pt x="66" y="88"/>
                  </a:lnTo>
                  <a:lnTo>
                    <a:pt x="65" y="86"/>
                  </a:lnTo>
                  <a:lnTo>
                    <a:pt x="64" y="86"/>
                  </a:lnTo>
                  <a:lnTo>
                    <a:pt x="65" y="86"/>
                  </a:lnTo>
                  <a:lnTo>
                    <a:pt x="66" y="86"/>
                  </a:lnTo>
                  <a:lnTo>
                    <a:pt x="67" y="86"/>
                  </a:lnTo>
                  <a:lnTo>
                    <a:pt x="67" y="85"/>
                  </a:lnTo>
                  <a:lnTo>
                    <a:pt x="67" y="84"/>
                  </a:lnTo>
                  <a:lnTo>
                    <a:pt x="66" y="85"/>
                  </a:lnTo>
                  <a:lnTo>
                    <a:pt x="66" y="84"/>
                  </a:lnTo>
                  <a:lnTo>
                    <a:pt x="66" y="85"/>
                  </a:lnTo>
                  <a:lnTo>
                    <a:pt x="67" y="85"/>
                  </a:lnTo>
                  <a:lnTo>
                    <a:pt x="67" y="86"/>
                  </a:lnTo>
                  <a:lnTo>
                    <a:pt x="66" y="86"/>
                  </a:lnTo>
                  <a:lnTo>
                    <a:pt x="66" y="85"/>
                  </a:lnTo>
                  <a:lnTo>
                    <a:pt x="65" y="85"/>
                  </a:lnTo>
                  <a:lnTo>
                    <a:pt x="64" y="85"/>
                  </a:lnTo>
                  <a:lnTo>
                    <a:pt x="65" y="86"/>
                  </a:lnTo>
                  <a:lnTo>
                    <a:pt x="64" y="86"/>
                  </a:lnTo>
                  <a:lnTo>
                    <a:pt x="62" y="86"/>
                  </a:lnTo>
                  <a:lnTo>
                    <a:pt x="62" y="85"/>
                  </a:lnTo>
                  <a:lnTo>
                    <a:pt x="62" y="86"/>
                  </a:lnTo>
                  <a:lnTo>
                    <a:pt x="61" y="85"/>
                  </a:lnTo>
                  <a:lnTo>
                    <a:pt x="61" y="86"/>
                  </a:lnTo>
                  <a:lnTo>
                    <a:pt x="61" y="85"/>
                  </a:lnTo>
                  <a:lnTo>
                    <a:pt x="61" y="86"/>
                  </a:lnTo>
                  <a:lnTo>
                    <a:pt x="61" y="85"/>
                  </a:lnTo>
                  <a:lnTo>
                    <a:pt x="60" y="86"/>
                  </a:lnTo>
                  <a:lnTo>
                    <a:pt x="60" y="85"/>
                  </a:lnTo>
                  <a:lnTo>
                    <a:pt x="59" y="85"/>
                  </a:lnTo>
                  <a:lnTo>
                    <a:pt x="59" y="86"/>
                  </a:lnTo>
                  <a:lnTo>
                    <a:pt x="58" y="86"/>
                  </a:lnTo>
                  <a:lnTo>
                    <a:pt x="58" y="85"/>
                  </a:lnTo>
                  <a:lnTo>
                    <a:pt x="58" y="86"/>
                  </a:lnTo>
                  <a:lnTo>
                    <a:pt x="58" y="85"/>
                  </a:lnTo>
                  <a:lnTo>
                    <a:pt x="57" y="85"/>
                  </a:lnTo>
                  <a:lnTo>
                    <a:pt x="57" y="86"/>
                  </a:lnTo>
                  <a:lnTo>
                    <a:pt x="55" y="86"/>
                  </a:lnTo>
                  <a:lnTo>
                    <a:pt x="55" y="85"/>
                  </a:lnTo>
                  <a:lnTo>
                    <a:pt x="55" y="86"/>
                  </a:lnTo>
                  <a:lnTo>
                    <a:pt x="54" y="86"/>
                  </a:lnTo>
                  <a:lnTo>
                    <a:pt x="53" y="86"/>
                  </a:lnTo>
                  <a:lnTo>
                    <a:pt x="54" y="86"/>
                  </a:lnTo>
                  <a:lnTo>
                    <a:pt x="54" y="85"/>
                  </a:lnTo>
                  <a:lnTo>
                    <a:pt x="54" y="86"/>
                  </a:lnTo>
                  <a:lnTo>
                    <a:pt x="53" y="86"/>
                  </a:lnTo>
                  <a:lnTo>
                    <a:pt x="53" y="88"/>
                  </a:lnTo>
                  <a:lnTo>
                    <a:pt x="52" y="88"/>
                  </a:lnTo>
                  <a:lnTo>
                    <a:pt x="53" y="88"/>
                  </a:lnTo>
                  <a:lnTo>
                    <a:pt x="54" y="88"/>
                  </a:lnTo>
                  <a:lnTo>
                    <a:pt x="55" y="88"/>
                  </a:lnTo>
                  <a:lnTo>
                    <a:pt x="57" y="88"/>
                  </a:lnTo>
                  <a:lnTo>
                    <a:pt x="55" y="88"/>
                  </a:lnTo>
                  <a:lnTo>
                    <a:pt x="55" y="86"/>
                  </a:lnTo>
                  <a:lnTo>
                    <a:pt x="57" y="86"/>
                  </a:lnTo>
                  <a:lnTo>
                    <a:pt x="57" y="88"/>
                  </a:lnTo>
                  <a:lnTo>
                    <a:pt x="57" y="86"/>
                  </a:lnTo>
                  <a:lnTo>
                    <a:pt x="58" y="86"/>
                  </a:lnTo>
                  <a:lnTo>
                    <a:pt x="59" y="86"/>
                  </a:lnTo>
                  <a:lnTo>
                    <a:pt x="60" y="86"/>
                  </a:lnTo>
                  <a:lnTo>
                    <a:pt x="61" y="86"/>
                  </a:lnTo>
                  <a:lnTo>
                    <a:pt x="62" y="86"/>
                  </a:lnTo>
                  <a:lnTo>
                    <a:pt x="64" y="86"/>
                  </a:lnTo>
                  <a:lnTo>
                    <a:pt x="62" y="86"/>
                  </a:lnTo>
                  <a:lnTo>
                    <a:pt x="64" y="86"/>
                  </a:lnTo>
                  <a:lnTo>
                    <a:pt x="59" y="88"/>
                  </a:lnTo>
                  <a:lnTo>
                    <a:pt x="54" y="88"/>
                  </a:lnTo>
                  <a:lnTo>
                    <a:pt x="53" y="89"/>
                  </a:lnTo>
                  <a:lnTo>
                    <a:pt x="51" y="89"/>
                  </a:lnTo>
                  <a:lnTo>
                    <a:pt x="50" y="89"/>
                  </a:lnTo>
                  <a:lnTo>
                    <a:pt x="50" y="88"/>
                  </a:lnTo>
                  <a:lnTo>
                    <a:pt x="48" y="88"/>
                  </a:lnTo>
                  <a:lnTo>
                    <a:pt x="47" y="88"/>
                  </a:lnTo>
                  <a:lnTo>
                    <a:pt x="46" y="88"/>
                  </a:lnTo>
                  <a:lnTo>
                    <a:pt x="46" y="86"/>
                  </a:lnTo>
                  <a:lnTo>
                    <a:pt x="46" y="88"/>
                  </a:lnTo>
                  <a:lnTo>
                    <a:pt x="45" y="86"/>
                  </a:lnTo>
                  <a:lnTo>
                    <a:pt x="45" y="88"/>
                  </a:lnTo>
                  <a:lnTo>
                    <a:pt x="45" y="89"/>
                  </a:lnTo>
                  <a:lnTo>
                    <a:pt x="44" y="88"/>
                  </a:lnTo>
                  <a:lnTo>
                    <a:pt x="44" y="89"/>
                  </a:lnTo>
                  <a:lnTo>
                    <a:pt x="45" y="89"/>
                  </a:lnTo>
                  <a:lnTo>
                    <a:pt x="46" y="89"/>
                  </a:lnTo>
                  <a:lnTo>
                    <a:pt x="45" y="89"/>
                  </a:lnTo>
                  <a:lnTo>
                    <a:pt x="45" y="88"/>
                  </a:lnTo>
                  <a:lnTo>
                    <a:pt x="45" y="89"/>
                  </a:lnTo>
                  <a:lnTo>
                    <a:pt x="45" y="88"/>
                  </a:lnTo>
                  <a:lnTo>
                    <a:pt x="46" y="88"/>
                  </a:lnTo>
                  <a:lnTo>
                    <a:pt x="47" y="88"/>
                  </a:lnTo>
                  <a:lnTo>
                    <a:pt x="46" y="88"/>
                  </a:lnTo>
                  <a:lnTo>
                    <a:pt x="47" y="88"/>
                  </a:lnTo>
                  <a:lnTo>
                    <a:pt x="48" y="88"/>
                  </a:lnTo>
                  <a:lnTo>
                    <a:pt x="50" y="88"/>
                  </a:lnTo>
                  <a:lnTo>
                    <a:pt x="50" y="89"/>
                  </a:lnTo>
                  <a:lnTo>
                    <a:pt x="46" y="89"/>
                  </a:lnTo>
                  <a:lnTo>
                    <a:pt x="45" y="89"/>
                  </a:lnTo>
                  <a:lnTo>
                    <a:pt x="43" y="89"/>
                  </a:lnTo>
                  <a:lnTo>
                    <a:pt x="41" y="89"/>
                  </a:lnTo>
                  <a:lnTo>
                    <a:pt x="40" y="90"/>
                  </a:lnTo>
                  <a:lnTo>
                    <a:pt x="38" y="90"/>
                  </a:lnTo>
                  <a:lnTo>
                    <a:pt x="36" y="91"/>
                  </a:lnTo>
                  <a:lnTo>
                    <a:pt x="34" y="91"/>
                  </a:lnTo>
                  <a:lnTo>
                    <a:pt x="33" y="92"/>
                  </a:lnTo>
                  <a:lnTo>
                    <a:pt x="30" y="93"/>
                  </a:lnTo>
                  <a:lnTo>
                    <a:pt x="27" y="95"/>
                  </a:lnTo>
                  <a:lnTo>
                    <a:pt x="26" y="95"/>
                  </a:lnTo>
                  <a:lnTo>
                    <a:pt x="25" y="96"/>
                  </a:lnTo>
                  <a:lnTo>
                    <a:pt x="24" y="96"/>
                  </a:lnTo>
                  <a:lnTo>
                    <a:pt x="23" y="96"/>
                  </a:lnTo>
                  <a:lnTo>
                    <a:pt x="23" y="97"/>
                  </a:lnTo>
                  <a:lnTo>
                    <a:pt x="22" y="97"/>
                  </a:lnTo>
                  <a:lnTo>
                    <a:pt x="21" y="98"/>
                  </a:lnTo>
                  <a:lnTo>
                    <a:pt x="19" y="98"/>
                  </a:lnTo>
                  <a:lnTo>
                    <a:pt x="18" y="98"/>
                  </a:lnTo>
                  <a:lnTo>
                    <a:pt x="18" y="99"/>
                  </a:lnTo>
                  <a:lnTo>
                    <a:pt x="17" y="99"/>
                  </a:lnTo>
                  <a:lnTo>
                    <a:pt x="16" y="100"/>
                  </a:lnTo>
                  <a:lnTo>
                    <a:pt x="15" y="100"/>
                  </a:lnTo>
                  <a:lnTo>
                    <a:pt x="14" y="100"/>
                  </a:lnTo>
                  <a:lnTo>
                    <a:pt x="14" y="99"/>
                  </a:lnTo>
                  <a:lnTo>
                    <a:pt x="14" y="98"/>
                  </a:lnTo>
                  <a:lnTo>
                    <a:pt x="14" y="95"/>
                  </a:lnTo>
                  <a:lnTo>
                    <a:pt x="14" y="93"/>
                  </a:lnTo>
                  <a:lnTo>
                    <a:pt x="14" y="92"/>
                  </a:lnTo>
                  <a:lnTo>
                    <a:pt x="14" y="91"/>
                  </a:lnTo>
                  <a:lnTo>
                    <a:pt x="14" y="90"/>
                  </a:lnTo>
                  <a:lnTo>
                    <a:pt x="14" y="89"/>
                  </a:lnTo>
                  <a:lnTo>
                    <a:pt x="15" y="89"/>
                  </a:lnTo>
                  <a:lnTo>
                    <a:pt x="15" y="88"/>
                  </a:lnTo>
                  <a:lnTo>
                    <a:pt x="15" y="86"/>
                  </a:lnTo>
                  <a:lnTo>
                    <a:pt x="16" y="86"/>
                  </a:lnTo>
                  <a:lnTo>
                    <a:pt x="16" y="85"/>
                  </a:lnTo>
                  <a:lnTo>
                    <a:pt x="16" y="84"/>
                  </a:lnTo>
                  <a:lnTo>
                    <a:pt x="16" y="83"/>
                  </a:lnTo>
                  <a:lnTo>
                    <a:pt x="16" y="82"/>
                  </a:lnTo>
                  <a:lnTo>
                    <a:pt x="16" y="81"/>
                  </a:lnTo>
                  <a:lnTo>
                    <a:pt x="16" y="79"/>
                  </a:lnTo>
                  <a:lnTo>
                    <a:pt x="16" y="78"/>
                  </a:lnTo>
                  <a:lnTo>
                    <a:pt x="16" y="77"/>
                  </a:lnTo>
                  <a:lnTo>
                    <a:pt x="15" y="77"/>
                  </a:lnTo>
                  <a:lnTo>
                    <a:pt x="15" y="78"/>
                  </a:lnTo>
                  <a:lnTo>
                    <a:pt x="15" y="77"/>
                  </a:lnTo>
                  <a:lnTo>
                    <a:pt x="14" y="77"/>
                  </a:lnTo>
                  <a:lnTo>
                    <a:pt x="14" y="76"/>
                  </a:lnTo>
                  <a:lnTo>
                    <a:pt x="12" y="76"/>
                  </a:lnTo>
                  <a:lnTo>
                    <a:pt x="11" y="76"/>
                  </a:lnTo>
                  <a:lnTo>
                    <a:pt x="10" y="75"/>
                  </a:lnTo>
                  <a:lnTo>
                    <a:pt x="11" y="75"/>
                  </a:lnTo>
                  <a:lnTo>
                    <a:pt x="11" y="74"/>
                  </a:lnTo>
                  <a:lnTo>
                    <a:pt x="10" y="74"/>
                  </a:lnTo>
                  <a:lnTo>
                    <a:pt x="10" y="72"/>
                  </a:lnTo>
                  <a:lnTo>
                    <a:pt x="10" y="71"/>
                  </a:lnTo>
                  <a:lnTo>
                    <a:pt x="9" y="71"/>
                  </a:lnTo>
                  <a:lnTo>
                    <a:pt x="9" y="70"/>
                  </a:lnTo>
                  <a:lnTo>
                    <a:pt x="8" y="70"/>
                  </a:lnTo>
                  <a:lnTo>
                    <a:pt x="7" y="70"/>
                  </a:lnTo>
                  <a:lnTo>
                    <a:pt x="5" y="70"/>
                  </a:lnTo>
                  <a:lnTo>
                    <a:pt x="4" y="70"/>
                  </a:lnTo>
                  <a:lnTo>
                    <a:pt x="4" y="69"/>
                  </a:lnTo>
                  <a:lnTo>
                    <a:pt x="3" y="69"/>
                  </a:lnTo>
                  <a:lnTo>
                    <a:pt x="2" y="69"/>
                  </a:lnTo>
                  <a:lnTo>
                    <a:pt x="2" y="68"/>
                  </a:lnTo>
                  <a:lnTo>
                    <a:pt x="2" y="67"/>
                  </a:lnTo>
                  <a:lnTo>
                    <a:pt x="1" y="67"/>
                  </a:lnTo>
                  <a:lnTo>
                    <a:pt x="1" y="68"/>
                  </a:lnTo>
                  <a:lnTo>
                    <a:pt x="1" y="67"/>
                  </a:lnTo>
                  <a:lnTo>
                    <a:pt x="0" y="67"/>
                  </a:lnTo>
                  <a:lnTo>
                    <a:pt x="0" y="65"/>
                  </a:lnTo>
                  <a:lnTo>
                    <a:pt x="1" y="65"/>
                  </a:lnTo>
                  <a:lnTo>
                    <a:pt x="2" y="64"/>
                  </a:lnTo>
                  <a:lnTo>
                    <a:pt x="3" y="63"/>
                  </a:lnTo>
                  <a:lnTo>
                    <a:pt x="3" y="62"/>
                  </a:lnTo>
                  <a:lnTo>
                    <a:pt x="3" y="61"/>
                  </a:lnTo>
                  <a:lnTo>
                    <a:pt x="3" y="60"/>
                  </a:lnTo>
                  <a:lnTo>
                    <a:pt x="4" y="60"/>
                  </a:lnTo>
                  <a:lnTo>
                    <a:pt x="4" y="58"/>
                  </a:lnTo>
                  <a:lnTo>
                    <a:pt x="4" y="57"/>
                  </a:lnTo>
                  <a:lnTo>
                    <a:pt x="4" y="56"/>
                  </a:lnTo>
                  <a:lnTo>
                    <a:pt x="3" y="56"/>
                  </a:lnTo>
                  <a:lnTo>
                    <a:pt x="3" y="55"/>
                  </a:lnTo>
                  <a:lnTo>
                    <a:pt x="3" y="54"/>
                  </a:lnTo>
                  <a:lnTo>
                    <a:pt x="2" y="54"/>
                  </a:lnTo>
                  <a:lnTo>
                    <a:pt x="2" y="53"/>
                  </a:lnTo>
                  <a:lnTo>
                    <a:pt x="2" y="51"/>
                  </a:lnTo>
                  <a:lnTo>
                    <a:pt x="2" y="50"/>
                  </a:lnTo>
                  <a:lnTo>
                    <a:pt x="1" y="50"/>
                  </a:lnTo>
                  <a:lnTo>
                    <a:pt x="2" y="49"/>
                  </a:lnTo>
                  <a:lnTo>
                    <a:pt x="3" y="49"/>
                  </a:lnTo>
                  <a:lnTo>
                    <a:pt x="4" y="49"/>
                  </a:lnTo>
                  <a:lnTo>
                    <a:pt x="4" y="50"/>
                  </a:lnTo>
                  <a:lnTo>
                    <a:pt x="5" y="50"/>
                  </a:lnTo>
                  <a:lnTo>
                    <a:pt x="5" y="49"/>
                  </a:lnTo>
                  <a:lnTo>
                    <a:pt x="5" y="48"/>
                  </a:lnTo>
                  <a:lnTo>
                    <a:pt x="7" y="48"/>
                  </a:lnTo>
                  <a:lnTo>
                    <a:pt x="7" y="47"/>
                  </a:lnTo>
                  <a:lnTo>
                    <a:pt x="7" y="46"/>
                  </a:lnTo>
                  <a:lnTo>
                    <a:pt x="7" y="44"/>
                  </a:lnTo>
                  <a:lnTo>
                    <a:pt x="7" y="43"/>
                  </a:lnTo>
                  <a:lnTo>
                    <a:pt x="7" y="42"/>
                  </a:lnTo>
                  <a:lnTo>
                    <a:pt x="8" y="42"/>
                  </a:lnTo>
                  <a:lnTo>
                    <a:pt x="8" y="43"/>
                  </a:lnTo>
                  <a:lnTo>
                    <a:pt x="9" y="43"/>
                  </a:lnTo>
                  <a:lnTo>
                    <a:pt x="9" y="42"/>
                  </a:lnTo>
                  <a:lnTo>
                    <a:pt x="8" y="42"/>
                  </a:lnTo>
                  <a:lnTo>
                    <a:pt x="8" y="41"/>
                  </a:lnTo>
                  <a:lnTo>
                    <a:pt x="8" y="40"/>
                  </a:lnTo>
                  <a:lnTo>
                    <a:pt x="7" y="41"/>
                  </a:lnTo>
                  <a:lnTo>
                    <a:pt x="5" y="40"/>
                  </a:lnTo>
                  <a:lnTo>
                    <a:pt x="4" y="39"/>
                  </a:lnTo>
                  <a:lnTo>
                    <a:pt x="4" y="37"/>
                  </a:lnTo>
                  <a:lnTo>
                    <a:pt x="4" y="36"/>
                  </a:lnTo>
                  <a:lnTo>
                    <a:pt x="5" y="35"/>
                  </a:lnTo>
                  <a:lnTo>
                    <a:pt x="7" y="35"/>
                  </a:lnTo>
                  <a:lnTo>
                    <a:pt x="8" y="35"/>
                  </a:lnTo>
                  <a:lnTo>
                    <a:pt x="9" y="35"/>
                  </a:lnTo>
                  <a:lnTo>
                    <a:pt x="9" y="36"/>
                  </a:lnTo>
                  <a:lnTo>
                    <a:pt x="10" y="36"/>
                  </a:lnTo>
                  <a:lnTo>
                    <a:pt x="10" y="35"/>
                  </a:lnTo>
                  <a:lnTo>
                    <a:pt x="11" y="36"/>
                  </a:lnTo>
                  <a:lnTo>
                    <a:pt x="11" y="37"/>
                  </a:lnTo>
                  <a:lnTo>
                    <a:pt x="12" y="37"/>
                  </a:lnTo>
                  <a:lnTo>
                    <a:pt x="12" y="36"/>
                  </a:lnTo>
                  <a:lnTo>
                    <a:pt x="12" y="35"/>
                  </a:lnTo>
                  <a:lnTo>
                    <a:pt x="12" y="34"/>
                  </a:lnTo>
                  <a:lnTo>
                    <a:pt x="12" y="33"/>
                  </a:lnTo>
                  <a:lnTo>
                    <a:pt x="11" y="33"/>
                  </a:lnTo>
                  <a:lnTo>
                    <a:pt x="11" y="32"/>
                  </a:lnTo>
                  <a:lnTo>
                    <a:pt x="10" y="32"/>
                  </a:lnTo>
                  <a:lnTo>
                    <a:pt x="10" y="30"/>
                  </a:lnTo>
                  <a:lnTo>
                    <a:pt x="9" y="30"/>
                  </a:lnTo>
                  <a:lnTo>
                    <a:pt x="9" y="29"/>
                  </a:lnTo>
                  <a:lnTo>
                    <a:pt x="9" y="28"/>
                  </a:lnTo>
                  <a:lnTo>
                    <a:pt x="9" y="27"/>
                  </a:lnTo>
                  <a:lnTo>
                    <a:pt x="10" y="26"/>
                  </a:lnTo>
                  <a:lnTo>
                    <a:pt x="11" y="26"/>
                  </a:lnTo>
                  <a:lnTo>
                    <a:pt x="10" y="25"/>
                  </a:lnTo>
                  <a:lnTo>
                    <a:pt x="9" y="25"/>
                  </a:lnTo>
                  <a:lnTo>
                    <a:pt x="9" y="23"/>
                  </a:lnTo>
                  <a:lnTo>
                    <a:pt x="10" y="22"/>
                  </a:lnTo>
                  <a:lnTo>
                    <a:pt x="10" y="21"/>
                  </a:lnTo>
                  <a:lnTo>
                    <a:pt x="9" y="21"/>
                  </a:lnTo>
                  <a:lnTo>
                    <a:pt x="8" y="21"/>
                  </a:lnTo>
                  <a:lnTo>
                    <a:pt x="7" y="21"/>
                  </a:lnTo>
                  <a:lnTo>
                    <a:pt x="7" y="19"/>
                  </a:lnTo>
                  <a:lnTo>
                    <a:pt x="5" y="19"/>
                  </a:lnTo>
                  <a:lnTo>
                    <a:pt x="5" y="18"/>
                  </a:lnTo>
                  <a:lnTo>
                    <a:pt x="7" y="14"/>
                  </a:lnTo>
                  <a:lnTo>
                    <a:pt x="7" y="13"/>
                  </a:lnTo>
                  <a:lnTo>
                    <a:pt x="7" y="14"/>
                  </a:lnTo>
                  <a:lnTo>
                    <a:pt x="7" y="13"/>
                  </a:lnTo>
                  <a:lnTo>
                    <a:pt x="5" y="13"/>
                  </a:lnTo>
                  <a:lnTo>
                    <a:pt x="7" y="13"/>
                  </a:lnTo>
                  <a:lnTo>
                    <a:pt x="5" y="13"/>
                  </a:lnTo>
                  <a:lnTo>
                    <a:pt x="5" y="12"/>
                  </a:lnTo>
                  <a:lnTo>
                    <a:pt x="7" y="12"/>
                  </a:lnTo>
                  <a:lnTo>
                    <a:pt x="5" y="12"/>
                  </a:lnTo>
                  <a:lnTo>
                    <a:pt x="7" y="12"/>
                  </a:lnTo>
                  <a:lnTo>
                    <a:pt x="7" y="11"/>
                  </a:lnTo>
                  <a:lnTo>
                    <a:pt x="8" y="11"/>
                  </a:lnTo>
                  <a:lnTo>
                    <a:pt x="8" y="9"/>
                  </a:lnTo>
                  <a:lnTo>
                    <a:pt x="8" y="8"/>
                  </a:lnTo>
                  <a:lnTo>
                    <a:pt x="9" y="9"/>
                  </a:lnTo>
                  <a:lnTo>
                    <a:pt x="9" y="8"/>
                  </a:lnTo>
                  <a:lnTo>
                    <a:pt x="10" y="8"/>
                  </a:lnTo>
                  <a:lnTo>
                    <a:pt x="11" y="7"/>
                  </a:lnTo>
                  <a:lnTo>
                    <a:pt x="11" y="6"/>
                  </a:lnTo>
                  <a:lnTo>
                    <a:pt x="12" y="6"/>
                  </a:lnTo>
                  <a:lnTo>
                    <a:pt x="12" y="5"/>
                  </a:lnTo>
                  <a:lnTo>
                    <a:pt x="14" y="5"/>
                  </a:lnTo>
                  <a:lnTo>
                    <a:pt x="15" y="5"/>
                  </a:lnTo>
                  <a:lnTo>
                    <a:pt x="15" y="4"/>
                  </a:lnTo>
                  <a:lnTo>
                    <a:pt x="16" y="5"/>
                  </a:lnTo>
                  <a:lnTo>
                    <a:pt x="16" y="6"/>
                  </a:lnTo>
                  <a:lnTo>
                    <a:pt x="17" y="6"/>
                  </a:lnTo>
                  <a:lnTo>
                    <a:pt x="17" y="7"/>
                  </a:lnTo>
                  <a:lnTo>
                    <a:pt x="18" y="7"/>
                  </a:lnTo>
                  <a:lnTo>
                    <a:pt x="19" y="7"/>
                  </a:lnTo>
                  <a:lnTo>
                    <a:pt x="21" y="8"/>
                  </a:lnTo>
                  <a:lnTo>
                    <a:pt x="22" y="9"/>
                  </a:lnTo>
                  <a:lnTo>
                    <a:pt x="23" y="8"/>
                  </a:lnTo>
                  <a:lnTo>
                    <a:pt x="22" y="8"/>
                  </a:lnTo>
                  <a:lnTo>
                    <a:pt x="22" y="7"/>
                  </a:lnTo>
                  <a:lnTo>
                    <a:pt x="23" y="6"/>
                  </a:lnTo>
                  <a:lnTo>
                    <a:pt x="24" y="6"/>
                  </a:lnTo>
                  <a:lnTo>
                    <a:pt x="25" y="6"/>
                  </a:lnTo>
                  <a:lnTo>
                    <a:pt x="26" y="6"/>
                  </a:lnTo>
                  <a:lnTo>
                    <a:pt x="26" y="5"/>
                  </a:lnTo>
                  <a:lnTo>
                    <a:pt x="27" y="5"/>
                  </a:lnTo>
                  <a:lnTo>
                    <a:pt x="26" y="5"/>
                  </a:lnTo>
                  <a:lnTo>
                    <a:pt x="26" y="4"/>
                  </a:lnTo>
                  <a:lnTo>
                    <a:pt x="26" y="2"/>
                  </a:lnTo>
                  <a:lnTo>
                    <a:pt x="26" y="1"/>
                  </a:lnTo>
                  <a:lnTo>
                    <a:pt x="27" y="1"/>
                  </a:lnTo>
                  <a:lnTo>
                    <a:pt x="27" y="2"/>
                  </a:lnTo>
                  <a:lnTo>
                    <a:pt x="29" y="2"/>
                  </a:lnTo>
                  <a:lnTo>
                    <a:pt x="30" y="2"/>
                  </a:lnTo>
                  <a:lnTo>
                    <a:pt x="30" y="1"/>
                  </a:lnTo>
                  <a:lnTo>
                    <a:pt x="30" y="0"/>
                  </a:lnTo>
                  <a:lnTo>
                    <a:pt x="31" y="0"/>
                  </a:lnTo>
                  <a:lnTo>
                    <a:pt x="32" y="0"/>
                  </a:lnTo>
                  <a:close/>
                </a:path>
              </a:pathLst>
            </a:custGeom>
            <a:solidFill>
              <a:srgbClr val="00539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t-IT" sz="1200" dirty="0">
                <a:solidFill>
                  <a:schemeClr val="lt1"/>
                </a:solidFill>
              </a:endParaRPr>
            </a:p>
          </p:txBody>
        </p:sp>
        <p:sp>
          <p:nvSpPr>
            <p:cNvPr id="105" name="Freeform 858">
              <a:extLst>
                <a:ext uri="{FF2B5EF4-FFF2-40B4-BE49-F238E27FC236}">
                  <a16:creationId xmlns:a16="http://schemas.microsoft.com/office/drawing/2014/main" id="{5A37CF60-1636-446B-AAAA-BF742E0FD084}"/>
                </a:ext>
              </a:extLst>
            </p:cNvPr>
            <p:cNvSpPr>
              <a:spLocks/>
            </p:cNvSpPr>
            <p:nvPr/>
          </p:nvSpPr>
          <p:spPr bwMode="auto">
            <a:xfrm>
              <a:off x="3781828" y="3129508"/>
              <a:ext cx="0" cy="1336"/>
            </a:xfrm>
            <a:custGeom>
              <a:avLst/>
              <a:gdLst>
                <a:gd name="T0" fmla="*/ 1 h 1"/>
                <a:gd name="T1" fmla="*/ 1 h 1"/>
                <a:gd name="T2" fmla="*/ 1 h 1"/>
                <a:gd name="T3" fmla="*/ 0 h 1"/>
                <a:gd name="T4" fmla="*/ 0 h 1"/>
                <a:gd name="T5" fmla="*/ 1 h 1"/>
                <a:gd name="T6" fmla="*/ 1 h 1"/>
              </a:gdLst>
              <a:ahLst/>
              <a:cxnLst>
                <a:cxn ang="0">
                  <a:pos x="0" y="T0"/>
                </a:cxn>
                <a:cxn ang="0">
                  <a:pos x="0" y="T1"/>
                </a:cxn>
                <a:cxn ang="0">
                  <a:pos x="0" y="T2"/>
                </a:cxn>
                <a:cxn ang="0">
                  <a:pos x="0" y="T3"/>
                </a:cxn>
                <a:cxn ang="0">
                  <a:pos x="0" y="T4"/>
                </a:cxn>
                <a:cxn ang="0">
                  <a:pos x="0" y="T5"/>
                </a:cxn>
                <a:cxn ang="0">
                  <a:pos x="0" y="T6"/>
                </a:cxn>
              </a:cxnLst>
              <a:rect l="0" t="0" r="r" b="b"/>
              <a:pathLst>
                <a:path h="1">
                  <a:moveTo>
                    <a:pt x="0" y="1"/>
                  </a:moveTo>
                  <a:lnTo>
                    <a:pt x="0" y="1"/>
                  </a:lnTo>
                  <a:lnTo>
                    <a:pt x="0" y="1"/>
                  </a:lnTo>
                  <a:lnTo>
                    <a:pt x="0" y="0"/>
                  </a:lnTo>
                  <a:lnTo>
                    <a:pt x="0" y="0"/>
                  </a:lnTo>
                  <a:lnTo>
                    <a:pt x="0" y="1"/>
                  </a:lnTo>
                  <a:lnTo>
                    <a:pt x="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06" name="Freeform 859">
              <a:extLst>
                <a:ext uri="{FF2B5EF4-FFF2-40B4-BE49-F238E27FC236}">
                  <a16:creationId xmlns:a16="http://schemas.microsoft.com/office/drawing/2014/main" id="{B1E2F70B-A27C-4C54-933A-9DF4A0455204}"/>
                </a:ext>
              </a:extLst>
            </p:cNvPr>
            <p:cNvSpPr>
              <a:spLocks noEditPoints="1"/>
            </p:cNvSpPr>
            <p:nvPr/>
          </p:nvSpPr>
          <p:spPr bwMode="auto">
            <a:xfrm>
              <a:off x="5965351" y="3072082"/>
              <a:ext cx="142898" cy="241724"/>
            </a:xfrm>
            <a:custGeom>
              <a:avLst/>
              <a:gdLst>
                <a:gd name="T0" fmla="*/ 82 w 107"/>
                <a:gd name="T1" fmla="*/ 2 h 181"/>
                <a:gd name="T2" fmla="*/ 85 w 107"/>
                <a:gd name="T3" fmla="*/ 7 h 181"/>
                <a:gd name="T4" fmla="*/ 87 w 107"/>
                <a:gd name="T5" fmla="*/ 15 h 181"/>
                <a:gd name="T6" fmla="*/ 90 w 107"/>
                <a:gd name="T7" fmla="*/ 21 h 181"/>
                <a:gd name="T8" fmla="*/ 90 w 107"/>
                <a:gd name="T9" fmla="*/ 28 h 181"/>
                <a:gd name="T10" fmla="*/ 91 w 107"/>
                <a:gd name="T11" fmla="*/ 38 h 181"/>
                <a:gd name="T12" fmla="*/ 97 w 107"/>
                <a:gd name="T13" fmla="*/ 48 h 181"/>
                <a:gd name="T14" fmla="*/ 86 w 107"/>
                <a:gd name="T15" fmla="*/ 50 h 181"/>
                <a:gd name="T16" fmla="*/ 80 w 107"/>
                <a:gd name="T17" fmla="*/ 62 h 181"/>
                <a:gd name="T18" fmla="*/ 91 w 107"/>
                <a:gd name="T19" fmla="*/ 71 h 181"/>
                <a:gd name="T20" fmla="*/ 98 w 107"/>
                <a:gd name="T21" fmla="*/ 85 h 181"/>
                <a:gd name="T22" fmla="*/ 92 w 107"/>
                <a:gd name="T23" fmla="*/ 93 h 181"/>
                <a:gd name="T24" fmla="*/ 87 w 107"/>
                <a:gd name="T25" fmla="*/ 105 h 181"/>
                <a:gd name="T26" fmla="*/ 83 w 107"/>
                <a:gd name="T27" fmla="*/ 112 h 181"/>
                <a:gd name="T28" fmla="*/ 85 w 107"/>
                <a:gd name="T29" fmla="*/ 119 h 181"/>
                <a:gd name="T30" fmla="*/ 85 w 107"/>
                <a:gd name="T31" fmla="*/ 127 h 181"/>
                <a:gd name="T32" fmla="*/ 90 w 107"/>
                <a:gd name="T33" fmla="*/ 137 h 181"/>
                <a:gd name="T34" fmla="*/ 91 w 107"/>
                <a:gd name="T35" fmla="*/ 143 h 181"/>
                <a:gd name="T36" fmla="*/ 100 w 107"/>
                <a:gd name="T37" fmla="*/ 156 h 181"/>
                <a:gd name="T38" fmla="*/ 105 w 107"/>
                <a:gd name="T39" fmla="*/ 164 h 181"/>
                <a:gd name="T40" fmla="*/ 106 w 107"/>
                <a:gd name="T41" fmla="*/ 172 h 181"/>
                <a:gd name="T42" fmla="*/ 106 w 107"/>
                <a:gd name="T43" fmla="*/ 179 h 181"/>
                <a:gd name="T44" fmla="*/ 100 w 107"/>
                <a:gd name="T45" fmla="*/ 176 h 181"/>
                <a:gd name="T46" fmla="*/ 91 w 107"/>
                <a:gd name="T47" fmla="*/ 176 h 181"/>
                <a:gd name="T48" fmla="*/ 86 w 107"/>
                <a:gd name="T49" fmla="*/ 172 h 181"/>
                <a:gd name="T50" fmla="*/ 77 w 107"/>
                <a:gd name="T51" fmla="*/ 172 h 181"/>
                <a:gd name="T52" fmla="*/ 64 w 107"/>
                <a:gd name="T53" fmla="*/ 171 h 181"/>
                <a:gd name="T54" fmla="*/ 55 w 107"/>
                <a:gd name="T55" fmla="*/ 170 h 181"/>
                <a:gd name="T56" fmla="*/ 44 w 107"/>
                <a:gd name="T57" fmla="*/ 170 h 181"/>
                <a:gd name="T58" fmla="*/ 23 w 107"/>
                <a:gd name="T59" fmla="*/ 172 h 181"/>
                <a:gd name="T60" fmla="*/ 18 w 107"/>
                <a:gd name="T61" fmla="*/ 167 h 181"/>
                <a:gd name="T62" fmla="*/ 20 w 107"/>
                <a:gd name="T63" fmla="*/ 155 h 181"/>
                <a:gd name="T64" fmla="*/ 16 w 107"/>
                <a:gd name="T65" fmla="*/ 150 h 181"/>
                <a:gd name="T66" fmla="*/ 16 w 107"/>
                <a:gd name="T67" fmla="*/ 146 h 181"/>
                <a:gd name="T68" fmla="*/ 15 w 107"/>
                <a:gd name="T69" fmla="*/ 144 h 181"/>
                <a:gd name="T70" fmla="*/ 15 w 107"/>
                <a:gd name="T71" fmla="*/ 143 h 181"/>
                <a:gd name="T72" fmla="*/ 11 w 107"/>
                <a:gd name="T73" fmla="*/ 144 h 181"/>
                <a:gd name="T74" fmla="*/ 6 w 107"/>
                <a:gd name="T75" fmla="*/ 140 h 181"/>
                <a:gd name="T76" fmla="*/ 5 w 107"/>
                <a:gd name="T77" fmla="*/ 134 h 181"/>
                <a:gd name="T78" fmla="*/ 2 w 107"/>
                <a:gd name="T79" fmla="*/ 134 h 181"/>
                <a:gd name="T80" fmla="*/ 1 w 107"/>
                <a:gd name="T81" fmla="*/ 130 h 181"/>
                <a:gd name="T82" fmla="*/ 4 w 107"/>
                <a:gd name="T83" fmla="*/ 122 h 181"/>
                <a:gd name="T84" fmla="*/ 5 w 107"/>
                <a:gd name="T85" fmla="*/ 113 h 181"/>
                <a:gd name="T86" fmla="*/ 13 w 107"/>
                <a:gd name="T87" fmla="*/ 106 h 181"/>
                <a:gd name="T88" fmla="*/ 22 w 107"/>
                <a:gd name="T89" fmla="*/ 97 h 181"/>
                <a:gd name="T90" fmla="*/ 30 w 107"/>
                <a:gd name="T91" fmla="*/ 95 h 181"/>
                <a:gd name="T92" fmla="*/ 35 w 107"/>
                <a:gd name="T93" fmla="*/ 104 h 181"/>
                <a:gd name="T94" fmla="*/ 42 w 107"/>
                <a:gd name="T95" fmla="*/ 100 h 181"/>
                <a:gd name="T96" fmla="*/ 45 w 107"/>
                <a:gd name="T97" fmla="*/ 92 h 181"/>
                <a:gd name="T98" fmla="*/ 50 w 107"/>
                <a:gd name="T99" fmla="*/ 81 h 181"/>
                <a:gd name="T100" fmla="*/ 51 w 107"/>
                <a:gd name="T101" fmla="*/ 73 h 181"/>
                <a:gd name="T102" fmla="*/ 57 w 107"/>
                <a:gd name="T103" fmla="*/ 70 h 181"/>
                <a:gd name="T104" fmla="*/ 61 w 107"/>
                <a:gd name="T105" fmla="*/ 58 h 181"/>
                <a:gd name="T106" fmla="*/ 65 w 107"/>
                <a:gd name="T107" fmla="*/ 52 h 181"/>
                <a:gd name="T108" fmla="*/ 68 w 107"/>
                <a:gd name="T109" fmla="*/ 44 h 181"/>
                <a:gd name="T110" fmla="*/ 75 w 107"/>
                <a:gd name="T111" fmla="*/ 29 h 181"/>
                <a:gd name="T112" fmla="*/ 82 w 107"/>
                <a:gd name="T113" fmla="*/ 27 h 181"/>
                <a:gd name="T114" fmla="*/ 84 w 107"/>
                <a:gd name="T115" fmla="*/ 20 h 181"/>
                <a:gd name="T116" fmla="*/ 82 w 107"/>
                <a:gd name="T117" fmla="*/ 11 h 181"/>
                <a:gd name="T118" fmla="*/ 80 w 107"/>
                <a:gd name="T11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7" h="181">
                  <a:moveTo>
                    <a:pt x="79" y="0"/>
                  </a:moveTo>
                  <a:lnTo>
                    <a:pt x="79" y="1"/>
                  </a:lnTo>
                  <a:lnTo>
                    <a:pt x="78" y="1"/>
                  </a:lnTo>
                  <a:lnTo>
                    <a:pt x="79" y="1"/>
                  </a:lnTo>
                  <a:lnTo>
                    <a:pt x="79" y="2"/>
                  </a:lnTo>
                  <a:lnTo>
                    <a:pt x="79" y="3"/>
                  </a:lnTo>
                  <a:lnTo>
                    <a:pt x="80" y="3"/>
                  </a:lnTo>
                  <a:lnTo>
                    <a:pt x="80" y="2"/>
                  </a:lnTo>
                  <a:lnTo>
                    <a:pt x="82" y="2"/>
                  </a:lnTo>
                  <a:lnTo>
                    <a:pt x="82" y="1"/>
                  </a:lnTo>
                  <a:lnTo>
                    <a:pt x="82" y="2"/>
                  </a:lnTo>
                  <a:lnTo>
                    <a:pt x="82" y="3"/>
                  </a:lnTo>
                  <a:lnTo>
                    <a:pt x="83" y="3"/>
                  </a:lnTo>
                  <a:lnTo>
                    <a:pt x="83" y="4"/>
                  </a:lnTo>
                  <a:lnTo>
                    <a:pt x="84" y="4"/>
                  </a:lnTo>
                  <a:lnTo>
                    <a:pt x="84" y="6"/>
                  </a:lnTo>
                  <a:lnTo>
                    <a:pt x="85" y="6"/>
                  </a:lnTo>
                  <a:lnTo>
                    <a:pt x="85" y="7"/>
                  </a:lnTo>
                  <a:lnTo>
                    <a:pt x="85" y="6"/>
                  </a:lnTo>
                  <a:lnTo>
                    <a:pt x="85" y="7"/>
                  </a:lnTo>
                  <a:lnTo>
                    <a:pt x="86" y="7"/>
                  </a:lnTo>
                  <a:lnTo>
                    <a:pt x="87" y="9"/>
                  </a:lnTo>
                  <a:lnTo>
                    <a:pt x="87" y="10"/>
                  </a:lnTo>
                  <a:lnTo>
                    <a:pt x="87" y="11"/>
                  </a:lnTo>
                  <a:lnTo>
                    <a:pt x="87" y="13"/>
                  </a:lnTo>
                  <a:lnTo>
                    <a:pt x="87" y="14"/>
                  </a:lnTo>
                  <a:lnTo>
                    <a:pt x="87" y="15"/>
                  </a:lnTo>
                  <a:lnTo>
                    <a:pt x="89" y="15"/>
                  </a:lnTo>
                  <a:lnTo>
                    <a:pt x="90" y="15"/>
                  </a:lnTo>
                  <a:lnTo>
                    <a:pt x="90" y="16"/>
                  </a:lnTo>
                  <a:lnTo>
                    <a:pt x="90" y="17"/>
                  </a:lnTo>
                  <a:lnTo>
                    <a:pt x="90" y="18"/>
                  </a:lnTo>
                  <a:lnTo>
                    <a:pt x="90" y="20"/>
                  </a:lnTo>
                  <a:lnTo>
                    <a:pt x="91" y="20"/>
                  </a:lnTo>
                  <a:lnTo>
                    <a:pt x="91" y="21"/>
                  </a:lnTo>
                  <a:lnTo>
                    <a:pt x="90" y="21"/>
                  </a:lnTo>
                  <a:lnTo>
                    <a:pt x="91" y="21"/>
                  </a:lnTo>
                  <a:lnTo>
                    <a:pt x="90" y="21"/>
                  </a:lnTo>
                  <a:lnTo>
                    <a:pt x="90" y="22"/>
                  </a:lnTo>
                  <a:lnTo>
                    <a:pt x="90" y="23"/>
                  </a:lnTo>
                  <a:lnTo>
                    <a:pt x="91" y="23"/>
                  </a:lnTo>
                  <a:lnTo>
                    <a:pt x="91" y="24"/>
                  </a:lnTo>
                  <a:lnTo>
                    <a:pt x="90" y="25"/>
                  </a:lnTo>
                  <a:lnTo>
                    <a:pt x="90" y="27"/>
                  </a:lnTo>
                  <a:lnTo>
                    <a:pt x="90" y="28"/>
                  </a:lnTo>
                  <a:lnTo>
                    <a:pt x="90" y="29"/>
                  </a:lnTo>
                  <a:lnTo>
                    <a:pt x="90" y="30"/>
                  </a:lnTo>
                  <a:lnTo>
                    <a:pt x="90" y="31"/>
                  </a:lnTo>
                  <a:lnTo>
                    <a:pt x="90" y="32"/>
                  </a:lnTo>
                  <a:lnTo>
                    <a:pt x="90" y="34"/>
                  </a:lnTo>
                  <a:lnTo>
                    <a:pt x="91" y="34"/>
                  </a:lnTo>
                  <a:lnTo>
                    <a:pt x="90" y="35"/>
                  </a:lnTo>
                  <a:lnTo>
                    <a:pt x="90" y="36"/>
                  </a:lnTo>
                  <a:lnTo>
                    <a:pt x="91" y="38"/>
                  </a:lnTo>
                  <a:lnTo>
                    <a:pt x="91" y="39"/>
                  </a:lnTo>
                  <a:lnTo>
                    <a:pt x="91" y="41"/>
                  </a:lnTo>
                  <a:lnTo>
                    <a:pt x="92" y="41"/>
                  </a:lnTo>
                  <a:lnTo>
                    <a:pt x="93" y="42"/>
                  </a:lnTo>
                  <a:lnTo>
                    <a:pt x="93" y="43"/>
                  </a:lnTo>
                  <a:lnTo>
                    <a:pt x="96" y="45"/>
                  </a:lnTo>
                  <a:lnTo>
                    <a:pt x="96" y="46"/>
                  </a:lnTo>
                  <a:lnTo>
                    <a:pt x="97" y="46"/>
                  </a:lnTo>
                  <a:lnTo>
                    <a:pt x="97" y="48"/>
                  </a:lnTo>
                  <a:lnTo>
                    <a:pt x="98" y="48"/>
                  </a:lnTo>
                  <a:lnTo>
                    <a:pt x="99" y="49"/>
                  </a:lnTo>
                  <a:lnTo>
                    <a:pt x="96" y="50"/>
                  </a:lnTo>
                  <a:lnTo>
                    <a:pt x="94" y="50"/>
                  </a:lnTo>
                  <a:lnTo>
                    <a:pt x="92" y="49"/>
                  </a:lnTo>
                  <a:lnTo>
                    <a:pt x="91" y="49"/>
                  </a:lnTo>
                  <a:lnTo>
                    <a:pt x="90" y="49"/>
                  </a:lnTo>
                  <a:lnTo>
                    <a:pt x="89" y="49"/>
                  </a:lnTo>
                  <a:lnTo>
                    <a:pt x="86" y="50"/>
                  </a:lnTo>
                  <a:lnTo>
                    <a:pt x="82" y="49"/>
                  </a:lnTo>
                  <a:lnTo>
                    <a:pt x="78" y="49"/>
                  </a:lnTo>
                  <a:lnTo>
                    <a:pt x="77" y="51"/>
                  </a:lnTo>
                  <a:lnTo>
                    <a:pt x="76" y="52"/>
                  </a:lnTo>
                  <a:lnTo>
                    <a:pt x="75" y="53"/>
                  </a:lnTo>
                  <a:lnTo>
                    <a:pt x="75" y="55"/>
                  </a:lnTo>
                  <a:lnTo>
                    <a:pt x="76" y="56"/>
                  </a:lnTo>
                  <a:lnTo>
                    <a:pt x="80" y="60"/>
                  </a:lnTo>
                  <a:lnTo>
                    <a:pt x="80" y="62"/>
                  </a:lnTo>
                  <a:lnTo>
                    <a:pt x="84" y="64"/>
                  </a:lnTo>
                  <a:lnTo>
                    <a:pt x="86" y="67"/>
                  </a:lnTo>
                  <a:lnTo>
                    <a:pt x="87" y="67"/>
                  </a:lnTo>
                  <a:lnTo>
                    <a:pt x="89" y="67"/>
                  </a:lnTo>
                  <a:lnTo>
                    <a:pt x="89" y="69"/>
                  </a:lnTo>
                  <a:lnTo>
                    <a:pt x="89" y="70"/>
                  </a:lnTo>
                  <a:lnTo>
                    <a:pt x="90" y="70"/>
                  </a:lnTo>
                  <a:lnTo>
                    <a:pt x="91" y="70"/>
                  </a:lnTo>
                  <a:lnTo>
                    <a:pt x="91" y="71"/>
                  </a:lnTo>
                  <a:lnTo>
                    <a:pt x="92" y="72"/>
                  </a:lnTo>
                  <a:lnTo>
                    <a:pt x="92" y="73"/>
                  </a:lnTo>
                  <a:lnTo>
                    <a:pt x="94" y="78"/>
                  </a:lnTo>
                  <a:lnTo>
                    <a:pt x="96" y="81"/>
                  </a:lnTo>
                  <a:lnTo>
                    <a:pt x="96" y="83"/>
                  </a:lnTo>
                  <a:lnTo>
                    <a:pt x="97" y="83"/>
                  </a:lnTo>
                  <a:lnTo>
                    <a:pt x="97" y="84"/>
                  </a:lnTo>
                  <a:lnTo>
                    <a:pt x="98" y="84"/>
                  </a:lnTo>
                  <a:lnTo>
                    <a:pt x="98" y="85"/>
                  </a:lnTo>
                  <a:lnTo>
                    <a:pt x="98" y="86"/>
                  </a:lnTo>
                  <a:lnTo>
                    <a:pt x="97" y="87"/>
                  </a:lnTo>
                  <a:lnTo>
                    <a:pt x="96" y="88"/>
                  </a:lnTo>
                  <a:lnTo>
                    <a:pt x="96" y="90"/>
                  </a:lnTo>
                  <a:lnTo>
                    <a:pt x="96" y="91"/>
                  </a:lnTo>
                  <a:lnTo>
                    <a:pt x="94" y="91"/>
                  </a:lnTo>
                  <a:lnTo>
                    <a:pt x="93" y="92"/>
                  </a:lnTo>
                  <a:lnTo>
                    <a:pt x="93" y="93"/>
                  </a:lnTo>
                  <a:lnTo>
                    <a:pt x="92" y="93"/>
                  </a:lnTo>
                  <a:lnTo>
                    <a:pt x="92" y="94"/>
                  </a:lnTo>
                  <a:lnTo>
                    <a:pt x="92" y="95"/>
                  </a:lnTo>
                  <a:lnTo>
                    <a:pt x="91" y="97"/>
                  </a:lnTo>
                  <a:lnTo>
                    <a:pt x="91" y="98"/>
                  </a:lnTo>
                  <a:lnTo>
                    <a:pt x="91" y="99"/>
                  </a:lnTo>
                  <a:lnTo>
                    <a:pt x="90" y="100"/>
                  </a:lnTo>
                  <a:lnTo>
                    <a:pt x="89" y="100"/>
                  </a:lnTo>
                  <a:lnTo>
                    <a:pt x="89" y="101"/>
                  </a:lnTo>
                  <a:lnTo>
                    <a:pt x="87" y="105"/>
                  </a:lnTo>
                  <a:lnTo>
                    <a:pt x="87" y="106"/>
                  </a:lnTo>
                  <a:lnTo>
                    <a:pt x="86" y="107"/>
                  </a:lnTo>
                  <a:lnTo>
                    <a:pt x="84" y="108"/>
                  </a:lnTo>
                  <a:lnTo>
                    <a:pt x="84" y="109"/>
                  </a:lnTo>
                  <a:lnTo>
                    <a:pt x="83" y="109"/>
                  </a:lnTo>
                  <a:lnTo>
                    <a:pt x="83" y="111"/>
                  </a:lnTo>
                  <a:lnTo>
                    <a:pt x="82" y="111"/>
                  </a:lnTo>
                  <a:lnTo>
                    <a:pt x="82" y="112"/>
                  </a:lnTo>
                  <a:lnTo>
                    <a:pt x="83" y="112"/>
                  </a:lnTo>
                  <a:lnTo>
                    <a:pt x="83" y="113"/>
                  </a:lnTo>
                  <a:lnTo>
                    <a:pt x="84" y="113"/>
                  </a:lnTo>
                  <a:lnTo>
                    <a:pt x="84" y="114"/>
                  </a:lnTo>
                  <a:lnTo>
                    <a:pt x="85" y="114"/>
                  </a:lnTo>
                  <a:lnTo>
                    <a:pt x="85" y="115"/>
                  </a:lnTo>
                  <a:lnTo>
                    <a:pt x="85" y="116"/>
                  </a:lnTo>
                  <a:lnTo>
                    <a:pt x="84" y="118"/>
                  </a:lnTo>
                  <a:lnTo>
                    <a:pt x="84" y="119"/>
                  </a:lnTo>
                  <a:lnTo>
                    <a:pt x="85" y="119"/>
                  </a:lnTo>
                  <a:lnTo>
                    <a:pt x="85" y="120"/>
                  </a:lnTo>
                  <a:lnTo>
                    <a:pt x="84" y="120"/>
                  </a:lnTo>
                  <a:lnTo>
                    <a:pt x="84" y="121"/>
                  </a:lnTo>
                  <a:lnTo>
                    <a:pt x="84" y="122"/>
                  </a:lnTo>
                  <a:lnTo>
                    <a:pt x="84" y="123"/>
                  </a:lnTo>
                  <a:lnTo>
                    <a:pt x="85" y="123"/>
                  </a:lnTo>
                  <a:lnTo>
                    <a:pt x="85" y="125"/>
                  </a:lnTo>
                  <a:lnTo>
                    <a:pt x="85" y="126"/>
                  </a:lnTo>
                  <a:lnTo>
                    <a:pt x="85" y="127"/>
                  </a:lnTo>
                  <a:lnTo>
                    <a:pt x="85" y="128"/>
                  </a:lnTo>
                  <a:lnTo>
                    <a:pt x="86" y="129"/>
                  </a:lnTo>
                  <a:lnTo>
                    <a:pt x="86" y="130"/>
                  </a:lnTo>
                  <a:lnTo>
                    <a:pt x="86" y="132"/>
                  </a:lnTo>
                  <a:lnTo>
                    <a:pt x="86" y="133"/>
                  </a:lnTo>
                  <a:lnTo>
                    <a:pt x="86" y="134"/>
                  </a:lnTo>
                  <a:lnTo>
                    <a:pt x="87" y="135"/>
                  </a:lnTo>
                  <a:lnTo>
                    <a:pt x="90" y="136"/>
                  </a:lnTo>
                  <a:lnTo>
                    <a:pt x="90" y="137"/>
                  </a:lnTo>
                  <a:lnTo>
                    <a:pt x="91" y="137"/>
                  </a:lnTo>
                  <a:lnTo>
                    <a:pt x="91" y="139"/>
                  </a:lnTo>
                  <a:lnTo>
                    <a:pt x="91" y="140"/>
                  </a:lnTo>
                  <a:lnTo>
                    <a:pt x="91" y="141"/>
                  </a:lnTo>
                  <a:lnTo>
                    <a:pt x="92" y="142"/>
                  </a:lnTo>
                  <a:lnTo>
                    <a:pt x="93" y="142"/>
                  </a:lnTo>
                  <a:lnTo>
                    <a:pt x="92" y="142"/>
                  </a:lnTo>
                  <a:lnTo>
                    <a:pt x="92" y="143"/>
                  </a:lnTo>
                  <a:lnTo>
                    <a:pt x="91" y="143"/>
                  </a:lnTo>
                  <a:lnTo>
                    <a:pt x="91" y="146"/>
                  </a:lnTo>
                  <a:lnTo>
                    <a:pt x="92" y="147"/>
                  </a:lnTo>
                  <a:lnTo>
                    <a:pt x="93" y="149"/>
                  </a:lnTo>
                  <a:lnTo>
                    <a:pt x="94" y="149"/>
                  </a:lnTo>
                  <a:lnTo>
                    <a:pt x="94" y="150"/>
                  </a:lnTo>
                  <a:lnTo>
                    <a:pt x="96" y="151"/>
                  </a:lnTo>
                  <a:lnTo>
                    <a:pt x="98" y="153"/>
                  </a:lnTo>
                  <a:lnTo>
                    <a:pt x="99" y="155"/>
                  </a:lnTo>
                  <a:lnTo>
                    <a:pt x="100" y="156"/>
                  </a:lnTo>
                  <a:lnTo>
                    <a:pt x="101" y="157"/>
                  </a:lnTo>
                  <a:lnTo>
                    <a:pt x="103" y="157"/>
                  </a:lnTo>
                  <a:lnTo>
                    <a:pt x="104" y="158"/>
                  </a:lnTo>
                  <a:lnTo>
                    <a:pt x="104" y="160"/>
                  </a:lnTo>
                  <a:lnTo>
                    <a:pt x="105" y="160"/>
                  </a:lnTo>
                  <a:lnTo>
                    <a:pt x="105" y="161"/>
                  </a:lnTo>
                  <a:lnTo>
                    <a:pt x="106" y="162"/>
                  </a:lnTo>
                  <a:lnTo>
                    <a:pt x="105" y="163"/>
                  </a:lnTo>
                  <a:lnTo>
                    <a:pt x="105" y="164"/>
                  </a:lnTo>
                  <a:lnTo>
                    <a:pt x="106" y="164"/>
                  </a:lnTo>
                  <a:lnTo>
                    <a:pt x="106" y="165"/>
                  </a:lnTo>
                  <a:lnTo>
                    <a:pt x="106" y="167"/>
                  </a:lnTo>
                  <a:lnTo>
                    <a:pt x="106" y="168"/>
                  </a:lnTo>
                  <a:lnTo>
                    <a:pt x="106" y="169"/>
                  </a:lnTo>
                  <a:lnTo>
                    <a:pt x="106" y="170"/>
                  </a:lnTo>
                  <a:lnTo>
                    <a:pt x="107" y="170"/>
                  </a:lnTo>
                  <a:lnTo>
                    <a:pt x="107" y="171"/>
                  </a:lnTo>
                  <a:lnTo>
                    <a:pt x="106" y="172"/>
                  </a:lnTo>
                  <a:lnTo>
                    <a:pt x="106" y="171"/>
                  </a:lnTo>
                  <a:lnTo>
                    <a:pt x="106" y="172"/>
                  </a:lnTo>
                  <a:lnTo>
                    <a:pt x="106" y="174"/>
                  </a:lnTo>
                  <a:lnTo>
                    <a:pt x="105" y="174"/>
                  </a:lnTo>
                  <a:lnTo>
                    <a:pt x="105" y="175"/>
                  </a:lnTo>
                  <a:lnTo>
                    <a:pt x="105" y="176"/>
                  </a:lnTo>
                  <a:lnTo>
                    <a:pt x="106" y="176"/>
                  </a:lnTo>
                  <a:lnTo>
                    <a:pt x="106" y="177"/>
                  </a:lnTo>
                  <a:lnTo>
                    <a:pt x="106" y="179"/>
                  </a:lnTo>
                  <a:lnTo>
                    <a:pt x="105" y="181"/>
                  </a:lnTo>
                  <a:lnTo>
                    <a:pt x="105" y="179"/>
                  </a:lnTo>
                  <a:lnTo>
                    <a:pt x="105" y="178"/>
                  </a:lnTo>
                  <a:lnTo>
                    <a:pt x="104" y="178"/>
                  </a:lnTo>
                  <a:lnTo>
                    <a:pt x="103" y="178"/>
                  </a:lnTo>
                  <a:lnTo>
                    <a:pt x="103" y="177"/>
                  </a:lnTo>
                  <a:lnTo>
                    <a:pt x="101" y="177"/>
                  </a:lnTo>
                  <a:lnTo>
                    <a:pt x="101" y="176"/>
                  </a:lnTo>
                  <a:lnTo>
                    <a:pt x="100" y="176"/>
                  </a:lnTo>
                  <a:lnTo>
                    <a:pt x="99" y="176"/>
                  </a:lnTo>
                  <a:lnTo>
                    <a:pt x="98" y="176"/>
                  </a:lnTo>
                  <a:lnTo>
                    <a:pt x="97" y="176"/>
                  </a:lnTo>
                  <a:lnTo>
                    <a:pt x="96" y="176"/>
                  </a:lnTo>
                  <a:lnTo>
                    <a:pt x="94" y="176"/>
                  </a:lnTo>
                  <a:lnTo>
                    <a:pt x="94" y="175"/>
                  </a:lnTo>
                  <a:lnTo>
                    <a:pt x="93" y="175"/>
                  </a:lnTo>
                  <a:lnTo>
                    <a:pt x="92" y="175"/>
                  </a:lnTo>
                  <a:lnTo>
                    <a:pt x="91" y="176"/>
                  </a:lnTo>
                  <a:lnTo>
                    <a:pt x="91" y="175"/>
                  </a:lnTo>
                  <a:lnTo>
                    <a:pt x="90" y="175"/>
                  </a:lnTo>
                  <a:lnTo>
                    <a:pt x="89" y="175"/>
                  </a:lnTo>
                  <a:lnTo>
                    <a:pt x="89" y="174"/>
                  </a:lnTo>
                  <a:lnTo>
                    <a:pt x="87" y="174"/>
                  </a:lnTo>
                  <a:lnTo>
                    <a:pt x="86" y="174"/>
                  </a:lnTo>
                  <a:lnTo>
                    <a:pt x="86" y="172"/>
                  </a:lnTo>
                  <a:lnTo>
                    <a:pt x="86" y="174"/>
                  </a:lnTo>
                  <a:lnTo>
                    <a:pt x="86" y="172"/>
                  </a:lnTo>
                  <a:lnTo>
                    <a:pt x="85" y="172"/>
                  </a:lnTo>
                  <a:lnTo>
                    <a:pt x="85" y="171"/>
                  </a:lnTo>
                  <a:lnTo>
                    <a:pt x="84" y="171"/>
                  </a:lnTo>
                  <a:lnTo>
                    <a:pt x="84" y="172"/>
                  </a:lnTo>
                  <a:lnTo>
                    <a:pt x="83" y="172"/>
                  </a:lnTo>
                  <a:lnTo>
                    <a:pt x="82" y="172"/>
                  </a:lnTo>
                  <a:lnTo>
                    <a:pt x="80" y="172"/>
                  </a:lnTo>
                  <a:lnTo>
                    <a:pt x="78" y="172"/>
                  </a:lnTo>
                  <a:lnTo>
                    <a:pt x="77" y="172"/>
                  </a:lnTo>
                  <a:lnTo>
                    <a:pt x="73" y="172"/>
                  </a:lnTo>
                  <a:lnTo>
                    <a:pt x="71" y="172"/>
                  </a:lnTo>
                  <a:lnTo>
                    <a:pt x="69" y="172"/>
                  </a:lnTo>
                  <a:lnTo>
                    <a:pt x="66" y="172"/>
                  </a:lnTo>
                  <a:lnTo>
                    <a:pt x="66" y="171"/>
                  </a:lnTo>
                  <a:lnTo>
                    <a:pt x="65" y="171"/>
                  </a:lnTo>
                  <a:lnTo>
                    <a:pt x="65" y="170"/>
                  </a:lnTo>
                  <a:lnTo>
                    <a:pt x="64" y="170"/>
                  </a:lnTo>
                  <a:lnTo>
                    <a:pt x="64" y="171"/>
                  </a:lnTo>
                  <a:lnTo>
                    <a:pt x="63" y="171"/>
                  </a:lnTo>
                  <a:lnTo>
                    <a:pt x="62" y="171"/>
                  </a:lnTo>
                  <a:lnTo>
                    <a:pt x="61" y="171"/>
                  </a:lnTo>
                  <a:lnTo>
                    <a:pt x="59" y="171"/>
                  </a:lnTo>
                  <a:lnTo>
                    <a:pt x="57" y="171"/>
                  </a:lnTo>
                  <a:lnTo>
                    <a:pt x="56" y="170"/>
                  </a:lnTo>
                  <a:lnTo>
                    <a:pt x="56" y="171"/>
                  </a:lnTo>
                  <a:lnTo>
                    <a:pt x="56" y="170"/>
                  </a:lnTo>
                  <a:lnTo>
                    <a:pt x="55" y="170"/>
                  </a:lnTo>
                  <a:lnTo>
                    <a:pt x="54" y="170"/>
                  </a:lnTo>
                  <a:lnTo>
                    <a:pt x="52" y="170"/>
                  </a:lnTo>
                  <a:lnTo>
                    <a:pt x="51" y="170"/>
                  </a:lnTo>
                  <a:lnTo>
                    <a:pt x="50" y="170"/>
                  </a:lnTo>
                  <a:lnTo>
                    <a:pt x="49" y="170"/>
                  </a:lnTo>
                  <a:lnTo>
                    <a:pt x="48" y="170"/>
                  </a:lnTo>
                  <a:lnTo>
                    <a:pt x="47" y="170"/>
                  </a:lnTo>
                  <a:lnTo>
                    <a:pt x="45" y="170"/>
                  </a:lnTo>
                  <a:lnTo>
                    <a:pt x="44" y="170"/>
                  </a:lnTo>
                  <a:lnTo>
                    <a:pt x="43" y="170"/>
                  </a:lnTo>
                  <a:lnTo>
                    <a:pt x="40" y="170"/>
                  </a:lnTo>
                  <a:lnTo>
                    <a:pt x="40" y="171"/>
                  </a:lnTo>
                  <a:lnTo>
                    <a:pt x="40" y="172"/>
                  </a:lnTo>
                  <a:lnTo>
                    <a:pt x="39" y="172"/>
                  </a:lnTo>
                  <a:lnTo>
                    <a:pt x="35" y="172"/>
                  </a:lnTo>
                  <a:lnTo>
                    <a:pt x="30" y="172"/>
                  </a:lnTo>
                  <a:lnTo>
                    <a:pt x="27" y="172"/>
                  </a:lnTo>
                  <a:lnTo>
                    <a:pt x="23" y="172"/>
                  </a:lnTo>
                  <a:lnTo>
                    <a:pt x="22" y="172"/>
                  </a:lnTo>
                  <a:lnTo>
                    <a:pt x="21" y="172"/>
                  </a:lnTo>
                  <a:lnTo>
                    <a:pt x="20" y="172"/>
                  </a:lnTo>
                  <a:lnTo>
                    <a:pt x="19" y="172"/>
                  </a:lnTo>
                  <a:lnTo>
                    <a:pt x="19" y="171"/>
                  </a:lnTo>
                  <a:lnTo>
                    <a:pt x="18" y="171"/>
                  </a:lnTo>
                  <a:lnTo>
                    <a:pt x="18" y="170"/>
                  </a:lnTo>
                  <a:lnTo>
                    <a:pt x="18" y="169"/>
                  </a:lnTo>
                  <a:lnTo>
                    <a:pt x="18" y="167"/>
                  </a:lnTo>
                  <a:lnTo>
                    <a:pt x="19" y="164"/>
                  </a:lnTo>
                  <a:lnTo>
                    <a:pt x="19" y="163"/>
                  </a:lnTo>
                  <a:lnTo>
                    <a:pt x="19" y="161"/>
                  </a:lnTo>
                  <a:lnTo>
                    <a:pt x="19" y="160"/>
                  </a:lnTo>
                  <a:lnTo>
                    <a:pt x="20" y="160"/>
                  </a:lnTo>
                  <a:lnTo>
                    <a:pt x="20" y="158"/>
                  </a:lnTo>
                  <a:lnTo>
                    <a:pt x="20" y="156"/>
                  </a:lnTo>
                  <a:lnTo>
                    <a:pt x="19" y="155"/>
                  </a:lnTo>
                  <a:lnTo>
                    <a:pt x="20" y="155"/>
                  </a:lnTo>
                  <a:lnTo>
                    <a:pt x="19" y="155"/>
                  </a:lnTo>
                  <a:lnTo>
                    <a:pt x="19" y="154"/>
                  </a:lnTo>
                  <a:lnTo>
                    <a:pt x="18" y="153"/>
                  </a:lnTo>
                  <a:lnTo>
                    <a:pt x="16" y="151"/>
                  </a:lnTo>
                  <a:lnTo>
                    <a:pt x="15" y="150"/>
                  </a:lnTo>
                  <a:lnTo>
                    <a:pt x="16" y="150"/>
                  </a:lnTo>
                  <a:lnTo>
                    <a:pt x="18" y="149"/>
                  </a:lnTo>
                  <a:lnTo>
                    <a:pt x="16" y="149"/>
                  </a:lnTo>
                  <a:lnTo>
                    <a:pt x="16" y="150"/>
                  </a:lnTo>
                  <a:lnTo>
                    <a:pt x="15" y="150"/>
                  </a:lnTo>
                  <a:lnTo>
                    <a:pt x="15" y="149"/>
                  </a:lnTo>
                  <a:lnTo>
                    <a:pt x="15" y="148"/>
                  </a:lnTo>
                  <a:lnTo>
                    <a:pt x="14" y="147"/>
                  </a:lnTo>
                  <a:lnTo>
                    <a:pt x="15" y="147"/>
                  </a:lnTo>
                  <a:lnTo>
                    <a:pt x="16" y="147"/>
                  </a:lnTo>
                  <a:lnTo>
                    <a:pt x="15" y="147"/>
                  </a:lnTo>
                  <a:lnTo>
                    <a:pt x="15" y="146"/>
                  </a:lnTo>
                  <a:lnTo>
                    <a:pt x="16" y="146"/>
                  </a:lnTo>
                  <a:lnTo>
                    <a:pt x="16" y="147"/>
                  </a:lnTo>
                  <a:lnTo>
                    <a:pt x="18" y="146"/>
                  </a:lnTo>
                  <a:lnTo>
                    <a:pt x="16" y="146"/>
                  </a:lnTo>
                  <a:lnTo>
                    <a:pt x="18" y="146"/>
                  </a:lnTo>
                  <a:lnTo>
                    <a:pt x="16" y="146"/>
                  </a:lnTo>
                  <a:lnTo>
                    <a:pt x="16" y="144"/>
                  </a:lnTo>
                  <a:lnTo>
                    <a:pt x="18" y="144"/>
                  </a:lnTo>
                  <a:lnTo>
                    <a:pt x="16" y="144"/>
                  </a:lnTo>
                  <a:lnTo>
                    <a:pt x="15" y="144"/>
                  </a:lnTo>
                  <a:lnTo>
                    <a:pt x="15" y="143"/>
                  </a:lnTo>
                  <a:lnTo>
                    <a:pt x="16" y="143"/>
                  </a:lnTo>
                  <a:lnTo>
                    <a:pt x="16" y="142"/>
                  </a:lnTo>
                  <a:lnTo>
                    <a:pt x="18" y="142"/>
                  </a:lnTo>
                  <a:lnTo>
                    <a:pt x="18" y="141"/>
                  </a:lnTo>
                  <a:lnTo>
                    <a:pt x="16" y="141"/>
                  </a:lnTo>
                  <a:lnTo>
                    <a:pt x="16" y="142"/>
                  </a:lnTo>
                  <a:lnTo>
                    <a:pt x="15" y="142"/>
                  </a:lnTo>
                  <a:lnTo>
                    <a:pt x="15" y="143"/>
                  </a:lnTo>
                  <a:lnTo>
                    <a:pt x="14" y="143"/>
                  </a:lnTo>
                  <a:lnTo>
                    <a:pt x="14" y="142"/>
                  </a:lnTo>
                  <a:lnTo>
                    <a:pt x="13" y="142"/>
                  </a:lnTo>
                  <a:lnTo>
                    <a:pt x="13" y="143"/>
                  </a:lnTo>
                  <a:lnTo>
                    <a:pt x="14" y="143"/>
                  </a:lnTo>
                  <a:lnTo>
                    <a:pt x="13" y="143"/>
                  </a:lnTo>
                  <a:lnTo>
                    <a:pt x="13" y="144"/>
                  </a:lnTo>
                  <a:lnTo>
                    <a:pt x="12" y="144"/>
                  </a:lnTo>
                  <a:lnTo>
                    <a:pt x="11" y="144"/>
                  </a:lnTo>
                  <a:lnTo>
                    <a:pt x="11" y="143"/>
                  </a:lnTo>
                  <a:lnTo>
                    <a:pt x="11" y="144"/>
                  </a:lnTo>
                  <a:lnTo>
                    <a:pt x="9" y="144"/>
                  </a:lnTo>
                  <a:lnTo>
                    <a:pt x="9" y="143"/>
                  </a:lnTo>
                  <a:lnTo>
                    <a:pt x="8" y="143"/>
                  </a:lnTo>
                  <a:lnTo>
                    <a:pt x="7" y="142"/>
                  </a:lnTo>
                  <a:lnTo>
                    <a:pt x="6" y="142"/>
                  </a:lnTo>
                  <a:lnTo>
                    <a:pt x="6" y="141"/>
                  </a:lnTo>
                  <a:lnTo>
                    <a:pt x="6" y="140"/>
                  </a:lnTo>
                  <a:lnTo>
                    <a:pt x="6" y="139"/>
                  </a:lnTo>
                  <a:lnTo>
                    <a:pt x="5" y="136"/>
                  </a:lnTo>
                  <a:lnTo>
                    <a:pt x="6" y="135"/>
                  </a:lnTo>
                  <a:lnTo>
                    <a:pt x="5" y="135"/>
                  </a:lnTo>
                  <a:lnTo>
                    <a:pt x="5" y="134"/>
                  </a:lnTo>
                  <a:lnTo>
                    <a:pt x="5" y="133"/>
                  </a:lnTo>
                  <a:lnTo>
                    <a:pt x="5" y="134"/>
                  </a:lnTo>
                  <a:lnTo>
                    <a:pt x="5" y="135"/>
                  </a:lnTo>
                  <a:lnTo>
                    <a:pt x="5" y="134"/>
                  </a:lnTo>
                  <a:lnTo>
                    <a:pt x="4" y="134"/>
                  </a:lnTo>
                  <a:lnTo>
                    <a:pt x="4" y="135"/>
                  </a:lnTo>
                  <a:lnTo>
                    <a:pt x="4" y="134"/>
                  </a:lnTo>
                  <a:lnTo>
                    <a:pt x="2" y="134"/>
                  </a:lnTo>
                  <a:lnTo>
                    <a:pt x="2" y="133"/>
                  </a:lnTo>
                  <a:lnTo>
                    <a:pt x="1" y="133"/>
                  </a:lnTo>
                  <a:lnTo>
                    <a:pt x="1" y="132"/>
                  </a:lnTo>
                  <a:lnTo>
                    <a:pt x="1" y="133"/>
                  </a:lnTo>
                  <a:lnTo>
                    <a:pt x="2" y="134"/>
                  </a:lnTo>
                  <a:lnTo>
                    <a:pt x="2" y="135"/>
                  </a:lnTo>
                  <a:lnTo>
                    <a:pt x="0" y="135"/>
                  </a:lnTo>
                  <a:lnTo>
                    <a:pt x="1" y="135"/>
                  </a:lnTo>
                  <a:lnTo>
                    <a:pt x="0" y="135"/>
                  </a:lnTo>
                  <a:lnTo>
                    <a:pt x="0" y="134"/>
                  </a:lnTo>
                  <a:lnTo>
                    <a:pt x="0" y="133"/>
                  </a:lnTo>
                  <a:lnTo>
                    <a:pt x="0" y="132"/>
                  </a:lnTo>
                  <a:lnTo>
                    <a:pt x="0" y="130"/>
                  </a:lnTo>
                  <a:lnTo>
                    <a:pt x="1" y="130"/>
                  </a:lnTo>
                  <a:lnTo>
                    <a:pt x="1" y="129"/>
                  </a:lnTo>
                  <a:lnTo>
                    <a:pt x="1" y="128"/>
                  </a:lnTo>
                  <a:lnTo>
                    <a:pt x="2" y="128"/>
                  </a:lnTo>
                  <a:lnTo>
                    <a:pt x="2" y="127"/>
                  </a:lnTo>
                  <a:lnTo>
                    <a:pt x="2" y="126"/>
                  </a:lnTo>
                  <a:lnTo>
                    <a:pt x="4" y="126"/>
                  </a:lnTo>
                  <a:lnTo>
                    <a:pt x="4" y="125"/>
                  </a:lnTo>
                  <a:lnTo>
                    <a:pt x="4" y="123"/>
                  </a:lnTo>
                  <a:lnTo>
                    <a:pt x="4" y="122"/>
                  </a:lnTo>
                  <a:lnTo>
                    <a:pt x="5" y="121"/>
                  </a:lnTo>
                  <a:lnTo>
                    <a:pt x="5" y="120"/>
                  </a:lnTo>
                  <a:lnTo>
                    <a:pt x="5" y="119"/>
                  </a:lnTo>
                  <a:lnTo>
                    <a:pt x="5" y="118"/>
                  </a:lnTo>
                  <a:lnTo>
                    <a:pt x="4" y="116"/>
                  </a:lnTo>
                  <a:lnTo>
                    <a:pt x="5" y="116"/>
                  </a:lnTo>
                  <a:lnTo>
                    <a:pt x="5" y="115"/>
                  </a:lnTo>
                  <a:lnTo>
                    <a:pt x="5" y="114"/>
                  </a:lnTo>
                  <a:lnTo>
                    <a:pt x="5" y="113"/>
                  </a:lnTo>
                  <a:lnTo>
                    <a:pt x="6" y="113"/>
                  </a:lnTo>
                  <a:lnTo>
                    <a:pt x="7" y="113"/>
                  </a:lnTo>
                  <a:lnTo>
                    <a:pt x="7" y="112"/>
                  </a:lnTo>
                  <a:lnTo>
                    <a:pt x="8" y="111"/>
                  </a:lnTo>
                  <a:lnTo>
                    <a:pt x="11" y="108"/>
                  </a:lnTo>
                  <a:lnTo>
                    <a:pt x="11" y="107"/>
                  </a:lnTo>
                  <a:lnTo>
                    <a:pt x="12" y="107"/>
                  </a:lnTo>
                  <a:lnTo>
                    <a:pt x="12" y="106"/>
                  </a:lnTo>
                  <a:lnTo>
                    <a:pt x="13" y="106"/>
                  </a:lnTo>
                  <a:lnTo>
                    <a:pt x="13" y="105"/>
                  </a:lnTo>
                  <a:lnTo>
                    <a:pt x="14" y="105"/>
                  </a:lnTo>
                  <a:lnTo>
                    <a:pt x="14" y="104"/>
                  </a:lnTo>
                  <a:lnTo>
                    <a:pt x="15" y="104"/>
                  </a:lnTo>
                  <a:lnTo>
                    <a:pt x="16" y="104"/>
                  </a:lnTo>
                  <a:lnTo>
                    <a:pt x="18" y="99"/>
                  </a:lnTo>
                  <a:lnTo>
                    <a:pt x="19" y="99"/>
                  </a:lnTo>
                  <a:lnTo>
                    <a:pt x="22" y="95"/>
                  </a:lnTo>
                  <a:lnTo>
                    <a:pt x="22" y="97"/>
                  </a:lnTo>
                  <a:lnTo>
                    <a:pt x="22" y="98"/>
                  </a:lnTo>
                  <a:lnTo>
                    <a:pt x="23" y="98"/>
                  </a:lnTo>
                  <a:lnTo>
                    <a:pt x="27" y="98"/>
                  </a:lnTo>
                  <a:lnTo>
                    <a:pt x="27" y="97"/>
                  </a:lnTo>
                  <a:lnTo>
                    <a:pt x="28" y="97"/>
                  </a:lnTo>
                  <a:lnTo>
                    <a:pt x="28" y="95"/>
                  </a:lnTo>
                  <a:lnTo>
                    <a:pt x="28" y="94"/>
                  </a:lnTo>
                  <a:lnTo>
                    <a:pt x="29" y="95"/>
                  </a:lnTo>
                  <a:lnTo>
                    <a:pt x="30" y="95"/>
                  </a:lnTo>
                  <a:lnTo>
                    <a:pt x="32" y="97"/>
                  </a:lnTo>
                  <a:lnTo>
                    <a:pt x="32" y="98"/>
                  </a:lnTo>
                  <a:lnTo>
                    <a:pt x="33" y="98"/>
                  </a:lnTo>
                  <a:lnTo>
                    <a:pt x="33" y="99"/>
                  </a:lnTo>
                  <a:lnTo>
                    <a:pt x="34" y="100"/>
                  </a:lnTo>
                  <a:lnTo>
                    <a:pt x="35" y="100"/>
                  </a:lnTo>
                  <a:lnTo>
                    <a:pt x="35" y="101"/>
                  </a:lnTo>
                  <a:lnTo>
                    <a:pt x="35" y="102"/>
                  </a:lnTo>
                  <a:lnTo>
                    <a:pt x="35" y="104"/>
                  </a:lnTo>
                  <a:lnTo>
                    <a:pt x="36" y="105"/>
                  </a:lnTo>
                  <a:lnTo>
                    <a:pt x="37" y="105"/>
                  </a:lnTo>
                  <a:lnTo>
                    <a:pt x="39" y="105"/>
                  </a:lnTo>
                  <a:lnTo>
                    <a:pt x="40" y="105"/>
                  </a:lnTo>
                  <a:lnTo>
                    <a:pt x="40" y="104"/>
                  </a:lnTo>
                  <a:lnTo>
                    <a:pt x="40" y="102"/>
                  </a:lnTo>
                  <a:lnTo>
                    <a:pt x="41" y="102"/>
                  </a:lnTo>
                  <a:lnTo>
                    <a:pt x="42" y="101"/>
                  </a:lnTo>
                  <a:lnTo>
                    <a:pt x="42" y="100"/>
                  </a:lnTo>
                  <a:lnTo>
                    <a:pt x="42" y="99"/>
                  </a:lnTo>
                  <a:lnTo>
                    <a:pt x="42" y="98"/>
                  </a:lnTo>
                  <a:lnTo>
                    <a:pt x="43" y="97"/>
                  </a:lnTo>
                  <a:lnTo>
                    <a:pt x="44" y="97"/>
                  </a:lnTo>
                  <a:lnTo>
                    <a:pt x="44" y="95"/>
                  </a:lnTo>
                  <a:lnTo>
                    <a:pt x="45" y="94"/>
                  </a:lnTo>
                  <a:lnTo>
                    <a:pt x="47" y="94"/>
                  </a:lnTo>
                  <a:lnTo>
                    <a:pt x="45" y="93"/>
                  </a:lnTo>
                  <a:lnTo>
                    <a:pt x="45" y="92"/>
                  </a:lnTo>
                  <a:lnTo>
                    <a:pt x="44" y="92"/>
                  </a:lnTo>
                  <a:lnTo>
                    <a:pt x="45" y="91"/>
                  </a:lnTo>
                  <a:lnTo>
                    <a:pt x="45" y="90"/>
                  </a:lnTo>
                  <a:lnTo>
                    <a:pt x="47" y="88"/>
                  </a:lnTo>
                  <a:lnTo>
                    <a:pt x="48" y="87"/>
                  </a:lnTo>
                  <a:lnTo>
                    <a:pt x="49" y="86"/>
                  </a:lnTo>
                  <a:lnTo>
                    <a:pt x="48" y="85"/>
                  </a:lnTo>
                  <a:lnTo>
                    <a:pt x="49" y="84"/>
                  </a:lnTo>
                  <a:lnTo>
                    <a:pt x="50" y="81"/>
                  </a:lnTo>
                  <a:lnTo>
                    <a:pt x="50" y="80"/>
                  </a:lnTo>
                  <a:lnTo>
                    <a:pt x="51" y="80"/>
                  </a:lnTo>
                  <a:lnTo>
                    <a:pt x="50" y="80"/>
                  </a:lnTo>
                  <a:lnTo>
                    <a:pt x="50" y="79"/>
                  </a:lnTo>
                  <a:lnTo>
                    <a:pt x="50" y="78"/>
                  </a:lnTo>
                  <a:lnTo>
                    <a:pt x="51" y="77"/>
                  </a:lnTo>
                  <a:lnTo>
                    <a:pt x="51" y="76"/>
                  </a:lnTo>
                  <a:lnTo>
                    <a:pt x="51" y="74"/>
                  </a:lnTo>
                  <a:lnTo>
                    <a:pt x="51" y="73"/>
                  </a:lnTo>
                  <a:lnTo>
                    <a:pt x="52" y="73"/>
                  </a:lnTo>
                  <a:lnTo>
                    <a:pt x="52" y="72"/>
                  </a:lnTo>
                  <a:lnTo>
                    <a:pt x="54" y="72"/>
                  </a:lnTo>
                  <a:lnTo>
                    <a:pt x="54" y="71"/>
                  </a:lnTo>
                  <a:lnTo>
                    <a:pt x="54" y="70"/>
                  </a:lnTo>
                  <a:lnTo>
                    <a:pt x="55" y="70"/>
                  </a:lnTo>
                  <a:lnTo>
                    <a:pt x="55" y="71"/>
                  </a:lnTo>
                  <a:lnTo>
                    <a:pt x="56" y="71"/>
                  </a:lnTo>
                  <a:lnTo>
                    <a:pt x="57" y="70"/>
                  </a:lnTo>
                  <a:lnTo>
                    <a:pt x="57" y="69"/>
                  </a:lnTo>
                  <a:lnTo>
                    <a:pt x="58" y="69"/>
                  </a:lnTo>
                  <a:lnTo>
                    <a:pt x="59" y="67"/>
                  </a:lnTo>
                  <a:lnTo>
                    <a:pt x="59" y="64"/>
                  </a:lnTo>
                  <a:lnTo>
                    <a:pt x="59" y="63"/>
                  </a:lnTo>
                  <a:lnTo>
                    <a:pt x="59" y="62"/>
                  </a:lnTo>
                  <a:lnTo>
                    <a:pt x="61" y="60"/>
                  </a:lnTo>
                  <a:lnTo>
                    <a:pt x="61" y="59"/>
                  </a:lnTo>
                  <a:lnTo>
                    <a:pt x="61" y="58"/>
                  </a:lnTo>
                  <a:lnTo>
                    <a:pt x="59" y="58"/>
                  </a:lnTo>
                  <a:lnTo>
                    <a:pt x="61" y="58"/>
                  </a:lnTo>
                  <a:lnTo>
                    <a:pt x="61" y="57"/>
                  </a:lnTo>
                  <a:lnTo>
                    <a:pt x="62" y="57"/>
                  </a:lnTo>
                  <a:lnTo>
                    <a:pt x="63" y="56"/>
                  </a:lnTo>
                  <a:lnTo>
                    <a:pt x="64" y="56"/>
                  </a:lnTo>
                  <a:lnTo>
                    <a:pt x="65" y="55"/>
                  </a:lnTo>
                  <a:lnTo>
                    <a:pt x="65" y="53"/>
                  </a:lnTo>
                  <a:lnTo>
                    <a:pt x="65" y="52"/>
                  </a:lnTo>
                  <a:lnTo>
                    <a:pt x="65" y="51"/>
                  </a:lnTo>
                  <a:lnTo>
                    <a:pt x="64" y="50"/>
                  </a:lnTo>
                  <a:lnTo>
                    <a:pt x="65" y="49"/>
                  </a:lnTo>
                  <a:lnTo>
                    <a:pt x="65" y="48"/>
                  </a:lnTo>
                  <a:lnTo>
                    <a:pt x="65" y="46"/>
                  </a:lnTo>
                  <a:lnTo>
                    <a:pt x="66" y="46"/>
                  </a:lnTo>
                  <a:lnTo>
                    <a:pt x="68" y="46"/>
                  </a:lnTo>
                  <a:lnTo>
                    <a:pt x="68" y="45"/>
                  </a:lnTo>
                  <a:lnTo>
                    <a:pt x="68" y="44"/>
                  </a:lnTo>
                  <a:lnTo>
                    <a:pt x="69" y="41"/>
                  </a:lnTo>
                  <a:lnTo>
                    <a:pt x="69" y="38"/>
                  </a:lnTo>
                  <a:lnTo>
                    <a:pt x="70" y="37"/>
                  </a:lnTo>
                  <a:lnTo>
                    <a:pt x="72" y="34"/>
                  </a:lnTo>
                  <a:lnTo>
                    <a:pt x="72" y="32"/>
                  </a:lnTo>
                  <a:lnTo>
                    <a:pt x="72" y="31"/>
                  </a:lnTo>
                  <a:lnTo>
                    <a:pt x="73" y="31"/>
                  </a:lnTo>
                  <a:lnTo>
                    <a:pt x="73" y="30"/>
                  </a:lnTo>
                  <a:lnTo>
                    <a:pt x="75" y="29"/>
                  </a:lnTo>
                  <a:lnTo>
                    <a:pt x="75" y="28"/>
                  </a:lnTo>
                  <a:lnTo>
                    <a:pt x="76" y="28"/>
                  </a:lnTo>
                  <a:lnTo>
                    <a:pt x="76" y="29"/>
                  </a:lnTo>
                  <a:lnTo>
                    <a:pt x="77" y="29"/>
                  </a:lnTo>
                  <a:lnTo>
                    <a:pt x="78" y="29"/>
                  </a:lnTo>
                  <a:lnTo>
                    <a:pt x="78" y="28"/>
                  </a:lnTo>
                  <a:lnTo>
                    <a:pt x="79" y="28"/>
                  </a:lnTo>
                  <a:lnTo>
                    <a:pt x="80" y="27"/>
                  </a:lnTo>
                  <a:lnTo>
                    <a:pt x="82" y="27"/>
                  </a:lnTo>
                  <a:lnTo>
                    <a:pt x="82" y="25"/>
                  </a:lnTo>
                  <a:lnTo>
                    <a:pt x="83" y="25"/>
                  </a:lnTo>
                  <a:lnTo>
                    <a:pt x="83" y="24"/>
                  </a:lnTo>
                  <a:lnTo>
                    <a:pt x="84" y="24"/>
                  </a:lnTo>
                  <a:lnTo>
                    <a:pt x="84" y="23"/>
                  </a:lnTo>
                  <a:lnTo>
                    <a:pt x="84" y="22"/>
                  </a:lnTo>
                  <a:lnTo>
                    <a:pt x="83" y="22"/>
                  </a:lnTo>
                  <a:lnTo>
                    <a:pt x="83" y="21"/>
                  </a:lnTo>
                  <a:lnTo>
                    <a:pt x="84" y="20"/>
                  </a:lnTo>
                  <a:lnTo>
                    <a:pt x="84" y="18"/>
                  </a:lnTo>
                  <a:lnTo>
                    <a:pt x="84" y="17"/>
                  </a:lnTo>
                  <a:lnTo>
                    <a:pt x="84" y="16"/>
                  </a:lnTo>
                  <a:lnTo>
                    <a:pt x="84" y="15"/>
                  </a:lnTo>
                  <a:lnTo>
                    <a:pt x="84" y="14"/>
                  </a:lnTo>
                  <a:lnTo>
                    <a:pt x="83" y="14"/>
                  </a:lnTo>
                  <a:lnTo>
                    <a:pt x="83" y="13"/>
                  </a:lnTo>
                  <a:lnTo>
                    <a:pt x="83" y="11"/>
                  </a:lnTo>
                  <a:lnTo>
                    <a:pt x="82" y="11"/>
                  </a:lnTo>
                  <a:lnTo>
                    <a:pt x="80" y="11"/>
                  </a:lnTo>
                  <a:lnTo>
                    <a:pt x="78" y="11"/>
                  </a:lnTo>
                  <a:lnTo>
                    <a:pt x="78" y="10"/>
                  </a:lnTo>
                  <a:lnTo>
                    <a:pt x="78" y="9"/>
                  </a:lnTo>
                  <a:lnTo>
                    <a:pt x="78" y="8"/>
                  </a:lnTo>
                  <a:lnTo>
                    <a:pt x="77" y="4"/>
                  </a:lnTo>
                  <a:lnTo>
                    <a:pt x="76" y="0"/>
                  </a:lnTo>
                  <a:lnTo>
                    <a:pt x="79" y="0"/>
                  </a:lnTo>
                  <a:close/>
                  <a:moveTo>
                    <a:pt x="80" y="0"/>
                  </a:moveTo>
                  <a:lnTo>
                    <a:pt x="79" y="0"/>
                  </a:lnTo>
                  <a:lnTo>
                    <a:pt x="8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07" name="Freeform 860">
              <a:extLst>
                <a:ext uri="{FF2B5EF4-FFF2-40B4-BE49-F238E27FC236}">
                  <a16:creationId xmlns:a16="http://schemas.microsoft.com/office/drawing/2014/main" id="{1ACD7950-041C-4ECB-96AA-9C887E5A9387}"/>
                </a:ext>
              </a:extLst>
            </p:cNvPr>
            <p:cNvSpPr>
              <a:spLocks noEditPoints="1"/>
            </p:cNvSpPr>
            <p:nvPr/>
          </p:nvSpPr>
          <p:spPr bwMode="auto">
            <a:xfrm>
              <a:off x="6379352" y="2604661"/>
              <a:ext cx="24039" cy="4007"/>
            </a:xfrm>
            <a:custGeom>
              <a:avLst/>
              <a:gdLst>
                <a:gd name="T0" fmla="*/ 18 w 18"/>
                <a:gd name="T1" fmla="*/ 2 h 3"/>
                <a:gd name="T2" fmla="*/ 18 w 18"/>
                <a:gd name="T3" fmla="*/ 2 h 3"/>
                <a:gd name="T4" fmla="*/ 18 w 18"/>
                <a:gd name="T5" fmla="*/ 2 h 3"/>
                <a:gd name="T6" fmla="*/ 17 w 18"/>
                <a:gd name="T7" fmla="*/ 2 h 3"/>
                <a:gd name="T8" fmla="*/ 17 w 18"/>
                <a:gd name="T9" fmla="*/ 2 h 3"/>
                <a:gd name="T10" fmla="*/ 0 w 18"/>
                <a:gd name="T11" fmla="*/ 0 h 3"/>
                <a:gd name="T12" fmla="*/ 0 w 18"/>
                <a:gd name="T13" fmla="*/ 0 h 3"/>
                <a:gd name="T14" fmla="*/ 0 w 18"/>
                <a:gd name="T15" fmla="*/ 0 h 3"/>
                <a:gd name="T16" fmla="*/ 0 w 18"/>
                <a:gd name="T17" fmla="*/ 0 h 3"/>
                <a:gd name="T18" fmla="*/ 1 w 18"/>
                <a:gd name="T19" fmla="*/ 0 h 3"/>
                <a:gd name="T20" fmla="*/ 11 w 18"/>
                <a:gd name="T21" fmla="*/ 1 h 3"/>
                <a:gd name="T22" fmla="*/ 11 w 18"/>
                <a:gd name="T23" fmla="*/ 2 h 3"/>
                <a:gd name="T24" fmla="*/ 11 w 18"/>
                <a:gd name="T25" fmla="*/ 2 h 3"/>
                <a:gd name="T26" fmla="*/ 11 w 18"/>
                <a:gd name="T27" fmla="*/ 2 h 3"/>
                <a:gd name="T28" fmla="*/ 11 w 18"/>
                <a:gd name="T29" fmla="*/ 2 h 3"/>
                <a:gd name="T30" fmla="*/ 12 w 18"/>
                <a:gd name="T31" fmla="*/ 1 h 3"/>
                <a:gd name="T32" fmla="*/ 12 w 18"/>
                <a:gd name="T33" fmla="*/ 2 h 3"/>
                <a:gd name="T34" fmla="*/ 14 w 18"/>
                <a:gd name="T35" fmla="*/ 2 h 3"/>
                <a:gd name="T36" fmla="*/ 14 w 18"/>
                <a:gd name="T37" fmla="*/ 2 h 3"/>
                <a:gd name="T38" fmla="*/ 15 w 18"/>
                <a:gd name="T39" fmla="*/ 2 h 3"/>
                <a:gd name="T40" fmla="*/ 15 w 18"/>
                <a:gd name="T41" fmla="*/ 3 h 3"/>
                <a:gd name="T42" fmla="*/ 14 w 18"/>
                <a:gd name="T43" fmla="*/ 2 h 3"/>
                <a:gd name="T44" fmla="*/ 14 w 18"/>
                <a:gd name="T45" fmla="*/ 2 h 3"/>
                <a:gd name="T46" fmla="*/ 12 w 18"/>
                <a:gd name="T47" fmla="*/ 2 h 3"/>
                <a:gd name="T48" fmla="*/ 12 w 18"/>
                <a:gd name="T49" fmla="*/ 2 h 3"/>
                <a:gd name="T50" fmla="*/ 11 w 18"/>
                <a:gd name="T51" fmla="*/ 2 h 3"/>
                <a:gd name="T52" fmla="*/ 11 w 18"/>
                <a:gd name="T53" fmla="*/ 3 h 3"/>
                <a:gd name="T54" fmla="*/ 11 w 18"/>
                <a:gd name="T55" fmla="*/ 2 h 3"/>
                <a:gd name="T56" fmla="*/ 11 w 18"/>
                <a:gd name="T57" fmla="*/ 1 h 3"/>
                <a:gd name="T58" fmla="*/ 10 w 18"/>
                <a:gd name="T59" fmla="*/ 1 h 3"/>
                <a:gd name="T60" fmla="*/ 10 w 18"/>
                <a:gd name="T61" fmla="*/ 0 h 3"/>
                <a:gd name="T62" fmla="*/ 9 w 18"/>
                <a:gd name="T63" fmla="*/ 0 h 3"/>
                <a:gd name="T64" fmla="*/ 9 w 18"/>
                <a:gd name="T65" fmla="*/ 1 h 3"/>
                <a:gd name="T66" fmla="*/ 8 w 18"/>
                <a:gd name="T67" fmla="*/ 1 h 3"/>
                <a:gd name="T68" fmla="*/ 8 w 18"/>
                <a:gd name="T69" fmla="*/ 0 h 3"/>
                <a:gd name="T70" fmla="*/ 7 w 18"/>
                <a:gd name="T71" fmla="*/ 1 h 3"/>
                <a:gd name="T72" fmla="*/ 5 w 18"/>
                <a:gd name="T73" fmla="*/ 1 h 3"/>
                <a:gd name="T74" fmla="*/ 4 w 18"/>
                <a:gd name="T75" fmla="*/ 1 h 3"/>
                <a:gd name="T76" fmla="*/ 4 w 18"/>
                <a:gd name="T77" fmla="*/ 1 h 3"/>
                <a:gd name="T78" fmla="*/ 3 w 18"/>
                <a:gd name="T79" fmla="*/ 1 h 3"/>
                <a:gd name="T80" fmla="*/ 3 w 18"/>
                <a:gd name="T81" fmla="*/ 2 h 3"/>
                <a:gd name="T82" fmla="*/ 2 w 18"/>
                <a:gd name="T83" fmla="*/ 2 h 3"/>
                <a:gd name="T84" fmla="*/ 2 w 18"/>
                <a:gd name="T85" fmla="*/ 1 h 3"/>
                <a:gd name="T86" fmla="*/ 1 w 18"/>
                <a:gd name="T87" fmla="*/ 1 h 3"/>
                <a:gd name="T88" fmla="*/ 1 w 18"/>
                <a:gd name="T89" fmla="*/ 0 h 3"/>
                <a:gd name="T90" fmla="*/ 1 w 18"/>
                <a:gd name="T91" fmla="*/ 1 h 3"/>
                <a:gd name="T92" fmla="*/ 2 w 18"/>
                <a:gd name="T93" fmla="*/ 1 h 3"/>
                <a:gd name="T94" fmla="*/ 3 w 18"/>
                <a:gd name="T95" fmla="*/ 1 h 3"/>
                <a:gd name="T96" fmla="*/ 3 w 18"/>
                <a:gd name="T97" fmla="*/ 1 h 3"/>
                <a:gd name="T98" fmla="*/ 4 w 18"/>
                <a:gd name="T99" fmla="*/ 1 h 3"/>
                <a:gd name="T100" fmla="*/ 5 w 18"/>
                <a:gd name="T101" fmla="*/ 0 h 3"/>
                <a:gd name="T102" fmla="*/ 7 w 18"/>
                <a:gd name="T103" fmla="*/ 0 h 3"/>
                <a:gd name="T104" fmla="*/ 8 w 18"/>
                <a:gd name="T105" fmla="*/ 0 h 3"/>
                <a:gd name="T106" fmla="*/ 9 w 18"/>
                <a:gd name="T107" fmla="*/ 0 h 3"/>
                <a:gd name="T108" fmla="*/ 10 w 18"/>
                <a:gd name="T109" fmla="*/ 0 h 3"/>
                <a:gd name="T110" fmla="*/ 10 w 18"/>
                <a:gd name="T11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 h="3">
                  <a:moveTo>
                    <a:pt x="17" y="2"/>
                  </a:moveTo>
                  <a:lnTo>
                    <a:pt x="17" y="2"/>
                  </a:lnTo>
                  <a:lnTo>
                    <a:pt x="17" y="2"/>
                  </a:lnTo>
                  <a:lnTo>
                    <a:pt x="18" y="2"/>
                  </a:lnTo>
                  <a:lnTo>
                    <a:pt x="18" y="2"/>
                  </a:lnTo>
                  <a:lnTo>
                    <a:pt x="18" y="2"/>
                  </a:lnTo>
                  <a:lnTo>
                    <a:pt x="18" y="2"/>
                  </a:lnTo>
                  <a:lnTo>
                    <a:pt x="18" y="2"/>
                  </a:lnTo>
                  <a:lnTo>
                    <a:pt x="18" y="2"/>
                  </a:lnTo>
                  <a:lnTo>
                    <a:pt x="18" y="2"/>
                  </a:lnTo>
                  <a:lnTo>
                    <a:pt x="18" y="2"/>
                  </a:lnTo>
                  <a:lnTo>
                    <a:pt x="18" y="2"/>
                  </a:lnTo>
                  <a:lnTo>
                    <a:pt x="17" y="2"/>
                  </a:lnTo>
                  <a:lnTo>
                    <a:pt x="17" y="2"/>
                  </a:lnTo>
                  <a:lnTo>
                    <a:pt x="17" y="2"/>
                  </a:lnTo>
                  <a:lnTo>
                    <a:pt x="17" y="2"/>
                  </a:lnTo>
                  <a:lnTo>
                    <a:pt x="17" y="2"/>
                  </a:lnTo>
                  <a:lnTo>
                    <a:pt x="17" y="2"/>
                  </a:lnTo>
                  <a:lnTo>
                    <a:pt x="17" y="2"/>
                  </a:lnTo>
                  <a:lnTo>
                    <a:pt x="17" y="2"/>
                  </a:lnTo>
                  <a:lnTo>
                    <a:pt x="17" y="2"/>
                  </a:lnTo>
                  <a:lnTo>
                    <a:pt x="17" y="2"/>
                  </a:lnTo>
                  <a:close/>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1" y="0"/>
                  </a:lnTo>
                  <a:lnTo>
                    <a:pt x="0" y="0"/>
                  </a:lnTo>
                  <a:close/>
                  <a:moveTo>
                    <a:pt x="10" y="0"/>
                  </a:moveTo>
                  <a:lnTo>
                    <a:pt x="10" y="0"/>
                  </a:lnTo>
                  <a:lnTo>
                    <a:pt x="11" y="1"/>
                  </a:lnTo>
                  <a:lnTo>
                    <a:pt x="11" y="1"/>
                  </a:lnTo>
                  <a:lnTo>
                    <a:pt x="11" y="1"/>
                  </a:lnTo>
                  <a:lnTo>
                    <a:pt x="11" y="1"/>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1" y="2"/>
                  </a:lnTo>
                  <a:lnTo>
                    <a:pt x="12" y="2"/>
                  </a:lnTo>
                  <a:lnTo>
                    <a:pt x="12" y="2"/>
                  </a:lnTo>
                  <a:lnTo>
                    <a:pt x="12" y="2"/>
                  </a:lnTo>
                  <a:lnTo>
                    <a:pt x="12" y="1"/>
                  </a:lnTo>
                  <a:lnTo>
                    <a:pt x="12" y="1"/>
                  </a:lnTo>
                  <a:lnTo>
                    <a:pt x="12" y="2"/>
                  </a:lnTo>
                  <a:lnTo>
                    <a:pt x="12" y="2"/>
                  </a:lnTo>
                  <a:lnTo>
                    <a:pt x="12" y="2"/>
                  </a:lnTo>
                  <a:lnTo>
                    <a:pt x="12" y="2"/>
                  </a:lnTo>
                  <a:lnTo>
                    <a:pt x="12" y="2"/>
                  </a:lnTo>
                  <a:lnTo>
                    <a:pt x="12" y="2"/>
                  </a:lnTo>
                  <a:lnTo>
                    <a:pt x="14" y="2"/>
                  </a:lnTo>
                  <a:lnTo>
                    <a:pt x="14" y="2"/>
                  </a:lnTo>
                  <a:lnTo>
                    <a:pt x="14" y="2"/>
                  </a:lnTo>
                  <a:lnTo>
                    <a:pt x="14" y="2"/>
                  </a:lnTo>
                  <a:lnTo>
                    <a:pt x="14" y="2"/>
                  </a:lnTo>
                  <a:lnTo>
                    <a:pt x="14" y="2"/>
                  </a:lnTo>
                  <a:lnTo>
                    <a:pt x="14" y="2"/>
                  </a:lnTo>
                  <a:lnTo>
                    <a:pt x="15" y="2"/>
                  </a:lnTo>
                  <a:lnTo>
                    <a:pt x="15" y="2"/>
                  </a:lnTo>
                  <a:lnTo>
                    <a:pt x="14" y="2"/>
                  </a:lnTo>
                  <a:lnTo>
                    <a:pt x="15" y="2"/>
                  </a:lnTo>
                  <a:lnTo>
                    <a:pt x="15" y="3"/>
                  </a:lnTo>
                  <a:lnTo>
                    <a:pt x="15" y="3"/>
                  </a:lnTo>
                  <a:lnTo>
                    <a:pt x="15" y="3"/>
                  </a:lnTo>
                  <a:lnTo>
                    <a:pt x="15" y="3"/>
                  </a:lnTo>
                  <a:lnTo>
                    <a:pt x="14" y="3"/>
                  </a:lnTo>
                  <a:lnTo>
                    <a:pt x="14" y="2"/>
                  </a:lnTo>
                  <a:lnTo>
                    <a:pt x="14" y="2"/>
                  </a:lnTo>
                  <a:lnTo>
                    <a:pt x="14" y="2"/>
                  </a:lnTo>
                  <a:lnTo>
                    <a:pt x="14" y="2"/>
                  </a:lnTo>
                  <a:lnTo>
                    <a:pt x="14" y="2"/>
                  </a:lnTo>
                  <a:lnTo>
                    <a:pt x="14" y="2"/>
                  </a:lnTo>
                  <a:lnTo>
                    <a:pt x="12" y="2"/>
                  </a:lnTo>
                  <a:lnTo>
                    <a:pt x="12" y="2"/>
                  </a:lnTo>
                  <a:lnTo>
                    <a:pt x="12" y="2"/>
                  </a:lnTo>
                  <a:lnTo>
                    <a:pt x="12" y="2"/>
                  </a:lnTo>
                  <a:lnTo>
                    <a:pt x="12" y="2"/>
                  </a:lnTo>
                  <a:lnTo>
                    <a:pt x="12" y="3"/>
                  </a:lnTo>
                  <a:lnTo>
                    <a:pt x="12" y="2"/>
                  </a:lnTo>
                  <a:lnTo>
                    <a:pt x="12" y="2"/>
                  </a:lnTo>
                  <a:lnTo>
                    <a:pt x="12" y="2"/>
                  </a:lnTo>
                  <a:lnTo>
                    <a:pt x="11" y="2"/>
                  </a:lnTo>
                  <a:lnTo>
                    <a:pt x="11" y="2"/>
                  </a:lnTo>
                  <a:lnTo>
                    <a:pt x="11" y="2"/>
                  </a:lnTo>
                  <a:lnTo>
                    <a:pt x="11" y="2"/>
                  </a:lnTo>
                  <a:lnTo>
                    <a:pt x="11" y="3"/>
                  </a:lnTo>
                  <a:lnTo>
                    <a:pt x="11" y="3"/>
                  </a:lnTo>
                  <a:lnTo>
                    <a:pt x="11" y="3"/>
                  </a:lnTo>
                  <a:lnTo>
                    <a:pt x="11" y="3"/>
                  </a:lnTo>
                  <a:lnTo>
                    <a:pt x="11" y="3"/>
                  </a:lnTo>
                  <a:lnTo>
                    <a:pt x="11" y="2"/>
                  </a:lnTo>
                  <a:lnTo>
                    <a:pt x="11" y="2"/>
                  </a:lnTo>
                  <a:lnTo>
                    <a:pt x="11" y="2"/>
                  </a:lnTo>
                  <a:lnTo>
                    <a:pt x="11" y="2"/>
                  </a:lnTo>
                  <a:lnTo>
                    <a:pt x="11" y="1"/>
                  </a:lnTo>
                  <a:lnTo>
                    <a:pt x="11" y="1"/>
                  </a:lnTo>
                  <a:lnTo>
                    <a:pt x="11" y="1"/>
                  </a:lnTo>
                  <a:lnTo>
                    <a:pt x="10" y="1"/>
                  </a:lnTo>
                  <a:lnTo>
                    <a:pt x="10" y="1"/>
                  </a:lnTo>
                  <a:lnTo>
                    <a:pt x="10" y="1"/>
                  </a:lnTo>
                  <a:lnTo>
                    <a:pt x="10" y="1"/>
                  </a:lnTo>
                  <a:lnTo>
                    <a:pt x="10" y="0"/>
                  </a:lnTo>
                  <a:lnTo>
                    <a:pt x="10" y="0"/>
                  </a:lnTo>
                  <a:lnTo>
                    <a:pt x="10" y="0"/>
                  </a:lnTo>
                  <a:lnTo>
                    <a:pt x="10" y="0"/>
                  </a:lnTo>
                  <a:lnTo>
                    <a:pt x="9" y="0"/>
                  </a:lnTo>
                  <a:lnTo>
                    <a:pt x="9" y="0"/>
                  </a:lnTo>
                  <a:lnTo>
                    <a:pt x="9" y="1"/>
                  </a:lnTo>
                  <a:lnTo>
                    <a:pt x="9" y="1"/>
                  </a:lnTo>
                  <a:lnTo>
                    <a:pt x="9" y="1"/>
                  </a:lnTo>
                  <a:lnTo>
                    <a:pt x="9" y="1"/>
                  </a:lnTo>
                  <a:lnTo>
                    <a:pt x="9" y="1"/>
                  </a:lnTo>
                  <a:lnTo>
                    <a:pt x="9" y="1"/>
                  </a:lnTo>
                  <a:lnTo>
                    <a:pt x="8" y="1"/>
                  </a:lnTo>
                  <a:lnTo>
                    <a:pt x="8" y="1"/>
                  </a:lnTo>
                  <a:lnTo>
                    <a:pt x="8" y="0"/>
                  </a:lnTo>
                  <a:lnTo>
                    <a:pt x="8" y="0"/>
                  </a:lnTo>
                  <a:lnTo>
                    <a:pt x="8" y="0"/>
                  </a:lnTo>
                  <a:lnTo>
                    <a:pt x="8" y="0"/>
                  </a:lnTo>
                  <a:lnTo>
                    <a:pt x="8" y="0"/>
                  </a:lnTo>
                  <a:lnTo>
                    <a:pt x="7" y="0"/>
                  </a:lnTo>
                  <a:lnTo>
                    <a:pt x="7" y="0"/>
                  </a:lnTo>
                  <a:lnTo>
                    <a:pt x="7" y="1"/>
                  </a:lnTo>
                  <a:lnTo>
                    <a:pt x="7" y="1"/>
                  </a:lnTo>
                  <a:lnTo>
                    <a:pt x="7" y="1"/>
                  </a:lnTo>
                  <a:lnTo>
                    <a:pt x="7" y="1"/>
                  </a:lnTo>
                  <a:lnTo>
                    <a:pt x="5" y="1"/>
                  </a:lnTo>
                  <a:lnTo>
                    <a:pt x="5" y="1"/>
                  </a:lnTo>
                  <a:lnTo>
                    <a:pt x="5" y="1"/>
                  </a:lnTo>
                  <a:lnTo>
                    <a:pt x="5" y="1"/>
                  </a:lnTo>
                  <a:lnTo>
                    <a:pt x="4" y="1"/>
                  </a:lnTo>
                  <a:lnTo>
                    <a:pt x="4" y="1"/>
                  </a:lnTo>
                  <a:lnTo>
                    <a:pt x="4" y="1"/>
                  </a:lnTo>
                  <a:lnTo>
                    <a:pt x="4" y="1"/>
                  </a:lnTo>
                  <a:lnTo>
                    <a:pt x="4" y="1"/>
                  </a:lnTo>
                  <a:lnTo>
                    <a:pt x="4" y="1"/>
                  </a:lnTo>
                  <a:lnTo>
                    <a:pt x="3" y="1"/>
                  </a:lnTo>
                  <a:lnTo>
                    <a:pt x="3" y="1"/>
                  </a:lnTo>
                  <a:lnTo>
                    <a:pt x="3" y="1"/>
                  </a:lnTo>
                  <a:lnTo>
                    <a:pt x="3" y="1"/>
                  </a:lnTo>
                  <a:lnTo>
                    <a:pt x="3" y="1"/>
                  </a:lnTo>
                  <a:lnTo>
                    <a:pt x="3" y="1"/>
                  </a:lnTo>
                  <a:lnTo>
                    <a:pt x="3" y="2"/>
                  </a:lnTo>
                  <a:lnTo>
                    <a:pt x="3" y="2"/>
                  </a:lnTo>
                  <a:lnTo>
                    <a:pt x="3" y="2"/>
                  </a:lnTo>
                  <a:lnTo>
                    <a:pt x="2" y="2"/>
                  </a:lnTo>
                  <a:lnTo>
                    <a:pt x="2" y="2"/>
                  </a:lnTo>
                  <a:lnTo>
                    <a:pt x="2" y="1"/>
                  </a:lnTo>
                  <a:lnTo>
                    <a:pt x="2" y="1"/>
                  </a:lnTo>
                  <a:lnTo>
                    <a:pt x="2" y="1"/>
                  </a:lnTo>
                  <a:lnTo>
                    <a:pt x="2" y="1"/>
                  </a:lnTo>
                  <a:lnTo>
                    <a:pt x="2" y="1"/>
                  </a:lnTo>
                  <a:lnTo>
                    <a:pt x="1" y="1"/>
                  </a:lnTo>
                  <a:lnTo>
                    <a:pt x="1" y="1"/>
                  </a:lnTo>
                  <a:lnTo>
                    <a:pt x="1" y="1"/>
                  </a:lnTo>
                  <a:lnTo>
                    <a:pt x="1" y="0"/>
                  </a:lnTo>
                  <a:lnTo>
                    <a:pt x="1" y="0"/>
                  </a:lnTo>
                  <a:lnTo>
                    <a:pt x="1" y="0"/>
                  </a:lnTo>
                  <a:lnTo>
                    <a:pt x="1" y="0"/>
                  </a:lnTo>
                  <a:lnTo>
                    <a:pt x="1" y="0"/>
                  </a:lnTo>
                  <a:lnTo>
                    <a:pt x="1" y="0"/>
                  </a:lnTo>
                  <a:lnTo>
                    <a:pt x="1" y="0"/>
                  </a:lnTo>
                  <a:lnTo>
                    <a:pt x="1" y="1"/>
                  </a:lnTo>
                  <a:lnTo>
                    <a:pt x="2" y="1"/>
                  </a:lnTo>
                  <a:lnTo>
                    <a:pt x="2" y="1"/>
                  </a:lnTo>
                  <a:lnTo>
                    <a:pt x="2" y="1"/>
                  </a:lnTo>
                  <a:lnTo>
                    <a:pt x="2" y="1"/>
                  </a:lnTo>
                  <a:lnTo>
                    <a:pt x="3" y="1"/>
                  </a:lnTo>
                  <a:lnTo>
                    <a:pt x="3" y="1"/>
                  </a:lnTo>
                  <a:lnTo>
                    <a:pt x="3" y="1"/>
                  </a:lnTo>
                  <a:lnTo>
                    <a:pt x="3" y="1"/>
                  </a:lnTo>
                  <a:lnTo>
                    <a:pt x="3" y="1"/>
                  </a:lnTo>
                  <a:lnTo>
                    <a:pt x="3" y="1"/>
                  </a:lnTo>
                  <a:lnTo>
                    <a:pt x="3" y="1"/>
                  </a:lnTo>
                  <a:lnTo>
                    <a:pt x="3" y="1"/>
                  </a:lnTo>
                  <a:lnTo>
                    <a:pt x="4" y="1"/>
                  </a:lnTo>
                  <a:lnTo>
                    <a:pt x="4" y="1"/>
                  </a:lnTo>
                  <a:lnTo>
                    <a:pt x="4" y="1"/>
                  </a:lnTo>
                  <a:lnTo>
                    <a:pt x="4" y="1"/>
                  </a:lnTo>
                  <a:lnTo>
                    <a:pt x="4" y="1"/>
                  </a:lnTo>
                  <a:lnTo>
                    <a:pt x="5" y="1"/>
                  </a:lnTo>
                  <a:lnTo>
                    <a:pt x="5" y="0"/>
                  </a:lnTo>
                  <a:lnTo>
                    <a:pt x="5" y="0"/>
                  </a:lnTo>
                  <a:lnTo>
                    <a:pt x="5" y="0"/>
                  </a:lnTo>
                  <a:lnTo>
                    <a:pt x="5" y="0"/>
                  </a:lnTo>
                  <a:lnTo>
                    <a:pt x="7" y="0"/>
                  </a:lnTo>
                  <a:lnTo>
                    <a:pt x="7" y="0"/>
                  </a:lnTo>
                  <a:lnTo>
                    <a:pt x="7" y="0"/>
                  </a:lnTo>
                  <a:lnTo>
                    <a:pt x="7" y="0"/>
                  </a:lnTo>
                  <a:lnTo>
                    <a:pt x="7" y="0"/>
                  </a:lnTo>
                  <a:lnTo>
                    <a:pt x="8" y="0"/>
                  </a:lnTo>
                  <a:lnTo>
                    <a:pt x="8" y="0"/>
                  </a:lnTo>
                  <a:lnTo>
                    <a:pt x="8" y="0"/>
                  </a:lnTo>
                  <a:lnTo>
                    <a:pt x="9" y="0"/>
                  </a:lnTo>
                  <a:lnTo>
                    <a:pt x="9" y="0"/>
                  </a:lnTo>
                  <a:lnTo>
                    <a:pt x="9" y="0"/>
                  </a:lnTo>
                  <a:lnTo>
                    <a:pt x="9" y="0"/>
                  </a:lnTo>
                  <a:lnTo>
                    <a:pt x="10" y="0"/>
                  </a:lnTo>
                  <a:lnTo>
                    <a:pt x="10" y="0"/>
                  </a:lnTo>
                  <a:lnTo>
                    <a:pt x="10" y="0"/>
                  </a:lnTo>
                  <a:lnTo>
                    <a:pt x="10" y="0"/>
                  </a:lnTo>
                  <a:lnTo>
                    <a:pt x="10" y="0"/>
                  </a:lnTo>
                  <a:lnTo>
                    <a:pt x="10" y="0"/>
                  </a:lnTo>
                  <a:lnTo>
                    <a:pt x="10" y="0"/>
                  </a:lnTo>
                  <a:lnTo>
                    <a:pt x="1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08" name="Freeform 861">
              <a:extLst>
                <a:ext uri="{FF2B5EF4-FFF2-40B4-BE49-F238E27FC236}">
                  <a16:creationId xmlns:a16="http://schemas.microsoft.com/office/drawing/2014/main" id="{8966BFAF-A191-4FC1-9368-E643F40C311B}"/>
                </a:ext>
              </a:extLst>
            </p:cNvPr>
            <p:cNvSpPr>
              <a:spLocks noEditPoints="1"/>
            </p:cNvSpPr>
            <p:nvPr/>
          </p:nvSpPr>
          <p:spPr bwMode="auto">
            <a:xfrm>
              <a:off x="6033461" y="3233676"/>
              <a:ext cx="355240" cy="399311"/>
            </a:xfrm>
            <a:custGeom>
              <a:avLst/>
              <a:gdLst>
                <a:gd name="T0" fmla="*/ 237 w 266"/>
                <a:gd name="T1" fmla="*/ 119 h 299"/>
                <a:gd name="T2" fmla="*/ 189 w 266"/>
                <a:gd name="T3" fmla="*/ 2 h 299"/>
                <a:gd name="T4" fmla="*/ 200 w 266"/>
                <a:gd name="T5" fmla="*/ 6 h 299"/>
                <a:gd name="T6" fmla="*/ 214 w 266"/>
                <a:gd name="T7" fmla="*/ 8 h 299"/>
                <a:gd name="T8" fmla="*/ 226 w 266"/>
                <a:gd name="T9" fmla="*/ 18 h 299"/>
                <a:gd name="T10" fmla="*/ 240 w 266"/>
                <a:gd name="T11" fmla="*/ 12 h 299"/>
                <a:gd name="T12" fmla="*/ 252 w 266"/>
                <a:gd name="T13" fmla="*/ 23 h 299"/>
                <a:gd name="T14" fmla="*/ 260 w 266"/>
                <a:gd name="T15" fmla="*/ 39 h 299"/>
                <a:gd name="T16" fmla="*/ 266 w 266"/>
                <a:gd name="T17" fmla="*/ 53 h 299"/>
                <a:gd name="T18" fmla="*/ 255 w 266"/>
                <a:gd name="T19" fmla="*/ 65 h 299"/>
                <a:gd name="T20" fmla="*/ 247 w 266"/>
                <a:gd name="T21" fmla="*/ 79 h 299"/>
                <a:gd name="T22" fmla="*/ 240 w 266"/>
                <a:gd name="T23" fmla="*/ 95 h 299"/>
                <a:gd name="T24" fmla="*/ 242 w 266"/>
                <a:gd name="T25" fmla="*/ 103 h 299"/>
                <a:gd name="T26" fmla="*/ 235 w 266"/>
                <a:gd name="T27" fmla="*/ 113 h 299"/>
                <a:gd name="T28" fmla="*/ 232 w 266"/>
                <a:gd name="T29" fmla="*/ 124 h 299"/>
                <a:gd name="T30" fmla="*/ 238 w 266"/>
                <a:gd name="T31" fmla="*/ 139 h 299"/>
                <a:gd name="T32" fmla="*/ 237 w 266"/>
                <a:gd name="T33" fmla="*/ 152 h 299"/>
                <a:gd name="T34" fmla="*/ 239 w 266"/>
                <a:gd name="T35" fmla="*/ 175 h 299"/>
                <a:gd name="T36" fmla="*/ 242 w 266"/>
                <a:gd name="T37" fmla="*/ 194 h 299"/>
                <a:gd name="T38" fmla="*/ 254 w 266"/>
                <a:gd name="T39" fmla="*/ 212 h 299"/>
                <a:gd name="T40" fmla="*/ 225 w 266"/>
                <a:gd name="T41" fmla="*/ 229 h 299"/>
                <a:gd name="T42" fmla="*/ 227 w 266"/>
                <a:gd name="T43" fmla="*/ 237 h 299"/>
                <a:gd name="T44" fmla="*/ 226 w 266"/>
                <a:gd name="T45" fmla="*/ 257 h 299"/>
                <a:gd name="T46" fmla="*/ 227 w 266"/>
                <a:gd name="T47" fmla="*/ 274 h 299"/>
                <a:gd name="T48" fmla="*/ 238 w 266"/>
                <a:gd name="T49" fmla="*/ 280 h 299"/>
                <a:gd name="T50" fmla="*/ 240 w 266"/>
                <a:gd name="T51" fmla="*/ 298 h 299"/>
                <a:gd name="T52" fmla="*/ 228 w 266"/>
                <a:gd name="T53" fmla="*/ 291 h 299"/>
                <a:gd name="T54" fmla="*/ 213 w 266"/>
                <a:gd name="T55" fmla="*/ 280 h 299"/>
                <a:gd name="T56" fmla="*/ 203 w 266"/>
                <a:gd name="T57" fmla="*/ 274 h 299"/>
                <a:gd name="T58" fmla="*/ 186 w 266"/>
                <a:gd name="T59" fmla="*/ 272 h 299"/>
                <a:gd name="T60" fmla="*/ 176 w 266"/>
                <a:gd name="T61" fmla="*/ 264 h 299"/>
                <a:gd name="T62" fmla="*/ 164 w 266"/>
                <a:gd name="T63" fmla="*/ 259 h 299"/>
                <a:gd name="T64" fmla="*/ 146 w 266"/>
                <a:gd name="T65" fmla="*/ 261 h 299"/>
                <a:gd name="T66" fmla="*/ 140 w 266"/>
                <a:gd name="T67" fmla="*/ 253 h 299"/>
                <a:gd name="T68" fmla="*/ 133 w 266"/>
                <a:gd name="T69" fmla="*/ 235 h 299"/>
                <a:gd name="T70" fmla="*/ 134 w 266"/>
                <a:gd name="T71" fmla="*/ 215 h 299"/>
                <a:gd name="T72" fmla="*/ 126 w 266"/>
                <a:gd name="T73" fmla="*/ 201 h 299"/>
                <a:gd name="T74" fmla="*/ 112 w 266"/>
                <a:gd name="T75" fmla="*/ 196 h 299"/>
                <a:gd name="T76" fmla="*/ 99 w 266"/>
                <a:gd name="T77" fmla="*/ 208 h 299"/>
                <a:gd name="T78" fmla="*/ 82 w 266"/>
                <a:gd name="T79" fmla="*/ 212 h 299"/>
                <a:gd name="T80" fmla="*/ 70 w 266"/>
                <a:gd name="T81" fmla="*/ 207 h 299"/>
                <a:gd name="T82" fmla="*/ 63 w 266"/>
                <a:gd name="T83" fmla="*/ 191 h 299"/>
                <a:gd name="T84" fmla="*/ 57 w 266"/>
                <a:gd name="T85" fmla="*/ 179 h 299"/>
                <a:gd name="T86" fmla="*/ 33 w 266"/>
                <a:gd name="T87" fmla="*/ 179 h 299"/>
                <a:gd name="T88" fmla="*/ 10 w 266"/>
                <a:gd name="T89" fmla="*/ 177 h 299"/>
                <a:gd name="T90" fmla="*/ 5 w 266"/>
                <a:gd name="T91" fmla="*/ 174 h 299"/>
                <a:gd name="T92" fmla="*/ 13 w 266"/>
                <a:gd name="T93" fmla="*/ 158 h 299"/>
                <a:gd name="T94" fmla="*/ 22 w 266"/>
                <a:gd name="T95" fmla="*/ 155 h 299"/>
                <a:gd name="T96" fmla="*/ 31 w 266"/>
                <a:gd name="T97" fmla="*/ 163 h 299"/>
                <a:gd name="T98" fmla="*/ 46 w 266"/>
                <a:gd name="T99" fmla="*/ 153 h 299"/>
                <a:gd name="T100" fmla="*/ 56 w 266"/>
                <a:gd name="T101" fmla="*/ 134 h 299"/>
                <a:gd name="T102" fmla="*/ 63 w 266"/>
                <a:gd name="T103" fmla="*/ 111 h 299"/>
                <a:gd name="T104" fmla="*/ 78 w 266"/>
                <a:gd name="T105" fmla="*/ 93 h 299"/>
                <a:gd name="T106" fmla="*/ 82 w 266"/>
                <a:gd name="T107" fmla="*/ 64 h 299"/>
                <a:gd name="T108" fmla="*/ 88 w 266"/>
                <a:gd name="T109" fmla="*/ 40 h 299"/>
                <a:gd name="T110" fmla="*/ 91 w 266"/>
                <a:gd name="T111" fmla="*/ 16 h 299"/>
                <a:gd name="T112" fmla="*/ 106 w 266"/>
                <a:gd name="T113" fmla="*/ 5 h 299"/>
                <a:gd name="T114" fmla="*/ 120 w 266"/>
                <a:gd name="T115" fmla="*/ 15 h 299"/>
                <a:gd name="T116" fmla="*/ 139 w 266"/>
                <a:gd name="T117" fmla="*/ 19 h 299"/>
                <a:gd name="T118" fmla="*/ 148 w 266"/>
                <a:gd name="T119" fmla="*/ 11 h 299"/>
                <a:gd name="T120" fmla="*/ 163 w 266"/>
                <a:gd name="T121" fmla="*/ 8 h 299"/>
                <a:gd name="T122" fmla="*/ 175 w 266"/>
                <a:gd name="T123" fmla="*/ 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6" h="299">
                  <a:moveTo>
                    <a:pt x="11" y="179"/>
                  </a:moveTo>
                  <a:lnTo>
                    <a:pt x="10" y="180"/>
                  </a:lnTo>
                  <a:lnTo>
                    <a:pt x="8" y="180"/>
                  </a:lnTo>
                  <a:lnTo>
                    <a:pt x="7" y="180"/>
                  </a:lnTo>
                  <a:lnTo>
                    <a:pt x="8" y="180"/>
                  </a:lnTo>
                  <a:lnTo>
                    <a:pt x="8" y="179"/>
                  </a:lnTo>
                  <a:lnTo>
                    <a:pt x="10" y="179"/>
                  </a:lnTo>
                  <a:lnTo>
                    <a:pt x="11" y="179"/>
                  </a:lnTo>
                  <a:close/>
                  <a:moveTo>
                    <a:pt x="235" y="116"/>
                  </a:moveTo>
                  <a:lnTo>
                    <a:pt x="235" y="117"/>
                  </a:lnTo>
                  <a:lnTo>
                    <a:pt x="235" y="116"/>
                  </a:lnTo>
                  <a:lnTo>
                    <a:pt x="237" y="116"/>
                  </a:lnTo>
                  <a:lnTo>
                    <a:pt x="237" y="117"/>
                  </a:lnTo>
                  <a:lnTo>
                    <a:pt x="235" y="117"/>
                  </a:lnTo>
                  <a:lnTo>
                    <a:pt x="237" y="117"/>
                  </a:lnTo>
                  <a:lnTo>
                    <a:pt x="237" y="118"/>
                  </a:lnTo>
                  <a:lnTo>
                    <a:pt x="235" y="118"/>
                  </a:lnTo>
                  <a:lnTo>
                    <a:pt x="235" y="119"/>
                  </a:lnTo>
                  <a:lnTo>
                    <a:pt x="237" y="119"/>
                  </a:lnTo>
                  <a:lnTo>
                    <a:pt x="235" y="120"/>
                  </a:lnTo>
                  <a:lnTo>
                    <a:pt x="235" y="121"/>
                  </a:lnTo>
                  <a:lnTo>
                    <a:pt x="234" y="121"/>
                  </a:lnTo>
                  <a:lnTo>
                    <a:pt x="235" y="121"/>
                  </a:lnTo>
                  <a:lnTo>
                    <a:pt x="235" y="120"/>
                  </a:lnTo>
                  <a:lnTo>
                    <a:pt x="234" y="120"/>
                  </a:lnTo>
                  <a:lnTo>
                    <a:pt x="234" y="121"/>
                  </a:lnTo>
                  <a:lnTo>
                    <a:pt x="234" y="120"/>
                  </a:lnTo>
                  <a:lnTo>
                    <a:pt x="234" y="119"/>
                  </a:lnTo>
                  <a:lnTo>
                    <a:pt x="235" y="119"/>
                  </a:lnTo>
                  <a:lnTo>
                    <a:pt x="235" y="118"/>
                  </a:lnTo>
                  <a:lnTo>
                    <a:pt x="235" y="117"/>
                  </a:lnTo>
                  <a:lnTo>
                    <a:pt x="235" y="116"/>
                  </a:lnTo>
                  <a:close/>
                  <a:moveTo>
                    <a:pt x="185" y="0"/>
                  </a:moveTo>
                  <a:lnTo>
                    <a:pt x="186" y="0"/>
                  </a:lnTo>
                  <a:lnTo>
                    <a:pt x="186" y="1"/>
                  </a:lnTo>
                  <a:lnTo>
                    <a:pt x="188" y="1"/>
                  </a:lnTo>
                  <a:lnTo>
                    <a:pt x="188" y="2"/>
                  </a:lnTo>
                  <a:lnTo>
                    <a:pt x="189" y="2"/>
                  </a:lnTo>
                  <a:lnTo>
                    <a:pt x="190" y="2"/>
                  </a:lnTo>
                  <a:lnTo>
                    <a:pt x="190" y="4"/>
                  </a:lnTo>
                  <a:lnTo>
                    <a:pt x="191" y="4"/>
                  </a:lnTo>
                  <a:lnTo>
                    <a:pt x="191" y="2"/>
                  </a:lnTo>
                  <a:lnTo>
                    <a:pt x="192" y="2"/>
                  </a:lnTo>
                  <a:lnTo>
                    <a:pt x="192" y="4"/>
                  </a:lnTo>
                  <a:lnTo>
                    <a:pt x="193" y="4"/>
                  </a:lnTo>
                  <a:lnTo>
                    <a:pt x="193" y="2"/>
                  </a:lnTo>
                  <a:lnTo>
                    <a:pt x="195" y="2"/>
                  </a:lnTo>
                  <a:lnTo>
                    <a:pt x="195" y="4"/>
                  </a:lnTo>
                  <a:lnTo>
                    <a:pt x="196" y="4"/>
                  </a:lnTo>
                  <a:lnTo>
                    <a:pt x="197" y="5"/>
                  </a:lnTo>
                  <a:lnTo>
                    <a:pt x="198" y="4"/>
                  </a:lnTo>
                  <a:lnTo>
                    <a:pt x="198" y="5"/>
                  </a:lnTo>
                  <a:lnTo>
                    <a:pt x="198" y="6"/>
                  </a:lnTo>
                  <a:lnTo>
                    <a:pt x="199" y="6"/>
                  </a:lnTo>
                  <a:lnTo>
                    <a:pt x="200" y="6"/>
                  </a:lnTo>
                  <a:lnTo>
                    <a:pt x="200" y="5"/>
                  </a:lnTo>
                  <a:lnTo>
                    <a:pt x="200" y="6"/>
                  </a:lnTo>
                  <a:lnTo>
                    <a:pt x="202" y="5"/>
                  </a:lnTo>
                  <a:lnTo>
                    <a:pt x="202" y="6"/>
                  </a:lnTo>
                  <a:lnTo>
                    <a:pt x="202" y="5"/>
                  </a:lnTo>
                  <a:lnTo>
                    <a:pt x="203" y="5"/>
                  </a:lnTo>
                  <a:lnTo>
                    <a:pt x="204" y="6"/>
                  </a:lnTo>
                  <a:lnTo>
                    <a:pt x="205" y="6"/>
                  </a:lnTo>
                  <a:lnTo>
                    <a:pt x="205" y="5"/>
                  </a:lnTo>
                  <a:lnTo>
                    <a:pt x="205" y="4"/>
                  </a:lnTo>
                  <a:lnTo>
                    <a:pt x="206" y="4"/>
                  </a:lnTo>
                  <a:lnTo>
                    <a:pt x="207" y="4"/>
                  </a:lnTo>
                  <a:lnTo>
                    <a:pt x="209" y="4"/>
                  </a:lnTo>
                  <a:lnTo>
                    <a:pt x="210" y="5"/>
                  </a:lnTo>
                  <a:lnTo>
                    <a:pt x="211" y="5"/>
                  </a:lnTo>
                  <a:lnTo>
                    <a:pt x="212" y="5"/>
                  </a:lnTo>
                  <a:lnTo>
                    <a:pt x="212" y="6"/>
                  </a:lnTo>
                  <a:lnTo>
                    <a:pt x="212" y="7"/>
                  </a:lnTo>
                  <a:lnTo>
                    <a:pt x="213" y="7"/>
                  </a:lnTo>
                  <a:lnTo>
                    <a:pt x="213" y="8"/>
                  </a:lnTo>
                  <a:lnTo>
                    <a:pt x="214" y="8"/>
                  </a:lnTo>
                  <a:lnTo>
                    <a:pt x="216" y="8"/>
                  </a:lnTo>
                  <a:lnTo>
                    <a:pt x="216" y="9"/>
                  </a:lnTo>
                  <a:lnTo>
                    <a:pt x="217" y="9"/>
                  </a:lnTo>
                  <a:lnTo>
                    <a:pt x="217" y="11"/>
                  </a:lnTo>
                  <a:lnTo>
                    <a:pt x="217" y="12"/>
                  </a:lnTo>
                  <a:lnTo>
                    <a:pt x="217" y="13"/>
                  </a:lnTo>
                  <a:lnTo>
                    <a:pt x="218" y="13"/>
                  </a:lnTo>
                  <a:lnTo>
                    <a:pt x="218" y="14"/>
                  </a:lnTo>
                  <a:lnTo>
                    <a:pt x="219" y="14"/>
                  </a:lnTo>
                  <a:lnTo>
                    <a:pt x="219" y="13"/>
                  </a:lnTo>
                  <a:lnTo>
                    <a:pt x="219" y="14"/>
                  </a:lnTo>
                  <a:lnTo>
                    <a:pt x="220" y="14"/>
                  </a:lnTo>
                  <a:lnTo>
                    <a:pt x="220" y="15"/>
                  </a:lnTo>
                  <a:lnTo>
                    <a:pt x="221" y="15"/>
                  </a:lnTo>
                  <a:lnTo>
                    <a:pt x="223" y="16"/>
                  </a:lnTo>
                  <a:lnTo>
                    <a:pt x="224" y="16"/>
                  </a:lnTo>
                  <a:lnTo>
                    <a:pt x="225" y="16"/>
                  </a:lnTo>
                  <a:lnTo>
                    <a:pt x="225" y="18"/>
                  </a:lnTo>
                  <a:lnTo>
                    <a:pt x="226" y="18"/>
                  </a:lnTo>
                  <a:lnTo>
                    <a:pt x="227" y="16"/>
                  </a:lnTo>
                  <a:lnTo>
                    <a:pt x="228" y="16"/>
                  </a:lnTo>
                  <a:lnTo>
                    <a:pt x="228" y="15"/>
                  </a:lnTo>
                  <a:lnTo>
                    <a:pt x="230" y="15"/>
                  </a:lnTo>
                  <a:lnTo>
                    <a:pt x="230" y="14"/>
                  </a:lnTo>
                  <a:lnTo>
                    <a:pt x="231" y="14"/>
                  </a:lnTo>
                  <a:lnTo>
                    <a:pt x="232" y="15"/>
                  </a:lnTo>
                  <a:lnTo>
                    <a:pt x="233" y="15"/>
                  </a:lnTo>
                  <a:lnTo>
                    <a:pt x="234" y="14"/>
                  </a:lnTo>
                  <a:lnTo>
                    <a:pt x="234" y="15"/>
                  </a:lnTo>
                  <a:lnTo>
                    <a:pt x="235" y="15"/>
                  </a:lnTo>
                  <a:lnTo>
                    <a:pt x="237" y="16"/>
                  </a:lnTo>
                  <a:lnTo>
                    <a:pt x="237" y="18"/>
                  </a:lnTo>
                  <a:lnTo>
                    <a:pt x="238" y="16"/>
                  </a:lnTo>
                  <a:lnTo>
                    <a:pt x="239" y="16"/>
                  </a:lnTo>
                  <a:lnTo>
                    <a:pt x="239" y="15"/>
                  </a:lnTo>
                  <a:lnTo>
                    <a:pt x="240" y="14"/>
                  </a:lnTo>
                  <a:lnTo>
                    <a:pt x="240" y="13"/>
                  </a:lnTo>
                  <a:lnTo>
                    <a:pt x="240" y="12"/>
                  </a:lnTo>
                  <a:lnTo>
                    <a:pt x="241" y="12"/>
                  </a:lnTo>
                  <a:lnTo>
                    <a:pt x="242" y="12"/>
                  </a:lnTo>
                  <a:lnTo>
                    <a:pt x="244" y="13"/>
                  </a:lnTo>
                  <a:lnTo>
                    <a:pt x="245" y="13"/>
                  </a:lnTo>
                  <a:lnTo>
                    <a:pt x="245" y="14"/>
                  </a:lnTo>
                  <a:lnTo>
                    <a:pt x="245" y="15"/>
                  </a:lnTo>
                  <a:lnTo>
                    <a:pt x="245" y="16"/>
                  </a:lnTo>
                  <a:lnTo>
                    <a:pt x="246" y="16"/>
                  </a:lnTo>
                  <a:lnTo>
                    <a:pt x="247" y="16"/>
                  </a:lnTo>
                  <a:lnTo>
                    <a:pt x="247" y="18"/>
                  </a:lnTo>
                  <a:lnTo>
                    <a:pt x="247" y="19"/>
                  </a:lnTo>
                  <a:lnTo>
                    <a:pt x="248" y="19"/>
                  </a:lnTo>
                  <a:lnTo>
                    <a:pt x="248" y="20"/>
                  </a:lnTo>
                  <a:lnTo>
                    <a:pt x="249" y="20"/>
                  </a:lnTo>
                  <a:lnTo>
                    <a:pt x="249" y="21"/>
                  </a:lnTo>
                  <a:lnTo>
                    <a:pt x="250" y="21"/>
                  </a:lnTo>
                  <a:lnTo>
                    <a:pt x="250" y="22"/>
                  </a:lnTo>
                  <a:lnTo>
                    <a:pt x="250" y="23"/>
                  </a:lnTo>
                  <a:lnTo>
                    <a:pt x="252" y="23"/>
                  </a:lnTo>
                  <a:lnTo>
                    <a:pt x="253" y="23"/>
                  </a:lnTo>
                  <a:lnTo>
                    <a:pt x="254" y="25"/>
                  </a:lnTo>
                  <a:lnTo>
                    <a:pt x="255" y="25"/>
                  </a:lnTo>
                  <a:lnTo>
                    <a:pt x="256" y="27"/>
                  </a:lnTo>
                  <a:lnTo>
                    <a:pt x="256" y="28"/>
                  </a:lnTo>
                  <a:lnTo>
                    <a:pt x="257" y="28"/>
                  </a:lnTo>
                  <a:lnTo>
                    <a:pt x="259" y="28"/>
                  </a:lnTo>
                  <a:lnTo>
                    <a:pt x="259" y="27"/>
                  </a:lnTo>
                  <a:lnTo>
                    <a:pt x="259" y="28"/>
                  </a:lnTo>
                  <a:lnTo>
                    <a:pt x="260" y="29"/>
                  </a:lnTo>
                  <a:lnTo>
                    <a:pt x="260" y="30"/>
                  </a:lnTo>
                  <a:lnTo>
                    <a:pt x="261" y="30"/>
                  </a:lnTo>
                  <a:lnTo>
                    <a:pt x="261" y="32"/>
                  </a:lnTo>
                  <a:lnTo>
                    <a:pt x="261" y="33"/>
                  </a:lnTo>
                  <a:lnTo>
                    <a:pt x="260" y="33"/>
                  </a:lnTo>
                  <a:lnTo>
                    <a:pt x="260" y="34"/>
                  </a:lnTo>
                  <a:lnTo>
                    <a:pt x="259" y="36"/>
                  </a:lnTo>
                  <a:lnTo>
                    <a:pt x="259" y="37"/>
                  </a:lnTo>
                  <a:lnTo>
                    <a:pt x="260" y="39"/>
                  </a:lnTo>
                  <a:lnTo>
                    <a:pt x="260" y="40"/>
                  </a:lnTo>
                  <a:lnTo>
                    <a:pt x="260" y="41"/>
                  </a:lnTo>
                  <a:lnTo>
                    <a:pt x="260" y="42"/>
                  </a:lnTo>
                  <a:lnTo>
                    <a:pt x="259" y="43"/>
                  </a:lnTo>
                  <a:lnTo>
                    <a:pt x="259" y="44"/>
                  </a:lnTo>
                  <a:lnTo>
                    <a:pt x="259" y="46"/>
                  </a:lnTo>
                  <a:lnTo>
                    <a:pt x="259" y="47"/>
                  </a:lnTo>
                  <a:lnTo>
                    <a:pt x="260" y="47"/>
                  </a:lnTo>
                  <a:lnTo>
                    <a:pt x="260" y="48"/>
                  </a:lnTo>
                  <a:lnTo>
                    <a:pt x="260" y="49"/>
                  </a:lnTo>
                  <a:lnTo>
                    <a:pt x="261" y="49"/>
                  </a:lnTo>
                  <a:lnTo>
                    <a:pt x="261" y="48"/>
                  </a:lnTo>
                  <a:lnTo>
                    <a:pt x="262" y="48"/>
                  </a:lnTo>
                  <a:lnTo>
                    <a:pt x="263" y="49"/>
                  </a:lnTo>
                  <a:lnTo>
                    <a:pt x="264" y="49"/>
                  </a:lnTo>
                  <a:lnTo>
                    <a:pt x="264" y="50"/>
                  </a:lnTo>
                  <a:lnTo>
                    <a:pt x="266" y="50"/>
                  </a:lnTo>
                  <a:lnTo>
                    <a:pt x="266" y="51"/>
                  </a:lnTo>
                  <a:lnTo>
                    <a:pt x="266" y="53"/>
                  </a:lnTo>
                  <a:lnTo>
                    <a:pt x="264" y="53"/>
                  </a:lnTo>
                  <a:lnTo>
                    <a:pt x="264" y="54"/>
                  </a:lnTo>
                  <a:lnTo>
                    <a:pt x="263" y="54"/>
                  </a:lnTo>
                  <a:lnTo>
                    <a:pt x="263" y="55"/>
                  </a:lnTo>
                  <a:lnTo>
                    <a:pt x="262" y="55"/>
                  </a:lnTo>
                  <a:lnTo>
                    <a:pt x="261" y="55"/>
                  </a:lnTo>
                  <a:lnTo>
                    <a:pt x="260" y="57"/>
                  </a:lnTo>
                  <a:lnTo>
                    <a:pt x="259" y="58"/>
                  </a:lnTo>
                  <a:lnTo>
                    <a:pt x="257" y="60"/>
                  </a:lnTo>
                  <a:lnTo>
                    <a:pt x="257" y="61"/>
                  </a:lnTo>
                  <a:lnTo>
                    <a:pt x="256" y="61"/>
                  </a:lnTo>
                  <a:lnTo>
                    <a:pt x="256" y="62"/>
                  </a:lnTo>
                  <a:lnTo>
                    <a:pt x="255" y="62"/>
                  </a:lnTo>
                  <a:lnTo>
                    <a:pt x="255" y="63"/>
                  </a:lnTo>
                  <a:lnTo>
                    <a:pt x="254" y="64"/>
                  </a:lnTo>
                  <a:lnTo>
                    <a:pt x="254" y="65"/>
                  </a:lnTo>
                  <a:lnTo>
                    <a:pt x="254" y="67"/>
                  </a:lnTo>
                  <a:lnTo>
                    <a:pt x="255" y="67"/>
                  </a:lnTo>
                  <a:lnTo>
                    <a:pt x="255" y="65"/>
                  </a:lnTo>
                  <a:lnTo>
                    <a:pt x="255" y="67"/>
                  </a:lnTo>
                  <a:lnTo>
                    <a:pt x="254" y="67"/>
                  </a:lnTo>
                  <a:lnTo>
                    <a:pt x="253" y="67"/>
                  </a:lnTo>
                  <a:lnTo>
                    <a:pt x="253" y="68"/>
                  </a:lnTo>
                  <a:lnTo>
                    <a:pt x="253" y="67"/>
                  </a:lnTo>
                  <a:lnTo>
                    <a:pt x="253" y="68"/>
                  </a:lnTo>
                  <a:lnTo>
                    <a:pt x="252" y="68"/>
                  </a:lnTo>
                  <a:lnTo>
                    <a:pt x="252" y="69"/>
                  </a:lnTo>
                  <a:lnTo>
                    <a:pt x="252" y="70"/>
                  </a:lnTo>
                  <a:lnTo>
                    <a:pt x="250" y="71"/>
                  </a:lnTo>
                  <a:lnTo>
                    <a:pt x="249" y="71"/>
                  </a:lnTo>
                  <a:lnTo>
                    <a:pt x="248" y="72"/>
                  </a:lnTo>
                  <a:lnTo>
                    <a:pt x="247" y="74"/>
                  </a:lnTo>
                  <a:lnTo>
                    <a:pt x="248" y="75"/>
                  </a:lnTo>
                  <a:lnTo>
                    <a:pt x="247" y="76"/>
                  </a:lnTo>
                  <a:lnTo>
                    <a:pt x="248" y="77"/>
                  </a:lnTo>
                  <a:lnTo>
                    <a:pt x="248" y="78"/>
                  </a:lnTo>
                  <a:lnTo>
                    <a:pt x="247" y="78"/>
                  </a:lnTo>
                  <a:lnTo>
                    <a:pt x="247" y="79"/>
                  </a:lnTo>
                  <a:lnTo>
                    <a:pt x="246" y="79"/>
                  </a:lnTo>
                  <a:lnTo>
                    <a:pt x="246" y="81"/>
                  </a:lnTo>
                  <a:lnTo>
                    <a:pt x="246" y="83"/>
                  </a:lnTo>
                  <a:lnTo>
                    <a:pt x="245" y="83"/>
                  </a:lnTo>
                  <a:lnTo>
                    <a:pt x="245" y="84"/>
                  </a:lnTo>
                  <a:lnTo>
                    <a:pt x="245" y="85"/>
                  </a:lnTo>
                  <a:lnTo>
                    <a:pt x="245" y="86"/>
                  </a:lnTo>
                  <a:lnTo>
                    <a:pt x="245" y="88"/>
                  </a:lnTo>
                  <a:lnTo>
                    <a:pt x="244" y="88"/>
                  </a:lnTo>
                  <a:lnTo>
                    <a:pt x="242" y="88"/>
                  </a:lnTo>
                  <a:lnTo>
                    <a:pt x="241" y="89"/>
                  </a:lnTo>
                  <a:lnTo>
                    <a:pt x="241" y="90"/>
                  </a:lnTo>
                  <a:lnTo>
                    <a:pt x="241" y="91"/>
                  </a:lnTo>
                  <a:lnTo>
                    <a:pt x="240" y="91"/>
                  </a:lnTo>
                  <a:lnTo>
                    <a:pt x="240" y="92"/>
                  </a:lnTo>
                  <a:lnTo>
                    <a:pt x="240" y="93"/>
                  </a:lnTo>
                  <a:lnTo>
                    <a:pt x="239" y="93"/>
                  </a:lnTo>
                  <a:lnTo>
                    <a:pt x="239" y="95"/>
                  </a:lnTo>
                  <a:lnTo>
                    <a:pt x="240" y="95"/>
                  </a:lnTo>
                  <a:lnTo>
                    <a:pt x="240" y="96"/>
                  </a:lnTo>
                  <a:lnTo>
                    <a:pt x="240" y="97"/>
                  </a:lnTo>
                  <a:lnTo>
                    <a:pt x="240" y="96"/>
                  </a:lnTo>
                  <a:lnTo>
                    <a:pt x="240" y="97"/>
                  </a:lnTo>
                  <a:lnTo>
                    <a:pt x="240" y="96"/>
                  </a:lnTo>
                  <a:lnTo>
                    <a:pt x="241" y="96"/>
                  </a:lnTo>
                  <a:lnTo>
                    <a:pt x="242" y="96"/>
                  </a:lnTo>
                  <a:lnTo>
                    <a:pt x="242" y="95"/>
                  </a:lnTo>
                  <a:lnTo>
                    <a:pt x="244" y="95"/>
                  </a:lnTo>
                  <a:lnTo>
                    <a:pt x="244" y="93"/>
                  </a:lnTo>
                  <a:lnTo>
                    <a:pt x="244" y="95"/>
                  </a:lnTo>
                  <a:lnTo>
                    <a:pt x="244" y="96"/>
                  </a:lnTo>
                  <a:lnTo>
                    <a:pt x="244" y="97"/>
                  </a:lnTo>
                  <a:lnTo>
                    <a:pt x="244" y="98"/>
                  </a:lnTo>
                  <a:lnTo>
                    <a:pt x="244" y="99"/>
                  </a:lnTo>
                  <a:lnTo>
                    <a:pt x="242" y="99"/>
                  </a:lnTo>
                  <a:lnTo>
                    <a:pt x="242" y="100"/>
                  </a:lnTo>
                  <a:lnTo>
                    <a:pt x="242" y="102"/>
                  </a:lnTo>
                  <a:lnTo>
                    <a:pt x="242" y="103"/>
                  </a:lnTo>
                  <a:lnTo>
                    <a:pt x="242" y="104"/>
                  </a:lnTo>
                  <a:lnTo>
                    <a:pt x="242" y="105"/>
                  </a:lnTo>
                  <a:lnTo>
                    <a:pt x="242" y="106"/>
                  </a:lnTo>
                  <a:lnTo>
                    <a:pt x="242" y="107"/>
                  </a:lnTo>
                  <a:lnTo>
                    <a:pt x="241" y="109"/>
                  </a:lnTo>
                  <a:lnTo>
                    <a:pt x="241" y="110"/>
                  </a:lnTo>
                  <a:lnTo>
                    <a:pt x="240" y="110"/>
                  </a:lnTo>
                  <a:lnTo>
                    <a:pt x="239" y="110"/>
                  </a:lnTo>
                  <a:lnTo>
                    <a:pt x="239" y="111"/>
                  </a:lnTo>
                  <a:lnTo>
                    <a:pt x="238" y="112"/>
                  </a:lnTo>
                  <a:lnTo>
                    <a:pt x="237" y="112"/>
                  </a:lnTo>
                  <a:lnTo>
                    <a:pt x="237" y="111"/>
                  </a:lnTo>
                  <a:lnTo>
                    <a:pt x="235" y="111"/>
                  </a:lnTo>
                  <a:lnTo>
                    <a:pt x="235" y="112"/>
                  </a:lnTo>
                  <a:lnTo>
                    <a:pt x="234" y="112"/>
                  </a:lnTo>
                  <a:lnTo>
                    <a:pt x="235" y="112"/>
                  </a:lnTo>
                  <a:lnTo>
                    <a:pt x="235" y="111"/>
                  </a:lnTo>
                  <a:lnTo>
                    <a:pt x="235" y="112"/>
                  </a:lnTo>
                  <a:lnTo>
                    <a:pt x="235" y="113"/>
                  </a:lnTo>
                  <a:lnTo>
                    <a:pt x="234" y="113"/>
                  </a:lnTo>
                  <a:lnTo>
                    <a:pt x="234" y="114"/>
                  </a:lnTo>
                  <a:lnTo>
                    <a:pt x="235" y="114"/>
                  </a:lnTo>
                  <a:lnTo>
                    <a:pt x="234" y="114"/>
                  </a:lnTo>
                  <a:lnTo>
                    <a:pt x="234" y="117"/>
                  </a:lnTo>
                  <a:lnTo>
                    <a:pt x="233" y="117"/>
                  </a:lnTo>
                  <a:lnTo>
                    <a:pt x="233" y="118"/>
                  </a:lnTo>
                  <a:lnTo>
                    <a:pt x="233" y="117"/>
                  </a:lnTo>
                  <a:lnTo>
                    <a:pt x="234" y="117"/>
                  </a:lnTo>
                  <a:lnTo>
                    <a:pt x="234" y="118"/>
                  </a:lnTo>
                  <a:lnTo>
                    <a:pt x="233" y="119"/>
                  </a:lnTo>
                  <a:lnTo>
                    <a:pt x="233" y="120"/>
                  </a:lnTo>
                  <a:lnTo>
                    <a:pt x="233" y="121"/>
                  </a:lnTo>
                  <a:lnTo>
                    <a:pt x="233" y="123"/>
                  </a:lnTo>
                  <a:lnTo>
                    <a:pt x="233" y="121"/>
                  </a:lnTo>
                  <a:lnTo>
                    <a:pt x="234" y="121"/>
                  </a:lnTo>
                  <a:lnTo>
                    <a:pt x="234" y="123"/>
                  </a:lnTo>
                  <a:lnTo>
                    <a:pt x="233" y="123"/>
                  </a:lnTo>
                  <a:lnTo>
                    <a:pt x="232" y="124"/>
                  </a:lnTo>
                  <a:lnTo>
                    <a:pt x="232" y="125"/>
                  </a:lnTo>
                  <a:lnTo>
                    <a:pt x="233" y="125"/>
                  </a:lnTo>
                  <a:lnTo>
                    <a:pt x="233" y="126"/>
                  </a:lnTo>
                  <a:lnTo>
                    <a:pt x="233" y="127"/>
                  </a:lnTo>
                  <a:lnTo>
                    <a:pt x="233" y="128"/>
                  </a:lnTo>
                  <a:lnTo>
                    <a:pt x="234" y="128"/>
                  </a:lnTo>
                  <a:lnTo>
                    <a:pt x="235" y="130"/>
                  </a:lnTo>
                  <a:lnTo>
                    <a:pt x="234" y="130"/>
                  </a:lnTo>
                  <a:lnTo>
                    <a:pt x="234" y="131"/>
                  </a:lnTo>
                  <a:lnTo>
                    <a:pt x="235" y="131"/>
                  </a:lnTo>
                  <a:lnTo>
                    <a:pt x="235" y="132"/>
                  </a:lnTo>
                  <a:lnTo>
                    <a:pt x="237" y="132"/>
                  </a:lnTo>
                  <a:lnTo>
                    <a:pt x="237" y="133"/>
                  </a:lnTo>
                  <a:lnTo>
                    <a:pt x="238" y="133"/>
                  </a:lnTo>
                  <a:lnTo>
                    <a:pt x="238" y="134"/>
                  </a:lnTo>
                  <a:lnTo>
                    <a:pt x="238" y="135"/>
                  </a:lnTo>
                  <a:lnTo>
                    <a:pt x="238" y="137"/>
                  </a:lnTo>
                  <a:lnTo>
                    <a:pt x="238" y="138"/>
                  </a:lnTo>
                  <a:lnTo>
                    <a:pt x="238" y="139"/>
                  </a:lnTo>
                  <a:lnTo>
                    <a:pt x="237" y="139"/>
                  </a:lnTo>
                  <a:lnTo>
                    <a:pt x="237" y="140"/>
                  </a:lnTo>
                  <a:lnTo>
                    <a:pt x="237" y="144"/>
                  </a:lnTo>
                  <a:lnTo>
                    <a:pt x="237" y="145"/>
                  </a:lnTo>
                  <a:lnTo>
                    <a:pt x="235" y="145"/>
                  </a:lnTo>
                  <a:lnTo>
                    <a:pt x="235" y="146"/>
                  </a:lnTo>
                  <a:lnTo>
                    <a:pt x="237" y="146"/>
                  </a:lnTo>
                  <a:lnTo>
                    <a:pt x="235" y="147"/>
                  </a:lnTo>
                  <a:lnTo>
                    <a:pt x="235" y="148"/>
                  </a:lnTo>
                  <a:lnTo>
                    <a:pt x="235" y="149"/>
                  </a:lnTo>
                  <a:lnTo>
                    <a:pt x="235" y="151"/>
                  </a:lnTo>
                  <a:lnTo>
                    <a:pt x="235" y="152"/>
                  </a:lnTo>
                  <a:lnTo>
                    <a:pt x="235" y="153"/>
                  </a:lnTo>
                  <a:lnTo>
                    <a:pt x="235" y="154"/>
                  </a:lnTo>
                  <a:lnTo>
                    <a:pt x="234" y="154"/>
                  </a:lnTo>
                  <a:lnTo>
                    <a:pt x="235" y="154"/>
                  </a:lnTo>
                  <a:lnTo>
                    <a:pt x="237" y="154"/>
                  </a:lnTo>
                  <a:lnTo>
                    <a:pt x="237" y="153"/>
                  </a:lnTo>
                  <a:lnTo>
                    <a:pt x="237" y="152"/>
                  </a:lnTo>
                  <a:lnTo>
                    <a:pt x="238" y="151"/>
                  </a:lnTo>
                  <a:lnTo>
                    <a:pt x="238" y="149"/>
                  </a:lnTo>
                  <a:lnTo>
                    <a:pt x="238" y="151"/>
                  </a:lnTo>
                  <a:lnTo>
                    <a:pt x="238" y="155"/>
                  </a:lnTo>
                  <a:lnTo>
                    <a:pt x="237" y="155"/>
                  </a:lnTo>
                  <a:lnTo>
                    <a:pt x="237" y="156"/>
                  </a:lnTo>
                  <a:lnTo>
                    <a:pt x="237" y="158"/>
                  </a:lnTo>
                  <a:lnTo>
                    <a:pt x="237" y="156"/>
                  </a:lnTo>
                  <a:lnTo>
                    <a:pt x="237" y="158"/>
                  </a:lnTo>
                  <a:lnTo>
                    <a:pt x="235" y="159"/>
                  </a:lnTo>
                  <a:lnTo>
                    <a:pt x="235" y="161"/>
                  </a:lnTo>
                  <a:lnTo>
                    <a:pt x="235" y="165"/>
                  </a:lnTo>
                  <a:lnTo>
                    <a:pt x="235" y="166"/>
                  </a:lnTo>
                  <a:lnTo>
                    <a:pt x="235" y="167"/>
                  </a:lnTo>
                  <a:lnTo>
                    <a:pt x="237" y="168"/>
                  </a:lnTo>
                  <a:lnTo>
                    <a:pt x="237" y="169"/>
                  </a:lnTo>
                  <a:lnTo>
                    <a:pt x="238" y="172"/>
                  </a:lnTo>
                  <a:lnTo>
                    <a:pt x="239" y="174"/>
                  </a:lnTo>
                  <a:lnTo>
                    <a:pt x="239" y="175"/>
                  </a:lnTo>
                  <a:lnTo>
                    <a:pt x="239" y="176"/>
                  </a:lnTo>
                  <a:lnTo>
                    <a:pt x="239" y="177"/>
                  </a:lnTo>
                  <a:lnTo>
                    <a:pt x="238" y="177"/>
                  </a:lnTo>
                  <a:lnTo>
                    <a:pt x="238" y="179"/>
                  </a:lnTo>
                  <a:lnTo>
                    <a:pt x="237" y="180"/>
                  </a:lnTo>
                  <a:lnTo>
                    <a:pt x="237" y="182"/>
                  </a:lnTo>
                  <a:lnTo>
                    <a:pt x="238" y="182"/>
                  </a:lnTo>
                  <a:lnTo>
                    <a:pt x="238" y="183"/>
                  </a:lnTo>
                  <a:lnTo>
                    <a:pt x="239" y="183"/>
                  </a:lnTo>
                  <a:lnTo>
                    <a:pt x="239" y="184"/>
                  </a:lnTo>
                  <a:lnTo>
                    <a:pt x="239" y="186"/>
                  </a:lnTo>
                  <a:lnTo>
                    <a:pt x="239" y="187"/>
                  </a:lnTo>
                  <a:lnTo>
                    <a:pt x="240" y="188"/>
                  </a:lnTo>
                  <a:lnTo>
                    <a:pt x="240" y="189"/>
                  </a:lnTo>
                  <a:lnTo>
                    <a:pt x="240" y="190"/>
                  </a:lnTo>
                  <a:lnTo>
                    <a:pt x="240" y="191"/>
                  </a:lnTo>
                  <a:lnTo>
                    <a:pt x="241" y="191"/>
                  </a:lnTo>
                  <a:lnTo>
                    <a:pt x="241" y="193"/>
                  </a:lnTo>
                  <a:lnTo>
                    <a:pt x="242" y="194"/>
                  </a:lnTo>
                  <a:lnTo>
                    <a:pt x="244" y="195"/>
                  </a:lnTo>
                  <a:lnTo>
                    <a:pt x="244" y="196"/>
                  </a:lnTo>
                  <a:lnTo>
                    <a:pt x="245" y="197"/>
                  </a:lnTo>
                  <a:lnTo>
                    <a:pt x="246" y="197"/>
                  </a:lnTo>
                  <a:lnTo>
                    <a:pt x="246" y="198"/>
                  </a:lnTo>
                  <a:lnTo>
                    <a:pt x="247" y="198"/>
                  </a:lnTo>
                  <a:lnTo>
                    <a:pt x="249" y="200"/>
                  </a:lnTo>
                  <a:lnTo>
                    <a:pt x="249" y="201"/>
                  </a:lnTo>
                  <a:lnTo>
                    <a:pt x="249" y="202"/>
                  </a:lnTo>
                  <a:lnTo>
                    <a:pt x="250" y="202"/>
                  </a:lnTo>
                  <a:lnTo>
                    <a:pt x="250" y="203"/>
                  </a:lnTo>
                  <a:lnTo>
                    <a:pt x="250" y="204"/>
                  </a:lnTo>
                  <a:lnTo>
                    <a:pt x="250" y="205"/>
                  </a:lnTo>
                  <a:lnTo>
                    <a:pt x="250" y="208"/>
                  </a:lnTo>
                  <a:lnTo>
                    <a:pt x="250" y="209"/>
                  </a:lnTo>
                  <a:lnTo>
                    <a:pt x="250" y="210"/>
                  </a:lnTo>
                  <a:lnTo>
                    <a:pt x="252" y="210"/>
                  </a:lnTo>
                  <a:lnTo>
                    <a:pt x="253" y="211"/>
                  </a:lnTo>
                  <a:lnTo>
                    <a:pt x="254" y="212"/>
                  </a:lnTo>
                  <a:lnTo>
                    <a:pt x="255" y="214"/>
                  </a:lnTo>
                  <a:lnTo>
                    <a:pt x="255" y="215"/>
                  </a:lnTo>
                  <a:lnTo>
                    <a:pt x="255" y="216"/>
                  </a:lnTo>
                  <a:lnTo>
                    <a:pt x="252" y="216"/>
                  </a:lnTo>
                  <a:lnTo>
                    <a:pt x="249" y="217"/>
                  </a:lnTo>
                  <a:lnTo>
                    <a:pt x="245" y="217"/>
                  </a:lnTo>
                  <a:lnTo>
                    <a:pt x="241" y="218"/>
                  </a:lnTo>
                  <a:lnTo>
                    <a:pt x="239" y="218"/>
                  </a:lnTo>
                  <a:lnTo>
                    <a:pt x="237" y="219"/>
                  </a:lnTo>
                  <a:lnTo>
                    <a:pt x="234" y="219"/>
                  </a:lnTo>
                  <a:lnTo>
                    <a:pt x="232" y="219"/>
                  </a:lnTo>
                  <a:lnTo>
                    <a:pt x="232" y="221"/>
                  </a:lnTo>
                  <a:lnTo>
                    <a:pt x="230" y="223"/>
                  </a:lnTo>
                  <a:lnTo>
                    <a:pt x="228" y="224"/>
                  </a:lnTo>
                  <a:lnTo>
                    <a:pt x="227" y="225"/>
                  </a:lnTo>
                  <a:lnTo>
                    <a:pt x="227" y="226"/>
                  </a:lnTo>
                  <a:lnTo>
                    <a:pt x="226" y="226"/>
                  </a:lnTo>
                  <a:lnTo>
                    <a:pt x="226" y="228"/>
                  </a:lnTo>
                  <a:lnTo>
                    <a:pt x="225" y="229"/>
                  </a:lnTo>
                  <a:lnTo>
                    <a:pt x="224" y="230"/>
                  </a:lnTo>
                  <a:lnTo>
                    <a:pt x="224" y="231"/>
                  </a:lnTo>
                  <a:lnTo>
                    <a:pt x="224" y="232"/>
                  </a:lnTo>
                  <a:lnTo>
                    <a:pt x="224" y="233"/>
                  </a:lnTo>
                  <a:lnTo>
                    <a:pt x="224" y="235"/>
                  </a:lnTo>
                  <a:lnTo>
                    <a:pt x="224" y="236"/>
                  </a:lnTo>
                  <a:lnTo>
                    <a:pt x="224" y="237"/>
                  </a:lnTo>
                  <a:lnTo>
                    <a:pt x="224" y="236"/>
                  </a:lnTo>
                  <a:lnTo>
                    <a:pt x="224" y="237"/>
                  </a:lnTo>
                  <a:lnTo>
                    <a:pt x="225" y="237"/>
                  </a:lnTo>
                  <a:lnTo>
                    <a:pt x="226" y="236"/>
                  </a:lnTo>
                  <a:lnTo>
                    <a:pt x="225" y="236"/>
                  </a:lnTo>
                  <a:lnTo>
                    <a:pt x="226" y="236"/>
                  </a:lnTo>
                  <a:lnTo>
                    <a:pt x="226" y="235"/>
                  </a:lnTo>
                  <a:lnTo>
                    <a:pt x="226" y="233"/>
                  </a:lnTo>
                  <a:lnTo>
                    <a:pt x="226" y="235"/>
                  </a:lnTo>
                  <a:lnTo>
                    <a:pt x="226" y="236"/>
                  </a:lnTo>
                  <a:lnTo>
                    <a:pt x="227" y="236"/>
                  </a:lnTo>
                  <a:lnTo>
                    <a:pt x="227" y="237"/>
                  </a:lnTo>
                  <a:lnTo>
                    <a:pt x="227" y="238"/>
                  </a:lnTo>
                  <a:lnTo>
                    <a:pt x="227" y="239"/>
                  </a:lnTo>
                  <a:lnTo>
                    <a:pt x="228" y="239"/>
                  </a:lnTo>
                  <a:lnTo>
                    <a:pt x="228" y="240"/>
                  </a:lnTo>
                  <a:lnTo>
                    <a:pt x="228" y="242"/>
                  </a:lnTo>
                  <a:lnTo>
                    <a:pt x="227" y="243"/>
                  </a:lnTo>
                  <a:lnTo>
                    <a:pt x="227" y="244"/>
                  </a:lnTo>
                  <a:lnTo>
                    <a:pt x="227" y="245"/>
                  </a:lnTo>
                  <a:lnTo>
                    <a:pt x="227" y="246"/>
                  </a:lnTo>
                  <a:lnTo>
                    <a:pt x="227" y="247"/>
                  </a:lnTo>
                  <a:lnTo>
                    <a:pt x="227" y="249"/>
                  </a:lnTo>
                  <a:lnTo>
                    <a:pt x="227" y="250"/>
                  </a:lnTo>
                  <a:lnTo>
                    <a:pt x="227" y="251"/>
                  </a:lnTo>
                  <a:lnTo>
                    <a:pt x="227" y="252"/>
                  </a:lnTo>
                  <a:lnTo>
                    <a:pt x="228" y="253"/>
                  </a:lnTo>
                  <a:lnTo>
                    <a:pt x="228" y="254"/>
                  </a:lnTo>
                  <a:lnTo>
                    <a:pt x="227" y="256"/>
                  </a:lnTo>
                  <a:lnTo>
                    <a:pt x="227" y="257"/>
                  </a:lnTo>
                  <a:lnTo>
                    <a:pt x="226" y="257"/>
                  </a:lnTo>
                  <a:lnTo>
                    <a:pt x="226" y="258"/>
                  </a:lnTo>
                  <a:lnTo>
                    <a:pt x="226" y="259"/>
                  </a:lnTo>
                  <a:lnTo>
                    <a:pt x="226" y="260"/>
                  </a:lnTo>
                  <a:lnTo>
                    <a:pt x="225" y="260"/>
                  </a:lnTo>
                  <a:lnTo>
                    <a:pt x="225" y="261"/>
                  </a:lnTo>
                  <a:lnTo>
                    <a:pt x="225" y="263"/>
                  </a:lnTo>
                  <a:lnTo>
                    <a:pt x="225" y="264"/>
                  </a:lnTo>
                  <a:lnTo>
                    <a:pt x="225" y="265"/>
                  </a:lnTo>
                  <a:lnTo>
                    <a:pt x="224" y="266"/>
                  </a:lnTo>
                  <a:lnTo>
                    <a:pt x="224" y="267"/>
                  </a:lnTo>
                  <a:lnTo>
                    <a:pt x="224" y="268"/>
                  </a:lnTo>
                  <a:lnTo>
                    <a:pt x="224" y="270"/>
                  </a:lnTo>
                  <a:lnTo>
                    <a:pt x="224" y="271"/>
                  </a:lnTo>
                  <a:lnTo>
                    <a:pt x="225" y="271"/>
                  </a:lnTo>
                  <a:lnTo>
                    <a:pt x="225" y="272"/>
                  </a:lnTo>
                  <a:lnTo>
                    <a:pt x="225" y="273"/>
                  </a:lnTo>
                  <a:lnTo>
                    <a:pt x="226" y="273"/>
                  </a:lnTo>
                  <a:lnTo>
                    <a:pt x="226" y="274"/>
                  </a:lnTo>
                  <a:lnTo>
                    <a:pt x="227" y="274"/>
                  </a:lnTo>
                  <a:lnTo>
                    <a:pt x="227" y="275"/>
                  </a:lnTo>
                  <a:lnTo>
                    <a:pt x="228" y="275"/>
                  </a:lnTo>
                  <a:lnTo>
                    <a:pt x="228" y="277"/>
                  </a:lnTo>
                  <a:lnTo>
                    <a:pt x="230" y="277"/>
                  </a:lnTo>
                  <a:lnTo>
                    <a:pt x="230" y="278"/>
                  </a:lnTo>
                  <a:lnTo>
                    <a:pt x="231" y="279"/>
                  </a:lnTo>
                  <a:lnTo>
                    <a:pt x="232" y="281"/>
                  </a:lnTo>
                  <a:lnTo>
                    <a:pt x="233" y="281"/>
                  </a:lnTo>
                  <a:lnTo>
                    <a:pt x="233" y="282"/>
                  </a:lnTo>
                  <a:lnTo>
                    <a:pt x="233" y="281"/>
                  </a:lnTo>
                  <a:lnTo>
                    <a:pt x="234" y="281"/>
                  </a:lnTo>
                  <a:lnTo>
                    <a:pt x="235" y="281"/>
                  </a:lnTo>
                  <a:lnTo>
                    <a:pt x="235" y="282"/>
                  </a:lnTo>
                  <a:lnTo>
                    <a:pt x="237" y="282"/>
                  </a:lnTo>
                  <a:lnTo>
                    <a:pt x="238" y="282"/>
                  </a:lnTo>
                  <a:lnTo>
                    <a:pt x="239" y="282"/>
                  </a:lnTo>
                  <a:lnTo>
                    <a:pt x="239" y="281"/>
                  </a:lnTo>
                  <a:lnTo>
                    <a:pt x="238" y="281"/>
                  </a:lnTo>
                  <a:lnTo>
                    <a:pt x="238" y="280"/>
                  </a:lnTo>
                  <a:lnTo>
                    <a:pt x="239" y="280"/>
                  </a:lnTo>
                  <a:lnTo>
                    <a:pt x="239" y="279"/>
                  </a:lnTo>
                  <a:lnTo>
                    <a:pt x="240" y="279"/>
                  </a:lnTo>
                  <a:lnTo>
                    <a:pt x="241" y="279"/>
                  </a:lnTo>
                  <a:lnTo>
                    <a:pt x="242" y="278"/>
                  </a:lnTo>
                  <a:lnTo>
                    <a:pt x="244" y="278"/>
                  </a:lnTo>
                  <a:lnTo>
                    <a:pt x="244" y="280"/>
                  </a:lnTo>
                  <a:lnTo>
                    <a:pt x="242" y="281"/>
                  </a:lnTo>
                  <a:lnTo>
                    <a:pt x="242" y="285"/>
                  </a:lnTo>
                  <a:lnTo>
                    <a:pt x="242" y="287"/>
                  </a:lnTo>
                  <a:lnTo>
                    <a:pt x="242" y="289"/>
                  </a:lnTo>
                  <a:lnTo>
                    <a:pt x="242" y="292"/>
                  </a:lnTo>
                  <a:lnTo>
                    <a:pt x="242" y="294"/>
                  </a:lnTo>
                  <a:lnTo>
                    <a:pt x="242" y="296"/>
                  </a:lnTo>
                  <a:lnTo>
                    <a:pt x="242" y="298"/>
                  </a:lnTo>
                  <a:lnTo>
                    <a:pt x="242" y="299"/>
                  </a:lnTo>
                  <a:lnTo>
                    <a:pt x="241" y="299"/>
                  </a:lnTo>
                  <a:lnTo>
                    <a:pt x="240" y="299"/>
                  </a:lnTo>
                  <a:lnTo>
                    <a:pt x="240" y="298"/>
                  </a:lnTo>
                  <a:lnTo>
                    <a:pt x="240" y="296"/>
                  </a:lnTo>
                  <a:lnTo>
                    <a:pt x="241" y="296"/>
                  </a:lnTo>
                  <a:lnTo>
                    <a:pt x="241" y="295"/>
                  </a:lnTo>
                  <a:lnTo>
                    <a:pt x="240" y="295"/>
                  </a:lnTo>
                  <a:lnTo>
                    <a:pt x="239" y="295"/>
                  </a:lnTo>
                  <a:lnTo>
                    <a:pt x="238" y="296"/>
                  </a:lnTo>
                  <a:lnTo>
                    <a:pt x="235" y="298"/>
                  </a:lnTo>
                  <a:lnTo>
                    <a:pt x="234" y="298"/>
                  </a:lnTo>
                  <a:lnTo>
                    <a:pt x="234" y="299"/>
                  </a:lnTo>
                  <a:lnTo>
                    <a:pt x="233" y="298"/>
                  </a:lnTo>
                  <a:lnTo>
                    <a:pt x="232" y="298"/>
                  </a:lnTo>
                  <a:lnTo>
                    <a:pt x="231" y="298"/>
                  </a:lnTo>
                  <a:lnTo>
                    <a:pt x="231" y="296"/>
                  </a:lnTo>
                  <a:lnTo>
                    <a:pt x="231" y="294"/>
                  </a:lnTo>
                  <a:lnTo>
                    <a:pt x="230" y="294"/>
                  </a:lnTo>
                  <a:lnTo>
                    <a:pt x="230" y="293"/>
                  </a:lnTo>
                  <a:lnTo>
                    <a:pt x="230" y="292"/>
                  </a:lnTo>
                  <a:lnTo>
                    <a:pt x="228" y="292"/>
                  </a:lnTo>
                  <a:lnTo>
                    <a:pt x="228" y="291"/>
                  </a:lnTo>
                  <a:lnTo>
                    <a:pt x="227" y="289"/>
                  </a:lnTo>
                  <a:lnTo>
                    <a:pt x="226" y="289"/>
                  </a:lnTo>
                  <a:lnTo>
                    <a:pt x="225" y="289"/>
                  </a:lnTo>
                  <a:lnTo>
                    <a:pt x="225" y="288"/>
                  </a:lnTo>
                  <a:lnTo>
                    <a:pt x="225" y="287"/>
                  </a:lnTo>
                  <a:lnTo>
                    <a:pt x="225" y="286"/>
                  </a:lnTo>
                  <a:lnTo>
                    <a:pt x="224" y="285"/>
                  </a:lnTo>
                  <a:lnTo>
                    <a:pt x="224" y="284"/>
                  </a:lnTo>
                  <a:lnTo>
                    <a:pt x="223" y="282"/>
                  </a:lnTo>
                  <a:lnTo>
                    <a:pt x="221" y="282"/>
                  </a:lnTo>
                  <a:lnTo>
                    <a:pt x="220" y="282"/>
                  </a:lnTo>
                  <a:lnTo>
                    <a:pt x="219" y="282"/>
                  </a:lnTo>
                  <a:lnTo>
                    <a:pt x="219" y="281"/>
                  </a:lnTo>
                  <a:lnTo>
                    <a:pt x="218" y="281"/>
                  </a:lnTo>
                  <a:lnTo>
                    <a:pt x="217" y="281"/>
                  </a:lnTo>
                  <a:lnTo>
                    <a:pt x="217" y="280"/>
                  </a:lnTo>
                  <a:lnTo>
                    <a:pt x="216" y="280"/>
                  </a:lnTo>
                  <a:lnTo>
                    <a:pt x="214" y="280"/>
                  </a:lnTo>
                  <a:lnTo>
                    <a:pt x="213" y="280"/>
                  </a:lnTo>
                  <a:lnTo>
                    <a:pt x="212" y="280"/>
                  </a:lnTo>
                  <a:lnTo>
                    <a:pt x="212" y="279"/>
                  </a:lnTo>
                  <a:lnTo>
                    <a:pt x="211" y="279"/>
                  </a:lnTo>
                  <a:lnTo>
                    <a:pt x="211" y="277"/>
                  </a:lnTo>
                  <a:lnTo>
                    <a:pt x="211" y="275"/>
                  </a:lnTo>
                  <a:lnTo>
                    <a:pt x="210" y="274"/>
                  </a:lnTo>
                  <a:lnTo>
                    <a:pt x="207" y="273"/>
                  </a:lnTo>
                  <a:lnTo>
                    <a:pt x="207" y="271"/>
                  </a:lnTo>
                  <a:lnTo>
                    <a:pt x="207" y="270"/>
                  </a:lnTo>
                  <a:lnTo>
                    <a:pt x="207" y="268"/>
                  </a:lnTo>
                  <a:lnTo>
                    <a:pt x="206" y="268"/>
                  </a:lnTo>
                  <a:lnTo>
                    <a:pt x="206" y="270"/>
                  </a:lnTo>
                  <a:lnTo>
                    <a:pt x="205" y="270"/>
                  </a:lnTo>
                  <a:lnTo>
                    <a:pt x="205" y="271"/>
                  </a:lnTo>
                  <a:lnTo>
                    <a:pt x="204" y="271"/>
                  </a:lnTo>
                  <a:lnTo>
                    <a:pt x="204" y="272"/>
                  </a:lnTo>
                  <a:lnTo>
                    <a:pt x="204" y="273"/>
                  </a:lnTo>
                  <a:lnTo>
                    <a:pt x="204" y="274"/>
                  </a:lnTo>
                  <a:lnTo>
                    <a:pt x="203" y="274"/>
                  </a:lnTo>
                  <a:lnTo>
                    <a:pt x="203" y="275"/>
                  </a:lnTo>
                  <a:lnTo>
                    <a:pt x="202" y="275"/>
                  </a:lnTo>
                  <a:lnTo>
                    <a:pt x="200" y="275"/>
                  </a:lnTo>
                  <a:lnTo>
                    <a:pt x="199" y="275"/>
                  </a:lnTo>
                  <a:lnTo>
                    <a:pt x="198" y="275"/>
                  </a:lnTo>
                  <a:lnTo>
                    <a:pt x="197" y="275"/>
                  </a:lnTo>
                  <a:lnTo>
                    <a:pt x="197" y="274"/>
                  </a:lnTo>
                  <a:lnTo>
                    <a:pt x="196" y="274"/>
                  </a:lnTo>
                  <a:lnTo>
                    <a:pt x="195" y="274"/>
                  </a:lnTo>
                  <a:lnTo>
                    <a:pt x="193" y="274"/>
                  </a:lnTo>
                  <a:lnTo>
                    <a:pt x="192" y="274"/>
                  </a:lnTo>
                  <a:lnTo>
                    <a:pt x="190" y="274"/>
                  </a:lnTo>
                  <a:lnTo>
                    <a:pt x="190" y="273"/>
                  </a:lnTo>
                  <a:lnTo>
                    <a:pt x="189" y="273"/>
                  </a:lnTo>
                  <a:lnTo>
                    <a:pt x="189" y="272"/>
                  </a:lnTo>
                  <a:lnTo>
                    <a:pt x="188" y="272"/>
                  </a:lnTo>
                  <a:lnTo>
                    <a:pt x="188" y="273"/>
                  </a:lnTo>
                  <a:lnTo>
                    <a:pt x="186" y="273"/>
                  </a:lnTo>
                  <a:lnTo>
                    <a:pt x="186" y="272"/>
                  </a:lnTo>
                  <a:lnTo>
                    <a:pt x="185" y="272"/>
                  </a:lnTo>
                  <a:lnTo>
                    <a:pt x="185" y="271"/>
                  </a:lnTo>
                  <a:lnTo>
                    <a:pt x="184" y="271"/>
                  </a:lnTo>
                  <a:lnTo>
                    <a:pt x="184" y="272"/>
                  </a:lnTo>
                  <a:lnTo>
                    <a:pt x="183" y="272"/>
                  </a:lnTo>
                  <a:lnTo>
                    <a:pt x="183" y="271"/>
                  </a:lnTo>
                  <a:lnTo>
                    <a:pt x="182" y="271"/>
                  </a:lnTo>
                  <a:lnTo>
                    <a:pt x="182" y="270"/>
                  </a:lnTo>
                  <a:lnTo>
                    <a:pt x="181" y="270"/>
                  </a:lnTo>
                  <a:lnTo>
                    <a:pt x="181" y="268"/>
                  </a:lnTo>
                  <a:lnTo>
                    <a:pt x="181" y="267"/>
                  </a:lnTo>
                  <a:lnTo>
                    <a:pt x="181" y="266"/>
                  </a:lnTo>
                  <a:lnTo>
                    <a:pt x="181" y="265"/>
                  </a:lnTo>
                  <a:lnTo>
                    <a:pt x="182" y="264"/>
                  </a:lnTo>
                  <a:lnTo>
                    <a:pt x="182" y="263"/>
                  </a:lnTo>
                  <a:lnTo>
                    <a:pt x="181" y="263"/>
                  </a:lnTo>
                  <a:lnTo>
                    <a:pt x="180" y="264"/>
                  </a:lnTo>
                  <a:lnTo>
                    <a:pt x="178" y="264"/>
                  </a:lnTo>
                  <a:lnTo>
                    <a:pt x="176" y="264"/>
                  </a:lnTo>
                  <a:lnTo>
                    <a:pt x="175" y="265"/>
                  </a:lnTo>
                  <a:lnTo>
                    <a:pt x="174" y="265"/>
                  </a:lnTo>
                  <a:lnTo>
                    <a:pt x="173" y="265"/>
                  </a:lnTo>
                  <a:lnTo>
                    <a:pt x="171" y="266"/>
                  </a:lnTo>
                  <a:lnTo>
                    <a:pt x="171" y="267"/>
                  </a:lnTo>
                  <a:lnTo>
                    <a:pt x="170" y="267"/>
                  </a:lnTo>
                  <a:lnTo>
                    <a:pt x="169" y="267"/>
                  </a:lnTo>
                  <a:lnTo>
                    <a:pt x="168" y="266"/>
                  </a:lnTo>
                  <a:lnTo>
                    <a:pt x="167" y="266"/>
                  </a:lnTo>
                  <a:lnTo>
                    <a:pt x="168" y="265"/>
                  </a:lnTo>
                  <a:lnTo>
                    <a:pt x="168" y="264"/>
                  </a:lnTo>
                  <a:lnTo>
                    <a:pt x="169" y="264"/>
                  </a:lnTo>
                  <a:lnTo>
                    <a:pt x="168" y="263"/>
                  </a:lnTo>
                  <a:lnTo>
                    <a:pt x="168" y="261"/>
                  </a:lnTo>
                  <a:lnTo>
                    <a:pt x="168" y="260"/>
                  </a:lnTo>
                  <a:lnTo>
                    <a:pt x="167" y="260"/>
                  </a:lnTo>
                  <a:lnTo>
                    <a:pt x="166" y="260"/>
                  </a:lnTo>
                  <a:lnTo>
                    <a:pt x="164" y="260"/>
                  </a:lnTo>
                  <a:lnTo>
                    <a:pt x="164" y="259"/>
                  </a:lnTo>
                  <a:lnTo>
                    <a:pt x="164" y="258"/>
                  </a:lnTo>
                  <a:lnTo>
                    <a:pt x="163" y="258"/>
                  </a:lnTo>
                  <a:lnTo>
                    <a:pt x="162" y="258"/>
                  </a:lnTo>
                  <a:lnTo>
                    <a:pt x="162" y="259"/>
                  </a:lnTo>
                  <a:lnTo>
                    <a:pt x="161" y="259"/>
                  </a:lnTo>
                  <a:lnTo>
                    <a:pt x="161" y="260"/>
                  </a:lnTo>
                  <a:lnTo>
                    <a:pt x="160" y="260"/>
                  </a:lnTo>
                  <a:lnTo>
                    <a:pt x="159" y="260"/>
                  </a:lnTo>
                  <a:lnTo>
                    <a:pt x="157" y="259"/>
                  </a:lnTo>
                  <a:lnTo>
                    <a:pt x="156" y="259"/>
                  </a:lnTo>
                  <a:lnTo>
                    <a:pt x="155" y="259"/>
                  </a:lnTo>
                  <a:lnTo>
                    <a:pt x="154" y="259"/>
                  </a:lnTo>
                  <a:lnTo>
                    <a:pt x="154" y="260"/>
                  </a:lnTo>
                  <a:lnTo>
                    <a:pt x="152" y="261"/>
                  </a:lnTo>
                  <a:lnTo>
                    <a:pt x="150" y="261"/>
                  </a:lnTo>
                  <a:lnTo>
                    <a:pt x="149" y="261"/>
                  </a:lnTo>
                  <a:lnTo>
                    <a:pt x="148" y="261"/>
                  </a:lnTo>
                  <a:lnTo>
                    <a:pt x="147" y="260"/>
                  </a:lnTo>
                  <a:lnTo>
                    <a:pt x="146" y="261"/>
                  </a:lnTo>
                  <a:lnTo>
                    <a:pt x="145" y="261"/>
                  </a:lnTo>
                  <a:lnTo>
                    <a:pt x="143" y="261"/>
                  </a:lnTo>
                  <a:lnTo>
                    <a:pt x="142" y="260"/>
                  </a:lnTo>
                  <a:lnTo>
                    <a:pt x="142" y="261"/>
                  </a:lnTo>
                  <a:lnTo>
                    <a:pt x="141" y="263"/>
                  </a:lnTo>
                  <a:lnTo>
                    <a:pt x="140" y="263"/>
                  </a:lnTo>
                  <a:lnTo>
                    <a:pt x="139" y="264"/>
                  </a:lnTo>
                  <a:lnTo>
                    <a:pt x="139" y="263"/>
                  </a:lnTo>
                  <a:lnTo>
                    <a:pt x="139" y="261"/>
                  </a:lnTo>
                  <a:lnTo>
                    <a:pt x="139" y="260"/>
                  </a:lnTo>
                  <a:lnTo>
                    <a:pt x="138" y="260"/>
                  </a:lnTo>
                  <a:lnTo>
                    <a:pt x="138" y="259"/>
                  </a:lnTo>
                  <a:lnTo>
                    <a:pt x="138" y="258"/>
                  </a:lnTo>
                  <a:lnTo>
                    <a:pt x="138" y="257"/>
                  </a:lnTo>
                  <a:lnTo>
                    <a:pt x="139" y="257"/>
                  </a:lnTo>
                  <a:lnTo>
                    <a:pt x="140" y="257"/>
                  </a:lnTo>
                  <a:lnTo>
                    <a:pt x="140" y="256"/>
                  </a:lnTo>
                  <a:lnTo>
                    <a:pt x="140" y="254"/>
                  </a:lnTo>
                  <a:lnTo>
                    <a:pt x="140" y="253"/>
                  </a:lnTo>
                  <a:lnTo>
                    <a:pt x="140" y="252"/>
                  </a:lnTo>
                  <a:lnTo>
                    <a:pt x="139" y="252"/>
                  </a:lnTo>
                  <a:lnTo>
                    <a:pt x="139" y="251"/>
                  </a:lnTo>
                  <a:lnTo>
                    <a:pt x="140" y="251"/>
                  </a:lnTo>
                  <a:lnTo>
                    <a:pt x="140" y="250"/>
                  </a:lnTo>
                  <a:lnTo>
                    <a:pt x="140" y="249"/>
                  </a:lnTo>
                  <a:lnTo>
                    <a:pt x="139" y="249"/>
                  </a:lnTo>
                  <a:lnTo>
                    <a:pt x="139" y="247"/>
                  </a:lnTo>
                  <a:lnTo>
                    <a:pt x="139" y="246"/>
                  </a:lnTo>
                  <a:lnTo>
                    <a:pt x="139" y="245"/>
                  </a:lnTo>
                  <a:lnTo>
                    <a:pt x="138" y="244"/>
                  </a:lnTo>
                  <a:lnTo>
                    <a:pt x="138" y="243"/>
                  </a:lnTo>
                  <a:lnTo>
                    <a:pt x="136" y="242"/>
                  </a:lnTo>
                  <a:lnTo>
                    <a:pt x="135" y="240"/>
                  </a:lnTo>
                  <a:lnTo>
                    <a:pt x="135" y="239"/>
                  </a:lnTo>
                  <a:lnTo>
                    <a:pt x="134" y="238"/>
                  </a:lnTo>
                  <a:lnTo>
                    <a:pt x="133" y="237"/>
                  </a:lnTo>
                  <a:lnTo>
                    <a:pt x="133" y="236"/>
                  </a:lnTo>
                  <a:lnTo>
                    <a:pt x="133" y="235"/>
                  </a:lnTo>
                  <a:lnTo>
                    <a:pt x="133" y="233"/>
                  </a:lnTo>
                  <a:lnTo>
                    <a:pt x="134" y="232"/>
                  </a:lnTo>
                  <a:lnTo>
                    <a:pt x="134" y="231"/>
                  </a:lnTo>
                  <a:lnTo>
                    <a:pt x="134" y="230"/>
                  </a:lnTo>
                  <a:lnTo>
                    <a:pt x="134" y="228"/>
                  </a:lnTo>
                  <a:lnTo>
                    <a:pt x="134" y="226"/>
                  </a:lnTo>
                  <a:lnTo>
                    <a:pt x="134" y="225"/>
                  </a:lnTo>
                  <a:lnTo>
                    <a:pt x="134" y="224"/>
                  </a:lnTo>
                  <a:lnTo>
                    <a:pt x="134" y="223"/>
                  </a:lnTo>
                  <a:lnTo>
                    <a:pt x="135" y="222"/>
                  </a:lnTo>
                  <a:lnTo>
                    <a:pt x="135" y="221"/>
                  </a:lnTo>
                  <a:lnTo>
                    <a:pt x="135" y="219"/>
                  </a:lnTo>
                  <a:lnTo>
                    <a:pt x="135" y="218"/>
                  </a:lnTo>
                  <a:lnTo>
                    <a:pt x="134" y="218"/>
                  </a:lnTo>
                  <a:lnTo>
                    <a:pt x="134" y="217"/>
                  </a:lnTo>
                  <a:lnTo>
                    <a:pt x="135" y="217"/>
                  </a:lnTo>
                  <a:lnTo>
                    <a:pt x="134" y="217"/>
                  </a:lnTo>
                  <a:lnTo>
                    <a:pt x="134" y="216"/>
                  </a:lnTo>
                  <a:lnTo>
                    <a:pt x="134" y="215"/>
                  </a:lnTo>
                  <a:lnTo>
                    <a:pt x="134" y="214"/>
                  </a:lnTo>
                  <a:lnTo>
                    <a:pt x="133" y="214"/>
                  </a:lnTo>
                  <a:lnTo>
                    <a:pt x="133" y="212"/>
                  </a:lnTo>
                  <a:lnTo>
                    <a:pt x="133" y="211"/>
                  </a:lnTo>
                  <a:lnTo>
                    <a:pt x="133" y="210"/>
                  </a:lnTo>
                  <a:lnTo>
                    <a:pt x="133" y="209"/>
                  </a:lnTo>
                  <a:lnTo>
                    <a:pt x="133" y="208"/>
                  </a:lnTo>
                  <a:lnTo>
                    <a:pt x="134" y="207"/>
                  </a:lnTo>
                  <a:lnTo>
                    <a:pt x="134" y="205"/>
                  </a:lnTo>
                  <a:lnTo>
                    <a:pt x="134" y="204"/>
                  </a:lnTo>
                  <a:lnTo>
                    <a:pt x="134" y="203"/>
                  </a:lnTo>
                  <a:lnTo>
                    <a:pt x="134" y="202"/>
                  </a:lnTo>
                  <a:lnTo>
                    <a:pt x="133" y="201"/>
                  </a:lnTo>
                  <a:lnTo>
                    <a:pt x="132" y="201"/>
                  </a:lnTo>
                  <a:lnTo>
                    <a:pt x="131" y="201"/>
                  </a:lnTo>
                  <a:lnTo>
                    <a:pt x="129" y="201"/>
                  </a:lnTo>
                  <a:lnTo>
                    <a:pt x="128" y="201"/>
                  </a:lnTo>
                  <a:lnTo>
                    <a:pt x="127" y="201"/>
                  </a:lnTo>
                  <a:lnTo>
                    <a:pt x="126" y="201"/>
                  </a:lnTo>
                  <a:lnTo>
                    <a:pt x="125" y="201"/>
                  </a:lnTo>
                  <a:lnTo>
                    <a:pt x="124" y="201"/>
                  </a:lnTo>
                  <a:lnTo>
                    <a:pt x="122" y="201"/>
                  </a:lnTo>
                  <a:lnTo>
                    <a:pt x="121" y="201"/>
                  </a:lnTo>
                  <a:lnTo>
                    <a:pt x="120" y="201"/>
                  </a:lnTo>
                  <a:lnTo>
                    <a:pt x="119" y="201"/>
                  </a:lnTo>
                  <a:lnTo>
                    <a:pt x="118" y="201"/>
                  </a:lnTo>
                  <a:lnTo>
                    <a:pt x="117" y="201"/>
                  </a:lnTo>
                  <a:lnTo>
                    <a:pt x="116" y="201"/>
                  </a:lnTo>
                  <a:lnTo>
                    <a:pt x="116" y="200"/>
                  </a:lnTo>
                  <a:lnTo>
                    <a:pt x="116" y="198"/>
                  </a:lnTo>
                  <a:lnTo>
                    <a:pt x="117" y="197"/>
                  </a:lnTo>
                  <a:lnTo>
                    <a:pt x="117" y="196"/>
                  </a:lnTo>
                  <a:lnTo>
                    <a:pt x="117" y="195"/>
                  </a:lnTo>
                  <a:lnTo>
                    <a:pt x="116" y="195"/>
                  </a:lnTo>
                  <a:lnTo>
                    <a:pt x="114" y="195"/>
                  </a:lnTo>
                  <a:lnTo>
                    <a:pt x="113" y="195"/>
                  </a:lnTo>
                  <a:lnTo>
                    <a:pt x="113" y="196"/>
                  </a:lnTo>
                  <a:lnTo>
                    <a:pt x="112" y="196"/>
                  </a:lnTo>
                  <a:lnTo>
                    <a:pt x="111" y="196"/>
                  </a:lnTo>
                  <a:lnTo>
                    <a:pt x="110" y="196"/>
                  </a:lnTo>
                  <a:lnTo>
                    <a:pt x="109" y="196"/>
                  </a:lnTo>
                  <a:lnTo>
                    <a:pt x="107" y="196"/>
                  </a:lnTo>
                  <a:lnTo>
                    <a:pt x="106" y="196"/>
                  </a:lnTo>
                  <a:lnTo>
                    <a:pt x="105" y="196"/>
                  </a:lnTo>
                  <a:lnTo>
                    <a:pt x="104" y="196"/>
                  </a:lnTo>
                  <a:lnTo>
                    <a:pt x="103" y="196"/>
                  </a:lnTo>
                  <a:lnTo>
                    <a:pt x="102" y="196"/>
                  </a:lnTo>
                  <a:lnTo>
                    <a:pt x="102" y="197"/>
                  </a:lnTo>
                  <a:lnTo>
                    <a:pt x="102" y="198"/>
                  </a:lnTo>
                  <a:lnTo>
                    <a:pt x="102" y="202"/>
                  </a:lnTo>
                  <a:lnTo>
                    <a:pt x="102" y="203"/>
                  </a:lnTo>
                  <a:lnTo>
                    <a:pt x="102" y="204"/>
                  </a:lnTo>
                  <a:lnTo>
                    <a:pt x="100" y="204"/>
                  </a:lnTo>
                  <a:lnTo>
                    <a:pt x="100" y="205"/>
                  </a:lnTo>
                  <a:lnTo>
                    <a:pt x="99" y="205"/>
                  </a:lnTo>
                  <a:lnTo>
                    <a:pt x="99" y="207"/>
                  </a:lnTo>
                  <a:lnTo>
                    <a:pt x="99" y="208"/>
                  </a:lnTo>
                  <a:lnTo>
                    <a:pt x="99" y="209"/>
                  </a:lnTo>
                  <a:lnTo>
                    <a:pt x="99" y="210"/>
                  </a:lnTo>
                  <a:lnTo>
                    <a:pt x="99" y="211"/>
                  </a:lnTo>
                  <a:lnTo>
                    <a:pt x="99" y="212"/>
                  </a:lnTo>
                  <a:lnTo>
                    <a:pt x="97" y="212"/>
                  </a:lnTo>
                  <a:lnTo>
                    <a:pt x="96" y="212"/>
                  </a:lnTo>
                  <a:lnTo>
                    <a:pt x="93" y="212"/>
                  </a:lnTo>
                  <a:lnTo>
                    <a:pt x="92" y="212"/>
                  </a:lnTo>
                  <a:lnTo>
                    <a:pt x="91" y="212"/>
                  </a:lnTo>
                  <a:lnTo>
                    <a:pt x="91" y="211"/>
                  </a:lnTo>
                  <a:lnTo>
                    <a:pt x="90" y="211"/>
                  </a:lnTo>
                  <a:lnTo>
                    <a:pt x="89" y="211"/>
                  </a:lnTo>
                  <a:lnTo>
                    <a:pt x="88" y="211"/>
                  </a:lnTo>
                  <a:lnTo>
                    <a:pt x="88" y="212"/>
                  </a:lnTo>
                  <a:lnTo>
                    <a:pt x="86" y="212"/>
                  </a:lnTo>
                  <a:lnTo>
                    <a:pt x="85" y="212"/>
                  </a:lnTo>
                  <a:lnTo>
                    <a:pt x="84" y="212"/>
                  </a:lnTo>
                  <a:lnTo>
                    <a:pt x="83" y="212"/>
                  </a:lnTo>
                  <a:lnTo>
                    <a:pt x="82" y="212"/>
                  </a:lnTo>
                  <a:lnTo>
                    <a:pt x="82" y="214"/>
                  </a:lnTo>
                  <a:lnTo>
                    <a:pt x="81" y="214"/>
                  </a:lnTo>
                  <a:lnTo>
                    <a:pt x="79" y="214"/>
                  </a:lnTo>
                  <a:lnTo>
                    <a:pt x="78" y="214"/>
                  </a:lnTo>
                  <a:lnTo>
                    <a:pt x="77" y="214"/>
                  </a:lnTo>
                  <a:lnTo>
                    <a:pt x="76" y="214"/>
                  </a:lnTo>
                  <a:lnTo>
                    <a:pt x="75" y="214"/>
                  </a:lnTo>
                  <a:lnTo>
                    <a:pt x="74" y="214"/>
                  </a:lnTo>
                  <a:lnTo>
                    <a:pt x="74" y="212"/>
                  </a:lnTo>
                  <a:lnTo>
                    <a:pt x="74" y="211"/>
                  </a:lnTo>
                  <a:lnTo>
                    <a:pt x="72" y="211"/>
                  </a:lnTo>
                  <a:lnTo>
                    <a:pt x="74" y="211"/>
                  </a:lnTo>
                  <a:lnTo>
                    <a:pt x="72" y="211"/>
                  </a:lnTo>
                  <a:lnTo>
                    <a:pt x="72" y="210"/>
                  </a:lnTo>
                  <a:lnTo>
                    <a:pt x="71" y="210"/>
                  </a:lnTo>
                  <a:lnTo>
                    <a:pt x="71" y="209"/>
                  </a:lnTo>
                  <a:lnTo>
                    <a:pt x="71" y="208"/>
                  </a:lnTo>
                  <a:lnTo>
                    <a:pt x="70" y="208"/>
                  </a:lnTo>
                  <a:lnTo>
                    <a:pt x="70" y="207"/>
                  </a:lnTo>
                  <a:lnTo>
                    <a:pt x="70" y="205"/>
                  </a:lnTo>
                  <a:lnTo>
                    <a:pt x="69" y="205"/>
                  </a:lnTo>
                  <a:lnTo>
                    <a:pt x="69" y="204"/>
                  </a:lnTo>
                  <a:lnTo>
                    <a:pt x="69" y="203"/>
                  </a:lnTo>
                  <a:lnTo>
                    <a:pt x="68" y="203"/>
                  </a:lnTo>
                  <a:lnTo>
                    <a:pt x="68" y="202"/>
                  </a:lnTo>
                  <a:lnTo>
                    <a:pt x="67" y="201"/>
                  </a:lnTo>
                  <a:lnTo>
                    <a:pt x="67" y="200"/>
                  </a:lnTo>
                  <a:lnTo>
                    <a:pt x="65" y="200"/>
                  </a:lnTo>
                  <a:lnTo>
                    <a:pt x="65" y="198"/>
                  </a:lnTo>
                  <a:lnTo>
                    <a:pt x="65" y="197"/>
                  </a:lnTo>
                  <a:lnTo>
                    <a:pt x="67" y="197"/>
                  </a:lnTo>
                  <a:lnTo>
                    <a:pt x="67" y="196"/>
                  </a:lnTo>
                  <a:lnTo>
                    <a:pt x="65" y="196"/>
                  </a:lnTo>
                  <a:lnTo>
                    <a:pt x="65" y="195"/>
                  </a:lnTo>
                  <a:lnTo>
                    <a:pt x="65" y="194"/>
                  </a:lnTo>
                  <a:lnTo>
                    <a:pt x="64" y="194"/>
                  </a:lnTo>
                  <a:lnTo>
                    <a:pt x="64" y="193"/>
                  </a:lnTo>
                  <a:lnTo>
                    <a:pt x="63" y="191"/>
                  </a:lnTo>
                  <a:lnTo>
                    <a:pt x="63" y="190"/>
                  </a:lnTo>
                  <a:lnTo>
                    <a:pt x="63" y="189"/>
                  </a:lnTo>
                  <a:lnTo>
                    <a:pt x="63" y="188"/>
                  </a:lnTo>
                  <a:lnTo>
                    <a:pt x="63" y="187"/>
                  </a:lnTo>
                  <a:lnTo>
                    <a:pt x="62" y="187"/>
                  </a:lnTo>
                  <a:lnTo>
                    <a:pt x="63" y="186"/>
                  </a:lnTo>
                  <a:lnTo>
                    <a:pt x="63" y="184"/>
                  </a:lnTo>
                  <a:lnTo>
                    <a:pt x="63" y="183"/>
                  </a:lnTo>
                  <a:lnTo>
                    <a:pt x="62" y="183"/>
                  </a:lnTo>
                  <a:lnTo>
                    <a:pt x="62" y="182"/>
                  </a:lnTo>
                  <a:lnTo>
                    <a:pt x="61" y="182"/>
                  </a:lnTo>
                  <a:lnTo>
                    <a:pt x="62" y="182"/>
                  </a:lnTo>
                  <a:lnTo>
                    <a:pt x="61" y="182"/>
                  </a:lnTo>
                  <a:lnTo>
                    <a:pt x="61" y="181"/>
                  </a:lnTo>
                  <a:lnTo>
                    <a:pt x="61" y="180"/>
                  </a:lnTo>
                  <a:lnTo>
                    <a:pt x="61" y="179"/>
                  </a:lnTo>
                  <a:lnTo>
                    <a:pt x="60" y="179"/>
                  </a:lnTo>
                  <a:lnTo>
                    <a:pt x="58" y="179"/>
                  </a:lnTo>
                  <a:lnTo>
                    <a:pt x="57" y="179"/>
                  </a:lnTo>
                  <a:lnTo>
                    <a:pt x="56" y="179"/>
                  </a:lnTo>
                  <a:lnTo>
                    <a:pt x="55" y="179"/>
                  </a:lnTo>
                  <a:lnTo>
                    <a:pt x="54" y="179"/>
                  </a:lnTo>
                  <a:lnTo>
                    <a:pt x="53" y="179"/>
                  </a:lnTo>
                  <a:lnTo>
                    <a:pt x="52" y="179"/>
                  </a:lnTo>
                  <a:lnTo>
                    <a:pt x="50" y="179"/>
                  </a:lnTo>
                  <a:lnTo>
                    <a:pt x="49" y="179"/>
                  </a:lnTo>
                  <a:lnTo>
                    <a:pt x="48" y="179"/>
                  </a:lnTo>
                  <a:lnTo>
                    <a:pt x="47" y="179"/>
                  </a:lnTo>
                  <a:lnTo>
                    <a:pt x="45" y="179"/>
                  </a:lnTo>
                  <a:lnTo>
                    <a:pt x="43" y="179"/>
                  </a:lnTo>
                  <a:lnTo>
                    <a:pt x="42" y="179"/>
                  </a:lnTo>
                  <a:lnTo>
                    <a:pt x="41" y="179"/>
                  </a:lnTo>
                  <a:lnTo>
                    <a:pt x="40" y="179"/>
                  </a:lnTo>
                  <a:lnTo>
                    <a:pt x="39" y="179"/>
                  </a:lnTo>
                  <a:lnTo>
                    <a:pt x="38" y="179"/>
                  </a:lnTo>
                  <a:lnTo>
                    <a:pt x="36" y="179"/>
                  </a:lnTo>
                  <a:lnTo>
                    <a:pt x="35" y="179"/>
                  </a:lnTo>
                  <a:lnTo>
                    <a:pt x="33" y="179"/>
                  </a:lnTo>
                  <a:lnTo>
                    <a:pt x="32" y="179"/>
                  </a:lnTo>
                  <a:lnTo>
                    <a:pt x="31" y="179"/>
                  </a:lnTo>
                  <a:lnTo>
                    <a:pt x="29" y="179"/>
                  </a:lnTo>
                  <a:lnTo>
                    <a:pt x="28" y="179"/>
                  </a:lnTo>
                  <a:lnTo>
                    <a:pt x="27" y="179"/>
                  </a:lnTo>
                  <a:lnTo>
                    <a:pt x="26" y="179"/>
                  </a:lnTo>
                  <a:lnTo>
                    <a:pt x="25" y="179"/>
                  </a:lnTo>
                  <a:lnTo>
                    <a:pt x="22" y="179"/>
                  </a:lnTo>
                  <a:lnTo>
                    <a:pt x="20" y="179"/>
                  </a:lnTo>
                  <a:lnTo>
                    <a:pt x="19" y="179"/>
                  </a:lnTo>
                  <a:lnTo>
                    <a:pt x="18" y="179"/>
                  </a:lnTo>
                  <a:lnTo>
                    <a:pt x="17" y="179"/>
                  </a:lnTo>
                  <a:lnTo>
                    <a:pt x="15" y="179"/>
                  </a:lnTo>
                  <a:lnTo>
                    <a:pt x="14" y="179"/>
                  </a:lnTo>
                  <a:lnTo>
                    <a:pt x="13" y="179"/>
                  </a:lnTo>
                  <a:lnTo>
                    <a:pt x="12" y="179"/>
                  </a:lnTo>
                  <a:lnTo>
                    <a:pt x="11" y="179"/>
                  </a:lnTo>
                  <a:lnTo>
                    <a:pt x="11" y="177"/>
                  </a:lnTo>
                  <a:lnTo>
                    <a:pt x="10" y="177"/>
                  </a:lnTo>
                  <a:lnTo>
                    <a:pt x="8" y="177"/>
                  </a:lnTo>
                  <a:lnTo>
                    <a:pt x="8" y="179"/>
                  </a:lnTo>
                  <a:lnTo>
                    <a:pt x="7" y="179"/>
                  </a:lnTo>
                  <a:lnTo>
                    <a:pt x="7" y="180"/>
                  </a:lnTo>
                  <a:lnTo>
                    <a:pt x="6" y="181"/>
                  </a:lnTo>
                  <a:lnTo>
                    <a:pt x="5" y="181"/>
                  </a:lnTo>
                  <a:lnTo>
                    <a:pt x="4" y="181"/>
                  </a:lnTo>
                  <a:lnTo>
                    <a:pt x="4" y="180"/>
                  </a:lnTo>
                  <a:lnTo>
                    <a:pt x="3" y="180"/>
                  </a:lnTo>
                  <a:lnTo>
                    <a:pt x="3" y="181"/>
                  </a:lnTo>
                  <a:lnTo>
                    <a:pt x="3" y="180"/>
                  </a:lnTo>
                  <a:lnTo>
                    <a:pt x="1" y="180"/>
                  </a:lnTo>
                  <a:lnTo>
                    <a:pt x="1" y="179"/>
                  </a:lnTo>
                  <a:lnTo>
                    <a:pt x="0" y="177"/>
                  </a:lnTo>
                  <a:lnTo>
                    <a:pt x="0" y="176"/>
                  </a:lnTo>
                  <a:lnTo>
                    <a:pt x="1" y="176"/>
                  </a:lnTo>
                  <a:lnTo>
                    <a:pt x="4" y="176"/>
                  </a:lnTo>
                  <a:lnTo>
                    <a:pt x="4" y="175"/>
                  </a:lnTo>
                  <a:lnTo>
                    <a:pt x="5" y="174"/>
                  </a:lnTo>
                  <a:lnTo>
                    <a:pt x="5" y="172"/>
                  </a:lnTo>
                  <a:lnTo>
                    <a:pt x="5" y="170"/>
                  </a:lnTo>
                  <a:lnTo>
                    <a:pt x="5" y="168"/>
                  </a:lnTo>
                  <a:lnTo>
                    <a:pt x="5" y="167"/>
                  </a:lnTo>
                  <a:lnTo>
                    <a:pt x="4" y="167"/>
                  </a:lnTo>
                  <a:lnTo>
                    <a:pt x="4" y="166"/>
                  </a:lnTo>
                  <a:lnTo>
                    <a:pt x="5" y="166"/>
                  </a:lnTo>
                  <a:lnTo>
                    <a:pt x="5" y="165"/>
                  </a:lnTo>
                  <a:lnTo>
                    <a:pt x="6" y="165"/>
                  </a:lnTo>
                  <a:lnTo>
                    <a:pt x="6" y="163"/>
                  </a:lnTo>
                  <a:lnTo>
                    <a:pt x="7" y="163"/>
                  </a:lnTo>
                  <a:lnTo>
                    <a:pt x="7" y="162"/>
                  </a:lnTo>
                  <a:lnTo>
                    <a:pt x="8" y="162"/>
                  </a:lnTo>
                  <a:lnTo>
                    <a:pt x="8" y="161"/>
                  </a:lnTo>
                  <a:lnTo>
                    <a:pt x="8" y="160"/>
                  </a:lnTo>
                  <a:lnTo>
                    <a:pt x="12" y="160"/>
                  </a:lnTo>
                  <a:lnTo>
                    <a:pt x="12" y="159"/>
                  </a:lnTo>
                  <a:lnTo>
                    <a:pt x="12" y="158"/>
                  </a:lnTo>
                  <a:lnTo>
                    <a:pt x="13" y="158"/>
                  </a:lnTo>
                  <a:lnTo>
                    <a:pt x="13" y="159"/>
                  </a:lnTo>
                  <a:lnTo>
                    <a:pt x="13" y="160"/>
                  </a:lnTo>
                  <a:lnTo>
                    <a:pt x="14" y="160"/>
                  </a:lnTo>
                  <a:lnTo>
                    <a:pt x="14" y="161"/>
                  </a:lnTo>
                  <a:lnTo>
                    <a:pt x="15" y="161"/>
                  </a:lnTo>
                  <a:lnTo>
                    <a:pt x="17" y="161"/>
                  </a:lnTo>
                  <a:lnTo>
                    <a:pt x="17" y="162"/>
                  </a:lnTo>
                  <a:lnTo>
                    <a:pt x="17" y="163"/>
                  </a:lnTo>
                  <a:lnTo>
                    <a:pt x="18" y="162"/>
                  </a:lnTo>
                  <a:lnTo>
                    <a:pt x="18" y="161"/>
                  </a:lnTo>
                  <a:lnTo>
                    <a:pt x="19" y="161"/>
                  </a:lnTo>
                  <a:lnTo>
                    <a:pt x="20" y="161"/>
                  </a:lnTo>
                  <a:lnTo>
                    <a:pt x="20" y="160"/>
                  </a:lnTo>
                  <a:lnTo>
                    <a:pt x="20" y="161"/>
                  </a:lnTo>
                  <a:lnTo>
                    <a:pt x="21" y="160"/>
                  </a:lnTo>
                  <a:lnTo>
                    <a:pt x="21" y="159"/>
                  </a:lnTo>
                  <a:lnTo>
                    <a:pt x="21" y="158"/>
                  </a:lnTo>
                  <a:lnTo>
                    <a:pt x="21" y="156"/>
                  </a:lnTo>
                  <a:lnTo>
                    <a:pt x="22" y="155"/>
                  </a:lnTo>
                  <a:lnTo>
                    <a:pt x="22" y="156"/>
                  </a:lnTo>
                  <a:lnTo>
                    <a:pt x="24" y="156"/>
                  </a:lnTo>
                  <a:lnTo>
                    <a:pt x="25" y="156"/>
                  </a:lnTo>
                  <a:lnTo>
                    <a:pt x="26" y="155"/>
                  </a:lnTo>
                  <a:lnTo>
                    <a:pt x="27" y="155"/>
                  </a:lnTo>
                  <a:lnTo>
                    <a:pt x="28" y="155"/>
                  </a:lnTo>
                  <a:lnTo>
                    <a:pt x="29" y="154"/>
                  </a:lnTo>
                  <a:lnTo>
                    <a:pt x="31" y="153"/>
                  </a:lnTo>
                  <a:lnTo>
                    <a:pt x="31" y="154"/>
                  </a:lnTo>
                  <a:lnTo>
                    <a:pt x="31" y="155"/>
                  </a:lnTo>
                  <a:lnTo>
                    <a:pt x="32" y="155"/>
                  </a:lnTo>
                  <a:lnTo>
                    <a:pt x="32" y="156"/>
                  </a:lnTo>
                  <a:lnTo>
                    <a:pt x="31" y="156"/>
                  </a:lnTo>
                  <a:lnTo>
                    <a:pt x="31" y="158"/>
                  </a:lnTo>
                  <a:lnTo>
                    <a:pt x="31" y="159"/>
                  </a:lnTo>
                  <a:lnTo>
                    <a:pt x="31" y="160"/>
                  </a:lnTo>
                  <a:lnTo>
                    <a:pt x="31" y="161"/>
                  </a:lnTo>
                  <a:lnTo>
                    <a:pt x="31" y="162"/>
                  </a:lnTo>
                  <a:lnTo>
                    <a:pt x="31" y="163"/>
                  </a:lnTo>
                  <a:lnTo>
                    <a:pt x="32" y="163"/>
                  </a:lnTo>
                  <a:lnTo>
                    <a:pt x="32" y="162"/>
                  </a:lnTo>
                  <a:lnTo>
                    <a:pt x="33" y="162"/>
                  </a:lnTo>
                  <a:lnTo>
                    <a:pt x="33" y="163"/>
                  </a:lnTo>
                  <a:lnTo>
                    <a:pt x="34" y="163"/>
                  </a:lnTo>
                  <a:lnTo>
                    <a:pt x="35" y="163"/>
                  </a:lnTo>
                  <a:lnTo>
                    <a:pt x="36" y="162"/>
                  </a:lnTo>
                  <a:lnTo>
                    <a:pt x="36" y="161"/>
                  </a:lnTo>
                  <a:lnTo>
                    <a:pt x="38" y="161"/>
                  </a:lnTo>
                  <a:lnTo>
                    <a:pt x="39" y="159"/>
                  </a:lnTo>
                  <a:lnTo>
                    <a:pt x="39" y="158"/>
                  </a:lnTo>
                  <a:lnTo>
                    <a:pt x="40" y="158"/>
                  </a:lnTo>
                  <a:lnTo>
                    <a:pt x="41" y="156"/>
                  </a:lnTo>
                  <a:lnTo>
                    <a:pt x="41" y="155"/>
                  </a:lnTo>
                  <a:lnTo>
                    <a:pt x="42" y="155"/>
                  </a:lnTo>
                  <a:lnTo>
                    <a:pt x="42" y="154"/>
                  </a:lnTo>
                  <a:lnTo>
                    <a:pt x="43" y="154"/>
                  </a:lnTo>
                  <a:lnTo>
                    <a:pt x="45" y="153"/>
                  </a:lnTo>
                  <a:lnTo>
                    <a:pt x="46" y="153"/>
                  </a:lnTo>
                  <a:lnTo>
                    <a:pt x="46" y="152"/>
                  </a:lnTo>
                  <a:lnTo>
                    <a:pt x="47" y="151"/>
                  </a:lnTo>
                  <a:lnTo>
                    <a:pt x="47" y="149"/>
                  </a:lnTo>
                  <a:lnTo>
                    <a:pt x="49" y="149"/>
                  </a:lnTo>
                  <a:lnTo>
                    <a:pt x="49" y="148"/>
                  </a:lnTo>
                  <a:lnTo>
                    <a:pt x="50" y="148"/>
                  </a:lnTo>
                  <a:lnTo>
                    <a:pt x="52" y="148"/>
                  </a:lnTo>
                  <a:lnTo>
                    <a:pt x="53" y="147"/>
                  </a:lnTo>
                  <a:lnTo>
                    <a:pt x="53" y="146"/>
                  </a:lnTo>
                  <a:lnTo>
                    <a:pt x="53" y="145"/>
                  </a:lnTo>
                  <a:lnTo>
                    <a:pt x="54" y="145"/>
                  </a:lnTo>
                  <a:lnTo>
                    <a:pt x="54" y="142"/>
                  </a:lnTo>
                  <a:lnTo>
                    <a:pt x="55" y="141"/>
                  </a:lnTo>
                  <a:lnTo>
                    <a:pt x="55" y="140"/>
                  </a:lnTo>
                  <a:lnTo>
                    <a:pt x="56" y="139"/>
                  </a:lnTo>
                  <a:lnTo>
                    <a:pt x="56" y="138"/>
                  </a:lnTo>
                  <a:lnTo>
                    <a:pt x="56" y="137"/>
                  </a:lnTo>
                  <a:lnTo>
                    <a:pt x="56" y="135"/>
                  </a:lnTo>
                  <a:lnTo>
                    <a:pt x="56" y="134"/>
                  </a:lnTo>
                  <a:lnTo>
                    <a:pt x="56" y="133"/>
                  </a:lnTo>
                  <a:lnTo>
                    <a:pt x="56" y="132"/>
                  </a:lnTo>
                  <a:lnTo>
                    <a:pt x="56" y="131"/>
                  </a:lnTo>
                  <a:lnTo>
                    <a:pt x="56" y="130"/>
                  </a:lnTo>
                  <a:lnTo>
                    <a:pt x="56" y="127"/>
                  </a:lnTo>
                  <a:lnTo>
                    <a:pt x="56" y="124"/>
                  </a:lnTo>
                  <a:lnTo>
                    <a:pt x="56" y="123"/>
                  </a:lnTo>
                  <a:lnTo>
                    <a:pt x="56" y="121"/>
                  </a:lnTo>
                  <a:lnTo>
                    <a:pt x="56" y="120"/>
                  </a:lnTo>
                  <a:lnTo>
                    <a:pt x="56" y="119"/>
                  </a:lnTo>
                  <a:lnTo>
                    <a:pt x="57" y="119"/>
                  </a:lnTo>
                  <a:lnTo>
                    <a:pt x="58" y="118"/>
                  </a:lnTo>
                  <a:lnTo>
                    <a:pt x="60" y="117"/>
                  </a:lnTo>
                  <a:lnTo>
                    <a:pt x="60" y="116"/>
                  </a:lnTo>
                  <a:lnTo>
                    <a:pt x="61" y="116"/>
                  </a:lnTo>
                  <a:lnTo>
                    <a:pt x="62" y="113"/>
                  </a:lnTo>
                  <a:lnTo>
                    <a:pt x="62" y="112"/>
                  </a:lnTo>
                  <a:lnTo>
                    <a:pt x="62" y="111"/>
                  </a:lnTo>
                  <a:lnTo>
                    <a:pt x="63" y="111"/>
                  </a:lnTo>
                  <a:lnTo>
                    <a:pt x="63" y="110"/>
                  </a:lnTo>
                  <a:lnTo>
                    <a:pt x="63" y="109"/>
                  </a:lnTo>
                  <a:lnTo>
                    <a:pt x="64" y="107"/>
                  </a:lnTo>
                  <a:lnTo>
                    <a:pt x="64" y="106"/>
                  </a:lnTo>
                  <a:lnTo>
                    <a:pt x="65" y="106"/>
                  </a:lnTo>
                  <a:lnTo>
                    <a:pt x="65" y="105"/>
                  </a:lnTo>
                  <a:lnTo>
                    <a:pt x="67" y="104"/>
                  </a:lnTo>
                  <a:lnTo>
                    <a:pt x="68" y="103"/>
                  </a:lnTo>
                  <a:lnTo>
                    <a:pt x="69" y="103"/>
                  </a:lnTo>
                  <a:lnTo>
                    <a:pt x="70" y="103"/>
                  </a:lnTo>
                  <a:lnTo>
                    <a:pt x="70" y="102"/>
                  </a:lnTo>
                  <a:lnTo>
                    <a:pt x="71" y="102"/>
                  </a:lnTo>
                  <a:lnTo>
                    <a:pt x="72" y="102"/>
                  </a:lnTo>
                  <a:lnTo>
                    <a:pt x="72" y="100"/>
                  </a:lnTo>
                  <a:lnTo>
                    <a:pt x="75" y="98"/>
                  </a:lnTo>
                  <a:lnTo>
                    <a:pt x="76" y="97"/>
                  </a:lnTo>
                  <a:lnTo>
                    <a:pt x="76" y="96"/>
                  </a:lnTo>
                  <a:lnTo>
                    <a:pt x="77" y="95"/>
                  </a:lnTo>
                  <a:lnTo>
                    <a:pt x="78" y="93"/>
                  </a:lnTo>
                  <a:lnTo>
                    <a:pt x="77" y="91"/>
                  </a:lnTo>
                  <a:lnTo>
                    <a:pt x="77" y="90"/>
                  </a:lnTo>
                  <a:lnTo>
                    <a:pt x="77" y="89"/>
                  </a:lnTo>
                  <a:lnTo>
                    <a:pt x="78" y="85"/>
                  </a:lnTo>
                  <a:lnTo>
                    <a:pt x="79" y="82"/>
                  </a:lnTo>
                  <a:lnTo>
                    <a:pt x="81" y="79"/>
                  </a:lnTo>
                  <a:lnTo>
                    <a:pt x="81" y="78"/>
                  </a:lnTo>
                  <a:lnTo>
                    <a:pt x="81" y="77"/>
                  </a:lnTo>
                  <a:lnTo>
                    <a:pt x="79" y="76"/>
                  </a:lnTo>
                  <a:lnTo>
                    <a:pt x="79" y="75"/>
                  </a:lnTo>
                  <a:lnTo>
                    <a:pt x="79" y="74"/>
                  </a:lnTo>
                  <a:lnTo>
                    <a:pt x="79" y="72"/>
                  </a:lnTo>
                  <a:lnTo>
                    <a:pt x="79" y="71"/>
                  </a:lnTo>
                  <a:lnTo>
                    <a:pt x="79" y="70"/>
                  </a:lnTo>
                  <a:lnTo>
                    <a:pt x="79" y="69"/>
                  </a:lnTo>
                  <a:lnTo>
                    <a:pt x="79" y="68"/>
                  </a:lnTo>
                  <a:lnTo>
                    <a:pt x="81" y="67"/>
                  </a:lnTo>
                  <a:lnTo>
                    <a:pt x="81" y="65"/>
                  </a:lnTo>
                  <a:lnTo>
                    <a:pt x="82" y="64"/>
                  </a:lnTo>
                  <a:lnTo>
                    <a:pt x="82" y="63"/>
                  </a:lnTo>
                  <a:lnTo>
                    <a:pt x="82" y="61"/>
                  </a:lnTo>
                  <a:lnTo>
                    <a:pt x="82" y="56"/>
                  </a:lnTo>
                  <a:lnTo>
                    <a:pt x="82" y="55"/>
                  </a:lnTo>
                  <a:lnTo>
                    <a:pt x="82" y="54"/>
                  </a:lnTo>
                  <a:lnTo>
                    <a:pt x="82" y="53"/>
                  </a:lnTo>
                  <a:lnTo>
                    <a:pt x="82" y="51"/>
                  </a:lnTo>
                  <a:lnTo>
                    <a:pt x="83" y="50"/>
                  </a:lnTo>
                  <a:lnTo>
                    <a:pt x="83" y="49"/>
                  </a:lnTo>
                  <a:lnTo>
                    <a:pt x="84" y="49"/>
                  </a:lnTo>
                  <a:lnTo>
                    <a:pt x="84" y="48"/>
                  </a:lnTo>
                  <a:lnTo>
                    <a:pt x="84" y="47"/>
                  </a:lnTo>
                  <a:lnTo>
                    <a:pt x="84" y="46"/>
                  </a:lnTo>
                  <a:lnTo>
                    <a:pt x="85" y="44"/>
                  </a:lnTo>
                  <a:lnTo>
                    <a:pt x="86" y="43"/>
                  </a:lnTo>
                  <a:lnTo>
                    <a:pt x="86" y="42"/>
                  </a:lnTo>
                  <a:lnTo>
                    <a:pt x="86" y="41"/>
                  </a:lnTo>
                  <a:lnTo>
                    <a:pt x="88" y="41"/>
                  </a:lnTo>
                  <a:lnTo>
                    <a:pt x="88" y="40"/>
                  </a:lnTo>
                  <a:lnTo>
                    <a:pt x="88" y="39"/>
                  </a:lnTo>
                  <a:lnTo>
                    <a:pt x="89" y="37"/>
                  </a:lnTo>
                  <a:lnTo>
                    <a:pt x="89" y="36"/>
                  </a:lnTo>
                  <a:lnTo>
                    <a:pt x="90" y="36"/>
                  </a:lnTo>
                  <a:lnTo>
                    <a:pt x="90" y="35"/>
                  </a:lnTo>
                  <a:lnTo>
                    <a:pt x="90" y="33"/>
                  </a:lnTo>
                  <a:lnTo>
                    <a:pt x="90" y="32"/>
                  </a:lnTo>
                  <a:lnTo>
                    <a:pt x="90" y="30"/>
                  </a:lnTo>
                  <a:lnTo>
                    <a:pt x="89" y="27"/>
                  </a:lnTo>
                  <a:lnTo>
                    <a:pt x="90" y="25"/>
                  </a:lnTo>
                  <a:lnTo>
                    <a:pt x="90" y="23"/>
                  </a:lnTo>
                  <a:lnTo>
                    <a:pt x="90" y="22"/>
                  </a:lnTo>
                  <a:lnTo>
                    <a:pt x="90" y="21"/>
                  </a:lnTo>
                  <a:lnTo>
                    <a:pt x="90" y="20"/>
                  </a:lnTo>
                  <a:lnTo>
                    <a:pt x="89" y="19"/>
                  </a:lnTo>
                  <a:lnTo>
                    <a:pt x="89" y="18"/>
                  </a:lnTo>
                  <a:lnTo>
                    <a:pt x="89" y="16"/>
                  </a:lnTo>
                  <a:lnTo>
                    <a:pt x="90" y="16"/>
                  </a:lnTo>
                  <a:lnTo>
                    <a:pt x="91" y="16"/>
                  </a:lnTo>
                  <a:lnTo>
                    <a:pt x="92" y="15"/>
                  </a:lnTo>
                  <a:lnTo>
                    <a:pt x="92" y="13"/>
                  </a:lnTo>
                  <a:lnTo>
                    <a:pt x="93" y="13"/>
                  </a:lnTo>
                  <a:lnTo>
                    <a:pt x="93" y="12"/>
                  </a:lnTo>
                  <a:lnTo>
                    <a:pt x="95" y="11"/>
                  </a:lnTo>
                  <a:lnTo>
                    <a:pt x="95" y="9"/>
                  </a:lnTo>
                  <a:lnTo>
                    <a:pt x="96" y="9"/>
                  </a:lnTo>
                  <a:lnTo>
                    <a:pt x="96" y="8"/>
                  </a:lnTo>
                  <a:lnTo>
                    <a:pt x="96" y="7"/>
                  </a:lnTo>
                  <a:lnTo>
                    <a:pt x="97" y="7"/>
                  </a:lnTo>
                  <a:lnTo>
                    <a:pt x="98" y="7"/>
                  </a:lnTo>
                  <a:lnTo>
                    <a:pt x="98" y="6"/>
                  </a:lnTo>
                  <a:lnTo>
                    <a:pt x="99" y="6"/>
                  </a:lnTo>
                  <a:lnTo>
                    <a:pt x="100" y="5"/>
                  </a:lnTo>
                  <a:lnTo>
                    <a:pt x="102" y="5"/>
                  </a:lnTo>
                  <a:lnTo>
                    <a:pt x="103" y="4"/>
                  </a:lnTo>
                  <a:lnTo>
                    <a:pt x="103" y="5"/>
                  </a:lnTo>
                  <a:lnTo>
                    <a:pt x="105" y="5"/>
                  </a:lnTo>
                  <a:lnTo>
                    <a:pt x="106" y="5"/>
                  </a:lnTo>
                  <a:lnTo>
                    <a:pt x="106" y="6"/>
                  </a:lnTo>
                  <a:lnTo>
                    <a:pt x="107" y="6"/>
                  </a:lnTo>
                  <a:lnTo>
                    <a:pt x="107" y="7"/>
                  </a:lnTo>
                  <a:lnTo>
                    <a:pt x="109" y="7"/>
                  </a:lnTo>
                  <a:lnTo>
                    <a:pt x="110" y="7"/>
                  </a:lnTo>
                  <a:lnTo>
                    <a:pt x="110" y="8"/>
                  </a:lnTo>
                  <a:lnTo>
                    <a:pt x="111" y="8"/>
                  </a:lnTo>
                  <a:lnTo>
                    <a:pt x="112" y="9"/>
                  </a:lnTo>
                  <a:lnTo>
                    <a:pt x="113" y="9"/>
                  </a:lnTo>
                  <a:lnTo>
                    <a:pt x="113" y="11"/>
                  </a:lnTo>
                  <a:lnTo>
                    <a:pt x="114" y="11"/>
                  </a:lnTo>
                  <a:lnTo>
                    <a:pt x="114" y="12"/>
                  </a:lnTo>
                  <a:lnTo>
                    <a:pt x="116" y="13"/>
                  </a:lnTo>
                  <a:lnTo>
                    <a:pt x="116" y="14"/>
                  </a:lnTo>
                  <a:lnTo>
                    <a:pt x="117" y="15"/>
                  </a:lnTo>
                  <a:lnTo>
                    <a:pt x="117" y="16"/>
                  </a:lnTo>
                  <a:lnTo>
                    <a:pt x="118" y="15"/>
                  </a:lnTo>
                  <a:lnTo>
                    <a:pt x="119" y="15"/>
                  </a:lnTo>
                  <a:lnTo>
                    <a:pt x="120" y="15"/>
                  </a:lnTo>
                  <a:lnTo>
                    <a:pt x="121" y="15"/>
                  </a:lnTo>
                  <a:lnTo>
                    <a:pt x="122" y="15"/>
                  </a:lnTo>
                  <a:lnTo>
                    <a:pt x="124" y="16"/>
                  </a:lnTo>
                  <a:lnTo>
                    <a:pt x="125" y="16"/>
                  </a:lnTo>
                  <a:lnTo>
                    <a:pt x="125" y="18"/>
                  </a:lnTo>
                  <a:lnTo>
                    <a:pt x="126" y="18"/>
                  </a:lnTo>
                  <a:lnTo>
                    <a:pt x="127" y="18"/>
                  </a:lnTo>
                  <a:lnTo>
                    <a:pt x="128" y="18"/>
                  </a:lnTo>
                  <a:lnTo>
                    <a:pt x="129" y="18"/>
                  </a:lnTo>
                  <a:lnTo>
                    <a:pt x="129" y="19"/>
                  </a:lnTo>
                  <a:lnTo>
                    <a:pt x="131" y="19"/>
                  </a:lnTo>
                  <a:lnTo>
                    <a:pt x="132" y="18"/>
                  </a:lnTo>
                  <a:lnTo>
                    <a:pt x="133" y="18"/>
                  </a:lnTo>
                  <a:lnTo>
                    <a:pt x="134" y="18"/>
                  </a:lnTo>
                  <a:lnTo>
                    <a:pt x="134" y="19"/>
                  </a:lnTo>
                  <a:lnTo>
                    <a:pt x="135" y="19"/>
                  </a:lnTo>
                  <a:lnTo>
                    <a:pt x="136" y="19"/>
                  </a:lnTo>
                  <a:lnTo>
                    <a:pt x="138" y="19"/>
                  </a:lnTo>
                  <a:lnTo>
                    <a:pt x="139" y="19"/>
                  </a:lnTo>
                  <a:lnTo>
                    <a:pt x="139" y="20"/>
                  </a:lnTo>
                  <a:lnTo>
                    <a:pt x="140" y="20"/>
                  </a:lnTo>
                  <a:lnTo>
                    <a:pt x="141" y="20"/>
                  </a:lnTo>
                  <a:lnTo>
                    <a:pt x="142" y="20"/>
                  </a:lnTo>
                  <a:lnTo>
                    <a:pt x="143" y="20"/>
                  </a:lnTo>
                  <a:lnTo>
                    <a:pt x="143" y="19"/>
                  </a:lnTo>
                  <a:lnTo>
                    <a:pt x="145" y="19"/>
                  </a:lnTo>
                  <a:lnTo>
                    <a:pt x="145" y="18"/>
                  </a:lnTo>
                  <a:lnTo>
                    <a:pt x="145" y="16"/>
                  </a:lnTo>
                  <a:lnTo>
                    <a:pt x="146" y="16"/>
                  </a:lnTo>
                  <a:lnTo>
                    <a:pt x="145" y="16"/>
                  </a:lnTo>
                  <a:lnTo>
                    <a:pt x="145" y="15"/>
                  </a:lnTo>
                  <a:lnTo>
                    <a:pt x="146" y="15"/>
                  </a:lnTo>
                  <a:lnTo>
                    <a:pt x="146" y="14"/>
                  </a:lnTo>
                  <a:lnTo>
                    <a:pt x="147" y="14"/>
                  </a:lnTo>
                  <a:lnTo>
                    <a:pt x="147" y="13"/>
                  </a:lnTo>
                  <a:lnTo>
                    <a:pt x="147" y="12"/>
                  </a:lnTo>
                  <a:lnTo>
                    <a:pt x="147" y="11"/>
                  </a:lnTo>
                  <a:lnTo>
                    <a:pt x="148" y="11"/>
                  </a:lnTo>
                  <a:lnTo>
                    <a:pt x="149" y="11"/>
                  </a:lnTo>
                  <a:lnTo>
                    <a:pt x="149" y="9"/>
                  </a:lnTo>
                  <a:lnTo>
                    <a:pt x="150" y="9"/>
                  </a:lnTo>
                  <a:lnTo>
                    <a:pt x="150" y="11"/>
                  </a:lnTo>
                  <a:lnTo>
                    <a:pt x="152" y="11"/>
                  </a:lnTo>
                  <a:lnTo>
                    <a:pt x="153" y="11"/>
                  </a:lnTo>
                  <a:lnTo>
                    <a:pt x="154" y="12"/>
                  </a:lnTo>
                  <a:lnTo>
                    <a:pt x="154" y="13"/>
                  </a:lnTo>
                  <a:lnTo>
                    <a:pt x="155" y="13"/>
                  </a:lnTo>
                  <a:lnTo>
                    <a:pt x="156" y="13"/>
                  </a:lnTo>
                  <a:lnTo>
                    <a:pt x="156" y="12"/>
                  </a:lnTo>
                  <a:lnTo>
                    <a:pt x="157" y="12"/>
                  </a:lnTo>
                  <a:lnTo>
                    <a:pt x="159" y="11"/>
                  </a:lnTo>
                  <a:lnTo>
                    <a:pt x="160" y="11"/>
                  </a:lnTo>
                  <a:lnTo>
                    <a:pt x="161" y="11"/>
                  </a:lnTo>
                  <a:lnTo>
                    <a:pt x="161" y="9"/>
                  </a:lnTo>
                  <a:lnTo>
                    <a:pt x="162" y="9"/>
                  </a:lnTo>
                  <a:lnTo>
                    <a:pt x="163" y="9"/>
                  </a:lnTo>
                  <a:lnTo>
                    <a:pt x="163" y="8"/>
                  </a:lnTo>
                  <a:lnTo>
                    <a:pt x="164" y="8"/>
                  </a:lnTo>
                  <a:lnTo>
                    <a:pt x="166" y="8"/>
                  </a:lnTo>
                  <a:lnTo>
                    <a:pt x="167" y="8"/>
                  </a:lnTo>
                  <a:lnTo>
                    <a:pt x="167" y="7"/>
                  </a:lnTo>
                  <a:lnTo>
                    <a:pt x="168" y="7"/>
                  </a:lnTo>
                  <a:lnTo>
                    <a:pt x="169" y="6"/>
                  </a:lnTo>
                  <a:lnTo>
                    <a:pt x="170" y="6"/>
                  </a:lnTo>
                  <a:lnTo>
                    <a:pt x="169" y="6"/>
                  </a:lnTo>
                  <a:lnTo>
                    <a:pt x="169" y="5"/>
                  </a:lnTo>
                  <a:lnTo>
                    <a:pt x="170" y="5"/>
                  </a:lnTo>
                  <a:lnTo>
                    <a:pt x="170" y="6"/>
                  </a:lnTo>
                  <a:lnTo>
                    <a:pt x="170" y="5"/>
                  </a:lnTo>
                  <a:lnTo>
                    <a:pt x="171" y="5"/>
                  </a:lnTo>
                  <a:lnTo>
                    <a:pt x="171" y="6"/>
                  </a:lnTo>
                  <a:lnTo>
                    <a:pt x="173" y="6"/>
                  </a:lnTo>
                  <a:lnTo>
                    <a:pt x="173" y="7"/>
                  </a:lnTo>
                  <a:lnTo>
                    <a:pt x="174" y="7"/>
                  </a:lnTo>
                  <a:lnTo>
                    <a:pt x="174" y="8"/>
                  </a:lnTo>
                  <a:lnTo>
                    <a:pt x="175" y="8"/>
                  </a:lnTo>
                  <a:lnTo>
                    <a:pt x="175" y="7"/>
                  </a:lnTo>
                  <a:lnTo>
                    <a:pt x="175" y="8"/>
                  </a:lnTo>
                  <a:lnTo>
                    <a:pt x="176" y="7"/>
                  </a:lnTo>
                  <a:lnTo>
                    <a:pt x="177" y="7"/>
                  </a:lnTo>
                  <a:lnTo>
                    <a:pt x="178" y="7"/>
                  </a:lnTo>
                  <a:lnTo>
                    <a:pt x="180" y="7"/>
                  </a:lnTo>
                  <a:lnTo>
                    <a:pt x="180" y="6"/>
                  </a:lnTo>
                  <a:lnTo>
                    <a:pt x="181" y="6"/>
                  </a:lnTo>
                  <a:lnTo>
                    <a:pt x="182" y="6"/>
                  </a:lnTo>
                  <a:lnTo>
                    <a:pt x="183" y="6"/>
                  </a:lnTo>
                  <a:lnTo>
                    <a:pt x="183" y="5"/>
                  </a:lnTo>
                  <a:lnTo>
                    <a:pt x="183" y="4"/>
                  </a:lnTo>
                  <a:lnTo>
                    <a:pt x="183" y="2"/>
                  </a:lnTo>
                  <a:lnTo>
                    <a:pt x="183" y="1"/>
                  </a:lnTo>
                  <a:lnTo>
                    <a:pt x="184" y="1"/>
                  </a:lnTo>
                  <a:lnTo>
                    <a:pt x="185" y="1"/>
                  </a:lnTo>
                  <a:lnTo>
                    <a:pt x="185"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09" name="Freeform 862">
              <a:extLst>
                <a:ext uri="{FF2B5EF4-FFF2-40B4-BE49-F238E27FC236}">
                  <a16:creationId xmlns:a16="http://schemas.microsoft.com/office/drawing/2014/main" id="{F0678DE6-2769-45D7-971B-7E98A608E903}"/>
                </a:ext>
              </a:extLst>
            </p:cNvPr>
            <p:cNvSpPr>
              <a:spLocks/>
            </p:cNvSpPr>
            <p:nvPr/>
          </p:nvSpPr>
          <p:spPr bwMode="auto">
            <a:xfrm>
              <a:off x="6013429" y="3269734"/>
              <a:ext cx="140227" cy="184297"/>
            </a:xfrm>
            <a:custGeom>
              <a:avLst/>
              <a:gdLst>
                <a:gd name="T0" fmla="*/ 103 w 105"/>
                <a:gd name="T1" fmla="*/ 12 h 138"/>
                <a:gd name="T2" fmla="*/ 99 w 105"/>
                <a:gd name="T3" fmla="*/ 20 h 138"/>
                <a:gd name="T4" fmla="*/ 97 w 105"/>
                <a:gd name="T5" fmla="*/ 28 h 138"/>
                <a:gd name="T6" fmla="*/ 94 w 105"/>
                <a:gd name="T7" fmla="*/ 42 h 138"/>
                <a:gd name="T8" fmla="*/ 96 w 105"/>
                <a:gd name="T9" fmla="*/ 51 h 138"/>
                <a:gd name="T10" fmla="*/ 92 w 105"/>
                <a:gd name="T11" fmla="*/ 68 h 138"/>
                <a:gd name="T12" fmla="*/ 85 w 105"/>
                <a:gd name="T13" fmla="*/ 76 h 138"/>
                <a:gd name="T14" fmla="*/ 78 w 105"/>
                <a:gd name="T15" fmla="*/ 82 h 138"/>
                <a:gd name="T16" fmla="*/ 75 w 105"/>
                <a:gd name="T17" fmla="*/ 90 h 138"/>
                <a:gd name="T18" fmla="*/ 71 w 105"/>
                <a:gd name="T19" fmla="*/ 100 h 138"/>
                <a:gd name="T20" fmla="*/ 71 w 105"/>
                <a:gd name="T21" fmla="*/ 111 h 138"/>
                <a:gd name="T22" fmla="*/ 68 w 105"/>
                <a:gd name="T23" fmla="*/ 120 h 138"/>
                <a:gd name="T24" fmla="*/ 61 w 105"/>
                <a:gd name="T25" fmla="*/ 126 h 138"/>
                <a:gd name="T26" fmla="*/ 54 w 105"/>
                <a:gd name="T27" fmla="*/ 131 h 138"/>
                <a:gd name="T28" fmla="*/ 48 w 105"/>
                <a:gd name="T29" fmla="*/ 135 h 138"/>
                <a:gd name="T30" fmla="*/ 46 w 105"/>
                <a:gd name="T31" fmla="*/ 131 h 138"/>
                <a:gd name="T32" fmla="*/ 43 w 105"/>
                <a:gd name="T33" fmla="*/ 128 h 138"/>
                <a:gd name="T34" fmla="*/ 36 w 105"/>
                <a:gd name="T35" fmla="*/ 131 h 138"/>
                <a:gd name="T36" fmla="*/ 33 w 105"/>
                <a:gd name="T37" fmla="*/ 135 h 138"/>
                <a:gd name="T38" fmla="*/ 28 w 105"/>
                <a:gd name="T39" fmla="*/ 132 h 138"/>
                <a:gd name="T40" fmla="*/ 22 w 105"/>
                <a:gd name="T41" fmla="*/ 128 h 138"/>
                <a:gd name="T42" fmla="*/ 15 w 105"/>
                <a:gd name="T43" fmla="*/ 134 h 138"/>
                <a:gd name="T44" fmla="*/ 11 w 105"/>
                <a:gd name="T45" fmla="*/ 135 h 138"/>
                <a:gd name="T46" fmla="*/ 5 w 105"/>
                <a:gd name="T47" fmla="*/ 127 h 138"/>
                <a:gd name="T48" fmla="*/ 0 w 105"/>
                <a:gd name="T49" fmla="*/ 120 h 138"/>
                <a:gd name="T50" fmla="*/ 7 w 105"/>
                <a:gd name="T51" fmla="*/ 117 h 138"/>
                <a:gd name="T52" fmla="*/ 9 w 105"/>
                <a:gd name="T53" fmla="*/ 115 h 138"/>
                <a:gd name="T54" fmla="*/ 9 w 105"/>
                <a:gd name="T55" fmla="*/ 110 h 138"/>
                <a:gd name="T56" fmla="*/ 6 w 105"/>
                <a:gd name="T57" fmla="*/ 104 h 138"/>
                <a:gd name="T58" fmla="*/ 7 w 105"/>
                <a:gd name="T59" fmla="*/ 96 h 138"/>
                <a:gd name="T60" fmla="*/ 19 w 105"/>
                <a:gd name="T61" fmla="*/ 94 h 138"/>
                <a:gd name="T62" fmla="*/ 20 w 105"/>
                <a:gd name="T63" fmla="*/ 87 h 138"/>
                <a:gd name="T64" fmla="*/ 25 w 105"/>
                <a:gd name="T65" fmla="*/ 93 h 138"/>
                <a:gd name="T66" fmla="*/ 27 w 105"/>
                <a:gd name="T67" fmla="*/ 96 h 138"/>
                <a:gd name="T68" fmla="*/ 35 w 105"/>
                <a:gd name="T69" fmla="*/ 94 h 138"/>
                <a:gd name="T70" fmla="*/ 39 w 105"/>
                <a:gd name="T71" fmla="*/ 97 h 138"/>
                <a:gd name="T72" fmla="*/ 42 w 105"/>
                <a:gd name="T73" fmla="*/ 93 h 138"/>
                <a:gd name="T74" fmla="*/ 46 w 105"/>
                <a:gd name="T75" fmla="*/ 89 h 138"/>
                <a:gd name="T76" fmla="*/ 47 w 105"/>
                <a:gd name="T77" fmla="*/ 83 h 138"/>
                <a:gd name="T78" fmla="*/ 46 w 105"/>
                <a:gd name="T79" fmla="*/ 73 h 138"/>
                <a:gd name="T80" fmla="*/ 47 w 105"/>
                <a:gd name="T81" fmla="*/ 66 h 138"/>
                <a:gd name="T82" fmla="*/ 41 w 105"/>
                <a:gd name="T83" fmla="*/ 63 h 138"/>
                <a:gd name="T84" fmla="*/ 39 w 105"/>
                <a:gd name="T85" fmla="*/ 58 h 138"/>
                <a:gd name="T86" fmla="*/ 41 w 105"/>
                <a:gd name="T87" fmla="*/ 50 h 138"/>
                <a:gd name="T88" fmla="*/ 47 w 105"/>
                <a:gd name="T89" fmla="*/ 45 h 138"/>
                <a:gd name="T90" fmla="*/ 44 w 105"/>
                <a:gd name="T91" fmla="*/ 37 h 138"/>
                <a:gd name="T92" fmla="*/ 37 w 105"/>
                <a:gd name="T93" fmla="*/ 37 h 138"/>
                <a:gd name="T94" fmla="*/ 29 w 105"/>
                <a:gd name="T95" fmla="*/ 40 h 138"/>
                <a:gd name="T96" fmla="*/ 29 w 105"/>
                <a:gd name="T97" fmla="*/ 35 h 138"/>
                <a:gd name="T98" fmla="*/ 29 w 105"/>
                <a:gd name="T99" fmla="*/ 27 h 138"/>
                <a:gd name="T100" fmla="*/ 42 w 105"/>
                <a:gd name="T101" fmla="*/ 24 h 138"/>
                <a:gd name="T102" fmla="*/ 50 w 105"/>
                <a:gd name="T103" fmla="*/ 24 h 138"/>
                <a:gd name="T104" fmla="*/ 55 w 105"/>
                <a:gd name="T105" fmla="*/ 27 h 138"/>
                <a:gd name="T106" fmla="*/ 62 w 105"/>
                <a:gd name="T107" fmla="*/ 28 h 138"/>
                <a:gd name="T108" fmla="*/ 69 w 105"/>
                <a:gd name="T109" fmla="*/ 30 h 138"/>
                <a:gd name="T110" fmla="*/ 69 w 105"/>
                <a:gd name="T111" fmla="*/ 26 h 138"/>
                <a:gd name="T112" fmla="*/ 72 w 105"/>
                <a:gd name="T113" fmla="*/ 19 h 138"/>
                <a:gd name="T114" fmla="*/ 75 w 105"/>
                <a:gd name="T115" fmla="*/ 9 h 138"/>
                <a:gd name="T116" fmla="*/ 77 w 105"/>
                <a:gd name="T117" fmla="*/ 2 h 138"/>
                <a:gd name="T118" fmla="*/ 85 w 105"/>
                <a:gd name="T119" fmla="*/ 1 h 138"/>
                <a:gd name="T120" fmla="*/ 92 w 105"/>
                <a:gd name="T121" fmla="*/ 1 h 138"/>
                <a:gd name="T122" fmla="*/ 99 w 105"/>
                <a:gd name="T123" fmla="*/ 3 h 138"/>
                <a:gd name="T124" fmla="*/ 105 w 105"/>
                <a:gd name="T125" fmla="*/ 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 h="138">
                  <a:moveTo>
                    <a:pt x="105" y="3"/>
                  </a:moveTo>
                  <a:lnTo>
                    <a:pt x="105" y="5"/>
                  </a:lnTo>
                  <a:lnTo>
                    <a:pt x="105" y="6"/>
                  </a:lnTo>
                  <a:lnTo>
                    <a:pt x="105" y="8"/>
                  </a:lnTo>
                  <a:lnTo>
                    <a:pt x="105" y="9"/>
                  </a:lnTo>
                  <a:lnTo>
                    <a:pt x="104" y="9"/>
                  </a:lnTo>
                  <a:lnTo>
                    <a:pt x="104" y="10"/>
                  </a:lnTo>
                  <a:lnTo>
                    <a:pt x="103" y="12"/>
                  </a:lnTo>
                  <a:lnTo>
                    <a:pt x="103" y="13"/>
                  </a:lnTo>
                  <a:lnTo>
                    <a:pt x="103" y="14"/>
                  </a:lnTo>
                  <a:lnTo>
                    <a:pt x="101" y="14"/>
                  </a:lnTo>
                  <a:lnTo>
                    <a:pt x="101" y="15"/>
                  </a:lnTo>
                  <a:lnTo>
                    <a:pt x="101" y="16"/>
                  </a:lnTo>
                  <a:lnTo>
                    <a:pt x="100" y="17"/>
                  </a:lnTo>
                  <a:lnTo>
                    <a:pt x="99" y="19"/>
                  </a:lnTo>
                  <a:lnTo>
                    <a:pt x="99" y="20"/>
                  </a:lnTo>
                  <a:lnTo>
                    <a:pt x="99" y="21"/>
                  </a:lnTo>
                  <a:lnTo>
                    <a:pt x="99" y="22"/>
                  </a:lnTo>
                  <a:lnTo>
                    <a:pt x="98" y="22"/>
                  </a:lnTo>
                  <a:lnTo>
                    <a:pt x="98" y="23"/>
                  </a:lnTo>
                  <a:lnTo>
                    <a:pt x="97" y="24"/>
                  </a:lnTo>
                  <a:lnTo>
                    <a:pt x="97" y="26"/>
                  </a:lnTo>
                  <a:lnTo>
                    <a:pt x="97" y="27"/>
                  </a:lnTo>
                  <a:lnTo>
                    <a:pt x="97" y="28"/>
                  </a:lnTo>
                  <a:lnTo>
                    <a:pt x="97" y="29"/>
                  </a:lnTo>
                  <a:lnTo>
                    <a:pt x="97" y="34"/>
                  </a:lnTo>
                  <a:lnTo>
                    <a:pt x="97" y="36"/>
                  </a:lnTo>
                  <a:lnTo>
                    <a:pt x="97" y="37"/>
                  </a:lnTo>
                  <a:lnTo>
                    <a:pt x="96" y="38"/>
                  </a:lnTo>
                  <a:lnTo>
                    <a:pt x="96" y="40"/>
                  </a:lnTo>
                  <a:lnTo>
                    <a:pt x="94" y="41"/>
                  </a:lnTo>
                  <a:lnTo>
                    <a:pt x="94" y="42"/>
                  </a:lnTo>
                  <a:lnTo>
                    <a:pt x="94" y="43"/>
                  </a:lnTo>
                  <a:lnTo>
                    <a:pt x="94" y="44"/>
                  </a:lnTo>
                  <a:lnTo>
                    <a:pt x="94" y="45"/>
                  </a:lnTo>
                  <a:lnTo>
                    <a:pt x="94" y="47"/>
                  </a:lnTo>
                  <a:lnTo>
                    <a:pt x="94" y="48"/>
                  </a:lnTo>
                  <a:lnTo>
                    <a:pt x="94" y="49"/>
                  </a:lnTo>
                  <a:lnTo>
                    <a:pt x="96" y="50"/>
                  </a:lnTo>
                  <a:lnTo>
                    <a:pt x="96" y="51"/>
                  </a:lnTo>
                  <a:lnTo>
                    <a:pt x="96" y="52"/>
                  </a:lnTo>
                  <a:lnTo>
                    <a:pt x="94" y="55"/>
                  </a:lnTo>
                  <a:lnTo>
                    <a:pt x="93" y="58"/>
                  </a:lnTo>
                  <a:lnTo>
                    <a:pt x="92" y="62"/>
                  </a:lnTo>
                  <a:lnTo>
                    <a:pt x="92" y="63"/>
                  </a:lnTo>
                  <a:lnTo>
                    <a:pt x="92" y="64"/>
                  </a:lnTo>
                  <a:lnTo>
                    <a:pt x="93" y="66"/>
                  </a:lnTo>
                  <a:lnTo>
                    <a:pt x="92" y="68"/>
                  </a:lnTo>
                  <a:lnTo>
                    <a:pt x="91" y="69"/>
                  </a:lnTo>
                  <a:lnTo>
                    <a:pt x="91" y="70"/>
                  </a:lnTo>
                  <a:lnTo>
                    <a:pt x="90" y="71"/>
                  </a:lnTo>
                  <a:lnTo>
                    <a:pt x="87" y="73"/>
                  </a:lnTo>
                  <a:lnTo>
                    <a:pt x="87" y="75"/>
                  </a:lnTo>
                  <a:lnTo>
                    <a:pt x="86" y="75"/>
                  </a:lnTo>
                  <a:lnTo>
                    <a:pt x="85" y="75"/>
                  </a:lnTo>
                  <a:lnTo>
                    <a:pt x="85" y="76"/>
                  </a:lnTo>
                  <a:lnTo>
                    <a:pt x="84" y="76"/>
                  </a:lnTo>
                  <a:lnTo>
                    <a:pt x="83" y="76"/>
                  </a:lnTo>
                  <a:lnTo>
                    <a:pt x="82" y="77"/>
                  </a:lnTo>
                  <a:lnTo>
                    <a:pt x="80" y="78"/>
                  </a:lnTo>
                  <a:lnTo>
                    <a:pt x="80" y="79"/>
                  </a:lnTo>
                  <a:lnTo>
                    <a:pt x="79" y="79"/>
                  </a:lnTo>
                  <a:lnTo>
                    <a:pt x="79" y="80"/>
                  </a:lnTo>
                  <a:lnTo>
                    <a:pt x="78" y="82"/>
                  </a:lnTo>
                  <a:lnTo>
                    <a:pt x="78" y="83"/>
                  </a:lnTo>
                  <a:lnTo>
                    <a:pt x="78" y="84"/>
                  </a:lnTo>
                  <a:lnTo>
                    <a:pt x="77" y="84"/>
                  </a:lnTo>
                  <a:lnTo>
                    <a:pt x="77" y="85"/>
                  </a:lnTo>
                  <a:lnTo>
                    <a:pt x="77" y="86"/>
                  </a:lnTo>
                  <a:lnTo>
                    <a:pt x="76" y="89"/>
                  </a:lnTo>
                  <a:lnTo>
                    <a:pt x="75" y="89"/>
                  </a:lnTo>
                  <a:lnTo>
                    <a:pt x="75" y="90"/>
                  </a:lnTo>
                  <a:lnTo>
                    <a:pt x="73" y="91"/>
                  </a:lnTo>
                  <a:lnTo>
                    <a:pt x="72" y="92"/>
                  </a:lnTo>
                  <a:lnTo>
                    <a:pt x="71" y="92"/>
                  </a:lnTo>
                  <a:lnTo>
                    <a:pt x="71" y="93"/>
                  </a:lnTo>
                  <a:lnTo>
                    <a:pt x="71" y="94"/>
                  </a:lnTo>
                  <a:lnTo>
                    <a:pt x="71" y="96"/>
                  </a:lnTo>
                  <a:lnTo>
                    <a:pt x="71" y="97"/>
                  </a:lnTo>
                  <a:lnTo>
                    <a:pt x="71" y="100"/>
                  </a:lnTo>
                  <a:lnTo>
                    <a:pt x="71" y="103"/>
                  </a:lnTo>
                  <a:lnTo>
                    <a:pt x="71" y="104"/>
                  </a:lnTo>
                  <a:lnTo>
                    <a:pt x="71" y="105"/>
                  </a:lnTo>
                  <a:lnTo>
                    <a:pt x="71" y="106"/>
                  </a:lnTo>
                  <a:lnTo>
                    <a:pt x="71" y="107"/>
                  </a:lnTo>
                  <a:lnTo>
                    <a:pt x="71" y="108"/>
                  </a:lnTo>
                  <a:lnTo>
                    <a:pt x="71" y="110"/>
                  </a:lnTo>
                  <a:lnTo>
                    <a:pt x="71" y="111"/>
                  </a:lnTo>
                  <a:lnTo>
                    <a:pt x="71" y="112"/>
                  </a:lnTo>
                  <a:lnTo>
                    <a:pt x="70" y="113"/>
                  </a:lnTo>
                  <a:lnTo>
                    <a:pt x="70" y="114"/>
                  </a:lnTo>
                  <a:lnTo>
                    <a:pt x="69" y="115"/>
                  </a:lnTo>
                  <a:lnTo>
                    <a:pt x="69" y="118"/>
                  </a:lnTo>
                  <a:lnTo>
                    <a:pt x="68" y="118"/>
                  </a:lnTo>
                  <a:lnTo>
                    <a:pt x="68" y="119"/>
                  </a:lnTo>
                  <a:lnTo>
                    <a:pt x="68" y="120"/>
                  </a:lnTo>
                  <a:lnTo>
                    <a:pt x="67" y="121"/>
                  </a:lnTo>
                  <a:lnTo>
                    <a:pt x="65" y="121"/>
                  </a:lnTo>
                  <a:lnTo>
                    <a:pt x="64" y="121"/>
                  </a:lnTo>
                  <a:lnTo>
                    <a:pt x="64" y="122"/>
                  </a:lnTo>
                  <a:lnTo>
                    <a:pt x="62" y="122"/>
                  </a:lnTo>
                  <a:lnTo>
                    <a:pt x="62" y="124"/>
                  </a:lnTo>
                  <a:lnTo>
                    <a:pt x="61" y="125"/>
                  </a:lnTo>
                  <a:lnTo>
                    <a:pt x="61" y="126"/>
                  </a:lnTo>
                  <a:lnTo>
                    <a:pt x="60" y="126"/>
                  </a:lnTo>
                  <a:lnTo>
                    <a:pt x="58" y="127"/>
                  </a:lnTo>
                  <a:lnTo>
                    <a:pt x="57" y="127"/>
                  </a:lnTo>
                  <a:lnTo>
                    <a:pt x="57" y="128"/>
                  </a:lnTo>
                  <a:lnTo>
                    <a:pt x="56" y="128"/>
                  </a:lnTo>
                  <a:lnTo>
                    <a:pt x="56" y="129"/>
                  </a:lnTo>
                  <a:lnTo>
                    <a:pt x="55" y="131"/>
                  </a:lnTo>
                  <a:lnTo>
                    <a:pt x="54" y="131"/>
                  </a:lnTo>
                  <a:lnTo>
                    <a:pt x="54" y="132"/>
                  </a:lnTo>
                  <a:lnTo>
                    <a:pt x="53" y="134"/>
                  </a:lnTo>
                  <a:lnTo>
                    <a:pt x="51" y="134"/>
                  </a:lnTo>
                  <a:lnTo>
                    <a:pt x="51" y="135"/>
                  </a:lnTo>
                  <a:lnTo>
                    <a:pt x="50" y="136"/>
                  </a:lnTo>
                  <a:lnTo>
                    <a:pt x="49" y="136"/>
                  </a:lnTo>
                  <a:lnTo>
                    <a:pt x="48" y="136"/>
                  </a:lnTo>
                  <a:lnTo>
                    <a:pt x="48" y="135"/>
                  </a:lnTo>
                  <a:lnTo>
                    <a:pt x="47" y="135"/>
                  </a:lnTo>
                  <a:lnTo>
                    <a:pt x="47" y="136"/>
                  </a:lnTo>
                  <a:lnTo>
                    <a:pt x="46" y="136"/>
                  </a:lnTo>
                  <a:lnTo>
                    <a:pt x="46" y="135"/>
                  </a:lnTo>
                  <a:lnTo>
                    <a:pt x="46" y="134"/>
                  </a:lnTo>
                  <a:lnTo>
                    <a:pt x="46" y="133"/>
                  </a:lnTo>
                  <a:lnTo>
                    <a:pt x="46" y="132"/>
                  </a:lnTo>
                  <a:lnTo>
                    <a:pt x="46" y="131"/>
                  </a:lnTo>
                  <a:lnTo>
                    <a:pt x="46" y="129"/>
                  </a:lnTo>
                  <a:lnTo>
                    <a:pt x="47" y="129"/>
                  </a:lnTo>
                  <a:lnTo>
                    <a:pt x="47" y="128"/>
                  </a:lnTo>
                  <a:lnTo>
                    <a:pt x="46" y="128"/>
                  </a:lnTo>
                  <a:lnTo>
                    <a:pt x="46" y="127"/>
                  </a:lnTo>
                  <a:lnTo>
                    <a:pt x="46" y="126"/>
                  </a:lnTo>
                  <a:lnTo>
                    <a:pt x="44" y="127"/>
                  </a:lnTo>
                  <a:lnTo>
                    <a:pt x="43" y="128"/>
                  </a:lnTo>
                  <a:lnTo>
                    <a:pt x="42" y="128"/>
                  </a:lnTo>
                  <a:lnTo>
                    <a:pt x="41" y="128"/>
                  </a:lnTo>
                  <a:lnTo>
                    <a:pt x="40" y="129"/>
                  </a:lnTo>
                  <a:lnTo>
                    <a:pt x="39" y="129"/>
                  </a:lnTo>
                  <a:lnTo>
                    <a:pt x="37" y="129"/>
                  </a:lnTo>
                  <a:lnTo>
                    <a:pt x="37" y="128"/>
                  </a:lnTo>
                  <a:lnTo>
                    <a:pt x="36" y="129"/>
                  </a:lnTo>
                  <a:lnTo>
                    <a:pt x="36" y="131"/>
                  </a:lnTo>
                  <a:lnTo>
                    <a:pt x="36" y="132"/>
                  </a:lnTo>
                  <a:lnTo>
                    <a:pt x="36" y="133"/>
                  </a:lnTo>
                  <a:lnTo>
                    <a:pt x="35" y="134"/>
                  </a:lnTo>
                  <a:lnTo>
                    <a:pt x="35" y="133"/>
                  </a:lnTo>
                  <a:lnTo>
                    <a:pt x="35" y="134"/>
                  </a:lnTo>
                  <a:lnTo>
                    <a:pt x="34" y="134"/>
                  </a:lnTo>
                  <a:lnTo>
                    <a:pt x="33" y="134"/>
                  </a:lnTo>
                  <a:lnTo>
                    <a:pt x="33" y="135"/>
                  </a:lnTo>
                  <a:lnTo>
                    <a:pt x="32" y="136"/>
                  </a:lnTo>
                  <a:lnTo>
                    <a:pt x="32" y="135"/>
                  </a:lnTo>
                  <a:lnTo>
                    <a:pt x="32" y="134"/>
                  </a:lnTo>
                  <a:lnTo>
                    <a:pt x="30" y="134"/>
                  </a:lnTo>
                  <a:lnTo>
                    <a:pt x="29" y="134"/>
                  </a:lnTo>
                  <a:lnTo>
                    <a:pt x="29" y="133"/>
                  </a:lnTo>
                  <a:lnTo>
                    <a:pt x="28" y="133"/>
                  </a:lnTo>
                  <a:lnTo>
                    <a:pt x="28" y="132"/>
                  </a:lnTo>
                  <a:lnTo>
                    <a:pt x="28" y="131"/>
                  </a:lnTo>
                  <a:lnTo>
                    <a:pt x="27" y="131"/>
                  </a:lnTo>
                  <a:lnTo>
                    <a:pt x="27" y="132"/>
                  </a:lnTo>
                  <a:lnTo>
                    <a:pt x="26" y="131"/>
                  </a:lnTo>
                  <a:lnTo>
                    <a:pt x="25" y="129"/>
                  </a:lnTo>
                  <a:lnTo>
                    <a:pt x="25" y="128"/>
                  </a:lnTo>
                  <a:lnTo>
                    <a:pt x="23" y="128"/>
                  </a:lnTo>
                  <a:lnTo>
                    <a:pt x="22" y="128"/>
                  </a:lnTo>
                  <a:lnTo>
                    <a:pt x="22" y="129"/>
                  </a:lnTo>
                  <a:lnTo>
                    <a:pt x="21" y="129"/>
                  </a:lnTo>
                  <a:lnTo>
                    <a:pt x="21" y="131"/>
                  </a:lnTo>
                  <a:lnTo>
                    <a:pt x="19" y="132"/>
                  </a:lnTo>
                  <a:lnTo>
                    <a:pt x="18" y="132"/>
                  </a:lnTo>
                  <a:lnTo>
                    <a:pt x="18" y="133"/>
                  </a:lnTo>
                  <a:lnTo>
                    <a:pt x="16" y="134"/>
                  </a:lnTo>
                  <a:lnTo>
                    <a:pt x="15" y="134"/>
                  </a:lnTo>
                  <a:lnTo>
                    <a:pt x="15" y="135"/>
                  </a:lnTo>
                  <a:lnTo>
                    <a:pt x="15" y="134"/>
                  </a:lnTo>
                  <a:lnTo>
                    <a:pt x="14" y="135"/>
                  </a:lnTo>
                  <a:lnTo>
                    <a:pt x="14" y="136"/>
                  </a:lnTo>
                  <a:lnTo>
                    <a:pt x="13" y="138"/>
                  </a:lnTo>
                  <a:lnTo>
                    <a:pt x="12" y="138"/>
                  </a:lnTo>
                  <a:lnTo>
                    <a:pt x="11" y="136"/>
                  </a:lnTo>
                  <a:lnTo>
                    <a:pt x="11" y="135"/>
                  </a:lnTo>
                  <a:lnTo>
                    <a:pt x="9" y="134"/>
                  </a:lnTo>
                  <a:lnTo>
                    <a:pt x="11" y="134"/>
                  </a:lnTo>
                  <a:lnTo>
                    <a:pt x="9" y="133"/>
                  </a:lnTo>
                  <a:lnTo>
                    <a:pt x="9" y="132"/>
                  </a:lnTo>
                  <a:lnTo>
                    <a:pt x="9" y="131"/>
                  </a:lnTo>
                  <a:lnTo>
                    <a:pt x="8" y="129"/>
                  </a:lnTo>
                  <a:lnTo>
                    <a:pt x="7" y="128"/>
                  </a:lnTo>
                  <a:lnTo>
                    <a:pt x="5" y="127"/>
                  </a:lnTo>
                  <a:lnTo>
                    <a:pt x="5" y="126"/>
                  </a:lnTo>
                  <a:lnTo>
                    <a:pt x="4" y="126"/>
                  </a:lnTo>
                  <a:lnTo>
                    <a:pt x="4" y="125"/>
                  </a:lnTo>
                  <a:lnTo>
                    <a:pt x="4" y="124"/>
                  </a:lnTo>
                  <a:lnTo>
                    <a:pt x="3" y="122"/>
                  </a:lnTo>
                  <a:lnTo>
                    <a:pt x="1" y="121"/>
                  </a:lnTo>
                  <a:lnTo>
                    <a:pt x="0" y="121"/>
                  </a:lnTo>
                  <a:lnTo>
                    <a:pt x="0" y="120"/>
                  </a:lnTo>
                  <a:lnTo>
                    <a:pt x="1" y="118"/>
                  </a:lnTo>
                  <a:lnTo>
                    <a:pt x="1" y="117"/>
                  </a:lnTo>
                  <a:lnTo>
                    <a:pt x="3" y="117"/>
                  </a:lnTo>
                  <a:lnTo>
                    <a:pt x="4" y="115"/>
                  </a:lnTo>
                  <a:lnTo>
                    <a:pt x="5" y="115"/>
                  </a:lnTo>
                  <a:lnTo>
                    <a:pt x="5" y="114"/>
                  </a:lnTo>
                  <a:lnTo>
                    <a:pt x="6" y="114"/>
                  </a:lnTo>
                  <a:lnTo>
                    <a:pt x="7" y="117"/>
                  </a:lnTo>
                  <a:lnTo>
                    <a:pt x="8" y="118"/>
                  </a:lnTo>
                  <a:lnTo>
                    <a:pt x="8" y="117"/>
                  </a:lnTo>
                  <a:lnTo>
                    <a:pt x="9" y="117"/>
                  </a:lnTo>
                  <a:lnTo>
                    <a:pt x="9" y="118"/>
                  </a:lnTo>
                  <a:lnTo>
                    <a:pt x="11" y="118"/>
                  </a:lnTo>
                  <a:lnTo>
                    <a:pt x="11" y="117"/>
                  </a:lnTo>
                  <a:lnTo>
                    <a:pt x="11" y="115"/>
                  </a:lnTo>
                  <a:lnTo>
                    <a:pt x="9" y="115"/>
                  </a:lnTo>
                  <a:lnTo>
                    <a:pt x="9" y="114"/>
                  </a:lnTo>
                  <a:lnTo>
                    <a:pt x="11" y="113"/>
                  </a:lnTo>
                  <a:lnTo>
                    <a:pt x="11" y="112"/>
                  </a:lnTo>
                  <a:lnTo>
                    <a:pt x="12" y="112"/>
                  </a:lnTo>
                  <a:lnTo>
                    <a:pt x="12" y="111"/>
                  </a:lnTo>
                  <a:lnTo>
                    <a:pt x="11" y="111"/>
                  </a:lnTo>
                  <a:lnTo>
                    <a:pt x="9" y="111"/>
                  </a:lnTo>
                  <a:lnTo>
                    <a:pt x="9" y="110"/>
                  </a:lnTo>
                  <a:lnTo>
                    <a:pt x="8" y="110"/>
                  </a:lnTo>
                  <a:lnTo>
                    <a:pt x="8" y="108"/>
                  </a:lnTo>
                  <a:lnTo>
                    <a:pt x="8" y="107"/>
                  </a:lnTo>
                  <a:lnTo>
                    <a:pt x="9" y="107"/>
                  </a:lnTo>
                  <a:lnTo>
                    <a:pt x="9" y="106"/>
                  </a:lnTo>
                  <a:lnTo>
                    <a:pt x="8" y="105"/>
                  </a:lnTo>
                  <a:lnTo>
                    <a:pt x="7" y="104"/>
                  </a:lnTo>
                  <a:lnTo>
                    <a:pt x="6" y="104"/>
                  </a:lnTo>
                  <a:lnTo>
                    <a:pt x="6" y="103"/>
                  </a:lnTo>
                  <a:lnTo>
                    <a:pt x="7" y="101"/>
                  </a:lnTo>
                  <a:lnTo>
                    <a:pt x="7" y="100"/>
                  </a:lnTo>
                  <a:lnTo>
                    <a:pt x="7" y="99"/>
                  </a:lnTo>
                  <a:lnTo>
                    <a:pt x="6" y="98"/>
                  </a:lnTo>
                  <a:lnTo>
                    <a:pt x="7" y="97"/>
                  </a:lnTo>
                  <a:lnTo>
                    <a:pt x="6" y="96"/>
                  </a:lnTo>
                  <a:lnTo>
                    <a:pt x="7" y="96"/>
                  </a:lnTo>
                  <a:lnTo>
                    <a:pt x="8" y="96"/>
                  </a:lnTo>
                  <a:lnTo>
                    <a:pt x="8" y="97"/>
                  </a:lnTo>
                  <a:lnTo>
                    <a:pt x="9" y="97"/>
                  </a:lnTo>
                  <a:lnTo>
                    <a:pt x="11" y="96"/>
                  </a:lnTo>
                  <a:lnTo>
                    <a:pt x="12" y="96"/>
                  </a:lnTo>
                  <a:lnTo>
                    <a:pt x="13" y="97"/>
                  </a:lnTo>
                  <a:lnTo>
                    <a:pt x="19" y="96"/>
                  </a:lnTo>
                  <a:lnTo>
                    <a:pt x="19" y="94"/>
                  </a:lnTo>
                  <a:lnTo>
                    <a:pt x="19" y="93"/>
                  </a:lnTo>
                  <a:lnTo>
                    <a:pt x="19" y="92"/>
                  </a:lnTo>
                  <a:lnTo>
                    <a:pt x="20" y="92"/>
                  </a:lnTo>
                  <a:lnTo>
                    <a:pt x="19" y="92"/>
                  </a:lnTo>
                  <a:lnTo>
                    <a:pt x="19" y="91"/>
                  </a:lnTo>
                  <a:lnTo>
                    <a:pt x="19" y="89"/>
                  </a:lnTo>
                  <a:lnTo>
                    <a:pt x="20" y="89"/>
                  </a:lnTo>
                  <a:lnTo>
                    <a:pt x="20" y="87"/>
                  </a:lnTo>
                  <a:lnTo>
                    <a:pt x="21" y="87"/>
                  </a:lnTo>
                  <a:lnTo>
                    <a:pt x="22" y="87"/>
                  </a:lnTo>
                  <a:lnTo>
                    <a:pt x="22" y="89"/>
                  </a:lnTo>
                  <a:lnTo>
                    <a:pt x="23" y="89"/>
                  </a:lnTo>
                  <a:lnTo>
                    <a:pt x="23" y="90"/>
                  </a:lnTo>
                  <a:lnTo>
                    <a:pt x="25" y="91"/>
                  </a:lnTo>
                  <a:lnTo>
                    <a:pt x="25" y="92"/>
                  </a:lnTo>
                  <a:lnTo>
                    <a:pt x="25" y="93"/>
                  </a:lnTo>
                  <a:lnTo>
                    <a:pt x="26" y="93"/>
                  </a:lnTo>
                  <a:lnTo>
                    <a:pt x="26" y="94"/>
                  </a:lnTo>
                  <a:lnTo>
                    <a:pt x="27" y="94"/>
                  </a:lnTo>
                  <a:lnTo>
                    <a:pt x="27" y="96"/>
                  </a:lnTo>
                  <a:lnTo>
                    <a:pt x="26" y="96"/>
                  </a:lnTo>
                  <a:lnTo>
                    <a:pt x="26" y="97"/>
                  </a:lnTo>
                  <a:lnTo>
                    <a:pt x="26" y="96"/>
                  </a:lnTo>
                  <a:lnTo>
                    <a:pt x="27" y="96"/>
                  </a:lnTo>
                  <a:lnTo>
                    <a:pt x="28" y="97"/>
                  </a:lnTo>
                  <a:lnTo>
                    <a:pt x="29" y="96"/>
                  </a:lnTo>
                  <a:lnTo>
                    <a:pt x="32" y="97"/>
                  </a:lnTo>
                  <a:lnTo>
                    <a:pt x="33" y="97"/>
                  </a:lnTo>
                  <a:lnTo>
                    <a:pt x="34" y="97"/>
                  </a:lnTo>
                  <a:lnTo>
                    <a:pt x="34" y="96"/>
                  </a:lnTo>
                  <a:lnTo>
                    <a:pt x="35" y="96"/>
                  </a:lnTo>
                  <a:lnTo>
                    <a:pt x="35" y="94"/>
                  </a:lnTo>
                  <a:lnTo>
                    <a:pt x="36" y="93"/>
                  </a:lnTo>
                  <a:lnTo>
                    <a:pt x="36" y="92"/>
                  </a:lnTo>
                  <a:lnTo>
                    <a:pt x="37" y="92"/>
                  </a:lnTo>
                  <a:lnTo>
                    <a:pt x="37" y="93"/>
                  </a:lnTo>
                  <a:lnTo>
                    <a:pt x="37" y="94"/>
                  </a:lnTo>
                  <a:lnTo>
                    <a:pt x="39" y="94"/>
                  </a:lnTo>
                  <a:lnTo>
                    <a:pt x="39" y="96"/>
                  </a:lnTo>
                  <a:lnTo>
                    <a:pt x="39" y="97"/>
                  </a:lnTo>
                  <a:lnTo>
                    <a:pt x="39" y="98"/>
                  </a:lnTo>
                  <a:lnTo>
                    <a:pt x="40" y="98"/>
                  </a:lnTo>
                  <a:lnTo>
                    <a:pt x="41" y="98"/>
                  </a:lnTo>
                  <a:lnTo>
                    <a:pt x="42" y="98"/>
                  </a:lnTo>
                  <a:lnTo>
                    <a:pt x="42" y="97"/>
                  </a:lnTo>
                  <a:lnTo>
                    <a:pt x="43" y="96"/>
                  </a:lnTo>
                  <a:lnTo>
                    <a:pt x="42" y="94"/>
                  </a:lnTo>
                  <a:lnTo>
                    <a:pt x="42" y="93"/>
                  </a:lnTo>
                  <a:lnTo>
                    <a:pt x="43" y="93"/>
                  </a:lnTo>
                  <a:lnTo>
                    <a:pt x="43" y="92"/>
                  </a:lnTo>
                  <a:lnTo>
                    <a:pt x="43" y="91"/>
                  </a:lnTo>
                  <a:lnTo>
                    <a:pt x="44" y="91"/>
                  </a:lnTo>
                  <a:lnTo>
                    <a:pt x="43" y="91"/>
                  </a:lnTo>
                  <a:lnTo>
                    <a:pt x="43" y="90"/>
                  </a:lnTo>
                  <a:lnTo>
                    <a:pt x="44" y="90"/>
                  </a:lnTo>
                  <a:lnTo>
                    <a:pt x="46" y="89"/>
                  </a:lnTo>
                  <a:lnTo>
                    <a:pt x="46" y="87"/>
                  </a:lnTo>
                  <a:lnTo>
                    <a:pt x="46" y="86"/>
                  </a:lnTo>
                  <a:lnTo>
                    <a:pt x="47" y="86"/>
                  </a:lnTo>
                  <a:lnTo>
                    <a:pt x="47" y="85"/>
                  </a:lnTo>
                  <a:lnTo>
                    <a:pt x="46" y="85"/>
                  </a:lnTo>
                  <a:lnTo>
                    <a:pt x="46" y="84"/>
                  </a:lnTo>
                  <a:lnTo>
                    <a:pt x="47" y="84"/>
                  </a:lnTo>
                  <a:lnTo>
                    <a:pt x="47" y="83"/>
                  </a:lnTo>
                  <a:lnTo>
                    <a:pt x="47" y="82"/>
                  </a:lnTo>
                  <a:lnTo>
                    <a:pt x="47" y="80"/>
                  </a:lnTo>
                  <a:lnTo>
                    <a:pt x="47" y="79"/>
                  </a:lnTo>
                  <a:lnTo>
                    <a:pt x="47" y="78"/>
                  </a:lnTo>
                  <a:lnTo>
                    <a:pt x="47" y="77"/>
                  </a:lnTo>
                  <a:lnTo>
                    <a:pt x="47" y="76"/>
                  </a:lnTo>
                  <a:lnTo>
                    <a:pt x="46" y="75"/>
                  </a:lnTo>
                  <a:lnTo>
                    <a:pt x="46" y="73"/>
                  </a:lnTo>
                  <a:lnTo>
                    <a:pt x="47" y="73"/>
                  </a:lnTo>
                  <a:lnTo>
                    <a:pt x="47" y="72"/>
                  </a:lnTo>
                  <a:lnTo>
                    <a:pt x="47" y="71"/>
                  </a:lnTo>
                  <a:lnTo>
                    <a:pt x="47" y="69"/>
                  </a:lnTo>
                  <a:lnTo>
                    <a:pt x="48" y="69"/>
                  </a:lnTo>
                  <a:lnTo>
                    <a:pt x="47" y="69"/>
                  </a:lnTo>
                  <a:lnTo>
                    <a:pt x="47" y="68"/>
                  </a:lnTo>
                  <a:lnTo>
                    <a:pt x="47" y="66"/>
                  </a:lnTo>
                  <a:lnTo>
                    <a:pt x="46" y="66"/>
                  </a:lnTo>
                  <a:lnTo>
                    <a:pt x="44" y="65"/>
                  </a:lnTo>
                  <a:lnTo>
                    <a:pt x="43" y="65"/>
                  </a:lnTo>
                  <a:lnTo>
                    <a:pt x="42" y="66"/>
                  </a:lnTo>
                  <a:lnTo>
                    <a:pt x="42" y="65"/>
                  </a:lnTo>
                  <a:lnTo>
                    <a:pt x="42" y="64"/>
                  </a:lnTo>
                  <a:lnTo>
                    <a:pt x="42" y="63"/>
                  </a:lnTo>
                  <a:lnTo>
                    <a:pt x="41" y="63"/>
                  </a:lnTo>
                  <a:lnTo>
                    <a:pt x="40" y="63"/>
                  </a:lnTo>
                  <a:lnTo>
                    <a:pt x="39" y="63"/>
                  </a:lnTo>
                  <a:lnTo>
                    <a:pt x="39" y="62"/>
                  </a:lnTo>
                  <a:lnTo>
                    <a:pt x="39" y="61"/>
                  </a:lnTo>
                  <a:lnTo>
                    <a:pt x="39" y="59"/>
                  </a:lnTo>
                  <a:lnTo>
                    <a:pt x="40" y="59"/>
                  </a:lnTo>
                  <a:lnTo>
                    <a:pt x="40" y="58"/>
                  </a:lnTo>
                  <a:lnTo>
                    <a:pt x="39" y="58"/>
                  </a:lnTo>
                  <a:lnTo>
                    <a:pt x="39" y="57"/>
                  </a:lnTo>
                  <a:lnTo>
                    <a:pt x="39" y="56"/>
                  </a:lnTo>
                  <a:lnTo>
                    <a:pt x="39" y="55"/>
                  </a:lnTo>
                  <a:lnTo>
                    <a:pt x="40" y="54"/>
                  </a:lnTo>
                  <a:lnTo>
                    <a:pt x="40" y="52"/>
                  </a:lnTo>
                  <a:lnTo>
                    <a:pt x="41" y="52"/>
                  </a:lnTo>
                  <a:lnTo>
                    <a:pt x="41" y="51"/>
                  </a:lnTo>
                  <a:lnTo>
                    <a:pt x="41" y="50"/>
                  </a:lnTo>
                  <a:lnTo>
                    <a:pt x="42" y="50"/>
                  </a:lnTo>
                  <a:lnTo>
                    <a:pt x="43" y="50"/>
                  </a:lnTo>
                  <a:lnTo>
                    <a:pt x="44" y="50"/>
                  </a:lnTo>
                  <a:lnTo>
                    <a:pt x="46" y="49"/>
                  </a:lnTo>
                  <a:lnTo>
                    <a:pt x="46" y="48"/>
                  </a:lnTo>
                  <a:lnTo>
                    <a:pt x="46" y="47"/>
                  </a:lnTo>
                  <a:lnTo>
                    <a:pt x="47" y="47"/>
                  </a:lnTo>
                  <a:lnTo>
                    <a:pt x="47" y="45"/>
                  </a:lnTo>
                  <a:lnTo>
                    <a:pt x="47" y="44"/>
                  </a:lnTo>
                  <a:lnTo>
                    <a:pt x="47" y="43"/>
                  </a:lnTo>
                  <a:lnTo>
                    <a:pt x="46" y="43"/>
                  </a:lnTo>
                  <a:lnTo>
                    <a:pt x="46" y="42"/>
                  </a:lnTo>
                  <a:lnTo>
                    <a:pt x="44" y="41"/>
                  </a:lnTo>
                  <a:lnTo>
                    <a:pt x="44" y="40"/>
                  </a:lnTo>
                  <a:lnTo>
                    <a:pt x="44" y="38"/>
                  </a:lnTo>
                  <a:lnTo>
                    <a:pt x="44" y="37"/>
                  </a:lnTo>
                  <a:lnTo>
                    <a:pt x="43" y="37"/>
                  </a:lnTo>
                  <a:lnTo>
                    <a:pt x="42" y="36"/>
                  </a:lnTo>
                  <a:lnTo>
                    <a:pt x="42" y="37"/>
                  </a:lnTo>
                  <a:lnTo>
                    <a:pt x="41" y="37"/>
                  </a:lnTo>
                  <a:lnTo>
                    <a:pt x="41" y="36"/>
                  </a:lnTo>
                  <a:lnTo>
                    <a:pt x="40" y="36"/>
                  </a:lnTo>
                  <a:lnTo>
                    <a:pt x="37" y="36"/>
                  </a:lnTo>
                  <a:lnTo>
                    <a:pt x="37" y="37"/>
                  </a:lnTo>
                  <a:lnTo>
                    <a:pt x="36" y="37"/>
                  </a:lnTo>
                  <a:lnTo>
                    <a:pt x="35" y="37"/>
                  </a:lnTo>
                  <a:lnTo>
                    <a:pt x="34" y="38"/>
                  </a:lnTo>
                  <a:lnTo>
                    <a:pt x="33" y="38"/>
                  </a:lnTo>
                  <a:lnTo>
                    <a:pt x="32" y="38"/>
                  </a:lnTo>
                  <a:lnTo>
                    <a:pt x="30" y="38"/>
                  </a:lnTo>
                  <a:lnTo>
                    <a:pt x="30" y="40"/>
                  </a:lnTo>
                  <a:lnTo>
                    <a:pt x="29" y="40"/>
                  </a:lnTo>
                  <a:lnTo>
                    <a:pt x="29" y="38"/>
                  </a:lnTo>
                  <a:lnTo>
                    <a:pt x="28" y="38"/>
                  </a:lnTo>
                  <a:lnTo>
                    <a:pt x="29" y="38"/>
                  </a:lnTo>
                  <a:lnTo>
                    <a:pt x="29" y="37"/>
                  </a:lnTo>
                  <a:lnTo>
                    <a:pt x="30" y="37"/>
                  </a:lnTo>
                  <a:lnTo>
                    <a:pt x="29" y="37"/>
                  </a:lnTo>
                  <a:lnTo>
                    <a:pt x="29" y="36"/>
                  </a:lnTo>
                  <a:lnTo>
                    <a:pt x="29" y="35"/>
                  </a:lnTo>
                  <a:lnTo>
                    <a:pt x="29" y="34"/>
                  </a:lnTo>
                  <a:lnTo>
                    <a:pt x="28" y="34"/>
                  </a:lnTo>
                  <a:lnTo>
                    <a:pt x="28" y="33"/>
                  </a:lnTo>
                  <a:lnTo>
                    <a:pt x="28" y="31"/>
                  </a:lnTo>
                  <a:lnTo>
                    <a:pt x="29" y="30"/>
                  </a:lnTo>
                  <a:lnTo>
                    <a:pt x="29" y="29"/>
                  </a:lnTo>
                  <a:lnTo>
                    <a:pt x="29" y="28"/>
                  </a:lnTo>
                  <a:lnTo>
                    <a:pt x="29" y="27"/>
                  </a:lnTo>
                  <a:lnTo>
                    <a:pt x="30" y="27"/>
                  </a:lnTo>
                  <a:lnTo>
                    <a:pt x="30" y="26"/>
                  </a:lnTo>
                  <a:lnTo>
                    <a:pt x="30" y="24"/>
                  </a:lnTo>
                  <a:lnTo>
                    <a:pt x="33" y="24"/>
                  </a:lnTo>
                  <a:lnTo>
                    <a:pt x="35" y="24"/>
                  </a:lnTo>
                  <a:lnTo>
                    <a:pt x="37" y="24"/>
                  </a:lnTo>
                  <a:lnTo>
                    <a:pt x="41" y="24"/>
                  </a:lnTo>
                  <a:lnTo>
                    <a:pt x="42" y="24"/>
                  </a:lnTo>
                  <a:lnTo>
                    <a:pt x="44" y="24"/>
                  </a:lnTo>
                  <a:lnTo>
                    <a:pt x="46" y="24"/>
                  </a:lnTo>
                  <a:lnTo>
                    <a:pt x="47" y="24"/>
                  </a:lnTo>
                  <a:lnTo>
                    <a:pt x="48" y="24"/>
                  </a:lnTo>
                  <a:lnTo>
                    <a:pt x="48" y="23"/>
                  </a:lnTo>
                  <a:lnTo>
                    <a:pt x="49" y="23"/>
                  </a:lnTo>
                  <a:lnTo>
                    <a:pt x="49" y="24"/>
                  </a:lnTo>
                  <a:lnTo>
                    <a:pt x="50" y="24"/>
                  </a:lnTo>
                  <a:lnTo>
                    <a:pt x="50" y="26"/>
                  </a:lnTo>
                  <a:lnTo>
                    <a:pt x="50" y="24"/>
                  </a:lnTo>
                  <a:lnTo>
                    <a:pt x="50" y="26"/>
                  </a:lnTo>
                  <a:lnTo>
                    <a:pt x="51" y="26"/>
                  </a:lnTo>
                  <a:lnTo>
                    <a:pt x="53" y="26"/>
                  </a:lnTo>
                  <a:lnTo>
                    <a:pt x="53" y="27"/>
                  </a:lnTo>
                  <a:lnTo>
                    <a:pt x="54" y="27"/>
                  </a:lnTo>
                  <a:lnTo>
                    <a:pt x="55" y="27"/>
                  </a:lnTo>
                  <a:lnTo>
                    <a:pt x="55" y="28"/>
                  </a:lnTo>
                  <a:lnTo>
                    <a:pt x="56" y="27"/>
                  </a:lnTo>
                  <a:lnTo>
                    <a:pt x="57" y="27"/>
                  </a:lnTo>
                  <a:lnTo>
                    <a:pt x="58" y="27"/>
                  </a:lnTo>
                  <a:lnTo>
                    <a:pt x="58" y="28"/>
                  </a:lnTo>
                  <a:lnTo>
                    <a:pt x="60" y="28"/>
                  </a:lnTo>
                  <a:lnTo>
                    <a:pt x="61" y="28"/>
                  </a:lnTo>
                  <a:lnTo>
                    <a:pt x="62" y="28"/>
                  </a:lnTo>
                  <a:lnTo>
                    <a:pt x="63" y="28"/>
                  </a:lnTo>
                  <a:lnTo>
                    <a:pt x="64" y="28"/>
                  </a:lnTo>
                  <a:lnTo>
                    <a:pt x="65" y="28"/>
                  </a:lnTo>
                  <a:lnTo>
                    <a:pt x="65" y="29"/>
                  </a:lnTo>
                  <a:lnTo>
                    <a:pt x="67" y="29"/>
                  </a:lnTo>
                  <a:lnTo>
                    <a:pt x="67" y="30"/>
                  </a:lnTo>
                  <a:lnTo>
                    <a:pt x="68" y="30"/>
                  </a:lnTo>
                  <a:lnTo>
                    <a:pt x="69" y="30"/>
                  </a:lnTo>
                  <a:lnTo>
                    <a:pt x="69" y="31"/>
                  </a:lnTo>
                  <a:lnTo>
                    <a:pt x="69" y="33"/>
                  </a:lnTo>
                  <a:lnTo>
                    <a:pt x="70" y="31"/>
                  </a:lnTo>
                  <a:lnTo>
                    <a:pt x="70" y="29"/>
                  </a:lnTo>
                  <a:lnTo>
                    <a:pt x="70" y="28"/>
                  </a:lnTo>
                  <a:lnTo>
                    <a:pt x="69" y="28"/>
                  </a:lnTo>
                  <a:lnTo>
                    <a:pt x="69" y="27"/>
                  </a:lnTo>
                  <a:lnTo>
                    <a:pt x="69" y="26"/>
                  </a:lnTo>
                  <a:lnTo>
                    <a:pt x="70" y="26"/>
                  </a:lnTo>
                  <a:lnTo>
                    <a:pt x="70" y="24"/>
                  </a:lnTo>
                  <a:lnTo>
                    <a:pt x="70" y="23"/>
                  </a:lnTo>
                  <a:lnTo>
                    <a:pt x="70" y="24"/>
                  </a:lnTo>
                  <a:lnTo>
                    <a:pt x="71" y="23"/>
                  </a:lnTo>
                  <a:lnTo>
                    <a:pt x="71" y="22"/>
                  </a:lnTo>
                  <a:lnTo>
                    <a:pt x="72" y="20"/>
                  </a:lnTo>
                  <a:lnTo>
                    <a:pt x="72" y="19"/>
                  </a:lnTo>
                  <a:lnTo>
                    <a:pt x="73" y="17"/>
                  </a:lnTo>
                  <a:lnTo>
                    <a:pt x="73" y="16"/>
                  </a:lnTo>
                  <a:lnTo>
                    <a:pt x="75" y="15"/>
                  </a:lnTo>
                  <a:lnTo>
                    <a:pt x="75" y="14"/>
                  </a:lnTo>
                  <a:lnTo>
                    <a:pt x="75" y="13"/>
                  </a:lnTo>
                  <a:lnTo>
                    <a:pt x="75" y="12"/>
                  </a:lnTo>
                  <a:lnTo>
                    <a:pt x="75" y="10"/>
                  </a:lnTo>
                  <a:lnTo>
                    <a:pt x="75" y="9"/>
                  </a:lnTo>
                  <a:lnTo>
                    <a:pt x="75" y="8"/>
                  </a:lnTo>
                  <a:lnTo>
                    <a:pt x="76" y="8"/>
                  </a:lnTo>
                  <a:lnTo>
                    <a:pt x="76" y="7"/>
                  </a:lnTo>
                  <a:lnTo>
                    <a:pt x="76" y="6"/>
                  </a:lnTo>
                  <a:lnTo>
                    <a:pt x="76" y="5"/>
                  </a:lnTo>
                  <a:lnTo>
                    <a:pt x="76" y="3"/>
                  </a:lnTo>
                  <a:lnTo>
                    <a:pt x="77" y="3"/>
                  </a:lnTo>
                  <a:lnTo>
                    <a:pt x="77" y="2"/>
                  </a:lnTo>
                  <a:lnTo>
                    <a:pt x="78" y="2"/>
                  </a:lnTo>
                  <a:lnTo>
                    <a:pt x="79" y="3"/>
                  </a:lnTo>
                  <a:lnTo>
                    <a:pt x="80" y="2"/>
                  </a:lnTo>
                  <a:lnTo>
                    <a:pt x="82" y="2"/>
                  </a:lnTo>
                  <a:lnTo>
                    <a:pt x="83" y="2"/>
                  </a:lnTo>
                  <a:lnTo>
                    <a:pt x="84" y="2"/>
                  </a:lnTo>
                  <a:lnTo>
                    <a:pt x="85" y="2"/>
                  </a:lnTo>
                  <a:lnTo>
                    <a:pt x="85" y="1"/>
                  </a:lnTo>
                  <a:lnTo>
                    <a:pt x="86" y="1"/>
                  </a:lnTo>
                  <a:lnTo>
                    <a:pt x="87" y="1"/>
                  </a:lnTo>
                  <a:lnTo>
                    <a:pt x="87" y="0"/>
                  </a:lnTo>
                  <a:lnTo>
                    <a:pt x="89" y="0"/>
                  </a:lnTo>
                  <a:lnTo>
                    <a:pt x="90" y="0"/>
                  </a:lnTo>
                  <a:lnTo>
                    <a:pt x="90" y="1"/>
                  </a:lnTo>
                  <a:lnTo>
                    <a:pt x="91" y="1"/>
                  </a:lnTo>
                  <a:lnTo>
                    <a:pt x="92" y="1"/>
                  </a:lnTo>
                  <a:lnTo>
                    <a:pt x="93" y="1"/>
                  </a:lnTo>
                  <a:lnTo>
                    <a:pt x="93" y="2"/>
                  </a:lnTo>
                  <a:lnTo>
                    <a:pt x="94" y="2"/>
                  </a:lnTo>
                  <a:lnTo>
                    <a:pt x="96" y="2"/>
                  </a:lnTo>
                  <a:lnTo>
                    <a:pt x="97" y="2"/>
                  </a:lnTo>
                  <a:lnTo>
                    <a:pt x="98" y="2"/>
                  </a:lnTo>
                  <a:lnTo>
                    <a:pt x="98" y="3"/>
                  </a:lnTo>
                  <a:lnTo>
                    <a:pt x="99" y="3"/>
                  </a:lnTo>
                  <a:lnTo>
                    <a:pt x="99" y="2"/>
                  </a:lnTo>
                  <a:lnTo>
                    <a:pt x="100" y="2"/>
                  </a:lnTo>
                  <a:lnTo>
                    <a:pt x="101" y="2"/>
                  </a:lnTo>
                  <a:lnTo>
                    <a:pt x="103" y="2"/>
                  </a:lnTo>
                  <a:lnTo>
                    <a:pt x="103" y="1"/>
                  </a:lnTo>
                  <a:lnTo>
                    <a:pt x="104" y="2"/>
                  </a:lnTo>
                  <a:lnTo>
                    <a:pt x="104" y="3"/>
                  </a:lnTo>
                  <a:lnTo>
                    <a:pt x="105" y="3"/>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10" name="Freeform 864">
              <a:extLst>
                <a:ext uri="{FF2B5EF4-FFF2-40B4-BE49-F238E27FC236}">
                  <a16:creationId xmlns:a16="http://schemas.microsoft.com/office/drawing/2014/main" id="{DBD10A48-2B09-4BBB-BC9B-EA6836E3DC06}"/>
                </a:ext>
              </a:extLst>
            </p:cNvPr>
            <p:cNvSpPr>
              <a:spLocks noEditPoints="1"/>
            </p:cNvSpPr>
            <p:nvPr/>
          </p:nvSpPr>
          <p:spPr bwMode="auto">
            <a:xfrm>
              <a:off x="4286642" y="3065405"/>
              <a:ext cx="273775" cy="372602"/>
            </a:xfrm>
            <a:custGeom>
              <a:avLst/>
              <a:gdLst>
                <a:gd name="T0" fmla="*/ 54 w 205"/>
                <a:gd name="T1" fmla="*/ 169 h 279"/>
                <a:gd name="T2" fmla="*/ 57 w 205"/>
                <a:gd name="T3" fmla="*/ 145 h 279"/>
                <a:gd name="T4" fmla="*/ 148 w 205"/>
                <a:gd name="T5" fmla="*/ 15 h 279"/>
                <a:gd name="T6" fmla="*/ 142 w 205"/>
                <a:gd name="T7" fmla="*/ 27 h 279"/>
                <a:gd name="T8" fmla="*/ 132 w 205"/>
                <a:gd name="T9" fmla="*/ 39 h 279"/>
                <a:gd name="T10" fmla="*/ 121 w 205"/>
                <a:gd name="T11" fmla="*/ 62 h 279"/>
                <a:gd name="T12" fmla="*/ 127 w 205"/>
                <a:gd name="T13" fmla="*/ 71 h 279"/>
                <a:gd name="T14" fmla="*/ 131 w 205"/>
                <a:gd name="T15" fmla="*/ 88 h 279"/>
                <a:gd name="T16" fmla="*/ 139 w 205"/>
                <a:gd name="T17" fmla="*/ 100 h 279"/>
                <a:gd name="T18" fmla="*/ 155 w 205"/>
                <a:gd name="T19" fmla="*/ 99 h 279"/>
                <a:gd name="T20" fmla="*/ 174 w 205"/>
                <a:gd name="T21" fmla="*/ 114 h 279"/>
                <a:gd name="T22" fmla="*/ 191 w 205"/>
                <a:gd name="T23" fmla="*/ 113 h 279"/>
                <a:gd name="T24" fmla="*/ 196 w 205"/>
                <a:gd name="T25" fmla="*/ 121 h 279"/>
                <a:gd name="T26" fmla="*/ 194 w 205"/>
                <a:gd name="T27" fmla="*/ 138 h 279"/>
                <a:gd name="T28" fmla="*/ 198 w 205"/>
                <a:gd name="T29" fmla="*/ 153 h 279"/>
                <a:gd name="T30" fmla="*/ 194 w 205"/>
                <a:gd name="T31" fmla="*/ 167 h 279"/>
                <a:gd name="T32" fmla="*/ 203 w 205"/>
                <a:gd name="T33" fmla="*/ 179 h 279"/>
                <a:gd name="T34" fmla="*/ 201 w 205"/>
                <a:gd name="T35" fmla="*/ 181 h 279"/>
                <a:gd name="T36" fmla="*/ 187 w 205"/>
                <a:gd name="T37" fmla="*/ 183 h 279"/>
                <a:gd name="T38" fmla="*/ 164 w 205"/>
                <a:gd name="T39" fmla="*/ 188 h 279"/>
                <a:gd name="T40" fmla="*/ 174 w 205"/>
                <a:gd name="T41" fmla="*/ 200 h 279"/>
                <a:gd name="T42" fmla="*/ 161 w 205"/>
                <a:gd name="T43" fmla="*/ 203 h 279"/>
                <a:gd name="T44" fmla="*/ 166 w 205"/>
                <a:gd name="T45" fmla="*/ 218 h 279"/>
                <a:gd name="T46" fmla="*/ 170 w 205"/>
                <a:gd name="T47" fmla="*/ 232 h 279"/>
                <a:gd name="T48" fmla="*/ 164 w 205"/>
                <a:gd name="T49" fmla="*/ 271 h 279"/>
                <a:gd name="T50" fmla="*/ 154 w 205"/>
                <a:gd name="T51" fmla="*/ 268 h 279"/>
                <a:gd name="T52" fmla="*/ 155 w 205"/>
                <a:gd name="T53" fmla="*/ 251 h 279"/>
                <a:gd name="T54" fmla="*/ 142 w 205"/>
                <a:gd name="T55" fmla="*/ 250 h 279"/>
                <a:gd name="T56" fmla="*/ 130 w 205"/>
                <a:gd name="T57" fmla="*/ 250 h 279"/>
                <a:gd name="T58" fmla="*/ 118 w 205"/>
                <a:gd name="T59" fmla="*/ 247 h 279"/>
                <a:gd name="T60" fmla="*/ 112 w 205"/>
                <a:gd name="T61" fmla="*/ 235 h 279"/>
                <a:gd name="T62" fmla="*/ 102 w 205"/>
                <a:gd name="T63" fmla="*/ 225 h 279"/>
                <a:gd name="T64" fmla="*/ 91 w 205"/>
                <a:gd name="T65" fmla="*/ 212 h 279"/>
                <a:gd name="T66" fmla="*/ 77 w 205"/>
                <a:gd name="T67" fmla="*/ 207 h 279"/>
                <a:gd name="T68" fmla="*/ 64 w 205"/>
                <a:gd name="T69" fmla="*/ 207 h 279"/>
                <a:gd name="T70" fmla="*/ 52 w 205"/>
                <a:gd name="T71" fmla="*/ 198 h 279"/>
                <a:gd name="T72" fmla="*/ 36 w 205"/>
                <a:gd name="T73" fmla="*/ 186 h 279"/>
                <a:gd name="T74" fmla="*/ 41 w 205"/>
                <a:gd name="T75" fmla="*/ 180 h 279"/>
                <a:gd name="T76" fmla="*/ 46 w 205"/>
                <a:gd name="T77" fmla="*/ 169 h 279"/>
                <a:gd name="T78" fmla="*/ 52 w 205"/>
                <a:gd name="T79" fmla="*/ 170 h 279"/>
                <a:gd name="T80" fmla="*/ 55 w 205"/>
                <a:gd name="T81" fmla="*/ 166 h 279"/>
                <a:gd name="T82" fmla="*/ 60 w 205"/>
                <a:gd name="T83" fmla="*/ 158 h 279"/>
                <a:gd name="T84" fmla="*/ 64 w 205"/>
                <a:gd name="T85" fmla="*/ 149 h 279"/>
                <a:gd name="T86" fmla="*/ 60 w 205"/>
                <a:gd name="T87" fmla="*/ 146 h 279"/>
                <a:gd name="T88" fmla="*/ 61 w 205"/>
                <a:gd name="T89" fmla="*/ 133 h 279"/>
                <a:gd name="T90" fmla="*/ 61 w 205"/>
                <a:gd name="T91" fmla="*/ 116 h 279"/>
                <a:gd name="T92" fmla="*/ 61 w 205"/>
                <a:gd name="T93" fmla="*/ 105 h 279"/>
                <a:gd name="T94" fmla="*/ 57 w 205"/>
                <a:gd name="T95" fmla="*/ 92 h 279"/>
                <a:gd name="T96" fmla="*/ 66 w 205"/>
                <a:gd name="T97" fmla="*/ 85 h 279"/>
                <a:gd name="T98" fmla="*/ 68 w 205"/>
                <a:gd name="T99" fmla="*/ 81 h 279"/>
                <a:gd name="T100" fmla="*/ 71 w 205"/>
                <a:gd name="T101" fmla="*/ 84 h 279"/>
                <a:gd name="T102" fmla="*/ 73 w 205"/>
                <a:gd name="T103" fmla="*/ 74 h 279"/>
                <a:gd name="T104" fmla="*/ 84 w 205"/>
                <a:gd name="T105" fmla="*/ 62 h 279"/>
                <a:gd name="T106" fmla="*/ 88 w 205"/>
                <a:gd name="T107" fmla="*/ 56 h 279"/>
                <a:gd name="T108" fmla="*/ 90 w 205"/>
                <a:gd name="T109" fmla="*/ 47 h 279"/>
                <a:gd name="T110" fmla="*/ 97 w 205"/>
                <a:gd name="T111" fmla="*/ 40 h 279"/>
                <a:gd name="T112" fmla="*/ 103 w 205"/>
                <a:gd name="T113" fmla="*/ 41 h 279"/>
                <a:gd name="T114" fmla="*/ 110 w 205"/>
                <a:gd name="T115" fmla="*/ 33 h 279"/>
                <a:gd name="T116" fmla="*/ 123 w 205"/>
                <a:gd name="T117" fmla="*/ 32 h 279"/>
                <a:gd name="T118" fmla="*/ 139 w 205"/>
                <a:gd name="T119" fmla="*/ 20 h 279"/>
                <a:gd name="T120" fmla="*/ 146 w 205"/>
                <a:gd name="T121" fmla="*/ 15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5" h="279">
                  <a:moveTo>
                    <a:pt x="48" y="169"/>
                  </a:moveTo>
                  <a:lnTo>
                    <a:pt x="49" y="169"/>
                  </a:lnTo>
                  <a:lnTo>
                    <a:pt x="49" y="170"/>
                  </a:lnTo>
                  <a:lnTo>
                    <a:pt x="49" y="172"/>
                  </a:lnTo>
                  <a:lnTo>
                    <a:pt x="48" y="172"/>
                  </a:lnTo>
                  <a:lnTo>
                    <a:pt x="48" y="170"/>
                  </a:lnTo>
                  <a:lnTo>
                    <a:pt x="48" y="169"/>
                  </a:lnTo>
                  <a:close/>
                  <a:moveTo>
                    <a:pt x="54" y="170"/>
                  </a:moveTo>
                  <a:lnTo>
                    <a:pt x="53" y="170"/>
                  </a:lnTo>
                  <a:lnTo>
                    <a:pt x="53" y="169"/>
                  </a:lnTo>
                  <a:lnTo>
                    <a:pt x="52" y="169"/>
                  </a:lnTo>
                  <a:lnTo>
                    <a:pt x="53" y="169"/>
                  </a:lnTo>
                  <a:lnTo>
                    <a:pt x="53" y="170"/>
                  </a:lnTo>
                  <a:lnTo>
                    <a:pt x="54" y="170"/>
                  </a:lnTo>
                  <a:close/>
                  <a:moveTo>
                    <a:pt x="53" y="169"/>
                  </a:moveTo>
                  <a:lnTo>
                    <a:pt x="53" y="168"/>
                  </a:lnTo>
                  <a:lnTo>
                    <a:pt x="53" y="169"/>
                  </a:lnTo>
                  <a:lnTo>
                    <a:pt x="54" y="169"/>
                  </a:lnTo>
                  <a:lnTo>
                    <a:pt x="54" y="170"/>
                  </a:lnTo>
                  <a:lnTo>
                    <a:pt x="53" y="169"/>
                  </a:lnTo>
                  <a:lnTo>
                    <a:pt x="53" y="168"/>
                  </a:lnTo>
                  <a:lnTo>
                    <a:pt x="53" y="169"/>
                  </a:lnTo>
                  <a:close/>
                  <a:moveTo>
                    <a:pt x="48" y="166"/>
                  </a:moveTo>
                  <a:lnTo>
                    <a:pt x="48" y="165"/>
                  </a:lnTo>
                  <a:lnTo>
                    <a:pt x="48" y="166"/>
                  </a:lnTo>
                  <a:close/>
                  <a:moveTo>
                    <a:pt x="2" y="148"/>
                  </a:moveTo>
                  <a:lnTo>
                    <a:pt x="2" y="149"/>
                  </a:lnTo>
                  <a:lnTo>
                    <a:pt x="0" y="149"/>
                  </a:lnTo>
                  <a:lnTo>
                    <a:pt x="2" y="148"/>
                  </a:lnTo>
                  <a:close/>
                  <a:moveTo>
                    <a:pt x="61" y="144"/>
                  </a:moveTo>
                  <a:lnTo>
                    <a:pt x="61" y="145"/>
                  </a:lnTo>
                  <a:lnTo>
                    <a:pt x="62" y="145"/>
                  </a:lnTo>
                  <a:lnTo>
                    <a:pt x="61" y="145"/>
                  </a:lnTo>
                  <a:lnTo>
                    <a:pt x="60" y="145"/>
                  </a:lnTo>
                  <a:lnTo>
                    <a:pt x="59" y="145"/>
                  </a:lnTo>
                  <a:lnTo>
                    <a:pt x="57" y="145"/>
                  </a:lnTo>
                  <a:lnTo>
                    <a:pt x="59" y="145"/>
                  </a:lnTo>
                  <a:lnTo>
                    <a:pt x="59" y="144"/>
                  </a:lnTo>
                  <a:lnTo>
                    <a:pt x="59" y="145"/>
                  </a:lnTo>
                  <a:lnTo>
                    <a:pt x="60" y="145"/>
                  </a:lnTo>
                  <a:lnTo>
                    <a:pt x="60" y="144"/>
                  </a:lnTo>
                  <a:lnTo>
                    <a:pt x="59" y="144"/>
                  </a:lnTo>
                  <a:lnTo>
                    <a:pt x="60" y="144"/>
                  </a:lnTo>
                  <a:lnTo>
                    <a:pt x="59" y="144"/>
                  </a:lnTo>
                  <a:lnTo>
                    <a:pt x="60" y="144"/>
                  </a:lnTo>
                  <a:lnTo>
                    <a:pt x="60" y="142"/>
                  </a:lnTo>
                  <a:lnTo>
                    <a:pt x="60" y="144"/>
                  </a:lnTo>
                  <a:lnTo>
                    <a:pt x="61" y="144"/>
                  </a:lnTo>
                  <a:close/>
                  <a:moveTo>
                    <a:pt x="90" y="48"/>
                  </a:moveTo>
                  <a:lnTo>
                    <a:pt x="89" y="48"/>
                  </a:lnTo>
                  <a:lnTo>
                    <a:pt x="90" y="48"/>
                  </a:lnTo>
                  <a:close/>
                  <a:moveTo>
                    <a:pt x="146" y="14"/>
                  </a:moveTo>
                  <a:lnTo>
                    <a:pt x="147" y="14"/>
                  </a:lnTo>
                  <a:lnTo>
                    <a:pt x="148" y="15"/>
                  </a:lnTo>
                  <a:lnTo>
                    <a:pt x="149" y="15"/>
                  </a:lnTo>
                  <a:lnTo>
                    <a:pt x="150" y="16"/>
                  </a:lnTo>
                  <a:lnTo>
                    <a:pt x="152" y="16"/>
                  </a:lnTo>
                  <a:lnTo>
                    <a:pt x="152" y="18"/>
                  </a:lnTo>
                  <a:lnTo>
                    <a:pt x="153" y="19"/>
                  </a:lnTo>
                  <a:lnTo>
                    <a:pt x="153" y="20"/>
                  </a:lnTo>
                  <a:lnTo>
                    <a:pt x="153" y="21"/>
                  </a:lnTo>
                  <a:lnTo>
                    <a:pt x="152" y="22"/>
                  </a:lnTo>
                  <a:lnTo>
                    <a:pt x="150" y="22"/>
                  </a:lnTo>
                  <a:lnTo>
                    <a:pt x="150" y="23"/>
                  </a:lnTo>
                  <a:lnTo>
                    <a:pt x="149" y="23"/>
                  </a:lnTo>
                  <a:lnTo>
                    <a:pt x="149" y="25"/>
                  </a:lnTo>
                  <a:lnTo>
                    <a:pt x="148" y="25"/>
                  </a:lnTo>
                  <a:lnTo>
                    <a:pt x="147" y="26"/>
                  </a:lnTo>
                  <a:lnTo>
                    <a:pt x="146" y="26"/>
                  </a:lnTo>
                  <a:lnTo>
                    <a:pt x="145" y="26"/>
                  </a:lnTo>
                  <a:lnTo>
                    <a:pt x="143" y="26"/>
                  </a:lnTo>
                  <a:lnTo>
                    <a:pt x="142" y="27"/>
                  </a:lnTo>
                  <a:lnTo>
                    <a:pt x="141" y="27"/>
                  </a:lnTo>
                  <a:lnTo>
                    <a:pt x="140" y="27"/>
                  </a:lnTo>
                  <a:lnTo>
                    <a:pt x="140" y="28"/>
                  </a:lnTo>
                  <a:lnTo>
                    <a:pt x="140" y="29"/>
                  </a:lnTo>
                  <a:lnTo>
                    <a:pt x="139" y="29"/>
                  </a:lnTo>
                  <a:lnTo>
                    <a:pt x="139" y="30"/>
                  </a:lnTo>
                  <a:lnTo>
                    <a:pt x="138" y="32"/>
                  </a:lnTo>
                  <a:lnTo>
                    <a:pt x="138" y="33"/>
                  </a:lnTo>
                  <a:lnTo>
                    <a:pt x="137" y="33"/>
                  </a:lnTo>
                  <a:lnTo>
                    <a:pt x="137" y="34"/>
                  </a:lnTo>
                  <a:lnTo>
                    <a:pt x="137" y="35"/>
                  </a:lnTo>
                  <a:lnTo>
                    <a:pt x="135" y="35"/>
                  </a:lnTo>
                  <a:lnTo>
                    <a:pt x="134" y="35"/>
                  </a:lnTo>
                  <a:lnTo>
                    <a:pt x="133" y="35"/>
                  </a:lnTo>
                  <a:lnTo>
                    <a:pt x="133" y="36"/>
                  </a:lnTo>
                  <a:lnTo>
                    <a:pt x="132" y="36"/>
                  </a:lnTo>
                  <a:lnTo>
                    <a:pt x="132" y="37"/>
                  </a:lnTo>
                  <a:lnTo>
                    <a:pt x="132" y="39"/>
                  </a:lnTo>
                  <a:lnTo>
                    <a:pt x="131" y="39"/>
                  </a:lnTo>
                  <a:lnTo>
                    <a:pt x="131" y="40"/>
                  </a:lnTo>
                  <a:lnTo>
                    <a:pt x="130" y="40"/>
                  </a:lnTo>
                  <a:lnTo>
                    <a:pt x="130" y="41"/>
                  </a:lnTo>
                  <a:lnTo>
                    <a:pt x="128" y="43"/>
                  </a:lnTo>
                  <a:lnTo>
                    <a:pt x="127" y="44"/>
                  </a:lnTo>
                  <a:lnTo>
                    <a:pt x="127" y="46"/>
                  </a:lnTo>
                  <a:lnTo>
                    <a:pt x="126" y="47"/>
                  </a:lnTo>
                  <a:lnTo>
                    <a:pt x="126" y="50"/>
                  </a:lnTo>
                  <a:lnTo>
                    <a:pt x="125" y="54"/>
                  </a:lnTo>
                  <a:lnTo>
                    <a:pt x="125" y="55"/>
                  </a:lnTo>
                  <a:lnTo>
                    <a:pt x="125" y="56"/>
                  </a:lnTo>
                  <a:lnTo>
                    <a:pt x="125" y="57"/>
                  </a:lnTo>
                  <a:lnTo>
                    <a:pt x="124" y="58"/>
                  </a:lnTo>
                  <a:lnTo>
                    <a:pt x="123" y="60"/>
                  </a:lnTo>
                  <a:lnTo>
                    <a:pt x="123" y="61"/>
                  </a:lnTo>
                  <a:lnTo>
                    <a:pt x="121" y="61"/>
                  </a:lnTo>
                  <a:lnTo>
                    <a:pt x="121" y="62"/>
                  </a:lnTo>
                  <a:lnTo>
                    <a:pt x="120" y="63"/>
                  </a:lnTo>
                  <a:lnTo>
                    <a:pt x="120" y="64"/>
                  </a:lnTo>
                  <a:lnTo>
                    <a:pt x="120" y="65"/>
                  </a:lnTo>
                  <a:lnTo>
                    <a:pt x="119" y="65"/>
                  </a:lnTo>
                  <a:lnTo>
                    <a:pt x="119" y="67"/>
                  </a:lnTo>
                  <a:lnTo>
                    <a:pt x="120" y="67"/>
                  </a:lnTo>
                  <a:lnTo>
                    <a:pt x="121" y="67"/>
                  </a:lnTo>
                  <a:lnTo>
                    <a:pt x="123" y="65"/>
                  </a:lnTo>
                  <a:lnTo>
                    <a:pt x="124" y="64"/>
                  </a:lnTo>
                  <a:lnTo>
                    <a:pt x="124" y="65"/>
                  </a:lnTo>
                  <a:lnTo>
                    <a:pt x="125" y="65"/>
                  </a:lnTo>
                  <a:lnTo>
                    <a:pt x="125" y="67"/>
                  </a:lnTo>
                  <a:lnTo>
                    <a:pt x="125" y="68"/>
                  </a:lnTo>
                  <a:lnTo>
                    <a:pt x="126" y="67"/>
                  </a:lnTo>
                  <a:lnTo>
                    <a:pt x="127" y="68"/>
                  </a:lnTo>
                  <a:lnTo>
                    <a:pt x="127" y="69"/>
                  </a:lnTo>
                  <a:lnTo>
                    <a:pt x="127" y="70"/>
                  </a:lnTo>
                  <a:lnTo>
                    <a:pt x="127" y="71"/>
                  </a:lnTo>
                  <a:lnTo>
                    <a:pt x="127" y="72"/>
                  </a:lnTo>
                  <a:lnTo>
                    <a:pt x="128" y="72"/>
                  </a:lnTo>
                  <a:lnTo>
                    <a:pt x="128" y="74"/>
                  </a:lnTo>
                  <a:lnTo>
                    <a:pt x="128" y="75"/>
                  </a:lnTo>
                  <a:lnTo>
                    <a:pt x="128" y="76"/>
                  </a:lnTo>
                  <a:lnTo>
                    <a:pt x="130" y="76"/>
                  </a:lnTo>
                  <a:lnTo>
                    <a:pt x="130" y="77"/>
                  </a:lnTo>
                  <a:lnTo>
                    <a:pt x="131" y="77"/>
                  </a:lnTo>
                  <a:lnTo>
                    <a:pt x="131" y="78"/>
                  </a:lnTo>
                  <a:lnTo>
                    <a:pt x="132" y="79"/>
                  </a:lnTo>
                  <a:lnTo>
                    <a:pt x="132" y="81"/>
                  </a:lnTo>
                  <a:lnTo>
                    <a:pt x="132" y="82"/>
                  </a:lnTo>
                  <a:lnTo>
                    <a:pt x="133" y="83"/>
                  </a:lnTo>
                  <a:lnTo>
                    <a:pt x="133" y="84"/>
                  </a:lnTo>
                  <a:lnTo>
                    <a:pt x="132" y="84"/>
                  </a:lnTo>
                  <a:lnTo>
                    <a:pt x="131" y="85"/>
                  </a:lnTo>
                  <a:lnTo>
                    <a:pt x="131" y="86"/>
                  </a:lnTo>
                  <a:lnTo>
                    <a:pt x="131" y="88"/>
                  </a:lnTo>
                  <a:lnTo>
                    <a:pt x="131" y="89"/>
                  </a:lnTo>
                  <a:lnTo>
                    <a:pt x="131" y="91"/>
                  </a:lnTo>
                  <a:lnTo>
                    <a:pt x="131" y="92"/>
                  </a:lnTo>
                  <a:lnTo>
                    <a:pt x="130" y="92"/>
                  </a:lnTo>
                  <a:lnTo>
                    <a:pt x="131" y="93"/>
                  </a:lnTo>
                  <a:lnTo>
                    <a:pt x="131" y="95"/>
                  </a:lnTo>
                  <a:lnTo>
                    <a:pt x="132" y="95"/>
                  </a:lnTo>
                  <a:lnTo>
                    <a:pt x="133" y="95"/>
                  </a:lnTo>
                  <a:lnTo>
                    <a:pt x="134" y="95"/>
                  </a:lnTo>
                  <a:lnTo>
                    <a:pt x="134" y="96"/>
                  </a:lnTo>
                  <a:lnTo>
                    <a:pt x="134" y="97"/>
                  </a:lnTo>
                  <a:lnTo>
                    <a:pt x="134" y="98"/>
                  </a:lnTo>
                  <a:lnTo>
                    <a:pt x="135" y="99"/>
                  </a:lnTo>
                  <a:lnTo>
                    <a:pt x="135" y="100"/>
                  </a:lnTo>
                  <a:lnTo>
                    <a:pt x="137" y="100"/>
                  </a:lnTo>
                  <a:lnTo>
                    <a:pt x="138" y="102"/>
                  </a:lnTo>
                  <a:lnTo>
                    <a:pt x="139" y="102"/>
                  </a:lnTo>
                  <a:lnTo>
                    <a:pt x="139" y="100"/>
                  </a:lnTo>
                  <a:lnTo>
                    <a:pt x="140" y="100"/>
                  </a:lnTo>
                  <a:lnTo>
                    <a:pt x="141" y="100"/>
                  </a:lnTo>
                  <a:lnTo>
                    <a:pt x="142" y="100"/>
                  </a:lnTo>
                  <a:lnTo>
                    <a:pt x="143" y="100"/>
                  </a:lnTo>
                  <a:lnTo>
                    <a:pt x="145" y="100"/>
                  </a:lnTo>
                  <a:lnTo>
                    <a:pt x="146" y="100"/>
                  </a:lnTo>
                  <a:lnTo>
                    <a:pt x="147" y="100"/>
                  </a:lnTo>
                  <a:lnTo>
                    <a:pt x="147" y="102"/>
                  </a:lnTo>
                  <a:lnTo>
                    <a:pt x="148" y="102"/>
                  </a:lnTo>
                  <a:lnTo>
                    <a:pt x="148" y="100"/>
                  </a:lnTo>
                  <a:lnTo>
                    <a:pt x="149" y="102"/>
                  </a:lnTo>
                  <a:lnTo>
                    <a:pt x="150" y="102"/>
                  </a:lnTo>
                  <a:lnTo>
                    <a:pt x="150" y="100"/>
                  </a:lnTo>
                  <a:lnTo>
                    <a:pt x="152" y="100"/>
                  </a:lnTo>
                  <a:lnTo>
                    <a:pt x="152" y="99"/>
                  </a:lnTo>
                  <a:lnTo>
                    <a:pt x="153" y="99"/>
                  </a:lnTo>
                  <a:lnTo>
                    <a:pt x="154" y="99"/>
                  </a:lnTo>
                  <a:lnTo>
                    <a:pt x="155" y="99"/>
                  </a:lnTo>
                  <a:lnTo>
                    <a:pt x="156" y="99"/>
                  </a:lnTo>
                  <a:lnTo>
                    <a:pt x="157" y="100"/>
                  </a:lnTo>
                  <a:lnTo>
                    <a:pt x="159" y="100"/>
                  </a:lnTo>
                  <a:lnTo>
                    <a:pt x="159" y="102"/>
                  </a:lnTo>
                  <a:lnTo>
                    <a:pt x="160" y="102"/>
                  </a:lnTo>
                  <a:lnTo>
                    <a:pt x="161" y="102"/>
                  </a:lnTo>
                  <a:lnTo>
                    <a:pt x="162" y="102"/>
                  </a:lnTo>
                  <a:lnTo>
                    <a:pt x="163" y="102"/>
                  </a:lnTo>
                  <a:lnTo>
                    <a:pt x="164" y="104"/>
                  </a:lnTo>
                  <a:lnTo>
                    <a:pt x="166" y="105"/>
                  </a:lnTo>
                  <a:lnTo>
                    <a:pt x="166" y="106"/>
                  </a:lnTo>
                  <a:lnTo>
                    <a:pt x="167" y="109"/>
                  </a:lnTo>
                  <a:lnTo>
                    <a:pt x="168" y="110"/>
                  </a:lnTo>
                  <a:lnTo>
                    <a:pt x="169" y="111"/>
                  </a:lnTo>
                  <a:lnTo>
                    <a:pt x="170" y="112"/>
                  </a:lnTo>
                  <a:lnTo>
                    <a:pt x="171" y="114"/>
                  </a:lnTo>
                  <a:lnTo>
                    <a:pt x="173" y="114"/>
                  </a:lnTo>
                  <a:lnTo>
                    <a:pt x="174" y="114"/>
                  </a:lnTo>
                  <a:lnTo>
                    <a:pt x="174" y="116"/>
                  </a:lnTo>
                  <a:lnTo>
                    <a:pt x="175" y="114"/>
                  </a:lnTo>
                  <a:lnTo>
                    <a:pt x="176" y="114"/>
                  </a:lnTo>
                  <a:lnTo>
                    <a:pt x="176" y="113"/>
                  </a:lnTo>
                  <a:lnTo>
                    <a:pt x="177" y="113"/>
                  </a:lnTo>
                  <a:lnTo>
                    <a:pt x="178" y="113"/>
                  </a:lnTo>
                  <a:lnTo>
                    <a:pt x="180" y="113"/>
                  </a:lnTo>
                  <a:lnTo>
                    <a:pt x="181" y="113"/>
                  </a:lnTo>
                  <a:lnTo>
                    <a:pt x="182" y="114"/>
                  </a:lnTo>
                  <a:lnTo>
                    <a:pt x="183" y="114"/>
                  </a:lnTo>
                  <a:lnTo>
                    <a:pt x="184" y="114"/>
                  </a:lnTo>
                  <a:lnTo>
                    <a:pt x="185" y="113"/>
                  </a:lnTo>
                  <a:lnTo>
                    <a:pt x="187" y="113"/>
                  </a:lnTo>
                  <a:lnTo>
                    <a:pt x="187" y="114"/>
                  </a:lnTo>
                  <a:lnTo>
                    <a:pt x="188" y="114"/>
                  </a:lnTo>
                  <a:lnTo>
                    <a:pt x="189" y="113"/>
                  </a:lnTo>
                  <a:lnTo>
                    <a:pt x="190" y="113"/>
                  </a:lnTo>
                  <a:lnTo>
                    <a:pt x="191" y="113"/>
                  </a:lnTo>
                  <a:lnTo>
                    <a:pt x="192" y="113"/>
                  </a:lnTo>
                  <a:lnTo>
                    <a:pt x="194" y="113"/>
                  </a:lnTo>
                  <a:lnTo>
                    <a:pt x="194" y="112"/>
                  </a:lnTo>
                  <a:lnTo>
                    <a:pt x="195" y="112"/>
                  </a:lnTo>
                  <a:lnTo>
                    <a:pt x="196" y="112"/>
                  </a:lnTo>
                  <a:lnTo>
                    <a:pt x="198" y="112"/>
                  </a:lnTo>
                  <a:lnTo>
                    <a:pt x="198" y="113"/>
                  </a:lnTo>
                  <a:lnTo>
                    <a:pt x="199" y="113"/>
                  </a:lnTo>
                  <a:lnTo>
                    <a:pt x="199" y="114"/>
                  </a:lnTo>
                  <a:lnTo>
                    <a:pt x="198" y="114"/>
                  </a:lnTo>
                  <a:lnTo>
                    <a:pt x="199" y="116"/>
                  </a:lnTo>
                  <a:lnTo>
                    <a:pt x="199" y="117"/>
                  </a:lnTo>
                  <a:lnTo>
                    <a:pt x="199" y="118"/>
                  </a:lnTo>
                  <a:lnTo>
                    <a:pt x="198" y="118"/>
                  </a:lnTo>
                  <a:lnTo>
                    <a:pt x="198" y="119"/>
                  </a:lnTo>
                  <a:lnTo>
                    <a:pt x="197" y="119"/>
                  </a:lnTo>
                  <a:lnTo>
                    <a:pt x="197" y="120"/>
                  </a:lnTo>
                  <a:lnTo>
                    <a:pt x="196" y="121"/>
                  </a:lnTo>
                  <a:lnTo>
                    <a:pt x="196" y="123"/>
                  </a:lnTo>
                  <a:lnTo>
                    <a:pt x="197" y="123"/>
                  </a:lnTo>
                  <a:lnTo>
                    <a:pt x="197" y="124"/>
                  </a:lnTo>
                  <a:lnTo>
                    <a:pt x="196" y="124"/>
                  </a:lnTo>
                  <a:lnTo>
                    <a:pt x="196" y="125"/>
                  </a:lnTo>
                  <a:lnTo>
                    <a:pt x="196" y="126"/>
                  </a:lnTo>
                  <a:lnTo>
                    <a:pt x="195" y="126"/>
                  </a:lnTo>
                  <a:lnTo>
                    <a:pt x="194" y="126"/>
                  </a:lnTo>
                  <a:lnTo>
                    <a:pt x="194" y="127"/>
                  </a:lnTo>
                  <a:lnTo>
                    <a:pt x="194" y="128"/>
                  </a:lnTo>
                  <a:lnTo>
                    <a:pt x="194" y="130"/>
                  </a:lnTo>
                  <a:lnTo>
                    <a:pt x="194" y="131"/>
                  </a:lnTo>
                  <a:lnTo>
                    <a:pt x="194" y="132"/>
                  </a:lnTo>
                  <a:lnTo>
                    <a:pt x="194" y="133"/>
                  </a:lnTo>
                  <a:lnTo>
                    <a:pt x="194" y="134"/>
                  </a:lnTo>
                  <a:lnTo>
                    <a:pt x="194" y="135"/>
                  </a:lnTo>
                  <a:lnTo>
                    <a:pt x="194" y="137"/>
                  </a:lnTo>
                  <a:lnTo>
                    <a:pt x="194" y="138"/>
                  </a:lnTo>
                  <a:lnTo>
                    <a:pt x="194" y="139"/>
                  </a:lnTo>
                  <a:lnTo>
                    <a:pt x="192" y="139"/>
                  </a:lnTo>
                  <a:lnTo>
                    <a:pt x="192" y="140"/>
                  </a:lnTo>
                  <a:lnTo>
                    <a:pt x="194" y="140"/>
                  </a:lnTo>
                  <a:lnTo>
                    <a:pt x="194" y="141"/>
                  </a:lnTo>
                  <a:lnTo>
                    <a:pt x="194" y="142"/>
                  </a:lnTo>
                  <a:lnTo>
                    <a:pt x="194" y="144"/>
                  </a:lnTo>
                  <a:lnTo>
                    <a:pt x="194" y="145"/>
                  </a:lnTo>
                  <a:lnTo>
                    <a:pt x="194" y="146"/>
                  </a:lnTo>
                  <a:lnTo>
                    <a:pt x="195" y="146"/>
                  </a:lnTo>
                  <a:lnTo>
                    <a:pt x="195" y="147"/>
                  </a:lnTo>
                  <a:lnTo>
                    <a:pt x="195" y="148"/>
                  </a:lnTo>
                  <a:lnTo>
                    <a:pt x="195" y="149"/>
                  </a:lnTo>
                  <a:lnTo>
                    <a:pt x="196" y="151"/>
                  </a:lnTo>
                  <a:lnTo>
                    <a:pt x="196" y="152"/>
                  </a:lnTo>
                  <a:lnTo>
                    <a:pt x="196" y="153"/>
                  </a:lnTo>
                  <a:lnTo>
                    <a:pt x="197" y="153"/>
                  </a:lnTo>
                  <a:lnTo>
                    <a:pt x="198" y="153"/>
                  </a:lnTo>
                  <a:lnTo>
                    <a:pt x="198" y="156"/>
                  </a:lnTo>
                  <a:lnTo>
                    <a:pt x="199" y="156"/>
                  </a:lnTo>
                  <a:lnTo>
                    <a:pt x="201" y="158"/>
                  </a:lnTo>
                  <a:lnTo>
                    <a:pt x="199" y="159"/>
                  </a:lnTo>
                  <a:lnTo>
                    <a:pt x="199" y="160"/>
                  </a:lnTo>
                  <a:lnTo>
                    <a:pt x="198" y="160"/>
                  </a:lnTo>
                  <a:lnTo>
                    <a:pt x="198" y="161"/>
                  </a:lnTo>
                  <a:lnTo>
                    <a:pt x="197" y="161"/>
                  </a:lnTo>
                  <a:lnTo>
                    <a:pt x="197" y="162"/>
                  </a:lnTo>
                  <a:lnTo>
                    <a:pt x="196" y="162"/>
                  </a:lnTo>
                  <a:lnTo>
                    <a:pt x="196" y="163"/>
                  </a:lnTo>
                  <a:lnTo>
                    <a:pt x="195" y="163"/>
                  </a:lnTo>
                  <a:lnTo>
                    <a:pt x="194" y="165"/>
                  </a:lnTo>
                  <a:lnTo>
                    <a:pt x="192" y="166"/>
                  </a:lnTo>
                  <a:lnTo>
                    <a:pt x="192" y="167"/>
                  </a:lnTo>
                  <a:lnTo>
                    <a:pt x="192" y="168"/>
                  </a:lnTo>
                  <a:lnTo>
                    <a:pt x="192" y="167"/>
                  </a:lnTo>
                  <a:lnTo>
                    <a:pt x="194" y="167"/>
                  </a:lnTo>
                  <a:lnTo>
                    <a:pt x="195" y="167"/>
                  </a:lnTo>
                  <a:lnTo>
                    <a:pt x="196" y="167"/>
                  </a:lnTo>
                  <a:lnTo>
                    <a:pt x="196" y="168"/>
                  </a:lnTo>
                  <a:lnTo>
                    <a:pt x="196" y="169"/>
                  </a:lnTo>
                  <a:lnTo>
                    <a:pt x="197" y="169"/>
                  </a:lnTo>
                  <a:lnTo>
                    <a:pt x="197" y="170"/>
                  </a:lnTo>
                  <a:lnTo>
                    <a:pt x="198" y="170"/>
                  </a:lnTo>
                  <a:lnTo>
                    <a:pt x="198" y="172"/>
                  </a:lnTo>
                  <a:lnTo>
                    <a:pt x="199" y="172"/>
                  </a:lnTo>
                  <a:lnTo>
                    <a:pt x="199" y="173"/>
                  </a:lnTo>
                  <a:lnTo>
                    <a:pt x="201" y="173"/>
                  </a:lnTo>
                  <a:lnTo>
                    <a:pt x="202" y="174"/>
                  </a:lnTo>
                  <a:lnTo>
                    <a:pt x="202" y="175"/>
                  </a:lnTo>
                  <a:lnTo>
                    <a:pt x="201" y="175"/>
                  </a:lnTo>
                  <a:lnTo>
                    <a:pt x="201" y="176"/>
                  </a:lnTo>
                  <a:lnTo>
                    <a:pt x="202" y="176"/>
                  </a:lnTo>
                  <a:lnTo>
                    <a:pt x="202" y="177"/>
                  </a:lnTo>
                  <a:lnTo>
                    <a:pt x="203" y="179"/>
                  </a:lnTo>
                  <a:lnTo>
                    <a:pt x="203" y="180"/>
                  </a:lnTo>
                  <a:lnTo>
                    <a:pt x="202" y="180"/>
                  </a:lnTo>
                  <a:lnTo>
                    <a:pt x="203" y="181"/>
                  </a:lnTo>
                  <a:lnTo>
                    <a:pt x="203" y="182"/>
                  </a:lnTo>
                  <a:lnTo>
                    <a:pt x="204" y="186"/>
                  </a:lnTo>
                  <a:lnTo>
                    <a:pt x="204" y="187"/>
                  </a:lnTo>
                  <a:lnTo>
                    <a:pt x="205" y="188"/>
                  </a:lnTo>
                  <a:lnTo>
                    <a:pt x="205" y="189"/>
                  </a:lnTo>
                  <a:lnTo>
                    <a:pt x="205" y="190"/>
                  </a:lnTo>
                  <a:lnTo>
                    <a:pt x="205" y="191"/>
                  </a:lnTo>
                  <a:lnTo>
                    <a:pt x="205" y="193"/>
                  </a:lnTo>
                  <a:lnTo>
                    <a:pt x="204" y="193"/>
                  </a:lnTo>
                  <a:lnTo>
                    <a:pt x="203" y="193"/>
                  </a:lnTo>
                  <a:lnTo>
                    <a:pt x="203" y="191"/>
                  </a:lnTo>
                  <a:lnTo>
                    <a:pt x="203" y="187"/>
                  </a:lnTo>
                  <a:lnTo>
                    <a:pt x="203" y="184"/>
                  </a:lnTo>
                  <a:lnTo>
                    <a:pt x="202" y="183"/>
                  </a:lnTo>
                  <a:lnTo>
                    <a:pt x="201" y="181"/>
                  </a:lnTo>
                  <a:lnTo>
                    <a:pt x="199" y="180"/>
                  </a:lnTo>
                  <a:lnTo>
                    <a:pt x="199" y="179"/>
                  </a:lnTo>
                  <a:lnTo>
                    <a:pt x="198" y="179"/>
                  </a:lnTo>
                  <a:lnTo>
                    <a:pt x="198" y="177"/>
                  </a:lnTo>
                  <a:lnTo>
                    <a:pt x="197" y="179"/>
                  </a:lnTo>
                  <a:lnTo>
                    <a:pt x="196" y="179"/>
                  </a:lnTo>
                  <a:lnTo>
                    <a:pt x="195" y="181"/>
                  </a:lnTo>
                  <a:lnTo>
                    <a:pt x="192" y="183"/>
                  </a:lnTo>
                  <a:lnTo>
                    <a:pt x="191" y="184"/>
                  </a:lnTo>
                  <a:lnTo>
                    <a:pt x="190" y="184"/>
                  </a:lnTo>
                  <a:lnTo>
                    <a:pt x="190" y="183"/>
                  </a:lnTo>
                  <a:lnTo>
                    <a:pt x="189" y="183"/>
                  </a:lnTo>
                  <a:lnTo>
                    <a:pt x="189" y="182"/>
                  </a:lnTo>
                  <a:lnTo>
                    <a:pt x="189" y="181"/>
                  </a:lnTo>
                  <a:lnTo>
                    <a:pt x="188" y="181"/>
                  </a:lnTo>
                  <a:lnTo>
                    <a:pt x="188" y="180"/>
                  </a:lnTo>
                  <a:lnTo>
                    <a:pt x="187" y="182"/>
                  </a:lnTo>
                  <a:lnTo>
                    <a:pt x="187" y="183"/>
                  </a:lnTo>
                  <a:lnTo>
                    <a:pt x="188" y="183"/>
                  </a:lnTo>
                  <a:lnTo>
                    <a:pt x="188" y="184"/>
                  </a:lnTo>
                  <a:lnTo>
                    <a:pt x="187" y="184"/>
                  </a:lnTo>
                  <a:lnTo>
                    <a:pt x="184" y="184"/>
                  </a:lnTo>
                  <a:lnTo>
                    <a:pt x="182" y="184"/>
                  </a:lnTo>
                  <a:lnTo>
                    <a:pt x="178" y="184"/>
                  </a:lnTo>
                  <a:lnTo>
                    <a:pt x="176" y="184"/>
                  </a:lnTo>
                  <a:lnTo>
                    <a:pt x="174" y="184"/>
                  </a:lnTo>
                  <a:lnTo>
                    <a:pt x="171" y="184"/>
                  </a:lnTo>
                  <a:lnTo>
                    <a:pt x="170" y="184"/>
                  </a:lnTo>
                  <a:lnTo>
                    <a:pt x="169" y="184"/>
                  </a:lnTo>
                  <a:lnTo>
                    <a:pt x="168" y="183"/>
                  </a:lnTo>
                  <a:lnTo>
                    <a:pt x="167" y="184"/>
                  </a:lnTo>
                  <a:lnTo>
                    <a:pt x="166" y="184"/>
                  </a:lnTo>
                  <a:lnTo>
                    <a:pt x="164" y="184"/>
                  </a:lnTo>
                  <a:lnTo>
                    <a:pt x="164" y="186"/>
                  </a:lnTo>
                  <a:lnTo>
                    <a:pt x="164" y="187"/>
                  </a:lnTo>
                  <a:lnTo>
                    <a:pt x="164" y="188"/>
                  </a:lnTo>
                  <a:lnTo>
                    <a:pt x="164" y="189"/>
                  </a:lnTo>
                  <a:lnTo>
                    <a:pt x="164" y="190"/>
                  </a:lnTo>
                  <a:lnTo>
                    <a:pt x="164" y="191"/>
                  </a:lnTo>
                  <a:lnTo>
                    <a:pt x="164" y="193"/>
                  </a:lnTo>
                  <a:lnTo>
                    <a:pt x="164" y="194"/>
                  </a:lnTo>
                  <a:lnTo>
                    <a:pt x="164" y="195"/>
                  </a:lnTo>
                  <a:lnTo>
                    <a:pt x="166" y="195"/>
                  </a:lnTo>
                  <a:lnTo>
                    <a:pt x="167" y="195"/>
                  </a:lnTo>
                  <a:lnTo>
                    <a:pt x="168" y="195"/>
                  </a:lnTo>
                  <a:lnTo>
                    <a:pt x="169" y="195"/>
                  </a:lnTo>
                  <a:lnTo>
                    <a:pt x="170" y="195"/>
                  </a:lnTo>
                  <a:lnTo>
                    <a:pt x="171" y="195"/>
                  </a:lnTo>
                  <a:lnTo>
                    <a:pt x="173" y="195"/>
                  </a:lnTo>
                  <a:lnTo>
                    <a:pt x="173" y="196"/>
                  </a:lnTo>
                  <a:lnTo>
                    <a:pt x="173" y="197"/>
                  </a:lnTo>
                  <a:lnTo>
                    <a:pt x="174" y="197"/>
                  </a:lnTo>
                  <a:lnTo>
                    <a:pt x="174" y="198"/>
                  </a:lnTo>
                  <a:lnTo>
                    <a:pt x="174" y="200"/>
                  </a:lnTo>
                  <a:lnTo>
                    <a:pt x="174" y="201"/>
                  </a:lnTo>
                  <a:lnTo>
                    <a:pt x="174" y="202"/>
                  </a:lnTo>
                  <a:lnTo>
                    <a:pt x="173" y="202"/>
                  </a:lnTo>
                  <a:lnTo>
                    <a:pt x="171" y="202"/>
                  </a:lnTo>
                  <a:lnTo>
                    <a:pt x="171" y="201"/>
                  </a:lnTo>
                  <a:lnTo>
                    <a:pt x="171" y="202"/>
                  </a:lnTo>
                  <a:lnTo>
                    <a:pt x="170" y="202"/>
                  </a:lnTo>
                  <a:lnTo>
                    <a:pt x="170" y="201"/>
                  </a:lnTo>
                  <a:lnTo>
                    <a:pt x="169" y="200"/>
                  </a:lnTo>
                  <a:lnTo>
                    <a:pt x="169" y="201"/>
                  </a:lnTo>
                  <a:lnTo>
                    <a:pt x="168" y="201"/>
                  </a:lnTo>
                  <a:lnTo>
                    <a:pt x="167" y="202"/>
                  </a:lnTo>
                  <a:lnTo>
                    <a:pt x="167" y="201"/>
                  </a:lnTo>
                  <a:lnTo>
                    <a:pt x="166" y="202"/>
                  </a:lnTo>
                  <a:lnTo>
                    <a:pt x="164" y="202"/>
                  </a:lnTo>
                  <a:lnTo>
                    <a:pt x="163" y="202"/>
                  </a:lnTo>
                  <a:lnTo>
                    <a:pt x="162" y="202"/>
                  </a:lnTo>
                  <a:lnTo>
                    <a:pt x="161" y="203"/>
                  </a:lnTo>
                  <a:lnTo>
                    <a:pt x="161" y="202"/>
                  </a:lnTo>
                  <a:lnTo>
                    <a:pt x="161" y="203"/>
                  </a:lnTo>
                  <a:lnTo>
                    <a:pt x="161" y="204"/>
                  </a:lnTo>
                  <a:lnTo>
                    <a:pt x="161" y="205"/>
                  </a:lnTo>
                  <a:lnTo>
                    <a:pt x="161" y="207"/>
                  </a:lnTo>
                  <a:lnTo>
                    <a:pt x="161" y="208"/>
                  </a:lnTo>
                  <a:lnTo>
                    <a:pt x="161" y="210"/>
                  </a:lnTo>
                  <a:lnTo>
                    <a:pt x="161" y="211"/>
                  </a:lnTo>
                  <a:lnTo>
                    <a:pt x="161" y="212"/>
                  </a:lnTo>
                  <a:lnTo>
                    <a:pt x="161" y="214"/>
                  </a:lnTo>
                  <a:lnTo>
                    <a:pt x="161" y="215"/>
                  </a:lnTo>
                  <a:lnTo>
                    <a:pt x="162" y="215"/>
                  </a:lnTo>
                  <a:lnTo>
                    <a:pt x="162" y="216"/>
                  </a:lnTo>
                  <a:lnTo>
                    <a:pt x="162" y="217"/>
                  </a:lnTo>
                  <a:lnTo>
                    <a:pt x="163" y="217"/>
                  </a:lnTo>
                  <a:lnTo>
                    <a:pt x="164" y="217"/>
                  </a:lnTo>
                  <a:lnTo>
                    <a:pt x="164" y="218"/>
                  </a:lnTo>
                  <a:lnTo>
                    <a:pt x="166" y="218"/>
                  </a:lnTo>
                  <a:lnTo>
                    <a:pt x="166" y="219"/>
                  </a:lnTo>
                  <a:lnTo>
                    <a:pt x="167" y="219"/>
                  </a:lnTo>
                  <a:lnTo>
                    <a:pt x="167" y="221"/>
                  </a:lnTo>
                  <a:lnTo>
                    <a:pt x="168" y="221"/>
                  </a:lnTo>
                  <a:lnTo>
                    <a:pt x="168" y="222"/>
                  </a:lnTo>
                  <a:lnTo>
                    <a:pt x="167" y="223"/>
                  </a:lnTo>
                  <a:lnTo>
                    <a:pt x="167" y="224"/>
                  </a:lnTo>
                  <a:lnTo>
                    <a:pt x="168" y="224"/>
                  </a:lnTo>
                  <a:lnTo>
                    <a:pt x="168" y="225"/>
                  </a:lnTo>
                  <a:lnTo>
                    <a:pt x="168" y="226"/>
                  </a:lnTo>
                  <a:lnTo>
                    <a:pt x="169" y="226"/>
                  </a:lnTo>
                  <a:lnTo>
                    <a:pt x="169" y="228"/>
                  </a:lnTo>
                  <a:lnTo>
                    <a:pt x="170" y="228"/>
                  </a:lnTo>
                  <a:lnTo>
                    <a:pt x="170" y="229"/>
                  </a:lnTo>
                  <a:lnTo>
                    <a:pt x="169" y="229"/>
                  </a:lnTo>
                  <a:lnTo>
                    <a:pt x="170" y="230"/>
                  </a:lnTo>
                  <a:lnTo>
                    <a:pt x="170" y="231"/>
                  </a:lnTo>
                  <a:lnTo>
                    <a:pt x="170" y="232"/>
                  </a:lnTo>
                  <a:lnTo>
                    <a:pt x="170" y="233"/>
                  </a:lnTo>
                  <a:lnTo>
                    <a:pt x="170" y="235"/>
                  </a:lnTo>
                  <a:lnTo>
                    <a:pt x="169" y="236"/>
                  </a:lnTo>
                  <a:lnTo>
                    <a:pt x="170" y="236"/>
                  </a:lnTo>
                  <a:lnTo>
                    <a:pt x="169" y="237"/>
                  </a:lnTo>
                  <a:lnTo>
                    <a:pt x="169" y="240"/>
                  </a:lnTo>
                  <a:lnTo>
                    <a:pt x="169" y="243"/>
                  </a:lnTo>
                  <a:lnTo>
                    <a:pt x="168" y="245"/>
                  </a:lnTo>
                  <a:lnTo>
                    <a:pt x="168" y="247"/>
                  </a:lnTo>
                  <a:lnTo>
                    <a:pt x="168" y="250"/>
                  </a:lnTo>
                  <a:lnTo>
                    <a:pt x="167" y="252"/>
                  </a:lnTo>
                  <a:lnTo>
                    <a:pt x="167" y="256"/>
                  </a:lnTo>
                  <a:lnTo>
                    <a:pt x="167" y="258"/>
                  </a:lnTo>
                  <a:lnTo>
                    <a:pt x="166" y="260"/>
                  </a:lnTo>
                  <a:lnTo>
                    <a:pt x="166" y="263"/>
                  </a:lnTo>
                  <a:lnTo>
                    <a:pt x="166" y="265"/>
                  </a:lnTo>
                  <a:lnTo>
                    <a:pt x="164" y="268"/>
                  </a:lnTo>
                  <a:lnTo>
                    <a:pt x="164" y="271"/>
                  </a:lnTo>
                  <a:lnTo>
                    <a:pt x="164" y="273"/>
                  </a:lnTo>
                  <a:lnTo>
                    <a:pt x="164" y="275"/>
                  </a:lnTo>
                  <a:lnTo>
                    <a:pt x="163" y="278"/>
                  </a:lnTo>
                  <a:lnTo>
                    <a:pt x="163" y="279"/>
                  </a:lnTo>
                  <a:lnTo>
                    <a:pt x="163" y="278"/>
                  </a:lnTo>
                  <a:lnTo>
                    <a:pt x="162" y="277"/>
                  </a:lnTo>
                  <a:lnTo>
                    <a:pt x="161" y="275"/>
                  </a:lnTo>
                  <a:lnTo>
                    <a:pt x="160" y="275"/>
                  </a:lnTo>
                  <a:lnTo>
                    <a:pt x="160" y="274"/>
                  </a:lnTo>
                  <a:lnTo>
                    <a:pt x="160" y="273"/>
                  </a:lnTo>
                  <a:lnTo>
                    <a:pt x="159" y="273"/>
                  </a:lnTo>
                  <a:lnTo>
                    <a:pt x="159" y="272"/>
                  </a:lnTo>
                  <a:lnTo>
                    <a:pt x="157" y="272"/>
                  </a:lnTo>
                  <a:lnTo>
                    <a:pt x="156" y="273"/>
                  </a:lnTo>
                  <a:lnTo>
                    <a:pt x="155" y="273"/>
                  </a:lnTo>
                  <a:lnTo>
                    <a:pt x="153" y="272"/>
                  </a:lnTo>
                  <a:lnTo>
                    <a:pt x="153" y="271"/>
                  </a:lnTo>
                  <a:lnTo>
                    <a:pt x="154" y="268"/>
                  </a:lnTo>
                  <a:lnTo>
                    <a:pt x="155" y="267"/>
                  </a:lnTo>
                  <a:lnTo>
                    <a:pt x="156" y="265"/>
                  </a:lnTo>
                  <a:lnTo>
                    <a:pt x="157" y="263"/>
                  </a:lnTo>
                  <a:lnTo>
                    <a:pt x="159" y="261"/>
                  </a:lnTo>
                  <a:lnTo>
                    <a:pt x="159" y="259"/>
                  </a:lnTo>
                  <a:lnTo>
                    <a:pt x="160" y="257"/>
                  </a:lnTo>
                  <a:lnTo>
                    <a:pt x="161" y="256"/>
                  </a:lnTo>
                  <a:lnTo>
                    <a:pt x="162" y="254"/>
                  </a:lnTo>
                  <a:lnTo>
                    <a:pt x="161" y="254"/>
                  </a:lnTo>
                  <a:lnTo>
                    <a:pt x="161" y="253"/>
                  </a:lnTo>
                  <a:lnTo>
                    <a:pt x="160" y="254"/>
                  </a:lnTo>
                  <a:lnTo>
                    <a:pt x="160" y="253"/>
                  </a:lnTo>
                  <a:lnTo>
                    <a:pt x="159" y="253"/>
                  </a:lnTo>
                  <a:lnTo>
                    <a:pt x="159" y="252"/>
                  </a:lnTo>
                  <a:lnTo>
                    <a:pt x="157" y="252"/>
                  </a:lnTo>
                  <a:lnTo>
                    <a:pt x="157" y="251"/>
                  </a:lnTo>
                  <a:lnTo>
                    <a:pt x="156" y="251"/>
                  </a:lnTo>
                  <a:lnTo>
                    <a:pt x="155" y="251"/>
                  </a:lnTo>
                  <a:lnTo>
                    <a:pt x="155" y="250"/>
                  </a:lnTo>
                  <a:lnTo>
                    <a:pt x="154" y="250"/>
                  </a:lnTo>
                  <a:lnTo>
                    <a:pt x="154" y="251"/>
                  </a:lnTo>
                  <a:lnTo>
                    <a:pt x="153" y="251"/>
                  </a:lnTo>
                  <a:lnTo>
                    <a:pt x="153" y="250"/>
                  </a:lnTo>
                  <a:lnTo>
                    <a:pt x="153" y="249"/>
                  </a:lnTo>
                  <a:lnTo>
                    <a:pt x="152" y="249"/>
                  </a:lnTo>
                  <a:lnTo>
                    <a:pt x="150" y="247"/>
                  </a:lnTo>
                  <a:lnTo>
                    <a:pt x="149" y="246"/>
                  </a:lnTo>
                  <a:lnTo>
                    <a:pt x="148" y="246"/>
                  </a:lnTo>
                  <a:lnTo>
                    <a:pt x="148" y="247"/>
                  </a:lnTo>
                  <a:lnTo>
                    <a:pt x="147" y="247"/>
                  </a:lnTo>
                  <a:lnTo>
                    <a:pt x="146" y="247"/>
                  </a:lnTo>
                  <a:lnTo>
                    <a:pt x="146" y="249"/>
                  </a:lnTo>
                  <a:lnTo>
                    <a:pt x="145" y="249"/>
                  </a:lnTo>
                  <a:lnTo>
                    <a:pt x="143" y="249"/>
                  </a:lnTo>
                  <a:lnTo>
                    <a:pt x="142" y="249"/>
                  </a:lnTo>
                  <a:lnTo>
                    <a:pt x="142" y="250"/>
                  </a:lnTo>
                  <a:lnTo>
                    <a:pt x="142" y="249"/>
                  </a:lnTo>
                  <a:lnTo>
                    <a:pt x="142" y="247"/>
                  </a:lnTo>
                  <a:lnTo>
                    <a:pt x="141" y="247"/>
                  </a:lnTo>
                  <a:lnTo>
                    <a:pt x="141" y="249"/>
                  </a:lnTo>
                  <a:lnTo>
                    <a:pt x="141" y="247"/>
                  </a:lnTo>
                  <a:lnTo>
                    <a:pt x="140" y="246"/>
                  </a:lnTo>
                  <a:lnTo>
                    <a:pt x="139" y="246"/>
                  </a:lnTo>
                  <a:lnTo>
                    <a:pt x="138" y="246"/>
                  </a:lnTo>
                  <a:lnTo>
                    <a:pt x="138" y="245"/>
                  </a:lnTo>
                  <a:lnTo>
                    <a:pt x="137" y="246"/>
                  </a:lnTo>
                  <a:lnTo>
                    <a:pt x="137" y="247"/>
                  </a:lnTo>
                  <a:lnTo>
                    <a:pt x="135" y="247"/>
                  </a:lnTo>
                  <a:lnTo>
                    <a:pt x="135" y="249"/>
                  </a:lnTo>
                  <a:lnTo>
                    <a:pt x="134" y="249"/>
                  </a:lnTo>
                  <a:lnTo>
                    <a:pt x="133" y="249"/>
                  </a:lnTo>
                  <a:lnTo>
                    <a:pt x="132" y="250"/>
                  </a:lnTo>
                  <a:lnTo>
                    <a:pt x="131" y="250"/>
                  </a:lnTo>
                  <a:lnTo>
                    <a:pt x="130" y="250"/>
                  </a:lnTo>
                  <a:lnTo>
                    <a:pt x="130" y="251"/>
                  </a:lnTo>
                  <a:lnTo>
                    <a:pt x="128" y="251"/>
                  </a:lnTo>
                  <a:lnTo>
                    <a:pt x="128" y="250"/>
                  </a:lnTo>
                  <a:lnTo>
                    <a:pt x="127" y="250"/>
                  </a:lnTo>
                  <a:lnTo>
                    <a:pt x="126" y="250"/>
                  </a:lnTo>
                  <a:lnTo>
                    <a:pt x="126" y="249"/>
                  </a:lnTo>
                  <a:lnTo>
                    <a:pt x="125" y="249"/>
                  </a:lnTo>
                  <a:lnTo>
                    <a:pt x="125" y="250"/>
                  </a:lnTo>
                  <a:lnTo>
                    <a:pt x="124" y="250"/>
                  </a:lnTo>
                  <a:lnTo>
                    <a:pt x="124" y="249"/>
                  </a:lnTo>
                  <a:lnTo>
                    <a:pt x="124" y="250"/>
                  </a:lnTo>
                  <a:lnTo>
                    <a:pt x="123" y="250"/>
                  </a:lnTo>
                  <a:lnTo>
                    <a:pt x="121" y="250"/>
                  </a:lnTo>
                  <a:lnTo>
                    <a:pt x="121" y="249"/>
                  </a:lnTo>
                  <a:lnTo>
                    <a:pt x="120" y="249"/>
                  </a:lnTo>
                  <a:lnTo>
                    <a:pt x="119" y="249"/>
                  </a:lnTo>
                  <a:lnTo>
                    <a:pt x="118" y="249"/>
                  </a:lnTo>
                  <a:lnTo>
                    <a:pt x="118" y="247"/>
                  </a:lnTo>
                  <a:lnTo>
                    <a:pt x="118" y="246"/>
                  </a:lnTo>
                  <a:lnTo>
                    <a:pt x="118" y="245"/>
                  </a:lnTo>
                  <a:lnTo>
                    <a:pt x="119" y="244"/>
                  </a:lnTo>
                  <a:lnTo>
                    <a:pt x="118" y="244"/>
                  </a:lnTo>
                  <a:lnTo>
                    <a:pt x="118" y="243"/>
                  </a:lnTo>
                  <a:lnTo>
                    <a:pt x="118" y="242"/>
                  </a:lnTo>
                  <a:lnTo>
                    <a:pt x="118" y="240"/>
                  </a:lnTo>
                  <a:lnTo>
                    <a:pt x="118" y="239"/>
                  </a:lnTo>
                  <a:lnTo>
                    <a:pt x="117" y="239"/>
                  </a:lnTo>
                  <a:lnTo>
                    <a:pt x="116" y="239"/>
                  </a:lnTo>
                  <a:lnTo>
                    <a:pt x="116" y="240"/>
                  </a:lnTo>
                  <a:lnTo>
                    <a:pt x="116" y="239"/>
                  </a:lnTo>
                  <a:lnTo>
                    <a:pt x="114" y="239"/>
                  </a:lnTo>
                  <a:lnTo>
                    <a:pt x="113" y="238"/>
                  </a:lnTo>
                  <a:lnTo>
                    <a:pt x="113" y="237"/>
                  </a:lnTo>
                  <a:lnTo>
                    <a:pt x="113" y="236"/>
                  </a:lnTo>
                  <a:lnTo>
                    <a:pt x="113" y="235"/>
                  </a:lnTo>
                  <a:lnTo>
                    <a:pt x="112" y="235"/>
                  </a:lnTo>
                  <a:lnTo>
                    <a:pt x="112" y="233"/>
                  </a:lnTo>
                  <a:lnTo>
                    <a:pt x="112" y="232"/>
                  </a:lnTo>
                  <a:lnTo>
                    <a:pt x="111" y="232"/>
                  </a:lnTo>
                  <a:lnTo>
                    <a:pt x="111" y="231"/>
                  </a:lnTo>
                  <a:lnTo>
                    <a:pt x="110" y="231"/>
                  </a:lnTo>
                  <a:lnTo>
                    <a:pt x="110" y="230"/>
                  </a:lnTo>
                  <a:lnTo>
                    <a:pt x="110" y="231"/>
                  </a:lnTo>
                  <a:lnTo>
                    <a:pt x="109" y="231"/>
                  </a:lnTo>
                  <a:lnTo>
                    <a:pt x="107" y="231"/>
                  </a:lnTo>
                  <a:lnTo>
                    <a:pt x="107" y="230"/>
                  </a:lnTo>
                  <a:lnTo>
                    <a:pt x="107" y="229"/>
                  </a:lnTo>
                  <a:lnTo>
                    <a:pt x="106" y="229"/>
                  </a:lnTo>
                  <a:lnTo>
                    <a:pt x="105" y="229"/>
                  </a:lnTo>
                  <a:lnTo>
                    <a:pt x="105" y="228"/>
                  </a:lnTo>
                  <a:lnTo>
                    <a:pt x="104" y="228"/>
                  </a:lnTo>
                  <a:lnTo>
                    <a:pt x="103" y="228"/>
                  </a:lnTo>
                  <a:lnTo>
                    <a:pt x="102" y="226"/>
                  </a:lnTo>
                  <a:lnTo>
                    <a:pt x="102" y="225"/>
                  </a:lnTo>
                  <a:lnTo>
                    <a:pt x="102" y="224"/>
                  </a:lnTo>
                  <a:lnTo>
                    <a:pt x="100" y="223"/>
                  </a:lnTo>
                  <a:lnTo>
                    <a:pt x="102" y="223"/>
                  </a:lnTo>
                  <a:lnTo>
                    <a:pt x="100" y="221"/>
                  </a:lnTo>
                  <a:lnTo>
                    <a:pt x="100" y="219"/>
                  </a:lnTo>
                  <a:lnTo>
                    <a:pt x="99" y="219"/>
                  </a:lnTo>
                  <a:lnTo>
                    <a:pt x="98" y="219"/>
                  </a:lnTo>
                  <a:lnTo>
                    <a:pt x="98" y="218"/>
                  </a:lnTo>
                  <a:lnTo>
                    <a:pt x="97" y="217"/>
                  </a:lnTo>
                  <a:lnTo>
                    <a:pt x="96" y="217"/>
                  </a:lnTo>
                  <a:lnTo>
                    <a:pt x="95" y="217"/>
                  </a:lnTo>
                  <a:lnTo>
                    <a:pt x="96" y="216"/>
                  </a:lnTo>
                  <a:lnTo>
                    <a:pt x="95" y="215"/>
                  </a:lnTo>
                  <a:lnTo>
                    <a:pt x="93" y="215"/>
                  </a:lnTo>
                  <a:lnTo>
                    <a:pt x="92" y="215"/>
                  </a:lnTo>
                  <a:lnTo>
                    <a:pt x="92" y="214"/>
                  </a:lnTo>
                  <a:lnTo>
                    <a:pt x="91" y="214"/>
                  </a:lnTo>
                  <a:lnTo>
                    <a:pt x="91" y="212"/>
                  </a:lnTo>
                  <a:lnTo>
                    <a:pt x="90" y="212"/>
                  </a:lnTo>
                  <a:lnTo>
                    <a:pt x="89" y="212"/>
                  </a:lnTo>
                  <a:lnTo>
                    <a:pt x="89" y="214"/>
                  </a:lnTo>
                  <a:lnTo>
                    <a:pt x="88" y="214"/>
                  </a:lnTo>
                  <a:lnTo>
                    <a:pt x="88" y="212"/>
                  </a:lnTo>
                  <a:lnTo>
                    <a:pt x="86" y="212"/>
                  </a:lnTo>
                  <a:lnTo>
                    <a:pt x="85" y="212"/>
                  </a:lnTo>
                  <a:lnTo>
                    <a:pt x="85" y="211"/>
                  </a:lnTo>
                  <a:lnTo>
                    <a:pt x="84" y="211"/>
                  </a:lnTo>
                  <a:lnTo>
                    <a:pt x="84" y="210"/>
                  </a:lnTo>
                  <a:lnTo>
                    <a:pt x="83" y="210"/>
                  </a:lnTo>
                  <a:lnTo>
                    <a:pt x="82" y="210"/>
                  </a:lnTo>
                  <a:lnTo>
                    <a:pt x="81" y="210"/>
                  </a:lnTo>
                  <a:lnTo>
                    <a:pt x="81" y="209"/>
                  </a:lnTo>
                  <a:lnTo>
                    <a:pt x="79" y="209"/>
                  </a:lnTo>
                  <a:lnTo>
                    <a:pt x="78" y="209"/>
                  </a:lnTo>
                  <a:lnTo>
                    <a:pt x="78" y="208"/>
                  </a:lnTo>
                  <a:lnTo>
                    <a:pt x="77" y="207"/>
                  </a:lnTo>
                  <a:lnTo>
                    <a:pt x="77" y="205"/>
                  </a:lnTo>
                  <a:lnTo>
                    <a:pt x="77" y="207"/>
                  </a:lnTo>
                  <a:lnTo>
                    <a:pt x="76" y="207"/>
                  </a:lnTo>
                  <a:lnTo>
                    <a:pt x="76" y="205"/>
                  </a:lnTo>
                  <a:lnTo>
                    <a:pt x="75" y="205"/>
                  </a:lnTo>
                  <a:lnTo>
                    <a:pt x="74" y="204"/>
                  </a:lnTo>
                  <a:lnTo>
                    <a:pt x="74" y="205"/>
                  </a:lnTo>
                  <a:lnTo>
                    <a:pt x="73" y="205"/>
                  </a:lnTo>
                  <a:lnTo>
                    <a:pt x="73" y="207"/>
                  </a:lnTo>
                  <a:lnTo>
                    <a:pt x="73" y="208"/>
                  </a:lnTo>
                  <a:lnTo>
                    <a:pt x="71" y="208"/>
                  </a:lnTo>
                  <a:lnTo>
                    <a:pt x="70" y="208"/>
                  </a:lnTo>
                  <a:lnTo>
                    <a:pt x="69" y="208"/>
                  </a:lnTo>
                  <a:lnTo>
                    <a:pt x="68" y="208"/>
                  </a:lnTo>
                  <a:lnTo>
                    <a:pt x="67" y="208"/>
                  </a:lnTo>
                  <a:lnTo>
                    <a:pt x="66" y="208"/>
                  </a:lnTo>
                  <a:lnTo>
                    <a:pt x="66" y="207"/>
                  </a:lnTo>
                  <a:lnTo>
                    <a:pt x="64" y="207"/>
                  </a:lnTo>
                  <a:lnTo>
                    <a:pt x="63" y="207"/>
                  </a:lnTo>
                  <a:lnTo>
                    <a:pt x="62" y="207"/>
                  </a:lnTo>
                  <a:lnTo>
                    <a:pt x="61" y="207"/>
                  </a:lnTo>
                  <a:lnTo>
                    <a:pt x="60" y="205"/>
                  </a:lnTo>
                  <a:lnTo>
                    <a:pt x="59" y="205"/>
                  </a:lnTo>
                  <a:lnTo>
                    <a:pt x="59" y="204"/>
                  </a:lnTo>
                  <a:lnTo>
                    <a:pt x="59" y="202"/>
                  </a:lnTo>
                  <a:lnTo>
                    <a:pt x="57" y="202"/>
                  </a:lnTo>
                  <a:lnTo>
                    <a:pt x="57" y="201"/>
                  </a:lnTo>
                  <a:lnTo>
                    <a:pt x="56" y="201"/>
                  </a:lnTo>
                  <a:lnTo>
                    <a:pt x="55" y="201"/>
                  </a:lnTo>
                  <a:lnTo>
                    <a:pt x="55" y="200"/>
                  </a:lnTo>
                  <a:lnTo>
                    <a:pt x="55" y="198"/>
                  </a:lnTo>
                  <a:lnTo>
                    <a:pt x="54" y="198"/>
                  </a:lnTo>
                  <a:lnTo>
                    <a:pt x="53" y="198"/>
                  </a:lnTo>
                  <a:lnTo>
                    <a:pt x="52" y="198"/>
                  </a:lnTo>
                  <a:lnTo>
                    <a:pt x="52" y="197"/>
                  </a:lnTo>
                  <a:lnTo>
                    <a:pt x="52" y="198"/>
                  </a:lnTo>
                  <a:lnTo>
                    <a:pt x="50" y="197"/>
                  </a:lnTo>
                  <a:lnTo>
                    <a:pt x="49" y="197"/>
                  </a:lnTo>
                  <a:lnTo>
                    <a:pt x="47" y="196"/>
                  </a:lnTo>
                  <a:lnTo>
                    <a:pt x="47" y="195"/>
                  </a:lnTo>
                  <a:lnTo>
                    <a:pt x="46" y="195"/>
                  </a:lnTo>
                  <a:lnTo>
                    <a:pt x="43" y="193"/>
                  </a:lnTo>
                  <a:lnTo>
                    <a:pt x="42" y="193"/>
                  </a:lnTo>
                  <a:lnTo>
                    <a:pt x="42" y="191"/>
                  </a:lnTo>
                  <a:lnTo>
                    <a:pt x="41" y="191"/>
                  </a:lnTo>
                  <a:lnTo>
                    <a:pt x="41" y="190"/>
                  </a:lnTo>
                  <a:lnTo>
                    <a:pt x="40" y="190"/>
                  </a:lnTo>
                  <a:lnTo>
                    <a:pt x="40" y="189"/>
                  </a:lnTo>
                  <a:lnTo>
                    <a:pt x="39" y="189"/>
                  </a:lnTo>
                  <a:lnTo>
                    <a:pt x="39" y="188"/>
                  </a:lnTo>
                  <a:lnTo>
                    <a:pt x="39" y="187"/>
                  </a:lnTo>
                  <a:lnTo>
                    <a:pt x="38" y="187"/>
                  </a:lnTo>
                  <a:lnTo>
                    <a:pt x="36" y="187"/>
                  </a:lnTo>
                  <a:lnTo>
                    <a:pt x="36" y="186"/>
                  </a:lnTo>
                  <a:lnTo>
                    <a:pt x="38" y="184"/>
                  </a:lnTo>
                  <a:lnTo>
                    <a:pt x="38" y="183"/>
                  </a:lnTo>
                  <a:lnTo>
                    <a:pt x="39" y="183"/>
                  </a:lnTo>
                  <a:lnTo>
                    <a:pt x="40" y="182"/>
                  </a:lnTo>
                  <a:lnTo>
                    <a:pt x="40" y="183"/>
                  </a:lnTo>
                  <a:lnTo>
                    <a:pt x="41" y="183"/>
                  </a:lnTo>
                  <a:lnTo>
                    <a:pt x="42" y="183"/>
                  </a:lnTo>
                  <a:lnTo>
                    <a:pt x="42" y="182"/>
                  </a:lnTo>
                  <a:lnTo>
                    <a:pt x="43" y="182"/>
                  </a:lnTo>
                  <a:lnTo>
                    <a:pt x="42" y="182"/>
                  </a:lnTo>
                  <a:lnTo>
                    <a:pt x="43" y="182"/>
                  </a:lnTo>
                  <a:lnTo>
                    <a:pt x="43" y="181"/>
                  </a:lnTo>
                  <a:lnTo>
                    <a:pt x="42" y="182"/>
                  </a:lnTo>
                  <a:lnTo>
                    <a:pt x="42" y="181"/>
                  </a:lnTo>
                  <a:lnTo>
                    <a:pt x="42" y="180"/>
                  </a:lnTo>
                  <a:lnTo>
                    <a:pt x="41" y="180"/>
                  </a:lnTo>
                  <a:lnTo>
                    <a:pt x="41" y="181"/>
                  </a:lnTo>
                  <a:lnTo>
                    <a:pt x="41" y="180"/>
                  </a:lnTo>
                  <a:lnTo>
                    <a:pt x="41" y="179"/>
                  </a:lnTo>
                  <a:lnTo>
                    <a:pt x="41" y="177"/>
                  </a:lnTo>
                  <a:lnTo>
                    <a:pt x="41" y="176"/>
                  </a:lnTo>
                  <a:lnTo>
                    <a:pt x="41" y="175"/>
                  </a:lnTo>
                  <a:lnTo>
                    <a:pt x="42" y="175"/>
                  </a:lnTo>
                  <a:lnTo>
                    <a:pt x="42" y="174"/>
                  </a:lnTo>
                  <a:lnTo>
                    <a:pt x="42" y="173"/>
                  </a:lnTo>
                  <a:lnTo>
                    <a:pt x="43" y="173"/>
                  </a:lnTo>
                  <a:lnTo>
                    <a:pt x="42" y="173"/>
                  </a:lnTo>
                  <a:lnTo>
                    <a:pt x="42" y="174"/>
                  </a:lnTo>
                  <a:lnTo>
                    <a:pt x="43" y="174"/>
                  </a:lnTo>
                  <a:lnTo>
                    <a:pt x="43" y="173"/>
                  </a:lnTo>
                  <a:lnTo>
                    <a:pt x="43" y="172"/>
                  </a:lnTo>
                  <a:lnTo>
                    <a:pt x="43" y="173"/>
                  </a:lnTo>
                  <a:lnTo>
                    <a:pt x="45" y="172"/>
                  </a:lnTo>
                  <a:lnTo>
                    <a:pt x="45" y="170"/>
                  </a:lnTo>
                  <a:lnTo>
                    <a:pt x="46" y="170"/>
                  </a:lnTo>
                  <a:lnTo>
                    <a:pt x="46" y="169"/>
                  </a:lnTo>
                  <a:lnTo>
                    <a:pt x="46" y="170"/>
                  </a:lnTo>
                  <a:lnTo>
                    <a:pt x="47" y="170"/>
                  </a:lnTo>
                  <a:lnTo>
                    <a:pt x="47" y="172"/>
                  </a:lnTo>
                  <a:lnTo>
                    <a:pt x="47" y="170"/>
                  </a:lnTo>
                  <a:lnTo>
                    <a:pt x="47" y="169"/>
                  </a:lnTo>
                  <a:lnTo>
                    <a:pt x="48" y="170"/>
                  </a:lnTo>
                  <a:lnTo>
                    <a:pt x="47" y="170"/>
                  </a:lnTo>
                  <a:lnTo>
                    <a:pt x="48" y="170"/>
                  </a:lnTo>
                  <a:lnTo>
                    <a:pt x="48" y="172"/>
                  </a:lnTo>
                  <a:lnTo>
                    <a:pt x="49" y="173"/>
                  </a:lnTo>
                  <a:lnTo>
                    <a:pt x="49" y="172"/>
                  </a:lnTo>
                  <a:lnTo>
                    <a:pt x="49" y="170"/>
                  </a:lnTo>
                  <a:lnTo>
                    <a:pt x="49" y="169"/>
                  </a:lnTo>
                  <a:lnTo>
                    <a:pt x="50" y="169"/>
                  </a:lnTo>
                  <a:lnTo>
                    <a:pt x="52" y="169"/>
                  </a:lnTo>
                  <a:lnTo>
                    <a:pt x="52" y="170"/>
                  </a:lnTo>
                  <a:lnTo>
                    <a:pt x="53" y="170"/>
                  </a:lnTo>
                  <a:lnTo>
                    <a:pt x="52" y="170"/>
                  </a:lnTo>
                  <a:lnTo>
                    <a:pt x="53" y="170"/>
                  </a:lnTo>
                  <a:lnTo>
                    <a:pt x="53" y="172"/>
                  </a:lnTo>
                  <a:lnTo>
                    <a:pt x="54" y="170"/>
                  </a:lnTo>
                  <a:lnTo>
                    <a:pt x="54" y="169"/>
                  </a:lnTo>
                  <a:lnTo>
                    <a:pt x="54" y="168"/>
                  </a:lnTo>
                  <a:lnTo>
                    <a:pt x="55" y="168"/>
                  </a:lnTo>
                  <a:lnTo>
                    <a:pt x="55" y="167"/>
                  </a:lnTo>
                  <a:lnTo>
                    <a:pt x="54" y="167"/>
                  </a:lnTo>
                  <a:lnTo>
                    <a:pt x="54" y="168"/>
                  </a:lnTo>
                  <a:lnTo>
                    <a:pt x="54" y="167"/>
                  </a:lnTo>
                  <a:lnTo>
                    <a:pt x="55" y="167"/>
                  </a:lnTo>
                  <a:lnTo>
                    <a:pt x="55" y="166"/>
                  </a:lnTo>
                  <a:lnTo>
                    <a:pt x="55" y="167"/>
                  </a:lnTo>
                  <a:lnTo>
                    <a:pt x="56" y="167"/>
                  </a:lnTo>
                  <a:lnTo>
                    <a:pt x="56" y="166"/>
                  </a:lnTo>
                  <a:lnTo>
                    <a:pt x="55" y="166"/>
                  </a:lnTo>
                  <a:lnTo>
                    <a:pt x="55" y="167"/>
                  </a:lnTo>
                  <a:lnTo>
                    <a:pt x="55" y="166"/>
                  </a:lnTo>
                  <a:lnTo>
                    <a:pt x="56" y="166"/>
                  </a:lnTo>
                  <a:lnTo>
                    <a:pt x="56" y="165"/>
                  </a:lnTo>
                  <a:lnTo>
                    <a:pt x="55" y="165"/>
                  </a:lnTo>
                  <a:lnTo>
                    <a:pt x="55" y="163"/>
                  </a:lnTo>
                  <a:lnTo>
                    <a:pt x="56" y="163"/>
                  </a:lnTo>
                  <a:lnTo>
                    <a:pt x="57" y="162"/>
                  </a:lnTo>
                  <a:lnTo>
                    <a:pt x="57" y="161"/>
                  </a:lnTo>
                  <a:lnTo>
                    <a:pt x="59" y="161"/>
                  </a:lnTo>
                  <a:lnTo>
                    <a:pt x="59" y="160"/>
                  </a:lnTo>
                  <a:lnTo>
                    <a:pt x="57" y="160"/>
                  </a:lnTo>
                  <a:lnTo>
                    <a:pt x="59" y="160"/>
                  </a:lnTo>
                  <a:lnTo>
                    <a:pt x="59" y="159"/>
                  </a:lnTo>
                  <a:lnTo>
                    <a:pt x="60" y="159"/>
                  </a:lnTo>
                  <a:lnTo>
                    <a:pt x="60" y="158"/>
                  </a:lnTo>
                  <a:lnTo>
                    <a:pt x="60" y="159"/>
                  </a:lnTo>
                  <a:lnTo>
                    <a:pt x="61" y="159"/>
                  </a:lnTo>
                  <a:lnTo>
                    <a:pt x="60" y="159"/>
                  </a:lnTo>
                  <a:lnTo>
                    <a:pt x="60" y="158"/>
                  </a:lnTo>
                  <a:lnTo>
                    <a:pt x="61" y="158"/>
                  </a:lnTo>
                  <a:lnTo>
                    <a:pt x="60" y="158"/>
                  </a:lnTo>
                  <a:lnTo>
                    <a:pt x="60" y="156"/>
                  </a:lnTo>
                  <a:lnTo>
                    <a:pt x="61" y="156"/>
                  </a:lnTo>
                  <a:lnTo>
                    <a:pt x="61" y="155"/>
                  </a:lnTo>
                  <a:lnTo>
                    <a:pt x="62" y="155"/>
                  </a:lnTo>
                  <a:lnTo>
                    <a:pt x="62" y="154"/>
                  </a:lnTo>
                  <a:lnTo>
                    <a:pt x="63" y="154"/>
                  </a:lnTo>
                  <a:lnTo>
                    <a:pt x="63" y="153"/>
                  </a:lnTo>
                  <a:lnTo>
                    <a:pt x="62" y="153"/>
                  </a:lnTo>
                  <a:lnTo>
                    <a:pt x="62" y="152"/>
                  </a:lnTo>
                  <a:lnTo>
                    <a:pt x="63" y="153"/>
                  </a:lnTo>
                  <a:lnTo>
                    <a:pt x="63" y="152"/>
                  </a:lnTo>
                  <a:lnTo>
                    <a:pt x="63" y="151"/>
                  </a:lnTo>
                  <a:lnTo>
                    <a:pt x="63" y="152"/>
                  </a:lnTo>
                  <a:lnTo>
                    <a:pt x="63" y="151"/>
                  </a:lnTo>
                  <a:lnTo>
                    <a:pt x="64" y="151"/>
                  </a:lnTo>
                  <a:lnTo>
                    <a:pt x="64" y="149"/>
                  </a:lnTo>
                  <a:lnTo>
                    <a:pt x="63" y="149"/>
                  </a:lnTo>
                  <a:lnTo>
                    <a:pt x="63" y="151"/>
                  </a:lnTo>
                  <a:lnTo>
                    <a:pt x="62" y="151"/>
                  </a:lnTo>
                  <a:lnTo>
                    <a:pt x="61" y="151"/>
                  </a:lnTo>
                  <a:lnTo>
                    <a:pt x="61" y="149"/>
                  </a:lnTo>
                  <a:lnTo>
                    <a:pt x="61" y="148"/>
                  </a:lnTo>
                  <a:lnTo>
                    <a:pt x="62" y="148"/>
                  </a:lnTo>
                  <a:lnTo>
                    <a:pt x="61" y="149"/>
                  </a:lnTo>
                  <a:lnTo>
                    <a:pt x="62" y="148"/>
                  </a:lnTo>
                  <a:lnTo>
                    <a:pt x="63" y="147"/>
                  </a:lnTo>
                  <a:lnTo>
                    <a:pt x="62" y="147"/>
                  </a:lnTo>
                  <a:lnTo>
                    <a:pt x="61" y="147"/>
                  </a:lnTo>
                  <a:lnTo>
                    <a:pt x="61" y="148"/>
                  </a:lnTo>
                  <a:lnTo>
                    <a:pt x="61" y="149"/>
                  </a:lnTo>
                  <a:lnTo>
                    <a:pt x="60" y="149"/>
                  </a:lnTo>
                  <a:lnTo>
                    <a:pt x="60" y="148"/>
                  </a:lnTo>
                  <a:lnTo>
                    <a:pt x="60" y="147"/>
                  </a:lnTo>
                  <a:lnTo>
                    <a:pt x="60" y="146"/>
                  </a:lnTo>
                  <a:lnTo>
                    <a:pt x="60" y="145"/>
                  </a:lnTo>
                  <a:lnTo>
                    <a:pt x="61" y="145"/>
                  </a:lnTo>
                  <a:lnTo>
                    <a:pt x="62" y="145"/>
                  </a:lnTo>
                  <a:lnTo>
                    <a:pt x="62" y="144"/>
                  </a:lnTo>
                  <a:lnTo>
                    <a:pt x="61" y="144"/>
                  </a:lnTo>
                  <a:lnTo>
                    <a:pt x="60" y="142"/>
                  </a:lnTo>
                  <a:lnTo>
                    <a:pt x="61" y="142"/>
                  </a:lnTo>
                  <a:lnTo>
                    <a:pt x="61" y="141"/>
                  </a:lnTo>
                  <a:lnTo>
                    <a:pt x="61" y="140"/>
                  </a:lnTo>
                  <a:lnTo>
                    <a:pt x="61" y="138"/>
                  </a:lnTo>
                  <a:lnTo>
                    <a:pt x="62" y="138"/>
                  </a:lnTo>
                  <a:lnTo>
                    <a:pt x="61" y="137"/>
                  </a:lnTo>
                  <a:lnTo>
                    <a:pt x="62" y="137"/>
                  </a:lnTo>
                  <a:lnTo>
                    <a:pt x="62" y="138"/>
                  </a:lnTo>
                  <a:lnTo>
                    <a:pt x="62" y="137"/>
                  </a:lnTo>
                  <a:lnTo>
                    <a:pt x="61" y="135"/>
                  </a:lnTo>
                  <a:lnTo>
                    <a:pt x="61" y="134"/>
                  </a:lnTo>
                  <a:lnTo>
                    <a:pt x="61" y="133"/>
                  </a:lnTo>
                  <a:lnTo>
                    <a:pt x="61" y="130"/>
                  </a:lnTo>
                  <a:lnTo>
                    <a:pt x="61" y="128"/>
                  </a:lnTo>
                  <a:lnTo>
                    <a:pt x="61" y="127"/>
                  </a:lnTo>
                  <a:lnTo>
                    <a:pt x="61" y="126"/>
                  </a:lnTo>
                  <a:lnTo>
                    <a:pt x="61" y="125"/>
                  </a:lnTo>
                  <a:lnTo>
                    <a:pt x="60" y="125"/>
                  </a:lnTo>
                  <a:lnTo>
                    <a:pt x="59" y="125"/>
                  </a:lnTo>
                  <a:lnTo>
                    <a:pt x="59" y="124"/>
                  </a:lnTo>
                  <a:lnTo>
                    <a:pt x="60" y="123"/>
                  </a:lnTo>
                  <a:lnTo>
                    <a:pt x="61" y="123"/>
                  </a:lnTo>
                  <a:lnTo>
                    <a:pt x="62" y="123"/>
                  </a:lnTo>
                  <a:lnTo>
                    <a:pt x="62" y="121"/>
                  </a:lnTo>
                  <a:lnTo>
                    <a:pt x="63" y="121"/>
                  </a:lnTo>
                  <a:lnTo>
                    <a:pt x="63" y="120"/>
                  </a:lnTo>
                  <a:lnTo>
                    <a:pt x="62" y="119"/>
                  </a:lnTo>
                  <a:lnTo>
                    <a:pt x="62" y="118"/>
                  </a:lnTo>
                  <a:lnTo>
                    <a:pt x="61" y="117"/>
                  </a:lnTo>
                  <a:lnTo>
                    <a:pt x="61" y="116"/>
                  </a:lnTo>
                  <a:lnTo>
                    <a:pt x="60" y="114"/>
                  </a:lnTo>
                  <a:lnTo>
                    <a:pt x="60" y="113"/>
                  </a:lnTo>
                  <a:lnTo>
                    <a:pt x="60" y="112"/>
                  </a:lnTo>
                  <a:lnTo>
                    <a:pt x="61" y="112"/>
                  </a:lnTo>
                  <a:lnTo>
                    <a:pt x="61" y="113"/>
                  </a:lnTo>
                  <a:lnTo>
                    <a:pt x="61" y="112"/>
                  </a:lnTo>
                  <a:lnTo>
                    <a:pt x="61" y="111"/>
                  </a:lnTo>
                  <a:lnTo>
                    <a:pt x="61" y="110"/>
                  </a:lnTo>
                  <a:lnTo>
                    <a:pt x="61" y="111"/>
                  </a:lnTo>
                  <a:lnTo>
                    <a:pt x="62" y="111"/>
                  </a:lnTo>
                  <a:lnTo>
                    <a:pt x="62" y="110"/>
                  </a:lnTo>
                  <a:lnTo>
                    <a:pt x="61" y="110"/>
                  </a:lnTo>
                  <a:lnTo>
                    <a:pt x="62" y="110"/>
                  </a:lnTo>
                  <a:lnTo>
                    <a:pt x="62" y="109"/>
                  </a:lnTo>
                  <a:lnTo>
                    <a:pt x="62" y="107"/>
                  </a:lnTo>
                  <a:lnTo>
                    <a:pt x="61" y="107"/>
                  </a:lnTo>
                  <a:lnTo>
                    <a:pt x="61" y="106"/>
                  </a:lnTo>
                  <a:lnTo>
                    <a:pt x="61" y="105"/>
                  </a:lnTo>
                  <a:lnTo>
                    <a:pt x="60" y="105"/>
                  </a:lnTo>
                  <a:lnTo>
                    <a:pt x="60" y="106"/>
                  </a:lnTo>
                  <a:lnTo>
                    <a:pt x="60" y="105"/>
                  </a:lnTo>
                  <a:lnTo>
                    <a:pt x="59" y="104"/>
                  </a:lnTo>
                  <a:lnTo>
                    <a:pt x="59" y="103"/>
                  </a:lnTo>
                  <a:lnTo>
                    <a:pt x="57" y="103"/>
                  </a:lnTo>
                  <a:lnTo>
                    <a:pt x="57" y="102"/>
                  </a:lnTo>
                  <a:lnTo>
                    <a:pt x="57" y="100"/>
                  </a:lnTo>
                  <a:lnTo>
                    <a:pt x="57" y="99"/>
                  </a:lnTo>
                  <a:lnTo>
                    <a:pt x="57" y="100"/>
                  </a:lnTo>
                  <a:lnTo>
                    <a:pt x="57" y="99"/>
                  </a:lnTo>
                  <a:lnTo>
                    <a:pt x="56" y="98"/>
                  </a:lnTo>
                  <a:lnTo>
                    <a:pt x="55" y="98"/>
                  </a:lnTo>
                  <a:lnTo>
                    <a:pt x="55" y="97"/>
                  </a:lnTo>
                  <a:lnTo>
                    <a:pt x="55" y="95"/>
                  </a:lnTo>
                  <a:lnTo>
                    <a:pt x="56" y="93"/>
                  </a:lnTo>
                  <a:lnTo>
                    <a:pt x="57" y="93"/>
                  </a:lnTo>
                  <a:lnTo>
                    <a:pt x="57" y="92"/>
                  </a:lnTo>
                  <a:lnTo>
                    <a:pt x="57" y="91"/>
                  </a:lnTo>
                  <a:lnTo>
                    <a:pt x="56" y="91"/>
                  </a:lnTo>
                  <a:lnTo>
                    <a:pt x="56" y="90"/>
                  </a:lnTo>
                  <a:lnTo>
                    <a:pt x="57" y="90"/>
                  </a:lnTo>
                  <a:lnTo>
                    <a:pt x="59" y="90"/>
                  </a:lnTo>
                  <a:lnTo>
                    <a:pt x="59" y="91"/>
                  </a:lnTo>
                  <a:lnTo>
                    <a:pt x="59" y="92"/>
                  </a:lnTo>
                  <a:lnTo>
                    <a:pt x="60" y="92"/>
                  </a:lnTo>
                  <a:lnTo>
                    <a:pt x="60" y="91"/>
                  </a:lnTo>
                  <a:lnTo>
                    <a:pt x="62" y="90"/>
                  </a:lnTo>
                  <a:lnTo>
                    <a:pt x="63" y="90"/>
                  </a:lnTo>
                  <a:lnTo>
                    <a:pt x="62" y="90"/>
                  </a:lnTo>
                  <a:lnTo>
                    <a:pt x="62" y="89"/>
                  </a:lnTo>
                  <a:lnTo>
                    <a:pt x="63" y="88"/>
                  </a:lnTo>
                  <a:lnTo>
                    <a:pt x="63" y="86"/>
                  </a:lnTo>
                  <a:lnTo>
                    <a:pt x="64" y="86"/>
                  </a:lnTo>
                  <a:lnTo>
                    <a:pt x="66" y="86"/>
                  </a:lnTo>
                  <a:lnTo>
                    <a:pt x="66" y="85"/>
                  </a:lnTo>
                  <a:lnTo>
                    <a:pt x="64" y="85"/>
                  </a:lnTo>
                  <a:lnTo>
                    <a:pt x="64" y="83"/>
                  </a:lnTo>
                  <a:lnTo>
                    <a:pt x="63" y="82"/>
                  </a:lnTo>
                  <a:lnTo>
                    <a:pt x="63" y="81"/>
                  </a:lnTo>
                  <a:lnTo>
                    <a:pt x="62" y="79"/>
                  </a:lnTo>
                  <a:lnTo>
                    <a:pt x="62" y="78"/>
                  </a:lnTo>
                  <a:lnTo>
                    <a:pt x="62" y="77"/>
                  </a:lnTo>
                  <a:lnTo>
                    <a:pt x="61" y="77"/>
                  </a:lnTo>
                  <a:lnTo>
                    <a:pt x="62" y="77"/>
                  </a:lnTo>
                  <a:lnTo>
                    <a:pt x="62" y="76"/>
                  </a:lnTo>
                  <a:lnTo>
                    <a:pt x="62" y="75"/>
                  </a:lnTo>
                  <a:lnTo>
                    <a:pt x="63" y="75"/>
                  </a:lnTo>
                  <a:lnTo>
                    <a:pt x="63" y="76"/>
                  </a:lnTo>
                  <a:lnTo>
                    <a:pt x="64" y="76"/>
                  </a:lnTo>
                  <a:lnTo>
                    <a:pt x="64" y="77"/>
                  </a:lnTo>
                  <a:lnTo>
                    <a:pt x="66" y="78"/>
                  </a:lnTo>
                  <a:lnTo>
                    <a:pt x="67" y="81"/>
                  </a:lnTo>
                  <a:lnTo>
                    <a:pt x="68" y="81"/>
                  </a:lnTo>
                  <a:lnTo>
                    <a:pt x="68" y="82"/>
                  </a:lnTo>
                  <a:lnTo>
                    <a:pt x="68" y="81"/>
                  </a:lnTo>
                  <a:lnTo>
                    <a:pt x="68" y="82"/>
                  </a:lnTo>
                  <a:lnTo>
                    <a:pt x="69" y="82"/>
                  </a:lnTo>
                  <a:lnTo>
                    <a:pt x="69" y="83"/>
                  </a:lnTo>
                  <a:lnTo>
                    <a:pt x="70" y="83"/>
                  </a:lnTo>
                  <a:lnTo>
                    <a:pt x="70" y="84"/>
                  </a:lnTo>
                  <a:lnTo>
                    <a:pt x="70" y="83"/>
                  </a:lnTo>
                  <a:lnTo>
                    <a:pt x="70" y="84"/>
                  </a:lnTo>
                  <a:lnTo>
                    <a:pt x="69" y="84"/>
                  </a:lnTo>
                  <a:lnTo>
                    <a:pt x="70" y="84"/>
                  </a:lnTo>
                  <a:lnTo>
                    <a:pt x="69" y="84"/>
                  </a:lnTo>
                  <a:lnTo>
                    <a:pt x="69" y="85"/>
                  </a:lnTo>
                  <a:lnTo>
                    <a:pt x="69" y="86"/>
                  </a:lnTo>
                  <a:lnTo>
                    <a:pt x="70" y="86"/>
                  </a:lnTo>
                  <a:lnTo>
                    <a:pt x="71" y="86"/>
                  </a:lnTo>
                  <a:lnTo>
                    <a:pt x="71" y="85"/>
                  </a:lnTo>
                  <a:lnTo>
                    <a:pt x="71" y="84"/>
                  </a:lnTo>
                  <a:lnTo>
                    <a:pt x="71" y="83"/>
                  </a:lnTo>
                  <a:lnTo>
                    <a:pt x="71" y="84"/>
                  </a:lnTo>
                  <a:lnTo>
                    <a:pt x="71" y="83"/>
                  </a:lnTo>
                  <a:lnTo>
                    <a:pt x="71" y="82"/>
                  </a:lnTo>
                  <a:lnTo>
                    <a:pt x="71" y="81"/>
                  </a:lnTo>
                  <a:lnTo>
                    <a:pt x="71" y="78"/>
                  </a:lnTo>
                  <a:lnTo>
                    <a:pt x="70" y="78"/>
                  </a:lnTo>
                  <a:lnTo>
                    <a:pt x="70" y="77"/>
                  </a:lnTo>
                  <a:lnTo>
                    <a:pt x="69" y="77"/>
                  </a:lnTo>
                  <a:lnTo>
                    <a:pt x="69" y="76"/>
                  </a:lnTo>
                  <a:lnTo>
                    <a:pt x="69" y="77"/>
                  </a:lnTo>
                  <a:lnTo>
                    <a:pt x="69" y="76"/>
                  </a:lnTo>
                  <a:lnTo>
                    <a:pt x="69" y="75"/>
                  </a:lnTo>
                  <a:lnTo>
                    <a:pt x="71" y="75"/>
                  </a:lnTo>
                  <a:lnTo>
                    <a:pt x="73" y="75"/>
                  </a:lnTo>
                  <a:lnTo>
                    <a:pt x="73" y="74"/>
                  </a:lnTo>
                  <a:lnTo>
                    <a:pt x="74" y="74"/>
                  </a:lnTo>
                  <a:lnTo>
                    <a:pt x="73" y="74"/>
                  </a:lnTo>
                  <a:lnTo>
                    <a:pt x="74" y="74"/>
                  </a:lnTo>
                  <a:lnTo>
                    <a:pt x="75" y="72"/>
                  </a:lnTo>
                  <a:lnTo>
                    <a:pt x="76" y="71"/>
                  </a:lnTo>
                  <a:lnTo>
                    <a:pt x="76" y="70"/>
                  </a:lnTo>
                  <a:lnTo>
                    <a:pt x="77" y="70"/>
                  </a:lnTo>
                  <a:lnTo>
                    <a:pt x="78" y="70"/>
                  </a:lnTo>
                  <a:lnTo>
                    <a:pt x="78" y="69"/>
                  </a:lnTo>
                  <a:lnTo>
                    <a:pt x="78" y="68"/>
                  </a:lnTo>
                  <a:lnTo>
                    <a:pt x="79" y="68"/>
                  </a:lnTo>
                  <a:lnTo>
                    <a:pt x="79" y="67"/>
                  </a:lnTo>
                  <a:lnTo>
                    <a:pt x="79" y="65"/>
                  </a:lnTo>
                  <a:lnTo>
                    <a:pt x="81" y="65"/>
                  </a:lnTo>
                  <a:lnTo>
                    <a:pt x="81" y="64"/>
                  </a:lnTo>
                  <a:lnTo>
                    <a:pt x="82" y="64"/>
                  </a:lnTo>
                  <a:lnTo>
                    <a:pt x="82" y="63"/>
                  </a:lnTo>
                  <a:lnTo>
                    <a:pt x="83" y="63"/>
                  </a:lnTo>
                  <a:lnTo>
                    <a:pt x="83" y="62"/>
                  </a:lnTo>
                  <a:lnTo>
                    <a:pt x="84" y="62"/>
                  </a:lnTo>
                  <a:lnTo>
                    <a:pt x="85" y="62"/>
                  </a:lnTo>
                  <a:lnTo>
                    <a:pt x="85" y="63"/>
                  </a:lnTo>
                  <a:lnTo>
                    <a:pt x="85" y="62"/>
                  </a:lnTo>
                  <a:lnTo>
                    <a:pt x="85" y="63"/>
                  </a:lnTo>
                  <a:lnTo>
                    <a:pt x="84" y="63"/>
                  </a:lnTo>
                  <a:lnTo>
                    <a:pt x="85" y="63"/>
                  </a:lnTo>
                  <a:lnTo>
                    <a:pt x="86" y="63"/>
                  </a:lnTo>
                  <a:lnTo>
                    <a:pt x="86" y="62"/>
                  </a:lnTo>
                  <a:lnTo>
                    <a:pt x="86" y="63"/>
                  </a:lnTo>
                  <a:lnTo>
                    <a:pt x="88" y="63"/>
                  </a:lnTo>
                  <a:lnTo>
                    <a:pt x="88" y="62"/>
                  </a:lnTo>
                  <a:lnTo>
                    <a:pt x="89" y="61"/>
                  </a:lnTo>
                  <a:lnTo>
                    <a:pt x="89" y="60"/>
                  </a:lnTo>
                  <a:lnTo>
                    <a:pt x="89" y="58"/>
                  </a:lnTo>
                  <a:lnTo>
                    <a:pt x="88" y="58"/>
                  </a:lnTo>
                  <a:lnTo>
                    <a:pt x="86" y="58"/>
                  </a:lnTo>
                  <a:lnTo>
                    <a:pt x="88" y="57"/>
                  </a:lnTo>
                  <a:lnTo>
                    <a:pt x="88" y="56"/>
                  </a:lnTo>
                  <a:lnTo>
                    <a:pt x="89" y="55"/>
                  </a:lnTo>
                  <a:lnTo>
                    <a:pt x="89" y="54"/>
                  </a:lnTo>
                  <a:lnTo>
                    <a:pt x="89" y="53"/>
                  </a:lnTo>
                  <a:lnTo>
                    <a:pt x="89" y="51"/>
                  </a:lnTo>
                  <a:lnTo>
                    <a:pt x="90" y="50"/>
                  </a:lnTo>
                  <a:lnTo>
                    <a:pt x="90" y="49"/>
                  </a:lnTo>
                  <a:lnTo>
                    <a:pt x="89" y="50"/>
                  </a:lnTo>
                  <a:lnTo>
                    <a:pt x="88" y="51"/>
                  </a:lnTo>
                  <a:lnTo>
                    <a:pt x="88" y="50"/>
                  </a:lnTo>
                  <a:lnTo>
                    <a:pt x="89" y="50"/>
                  </a:lnTo>
                  <a:lnTo>
                    <a:pt x="89" y="49"/>
                  </a:lnTo>
                  <a:lnTo>
                    <a:pt x="90" y="49"/>
                  </a:lnTo>
                  <a:lnTo>
                    <a:pt x="90" y="48"/>
                  </a:lnTo>
                  <a:lnTo>
                    <a:pt x="90" y="47"/>
                  </a:lnTo>
                  <a:lnTo>
                    <a:pt x="89" y="47"/>
                  </a:lnTo>
                  <a:lnTo>
                    <a:pt x="90" y="47"/>
                  </a:lnTo>
                  <a:lnTo>
                    <a:pt x="90" y="46"/>
                  </a:lnTo>
                  <a:lnTo>
                    <a:pt x="90" y="47"/>
                  </a:lnTo>
                  <a:lnTo>
                    <a:pt x="91" y="46"/>
                  </a:lnTo>
                  <a:lnTo>
                    <a:pt x="90" y="46"/>
                  </a:lnTo>
                  <a:lnTo>
                    <a:pt x="90" y="44"/>
                  </a:lnTo>
                  <a:lnTo>
                    <a:pt x="91" y="44"/>
                  </a:lnTo>
                  <a:lnTo>
                    <a:pt x="91" y="43"/>
                  </a:lnTo>
                  <a:lnTo>
                    <a:pt x="92" y="43"/>
                  </a:lnTo>
                  <a:lnTo>
                    <a:pt x="92" y="42"/>
                  </a:lnTo>
                  <a:lnTo>
                    <a:pt x="93" y="42"/>
                  </a:lnTo>
                  <a:lnTo>
                    <a:pt x="95" y="42"/>
                  </a:lnTo>
                  <a:lnTo>
                    <a:pt x="93" y="42"/>
                  </a:lnTo>
                  <a:lnTo>
                    <a:pt x="95" y="42"/>
                  </a:lnTo>
                  <a:lnTo>
                    <a:pt x="95" y="41"/>
                  </a:lnTo>
                  <a:lnTo>
                    <a:pt x="95" y="42"/>
                  </a:lnTo>
                  <a:lnTo>
                    <a:pt x="93" y="41"/>
                  </a:lnTo>
                  <a:lnTo>
                    <a:pt x="95" y="41"/>
                  </a:lnTo>
                  <a:lnTo>
                    <a:pt x="95" y="40"/>
                  </a:lnTo>
                  <a:lnTo>
                    <a:pt x="96" y="40"/>
                  </a:lnTo>
                  <a:lnTo>
                    <a:pt x="97" y="40"/>
                  </a:lnTo>
                  <a:lnTo>
                    <a:pt x="97" y="39"/>
                  </a:lnTo>
                  <a:lnTo>
                    <a:pt x="98" y="37"/>
                  </a:lnTo>
                  <a:lnTo>
                    <a:pt x="99" y="37"/>
                  </a:lnTo>
                  <a:lnTo>
                    <a:pt x="99" y="36"/>
                  </a:lnTo>
                  <a:lnTo>
                    <a:pt x="100" y="36"/>
                  </a:lnTo>
                  <a:lnTo>
                    <a:pt x="102" y="36"/>
                  </a:lnTo>
                  <a:lnTo>
                    <a:pt x="103" y="37"/>
                  </a:lnTo>
                  <a:lnTo>
                    <a:pt x="104" y="37"/>
                  </a:lnTo>
                  <a:lnTo>
                    <a:pt x="105" y="37"/>
                  </a:lnTo>
                  <a:lnTo>
                    <a:pt x="106" y="37"/>
                  </a:lnTo>
                  <a:lnTo>
                    <a:pt x="107" y="37"/>
                  </a:lnTo>
                  <a:lnTo>
                    <a:pt x="106" y="37"/>
                  </a:lnTo>
                  <a:lnTo>
                    <a:pt x="105" y="37"/>
                  </a:lnTo>
                  <a:lnTo>
                    <a:pt x="105" y="39"/>
                  </a:lnTo>
                  <a:lnTo>
                    <a:pt x="105" y="40"/>
                  </a:lnTo>
                  <a:lnTo>
                    <a:pt x="104" y="40"/>
                  </a:lnTo>
                  <a:lnTo>
                    <a:pt x="103" y="40"/>
                  </a:lnTo>
                  <a:lnTo>
                    <a:pt x="103" y="41"/>
                  </a:lnTo>
                  <a:lnTo>
                    <a:pt x="104" y="41"/>
                  </a:lnTo>
                  <a:lnTo>
                    <a:pt x="104" y="40"/>
                  </a:lnTo>
                  <a:lnTo>
                    <a:pt x="104" y="41"/>
                  </a:lnTo>
                  <a:lnTo>
                    <a:pt x="105" y="41"/>
                  </a:lnTo>
                  <a:lnTo>
                    <a:pt x="104" y="41"/>
                  </a:lnTo>
                  <a:lnTo>
                    <a:pt x="105" y="40"/>
                  </a:lnTo>
                  <a:lnTo>
                    <a:pt x="105" y="41"/>
                  </a:lnTo>
                  <a:lnTo>
                    <a:pt x="105" y="42"/>
                  </a:lnTo>
                  <a:lnTo>
                    <a:pt x="106" y="42"/>
                  </a:lnTo>
                  <a:lnTo>
                    <a:pt x="106" y="41"/>
                  </a:lnTo>
                  <a:lnTo>
                    <a:pt x="107" y="40"/>
                  </a:lnTo>
                  <a:lnTo>
                    <a:pt x="107" y="39"/>
                  </a:lnTo>
                  <a:lnTo>
                    <a:pt x="107" y="37"/>
                  </a:lnTo>
                  <a:lnTo>
                    <a:pt x="109" y="36"/>
                  </a:lnTo>
                  <a:lnTo>
                    <a:pt x="109" y="35"/>
                  </a:lnTo>
                  <a:lnTo>
                    <a:pt x="109" y="34"/>
                  </a:lnTo>
                  <a:lnTo>
                    <a:pt x="109" y="33"/>
                  </a:lnTo>
                  <a:lnTo>
                    <a:pt x="110" y="33"/>
                  </a:lnTo>
                  <a:lnTo>
                    <a:pt x="110" y="32"/>
                  </a:lnTo>
                  <a:lnTo>
                    <a:pt x="110" y="33"/>
                  </a:lnTo>
                  <a:lnTo>
                    <a:pt x="111" y="33"/>
                  </a:lnTo>
                  <a:lnTo>
                    <a:pt x="111" y="32"/>
                  </a:lnTo>
                  <a:lnTo>
                    <a:pt x="111" y="33"/>
                  </a:lnTo>
                  <a:lnTo>
                    <a:pt x="111" y="32"/>
                  </a:lnTo>
                  <a:lnTo>
                    <a:pt x="111" y="33"/>
                  </a:lnTo>
                  <a:lnTo>
                    <a:pt x="111" y="32"/>
                  </a:lnTo>
                  <a:lnTo>
                    <a:pt x="112" y="32"/>
                  </a:lnTo>
                  <a:lnTo>
                    <a:pt x="112" y="33"/>
                  </a:lnTo>
                  <a:lnTo>
                    <a:pt x="113" y="33"/>
                  </a:lnTo>
                  <a:lnTo>
                    <a:pt x="114" y="33"/>
                  </a:lnTo>
                  <a:lnTo>
                    <a:pt x="117" y="33"/>
                  </a:lnTo>
                  <a:lnTo>
                    <a:pt x="118" y="33"/>
                  </a:lnTo>
                  <a:lnTo>
                    <a:pt x="120" y="33"/>
                  </a:lnTo>
                  <a:lnTo>
                    <a:pt x="121" y="33"/>
                  </a:lnTo>
                  <a:lnTo>
                    <a:pt x="123" y="33"/>
                  </a:lnTo>
                  <a:lnTo>
                    <a:pt x="123" y="32"/>
                  </a:lnTo>
                  <a:lnTo>
                    <a:pt x="124" y="32"/>
                  </a:lnTo>
                  <a:lnTo>
                    <a:pt x="124" y="30"/>
                  </a:lnTo>
                  <a:lnTo>
                    <a:pt x="125" y="30"/>
                  </a:lnTo>
                  <a:lnTo>
                    <a:pt x="125" y="29"/>
                  </a:lnTo>
                  <a:lnTo>
                    <a:pt x="127" y="29"/>
                  </a:lnTo>
                  <a:lnTo>
                    <a:pt x="130" y="27"/>
                  </a:lnTo>
                  <a:lnTo>
                    <a:pt x="131" y="26"/>
                  </a:lnTo>
                  <a:lnTo>
                    <a:pt x="132" y="26"/>
                  </a:lnTo>
                  <a:lnTo>
                    <a:pt x="133" y="26"/>
                  </a:lnTo>
                  <a:lnTo>
                    <a:pt x="133" y="25"/>
                  </a:lnTo>
                  <a:lnTo>
                    <a:pt x="134" y="25"/>
                  </a:lnTo>
                  <a:lnTo>
                    <a:pt x="135" y="25"/>
                  </a:lnTo>
                  <a:lnTo>
                    <a:pt x="137" y="23"/>
                  </a:lnTo>
                  <a:lnTo>
                    <a:pt x="138" y="23"/>
                  </a:lnTo>
                  <a:lnTo>
                    <a:pt x="138" y="22"/>
                  </a:lnTo>
                  <a:lnTo>
                    <a:pt x="138" y="21"/>
                  </a:lnTo>
                  <a:lnTo>
                    <a:pt x="139" y="21"/>
                  </a:lnTo>
                  <a:lnTo>
                    <a:pt x="139" y="20"/>
                  </a:lnTo>
                  <a:lnTo>
                    <a:pt x="139" y="19"/>
                  </a:lnTo>
                  <a:lnTo>
                    <a:pt x="139" y="18"/>
                  </a:lnTo>
                  <a:lnTo>
                    <a:pt x="141" y="18"/>
                  </a:lnTo>
                  <a:lnTo>
                    <a:pt x="140" y="19"/>
                  </a:lnTo>
                  <a:lnTo>
                    <a:pt x="141" y="19"/>
                  </a:lnTo>
                  <a:lnTo>
                    <a:pt x="142" y="19"/>
                  </a:lnTo>
                  <a:lnTo>
                    <a:pt x="142" y="18"/>
                  </a:lnTo>
                  <a:lnTo>
                    <a:pt x="141" y="18"/>
                  </a:lnTo>
                  <a:lnTo>
                    <a:pt x="142" y="16"/>
                  </a:lnTo>
                  <a:lnTo>
                    <a:pt x="143" y="16"/>
                  </a:lnTo>
                  <a:lnTo>
                    <a:pt x="143" y="15"/>
                  </a:lnTo>
                  <a:lnTo>
                    <a:pt x="143" y="16"/>
                  </a:lnTo>
                  <a:lnTo>
                    <a:pt x="145" y="16"/>
                  </a:lnTo>
                  <a:lnTo>
                    <a:pt x="145" y="15"/>
                  </a:lnTo>
                  <a:lnTo>
                    <a:pt x="145" y="16"/>
                  </a:lnTo>
                  <a:lnTo>
                    <a:pt x="146" y="15"/>
                  </a:lnTo>
                  <a:lnTo>
                    <a:pt x="145" y="15"/>
                  </a:lnTo>
                  <a:lnTo>
                    <a:pt x="146" y="15"/>
                  </a:lnTo>
                  <a:lnTo>
                    <a:pt x="145" y="15"/>
                  </a:lnTo>
                  <a:lnTo>
                    <a:pt x="146" y="15"/>
                  </a:lnTo>
                  <a:lnTo>
                    <a:pt x="146" y="14"/>
                  </a:lnTo>
                  <a:lnTo>
                    <a:pt x="145" y="14"/>
                  </a:lnTo>
                  <a:lnTo>
                    <a:pt x="145" y="15"/>
                  </a:lnTo>
                  <a:lnTo>
                    <a:pt x="145" y="14"/>
                  </a:lnTo>
                  <a:lnTo>
                    <a:pt x="146" y="14"/>
                  </a:lnTo>
                  <a:close/>
                  <a:moveTo>
                    <a:pt x="6" y="14"/>
                  </a:moveTo>
                  <a:lnTo>
                    <a:pt x="6" y="13"/>
                  </a:lnTo>
                  <a:lnTo>
                    <a:pt x="7" y="13"/>
                  </a:lnTo>
                  <a:lnTo>
                    <a:pt x="6" y="14"/>
                  </a:lnTo>
                  <a:close/>
                  <a:moveTo>
                    <a:pt x="12" y="1"/>
                  </a:moveTo>
                  <a:lnTo>
                    <a:pt x="12" y="0"/>
                  </a:lnTo>
                  <a:lnTo>
                    <a:pt x="13" y="0"/>
                  </a:lnTo>
                  <a:lnTo>
                    <a:pt x="12" y="1"/>
                  </a:lnTo>
                  <a:close/>
                </a:path>
              </a:pathLst>
            </a:custGeom>
            <a:solidFill>
              <a:srgbClr val="0053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11" name="Freeform 865">
              <a:extLst>
                <a:ext uri="{FF2B5EF4-FFF2-40B4-BE49-F238E27FC236}">
                  <a16:creationId xmlns:a16="http://schemas.microsoft.com/office/drawing/2014/main" id="{36D05306-B8A6-41E4-97AE-8A5981453EDA}"/>
                </a:ext>
              </a:extLst>
            </p:cNvPr>
            <p:cNvSpPr>
              <a:spLocks noEditPoints="1"/>
            </p:cNvSpPr>
            <p:nvPr/>
          </p:nvSpPr>
          <p:spPr bwMode="auto">
            <a:xfrm>
              <a:off x="6606385" y="3588916"/>
              <a:ext cx="24039" cy="20033"/>
            </a:xfrm>
            <a:custGeom>
              <a:avLst/>
              <a:gdLst>
                <a:gd name="T0" fmla="*/ 8 w 18"/>
                <a:gd name="T1" fmla="*/ 15 h 15"/>
                <a:gd name="T2" fmla="*/ 7 w 18"/>
                <a:gd name="T3" fmla="*/ 15 h 15"/>
                <a:gd name="T4" fmla="*/ 5 w 18"/>
                <a:gd name="T5" fmla="*/ 15 h 15"/>
                <a:gd name="T6" fmla="*/ 5 w 18"/>
                <a:gd name="T7" fmla="*/ 14 h 15"/>
                <a:gd name="T8" fmla="*/ 5 w 18"/>
                <a:gd name="T9" fmla="*/ 14 h 15"/>
                <a:gd name="T10" fmla="*/ 5 w 18"/>
                <a:gd name="T11" fmla="*/ 14 h 15"/>
                <a:gd name="T12" fmla="*/ 5 w 18"/>
                <a:gd name="T13" fmla="*/ 13 h 15"/>
                <a:gd name="T14" fmla="*/ 7 w 18"/>
                <a:gd name="T15" fmla="*/ 14 h 15"/>
                <a:gd name="T16" fmla="*/ 7 w 18"/>
                <a:gd name="T17" fmla="*/ 14 h 15"/>
                <a:gd name="T18" fmla="*/ 8 w 18"/>
                <a:gd name="T19" fmla="*/ 14 h 15"/>
                <a:gd name="T20" fmla="*/ 9 w 18"/>
                <a:gd name="T21" fmla="*/ 15 h 15"/>
                <a:gd name="T22" fmla="*/ 9 w 18"/>
                <a:gd name="T23" fmla="*/ 15 h 15"/>
                <a:gd name="T24" fmla="*/ 17 w 18"/>
                <a:gd name="T25" fmla="*/ 11 h 15"/>
                <a:gd name="T26" fmla="*/ 18 w 18"/>
                <a:gd name="T27" fmla="*/ 13 h 15"/>
                <a:gd name="T28" fmla="*/ 18 w 18"/>
                <a:gd name="T29" fmla="*/ 15 h 15"/>
                <a:gd name="T30" fmla="*/ 17 w 18"/>
                <a:gd name="T31" fmla="*/ 15 h 15"/>
                <a:gd name="T32" fmla="*/ 17 w 18"/>
                <a:gd name="T33" fmla="*/ 15 h 15"/>
                <a:gd name="T34" fmla="*/ 17 w 18"/>
                <a:gd name="T35" fmla="*/ 15 h 15"/>
                <a:gd name="T36" fmla="*/ 16 w 18"/>
                <a:gd name="T37" fmla="*/ 14 h 15"/>
                <a:gd name="T38" fmla="*/ 16 w 18"/>
                <a:gd name="T39" fmla="*/ 14 h 15"/>
                <a:gd name="T40" fmla="*/ 16 w 18"/>
                <a:gd name="T41" fmla="*/ 13 h 15"/>
                <a:gd name="T42" fmla="*/ 15 w 18"/>
                <a:gd name="T43" fmla="*/ 13 h 15"/>
                <a:gd name="T44" fmla="*/ 13 w 18"/>
                <a:gd name="T45" fmla="*/ 12 h 15"/>
                <a:gd name="T46" fmla="*/ 13 w 18"/>
                <a:gd name="T47" fmla="*/ 12 h 15"/>
                <a:gd name="T48" fmla="*/ 15 w 18"/>
                <a:gd name="T49" fmla="*/ 13 h 15"/>
                <a:gd name="T50" fmla="*/ 15 w 18"/>
                <a:gd name="T51" fmla="*/ 13 h 15"/>
                <a:gd name="T52" fmla="*/ 16 w 18"/>
                <a:gd name="T53" fmla="*/ 13 h 15"/>
                <a:gd name="T54" fmla="*/ 16 w 18"/>
                <a:gd name="T55" fmla="*/ 13 h 15"/>
                <a:gd name="T56" fmla="*/ 17 w 18"/>
                <a:gd name="T57" fmla="*/ 12 h 15"/>
                <a:gd name="T58" fmla="*/ 17 w 18"/>
                <a:gd name="T59" fmla="*/ 11 h 15"/>
                <a:gd name="T60" fmla="*/ 17 w 18"/>
                <a:gd name="T61" fmla="*/ 11 h 15"/>
                <a:gd name="T62" fmla="*/ 17 w 18"/>
                <a:gd name="T63" fmla="*/ 11 h 15"/>
                <a:gd name="T64" fmla="*/ 17 w 18"/>
                <a:gd name="T65" fmla="*/ 11 h 15"/>
                <a:gd name="T66" fmla="*/ 17 w 18"/>
                <a:gd name="T67" fmla="*/ 11 h 15"/>
                <a:gd name="T68" fmla="*/ 3 w 18"/>
                <a:gd name="T69" fmla="*/ 8 h 15"/>
                <a:gd name="T70" fmla="*/ 3 w 18"/>
                <a:gd name="T71" fmla="*/ 8 h 15"/>
                <a:gd name="T72" fmla="*/ 3 w 18"/>
                <a:gd name="T73" fmla="*/ 8 h 15"/>
                <a:gd name="T74" fmla="*/ 2 w 18"/>
                <a:gd name="T75" fmla="*/ 7 h 15"/>
                <a:gd name="T76" fmla="*/ 1 w 18"/>
                <a:gd name="T77" fmla="*/ 7 h 15"/>
                <a:gd name="T78" fmla="*/ 1 w 18"/>
                <a:gd name="T79" fmla="*/ 7 h 15"/>
                <a:gd name="T80" fmla="*/ 1 w 18"/>
                <a:gd name="T81" fmla="*/ 7 h 15"/>
                <a:gd name="T82" fmla="*/ 1 w 18"/>
                <a:gd name="T83" fmla="*/ 6 h 15"/>
                <a:gd name="T84" fmla="*/ 1 w 18"/>
                <a:gd name="T85" fmla="*/ 6 h 15"/>
                <a:gd name="T86" fmla="*/ 1 w 18"/>
                <a:gd name="T87" fmla="*/ 5 h 15"/>
                <a:gd name="T88" fmla="*/ 1 w 18"/>
                <a:gd name="T89" fmla="*/ 5 h 15"/>
                <a:gd name="T90" fmla="*/ 1 w 18"/>
                <a:gd name="T91" fmla="*/ 4 h 15"/>
                <a:gd name="T92" fmla="*/ 1 w 18"/>
                <a:gd name="T93" fmla="*/ 1 h 15"/>
                <a:gd name="T94" fmla="*/ 1 w 18"/>
                <a:gd name="T95" fmla="*/ 1 h 15"/>
                <a:gd name="T96" fmla="*/ 1 w 18"/>
                <a:gd name="T97" fmla="*/ 0 h 15"/>
                <a:gd name="T98" fmla="*/ 2 w 18"/>
                <a:gd name="T99" fmla="*/ 0 h 15"/>
                <a:gd name="T100" fmla="*/ 2 w 18"/>
                <a:gd name="T101" fmla="*/ 0 h 15"/>
                <a:gd name="T102" fmla="*/ 3 w 18"/>
                <a:gd name="T103" fmla="*/ 0 h 15"/>
                <a:gd name="T104" fmla="*/ 3 w 18"/>
                <a:gd name="T105" fmla="*/ 0 h 15"/>
                <a:gd name="T106" fmla="*/ 3 w 18"/>
                <a:gd name="T107" fmla="*/ 4 h 15"/>
                <a:gd name="T108" fmla="*/ 3 w 18"/>
                <a:gd name="T109" fmla="*/ 6 h 15"/>
                <a:gd name="T110" fmla="*/ 3 w 18"/>
                <a:gd name="T111" fmla="*/ 6 h 15"/>
                <a:gd name="T112" fmla="*/ 3 w 18"/>
                <a:gd name="T113" fmla="*/ 6 h 15"/>
                <a:gd name="T114" fmla="*/ 3 w 18"/>
                <a:gd name="T115" fmla="*/ 7 h 15"/>
                <a:gd name="T116" fmla="*/ 3 w 18"/>
                <a:gd name="T117" fmla="*/ 7 h 15"/>
                <a:gd name="T118" fmla="*/ 4 w 18"/>
                <a:gd name="T119" fmla="*/ 7 h 15"/>
                <a:gd name="T120" fmla="*/ 4 w 18"/>
                <a:gd name="T121" fmla="*/ 8 h 15"/>
                <a:gd name="T122" fmla="*/ 4 w 18"/>
                <a:gd name="T123" fmla="*/ 8 h 15"/>
                <a:gd name="T124" fmla="*/ 3 w 18"/>
                <a:gd name="T12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 h="15">
                  <a:moveTo>
                    <a:pt x="9" y="15"/>
                  </a:moveTo>
                  <a:lnTo>
                    <a:pt x="8" y="15"/>
                  </a:lnTo>
                  <a:lnTo>
                    <a:pt x="8" y="15"/>
                  </a:lnTo>
                  <a:lnTo>
                    <a:pt x="7" y="15"/>
                  </a:lnTo>
                  <a:lnTo>
                    <a:pt x="7" y="15"/>
                  </a:lnTo>
                  <a:lnTo>
                    <a:pt x="5" y="15"/>
                  </a:lnTo>
                  <a:lnTo>
                    <a:pt x="7" y="15"/>
                  </a:lnTo>
                  <a:lnTo>
                    <a:pt x="5" y="14"/>
                  </a:lnTo>
                  <a:lnTo>
                    <a:pt x="5" y="14"/>
                  </a:lnTo>
                  <a:lnTo>
                    <a:pt x="5" y="14"/>
                  </a:lnTo>
                  <a:lnTo>
                    <a:pt x="5" y="14"/>
                  </a:lnTo>
                  <a:lnTo>
                    <a:pt x="5" y="14"/>
                  </a:lnTo>
                  <a:lnTo>
                    <a:pt x="5" y="14"/>
                  </a:lnTo>
                  <a:lnTo>
                    <a:pt x="5" y="13"/>
                  </a:lnTo>
                  <a:lnTo>
                    <a:pt x="5" y="13"/>
                  </a:lnTo>
                  <a:lnTo>
                    <a:pt x="7" y="14"/>
                  </a:lnTo>
                  <a:lnTo>
                    <a:pt x="7" y="14"/>
                  </a:lnTo>
                  <a:lnTo>
                    <a:pt x="7" y="14"/>
                  </a:lnTo>
                  <a:lnTo>
                    <a:pt x="8" y="14"/>
                  </a:lnTo>
                  <a:lnTo>
                    <a:pt x="8" y="14"/>
                  </a:lnTo>
                  <a:lnTo>
                    <a:pt x="8" y="14"/>
                  </a:lnTo>
                  <a:lnTo>
                    <a:pt x="9" y="15"/>
                  </a:lnTo>
                  <a:lnTo>
                    <a:pt x="9" y="15"/>
                  </a:lnTo>
                  <a:lnTo>
                    <a:pt x="9" y="15"/>
                  </a:lnTo>
                  <a:lnTo>
                    <a:pt x="9" y="15"/>
                  </a:lnTo>
                  <a:close/>
                  <a:moveTo>
                    <a:pt x="17" y="11"/>
                  </a:moveTo>
                  <a:lnTo>
                    <a:pt x="18" y="13"/>
                  </a:lnTo>
                  <a:lnTo>
                    <a:pt x="18" y="13"/>
                  </a:lnTo>
                  <a:lnTo>
                    <a:pt x="18" y="15"/>
                  </a:lnTo>
                  <a:lnTo>
                    <a:pt x="18" y="15"/>
                  </a:lnTo>
                  <a:lnTo>
                    <a:pt x="18" y="15"/>
                  </a:lnTo>
                  <a:lnTo>
                    <a:pt x="17" y="15"/>
                  </a:lnTo>
                  <a:lnTo>
                    <a:pt x="17" y="15"/>
                  </a:lnTo>
                  <a:lnTo>
                    <a:pt x="17" y="15"/>
                  </a:lnTo>
                  <a:lnTo>
                    <a:pt x="17" y="15"/>
                  </a:lnTo>
                  <a:lnTo>
                    <a:pt x="17" y="15"/>
                  </a:lnTo>
                  <a:lnTo>
                    <a:pt x="17" y="15"/>
                  </a:lnTo>
                  <a:lnTo>
                    <a:pt x="16" y="14"/>
                  </a:lnTo>
                  <a:lnTo>
                    <a:pt x="16" y="14"/>
                  </a:lnTo>
                  <a:lnTo>
                    <a:pt x="16" y="14"/>
                  </a:lnTo>
                  <a:lnTo>
                    <a:pt x="16" y="13"/>
                  </a:lnTo>
                  <a:lnTo>
                    <a:pt x="16" y="13"/>
                  </a:lnTo>
                  <a:lnTo>
                    <a:pt x="15" y="13"/>
                  </a:lnTo>
                  <a:lnTo>
                    <a:pt x="15" y="13"/>
                  </a:lnTo>
                  <a:lnTo>
                    <a:pt x="13" y="13"/>
                  </a:lnTo>
                  <a:lnTo>
                    <a:pt x="13" y="12"/>
                  </a:lnTo>
                  <a:lnTo>
                    <a:pt x="13" y="12"/>
                  </a:lnTo>
                  <a:lnTo>
                    <a:pt x="13" y="12"/>
                  </a:lnTo>
                  <a:lnTo>
                    <a:pt x="15" y="13"/>
                  </a:lnTo>
                  <a:lnTo>
                    <a:pt x="15" y="13"/>
                  </a:lnTo>
                  <a:lnTo>
                    <a:pt x="15" y="13"/>
                  </a:lnTo>
                  <a:lnTo>
                    <a:pt x="15" y="13"/>
                  </a:lnTo>
                  <a:lnTo>
                    <a:pt x="16" y="13"/>
                  </a:lnTo>
                  <a:lnTo>
                    <a:pt x="16" y="13"/>
                  </a:lnTo>
                  <a:lnTo>
                    <a:pt x="16" y="13"/>
                  </a:lnTo>
                  <a:lnTo>
                    <a:pt x="16" y="13"/>
                  </a:lnTo>
                  <a:lnTo>
                    <a:pt x="16" y="12"/>
                  </a:lnTo>
                  <a:lnTo>
                    <a:pt x="17" y="12"/>
                  </a:lnTo>
                  <a:lnTo>
                    <a:pt x="17" y="11"/>
                  </a:lnTo>
                  <a:lnTo>
                    <a:pt x="17" y="11"/>
                  </a:lnTo>
                  <a:lnTo>
                    <a:pt x="17" y="11"/>
                  </a:lnTo>
                  <a:lnTo>
                    <a:pt x="17" y="11"/>
                  </a:lnTo>
                  <a:lnTo>
                    <a:pt x="17" y="11"/>
                  </a:lnTo>
                  <a:lnTo>
                    <a:pt x="17" y="11"/>
                  </a:lnTo>
                  <a:lnTo>
                    <a:pt x="17" y="11"/>
                  </a:lnTo>
                  <a:lnTo>
                    <a:pt x="17" y="11"/>
                  </a:lnTo>
                  <a:lnTo>
                    <a:pt x="17" y="11"/>
                  </a:lnTo>
                  <a:lnTo>
                    <a:pt x="17" y="11"/>
                  </a:lnTo>
                  <a:lnTo>
                    <a:pt x="17" y="11"/>
                  </a:lnTo>
                  <a:close/>
                  <a:moveTo>
                    <a:pt x="3" y="8"/>
                  </a:moveTo>
                  <a:lnTo>
                    <a:pt x="3" y="8"/>
                  </a:lnTo>
                  <a:lnTo>
                    <a:pt x="3" y="8"/>
                  </a:lnTo>
                  <a:lnTo>
                    <a:pt x="3" y="8"/>
                  </a:lnTo>
                  <a:lnTo>
                    <a:pt x="3" y="8"/>
                  </a:lnTo>
                  <a:lnTo>
                    <a:pt x="2" y="7"/>
                  </a:lnTo>
                  <a:lnTo>
                    <a:pt x="2" y="7"/>
                  </a:lnTo>
                  <a:lnTo>
                    <a:pt x="2" y="7"/>
                  </a:lnTo>
                  <a:lnTo>
                    <a:pt x="1" y="7"/>
                  </a:lnTo>
                  <a:lnTo>
                    <a:pt x="1" y="7"/>
                  </a:lnTo>
                  <a:lnTo>
                    <a:pt x="1" y="7"/>
                  </a:lnTo>
                  <a:lnTo>
                    <a:pt x="1" y="7"/>
                  </a:lnTo>
                  <a:lnTo>
                    <a:pt x="1" y="7"/>
                  </a:lnTo>
                  <a:lnTo>
                    <a:pt x="1" y="6"/>
                  </a:lnTo>
                  <a:lnTo>
                    <a:pt x="1" y="6"/>
                  </a:lnTo>
                  <a:lnTo>
                    <a:pt x="1" y="6"/>
                  </a:lnTo>
                  <a:lnTo>
                    <a:pt x="1" y="6"/>
                  </a:lnTo>
                  <a:lnTo>
                    <a:pt x="0" y="5"/>
                  </a:lnTo>
                  <a:lnTo>
                    <a:pt x="1" y="5"/>
                  </a:lnTo>
                  <a:lnTo>
                    <a:pt x="1" y="5"/>
                  </a:lnTo>
                  <a:lnTo>
                    <a:pt x="1" y="5"/>
                  </a:lnTo>
                  <a:lnTo>
                    <a:pt x="1" y="5"/>
                  </a:lnTo>
                  <a:lnTo>
                    <a:pt x="1" y="4"/>
                  </a:lnTo>
                  <a:lnTo>
                    <a:pt x="1" y="4"/>
                  </a:lnTo>
                  <a:lnTo>
                    <a:pt x="1" y="1"/>
                  </a:lnTo>
                  <a:lnTo>
                    <a:pt x="1" y="1"/>
                  </a:lnTo>
                  <a:lnTo>
                    <a:pt x="1" y="1"/>
                  </a:lnTo>
                  <a:lnTo>
                    <a:pt x="1" y="0"/>
                  </a:lnTo>
                  <a:lnTo>
                    <a:pt x="1" y="0"/>
                  </a:lnTo>
                  <a:lnTo>
                    <a:pt x="1" y="0"/>
                  </a:lnTo>
                  <a:lnTo>
                    <a:pt x="2" y="0"/>
                  </a:lnTo>
                  <a:lnTo>
                    <a:pt x="2" y="0"/>
                  </a:lnTo>
                  <a:lnTo>
                    <a:pt x="2" y="0"/>
                  </a:lnTo>
                  <a:lnTo>
                    <a:pt x="3" y="0"/>
                  </a:lnTo>
                  <a:lnTo>
                    <a:pt x="3" y="0"/>
                  </a:lnTo>
                  <a:lnTo>
                    <a:pt x="3" y="0"/>
                  </a:lnTo>
                  <a:lnTo>
                    <a:pt x="3" y="0"/>
                  </a:lnTo>
                  <a:lnTo>
                    <a:pt x="3" y="4"/>
                  </a:lnTo>
                  <a:lnTo>
                    <a:pt x="3" y="4"/>
                  </a:lnTo>
                  <a:lnTo>
                    <a:pt x="3" y="5"/>
                  </a:lnTo>
                  <a:lnTo>
                    <a:pt x="3" y="6"/>
                  </a:lnTo>
                  <a:lnTo>
                    <a:pt x="3" y="6"/>
                  </a:lnTo>
                  <a:lnTo>
                    <a:pt x="3" y="6"/>
                  </a:lnTo>
                  <a:lnTo>
                    <a:pt x="3" y="6"/>
                  </a:lnTo>
                  <a:lnTo>
                    <a:pt x="3" y="6"/>
                  </a:lnTo>
                  <a:lnTo>
                    <a:pt x="3" y="7"/>
                  </a:lnTo>
                  <a:lnTo>
                    <a:pt x="3" y="7"/>
                  </a:lnTo>
                  <a:lnTo>
                    <a:pt x="3" y="7"/>
                  </a:lnTo>
                  <a:lnTo>
                    <a:pt x="3" y="7"/>
                  </a:lnTo>
                  <a:lnTo>
                    <a:pt x="4" y="7"/>
                  </a:lnTo>
                  <a:lnTo>
                    <a:pt x="4" y="7"/>
                  </a:lnTo>
                  <a:lnTo>
                    <a:pt x="4" y="8"/>
                  </a:lnTo>
                  <a:lnTo>
                    <a:pt x="4" y="8"/>
                  </a:lnTo>
                  <a:lnTo>
                    <a:pt x="4" y="8"/>
                  </a:lnTo>
                  <a:lnTo>
                    <a:pt x="4" y="8"/>
                  </a:lnTo>
                  <a:lnTo>
                    <a:pt x="4" y="8"/>
                  </a:lnTo>
                  <a:lnTo>
                    <a:pt x="3" y="8"/>
                  </a:lnTo>
                  <a:lnTo>
                    <a:pt x="3" y="8"/>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12" name="Freeform 866">
              <a:extLst>
                <a:ext uri="{FF2B5EF4-FFF2-40B4-BE49-F238E27FC236}">
                  <a16:creationId xmlns:a16="http://schemas.microsoft.com/office/drawing/2014/main" id="{7ECB6F01-B0AA-4071-B0CE-298B92C242A6}"/>
                </a:ext>
              </a:extLst>
            </p:cNvPr>
            <p:cNvSpPr>
              <a:spLocks noEditPoints="1"/>
            </p:cNvSpPr>
            <p:nvPr/>
          </p:nvSpPr>
          <p:spPr bwMode="auto">
            <a:xfrm>
              <a:off x="5340343" y="2983939"/>
              <a:ext cx="48078" cy="50749"/>
            </a:xfrm>
            <a:custGeom>
              <a:avLst/>
              <a:gdLst>
                <a:gd name="T0" fmla="*/ 7 w 36"/>
                <a:gd name="T1" fmla="*/ 38 h 38"/>
                <a:gd name="T2" fmla="*/ 7 w 36"/>
                <a:gd name="T3" fmla="*/ 38 h 38"/>
                <a:gd name="T4" fmla="*/ 8 w 36"/>
                <a:gd name="T5" fmla="*/ 38 h 38"/>
                <a:gd name="T6" fmla="*/ 11 w 36"/>
                <a:gd name="T7" fmla="*/ 37 h 38"/>
                <a:gd name="T8" fmla="*/ 12 w 36"/>
                <a:gd name="T9" fmla="*/ 34 h 38"/>
                <a:gd name="T10" fmla="*/ 13 w 36"/>
                <a:gd name="T11" fmla="*/ 37 h 38"/>
                <a:gd name="T12" fmla="*/ 13 w 36"/>
                <a:gd name="T13" fmla="*/ 38 h 38"/>
                <a:gd name="T14" fmla="*/ 22 w 36"/>
                <a:gd name="T15" fmla="*/ 31 h 38"/>
                <a:gd name="T16" fmla="*/ 24 w 36"/>
                <a:gd name="T17" fmla="*/ 33 h 38"/>
                <a:gd name="T18" fmla="*/ 25 w 36"/>
                <a:gd name="T19" fmla="*/ 33 h 38"/>
                <a:gd name="T20" fmla="*/ 25 w 36"/>
                <a:gd name="T21" fmla="*/ 33 h 38"/>
                <a:gd name="T22" fmla="*/ 25 w 36"/>
                <a:gd name="T23" fmla="*/ 35 h 38"/>
                <a:gd name="T24" fmla="*/ 25 w 36"/>
                <a:gd name="T25" fmla="*/ 35 h 38"/>
                <a:gd name="T26" fmla="*/ 25 w 36"/>
                <a:gd name="T27" fmla="*/ 37 h 38"/>
                <a:gd name="T28" fmla="*/ 22 w 36"/>
                <a:gd name="T29" fmla="*/ 37 h 38"/>
                <a:gd name="T30" fmla="*/ 21 w 36"/>
                <a:gd name="T31" fmla="*/ 34 h 38"/>
                <a:gd name="T32" fmla="*/ 21 w 36"/>
                <a:gd name="T33" fmla="*/ 34 h 38"/>
                <a:gd name="T34" fmla="*/ 21 w 36"/>
                <a:gd name="T35" fmla="*/ 32 h 38"/>
                <a:gd name="T36" fmla="*/ 21 w 36"/>
                <a:gd name="T37" fmla="*/ 31 h 38"/>
                <a:gd name="T38" fmla="*/ 21 w 36"/>
                <a:gd name="T39" fmla="*/ 30 h 38"/>
                <a:gd name="T40" fmla="*/ 29 w 36"/>
                <a:gd name="T41" fmla="*/ 31 h 38"/>
                <a:gd name="T42" fmla="*/ 29 w 36"/>
                <a:gd name="T43" fmla="*/ 33 h 38"/>
                <a:gd name="T44" fmla="*/ 29 w 36"/>
                <a:gd name="T45" fmla="*/ 33 h 38"/>
                <a:gd name="T46" fmla="*/ 28 w 36"/>
                <a:gd name="T47" fmla="*/ 32 h 38"/>
                <a:gd name="T48" fmla="*/ 28 w 36"/>
                <a:gd name="T49" fmla="*/ 31 h 38"/>
                <a:gd name="T50" fmla="*/ 29 w 36"/>
                <a:gd name="T51" fmla="*/ 30 h 38"/>
                <a:gd name="T52" fmla="*/ 29 w 36"/>
                <a:gd name="T53" fmla="*/ 30 h 38"/>
                <a:gd name="T54" fmla="*/ 35 w 36"/>
                <a:gd name="T55" fmla="*/ 16 h 38"/>
                <a:gd name="T56" fmla="*/ 36 w 36"/>
                <a:gd name="T57" fmla="*/ 17 h 38"/>
                <a:gd name="T58" fmla="*/ 36 w 36"/>
                <a:gd name="T59" fmla="*/ 18 h 38"/>
                <a:gd name="T60" fmla="*/ 34 w 36"/>
                <a:gd name="T61" fmla="*/ 19 h 38"/>
                <a:gd name="T62" fmla="*/ 33 w 36"/>
                <a:gd name="T63" fmla="*/ 18 h 38"/>
                <a:gd name="T64" fmla="*/ 33 w 36"/>
                <a:gd name="T65" fmla="*/ 16 h 38"/>
                <a:gd name="T66" fmla="*/ 15 w 36"/>
                <a:gd name="T67" fmla="*/ 9 h 38"/>
                <a:gd name="T68" fmla="*/ 18 w 36"/>
                <a:gd name="T69" fmla="*/ 10 h 38"/>
                <a:gd name="T70" fmla="*/ 14 w 36"/>
                <a:gd name="T71" fmla="*/ 10 h 38"/>
                <a:gd name="T72" fmla="*/ 13 w 36"/>
                <a:gd name="T73" fmla="*/ 11 h 38"/>
                <a:gd name="T74" fmla="*/ 13 w 36"/>
                <a:gd name="T75" fmla="*/ 10 h 38"/>
                <a:gd name="T76" fmla="*/ 14 w 36"/>
                <a:gd name="T77" fmla="*/ 9 h 38"/>
                <a:gd name="T78" fmla="*/ 34 w 36"/>
                <a:gd name="T79" fmla="*/ 9 h 38"/>
                <a:gd name="T80" fmla="*/ 34 w 36"/>
                <a:gd name="T81" fmla="*/ 10 h 38"/>
                <a:gd name="T82" fmla="*/ 33 w 36"/>
                <a:gd name="T83" fmla="*/ 9 h 38"/>
                <a:gd name="T84" fmla="*/ 33 w 36"/>
                <a:gd name="T85" fmla="*/ 7 h 38"/>
                <a:gd name="T86" fmla="*/ 34 w 36"/>
                <a:gd name="T87" fmla="*/ 6 h 38"/>
                <a:gd name="T88" fmla="*/ 34 w 36"/>
                <a:gd name="T89" fmla="*/ 6 h 38"/>
                <a:gd name="T90" fmla="*/ 6 w 36"/>
                <a:gd name="T91" fmla="*/ 5 h 38"/>
                <a:gd name="T92" fmla="*/ 6 w 36"/>
                <a:gd name="T93" fmla="*/ 6 h 38"/>
                <a:gd name="T94" fmla="*/ 5 w 36"/>
                <a:gd name="T95" fmla="*/ 7 h 38"/>
                <a:gd name="T96" fmla="*/ 4 w 36"/>
                <a:gd name="T97" fmla="*/ 6 h 38"/>
                <a:gd name="T98" fmla="*/ 5 w 36"/>
                <a:gd name="T99" fmla="*/ 5 h 38"/>
                <a:gd name="T100" fmla="*/ 6 w 36"/>
                <a:gd name="T101" fmla="*/ 5 h 38"/>
                <a:gd name="T102" fmla="*/ 5 w 36"/>
                <a:gd name="T103" fmla="*/ 2 h 38"/>
                <a:gd name="T104" fmla="*/ 5 w 36"/>
                <a:gd name="T105" fmla="*/ 2 h 38"/>
                <a:gd name="T106" fmla="*/ 4 w 36"/>
                <a:gd name="T107" fmla="*/ 3 h 38"/>
                <a:gd name="T108" fmla="*/ 1 w 36"/>
                <a:gd name="T109" fmla="*/ 5 h 38"/>
                <a:gd name="T110" fmla="*/ 0 w 36"/>
                <a:gd name="T111" fmla="*/ 3 h 38"/>
                <a:gd name="T112" fmla="*/ 0 w 36"/>
                <a:gd name="T113" fmla="*/ 2 h 38"/>
                <a:gd name="T114" fmla="*/ 3 w 36"/>
                <a:gd name="T11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 h="38">
                  <a:moveTo>
                    <a:pt x="8" y="38"/>
                  </a:moveTo>
                  <a:lnTo>
                    <a:pt x="8" y="38"/>
                  </a:lnTo>
                  <a:lnTo>
                    <a:pt x="8" y="38"/>
                  </a:lnTo>
                  <a:lnTo>
                    <a:pt x="8" y="38"/>
                  </a:lnTo>
                  <a:lnTo>
                    <a:pt x="8" y="38"/>
                  </a:lnTo>
                  <a:lnTo>
                    <a:pt x="7" y="38"/>
                  </a:lnTo>
                  <a:lnTo>
                    <a:pt x="7" y="38"/>
                  </a:lnTo>
                  <a:lnTo>
                    <a:pt x="7" y="38"/>
                  </a:lnTo>
                  <a:lnTo>
                    <a:pt x="7" y="38"/>
                  </a:lnTo>
                  <a:lnTo>
                    <a:pt x="7" y="38"/>
                  </a:lnTo>
                  <a:lnTo>
                    <a:pt x="7" y="38"/>
                  </a:lnTo>
                  <a:lnTo>
                    <a:pt x="7" y="38"/>
                  </a:lnTo>
                  <a:lnTo>
                    <a:pt x="7" y="38"/>
                  </a:lnTo>
                  <a:lnTo>
                    <a:pt x="7" y="38"/>
                  </a:lnTo>
                  <a:lnTo>
                    <a:pt x="7" y="38"/>
                  </a:lnTo>
                  <a:lnTo>
                    <a:pt x="7" y="37"/>
                  </a:lnTo>
                  <a:lnTo>
                    <a:pt x="7" y="37"/>
                  </a:lnTo>
                  <a:lnTo>
                    <a:pt x="7" y="37"/>
                  </a:lnTo>
                  <a:lnTo>
                    <a:pt x="8" y="37"/>
                  </a:lnTo>
                  <a:lnTo>
                    <a:pt x="8" y="37"/>
                  </a:lnTo>
                  <a:lnTo>
                    <a:pt x="8" y="38"/>
                  </a:lnTo>
                  <a:lnTo>
                    <a:pt x="8" y="38"/>
                  </a:lnTo>
                  <a:lnTo>
                    <a:pt x="8" y="38"/>
                  </a:lnTo>
                  <a:close/>
                  <a:moveTo>
                    <a:pt x="13" y="38"/>
                  </a:moveTo>
                  <a:lnTo>
                    <a:pt x="12" y="38"/>
                  </a:lnTo>
                  <a:lnTo>
                    <a:pt x="12" y="38"/>
                  </a:lnTo>
                  <a:lnTo>
                    <a:pt x="12" y="38"/>
                  </a:lnTo>
                  <a:lnTo>
                    <a:pt x="11" y="37"/>
                  </a:lnTo>
                  <a:lnTo>
                    <a:pt x="11" y="37"/>
                  </a:lnTo>
                  <a:lnTo>
                    <a:pt x="11" y="37"/>
                  </a:lnTo>
                  <a:lnTo>
                    <a:pt x="11" y="37"/>
                  </a:lnTo>
                  <a:lnTo>
                    <a:pt x="11" y="35"/>
                  </a:lnTo>
                  <a:lnTo>
                    <a:pt x="11" y="35"/>
                  </a:lnTo>
                  <a:lnTo>
                    <a:pt x="12" y="35"/>
                  </a:lnTo>
                  <a:lnTo>
                    <a:pt x="12" y="34"/>
                  </a:lnTo>
                  <a:lnTo>
                    <a:pt x="12" y="34"/>
                  </a:lnTo>
                  <a:lnTo>
                    <a:pt x="13" y="34"/>
                  </a:lnTo>
                  <a:lnTo>
                    <a:pt x="13" y="34"/>
                  </a:lnTo>
                  <a:lnTo>
                    <a:pt x="13" y="34"/>
                  </a:lnTo>
                  <a:lnTo>
                    <a:pt x="13" y="35"/>
                  </a:lnTo>
                  <a:lnTo>
                    <a:pt x="13" y="35"/>
                  </a:lnTo>
                  <a:lnTo>
                    <a:pt x="13" y="37"/>
                  </a:lnTo>
                  <a:lnTo>
                    <a:pt x="13" y="37"/>
                  </a:lnTo>
                  <a:lnTo>
                    <a:pt x="13" y="37"/>
                  </a:lnTo>
                  <a:lnTo>
                    <a:pt x="13" y="37"/>
                  </a:lnTo>
                  <a:lnTo>
                    <a:pt x="13" y="37"/>
                  </a:lnTo>
                  <a:lnTo>
                    <a:pt x="13" y="38"/>
                  </a:lnTo>
                  <a:lnTo>
                    <a:pt x="13" y="38"/>
                  </a:lnTo>
                  <a:lnTo>
                    <a:pt x="13" y="38"/>
                  </a:lnTo>
                  <a:close/>
                  <a:moveTo>
                    <a:pt x="21" y="31"/>
                  </a:moveTo>
                  <a:lnTo>
                    <a:pt x="21" y="31"/>
                  </a:lnTo>
                  <a:lnTo>
                    <a:pt x="21" y="30"/>
                  </a:lnTo>
                  <a:lnTo>
                    <a:pt x="22" y="31"/>
                  </a:lnTo>
                  <a:lnTo>
                    <a:pt x="22" y="31"/>
                  </a:lnTo>
                  <a:lnTo>
                    <a:pt x="22" y="31"/>
                  </a:lnTo>
                  <a:lnTo>
                    <a:pt x="22" y="31"/>
                  </a:lnTo>
                  <a:lnTo>
                    <a:pt x="22" y="31"/>
                  </a:lnTo>
                  <a:lnTo>
                    <a:pt x="22" y="32"/>
                  </a:lnTo>
                  <a:lnTo>
                    <a:pt x="22" y="32"/>
                  </a:lnTo>
                  <a:lnTo>
                    <a:pt x="22" y="32"/>
                  </a:lnTo>
                  <a:lnTo>
                    <a:pt x="22" y="32"/>
                  </a:lnTo>
                  <a:lnTo>
                    <a:pt x="24" y="32"/>
                  </a:lnTo>
                  <a:lnTo>
                    <a:pt x="24" y="33"/>
                  </a:lnTo>
                  <a:lnTo>
                    <a:pt x="24" y="33"/>
                  </a:lnTo>
                  <a:lnTo>
                    <a:pt x="24" y="33"/>
                  </a:lnTo>
                  <a:lnTo>
                    <a:pt x="24" y="33"/>
                  </a:lnTo>
                  <a:lnTo>
                    <a:pt x="24" y="33"/>
                  </a:lnTo>
                  <a:lnTo>
                    <a:pt x="24" y="33"/>
                  </a:lnTo>
                  <a:lnTo>
                    <a:pt x="25" y="33"/>
                  </a:lnTo>
                  <a:lnTo>
                    <a:pt x="25" y="33"/>
                  </a:lnTo>
                  <a:lnTo>
                    <a:pt x="25" y="33"/>
                  </a:lnTo>
                  <a:lnTo>
                    <a:pt x="25" y="33"/>
                  </a:lnTo>
                  <a:lnTo>
                    <a:pt x="25" y="33"/>
                  </a:lnTo>
                  <a:lnTo>
                    <a:pt x="25" y="33"/>
                  </a:lnTo>
                  <a:lnTo>
                    <a:pt x="25" y="33"/>
                  </a:lnTo>
                  <a:lnTo>
                    <a:pt x="25" y="33"/>
                  </a:lnTo>
                  <a:lnTo>
                    <a:pt x="25" y="33"/>
                  </a:lnTo>
                  <a:lnTo>
                    <a:pt x="25" y="33"/>
                  </a:lnTo>
                  <a:lnTo>
                    <a:pt x="25" y="33"/>
                  </a:lnTo>
                  <a:lnTo>
                    <a:pt x="25" y="34"/>
                  </a:lnTo>
                  <a:lnTo>
                    <a:pt x="25" y="34"/>
                  </a:lnTo>
                  <a:lnTo>
                    <a:pt x="25" y="34"/>
                  </a:lnTo>
                  <a:lnTo>
                    <a:pt x="25" y="34"/>
                  </a:lnTo>
                  <a:lnTo>
                    <a:pt x="25" y="35"/>
                  </a:lnTo>
                  <a:lnTo>
                    <a:pt x="26" y="35"/>
                  </a:lnTo>
                  <a:lnTo>
                    <a:pt x="26" y="35"/>
                  </a:lnTo>
                  <a:lnTo>
                    <a:pt x="26" y="35"/>
                  </a:lnTo>
                  <a:lnTo>
                    <a:pt x="26" y="35"/>
                  </a:lnTo>
                  <a:lnTo>
                    <a:pt x="26" y="35"/>
                  </a:lnTo>
                  <a:lnTo>
                    <a:pt x="25" y="35"/>
                  </a:lnTo>
                  <a:lnTo>
                    <a:pt x="25" y="35"/>
                  </a:lnTo>
                  <a:lnTo>
                    <a:pt x="25" y="35"/>
                  </a:lnTo>
                  <a:lnTo>
                    <a:pt x="25" y="37"/>
                  </a:lnTo>
                  <a:lnTo>
                    <a:pt x="25" y="37"/>
                  </a:lnTo>
                  <a:lnTo>
                    <a:pt x="25" y="37"/>
                  </a:lnTo>
                  <a:lnTo>
                    <a:pt x="25" y="37"/>
                  </a:lnTo>
                  <a:lnTo>
                    <a:pt x="25" y="37"/>
                  </a:lnTo>
                  <a:lnTo>
                    <a:pt x="25" y="37"/>
                  </a:lnTo>
                  <a:lnTo>
                    <a:pt x="24" y="37"/>
                  </a:lnTo>
                  <a:lnTo>
                    <a:pt x="24" y="37"/>
                  </a:lnTo>
                  <a:lnTo>
                    <a:pt x="24" y="37"/>
                  </a:lnTo>
                  <a:lnTo>
                    <a:pt x="24" y="37"/>
                  </a:lnTo>
                  <a:lnTo>
                    <a:pt x="24" y="37"/>
                  </a:lnTo>
                  <a:lnTo>
                    <a:pt x="22" y="37"/>
                  </a:lnTo>
                  <a:lnTo>
                    <a:pt x="22" y="37"/>
                  </a:lnTo>
                  <a:lnTo>
                    <a:pt x="22" y="37"/>
                  </a:lnTo>
                  <a:lnTo>
                    <a:pt x="21" y="35"/>
                  </a:lnTo>
                  <a:lnTo>
                    <a:pt x="21" y="35"/>
                  </a:lnTo>
                  <a:lnTo>
                    <a:pt x="21" y="35"/>
                  </a:lnTo>
                  <a:lnTo>
                    <a:pt x="21" y="34"/>
                  </a:lnTo>
                  <a:lnTo>
                    <a:pt x="21" y="34"/>
                  </a:lnTo>
                  <a:lnTo>
                    <a:pt x="21" y="34"/>
                  </a:lnTo>
                  <a:lnTo>
                    <a:pt x="21" y="34"/>
                  </a:lnTo>
                  <a:lnTo>
                    <a:pt x="21" y="34"/>
                  </a:lnTo>
                  <a:lnTo>
                    <a:pt x="21" y="34"/>
                  </a:lnTo>
                  <a:lnTo>
                    <a:pt x="21" y="34"/>
                  </a:lnTo>
                  <a:lnTo>
                    <a:pt x="21" y="34"/>
                  </a:lnTo>
                  <a:lnTo>
                    <a:pt x="21" y="34"/>
                  </a:lnTo>
                  <a:lnTo>
                    <a:pt x="21" y="34"/>
                  </a:lnTo>
                  <a:lnTo>
                    <a:pt x="21" y="33"/>
                  </a:lnTo>
                  <a:lnTo>
                    <a:pt x="21" y="33"/>
                  </a:lnTo>
                  <a:lnTo>
                    <a:pt x="21" y="33"/>
                  </a:lnTo>
                  <a:lnTo>
                    <a:pt x="21" y="32"/>
                  </a:lnTo>
                  <a:lnTo>
                    <a:pt x="21" y="32"/>
                  </a:lnTo>
                  <a:lnTo>
                    <a:pt x="21" y="32"/>
                  </a:lnTo>
                  <a:lnTo>
                    <a:pt x="21" y="32"/>
                  </a:lnTo>
                  <a:lnTo>
                    <a:pt x="21" y="32"/>
                  </a:lnTo>
                  <a:lnTo>
                    <a:pt x="21" y="32"/>
                  </a:lnTo>
                  <a:lnTo>
                    <a:pt x="21" y="32"/>
                  </a:lnTo>
                  <a:lnTo>
                    <a:pt x="21" y="32"/>
                  </a:lnTo>
                  <a:lnTo>
                    <a:pt x="21" y="32"/>
                  </a:lnTo>
                  <a:lnTo>
                    <a:pt x="21" y="31"/>
                  </a:lnTo>
                  <a:lnTo>
                    <a:pt x="21" y="31"/>
                  </a:lnTo>
                  <a:lnTo>
                    <a:pt x="21" y="31"/>
                  </a:lnTo>
                  <a:lnTo>
                    <a:pt x="21" y="31"/>
                  </a:lnTo>
                  <a:lnTo>
                    <a:pt x="21" y="31"/>
                  </a:lnTo>
                  <a:lnTo>
                    <a:pt x="21" y="31"/>
                  </a:lnTo>
                  <a:lnTo>
                    <a:pt x="21" y="31"/>
                  </a:lnTo>
                  <a:lnTo>
                    <a:pt x="21" y="31"/>
                  </a:lnTo>
                  <a:lnTo>
                    <a:pt x="21" y="30"/>
                  </a:lnTo>
                  <a:lnTo>
                    <a:pt x="21" y="30"/>
                  </a:lnTo>
                  <a:lnTo>
                    <a:pt x="21" y="30"/>
                  </a:lnTo>
                  <a:lnTo>
                    <a:pt x="21" y="30"/>
                  </a:lnTo>
                  <a:lnTo>
                    <a:pt x="21" y="31"/>
                  </a:lnTo>
                  <a:close/>
                  <a:moveTo>
                    <a:pt x="29" y="31"/>
                  </a:moveTo>
                  <a:lnTo>
                    <a:pt x="29" y="31"/>
                  </a:lnTo>
                  <a:lnTo>
                    <a:pt x="29" y="31"/>
                  </a:lnTo>
                  <a:lnTo>
                    <a:pt x="29" y="31"/>
                  </a:lnTo>
                  <a:lnTo>
                    <a:pt x="31" y="31"/>
                  </a:lnTo>
                  <a:lnTo>
                    <a:pt x="31" y="31"/>
                  </a:lnTo>
                  <a:lnTo>
                    <a:pt x="31" y="31"/>
                  </a:lnTo>
                  <a:lnTo>
                    <a:pt x="31" y="32"/>
                  </a:lnTo>
                  <a:lnTo>
                    <a:pt x="31" y="33"/>
                  </a:lnTo>
                  <a:lnTo>
                    <a:pt x="29" y="33"/>
                  </a:lnTo>
                  <a:lnTo>
                    <a:pt x="29" y="33"/>
                  </a:lnTo>
                  <a:lnTo>
                    <a:pt x="29" y="33"/>
                  </a:lnTo>
                  <a:lnTo>
                    <a:pt x="29" y="33"/>
                  </a:lnTo>
                  <a:lnTo>
                    <a:pt x="29" y="33"/>
                  </a:lnTo>
                  <a:lnTo>
                    <a:pt x="29" y="33"/>
                  </a:lnTo>
                  <a:lnTo>
                    <a:pt x="29" y="33"/>
                  </a:lnTo>
                  <a:lnTo>
                    <a:pt x="29" y="33"/>
                  </a:lnTo>
                  <a:lnTo>
                    <a:pt x="29" y="33"/>
                  </a:lnTo>
                  <a:lnTo>
                    <a:pt x="28" y="33"/>
                  </a:lnTo>
                  <a:lnTo>
                    <a:pt x="28" y="33"/>
                  </a:lnTo>
                  <a:lnTo>
                    <a:pt x="28" y="33"/>
                  </a:lnTo>
                  <a:lnTo>
                    <a:pt x="28" y="32"/>
                  </a:lnTo>
                  <a:lnTo>
                    <a:pt x="28" y="32"/>
                  </a:lnTo>
                  <a:lnTo>
                    <a:pt x="28" y="32"/>
                  </a:lnTo>
                  <a:lnTo>
                    <a:pt x="28" y="32"/>
                  </a:lnTo>
                  <a:lnTo>
                    <a:pt x="28" y="32"/>
                  </a:lnTo>
                  <a:lnTo>
                    <a:pt x="28" y="32"/>
                  </a:lnTo>
                  <a:lnTo>
                    <a:pt x="28" y="32"/>
                  </a:lnTo>
                  <a:lnTo>
                    <a:pt x="28" y="31"/>
                  </a:lnTo>
                  <a:lnTo>
                    <a:pt x="28" y="31"/>
                  </a:lnTo>
                  <a:lnTo>
                    <a:pt x="28" y="31"/>
                  </a:lnTo>
                  <a:lnTo>
                    <a:pt x="28" y="31"/>
                  </a:lnTo>
                  <a:lnTo>
                    <a:pt x="29" y="31"/>
                  </a:lnTo>
                  <a:lnTo>
                    <a:pt x="28" y="31"/>
                  </a:lnTo>
                  <a:lnTo>
                    <a:pt x="28" y="31"/>
                  </a:lnTo>
                  <a:lnTo>
                    <a:pt x="28" y="31"/>
                  </a:lnTo>
                  <a:lnTo>
                    <a:pt x="28" y="31"/>
                  </a:lnTo>
                  <a:lnTo>
                    <a:pt x="29" y="30"/>
                  </a:lnTo>
                  <a:lnTo>
                    <a:pt x="29" y="30"/>
                  </a:lnTo>
                  <a:lnTo>
                    <a:pt x="29" y="30"/>
                  </a:lnTo>
                  <a:lnTo>
                    <a:pt x="29" y="31"/>
                  </a:lnTo>
                  <a:lnTo>
                    <a:pt x="29" y="30"/>
                  </a:lnTo>
                  <a:lnTo>
                    <a:pt x="29" y="30"/>
                  </a:lnTo>
                  <a:lnTo>
                    <a:pt x="29" y="30"/>
                  </a:lnTo>
                  <a:lnTo>
                    <a:pt x="29" y="30"/>
                  </a:lnTo>
                  <a:lnTo>
                    <a:pt x="29" y="31"/>
                  </a:lnTo>
                  <a:close/>
                  <a:moveTo>
                    <a:pt x="34" y="16"/>
                  </a:moveTo>
                  <a:lnTo>
                    <a:pt x="34" y="17"/>
                  </a:lnTo>
                  <a:lnTo>
                    <a:pt x="34" y="16"/>
                  </a:lnTo>
                  <a:lnTo>
                    <a:pt x="35" y="16"/>
                  </a:lnTo>
                  <a:lnTo>
                    <a:pt x="35" y="16"/>
                  </a:lnTo>
                  <a:lnTo>
                    <a:pt x="35" y="16"/>
                  </a:lnTo>
                  <a:lnTo>
                    <a:pt x="36" y="16"/>
                  </a:lnTo>
                  <a:lnTo>
                    <a:pt x="36" y="16"/>
                  </a:lnTo>
                  <a:lnTo>
                    <a:pt x="36" y="17"/>
                  </a:lnTo>
                  <a:lnTo>
                    <a:pt x="36" y="17"/>
                  </a:lnTo>
                  <a:lnTo>
                    <a:pt x="36" y="17"/>
                  </a:lnTo>
                  <a:lnTo>
                    <a:pt x="36" y="17"/>
                  </a:lnTo>
                  <a:lnTo>
                    <a:pt x="36" y="17"/>
                  </a:lnTo>
                  <a:lnTo>
                    <a:pt x="36" y="18"/>
                  </a:lnTo>
                  <a:lnTo>
                    <a:pt x="36" y="18"/>
                  </a:lnTo>
                  <a:lnTo>
                    <a:pt x="36" y="18"/>
                  </a:lnTo>
                  <a:lnTo>
                    <a:pt x="36" y="18"/>
                  </a:lnTo>
                  <a:lnTo>
                    <a:pt x="36" y="18"/>
                  </a:lnTo>
                  <a:lnTo>
                    <a:pt x="36" y="18"/>
                  </a:lnTo>
                  <a:lnTo>
                    <a:pt x="36" y="18"/>
                  </a:lnTo>
                  <a:lnTo>
                    <a:pt x="36" y="18"/>
                  </a:lnTo>
                  <a:lnTo>
                    <a:pt x="36" y="19"/>
                  </a:lnTo>
                  <a:lnTo>
                    <a:pt x="35" y="19"/>
                  </a:lnTo>
                  <a:lnTo>
                    <a:pt x="35" y="19"/>
                  </a:lnTo>
                  <a:lnTo>
                    <a:pt x="35" y="19"/>
                  </a:lnTo>
                  <a:lnTo>
                    <a:pt x="34" y="20"/>
                  </a:lnTo>
                  <a:lnTo>
                    <a:pt x="34" y="19"/>
                  </a:lnTo>
                  <a:lnTo>
                    <a:pt x="34" y="19"/>
                  </a:lnTo>
                  <a:lnTo>
                    <a:pt x="33" y="19"/>
                  </a:lnTo>
                  <a:lnTo>
                    <a:pt x="33" y="19"/>
                  </a:lnTo>
                  <a:lnTo>
                    <a:pt x="33" y="19"/>
                  </a:lnTo>
                  <a:lnTo>
                    <a:pt x="33" y="19"/>
                  </a:lnTo>
                  <a:lnTo>
                    <a:pt x="33" y="19"/>
                  </a:lnTo>
                  <a:lnTo>
                    <a:pt x="33" y="18"/>
                  </a:lnTo>
                  <a:lnTo>
                    <a:pt x="33" y="18"/>
                  </a:lnTo>
                  <a:lnTo>
                    <a:pt x="33" y="18"/>
                  </a:lnTo>
                  <a:lnTo>
                    <a:pt x="33" y="18"/>
                  </a:lnTo>
                  <a:lnTo>
                    <a:pt x="33" y="18"/>
                  </a:lnTo>
                  <a:lnTo>
                    <a:pt x="33" y="16"/>
                  </a:lnTo>
                  <a:lnTo>
                    <a:pt x="33" y="16"/>
                  </a:lnTo>
                  <a:lnTo>
                    <a:pt x="33" y="16"/>
                  </a:lnTo>
                  <a:lnTo>
                    <a:pt x="33" y="16"/>
                  </a:lnTo>
                  <a:lnTo>
                    <a:pt x="34" y="16"/>
                  </a:lnTo>
                  <a:lnTo>
                    <a:pt x="34" y="16"/>
                  </a:lnTo>
                  <a:lnTo>
                    <a:pt x="34" y="16"/>
                  </a:lnTo>
                  <a:close/>
                  <a:moveTo>
                    <a:pt x="14" y="10"/>
                  </a:moveTo>
                  <a:lnTo>
                    <a:pt x="14" y="10"/>
                  </a:lnTo>
                  <a:lnTo>
                    <a:pt x="15" y="9"/>
                  </a:lnTo>
                  <a:lnTo>
                    <a:pt x="15" y="9"/>
                  </a:lnTo>
                  <a:lnTo>
                    <a:pt x="17" y="10"/>
                  </a:lnTo>
                  <a:lnTo>
                    <a:pt x="17" y="10"/>
                  </a:lnTo>
                  <a:lnTo>
                    <a:pt x="18" y="10"/>
                  </a:lnTo>
                  <a:lnTo>
                    <a:pt x="18" y="10"/>
                  </a:lnTo>
                  <a:lnTo>
                    <a:pt x="18" y="10"/>
                  </a:lnTo>
                  <a:lnTo>
                    <a:pt x="18" y="10"/>
                  </a:lnTo>
                  <a:lnTo>
                    <a:pt x="18" y="10"/>
                  </a:lnTo>
                  <a:lnTo>
                    <a:pt x="18" y="11"/>
                  </a:lnTo>
                  <a:lnTo>
                    <a:pt x="18" y="11"/>
                  </a:lnTo>
                  <a:lnTo>
                    <a:pt x="17" y="11"/>
                  </a:lnTo>
                  <a:lnTo>
                    <a:pt x="15" y="10"/>
                  </a:lnTo>
                  <a:lnTo>
                    <a:pt x="15" y="10"/>
                  </a:lnTo>
                  <a:lnTo>
                    <a:pt x="14" y="10"/>
                  </a:lnTo>
                  <a:lnTo>
                    <a:pt x="14" y="11"/>
                  </a:lnTo>
                  <a:lnTo>
                    <a:pt x="14" y="11"/>
                  </a:lnTo>
                  <a:lnTo>
                    <a:pt x="14" y="12"/>
                  </a:lnTo>
                  <a:lnTo>
                    <a:pt x="14" y="12"/>
                  </a:lnTo>
                  <a:lnTo>
                    <a:pt x="14" y="11"/>
                  </a:lnTo>
                  <a:lnTo>
                    <a:pt x="13" y="11"/>
                  </a:lnTo>
                  <a:lnTo>
                    <a:pt x="13" y="11"/>
                  </a:lnTo>
                  <a:lnTo>
                    <a:pt x="13" y="11"/>
                  </a:lnTo>
                  <a:lnTo>
                    <a:pt x="13" y="11"/>
                  </a:lnTo>
                  <a:lnTo>
                    <a:pt x="13" y="10"/>
                  </a:lnTo>
                  <a:lnTo>
                    <a:pt x="13" y="10"/>
                  </a:lnTo>
                  <a:lnTo>
                    <a:pt x="13" y="10"/>
                  </a:lnTo>
                  <a:lnTo>
                    <a:pt x="13" y="10"/>
                  </a:lnTo>
                  <a:lnTo>
                    <a:pt x="13" y="10"/>
                  </a:lnTo>
                  <a:lnTo>
                    <a:pt x="13" y="10"/>
                  </a:lnTo>
                  <a:lnTo>
                    <a:pt x="13" y="10"/>
                  </a:lnTo>
                  <a:lnTo>
                    <a:pt x="13" y="9"/>
                  </a:lnTo>
                  <a:lnTo>
                    <a:pt x="13" y="9"/>
                  </a:lnTo>
                  <a:lnTo>
                    <a:pt x="14" y="9"/>
                  </a:lnTo>
                  <a:lnTo>
                    <a:pt x="14" y="9"/>
                  </a:lnTo>
                  <a:lnTo>
                    <a:pt x="14" y="9"/>
                  </a:lnTo>
                  <a:lnTo>
                    <a:pt x="14" y="9"/>
                  </a:lnTo>
                  <a:lnTo>
                    <a:pt x="14" y="10"/>
                  </a:lnTo>
                  <a:close/>
                  <a:moveTo>
                    <a:pt x="34" y="9"/>
                  </a:moveTo>
                  <a:lnTo>
                    <a:pt x="34" y="9"/>
                  </a:lnTo>
                  <a:lnTo>
                    <a:pt x="34" y="9"/>
                  </a:lnTo>
                  <a:lnTo>
                    <a:pt x="34" y="9"/>
                  </a:lnTo>
                  <a:lnTo>
                    <a:pt x="34" y="9"/>
                  </a:lnTo>
                  <a:lnTo>
                    <a:pt x="34" y="9"/>
                  </a:lnTo>
                  <a:lnTo>
                    <a:pt x="34" y="10"/>
                  </a:lnTo>
                  <a:lnTo>
                    <a:pt x="34" y="10"/>
                  </a:lnTo>
                  <a:lnTo>
                    <a:pt x="34" y="10"/>
                  </a:lnTo>
                  <a:lnTo>
                    <a:pt x="34" y="10"/>
                  </a:lnTo>
                  <a:lnTo>
                    <a:pt x="34" y="10"/>
                  </a:lnTo>
                  <a:lnTo>
                    <a:pt x="34" y="10"/>
                  </a:lnTo>
                  <a:lnTo>
                    <a:pt x="34" y="10"/>
                  </a:lnTo>
                  <a:lnTo>
                    <a:pt x="34" y="10"/>
                  </a:lnTo>
                  <a:lnTo>
                    <a:pt x="34" y="10"/>
                  </a:lnTo>
                  <a:lnTo>
                    <a:pt x="33" y="10"/>
                  </a:lnTo>
                  <a:lnTo>
                    <a:pt x="33" y="10"/>
                  </a:lnTo>
                  <a:lnTo>
                    <a:pt x="33" y="9"/>
                  </a:lnTo>
                  <a:lnTo>
                    <a:pt x="33" y="9"/>
                  </a:lnTo>
                  <a:lnTo>
                    <a:pt x="33" y="9"/>
                  </a:lnTo>
                  <a:lnTo>
                    <a:pt x="33" y="9"/>
                  </a:lnTo>
                  <a:lnTo>
                    <a:pt x="33" y="7"/>
                  </a:lnTo>
                  <a:lnTo>
                    <a:pt x="33" y="7"/>
                  </a:lnTo>
                  <a:lnTo>
                    <a:pt x="33" y="7"/>
                  </a:lnTo>
                  <a:lnTo>
                    <a:pt x="33" y="7"/>
                  </a:lnTo>
                  <a:lnTo>
                    <a:pt x="33" y="7"/>
                  </a:lnTo>
                  <a:lnTo>
                    <a:pt x="33" y="7"/>
                  </a:lnTo>
                  <a:lnTo>
                    <a:pt x="33" y="7"/>
                  </a:lnTo>
                  <a:lnTo>
                    <a:pt x="33" y="6"/>
                  </a:lnTo>
                  <a:lnTo>
                    <a:pt x="33" y="6"/>
                  </a:lnTo>
                  <a:lnTo>
                    <a:pt x="34" y="6"/>
                  </a:lnTo>
                  <a:lnTo>
                    <a:pt x="34" y="6"/>
                  </a:lnTo>
                  <a:lnTo>
                    <a:pt x="34" y="6"/>
                  </a:lnTo>
                  <a:lnTo>
                    <a:pt x="34" y="6"/>
                  </a:lnTo>
                  <a:lnTo>
                    <a:pt x="34" y="6"/>
                  </a:lnTo>
                  <a:lnTo>
                    <a:pt x="34" y="6"/>
                  </a:lnTo>
                  <a:lnTo>
                    <a:pt x="34" y="6"/>
                  </a:lnTo>
                  <a:lnTo>
                    <a:pt x="34" y="6"/>
                  </a:lnTo>
                  <a:lnTo>
                    <a:pt x="34" y="6"/>
                  </a:lnTo>
                  <a:lnTo>
                    <a:pt x="34" y="6"/>
                  </a:lnTo>
                  <a:lnTo>
                    <a:pt x="34" y="7"/>
                  </a:lnTo>
                  <a:lnTo>
                    <a:pt x="34" y="9"/>
                  </a:lnTo>
                  <a:lnTo>
                    <a:pt x="34" y="9"/>
                  </a:lnTo>
                  <a:close/>
                  <a:moveTo>
                    <a:pt x="6" y="5"/>
                  </a:moveTo>
                  <a:lnTo>
                    <a:pt x="6" y="5"/>
                  </a:lnTo>
                  <a:lnTo>
                    <a:pt x="6" y="5"/>
                  </a:lnTo>
                  <a:lnTo>
                    <a:pt x="6" y="5"/>
                  </a:lnTo>
                  <a:lnTo>
                    <a:pt x="6" y="5"/>
                  </a:lnTo>
                  <a:lnTo>
                    <a:pt x="6" y="5"/>
                  </a:lnTo>
                  <a:lnTo>
                    <a:pt x="6" y="5"/>
                  </a:lnTo>
                  <a:lnTo>
                    <a:pt x="6" y="5"/>
                  </a:lnTo>
                  <a:lnTo>
                    <a:pt x="6" y="6"/>
                  </a:lnTo>
                  <a:lnTo>
                    <a:pt x="6" y="6"/>
                  </a:lnTo>
                  <a:lnTo>
                    <a:pt x="6" y="6"/>
                  </a:lnTo>
                  <a:lnTo>
                    <a:pt x="6" y="6"/>
                  </a:lnTo>
                  <a:lnTo>
                    <a:pt x="6" y="6"/>
                  </a:lnTo>
                  <a:lnTo>
                    <a:pt x="6" y="6"/>
                  </a:lnTo>
                  <a:lnTo>
                    <a:pt x="6" y="6"/>
                  </a:lnTo>
                  <a:lnTo>
                    <a:pt x="5" y="6"/>
                  </a:lnTo>
                  <a:lnTo>
                    <a:pt x="5" y="6"/>
                  </a:lnTo>
                  <a:lnTo>
                    <a:pt x="5" y="7"/>
                  </a:lnTo>
                  <a:lnTo>
                    <a:pt x="5" y="7"/>
                  </a:lnTo>
                  <a:lnTo>
                    <a:pt x="5" y="7"/>
                  </a:lnTo>
                  <a:lnTo>
                    <a:pt x="4" y="6"/>
                  </a:lnTo>
                  <a:lnTo>
                    <a:pt x="4" y="6"/>
                  </a:lnTo>
                  <a:lnTo>
                    <a:pt x="4" y="6"/>
                  </a:lnTo>
                  <a:lnTo>
                    <a:pt x="4" y="6"/>
                  </a:lnTo>
                  <a:lnTo>
                    <a:pt x="4" y="6"/>
                  </a:lnTo>
                  <a:lnTo>
                    <a:pt x="4" y="6"/>
                  </a:lnTo>
                  <a:lnTo>
                    <a:pt x="4" y="6"/>
                  </a:lnTo>
                  <a:lnTo>
                    <a:pt x="4" y="5"/>
                  </a:lnTo>
                  <a:lnTo>
                    <a:pt x="4" y="5"/>
                  </a:lnTo>
                  <a:lnTo>
                    <a:pt x="5" y="5"/>
                  </a:lnTo>
                  <a:lnTo>
                    <a:pt x="5" y="5"/>
                  </a:lnTo>
                  <a:lnTo>
                    <a:pt x="5" y="5"/>
                  </a:lnTo>
                  <a:lnTo>
                    <a:pt x="5" y="5"/>
                  </a:lnTo>
                  <a:lnTo>
                    <a:pt x="5" y="5"/>
                  </a:lnTo>
                  <a:lnTo>
                    <a:pt x="5" y="5"/>
                  </a:lnTo>
                  <a:lnTo>
                    <a:pt x="5" y="5"/>
                  </a:lnTo>
                  <a:lnTo>
                    <a:pt x="5" y="5"/>
                  </a:lnTo>
                  <a:lnTo>
                    <a:pt x="6" y="5"/>
                  </a:lnTo>
                  <a:lnTo>
                    <a:pt x="6" y="5"/>
                  </a:lnTo>
                  <a:close/>
                  <a:moveTo>
                    <a:pt x="4" y="0"/>
                  </a:moveTo>
                  <a:lnTo>
                    <a:pt x="4" y="0"/>
                  </a:lnTo>
                  <a:lnTo>
                    <a:pt x="4" y="0"/>
                  </a:lnTo>
                  <a:lnTo>
                    <a:pt x="5" y="0"/>
                  </a:lnTo>
                  <a:lnTo>
                    <a:pt x="5" y="0"/>
                  </a:lnTo>
                  <a:lnTo>
                    <a:pt x="5" y="0"/>
                  </a:lnTo>
                  <a:lnTo>
                    <a:pt x="5" y="2"/>
                  </a:lnTo>
                  <a:lnTo>
                    <a:pt x="5" y="2"/>
                  </a:lnTo>
                  <a:lnTo>
                    <a:pt x="5" y="2"/>
                  </a:lnTo>
                  <a:lnTo>
                    <a:pt x="5" y="2"/>
                  </a:lnTo>
                  <a:lnTo>
                    <a:pt x="5" y="2"/>
                  </a:lnTo>
                  <a:lnTo>
                    <a:pt x="5" y="2"/>
                  </a:lnTo>
                  <a:lnTo>
                    <a:pt x="5" y="2"/>
                  </a:lnTo>
                  <a:lnTo>
                    <a:pt x="5" y="2"/>
                  </a:lnTo>
                  <a:lnTo>
                    <a:pt x="5" y="3"/>
                  </a:lnTo>
                  <a:lnTo>
                    <a:pt x="5" y="3"/>
                  </a:lnTo>
                  <a:lnTo>
                    <a:pt x="5" y="3"/>
                  </a:lnTo>
                  <a:lnTo>
                    <a:pt x="5" y="3"/>
                  </a:lnTo>
                  <a:lnTo>
                    <a:pt x="5" y="3"/>
                  </a:lnTo>
                  <a:lnTo>
                    <a:pt x="4" y="3"/>
                  </a:lnTo>
                  <a:lnTo>
                    <a:pt x="4" y="3"/>
                  </a:lnTo>
                  <a:lnTo>
                    <a:pt x="4" y="4"/>
                  </a:lnTo>
                  <a:lnTo>
                    <a:pt x="3" y="4"/>
                  </a:lnTo>
                  <a:lnTo>
                    <a:pt x="3" y="4"/>
                  </a:lnTo>
                  <a:lnTo>
                    <a:pt x="3" y="5"/>
                  </a:lnTo>
                  <a:lnTo>
                    <a:pt x="1" y="5"/>
                  </a:lnTo>
                  <a:lnTo>
                    <a:pt x="1" y="5"/>
                  </a:lnTo>
                  <a:lnTo>
                    <a:pt x="1" y="5"/>
                  </a:lnTo>
                  <a:lnTo>
                    <a:pt x="1" y="5"/>
                  </a:lnTo>
                  <a:lnTo>
                    <a:pt x="0" y="5"/>
                  </a:lnTo>
                  <a:lnTo>
                    <a:pt x="0" y="5"/>
                  </a:lnTo>
                  <a:lnTo>
                    <a:pt x="0" y="5"/>
                  </a:lnTo>
                  <a:lnTo>
                    <a:pt x="0" y="4"/>
                  </a:lnTo>
                  <a:lnTo>
                    <a:pt x="0" y="3"/>
                  </a:lnTo>
                  <a:lnTo>
                    <a:pt x="0" y="3"/>
                  </a:lnTo>
                  <a:lnTo>
                    <a:pt x="0" y="3"/>
                  </a:lnTo>
                  <a:lnTo>
                    <a:pt x="0" y="3"/>
                  </a:lnTo>
                  <a:lnTo>
                    <a:pt x="0" y="3"/>
                  </a:lnTo>
                  <a:lnTo>
                    <a:pt x="0" y="3"/>
                  </a:lnTo>
                  <a:lnTo>
                    <a:pt x="0" y="2"/>
                  </a:lnTo>
                  <a:lnTo>
                    <a:pt x="0" y="2"/>
                  </a:lnTo>
                  <a:lnTo>
                    <a:pt x="0" y="2"/>
                  </a:lnTo>
                  <a:lnTo>
                    <a:pt x="1" y="2"/>
                  </a:lnTo>
                  <a:lnTo>
                    <a:pt x="1" y="2"/>
                  </a:lnTo>
                  <a:lnTo>
                    <a:pt x="1" y="2"/>
                  </a:lnTo>
                  <a:lnTo>
                    <a:pt x="1" y="2"/>
                  </a:lnTo>
                  <a:lnTo>
                    <a:pt x="1" y="2"/>
                  </a:lnTo>
                  <a:lnTo>
                    <a:pt x="3" y="2"/>
                  </a:lnTo>
                  <a:lnTo>
                    <a:pt x="3" y="0"/>
                  </a:lnTo>
                  <a:lnTo>
                    <a:pt x="4" y="0"/>
                  </a:lnTo>
                  <a:lnTo>
                    <a:pt x="4" y="0"/>
                  </a:lnTo>
                  <a:lnTo>
                    <a:pt x="4"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13" name="Freeform 867">
              <a:extLst>
                <a:ext uri="{FF2B5EF4-FFF2-40B4-BE49-F238E27FC236}">
                  <a16:creationId xmlns:a16="http://schemas.microsoft.com/office/drawing/2014/main" id="{D3625AC7-0B1F-4092-AB00-6AEC99CEE0B2}"/>
                </a:ext>
              </a:extLst>
            </p:cNvPr>
            <p:cNvSpPr>
              <a:spLocks noEditPoints="1"/>
            </p:cNvSpPr>
            <p:nvPr/>
          </p:nvSpPr>
          <p:spPr bwMode="auto">
            <a:xfrm>
              <a:off x="4186481" y="3110811"/>
              <a:ext cx="88142" cy="121530"/>
            </a:xfrm>
            <a:custGeom>
              <a:avLst/>
              <a:gdLst>
                <a:gd name="T0" fmla="*/ 1 w 66"/>
                <a:gd name="T1" fmla="*/ 91 h 91"/>
                <a:gd name="T2" fmla="*/ 31 w 66"/>
                <a:gd name="T3" fmla="*/ 19 h 91"/>
                <a:gd name="T4" fmla="*/ 32 w 66"/>
                <a:gd name="T5" fmla="*/ 17 h 91"/>
                <a:gd name="T6" fmla="*/ 35 w 66"/>
                <a:gd name="T7" fmla="*/ 5 h 91"/>
                <a:gd name="T8" fmla="*/ 39 w 66"/>
                <a:gd name="T9" fmla="*/ 2 h 91"/>
                <a:gd name="T10" fmla="*/ 42 w 66"/>
                <a:gd name="T11" fmla="*/ 5 h 91"/>
                <a:gd name="T12" fmla="*/ 44 w 66"/>
                <a:gd name="T13" fmla="*/ 5 h 91"/>
                <a:gd name="T14" fmla="*/ 46 w 66"/>
                <a:gd name="T15" fmla="*/ 7 h 91"/>
                <a:gd name="T16" fmla="*/ 51 w 66"/>
                <a:gd name="T17" fmla="*/ 7 h 91"/>
                <a:gd name="T18" fmla="*/ 53 w 66"/>
                <a:gd name="T19" fmla="*/ 5 h 91"/>
                <a:gd name="T20" fmla="*/ 53 w 66"/>
                <a:gd name="T21" fmla="*/ 7 h 91"/>
                <a:gd name="T22" fmla="*/ 54 w 66"/>
                <a:gd name="T23" fmla="*/ 12 h 91"/>
                <a:gd name="T24" fmla="*/ 60 w 66"/>
                <a:gd name="T25" fmla="*/ 20 h 91"/>
                <a:gd name="T26" fmla="*/ 61 w 66"/>
                <a:gd name="T27" fmla="*/ 22 h 91"/>
                <a:gd name="T28" fmla="*/ 65 w 66"/>
                <a:gd name="T29" fmla="*/ 26 h 91"/>
                <a:gd name="T30" fmla="*/ 65 w 66"/>
                <a:gd name="T31" fmla="*/ 28 h 91"/>
                <a:gd name="T32" fmla="*/ 63 w 66"/>
                <a:gd name="T33" fmla="*/ 26 h 91"/>
                <a:gd name="T34" fmla="*/ 61 w 66"/>
                <a:gd name="T35" fmla="*/ 29 h 91"/>
                <a:gd name="T36" fmla="*/ 63 w 66"/>
                <a:gd name="T37" fmla="*/ 35 h 91"/>
                <a:gd name="T38" fmla="*/ 61 w 66"/>
                <a:gd name="T39" fmla="*/ 37 h 91"/>
                <a:gd name="T40" fmla="*/ 61 w 66"/>
                <a:gd name="T41" fmla="*/ 42 h 91"/>
                <a:gd name="T42" fmla="*/ 59 w 66"/>
                <a:gd name="T43" fmla="*/ 45 h 91"/>
                <a:gd name="T44" fmla="*/ 61 w 66"/>
                <a:gd name="T45" fmla="*/ 49 h 91"/>
                <a:gd name="T46" fmla="*/ 59 w 66"/>
                <a:gd name="T47" fmla="*/ 47 h 91"/>
                <a:gd name="T48" fmla="*/ 58 w 66"/>
                <a:gd name="T49" fmla="*/ 42 h 91"/>
                <a:gd name="T50" fmla="*/ 58 w 66"/>
                <a:gd name="T51" fmla="*/ 41 h 91"/>
                <a:gd name="T52" fmla="*/ 54 w 66"/>
                <a:gd name="T53" fmla="*/ 40 h 91"/>
                <a:gd name="T54" fmla="*/ 56 w 66"/>
                <a:gd name="T55" fmla="*/ 42 h 91"/>
                <a:gd name="T56" fmla="*/ 56 w 66"/>
                <a:gd name="T57" fmla="*/ 44 h 91"/>
                <a:gd name="T58" fmla="*/ 53 w 66"/>
                <a:gd name="T59" fmla="*/ 44 h 91"/>
                <a:gd name="T60" fmla="*/ 50 w 66"/>
                <a:gd name="T61" fmla="*/ 42 h 91"/>
                <a:gd name="T62" fmla="*/ 51 w 66"/>
                <a:gd name="T63" fmla="*/ 41 h 91"/>
                <a:gd name="T64" fmla="*/ 51 w 66"/>
                <a:gd name="T65" fmla="*/ 38 h 91"/>
                <a:gd name="T66" fmla="*/ 52 w 66"/>
                <a:gd name="T67" fmla="*/ 37 h 91"/>
                <a:gd name="T68" fmla="*/ 51 w 66"/>
                <a:gd name="T69" fmla="*/ 35 h 91"/>
                <a:gd name="T70" fmla="*/ 47 w 66"/>
                <a:gd name="T71" fmla="*/ 30 h 91"/>
                <a:gd name="T72" fmla="*/ 44 w 66"/>
                <a:gd name="T73" fmla="*/ 28 h 91"/>
                <a:gd name="T74" fmla="*/ 42 w 66"/>
                <a:gd name="T75" fmla="*/ 28 h 91"/>
                <a:gd name="T76" fmla="*/ 38 w 66"/>
                <a:gd name="T77" fmla="*/ 26 h 91"/>
                <a:gd name="T78" fmla="*/ 38 w 66"/>
                <a:gd name="T79" fmla="*/ 23 h 91"/>
                <a:gd name="T80" fmla="*/ 35 w 66"/>
                <a:gd name="T81" fmla="*/ 20 h 91"/>
                <a:gd name="T82" fmla="*/ 33 w 66"/>
                <a:gd name="T83" fmla="*/ 19 h 91"/>
                <a:gd name="T84" fmla="*/ 31 w 66"/>
                <a:gd name="T85" fmla="*/ 16 h 91"/>
                <a:gd name="T86" fmla="*/ 30 w 66"/>
                <a:gd name="T87" fmla="*/ 17 h 91"/>
                <a:gd name="T88" fmla="*/ 32 w 66"/>
                <a:gd name="T89" fmla="*/ 20 h 91"/>
                <a:gd name="T90" fmla="*/ 33 w 66"/>
                <a:gd name="T91" fmla="*/ 21 h 91"/>
                <a:gd name="T92" fmla="*/ 35 w 66"/>
                <a:gd name="T93" fmla="*/ 22 h 91"/>
                <a:gd name="T94" fmla="*/ 33 w 66"/>
                <a:gd name="T95" fmla="*/ 23 h 91"/>
                <a:gd name="T96" fmla="*/ 31 w 66"/>
                <a:gd name="T97" fmla="*/ 26 h 91"/>
                <a:gd name="T98" fmla="*/ 29 w 66"/>
                <a:gd name="T99" fmla="*/ 23 h 91"/>
                <a:gd name="T100" fmla="*/ 25 w 66"/>
                <a:gd name="T101" fmla="*/ 21 h 91"/>
                <a:gd name="T102" fmla="*/ 22 w 66"/>
                <a:gd name="T103" fmla="*/ 17 h 91"/>
                <a:gd name="T104" fmla="*/ 22 w 66"/>
                <a:gd name="T105" fmla="*/ 13 h 91"/>
                <a:gd name="T106" fmla="*/ 24 w 66"/>
                <a:gd name="T107" fmla="*/ 10 h 91"/>
                <a:gd name="T108" fmla="*/ 25 w 66"/>
                <a:gd name="T109" fmla="*/ 8 h 91"/>
                <a:gd name="T110" fmla="*/ 23 w 66"/>
                <a:gd name="T111" fmla="*/ 6 h 91"/>
                <a:gd name="T112" fmla="*/ 22 w 66"/>
                <a:gd name="T113" fmla="*/ 5 h 91"/>
                <a:gd name="T114" fmla="*/ 25 w 66"/>
                <a:gd name="T115" fmla="*/ 3 h 91"/>
                <a:gd name="T116" fmla="*/ 25 w 66"/>
                <a:gd name="T117" fmla="*/ 0 h 91"/>
                <a:gd name="T118" fmla="*/ 29 w 66"/>
                <a:gd name="T119" fmla="*/ 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6" h="91">
                  <a:moveTo>
                    <a:pt x="1" y="91"/>
                  </a:moveTo>
                  <a:lnTo>
                    <a:pt x="0" y="91"/>
                  </a:lnTo>
                  <a:lnTo>
                    <a:pt x="1" y="90"/>
                  </a:lnTo>
                  <a:lnTo>
                    <a:pt x="1" y="91"/>
                  </a:lnTo>
                  <a:close/>
                  <a:moveTo>
                    <a:pt x="31" y="17"/>
                  </a:moveTo>
                  <a:lnTo>
                    <a:pt x="32" y="17"/>
                  </a:lnTo>
                  <a:lnTo>
                    <a:pt x="32" y="19"/>
                  </a:lnTo>
                  <a:lnTo>
                    <a:pt x="31" y="19"/>
                  </a:lnTo>
                  <a:lnTo>
                    <a:pt x="31" y="17"/>
                  </a:lnTo>
                  <a:lnTo>
                    <a:pt x="30" y="17"/>
                  </a:lnTo>
                  <a:lnTo>
                    <a:pt x="31" y="17"/>
                  </a:lnTo>
                  <a:lnTo>
                    <a:pt x="32" y="17"/>
                  </a:lnTo>
                  <a:lnTo>
                    <a:pt x="31" y="17"/>
                  </a:lnTo>
                  <a:close/>
                  <a:moveTo>
                    <a:pt x="31" y="2"/>
                  </a:moveTo>
                  <a:lnTo>
                    <a:pt x="33" y="3"/>
                  </a:lnTo>
                  <a:lnTo>
                    <a:pt x="35" y="5"/>
                  </a:lnTo>
                  <a:lnTo>
                    <a:pt x="36" y="5"/>
                  </a:lnTo>
                  <a:lnTo>
                    <a:pt x="37" y="3"/>
                  </a:lnTo>
                  <a:lnTo>
                    <a:pt x="38" y="2"/>
                  </a:lnTo>
                  <a:lnTo>
                    <a:pt x="39" y="2"/>
                  </a:lnTo>
                  <a:lnTo>
                    <a:pt x="39" y="3"/>
                  </a:lnTo>
                  <a:lnTo>
                    <a:pt x="40" y="3"/>
                  </a:lnTo>
                  <a:lnTo>
                    <a:pt x="42" y="3"/>
                  </a:lnTo>
                  <a:lnTo>
                    <a:pt x="42" y="5"/>
                  </a:lnTo>
                  <a:lnTo>
                    <a:pt x="43" y="5"/>
                  </a:lnTo>
                  <a:lnTo>
                    <a:pt x="43" y="3"/>
                  </a:lnTo>
                  <a:lnTo>
                    <a:pt x="43" y="5"/>
                  </a:lnTo>
                  <a:lnTo>
                    <a:pt x="44" y="5"/>
                  </a:lnTo>
                  <a:lnTo>
                    <a:pt x="44" y="6"/>
                  </a:lnTo>
                  <a:lnTo>
                    <a:pt x="45" y="6"/>
                  </a:lnTo>
                  <a:lnTo>
                    <a:pt x="45" y="7"/>
                  </a:lnTo>
                  <a:lnTo>
                    <a:pt x="46" y="7"/>
                  </a:lnTo>
                  <a:lnTo>
                    <a:pt x="47" y="7"/>
                  </a:lnTo>
                  <a:lnTo>
                    <a:pt x="49" y="8"/>
                  </a:lnTo>
                  <a:lnTo>
                    <a:pt x="50" y="8"/>
                  </a:lnTo>
                  <a:lnTo>
                    <a:pt x="51" y="7"/>
                  </a:lnTo>
                  <a:lnTo>
                    <a:pt x="52" y="7"/>
                  </a:lnTo>
                  <a:lnTo>
                    <a:pt x="52" y="6"/>
                  </a:lnTo>
                  <a:lnTo>
                    <a:pt x="52" y="5"/>
                  </a:lnTo>
                  <a:lnTo>
                    <a:pt x="53" y="5"/>
                  </a:lnTo>
                  <a:lnTo>
                    <a:pt x="53" y="6"/>
                  </a:lnTo>
                  <a:lnTo>
                    <a:pt x="53" y="7"/>
                  </a:lnTo>
                  <a:lnTo>
                    <a:pt x="53" y="6"/>
                  </a:lnTo>
                  <a:lnTo>
                    <a:pt x="53" y="7"/>
                  </a:lnTo>
                  <a:lnTo>
                    <a:pt x="53" y="8"/>
                  </a:lnTo>
                  <a:lnTo>
                    <a:pt x="53" y="7"/>
                  </a:lnTo>
                  <a:lnTo>
                    <a:pt x="54" y="9"/>
                  </a:lnTo>
                  <a:lnTo>
                    <a:pt x="54" y="12"/>
                  </a:lnTo>
                  <a:lnTo>
                    <a:pt x="56" y="14"/>
                  </a:lnTo>
                  <a:lnTo>
                    <a:pt x="58" y="17"/>
                  </a:lnTo>
                  <a:lnTo>
                    <a:pt x="59" y="19"/>
                  </a:lnTo>
                  <a:lnTo>
                    <a:pt x="60" y="20"/>
                  </a:lnTo>
                  <a:lnTo>
                    <a:pt x="60" y="19"/>
                  </a:lnTo>
                  <a:lnTo>
                    <a:pt x="60" y="20"/>
                  </a:lnTo>
                  <a:lnTo>
                    <a:pt x="61" y="21"/>
                  </a:lnTo>
                  <a:lnTo>
                    <a:pt x="61" y="22"/>
                  </a:lnTo>
                  <a:lnTo>
                    <a:pt x="63" y="23"/>
                  </a:lnTo>
                  <a:lnTo>
                    <a:pt x="64" y="23"/>
                  </a:lnTo>
                  <a:lnTo>
                    <a:pt x="64" y="24"/>
                  </a:lnTo>
                  <a:lnTo>
                    <a:pt x="65" y="26"/>
                  </a:lnTo>
                  <a:lnTo>
                    <a:pt x="66" y="26"/>
                  </a:lnTo>
                  <a:lnTo>
                    <a:pt x="66" y="27"/>
                  </a:lnTo>
                  <a:lnTo>
                    <a:pt x="66" y="28"/>
                  </a:lnTo>
                  <a:lnTo>
                    <a:pt x="65" y="28"/>
                  </a:lnTo>
                  <a:lnTo>
                    <a:pt x="65" y="27"/>
                  </a:lnTo>
                  <a:lnTo>
                    <a:pt x="64" y="27"/>
                  </a:lnTo>
                  <a:lnTo>
                    <a:pt x="64" y="26"/>
                  </a:lnTo>
                  <a:lnTo>
                    <a:pt x="63" y="26"/>
                  </a:lnTo>
                  <a:lnTo>
                    <a:pt x="63" y="27"/>
                  </a:lnTo>
                  <a:lnTo>
                    <a:pt x="63" y="28"/>
                  </a:lnTo>
                  <a:lnTo>
                    <a:pt x="61" y="28"/>
                  </a:lnTo>
                  <a:lnTo>
                    <a:pt x="61" y="29"/>
                  </a:lnTo>
                  <a:lnTo>
                    <a:pt x="61" y="31"/>
                  </a:lnTo>
                  <a:lnTo>
                    <a:pt x="61" y="34"/>
                  </a:lnTo>
                  <a:lnTo>
                    <a:pt x="61" y="35"/>
                  </a:lnTo>
                  <a:lnTo>
                    <a:pt x="63" y="35"/>
                  </a:lnTo>
                  <a:lnTo>
                    <a:pt x="64" y="35"/>
                  </a:lnTo>
                  <a:lnTo>
                    <a:pt x="64" y="36"/>
                  </a:lnTo>
                  <a:lnTo>
                    <a:pt x="64" y="37"/>
                  </a:lnTo>
                  <a:lnTo>
                    <a:pt x="61" y="37"/>
                  </a:lnTo>
                  <a:lnTo>
                    <a:pt x="61" y="38"/>
                  </a:lnTo>
                  <a:lnTo>
                    <a:pt x="61" y="40"/>
                  </a:lnTo>
                  <a:lnTo>
                    <a:pt x="61" y="41"/>
                  </a:lnTo>
                  <a:lnTo>
                    <a:pt x="61" y="42"/>
                  </a:lnTo>
                  <a:lnTo>
                    <a:pt x="61" y="43"/>
                  </a:lnTo>
                  <a:lnTo>
                    <a:pt x="61" y="44"/>
                  </a:lnTo>
                  <a:lnTo>
                    <a:pt x="60" y="44"/>
                  </a:lnTo>
                  <a:lnTo>
                    <a:pt x="59" y="45"/>
                  </a:lnTo>
                  <a:lnTo>
                    <a:pt x="59" y="47"/>
                  </a:lnTo>
                  <a:lnTo>
                    <a:pt x="60" y="47"/>
                  </a:lnTo>
                  <a:lnTo>
                    <a:pt x="60" y="48"/>
                  </a:lnTo>
                  <a:lnTo>
                    <a:pt x="61" y="49"/>
                  </a:lnTo>
                  <a:lnTo>
                    <a:pt x="60" y="50"/>
                  </a:lnTo>
                  <a:lnTo>
                    <a:pt x="60" y="49"/>
                  </a:lnTo>
                  <a:lnTo>
                    <a:pt x="60" y="48"/>
                  </a:lnTo>
                  <a:lnTo>
                    <a:pt x="59" y="47"/>
                  </a:lnTo>
                  <a:lnTo>
                    <a:pt x="58" y="45"/>
                  </a:lnTo>
                  <a:lnTo>
                    <a:pt x="58" y="44"/>
                  </a:lnTo>
                  <a:lnTo>
                    <a:pt x="58" y="43"/>
                  </a:lnTo>
                  <a:lnTo>
                    <a:pt x="58" y="42"/>
                  </a:lnTo>
                  <a:lnTo>
                    <a:pt x="57" y="42"/>
                  </a:lnTo>
                  <a:lnTo>
                    <a:pt x="57" y="41"/>
                  </a:lnTo>
                  <a:lnTo>
                    <a:pt x="58" y="42"/>
                  </a:lnTo>
                  <a:lnTo>
                    <a:pt x="58" y="41"/>
                  </a:lnTo>
                  <a:lnTo>
                    <a:pt x="57" y="41"/>
                  </a:lnTo>
                  <a:lnTo>
                    <a:pt x="56" y="41"/>
                  </a:lnTo>
                  <a:lnTo>
                    <a:pt x="56" y="40"/>
                  </a:lnTo>
                  <a:lnTo>
                    <a:pt x="54" y="40"/>
                  </a:lnTo>
                  <a:lnTo>
                    <a:pt x="53" y="40"/>
                  </a:lnTo>
                  <a:lnTo>
                    <a:pt x="53" y="41"/>
                  </a:lnTo>
                  <a:lnTo>
                    <a:pt x="54" y="42"/>
                  </a:lnTo>
                  <a:lnTo>
                    <a:pt x="56" y="42"/>
                  </a:lnTo>
                  <a:lnTo>
                    <a:pt x="56" y="43"/>
                  </a:lnTo>
                  <a:lnTo>
                    <a:pt x="56" y="42"/>
                  </a:lnTo>
                  <a:lnTo>
                    <a:pt x="56" y="43"/>
                  </a:lnTo>
                  <a:lnTo>
                    <a:pt x="56" y="44"/>
                  </a:lnTo>
                  <a:lnTo>
                    <a:pt x="56" y="45"/>
                  </a:lnTo>
                  <a:lnTo>
                    <a:pt x="54" y="45"/>
                  </a:lnTo>
                  <a:lnTo>
                    <a:pt x="54" y="44"/>
                  </a:lnTo>
                  <a:lnTo>
                    <a:pt x="53" y="44"/>
                  </a:lnTo>
                  <a:lnTo>
                    <a:pt x="52" y="44"/>
                  </a:lnTo>
                  <a:lnTo>
                    <a:pt x="51" y="44"/>
                  </a:lnTo>
                  <a:lnTo>
                    <a:pt x="51" y="43"/>
                  </a:lnTo>
                  <a:lnTo>
                    <a:pt x="50" y="42"/>
                  </a:lnTo>
                  <a:lnTo>
                    <a:pt x="50" y="41"/>
                  </a:lnTo>
                  <a:lnTo>
                    <a:pt x="50" y="40"/>
                  </a:lnTo>
                  <a:lnTo>
                    <a:pt x="51" y="40"/>
                  </a:lnTo>
                  <a:lnTo>
                    <a:pt x="51" y="41"/>
                  </a:lnTo>
                  <a:lnTo>
                    <a:pt x="51" y="40"/>
                  </a:lnTo>
                  <a:lnTo>
                    <a:pt x="51" y="38"/>
                  </a:lnTo>
                  <a:lnTo>
                    <a:pt x="52" y="38"/>
                  </a:lnTo>
                  <a:lnTo>
                    <a:pt x="51" y="38"/>
                  </a:lnTo>
                  <a:lnTo>
                    <a:pt x="52" y="38"/>
                  </a:lnTo>
                  <a:lnTo>
                    <a:pt x="52" y="37"/>
                  </a:lnTo>
                  <a:lnTo>
                    <a:pt x="51" y="37"/>
                  </a:lnTo>
                  <a:lnTo>
                    <a:pt x="52" y="37"/>
                  </a:lnTo>
                  <a:lnTo>
                    <a:pt x="51" y="37"/>
                  </a:lnTo>
                  <a:lnTo>
                    <a:pt x="51" y="36"/>
                  </a:lnTo>
                  <a:lnTo>
                    <a:pt x="52" y="36"/>
                  </a:lnTo>
                  <a:lnTo>
                    <a:pt x="51" y="35"/>
                  </a:lnTo>
                  <a:lnTo>
                    <a:pt x="51" y="34"/>
                  </a:lnTo>
                  <a:lnTo>
                    <a:pt x="50" y="33"/>
                  </a:lnTo>
                  <a:lnTo>
                    <a:pt x="49" y="31"/>
                  </a:lnTo>
                  <a:lnTo>
                    <a:pt x="47" y="30"/>
                  </a:lnTo>
                  <a:lnTo>
                    <a:pt x="46" y="30"/>
                  </a:lnTo>
                  <a:lnTo>
                    <a:pt x="45" y="29"/>
                  </a:lnTo>
                  <a:lnTo>
                    <a:pt x="44" y="29"/>
                  </a:lnTo>
                  <a:lnTo>
                    <a:pt x="44" y="28"/>
                  </a:lnTo>
                  <a:lnTo>
                    <a:pt x="43" y="28"/>
                  </a:lnTo>
                  <a:lnTo>
                    <a:pt x="44" y="28"/>
                  </a:lnTo>
                  <a:lnTo>
                    <a:pt x="43" y="28"/>
                  </a:lnTo>
                  <a:lnTo>
                    <a:pt x="42" y="28"/>
                  </a:lnTo>
                  <a:lnTo>
                    <a:pt x="40" y="27"/>
                  </a:lnTo>
                  <a:lnTo>
                    <a:pt x="39" y="27"/>
                  </a:lnTo>
                  <a:lnTo>
                    <a:pt x="38" y="27"/>
                  </a:lnTo>
                  <a:lnTo>
                    <a:pt x="38" y="26"/>
                  </a:lnTo>
                  <a:lnTo>
                    <a:pt x="37" y="26"/>
                  </a:lnTo>
                  <a:lnTo>
                    <a:pt x="38" y="24"/>
                  </a:lnTo>
                  <a:lnTo>
                    <a:pt x="37" y="24"/>
                  </a:lnTo>
                  <a:lnTo>
                    <a:pt x="38" y="23"/>
                  </a:lnTo>
                  <a:lnTo>
                    <a:pt x="38" y="22"/>
                  </a:lnTo>
                  <a:lnTo>
                    <a:pt x="37" y="21"/>
                  </a:lnTo>
                  <a:lnTo>
                    <a:pt x="37" y="20"/>
                  </a:lnTo>
                  <a:lnTo>
                    <a:pt x="35" y="20"/>
                  </a:lnTo>
                  <a:lnTo>
                    <a:pt x="36" y="20"/>
                  </a:lnTo>
                  <a:lnTo>
                    <a:pt x="35" y="20"/>
                  </a:lnTo>
                  <a:lnTo>
                    <a:pt x="35" y="19"/>
                  </a:lnTo>
                  <a:lnTo>
                    <a:pt x="33" y="19"/>
                  </a:lnTo>
                  <a:lnTo>
                    <a:pt x="33" y="17"/>
                  </a:lnTo>
                  <a:lnTo>
                    <a:pt x="32" y="17"/>
                  </a:lnTo>
                  <a:lnTo>
                    <a:pt x="32" y="16"/>
                  </a:lnTo>
                  <a:lnTo>
                    <a:pt x="31" y="16"/>
                  </a:lnTo>
                  <a:lnTo>
                    <a:pt x="30" y="16"/>
                  </a:lnTo>
                  <a:lnTo>
                    <a:pt x="30" y="15"/>
                  </a:lnTo>
                  <a:lnTo>
                    <a:pt x="30" y="16"/>
                  </a:lnTo>
                  <a:lnTo>
                    <a:pt x="30" y="17"/>
                  </a:lnTo>
                  <a:lnTo>
                    <a:pt x="30" y="19"/>
                  </a:lnTo>
                  <a:lnTo>
                    <a:pt x="31" y="19"/>
                  </a:lnTo>
                  <a:lnTo>
                    <a:pt x="31" y="20"/>
                  </a:lnTo>
                  <a:lnTo>
                    <a:pt x="32" y="20"/>
                  </a:lnTo>
                  <a:lnTo>
                    <a:pt x="33" y="20"/>
                  </a:lnTo>
                  <a:lnTo>
                    <a:pt x="33" y="21"/>
                  </a:lnTo>
                  <a:lnTo>
                    <a:pt x="33" y="20"/>
                  </a:lnTo>
                  <a:lnTo>
                    <a:pt x="33" y="21"/>
                  </a:lnTo>
                  <a:lnTo>
                    <a:pt x="35" y="21"/>
                  </a:lnTo>
                  <a:lnTo>
                    <a:pt x="33" y="21"/>
                  </a:lnTo>
                  <a:lnTo>
                    <a:pt x="35" y="21"/>
                  </a:lnTo>
                  <a:lnTo>
                    <a:pt x="35" y="22"/>
                  </a:lnTo>
                  <a:lnTo>
                    <a:pt x="33" y="22"/>
                  </a:lnTo>
                  <a:lnTo>
                    <a:pt x="35" y="22"/>
                  </a:lnTo>
                  <a:lnTo>
                    <a:pt x="35" y="23"/>
                  </a:lnTo>
                  <a:lnTo>
                    <a:pt x="33" y="23"/>
                  </a:lnTo>
                  <a:lnTo>
                    <a:pt x="32" y="23"/>
                  </a:lnTo>
                  <a:lnTo>
                    <a:pt x="33" y="24"/>
                  </a:lnTo>
                  <a:lnTo>
                    <a:pt x="32" y="24"/>
                  </a:lnTo>
                  <a:lnTo>
                    <a:pt x="31" y="26"/>
                  </a:lnTo>
                  <a:lnTo>
                    <a:pt x="31" y="27"/>
                  </a:lnTo>
                  <a:lnTo>
                    <a:pt x="31" y="26"/>
                  </a:lnTo>
                  <a:lnTo>
                    <a:pt x="30" y="23"/>
                  </a:lnTo>
                  <a:lnTo>
                    <a:pt x="29" y="23"/>
                  </a:lnTo>
                  <a:lnTo>
                    <a:pt x="29" y="22"/>
                  </a:lnTo>
                  <a:lnTo>
                    <a:pt x="26" y="22"/>
                  </a:lnTo>
                  <a:lnTo>
                    <a:pt x="26" y="21"/>
                  </a:lnTo>
                  <a:lnTo>
                    <a:pt x="25" y="21"/>
                  </a:lnTo>
                  <a:lnTo>
                    <a:pt x="24" y="21"/>
                  </a:lnTo>
                  <a:lnTo>
                    <a:pt x="24" y="20"/>
                  </a:lnTo>
                  <a:lnTo>
                    <a:pt x="23" y="19"/>
                  </a:lnTo>
                  <a:lnTo>
                    <a:pt x="22" y="17"/>
                  </a:lnTo>
                  <a:lnTo>
                    <a:pt x="22" y="16"/>
                  </a:lnTo>
                  <a:lnTo>
                    <a:pt x="22" y="15"/>
                  </a:lnTo>
                  <a:lnTo>
                    <a:pt x="22" y="14"/>
                  </a:lnTo>
                  <a:lnTo>
                    <a:pt x="22" y="13"/>
                  </a:lnTo>
                  <a:lnTo>
                    <a:pt x="23" y="13"/>
                  </a:lnTo>
                  <a:lnTo>
                    <a:pt x="23" y="12"/>
                  </a:lnTo>
                  <a:lnTo>
                    <a:pt x="23" y="10"/>
                  </a:lnTo>
                  <a:lnTo>
                    <a:pt x="24" y="10"/>
                  </a:lnTo>
                  <a:lnTo>
                    <a:pt x="25" y="9"/>
                  </a:lnTo>
                  <a:lnTo>
                    <a:pt x="24" y="9"/>
                  </a:lnTo>
                  <a:lnTo>
                    <a:pt x="24" y="8"/>
                  </a:lnTo>
                  <a:lnTo>
                    <a:pt x="25" y="8"/>
                  </a:lnTo>
                  <a:lnTo>
                    <a:pt x="25" y="7"/>
                  </a:lnTo>
                  <a:lnTo>
                    <a:pt x="24" y="7"/>
                  </a:lnTo>
                  <a:lnTo>
                    <a:pt x="23" y="7"/>
                  </a:lnTo>
                  <a:lnTo>
                    <a:pt x="23" y="6"/>
                  </a:lnTo>
                  <a:lnTo>
                    <a:pt x="22" y="6"/>
                  </a:lnTo>
                  <a:lnTo>
                    <a:pt x="21" y="6"/>
                  </a:lnTo>
                  <a:lnTo>
                    <a:pt x="21" y="5"/>
                  </a:lnTo>
                  <a:lnTo>
                    <a:pt x="22" y="5"/>
                  </a:lnTo>
                  <a:lnTo>
                    <a:pt x="23" y="5"/>
                  </a:lnTo>
                  <a:lnTo>
                    <a:pt x="24" y="5"/>
                  </a:lnTo>
                  <a:lnTo>
                    <a:pt x="24" y="3"/>
                  </a:lnTo>
                  <a:lnTo>
                    <a:pt x="25" y="3"/>
                  </a:lnTo>
                  <a:lnTo>
                    <a:pt x="25" y="2"/>
                  </a:lnTo>
                  <a:lnTo>
                    <a:pt x="24" y="2"/>
                  </a:lnTo>
                  <a:lnTo>
                    <a:pt x="25" y="1"/>
                  </a:lnTo>
                  <a:lnTo>
                    <a:pt x="25" y="0"/>
                  </a:lnTo>
                  <a:lnTo>
                    <a:pt x="26" y="0"/>
                  </a:lnTo>
                  <a:lnTo>
                    <a:pt x="26" y="1"/>
                  </a:lnTo>
                  <a:lnTo>
                    <a:pt x="28" y="1"/>
                  </a:lnTo>
                  <a:lnTo>
                    <a:pt x="29" y="2"/>
                  </a:lnTo>
                  <a:lnTo>
                    <a:pt x="30" y="2"/>
                  </a:lnTo>
                  <a:lnTo>
                    <a:pt x="31"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14" name="Rectangle 868">
              <a:extLst>
                <a:ext uri="{FF2B5EF4-FFF2-40B4-BE49-F238E27FC236}">
                  <a16:creationId xmlns:a16="http://schemas.microsoft.com/office/drawing/2014/main" id="{54F12FE1-D493-47F3-8A23-EA8D8744BFAA}"/>
                </a:ext>
              </a:extLst>
            </p:cNvPr>
            <p:cNvSpPr>
              <a:spLocks noChangeArrowheads="1"/>
            </p:cNvSpPr>
            <p:nvPr/>
          </p:nvSpPr>
          <p:spPr bwMode="auto">
            <a:xfrm>
              <a:off x="8625644" y="3793245"/>
              <a:ext cx="1336" cy="1336"/>
            </a:xfrm>
            <a:prstGeom prst="rect">
              <a:avLst/>
            </a:prstGeom>
            <a:solidFill>
              <a:srgbClr val="D2D2D2"/>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it-IT" dirty="0"/>
            </a:p>
          </p:txBody>
        </p:sp>
        <p:sp>
          <p:nvSpPr>
            <p:cNvPr id="115" name="Freeform 869">
              <a:extLst>
                <a:ext uri="{FF2B5EF4-FFF2-40B4-BE49-F238E27FC236}">
                  <a16:creationId xmlns:a16="http://schemas.microsoft.com/office/drawing/2014/main" id="{CBCEF1AA-662C-440E-9DC8-84627504E0BD}"/>
                </a:ext>
              </a:extLst>
            </p:cNvPr>
            <p:cNvSpPr>
              <a:spLocks noEditPoints="1"/>
            </p:cNvSpPr>
            <p:nvPr/>
          </p:nvSpPr>
          <p:spPr bwMode="auto">
            <a:xfrm>
              <a:off x="4257261" y="2857069"/>
              <a:ext cx="193646" cy="70781"/>
            </a:xfrm>
            <a:custGeom>
              <a:avLst/>
              <a:gdLst>
                <a:gd name="T0" fmla="*/ 88 w 145"/>
                <a:gd name="T1" fmla="*/ 39 h 53"/>
                <a:gd name="T2" fmla="*/ 127 w 145"/>
                <a:gd name="T3" fmla="*/ 39 h 53"/>
                <a:gd name="T4" fmla="*/ 77 w 145"/>
                <a:gd name="T5" fmla="*/ 35 h 53"/>
                <a:gd name="T6" fmla="*/ 75 w 145"/>
                <a:gd name="T7" fmla="*/ 34 h 53"/>
                <a:gd name="T8" fmla="*/ 41 w 145"/>
                <a:gd name="T9" fmla="*/ 25 h 53"/>
                <a:gd name="T10" fmla="*/ 29 w 145"/>
                <a:gd name="T11" fmla="*/ 21 h 53"/>
                <a:gd name="T12" fmla="*/ 29 w 145"/>
                <a:gd name="T13" fmla="*/ 28 h 53"/>
                <a:gd name="T14" fmla="*/ 27 w 145"/>
                <a:gd name="T15" fmla="*/ 25 h 53"/>
                <a:gd name="T16" fmla="*/ 32 w 145"/>
                <a:gd name="T17" fmla="*/ 20 h 53"/>
                <a:gd name="T18" fmla="*/ 100 w 145"/>
                <a:gd name="T19" fmla="*/ 21 h 53"/>
                <a:gd name="T20" fmla="*/ 97 w 145"/>
                <a:gd name="T21" fmla="*/ 18 h 53"/>
                <a:gd name="T22" fmla="*/ 98 w 145"/>
                <a:gd name="T23" fmla="*/ 17 h 53"/>
                <a:gd name="T24" fmla="*/ 96 w 145"/>
                <a:gd name="T25" fmla="*/ 15 h 53"/>
                <a:gd name="T26" fmla="*/ 92 w 145"/>
                <a:gd name="T27" fmla="*/ 10 h 53"/>
                <a:gd name="T28" fmla="*/ 89 w 145"/>
                <a:gd name="T29" fmla="*/ 11 h 53"/>
                <a:gd name="T30" fmla="*/ 76 w 145"/>
                <a:gd name="T31" fmla="*/ 7 h 53"/>
                <a:gd name="T32" fmla="*/ 74 w 145"/>
                <a:gd name="T33" fmla="*/ 6 h 53"/>
                <a:gd name="T34" fmla="*/ 70 w 145"/>
                <a:gd name="T35" fmla="*/ 3 h 53"/>
                <a:gd name="T36" fmla="*/ 65 w 145"/>
                <a:gd name="T37" fmla="*/ 1 h 53"/>
                <a:gd name="T38" fmla="*/ 63 w 145"/>
                <a:gd name="T39" fmla="*/ 1 h 53"/>
                <a:gd name="T40" fmla="*/ 56 w 145"/>
                <a:gd name="T41" fmla="*/ 2 h 53"/>
                <a:gd name="T42" fmla="*/ 64 w 145"/>
                <a:gd name="T43" fmla="*/ 4 h 53"/>
                <a:gd name="T44" fmla="*/ 75 w 145"/>
                <a:gd name="T45" fmla="*/ 7 h 53"/>
                <a:gd name="T46" fmla="*/ 84 w 145"/>
                <a:gd name="T47" fmla="*/ 13 h 53"/>
                <a:gd name="T48" fmla="*/ 95 w 145"/>
                <a:gd name="T49" fmla="*/ 17 h 53"/>
                <a:gd name="T50" fmla="*/ 98 w 145"/>
                <a:gd name="T51" fmla="*/ 22 h 53"/>
                <a:gd name="T52" fmla="*/ 103 w 145"/>
                <a:gd name="T53" fmla="*/ 23 h 53"/>
                <a:gd name="T54" fmla="*/ 107 w 145"/>
                <a:gd name="T55" fmla="*/ 25 h 53"/>
                <a:gd name="T56" fmla="*/ 110 w 145"/>
                <a:gd name="T57" fmla="*/ 28 h 53"/>
                <a:gd name="T58" fmla="*/ 112 w 145"/>
                <a:gd name="T59" fmla="*/ 31 h 53"/>
                <a:gd name="T60" fmla="*/ 118 w 145"/>
                <a:gd name="T61" fmla="*/ 31 h 53"/>
                <a:gd name="T62" fmla="*/ 126 w 145"/>
                <a:gd name="T63" fmla="*/ 37 h 53"/>
                <a:gd name="T64" fmla="*/ 124 w 145"/>
                <a:gd name="T65" fmla="*/ 39 h 53"/>
                <a:gd name="T66" fmla="*/ 128 w 145"/>
                <a:gd name="T67" fmla="*/ 41 h 53"/>
                <a:gd name="T68" fmla="*/ 133 w 145"/>
                <a:gd name="T69" fmla="*/ 41 h 53"/>
                <a:gd name="T70" fmla="*/ 141 w 145"/>
                <a:gd name="T71" fmla="*/ 46 h 53"/>
                <a:gd name="T72" fmla="*/ 138 w 145"/>
                <a:gd name="T73" fmla="*/ 50 h 53"/>
                <a:gd name="T74" fmla="*/ 131 w 145"/>
                <a:gd name="T75" fmla="*/ 51 h 53"/>
                <a:gd name="T76" fmla="*/ 121 w 145"/>
                <a:gd name="T77" fmla="*/ 51 h 53"/>
                <a:gd name="T78" fmla="*/ 108 w 145"/>
                <a:gd name="T79" fmla="*/ 52 h 53"/>
                <a:gd name="T80" fmla="*/ 96 w 145"/>
                <a:gd name="T81" fmla="*/ 53 h 53"/>
                <a:gd name="T82" fmla="*/ 105 w 145"/>
                <a:gd name="T83" fmla="*/ 45 h 53"/>
                <a:gd name="T84" fmla="*/ 99 w 145"/>
                <a:gd name="T85" fmla="*/ 41 h 53"/>
                <a:gd name="T86" fmla="*/ 90 w 145"/>
                <a:gd name="T87" fmla="*/ 37 h 53"/>
                <a:gd name="T88" fmla="*/ 86 w 145"/>
                <a:gd name="T89" fmla="*/ 28 h 53"/>
                <a:gd name="T90" fmla="*/ 78 w 145"/>
                <a:gd name="T91" fmla="*/ 27 h 53"/>
                <a:gd name="T92" fmla="*/ 68 w 145"/>
                <a:gd name="T93" fmla="*/ 23 h 53"/>
                <a:gd name="T94" fmla="*/ 62 w 145"/>
                <a:gd name="T95" fmla="*/ 17 h 53"/>
                <a:gd name="T96" fmla="*/ 54 w 145"/>
                <a:gd name="T97" fmla="*/ 17 h 53"/>
                <a:gd name="T98" fmla="*/ 49 w 145"/>
                <a:gd name="T99" fmla="*/ 16 h 53"/>
                <a:gd name="T100" fmla="*/ 43 w 145"/>
                <a:gd name="T101" fmla="*/ 13 h 53"/>
                <a:gd name="T102" fmla="*/ 39 w 145"/>
                <a:gd name="T103" fmla="*/ 9 h 53"/>
                <a:gd name="T104" fmla="*/ 29 w 145"/>
                <a:gd name="T105" fmla="*/ 11 h 53"/>
                <a:gd name="T106" fmla="*/ 21 w 145"/>
                <a:gd name="T107" fmla="*/ 16 h 53"/>
                <a:gd name="T108" fmla="*/ 14 w 145"/>
                <a:gd name="T109" fmla="*/ 20 h 53"/>
                <a:gd name="T110" fmla="*/ 6 w 145"/>
                <a:gd name="T111" fmla="*/ 21 h 53"/>
                <a:gd name="T112" fmla="*/ 6 w 145"/>
                <a:gd name="T113" fmla="*/ 18 h 53"/>
                <a:gd name="T114" fmla="*/ 10 w 145"/>
                <a:gd name="T115" fmla="*/ 13 h 53"/>
                <a:gd name="T116" fmla="*/ 17 w 145"/>
                <a:gd name="T117" fmla="*/ 8 h 53"/>
                <a:gd name="T118" fmla="*/ 27 w 145"/>
                <a:gd name="T119" fmla="*/ 4 h 53"/>
                <a:gd name="T120" fmla="*/ 37 w 145"/>
                <a:gd name="T121" fmla="*/ 2 h 53"/>
                <a:gd name="T122" fmla="*/ 49 w 145"/>
                <a:gd name="T123" fmla="*/ 3 h 53"/>
                <a:gd name="T124" fmla="*/ 54 w 145"/>
                <a:gd name="T125" fmla="*/ 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5" h="53">
                  <a:moveTo>
                    <a:pt x="88" y="42"/>
                  </a:moveTo>
                  <a:lnTo>
                    <a:pt x="89" y="42"/>
                  </a:lnTo>
                  <a:lnTo>
                    <a:pt x="89" y="43"/>
                  </a:lnTo>
                  <a:lnTo>
                    <a:pt x="88" y="43"/>
                  </a:lnTo>
                  <a:lnTo>
                    <a:pt x="88" y="42"/>
                  </a:lnTo>
                  <a:lnTo>
                    <a:pt x="86" y="42"/>
                  </a:lnTo>
                  <a:lnTo>
                    <a:pt x="88" y="42"/>
                  </a:lnTo>
                  <a:close/>
                  <a:moveTo>
                    <a:pt x="85" y="41"/>
                  </a:moveTo>
                  <a:lnTo>
                    <a:pt x="84" y="41"/>
                  </a:lnTo>
                  <a:lnTo>
                    <a:pt x="85" y="41"/>
                  </a:lnTo>
                  <a:close/>
                  <a:moveTo>
                    <a:pt x="86" y="39"/>
                  </a:moveTo>
                  <a:lnTo>
                    <a:pt x="88" y="39"/>
                  </a:lnTo>
                  <a:lnTo>
                    <a:pt x="86" y="39"/>
                  </a:lnTo>
                  <a:lnTo>
                    <a:pt x="86" y="41"/>
                  </a:lnTo>
                  <a:lnTo>
                    <a:pt x="85" y="39"/>
                  </a:lnTo>
                  <a:lnTo>
                    <a:pt x="86" y="39"/>
                  </a:lnTo>
                  <a:close/>
                  <a:moveTo>
                    <a:pt x="83" y="39"/>
                  </a:moveTo>
                  <a:lnTo>
                    <a:pt x="82" y="39"/>
                  </a:lnTo>
                  <a:lnTo>
                    <a:pt x="83" y="39"/>
                  </a:lnTo>
                  <a:close/>
                  <a:moveTo>
                    <a:pt x="127" y="39"/>
                  </a:moveTo>
                  <a:lnTo>
                    <a:pt x="126" y="39"/>
                  </a:lnTo>
                  <a:lnTo>
                    <a:pt x="126" y="38"/>
                  </a:lnTo>
                  <a:lnTo>
                    <a:pt x="127" y="38"/>
                  </a:lnTo>
                  <a:lnTo>
                    <a:pt x="127" y="39"/>
                  </a:lnTo>
                  <a:close/>
                  <a:moveTo>
                    <a:pt x="81" y="38"/>
                  </a:moveTo>
                  <a:lnTo>
                    <a:pt x="82" y="38"/>
                  </a:lnTo>
                  <a:lnTo>
                    <a:pt x="82" y="39"/>
                  </a:lnTo>
                  <a:lnTo>
                    <a:pt x="82" y="38"/>
                  </a:lnTo>
                  <a:lnTo>
                    <a:pt x="81" y="38"/>
                  </a:lnTo>
                  <a:close/>
                  <a:moveTo>
                    <a:pt x="79" y="38"/>
                  </a:moveTo>
                  <a:lnTo>
                    <a:pt x="79" y="37"/>
                  </a:lnTo>
                  <a:lnTo>
                    <a:pt x="78" y="37"/>
                  </a:lnTo>
                  <a:lnTo>
                    <a:pt x="79" y="37"/>
                  </a:lnTo>
                  <a:lnTo>
                    <a:pt x="81" y="37"/>
                  </a:lnTo>
                  <a:lnTo>
                    <a:pt x="79" y="38"/>
                  </a:lnTo>
                  <a:close/>
                  <a:moveTo>
                    <a:pt x="77" y="35"/>
                  </a:moveTo>
                  <a:lnTo>
                    <a:pt x="78" y="36"/>
                  </a:lnTo>
                  <a:lnTo>
                    <a:pt x="78" y="37"/>
                  </a:lnTo>
                  <a:lnTo>
                    <a:pt x="78" y="36"/>
                  </a:lnTo>
                  <a:lnTo>
                    <a:pt x="77" y="36"/>
                  </a:lnTo>
                  <a:lnTo>
                    <a:pt x="78" y="36"/>
                  </a:lnTo>
                  <a:lnTo>
                    <a:pt x="77" y="35"/>
                  </a:lnTo>
                  <a:lnTo>
                    <a:pt x="77" y="36"/>
                  </a:lnTo>
                  <a:lnTo>
                    <a:pt x="77" y="35"/>
                  </a:lnTo>
                  <a:close/>
                  <a:moveTo>
                    <a:pt x="76" y="34"/>
                  </a:moveTo>
                  <a:lnTo>
                    <a:pt x="76" y="35"/>
                  </a:lnTo>
                  <a:lnTo>
                    <a:pt x="76" y="34"/>
                  </a:lnTo>
                  <a:lnTo>
                    <a:pt x="75" y="34"/>
                  </a:lnTo>
                  <a:lnTo>
                    <a:pt x="76" y="34"/>
                  </a:lnTo>
                  <a:lnTo>
                    <a:pt x="75" y="34"/>
                  </a:lnTo>
                  <a:lnTo>
                    <a:pt x="76" y="34"/>
                  </a:lnTo>
                  <a:close/>
                  <a:moveTo>
                    <a:pt x="39" y="27"/>
                  </a:moveTo>
                  <a:lnTo>
                    <a:pt x="39" y="25"/>
                  </a:lnTo>
                  <a:lnTo>
                    <a:pt x="40" y="25"/>
                  </a:lnTo>
                  <a:lnTo>
                    <a:pt x="41" y="25"/>
                  </a:lnTo>
                  <a:lnTo>
                    <a:pt x="40" y="25"/>
                  </a:lnTo>
                  <a:lnTo>
                    <a:pt x="40" y="27"/>
                  </a:lnTo>
                  <a:lnTo>
                    <a:pt x="39" y="27"/>
                  </a:lnTo>
                  <a:close/>
                  <a:moveTo>
                    <a:pt x="42" y="25"/>
                  </a:moveTo>
                  <a:lnTo>
                    <a:pt x="41" y="25"/>
                  </a:lnTo>
                  <a:lnTo>
                    <a:pt x="42" y="25"/>
                  </a:lnTo>
                  <a:lnTo>
                    <a:pt x="42" y="24"/>
                  </a:lnTo>
                  <a:lnTo>
                    <a:pt x="42" y="25"/>
                  </a:lnTo>
                  <a:close/>
                  <a:moveTo>
                    <a:pt x="48" y="24"/>
                  </a:moveTo>
                  <a:lnTo>
                    <a:pt x="47" y="25"/>
                  </a:lnTo>
                  <a:lnTo>
                    <a:pt x="46" y="25"/>
                  </a:lnTo>
                  <a:lnTo>
                    <a:pt x="47" y="25"/>
                  </a:lnTo>
                  <a:lnTo>
                    <a:pt x="48" y="25"/>
                  </a:lnTo>
                  <a:lnTo>
                    <a:pt x="48" y="24"/>
                  </a:lnTo>
                  <a:lnTo>
                    <a:pt x="49" y="24"/>
                  </a:lnTo>
                  <a:lnTo>
                    <a:pt x="48" y="24"/>
                  </a:lnTo>
                  <a:close/>
                  <a:moveTo>
                    <a:pt x="29" y="21"/>
                  </a:moveTo>
                  <a:lnTo>
                    <a:pt x="31" y="21"/>
                  </a:lnTo>
                  <a:lnTo>
                    <a:pt x="32" y="21"/>
                  </a:lnTo>
                  <a:lnTo>
                    <a:pt x="32" y="22"/>
                  </a:lnTo>
                  <a:lnTo>
                    <a:pt x="32" y="23"/>
                  </a:lnTo>
                  <a:lnTo>
                    <a:pt x="33" y="23"/>
                  </a:lnTo>
                  <a:lnTo>
                    <a:pt x="33" y="24"/>
                  </a:lnTo>
                  <a:lnTo>
                    <a:pt x="32" y="24"/>
                  </a:lnTo>
                  <a:lnTo>
                    <a:pt x="32" y="25"/>
                  </a:lnTo>
                  <a:lnTo>
                    <a:pt x="33" y="25"/>
                  </a:lnTo>
                  <a:lnTo>
                    <a:pt x="33" y="27"/>
                  </a:lnTo>
                  <a:lnTo>
                    <a:pt x="32" y="27"/>
                  </a:lnTo>
                  <a:lnTo>
                    <a:pt x="29" y="28"/>
                  </a:lnTo>
                  <a:lnTo>
                    <a:pt x="28" y="28"/>
                  </a:lnTo>
                  <a:lnTo>
                    <a:pt x="27" y="28"/>
                  </a:lnTo>
                  <a:lnTo>
                    <a:pt x="26" y="28"/>
                  </a:lnTo>
                  <a:lnTo>
                    <a:pt x="25" y="28"/>
                  </a:lnTo>
                  <a:lnTo>
                    <a:pt x="25" y="27"/>
                  </a:lnTo>
                  <a:lnTo>
                    <a:pt x="24" y="27"/>
                  </a:lnTo>
                  <a:lnTo>
                    <a:pt x="24" y="25"/>
                  </a:lnTo>
                  <a:lnTo>
                    <a:pt x="25" y="25"/>
                  </a:lnTo>
                  <a:lnTo>
                    <a:pt x="25" y="27"/>
                  </a:lnTo>
                  <a:lnTo>
                    <a:pt x="26" y="27"/>
                  </a:lnTo>
                  <a:lnTo>
                    <a:pt x="27" y="27"/>
                  </a:lnTo>
                  <a:lnTo>
                    <a:pt x="27" y="25"/>
                  </a:lnTo>
                  <a:lnTo>
                    <a:pt x="27" y="27"/>
                  </a:lnTo>
                  <a:lnTo>
                    <a:pt x="27" y="25"/>
                  </a:lnTo>
                  <a:lnTo>
                    <a:pt x="26" y="23"/>
                  </a:lnTo>
                  <a:lnTo>
                    <a:pt x="26" y="22"/>
                  </a:lnTo>
                  <a:lnTo>
                    <a:pt x="27" y="22"/>
                  </a:lnTo>
                  <a:lnTo>
                    <a:pt x="27" y="21"/>
                  </a:lnTo>
                  <a:lnTo>
                    <a:pt x="28" y="21"/>
                  </a:lnTo>
                  <a:lnTo>
                    <a:pt x="27" y="21"/>
                  </a:lnTo>
                  <a:lnTo>
                    <a:pt x="29" y="21"/>
                  </a:lnTo>
                  <a:close/>
                  <a:moveTo>
                    <a:pt x="33" y="21"/>
                  </a:moveTo>
                  <a:lnTo>
                    <a:pt x="32" y="21"/>
                  </a:lnTo>
                  <a:lnTo>
                    <a:pt x="32" y="20"/>
                  </a:lnTo>
                  <a:lnTo>
                    <a:pt x="33" y="21"/>
                  </a:lnTo>
                  <a:close/>
                  <a:moveTo>
                    <a:pt x="19" y="20"/>
                  </a:moveTo>
                  <a:lnTo>
                    <a:pt x="20" y="20"/>
                  </a:lnTo>
                  <a:lnTo>
                    <a:pt x="19" y="20"/>
                  </a:lnTo>
                  <a:close/>
                  <a:moveTo>
                    <a:pt x="97" y="18"/>
                  </a:moveTo>
                  <a:lnTo>
                    <a:pt x="98" y="18"/>
                  </a:lnTo>
                  <a:lnTo>
                    <a:pt x="98" y="17"/>
                  </a:lnTo>
                  <a:lnTo>
                    <a:pt x="98" y="18"/>
                  </a:lnTo>
                  <a:lnTo>
                    <a:pt x="99" y="18"/>
                  </a:lnTo>
                  <a:lnTo>
                    <a:pt x="100" y="18"/>
                  </a:lnTo>
                  <a:lnTo>
                    <a:pt x="100" y="20"/>
                  </a:lnTo>
                  <a:lnTo>
                    <a:pt x="100" y="21"/>
                  </a:lnTo>
                  <a:lnTo>
                    <a:pt x="99" y="21"/>
                  </a:lnTo>
                  <a:lnTo>
                    <a:pt x="100" y="21"/>
                  </a:lnTo>
                  <a:lnTo>
                    <a:pt x="99" y="21"/>
                  </a:lnTo>
                  <a:lnTo>
                    <a:pt x="99" y="20"/>
                  </a:lnTo>
                  <a:lnTo>
                    <a:pt x="98" y="20"/>
                  </a:lnTo>
                  <a:lnTo>
                    <a:pt x="98" y="18"/>
                  </a:lnTo>
                  <a:lnTo>
                    <a:pt x="98" y="20"/>
                  </a:lnTo>
                  <a:lnTo>
                    <a:pt x="98" y="18"/>
                  </a:lnTo>
                  <a:lnTo>
                    <a:pt x="97" y="20"/>
                  </a:lnTo>
                  <a:lnTo>
                    <a:pt x="97" y="18"/>
                  </a:lnTo>
                  <a:lnTo>
                    <a:pt x="97" y="17"/>
                  </a:lnTo>
                  <a:lnTo>
                    <a:pt x="97" y="18"/>
                  </a:lnTo>
                  <a:close/>
                  <a:moveTo>
                    <a:pt x="99" y="16"/>
                  </a:moveTo>
                  <a:lnTo>
                    <a:pt x="98" y="16"/>
                  </a:lnTo>
                  <a:lnTo>
                    <a:pt x="98" y="15"/>
                  </a:lnTo>
                  <a:lnTo>
                    <a:pt x="99" y="16"/>
                  </a:lnTo>
                  <a:close/>
                  <a:moveTo>
                    <a:pt x="96" y="16"/>
                  </a:moveTo>
                  <a:lnTo>
                    <a:pt x="97" y="16"/>
                  </a:lnTo>
                  <a:lnTo>
                    <a:pt x="98" y="16"/>
                  </a:lnTo>
                  <a:lnTo>
                    <a:pt x="97" y="16"/>
                  </a:lnTo>
                  <a:lnTo>
                    <a:pt x="98" y="16"/>
                  </a:lnTo>
                  <a:lnTo>
                    <a:pt x="98" y="17"/>
                  </a:lnTo>
                  <a:lnTo>
                    <a:pt x="98" y="18"/>
                  </a:lnTo>
                  <a:lnTo>
                    <a:pt x="98" y="17"/>
                  </a:lnTo>
                  <a:lnTo>
                    <a:pt x="97" y="17"/>
                  </a:lnTo>
                  <a:lnTo>
                    <a:pt x="96" y="17"/>
                  </a:lnTo>
                  <a:lnTo>
                    <a:pt x="96" y="16"/>
                  </a:lnTo>
                  <a:lnTo>
                    <a:pt x="96" y="15"/>
                  </a:lnTo>
                  <a:lnTo>
                    <a:pt x="97" y="15"/>
                  </a:lnTo>
                  <a:lnTo>
                    <a:pt x="96" y="15"/>
                  </a:lnTo>
                  <a:lnTo>
                    <a:pt x="96" y="16"/>
                  </a:lnTo>
                  <a:close/>
                  <a:moveTo>
                    <a:pt x="93" y="13"/>
                  </a:moveTo>
                  <a:lnTo>
                    <a:pt x="95" y="13"/>
                  </a:lnTo>
                  <a:lnTo>
                    <a:pt x="95" y="14"/>
                  </a:lnTo>
                  <a:lnTo>
                    <a:pt x="96" y="14"/>
                  </a:lnTo>
                  <a:lnTo>
                    <a:pt x="96" y="15"/>
                  </a:lnTo>
                  <a:lnTo>
                    <a:pt x="95" y="15"/>
                  </a:lnTo>
                  <a:lnTo>
                    <a:pt x="93" y="15"/>
                  </a:lnTo>
                  <a:lnTo>
                    <a:pt x="93" y="14"/>
                  </a:lnTo>
                  <a:lnTo>
                    <a:pt x="93" y="13"/>
                  </a:lnTo>
                  <a:lnTo>
                    <a:pt x="92" y="13"/>
                  </a:lnTo>
                  <a:lnTo>
                    <a:pt x="93" y="13"/>
                  </a:lnTo>
                  <a:close/>
                  <a:moveTo>
                    <a:pt x="86" y="11"/>
                  </a:moveTo>
                  <a:lnTo>
                    <a:pt x="86" y="10"/>
                  </a:lnTo>
                  <a:lnTo>
                    <a:pt x="86" y="11"/>
                  </a:lnTo>
                  <a:lnTo>
                    <a:pt x="86" y="10"/>
                  </a:lnTo>
                  <a:lnTo>
                    <a:pt x="86" y="11"/>
                  </a:lnTo>
                  <a:close/>
                  <a:moveTo>
                    <a:pt x="92" y="10"/>
                  </a:moveTo>
                  <a:lnTo>
                    <a:pt x="92" y="11"/>
                  </a:lnTo>
                  <a:lnTo>
                    <a:pt x="92" y="13"/>
                  </a:lnTo>
                  <a:lnTo>
                    <a:pt x="91" y="13"/>
                  </a:lnTo>
                  <a:lnTo>
                    <a:pt x="91" y="11"/>
                  </a:lnTo>
                  <a:lnTo>
                    <a:pt x="91" y="13"/>
                  </a:lnTo>
                  <a:lnTo>
                    <a:pt x="90" y="13"/>
                  </a:lnTo>
                  <a:lnTo>
                    <a:pt x="89" y="13"/>
                  </a:lnTo>
                  <a:lnTo>
                    <a:pt x="89" y="11"/>
                  </a:lnTo>
                  <a:lnTo>
                    <a:pt x="88" y="11"/>
                  </a:lnTo>
                  <a:lnTo>
                    <a:pt x="88" y="10"/>
                  </a:lnTo>
                  <a:lnTo>
                    <a:pt x="89" y="10"/>
                  </a:lnTo>
                  <a:lnTo>
                    <a:pt x="89" y="11"/>
                  </a:lnTo>
                  <a:lnTo>
                    <a:pt x="90" y="11"/>
                  </a:lnTo>
                  <a:lnTo>
                    <a:pt x="91" y="11"/>
                  </a:lnTo>
                  <a:lnTo>
                    <a:pt x="91" y="10"/>
                  </a:lnTo>
                  <a:lnTo>
                    <a:pt x="92" y="10"/>
                  </a:lnTo>
                  <a:close/>
                  <a:moveTo>
                    <a:pt x="35" y="10"/>
                  </a:moveTo>
                  <a:lnTo>
                    <a:pt x="35" y="9"/>
                  </a:lnTo>
                  <a:lnTo>
                    <a:pt x="35" y="10"/>
                  </a:lnTo>
                  <a:close/>
                  <a:moveTo>
                    <a:pt x="84" y="9"/>
                  </a:moveTo>
                  <a:lnTo>
                    <a:pt x="83" y="9"/>
                  </a:lnTo>
                  <a:lnTo>
                    <a:pt x="82" y="9"/>
                  </a:lnTo>
                  <a:lnTo>
                    <a:pt x="84" y="9"/>
                  </a:lnTo>
                  <a:close/>
                  <a:moveTo>
                    <a:pt x="76" y="7"/>
                  </a:moveTo>
                  <a:lnTo>
                    <a:pt x="76" y="8"/>
                  </a:lnTo>
                  <a:lnTo>
                    <a:pt x="77" y="8"/>
                  </a:lnTo>
                  <a:lnTo>
                    <a:pt x="78" y="8"/>
                  </a:lnTo>
                  <a:lnTo>
                    <a:pt x="78" y="9"/>
                  </a:lnTo>
                  <a:lnTo>
                    <a:pt x="77" y="8"/>
                  </a:lnTo>
                  <a:lnTo>
                    <a:pt x="76" y="8"/>
                  </a:lnTo>
                  <a:lnTo>
                    <a:pt x="76" y="7"/>
                  </a:lnTo>
                  <a:lnTo>
                    <a:pt x="75" y="7"/>
                  </a:lnTo>
                  <a:lnTo>
                    <a:pt x="76" y="7"/>
                  </a:lnTo>
                  <a:close/>
                  <a:moveTo>
                    <a:pt x="75" y="6"/>
                  </a:moveTo>
                  <a:lnTo>
                    <a:pt x="75" y="7"/>
                  </a:lnTo>
                  <a:lnTo>
                    <a:pt x="74" y="6"/>
                  </a:lnTo>
                  <a:lnTo>
                    <a:pt x="75" y="6"/>
                  </a:lnTo>
                  <a:lnTo>
                    <a:pt x="74" y="6"/>
                  </a:lnTo>
                  <a:lnTo>
                    <a:pt x="75" y="6"/>
                  </a:lnTo>
                  <a:close/>
                  <a:moveTo>
                    <a:pt x="72" y="4"/>
                  </a:moveTo>
                  <a:lnTo>
                    <a:pt x="72" y="6"/>
                  </a:lnTo>
                  <a:lnTo>
                    <a:pt x="72" y="4"/>
                  </a:lnTo>
                  <a:close/>
                  <a:moveTo>
                    <a:pt x="67" y="3"/>
                  </a:moveTo>
                  <a:lnTo>
                    <a:pt x="67" y="4"/>
                  </a:lnTo>
                  <a:lnTo>
                    <a:pt x="65" y="4"/>
                  </a:lnTo>
                  <a:lnTo>
                    <a:pt x="65" y="3"/>
                  </a:lnTo>
                  <a:lnTo>
                    <a:pt x="67" y="3"/>
                  </a:lnTo>
                  <a:close/>
                  <a:moveTo>
                    <a:pt x="70" y="3"/>
                  </a:moveTo>
                  <a:lnTo>
                    <a:pt x="69" y="3"/>
                  </a:lnTo>
                  <a:lnTo>
                    <a:pt x="69" y="2"/>
                  </a:lnTo>
                  <a:lnTo>
                    <a:pt x="70" y="3"/>
                  </a:lnTo>
                  <a:close/>
                  <a:moveTo>
                    <a:pt x="69" y="2"/>
                  </a:moveTo>
                  <a:lnTo>
                    <a:pt x="68" y="2"/>
                  </a:lnTo>
                  <a:lnTo>
                    <a:pt x="69" y="2"/>
                  </a:lnTo>
                  <a:close/>
                  <a:moveTo>
                    <a:pt x="67" y="2"/>
                  </a:moveTo>
                  <a:lnTo>
                    <a:pt x="67" y="1"/>
                  </a:lnTo>
                  <a:lnTo>
                    <a:pt x="67" y="2"/>
                  </a:lnTo>
                  <a:lnTo>
                    <a:pt x="68" y="2"/>
                  </a:lnTo>
                  <a:lnTo>
                    <a:pt x="67" y="2"/>
                  </a:lnTo>
                  <a:close/>
                  <a:moveTo>
                    <a:pt x="65" y="1"/>
                  </a:moveTo>
                  <a:lnTo>
                    <a:pt x="64" y="1"/>
                  </a:lnTo>
                  <a:lnTo>
                    <a:pt x="64" y="2"/>
                  </a:lnTo>
                  <a:lnTo>
                    <a:pt x="64" y="1"/>
                  </a:lnTo>
                  <a:lnTo>
                    <a:pt x="65" y="1"/>
                  </a:lnTo>
                  <a:close/>
                  <a:moveTo>
                    <a:pt x="60" y="1"/>
                  </a:moveTo>
                  <a:lnTo>
                    <a:pt x="58" y="1"/>
                  </a:lnTo>
                  <a:lnTo>
                    <a:pt x="57" y="2"/>
                  </a:lnTo>
                  <a:lnTo>
                    <a:pt x="58" y="1"/>
                  </a:lnTo>
                  <a:lnTo>
                    <a:pt x="60" y="1"/>
                  </a:lnTo>
                  <a:lnTo>
                    <a:pt x="58" y="1"/>
                  </a:lnTo>
                  <a:lnTo>
                    <a:pt x="60" y="1"/>
                  </a:lnTo>
                  <a:close/>
                  <a:moveTo>
                    <a:pt x="63" y="1"/>
                  </a:moveTo>
                  <a:lnTo>
                    <a:pt x="64" y="1"/>
                  </a:lnTo>
                  <a:lnTo>
                    <a:pt x="63" y="1"/>
                  </a:lnTo>
                  <a:lnTo>
                    <a:pt x="63" y="0"/>
                  </a:lnTo>
                  <a:lnTo>
                    <a:pt x="63" y="1"/>
                  </a:lnTo>
                  <a:close/>
                  <a:moveTo>
                    <a:pt x="62" y="1"/>
                  </a:moveTo>
                  <a:lnTo>
                    <a:pt x="61" y="1"/>
                  </a:lnTo>
                  <a:lnTo>
                    <a:pt x="62" y="0"/>
                  </a:lnTo>
                  <a:lnTo>
                    <a:pt x="62" y="1"/>
                  </a:lnTo>
                  <a:close/>
                  <a:moveTo>
                    <a:pt x="54" y="3"/>
                  </a:moveTo>
                  <a:lnTo>
                    <a:pt x="55" y="3"/>
                  </a:lnTo>
                  <a:lnTo>
                    <a:pt x="55" y="2"/>
                  </a:lnTo>
                  <a:lnTo>
                    <a:pt x="56" y="2"/>
                  </a:lnTo>
                  <a:lnTo>
                    <a:pt x="57" y="2"/>
                  </a:lnTo>
                  <a:lnTo>
                    <a:pt x="58" y="2"/>
                  </a:lnTo>
                  <a:lnTo>
                    <a:pt x="60" y="2"/>
                  </a:lnTo>
                  <a:lnTo>
                    <a:pt x="61" y="2"/>
                  </a:lnTo>
                  <a:lnTo>
                    <a:pt x="62" y="2"/>
                  </a:lnTo>
                  <a:lnTo>
                    <a:pt x="62" y="1"/>
                  </a:lnTo>
                  <a:lnTo>
                    <a:pt x="63" y="1"/>
                  </a:lnTo>
                  <a:lnTo>
                    <a:pt x="62" y="1"/>
                  </a:lnTo>
                  <a:lnTo>
                    <a:pt x="62" y="2"/>
                  </a:lnTo>
                  <a:lnTo>
                    <a:pt x="63" y="3"/>
                  </a:lnTo>
                  <a:lnTo>
                    <a:pt x="64" y="3"/>
                  </a:lnTo>
                  <a:lnTo>
                    <a:pt x="64" y="4"/>
                  </a:lnTo>
                  <a:lnTo>
                    <a:pt x="65" y="4"/>
                  </a:lnTo>
                  <a:lnTo>
                    <a:pt x="67" y="4"/>
                  </a:lnTo>
                  <a:lnTo>
                    <a:pt x="68" y="4"/>
                  </a:lnTo>
                  <a:lnTo>
                    <a:pt x="69" y="4"/>
                  </a:lnTo>
                  <a:lnTo>
                    <a:pt x="70" y="4"/>
                  </a:lnTo>
                  <a:lnTo>
                    <a:pt x="70" y="6"/>
                  </a:lnTo>
                  <a:lnTo>
                    <a:pt x="71" y="6"/>
                  </a:lnTo>
                  <a:lnTo>
                    <a:pt x="72" y="6"/>
                  </a:lnTo>
                  <a:lnTo>
                    <a:pt x="71" y="7"/>
                  </a:lnTo>
                  <a:lnTo>
                    <a:pt x="72" y="7"/>
                  </a:lnTo>
                  <a:lnTo>
                    <a:pt x="74" y="8"/>
                  </a:lnTo>
                  <a:lnTo>
                    <a:pt x="75" y="7"/>
                  </a:lnTo>
                  <a:lnTo>
                    <a:pt x="75" y="8"/>
                  </a:lnTo>
                  <a:lnTo>
                    <a:pt x="75" y="9"/>
                  </a:lnTo>
                  <a:lnTo>
                    <a:pt x="76" y="10"/>
                  </a:lnTo>
                  <a:lnTo>
                    <a:pt x="76" y="11"/>
                  </a:lnTo>
                  <a:lnTo>
                    <a:pt x="77" y="11"/>
                  </a:lnTo>
                  <a:lnTo>
                    <a:pt x="78" y="13"/>
                  </a:lnTo>
                  <a:lnTo>
                    <a:pt x="79" y="14"/>
                  </a:lnTo>
                  <a:lnTo>
                    <a:pt x="81" y="14"/>
                  </a:lnTo>
                  <a:lnTo>
                    <a:pt x="81" y="13"/>
                  </a:lnTo>
                  <a:lnTo>
                    <a:pt x="82" y="14"/>
                  </a:lnTo>
                  <a:lnTo>
                    <a:pt x="83" y="13"/>
                  </a:lnTo>
                  <a:lnTo>
                    <a:pt x="84" y="13"/>
                  </a:lnTo>
                  <a:lnTo>
                    <a:pt x="85" y="14"/>
                  </a:lnTo>
                  <a:lnTo>
                    <a:pt x="86" y="14"/>
                  </a:lnTo>
                  <a:lnTo>
                    <a:pt x="86" y="15"/>
                  </a:lnTo>
                  <a:lnTo>
                    <a:pt x="86" y="14"/>
                  </a:lnTo>
                  <a:lnTo>
                    <a:pt x="88" y="14"/>
                  </a:lnTo>
                  <a:lnTo>
                    <a:pt x="89" y="15"/>
                  </a:lnTo>
                  <a:lnTo>
                    <a:pt x="90" y="15"/>
                  </a:lnTo>
                  <a:lnTo>
                    <a:pt x="91" y="16"/>
                  </a:lnTo>
                  <a:lnTo>
                    <a:pt x="91" y="17"/>
                  </a:lnTo>
                  <a:lnTo>
                    <a:pt x="92" y="17"/>
                  </a:lnTo>
                  <a:lnTo>
                    <a:pt x="93" y="17"/>
                  </a:lnTo>
                  <a:lnTo>
                    <a:pt x="95" y="17"/>
                  </a:lnTo>
                  <a:lnTo>
                    <a:pt x="95" y="18"/>
                  </a:lnTo>
                  <a:lnTo>
                    <a:pt x="96" y="18"/>
                  </a:lnTo>
                  <a:lnTo>
                    <a:pt x="96" y="20"/>
                  </a:lnTo>
                  <a:lnTo>
                    <a:pt x="97" y="21"/>
                  </a:lnTo>
                  <a:lnTo>
                    <a:pt x="97" y="22"/>
                  </a:lnTo>
                  <a:lnTo>
                    <a:pt x="97" y="21"/>
                  </a:lnTo>
                  <a:lnTo>
                    <a:pt x="97" y="20"/>
                  </a:lnTo>
                  <a:lnTo>
                    <a:pt x="98" y="20"/>
                  </a:lnTo>
                  <a:lnTo>
                    <a:pt x="98" y="21"/>
                  </a:lnTo>
                  <a:lnTo>
                    <a:pt x="97" y="21"/>
                  </a:lnTo>
                  <a:lnTo>
                    <a:pt x="98" y="21"/>
                  </a:lnTo>
                  <a:lnTo>
                    <a:pt x="98" y="22"/>
                  </a:lnTo>
                  <a:lnTo>
                    <a:pt x="98" y="23"/>
                  </a:lnTo>
                  <a:lnTo>
                    <a:pt x="99" y="23"/>
                  </a:lnTo>
                  <a:lnTo>
                    <a:pt x="100" y="23"/>
                  </a:lnTo>
                  <a:lnTo>
                    <a:pt x="101" y="23"/>
                  </a:lnTo>
                  <a:lnTo>
                    <a:pt x="103" y="23"/>
                  </a:lnTo>
                  <a:lnTo>
                    <a:pt x="103" y="24"/>
                  </a:lnTo>
                  <a:lnTo>
                    <a:pt x="103" y="25"/>
                  </a:lnTo>
                  <a:lnTo>
                    <a:pt x="104" y="25"/>
                  </a:lnTo>
                  <a:lnTo>
                    <a:pt x="104" y="24"/>
                  </a:lnTo>
                  <a:lnTo>
                    <a:pt x="103" y="23"/>
                  </a:lnTo>
                  <a:lnTo>
                    <a:pt x="103" y="22"/>
                  </a:lnTo>
                  <a:lnTo>
                    <a:pt x="103" y="23"/>
                  </a:lnTo>
                  <a:lnTo>
                    <a:pt x="103" y="22"/>
                  </a:lnTo>
                  <a:lnTo>
                    <a:pt x="101" y="23"/>
                  </a:lnTo>
                  <a:lnTo>
                    <a:pt x="101" y="22"/>
                  </a:lnTo>
                  <a:lnTo>
                    <a:pt x="100" y="21"/>
                  </a:lnTo>
                  <a:lnTo>
                    <a:pt x="101" y="21"/>
                  </a:lnTo>
                  <a:lnTo>
                    <a:pt x="101" y="22"/>
                  </a:lnTo>
                  <a:lnTo>
                    <a:pt x="104" y="23"/>
                  </a:lnTo>
                  <a:lnTo>
                    <a:pt x="105" y="23"/>
                  </a:lnTo>
                  <a:lnTo>
                    <a:pt x="105" y="24"/>
                  </a:lnTo>
                  <a:lnTo>
                    <a:pt x="106" y="24"/>
                  </a:lnTo>
                  <a:lnTo>
                    <a:pt x="106" y="25"/>
                  </a:lnTo>
                  <a:lnTo>
                    <a:pt x="107" y="25"/>
                  </a:lnTo>
                  <a:lnTo>
                    <a:pt x="106" y="25"/>
                  </a:lnTo>
                  <a:lnTo>
                    <a:pt x="106" y="27"/>
                  </a:lnTo>
                  <a:lnTo>
                    <a:pt x="105" y="25"/>
                  </a:lnTo>
                  <a:lnTo>
                    <a:pt x="104" y="25"/>
                  </a:lnTo>
                  <a:lnTo>
                    <a:pt x="104" y="27"/>
                  </a:lnTo>
                  <a:lnTo>
                    <a:pt x="105" y="27"/>
                  </a:lnTo>
                  <a:lnTo>
                    <a:pt x="105" y="28"/>
                  </a:lnTo>
                  <a:lnTo>
                    <a:pt x="106" y="28"/>
                  </a:lnTo>
                  <a:lnTo>
                    <a:pt x="106" y="27"/>
                  </a:lnTo>
                  <a:lnTo>
                    <a:pt x="107" y="25"/>
                  </a:lnTo>
                  <a:lnTo>
                    <a:pt x="108" y="28"/>
                  </a:lnTo>
                  <a:lnTo>
                    <a:pt x="110" y="28"/>
                  </a:lnTo>
                  <a:lnTo>
                    <a:pt x="110" y="29"/>
                  </a:lnTo>
                  <a:lnTo>
                    <a:pt x="111" y="29"/>
                  </a:lnTo>
                  <a:lnTo>
                    <a:pt x="110" y="30"/>
                  </a:lnTo>
                  <a:lnTo>
                    <a:pt x="111" y="30"/>
                  </a:lnTo>
                  <a:lnTo>
                    <a:pt x="111" y="29"/>
                  </a:lnTo>
                  <a:lnTo>
                    <a:pt x="112" y="29"/>
                  </a:lnTo>
                  <a:lnTo>
                    <a:pt x="112" y="30"/>
                  </a:lnTo>
                  <a:lnTo>
                    <a:pt x="113" y="30"/>
                  </a:lnTo>
                  <a:lnTo>
                    <a:pt x="112" y="30"/>
                  </a:lnTo>
                  <a:lnTo>
                    <a:pt x="112" y="31"/>
                  </a:lnTo>
                  <a:lnTo>
                    <a:pt x="112" y="30"/>
                  </a:lnTo>
                  <a:lnTo>
                    <a:pt x="112" y="31"/>
                  </a:lnTo>
                  <a:lnTo>
                    <a:pt x="113" y="31"/>
                  </a:lnTo>
                  <a:lnTo>
                    <a:pt x="112" y="31"/>
                  </a:lnTo>
                  <a:lnTo>
                    <a:pt x="113" y="30"/>
                  </a:lnTo>
                  <a:lnTo>
                    <a:pt x="113" y="31"/>
                  </a:lnTo>
                  <a:lnTo>
                    <a:pt x="114" y="31"/>
                  </a:lnTo>
                  <a:lnTo>
                    <a:pt x="113" y="31"/>
                  </a:lnTo>
                  <a:lnTo>
                    <a:pt x="113" y="32"/>
                  </a:lnTo>
                  <a:lnTo>
                    <a:pt x="114" y="32"/>
                  </a:lnTo>
                  <a:lnTo>
                    <a:pt x="115" y="31"/>
                  </a:lnTo>
                  <a:lnTo>
                    <a:pt x="114" y="31"/>
                  </a:lnTo>
                  <a:lnTo>
                    <a:pt x="117" y="31"/>
                  </a:lnTo>
                  <a:lnTo>
                    <a:pt x="118" y="31"/>
                  </a:lnTo>
                  <a:lnTo>
                    <a:pt x="119" y="32"/>
                  </a:lnTo>
                  <a:lnTo>
                    <a:pt x="119" y="34"/>
                  </a:lnTo>
                  <a:lnTo>
                    <a:pt x="120" y="34"/>
                  </a:lnTo>
                  <a:lnTo>
                    <a:pt x="121" y="34"/>
                  </a:lnTo>
                  <a:lnTo>
                    <a:pt x="122" y="34"/>
                  </a:lnTo>
                  <a:lnTo>
                    <a:pt x="124" y="34"/>
                  </a:lnTo>
                  <a:lnTo>
                    <a:pt x="125" y="34"/>
                  </a:lnTo>
                  <a:lnTo>
                    <a:pt x="126" y="34"/>
                  </a:lnTo>
                  <a:lnTo>
                    <a:pt x="126" y="35"/>
                  </a:lnTo>
                  <a:lnTo>
                    <a:pt x="127" y="35"/>
                  </a:lnTo>
                  <a:lnTo>
                    <a:pt x="126" y="36"/>
                  </a:lnTo>
                  <a:lnTo>
                    <a:pt x="126" y="37"/>
                  </a:lnTo>
                  <a:lnTo>
                    <a:pt x="125" y="37"/>
                  </a:lnTo>
                  <a:lnTo>
                    <a:pt x="125" y="36"/>
                  </a:lnTo>
                  <a:lnTo>
                    <a:pt x="125" y="37"/>
                  </a:lnTo>
                  <a:lnTo>
                    <a:pt x="125" y="36"/>
                  </a:lnTo>
                  <a:lnTo>
                    <a:pt x="125" y="37"/>
                  </a:lnTo>
                  <a:lnTo>
                    <a:pt x="126" y="37"/>
                  </a:lnTo>
                  <a:lnTo>
                    <a:pt x="126" y="38"/>
                  </a:lnTo>
                  <a:lnTo>
                    <a:pt x="127" y="38"/>
                  </a:lnTo>
                  <a:lnTo>
                    <a:pt x="126" y="38"/>
                  </a:lnTo>
                  <a:lnTo>
                    <a:pt x="125" y="38"/>
                  </a:lnTo>
                  <a:lnTo>
                    <a:pt x="124" y="38"/>
                  </a:lnTo>
                  <a:lnTo>
                    <a:pt x="124" y="39"/>
                  </a:lnTo>
                  <a:lnTo>
                    <a:pt x="124" y="41"/>
                  </a:lnTo>
                  <a:lnTo>
                    <a:pt x="125" y="41"/>
                  </a:lnTo>
                  <a:lnTo>
                    <a:pt x="125" y="39"/>
                  </a:lnTo>
                  <a:lnTo>
                    <a:pt x="126" y="39"/>
                  </a:lnTo>
                  <a:lnTo>
                    <a:pt x="126" y="38"/>
                  </a:lnTo>
                  <a:lnTo>
                    <a:pt x="126" y="39"/>
                  </a:lnTo>
                  <a:lnTo>
                    <a:pt x="126" y="41"/>
                  </a:lnTo>
                  <a:lnTo>
                    <a:pt x="126" y="39"/>
                  </a:lnTo>
                  <a:lnTo>
                    <a:pt x="127" y="41"/>
                  </a:lnTo>
                  <a:lnTo>
                    <a:pt x="127" y="39"/>
                  </a:lnTo>
                  <a:lnTo>
                    <a:pt x="128" y="39"/>
                  </a:lnTo>
                  <a:lnTo>
                    <a:pt x="128" y="41"/>
                  </a:lnTo>
                  <a:lnTo>
                    <a:pt x="128" y="39"/>
                  </a:lnTo>
                  <a:lnTo>
                    <a:pt x="127" y="39"/>
                  </a:lnTo>
                  <a:lnTo>
                    <a:pt x="128" y="39"/>
                  </a:lnTo>
                  <a:lnTo>
                    <a:pt x="129" y="39"/>
                  </a:lnTo>
                  <a:lnTo>
                    <a:pt x="129" y="41"/>
                  </a:lnTo>
                  <a:lnTo>
                    <a:pt x="131" y="41"/>
                  </a:lnTo>
                  <a:lnTo>
                    <a:pt x="129" y="41"/>
                  </a:lnTo>
                  <a:lnTo>
                    <a:pt x="129" y="39"/>
                  </a:lnTo>
                  <a:lnTo>
                    <a:pt x="131" y="39"/>
                  </a:lnTo>
                  <a:lnTo>
                    <a:pt x="132" y="39"/>
                  </a:lnTo>
                  <a:lnTo>
                    <a:pt x="132" y="41"/>
                  </a:lnTo>
                  <a:lnTo>
                    <a:pt x="133" y="41"/>
                  </a:lnTo>
                  <a:lnTo>
                    <a:pt x="134" y="39"/>
                  </a:lnTo>
                  <a:lnTo>
                    <a:pt x="134" y="41"/>
                  </a:lnTo>
                  <a:lnTo>
                    <a:pt x="135" y="41"/>
                  </a:lnTo>
                  <a:lnTo>
                    <a:pt x="136" y="41"/>
                  </a:lnTo>
                  <a:lnTo>
                    <a:pt x="138" y="42"/>
                  </a:lnTo>
                  <a:lnTo>
                    <a:pt x="138" y="43"/>
                  </a:lnTo>
                  <a:lnTo>
                    <a:pt x="139" y="43"/>
                  </a:lnTo>
                  <a:lnTo>
                    <a:pt x="139" y="44"/>
                  </a:lnTo>
                  <a:lnTo>
                    <a:pt x="140" y="44"/>
                  </a:lnTo>
                  <a:lnTo>
                    <a:pt x="140" y="45"/>
                  </a:lnTo>
                  <a:lnTo>
                    <a:pt x="141" y="45"/>
                  </a:lnTo>
                  <a:lnTo>
                    <a:pt x="141" y="46"/>
                  </a:lnTo>
                  <a:lnTo>
                    <a:pt x="142" y="46"/>
                  </a:lnTo>
                  <a:lnTo>
                    <a:pt x="143" y="46"/>
                  </a:lnTo>
                  <a:lnTo>
                    <a:pt x="145" y="46"/>
                  </a:lnTo>
                  <a:lnTo>
                    <a:pt x="145" y="48"/>
                  </a:lnTo>
                  <a:lnTo>
                    <a:pt x="145" y="49"/>
                  </a:lnTo>
                  <a:lnTo>
                    <a:pt x="143" y="49"/>
                  </a:lnTo>
                  <a:lnTo>
                    <a:pt x="143" y="50"/>
                  </a:lnTo>
                  <a:lnTo>
                    <a:pt x="142" y="50"/>
                  </a:lnTo>
                  <a:lnTo>
                    <a:pt x="141" y="50"/>
                  </a:lnTo>
                  <a:lnTo>
                    <a:pt x="140" y="50"/>
                  </a:lnTo>
                  <a:lnTo>
                    <a:pt x="139" y="50"/>
                  </a:lnTo>
                  <a:lnTo>
                    <a:pt x="138" y="50"/>
                  </a:lnTo>
                  <a:lnTo>
                    <a:pt x="136" y="50"/>
                  </a:lnTo>
                  <a:lnTo>
                    <a:pt x="135" y="50"/>
                  </a:lnTo>
                  <a:lnTo>
                    <a:pt x="135" y="51"/>
                  </a:lnTo>
                  <a:lnTo>
                    <a:pt x="134" y="51"/>
                  </a:lnTo>
                  <a:lnTo>
                    <a:pt x="133" y="51"/>
                  </a:lnTo>
                  <a:lnTo>
                    <a:pt x="133" y="52"/>
                  </a:lnTo>
                  <a:lnTo>
                    <a:pt x="132" y="52"/>
                  </a:lnTo>
                  <a:lnTo>
                    <a:pt x="132" y="51"/>
                  </a:lnTo>
                  <a:lnTo>
                    <a:pt x="131" y="51"/>
                  </a:lnTo>
                  <a:lnTo>
                    <a:pt x="132" y="51"/>
                  </a:lnTo>
                  <a:lnTo>
                    <a:pt x="132" y="50"/>
                  </a:lnTo>
                  <a:lnTo>
                    <a:pt x="131" y="51"/>
                  </a:lnTo>
                  <a:lnTo>
                    <a:pt x="129" y="52"/>
                  </a:lnTo>
                  <a:lnTo>
                    <a:pt x="128" y="53"/>
                  </a:lnTo>
                  <a:lnTo>
                    <a:pt x="127" y="53"/>
                  </a:lnTo>
                  <a:lnTo>
                    <a:pt x="127" y="52"/>
                  </a:lnTo>
                  <a:lnTo>
                    <a:pt x="126" y="52"/>
                  </a:lnTo>
                  <a:lnTo>
                    <a:pt x="126" y="53"/>
                  </a:lnTo>
                  <a:lnTo>
                    <a:pt x="125" y="53"/>
                  </a:lnTo>
                  <a:lnTo>
                    <a:pt x="125" y="52"/>
                  </a:lnTo>
                  <a:lnTo>
                    <a:pt x="124" y="52"/>
                  </a:lnTo>
                  <a:lnTo>
                    <a:pt x="122" y="52"/>
                  </a:lnTo>
                  <a:lnTo>
                    <a:pt x="121" y="52"/>
                  </a:lnTo>
                  <a:lnTo>
                    <a:pt x="121" y="51"/>
                  </a:lnTo>
                  <a:lnTo>
                    <a:pt x="120" y="51"/>
                  </a:lnTo>
                  <a:lnTo>
                    <a:pt x="120" y="52"/>
                  </a:lnTo>
                  <a:lnTo>
                    <a:pt x="119" y="52"/>
                  </a:lnTo>
                  <a:lnTo>
                    <a:pt x="118" y="51"/>
                  </a:lnTo>
                  <a:lnTo>
                    <a:pt x="117" y="51"/>
                  </a:lnTo>
                  <a:lnTo>
                    <a:pt x="115" y="51"/>
                  </a:lnTo>
                  <a:lnTo>
                    <a:pt x="114" y="51"/>
                  </a:lnTo>
                  <a:lnTo>
                    <a:pt x="113" y="51"/>
                  </a:lnTo>
                  <a:lnTo>
                    <a:pt x="113" y="52"/>
                  </a:lnTo>
                  <a:lnTo>
                    <a:pt x="112" y="52"/>
                  </a:lnTo>
                  <a:lnTo>
                    <a:pt x="110" y="52"/>
                  </a:lnTo>
                  <a:lnTo>
                    <a:pt x="108" y="52"/>
                  </a:lnTo>
                  <a:lnTo>
                    <a:pt x="107" y="52"/>
                  </a:lnTo>
                  <a:lnTo>
                    <a:pt x="106" y="52"/>
                  </a:lnTo>
                  <a:lnTo>
                    <a:pt x="104" y="53"/>
                  </a:lnTo>
                  <a:lnTo>
                    <a:pt x="104" y="52"/>
                  </a:lnTo>
                  <a:lnTo>
                    <a:pt x="103" y="52"/>
                  </a:lnTo>
                  <a:lnTo>
                    <a:pt x="101" y="52"/>
                  </a:lnTo>
                  <a:lnTo>
                    <a:pt x="100" y="52"/>
                  </a:lnTo>
                  <a:lnTo>
                    <a:pt x="100" y="53"/>
                  </a:lnTo>
                  <a:lnTo>
                    <a:pt x="99" y="53"/>
                  </a:lnTo>
                  <a:lnTo>
                    <a:pt x="98" y="53"/>
                  </a:lnTo>
                  <a:lnTo>
                    <a:pt x="97" y="53"/>
                  </a:lnTo>
                  <a:lnTo>
                    <a:pt x="96" y="53"/>
                  </a:lnTo>
                  <a:lnTo>
                    <a:pt x="95" y="53"/>
                  </a:lnTo>
                  <a:lnTo>
                    <a:pt x="96" y="52"/>
                  </a:lnTo>
                  <a:lnTo>
                    <a:pt x="97" y="51"/>
                  </a:lnTo>
                  <a:lnTo>
                    <a:pt x="98" y="50"/>
                  </a:lnTo>
                  <a:lnTo>
                    <a:pt x="99" y="49"/>
                  </a:lnTo>
                  <a:lnTo>
                    <a:pt x="100" y="48"/>
                  </a:lnTo>
                  <a:lnTo>
                    <a:pt x="101" y="48"/>
                  </a:lnTo>
                  <a:lnTo>
                    <a:pt x="103" y="48"/>
                  </a:lnTo>
                  <a:lnTo>
                    <a:pt x="103" y="46"/>
                  </a:lnTo>
                  <a:lnTo>
                    <a:pt x="104" y="46"/>
                  </a:lnTo>
                  <a:lnTo>
                    <a:pt x="104" y="45"/>
                  </a:lnTo>
                  <a:lnTo>
                    <a:pt x="105" y="45"/>
                  </a:lnTo>
                  <a:lnTo>
                    <a:pt x="105" y="44"/>
                  </a:lnTo>
                  <a:lnTo>
                    <a:pt x="105" y="43"/>
                  </a:lnTo>
                  <a:lnTo>
                    <a:pt x="104" y="43"/>
                  </a:lnTo>
                  <a:lnTo>
                    <a:pt x="104" y="42"/>
                  </a:lnTo>
                  <a:lnTo>
                    <a:pt x="103" y="42"/>
                  </a:lnTo>
                  <a:lnTo>
                    <a:pt x="104" y="42"/>
                  </a:lnTo>
                  <a:lnTo>
                    <a:pt x="104" y="41"/>
                  </a:lnTo>
                  <a:lnTo>
                    <a:pt x="103" y="41"/>
                  </a:lnTo>
                  <a:lnTo>
                    <a:pt x="103" y="39"/>
                  </a:lnTo>
                  <a:lnTo>
                    <a:pt x="101" y="39"/>
                  </a:lnTo>
                  <a:lnTo>
                    <a:pt x="100" y="41"/>
                  </a:lnTo>
                  <a:lnTo>
                    <a:pt x="99" y="41"/>
                  </a:lnTo>
                  <a:lnTo>
                    <a:pt x="98" y="41"/>
                  </a:lnTo>
                  <a:lnTo>
                    <a:pt x="97" y="41"/>
                  </a:lnTo>
                  <a:lnTo>
                    <a:pt x="97" y="39"/>
                  </a:lnTo>
                  <a:lnTo>
                    <a:pt x="97" y="41"/>
                  </a:lnTo>
                  <a:lnTo>
                    <a:pt x="96" y="39"/>
                  </a:lnTo>
                  <a:lnTo>
                    <a:pt x="95" y="39"/>
                  </a:lnTo>
                  <a:lnTo>
                    <a:pt x="93" y="41"/>
                  </a:lnTo>
                  <a:lnTo>
                    <a:pt x="92" y="39"/>
                  </a:lnTo>
                  <a:lnTo>
                    <a:pt x="91" y="39"/>
                  </a:lnTo>
                  <a:lnTo>
                    <a:pt x="91" y="38"/>
                  </a:lnTo>
                  <a:lnTo>
                    <a:pt x="90" y="38"/>
                  </a:lnTo>
                  <a:lnTo>
                    <a:pt x="90" y="37"/>
                  </a:lnTo>
                  <a:lnTo>
                    <a:pt x="89" y="36"/>
                  </a:lnTo>
                  <a:lnTo>
                    <a:pt x="88" y="36"/>
                  </a:lnTo>
                  <a:lnTo>
                    <a:pt x="88" y="35"/>
                  </a:lnTo>
                  <a:lnTo>
                    <a:pt x="86" y="35"/>
                  </a:lnTo>
                  <a:lnTo>
                    <a:pt x="86" y="34"/>
                  </a:lnTo>
                  <a:lnTo>
                    <a:pt x="88" y="32"/>
                  </a:lnTo>
                  <a:lnTo>
                    <a:pt x="86" y="32"/>
                  </a:lnTo>
                  <a:lnTo>
                    <a:pt x="86" y="31"/>
                  </a:lnTo>
                  <a:lnTo>
                    <a:pt x="88" y="31"/>
                  </a:lnTo>
                  <a:lnTo>
                    <a:pt x="86" y="30"/>
                  </a:lnTo>
                  <a:lnTo>
                    <a:pt x="86" y="29"/>
                  </a:lnTo>
                  <a:lnTo>
                    <a:pt x="86" y="28"/>
                  </a:lnTo>
                  <a:lnTo>
                    <a:pt x="86" y="27"/>
                  </a:lnTo>
                  <a:lnTo>
                    <a:pt x="85" y="27"/>
                  </a:lnTo>
                  <a:lnTo>
                    <a:pt x="84" y="27"/>
                  </a:lnTo>
                  <a:lnTo>
                    <a:pt x="84" y="25"/>
                  </a:lnTo>
                  <a:lnTo>
                    <a:pt x="85" y="27"/>
                  </a:lnTo>
                  <a:lnTo>
                    <a:pt x="85" y="25"/>
                  </a:lnTo>
                  <a:lnTo>
                    <a:pt x="84" y="25"/>
                  </a:lnTo>
                  <a:lnTo>
                    <a:pt x="83" y="25"/>
                  </a:lnTo>
                  <a:lnTo>
                    <a:pt x="82" y="25"/>
                  </a:lnTo>
                  <a:lnTo>
                    <a:pt x="81" y="25"/>
                  </a:lnTo>
                  <a:lnTo>
                    <a:pt x="79" y="27"/>
                  </a:lnTo>
                  <a:lnTo>
                    <a:pt x="78" y="27"/>
                  </a:lnTo>
                  <a:lnTo>
                    <a:pt x="77" y="27"/>
                  </a:lnTo>
                  <a:lnTo>
                    <a:pt x="76" y="27"/>
                  </a:lnTo>
                  <a:lnTo>
                    <a:pt x="76" y="25"/>
                  </a:lnTo>
                  <a:lnTo>
                    <a:pt x="75" y="25"/>
                  </a:lnTo>
                  <a:lnTo>
                    <a:pt x="74" y="25"/>
                  </a:lnTo>
                  <a:lnTo>
                    <a:pt x="72" y="25"/>
                  </a:lnTo>
                  <a:lnTo>
                    <a:pt x="72" y="24"/>
                  </a:lnTo>
                  <a:lnTo>
                    <a:pt x="71" y="24"/>
                  </a:lnTo>
                  <a:lnTo>
                    <a:pt x="70" y="24"/>
                  </a:lnTo>
                  <a:lnTo>
                    <a:pt x="69" y="24"/>
                  </a:lnTo>
                  <a:lnTo>
                    <a:pt x="69" y="23"/>
                  </a:lnTo>
                  <a:lnTo>
                    <a:pt x="68" y="23"/>
                  </a:lnTo>
                  <a:lnTo>
                    <a:pt x="68" y="24"/>
                  </a:lnTo>
                  <a:lnTo>
                    <a:pt x="68" y="23"/>
                  </a:lnTo>
                  <a:lnTo>
                    <a:pt x="67" y="23"/>
                  </a:lnTo>
                  <a:lnTo>
                    <a:pt x="67" y="22"/>
                  </a:lnTo>
                  <a:lnTo>
                    <a:pt x="65" y="22"/>
                  </a:lnTo>
                  <a:lnTo>
                    <a:pt x="64" y="21"/>
                  </a:lnTo>
                  <a:lnTo>
                    <a:pt x="63" y="20"/>
                  </a:lnTo>
                  <a:lnTo>
                    <a:pt x="63" y="18"/>
                  </a:lnTo>
                  <a:lnTo>
                    <a:pt x="62" y="18"/>
                  </a:lnTo>
                  <a:lnTo>
                    <a:pt x="63" y="18"/>
                  </a:lnTo>
                  <a:lnTo>
                    <a:pt x="63" y="17"/>
                  </a:lnTo>
                  <a:lnTo>
                    <a:pt x="62" y="17"/>
                  </a:lnTo>
                  <a:lnTo>
                    <a:pt x="62" y="16"/>
                  </a:lnTo>
                  <a:lnTo>
                    <a:pt x="61" y="16"/>
                  </a:lnTo>
                  <a:lnTo>
                    <a:pt x="61" y="17"/>
                  </a:lnTo>
                  <a:lnTo>
                    <a:pt x="62" y="17"/>
                  </a:lnTo>
                  <a:lnTo>
                    <a:pt x="62" y="18"/>
                  </a:lnTo>
                  <a:lnTo>
                    <a:pt x="61" y="18"/>
                  </a:lnTo>
                  <a:lnTo>
                    <a:pt x="60" y="18"/>
                  </a:lnTo>
                  <a:lnTo>
                    <a:pt x="58" y="18"/>
                  </a:lnTo>
                  <a:lnTo>
                    <a:pt x="56" y="18"/>
                  </a:lnTo>
                  <a:lnTo>
                    <a:pt x="55" y="18"/>
                  </a:lnTo>
                  <a:lnTo>
                    <a:pt x="54" y="18"/>
                  </a:lnTo>
                  <a:lnTo>
                    <a:pt x="54" y="17"/>
                  </a:lnTo>
                  <a:lnTo>
                    <a:pt x="53" y="17"/>
                  </a:lnTo>
                  <a:lnTo>
                    <a:pt x="53" y="16"/>
                  </a:lnTo>
                  <a:lnTo>
                    <a:pt x="53" y="15"/>
                  </a:lnTo>
                  <a:lnTo>
                    <a:pt x="53" y="16"/>
                  </a:lnTo>
                  <a:lnTo>
                    <a:pt x="53" y="18"/>
                  </a:lnTo>
                  <a:lnTo>
                    <a:pt x="51" y="18"/>
                  </a:lnTo>
                  <a:lnTo>
                    <a:pt x="51" y="17"/>
                  </a:lnTo>
                  <a:lnTo>
                    <a:pt x="50" y="18"/>
                  </a:lnTo>
                  <a:lnTo>
                    <a:pt x="50" y="17"/>
                  </a:lnTo>
                  <a:lnTo>
                    <a:pt x="50" y="18"/>
                  </a:lnTo>
                  <a:lnTo>
                    <a:pt x="49" y="17"/>
                  </a:lnTo>
                  <a:lnTo>
                    <a:pt x="49" y="16"/>
                  </a:lnTo>
                  <a:lnTo>
                    <a:pt x="48" y="16"/>
                  </a:lnTo>
                  <a:lnTo>
                    <a:pt x="47" y="16"/>
                  </a:lnTo>
                  <a:lnTo>
                    <a:pt x="46" y="16"/>
                  </a:lnTo>
                  <a:lnTo>
                    <a:pt x="44" y="16"/>
                  </a:lnTo>
                  <a:lnTo>
                    <a:pt x="43" y="16"/>
                  </a:lnTo>
                  <a:lnTo>
                    <a:pt x="43" y="15"/>
                  </a:lnTo>
                  <a:lnTo>
                    <a:pt x="41" y="15"/>
                  </a:lnTo>
                  <a:lnTo>
                    <a:pt x="41" y="14"/>
                  </a:lnTo>
                  <a:lnTo>
                    <a:pt x="40" y="14"/>
                  </a:lnTo>
                  <a:lnTo>
                    <a:pt x="40" y="13"/>
                  </a:lnTo>
                  <a:lnTo>
                    <a:pt x="42" y="13"/>
                  </a:lnTo>
                  <a:lnTo>
                    <a:pt x="43" y="13"/>
                  </a:lnTo>
                  <a:lnTo>
                    <a:pt x="44" y="13"/>
                  </a:lnTo>
                  <a:lnTo>
                    <a:pt x="46" y="13"/>
                  </a:lnTo>
                  <a:lnTo>
                    <a:pt x="47" y="11"/>
                  </a:lnTo>
                  <a:lnTo>
                    <a:pt x="47" y="10"/>
                  </a:lnTo>
                  <a:lnTo>
                    <a:pt x="46" y="10"/>
                  </a:lnTo>
                  <a:lnTo>
                    <a:pt x="46" y="9"/>
                  </a:lnTo>
                  <a:lnTo>
                    <a:pt x="44" y="9"/>
                  </a:lnTo>
                  <a:lnTo>
                    <a:pt x="43" y="9"/>
                  </a:lnTo>
                  <a:lnTo>
                    <a:pt x="42" y="9"/>
                  </a:lnTo>
                  <a:lnTo>
                    <a:pt x="41" y="9"/>
                  </a:lnTo>
                  <a:lnTo>
                    <a:pt x="40" y="9"/>
                  </a:lnTo>
                  <a:lnTo>
                    <a:pt x="39" y="9"/>
                  </a:lnTo>
                  <a:lnTo>
                    <a:pt x="37" y="9"/>
                  </a:lnTo>
                  <a:lnTo>
                    <a:pt x="36" y="9"/>
                  </a:lnTo>
                  <a:lnTo>
                    <a:pt x="35" y="8"/>
                  </a:lnTo>
                  <a:lnTo>
                    <a:pt x="35" y="9"/>
                  </a:lnTo>
                  <a:lnTo>
                    <a:pt x="34" y="9"/>
                  </a:lnTo>
                  <a:lnTo>
                    <a:pt x="33" y="8"/>
                  </a:lnTo>
                  <a:lnTo>
                    <a:pt x="32" y="8"/>
                  </a:lnTo>
                  <a:lnTo>
                    <a:pt x="32" y="9"/>
                  </a:lnTo>
                  <a:lnTo>
                    <a:pt x="32" y="10"/>
                  </a:lnTo>
                  <a:lnTo>
                    <a:pt x="31" y="10"/>
                  </a:lnTo>
                  <a:lnTo>
                    <a:pt x="29" y="10"/>
                  </a:lnTo>
                  <a:lnTo>
                    <a:pt x="29" y="11"/>
                  </a:lnTo>
                  <a:lnTo>
                    <a:pt x="28" y="11"/>
                  </a:lnTo>
                  <a:lnTo>
                    <a:pt x="27" y="11"/>
                  </a:lnTo>
                  <a:lnTo>
                    <a:pt x="27" y="13"/>
                  </a:lnTo>
                  <a:lnTo>
                    <a:pt x="26" y="14"/>
                  </a:lnTo>
                  <a:lnTo>
                    <a:pt x="25" y="14"/>
                  </a:lnTo>
                  <a:lnTo>
                    <a:pt x="25" y="15"/>
                  </a:lnTo>
                  <a:lnTo>
                    <a:pt x="25" y="14"/>
                  </a:lnTo>
                  <a:lnTo>
                    <a:pt x="24" y="14"/>
                  </a:lnTo>
                  <a:lnTo>
                    <a:pt x="24" y="15"/>
                  </a:lnTo>
                  <a:lnTo>
                    <a:pt x="24" y="16"/>
                  </a:lnTo>
                  <a:lnTo>
                    <a:pt x="22" y="16"/>
                  </a:lnTo>
                  <a:lnTo>
                    <a:pt x="21" y="16"/>
                  </a:lnTo>
                  <a:lnTo>
                    <a:pt x="20" y="16"/>
                  </a:lnTo>
                  <a:lnTo>
                    <a:pt x="19" y="16"/>
                  </a:lnTo>
                  <a:lnTo>
                    <a:pt x="19" y="17"/>
                  </a:lnTo>
                  <a:lnTo>
                    <a:pt x="19" y="16"/>
                  </a:lnTo>
                  <a:lnTo>
                    <a:pt x="17" y="17"/>
                  </a:lnTo>
                  <a:lnTo>
                    <a:pt x="17" y="16"/>
                  </a:lnTo>
                  <a:lnTo>
                    <a:pt x="17" y="17"/>
                  </a:lnTo>
                  <a:lnTo>
                    <a:pt x="15" y="16"/>
                  </a:lnTo>
                  <a:lnTo>
                    <a:pt x="15" y="17"/>
                  </a:lnTo>
                  <a:lnTo>
                    <a:pt x="14" y="17"/>
                  </a:lnTo>
                  <a:lnTo>
                    <a:pt x="14" y="18"/>
                  </a:lnTo>
                  <a:lnTo>
                    <a:pt x="14" y="20"/>
                  </a:lnTo>
                  <a:lnTo>
                    <a:pt x="14" y="18"/>
                  </a:lnTo>
                  <a:lnTo>
                    <a:pt x="14" y="20"/>
                  </a:lnTo>
                  <a:lnTo>
                    <a:pt x="13" y="20"/>
                  </a:lnTo>
                  <a:lnTo>
                    <a:pt x="13" y="21"/>
                  </a:lnTo>
                  <a:lnTo>
                    <a:pt x="12" y="21"/>
                  </a:lnTo>
                  <a:lnTo>
                    <a:pt x="11" y="21"/>
                  </a:lnTo>
                  <a:lnTo>
                    <a:pt x="10" y="21"/>
                  </a:lnTo>
                  <a:lnTo>
                    <a:pt x="7" y="23"/>
                  </a:lnTo>
                  <a:lnTo>
                    <a:pt x="6" y="23"/>
                  </a:lnTo>
                  <a:lnTo>
                    <a:pt x="7" y="22"/>
                  </a:lnTo>
                  <a:lnTo>
                    <a:pt x="7" y="21"/>
                  </a:lnTo>
                  <a:lnTo>
                    <a:pt x="6" y="21"/>
                  </a:lnTo>
                  <a:lnTo>
                    <a:pt x="5" y="21"/>
                  </a:lnTo>
                  <a:lnTo>
                    <a:pt x="4" y="21"/>
                  </a:lnTo>
                  <a:lnTo>
                    <a:pt x="3" y="22"/>
                  </a:lnTo>
                  <a:lnTo>
                    <a:pt x="1" y="22"/>
                  </a:lnTo>
                  <a:lnTo>
                    <a:pt x="0" y="22"/>
                  </a:lnTo>
                  <a:lnTo>
                    <a:pt x="0" y="21"/>
                  </a:lnTo>
                  <a:lnTo>
                    <a:pt x="1" y="21"/>
                  </a:lnTo>
                  <a:lnTo>
                    <a:pt x="3" y="21"/>
                  </a:lnTo>
                  <a:lnTo>
                    <a:pt x="4" y="21"/>
                  </a:lnTo>
                  <a:lnTo>
                    <a:pt x="5" y="20"/>
                  </a:lnTo>
                  <a:lnTo>
                    <a:pt x="6" y="20"/>
                  </a:lnTo>
                  <a:lnTo>
                    <a:pt x="6" y="18"/>
                  </a:lnTo>
                  <a:lnTo>
                    <a:pt x="7" y="18"/>
                  </a:lnTo>
                  <a:lnTo>
                    <a:pt x="7" y="20"/>
                  </a:lnTo>
                  <a:lnTo>
                    <a:pt x="7" y="18"/>
                  </a:lnTo>
                  <a:lnTo>
                    <a:pt x="8" y="18"/>
                  </a:lnTo>
                  <a:lnTo>
                    <a:pt x="10" y="20"/>
                  </a:lnTo>
                  <a:lnTo>
                    <a:pt x="10" y="18"/>
                  </a:lnTo>
                  <a:lnTo>
                    <a:pt x="10" y="17"/>
                  </a:lnTo>
                  <a:lnTo>
                    <a:pt x="8" y="17"/>
                  </a:lnTo>
                  <a:lnTo>
                    <a:pt x="8" y="16"/>
                  </a:lnTo>
                  <a:lnTo>
                    <a:pt x="8" y="15"/>
                  </a:lnTo>
                  <a:lnTo>
                    <a:pt x="10" y="14"/>
                  </a:lnTo>
                  <a:lnTo>
                    <a:pt x="10" y="13"/>
                  </a:lnTo>
                  <a:lnTo>
                    <a:pt x="11" y="13"/>
                  </a:lnTo>
                  <a:lnTo>
                    <a:pt x="11" y="11"/>
                  </a:lnTo>
                  <a:lnTo>
                    <a:pt x="12" y="11"/>
                  </a:lnTo>
                  <a:lnTo>
                    <a:pt x="12" y="10"/>
                  </a:lnTo>
                  <a:lnTo>
                    <a:pt x="13" y="10"/>
                  </a:lnTo>
                  <a:lnTo>
                    <a:pt x="13" y="9"/>
                  </a:lnTo>
                  <a:lnTo>
                    <a:pt x="14" y="9"/>
                  </a:lnTo>
                  <a:lnTo>
                    <a:pt x="14" y="8"/>
                  </a:lnTo>
                  <a:lnTo>
                    <a:pt x="15" y="8"/>
                  </a:lnTo>
                  <a:lnTo>
                    <a:pt x="15" y="9"/>
                  </a:lnTo>
                  <a:lnTo>
                    <a:pt x="15" y="8"/>
                  </a:lnTo>
                  <a:lnTo>
                    <a:pt x="17" y="8"/>
                  </a:lnTo>
                  <a:lnTo>
                    <a:pt x="18" y="8"/>
                  </a:lnTo>
                  <a:lnTo>
                    <a:pt x="19" y="7"/>
                  </a:lnTo>
                  <a:lnTo>
                    <a:pt x="20" y="7"/>
                  </a:lnTo>
                  <a:lnTo>
                    <a:pt x="21" y="7"/>
                  </a:lnTo>
                  <a:lnTo>
                    <a:pt x="21" y="6"/>
                  </a:lnTo>
                  <a:lnTo>
                    <a:pt x="22" y="6"/>
                  </a:lnTo>
                  <a:lnTo>
                    <a:pt x="24" y="6"/>
                  </a:lnTo>
                  <a:lnTo>
                    <a:pt x="25" y="6"/>
                  </a:lnTo>
                  <a:lnTo>
                    <a:pt x="25" y="4"/>
                  </a:lnTo>
                  <a:lnTo>
                    <a:pt x="26" y="3"/>
                  </a:lnTo>
                  <a:lnTo>
                    <a:pt x="27" y="3"/>
                  </a:lnTo>
                  <a:lnTo>
                    <a:pt x="27" y="4"/>
                  </a:lnTo>
                  <a:lnTo>
                    <a:pt x="27" y="3"/>
                  </a:lnTo>
                  <a:lnTo>
                    <a:pt x="28" y="3"/>
                  </a:lnTo>
                  <a:lnTo>
                    <a:pt x="29" y="3"/>
                  </a:lnTo>
                  <a:lnTo>
                    <a:pt x="29" y="4"/>
                  </a:lnTo>
                  <a:lnTo>
                    <a:pt x="29" y="3"/>
                  </a:lnTo>
                  <a:lnTo>
                    <a:pt x="29" y="4"/>
                  </a:lnTo>
                  <a:lnTo>
                    <a:pt x="31" y="3"/>
                  </a:lnTo>
                  <a:lnTo>
                    <a:pt x="32" y="3"/>
                  </a:lnTo>
                  <a:lnTo>
                    <a:pt x="33" y="3"/>
                  </a:lnTo>
                  <a:lnTo>
                    <a:pt x="35" y="3"/>
                  </a:lnTo>
                  <a:lnTo>
                    <a:pt x="36" y="2"/>
                  </a:lnTo>
                  <a:lnTo>
                    <a:pt x="37" y="2"/>
                  </a:lnTo>
                  <a:lnTo>
                    <a:pt x="37" y="1"/>
                  </a:lnTo>
                  <a:lnTo>
                    <a:pt x="39" y="1"/>
                  </a:lnTo>
                  <a:lnTo>
                    <a:pt x="40" y="1"/>
                  </a:lnTo>
                  <a:lnTo>
                    <a:pt x="41" y="1"/>
                  </a:lnTo>
                  <a:lnTo>
                    <a:pt x="42" y="1"/>
                  </a:lnTo>
                  <a:lnTo>
                    <a:pt x="43" y="1"/>
                  </a:lnTo>
                  <a:lnTo>
                    <a:pt x="44" y="1"/>
                  </a:lnTo>
                  <a:lnTo>
                    <a:pt x="46" y="1"/>
                  </a:lnTo>
                  <a:lnTo>
                    <a:pt x="48" y="1"/>
                  </a:lnTo>
                  <a:lnTo>
                    <a:pt x="49" y="1"/>
                  </a:lnTo>
                  <a:lnTo>
                    <a:pt x="49" y="2"/>
                  </a:lnTo>
                  <a:lnTo>
                    <a:pt x="49" y="3"/>
                  </a:lnTo>
                  <a:lnTo>
                    <a:pt x="50" y="3"/>
                  </a:lnTo>
                  <a:lnTo>
                    <a:pt x="50" y="2"/>
                  </a:lnTo>
                  <a:lnTo>
                    <a:pt x="51" y="2"/>
                  </a:lnTo>
                  <a:lnTo>
                    <a:pt x="53" y="2"/>
                  </a:lnTo>
                  <a:lnTo>
                    <a:pt x="53" y="1"/>
                  </a:lnTo>
                  <a:lnTo>
                    <a:pt x="54" y="1"/>
                  </a:lnTo>
                  <a:lnTo>
                    <a:pt x="55" y="0"/>
                  </a:lnTo>
                  <a:lnTo>
                    <a:pt x="55" y="1"/>
                  </a:lnTo>
                  <a:lnTo>
                    <a:pt x="54" y="1"/>
                  </a:lnTo>
                  <a:lnTo>
                    <a:pt x="53" y="2"/>
                  </a:lnTo>
                  <a:lnTo>
                    <a:pt x="54" y="2"/>
                  </a:lnTo>
                  <a:lnTo>
                    <a:pt x="54" y="3"/>
                  </a:lnTo>
                  <a:close/>
                  <a:moveTo>
                    <a:pt x="61" y="1"/>
                  </a:moveTo>
                  <a:lnTo>
                    <a:pt x="60" y="1"/>
                  </a:lnTo>
                  <a:lnTo>
                    <a:pt x="60" y="0"/>
                  </a:lnTo>
                  <a:lnTo>
                    <a:pt x="58" y="0"/>
                  </a:lnTo>
                  <a:lnTo>
                    <a:pt x="60" y="0"/>
                  </a:lnTo>
                  <a:lnTo>
                    <a:pt x="61" y="1"/>
                  </a:lnTo>
                  <a:close/>
                </a:path>
              </a:pathLst>
            </a:custGeom>
            <a:solidFill>
              <a:srgbClr val="D2D2D2"/>
            </a:solidFill>
            <a:ln w="3175"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t-IT" sz="1200" dirty="0"/>
            </a:p>
          </p:txBody>
        </p:sp>
        <p:sp>
          <p:nvSpPr>
            <p:cNvPr id="116" name="Freeform 870">
              <a:extLst>
                <a:ext uri="{FF2B5EF4-FFF2-40B4-BE49-F238E27FC236}">
                  <a16:creationId xmlns:a16="http://schemas.microsoft.com/office/drawing/2014/main" id="{CF0EB9E9-9F39-4908-8C41-68D9A8DF81B2}"/>
                </a:ext>
              </a:extLst>
            </p:cNvPr>
            <p:cNvSpPr>
              <a:spLocks/>
            </p:cNvSpPr>
            <p:nvPr/>
          </p:nvSpPr>
          <p:spPr bwMode="auto">
            <a:xfrm>
              <a:off x="4527030" y="3085437"/>
              <a:ext cx="6678" cy="8013"/>
            </a:xfrm>
            <a:custGeom>
              <a:avLst/>
              <a:gdLst>
                <a:gd name="T0" fmla="*/ 5 w 5"/>
                <a:gd name="T1" fmla="*/ 6 h 6"/>
                <a:gd name="T2" fmla="*/ 5 w 5"/>
                <a:gd name="T3" fmla="*/ 6 h 6"/>
                <a:gd name="T4" fmla="*/ 4 w 5"/>
                <a:gd name="T5" fmla="*/ 6 h 6"/>
                <a:gd name="T6" fmla="*/ 4 w 5"/>
                <a:gd name="T7" fmla="*/ 6 h 6"/>
                <a:gd name="T8" fmla="*/ 4 w 5"/>
                <a:gd name="T9" fmla="*/ 5 h 6"/>
                <a:gd name="T10" fmla="*/ 3 w 5"/>
                <a:gd name="T11" fmla="*/ 5 h 6"/>
                <a:gd name="T12" fmla="*/ 3 w 5"/>
                <a:gd name="T13" fmla="*/ 5 h 6"/>
                <a:gd name="T14" fmla="*/ 2 w 5"/>
                <a:gd name="T15" fmla="*/ 5 h 6"/>
                <a:gd name="T16" fmla="*/ 2 w 5"/>
                <a:gd name="T17" fmla="*/ 4 h 6"/>
                <a:gd name="T18" fmla="*/ 2 w 5"/>
                <a:gd name="T19" fmla="*/ 4 h 6"/>
                <a:gd name="T20" fmla="*/ 2 w 5"/>
                <a:gd name="T21" fmla="*/ 4 h 6"/>
                <a:gd name="T22" fmla="*/ 2 w 5"/>
                <a:gd name="T23" fmla="*/ 4 h 6"/>
                <a:gd name="T24" fmla="*/ 1 w 5"/>
                <a:gd name="T25" fmla="*/ 4 h 6"/>
                <a:gd name="T26" fmla="*/ 1 w 5"/>
                <a:gd name="T27" fmla="*/ 4 h 6"/>
                <a:gd name="T28" fmla="*/ 1 w 5"/>
                <a:gd name="T29" fmla="*/ 3 h 6"/>
                <a:gd name="T30" fmla="*/ 1 w 5"/>
                <a:gd name="T31" fmla="*/ 3 h 6"/>
                <a:gd name="T32" fmla="*/ 1 w 5"/>
                <a:gd name="T33" fmla="*/ 3 h 6"/>
                <a:gd name="T34" fmla="*/ 1 w 5"/>
                <a:gd name="T35" fmla="*/ 3 h 6"/>
                <a:gd name="T36" fmla="*/ 0 w 5"/>
                <a:gd name="T37" fmla="*/ 1 h 6"/>
                <a:gd name="T38" fmla="*/ 1 w 5"/>
                <a:gd name="T39" fmla="*/ 1 h 6"/>
                <a:gd name="T40" fmla="*/ 1 w 5"/>
                <a:gd name="T41" fmla="*/ 1 h 6"/>
                <a:gd name="T42" fmla="*/ 0 w 5"/>
                <a:gd name="T43" fmla="*/ 0 h 6"/>
                <a:gd name="T44" fmla="*/ 1 w 5"/>
                <a:gd name="T45" fmla="*/ 0 h 6"/>
                <a:gd name="T46" fmla="*/ 1 w 5"/>
                <a:gd name="T47" fmla="*/ 0 h 6"/>
                <a:gd name="T48" fmla="*/ 1 w 5"/>
                <a:gd name="T49" fmla="*/ 0 h 6"/>
                <a:gd name="T50" fmla="*/ 1 w 5"/>
                <a:gd name="T51" fmla="*/ 0 h 6"/>
                <a:gd name="T52" fmla="*/ 1 w 5"/>
                <a:gd name="T53" fmla="*/ 1 h 6"/>
                <a:gd name="T54" fmla="*/ 1 w 5"/>
                <a:gd name="T55" fmla="*/ 1 h 6"/>
                <a:gd name="T56" fmla="*/ 2 w 5"/>
                <a:gd name="T57" fmla="*/ 1 h 6"/>
                <a:gd name="T58" fmla="*/ 2 w 5"/>
                <a:gd name="T59" fmla="*/ 1 h 6"/>
                <a:gd name="T60" fmla="*/ 2 w 5"/>
                <a:gd name="T61" fmla="*/ 3 h 6"/>
                <a:gd name="T62" fmla="*/ 2 w 5"/>
                <a:gd name="T63" fmla="*/ 3 h 6"/>
                <a:gd name="T64" fmla="*/ 2 w 5"/>
                <a:gd name="T65" fmla="*/ 4 h 6"/>
                <a:gd name="T66" fmla="*/ 3 w 5"/>
                <a:gd name="T67" fmla="*/ 4 h 6"/>
                <a:gd name="T68" fmla="*/ 4 w 5"/>
                <a:gd name="T69" fmla="*/ 4 h 6"/>
                <a:gd name="T70" fmla="*/ 4 w 5"/>
                <a:gd name="T71" fmla="*/ 4 h 6"/>
                <a:gd name="T72" fmla="*/ 5 w 5"/>
                <a:gd name="T73" fmla="*/ 5 h 6"/>
                <a:gd name="T74" fmla="*/ 5 w 5"/>
                <a:gd name="T75" fmla="*/ 5 h 6"/>
                <a:gd name="T76" fmla="*/ 5 w 5"/>
                <a:gd name="T77" fmla="*/ 5 h 6"/>
                <a:gd name="T78" fmla="*/ 5 w 5"/>
                <a:gd name="T79" fmla="*/ 5 h 6"/>
                <a:gd name="T80" fmla="*/ 5 w 5"/>
                <a:gd name="T81" fmla="*/ 6 h 6"/>
                <a:gd name="T82" fmla="*/ 5 w 5"/>
                <a:gd name="T83" fmla="*/ 6 h 6"/>
                <a:gd name="T84" fmla="*/ 5 w 5"/>
                <a:gd name="T85" fmla="*/ 6 h 6"/>
                <a:gd name="T86" fmla="*/ 5 w 5"/>
                <a:gd name="T8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 h="6">
                  <a:moveTo>
                    <a:pt x="5" y="6"/>
                  </a:moveTo>
                  <a:lnTo>
                    <a:pt x="5" y="6"/>
                  </a:lnTo>
                  <a:lnTo>
                    <a:pt x="4" y="6"/>
                  </a:lnTo>
                  <a:lnTo>
                    <a:pt x="4" y="6"/>
                  </a:lnTo>
                  <a:lnTo>
                    <a:pt x="4" y="5"/>
                  </a:lnTo>
                  <a:lnTo>
                    <a:pt x="3" y="5"/>
                  </a:lnTo>
                  <a:lnTo>
                    <a:pt x="3" y="5"/>
                  </a:lnTo>
                  <a:lnTo>
                    <a:pt x="2" y="5"/>
                  </a:lnTo>
                  <a:lnTo>
                    <a:pt x="2" y="4"/>
                  </a:lnTo>
                  <a:lnTo>
                    <a:pt x="2" y="4"/>
                  </a:lnTo>
                  <a:lnTo>
                    <a:pt x="2" y="4"/>
                  </a:lnTo>
                  <a:lnTo>
                    <a:pt x="2" y="4"/>
                  </a:lnTo>
                  <a:lnTo>
                    <a:pt x="1" y="4"/>
                  </a:lnTo>
                  <a:lnTo>
                    <a:pt x="1" y="4"/>
                  </a:lnTo>
                  <a:lnTo>
                    <a:pt x="1" y="3"/>
                  </a:lnTo>
                  <a:lnTo>
                    <a:pt x="1" y="3"/>
                  </a:lnTo>
                  <a:lnTo>
                    <a:pt x="1" y="3"/>
                  </a:lnTo>
                  <a:lnTo>
                    <a:pt x="1" y="3"/>
                  </a:lnTo>
                  <a:lnTo>
                    <a:pt x="0" y="1"/>
                  </a:lnTo>
                  <a:lnTo>
                    <a:pt x="1" y="1"/>
                  </a:lnTo>
                  <a:lnTo>
                    <a:pt x="1" y="1"/>
                  </a:lnTo>
                  <a:lnTo>
                    <a:pt x="0" y="0"/>
                  </a:lnTo>
                  <a:lnTo>
                    <a:pt x="1" y="0"/>
                  </a:lnTo>
                  <a:lnTo>
                    <a:pt x="1" y="0"/>
                  </a:lnTo>
                  <a:lnTo>
                    <a:pt x="1" y="0"/>
                  </a:lnTo>
                  <a:lnTo>
                    <a:pt x="1" y="0"/>
                  </a:lnTo>
                  <a:lnTo>
                    <a:pt x="1" y="1"/>
                  </a:lnTo>
                  <a:lnTo>
                    <a:pt x="1" y="1"/>
                  </a:lnTo>
                  <a:lnTo>
                    <a:pt x="2" y="1"/>
                  </a:lnTo>
                  <a:lnTo>
                    <a:pt x="2" y="1"/>
                  </a:lnTo>
                  <a:lnTo>
                    <a:pt x="2" y="3"/>
                  </a:lnTo>
                  <a:lnTo>
                    <a:pt x="2" y="3"/>
                  </a:lnTo>
                  <a:lnTo>
                    <a:pt x="2" y="4"/>
                  </a:lnTo>
                  <a:lnTo>
                    <a:pt x="3" y="4"/>
                  </a:lnTo>
                  <a:lnTo>
                    <a:pt x="4" y="4"/>
                  </a:lnTo>
                  <a:lnTo>
                    <a:pt x="4" y="4"/>
                  </a:lnTo>
                  <a:lnTo>
                    <a:pt x="5" y="5"/>
                  </a:lnTo>
                  <a:lnTo>
                    <a:pt x="5" y="5"/>
                  </a:lnTo>
                  <a:lnTo>
                    <a:pt x="5" y="5"/>
                  </a:lnTo>
                  <a:lnTo>
                    <a:pt x="5" y="5"/>
                  </a:lnTo>
                  <a:lnTo>
                    <a:pt x="5" y="6"/>
                  </a:lnTo>
                  <a:lnTo>
                    <a:pt x="5" y="6"/>
                  </a:lnTo>
                  <a:lnTo>
                    <a:pt x="5" y="6"/>
                  </a:lnTo>
                  <a:lnTo>
                    <a:pt x="5" y="6"/>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17" name="Freeform 871">
              <a:extLst>
                <a:ext uri="{FF2B5EF4-FFF2-40B4-BE49-F238E27FC236}">
                  <a16:creationId xmlns:a16="http://schemas.microsoft.com/office/drawing/2014/main" id="{1B0F62C8-1461-42AD-B0B2-8DA4720C323E}"/>
                </a:ext>
              </a:extLst>
            </p:cNvPr>
            <p:cNvSpPr>
              <a:spLocks noEditPoints="1"/>
            </p:cNvSpPr>
            <p:nvPr/>
          </p:nvSpPr>
          <p:spPr bwMode="auto">
            <a:xfrm>
              <a:off x="4314688" y="2930520"/>
              <a:ext cx="33388" cy="10684"/>
            </a:xfrm>
            <a:custGeom>
              <a:avLst/>
              <a:gdLst>
                <a:gd name="T0" fmla="*/ 1 w 25"/>
                <a:gd name="T1" fmla="*/ 7 h 8"/>
                <a:gd name="T2" fmla="*/ 3 w 25"/>
                <a:gd name="T3" fmla="*/ 7 h 8"/>
                <a:gd name="T4" fmla="*/ 3 w 25"/>
                <a:gd name="T5" fmla="*/ 7 h 8"/>
                <a:gd name="T6" fmla="*/ 3 w 25"/>
                <a:gd name="T7" fmla="*/ 7 h 8"/>
                <a:gd name="T8" fmla="*/ 3 w 25"/>
                <a:gd name="T9" fmla="*/ 7 h 8"/>
                <a:gd name="T10" fmla="*/ 3 w 25"/>
                <a:gd name="T11" fmla="*/ 7 h 8"/>
                <a:gd name="T12" fmla="*/ 3 w 25"/>
                <a:gd name="T13" fmla="*/ 7 h 8"/>
                <a:gd name="T14" fmla="*/ 3 w 25"/>
                <a:gd name="T15" fmla="*/ 7 h 8"/>
                <a:gd name="T16" fmla="*/ 3 w 25"/>
                <a:gd name="T17" fmla="*/ 7 h 8"/>
                <a:gd name="T18" fmla="*/ 3 w 25"/>
                <a:gd name="T19" fmla="*/ 7 h 8"/>
                <a:gd name="T20" fmla="*/ 4 w 25"/>
                <a:gd name="T21" fmla="*/ 7 h 8"/>
                <a:gd name="T22" fmla="*/ 5 w 25"/>
                <a:gd name="T23" fmla="*/ 7 h 8"/>
                <a:gd name="T24" fmla="*/ 5 w 25"/>
                <a:gd name="T25" fmla="*/ 7 h 8"/>
                <a:gd name="T26" fmla="*/ 5 w 25"/>
                <a:gd name="T27" fmla="*/ 7 h 8"/>
                <a:gd name="T28" fmla="*/ 4 w 25"/>
                <a:gd name="T29" fmla="*/ 8 h 8"/>
                <a:gd name="T30" fmla="*/ 4 w 25"/>
                <a:gd name="T31" fmla="*/ 8 h 8"/>
                <a:gd name="T32" fmla="*/ 3 w 25"/>
                <a:gd name="T33" fmla="*/ 8 h 8"/>
                <a:gd name="T34" fmla="*/ 3 w 25"/>
                <a:gd name="T35" fmla="*/ 8 h 8"/>
                <a:gd name="T36" fmla="*/ 1 w 25"/>
                <a:gd name="T37" fmla="*/ 8 h 8"/>
                <a:gd name="T38" fmla="*/ 1 w 25"/>
                <a:gd name="T39" fmla="*/ 8 h 8"/>
                <a:gd name="T40" fmla="*/ 0 w 25"/>
                <a:gd name="T41" fmla="*/ 8 h 8"/>
                <a:gd name="T42" fmla="*/ 0 w 25"/>
                <a:gd name="T43" fmla="*/ 8 h 8"/>
                <a:gd name="T44" fmla="*/ 1 w 25"/>
                <a:gd name="T45" fmla="*/ 7 h 8"/>
                <a:gd name="T46" fmla="*/ 1 w 25"/>
                <a:gd name="T47" fmla="*/ 7 h 8"/>
                <a:gd name="T48" fmla="*/ 0 w 25"/>
                <a:gd name="T49" fmla="*/ 7 h 8"/>
                <a:gd name="T50" fmla="*/ 0 w 25"/>
                <a:gd name="T51" fmla="*/ 5 h 8"/>
                <a:gd name="T52" fmla="*/ 1 w 25"/>
                <a:gd name="T53" fmla="*/ 5 h 8"/>
                <a:gd name="T54" fmla="*/ 1 w 25"/>
                <a:gd name="T55" fmla="*/ 7 h 8"/>
                <a:gd name="T56" fmla="*/ 1 w 25"/>
                <a:gd name="T57" fmla="*/ 7 h 8"/>
                <a:gd name="T58" fmla="*/ 21 w 25"/>
                <a:gd name="T59" fmla="*/ 1 h 8"/>
                <a:gd name="T60" fmla="*/ 20 w 25"/>
                <a:gd name="T61" fmla="*/ 1 h 8"/>
                <a:gd name="T62" fmla="*/ 19 w 25"/>
                <a:gd name="T63" fmla="*/ 2 h 8"/>
                <a:gd name="T64" fmla="*/ 20 w 25"/>
                <a:gd name="T65" fmla="*/ 1 h 8"/>
                <a:gd name="T66" fmla="*/ 20 w 25"/>
                <a:gd name="T67" fmla="*/ 1 h 8"/>
                <a:gd name="T68" fmla="*/ 21 w 25"/>
                <a:gd name="T69" fmla="*/ 1 h 8"/>
                <a:gd name="T70" fmla="*/ 22 w 25"/>
                <a:gd name="T71" fmla="*/ 1 h 8"/>
                <a:gd name="T72" fmla="*/ 22 w 25"/>
                <a:gd name="T73" fmla="*/ 1 h 8"/>
                <a:gd name="T74" fmla="*/ 24 w 25"/>
                <a:gd name="T75" fmla="*/ 0 h 8"/>
                <a:gd name="T76" fmla="*/ 25 w 25"/>
                <a:gd name="T77" fmla="*/ 0 h 8"/>
                <a:gd name="T78" fmla="*/ 24 w 25"/>
                <a:gd name="T7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 h="8">
                  <a:moveTo>
                    <a:pt x="1" y="7"/>
                  </a:moveTo>
                  <a:lnTo>
                    <a:pt x="1" y="7"/>
                  </a:lnTo>
                  <a:lnTo>
                    <a:pt x="1" y="7"/>
                  </a:lnTo>
                  <a:lnTo>
                    <a:pt x="3" y="7"/>
                  </a:lnTo>
                  <a:lnTo>
                    <a:pt x="3" y="7"/>
                  </a:lnTo>
                  <a:lnTo>
                    <a:pt x="3" y="7"/>
                  </a:lnTo>
                  <a:lnTo>
                    <a:pt x="3" y="7"/>
                  </a:lnTo>
                  <a:lnTo>
                    <a:pt x="3" y="7"/>
                  </a:lnTo>
                  <a:lnTo>
                    <a:pt x="3" y="7"/>
                  </a:lnTo>
                  <a:lnTo>
                    <a:pt x="3" y="7"/>
                  </a:lnTo>
                  <a:lnTo>
                    <a:pt x="3" y="7"/>
                  </a:lnTo>
                  <a:lnTo>
                    <a:pt x="3" y="7"/>
                  </a:lnTo>
                  <a:lnTo>
                    <a:pt x="3" y="7"/>
                  </a:lnTo>
                  <a:lnTo>
                    <a:pt x="3" y="7"/>
                  </a:lnTo>
                  <a:lnTo>
                    <a:pt x="3" y="7"/>
                  </a:lnTo>
                  <a:lnTo>
                    <a:pt x="3" y="7"/>
                  </a:lnTo>
                  <a:lnTo>
                    <a:pt x="3" y="7"/>
                  </a:lnTo>
                  <a:lnTo>
                    <a:pt x="3" y="7"/>
                  </a:lnTo>
                  <a:lnTo>
                    <a:pt x="3" y="7"/>
                  </a:lnTo>
                  <a:lnTo>
                    <a:pt x="3" y="7"/>
                  </a:lnTo>
                  <a:lnTo>
                    <a:pt x="3" y="7"/>
                  </a:lnTo>
                  <a:lnTo>
                    <a:pt x="4" y="7"/>
                  </a:lnTo>
                  <a:lnTo>
                    <a:pt x="4" y="7"/>
                  </a:lnTo>
                  <a:lnTo>
                    <a:pt x="5" y="7"/>
                  </a:lnTo>
                  <a:lnTo>
                    <a:pt x="5" y="7"/>
                  </a:lnTo>
                  <a:lnTo>
                    <a:pt x="5" y="7"/>
                  </a:lnTo>
                  <a:lnTo>
                    <a:pt x="5" y="7"/>
                  </a:lnTo>
                  <a:lnTo>
                    <a:pt x="5" y="7"/>
                  </a:lnTo>
                  <a:lnTo>
                    <a:pt x="5" y="8"/>
                  </a:lnTo>
                  <a:lnTo>
                    <a:pt x="4" y="8"/>
                  </a:lnTo>
                  <a:lnTo>
                    <a:pt x="4" y="7"/>
                  </a:lnTo>
                  <a:lnTo>
                    <a:pt x="4" y="8"/>
                  </a:lnTo>
                  <a:lnTo>
                    <a:pt x="4" y="8"/>
                  </a:lnTo>
                  <a:lnTo>
                    <a:pt x="3" y="8"/>
                  </a:lnTo>
                  <a:lnTo>
                    <a:pt x="3" y="8"/>
                  </a:lnTo>
                  <a:lnTo>
                    <a:pt x="3" y="8"/>
                  </a:lnTo>
                  <a:lnTo>
                    <a:pt x="3" y="8"/>
                  </a:lnTo>
                  <a:lnTo>
                    <a:pt x="1" y="8"/>
                  </a:lnTo>
                  <a:lnTo>
                    <a:pt x="1" y="8"/>
                  </a:lnTo>
                  <a:lnTo>
                    <a:pt x="1" y="8"/>
                  </a:lnTo>
                  <a:lnTo>
                    <a:pt x="0" y="8"/>
                  </a:lnTo>
                  <a:lnTo>
                    <a:pt x="0" y="8"/>
                  </a:lnTo>
                  <a:lnTo>
                    <a:pt x="0" y="8"/>
                  </a:lnTo>
                  <a:lnTo>
                    <a:pt x="0" y="8"/>
                  </a:lnTo>
                  <a:lnTo>
                    <a:pt x="1" y="7"/>
                  </a:lnTo>
                  <a:lnTo>
                    <a:pt x="1" y="7"/>
                  </a:lnTo>
                  <a:lnTo>
                    <a:pt x="1" y="7"/>
                  </a:lnTo>
                  <a:lnTo>
                    <a:pt x="1" y="7"/>
                  </a:lnTo>
                  <a:lnTo>
                    <a:pt x="0" y="7"/>
                  </a:lnTo>
                  <a:lnTo>
                    <a:pt x="0" y="7"/>
                  </a:lnTo>
                  <a:lnTo>
                    <a:pt x="0" y="5"/>
                  </a:lnTo>
                  <a:lnTo>
                    <a:pt x="0" y="5"/>
                  </a:lnTo>
                  <a:lnTo>
                    <a:pt x="1" y="5"/>
                  </a:lnTo>
                  <a:lnTo>
                    <a:pt x="1" y="5"/>
                  </a:lnTo>
                  <a:lnTo>
                    <a:pt x="1" y="5"/>
                  </a:lnTo>
                  <a:lnTo>
                    <a:pt x="1" y="7"/>
                  </a:lnTo>
                  <a:lnTo>
                    <a:pt x="1" y="7"/>
                  </a:lnTo>
                  <a:lnTo>
                    <a:pt x="1" y="7"/>
                  </a:lnTo>
                  <a:close/>
                  <a:moveTo>
                    <a:pt x="21" y="1"/>
                  </a:moveTo>
                  <a:lnTo>
                    <a:pt x="21" y="1"/>
                  </a:lnTo>
                  <a:lnTo>
                    <a:pt x="21" y="1"/>
                  </a:lnTo>
                  <a:lnTo>
                    <a:pt x="20" y="1"/>
                  </a:lnTo>
                  <a:lnTo>
                    <a:pt x="20" y="2"/>
                  </a:lnTo>
                  <a:lnTo>
                    <a:pt x="19" y="2"/>
                  </a:lnTo>
                  <a:lnTo>
                    <a:pt x="19" y="1"/>
                  </a:lnTo>
                  <a:lnTo>
                    <a:pt x="20" y="1"/>
                  </a:lnTo>
                  <a:lnTo>
                    <a:pt x="20" y="1"/>
                  </a:lnTo>
                  <a:lnTo>
                    <a:pt x="20" y="1"/>
                  </a:lnTo>
                  <a:lnTo>
                    <a:pt x="20" y="1"/>
                  </a:lnTo>
                  <a:lnTo>
                    <a:pt x="21" y="1"/>
                  </a:lnTo>
                  <a:lnTo>
                    <a:pt x="21" y="1"/>
                  </a:lnTo>
                  <a:close/>
                  <a:moveTo>
                    <a:pt x="22" y="1"/>
                  </a:moveTo>
                  <a:lnTo>
                    <a:pt x="22" y="1"/>
                  </a:lnTo>
                  <a:lnTo>
                    <a:pt x="22" y="1"/>
                  </a:lnTo>
                  <a:lnTo>
                    <a:pt x="24" y="1"/>
                  </a:lnTo>
                  <a:lnTo>
                    <a:pt x="24" y="0"/>
                  </a:lnTo>
                  <a:lnTo>
                    <a:pt x="25" y="0"/>
                  </a:lnTo>
                  <a:lnTo>
                    <a:pt x="25" y="0"/>
                  </a:lnTo>
                  <a:lnTo>
                    <a:pt x="25" y="1"/>
                  </a:lnTo>
                  <a:lnTo>
                    <a:pt x="24" y="1"/>
                  </a:lnTo>
                  <a:lnTo>
                    <a:pt x="2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18" name="Freeform 872">
              <a:extLst>
                <a:ext uri="{FF2B5EF4-FFF2-40B4-BE49-F238E27FC236}">
                  <a16:creationId xmlns:a16="http://schemas.microsoft.com/office/drawing/2014/main" id="{C527FE7D-6BF4-48DE-A24F-70AC6E1BD5A4}"/>
                </a:ext>
              </a:extLst>
            </p:cNvPr>
            <p:cNvSpPr>
              <a:spLocks noEditPoints="1"/>
            </p:cNvSpPr>
            <p:nvPr/>
          </p:nvSpPr>
          <p:spPr bwMode="auto">
            <a:xfrm>
              <a:off x="6379352" y="2593977"/>
              <a:ext cx="33388" cy="13355"/>
            </a:xfrm>
            <a:custGeom>
              <a:avLst/>
              <a:gdLst>
                <a:gd name="T0" fmla="*/ 0 w 25"/>
                <a:gd name="T1" fmla="*/ 8 h 10"/>
                <a:gd name="T2" fmla="*/ 0 w 25"/>
                <a:gd name="T3" fmla="*/ 8 h 10"/>
                <a:gd name="T4" fmla="*/ 18 w 25"/>
                <a:gd name="T5" fmla="*/ 4 h 10"/>
                <a:gd name="T6" fmla="*/ 18 w 25"/>
                <a:gd name="T7" fmla="*/ 6 h 10"/>
                <a:gd name="T8" fmla="*/ 17 w 25"/>
                <a:gd name="T9" fmla="*/ 7 h 10"/>
                <a:gd name="T10" fmla="*/ 17 w 25"/>
                <a:gd name="T11" fmla="*/ 8 h 10"/>
                <a:gd name="T12" fmla="*/ 18 w 25"/>
                <a:gd name="T13" fmla="*/ 9 h 10"/>
                <a:gd name="T14" fmla="*/ 17 w 25"/>
                <a:gd name="T15" fmla="*/ 10 h 10"/>
                <a:gd name="T16" fmla="*/ 17 w 25"/>
                <a:gd name="T17" fmla="*/ 10 h 10"/>
                <a:gd name="T18" fmla="*/ 17 w 25"/>
                <a:gd name="T19" fmla="*/ 9 h 10"/>
                <a:gd name="T20" fmla="*/ 17 w 25"/>
                <a:gd name="T21" fmla="*/ 9 h 10"/>
                <a:gd name="T22" fmla="*/ 16 w 25"/>
                <a:gd name="T23" fmla="*/ 9 h 10"/>
                <a:gd name="T24" fmla="*/ 16 w 25"/>
                <a:gd name="T25" fmla="*/ 9 h 10"/>
                <a:gd name="T26" fmla="*/ 16 w 25"/>
                <a:gd name="T27" fmla="*/ 10 h 10"/>
                <a:gd name="T28" fmla="*/ 15 w 25"/>
                <a:gd name="T29" fmla="*/ 10 h 10"/>
                <a:gd name="T30" fmla="*/ 15 w 25"/>
                <a:gd name="T31" fmla="*/ 10 h 10"/>
                <a:gd name="T32" fmla="*/ 15 w 25"/>
                <a:gd name="T33" fmla="*/ 10 h 10"/>
                <a:gd name="T34" fmla="*/ 14 w 25"/>
                <a:gd name="T35" fmla="*/ 10 h 10"/>
                <a:gd name="T36" fmla="*/ 14 w 25"/>
                <a:gd name="T37" fmla="*/ 10 h 10"/>
                <a:gd name="T38" fmla="*/ 14 w 25"/>
                <a:gd name="T39" fmla="*/ 10 h 10"/>
                <a:gd name="T40" fmla="*/ 12 w 25"/>
                <a:gd name="T41" fmla="*/ 10 h 10"/>
                <a:gd name="T42" fmla="*/ 12 w 25"/>
                <a:gd name="T43" fmla="*/ 9 h 10"/>
                <a:gd name="T44" fmla="*/ 11 w 25"/>
                <a:gd name="T45" fmla="*/ 10 h 10"/>
                <a:gd name="T46" fmla="*/ 11 w 25"/>
                <a:gd name="T47" fmla="*/ 10 h 10"/>
                <a:gd name="T48" fmla="*/ 11 w 25"/>
                <a:gd name="T49" fmla="*/ 10 h 10"/>
                <a:gd name="T50" fmla="*/ 11 w 25"/>
                <a:gd name="T51" fmla="*/ 10 h 10"/>
                <a:gd name="T52" fmla="*/ 11 w 25"/>
                <a:gd name="T53" fmla="*/ 9 h 10"/>
                <a:gd name="T54" fmla="*/ 10 w 25"/>
                <a:gd name="T55" fmla="*/ 8 h 10"/>
                <a:gd name="T56" fmla="*/ 10 w 25"/>
                <a:gd name="T57" fmla="*/ 8 h 10"/>
                <a:gd name="T58" fmla="*/ 9 w 25"/>
                <a:gd name="T59" fmla="*/ 8 h 10"/>
                <a:gd name="T60" fmla="*/ 8 w 25"/>
                <a:gd name="T61" fmla="*/ 8 h 10"/>
                <a:gd name="T62" fmla="*/ 7 w 25"/>
                <a:gd name="T63" fmla="*/ 8 h 10"/>
                <a:gd name="T64" fmla="*/ 5 w 25"/>
                <a:gd name="T65" fmla="*/ 8 h 10"/>
                <a:gd name="T66" fmla="*/ 4 w 25"/>
                <a:gd name="T67" fmla="*/ 9 h 10"/>
                <a:gd name="T68" fmla="*/ 3 w 25"/>
                <a:gd name="T69" fmla="*/ 9 h 10"/>
                <a:gd name="T70" fmla="*/ 3 w 25"/>
                <a:gd name="T71" fmla="*/ 9 h 10"/>
                <a:gd name="T72" fmla="*/ 2 w 25"/>
                <a:gd name="T73" fmla="*/ 9 h 10"/>
                <a:gd name="T74" fmla="*/ 1 w 25"/>
                <a:gd name="T75" fmla="*/ 9 h 10"/>
                <a:gd name="T76" fmla="*/ 1 w 25"/>
                <a:gd name="T77" fmla="*/ 8 h 10"/>
                <a:gd name="T78" fmla="*/ 2 w 25"/>
                <a:gd name="T79" fmla="*/ 8 h 10"/>
                <a:gd name="T80" fmla="*/ 3 w 25"/>
                <a:gd name="T81" fmla="*/ 8 h 10"/>
                <a:gd name="T82" fmla="*/ 3 w 25"/>
                <a:gd name="T83" fmla="*/ 6 h 10"/>
                <a:gd name="T84" fmla="*/ 4 w 25"/>
                <a:gd name="T85" fmla="*/ 4 h 10"/>
                <a:gd name="T86" fmla="*/ 8 w 25"/>
                <a:gd name="T87" fmla="*/ 6 h 10"/>
                <a:gd name="T88" fmla="*/ 15 w 25"/>
                <a:gd name="T89" fmla="*/ 4 h 10"/>
                <a:gd name="T90" fmla="*/ 18 w 25"/>
                <a:gd name="T91" fmla="*/ 3 h 10"/>
                <a:gd name="T92" fmla="*/ 21 w 25"/>
                <a:gd name="T93" fmla="*/ 2 h 10"/>
                <a:gd name="T94" fmla="*/ 24 w 25"/>
                <a:gd name="T95" fmla="*/ 0 h 10"/>
                <a:gd name="T96" fmla="*/ 24 w 25"/>
                <a:gd name="T97" fmla="*/ 0 h 10"/>
                <a:gd name="T98" fmla="*/ 24 w 25"/>
                <a:gd name="T99" fmla="*/ 1 h 10"/>
                <a:gd name="T100" fmla="*/ 22 w 25"/>
                <a:gd name="T101"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 h="10">
                  <a:moveTo>
                    <a:pt x="0" y="8"/>
                  </a:moveTo>
                  <a:lnTo>
                    <a:pt x="0" y="8"/>
                  </a:lnTo>
                  <a:lnTo>
                    <a:pt x="0" y="8"/>
                  </a:lnTo>
                  <a:lnTo>
                    <a:pt x="0" y="8"/>
                  </a:lnTo>
                  <a:lnTo>
                    <a:pt x="0" y="8"/>
                  </a:lnTo>
                  <a:lnTo>
                    <a:pt x="0" y="8"/>
                  </a:lnTo>
                  <a:lnTo>
                    <a:pt x="0" y="8"/>
                  </a:lnTo>
                  <a:lnTo>
                    <a:pt x="0" y="8"/>
                  </a:lnTo>
                  <a:lnTo>
                    <a:pt x="0" y="8"/>
                  </a:lnTo>
                  <a:close/>
                  <a:moveTo>
                    <a:pt x="19" y="4"/>
                  </a:moveTo>
                  <a:lnTo>
                    <a:pt x="19" y="4"/>
                  </a:lnTo>
                  <a:lnTo>
                    <a:pt x="18" y="4"/>
                  </a:lnTo>
                  <a:lnTo>
                    <a:pt x="18" y="6"/>
                  </a:lnTo>
                  <a:lnTo>
                    <a:pt x="18" y="6"/>
                  </a:lnTo>
                  <a:lnTo>
                    <a:pt x="18" y="6"/>
                  </a:lnTo>
                  <a:lnTo>
                    <a:pt x="18" y="6"/>
                  </a:lnTo>
                  <a:lnTo>
                    <a:pt x="17" y="6"/>
                  </a:lnTo>
                  <a:lnTo>
                    <a:pt x="17" y="6"/>
                  </a:lnTo>
                  <a:lnTo>
                    <a:pt x="17" y="6"/>
                  </a:lnTo>
                  <a:lnTo>
                    <a:pt x="17" y="7"/>
                  </a:lnTo>
                  <a:lnTo>
                    <a:pt x="17" y="7"/>
                  </a:lnTo>
                  <a:lnTo>
                    <a:pt x="17" y="7"/>
                  </a:lnTo>
                  <a:lnTo>
                    <a:pt x="17" y="8"/>
                  </a:lnTo>
                  <a:lnTo>
                    <a:pt x="17" y="8"/>
                  </a:lnTo>
                  <a:lnTo>
                    <a:pt x="17" y="9"/>
                  </a:lnTo>
                  <a:lnTo>
                    <a:pt x="17" y="9"/>
                  </a:lnTo>
                  <a:lnTo>
                    <a:pt x="17" y="9"/>
                  </a:lnTo>
                  <a:lnTo>
                    <a:pt x="18" y="9"/>
                  </a:lnTo>
                  <a:lnTo>
                    <a:pt x="18" y="10"/>
                  </a:lnTo>
                  <a:lnTo>
                    <a:pt x="18" y="10"/>
                  </a:lnTo>
                  <a:lnTo>
                    <a:pt x="17" y="10"/>
                  </a:lnTo>
                  <a:lnTo>
                    <a:pt x="17" y="10"/>
                  </a:lnTo>
                  <a:lnTo>
                    <a:pt x="17" y="10"/>
                  </a:lnTo>
                  <a:lnTo>
                    <a:pt x="17" y="10"/>
                  </a:lnTo>
                  <a:lnTo>
                    <a:pt x="17" y="10"/>
                  </a:lnTo>
                  <a:lnTo>
                    <a:pt x="17" y="10"/>
                  </a:lnTo>
                  <a:lnTo>
                    <a:pt x="17" y="10"/>
                  </a:lnTo>
                  <a:lnTo>
                    <a:pt x="17" y="10"/>
                  </a:lnTo>
                  <a:lnTo>
                    <a:pt x="17" y="9"/>
                  </a:lnTo>
                  <a:lnTo>
                    <a:pt x="17" y="9"/>
                  </a:lnTo>
                  <a:lnTo>
                    <a:pt x="17" y="9"/>
                  </a:lnTo>
                  <a:lnTo>
                    <a:pt x="17" y="9"/>
                  </a:lnTo>
                  <a:lnTo>
                    <a:pt x="17" y="9"/>
                  </a:lnTo>
                  <a:lnTo>
                    <a:pt x="17" y="9"/>
                  </a:lnTo>
                  <a:lnTo>
                    <a:pt x="17" y="9"/>
                  </a:lnTo>
                  <a:lnTo>
                    <a:pt x="17" y="9"/>
                  </a:lnTo>
                  <a:lnTo>
                    <a:pt x="16" y="9"/>
                  </a:lnTo>
                  <a:lnTo>
                    <a:pt x="16" y="9"/>
                  </a:lnTo>
                  <a:lnTo>
                    <a:pt x="16" y="9"/>
                  </a:lnTo>
                  <a:lnTo>
                    <a:pt x="16" y="9"/>
                  </a:lnTo>
                  <a:lnTo>
                    <a:pt x="16" y="9"/>
                  </a:lnTo>
                  <a:lnTo>
                    <a:pt x="16" y="9"/>
                  </a:lnTo>
                  <a:lnTo>
                    <a:pt x="16" y="10"/>
                  </a:lnTo>
                  <a:lnTo>
                    <a:pt x="16" y="10"/>
                  </a:lnTo>
                  <a:lnTo>
                    <a:pt x="16" y="10"/>
                  </a:lnTo>
                  <a:lnTo>
                    <a:pt x="16" y="10"/>
                  </a:lnTo>
                  <a:lnTo>
                    <a:pt x="16" y="10"/>
                  </a:lnTo>
                  <a:lnTo>
                    <a:pt x="16" y="10"/>
                  </a:lnTo>
                  <a:lnTo>
                    <a:pt x="16" y="10"/>
                  </a:lnTo>
                  <a:lnTo>
                    <a:pt x="15" y="10"/>
                  </a:lnTo>
                  <a:lnTo>
                    <a:pt x="15" y="10"/>
                  </a:lnTo>
                  <a:lnTo>
                    <a:pt x="15" y="10"/>
                  </a:lnTo>
                  <a:lnTo>
                    <a:pt x="15" y="10"/>
                  </a:lnTo>
                  <a:lnTo>
                    <a:pt x="15" y="10"/>
                  </a:lnTo>
                  <a:lnTo>
                    <a:pt x="15" y="10"/>
                  </a:lnTo>
                  <a:lnTo>
                    <a:pt x="15" y="10"/>
                  </a:lnTo>
                  <a:lnTo>
                    <a:pt x="15" y="10"/>
                  </a:lnTo>
                  <a:lnTo>
                    <a:pt x="15" y="10"/>
                  </a:lnTo>
                  <a:lnTo>
                    <a:pt x="15" y="10"/>
                  </a:lnTo>
                  <a:lnTo>
                    <a:pt x="14" y="10"/>
                  </a:lnTo>
                  <a:lnTo>
                    <a:pt x="14" y="10"/>
                  </a:lnTo>
                  <a:lnTo>
                    <a:pt x="14" y="10"/>
                  </a:lnTo>
                  <a:lnTo>
                    <a:pt x="14" y="10"/>
                  </a:lnTo>
                  <a:lnTo>
                    <a:pt x="14" y="10"/>
                  </a:lnTo>
                  <a:lnTo>
                    <a:pt x="14" y="10"/>
                  </a:lnTo>
                  <a:lnTo>
                    <a:pt x="14" y="10"/>
                  </a:lnTo>
                  <a:lnTo>
                    <a:pt x="14" y="10"/>
                  </a:lnTo>
                  <a:lnTo>
                    <a:pt x="14" y="10"/>
                  </a:lnTo>
                  <a:lnTo>
                    <a:pt x="14" y="10"/>
                  </a:lnTo>
                  <a:lnTo>
                    <a:pt x="14" y="10"/>
                  </a:lnTo>
                  <a:lnTo>
                    <a:pt x="12" y="10"/>
                  </a:lnTo>
                  <a:lnTo>
                    <a:pt x="12" y="10"/>
                  </a:lnTo>
                  <a:lnTo>
                    <a:pt x="12" y="10"/>
                  </a:lnTo>
                  <a:lnTo>
                    <a:pt x="12" y="10"/>
                  </a:lnTo>
                  <a:lnTo>
                    <a:pt x="12" y="10"/>
                  </a:lnTo>
                  <a:lnTo>
                    <a:pt x="12" y="10"/>
                  </a:lnTo>
                  <a:lnTo>
                    <a:pt x="12" y="9"/>
                  </a:lnTo>
                  <a:lnTo>
                    <a:pt x="12" y="9"/>
                  </a:lnTo>
                  <a:lnTo>
                    <a:pt x="12" y="10"/>
                  </a:lnTo>
                  <a:lnTo>
                    <a:pt x="12" y="10"/>
                  </a:lnTo>
                  <a:lnTo>
                    <a:pt x="12" y="10"/>
                  </a:lnTo>
                  <a:lnTo>
                    <a:pt x="11" y="10"/>
                  </a:lnTo>
                  <a:lnTo>
                    <a:pt x="11" y="10"/>
                  </a:lnTo>
                  <a:lnTo>
                    <a:pt x="11" y="10"/>
                  </a:lnTo>
                  <a:lnTo>
                    <a:pt x="11" y="10"/>
                  </a:lnTo>
                  <a:lnTo>
                    <a:pt x="11" y="10"/>
                  </a:lnTo>
                  <a:lnTo>
                    <a:pt x="11" y="10"/>
                  </a:lnTo>
                  <a:lnTo>
                    <a:pt x="11" y="10"/>
                  </a:lnTo>
                  <a:lnTo>
                    <a:pt x="11" y="10"/>
                  </a:lnTo>
                  <a:lnTo>
                    <a:pt x="11" y="10"/>
                  </a:lnTo>
                  <a:lnTo>
                    <a:pt x="11" y="10"/>
                  </a:lnTo>
                  <a:lnTo>
                    <a:pt x="11" y="10"/>
                  </a:lnTo>
                  <a:lnTo>
                    <a:pt x="11" y="10"/>
                  </a:lnTo>
                  <a:lnTo>
                    <a:pt x="11" y="10"/>
                  </a:lnTo>
                  <a:lnTo>
                    <a:pt x="11" y="9"/>
                  </a:lnTo>
                  <a:lnTo>
                    <a:pt x="11" y="9"/>
                  </a:lnTo>
                  <a:lnTo>
                    <a:pt x="11" y="9"/>
                  </a:lnTo>
                  <a:lnTo>
                    <a:pt x="11" y="9"/>
                  </a:lnTo>
                  <a:lnTo>
                    <a:pt x="10" y="8"/>
                  </a:lnTo>
                  <a:lnTo>
                    <a:pt x="10" y="8"/>
                  </a:lnTo>
                  <a:lnTo>
                    <a:pt x="10" y="8"/>
                  </a:lnTo>
                  <a:lnTo>
                    <a:pt x="10" y="8"/>
                  </a:lnTo>
                  <a:lnTo>
                    <a:pt x="10" y="8"/>
                  </a:lnTo>
                  <a:lnTo>
                    <a:pt x="10" y="8"/>
                  </a:lnTo>
                  <a:lnTo>
                    <a:pt x="10" y="8"/>
                  </a:lnTo>
                  <a:lnTo>
                    <a:pt x="10" y="8"/>
                  </a:lnTo>
                  <a:lnTo>
                    <a:pt x="10" y="8"/>
                  </a:lnTo>
                  <a:lnTo>
                    <a:pt x="9" y="8"/>
                  </a:lnTo>
                  <a:lnTo>
                    <a:pt x="9" y="8"/>
                  </a:lnTo>
                  <a:lnTo>
                    <a:pt x="9" y="8"/>
                  </a:lnTo>
                  <a:lnTo>
                    <a:pt x="9" y="8"/>
                  </a:lnTo>
                  <a:lnTo>
                    <a:pt x="8" y="8"/>
                  </a:lnTo>
                  <a:lnTo>
                    <a:pt x="8" y="8"/>
                  </a:lnTo>
                  <a:lnTo>
                    <a:pt x="8" y="8"/>
                  </a:lnTo>
                  <a:lnTo>
                    <a:pt x="7" y="8"/>
                  </a:lnTo>
                  <a:lnTo>
                    <a:pt x="7" y="8"/>
                  </a:lnTo>
                  <a:lnTo>
                    <a:pt x="7" y="8"/>
                  </a:lnTo>
                  <a:lnTo>
                    <a:pt x="7" y="8"/>
                  </a:lnTo>
                  <a:lnTo>
                    <a:pt x="7" y="8"/>
                  </a:lnTo>
                  <a:lnTo>
                    <a:pt x="5" y="8"/>
                  </a:lnTo>
                  <a:lnTo>
                    <a:pt x="5" y="8"/>
                  </a:lnTo>
                  <a:lnTo>
                    <a:pt x="5" y="8"/>
                  </a:lnTo>
                  <a:lnTo>
                    <a:pt x="5" y="8"/>
                  </a:lnTo>
                  <a:lnTo>
                    <a:pt x="5" y="9"/>
                  </a:lnTo>
                  <a:lnTo>
                    <a:pt x="4" y="9"/>
                  </a:lnTo>
                  <a:lnTo>
                    <a:pt x="4" y="9"/>
                  </a:lnTo>
                  <a:lnTo>
                    <a:pt x="4" y="9"/>
                  </a:lnTo>
                  <a:lnTo>
                    <a:pt x="4" y="9"/>
                  </a:lnTo>
                  <a:lnTo>
                    <a:pt x="4" y="9"/>
                  </a:lnTo>
                  <a:lnTo>
                    <a:pt x="3" y="9"/>
                  </a:lnTo>
                  <a:lnTo>
                    <a:pt x="3" y="9"/>
                  </a:lnTo>
                  <a:lnTo>
                    <a:pt x="3" y="9"/>
                  </a:lnTo>
                  <a:lnTo>
                    <a:pt x="3" y="9"/>
                  </a:lnTo>
                  <a:lnTo>
                    <a:pt x="3" y="9"/>
                  </a:lnTo>
                  <a:lnTo>
                    <a:pt x="3" y="9"/>
                  </a:lnTo>
                  <a:lnTo>
                    <a:pt x="3" y="9"/>
                  </a:lnTo>
                  <a:lnTo>
                    <a:pt x="3" y="9"/>
                  </a:lnTo>
                  <a:lnTo>
                    <a:pt x="2" y="9"/>
                  </a:lnTo>
                  <a:lnTo>
                    <a:pt x="2" y="9"/>
                  </a:lnTo>
                  <a:lnTo>
                    <a:pt x="2" y="9"/>
                  </a:lnTo>
                  <a:lnTo>
                    <a:pt x="2" y="9"/>
                  </a:lnTo>
                  <a:lnTo>
                    <a:pt x="1" y="9"/>
                  </a:lnTo>
                  <a:lnTo>
                    <a:pt x="1" y="8"/>
                  </a:lnTo>
                  <a:lnTo>
                    <a:pt x="1" y="8"/>
                  </a:lnTo>
                  <a:lnTo>
                    <a:pt x="1" y="8"/>
                  </a:lnTo>
                  <a:lnTo>
                    <a:pt x="1" y="8"/>
                  </a:lnTo>
                  <a:lnTo>
                    <a:pt x="1" y="8"/>
                  </a:lnTo>
                  <a:lnTo>
                    <a:pt x="1" y="8"/>
                  </a:lnTo>
                  <a:lnTo>
                    <a:pt x="2" y="8"/>
                  </a:lnTo>
                  <a:lnTo>
                    <a:pt x="2" y="8"/>
                  </a:lnTo>
                  <a:lnTo>
                    <a:pt x="2" y="8"/>
                  </a:lnTo>
                  <a:lnTo>
                    <a:pt x="3" y="8"/>
                  </a:lnTo>
                  <a:lnTo>
                    <a:pt x="3" y="8"/>
                  </a:lnTo>
                  <a:lnTo>
                    <a:pt x="3" y="8"/>
                  </a:lnTo>
                  <a:lnTo>
                    <a:pt x="3" y="7"/>
                  </a:lnTo>
                  <a:lnTo>
                    <a:pt x="3" y="7"/>
                  </a:lnTo>
                  <a:lnTo>
                    <a:pt x="3" y="6"/>
                  </a:lnTo>
                  <a:lnTo>
                    <a:pt x="3" y="6"/>
                  </a:lnTo>
                  <a:lnTo>
                    <a:pt x="3" y="4"/>
                  </a:lnTo>
                  <a:lnTo>
                    <a:pt x="3" y="4"/>
                  </a:lnTo>
                  <a:lnTo>
                    <a:pt x="4" y="4"/>
                  </a:lnTo>
                  <a:lnTo>
                    <a:pt x="4" y="4"/>
                  </a:lnTo>
                  <a:lnTo>
                    <a:pt x="5" y="6"/>
                  </a:lnTo>
                  <a:lnTo>
                    <a:pt x="7" y="6"/>
                  </a:lnTo>
                  <a:lnTo>
                    <a:pt x="8" y="6"/>
                  </a:lnTo>
                  <a:lnTo>
                    <a:pt x="8" y="6"/>
                  </a:lnTo>
                  <a:lnTo>
                    <a:pt x="10" y="6"/>
                  </a:lnTo>
                  <a:lnTo>
                    <a:pt x="14" y="6"/>
                  </a:lnTo>
                  <a:lnTo>
                    <a:pt x="14" y="4"/>
                  </a:lnTo>
                  <a:lnTo>
                    <a:pt x="15" y="4"/>
                  </a:lnTo>
                  <a:lnTo>
                    <a:pt x="15" y="4"/>
                  </a:lnTo>
                  <a:lnTo>
                    <a:pt x="16" y="4"/>
                  </a:lnTo>
                  <a:lnTo>
                    <a:pt x="18" y="3"/>
                  </a:lnTo>
                  <a:lnTo>
                    <a:pt x="18" y="3"/>
                  </a:lnTo>
                  <a:lnTo>
                    <a:pt x="19" y="3"/>
                  </a:lnTo>
                  <a:lnTo>
                    <a:pt x="19" y="2"/>
                  </a:lnTo>
                  <a:lnTo>
                    <a:pt x="19" y="2"/>
                  </a:lnTo>
                  <a:lnTo>
                    <a:pt x="21" y="2"/>
                  </a:lnTo>
                  <a:lnTo>
                    <a:pt x="22" y="2"/>
                  </a:lnTo>
                  <a:lnTo>
                    <a:pt x="22" y="1"/>
                  </a:lnTo>
                  <a:lnTo>
                    <a:pt x="24" y="0"/>
                  </a:lnTo>
                  <a:lnTo>
                    <a:pt x="24" y="0"/>
                  </a:lnTo>
                  <a:lnTo>
                    <a:pt x="25" y="0"/>
                  </a:lnTo>
                  <a:lnTo>
                    <a:pt x="24" y="0"/>
                  </a:lnTo>
                  <a:lnTo>
                    <a:pt x="24" y="0"/>
                  </a:lnTo>
                  <a:lnTo>
                    <a:pt x="24" y="0"/>
                  </a:lnTo>
                  <a:lnTo>
                    <a:pt x="24" y="0"/>
                  </a:lnTo>
                  <a:lnTo>
                    <a:pt x="24" y="1"/>
                  </a:lnTo>
                  <a:lnTo>
                    <a:pt x="24" y="1"/>
                  </a:lnTo>
                  <a:lnTo>
                    <a:pt x="24" y="1"/>
                  </a:lnTo>
                  <a:lnTo>
                    <a:pt x="24" y="1"/>
                  </a:lnTo>
                  <a:lnTo>
                    <a:pt x="24" y="1"/>
                  </a:lnTo>
                  <a:lnTo>
                    <a:pt x="23" y="2"/>
                  </a:lnTo>
                  <a:lnTo>
                    <a:pt x="22" y="2"/>
                  </a:lnTo>
                  <a:lnTo>
                    <a:pt x="19" y="4"/>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19" name="Freeform 873">
              <a:extLst>
                <a:ext uri="{FF2B5EF4-FFF2-40B4-BE49-F238E27FC236}">
                  <a16:creationId xmlns:a16="http://schemas.microsoft.com/office/drawing/2014/main" id="{4A8EBB2B-636D-4EAB-A340-70F21E411585}"/>
                </a:ext>
              </a:extLst>
            </p:cNvPr>
            <p:cNvSpPr>
              <a:spLocks noEditPoints="1"/>
            </p:cNvSpPr>
            <p:nvPr/>
          </p:nvSpPr>
          <p:spPr bwMode="auto">
            <a:xfrm>
              <a:off x="6372675" y="2604661"/>
              <a:ext cx="32052" cy="12020"/>
            </a:xfrm>
            <a:custGeom>
              <a:avLst/>
              <a:gdLst>
                <a:gd name="T0" fmla="*/ 21 w 24"/>
                <a:gd name="T1" fmla="*/ 3 h 9"/>
                <a:gd name="T2" fmla="*/ 21 w 24"/>
                <a:gd name="T3" fmla="*/ 3 h 9"/>
                <a:gd name="T4" fmla="*/ 20 w 24"/>
                <a:gd name="T5" fmla="*/ 3 h 9"/>
                <a:gd name="T6" fmla="*/ 20 w 24"/>
                <a:gd name="T7" fmla="*/ 3 h 9"/>
                <a:gd name="T8" fmla="*/ 20 w 24"/>
                <a:gd name="T9" fmla="*/ 2 h 9"/>
                <a:gd name="T10" fmla="*/ 20 w 24"/>
                <a:gd name="T11" fmla="*/ 2 h 9"/>
                <a:gd name="T12" fmla="*/ 22 w 24"/>
                <a:gd name="T13" fmla="*/ 2 h 9"/>
                <a:gd name="T14" fmla="*/ 23 w 24"/>
                <a:gd name="T15" fmla="*/ 2 h 9"/>
                <a:gd name="T16" fmla="*/ 24 w 24"/>
                <a:gd name="T17" fmla="*/ 2 h 9"/>
                <a:gd name="T18" fmla="*/ 24 w 24"/>
                <a:gd name="T19" fmla="*/ 3 h 9"/>
                <a:gd name="T20" fmla="*/ 22 w 24"/>
                <a:gd name="T21" fmla="*/ 3 h 9"/>
                <a:gd name="T22" fmla="*/ 21 w 24"/>
                <a:gd name="T23" fmla="*/ 3 h 9"/>
                <a:gd name="T24" fmla="*/ 21 w 24"/>
                <a:gd name="T25" fmla="*/ 3 h 9"/>
                <a:gd name="T26" fmla="*/ 21 w 24"/>
                <a:gd name="T27" fmla="*/ 2 h 9"/>
                <a:gd name="T28" fmla="*/ 21 w 24"/>
                <a:gd name="T29" fmla="*/ 2 h 9"/>
                <a:gd name="T30" fmla="*/ 22 w 24"/>
                <a:gd name="T31" fmla="*/ 2 h 9"/>
                <a:gd name="T32" fmla="*/ 6 w 24"/>
                <a:gd name="T33" fmla="*/ 1 h 9"/>
                <a:gd name="T34" fmla="*/ 7 w 24"/>
                <a:gd name="T35" fmla="*/ 1 h 9"/>
                <a:gd name="T36" fmla="*/ 8 w 24"/>
                <a:gd name="T37" fmla="*/ 2 h 9"/>
                <a:gd name="T38" fmla="*/ 8 w 24"/>
                <a:gd name="T39" fmla="*/ 1 h 9"/>
                <a:gd name="T40" fmla="*/ 9 w 24"/>
                <a:gd name="T41" fmla="*/ 1 h 9"/>
                <a:gd name="T42" fmla="*/ 10 w 24"/>
                <a:gd name="T43" fmla="*/ 1 h 9"/>
                <a:gd name="T44" fmla="*/ 12 w 24"/>
                <a:gd name="T45" fmla="*/ 1 h 9"/>
                <a:gd name="T46" fmla="*/ 13 w 24"/>
                <a:gd name="T47" fmla="*/ 0 h 9"/>
                <a:gd name="T48" fmla="*/ 13 w 24"/>
                <a:gd name="T49" fmla="*/ 1 h 9"/>
                <a:gd name="T50" fmla="*/ 14 w 24"/>
                <a:gd name="T51" fmla="*/ 1 h 9"/>
                <a:gd name="T52" fmla="*/ 15 w 24"/>
                <a:gd name="T53" fmla="*/ 0 h 9"/>
                <a:gd name="T54" fmla="*/ 15 w 24"/>
                <a:gd name="T55" fmla="*/ 1 h 9"/>
                <a:gd name="T56" fmla="*/ 16 w 24"/>
                <a:gd name="T57" fmla="*/ 2 h 9"/>
                <a:gd name="T58" fmla="*/ 16 w 24"/>
                <a:gd name="T59" fmla="*/ 3 h 9"/>
                <a:gd name="T60" fmla="*/ 16 w 24"/>
                <a:gd name="T61" fmla="*/ 2 h 9"/>
                <a:gd name="T62" fmla="*/ 17 w 24"/>
                <a:gd name="T63" fmla="*/ 2 h 9"/>
                <a:gd name="T64" fmla="*/ 17 w 24"/>
                <a:gd name="T65" fmla="*/ 2 h 9"/>
                <a:gd name="T66" fmla="*/ 19 w 24"/>
                <a:gd name="T67" fmla="*/ 2 h 9"/>
                <a:gd name="T68" fmla="*/ 20 w 24"/>
                <a:gd name="T69" fmla="*/ 3 h 9"/>
                <a:gd name="T70" fmla="*/ 19 w 24"/>
                <a:gd name="T71" fmla="*/ 3 h 9"/>
                <a:gd name="T72" fmla="*/ 19 w 24"/>
                <a:gd name="T73" fmla="*/ 5 h 9"/>
                <a:gd name="T74" fmla="*/ 19 w 24"/>
                <a:gd name="T75" fmla="*/ 6 h 9"/>
                <a:gd name="T76" fmla="*/ 17 w 24"/>
                <a:gd name="T77" fmla="*/ 6 h 9"/>
                <a:gd name="T78" fmla="*/ 16 w 24"/>
                <a:gd name="T79" fmla="*/ 7 h 9"/>
                <a:gd name="T80" fmla="*/ 14 w 24"/>
                <a:gd name="T81" fmla="*/ 7 h 9"/>
                <a:gd name="T82" fmla="*/ 12 w 24"/>
                <a:gd name="T83" fmla="*/ 8 h 9"/>
                <a:gd name="T84" fmla="*/ 10 w 24"/>
                <a:gd name="T85" fmla="*/ 8 h 9"/>
                <a:gd name="T86" fmla="*/ 10 w 24"/>
                <a:gd name="T87" fmla="*/ 8 h 9"/>
                <a:gd name="T88" fmla="*/ 9 w 24"/>
                <a:gd name="T89" fmla="*/ 8 h 9"/>
                <a:gd name="T90" fmla="*/ 9 w 24"/>
                <a:gd name="T91" fmla="*/ 8 h 9"/>
                <a:gd name="T92" fmla="*/ 8 w 24"/>
                <a:gd name="T93" fmla="*/ 8 h 9"/>
                <a:gd name="T94" fmla="*/ 8 w 24"/>
                <a:gd name="T95" fmla="*/ 8 h 9"/>
                <a:gd name="T96" fmla="*/ 7 w 24"/>
                <a:gd name="T97" fmla="*/ 8 h 9"/>
                <a:gd name="T98" fmla="*/ 6 w 24"/>
                <a:gd name="T99" fmla="*/ 8 h 9"/>
                <a:gd name="T100" fmla="*/ 3 w 24"/>
                <a:gd name="T101" fmla="*/ 7 h 9"/>
                <a:gd name="T102" fmla="*/ 2 w 24"/>
                <a:gd name="T103" fmla="*/ 6 h 9"/>
                <a:gd name="T104" fmla="*/ 1 w 24"/>
                <a:gd name="T105" fmla="*/ 5 h 9"/>
                <a:gd name="T106" fmla="*/ 1 w 24"/>
                <a:gd name="T107" fmla="*/ 5 h 9"/>
                <a:gd name="T108" fmla="*/ 1 w 24"/>
                <a:gd name="T109" fmla="*/ 2 h 9"/>
                <a:gd name="T110" fmla="*/ 1 w 24"/>
                <a:gd name="T111" fmla="*/ 1 h 9"/>
                <a:gd name="T112" fmla="*/ 2 w 24"/>
                <a:gd name="T113" fmla="*/ 2 h 9"/>
                <a:gd name="T114" fmla="*/ 3 w 24"/>
                <a:gd name="T115" fmla="*/ 0 h 9"/>
                <a:gd name="T116" fmla="*/ 3 w 24"/>
                <a:gd name="T117" fmla="*/ 0 h 9"/>
                <a:gd name="T118" fmla="*/ 5 w 24"/>
                <a:gd name="T119" fmla="*/ 0 h 9"/>
                <a:gd name="T120" fmla="*/ 6 w 24"/>
                <a:gd name="T1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9">
                  <a:moveTo>
                    <a:pt x="20" y="3"/>
                  </a:moveTo>
                  <a:lnTo>
                    <a:pt x="20" y="3"/>
                  </a:lnTo>
                  <a:lnTo>
                    <a:pt x="21" y="3"/>
                  </a:lnTo>
                  <a:lnTo>
                    <a:pt x="21" y="3"/>
                  </a:lnTo>
                  <a:lnTo>
                    <a:pt x="21" y="3"/>
                  </a:lnTo>
                  <a:lnTo>
                    <a:pt x="21" y="3"/>
                  </a:lnTo>
                  <a:lnTo>
                    <a:pt x="21" y="3"/>
                  </a:lnTo>
                  <a:lnTo>
                    <a:pt x="21" y="3"/>
                  </a:lnTo>
                  <a:lnTo>
                    <a:pt x="21" y="3"/>
                  </a:lnTo>
                  <a:lnTo>
                    <a:pt x="21" y="3"/>
                  </a:lnTo>
                  <a:lnTo>
                    <a:pt x="21" y="3"/>
                  </a:lnTo>
                  <a:lnTo>
                    <a:pt x="20" y="3"/>
                  </a:lnTo>
                  <a:lnTo>
                    <a:pt x="20" y="3"/>
                  </a:lnTo>
                  <a:lnTo>
                    <a:pt x="20" y="3"/>
                  </a:lnTo>
                  <a:lnTo>
                    <a:pt x="20" y="3"/>
                  </a:lnTo>
                  <a:lnTo>
                    <a:pt x="20" y="3"/>
                  </a:lnTo>
                  <a:lnTo>
                    <a:pt x="20" y="3"/>
                  </a:lnTo>
                  <a:lnTo>
                    <a:pt x="20" y="3"/>
                  </a:lnTo>
                  <a:lnTo>
                    <a:pt x="20" y="3"/>
                  </a:lnTo>
                  <a:lnTo>
                    <a:pt x="20" y="3"/>
                  </a:lnTo>
                  <a:lnTo>
                    <a:pt x="20" y="3"/>
                  </a:lnTo>
                  <a:close/>
                  <a:moveTo>
                    <a:pt x="20" y="2"/>
                  </a:moveTo>
                  <a:lnTo>
                    <a:pt x="20" y="2"/>
                  </a:lnTo>
                  <a:lnTo>
                    <a:pt x="20" y="2"/>
                  </a:lnTo>
                  <a:lnTo>
                    <a:pt x="20" y="2"/>
                  </a:lnTo>
                  <a:lnTo>
                    <a:pt x="20" y="2"/>
                  </a:lnTo>
                  <a:lnTo>
                    <a:pt x="20" y="2"/>
                  </a:lnTo>
                  <a:lnTo>
                    <a:pt x="20" y="2"/>
                  </a:lnTo>
                  <a:lnTo>
                    <a:pt x="20" y="2"/>
                  </a:lnTo>
                  <a:lnTo>
                    <a:pt x="20" y="2"/>
                  </a:lnTo>
                  <a:lnTo>
                    <a:pt x="20" y="2"/>
                  </a:lnTo>
                  <a:close/>
                  <a:moveTo>
                    <a:pt x="22" y="2"/>
                  </a:moveTo>
                  <a:lnTo>
                    <a:pt x="22" y="2"/>
                  </a:lnTo>
                  <a:lnTo>
                    <a:pt x="22" y="2"/>
                  </a:lnTo>
                  <a:lnTo>
                    <a:pt x="22" y="2"/>
                  </a:lnTo>
                  <a:lnTo>
                    <a:pt x="23" y="2"/>
                  </a:lnTo>
                  <a:lnTo>
                    <a:pt x="23" y="2"/>
                  </a:lnTo>
                  <a:lnTo>
                    <a:pt x="23" y="2"/>
                  </a:lnTo>
                  <a:lnTo>
                    <a:pt x="23" y="2"/>
                  </a:lnTo>
                  <a:lnTo>
                    <a:pt x="23" y="2"/>
                  </a:lnTo>
                  <a:lnTo>
                    <a:pt x="23" y="2"/>
                  </a:lnTo>
                  <a:lnTo>
                    <a:pt x="23" y="2"/>
                  </a:lnTo>
                  <a:lnTo>
                    <a:pt x="23" y="2"/>
                  </a:lnTo>
                  <a:lnTo>
                    <a:pt x="23" y="2"/>
                  </a:lnTo>
                  <a:lnTo>
                    <a:pt x="24" y="2"/>
                  </a:lnTo>
                  <a:lnTo>
                    <a:pt x="24" y="3"/>
                  </a:lnTo>
                  <a:lnTo>
                    <a:pt x="24" y="3"/>
                  </a:lnTo>
                  <a:lnTo>
                    <a:pt x="24" y="3"/>
                  </a:lnTo>
                  <a:lnTo>
                    <a:pt x="24" y="3"/>
                  </a:lnTo>
                  <a:lnTo>
                    <a:pt x="24" y="3"/>
                  </a:lnTo>
                  <a:lnTo>
                    <a:pt x="23" y="3"/>
                  </a:lnTo>
                  <a:lnTo>
                    <a:pt x="23" y="3"/>
                  </a:lnTo>
                  <a:lnTo>
                    <a:pt x="23" y="3"/>
                  </a:lnTo>
                  <a:lnTo>
                    <a:pt x="22" y="3"/>
                  </a:lnTo>
                  <a:lnTo>
                    <a:pt x="22" y="3"/>
                  </a:lnTo>
                  <a:lnTo>
                    <a:pt x="22" y="3"/>
                  </a:lnTo>
                  <a:lnTo>
                    <a:pt x="22" y="3"/>
                  </a:lnTo>
                  <a:lnTo>
                    <a:pt x="22" y="3"/>
                  </a:lnTo>
                  <a:lnTo>
                    <a:pt x="21" y="3"/>
                  </a:lnTo>
                  <a:lnTo>
                    <a:pt x="21" y="3"/>
                  </a:lnTo>
                  <a:lnTo>
                    <a:pt x="21" y="3"/>
                  </a:lnTo>
                  <a:lnTo>
                    <a:pt x="21" y="3"/>
                  </a:lnTo>
                  <a:lnTo>
                    <a:pt x="21" y="3"/>
                  </a:lnTo>
                  <a:lnTo>
                    <a:pt x="21" y="3"/>
                  </a:lnTo>
                  <a:lnTo>
                    <a:pt x="21" y="3"/>
                  </a:lnTo>
                  <a:lnTo>
                    <a:pt x="21" y="2"/>
                  </a:lnTo>
                  <a:lnTo>
                    <a:pt x="21" y="2"/>
                  </a:lnTo>
                  <a:lnTo>
                    <a:pt x="21" y="2"/>
                  </a:lnTo>
                  <a:lnTo>
                    <a:pt x="21" y="2"/>
                  </a:lnTo>
                  <a:lnTo>
                    <a:pt x="21" y="2"/>
                  </a:lnTo>
                  <a:lnTo>
                    <a:pt x="21" y="2"/>
                  </a:lnTo>
                  <a:lnTo>
                    <a:pt x="21" y="2"/>
                  </a:lnTo>
                  <a:lnTo>
                    <a:pt x="21" y="2"/>
                  </a:lnTo>
                  <a:lnTo>
                    <a:pt x="21" y="2"/>
                  </a:lnTo>
                  <a:lnTo>
                    <a:pt x="21" y="2"/>
                  </a:lnTo>
                  <a:lnTo>
                    <a:pt x="21" y="2"/>
                  </a:lnTo>
                  <a:lnTo>
                    <a:pt x="21" y="2"/>
                  </a:lnTo>
                  <a:lnTo>
                    <a:pt x="21" y="2"/>
                  </a:lnTo>
                  <a:lnTo>
                    <a:pt x="21" y="1"/>
                  </a:lnTo>
                  <a:lnTo>
                    <a:pt x="22" y="2"/>
                  </a:lnTo>
                  <a:lnTo>
                    <a:pt x="22" y="2"/>
                  </a:lnTo>
                  <a:lnTo>
                    <a:pt x="22" y="2"/>
                  </a:lnTo>
                  <a:close/>
                  <a:moveTo>
                    <a:pt x="6" y="0"/>
                  </a:moveTo>
                  <a:lnTo>
                    <a:pt x="6" y="1"/>
                  </a:lnTo>
                  <a:lnTo>
                    <a:pt x="6" y="1"/>
                  </a:lnTo>
                  <a:lnTo>
                    <a:pt x="6" y="1"/>
                  </a:lnTo>
                  <a:lnTo>
                    <a:pt x="7" y="1"/>
                  </a:lnTo>
                  <a:lnTo>
                    <a:pt x="7" y="1"/>
                  </a:lnTo>
                  <a:lnTo>
                    <a:pt x="7" y="1"/>
                  </a:lnTo>
                  <a:lnTo>
                    <a:pt x="7" y="1"/>
                  </a:lnTo>
                  <a:lnTo>
                    <a:pt x="7" y="1"/>
                  </a:lnTo>
                  <a:lnTo>
                    <a:pt x="7" y="2"/>
                  </a:lnTo>
                  <a:lnTo>
                    <a:pt x="7" y="2"/>
                  </a:lnTo>
                  <a:lnTo>
                    <a:pt x="8" y="2"/>
                  </a:lnTo>
                  <a:lnTo>
                    <a:pt x="8" y="2"/>
                  </a:lnTo>
                  <a:lnTo>
                    <a:pt x="8" y="2"/>
                  </a:lnTo>
                  <a:lnTo>
                    <a:pt x="8" y="1"/>
                  </a:lnTo>
                  <a:lnTo>
                    <a:pt x="8" y="1"/>
                  </a:lnTo>
                  <a:lnTo>
                    <a:pt x="8" y="1"/>
                  </a:lnTo>
                  <a:lnTo>
                    <a:pt x="8" y="1"/>
                  </a:lnTo>
                  <a:lnTo>
                    <a:pt x="8" y="1"/>
                  </a:lnTo>
                  <a:lnTo>
                    <a:pt x="8" y="1"/>
                  </a:lnTo>
                  <a:lnTo>
                    <a:pt x="9" y="1"/>
                  </a:lnTo>
                  <a:lnTo>
                    <a:pt x="9" y="1"/>
                  </a:lnTo>
                  <a:lnTo>
                    <a:pt x="9" y="1"/>
                  </a:lnTo>
                  <a:lnTo>
                    <a:pt x="9" y="1"/>
                  </a:lnTo>
                  <a:lnTo>
                    <a:pt x="9" y="1"/>
                  </a:lnTo>
                  <a:lnTo>
                    <a:pt x="9" y="1"/>
                  </a:lnTo>
                  <a:lnTo>
                    <a:pt x="10" y="1"/>
                  </a:lnTo>
                  <a:lnTo>
                    <a:pt x="10" y="1"/>
                  </a:lnTo>
                  <a:lnTo>
                    <a:pt x="10" y="1"/>
                  </a:lnTo>
                  <a:lnTo>
                    <a:pt x="10" y="1"/>
                  </a:lnTo>
                  <a:lnTo>
                    <a:pt x="12" y="1"/>
                  </a:lnTo>
                  <a:lnTo>
                    <a:pt x="12" y="1"/>
                  </a:lnTo>
                  <a:lnTo>
                    <a:pt x="12" y="1"/>
                  </a:lnTo>
                  <a:lnTo>
                    <a:pt x="12" y="1"/>
                  </a:lnTo>
                  <a:lnTo>
                    <a:pt x="12" y="0"/>
                  </a:lnTo>
                  <a:lnTo>
                    <a:pt x="12" y="0"/>
                  </a:lnTo>
                  <a:lnTo>
                    <a:pt x="13" y="0"/>
                  </a:lnTo>
                  <a:lnTo>
                    <a:pt x="13" y="0"/>
                  </a:lnTo>
                  <a:lnTo>
                    <a:pt x="13" y="0"/>
                  </a:lnTo>
                  <a:lnTo>
                    <a:pt x="13" y="0"/>
                  </a:lnTo>
                  <a:lnTo>
                    <a:pt x="13" y="0"/>
                  </a:lnTo>
                  <a:lnTo>
                    <a:pt x="13" y="1"/>
                  </a:lnTo>
                  <a:lnTo>
                    <a:pt x="13" y="1"/>
                  </a:lnTo>
                  <a:lnTo>
                    <a:pt x="14" y="1"/>
                  </a:lnTo>
                  <a:lnTo>
                    <a:pt x="14" y="1"/>
                  </a:lnTo>
                  <a:lnTo>
                    <a:pt x="14" y="1"/>
                  </a:lnTo>
                  <a:lnTo>
                    <a:pt x="14" y="1"/>
                  </a:lnTo>
                  <a:lnTo>
                    <a:pt x="14" y="1"/>
                  </a:lnTo>
                  <a:lnTo>
                    <a:pt x="14" y="1"/>
                  </a:lnTo>
                  <a:lnTo>
                    <a:pt x="14" y="0"/>
                  </a:lnTo>
                  <a:lnTo>
                    <a:pt x="14" y="0"/>
                  </a:lnTo>
                  <a:lnTo>
                    <a:pt x="15" y="0"/>
                  </a:lnTo>
                  <a:lnTo>
                    <a:pt x="15" y="0"/>
                  </a:lnTo>
                  <a:lnTo>
                    <a:pt x="15" y="0"/>
                  </a:lnTo>
                  <a:lnTo>
                    <a:pt x="15" y="0"/>
                  </a:lnTo>
                  <a:lnTo>
                    <a:pt x="15" y="1"/>
                  </a:lnTo>
                  <a:lnTo>
                    <a:pt x="15" y="1"/>
                  </a:lnTo>
                  <a:lnTo>
                    <a:pt x="15" y="1"/>
                  </a:lnTo>
                  <a:lnTo>
                    <a:pt x="15" y="1"/>
                  </a:lnTo>
                  <a:lnTo>
                    <a:pt x="16" y="1"/>
                  </a:lnTo>
                  <a:lnTo>
                    <a:pt x="16" y="1"/>
                  </a:lnTo>
                  <a:lnTo>
                    <a:pt x="16" y="1"/>
                  </a:lnTo>
                  <a:lnTo>
                    <a:pt x="16" y="2"/>
                  </a:lnTo>
                  <a:lnTo>
                    <a:pt x="16" y="2"/>
                  </a:lnTo>
                  <a:lnTo>
                    <a:pt x="16" y="2"/>
                  </a:lnTo>
                  <a:lnTo>
                    <a:pt x="16" y="2"/>
                  </a:lnTo>
                  <a:lnTo>
                    <a:pt x="16" y="3"/>
                  </a:lnTo>
                  <a:lnTo>
                    <a:pt x="16" y="3"/>
                  </a:lnTo>
                  <a:lnTo>
                    <a:pt x="16" y="3"/>
                  </a:lnTo>
                  <a:lnTo>
                    <a:pt x="16" y="3"/>
                  </a:lnTo>
                  <a:lnTo>
                    <a:pt x="16" y="3"/>
                  </a:lnTo>
                  <a:lnTo>
                    <a:pt x="16" y="2"/>
                  </a:lnTo>
                  <a:lnTo>
                    <a:pt x="16" y="2"/>
                  </a:lnTo>
                  <a:lnTo>
                    <a:pt x="16" y="2"/>
                  </a:lnTo>
                  <a:lnTo>
                    <a:pt x="16" y="2"/>
                  </a:lnTo>
                  <a:lnTo>
                    <a:pt x="17" y="2"/>
                  </a:lnTo>
                  <a:lnTo>
                    <a:pt x="17" y="2"/>
                  </a:lnTo>
                  <a:lnTo>
                    <a:pt x="17" y="2"/>
                  </a:lnTo>
                  <a:lnTo>
                    <a:pt x="17" y="3"/>
                  </a:lnTo>
                  <a:lnTo>
                    <a:pt x="17" y="2"/>
                  </a:lnTo>
                  <a:lnTo>
                    <a:pt x="17" y="2"/>
                  </a:lnTo>
                  <a:lnTo>
                    <a:pt x="17" y="2"/>
                  </a:lnTo>
                  <a:lnTo>
                    <a:pt x="17" y="2"/>
                  </a:lnTo>
                  <a:lnTo>
                    <a:pt x="17" y="2"/>
                  </a:lnTo>
                  <a:lnTo>
                    <a:pt x="19" y="2"/>
                  </a:lnTo>
                  <a:lnTo>
                    <a:pt x="19" y="2"/>
                  </a:lnTo>
                  <a:lnTo>
                    <a:pt x="19" y="2"/>
                  </a:lnTo>
                  <a:lnTo>
                    <a:pt x="19" y="2"/>
                  </a:lnTo>
                  <a:lnTo>
                    <a:pt x="19" y="2"/>
                  </a:lnTo>
                  <a:lnTo>
                    <a:pt x="19" y="2"/>
                  </a:lnTo>
                  <a:lnTo>
                    <a:pt x="19" y="3"/>
                  </a:lnTo>
                  <a:lnTo>
                    <a:pt x="20" y="3"/>
                  </a:lnTo>
                  <a:lnTo>
                    <a:pt x="20" y="3"/>
                  </a:lnTo>
                  <a:lnTo>
                    <a:pt x="20" y="3"/>
                  </a:lnTo>
                  <a:lnTo>
                    <a:pt x="20" y="3"/>
                  </a:lnTo>
                  <a:lnTo>
                    <a:pt x="19" y="3"/>
                  </a:lnTo>
                  <a:lnTo>
                    <a:pt x="19" y="3"/>
                  </a:lnTo>
                  <a:lnTo>
                    <a:pt x="19" y="3"/>
                  </a:lnTo>
                  <a:lnTo>
                    <a:pt x="19" y="5"/>
                  </a:lnTo>
                  <a:lnTo>
                    <a:pt x="19" y="5"/>
                  </a:lnTo>
                  <a:lnTo>
                    <a:pt x="19" y="5"/>
                  </a:lnTo>
                  <a:lnTo>
                    <a:pt x="19" y="5"/>
                  </a:lnTo>
                  <a:lnTo>
                    <a:pt x="19" y="5"/>
                  </a:lnTo>
                  <a:lnTo>
                    <a:pt x="19" y="6"/>
                  </a:lnTo>
                  <a:lnTo>
                    <a:pt x="19" y="6"/>
                  </a:lnTo>
                  <a:lnTo>
                    <a:pt x="19" y="6"/>
                  </a:lnTo>
                  <a:lnTo>
                    <a:pt x="19" y="6"/>
                  </a:lnTo>
                  <a:lnTo>
                    <a:pt x="19" y="6"/>
                  </a:lnTo>
                  <a:lnTo>
                    <a:pt x="17" y="6"/>
                  </a:lnTo>
                  <a:lnTo>
                    <a:pt x="17" y="6"/>
                  </a:lnTo>
                  <a:lnTo>
                    <a:pt x="17" y="6"/>
                  </a:lnTo>
                  <a:lnTo>
                    <a:pt x="17" y="6"/>
                  </a:lnTo>
                  <a:lnTo>
                    <a:pt x="17" y="6"/>
                  </a:lnTo>
                  <a:lnTo>
                    <a:pt x="17" y="6"/>
                  </a:lnTo>
                  <a:lnTo>
                    <a:pt x="16" y="7"/>
                  </a:lnTo>
                  <a:lnTo>
                    <a:pt x="16" y="7"/>
                  </a:lnTo>
                  <a:lnTo>
                    <a:pt x="16" y="7"/>
                  </a:lnTo>
                  <a:lnTo>
                    <a:pt x="16" y="7"/>
                  </a:lnTo>
                  <a:lnTo>
                    <a:pt x="16" y="7"/>
                  </a:lnTo>
                  <a:lnTo>
                    <a:pt x="15" y="7"/>
                  </a:lnTo>
                  <a:lnTo>
                    <a:pt x="14" y="7"/>
                  </a:lnTo>
                  <a:lnTo>
                    <a:pt x="14" y="7"/>
                  </a:lnTo>
                  <a:lnTo>
                    <a:pt x="14" y="7"/>
                  </a:lnTo>
                  <a:lnTo>
                    <a:pt x="14" y="8"/>
                  </a:lnTo>
                  <a:lnTo>
                    <a:pt x="14" y="8"/>
                  </a:lnTo>
                  <a:lnTo>
                    <a:pt x="13" y="7"/>
                  </a:lnTo>
                  <a:lnTo>
                    <a:pt x="12" y="8"/>
                  </a:lnTo>
                  <a:lnTo>
                    <a:pt x="12" y="8"/>
                  </a:lnTo>
                  <a:lnTo>
                    <a:pt x="12" y="8"/>
                  </a:lnTo>
                  <a:lnTo>
                    <a:pt x="10" y="8"/>
                  </a:lnTo>
                  <a:lnTo>
                    <a:pt x="10" y="8"/>
                  </a:lnTo>
                  <a:lnTo>
                    <a:pt x="10" y="8"/>
                  </a:lnTo>
                  <a:lnTo>
                    <a:pt x="10" y="8"/>
                  </a:lnTo>
                  <a:lnTo>
                    <a:pt x="10" y="8"/>
                  </a:lnTo>
                  <a:lnTo>
                    <a:pt x="10" y="9"/>
                  </a:lnTo>
                  <a:lnTo>
                    <a:pt x="10" y="9"/>
                  </a:lnTo>
                  <a:lnTo>
                    <a:pt x="10" y="8"/>
                  </a:lnTo>
                  <a:lnTo>
                    <a:pt x="10" y="8"/>
                  </a:lnTo>
                  <a:lnTo>
                    <a:pt x="10" y="8"/>
                  </a:lnTo>
                  <a:lnTo>
                    <a:pt x="10" y="8"/>
                  </a:lnTo>
                  <a:lnTo>
                    <a:pt x="10" y="8"/>
                  </a:lnTo>
                  <a:lnTo>
                    <a:pt x="10" y="8"/>
                  </a:lnTo>
                  <a:lnTo>
                    <a:pt x="9" y="8"/>
                  </a:lnTo>
                  <a:lnTo>
                    <a:pt x="9" y="8"/>
                  </a:lnTo>
                  <a:lnTo>
                    <a:pt x="9" y="8"/>
                  </a:lnTo>
                  <a:lnTo>
                    <a:pt x="9" y="8"/>
                  </a:lnTo>
                  <a:lnTo>
                    <a:pt x="9" y="8"/>
                  </a:lnTo>
                  <a:lnTo>
                    <a:pt x="9" y="8"/>
                  </a:lnTo>
                  <a:lnTo>
                    <a:pt x="9" y="8"/>
                  </a:lnTo>
                  <a:lnTo>
                    <a:pt x="9" y="8"/>
                  </a:lnTo>
                  <a:lnTo>
                    <a:pt x="9" y="8"/>
                  </a:lnTo>
                  <a:lnTo>
                    <a:pt x="8" y="8"/>
                  </a:lnTo>
                  <a:lnTo>
                    <a:pt x="8" y="8"/>
                  </a:lnTo>
                  <a:lnTo>
                    <a:pt x="8" y="8"/>
                  </a:lnTo>
                  <a:lnTo>
                    <a:pt x="8" y="8"/>
                  </a:lnTo>
                  <a:lnTo>
                    <a:pt x="8" y="8"/>
                  </a:lnTo>
                  <a:lnTo>
                    <a:pt x="8" y="8"/>
                  </a:lnTo>
                  <a:lnTo>
                    <a:pt x="8" y="8"/>
                  </a:lnTo>
                  <a:lnTo>
                    <a:pt x="8" y="8"/>
                  </a:lnTo>
                  <a:lnTo>
                    <a:pt x="8" y="8"/>
                  </a:lnTo>
                  <a:lnTo>
                    <a:pt x="8" y="8"/>
                  </a:lnTo>
                  <a:lnTo>
                    <a:pt x="8" y="8"/>
                  </a:lnTo>
                  <a:lnTo>
                    <a:pt x="7" y="8"/>
                  </a:lnTo>
                  <a:lnTo>
                    <a:pt x="7" y="8"/>
                  </a:lnTo>
                  <a:lnTo>
                    <a:pt x="7" y="8"/>
                  </a:lnTo>
                  <a:lnTo>
                    <a:pt x="7" y="8"/>
                  </a:lnTo>
                  <a:lnTo>
                    <a:pt x="7" y="8"/>
                  </a:lnTo>
                  <a:lnTo>
                    <a:pt x="6" y="8"/>
                  </a:lnTo>
                  <a:lnTo>
                    <a:pt x="6" y="8"/>
                  </a:lnTo>
                  <a:lnTo>
                    <a:pt x="5" y="8"/>
                  </a:lnTo>
                  <a:lnTo>
                    <a:pt x="5" y="8"/>
                  </a:lnTo>
                  <a:lnTo>
                    <a:pt x="5" y="7"/>
                  </a:lnTo>
                  <a:lnTo>
                    <a:pt x="3" y="7"/>
                  </a:lnTo>
                  <a:lnTo>
                    <a:pt x="3" y="7"/>
                  </a:lnTo>
                  <a:lnTo>
                    <a:pt x="3" y="7"/>
                  </a:lnTo>
                  <a:lnTo>
                    <a:pt x="2" y="7"/>
                  </a:lnTo>
                  <a:lnTo>
                    <a:pt x="2" y="7"/>
                  </a:lnTo>
                  <a:lnTo>
                    <a:pt x="2" y="6"/>
                  </a:lnTo>
                  <a:lnTo>
                    <a:pt x="2" y="6"/>
                  </a:lnTo>
                  <a:lnTo>
                    <a:pt x="2" y="6"/>
                  </a:lnTo>
                  <a:lnTo>
                    <a:pt x="2" y="6"/>
                  </a:lnTo>
                  <a:lnTo>
                    <a:pt x="2" y="5"/>
                  </a:lnTo>
                  <a:lnTo>
                    <a:pt x="1" y="5"/>
                  </a:lnTo>
                  <a:lnTo>
                    <a:pt x="1" y="5"/>
                  </a:lnTo>
                  <a:lnTo>
                    <a:pt x="1" y="5"/>
                  </a:lnTo>
                  <a:lnTo>
                    <a:pt x="1" y="5"/>
                  </a:lnTo>
                  <a:lnTo>
                    <a:pt x="1" y="5"/>
                  </a:lnTo>
                  <a:lnTo>
                    <a:pt x="1" y="5"/>
                  </a:lnTo>
                  <a:lnTo>
                    <a:pt x="1" y="3"/>
                  </a:lnTo>
                  <a:lnTo>
                    <a:pt x="1" y="3"/>
                  </a:lnTo>
                  <a:lnTo>
                    <a:pt x="1" y="3"/>
                  </a:lnTo>
                  <a:lnTo>
                    <a:pt x="1" y="2"/>
                  </a:lnTo>
                  <a:lnTo>
                    <a:pt x="1" y="2"/>
                  </a:lnTo>
                  <a:lnTo>
                    <a:pt x="0" y="2"/>
                  </a:lnTo>
                  <a:lnTo>
                    <a:pt x="0" y="1"/>
                  </a:lnTo>
                  <a:lnTo>
                    <a:pt x="0" y="1"/>
                  </a:lnTo>
                  <a:lnTo>
                    <a:pt x="0" y="1"/>
                  </a:lnTo>
                  <a:lnTo>
                    <a:pt x="1" y="1"/>
                  </a:lnTo>
                  <a:lnTo>
                    <a:pt x="1" y="2"/>
                  </a:lnTo>
                  <a:lnTo>
                    <a:pt x="1" y="2"/>
                  </a:lnTo>
                  <a:lnTo>
                    <a:pt x="1" y="2"/>
                  </a:lnTo>
                  <a:lnTo>
                    <a:pt x="2" y="2"/>
                  </a:lnTo>
                  <a:lnTo>
                    <a:pt x="2" y="2"/>
                  </a:lnTo>
                  <a:lnTo>
                    <a:pt x="3" y="1"/>
                  </a:lnTo>
                  <a:lnTo>
                    <a:pt x="3" y="1"/>
                  </a:lnTo>
                  <a:lnTo>
                    <a:pt x="3" y="1"/>
                  </a:lnTo>
                  <a:lnTo>
                    <a:pt x="3" y="0"/>
                  </a:lnTo>
                  <a:lnTo>
                    <a:pt x="3" y="0"/>
                  </a:lnTo>
                  <a:lnTo>
                    <a:pt x="3" y="0"/>
                  </a:lnTo>
                  <a:lnTo>
                    <a:pt x="3" y="0"/>
                  </a:lnTo>
                  <a:lnTo>
                    <a:pt x="3" y="0"/>
                  </a:lnTo>
                  <a:lnTo>
                    <a:pt x="3" y="0"/>
                  </a:lnTo>
                  <a:lnTo>
                    <a:pt x="3" y="0"/>
                  </a:lnTo>
                  <a:lnTo>
                    <a:pt x="3" y="0"/>
                  </a:lnTo>
                  <a:lnTo>
                    <a:pt x="5" y="0"/>
                  </a:lnTo>
                  <a:lnTo>
                    <a:pt x="5" y="0"/>
                  </a:lnTo>
                  <a:lnTo>
                    <a:pt x="5" y="0"/>
                  </a:lnTo>
                  <a:lnTo>
                    <a:pt x="5" y="0"/>
                  </a:lnTo>
                  <a:lnTo>
                    <a:pt x="5" y="0"/>
                  </a:lnTo>
                  <a:lnTo>
                    <a:pt x="5" y="0"/>
                  </a:lnTo>
                  <a:lnTo>
                    <a:pt x="5" y="0"/>
                  </a:lnTo>
                  <a:lnTo>
                    <a:pt x="5" y="0"/>
                  </a:lnTo>
                  <a:lnTo>
                    <a:pt x="6" y="0"/>
                  </a:lnTo>
                  <a:lnTo>
                    <a:pt x="6" y="0"/>
                  </a:lnTo>
                  <a:lnTo>
                    <a:pt x="6" y="0"/>
                  </a:lnTo>
                  <a:lnTo>
                    <a:pt x="6"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20" name="Freeform 874">
              <a:extLst>
                <a:ext uri="{FF2B5EF4-FFF2-40B4-BE49-F238E27FC236}">
                  <a16:creationId xmlns:a16="http://schemas.microsoft.com/office/drawing/2014/main" id="{65D1230B-1BEA-4478-970C-A0451CF1B64A}"/>
                </a:ext>
              </a:extLst>
            </p:cNvPr>
            <p:cNvSpPr>
              <a:spLocks/>
            </p:cNvSpPr>
            <p:nvPr/>
          </p:nvSpPr>
          <p:spPr bwMode="auto">
            <a:xfrm>
              <a:off x="6001409" y="2274796"/>
              <a:ext cx="109510" cy="50749"/>
            </a:xfrm>
            <a:custGeom>
              <a:avLst/>
              <a:gdLst>
                <a:gd name="T0" fmla="*/ 34 w 82"/>
                <a:gd name="T1" fmla="*/ 1 h 38"/>
                <a:gd name="T2" fmla="*/ 36 w 82"/>
                <a:gd name="T3" fmla="*/ 0 h 38"/>
                <a:gd name="T4" fmla="*/ 37 w 82"/>
                <a:gd name="T5" fmla="*/ 1 h 38"/>
                <a:gd name="T6" fmla="*/ 39 w 82"/>
                <a:gd name="T7" fmla="*/ 3 h 38"/>
                <a:gd name="T8" fmla="*/ 46 w 82"/>
                <a:gd name="T9" fmla="*/ 5 h 38"/>
                <a:gd name="T10" fmla="*/ 49 w 82"/>
                <a:gd name="T11" fmla="*/ 5 h 38"/>
                <a:gd name="T12" fmla="*/ 52 w 82"/>
                <a:gd name="T13" fmla="*/ 8 h 38"/>
                <a:gd name="T14" fmla="*/ 50 w 82"/>
                <a:gd name="T15" fmla="*/ 10 h 38"/>
                <a:gd name="T16" fmla="*/ 53 w 82"/>
                <a:gd name="T17" fmla="*/ 11 h 38"/>
                <a:gd name="T18" fmla="*/ 56 w 82"/>
                <a:gd name="T19" fmla="*/ 14 h 38"/>
                <a:gd name="T20" fmla="*/ 59 w 82"/>
                <a:gd name="T21" fmla="*/ 12 h 38"/>
                <a:gd name="T22" fmla="*/ 58 w 82"/>
                <a:gd name="T23" fmla="*/ 10 h 38"/>
                <a:gd name="T24" fmla="*/ 60 w 82"/>
                <a:gd name="T25" fmla="*/ 10 h 38"/>
                <a:gd name="T26" fmla="*/ 64 w 82"/>
                <a:gd name="T27" fmla="*/ 11 h 38"/>
                <a:gd name="T28" fmla="*/ 67 w 82"/>
                <a:gd name="T29" fmla="*/ 10 h 38"/>
                <a:gd name="T30" fmla="*/ 66 w 82"/>
                <a:gd name="T31" fmla="*/ 14 h 38"/>
                <a:gd name="T32" fmla="*/ 70 w 82"/>
                <a:gd name="T33" fmla="*/ 15 h 38"/>
                <a:gd name="T34" fmla="*/ 72 w 82"/>
                <a:gd name="T35" fmla="*/ 15 h 38"/>
                <a:gd name="T36" fmla="*/ 76 w 82"/>
                <a:gd name="T37" fmla="*/ 16 h 38"/>
                <a:gd name="T38" fmla="*/ 77 w 82"/>
                <a:gd name="T39" fmla="*/ 17 h 38"/>
                <a:gd name="T40" fmla="*/ 79 w 82"/>
                <a:gd name="T41" fmla="*/ 19 h 38"/>
                <a:gd name="T42" fmla="*/ 82 w 82"/>
                <a:gd name="T43" fmla="*/ 21 h 38"/>
                <a:gd name="T44" fmla="*/ 80 w 82"/>
                <a:gd name="T45" fmla="*/ 23 h 38"/>
                <a:gd name="T46" fmla="*/ 77 w 82"/>
                <a:gd name="T47" fmla="*/ 26 h 38"/>
                <a:gd name="T48" fmla="*/ 74 w 82"/>
                <a:gd name="T49" fmla="*/ 30 h 38"/>
                <a:gd name="T50" fmla="*/ 71 w 82"/>
                <a:gd name="T51" fmla="*/ 32 h 38"/>
                <a:gd name="T52" fmla="*/ 66 w 82"/>
                <a:gd name="T53" fmla="*/ 33 h 38"/>
                <a:gd name="T54" fmla="*/ 63 w 82"/>
                <a:gd name="T55" fmla="*/ 35 h 38"/>
                <a:gd name="T56" fmla="*/ 60 w 82"/>
                <a:gd name="T57" fmla="*/ 37 h 38"/>
                <a:gd name="T58" fmla="*/ 58 w 82"/>
                <a:gd name="T59" fmla="*/ 35 h 38"/>
                <a:gd name="T60" fmla="*/ 55 w 82"/>
                <a:gd name="T61" fmla="*/ 35 h 38"/>
                <a:gd name="T62" fmla="*/ 49 w 82"/>
                <a:gd name="T63" fmla="*/ 33 h 38"/>
                <a:gd name="T64" fmla="*/ 46 w 82"/>
                <a:gd name="T65" fmla="*/ 33 h 38"/>
                <a:gd name="T66" fmla="*/ 43 w 82"/>
                <a:gd name="T67" fmla="*/ 31 h 38"/>
                <a:gd name="T68" fmla="*/ 39 w 82"/>
                <a:gd name="T69" fmla="*/ 32 h 38"/>
                <a:gd name="T70" fmla="*/ 37 w 82"/>
                <a:gd name="T71" fmla="*/ 32 h 38"/>
                <a:gd name="T72" fmla="*/ 36 w 82"/>
                <a:gd name="T73" fmla="*/ 35 h 38"/>
                <a:gd name="T74" fmla="*/ 32 w 82"/>
                <a:gd name="T75" fmla="*/ 37 h 38"/>
                <a:gd name="T76" fmla="*/ 29 w 82"/>
                <a:gd name="T77" fmla="*/ 38 h 38"/>
                <a:gd name="T78" fmla="*/ 25 w 82"/>
                <a:gd name="T79" fmla="*/ 36 h 38"/>
                <a:gd name="T80" fmla="*/ 22 w 82"/>
                <a:gd name="T81" fmla="*/ 33 h 38"/>
                <a:gd name="T82" fmla="*/ 18 w 82"/>
                <a:gd name="T83" fmla="*/ 31 h 38"/>
                <a:gd name="T84" fmla="*/ 17 w 82"/>
                <a:gd name="T85" fmla="*/ 30 h 38"/>
                <a:gd name="T86" fmla="*/ 14 w 82"/>
                <a:gd name="T87" fmla="*/ 29 h 38"/>
                <a:gd name="T88" fmla="*/ 12 w 82"/>
                <a:gd name="T89" fmla="*/ 25 h 38"/>
                <a:gd name="T90" fmla="*/ 9 w 82"/>
                <a:gd name="T91" fmla="*/ 25 h 38"/>
                <a:gd name="T92" fmla="*/ 7 w 82"/>
                <a:gd name="T93" fmla="*/ 23 h 38"/>
                <a:gd name="T94" fmla="*/ 5 w 82"/>
                <a:gd name="T95" fmla="*/ 21 h 38"/>
                <a:gd name="T96" fmla="*/ 5 w 82"/>
                <a:gd name="T97" fmla="*/ 16 h 38"/>
                <a:gd name="T98" fmla="*/ 2 w 82"/>
                <a:gd name="T99" fmla="*/ 14 h 38"/>
                <a:gd name="T100" fmla="*/ 0 w 82"/>
                <a:gd name="T101" fmla="*/ 11 h 38"/>
                <a:gd name="T102" fmla="*/ 1 w 82"/>
                <a:gd name="T103" fmla="*/ 10 h 38"/>
                <a:gd name="T104" fmla="*/ 3 w 82"/>
                <a:gd name="T105" fmla="*/ 12 h 38"/>
                <a:gd name="T106" fmla="*/ 6 w 82"/>
                <a:gd name="T107" fmla="*/ 9 h 38"/>
                <a:gd name="T108" fmla="*/ 10 w 82"/>
                <a:gd name="T109" fmla="*/ 9 h 38"/>
                <a:gd name="T110" fmla="*/ 14 w 82"/>
                <a:gd name="T111" fmla="*/ 8 h 38"/>
                <a:gd name="T112" fmla="*/ 16 w 82"/>
                <a:gd name="T113" fmla="*/ 7 h 38"/>
                <a:gd name="T114" fmla="*/ 18 w 82"/>
                <a:gd name="T115" fmla="*/ 4 h 38"/>
                <a:gd name="T116" fmla="*/ 22 w 82"/>
                <a:gd name="T117" fmla="*/ 3 h 38"/>
                <a:gd name="T118" fmla="*/ 27 w 82"/>
                <a:gd name="T119" fmla="*/ 1 h 38"/>
                <a:gd name="T120" fmla="*/ 25 w 82"/>
                <a:gd name="T121" fmla="*/ 0 h 38"/>
                <a:gd name="T122" fmla="*/ 29 w 82"/>
                <a:gd name="T123" fmla="*/ 1 h 38"/>
                <a:gd name="T124" fmla="*/ 31 w 82"/>
                <a:gd name="T125"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 h="38">
                  <a:moveTo>
                    <a:pt x="32" y="2"/>
                  </a:moveTo>
                  <a:lnTo>
                    <a:pt x="35" y="2"/>
                  </a:lnTo>
                  <a:lnTo>
                    <a:pt x="35" y="1"/>
                  </a:lnTo>
                  <a:lnTo>
                    <a:pt x="34" y="1"/>
                  </a:lnTo>
                  <a:lnTo>
                    <a:pt x="34" y="0"/>
                  </a:lnTo>
                  <a:lnTo>
                    <a:pt x="35" y="0"/>
                  </a:lnTo>
                  <a:lnTo>
                    <a:pt x="36" y="1"/>
                  </a:lnTo>
                  <a:lnTo>
                    <a:pt x="36" y="0"/>
                  </a:lnTo>
                  <a:lnTo>
                    <a:pt x="36" y="1"/>
                  </a:lnTo>
                  <a:lnTo>
                    <a:pt x="37" y="1"/>
                  </a:lnTo>
                  <a:lnTo>
                    <a:pt x="38" y="1"/>
                  </a:lnTo>
                  <a:lnTo>
                    <a:pt x="37" y="1"/>
                  </a:lnTo>
                  <a:lnTo>
                    <a:pt x="37" y="2"/>
                  </a:lnTo>
                  <a:lnTo>
                    <a:pt x="38" y="2"/>
                  </a:lnTo>
                  <a:lnTo>
                    <a:pt x="38" y="3"/>
                  </a:lnTo>
                  <a:lnTo>
                    <a:pt x="39" y="3"/>
                  </a:lnTo>
                  <a:lnTo>
                    <a:pt x="43" y="4"/>
                  </a:lnTo>
                  <a:lnTo>
                    <a:pt x="44" y="4"/>
                  </a:lnTo>
                  <a:lnTo>
                    <a:pt x="45" y="5"/>
                  </a:lnTo>
                  <a:lnTo>
                    <a:pt x="46" y="5"/>
                  </a:lnTo>
                  <a:lnTo>
                    <a:pt x="46" y="7"/>
                  </a:lnTo>
                  <a:lnTo>
                    <a:pt x="48" y="7"/>
                  </a:lnTo>
                  <a:lnTo>
                    <a:pt x="48" y="5"/>
                  </a:lnTo>
                  <a:lnTo>
                    <a:pt x="49" y="5"/>
                  </a:lnTo>
                  <a:lnTo>
                    <a:pt x="50" y="5"/>
                  </a:lnTo>
                  <a:lnTo>
                    <a:pt x="51" y="5"/>
                  </a:lnTo>
                  <a:lnTo>
                    <a:pt x="52" y="7"/>
                  </a:lnTo>
                  <a:lnTo>
                    <a:pt x="52" y="8"/>
                  </a:lnTo>
                  <a:lnTo>
                    <a:pt x="51" y="8"/>
                  </a:lnTo>
                  <a:lnTo>
                    <a:pt x="50" y="8"/>
                  </a:lnTo>
                  <a:lnTo>
                    <a:pt x="50" y="9"/>
                  </a:lnTo>
                  <a:lnTo>
                    <a:pt x="50" y="10"/>
                  </a:lnTo>
                  <a:lnTo>
                    <a:pt x="51" y="10"/>
                  </a:lnTo>
                  <a:lnTo>
                    <a:pt x="52" y="10"/>
                  </a:lnTo>
                  <a:lnTo>
                    <a:pt x="52" y="11"/>
                  </a:lnTo>
                  <a:lnTo>
                    <a:pt x="53" y="11"/>
                  </a:lnTo>
                  <a:lnTo>
                    <a:pt x="53" y="12"/>
                  </a:lnTo>
                  <a:lnTo>
                    <a:pt x="55" y="12"/>
                  </a:lnTo>
                  <a:lnTo>
                    <a:pt x="55" y="14"/>
                  </a:lnTo>
                  <a:lnTo>
                    <a:pt x="56" y="14"/>
                  </a:lnTo>
                  <a:lnTo>
                    <a:pt x="57" y="14"/>
                  </a:lnTo>
                  <a:lnTo>
                    <a:pt x="57" y="12"/>
                  </a:lnTo>
                  <a:lnTo>
                    <a:pt x="58" y="12"/>
                  </a:lnTo>
                  <a:lnTo>
                    <a:pt x="59" y="12"/>
                  </a:lnTo>
                  <a:lnTo>
                    <a:pt x="60" y="12"/>
                  </a:lnTo>
                  <a:lnTo>
                    <a:pt x="59" y="12"/>
                  </a:lnTo>
                  <a:lnTo>
                    <a:pt x="59" y="11"/>
                  </a:lnTo>
                  <a:lnTo>
                    <a:pt x="58" y="10"/>
                  </a:lnTo>
                  <a:lnTo>
                    <a:pt x="58" y="9"/>
                  </a:lnTo>
                  <a:lnTo>
                    <a:pt x="59" y="9"/>
                  </a:lnTo>
                  <a:lnTo>
                    <a:pt x="60" y="9"/>
                  </a:lnTo>
                  <a:lnTo>
                    <a:pt x="60" y="10"/>
                  </a:lnTo>
                  <a:lnTo>
                    <a:pt x="62" y="10"/>
                  </a:lnTo>
                  <a:lnTo>
                    <a:pt x="63" y="10"/>
                  </a:lnTo>
                  <a:lnTo>
                    <a:pt x="64" y="10"/>
                  </a:lnTo>
                  <a:lnTo>
                    <a:pt x="64" y="11"/>
                  </a:lnTo>
                  <a:lnTo>
                    <a:pt x="65" y="11"/>
                  </a:lnTo>
                  <a:lnTo>
                    <a:pt x="66" y="11"/>
                  </a:lnTo>
                  <a:lnTo>
                    <a:pt x="67" y="11"/>
                  </a:lnTo>
                  <a:lnTo>
                    <a:pt x="67" y="10"/>
                  </a:lnTo>
                  <a:lnTo>
                    <a:pt x="69" y="11"/>
                  </a:lnTo>
                  <a:lnTo>
                    <a:pt x="69" y="12"/>
                  </a:lnTo>
                  <a:lnTo>
                    <a:pt x="67" y="12"/>
                  </a:lnTo>
                  <a:lnTo>
                    <a:pt x="66" y="14"/>
                  </a:lnTo>
                  <a:lnTo>
                    <a:pt x="67" y="14"/>
                  </a:lnTo>
                  <a:lnTo>
                    <a:pt x="69" y="14"/>
                  </a:lnTo>
                  <a:lnTo>
                    <a:pt x="69" y="15"/>
                  </a:lnTo>
                  <a:lnTo>
                    <a:pt x="70" y="15"/>
                  </a:lnTo>
                  <a:lnTo>
                    <a:pt x="70" y="16"/>
                  </a:lnTo>
                  <a:lnTo>
                    <a:pt x="71" y="16"/>
                  </a:lnTo>
                  <a:lnTo>
                    <a:pt x="72" y="16"/>
                  </a:lnTo>
                  <a:lnTo>
                    <a:pt x="72" y="15"/>
                  </a:lnTo>
                  <a:lnTo>
                    <a:pt x="73" y="15"/>
                  </a:lnTo>
                  <a:lnTo>
                    <a:pt x="73" y="16"/>
                  </a:lnTo>
                  <a:lnTo>
                    <a:pt x="74" y="16"/>
                  </a:lnTo>
                  <a:lnTo>
                    <a:pt x="76" y="16"/>
                  </a:lnTo>
                  <a:lnTo>
                    <a:pt x="76" y="17"/>
                  </a:lnTo>
                  <a:lnTo>
                    <a:pt x="77" y="17"/>
                  </a:lnTo>
                  <a:lnTo>
                    <a:pt x="77" y="16"/>
                  </a:lnTo>
                  <a:lnTo>
                    <a:pt x="77" y="17"/>
                  </a:lnTo>
                  <a:lnTo>
                    <a:pt x="78" y="17"/>
                  </a:lnTo>
                  <a:lnTo>
                    <a:pt x="79" y="17"/>
                  </a:lnTo>
                  <a:lnTo>
                    <a:pt x="79" y="18"/>
                  </a:lnTo>
                  <a:lnTo>
                    <a:pt x="79" y="19"/>
                  </a:lnTo>
                  <a:lnTo>
                    <a:pt x="80" y="19"/>
                  </a:lnTo>
                  <a:lnTo>
                    <a:pt x="80" y="21"/>
                  </a:lnTo>
                  <a:lnTo>
                    <a:pt x="81" y="21"/>
                  </a:lnTo>
                  <a:lnTo>
                    <a:pt x="82" y="21"/>
                  </a:lnTo>
                  <a:lnTo>
                    <a:pt x="82" y="22"/>
                  </a:lnTo>
                  <a:lnTo>
                    <a:pt x="82" y="23"/>
                  </a:lnTo>
                  <a:lnTo>
                    <a:pt x="81" y="23"/>
                  </a:lnTo>
                  <a:lnTo>
                    <a:pt x="80" y="23"/>
                  </a:lnTo>
                  <a:lnTo>
                    <a:pt x="79" y="23"/>
                  </a:lnTo>
                  <a:lnTo>
                    <a:pt x="79" y="24"/>
                  </a:lnTo>
                  <a:lnTo>
                    <a:pt x="78" y="25"/>
                  </a:lnTo>
                  <a:lnTo>
                    <a:pt x="77" y="26"/>
                  </a:lnTo>
                  <a:lnTo>
                    <a:pt x="76" y="26"/>
                  </a:lnTo>
                  <a:lnTo>
                    <a:pt x="74" y="28"/>
                  </a:lnTo>
                  <a:lnTo>
                    <a:pt x="74" y="29"/>
                  </a:lnTo>
                  <a:lnTo>
                    <a:pt x="74" y="30"/>
                  </a:lnTo>
                  <a:lnTo>
                    <a:pt x="73" y="30"/>
                  </a:lnTo>
                  <a:lnTo>
                    <a:pt x="72" y="31"/>
                  </a:lnTo>
                  <a:lnTo>
                    <a:pt x="72" y="32"/>
                  </a:lnTo>
                  <a:lnTo>
                    <a:pt x="71" y="32"/>
                  </a:lnTo>
                  <a:lnTo>
                    <a:pt x="71" y="33"/>
                  </a:lnTo>
                  <a:lnTo>
                    <a:pt x="69" y="33"/>
                  </a:lnTo>
                  <a:lnTo>
                    <a:pt x="67" y="33"/>
                  </a:lnTo>
                  <a:lnTo>
                    <a:pt x="66" y="33"/>
                  </a:lnTo>
                  <a:lnTo>
                    <a:pt x="65" y="33"/>
                  </a:lnTo>
                  <a:lnTo>
                    <a:pt x="64" y="33"/>
                  </a:lnTo>
                  <a:lnTo>
                    <a:pt x="63" y="33"/>
                  </a:lnTo>
                  <a:lnTo>
                    <a:pt x="63" y="35"/>
                  </a:lnTo>
                  <a:lnTo>
                    <a:pt x="62" y="35"/>
                  </a:lnTo>
                  <a:lnTo>
                    <a:pt x="62" y="36"/>
                  </a:lnTo>
                  <a:lnTo>
                    <a:pt x="62" y="37"/>
                  </a:lnTo>
                  <a:lnTo>
                    <a:pt x="60" y="37"/>
                  </a:lnTo>
                  <a:lnTo>
                    <a:pt x="60" y="36"/>
                  </a:lnTo>
                  <a:lnTo>
                    <a:pt x="60" y="35"/>
                  </a:lnTo>
                  <a:lnTo>
                    <a:pt x="59" y="36"/>
                  </a:lnTo>
                  <a:lnTo>
                    <a:pt x="58" y="35"/>
                  </a:lnTo>
                  <a:lnTo>
                    <a:pt x="57" y="35"/>
                  </a:lnTo>
                  <a:lnTo>
                    <a:pt x="56" y="33"/>
                  </a:lnTo>
                  <a:lnTo>
                    <a:pt x="55" y="33"/>
                  </a:lnTo>
                  <a:lnTo>
                    <a:pt x="55" y="35"/>
                  </a:lnTo>
                  <a:lnTo>
                    <a:pt x="53" y="35"/>
                  </a:lnTo>
                  <a:lnTo>
                    <a:pt x="51" y="35"/>
                  </a:lnTo>
                  <a:lnTo>
                    <a:pt x="50" y="35"/>
                  </a:lnTo>
                  <a:lnTo>
                    <a:pt x="49" y="33"/>
                  </a:lnTo>
                  <a:lnTo>
                    <a:pt x="48" y="33"/>
                  </a:lnTo>
                  <a:lnTo>
                    <a:pt x="48" y="32"/>
                  </a:lnTo>
                  <a:lnTo>
                    <a:pt x="46" y="32"/>
                  </a:lnTo>
                  <a:lnTo>
                    <a:pt x="46" y="33"/>
                  </a:lnTo>
                  <a:lnTo>
                    <a:pt x="45" y="33"/>
                  </a:lnTo>
                  <a:lnTo>
                    <a:pt x="44" y="32"/>
                  </a:lnTo>
                  <a:lnTo>
                    <a:pt x="43" y="32"/>
                  </a:lnTo>
                  <a:lnTo>
                    <a:pt x="43" y="31"/>
                  </a:lnTo>
                  <a:lnTo>
                    <a:pt x="42" y="31"/>
                  </a:lnTo>
                  <a:lnTo>
                    <a:pt x="41" y="31"/>
                  </a:lnTo>
                  <a:lnTo>
                    <a:pt x="39" y="31"/>
                  </a:lnTo>
                  <a:lnTo>
                    <a:pt x="39" y="32"/>
                  </a:lnTo>
                  <a:lnTo>
                    <a:pt x="38" y="32"/>
                  </a:lnTo>
                  <a:lnTo>
                    <a:pt x="38" y="31"/>
                  </a:lnTo>
                  <a:lnTo>
                    <a:pt x="37" y="31"/>
                  </a:lnTo>
                  <a:lnTo>
                    <a:pt x="37" y="32"/>
                  </a:lnTo>
                  <a:lnTo>
                    <a:pt x="37" y="33"/>
                  </a:lnTo>
                  <a:lnTo>
                    <a:pt x="36" y="33"/>
                  </a:lnTo>
                  <a:lnTo>
                    <a:pt x="37" y="35"/>
                  </a:lnTo>
                  <a:lnTo>
                    <a:pt x="36" y="35"/>
                  </a:lnTo>
                  <a:lnTo>
                    <a:pt x="35" y="35"/>
                  </a:lnTo>
                  <a:lnTo>
                    <a:pt x="34" y="36"/>
                  </a:lnTo>
                  <a:lnTo>
                    <a:pt x="34" y="37"/>
                  </a:lnTo>
                  <a:lnTo>
                    <a:pt x="32" y="37"/>
                  </a:lnTo>
                  <a:lnTo>
                    <a:pt x="31" y="37"/>
                  </a:lnTo>
                  <a:lnTo>
                    <a:pt x="31" y="36"/>
                  </a:lnTo>
                  <a:lnTo>
                    <a:pt x="30" y="37"/>
                  </a:lnTo>
                  <a:lnTo>
                    <a:pt x="29" y="38"/>
                  </a:lnTo>
                  <a:lnTo>
                    <a:pt x="28" y="37"/>
                  </a:lnTo>
                  <a:lnTo>
                    <a:pt x="27" y="37"/>
                  </a:lnTo>
                  <a:lnTo>
                    <a:pt x="25" y="37"/>
                  </a:lnTo>
                  <a:lnTo>
                    <a:pt x="25" y="36"/>
                  </a:lnTo>
                  <a:lnTo>
                    <a:pt x="24" y="35"/>
                  </a:lnTo>
                  <a:lnTo>
                    <a:pt x="23" y="35"/>
                  </a:lnTo>
                  <a:lnTo>
                    <a:pt x="22" y="35"/>
                  </a:lnTo>
                  <a:lnTo>
                    <a:pt x="22" y="33"/>
                  </a:lnTo>
                  <a:lnTo>
                    <a:pt x="21" y="32"/>
                  </a:lnTo>
                  <a:lnTo>
                    <a:pt x="20" y="32"/>
                  </a:lnTo>
                  <a:lnTo>
                    <a:pt x="20" y="31"/>
                  </a:lnTo>
                  <a:lnTo>
                    <a:pt x="18" y="31"/>
                  </a:lnTo>
                  <a:lnTo>
                    <a:pt x="18" y="32"/>
                  </a:lnTo>
                  <a:lnTo>
                    <a:pt x="18" y="31"/>
                  </a:lnTo>
                  <a:lnTo>
                    <a:pt x="17" y="31"/>
                  </a:lnTo>
                  <a:lnTo>
                    <a:pt x="17" y="30"/>
                  </a:lnTo>
                  <a:lnTo>
                    <a:pt x="16" y="30"/>
                  </a:lnTo>
                  <a:lnTo>
                    <a:pt x="16" y="29"/>
                  </a:lnTo>
                  <a:lnTo>
                    <a:pt x="15" y="29"/>
                  </a:lnTo>
                  <a:lnTo>
                    <a:pt x="14" y="29"/>
                  </a:lnTo>
                  <a:lnTo>
                    <a:pt x="13" y="28"/>
                  </a:lnTo>
                  <a:lnTo>
                    <a:pt x="13" y="26"/>
                  </a:lnTo>
                  <a:lnTo>
                    <a:pt x="12" y="26"/>
                  </a:lnTo>
                  <a:lnTo>
                    <a:pt x="12" y="25"/>
                  </a:lnTo>
                  <a:lnTo>
                    <a:pt x="10" y="25"/>
                  </a:lnTo>
                  <a:lnTo>
                    <a:pt x="10" y="26"/>
                  </a:lnTo>
                  <a:lnTo>
                    <a:pt x="10" y="25"/>
                  </a:lnTo>
                  <a:lnTo>
                    <a:pt x="9" y="25"/>
                  </a:lnTo>
                  <a:lnTo>
                    <a:pt x="9" y="24"/>
                  </a:lnTo>
                  <a:lnTo>
                    <a:pt x="8" y="24"/>
                  </a:lnTo>
                  <a:lnTo>
                    <a:pt x="8" y="23"/>
                  </a:lnTo>
                  <a:lnTo>
                    <a:pt x="7" y="23"/>
                  </a:lnTo>
                  <a:lnTo>
                    <a:pt x="7" y="22"/>
                  </a:lnTo>
                  <a:lnTo>
                    <a:pt x="6" y="22"/>
                  </a:lnTo>
                  <a:lnTo>
                    <a:pt x="6" y="21"/>
                  </a:lnTo>
                  <a:lnTo>
                    <a:pt x="5" y="21"/>
                  </a:lnTo>
                  <a:lnTo>
                    <a:pt x="5" y="19"/>
                  </a:lnTo>
                  <a:lnTo>
                    <a:pt x="6" y="18"/>
                  </a:lnTo>
                  <a:lnTo>
                    <a:pt x="6" y="17"/>
                  </a:lnTo>
                  <a:lnTo>
                    <a:pt x="5" y="16"/>
                  </a:lnTo>
                  <a:lnTo>
                    <a:pt x="6" y="16"/>
                  </a:lnTo>
                  <a:lnTo>
                    <a:pt x="5" y="16"/>
                  </a:lnTo>
                  <a:lnTo>
                    <a:pt x="2" y="15"/>
                  </a:lnTo>
                  <a:lnTo>
                    <a:pt x="2" y="14"/>
                  </a:lnTo>
                  <a:lnTo>
                    <a:pt x="1" y="14"/>
                  </a:lnTo>
                  <a:lnTo>
                    <a:pt x="1" y="12"/>
                  </a:lnTo>
                  <a:lnTo>
                    <a:pt x="0" y="12"/>
                  </a:lnTo>
                  <a:lnTo>
                    <a:pt x="0" y="11"/>
                  </a:lnTo>
                  <a:lnTo>
                    <a:pt x="1" y="11"/>
                  </a:lnTo>
                  <a:lnTo>
                    <a:pt x="0" y="11"/>
                  </a:lnTo>
                  <a:lnTo>
                    <a:pt x="0" y="10"/>
                  </a:lnTo>
                  <a:lnTo>
                    <a:pt x="1" y="10"/>
                  </a:lnTo>
                  <a:lnTo>
                    <a:pt x="1" y="11"/>
                  </a:lnTo>
                  <a:lnTo>
                    <a:pt x="2" y="11"/>
                  </a:lnTo>
                  <a:lnTo>
                    <a:pt x="2" y="12"/>
                  </a:lnTo>
                  <a:lnTo>
                    <a:pt x="3" y="12"/>
                  </a:lnTo>
                  <a:lnTo>
                    <a:pt x="3" y="11"/>
                  </a:lnTo>
                  <a:lnTo>
                    <a:pt x="3" y="10"/>
                  </a:lnTo>
                  <a:lnTo>
                    <a:pt x="5" y="10"/>
                  </a:lnTo>
                  <a:lnTo>
                    <a:pt x="6" y="9"/>
                  </a:lnTo>
                  <a:lnTo>
                    <a:pt x="7" y="9"/>
                  </a:lnTo>
                  <a:lnTo>
                    <a:pt x="8" y="9"/>
                  </a:lnTo>
                  <a:lnTo>
                    <a:pt x="9" y="9"/>
                  </a:lnTo>
                  <a:lnTo>
                    <a:pt x="10" y="9"/>
                  </a:lnTo>
                  <a:lnTo>
                    <a:pt x="12" y="9"/>
                  </a:lnTo>
                  <a:lnTo>
                    <a:pt x="12" y="8"/>
                  </a:lnTo>
                  <a:lnTo>
                    <a:pt x="13" y="8"/>
                  </a:lnTo>
                  <a:lnTo>
                    <a:pt x="14" y="8"/>
                  </a:lnTo>
                  <a:lnTo>
                    <a:pt x="14" y="7"/>
                  </a:lnTo>
                  <a:lnTo>
                    <a:pt x="15" y="7"/>
                  </a:lnTo>
                  <a:lnTo>
                    <a:pt x="15" y="5"/>
                  </a:lnTo>
                  <a:lnTo>
                    <a:pt x="16" y="7"/>
                  </a:lnTo>
                  <a:lnTo>
                    <a:pt x="16" y="5"/>
                  </a:lnTo>
                  <a:lnTo>
                    <a:pt x="17" y="5"/>
                  </a:lnTo>
                  <a:lnTo>
                    <a:pt x="17" y="4"/>
                  </a:lnTo>
                  <a:lnTo>
                    <a:pt x="18" y="4"/>
                  </a:lnTo>
                  <a:lnTo>
                    <a:pt x="20" y="4"/>
                  </a:lnTo>
                  <a:lnTo>
                    <a:pt x="21" y="4"/>
                  </a:lnTo>
                  <a:lnTo>
                    <a:pt x="21" y="3"/>
                  </a:lnTo>
                  <a:lnTo>
                    <a:pt x="22" y="3"/>
                  </a:lnTo>
                  <a:lnTo>
                    <a:pt x="23" y="3"/>
                  </a:lnTo>
                  <a:lnTo>
                    <a:pt x="25" y="2"/>
                  </a:lnTo>
                  <a:lnTo>
                    <a:pt x="27" y="2"/>
                  </a:lnTo>
                  <a:lnTo>
                    <a:pt x="27" y="1"/>
                  </a:lnTo>
                  <a:lnTo>
                    <a:pt x="25" y="1"/>
                  </a:lnTo>
                  <a:lnTo>
                    <a:pt x="27" y="1"/>
                  </a:lnTo>
                  <a:lnTo>
                    <a:pt x="25" y="1"/>
                  </a:lnTo>
                  <a:lnTo>
                    <a:pt x="25" y="0"/>
                  </a:lnTo>
                  <a:lnTo>
                    <a:pt x="27" y="0"/>
                  </a:lnTo>
                  <a:lnTo>
                    <a:pt x="28" y="0"/>
                  </a:lnTo>
                  <a:lnTo>
                    <a:pt x="29" y="0"/>
                  </a:lnTo>
                  <a:lnTo>
                    <a:pt x="29" y="1"/>
                  </a:lnTo>
                  <a:lnTo>
                    <a:pt x="29" y="2"/>
                  </a:lnTo>
                  <a:lnTo>
                    <a:pt x="30" y="2"/>
                  </a:lnTo>
                  <a:lnTo>
                    <a:pt x="30" y="3"/>
                  </a:lnTo>
                  <a:lnTo>
                    <a:pt x="31" y="3"/>
                  </a:lnTo>
                  <a:lnTo>
                    <a:pt x="32" y="3"/>
                  </a:lnTo>
                  <a:lnTo>
                    <a:pt x="32"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21" name="Freeform 875">
              <a:extLst>
                <a:ext uri="{FF2B5EF4-FFF2-40B4-BE49-F238E27FC236}">
                  <a16:creationId xmlns:a16="http://schemas.microsoft.com/office/drawing/2014/main" id="{1941FD85-6C4E-4F26-8AAC-AD1F1089AAE2}"/>
                </a:ext>
              </a:extLst>
            </p:cNvPr>
            <p:cNvSpPr>
              <a:spLocks/>
            </p:cNvSpPr>
            <p:nvPr/>
          </p:nvSpPr>
          <p:spPr bwMode="auto">
            <a:xfrm>
              <a:off x="6579676" y="3080095"/>
              <a:ext cx="30717" cy="37394"/>
            </a:xfrm>
            <a:custGeom>
              <a:avLst/>
              <a:gdLst>
                <a:gd name="T0" fmla="*/ 16 w 23"/>
                <a:gd name="T1" fmla="*/ 26 h 28"/>
                <a:gd name="T2" fmla="*/ 16 w 23"/>
                <a:gd name="T3" fmla="*/ 26 h 28"/>
                <a:gd name="T4" fmla="*/ 14 w 23"/>
                <a:gd name="T5" fmla="*/ 26 h 28"/>
                <a:gd name="T6" fmla="*/ 13 w 23"/>
                <a:gd name="T7" fmla="*/ 25 h 28"/>
                <a:gd name="T8" fmla="*/ 9 w 23"/>
                <a:gd name="T9" fmla="*/ 26 h 28"/>
                <a:gd name="T10" fmla="*/ 8 w 23"/>
                <a:gd name="T11" fmla="*/ 26 h 28"/>
                <a:gd name="T12" fmla="*/ 8 w 23"/>
                <a:gd name="T13" fmla="*/ 26 h 28"/>
                <a:gd name="T14" fmla="*/ 6 w 23"/>
                <a:gd name="T15" fmla="*/ 26 h 28"/>
                <a:gd name="T16" fmla="*/ 4 w 23"/>
                <a:gd name="T17" fmla="*/ 28 h 28"/>
                <a:gd name="T18" fmla="*/ 3 w 23"/>
                <a:gd name="T19" fmla="*/ 28 h 28"/>
                <a:gd name="T20" fmla="*/ 2 w 23"/>
                <a:gd name="T21" fmla="*/ 28 h 28"/>
                <a:gd name="T22" fmla="*/ 1 w 23"/>
                <a:gd name="T23" fmla="*/ 26 h 28"/>
                <a:gd name="T24" fmla="*/ 1 w 23"/>
                <a:gd name="T25" fmla="*/ 24 h 28"/>
                <a:gd name="T26" fmla="*/ 1 w 23"/>
                <a:gd name="T27" fmla="*/ 22 h 28"/>
                <a:gd name="T28" fmla="*/ 0 w 23"/>
                <a:gd name="T29" fmla="*/ 18 h 28"/>
                <a:gd name="T30" fmla="*/ 1 w 23"/>
                <a:gd name="T31" fmla="*/ 15 h 28"/>
                <a:gd name="T32" fmla="*/ 2 w 23"/>
                <a:gd name="T33" fmla="*/ 14 h 28"/>
                <a:gd name="T34" fmla="*/ 2 w 23"/>
                <a:gd name="T35" fmla="*/ 14 h 28"/>
                <a:gd name="T36" fmla="*/ 4 w 23"/>
                <a:gd name="T37" fmla="*/ 9 h 28"/>
                <a:gd name="T38" fmla="*/ 7 w 23"/>
                <a:gd name="T39" fmla="*/ 5 h 28"/>
                <a:gd name="T40" fmla="*/ 9 w 23"/>
                <a:gd name="T41" fmla="*/ 2 h 28"/>
                <a:gd name="T42" fmla="*/ 13 w 23"/>
                <a:gd name="T43" fmla="*/ 4 h 28"/>
                <a:gd name="T44" fmla="*/ 14 w 23"/>
                <a:gd name="T45" fmla="*/ 4 h 28"/>
                <a:gd name="T46" fmla="*/ 14 w 23"/>
                <a:gd name="T47" fmla="*/ 3 h 28"/>
                <a:gd name="T48" fmla="*/ 15 w 23"/>
                <a:gd name="T49" fmla="*/ 1 h 28"/>
                <a:gd name="T50" fmla="*/ 18 w 23"/>
                <a:gd name="T51" fmla="*/ 0 h 28"/>
                <a:gd name="T52" fmla="*/ 18 w 23"/>
                <a:gd name="T53" fmla="*/ 1 h 28"/>
                <a:gd name="T54" fmla="*/ 21 w 23"/>
                <a:gd name="T55" fmla="*/ 3 h 28"/>
                <a:gd name="T56" fmla="*/ 22 w 23"/>
                <a:gd name="T57" fmla="*/ 4 h 28"/>
                <a:gd name="T58" fmla="*/ 22 w 23"/>
                <a:gd name="T59" fmla="*/ 5 h 28"/>
                <a:gd name="T60" fmla="*/ 23 w 23"/>
                <a:gd name="T61" fmla="*/ 7 h 28"/>
                <a:gd name="T62" fmla="*/ 23 w 23"/>
                <a:gd name="T63" fmla="*/ 10 h 28"/>
                <a:gd name="T64" fmla="*/ 22 w 23"/>
                <a:gd name="T65" fmla="*/ 11 h 28"/>
                <a:gd name="T66" fmla="*/ 21 w 23"/>
                <a:gd name="T67" fmla="*/ 11 h 28"/>
                <a:gd name="T68" fmla="*/ 18 w 23"/>
                <a:gd name="T69" fmla="*/ 14 h 28"/>
                <a:gd name="T70" fmla="*/ 18 w 23"/>
                <a:gd name="T71" fmla="*/ 14 h 28"/>
                <a:gd name="T72" fmla="*/ 17 w 23"/>
                <a:gd name="T73" fmla="*/ 14 h 28"/>
                <a:gd name="T74" fmla="*/ 16 w 23"/>
                <a:gd name="T75" fmla="*/ 14 h 28"/>
                <a:gd name="T76" fmla="*/ 14 w 23"/>
                <a:gd name="T77" fmla="*/ 16 h 28"/>
                <a:gd name="T78" fmla="*/ 13 w 23"/>
                <a:gd name="T79" fmla="*/ 18 h 28"/>
                <a:gd name="T80" fmla="*/ 11 w 23"/>
                <a:gd name="T81" fmla="*/ 17 h 28"/>
                <a:gd name="T82" fmla="*/ 10 w 23"/>
                <a:gd name="T83" fmla="*/ 17 h 28"/>
                <a:gd name="T84" fmla="*/ 10 w 23"/>
                <a:gd name="T85" fmla="*/ 18 h 28"/>
                <a:gd name="T86" fmla="*/ 11 w 23"/>
                <a:gd name="T87" fmla="*/ 18 h 28"/>
                <a:gd name="T88" fmla="*/ 13 w 23"/>
                <a:gd name="T89" fmla="*/ 19 h 28"/>
                <a:gd name="T90" fmla="*/ 13 w 23"/>
                <a:gd name="T91" fmla="*/ 19 h 28"/>
                <a:gd name="T92" fmla="*/ 13 w 23"/>
                <a:gd name="T93" fmla="*/ 18 h 28"/>
                <a:gd name="T94" fmla="*/ 14 w 23"/>
                <a:gd name="T95" fmla="*/ 17 h 28"/>
                <a:gd name="T96" fmla="*/ 15 w 23"/>
                <a:gd name="T97" fmla="*/ 17 h 28"/>
                <a:gd name="T98" fmla="*/ 16 w 23"/>
                <a:gd name="T99" fmla="*/ 17 h 28"/>
                <a:gd name="T100" fmla="*/ 18 w 23"/>
                <a:gd name="T101" fmla="*/ 17 h 28"/>
                <a:gd name="T102" fmla="*/ 20 w 23"/>
                <a:gd name="T103" fmla="*/ 17 h 28"/>
                <a:gd name="T104" fmla="*/ 20 w 23"/>
                <a:gd name="T105"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 h="28">
                  <a:moveTo>
                    <a:pt x="21" y="18"/>
                  </a:moveTo>
                  <a:lnTo>
                    <a:pt x="20" y="21"/>
                  </a:lnTo>
                  <a:lnTo>
                    <a:pt x="16" y="26"/>
                  </a:lnTo>
                  <a:lnTo>
                    <a:pt x="16" y="26"/>
                  </a:lnTo>
                  <a:lnTo>
                    <a:pt x="16" y="26"/>
                  </a:lnTo>
                  <a:lnTo>
                    <a:pt x="16" y="26"/>
                  </a:lnTo>
                  <a:lnTo>
                    <a:pt x="16" y="26"/>
                  </a:lnTo>
                  <a:lnTo>
                    <a:pt x="16" y="26"/>
                  </a:lnTo>
                  <a:lnTo>
                    <a:pt x="15" y="26"/>
                  </a:lnTo>
                  <a:lnTo>
                    <a:pt x="15" y="26"/>
                  </a:lnTo>
                  <a:lnTo>
                    <a:pt x="15" y="26"/>
                  </a:lnTo>
                  <a:lnTo>
                    <a:pt x="14" y="26"/>
                  </a:lnTo>
                  <a:lnTo>
                    <a:pt x="14" y="25"/>
                  </a:lnTo>
                  <a:lnTo>
                    <a:pt x="14" y="25"/>
                  </a:lnTo>
                  <a:lnTo>
                    <a:pt x="14" y="25"/>
                  </a:lnTo>
                  <a:lnTo>
                    <a:pt x="13" y="25"/>
                  </a:lnTo>
                  <a:lnTo>
                    <a:pt x="13" y="25"/>
                  </a:lnTo>
                  <a:lnTo>
                    <a:pt x="11" y="25"/>
                  </a:lnTo>
                  <a:lnTo>
                    <a:pt x="10" y="25"/>
                  </a:lnTo>
                  <a:lnTo>
                    <a:pt x="9" y="26"/>
                  </a:lnTo>
                  <a:lnTo>
                    <a:pt x="9" y="26"/>
                  </a:lnTo>
                  <a:lnTo>
                    <a:pt x="9" y="26"/>
                  </a:lnTo>
                  <a:lnTo>
                    <a:pt x="9" y="26"/>
                  </a:lnTo>
                  <a:lnTo>
                    <a:pt x="8" y="26"/>
                  </a:lnTo>
                  <a:lnTo>
                    <a:pt x="8" y="26"/>
                  </a:lnTo>
                  <a:lnTo>
                    <a:pt x="8" y="26"/>
                  </a:lnTo>
                  <a:lnTo>
                    <a:pt x="8" y="26"/>
                  </a:lnTo>
                  <a:lnTo>
                    <a:pt x="8" y="26"/>
                  </a:lnTo>
                  <a:lnTo>
                    <a:pt x="7" y="26"/>
                  </a:lnTo>
                  <a:lnTo>
                    <a:pt x="7" y="26"/>
                  </a:lnTo>
                  <a:lnTo>
                    <a:pt x="7" y="26"/>
                  </a:lnTo>
                  <a:lnTo>
                    <a:pt x="6" y="26"/>
                  </a:lnTo>
                  <a:lnTo>
                    <a:pt x="6" y="26"/>
                  </a:lnTo>
                  <a:lnTo>
                    <a:pt x="4" y="26"/>
                  </a:lnTo>
                  <a:lnTo>
                    <a:pt x="4" y="28"/>
                  </a:lnTo>
                  <a:lnTo>
                    <a:pt x="4" y="28"/>
                  </a:lnTo>
                  <a:lnTo>
                    <a:pt x="3" y="28"/>
                  </a:lnTo>
                  <a:lnTo>
                    <a:pt x="3" y="28"/>
                  </a:lnTo>
                  <a:lnTo>
                    <a:pt x="3" y="28"/>
                  </a:lnTo>
                  <a:lnTo>
                    <a:pt x="3" y="28"/>
                  </a:lnTo>
                  <a:lnTo>
                    <a:pt x="3" y="28"/>
                  </a:lnTo>
                  <a:lnTo>
                    <a:pt x="3" y="28"/>
                  </a:lnTo>
                  <a:lnTo>
                    <a:pt x="2" y="28"/>
                  </a:lnTo>
                  <a:lnTo>
                    <a:pt x="2" y="28"/>
                  </a:lnTo>
                  <a:lnTo>
                    <a:pt x="1" y="28"/>
                  </a:lnTo>
                  <a:lnTo>
                    <a:pt x="1" y="26"/>
                  </a:lnTo>
                  <a:lnTo>
                    <a:pt x="1" y="26"/>
                  </a:lnTo>
                  <a:lnTo>
                    <a:pt x="1" y="26"/>
                  </a:lnTo>
                  <a:lnTo>
                    <a:pt x="1" y="26"/>
                  </a:lnTo>
                  <a:lnTo>
                    <a:pt x="1" y="25"/>
                  </a:lnTo>
                  <a:lnTo>
                    <a:pt x="1" y="25"/>
                  </a:lnTo>
                  <a:lnTo>
                    <a:pt x="1" y="24"/>
                  </a:lnTo>
                  <a:lnTo>
                    <a:pt x="2" y="24"/>
                  </a:lnTo>
                  <a:lnTo>
                    <a:pt x="2" y="23"/>
                  </a:lnTo>
                  <a:lnTo>
                    <a:pt x="2" y="23"/>
                  </a:lnTo>
                  <a:lnTo>
                    <a:pt x="1" y="22"/>
                  </a:lnTo>
                  <a:lnTo>
                    <a:pt x="1" y="22"/>
                  </a:lnTo>
                  <a:lnTo>
                    <a:pt x="1" y="21"/>
                  </a:lnTo>
                  <a:lnTo>
                    <a:pt x="0" y="19"/>
                  </a:lnTo>
                  <a:lnTo>
                    <a:pt x="0" y="18"/>
                  </a:lnTo>
                  <a:lnTo>
                    <a:pt x="0" y="17"/>
                  </a:lnTo>
                  <a:lnTo>
                    <a:pt x="1" y="16"/>
                  </a:lnTo>
                  <a:lnTo>
                    <a:pt x="1" y="15"/>
                  </a:lnTo>
                  <a:lnTo>
                    <a:pt x="1" y="15"/>
                  </a:lnTo>
                  <a:lnTo>
                    <a:pt x="1" y="15"/>
                  </a:lnTo>
                  <a:lnTo>
                    <a:pt x="1" y="15"/>
                  </a:lnTo>
                  <a:lnTo>
                    <a:pt x="2" y="14"/>
                  </a:lnTo>
                  <a:lnTo>
                    <a:pt x="2" y="14"/>
                  </a:lnTo>
                  <a:lnTo>
                    <a:pt x="2" y="14"/>
                  </a:lnTo>
                  <a:lnTo>
                    <a:pt x="2" y="14"/>
                  </a:lnTo>
                  <a:lnTo>
                    <a:pt x="2" y="14"/>
                  </a:lnTo>
                  <a:lnTo>
                    <a:pt x="2" y="14"/>
                  </a:lnTo>
                  <a:lnTo>
                    <a:pt x="3" y="12"/>
                  </a:lnTo>
                  <a:lnTo>
                    <a:pt x="4" y="11"/>
                  </a:lnTo>
                  <a:lnTo>
                    <a:pt x="4" y="10"/>
                  </a:lnTo>
                  <a:lnTo>
                    <a:pt x="4" y="9"/>
                  </a:lnTo>
                  <a:lnTo>
                    <a:pt x="4" y="9"/>
                  </a:lnTo>
                  <a:lnTo>
                    <a:pt x="6" y="9"/>
                  </a:lnTo>
                  <a:lnTo>
                    <a:pt x="6" y="9"/>
                  </a:lnTo>
                  <a:lnTo>
                    <a:pt x="7" y="5"/>
                  </a:lnTo>
                  <a:lnTo>
                    <a:pt x="7" y="4"/>
                  </a:lnTo>
                  <a:lnTo>
                    <a:pt x="8" y="3"/>
                  </a:lnTo>
                  <a:lnTo>
                    <a:pt x="9" y="2"/>
                  </a:lnTo>
                  <a:lnTo>
                    <a:pt x="9" y="2"/>
                  </a:lnTo>
                  <a:lnTo>
                    <a:pt x="9" y="3"/>
                  </a:lnTo>
                  <a:lnTo>
                    <a:pt x="10" y="3"/>
                  </a:lnTo>
                  <a:lnTo>
                    <a:pt x="13" y="5"/>
                  </a:lnTo>
                  <a:lnTo>
                    <a:pt x="13" y="4"/>
                  </a:lnTo>
                  <a:lnTo>
                    <a:pt x="13" y="4"/>
                  </a:lnTo>
                  <a:lnTo>
                    <a:pt x="13" y="4"/>
                  </a:lnTo>
                  <a:lnTo>
                    <a:pt x="14" y="4"/>
                  </a:lnTo>
                  <a:lnTo>
                    <a:pt x="14" y="4"/>
                  </a:lnTo>
                  <a:lnTo>
                    <a:pt x="14" y="4"/>
                  </a:lnTo>
                  <a:lnTo>
                    <a:pt x="14" y="4"/>
                  </a:lnTo>
                  <a:lnTo>
                    <a:pt x="14" y="3"/>
                  </a:lnTo>
                  <a:lnTo>
                    <a:pt x="14" y="3"/>
                  </a:lnTo>
                  <a:lnTo>
                    <a:pt x="14" y="3"/>
                  </a:lnTo>
                  <a:lnTo>
                    <a:pt x="14" y="2"/>
                  </a:lnTo>
                  <a:lnTo>
                    <a:pt x="15" y="1"/>
                  </a:lnTo>
                  <a:lnTo>
                    <a:pt x="15" y="1"/>
                  </a:lnTo>
                  <a:lnTo>
                    <a:pt x="15" y="1"/>
                  </a:lnTo>
                  <a:lnTo>
                    <a:pt x="15" y="1"/>
                  </a:lnTo>
                  <a:lnTo>
                    <a:pt x="15" y="1"/>
                  </a:lnTo>
                  <a:lnTo>
                    <a:pt x="18" y="0"/>
                  </a:lnTo>
                  <a:lnTo>
                    <a:pt x="18" y="0"/>
                  </a:lnTo>
                  <a:lnTo>
                    <a:pt x="18" y="0"/>
                  </a:lnTo>
                  <a:lnTo>
                    <a:pt x="18" y="1"/>
                  </a:lnTo>
                  <a:lnTo>
                    <a:pt x="18" y="1"/>
                  </a:lnTo>
                  <a:lnTo>
                    <a:pt x="21" y="2"/>
                  </a:lnTo>
                  <a:lnTo>
                    <a:pt x="21" y="3"/>
                  </a:lnTo>
                  <a:lnTo>
                    <a:pt x="21" y="3"/>
                  </a:lnTo>
                  <a:lnTo>
                    <a:pt x="21" y="3"/>
                  </a:lnTo>
                  <a:lnTo>
                    <a:pt x="21" y="3"/>
                  </a:lnTo>
                  <a:lnTo>
                    <a:pt x="21" y="3"/>
                  </a:lnTo>
                  <a:lnTo>
                    <a:pt x="22" y="4"/>
                  </a:lnTo>
                  <a:lnTo>
                    <a:pt x="22" y="4"/>
                  </a:lnTo>
                  <a:lnTo>
                    <a:pt x="22" y="4"/>
                  </a:lnTo>
                  <a:lnTo>
                    <a:pt x="22" y="4"/>
                  </a:lnTo>
                  <a:lnTo>
                    <a:pt x="22" y="4"/>
                  </a:lnTo>
                  <a:lnTo>
                    <a:pt x="22" y="5"/>
                  </a:lnTo>
                  <a:lnTo>
                    <a:pt x="22" y="5"/>
                  </a:lnTo>
                  <a:lnTo>
                    <a:pt x="22" y="5"/>
                  </a:lnTo>
                  <a:lnTo>
                    <a:pt x="22" y="7"/>
                  </a:lnTo>
                  <a:lnTo>
                    <a:pt x="23" y="7"/>
                  </a:lnTo>
                  <a:lnTo>
                    <a:pt x="23" y="7"/>
                  </a:lnTo>
                  <a:lnTo>
                    <a:pt x="23" y="8"/>
                  </a:lnTo>
                  <a:lnTo>
                    <a:pt x="23" y="9"/>
                  </a:lnTo>
                  <a:lnTo>
                    <a:pt x="23" y="10"/>
                  </a:lnTo>
                  <a:lnTo>
                    <a:pt x="23" y="10"/>
                  </a:lnTo>
                  <a:lnTo>
                    <a:pt x="22" y="10"/>
                  </a:lnTo>
                  <a:lnTo>
                    <a:pt x="22" y="11"/>
                  </a:lnTo>
                  <a:lnTo>
                    <a:pt x="22" y="11"/>
                  </a:lnTo>
                  <a:lnTo>
                    <a:pt x="22" y="11"/>
                  </a:lnTo>
                  <a:lnTo>
                    <a:pt x="21" y="11"/>
                  </a:lnTo>
                  <a:lnTo>
                    <a:pt x="21" y="11"/>
                  </a:lnTo>
                  <a:lnTo>
                    <a:pt x="21" y="11"/>
                  </a:lnTo>
                  <a:lnTo>
                    <a:pt x="20" y="11"/>
                  </a:lnTo>
                  <a:lnTo>
                    <a:pt x="20" y="11"/>
                  </a:lnTo>
                  <a:lnTo>
                    <a:pt x="18" y="14"/>
                  </a:lnTo>
                  <a:lnTo>
                    <a:pt x="18" y="14"/>
                  </a:lnTo>
                  <a:lnTo>
                    <a:pt x="18" y="14"/>
                  </a:lnTo>
                  <a:lnTo>
                    <a:pt x="18" y="14"/>
                  </a:lnTo>
                  <a:lnTo>
                    <a:pt x="18" y="14"/>
                  </a:lnTo>
                  <a:lnTo>
                    <a:pt x="18" y="14"/>
                  </a:lnTo>
                  <a:lnTo>
                    <a:pt x="18" y="14"/>
                  </a:lnTo>
                  <a:lnTo>
                    <a:pt x="18" y="14"/>
                  </a:lnTo>
                  <a:lnTo>
                    <a:pt x="17" y="14"/>
                  </a:lnTo>
                  <a:lnTo>
                    <a:pt x="17" y="14"/>
                  </a:lnTo>
                  <a:lnTo>
                    <a:pt x="17" y="14"/>
                  </a:lnTo>
                  <a:lnTo>
                    <a:pt x="16" y="15"/>
                  </a:lnTo>
                  <a:lnTo>
                    <a:pt x="16" y="15"/>
                  </a:lnTo>
                  <a:lnTo>
                    <a:pt x="16" y="14"/>
                  </a:lnTo>
                  <a:lnTo>
                    <a:pt x="16" y="15"/>
                  </a:lnTo>
                  <a:lnTo>
                    <a:pt x="15" y="15"/>
                  </a:lnTo>
                  <a:lnTo>
                    <a:pt x="14" y="15"/>
                  </a:lnTo>
                  <a:lnTo>
                    <a:pt x="14" y="16"/>
                  </a:lnTo>
                  <a:lnTo>
                    <a:pt x="13" y="17"/>
                  </a:lnTo>
                  <a:lnTo>
                    <a:pt x="13" y="17"/>
                  </a:lnTo>
                  <a:lnTo>
                    <a:pt x="13" y="17"/>
                  </a:lnTo>
                  <a:lnTo>
                    <a:pt x="13" y="18"/>
                  </a:lnTo>
                  <a:lnTo>
                    <a:pt x="13" y="18"/>
                  </a:lnTo>
                  <a:lnTo>
                    <a:pt x="11" y="17"/>
                  </a:lnTo>
                  <a:lnTo>
                    <a:pt x="11" y="17"/>
                  </a:lnTo>
                  <a:lnTo>
                    <a:pt x="11" y="17"/>
                  </a:lnTo>
                  <a:lnTo>
                    <a:pt x="11" y="17"/>
                  </a:lnTo>
                  <a:lnTo>
                    <a:pt x="11" y="17"/>
                  </a:lnTo>
                  <a:lnTo>
                    <a:pt x="11" y="17"/>
                  </a:lnTo>
                  <a:lnTo>
                    <a:pt x="10" y="17"/>
                  </a:lnTo>
                  <a:lnTo>
                    <a:pt x="10" y="17"/>
                  </a:lnTo>
                  <a:lnTo>
                    <a:pt x="10" y="17"/>
                  </a:lnTo>
                  <a:lnTo>
                    <a:pt x="10" y="17"/>
                  </a:lnTo>
                  <a:lnTo>
                    <a:pt x="10" y="18"/>
                  </a:lnTo>
                  <a:lnTo>
                    <a:pt x="10" y="18"/>
                  </a:lnTo>
                  <a:lnTo>
                    <a:pt x="10" y="18"/>
                  </a:lnTo>
                  <a:lnTo>
                    <a:pt x="11" y="18"/>
                  </a:lnTo>
                  <a:lnTo>
                    <a:pt x="11" y="18"/>
                  </a:lnTo>
                  <a:lnTo>
                    <a:pt x="11" y="19"/>
                  </a:lnTo>
                  <a:lnTo>
                    <a:pt x="11" y="19"/>
                  </a:lnTo>
                  <a:lnTo>
                    <a:pt x="13" y="19"/>
                  </a:lnTo>
                  <a:lnTo>
                    <a:pt x="13" y="19"/>
                  </a:lnTo>
                  <a:lnTo>
                    <a:pt x="13" y="18"/>
                  </a:lnTo>
                  <a:lnTo>
                    <a:pt x="13" y="19"/>
                  </a:lnTo>
                  <a:lnTo>
                    <a:pt x="13" y="19"/>
                  </a:lnTo>
                  <a:lnTo>
                    <a:pt x="13" y="19"/>
                  </a:lnTo>
                  <a:lnTo>
                    <a:pt x="13" y="19"/>
                  </a:lnTo>
                  <a:lnTo>
                    <a:pt x="13" y="18"/>
                  </a:lnTo>
                  <a:lnTo>
                    <a:pt x="13" y="18"/>
                  </a:lnTo>
                  <a:lnTo>
                    <a:pt x="13" y="18"/>
                  </a:lnTo>
                  <a:lnTo>
                    <a:pt x="13" y="18"/>
                  </a:lnTo>
                  <a:lnTo>
                    <a:pt x="13" y="18"/>
                  </a:lnTo>
                  <a:lnTo>
                    <a:pt x="13" y="18"/>
                  </a:lnTo>
                  <a:lnTo>
                    <a:pt x="14" y="17"/>
                  </a:lnTo>
                  <a:lnTo>
                    <a:pt x="15" y="17"/>
                  </a:lnTo>
                  <a:lnTo>
                    <a:pt x="15" y="17"/>
                  </a:lnTo>
                  <a:lnTo>
                    <a:pt x="15" y="17"/>
                  </a:lnTo>
                  <a:lnTo>
                    <a:pt x="15" y="17"/>
                  </a:lnTo>
                  <a:lnTo>
                    <a:pt x="15" y="17"/>
                  </a:lnTo>
                  <a:lnTo>
                    <a:pt x="15" y="17"/>
                  </a:lnTo>
                  <a:lnTo>
                    <a:pt x="16" y="17"/>
                  </a:lnTo>
                  <a:lnTo>
                    <a:pt x="16" y="17"/>
                  </a:lnTo>
                  <a:lnTo>
                    <a:pt x="18" y="17"/>
                  </a:lnTo>
                  <a:lnTo>
                    <a:pt x="18" y="17"/>
                  </a:lnTo>
                  <a:lnTo>
                    <a:pt x="18" y="17"/>
                  </a:lnTo>
                  <a:lnTo>
                    <a:pt x="18" y="17"/>
                  </a:lnTo>
                  <a:lnTo>
                    <a:pt x="18" y="17"/>
                  </a:lnTo>
                  <a:lnTo>
                    <a:pt x="20" y="17"/>
                  </a:lnTo>
                  <a:lnTo>
                    <a:pt x="20" y="17"/>
                  </a:lnTo>
                  <a:lnTo>
                    <a:pt x="20" y="17"/>
                  </a:lnTo>
                  <a:lnTo>
                    <a:pt x="20" y="17"/>
                  </a:lnTo>
                  <a:lnTo>
                    <a:pt x="20" y="18"/>
                  </a:lnTo>
                  <a:lnTo>
                    <a:pt x="20" y="18"/>
                  </a:lnTo>
                  <a:lnTo>
                    <a:pt x="20" y="18"/>
                  </a:lnTo>
                  <a:lnTo>
                    <a:pt x="20" y="18"/>
                  </a:lnTo>
                  <a:lnTo>
                    <a:pt x="21" y="18"/>
                  </a:lnTo>
                  <a:lnTo>
                    <a:pt x="21" y="18"/>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22" name="Freeform 876">
              <a:extLst>
                <a:ext uri="{FF2B5EF4-FFF2-40B4-BE49-F238E27FC236}">
                  <a16:creationId xmlns:a16="http://schemas.microsoft.com/office/drawing/2014/main" id="{0A67D1B5-2A1A-4CD1-B9C3-34DF2895709A}"/>
                </a:ext>
              </a:extLst>
            </p:cNvPr>
            <p:cNvSpPr>
              <a:spLocks/>
            </p:cNvSpPr>
            <p:nvPr/>
          </p:nvSpPr>
          <p:spPr bwMode="auto">
            <a:xfrm>
              <a:off x="4673934" y="3017327"/>
              <a:ext cx="2671" cy="9349"/>
            </a:xfrm>
            <a:custGeom>
              <a:avLst/>
              <a:gdLst>
                <a:gd name="T0" fmla="*/ 1 w 2"/>
                <a:gd name="T1" fmla="*/ 1 h 7"/>
                <a:gd name="T2" fmla="*/ 1 w 2"/>
                <a:gd name="T3" fmla="*/ 1 h 7"/>
                <a:gd name="T4" fmla="*/ 2 w 2"/>
                <a:gd name="T5" fmla="*/ 1 h 7"/>
                <a:gd name="T6" fmla="*/ 2 w 2"/>
                <a:gd name="T7" fmla="*/ 1 h 7"/>
                <a:gd name="T8" fmla="*/ 2 w 2"/>
                <a:gd name="T9" fmla="*/ 2 h 7"/>
                <a:gd name="T10" fmla="*/ 2 w 2"/>
                <a:gd name="T11" fmla="*/ 2 h 7"/>
                <a:gd name="T12" fmla="*/ 2 w 2"/>
                <a:gd name="T13" fmla="*/ 3 h 7"/>
                <a:gd name="T14" fmla="*/ 2 w 2"/>
                <a:gd name="T15" fmla="*/ 3 h 7"/>
                <a:gd name="T16" fmla="*/ 2 w 2"/>
                <a:gd name="T17" fmla="*/ 5 h 7"/>
                <a:gd name="T18" fmla="*/ 2 w 2"/>
                <a:gd name="T19" fmla="*/ 5 h 7"/>
                <a:gd name="T20" fmla="*/ 2 w 2"/>
                <a:gd name="T21" fmla="*/ 6 h 7"/>
                <a:gd name="T22" fmla="*/ 2 w 2"/>
                <a:gd name="T23" fmla="*/ 7 h 7"/>
                <a:gd name="T24" fmla="*/ 2 w 2"/>
                <a:gd name="T25" fmla="*/ 7 h 7"/>
                <a:gd name="T26" fmla="*/ 1 w 2"/>
                <a:gd name="T27" fmla="*/ 7 h 7"/>
                <a:gd name="T28" fmla="*/ 1 w 2"/>
                <a:gd name="T29" fmla="*/ 7 h 7"/>
                <a:gd name="T30" fmla="*/ 1 w 2"/>
                <a:gd name="T31" fmla="*/ 7 h 7"/>
                <a:gd name="T32" fmla="*/ 1 w 2"/>
                <a:gd name="T33" fmla="*/ 7 h 7"/>
                <a:gd name="T34" fmla="*/ 1 w 2"/>
                <a:gd name="T35" fmla="*/ 7 h 7"/>
                <a:gd name="T36" fmla="*/ 1 w 2"/>
                <a:gd name="T37" fmla="*/ 7 h 7"/>
                <a:gd name="T38" fmla="*/ 1 w 2"/>
                <a:gd name="T39" fmla="*/ 6 h 7"/>
                <a:gd name="T40" fmla="*/ 1 w 2"/>
                <a:gd name="T41" fmla="*/ 6 h 7"/>
                <a:gd name="T42" fmla="*/ 1 w 2"/>
                <a:gd name="T43" fmla="*/ 5 h 7"/>
                <a:gd name="T44" fmla="*/ 0 w 2"/>
                <a:gd name="T45" fmla="*/ 5 h 7"/>
                <a:gd name="T46" fmla="*/ 0 w 2"/>
                <a:gd name="T47" fmla="*/ 3 h 7"/>
                <a:gd name="T48" fmla="*/ 0 w 2"/>
                <a:gd name="T49" fmla="*/ 3 h 7"/>
                <a:gd name="T50" fmla="*/ 0 w 2"/>
                <a:gd name="T51" fmla="*/ 3 h 7"/>
                <a:gd name="T52" fmla="*/ 0 w 2"/>
                <a:gd name="T53" fmla="*/ 2 h 7"/>
                <a:gd name="T54" fmla="*/ 0 w 2"/>
                <a:gd name="T55" fmla="*/ 2 h 7"/>
                <a:gd name="T56" fmla="*/ 0 w 2"/>
                <a:gd name="T57" fmla="*/ 2 h 7"/>
                <a:gd name="T58" fmla="*/ 0 w 2"/>
                <a:gd name="T59" fmla="*/ 2 h 7"/>
                <a:gd name="T60" fmla="*/ 0 w 2"/>
                <a:gd name="T61" fmla="*/ 1 h 7"/>
                <a:gd name="T62" fmla="*/ 0 w 2"/>
                <a:gd name="T63" fmla="*/ 1 h 7"/>
                <a:gd name="T64" fmla="*/ 0 w 2"/>
                <a:gd name="T65" fmla="*/ 1 h 7"/>
                <a:gd name="T66" fmla="*/ 0 w 2"/>
                <a:gd name="T67" fmla="*/ 1 h 7"/>
                <a:gd name="T68" fmla="*/ 0 w 2"/>
                <a:gd name="T69" fmla="*/ 0 h 7"/>
                <a:gd name="T70" fmla="*/ 0 w 2"/>
                <a:gd name="T71" fmla="*/ 0 h 7"/>
                <a:gd name="T72" fmla="*/ 1 w 2"/>
                <a:gd name="T7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 h="7">
                  <a:moveTo>
                    <a:pt x="1" y="1"/>
                  </a:moveTo>
                  <a:lnTo>
                    <a:pt x="1" y="1"/>
                  </a:lnTo>
                  <a:lnTo>
                    <a:pt x="1" y="1"/>
                  </a:lnTo>
                  <a:lnTo>
                    <a:pt x="1" y="1"/>
                  </a:lnTo>
                  <a:lnTo>
                    <a:pt x="2" y="1"/>
                  </a:lnTo>
                  <a:lnTo>
                    <a:pt x="2" y="1"/>
                  </a:lnTo>
                  <a:lnTo>
                    <a:pt x="2" y="1"/>
                  </a:lnTo>
                  <a:lnTo>
                    <a:pt x="2" y="1"/>
                  </a:lnTo>
                  <a:lnTo>
                    <a:pt x="2" y="2"/>
                  </a:lnTo>
                  <a:lnTo>
                    <a:pt x="2" y="2"/>
                  </a:lnTo>
                  <a:lnTo>
                    <a:pt x="2" y="2"/>
                  </a:lnTo>
                  <a:lnTo>
                    <a:pt x="2" y="2"/>
                  </a:lnTo>
                  <a:lnTo>
                    <a:pt x="2" y="3"/>
                  </a:lnTo>
                  <a:lnTo>
                    <a:pt x="2" y="3"/>
                  </a:lnTo>
                  <a:lnTo>
                    <a:pt x="2" y="3"/>
                  </a:lnTo>
                  <a:lnTo>
                    <a:pt x="2" y="3"/>
                  </a:lnTo>
                  <a:lnTo>
                    <a:pt x="2" y="3"/>
                  </a:lnTo>
                  <a:lnTo>
                    <a:pt x="2" y="5"/>
                  </a:lnTo>
                  <a:lnTo>
                    <a:pt x="2" y="5"/>
                  </a:lnTo>
                  <a:lnTo>
                    <a:pt x="2" y="5"/>
                  </a:lnTo>
                  <a:lnTo>
                    <a:pt x="2" y="6"/>
                  </a:lnTo>
                  <a:lnTo>
                    <a:pt x="2" y="6"/>
                  </a:lnTo>
                  <a:lnTo>
                    <a:pt x="2" y="7"/>
                  </a:lnTo>
                  <a:lnTo>
                    <a:pt x="2" y="7"/>
                  </a:lnTo>
                  <a:lnTo>
                    <a:pt x="2" y="7"/>
                  </a:lnTo>
                  <a:lnTo>
                    <a:pt x="2" y="7"/>
                  </a:lnTo>
                  <a:lnTo>
                    <a:pt x="2" y="7"/>
                  </a:lnTo>
                  <a:lnTo>
                    <a:pt x="1" y="7"/>
                  </a:lnTo>
                  <a:lnTo>
                    <a:pt x="1" y="7"/>
                  </a:lnTo>
                  <a:lnTo>
                    <a:pt x="1" y="7"/>
                  </a:lnTo>
                  <a:lnTo>
                    <a:pt x="1" y="7"/>
                  </a:lnTo>
                  <a:lnTo>
                    <a:pt x="1" y="7"/>
                  </a:lnTo>
                  <a:lnTo>
                    <a:pt x="1" y="7"/>
                  </a:lnTo>
                  <a:lnTo>
                    <a:pt x="1" y="7"/>
                  </a:lnTo>
                  <a:lnTo>
                    <a:pt x="1" y="7"/>
                  </a:lnTo>
                  <a:lnTo>
                    <a:pt x="1" y="7"/>
                  </a:lnTo>
                  <a:lnTo>
                    <a:pt x="1" y="7"/>
                  </a:lnTo>
                  <a:lnTo>
                    <a:pt x="1" y="7"/>
                  </a:lnTo>
                  <a:lnTo>
                    <a:pt x="1" y="6"/>
                  </a:lnTo>
                  <a:lnTo>
                    <a:pt x="1" y="6"/>
                  </a:lnTo>
                  <a:lnTo>
                    <a:pt x="1" y="6"/>
                  </a:lnTo>
                  <a:lnTo>
                    <a:pt x="1" y="6"/>
                  </a:lnTo>
                  <a:lnTo>
                    <a:pt x="1" y="6"/>
                  </a:lnTo>
                  <a:lnTo>
                    <a:pt x="1" y="5"/>
                  </a:lnTo>
                  <a:lnTo>
                    <a:pt x="1" y="5"/>
                  </a:lnTo>
                  <a:lnTo>
                    <a:pt x="0" y="5"/>
                  </a:lnTo>
                  <a:lnTo>
                    <a:pt x="0" y="5"/>
                  </a:lnTo>
                  <a:lnTo>
                    <a:pt x="0" y="3"/>
                  </a:lnTo>
                  <a:lnTo>
                    <a:pt x="0" y="3"/>
                  </a:lnTo>
                  <a:lnTo>
                    <a:pt x="0" y="3"/>
                  </a:lnTo>
                  <a:lnTo>
                    <a:pt x="0" y="3"/>
                  </a:lnTo>
                  <a:lnTo>
                    <a:pt x="0" y="3"/>
                  </a:lnTo>
                  <a:lnTo>
                    <a:pt x="0" y="3"/>
                  </a:lnTo>
                  <a:lnTo>
                    <a:pt x="0" y="2"/>
                  </a:lnTo>
                  <a:lnTo>
                    <a:pt x="0" y="2"/>
                  </a:lnTo>
                  <a:lnTo>
                    <a:pt x="0" y="2"/>
                  </a:lnTo>
                  <a:lnTo>
                    <a:pt x="0" y="2"/>
                  </a:lnTo>
                  <a:lnTo>
                    <a:pt x="0" y="2"/>
                  </a:lnTo>
                  <a:lnTo>
                    <a:pt x="0" y="2"/>
                  </a:lnTo>
                  <a:lnTo>
                    <a:pt x="0" y="2"/>
                  </a:lnTo>
                  <a:lnTo>
                    <a:pt x="0" y="2"/>
                  </a:lnTo>
                  <a:lnTo>
                    <a:pt x="0" y="1"/>
                  </a:lnTo>
                  <a:lnTo>
                    <a:pt x="0" y="1"/>
                  </a:lnTo>
                  <a:lnTo>
                    <a:pt x="0" y="1"/>
                  </a:lnTo>
                  <a:lnTo>
                    <a:pt x="0" y="1"/>
                  </a:lnTo>
                  <a:lnTo>
                    <a:pt x="0" y="1"/>
                  </a:lnTo>
                  <a:lnTo>
                    <a:pt x="0" y="1"/>
                  </a:lnTo>
                  <a:lnTo>
                    <a:pt x="0" y="1"/>
                  </a:lnTo>
                  <a:lnTo>
                    <a:pt x="0" y="1"/>
                  </a:lnTo>
                  <a:lnTo>
                    <a:pt x="0" y="0"/>
                  </a:lnTo>
                  <a:lnTo>
                    <a:pt x="0" y="0"/>
                  </a:lnTo>
                  <a:lnTo>
                    <a:pt x="0" y="0"/>
                  </a:lnTo>
                  <a:lnTo>
                    <a:pt x="1" y="0"/>
                  </a:lnTo>
                  <a:lnTo>
                    <a:pt x="1" y="0"/>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23" name="Freeform 877">
              <a:extLst>
                <a:ext uri="{FF2B5EF4-FFF2-40B4-BE49-F238E27FC236}">
                  <a16:creationId xmlns:a16="http://schemas.microsoft.com/office/drawing/2014/main" id="{ABB39972-B09C-423E-9C51-3A5649E417E5}"/>
                </a:ext>
              </a:extLst>
            </p:cNvPr>
            <p:cNvSpPr>
              <a:spLocks noEditPoints="1"/>
            </p:cNvSpPr>
            <p:nvPr/>
          </p:nvSpPr>
          <p:spPr bwMode="auto">
            <a:xfrm>
              <a:off x="4485630" y="2926514"/>
              <a:ext cx="66774" cy="50749"/>
            </a:xfrm>
            <a:custGeom>
              <a:avLst/>
              <a:gdLst>
                <a:gd name="T0" fmla="*/ 6 w 50"/>
                <a:gd name="T1" fmla="*/ 38 h 38"/>
                <a:gd name="T2" fmla="*/ 47 w 50"/>
                <a:gd name="T3" fmla="*/ 28 h 38"/>
                <a:gd name="T4" fmla="*/ 45 w 50"/>
                <a:gd name="T5" fmla="*/ 29 h 38"/>
                <a:gd name="T6" fmla="*/ 45 w 50"/>
                <a:gd name="T7" fmla="*/ 28 h 38"/>
                <a:gd name="T8" fmla="*/ 18 w 50"/>
                <a:gd name="T9" fmla="*/ 0 h 38"/>
                <a:gd name="T10" fmla="*/ 20 w 50"/>
                <a:gd name="T11" fmla="*/ 3 h 38"/>
                <a:gd name="T12" fmla="*/ 25 w 50"/>
                <a:gd name="T13" fmla="*/ 4 h 38"/>
                <a:gd name="T14" fmla="*/ 28 w 50"/>
                <a:gd name="T15" fmla="*/ 5 h 38"/>
                <a:gd name="T16" fmla="*/ 32 w 50"/>
                <a:gd name="T17" fmla="*/ 5 h 38"/>
                <a:gd name="T18" fmla="*/ 32 w 50"/>
                <a:gd name="T19" fmla="*/ 10 h 38"/>
                <a:gd name="T20" fmla="*/ 36 w 50"/>
                <a:gd name="T21" fmla="*/ 10 h 38"/>
                <a:gd name="T22" fmla="*/ 40 w 50"/>
                <a:gd name="T23" fmla="*/ 10 h 38"/>
                <a:gd name="T24" fmla="*/ 40 w 50"/>
                <a:gd name="T25" fmla="*/ 11 h 38"/>
                <a:gd name="T26" fmla="*/ 36 w 50"/>
                <a:gd name="T27" fmla="*/ 12 h 38"/>
                <a:gd name="T28" fmla="*/ 35 w 50"/>
                <a:gd name="T29" fmla="*/ 13 h 38"/>
                <a:gd name="T30" fmla="*/ 39 w 50"/>
                <a:gd name="T31" fmla="*/ 14 h 38"/>
                <a:gd name="T32" fmla="*/ 42 w 50"/>
                <a:gd name="T33" fmla="*/ 15 h 38"/>
                <a:gd name="T34" fmla="*/ 45 w 50"/>
                <a:gd name="T35" fmla="*/ 15 h 38"/>
                <a:gd name="T36" fmla="*/ 48 w 50"/>
                <a:gd name="T37" fmla="*/ 19 h 38"/>
                <a:gd name="T38" fmla="*/ 49 w 50"/>
                <a:gd name="T39" fmla="*/ 24 h 38"/>
                <a:gd name="T40" fmla="*/ 47 w 50"/>
                <a:gd name="T41" fmla="*/ 26 h 38"/>
                <a:gd name="T42" fmla="*/ 43 w 50"/>
                <a:gd name="T43" fmla="*/ 25 h 38"/>
                <a:gd name="T44" fmla="*/ 40 w 50"/>
                <a:gd name="T45" fmla="*/ 25 h 38"/>
                <a:gd name="T46" fmla="*/ 35 w 50"/>
                <a:gd name="T47" fmla="*/ 24 h 38"/>
                <a:gd name="T48" fmla="*/ 32 w 50"/>
                <a:gd name="T49" fmla="*/ 24 h 38"/>
                <a:gd name="T50" fmla="*/ 27 w 50"/>
                <a:gd name="T51" fmla="*/ 25 h 38"/>
                <a:gd name="T52" fmla="*/ 24 w 50"/>
                <a:gd name="T53" fmla="*/ 27 h 38"/>
                <a:gd name="T54" fmla="*/ 19 w 50"/>
                <a:gd name="T55" fmla="*/ 27 h 38"/>
                <a:gd name="T56" fmla="*/ 20 w 50"/>
                <a:gd name="T57" fmla="*/ 25 h 38"/>
                <a:gd name="T58" fmla="*/ 18 w 50"/>
                <a:gd name="T59" fmla="*/ 25 h 38"/>
                <a:gd name="T60" fmla="*/ 15 w 50"/>
                <a:gd name="T61" fmla="*/ 26 h 38"/>
                <a:gd name="T62" fmla="*/ 13 w 50"/>
                <a:gd name="T63" fmla="*/ 26 h 38"/>
                <a:gd name="T64" fmla="*/ 12 w 50"/>
                <a:gd name="T65" fmla="*/ 29 h 38"/>
                <a:gd name="T66" fmla="*/ 8 w 50"/>
                <a:gd name="T67" fmla="*/ 33 h 38"/>
                <a:gd name="T68" fmla="*/ 7 w 50"/>
                <a:gd name="T69" fmla="*/ 35 h 38"/>
                <a:gd name="T70" fmla="*/ 5 w 50"/>
                <a:gd name="T71" fmla="*/ 34 h 38"/>
                <a:gd name="T72" fmla="*/ 4 w 50"/>
                <a:gd name="T73" fmla="*/ 31 h 38"/>
                <a:gd name="T74" fmla="*/ 3 w 50"/>
                <a:gd name="T75" fmla="*/ 27 h 38"/>
                <a:gd name="T76" fmla="*/ 1 w 50"/>
                <a:gd name="T77" fmla="*/ 22 h 38"/>
                <a:gd name="T78" fmla="*/ 3 w 50"/>
                <a:gd name="T79" fmla="*/ 20 h 38"/>
                <a:gd name="T80" fmla="*/ 5 w 50"/>
                <a:gd name="T81" fmla="*/ 18 h 38"/>
                <a:gd name="T82" fmla="*/ 3 w 50"/>
                <a:gd name="T83" fmla="*/ 15 h 38"/>
                <a:gd name="T84" fmla="*/ 6 w 50"/>
                <a:gd name="T85" fmla="*/ 13 h 38"/>
                <a:gd name="T86" fmla="*/ 6 w 50"/>
                <a:gd name="T87" fmla="*/ 8 h 38"/>
                <a:gd name="T88" fmla="*/ 6 w 50"/>
                <a:gd name="T89" fmla="*/ 4 h 38"/>
                <a:gd name="T90" fmla="*/ 7 w 50"/>
                <a:gd name="T91" fmla="*/ 0 h 38"/>
                <a:gd name="T92" fmla="*/ 12 w 50"/>
                <a:gd name="T93" fmla="*/ 1 h 38"/>
                <a:gd name="T94" fmla="*/ 15 w 50"/>
                <a:gd name="T9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0" h="38">
                  <a:moveTo>
                    <a:pt x="5" y="38"/>
                  </a:moveTo>
                  <a:lnTo>
                    <a:pt x="5" y="36"/>
                  </a:lnTo>
                  <a:lnTo>
                    <a:pt x="6" y="36"/>
                  </a:lnTo>
                  <a:lnTo>
                    <a:pt x="6" y="38"/>
                  </a:lnTo>
                  <a:lnTo>
                    <a:pt x="5" y="38"/>
                  </a:lnTo>
                  <a:close/>
                  <a:moveTo>
                    <a:pt x="45" y="28"/>
                  </a:moveTo>
                  <a:lnTo>
                    <a:pt x="46" y="28"/>
                  </a:lnTo>
                  <a:lnTo>
                    <a:pt x="47" y="28"/>
                  </a:lnTo>
                  <a:lnTo>
                    <a:pt x="47" y="29"/>
                  </a:lnTo>
                  <a:lnTo>
                    <a:pt x="46" y="28"/>
                  </a:lnTo>
                  <a:lnTo>
                    <a:pt x="46" y="29"/>
                  </a:lnTo>
                  <a:lnTo>
                    <a:pt x="45" y="29"/>
                  </a:lnTo>
                  <a:lnTo>
                    <a:pt x="45" y="28"/>
                  </a:lnTo>
                  <a:lnTo>
                    <a:pt x="43" y="27"/>
                  </a:lnTo>
                  <a:lnTo>
                    <a:pt x="45" y="27"/>
                  </a:lnTo>
                  <a:lnTo>
                    <a:pt x="45" y="28"/>
                  </a:lnTo>
                  <a:close/>
                  <a:moveTo>
                    <a:pt x="17" y="0"/>
                  </a:moveTo>
                  <a:lnTo>
                    <a:pt x="18" y="0"/>
                  </a:lnTo>
                  <a:lnTo>
                    <a:pt x="17" y="0"/>
                  </a:lnTo>
                  <a:lnTo>
                    <a:pt x="18" y="0"/>
                  </a:lnTo>
                  <a:lnTo>
                    <a:pt x="19" y="0"/>
                  </a:lnTo>
                  <a:lnTo>
                    <a:pt x="19" y="1"/>
                  </a:lnTo>
                  <a:lnTo>
                    <a:pt x="20" y="1"/>
                  </a:lnTo>
                  <a:lnTo>
                    <a:pt x="20" y="3"/>
                  </a:lnTo>
                  <a:lnTo>
                    <a:pt x="21" y="3"/>
                  </a:lnTo>
                  <a:lnTo>
                    <a:pt x="22" y="3"/>
                  </a:lnTo>
                  <a:lnTo>
                    <a:pt x="24" y="3"/>
                  </a:lnTo>
                  <a:lnTo>
                    <a:pt x="25" y="4"/>
                  </a:lnTo>
                  <a:lnTo>
                    <a:pt x="25" y="5"/>
                  </a:lnTo>
                  <a:lnTo>
                    <a:pt x="26" y="5"/>
                  </a:lnTo>
                  <a:lnTo>
                    <a:pt x="27" y="5"/>
                  </a:lnTo>
                  <a:lnTo>
                    <a:pt x="28" y="5"/>
                  </a:lnTo>
                  <a:lnTo>
                    <a:pt x="29" y="4"/>
                  </a:lnTo>
                  <a:lnTo>
                    <a:pt x="31" y="4"/>
                  </a:lnTo>
                  <a:lnTo>
                    <a:pt x="31" y="5"/>
                  </a:lnTo>
                  <a:lnTo>
                    <a:pt x="32" y="5"/>
                  </a:lnTo>
                  <a:lnTo>
                    <a:pt x="31" y="6"/>
                  </a:lnTo>
                  <a:lnTo>
                    <a:pt x="31" y="7"/>
                  </a:lnTo>
                  <a:lnTo>
                    <a:pt x="31" y="8"/>
                  </a:lnTo>
                  <a:lnTo>
                    <a:pt x="32" y="10"/>
                  </a:lnTo>
                  <a:lnTo>
                    <a:pt x="33" y="11"/>
                  </a:lnTo>
                  <a:lnTo>
                    <a:pt x="34" y="10"/>
                  </a:lnTo>
                  <a:lnTo>
                    <a:pt x="35" y="10"/>
                  </a:lnTo>
                  <a:lnTo>
                    <a:pt x="36" y="10"/>
                  </a:lnTo>
                  <a:lnTo>
                    <a:pt x="38" y="10"/>
                  </a:lnTo>
                  <a:lnTo>
                    <a:pt x="39" y="11"/>
                  </a:lnTo>
                  <a:lnTo>
                    <a:pt x="39" y="10"/>
                  </a:lnTo>
                  <a:lnTo>
                    <a:pt x="40" y="10"/>
                  </a:lnTo>
                  <a:lnTo>
                    <a:pt x="40" y="11"/>
                  </a:lnTo>
                  <a:lnTo>
                    <a:pt x="41" y="10"/>
                  </a:lnTo>
                  <a:lnTo>
                    <a:pt x="41" y="11"/>
                  </a:lnTo>
                  <a:lnTo>
                    <a:pt x="40" y="11"/>
                  </a:lnTo>
                  <a:lnTo>
                    <a:pt x="40" y="12"/>
                  </a:lnTo>
                  <a:lnTo>
                    <a:pt x="39" y="12"/>
                  </a:lnTo>
                  <a:lnTo>
                    <a:pt x="38" y="12"/>
                  </a:lnTo>
                  <a:lnTo>
                    <a:pt x="36" y="12"/>
                  </a:lnTo>
                  <a:lnTo>
                    <a:pt x="34" y="11"/>
                  </a:lnTo>
                  <a:lnTo>
                    <a:pt x="34" y="12"/>
                  </a:lnTo>
                  <a:lnTo>
                    <a:pt x="34" y="13"/>
                  </a:lnTo>
                  <a:lnTo>
                    <a:pt x="35" y="13"/>
                  </a:lnTo>
                  <a:lnTo>
                    <a:pt x="36" y="13"/>
                  </a:lnTo>
                  <a:lnTo>
                    <a:pt x="38" y="13"/>
                  </a:lnTo>
                  <a:lnTo>
                    <a:pt x="38" y="14"/>
                  </a:lnTo>
                  <a:lnTo>
                    <a:pt x="39" y="14"/>
                  </a:lnTo>
                  <a:lnTo>
                    <a:pt x="40" y="14"/>
                  </a:lnTo>
                  <a:lnTo>
                    <a:pt x="41" y="14"/>
                  </a:lnTo>
                  <a:lnTo>
                    <a:pt x="41" y="15"/>
                  </a:lnTo>
                  <a:lnTo>
                    <a:pt x="42" y="15"/>
                  </a:lnTo>
                  <a:lnTo>
                    <a:pt x="42" y="14"/>
                  </a:lnTo>
                  <a:lnTo>
                    <a:pt x="43" y="14"/>
                  </a:lnTo>
                  <a:lnTo>
                    <a:pt x="43" y="15"/>
                  </a:lnTo>
                  <a:lnTo>
                    <a:pt x="45" y="15"/>
                  </a:lnTo>
                  <a:lnTo>
                    <a:pt x="46" y="15"/>
                  </a:lnTo>
                  <a:lnTo>
                    <a:pt x="47" y="17"/>
                  </a:lnTo>
                  <a:lnTo>
                    <a:pt x="48" y="18"/>
                  </a:lnTo>
                  <a:lnTo>
                    <a:pt x="48" y="19"/>
                  </a:lnTo>
                  <a:lnTo>
                    <a:pt x="49" y="19"/>
                  </a:lnTo>
                  <a:lnTo>
                    <a:pt x="50" y="20"/>
                  </a:lnTo>
                  <a:lnTo>
                    <a:pt x="50" y="21"/>
                  </a:lnTo>
                  <a:lnTo>
                    <a:pt x="49" y="24"/>
                  </a:lnTo>
                  <a:lnTo>
                    <a:pt x="49" y="25"/>
                  </a:lnTo>
                  <a:lnTo>
                    <a:pt x="48" y="25"/>
                  </a:lnTo>
                  <a:lnTo>
                    <a:pt x="47" y="25"/>
                  </a:lnTo>
                  <a:lnTo>
                    <a:pt x="47" y="26"/>
                  </a:lnTo>
                  <a:lnTo>
                    <a:pt x="46" y="27"/>
                  </a:lnTo>
                  <a:lnTo>
                    <a:pt x="45" y="27"/>
                  </a:lnTo>
                  <a:lnTo>
                    <a:pt x="45" y="26"/>
                  </a:lnTo>
                  <a:lnTo>
                    <a:pt x="43" y="25"/>
                  </a:lnTo>
                  <a:lnTo>
                    <a:pt x="42" y="25"/>
                  </a:lnTo>
                  <a:lnTo>
                    <a:pt x="42" y="24"/>
                  </a:lnTo>
                  <a:lnTo>
                    <a:pt x="41" y="25"/>
                  </a:lnTo>
                  <a:lnTo>
                    <a:pt x="40" y="25"/>
                  </a:lnTo>
                  <a:lnTo>
                    <a:pt x="39" y="24"/>
                  </a:lnTo>
                  <a:lnTo>
                    <a:pt x="38" y="24"/>
                  </a:lnTo>
                  <a:lnTo>
                    <a:pt x="36" y="24"/>
                  </a:lnTo>
                  <a:lnTo>
                    <a:pt x="35" y="24"/>
                  </a:lnTo>
                  <a:lnTo>
                    <a:pt x="34" y="25"/>
                  </a:lnTo>
                  <a:lnTo>
                    <a:pt x="33" y="24"/>
                  </a:lnTo>
                  <a:lnTo>
                    <a:pt x="33" y="25"/>
                  </a:lnTo>
                  <a:lnTo>
                    <a:pt x="32" y="24"/>
                  </a:lnTo>
                  <a:lnTo>
                    <a:pt x="29" y="24"/>
                  </a:lnTo>
                  <a:lnTo>
                    <a:pt x="28" y="24"/>
                  </a:lnTo>
                  <a:lnTo>
                    <a:pt x="27" y="24"/>
                  </a:lnTo>
                  <a:lnTo>
                    <a:pt x="27" y="25"/>
                  </a:lnTo>
                  <a:lnTo>
                    <a:pt x="27" y="26"/>
                  </a:lnTo>
                  <a:lnTo>
                    <a:pt x="26" y="26"/>
                  </a:lnTo>
                  <a:lnTo>
                    <a:pt x="25" y="27"/>
                  </a:lnTo>
                  <a:lnTo>
                    <a:pt x="24" y="27"/>
                  </a:lnTo>
                  <a:lnTo>
                    <a:pt x="22" y="27"/>
                  </a:lnTo>
                  <a:lnTo>
                    <a:pt x="21" y="27"/>
                  </a:lnTo>
                  <a:lnTo>
                    <a:pt x="20" y="27"/>
                  </a:lnTo>
                  <a:lnTo>
                    <a:pt x="19" y="27"/>
                  </a:lnTo>
                  <a:lnTo>
                    <a:pt x="20" y="27"/>
                  </a:lnTo>
                  <a:lnTo>
                    <a:pt x="19" y="26"/>
                  </a:lnTo>
                  <a:lnTo>
                    <a:pt x="20" y="26"/>
                  </a:lnTo>
                  <a:lnTo>
                    <a:pt x="20" y="25"/>
                  </a:lnTo>
                  <a:lnTo>
                    <a:pt x="19" y="25"/>
                  </a:lnTo>
                  <a:lnTo>
                    <a:pt x="19" y="24"/>
                  </a:lnTo>
                  <a:lnTo>
                    <a:pt x="18" y="24"/>
                  </a:lnTo>
                  <a:lnTo>
                    <a:pt x="18" y="25"/>
                  </a:lnTo>
                  <a:lnTo>
                    <a:pt x="17" y="25"/>
                  </a:lnTo>
                  <a:lnTo>
                    <a:pt x="17" y="26"/>
                  </a:lnTo>
                  <a:lnTo>
                    <a:pt x="15" y="25"/>
                  </a:lnTo>
                  <a:lnTo>
                    <a:pt x="15" y="26"/>
                  </a:lnTo>
                  <a:lnTo>
                    <a:pt x="14" y="26"/>
                  </a:lnTo>
                  <a:lnTo>
                    <a:pt x="14" y="27"/>
                  </a:lnTo>
                  <a:lnTo>
                    <a:pt x="14" y="26"/>
                  </a:lnTo>
                  <a:lnTo>
                    <a:pt x="13" y="26"/>
                  </a:lnTo>
                  <a:lnTo>
                    <a:pt x="12" y="26"/>
                  </a:lnTo>
                  <a:lnTo>
                    <a:pt x="12" y="27"/>
                  </a:lnTo>
                  <a:lnTo>
                    <a:pt x="13" y="28"/>
                  </a:lnTo>
                  <a:lnTo>
                    <a:pt x="12" y="29"/>
                  </a:lnTo>
                  <a:lnTo>
                    <a:pt x="11" y="32"/>
                  </a:lnTo>
                  <a:lnTo>
                    <a:pt x="10" y="32"/>
                  </a:lnTo>
                  <a:lnTo>
                    <a:pt x="10" y="33"/>
                  </a:lnTo>
                  <a:lnTo>
                    <a:pt x="8" y="33"/>
                  </a:lnTo>
                  <a:lnTo>
                    <a:pt x="10" y="33"/>
                  </a:lnTo>
                  <a:lnTo>
                    <a:pt x="8" y="33"/>
                  </a:lnTo>
                  <a:lnTo>
                    <a:pt x="8" y="34"/>
                  </a:lnTo>
                  <a:lnTo>
                    <a:pt x="7" y="35"/>
                  </a:lnTo>
                  <a:lnTo>
                    <a:pt x="7" y="36"/>
                  </a:lnTo>
                  <a:lnTo>
                    <a:pt x="6" y="36"/>
                  </a:lnTo>
                  <a:lnTo>
                    <a:pt x="6" y="35"/>
                  </a:lnTo>
                  <a:lnTo>
                    <a:pt x="5" y="34"/>
                  </a:lnTo>
                  <a:lnTo>
                    <a:pt x="4" y="34"/>
                  </a:lnTo>
                  <a:lnTo>
                    <a:pt x="4" y="33"/>
                  </a:lnTo>
                  <a:lnTo>
                    <a:pt x="4" y="32"/>
                  </a:lnTo>
                  <a:lnTo>
                    <a:pt x="4" y="31"/>
                  </a:lnTo>
                  <a:lnTo>
                    <a:pt x="3" y="31"/>
                  </a:lnTo>
                  <a:lnTo>
                    <a:pt x="3" y="29"/>
                  </a:lnTo>
                  <a:lnTo>
                    <a:pt x="3" y="28"/>
                  </a:lnTo>
                  <a:lnTo>
                    <a:pt x="3" y="27"/>
                  </a:lnTo>
                  <a:lnTo>
                    <a:pt x="4" y="26"/>
                  </a:lnTo>
                  <a:lnTo>
                    <a:pt x="3" y="25"/>
                  </a:lnTo>
                  <a:lnTo>
                    <a:pt x="1" y="24"/>
                  </a:lnTo>
                  <a:lnTo>
                    <a:pt x="1" y="22"/>
                  </a:lnTo>
                  <a:lnTo>
                    <a:pt x="0" y="21"/>
                  </a:lnTo>
                  <a:lnTo>
                    <a:pt x="1" y="21"/>
                  </a:lnTo>
                  <a:lnTo>
                    <a:pt x="3" y="21"/>
                  </a:lnTo>
                  <a:lnTo>
                    <a:pt x="3" y="20"/>
                  </a:lnTo>
                  <a:lnTo>
                    <a:pt x="4" y="20"/>
                  </a:lnTo>
                  <a:lnTo>
                    <a:pt x="4" y="19"/>
                  </a:lnTo>
                  <a:lnTo>
                    <a:pt x="5" y="19"/>
                  </a:lnTo>
                  <a:lnTo>
                    <a:pt x="5" y="18"/>
                  </a:lnTo>
                  <a:lnTo>
                    <a:pt x="5" y="17"/>
                  </a:lnTo>
                  <a:lnTo>
                    <a:pt x="4" y="17"/>
                  </a:lnTo>
                  <a:lnTo>
                    <a:pt x="4" y="15"/>
                  </a:lnTo>
                  <a:lnTo>
                    <a:pt x="3" y="15"/>
                  </a:lnTo>
                  <a:lnTo>
                    <a:pt x="4" y="15"/>
                  </a:lnTo>
                  <a:lnTo>
                    <a:pt x="5" y="14"/>
                  </a:lnTo>
                  <a:lnTo>
                    <a:pt x="5" y="13"/>
                  </a:lnTo>
                  <a:lnTo>
                    <a:pt x="6" y="13"/>
                  </a:lnTo>
                  <a:lnTo>
                    <a:pt x="6" y="12"/>
                  </a:lnTo>
                  <a:lnTo>
                    <a:pt x="5" y="11"/>
                  </a:lnTo>
                  <a:lnTo>
                    <a:pt x="5" y="10"/>
                  </a:lnTo>
                  <a:lnTo>
                    <a:pt x="6" y="8"/>
                  </a:lnTo>
                  <a:lnTo>
                    <a:pt x="6" y="7"/>
                  </a:lnTo>
                  <a:lnTo>
                    <a:pt x="6" y="6"/>
                  </a:lnTo>
                  <a:lnTo>
                    <a:pt x="6" y="5"/>
                  </a:lnTo>
                  <a:lnTo>
                    <a:pt x="6" y="4"/>
                  </a:lnTo>
                  <a:lnTo>
                    <a:pt x="6" y="3"/>
                  </a:lnTo>
                  <a:lnTo>
                    <a:pt x="6" y="1"/>
                  </a:lnTo>
                  <a:lnTo>
                    <a:pt x="7" y="1"/>
                  </a:lnTo>
                  <a:lnTo>
                    <a:pt x="7" y="0"/>
                  </a:lnTo>
                  <a:lnTo>
                    <a:pt x="8" y="0"/>
                  </a:lnTo>
                  <a:lnTo>
                    <a:pt x="10" y="0"/>
                  </a:lnTo>
                  <a:lnTo>
                    <a:pt x="11" y="0"/>
                  </a:lnTo>
                  <a:lnTo>
                    <a:pt x="12" y="1"/>
                  </a:lnTo>
                  <a:lnTo>
                    <a:pt x="13" y="1"/>
                  </a:lnTo>
                  <a:lnTo>
                    <a:pt x="14" y="1"/>
                  </a:lnTo>
                  <a:lnTo>
                    <a:pt x="15" y="1"/>
                  </a:lnTo>
                  <a:lnTo>
                    <a:pt x="15" y="0"/>
                  </a:lnTo>
                  <a:lnTo>
                    <a:pt x="17"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24" name="Freeform 878">
              <a:extLst>
                <a:ext uri="{FF2B5EF4-FFF2-40B4-BE49-F238E27FC236}">
                  <a16:creationId xmlns:a16="http://schemas.microsoft.com/office/drawing/2014/main" id="{B7DC4EAF-1C09-49D1-859F-859BC7A692D1}"/>
                </a:ext>
              </a:extLst>
            </p:cNvPr>
            <p:cNvSpPr>
              <a:spLocks/>
            </p:cNvSpPr>
            <p:nvPr/>
          </p:nvSpPr>
          <p:spPr bwMode="auto">
            <a:xfrm>
              <a:off x="5650176" y="2564596"/>
              <a:ext cx="373937" cy="381950"/>
            </a:xfrm>
            <a:custGeom>
              <a:avLst/>
              <a:gdLst>
                <a:gd name="T0" fmla="*/ 226 w 280"/>
                <a:gd name="T1" fmla="*/ 8 h 286"/>
                <a:gd name="T2" fmla="*/ 226 w 280"/>
                <a:gd name="T3" fmla="*/ 17 h 286"/>
                <a:gd name="T4" fmla="*/ 228 w 280"/>
                <a:gd name="T5" fmla="*/ 29 h 286"/>
                <a:gd name="T6" fmla="*/ 222 w 280"/>
                <a:gd name="T7" fmla="*/ 40 h 286"/>
                <a:gd name="T8" fmla="*/ 216 w 280"/>
                <a:gd name="T9" fmla="*/ 49 h 286"/>
                <a:gd name="T10" fmla="*/ 220 w 280"/>
                <a:gd name="T11" fmla="*/ 61 h 286"/>
                <a:gd name="T12" fmla="*/ 237 w 280"/>
                <a:gd name="T13" fmla="*/ 79 h 286"/>
                <a:gd name="T14" fmla="*/ 242 w 280"/>
                <a:gd name="T15" fmla="*/ 97 h 286"/>
                <a:gd name="T16" fmla="*/ 247 w 280"/>
                <a:gd name="T17" fmla="*/ 118 h 286"/>
                <a:gd name="T18" fmla="*/ 249 w 280"/>
                <a:gd name="T19" fmla="*/ 150 h 286"/>
                <a:gd name="T20" fmla="*/ 250 w 280"/>
                <a:gd name="T21" fmla="*/ 166 h 286"/>
                <a:gd name="T22" fmla="*/ 252 w 280"/>
                <a:gd name="T23" fmla="*/ 186 h 286"/>
                <a:gd name="T24" fmla="*/ 261 w 280"/>
                <a:gd name="T25" fmla="*/ 199 h 286"/>
                <a:gd name="T26" fmla="*/ 280 w 280"/>
                <a:gd name="T27" fmla="*/ 214 h 286"/>
                <a:gd name="T28" fmla="*/ 268 w 280"/>
                <a:gd name="T29" fmla="*/ 223 h 286"/>
                <a:gd name="T30" fmla="*/ 256 w 280"/>
                <a:gd name="T31" fmla="*/ 230 h 286"/>
                <a:gd name="T32" fmla="*/ 245 w 280"/>
                <a:gd name="T33" fmla="*/ 239 h 286"/>
                <a:gd name="T34" fmla="*/ 234 w 280"/>
                <a:gd name="T35" fmla="*/ 247 h 286"/>
                <a:gd name="T36" fmla="*/ 222 w 280"/>
                <a:gd name="T37" fmla="*/ 255 h 286"/>
                <a:gd name="T38" fmla="*/ 212 w 280"/>
                <a:gd name="T39" fmla="*/ 264 h 286"/>
                <a:gd name="T40" fmla="*/ 201 w 280"/>
                <a:gd name="T41" fmla="*/ 274 h 286"/>
                <a:gd name="T42" fmla="*/ 187 w 280"/>
                <a:gd name="T43" fmla="*/ 281 h 286"/>
                <a:gd name="T44" fmla="*/ 163 w 280"/>
                <a:gd name="T45" fmla="*/ 286 h 286"/>
                <a:gd name="T46" fmla="*/ 162 w 280"/>
                <a:gd name="T47" fmla="*/ 278 h 286"/>
                <a:gd name="T48" fmla="*/ 149 w 280"/>
                <a:gd name="T49" fmla="*/ 268 h 286"/>
                <a:gd name="T50" fmla="*/ 140 w 280"/>
                <a:gd name="T51" fmla="*/ 262 h 286"/>
                <a:gd name="T52" fmla="*/ 134 w 280"/>
                <a:gd name="T53" fmla="*/ 254 h 286"/>
                <a:gd name="T54" fmla="*/ 121 w 280"/>
                <a:gd name="T55" fmla="*/ 243 h 286"/>
                <a:gd name="T56" fmla="*/ 108 w 280"/>
                <a:gd name="T57" fmla="*/ 234 h 286"/>
                <a:gd name="T58" fmla="*/ 94 w 280"/>
                <a:gd name="T59" fmla="*/ 223 h 286"/>
                <a:gd name="T60" fmla="*/ 81 w 280"/>
                <a:gd name="T61" fmla="*/ 214 h 286"/>
                <a:gd name="T62" fmla="*/ 70 w 280"/>
                <a:gd name="T63" fmla="*/ 205 h 286"/>
                <a:gd name="T64" fmla="*/ 57 w 280"/>
                <a:gd name="T65" fmla="*/ 195 h 286"/>
                <a:gd name="T66" fmla="*/ 38 w 280"/>
                <a:gd name="T67" fmla="*/ 181 h 286"/>
                <a:gd name="T68" fmla="*/ 10 w 280"/>
                <a:gd name="T69" fmla="*/ 162 h 286"/>
                <a:gd name="T70" fmla="*/ 0 w 280"/>
                <a:gd name="T71" fmla="*/ 145 h 286"/>
                <a:gd name="T72" fmla="*/ 0 w 280"/>
                <a:gd name="T73" fmla="*/ 132 h 286"/>
                <a:gd name="T74" fmla="*/ 12 w 280"/>
                <a:gd name="T75" fmla="*/ 124 h 286"/>
                <a:gd name="T76" fmla="*/ 27 w 280"/>
                <a:gd name="T77" fmla="*/ 121 h 286"/>
                <a:gd name="T78" fmla="*/ 43 w 280"/>
                <a:gd name="T79" fmla="*/ 120 h 286"/>
                <a:gd name="T80" fmla="*/ 59 w 280"/>
                <a:gd name="T81" fmla="*/ 103 h 286"/>
                <a:gd name="T82" fmla="*/ 69 w 280"/>
                <a:gd name="T83" fmla="*/ 94 h 286"/>
                <a:gd name="T84" fmla="*/ 71 w 280"/>
                <a:gd name="T85" fmla="*/ 86 h 286"/>
                <a:gd name="T86" fmla="*/ 88 w 280"/>
                <a:gd name="T87" fmla="*/ 79 h 286"/>
                <a:gd name="T88" fmla="*/ 101 w 280"/>
                <a:gd name="T89" fmla="*/ 79 h 286"/>
                <a:gd name="T90" fmla="*/ 96 w 280"/>
                <a:gd name="T91" fmla="*/ 66 h 286"/>
                <a:gd name="T92" fmla="*/ 95 w 280"/>
                <a:gd name="T93" fmla="*/ 54 h 286"/>
                <a:gd name="T94" fmla="*/ 93 w 280"/>
                <a:gd name="T95" fmla="*/ 38 h 286"/>
                <a:gd name="T96" fmla="*/ 92 w 280"/>
                <a:gd name="T97" fmla="*/ 31 h 286"/>
                <a:gd name="T98" fmla="*/ 101 w 280"/>
                <a:gd name="T99" fmla="*/ 24 h 286"/>
                <a:gd name="T100" fmla="*/ 109 w 280"/>
                <a:gd name="T101" fmla="*/ 22 h 286"/>
                <a:gd name="T102" fmla="*/ 114 w 280"/>
                <a:gd name="T103" fmla="*/ 19 h 286"/>
                <a:gd name="T104" fmla="*/ 122 w 280"/>
                <a:gd name="T105" fmla="*/ 15 h 286"/>
                <a:gd name="T106" fmla="*/ 131 w 280"/>
                <a:gd name="T107" fmla="*/ 9 h 286"/>
                <a:gd name="T108" fmla="*/ 144 w 280"/>
                <a:gd name="T109" fmla="*/ 8 h 286"/>
                <a:gd name="T110" fmla="*/ 157 w 280"/>
                <a:gd name="T111" fmla="*/ 4 h 286"/>
                <a:gd name="T112" fmla="*/ 169 w 280"/>
                <a:gd name="T113" fmla="*/ 3 h 286"/>
                <a:gd name="T114" fmla="*/ 184 w 280"/>
                <a:gd name="T115" fmla="*/ 4 h 286"/>
                <a:gd name="T116" fmla="*/ 198 w 280"/>
                <a:gd name="T117" fmla="*/ 3 h 286"/>
                <a:gd name="T118" fmla="*/ 207 w 280"/>
                <a:gd name="T119" fmla="*/ 2 h 286"/>
                <a:gd name="T120" fmla="*/ 213 w 280"/>
                <a:gd name="T121" fmla="*/ 0 h 286"/>
                <a:gd name="T122" fmla="*/ 222 w 280"/>
                <a:gd name="T123" fmla="*/ 3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0" h="286">
                  <a:moveTo>
                    <a:pt x="229" y="2"/>
                  </a:moveTo>
                  <a:lnTo>
                    <a:pt x="229" y="3"/>
                  </a:lnTo>
                  <a:lnTo>
                    <a:pt x="230" y="3"/>
                  </a:lnTo>
                  <a:lnTo>
                    <a:pt x="230" y="4"/>
                  </a:lnTo>
                  <a:lnTo>
                    <a:pt x="229" y="4"/>
                  </a:lnTo>
                  <a:lnTo>
                    <a:pt x="228" y="4"/>
                  </a:lnTo>
                  <a:lnTo>
                    <a:pt x="227" y="4"/>
                  </a:lnTo>
                  <a:lnTo>
                    <a:pt x="227" y="5"/>
                  </a:lnTo>
                  <a:lnTo>
                    <a:pt x="228" y="5"/>
                  </a:lnTo>
                  <a:lnTo>
                    <a:pt x="227" y="7"/>
                  </a:lnTo>
                  <a:lnTo>
                    <a:pt x="226" y="8"/>
                  </a:lnTo>
                  <a:lnTo>
                    <a:pt x="224" y="8"/>
                  </a:lnTo>
                  <a:lnTo>
                    <a:pt x="224" y="9"/>
                  </a:lnTo>
                  <a:lnTo>
                    <a:pt x="223" y="9"/>
                  </a:lnTo>
                  <a:lnTo>
                    <a:pt x="224" y="9"/>
                  </a:lnTo>
                  <a:lnTo>
                    <a:pt x="226" y="10"/>
                  </a:lnTo>
                  <a:lnTo>
                    <a:pt x="227" y="10"/>
                  </a:lnTo>
                  <a:lnTo>
                    <a:pt x="227" y="11"/>
                  </a:lnTo>
                  <a:lnTo>
                    <a:pt x="226" y="14"/>
                  </a:lnTo>
                  <a:lnTo>
                    <a:pt x="226" y="15"/>
                  </a:lnTo>
                  <a:lnTo>
                    <a:pt x="226" y="16"/>
                  </a:lnTo>
                  <a:lnTo>
                    <a:pt x="226" y="17"/>
                  </a:lnTo>
                  <a:lnTo>
                    <a:pt x="226" y="18"/>
                  </a:lnTo>
                  <a:lnTo>
                    <a:pt x="226" y="19"/>
                  </a:lnTo>
                  <a:lnTo>
                    <a:pt x="226" y="21"/>
                  </a:lnTo>
                  <a:lnTo>
                    <a:pt x="226" y="22"/>
                  </a:lnTo>
                  <a:lnTo>
                    <a:pt x="227" y="23"/>
                  </a:lnTo>
                  <a:lnTo>
                    <a:pt x="227" y="24"/>
                  </a:lnTo>
                  <a:lnTo>
                    <a:pt x="227" y="25"/>
                  </a:lnTo>
                  <a:lnTo>
                    <a:pt x="226" y="26"/>
                  </a:lnTo>
                  <a:lnTo>
                    <a:pt x="226" y="28"/>
                  </a:lnTo>
                  <a:lnTo>
                    <a:pt x="227" y="29"/>
                  </a:lnTo>
                  <a:lnTo>
                    <a:pt x="228" y="29"/>
                  </a:lnTo>
                  <a:lnTo>
                    <a:pt x="227" y="30"/>
                  </a:lnTo>
                  <a:lnTo>
                    <a:pt x="227" y="31"/>
                  </a:lnTo>
                  <a:lnTo>
                    <a:pt x="227" y="32"/>
                  </a:lnTo>
                  <a:lnTo>
                    <a:pt x="226" y="33"/>
                  </a:lnTo>
                  <a:lnTo>
                    <a:pt x="226" y="35"/>
                  </a:lnTo>
                  <a:lnTo>
                    <a:pt x="226" y="37"/>
                  </a:lnTo>
                  <a:lnTo>
                    <a:pt x="226" y="38"/>
                  </a:lnTo>
                  <a:lnTo>
                    <a:pt x="224" y="39"/>
                  </a:lnTo>
                  <a:lnTo>
                    <a:pt x="224" y="40"/>
                  </a:lnTo>
                  <a:lnTo>
                    <a:pt x="223" y="40"/>
                  </a:lnTo>
                  <a:lnTo>
                    <a:pt x="222" y="40"/>
                  </a:lnTo>
                  <a:lnTo>
                    <a:pt x="222" y="42"/>
                  </a:lnTo>
                  <a:lnTo>
                    <a:pt x="221" y="42"/>
                  </a:lnTo>
                  <a:lnTo>
                    <a:pt x="220" y="42"/>
                  </a:lnTo>
                  <a:lnTo>
                    <a:pt x="220" y="43"/>
                  </a:lnTo>
                  <a:lnTo>
                    <a:pt x="220" y="45"/>
                  </a:lnTo>
                  <a:lnTo>
                    <a:pt x="219" y="45"/>
                  </a:lnTo>
                  <a:lnTo>
                    <a:pt x="217" y="45"/>
                  </a:lnTo>
                  <a:lnTo>
                    <a:pt x="217" y="46"/>
                  </a:lnTo>
                  <a:lnTo>
                    <a:pt x="216" y="46"/>
                  </a:lnTo>
                  <a:lnTo>
                    <a:pt x="216" y="47"/>
                  </a:lnTo>
                  <a:lnTo>
                    <a:pt x="216" y="49"/>
                  </a:lnTo>
                  <a:lnTo>
                    <a:pt x="216" y="50"/>
                  </a:lnTo>
                  <a:lnTo>
                    <a:pt x="216" y="51"/>
                  </a:lnTo>
                  <a:lnTo>
                    <a:pt x="216" y="52"/>
                  </a:lnTo>
                  <a:lnTo>
                    <a:pt x="216" y="53"/>
                  </a:lnTo>
                  <a:lnTo>
                    <a:pt x="217" y="54"/>
                  </a:lnTo>
                  <a:lnTo>
                    <a:pt x="217" y="56"/>
                  </a:lnTo>
                  <a:lnTo>
                    <a:pt x="219" y="57"/>
                  </a:lnTo>
                  <a:lnTo>
                    <a:pt x="219" y="58"/>
                  </a:lnTo>
                  <a:lnTo>
                    <a:pt x="219" y="60"/>
                  </a:lnTo>
                  <a:lnTo>
                    <a:pt x="220" y="60"/>
                  </a:lnTo>
                  <a:lnTo>
                    <a:pt x="220" y="61"/>
                  </a:lnTo>
                  <a:lnTo>
                    <a:pt x="221" y="61"/>
                  </a:lnTo>
                  <a:lnTo>
                    <a:pt x="223" y="63"/>
                  </a:lnTo>
                  <a:lnTo>
                    <a:pt x="224" y="63"/>
                  </a:lnTo>
                  <a:lnTo>
                    <a:pt x="226" y="65"/>
                  </a:lnTo>
                  <a:lnTo>
                    <a:pt x="227" y="67"/>
                  </a:lnTo>
                  <a:lnTo>
                    <a:pt x="228" y="70"/>
                  </a:lnTo>
                  <a:lnTo>
                    <a:pt x="228" y="72"/>
                  </a:lnTo>
                  <a:lnTo>
                    <a:pt x="230" y="73"/>
                  </a:lnTo>
                  <a:lnTo>
                    <a:pt x="231" y="75"/>
                  </a:lnTo>
                  <a:lnTo>
                    <a:pt x="235" y="77"/>
                  </a:lnTo>
                  <a:lnTo>
                    <a:pt x="237" y="79"/>
                  </a:lnTo>
                  <a:lnTo>
                    <a:pt x="237" y="80"/>
                  </a:lnTo>
                  <a:lnTo>
                    <a:pt x="238" y="82"/>
                  </a:lnTo>
                  <a:lnTo>
                    <a:pt x="238" y="84"/>
                  </a:lnTo>
                  <a:lnTo>
                    <a:pt x="240" y="86"/>
                  </a:lnTo>
                  <a:lnTo>
                    <a:pt x="240" y="87"/>
                  </a:lnTo>
                  <a:lnTo>
                    <a:pt x="240" y="89"/>
                  </a:lnTo>
                  <a:lnTo>
                    <a:pt x="241" y="90"/>
                  </a:lnTo>
                  <a:lnTo>
                    <a:pt x="241" y="93"/>
                  </a:lnTo>
                  <a:lnTo>
                    <a:pt x="241" y="94"/>
                  </a:lnTo>
                  <a:lnTo>
                    <a:pt x="242" y="96"/>
                  </a:lnTo>
                  <a:lnTo>
                    <a:pt x="242" y="97"/>
                  </a:lnTo>
                  <a:lnTo>
                    <a:pt x="242" y="100"/>
                  </a:lnTo>
                  <a:lnTo>
                    <a:pt x="243" y="101"/>
                  </a:lnTo>
                  <a:lnTo>
                    <a:pt x="243" y="103"/>
                  </a:lnTo>
                  <a:lnTo>
                    <a:pt x="244" y="104"/>
                  </a:lnTo>
                  <a:lnTo>
                    <a:pt x="244" y="107"/>
                  </a:lnTo>
                  <a:lnTo>
                    <a:pt x="244" y="108"/>
                  </a:lnTo>
                  <a:lnTo>
                    <a:pt x="242" y="110"/>
                  </a:lnTo>
                  <a:lnTo>
                    <a:pt x="243" y="111"/>
                  </a:lnTo>
                  <a:lnTo>
                    <a:pt x="243" y="113"/>
                  </a:lnTo>
                  <a:lnTo>
                    <a:pt x="245" y="115"/>
                  </a:lnTo>
                  <a:lnTo>
                    <a:pt x="247" y="118"/>
                  </a:lnTo>
                  <a:lnTo>
                    <a:pt x="248" y="122"/>
                  </a:lnTo>
                  <a:lnTo>
                    <a:pt x="249" y="125"/>
                  </a:lnTo>
                  <a:lnTo>
                    <a:pt x="249" y="128"/>
                  </a:lnTo>
                  <a:lnTo>
                    <a:pt x="250" y="131"/>
                  </a:lnTo>
                  <a:lnTo>
                    <a:pt x="249" y="134"/>
                  </a:lnTo>
                  <a:lnTo>
                    <a:pt x="249" y="139"/>
                  </a:lnTo>
                  <a:lnTo>
                    <a:pt x="249" y="141"/>
                  </a:lnTo>
                  <a:lnTo>
                    <a:pt x="251" y="145"/>
                  </a:lnTo>
                  <a:lnTo>
                    <a:pt x="251" y="146"/>
                  </a:lnTo>
                  <a:lnTo>
                    <a:pt x="250" y="150"/>
                  </a:lnTo>
                  <a:lnTo>
                    <a:pt x="249" y="150"/>
                  </a:lnTo>
                  <a:lnTo>
                    <a:pt x="249" y="151"/>
                  </a:lnTo>
                  <a:lnTo>
                    <a:pt x="250" y="151"/>
                  </a:lnTo>
                  <a:lnTo>
                    <a:pt x="249" y="152"/>
                  </a:lnTo>
                  <a:lnTo>
                    <a:pt x="249" y="153"/>
                  </a:lnTo>
                  <a:lnTo>
                    <a:pt x="249" y="155"/>
                  </a:lnTo>
                  <a:lnTo>
                    <a:pt x="250" y="159"/>
                  </a:lnTo>
                  <a:lnTo>
                    <a:pt x="250" y="160"/>
                  </a:lnTo>
                  <a:lnTo>
                    <a:pt x="251" y="162"/>
                  </a:lnTo>
                  <a:lnTo>
                    <a:pt x="251" y="164"/>
                  </a:lnTo>
                  <a:lnTo>
                    <a:pt x="251" y="165"/>
                  </a:lnTo>
                  <a:lnTo>
                    <a:pt x="250" y="166"/>
                  </a:lnTo>
                  <a:lnTo>
                    <a:pt x="250" y="167"/>
                  </a:lnTo>
                  <a:lnTo>
                    <a:pt x="245" y="170"/>
                  </a:lnTo>
                  <a:lnTo>
                    <a:pt x="245" y="171"/>
                  </a:lnTo>
                  <a:lnTo>
                    <a:pt x="244" y="171"/>
                  </a:lnTo>
                  <a:lnTo>
                    <a:pt x="244" y="172"/>
                  </a:lnTo>
                  <a:lnTo>
                    <a:pt x="244" y="173"/>
                  </a:lnTo>
                  <a:lnTo>
                    <a:pt x="247" y="176"/>
                  </a:lnTo>
                  <a:lnTo>
                    <a:pt x="249" y="179"/>
                  </a:lnTo>
                  <a:lnTo>
                    <a:pt x="250" y="181"/>
                  </a:lnTo>
                  <a:lnTo>
                    <a:pt x="252" y="185"/>
                  </a:lnTo>
                  <a:lnTo>
                    <a:pt x="252" y="186"/>
                  </a:lnTo>
                  <a:lnTo>
                    <a:pt x="254" y="187"/>
                  </a:lnTo>
                  <a:lnTo>
                    <a:pt x="254" y="188"/>
                  </a:lnTo>
                  <a:lnTo>
                    <a:pt x="254" y="191"/>
                  </a:lnTo>
                  <a:lnTo>
                    <a:pt x="254" y="193"/>
                  </a:lnTo>
                  <a:lnTo>
                    <a:pt x="256" y="195"/>
                  </a:lnTo>
                  <a:lnTo>
                    <a:pt x="256" y="197"/>
                  </a:lnTo>
                  <a:lnTo>
                    <a:pt x="256" y="198"/>
                  </a:lnTo>
                  <a:lnTo>
                    <a:pt x="257" y="198"/>
                  </a:lnTo>
                  <a:lnTo>
                    <a:pt x="258" y="199"/>
                  </a:lnTo>
                  <a:lnTo>
                    <a:pt x="259" y="199"/>
                  </a:lnTo>
                  <a:lnTo>
                    <a:pt x="261" y="199"/>
                  </a:lnTo>
                  <a:lnTo>
                    <a:pt x="262" y="198"/>
                  </a:lnTo>
                  <a:lnTo>
                    <a:pt x="263" y="198"/>
                  </a:lnTo>
                  <a:lnTo>
                    <a:pt x="265" y="199"/>
                  </a:lnTo>
                  <a:lnTo>
                    <a:pt x="269" y="200"/>
                  </a:lnTo>
                  <a:lnTo>
                    <a:pt x="273" y="201"/>
                  </a:lnTo>
                  <a:lnTo>
                    <a:pt x="275" y="202"/>
                  </a:lnTo>
                  <a:lnTo>
                    <a:pt x="276" y="205"/>
                  </a:lnTo>
                  <a:lnTo>
                    <a:pt x="277" y="207"/>
                  </a:lnTo>
                  <a:lnTo>
                    <a:pt x="278" y="211"/>
                  </a:lnTo>
                  <a:lnTo>
                    <a:pt x="279" y="212"/>
                  </a:lnTo>
                  <a:lnTo>
                    <a:pt x="280" y="214"/>
                  </a:lnTo>
                  <a:lnTo>
                    <a:pt x="279" y="215"/>
                  </a:lnTo>
                  <a:lnTo>
                    <a:pt x="278" y="215"/>
                  </a:lnTo>
                  <a:lnTo>
                    <a:pt x="277" y="216"/>
                  </a:lnTo>
                  <a:lnTo>
                    <a:pt x="276" y="218"/>
                  </a:lnTo>
                  <a:lnTo>
                    <a:pt x="275" y="219"/>
                  </a:lnTo>
                  <a:lnTo>
                    <a:pt x="273" y="219"/>
                  </a:lnTo>
                  <a:lnTo>
                    <a:pt x="272" y="220"/>
                  </a:lnTo>
                  <a:lnTo>
                    <a:pt x="271" y="221"/>
                  </a:lnTo>
                  <a:lnTo>
                    <a:pt x="270" y="221"/>
                  </a:lnTo>
                  <a:lnTo>
                    <a:pt x="269" y="222"/>
                  </a:lnTo>
                  <a:lnTo>
                    <a:pt x="268" y="223"/>
                  </a:lnTo>
                  <a:lnTo>
                    <a:pt x="266" y="223"/>
                  </a:lnTo>
                  <a:lnTo>
                    <a:pt x="265" y="225"/>
                  </a:lnTo>
                  <a:lnTo>
                    <a:pt x="264" y="226"/>
                  </a:lnTo>
                  <a:lnTo>
                    <a:pt x="263" y="227"/>
                  </a:lnTo>
                  <a:lnTo>
                    <a:pt x="262" y="227"/>
                  </a:lnTo>
                  <a:lnTo>
                    <a:pt x="261" y="228"/>
                  </a:lnTo>
                  <a:lnTo>
                    <a:pt x="259" y="228"/>
                  </a:lnTo>
                  <a:lnTo>
                    <a:pt x="259" y="229"/>
                  </a:lnTo>
                  <a:lnTo>
                    <a:pt x="258" y="229"/>
                  </a:lnTo>
                  <a:lnTo>
                    <a:pt x="257" y="230"/>
                  </a:lnTo>
                  <a:lnTo>
                    <a:pt x="256" y="230"/>
                  </a:lnTo>
                  <a:lnTo>
                    <a:pt x="256" y="232"/>
                  </a:lnTo>
                  <a:lnTo>
                    <a:pt x="255" y="233"/>
                  </a:lnTo>
                  <a:lnTo>
                    <a:pt x="254" y="233"/>
                  </a:lnTo>
                  <a:lnTo>
                    <a:pt x="252" y="234"/>
                  </a:lnTo>
                  <a:lnTo>
                    <a:pt x="251" y="234"/>
                  </a:lnTo>
                  <a:lnTo>
                    <a:pt x="251" y="235"/>
                  </a:lnTo>
                  <a:lnTo>
                    <a:pt x="250" y="235"/>
                  </a:lnTo>
                  <a:lnTo>
                    <a:pt x="249" y="236"/>
                  </a:lnTo>
                  <a:lnTo>
                    <a:pt x="248" y="236"/>
                  </a:lnTo>
                  <a:lnTo>
                    <a:pt x="247" y="237"/>
                  </a:lnTo>
                  <a:lnTo>
                    <a:pt x="245" y="239"/>
                  </a:lnTo>
                  <a:lnTo>
                    <a:pt x="244" y="240"/>
                  </a:lnTo>
                  <a:lnTo>
                    <a:pt x="243" y="240"/>
                  </a:lnTo>
                  <a:lnTo>
                    <a:pt x="242" y="241"/>
                  </a:lnTo>
                  <a:lnTo>
                    <a:pt x="241" y="242"/>
                  </a:lnTo>
                  <a:lnTo>
                    <a:pt x="240" y="242"/>
                  </a:lnTo>
                  <a:lnTo>
                    <a:pt x="238" y="243"/>
                  </a:lnTo>
                  <a:lnTo>
                    <a:pt x="237" y="244"/>
                  </a:lnTo>
                  <a:lnTo>
                    <a:pt x="236" y="244"/>
                  </a:lnTo>
                  <a:lnTo>
                    <a:pt x="235" y="246"/>
                  </a:lnTo>
                  <a:lnTo>
                    <a:pt x="234" y="246"/>
                  </a:lnTo>
                  <a:lnTo>
                    <a:pt x="234" y="247"/>
                  </a:lnTo>
                  <a:lnTo>
                    <a:pt x="233" y="248"/>
                  </a:lnTo>
                  <a:lnTo>
                    <a:pt x="231" y="248"/>
                  </a:lnTo>
                  <a:lnTo>
                    <a:pt x="230" y="249"/>
                  </a:lnTo>
                  <a:lnTo>
                    <a:pt x="229" y="249"/>
                  </a:lnTo>
                  <a:lnTo>
                    <a:pt x="229" y="250"/>
                  </a:lnTo>
                  <a:lnTo>
                    <a:pt x="228" y="250"/>
                  </a:lnTo>
                  <a:lnTo>
                    <a:pt x="227" y="251"/>
                  </a:lnTo>
                  <a:lnTo>
                    <a:pt x="226" y="251"/>
                  </a:lnTo>
                  <a:lnTo>
                    <a:pt x="224" y="253"/>
                  </a:lnTo>
                  <a:lnTo>
                    <a:pt x="223" y="254"/>
                  </a:lnTo>
                  <a:lnTo>
                    <a:pt x="222" y="255"/>
                  </a:lnTo>
                  <a:lnTo>
                    <a:pt x="221" y="255"/>
                  </a:lnTo>
                  <a:lnTo>
                    <a:pt x="220" y="256"/>
                  </a:lnTo>
                  <a:lnTo>
                    <a:pt x="219" y="257"/>
                  </a:lnTo>
                  <a:lnTo>
                    <a:pt x="217" y="258"/>
                  </a:lnTo>
                  <a:lnTo>
                    <a:pt x="216" y="260"/>
                  </a:lnTo>
                  <a:lnTo>
                    <a:pt x="215" y="261"/>
                  </a:lnTo>
                  <a:lnTo>
                    <a:pt x="214" y="261"/>
                  </a:lnTo>
                  <a:lnTo>
                    <a:pt x="213" y="262"/>
                  </a:lnTo>
                  <a:lnTo>
                    <a:pt x="213" y="263"/>
                  </a:lnTo>
                  <a:lnTo>
                    <a:pt x="212" y="263"/>
                  </a:lnTo>
                  <a:lnTo>
                    <a:pt x="212" y="264"/>
                  </a:lnTo>
                  <a:lnTo>
                    <a:pt x="211" y="265"/>
                  </a:lnTo>
                  <a:lnTo>
                    <a:pt x="209" y="267"/>
                  </a:lnTo>
                  <a:lnTo>
                    <a:pt x="208" y="267"/>
                  </a:lnTo>
                  <a:lnTo>
                    <a:pt x="208" y="268"/>
                  </a:lnTo>
                  <a:lnTo>
                    <a:pt x="207" y="269"/>
                  </a:lnTo>
                  <a:lnTo>
                    <a:pt x="206" y="270"/>
                  </a:lnTo>
                  <a:lnTo>
                    <a:pt x="205" y="270"/>
                  </a:lnTo>
                  <a:lnTo>
                    <a:pt x="205" y="271"/>
                  </a:lnTo>
                  <a:lnTo>
                    <a:pt x="204" y="272"/>
                  </a:lnTo>
                  <a:lnTo>
                    <a:pt x="202" y="272"/>
                  </a:lnTo>
                  <a:lnTo>
                    <a:pt x="201" y="274"/>
                  </a:lnTo>
                  <a:lnTo>
                    <a:pt x="201" y="275"/>
                  </a:lnTo>
                  <a:lnTo>
                    <a:pt x="200" y="276"/>
                  </a:lnTo>
                  <a:lnTo>
                    <a:pt x="199" y="276"/>
                  </a:lnTo>
                  <a:lnTo>
                    <a:pt x="198" y="277"/>
                  </a:lnTo>
                  <a:lnTo>
                    <a:pt x="198" y="278"/>
                  </a:lnTo>
                  <a:lnTo>
                    <a:pt x="197" y="278"/>
                  </a:lnTo>
                  <a:lnTo>
                    <a:pt x="197" y="279"/>
                  </a:lnTo>
                  <a:lnTo>
                    <a:pt x="194" y="279"/>
                  </a:lnTo>
                  <a:lnTo>
                    <a:pt x="193" y="279"/>
                  </a:lnTo>
                  <a:lnTo>
                    <a:pt x="190" y="281"/>
                  </a:lnTo>
                  <a:lnTo>
                    <a:pt x="187" y="281"/>
                  </a:lnTo>
                  <a:lnTo>
                    <a:pt x="186" y="282"/>
                  </a:lnTo>
                  <a:lnTo>
                    <a:pt x="183" y="282"/>
                  </a:lnTo>
                  <a:lnTo>
                    <a:pt x="180" y="283"/>
                  </a:lnTo>
                  <a:lnTo>
                    <a:pt x="178" y="283"/>
                  </a:lnTo>
                  <a:lnTo>
                    <a:pt x="176" y="284"/>
                  </a:lnTo>
                  <a:lnTo>
                    <a:pt x="173" y="284"/>
                  </a:lnTo>
                  <a:lnTo>
                    <a:pt x="171" y="284"/>
                  </a:lnTo>
                  <a:lnTo>
                    <a:pt x="169" y="285"/>
                  </a:lnTo>
                  <a:lnTo>
                    <a:pt x="166" y="285"/>
                  </a:lnTo>
                  <a:lnTo>
                    <a:pt x="164" y="286"/>
                  </a:lnTo>
                  <a:lnTo>
                    <a:pt x="163" y="286"/>
                  </a:lnTo>
                  <a:lnTo>
                    <a:pt x="162" y="285"/>
                  </a:lnTo>
                  <a:lnTo>
                    <a:pt x="160" y="285"/>
                  </a:lnTo>
                  <a:lnTo>
                    <a:pt x="160" y="284"/>
                  </a:lnTo>
                  <a:lnTo>
                    <a:pt x="159" y="284"/>
                  </a:lnTo>
                  <a:lnTo>
                    <a:pt x="159" y="283"/>
                  </a:lnTo>
                  <a:lnTo>
                    <a:pt x="160" y="283"/>
                  </a:lnTo>
                  <a:lnTo>
                    <a:pt x="160" y="282"/>
                  </a:lnTo>
                  <a:lnTo>
                    <a:pt x="160" y="281"/>
                  </a:lnTo>
                  <a:lnTo>
                    <a:pt x="162" y="281"/>
                  </a:lnTo>
                  <a:lnTo>
                    <a:pt x="162" y="279"/>
                  </a:lnTo>
                  <a:lnTo>
                    <a:pt x="162" y="278"/>
                  </a:lnTo>
                  <a:lnTo>
                    <a:pt x="160" y="277"/>
                  </a:lnTo>
                  <a:lnTo>
                    <a:pt x="162" y="274"/>
                  </a:lnTo>
                  <a:lnTo>
                    <a:pt x="160" y="272"/>
                  </a:lnTo>
                  <a:lnTo>
                    <a:pt x="159" y="272"/>
                  </a:lnTo>
                  <a:lnTo>
                    <a:pt x="157" y="271"/>
                  </a:lnTo>
                  <a:lnTo>
                    <a:pt x="153" y="270"/>
                  </a:lnTo>
                  <a:lnTo>
                    <a:pt x="152" y="270"/>
                  </a:lnTo>
                  <a:lnTo>
                    <a:pt x="151" y="270"/>
                  </a:lnTo>
                  <a:lnTo>
                    <a:pt x="151" y="269"/>
                  </a:lnTo>
                  <a:lnTo>
                    <a:pt x="150" y="269"/>
                  </a:lnTo>
                  <a:lnTo>
                    <a:pt x="149" y="268"/>
                  </a:lnTo>
                  <a:lnTo>
                    <a:pt x="149" y="267"/>
                  </a:lnTo>
                  <a:lnTo>
                    <a:pt x="148" y="265"/>
                  </a:lnTo>
                  <a:lnTo>
                    <a:pt x="147" y="265"/>
                  </a:lnTo>
                  <a:lnTo>
                    <a:pt x="145" y="267"/>
                  </a:lnTo>
                  <a:lnTo>
                    <a:pt x="144" y="267"/>
                  </a:lnTo>
                  <a:lnTo>
                    <a:pt x="143" y="267"/>
                  </a:lnTo>
                  <a:lnTo>
                    <a:pt x="143" y="265"/>
                  </a:lnTo>
                  <a:lnTo>
                    <a:pt x="142" y="265"/>
                  </a:lnTo>
                  <a:lnTo>
                    <a:pt x="140" y="264"/>
                  </a:lnTo>
                  <a:lnTo>
                    <a:pt x="140" y="263"/>
                  </a:lnTo>
                  <a:lnTo>
                    <a:pt x="140" y="262"/>
                  </a:lnTo>
                  <a:lnTo>
                    <a:pt x="138" y="261"/>
                  </a:lnTo>
                  <a:lnTo>
                    <a:pt x="137" y="261"/>
                  </a:lnTo>
                  <a:lnTo>
                    <a:pt x="137" y="260"/>
                  </a:lnTo>
                  <a:lnTo>
                    <a:pt x="136" y="260"/>
                  </a:lnTo>
                  <a:lnTo>
                    <a:pt x="135" y="260"/>
                  </a:lnTo>
                  <a:lnTo>
                    <a:pt x="135" y="258"/>
                  </a:lnTo>
                  <a:lnTo>
                    <a:pt x="134" y="258"/>
                  </a:lnTo>
                  <a:lnTo>
                    <a:pt x="133" y="258"/>
                  </a:lnTo>
                  <a:lnTo>
                    <a:pt x="133" y="257"/>
                  </a:lnTo>
                  <a:lnTo>
                    <a:pt x="134" y="256"/>
                  </a:lnTo>
                  <a:lnTo>
                    <a:pt x="134" y="254"/>
                  </a:lnTo>
                  <a:lnTo>
                    <a:pt x="133" y="253"/>
                  </a:lnTo>
                  <a:lnTo>
                    <a:pt x="131" y="251"/>
                  </a:lnTo>
                  <a:lnTo>
                    <a:pt x="130" y="250"/>
                  </a:lnTo>
                  <a:lnTo>
                    <a:pt x="129" y="249"/>
                  </a:lnTo>
                  <a:lnTo>
                    <a:pt x="128" y="249"/>
                  </a:lnTo>
                  <a:lnTo>
                    <a:pt x="127" y="248"/>
                  </a:lnTo>
                  <a:lnTo>
                    <a:pt x="126" y="247"/>
                  </a:lnTo>
                  <a:lnTo>
                    <a:pt x="124" y="246"/>
                  </a:lnTo>
                  <a:lnTo>
                    <a:pt x="123" y="246"/>
                  </a:lnTo>
                  <a:lnTo>
                    <a:pt x="122" y="244"/>
                  </a:lnTo>
                  <a:lnTo>
                    <a:pt x="121" y="243"/>
                  </a:lnTo>
                  <a:lnTo>
                    <a:pt x="120" y="242"/>
                  </a:lnTo>
                  <a:lnTo>
                    <a:pt x="119" y="242"/>
                  </a:lnTo>
                  <a:lnTo>
                    <a:pt x="117" y="241"/>
                  </a:lnTo>
                  <a:lnTo>
                    <a:pt x="116" y="240"/>
                  </a:lnTo>
                  <a:lnTo>
                    <a:pt x="115" y="239"/>
                  </a:lnTo>
                  <a:lnTo>
                    <a:pt x="114" y="237"/>
                  </a:lnTo>
                  <a:lnTo>
                    <a:pt x="113" y="237"/>
                  </a:lnTo>
                  <a:lnTo>
                    <a:pt x="112" y="236"/>
                  </a:lnTo>
                  <a:lnTo>
                    <a:pt x="110" y="235"/>
                  </a:lnTo>
                  <a:lnTo>
                    <a:pt x="109" y="234"/>
                  </a:lnTo>
                  <a:lnTo>
                    <a:pt x="108" y="234"/>
                  </a:lnTo>
                  <a:lnTo>
                    <a:pt x="107" y="233"/>
                  </a:lnTo>
                  <a:lnTo>
                    <a:pt x="106" y="232"/>
                  </a:lnTo>
                  <a:lnTo>
                    <a:pt x="103" y="230"/>
                  </a:lnTo>
                  <a:lnTo>
                    <a:pt x="102" y="230"/>
                  </a:lnTo>
                  <a:lnTo>
                    <a:pt x="101" y="229"/>
                  </a:lnTo>
                  <a:lnTo>
                    <a:pt x="100" y="228"/>
                  </a:lnTo>
                  <a:lnTo>
                    <a:pt x="99" y="227"/>
                  </a:lnTo>
                  <a:lnTo>
                    <a:pt x="98" y="226"/>
                  </a:lnTo>
                  <a:lnTo>
                    <a:pt x="96" y="226"/>
                  </a:lnTo>
                  <a:lnTo>
                    <a:pt x="95" y="225"/>
                  </a:lnTo>
                  <a:lnTo>
                    <a:pt x="94" y="223"/>
                  </a:lnTo>
                  <a:lnTo>
                    <a:pt x="93" y="222"/>
                  </a:lnTo>
                  <a:lnTo>
                    <a:pt x="92" y="222"/>
                  </a:lnTo>
                  <a:lnTo>
                    <a:pt x="91" y="221"/>
                  </a:lnTo>
                  <a:lnTo>
                    <a:pt x="89" y="220"/>
                  </a:lnTo>
                  <a:lnTo>
                    <a:pt x="88" y="219"/>
                  </a:lnTo>
                  <a:lnTo>
                    <a:pt x="87" y="219"/>
                  </a:lnTo>
                  <a:lnTo>
                    <a:pt x="86" y="218"/>
                  </a:lnTo>
                  <a:lnTo>
                    <a:pt x="85" y="216"/>
                  </a:lnTo>
                  <a:lnTo>
                    <a:pt x="84" y="215"/>
                  </a:lnTo>
                  <a:lnTo>
                    <a:pt x="83" y="214"/>
                  </a:lnTo>
                  <a:lnTo>
                    <a:pt x="81" y="214"/>
                  </a:lnTo>
                  <a:lnTo>
                    <a:pt x="80" y="213"/>
                  </a:lnTo>
                  <a:lnTo>
                    <a:pt x="79" y="212"/>
                  </a:lnTo>
                  <a:lnTo>
                    <a:pt x="78" y="211"/>
                  </a:lnTo>
                  <a:lnTo>
                    <a:pt x="77" y="211"/>
                  </a:lnTo>
                  <a:lnTo>
                    <a:pt x="76" y="209"/>
                  </a:lnTo>
                  <a:lnTo>
                    <a:pt x="74" y="208"/>
                  </a:lnTo>
                  <a:lnTo>
                    <a:pt x="73" y="207"/>
                  </a:lnTo>
                  <a:lnTo>
                    <a:pt x="72" y="207"/>
                  </a:lnTo>
                  <a:lnTo>
                    <a:pt x="71" y="206"/>
                  </a:lnTo>
                  <a:lnTo>
                    <a:pt x="71" y="205"/>
                  </a:lnTo>
                  <a:lnTo>
                    <a:pt x="70" y="205"/>
                  </a:lnTo>
                  <a:lnTo>
                    <a:pt x="69" y="204"/>
                  </a:lnTo>
                  <a:lnTo>
                    <a:pt x="67" y="202"/>
                  </a:lnTo>
                  <a:lnTo>
                    <a:pt x="66" y="201"/>
                  </a:lnTo>
                  <a:lnTo>
                    <a:pt x="65" y="201"/>
                  </a:lnTo>
                  <a:lnTo>
                    <a:pt x="64" y="200"/>
                  </a:lnTo>
                  <a:lnTo>
                    <a:pt x="63" y="199"/>
                  </a:lnTo>
                  <a:lnTo>
                    <a:pt x="62" y="199"/>
                  </a:lnTo>
                  <a:lnTo>
                    <a:pt x="60" y="198"/>
                  </a:lnTo>
                  <a:lnTo>
                    <a:pt x="59" y="197"/>
                  </a:lnTo>
                  <a:lnTo>
                    <a:pt x="58" y="197"/>
                  </a:lnTo>
                  <a:lnTo>
                    <a:pt x="57" y="195"/>
                  </a:lnTo>
                  <a:lnTo>
                    <a:pt x="56" y="194"/>
                  </a:lnTo>
                  <a:lnTo>
                    <a:pt x="55" y="193"/>
                  </a:lnTo>
                  <a:lnTo>
                    <a:pt x="53" y="193"/>
                  </a:lnTo>
                  <a:lnTo>
                    <a:pt x="52" y="192"/>
                  </a:lnTo>
                  <a:lnTo>
                    <a:pt x="52" y="191"/>
                  </a:lnTo>
                  <a:lnTo>
                    <a:pt x="50" y="190"/>
                  </a:lnTo>
                  <a:lnTo>
                    <a:pt x="48" y="187"/>
                  </a:lnTo>
                  <a:lnTo>
                    <a:pt x="45" y="186"/>
                  </a:lnTo>
                  <a:lnTo>
                    <a:pt x="43" y="184"/>
                  </a:lnTo>
                  <a:lnTo>
                    <a:pt x="41" y="183"/>
                  </a:lnTo>
                  <a:lnTo>
                    <a:pt x="38" y="181"/>
                  </a:lnTo>
                  <a:lnTo>
                    <a:pt x="36" y="180"/>
                  </a:lnTo>
                  <a:lnTo>
                    <a:pt x="34" y="178"/>
                  </a:lnTo>
                  <a:lnTo>
                    <a:pt x="31" y="177"/>
                  </a:lnTo>
                  <a:lnTo>
                    <a:pt x="29" y="176"/>
                  </a:lnTo>
                  <a:lnTo>
                    <a:pt x="27" y="173"/>
                  </a:lnTo>
                  <a:lnTo>
                    <a:pt x="24" y="171"/>
                  </a:lnTo>
                  <a:lnTo>
                    <a:pt x="21" y="170"/>
                  </a:lnTo>
                  <a:lnTo>
                    <a:pt x="19" y="167"/>
                  </a:lnTo>
                  <a:lnTo>
                    <a:pt x="16" y="166"/>
                  </a:lnTo>
                  <a:lnTo>
                    <a:pt x="13" y="164"/>
                  </a:lnTo>
                  <a:lnTo>
                    <a:pt x="10" y="162"/>
                  </a:lnTo>
                  <a:lnTo>
                    <a:pt x="8" y="160"/>
                  </a:lnTo>
                  <a:lnTo>
                    <a:pt x="6" y="158"/>
                  </a:lnTo>
                  <a:lnTo>
                    <a:pt x="2" y="157"/>
                  </a:lnTo>
                  <a:lnTo>
                    <a:pt x="0" y="155"/>
                  </a:lnTo>
                  <a:lnTo>
                    <a:pt x="0" y="153"/>
                  </a:lnTo>
                  <a:lnTo>
                    <a:pt x="0" y="152"/>
                  </a:lnTo>
                  <a:lnTo>
                    <a:pt x="0" y="150"/>
                  </a:lnTo>
                  <a:lnTo>
                    <a:pt x="0" y="149"/>
                  </a:lnTo>
                  <a:lnTo>
                    <a:pt x="0" y="148"/>
                  </a:lnTo>
                  <a:lnTo>
                    <a:pt x="0" y="146"/>
                  </a:lnTo>
                  <a:lnTo>
                    <a:pt x="0" y="145"/>
                  </a:lnTo>
                  <a:lnTo>
                    <a:pt x="0" y="144"/>
                  </a:lnTo>
                  <a:lnTo>
                    <a:pt x="0" y="143"/>
                  </a:lnTo>
                  <a:lnTo>
                    <a:pt x="0" y="142"/>
                  </a:lnTo>
                  <a:lnTo>
                    <a:pt x="0" y="141"/>
                  </a:lnTo>
                  <a:lnTo>
                    <a:pt x="0" y="139"/>
                  </a:lnTo>
                  <a:lnTo>
                    <a:pt x="0" y="138"/>
                  </a:lnTo>
                  <a:lnTo>
                    <a:pt x="0" y="137"/>
                  </a:lnTo>
                  <a:lnTo>
                    <a:pt x="0" y="136"/>
                  </a:lnTo>
                  <a:lnTo>
                    <a:pt x="0" y="135"/>
                  </a:lnTo>
                  <a:lnTo>
                    <a:pt x="0" y="134"/>
                  </a:lnTo>
                  <a:lnTo>
                    <a:pt x="0" y="132"/>
                  </a:lnTo>
                  <a:lnTo>
                    <a:pt x="1" y="132"/>
                  </a:lnTo>
                  <a:lnTo>
                    <a:pt x="2" y="131"/>
                  </a:lnTo>
                  <a:lnTo>
                    <a:pt x="3" y="130"/>
                  </a:lnTo>
                  <a:lnTo>
                    <a:pt x="5" y="130"/>
                  </a:lnTo>
                  <a:lnTo>
                    <a:pt x="5" y="129"/>
                  </a:lnTo>
                  <a:lnTo>
                    <a:pt x="6" y="129"/>
                  </a:lnTo>
                  <a:lnTo>
                    <a:pt x="7" y="128"/>
                  </a:lnTo>
                  <a:lnTo>
                    <a:pt x="7" y="127"/>
                  </a:lnTo>
                  <a:lnTo>
                    <a:pt x="9" y="127"/>
                  </a:lnTo>
                  <a:lnTo>
                    <a:pt x="10" y="124"/>
                  </a:lnTo>
                  <a:lnTo>
                    <a:pt x="12" y="124"/>
                  </a:lnTo>
                  <a:lnTo>
                    <a:pt x="13" y="123"/>
                  </a:lnTo>
                  <a:lnTo>
                    <a:pt x="14" y="123"/>
                  </a:lnTo>
                  <a:lnTo>
                    <a:pt x="15" y="122"/>
                  </a:lnTo>
                  <a:lnTo>
                    <a:pt x="16" y="122"/>
                  </a:lnTo>
                  <a:lnTo>
                    <a:pt x="17" y="122"/>
                  </a:lnTo>
                  <a:lnTo>
                    <a:pt x="19" y="122"/>
                  </a:lnTo>
                  <a:lnTo>
                    <a:pt x="20" y="121"/>
                  </a:lnTo>
                  <a:lnTo>
                    <a:pt x="21" y="120"/>
                  </a:lnTo>
                  <a:lnTo>
                    <a:pt x="22" y="120"/>
                  </a:lnTo>
                  <a:lnTo>
                    <a:pt x="24" y="120"/>
                  </a:lnTo>
                  <a:lnTo>
                    <a:pt x="27" y="121"/>
                  </a:lnTo>
                  <a:lnTo>
                    <a:pt x="28" y="120"/>
                  </a:lnTo>
                  <a:lnTo>
                    <a:pt x="29" y="120"/>
                  </a:lnTo>
                  <a:lnTo>
                    <a:pt x="31" y="118"/>
                  </a:lnTo>
                  <a:lnTo>
                    <a:pt x="34" y="118"/>
                  </a:lnTo>
                  <a:lnTo>
                    <a:pt x="35" y="118"/>
                  </a:lnTo>
                  <a:lnTo>
                    <a:pt x="37" y="118"/>
                  </a:lnTo>
                  <a:lnTo>
                    <a:pt x="38" y="118"/>
                  </a:lnTo>
                  <a:lnTo>
                    <a:pt x="39" y="118"/>
                  </a:lnTo>
                  <a:lnTo>
                    <a:pt x="41" y="120"/>
                  </a:lnTo>
                  <a:lnTo>
                    <a:pt x="42" y="120"/>
                  </a:lnTo>
                  <a:lnTo>
                    <a:pt x="43" y="120"/>
                  </a:lnTo>
                  <a:lnTo>
                    <a:pt x="44" y="117"/>
                  </a:lnTo>
                  <a:lnTo>
                    <a:pt x="45" y="115"/>
                  </a:lnTo>
                  <a:lnTo>
                    <a:pt x="46" y="114"/>
                  </a:lnTo>
                  <a:lnTo>
                    <a:pt x="48" y="113"/>
                  </a:lnTo>
                  <a:lnTo>
                    <a:pt x="49" y="111"/>
                  </a:lnTo>
                  <a:lnTo>
                    <a:pt x="51" y="110"/>
                  </a:lnTo>
                  <a:lnTo>
                    <a:pt x="52" y="109"/>
                  </a:lnTo>
                  <a:lnTo>
                    <a:pt x="53" y="108"/>
                  </a:lnTo>
                  <a:lnTo>
                    <a:pt x="56" y="107"/>
                  </a:lnTo>
                  <a:lnTo>
                    <a:pt x="57" y="106"/>
                  </a:lnTo>
                  <a:lnTo>
                    <a:pt x="59" y="103"/>
                  </a:lnTo>
                  <a:lnTo>
                    <a:pt x="60" y="103"/>
                  </a:lnTo>
                  <a:lnTo>
                    <a:pt x="62" y="102"/>
                  </a:lnTo>
                  <a:lnTo>
                    <a:pt x="64" y="102"/>
                  </a:lnTo>
                  <a:lnTo>
                    <a:pt x="66" y="102"/>
                  </a:lnTo>
                  <a:lnTo>
                    <a:pt x="69" y="101"/>
                  </a:lnTo>
                  <a:lnTo>
                    <a:pt x="69" y="100"/>
                  </a:lnTo>
                  <a:lnTo>
                    <a:pt x="69" y="99"/>
                  </a:lnTo>
                  <a:lnTo>
                    <a:pt x="69" y="97"/>
                  </a:lnTo>
                  <a:lnTo>
                    <a:pt x="70" y="96"/>
                  </a:lnTo>
                  <a:lnTo>
                    <a:pt x="69" y="95"/>
                  </a:lnTo>
                  <a:lnTo>
                    <a:pt x="69" y="94"/>
                  </a:lnTo>
                  <a:lnTo>
                    <a:pt x="67" y="94"/>
                  </a:lnTo>
                  <a:lnTo>
                    <a:pt x="67" y="93"/>
                  </a:lnTo>
                  <a:lnTo>
                    <a:pt x="66" y="94"/>
                  </a:lnTo>
                  <a:lnTo>
                    <a:pt x="66" y="93"/>
                  </a:lnTo>
                  <a:lnTo>
                    <a:pt x="66" y="92"/>
                  </a:lnTo>
                  <a:lnTo>
                    <a:pt x="66" y="90"/>
                  </a:lnTo>
                  <a:lnTo>
                    <a:pt x="67" y="90"/>
                  </a:lnTo>
                  <a:lnTo>
                    <a:pt x="69" y="89"/>
                  </a:lnTo>
                  <a:lnTo>
                    <a:pt x="69" y="86"/>
                  </a:lnTo>
                  <a:lnTo>
                    <a:pt x="70" y="86"/>
                  </a:lnTo>
                  <a:lnTo>
                    <a:pt x="71" y="86"/>
                  </a:lnTo>
                  <a:lnTo>
                    <a:pt x="74" y="85"/>
                  </a:lnTo>
                  <a:lnTo>
                    <a:pt x="77" y="84"/>
                  </a:lnTo>
                  <a:lnTo>
                    <a:pt x="79" y="84"/>
                  </a:lnTo>
                  <a:lnTo>
                    <a:pt x="79" y="82"/>
                  </a:lnTo>
                  <a:lnTo>
                    <a:pt x="78" y="80"/>
                  </a:lnTo>
                  <a:lnTo>
                    <a:pt x="79" y="79"/>
                  </a:lnTo>
                  <a:lnTo>
                    <a:pt x="81" y="79"/>
                  </a:lnTo>
                  <a:lnTo>
                    <a:pt x="84" y="78"/>
                  </a:lnTo>
                  <a:lnTo>
                    <a:pt x="86" y="78"/>
                  </a:lnTo>
                  <a:lnTo>
                    <a:pt x="87" y="79"/>
                  </a:lnTo>
                  <a:lnTo>
                    <a:pt x="88" y="79"/>
                  </a:lnTo>
                  <a:lnTo>
                    <a:pt x="89" y="79"/>
                  </a:lnTo>
                  <a:lnTo>
                    <a:pt x="91" y="79"/>
                  </a:lnTo>
                  <a:lnTo>
                    <a:pt x="92" y="79"/>
                  </a:lnTo>
                  <a:lnTo>
                    <a:pt x="93" y="79"/>
                  </a:lnTo>
                  <a:lnTo>
                    <a:pt x="94" y="79"/>
                  </a:lnTo>
                  <a:lnTo>
                    <a:pt x="95" y="79"/>
                  </a:lnTo>
                  <a:lnTo>
                    <a:pt x="96" y="79"/>
                  </a:lnTo>
                  <a:lnTo>
                    <a:pt x="98" y="79"/>
                  </a:lnTo>
                  <a:lnTo>
                    <a:pt x="99" y="79"/>
                  </a:lnTo>
                  <a:lnTo>
                    <a:pt x="100" y="79"/>
                  </a:lnTo>
                  <a:lnTo>
                    <a:pt x="101" y="79"/>
                  </a:lnTo>
                  <a:lnTo>
                    <a:pt x="101" y="78"/>
                  </a:lnTo>
                  <a:lnTo>
                    <a:pt x="100" y="78"/>
                  </a:lnTo>
                  <a:lnTo>
                    <a:pt x="100" y="77"/>
                  </a:lnTo>
                  <a:lnTo>
                    <a:pt x="100" y="75"/>
                  </a:lnTo>
                  <a:lnTo>
                    <a:pt x="101" y="74"/>
                  </a:lnTo>
                  <a:lnTo>
                    <a:pt x="102" y="74"/>
                  </a:lnTo>
                  <a:lnTo>
                    <a:pt x="102" y="73"/>
                  </a:lnTo>
                  <a:lnTo>
                    <a:pt x="103" y="72"/>
                  </a:lnTo>
                  <a:lnTo>
                    <a:pt x="100" y="70"/>
                  </a:lnTo>
                  <a:lnTo>
                    <a:pt x="99" y="68"/>
                  </a:lnTo>
                  <a:lnTo>
                    <a:pt x="96" y="66"/>
                  </a:lnTo>
                  <a:lnTo>
                    <a:pt x="98" y="65"/>
                  </a:lnTo>
                  <a:lnTo>
                    <a:pt x="98" y="64"/>
                  </a:lnTo>
                  <a:lnTo>
                    <a:pt x="96" y="63"/>
                  </a:lnTo>
                  <a:lnTo>
                    <a:pt x="96" y="61"/>
                  </a:lnTo>
                  <a:lnTo>
                    <a:pt x="95" y="61"/>
                  </a:lnTo>
                  <a:lnTo>
                    <a:pt x="95" y="60"/>
                  </a:lnTo>
                  <a:lnTo>
                    <a:pt x="95" y="59"/>
                  </a:lnTo>
                  <a:lnTo>
                    <a:pt x="95" y="58"/>
                  </a:lnTo>
                  <a:lnTo>
                    <a:pt x="95" y="57"/>
                  </a:lnTo>
                  <a:lnTo>
                    <a:pt x="95" y="56"/>
                  </a:lnTo>
                  <a:lnTo>
                    <a:pt x="95" y="54"/>
                  </a:lnTo>
                  <a:lnTo>
                    <a:pt x="94" y="53"/>
                  </a:lnTo>
                  <a:lnTo>
                    <a:pt x="94" y="52"/>
                  </a:lnTo>
                  <a:lnTo>
                    <a:pt x="94" y="51"/>
                  </a:lnTo>
                  <a:lnTo>
                    <a:pt x="94" y="50"/>
                  </a:lnTo>
                  <a:lnTo>
                    <a:pt x="95" y="47"/>
                  </a:lnTo>
                  <a:lnTo>
                    <a:pt x="94" y="44"/>
                  </a:lnTo>
                  <a:lnTo>
                    <a:pt x="93" y="43"/>
                  </a:lnTo>
                  <a:lnTo>
                    <a:pt x="95" y="42"/>
                  </a:lnTo>
                  <a:lnTo>
                    <a:pt x="94" y="40"/>
                  </a:lnTo>
                  <a:lnTo>
                    <a:pt x="93" y="39"/>
                  </a:lnTo>
                  <a:lnTo>
                    <a:pt x="93" y="38"/>
                  </a:lnTo>
                  <a:lnTo>
                    <a:pt x="94" y="37"/>
                  </a:lnTo>
                  <a:lnTo>
                    <a:pt x="92" y="36"/>
                  </a:lnTo>
                  <a:lnTo>
                    <a:pt x="91" y="35"/>
                  </a:lnTo>
                  <a:lnTo>
                    <a:pt x="91" y="33"/>
                  </a:lnTo>
                  <a:lnTo>
                    <a:pt x="89" y="33"/>
                  </a:lnTo>
                  <a:lnTo>
                    <a:pt x="88" y="33"/>
                  </a:lnTo>
                  <a:lnTo>
                    <a:pt x="88" y="32"/>
                  </a:lnTo>
                  <a:lnTo>
                    <a:pt x="88" y="31"/>
                  </a:lnTo>
                  <a:lnTo>
                    <a:pt x="89" y="31"/>
                  </a:lnTo>
                  <a:lnTo>
                    <a:pt x="91" y="31"/>
                  </a:lnTo>
                  <a:lnTo>
                    <a:pt x="92" y="31"/>
                  </a:lnTo>
                  <a:lnTo>
                    <a:pt x="93" y="31"/>
                  </a:lnTo>
                  <a:lnTo>
                    <a:pt x="94" y="31"/>
                  </a:lnTo>
                  <a:lnTo>
                    <a:pt x="94" y="30"/>
                  </a:lnTo>
                  <a:lnTo>
                    <a:pt x="95" y="30"/>
                  </a:lnTo>
                  <a:lnTo>
                    <a:pt x="98" y="28"/>
                  </a:lnTo>
                  <a:lnTo>
                    <a:pt x="99" y="28"/>
                  </a:lnTo>
                  <a:lnTo>
                    <a:pt x="100" y="28"/>
                  </a:lnTo>
                  <a:lnTo>
                    <a:pt x="100" y="26"/>
                  </a:lnTo>
                  <a:lnTo>
                    <a:pt x="101" y="26"/>
                  </a:lnTo>
                  <a:lnTo>
                    <a:pt x="101" y="25"/>
                  </a:lnTo>
                  <a:lnTo>
                    <a:pt x="101" y="24"/>
                  </a:lnTo>
                  <a:lnTo>
                    <a:pt x="102" y="24"/>
                  </a:lnTo>
                  <a:lnTo>
                    <a:pt x="102" y="23"/>
                  </a:lnTo>
                  <a:lnTo>
                    <a:pt x="103" y="23"/>
                  </a:lnTo>
                  <a:lnTo>
                    <a:pt x="103" y="22"/>
                  </a:lnTo>
                  <a:lnTo>
                    <a:pt x="105" y="22"/>
                  </a:lnTo>
                  <a:lnTo>
                    <a:pt x="106" y="22"/>
                  </a:lnTo>
                  <a:lnTo>
                    <a:pt x="106" y="21"/>
                  </a:lnTo>
                  <a:lnTo>
                    <a:pt x="107" y="21"/>
                  </a:lnTo>
                  <a:lnTo>
                    <a:pt x="108" y="21"/>
                  </a:lnTo>
                  <a:lnTo>
                    <a:pt x="108" y="22"/>
                  </a:lnTo>
                  <a:lnTo>
                    <a:pt x="109" y="22"/>
                  </a:lnTo>
                  <a:lnTo>
                    <a:pt x="109" y="21"/>
                  </a:lnTo>
                  <a:lnTo>
                    <a:pt x="110" y="21"/>
                  </a:lnTo>
                  <a:lnTo>
                    <a:pt x="110" y="19"/>
                  </a:lnTo>
                  <a:lnTo>
                    <a:pt x="110" y="18"/>
                  </a:lnTo>
                  <a:lnTo>
                    <a:pt x="112" y="18"/>
                  </a:lnTo>
                  <a:lnTo>
                    <a:pt x="112" y="19"/>
                  </a:lnTo>
                  <a:lnTo>
                    <a:pt x="112" y="18"/>
                  </a:lnTo>
                  <a:lnTo>
                    <a:pt x="112" y="19"/>
                  </a:lnTo>
                  <a:lnTo>
                    <a:pt x="113" y="18"/>
                  </a:lnTo>
                  <a:lnTo>
                    <a:pt x="113" y="19"/>
                  </a:lnTo>
                  <a:lnTo>
                    <a:pt x="114" y="19"/>
                  </a:lnTo>
                  <a:lnTo>
                    <a:pt x="115" y="21"/>
                  </a:lnTo>
                  <a:lnTo>
                    <a:pt x="116" y="21"/>
                  </a:lnTo>
                  <a:lnTo>
                    <a:pt x="116" y="19"/>
                  </a:lnTo>
                  <a:lnTo>
                    <a:pt x="117" y="19"/>
                  </a:lnTo>
                  <a:lnTo>
                    <a:pt x="119" y="18"/>
                  </a:lnTo>
                  <a:lnTo>
                    <a:pt x="119" y="17"/>
                  </a:lnTo>
                  <a:lnTo>
                    <a:pt x="119" y="16"/>
                  </a:lnTo>
                  <a:lnTo>
                    <a:pt x="120" y="16"/>
                  </a:lnTo>
                  <a:lnTo>
                    <a:pt x="120" y="15"/>
                  </a:lnTo>
                  <a:lnTo>
                    <a:pt x="121" y="15"/>
                  </a:lnTo>
                  <a:lnTo>
                    <a:pt x="122" y="15"/>
                  </a:lnTo>
                  <a:lnTo>
                    <a:pt x="122" y="14"/>
                  </a:lnTo>
                  <a:lnTo>
                    <a:pt x="123" y="14"/>
                  </a:lnTo>
                  <a:lnTo>
                    <a:pt x="124" y="12"/>
                  </a:lnTo>
                  <a:lnTo>
                    <a:pt x="126" y="12"/>
                  </a:lnTo>
                  <a:lnTo>
                    <a:pt x="126" y="11"/>
                  </a:lnTo>
                  <a:lnTo>
                    <a:pt x="127" y="11"/>
                  </a:lnTo>
                  <a:lnTo>
                    <a:pt x="128" y="11"/>
                  </a:lnTo>
                  <a:lnTo>
                    <a:pt x="129" y="11"/>
                  </a:lnTo>
                  <a:lnTo>
                    <a:pt x="129" y="10"/>
                  </a:lnTo>
                  <a:lnTo>
                    <a:pt x="130" y="10"/>
                  </a:lnTo>
                  <a:lnTo>
                    <a:pt x="131" y="9"/>
                  </a:lnTo>
                  <a:lnTo>
                    <a:pt x="133" y="9"/>
                  </a:lnTo>
                  <a:lnTo>
                    <a:pt x="134" y="9"/>
                  </a:lnTo>
                  <a:lnTo>
                    <a:pt x="135" y="9"/>
                  </a:lnTo>
                  <a:lnTo>
                    <a:pt x="136" y="9"/>
                  </a:lnTo>
                  <a:lnTo>
                    <a:pt x="137" y="9"/>
                  </a:lnTo>
                  <a:lnTo>
                    <a:pt x="140" y="9"/>
                  </a:lnTo>
                  <a:lnTo>
                    <a:pt x="140" y="8"/>
                  </a:lnTo>
                  <a:lnTo>
                    <a:pt x="141" y="8"/>
                  </a:lnTo>
                  <a:lnTo>
                    <a:pt x="142" y="8"/>
                  </a:lnTo>
                  <a:lnTo>
                    <a:pt x="143" y="8"/>
                  </a:lnTo>
                  <a:lnTo>
                    <a:pt x="144" y="8"/>
                  </a:lnTo>
                  <a:lnTo>
                    <a:pt x="148" y="7"/>
                  </a:lnTo>
                  <a:lnTo>
                    <a:pt x="149" y="7"/>
                  </a:lnTo>
                  <a:lnTo>
                    <a:pt x="149" y="8"/>
                  </a:lnTo>
                  <a:lnTo>
                    <a:pt x="151" y="8"/>
                  </a:lnTo>
                  <a:lnTo>
                    <a:pt x="152" y="7"/>
                  </a:lnTo>
                  <a:lnTo>
                    <a:pt x="153" y="7"/>
                  </a:lnTo>
                  <a:lnTo>
                    <a:pt x="153" y="5"/>
                  </a:lnTo>
                  <a:lnTo>
                    <a:pt x="155" y="5"/>
                  </a:lnTo>
                  <a:lnTo>
                    <a:pt x="155" y="4"/>
                  </a:lnTo>
                  <a:lnTo>
                    <a:pt x="156" y="4"/>
                  </a:lnTo>
                  <a:lnTo>
                    <a:pt x="157" y="4"/>
                  </a:lnTo>
                  <a:lnTo>
                    <a:pt x="158" y="5"/>
                  </a:lnTo>
                  <a:lnTo>
                    <a:pt x="159" y="5"/>
                  </a:lnTo>
                  <a:lnTo>
                    <a:pt x="159" y="4"/>
                  </a:lnTo>
                  <a:lnTo>
                    <a:pt x="160" y="4"/>
                  </a:lnTo>
                  <a:lnTo>
                    <a:pt x="163" y="4"/>
                  </a:lnTo>
                  <a:lnTo>
                    <a:pt x="164" y="4"/>
                  </a:lnTo>
                  <a:lnTo>
                    <a:pt x="165" y="4"/>
                  </a:lnTo>
                  <a:lnTo>
                    <a:pt x="165" y="3"/>
                  </a:lnTo>
                  <a:lnTo>
                    <a:pt x="166" y="3"/>
                  </a:lnTo>
                  <a:lnTo>
                    <a:pt x="167" y="3"/>
                  </a:lnTo>
                  <a:lnTo>
                    <a:pt x="169" y="3"/>
                  </a:lnTo>
                  <a:lnTo>
                    <a:pt x="170" y="3"/>
                  </a:lnTo>
                  <a:lnTo>
                    <a:pt x="171" y="3"/>
                  </a:lnTo>
                  <a:lnTo>
                    <a:pt x="172" y="3"/>
                  </a:lnTo>
                  <a:lnTo>
                    <a:pt x="173" y="3"/>
                  </a:lnTo>
                  <a:lnTo>
                    <a:pt x="176" y="3"/>
                  </a:lnTo>
                  <a:lnTo>
                    <a:pt x="177" y="3"/>
                  </a:lnTo>
                  <a:lnTo>
                    <a:pt x="178" y="3"/>
                  </a:lnTo>
                  <a:lnTo>
                    <a:pt x="179" y="3"/>
                  </a:lnTo>
                  <a:lnTo>
                    <a:pt x="181" y="4"/>
                  </a:lnTo>
                  <a:lnTo>
                    <a:pt x="183" y="4"/>
                  </a:lnTo>
                  <a:lnTo>
                    <a:pt x="184" y="4"/>
                  </a:lnTo>
                  <a:lnTo>
                    <a:pt x="184" y="5"/>
                  </a:lnTo>
                  <a:lnTo>
                    <a:pt x="186" y="7"/>
                  </a:lnTo>
                  <a:lnTo>
                    <a:pt x="187" y="7"/>
                  </a:lnTo>
                  <a:lnTo>
                    <a:pt x="188" y="7"/>
                  </a:lnTo>
                  <a:lnTo>
                    <a:pt x="190" y="5"/>
                  </a:lnTo>
                  <a:lnTo>
                    <a:pt x="191" y="4"/>
                  </a:lnTo>
                  <a:lnTo>
                    <a:pt x="192" y="4"/>
                  </a:lnTo>
                  <a:lnTo>
                    <a:pt x="193" y="4"/>
                  </a:lnTo>
                  <a:lnTo>
                    <a:pt x="194" y="4"/>
                  </a:lnTo>
                  <a:lnTo>
                    <a:pt x="195" y="3"/>
                  </a:lnTo>
                  <a:lnTo>
                    <a:pt x="198" y="3"/>
                  </a:lnTo>
                  <a:lnTo>
                    <a:pt x="199" y="2"/>
                  </a:lnTo>
                  <a:lnTo>
                    <a:pt x="199" y="1"/>
                  </a:lnTo>
                  <a:lnTo>
                    <a:pt x="200" y="1"/>
                  </a:lnTo>
                  <a:lnTo>
                    <a:pt x="200" y="0"/>
                  </a:lnTo>
                  <a:lnTo>
                    <a:pt x="201" y="0"/>
                  </a:lnTo>
                  <a:lnTo>
                    <a:pt x="202" y="0"/>
                  </a:lnTo>
                  <a:lnTo>
                    <a:pt x="202" y="1"/>
                  </a:lnTo>
                  <a:lnTo>
                    <a:pt x="204" y="2"/>
                  </a:lnTo>
                  <a:lnTo>
                    <a:pt x="205" y="2"/>
                  </a:lnTo>
                  <a:lnTo>
                    <a:pt x="206" y="2"/>
                  </a:lnTo>
                  <a:lnTo>
                    <a:pt x="207" y="2"/>
                  </a:lnTo>
                  <a:lnTo>
                    <a:pt x="207" y="3"/>
                  </a:lnTo>
                  <a:lnTo>
                    <a:pt x="208" y="3"/>
                  </a:lnTo>
                  <a:lnTo>
                    <a:pt x="209" y="3"/>
                  </a:lnTo>
                  <a:lnTo>
                    <a:pt x="209" y="2"/>
                  </a:lnTo>
                  <a:lnTo>
                    <a:pt x="211" y="3"/>
                  </a:lnTo>
                  <a:lnTo>
                    <a:pt x="211" y="2"/>
                  </a:lnTo>
                  <a:lnTo>
                    <a:pt x="212" y="2"/>
                  </a:lnTo>
                  <a:lnTo>
                    <a:pt x="212" y="1"/>
                  </a:lnTo>
                  <a:lnTo>
                    <a:pt x="211" y="0"/>
                  </a:lnTo>
                  <a:lnTo>
                    <a:pt x="212" y="0"/>
                  </a:lnTo>
                  <a:lnTo>
                    <a:pt x="213" y="0"/>
                  </a:lnTo>
                  <a:lnTo>
                    <a:pt x="214" y="0"/>
                  </a:lnTo>
                  <a:lnTo>
                    <a:pt x="214" y="1"/>
                  </a:lnTo>
                  <a:lnTo>
                    <a:pt x="215" y="1"/>
                  </a:lnTo>
                  <a:lnTo>
                    <a:pt x="216" y="2"/>
                  </a:lnTo>
                  <a:lnTo>
                    <a:pt x="217" y="2"/>
                  </a:lnTo>
                  <a:lnTo>
                    <a:pt x="219" y="2"/>
                  </a:lnTo>
                  <a:lnTo>
                    <a:pt x="219" y="1"/>
                  </a:lnTo>
                  <a:lnTo>
                    <a:pt x="219" y="2"/>
                  </a:lnTo>
                  <a:lnTo>
                    <a:pt x="219" y="3"/>
                  </a:lnTo>
                  <a:lnTo>
                    <a:pt x="220" y="3"/>
                  </a:lnTo>
                  <a:lnTo>
                    <a:pt x="222" y="3"/>
                  </a:lnTo>
                  <a:lnTo>
                    <a:pt x="224" y="2"/>
                  </a:lnTo>
                  <a:lnTo>
                    <a:pt x="226" y="2"/>
                  </a:lnTo>
                  <a:lnTo>
                    <a:pt x="227" y="3"/>
                  </a:lnTo>
                  <a:lnTo>
                    <a:pt x="227" y="2"/>
                  </a:lnTo>
                  <a:lnTo>
                    <a:pt x="227" y="3"/>
                  </a:lnTo>
                  <a:lnTo>
                    <a:pt x="228" y="3"/>
                  </a:lnTo>
                  <a:lnTo>
                    <a:pt x="229"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25" name="Freeform 879">
              <a:extLst>
                <a:ext uri="{FF2B5EF4-FFF2-40B4-BE49-F238E27FC236}">
                  <a16:creationId xmlns:a16="http://schemas.microsoft.com/office/drawing/2014/main" id="{BA4A201B-B09F-44CA-9940-5E4BE1369755}"/>
                </a:ext>
              </a:extLst>
            </p:cNvPr>
            <p:cNvSpPr>
              <a:spLocks noEditPoints="1"/>
            </p:cNvSpPr>
            <p:nvPr/>
          </p:nvSpPr>
          <p:spPr bwMode="auto">
            <a:xfrm>
              <a:off x="4095668" y="3317811"/>
              <a:ext cx="309833" cy="136220"/>
            </a:xfrm>
            <a:custGeom>
              <a:avLst/>
              <a:gdLst>
                <a:gd name="T0" fmla="*/ 164 w 232"/>
                <a:gd name="T1" fmla="*/ 65 h 102"/>
                <a:gd name="T2" fmla="*/ 165 w 232"/>
                <a:gd name="T3" fmla="*/ 69 h 102"/>
                <a:gd name="T4" fmla="*/ 30 w 232"/>
                <a:gd name="T5" fmla="*/ 44 h 102"/>
                <a:gd name="T6" fmla="*/ 21 w 232"/>
                <a:gd name="T7" fmla="*/ 43 h 102"/>
                <a:gd name="T8" fmla="*/ 35 w 232"/>
                <a:gd name="T9" fmla="*/ 35 h 102"/>
                <a:gd name="T10" fmla="*/ 34 w 232"/>
                <a:gd name="T11" fmla="*/ 34 h 102"/>
                <a:gd name="T12" fmla="*/ 21 w 232"/>
                <a:gd name="T13" fmla="*/ 35 h 102"/>
                <a:gd name="T14" fmla="*/ 22 w 232"/>
                <a:gd name="T15" fmla="*/ 30 h 102"/>
                <a:gd name="T16" fmla="*/ 3 w 232"/>
                <a:gd name="T17" fmla="*/ 27 h 102"/>
                <a:gd name="T18" fmla="*/ 19 w 232"/>
                <a:gd name="T19" fmla="*/ 27 h 102"/>
                <a:gd name="T20" fmla="*/ 14 w 232"/>
                <a:gd name="T21" fmla="*/ 25 h 102"/>
                <a:gd name="T22" fmla="*/ 10 w 232"/>
                <a:gd name="T23" fmla="*/ 26 h 102"/>
                <a:gd name="T24" fmla="*/ 13 w 232"/>
                <a:gd name="T25" fmla="*/ 32 h 102"/>
                <a:gd name="T26" fmla="*/ 13 w 232"/>
                <a:gd name="T27" fmla="*/ 37 h 102"/>
                <a:gd name="T28" fmla="*/ 5 w 232"/>
                <a:gd name="T29" fmla="*/ 37 h 102"/>
                <a:gd name="T30" fmla="*/ 11 w 232"/>
                <a:gd name="T31" fmla="*/ 33 h 102"/>
                <a:gd name="T32" fmla="*/ 6 w 232"/>
                <a:gd name="T33" fmla="*/ 26 h 102"/>
                <a:gd name="T34" fmla="*/ 5 w 232"/>
                <a:gd name="T35" fmla="*/ 21 h 102"/>
                <a:gd name="T36" fmla="*/ 20 w 232"/>
                <a:gd name="T37" fmla="*/ 18 h 102"/>
                <a:gd name="T38" fmla="*/ 181 w 232"/>
                <a:gd name="T39" fmla="*/ 4 h 102"/>
                <a:gd name="T40" fmla="*/ 185 w 232"/>
                <a:gd name="T41" fmla="*/ 4 h 102"/>
                <a:gd name="T42" fmla="*/ 195 w 232"/>
                <a:gd name="T43" fmla="*/ 9 h 102"/>
                <a:gd name="T44" fmla="*/ 202 w 232"/>
                <a:gd name="T45" fmla="*/ 13 h 102"/>
                <a:gd name="T46" fmla="*/ 209 w 232"/>
                <a:gd name="T47" fmla="*/ 19 h 102"/>
                <a:gd name="T48" fmla="*/ 217 w 232"/>
                <a:gd name="T49" fmla="*/ 16 h 102"/>
                <a:gd name="T50" fmla="*/ 221 w 232"/>
                <a:gd name="T51" fmla="*/ 20 h 102"/>
                <a:gd name="T52" fmla="*/ 228 w 232"/>
                <a:gd name="T53" fmla="*/ 23 h 102"/>
                <a:gd name="T54" fmla="*/ 228 w 232"/>
                <a:gd name="T55" fmla="*/ 25 h 102"/>
                <a:gd name="T56" fmla="*/ 229 w 232"/>
                <a:gd name="T57" fmla="*/ 30 h 102"/>
                <a:gd name="T58" fmla="*/ 232 w 232"/>
                <a:gd name="T59" fmla="*/ 39 h 102"/>
                <a:gd name="T60" fmla="*/ 227 w 232"/>
                <a:gd name="T61" fmla="*/ 47 h 102"/>
                <a:gd name="T62" fmla="*/ 221 w 232"/>
                <a:gd name="T63" fmla="*/ 55 h 102"/>
                <a:gd name="T64" fmla="*/ 212 w 232"/>
                <a:gd name="T65" fmla="*/ 63 h 102"/>
                <a:gd name="T66" fmla="*/ 197 w 232"/>
                <a:gd name="T67" fmla="*/ 69 h 102"/>
                <a:gd name="T68" fmla="*/ 192 w 232"/>
                <a:gd name="T69" fmla="*/ 77 h 102"/>
                <a:gd name="T70" fmla="*/ 189 w 232"/>
                <a:gd name="T71" fmla="*/ 79 h 102"/>
                <a:gd name="T72" fmla="*/ 186 w 232"/>
                <a:gd name="T73" fmla="*/ 88 h 102"/>
                <a:gd name="T74" fmla="*/ 182 w 232"/>
                <a:gd name="T75" fmla="*/ 97 h 102"/>
                <a:gd name="T76" fmla="*/ 176 w 232"/>
                <a:gd name="T77" fmla="*/ 100 h 102"/>
                <a:gd name="T78" fmla="*/ 171 w 232"/>
                <a:gd name="T79" fmla="*/ 93 h 102"/>
                <a:gd name="T80" fmla="*/ 163 w 232"/>
                <a:gd name="T81" fmla="*/ 91 h 102"/>
                <a:gd name="T82" fmla="*/ 161 w 232"/>
                <a:gd name="T83" fmla="*/ 90 h 102"/>
                <a:gd name="T84" fmla="*/ 163 w 232"/>
                <a:gd name="T85" fmla="*/ 85 h 102"/>
                <a:gd name="T86" fmla="*/ 162 w 232"/>
                <a:gd name="T87" fmla="*/ 77 h 102"/>
                <a:gd name="T88" fmla="*/ 164 w 232"/>
                <a:gd name="T89" fmla="*/ 76 h 102"/>
                <a:gd name="T90" fmla="*/ 168 w 232"/>
                <a:gd name="T91" fmla="*/ 69 h 102"/>
                <a:gd name="T92" fmla="*/ 168 w 232"/>
                <a:gd name="T93" fmla="*/ 60 h 102"/>
                <a:gd name="T94" fmla="*/ 168 w 232"/>
                <a:gd name="T95" fmla="*/ 58 h 102"/>
                <a:gd name="T96" fmla="*/ 167 w 232"/>
                <a:gd name="T97" fmla="*/ 62 h 102"/>
                <a:gd name="T98" fmla="*/ 163 w 232"/>
                <a:gd name="T99" fmla="*/ 64 h 102"/>
                <a:gd name="T100" fmla="*/ 154 w 232"/>
                <a:gd name="T101" fmla="*/ 60 h 102"/>
                <a:gd name="T102" fmla="*/ 155 w 232"/>
                <a:gd name="T103" fmla="*/ 53 h 102"/>
                <a:gd name="T104" fmla="*/ 154 w 232"/>
                <a:gd name="T105" fmla="*/ 42 h 102"/>
                <a:gd name="T106" fmla="*/ 157 w 232"/>
                <a:gd name="T107" fmla="*/ 36 h 102"/>
                <a:gd name="T108" fmla="*/ 160 w 232"/>
                <a:gd name="T109" fmla="*/ 33 h 102"/>
                <a:gd name="T110" fmla="*/ 162 w 232"/>
                <a:gd name="T111" fmla="*/ 25 h 102"/>
                <a:gd name="T112" fmla="*/ 165 w 232"/>
                <a:gd name="T113" fmla="*/ 15 h 102"/>
                <a:gd name="T114" fmla="*/ 167 w 232"/>
                <a:gd name="T115" fmla="*/ 9 h 102"/>
                <a:gd name="T116" fmla="*/ 171 w 232"/>
                <a:gd name="T117" fmla="*/ 7 h 102"/>
                <a:gd name="T118" fmla="*/ 179 w 232"/>
                <a:gd name="T119" fmla="*/ 5 h 102"/>
                <a:gd name="T120" fmla="*/ 182 w 232"/>
                <a:gd name="T121"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2" h="102">
                  <a:moveTo>
                    <a:pt x="164" y="70"/>
                  </a:moveTo>
                  <a:lnTo>
                    <a:pt x="163" y="70"/>
                  </a:lnTo>
                  <a:lnTo>
                    <a:pt x="163" y="71"/>
                  </a:lnTo>
                  <a:lnTo>
                    <a:pt x="163" y="70"/>
                  </a:lnTo>
                  <a:lnTo>
                    <a:pt x="162" y="70"/>
                  </a:lnTo>
                  <a:lnTo>
                    <a:pt x="162" y="68"/>
                  </a:lnTo>
                  <a:lnTo>
                    <a:pt x="163" y="67"/>
                  </a:lnTo>
                  <a:lnTo>
                    <a:pt x="163" y="65"/>
                  </a:lnTo>
                  <a:lnTo>
                    <a:pt x="164" y="65"/>
                  </a:lnTo>
                  <a:lnTo>
                    <a:pt x="165" y="64"/>
                  </a:lnTo>
                  <a:lnTo>
                    <a:pt x="165" y="65"/>
                  </a:lnTo>
                  <a:lnTo>
                    <a:pt x="167" y="65"/>
                  </a:lnTo>
                  <a:lnTo>
                    <a:pt x="168" y="65"/>
                  </a:lnTo>
                  <a:lnTo>
                    <a:pt x="167" y="65"/>
                  </a:lnTo>
                  <a:lnTo>
                    <a:pt x="167" y="67"/>
                  </a:lnTo>
                  <a:lnTo>
                    <a:pt x="165" y="67"/>
                  </a:lnTo>
                  <a:lnTo>
                    <a:pt x="165" y="68"/>
                  </a:lnTo>
                  <a:lnTo>
                    <a:pt x="165" y="69"/>
                  </a:lnTo>
                  <a:lnTo>
                    <a:pt x="164" y="69"/>
                  </a:lnTo>
                  <a:lnTo>
                    <a:pt x="164" y="70"/>
                  </a:lnTo>
                  <a:close/>
                  <a:moveTo>
                    <a:pt x="168" y="64"/>
                  </a:moveTo>
                  <a:lnTo>
                    <a:pt x="168" y="63"/>
                  </a:lnTo>
                  <a:lnTo>
                    <a:pt x="168" y="62"/>
                  </a:lnTo>
                  <a:lnTo>
                    <a:pt x="169" y="62"/>
                  </a:lnTo>
                  <a:lnTo>
                    <a:pt x="169" y="63"/>
                  </a:lnTo>
                  <a:lnTo>
                    <a:pt x="168" y="64"/>
                  </a:lnTo>
                  <a:close/>
                  <a:moveTo>
                    <a:pt x="30" y="44"/>
                  </a:moveTo>
                  <a:lnTo>
                    <a:pt x="32" y="44"/>
                  </a:lnTo>
                  <a:lnTo>
                    <a:pt x="30" y="44"/>
                  </a:lnTo>
                  <a:lnTo>
                    <a:pt x="29" y="44"/>
                  </a:lnTo>
                  <a:lnTo>
                    <a:pt x="30" y="44"/>
                  </a:lnTo>
                  <a:close/>
                  <a:moveTo>
                    <a:pt x="20" y="42"/>
                  </a:moveTo>
                  <a:lnTo>
                    <a:pt x="21" y="42"/>
                  </a:lnTo>
                  <a:lnTo>
                    <a:pt x="21" y="43"/>
                  </a:lnTo>
                  <a:lnTo>
                    <a:pt x="20" y="43"/>
                  </a:lnTo>
                  <a:lnTo>
                    <a:pt x="21" y="43"/>
                  </a:lnTo>
                  <a:lnTo>
                    <a:pt x="20" y="43"/>
                  </a:lnTo>
                  <a:lnTo>
                    <a:pt x="20" y="44"/>
                  </a:lnTo>
                  <a:lnTo>
                    <a:pt x="19" y="43"/>
                  </a:lnTo>
                  <a:lnTo>
                    <a:pt x="19" y="42"/>
                  </a:lnTo>
                  <a:lnTo>
                    <a:pt x="20" y="42"/>
                  </a:lnTo>
                  <a:close/>
                  <a:moveTo>
                    <a:pt x="35" y="34"/>
                  </a:moveTo>
                  <a:lnTo>
                    <a:pt x="36" y="34"/>
                  </a:lnTo>
                  <a:lnTo>
                    <a:pt x="36" y="35"/>
                  </a:lnTo>
                  <a:lnTo>
                    <a:pt x="35" y="35"/>
                  </a:lnTo>
                  <a:lnTo>
                    <a:pt x="35" y="36"/>
                  </a:lnTo>
                  <a:lnTo>
                    <a:pt x="34" y="37"/>
                  </a:lnTo>
                  <a:lnTo>
                    <a:pt x="33" y="37"/>
                  </a:lnTo>
                  <a:lnTo>
                    <a:pt x="32" y="37"/>
                  </a:lnTo>
                  <a:lnTo>
                    <a:pt x="32" y="36"/>
                  </a:lnTo>
                  <a:lnTo>
                    <a:pt x="33" y="36"/>
                  </a:lnTo>
                  <a:lnTo>
                    <a:pt x="33" y="35"/>
                  </a:lnTo>
                  <a:lnTo>
                    <a:pt x="34" y="35"/>
                  </a:lnTo>
                  <a:lnTo>
                    <a:pt x="34" y="34"/>
                  </a:lnTo>
                  <a:lnTo>
                    <a:pt x="35" y="34"/>
                  </a:lnTo>
                  <a:close/>
                  <a:moveTo>
                    <a:pt x="22" y="30"/>
                  </a:moveTo>
                  <a:lnTo>
                    <a:pt x="22" y="32"/>
                  </a:lnTo>
                  <a:lnTo>
                    <a:pt x="24" y="32"/>
                  </a:lnTo>
                  <a:lnTo>
                    <a:pt x="24" y="33"/>
                  </a:lnTo>
                  <a:lnTo>
                    <a:pt x="24" y="34"/>
                  </a:lnTo>
                  <a:lnTo>
                    <a:pt x="22" y="34"/>
                  </a:lnTo>
                  <a:lnTo>
                    <a:pt x="21" y="34"/>
                  </a:lnTo>
                  <a:lnTo>
                    <a:pt x="21" y="35"/>
                  </a:lnTo>
                  <a:lnTo>
                    <a:pt x="20" y="35"/>
                  </a:lnTo>
                  <a:lnTo>
                    <a:pt x="20" y="34"/>
                  </a:lnTo>
                  <a:lnTo>
                    <a:pt x="19" y="34"/>
                  </a:lnTo>
                  <a:lnTo>
                    <a:pt x="19" y="33"/>
                  </a:lnTo>
                  <a:lnTo>
                    <a:pt x="19" y="32"/>
                  </a:lnTo>
                  <a:lnTo>
                    <a:pt x="19" y="30"/>
                  </a:lnTo>
                  <a:lnTo>
                    <a:pt x="20" y="30"/>
                  </a:lnTo>
                  <a:lnTo>
                    <a:pt x="21" y="30"/>
                  </a:lnTo>
                  <a:lnTo>
                    <a:pt x="22" y="30"/>
                  </a:lnTo>
                  <a:close/>
                  <a:moveTo>
                    <a:pt x="6" y="27"/>
                  </a:moveTo>
                  <a:lnTo>
                    <a:pt x="6" y="28"/>
                  </a:lnTo>
                  <a:lnTo>
                    <a:pt x="6" y="30"/>
                  </a:lnTo>
                  <a:lnTo>
                    <a:pt x="5" y="30"/>
                  </a:lnTo>
                  <a:lnTo>
                    <a:pt x="4" y="30"/>
                  </a:lnTo>
                  <a:lnTo>
                    <a:pt x="4" y="29"/>
                  </a:lnTo>
                  <a:lnTo>
                    <a:pt x="3" y="29"/>
                  </a:lnTo>
                  <a:lnTo>
                    <a:pt x="3" y="28"/>
                  </a:lnTo>
                  <a:lnTo>
                    <a:pt x="3" y="27"/>
                  </a:lnTo>
                  <a:lnTo>
                    <a:pt x="4" y="27"/>
                  </a:lnTo>
                  <a:lnTo>
                    <a:pt x="5" y="27"/>
                  </a:lnTo>
                  <a:lnTo>
                    <a:pt x="6" y="27"/>
                  </a:lnTo>
                  <a:close/>
                  <a:moveTo>
                    <a:pt x="15" y="25"/>
                  </a:moveTo>
                  <a:lnTo>
                    <a:pt x="15" y="26"/>
                  </a:lnTo>
                  <a:lnTo>
                    <a:pt x="17" y="26"/>
                  </a:lnTo>
                  <a:lnTo>
                    <a:pt x="18" y="26"/>
                  </a:lnTo>
                  <a:lnTo>
                    <a:pt x="18" y="27"/>
                  </a:lnTo>
                  <a:lnTo>
                    <a:pt x="19" y="27"/>
                  </a:lnTo>
                  <a:lnTo>
                    <a:pt x="18" y="27"/>
                  </a:lnTo>
                  <a:lnTo>
                    <a:pt x="19" y="27"/>
                  </a:lnTo>
                  <a:lnTo>
                    <a:pt x="18" y="28"/>
                  </a:lnTo>
                  <a:lnTo>
                    <a:pt x="17" y="28"/>
                  </a:lnTo>
                  <a:lnTo>
                    <a:pt x="15" y="28"/>
                  </a:lnTo>
                  <a:lnTo>
                    <a:pt x="14" y="28"/>
                  </a:lnTo>
                  <a:lnTo>
                    <a:pt x="14" y="27"/>
                  </a:lnTo>
                  <a:lnTo>
                    <a:pt x="14" y="26"/>
                  </a:lnTo>
                  <a:lnTo>
                    <a:pt x="14" y="25"/>
                  </a:lnTo>
                  <a:lnTo>
                    <a:pt x="15" y="25"/>
                  </a:lnTo>
                  <a:close/>
                  <a:moveTo>
                    <a:pt x="7" y="20"/>
                  </a:moveTo>
                  <a:lnTo>
                    <a:pt x="7" y="21"/>
                  </a:lnTo>
                  <a:lnTo>
                    <a:pt x="8" y="21"/>
                  </a:lnTo>
                  <a:lnTo>
                    <a:pt x="8" y="22"/>
                  </a:lnTo>
                  <a:lnTo>
                    <a:pt x="10" y="22"/>
                  </a:lnTo>
                  <a:lnTo>
                    <a:pt x="10" y="23"/>
                  </a:lnTo>
                  <a:lnTo>
                    <a:pt x="10" y="25"/>
                  </a:lnTo>
                  <a:lnTo>
                    <a:pt x="10" y="26"/>
                  </a:lnTo>
                  <a:lnTo>
                    <a:pt x="11" y="27"/>
                  </a:lnTo>
                  <a:lnTo>
                    <a:pt x="11" y="28"/>
                  </a:lnTo>
                  <a:lnTo>
                    <a:pt x="12" y="28"/>
                  </a:lnTo>
                  <a:lnTo>
                    <a:pt x="12" y="29"/>
                  </a:lnTo>
                  <a:lnTo>
                    <a:pt x="13" y="29"/>
                  </a:lnTo>
                  <a:lnTo>
                    <a:pt x="13" y="30"/>
                  </a:lnTo>
                  <a:lnTo>
                    <a:pt x="13" y="32"/>
                  </a:lnTo>
                  <a:lnTo>
                    <a:pt x="12" y="32"/>
                  </a:lnTo>
                  <a:lnTo>
                    <a:pt x="13" y="32"/>
                  </a:lnTo>
                  <a:lnTo>
                    <a:pt x="13" y="33"/>
                  </a:lnTo>
                  <a:lnTo>
                    <a:pt x="14" y="33"/>
                  </a:lnTo>
                  <a:lnTo>
                    <a:pt x="14" y="34"/>
                  </a:lnTo>
                  <a:lnTo>
                    <a:pt x="15" y="34"/>
                  </a:lnTo>
                  <a:lnTo>
                    <a:pt x="15" y="35"/>
                  </a:lnTo>
                  <a:lnTo>
                    <a:pt x="14" y="35"/>
                  </a:lnTo>
                  <a:lnTo>
                    <a:pt x="14" y="36"/>
                  </a:lnTo>
                  <a:lnTo>
                    <a:pt x="14" y="37"/>
                  </a:lnTo>
                  <a:lnTo>
                    <a:pt x="13" y="37"/>
                  </a:lnTo>
                  <a:lnTo>
                    <a:pt x="13" y="39"/>
                  </a:lnTo>
                  <a:lnTo>
                    <a:pt x="13" y="37"/>
                  </a:lnTo>
                  <a:lnTo>
                    <a:pt x="12" y="37"/>
                  </a:lnTo>
                  <a:lnTo>
                    <a:pt x="12" y="39"/>
                  </a:lnTo>
                  <a:lnTo>
                    <a:pt x="10" y="39"/>
                  </a:lnTo>
                  <a:lnTo>
                    <a:pt x="8" y="39"/>
                  </a:lnTo>
                  <a:lnTo>
                    <a:pt x="6" y="39"/>
                  </a:lnTo>
                  <a:lnTo>
                    <a:pt x="6" y="37"/>
                  </a:lnTo>
                  <a:lnTo>
                    <a:pt x="5" y="37"/>
                  </a:lnTo>
                  <a:lnTo>
                    <a:pt x="5" y="36"/>
                  </a:lnTo>
                  <a:lnTo>
                    <a:pt x="6" y="35"/>
                  </a:lnTo>
                  <a:lnTo>
                    <a:pt x="7" y="34"/>
                  </a:lnTo>
                  <a:lnTo>
                    <a:pt x="8" y="34"/>
                  </a:lnTo>
                  <a:lnTo>
                    <a:pt x="8" y="33"/>
                  </a:lnTo>
                  <a:lnTo>
                    <a:pt x="10" y="33"/>
                  </a:lnTo>
                  <a:lnTo>
                    <a:pt x="10" y="34"/>
                  </a:lnTo>
                  <a:lnTo>
                    <a:pt x="10" y="33"/>
                  </a:lnTo>
                  <a:lnTo>
                    <a:pt x="11" y="33"/>
                  </a:lnTo>
                  <a:lnTo>
                    <a:pt x="11" y="32"/>
                  </a:lnTo>
                  <a:lnTo>
                    <a:pt x="10" y="32"/>
                  </a:lnTo>
                  <a:lnTo>
                    <a:pt x="10" y="30"/>
                  </a:lnTo>
                  <a:lnTo>
                    <a:pt x="8" y="29"/>
                  </a:lnTo>
                  <a:lnTo>
                    <a:pt x="8" y="28"/>
                  </a:lnTo>
                  <a:lnTo>
                    <a:pt x="7" y="28"/>
                  </a:lnTo>
                  <a:lnTo>
                    <a:pt x="7" y="27"/>
                  </a:lnTo>
                  <a:lnTo>
                    <a:pt x="6" y="27"/>
                  </a:lnTo>
                  <a:lnTo>
                    <a:pt x="6" y="26"/>
                  </a:lnTo>
                  <a:lnTo>
                    <a:pt x="7" y="26"/>
                  </a:lnTo>
                  <a:lnTo>
                    <a:pt x="6" y="26"/>
                  </a:lnTo>
                  <a:lnTo>
                    <a:pt x="6" y="25"/>
                  </a:lnTo>
                  <a:lnTo>
                    <a:pt x="6" y="23"/>
                  </a:lnTo>
                  <a:lnTo>
                    <a:pt x="5" y="23"/>
                  </a:lnTo>
                  <a:lnTo>
                    <a:pt x="4" y="23"/>
                  </a:lnTo>
                  <a:lnTo>
                    <a:pt x="4" y="22"/>
                  </a:lnTo>
                  <a:lnTo>
                    <a:pt x="5" y="22"/>
                  </a:lnTo>
                  <a:lnTo>
                    <a:pt x="5" y="21"/>
                  </a:lnTo>
                  <a:lnTo>
                    <a:pt x="6" y="21"/>
                  </a:lnTo>
                  <a:lnTo>
                    <a:pt x="6" y="20"/>
                  </a:lnTo>
                  <a:lnTo>
                    <a:pt x="7" y="20"/>
                  </a:lnTo>
                  <a:close/>
                  <a:moveTo>
                    <a:pt x="20" y="19"/>
                  </a:moveTo>
                  <a:lnTo>
                    <a:pt x="19" y="19"/>
                  </a:lnTo>
                  <a:lnTo>
                    <a:pt x="19" y="18"/>
                  </a:lnTo>
                  <a:lnTo>
                    <a:pt x="19" y="16"/>
                  </a:lnTo>
                  <a:lnTo>
                    <a:pt x="20" y="16"/>
                  </a:lnTo>
                  <a:lnTo>
                    <a:pt x="20" y="18"/>
                  </a:lnTo>
                  <a:lnTo>
                    <a:pt x="20" y="19"/>
                  </a:lnTo>
                  <a:close/>
                  <a:moveTo>
                    <a:pt x="15" y="13"/>
                  </a:moveTo>
                  <a:lnTo>
                    <a:pt x="15" y="14"/>
                  </a:lnTo>
                  <a:lnTo>
                    <a:pt x="14" y="14"/>
                  </a:lnTo>
                  <a:lnTo>
                    <a:pt x="15" y="13"/>
                  </a:lnTo>
                  <a:lnTo>
                    <a:pt x="15" y="12"/>
                  </a:lnTo>
                  <a:lnTo>
                    <a:pt x="15" y="13"/>
                  </a:lnTo>
                  <a:close/>
                  <a:moveTo>
                    <a:pt x="181" y="2"/>
                  </a:moveTo>
                  <a:lnTo>
                    <a:pt x="181" y="4"/>
                  </a:lnTo>
                  <a:lnTo>
                    <a:pt x="179" y="2"/>
                  </a:lnTo>
                  <a:lnTo>
                    <a:pt x="181" y="1"/>
                  </a:lnTo>
                  <a:lnTo>
                    <a:pt x="181" y="2"/>
                  </a:lnTo>
                  <a:close/>
                  <a:moveTo>
                    <a:pt x="1" y="1"/>
                  </a:moveTo>
                  <a:lnTo>
                    <a:pt x="0" y="1"/>
                  </a:lnTo>
                  <a:lnTo>
                    <a:pt x="1" y="1"/>
                  </a:lnTo>
                  <a:close/>
                  <a:moveTo>
                    <a:pt x="184" y="2"/>
                  </a:moveTo>
                  <a:lnTo>
                    <a:pt x="185" y="2"/>
                  </a:lnTo>
                  <a:lnTo>
                    <a:pt x="185" y="4"/>
                  </a:lnTo>
                  <a:lnTo>
                    <a:pt x="186" y="4"/>
                  </a:lnTo>
                  <a:lnTo>
                    <a:pt x="189" y="6"/>
                  </a:lnTo>
                  <a:lnTo>
                    <a:pt x="190" y="6"/>
                  </a:lnTo>
                  <a:lnTo>
                    <a:pt x="190" y="7"/>
                  </a:lnTo>
                  <a:lnTo>
                    <a:pt x="192" y="8"/>
                  </a:lnTo>
                  <a:lnTo>
                    <a:pt x="193" y="8"/>
                  </a:lnTo>
                  <a:lnTo>
                    <a:pt x="195" y="9"/>
                  </a:lnTo>
                  <a:lnTo>
                    <a:pt x="195" y="8"/>
                  </a:lnTo>
                  <a:lnTo>
                    <a:pt x="195" y="9"/>
                  </a:lnTo>
                  <a:lnTo>
                    <a:pt x="196" y="9"/>
                  </a:lnTo>
                  <a:lnTo>
                    <a:pt x="197" y="9"/>
                  </a:lnTo>
                  <a:lnTo>
                    <a:pt x="198" y="9"/>
                  </a:lnTo>
                  <a:lnTo>
                    <a:pt x="198" y="11"/>
                  </a:lnTo>
                  <a:lnTo>
                    <a:pt x="198" y="12"/>
                  </a:lnTo>
                  <a:lnTo>
                    <a:pt x="199" y="12"/>
                  </a:lnTo>
                  <a:lnTo>
                    <a:pt x="200" y="12"/>
                  </a:lnTo>
                  <a:lnTo>
                    <a:pt x="200" y="13"/>
                  </a:lnTo>
                  <a:lnTo>
                    <a:pt x="202" y="13"/>
                  </a:lnTo>
                  <a:lnTo>
                    <a:pt x="202" y="15"/>
                  </a:lnTo>
                  <a:lnTo>
                    <a:pt x="202" y="16"/>
                  </a:lnTo>
                  <a:lnTo>
                    <a:pt x="203" y="16"/>
                  </a:lnTo>
                  <a:lnTo>
                    <a:pt x="204" y="18"/>
                  </a:lnTo>
                  <a:lnTo>
                    <a:pt x="205" y="18"/>
                  </a:lnTo>
                  <a:lnTo>
                    <a:pt x="206" y="18"/>
                  </a:lnTo>
                  <a:lnTo>
                    <a:pt x="207" y="18"/>
                  </a:lnTo>
                  <a:lnTo>
                    <a:pt x="209" y="18"/>
                  </a:lnTo>
                  <a:lnTo>
                    <a:pt x="209" y="19"/>
                  </a:lnTo>
                  <a:lnTo>
                    <a:pt x="210" y="19"/>
                  </a:lnTo>
                  <a:lnTo>
                    <a:pt x="211" y="19"/>
                  </a:lnTo>
                  <a:lnTo>
                    <a:pt x="212" y="19"/>
                  </a:lnTo>
                  <a:lnTo>
                    <a:pt x="213" y="19"/>
                  </a:lnTo>
                  <a:lnTo>
                    <a:pt x="214" y="19"/>
                  </a:lnTo>
                  <a:lnTo>
                    <a:pt x="216" y="19"/>
                  </a:lnTo>
                  <a:lnTo>
                    <a:pt x="216" y="18"/>
                  </a:lnTo>
                  <a:lnTo>
                    <a:pt x="216" y="16"/>
                  </a:lnTo>
                  <a:lnTo>
                    <a:pt x="217" y="16"/>
                  </a:lnTo>
                  <a:lnTo>
                    <a:pt x="217" y="15"/>
                  </a:lnTo>
                  <a:lnTo>
                    <a:pt x="218" y="16"/>
                  </a:lnTo>
                  <a:lnTo>
                    <a:pt x="219" y="16"/>
                  </a:lnTo>
                  <a:lnTo>
                    <a:pt x="219" y="18"/>
                  </a:lnTo>
                  <a:lnTo>
                    <a:pt x="220" y="18"/>
                  </a:lnTo>
                  <a:lnTo>
                    <a:pt x="220" y="16"/>
                  </a:lnTo>
                  <a:lnTo>
                    <a:pt x="220" y="18"/>
                  </a:lnTo>
                  <a:lnTo>
                    <a:pt x="221" y="19"/>
                  </a:lnTo>
                  <a:lnTo>
                    <a:pt x="221" y="20"/>
                  </a:lnTo>
                  <a:lnTo>
                    <a:pt x="222" y="20"/>
                  </a:lnTo>
                  <a:lnTo>
                    <a:pt x="224" y="20"/>
                  </a:lnTo>
                  <a:lnTo>
                    <a:pt x="224" y="21"/>
                  </a:lnTo>
                  <a:lnTo>
                    <a:pt x="225" y="21"/>
                  </a:lnTo>
                  <a:lnTo>
                    <a:pt x="226" y="21"/>
                  </a:lnTo>
                  <a:lnTo>
                    <a:pt x="227" y="21"/>
                  </a:lnTo>
                  <a:lnTo>
                    <a:pt x="227" y="22"/>
                  </a:lnTo>
                  <a:lnTo>
                    <a:pt x="228" y="22"/>
                  </a:lnTo>
                  <a:lnTo>
                    <a:pt x="228" y="23"/>
                  </a:lnTo>
                  <a:lnTo>
                    <a:pt x="229" y="23"/>
                  </a:lnTo>
                  <a:lnTo>
                    <a:pt x="231" y="23"/>
                  </a:lnTo>
                  <a:lnTo>
                    <a:pt x="231" y="25"/>
                  </a:lnTo>
                  <a:lnTo>
                    <a:pt x="232" y="25"/>
                  </a:lnTo>
                  <a:lnTo>
                    <a:pt x="231" y="25"/>
                  </a:lnTo>
                  <a:lnTo>
                    <a:pt x="229" y="25"/>
                  </a:lnTo>
                  <a:lnTo>
                    <a:pt x="229" y="26"/>
                  </a:lnTo>
                  <a:lnTo>
                    <a:pt x="228" y="26"/>
                  </a:lnTo>
                  <a:lnTo>
                    <a:pt x="228" y="25"/>
                  </a:lnTo>
                  <a:lnTo>
                    <a:pt x="227" y="25"/>
                  </a:lnTo>
                  <a:lnTo>
                    <a:pt x="226" y="25"/>
                  </a:lnTo>
                  <a:lnTo>
                    <a:pt x="226" y="26"/>
                  </a:lnTo>
                  <a:lnTo>
                    <a:pt x="227" y="26"/>
                  </a:lnTo>
                  <a:lnTo>
                    <a:pt x="228" y="26"/>
                  </a:lnTo>
                  <a:lnTo>
                    <a:pt x="228" y="27"/>
                  </a:lnTo>
                  <a:lnTo>
                    <a:pt x="228" y="28"/>
                  </a:lnTo>
                  <a:lnTo>
                    <a:pt x="229" y="29"/>
                  </a:lnTo>
                  <a:lnTo>
                    <a:pt x="229" y="30"/>
                  </a:lnTo>
                  <a:lnTo>
                    <a:pt x="231" y="30"/>
                  </a:lnTo>
                  <a:lnTo>
                    <a:pt x="231" y="32"/>
                  </a:lnTo>
                  <a:lnTo>
                    <a:pt x="232" y="30"/>
                  </a:lnTo>
                  <a:lnTo>
                    <a:pt x="232" y="32"/>
                  </a:lnTo>
                  <a:lnTo>
                    <a:pt x="232" y="33"/>
                  </a:lnTo>
                  <a:lnTo>
                    <a:pt x="231" y="33"/>
                  </a:lnTo>
                  <a:lnTo>
                    <a:pt x="231" y="34"/>
                  </a:lnTo>
                  <a:lnTo>
                    <a:pt x="232" y="37"/>
                  </a:lnTo>
                  <a:lnTo>
                    <a:pt x="232" y="39"/>
                  </a:lnTo>
                  <a:lnTo>
                    <a:pt x="231" y="39"/>
                  </a:lnTo>
                  <a:lnTo>
                    <a:pt x="231" y="37"/>
                  </a:lnTo>
                  <a:lnTo>
                    <a:pt x="229" y="37"/>
                  </a:lnTo>
                  <a:lnTo>
                    <a:pt x="229" y="39"/>
                  </a:lnTo>
                  <a:lnTo>
                    <a:pt x="229" y="40"/>
                  </a:lnTo>
                  <a:lnTo>
                    <a:pt x="228" y="42"/>
                  </a:lnTo>
                  <a:lnTo>
                    <a:pt x="228" y="43"/>
                  </a:lnTo>
                  <a:lnTo>
                    <a:pt x="227" y="46"/>
                  </a:lnTo>
                  <a:lnTo>
                    <a:pt x="227" y="47"/>
                  </a:lnTo>
                  <a:lnTo>
                    <a:pt x="227" y="48"/>
                  </a:lnTo>
                  <a:lnTo>
                    <a:pt x="226" y="48"/>
                  </a:lnTo>
                  <a:lnTo>
                    <a:pt x="226" y="49"/>
                  </a:lnTo>
                  <a:lnTo>
                    <a:pt x="225" y="50"/>
                  </a:lnTo>
                  <a:lnTo>
                    <a:pt x="225" y="51"/>
                  </a:lnTo>
                  <a:lnTo>
                    <a:pt x="224" y="51"/>
                  </a:lnTo>
                  <a:lnTo>
                    <a:pt x="222" y="53"/>
                  </a:lnTo>
                  <a:lnTo>
                    <a:pt x="222" y="54"/>
                  </a:lnTo>
                  <a:lnTo>
                    <a:pt x="221" y="55"/>
                  </a:lnTo>
                  <a:lnTo>
                    <a:pt x="220" y="56"/>
                  </a:lnTo>
                  <a:lnTo>
                    <a:pt x="219" y="57"/>
                  </a:lnTo>
                  <a:lnTo>
                    <a:pt x="218" y="58"/>
                  </a:lnTo>
                  <a:lnTo>
                    <a:pt x="217" y="60"/>
                  </a:lnTo>
                  <a:lnTo>
                    <a:pt x="216" y="61"/>
                  </a:lnTo>
                  <a:lnTo>
                    <a:pt x="214" y="62"/>
                  </a:lnTo>
                  <a:lnTo>
                    <a:pt x="213" y="62"/>
                  </a:lnTo>
                  <a:lnTo>
                    <a:pt x="213" y="63"/>
                  </a:lnTo>
                  <a:lnTo>
                    <a:pt x="212" y="63"/>
                  </a:lnTo>
                  <a:lnTo>
                    <a:pt x="211" y="64"/>
                  </a:lnTo>
                  <a:lnTo>
                    <a:pt x="209" y="64"/>
                  </a:lnTo>
                  <a:lnTo>
                    <a:pt x="207" y="65"/>
                  </a:lnTo>
                  <a:lnTo>
                    <a:pt x="205" y="67"/>
                  </a:lnTo>
                  <a:lnTo>
                    <a:pt x="204" y="67"/>
                  </a:lnTo>
                  <a:lnTo>
                    <a:pt x="202" y="68"/>
                  </a:lnTo>
                  <a:lnTo>
                    <a:pt x="200" y="68"/>
                  </a:lnTo>
                  <a:lnTo>
                    <a:pt x="199" y="69"/>
                  </a:lnTo>
                  <a:lnTo>
                    <a:pt x="197" y="69"/>
                  </a:lnTo>
                  <a:lnTo>
                    <a:pt x="197" y="70"/>
                  </a:lnTo>
                  <a:lnTo>
                    <a:pt x="196" y="70"/>
                  </a:lnTo>
                  <a:lnTo>
                    <a:pt x="195" y="71"/>
                  </a:lnTo>
                  <a:lnTo>
                    <a:pt x="193" y="74"/>
                  </a:lnTo>
                  <a:lnTo>
                    <a:pt x="192" y="74"/>
                  </a:lnTo>
                  <a:lnTo>
                    <a:pt x="192" y="75"/>
                  </a:lnTo>
                  <a:lnTo>
                    <a:pt x="191" y="76"/>
                  </a:lnTo>
                  <a:lnTo>
                    <a:pt x="191" y="77"/>
                  </a:lnTo>
                  <a:lnTo>
                    <a:pt x="192" y="77"/>
                  </a:lnTo>
                  <a:lnTo>
                    <a:pt x="192" y="78"/>
                  </a:lnTo>
                  <a:lnTo>
                    <a:pt x="191" y="78"/>
                  </a:lnTo>
                  <a:lnTo>
                    <a:pt x="191" y="77"/>
                  </a:lnTo>
                  <a:lnTo>
                    <a:pt x="190" y="77"/>
                  </a:lnTo>
                  <a:lnTo>
                    <a:pt x="190" y="76"/>
                  </a:lnTo>
                  <a:lnTo>
                    <a:pt x="189" y="76"/>
                  </a:lnTo>
                  <a:lnTo>
                    <a:pt x="189" y="77"/>
                  </a:lnTo>
                  <a:lnTo>
                    <a:pt x="189" y="78"/>
                  </a:lnTo>
                  <a:lnTo>
                    <a:pt x="189" y="79"/>
                  </a:lnTo>
                  <a:lnTo>
                    <a:pt x="189" y="81"/>
                  </a:lnTo>
                  <a:lnTo>
                    <a:pt x="189" y="82"/>
                  </a:lnTo>
                  <a:lnTo>
                    <a:pt x="189" y="83"/>
                  </a:lnTo>
                  <a:lnTo>
                    <a:pt x="188" y="83"/>
                  </a:lnTo>
                  <a:lnTo>
                    <a:pt x="188" y="84"/>
                  </a:lnTo>
                  <a:lnTo>
                    <a:pt x="188" y="85"/>
                  </a:lnTo>
                  <a:lnTo>
                    <a:pt x="186" y="85"/>
                  </a:lnTo>
                  <a:lnTo>
                    <a:pt x="186" y="86"/>
                  </a:lnTo>
                  <a:lnTo>
                    <a:pt x="186" y="88"/>
                  </a:lnTo>
                  <a:lnTo>
                    <a:pt x="185" y="90"/>
                  </a:lnTo>
                  <a:lnTo>
                    <a:pt x="185" y="91"/>
                  </a:lnTo>
                  <a:lnTo>
                    <a:pt x="185" y="92"/>
                  </a:lnTo>
                  <a:lnTo>
                    <a:pt x="185" y="93"/>
                  </a:lnTo>
                  <a:lnTo>
                    <a:pt x="185" y="95"/>
                  </a:lnTo>
                  <a:lnTo>
                    <a:pt x="185" y="96"/>
                  </a:lnTo>
                  <a:lnTo>
                    <a:pt x="184" y="96"/>
                  </a:lnTo>
                  <a:lnTo>
                    <a:pt x="183" y="96"/>
                  </a:lnTo>
                  <a:lnTo>
                    <a:pt x="182" y="97"/>
                  </a:lnTo>
                  <a:lnTo>
                    <a:pt x="182" y="98"/>
                  </a:lnTo>
                  <a:lnTo>
                    <a:pt x="182" y="99"/>
                  </a:lnTo>
                  <a:lnTo>
                    <a:pt x="181" y="99"/>
                  </a:lnTo>
                  <a:lnTo>
                    <a:pt x="181" y="100"/>
                  </a:lnTo>
                  <a:lnTo>
                    <a:pt x="181" y="102"/>
                  </a:lnTo>
                  <a:lnTo>
                    <a:pt x="179" y="102"/>
                  </a:lnTo>
                  <a:lnTo>
                    <a:pt x="178" y="102"/>
                  </a:lnTo>
                  <a:lnTo>
                    <a:pt x="177" y="102"/>
                  </a:lnTo>
                  <a:lnTo>
                    <a:pt x="176" y="100"/>
                  </a:lnTo>
                  <a:lnTo>
                    <a:pt x="176" y="99"/>
                  </a:lnTo>
                  <a:lnTo>
                    <a:pt x="175" y="99"/>
                  </a:lnTo>
                  <a:lnTo>
                    <a:pt x="175" y="98"/>
                  </a:lnTo>
                  <a:lnTo>
                    <a:pt x="174" y="97"/>
                  </a:lnTo>
                  <a:lnTo>
                    <a:pt x="174" y="96"/>
                  </a:lnTo>
                  <a:lnTo>
                    <a:pt x="174" y="95"/>
                  </a:lnTo>
                  <a:lnTo>
                    <a:pt x="172" y="95"/>
                  </a:lnTo>
                  <a:lnTo>
                    <a:pt x="172" y="93"/>
                  </a:lnTo>
                  <a:lnTo>
                    <a:pt x="171" y="93"/>
                  </a:lnTo>
                  <a:lnTo>
                    <a:pt x="170" y="93"/>
                  </a:lnTo>
                  <a:lnTo>
                    <a:pt x="169" y="93"/>
                  </a:lnTo>
                  <a:lnTo>
                    <a:pt x="168" y="92"/>
                  </a:lnTo>
                  <a:lnTo>
                    <a:pt x="167" y="92"/>
                  </a:lnTo>
                  <a:lnTo>
                    <a:pt x="165" y="91"/>
                  </a:lnTo>
                  <a:lnTo>
                    <a:pt x="164" y="91"/>
                  </a:lnTo>
                  <a:lnTo>
                    <a:pt x="164" y="90"/>
                  </a:lnTo>
                  <a:lnTo>
                    <a:pt x="164" y="91"/>
                  </a:lnTo>
                  <a:lnTo>
                    <a:pt x="163" y="91"/>
                  </a:lnTo>
                  <a:lnTo>
                    <a:pt x="163" y="92"/>
                  </a:lnTo>
                  <a:lnTo>
                    <a:pt x="162" y="93"/>
                  </a:lnTo>
                  <a:lnTo>
                    <a:pt x="161" y="93"/>
                  </a:lnTo>
                  <a:lnTo>
                    <a:pt x="160" y="93"/>
                  </a:lnTo>
                  <a:lnTo>
                    <a:pt x="160" y="92"/>
                  </a:lnTo>
                  <a:lnTo>
                    <a:pt x="162" y="90"/>
                  </a:lnTo>
                  <a:lnTo>
                    <a:pt x="162" y="89"/>
                  </a:lnTo>
                  <a:lnTo>
                    <a:pt x="161" y="89"/>
                  </a:lnTo>
                  <a:lnTo>
                    <a:pt x="161" y="90"/>
                  </a:lnTo>
                  <a:lnTo>
                    <a:pt x="160" y="90"/>
                  </a:lnTo>
                  <a:lnTo>
                    <a:pt x="160" y="89"/>
                  </a:lnTo>
                  <a:lnTo>
                    <a:pt x="160" y="88"/>
                  </a:lnTo>
                  <a:lnTo>
                    <a:pt x="160" y="86"/>
                  </a:lnTo>
                  <a:lnTo>
                    <a:pt x="160" y="85"/>
                  </a:lnTo>
                  <a:lnTo>
                    <a:pt x="161" y="85"/>
                  </a:lnTo>
                  <a:lnTo>
                    <a:pt x="162" y="86"/>
                  </a:lnTo>
                  <a:lnTo>
                    <a:pt x="162" y="85"/>
                  </a:lnTo>
                  <a:lnTo>
                    <a:pt x="163" y="85"/>
                  </a:lnTo>
                  <a:lnTo>
                    <a:pt x="164" y="84"/>
                  </a:lnTo>
                  <a:lnTo>
                    <a:pt x="163" y="84"/>
                  </a:lnTo>
                  <a:lnTo>
                    <a:pt x="163" y="83"/>
                  </a:lnTo>
                  <a:lnTo>
                    <a:pt x="163" y="82"/>
                  </a:lnTo>
                  <a:lnTo>
                    <a:pt x="163" y="81"/>
                  </a:lnTo>
                  <a:lnTo>
                    <a:pt x="163" y="79"/>
                  </a:lnTo>
                  <a:lnTo>
                    <a:pt x="163" y="78"/>
                  </a:lnTo>
                  <a:lnTo>
                    <a:pt x="162" y="78"/>
                  </a:lnTo>
                  <a:lnTo>
                    <a:pt x="162" y="77"/>
                  </a:lnTo>
                  <a:lnTo>
                    <a:pt x="162" y="76"/>
                  </a:lnTo>
                  <a:lnTo>
                    <a:pt x="161" y="76"/>
                  </a:lnTo>
                  <a:lnTo>
                    <a:pt x="162" y="76"/>
                  </a:lnTo>
                  <a:lnTo>
                    <a:pt x="162" y="75"/>
                  </a:lnTo>
                  <a:lnTo>
                    <a:pt x="162" y="76"/>
                  </a:lnTo>
                  <a:lnTo>
                    <a:pt x="162" y="75"/>
                  </a:lnTo>
                  <a:lnTo>
                    <a:pt x="162" y="76"/>
                  </a:lnTo>
                  <a:lnTo>
                    <a:pt x="163" y="76"/>
                  </a:lnTo>
                  <a:lnTo>
                    <a:pt x="164" y="76"/>
                  </a:lnTo>
                  <a:lnTo>
                    <a:pt x="164" y="75"/>
                  </a:lnTo>
                  <a:lnTo>
                    <a:pt x="165" y="74"/>
                  </a:lnTo>
                  <a:lnTo>
                    <a:pt x="165" y="75"/>
                  </a:lnTo>
                  <a:lnTo>
                    <a:pt x="165" y="74"/>
                  </a:lnTo>
                  <a:lnTo>
                    <a:pt x="167" y="74"/>
                  </a:lnTo>
                  <a:lnTo>
                    <a:pt x="167" y="72"/>
                  </a:lnTo>
                  <a:lnTo>
                    <a:pt x="167" y="71"/>
                  </a:lnTo>
                  <a:lnTo>
                    <a:pt x="168" y="70"/>
                  </a:lnTo>
                  <a:lnTo>
                    <a:pt x="168" y="69"/>
                  </a:lnTo>
                  <a:lnTo>
                    <a:pt x="168" y="67"/>
                  </a:lnTo>
                  <a:lnTo>
                    <a:pt x="169" y="67"/>
                  </a:lnTo>
                  <a:lnTo>
                    <a:pt x="169" y="65"/>
                  </a:lnTo>
                  <a:lnTo>
                    <a:pt x="169" y="64"/>
                  </a:lnTo>
                  <a:lnTo>
                    <a:pt x="170" y="64"/>
                  </a:lnTo>
                  <a:lnTo>
                    <a:pt x="170" y="63"/>
                  </a:lnTo>
                  <a:lnTo>
                    <a:pt x="169" y="62"/>
                  </a:lnTo>
                  <a:lnTo>
                    <a:pt x="168" y="61"/>
                  </a:lnTo>
                  <a:lnTo>
                    <a:pt x="168" y="60"/>
                  </a:lnTo>
                  <a:lnTo>
                    <a:pt x="168" y="58"/>
                  </a:lnTo>
                  <a:lnTo>
                    <a:pt x="168" y="57"/>
                  </a:lnTo>
                  <a:lnTo>
                    <a:pt x="168" y="56"/>
                  </a:lnTo>
                  <a:lnTo>
                    <a:pt x="168" y="55"/>
                  </a:lnTo>
                  <a:lnTo>
                    <a:pt x="169" y="55"/>
                  </a:lnTo>
                  <a:lnTo>
                    <a:pt x="168" y="55"/>
                  </a:lnTo>
                  <a:lnTo>
                    <a:pt x="168" y="56"/>
                  </a:lnTo>
                  <a:lnTo>
                    <a:pt x="167" y="57"/>
                  </a:lnTo>
                  <a:lnTo>
                    <a:pt x="168" y="58"/>
                  </a:lnTo>
                  <a:lnTo>
                    <a:pt x="168" y="60"/>
                  </a:lnTo>
                  <a:lnTo>
                    <a:pt x="168" y="62"/>
                  </a:lnTo>
                  <a:lnTo>
                    <a:pt x="168" y="63"/>
                  </a:lnTo>
                  <a:lnTo>
                    <a:pt x="167" y="63"/>
                  </a:lnTo>
                  <a:lnTo>
                    <a:pt x="167" y="64"/>
                  </a:lnTo>
                  <a:lnTo>
                    <a:pt x="165" y="64"/>
                  </a:lnTo>
                  <a:lnTo>
                    <a:pt x="165" y="63"/>
                  </a:lnTo>
                  <a:lnTo>
                    <a:pt x="165" y="62"/>
                  </a:lnTo>
                  <a:lnTo>
                    <a:pt x="167" y="62"/>
                  </a:lnTo>
                  <a:lnTo>
                    <a:pt x="165" y="62"/>
                  </a:lnTo>
                  <a:lnTo>
                    <a:pt x="165" y="61"/>
                  </a:lnTo>
                  <a:lnTo>
                    <a:pt x="165" y="60"/>
                  </a:lnTo>
                  <a:lnTo>
                    <a:pt x="167" y="60"/>
                  </a:lnTo>
                  <a:lnTo>
                    <a:pt x="165" y="60"/>
                  </a:lnTo>
                  <a:lnTo>
                    <a:pt x="164" y="62"/>
                  </a:lnTo>
                  <a:lnTo>
                    <a:pt x="164" y="63"/>
                  </a:lnTo>
                  <a:lnTo>
                    <a:pt x="163" y="63"/>
                  </a:lnTo>
                  <a:lnTo>
                    <a:pt x="163" y="64"/>
                  </a:lnTo>
                  <a:lnTo>
                    <a:pt x="162" y="64"/>
                  </a:lnTo>
                  <a:lnTo>
                    <a:pt x="162" y="65"/>
                  </a:lnTo>
                  <a:lnTo>
                    <a:pt x="161" y="65"/>
                  </a:lnTo>
                  <a:lnTo>
                    <a:pt x="161" y="64"/>
                  </a:lnTo>
                  <a:lnTo>
                    <a:pt x="160" y="64"/>
                  </a:lnTo>
                  <a:lnTo>
                    <a:pt x="157" y="62"/>
                  </a:lnTo>
                  <a:lnTo>
                    <a:pt x="156" y="61"/>
                  </a:lnTo>
                  <a:lnTo>
                    <a:pt x="155" y="61"/>
                  </a:lnTo>
                  <a:lnTo>
                    <a:pt x="154" y="60"/>
                  </a:lnTo>
                  <a:lnTo>
                    <a:pt x="153" y="60"/>
                  </a:lnTo>
                  <a:lnTo>
                    <a:pt x="153" y="58"/>
                  </a:lnTo>
                  <a:lnTo>
                    <a:pt x="152" y="57"/>
                  </a:lnTo>
                  <a:lnTo>
                    <a:pt x="153" y="57"/>
                  </a:lnTo>
                  <a:lnTo>
                    <a:pt x="154" y="57"/>
                  </a:lnTo>
                  <a:lnTo>
                    <a:pt x="155" y="56"/>
                  </a:lnTo>
                  <a:lnTo>
                    <a:pt x="155" y="55"/>
                  </a:lnTo>
                  <a:lnTo>
                    <a:pt x="155" y="54"/>
                  </a:lnTo>
                  <a:lnTo>
                    <a:pt x="155" y="53"/>
                  </a:lnTo>
                  <a:lnTo>
                    <a:pt x="155" y="51"/>
                  </a:lnTo>
                  <a:lnTo>
                    <a:pt x="155" y="50"/>
                  </a:lnTo>
                  <a:lnTo>
                    <a:pt x="154" y="49"/>
                  </a:lnTo>
                  <a:lnTo>
                    <a:pt x="154" y="48"/>
                  </a:lnTo>
                  <a:lnTo>
                    <a:pt x="154" y="47"/>
                  </a:lnTo>
                  <a:lnTo>
                    <a:pt x="155" y="46"/>
                  </a:lnTo>
                  <a:lnTo>
                    <a:pt x="155" y="44"/>
                  </a:lnTo>
                  <a:lnTo>
                    <a:pt x="155" y="43"/>
                  </a:lnTo>
                  <a:lnTo>
                    <a:pt x="154" y="42"/>
                  </a:lnTo>
                  <a:lnTo>
                    <a:pt x="153" y="41"/>
                  </a:lnTo>
                  <a:lnTo>
                    <a:pt x="153" y="40"/>
                  </a:lnTo>
                  <a:lnTo>
                    <a:pt x="153" y="39"/>
                  </a:lnTo>
                  <a:lnTo>
                    <a:pt x="154" y="39"/>
                  </a:lnTo>
                  <a:lnTo>
                    <a:pt x="154" y="37"/>
                  </a:lnTo>
                  <a:lnTo>
                    <a:pt x="155" y="37"/>
                  </a:lnTo>
                  <a:lnTo>
                    <a:pt x="156" y="37"/>
                  </a:lnTo>
                  <a:lnTo>
                    <a:pt x="157" y="37"/>
                  </a:lnTo>
                  <a:lnTo>
                    <a:pt x="157" y="36"/>
                  </a:lnTo>
                  <a:lnTo>
                    <a:pt x="158" y="36"/>
                  </a:lnTo>
                  <a:lnTo>
                    <a:pt x="158" y="35"/>
                  </a:lnTo>
                  <a:lnTo>
                    <a:pt x="158" y="34"/>
                  </a:lnTo>
                  <a:lnTo>
                    <a:pt x="158" y="33"/>
                  </a:lnTo>
                  <a:lnTo>
                    <a:pt x="160" y="33"/>
                  </a:lnTo>
                  <a:lnTo>
                    <a:pt x="160" y="32"/>
                  </a:lnTo>
                  <a:lnTo>
                    <a:pt x="160" y="33"/>
                  </a:lnTo>
                  <a:lnTo>
                    <a:pt x="161" y="33"/>
                  </a:lnTo>
                  <a:lnTo>
                    <a:pt x="160" y="33"/>
                  </a:lnTo>
                  <a:lnTo>
                    <a:pt x="160" y="32"/>
                  </a:lnTo>
                  <a:lnTo>
                    <a:pt x="160" y="30"/>
                  </a:lnTo>
                  <a:lnTo>
                    <a:pt x="158" y="29"/>
                  </a:lnTo>
                  <a:lnTo>
                    <a:pt x="158" y="28"/>
                  </a:lnTo>
                  <a:lnTo>
                    <a:pt x="160" y="28"/>
                  </a:lnTo>
                  <a:lnTo>
                    <a:pt x="160" y="27"/>
                  </a:lnTo>
                  <a:lnTo>
                    <a:pt x="161" y="26"/>
                  </a:lnTo>
                  <a:lnTo>
                    <a:pt x="162" y="26"/>
                  </a:lnTo>
                  <a:lnTo>
                    <a:pt x="162" y="25"/>
                  </a:lnTo>
                  <a:lnTo>
                    <a:pt x="163" y="23"/>
                  </a:lnTo>
                  <a:lnTo>
                    <a:pt x="164" y="22"/>
                  </a:lnTo>
                  <a:lnTo>
                    <a:pt x="164" y="21"/>
                  </a:lnTo>
                  <a:lnTo>
                    <a:pt x="165" y="20"/>
                  </a:lnTo>
                  <a:lnTo>
                    <a:pt x="164" y="19"/>
                  </a:lnTo>
                  <a:lnTo>
                    <a:pt x="164" y="18"/>
                  </a:lnTo>
                  <a:lnTo>
                    <a:pt x="165" y="18"/>
                  </a:lnTo>
                  <a:lnTo>
                    <a:pt x="165" y="16"/>
                  </a:lnTo>
                  <a:lnTo>
                    <a:pt x="165" y="15"/>
                  </a:lnTo>
                  <a:lnTo>
                    <a:pt x="164" y="15"/>
                  </a:lnTo>
                  <a:lnTo>
                    <a:pt x="165" y="14"/>
                  </a:lnTo>
                  <a:lnTo>
                    <a:pt x="165" y="13"/>
                  </a:lnTo>
                  <a:lnTo>
                    <a:pt x="164" y="13"/>
                  </a:lnTo>
                  <a:lnTo>
                    <a:pt x="164" y="12"/>
                  </a:lnTo>
                  <a:lnTo>
                    <a:pt x="164" y="11"/>
                  </a:lnTo>
                  <a:lnTo>
                    <a:pt x="164" y="9"/>
                  </a:lnTo>
                  <a:lnTo>
                    <a:pt x="165" y="9"/>
                  </a:lnTo>
                  <a:lnTo>
                    <a:pt x="167" y="9"/>
                  </a:lnTo>
                  <a:lnTo>
                    <a:pt x="168" y="8"/>
                  </a:lnTo>
                  <a:lnTo>
                    <a:pt x="169" y="8"/>
                  </a:lnTo>
                  <a:lnTo>
                    <a:pt x="169" y="7"/>
                  </a:lnTo>
                  <a:lnTo>
                    <a:pt x="170" y="7"/>
                  </a:lnTo>
                  <a:lnTo>
                    <a:pt x="170" y="8"/>
                  </a:lnTo>
                  <a:lnTo>
                    <a:pt x="171" y="9"/>
                  </a:lnTo>
                  <a:lnTo>
                    <a:pt x="170" y="8"/>
                  </a:lnTo>
                  <a:lnTo>
                    <a:pt x="170" y="7"/>
                  </a:lnTo>
                  <a:lnTo>
                    <a:pt x="171" y="7"/>
                  </a:lnTo>
                  <a:lnTo>
                    <a:pt x="172" y="7"/>
                  </a:lnTo>
                  <a:lnTo>
                    <a:pt x="174" y="6"/>
                  </a:lnTo>
                  <a:lnTo>
                    <a:pt x="175" y="6"/>
                  </a:lnTo>
                  <a:lnTo>
                    <a:pt x="176" y="6"/>
                  </a:lnTo>
                  <a:lnTo>
                    <a:pt x="177" y="6"/>
                  </a:lnTo>
                  <a:lnTo>
                    <a:pt x="177" y="5"/>
                  </a:lnTo>
                  <a:lnTo>
                    <a:pt x="178" y="4"/>
                  </a:lnTo>
                  <a:lnTo>
                    <a:pt x="179" y="4"/>
                  </a:lnTo>
                  <a:lnTo>
                    <a:pt x="179" y="5"/>
                  </a:lnTo>
                  <a:lnTo>
                    <a:pt x="181" y="5"/>
                  </a:lnTo>
                  <a:lnTo>
                    <a:pt x="181" y="4"/>
                  </a:lnTo>
                  <a:lnTo>
                    <a:pt x="181" y="2"/>
                  </a:lnTo>
                  <a:lnTo>
                    <a:pt x="181" y="4"/>
                  </a:lnTo>
                  <a:lnTo>
                    <a:pt x="181" y="2"/>
                  </a:lnTo>
                  <a:lnTo>
                    <a:pt x="182" y="2"/>
                  </a:lnTo>
                  <a:lnTo>
                    <a:pt x="181" y="1"/>
                  </a:lnTo>
                  <a:lnTo>
                    <a:pt x="182" y="1"/>
                  </a:lnTo>
                  <a:lnTo>
                    <a:pt x="182" y="0"/>
                  </a:lnTo>
                  <a:lnTo>
                    <a:pt x="183" y="0"/>
                  </a:lnTo>
                  <a:lnTo>
                    <a:pt x="183" y="1"/>
                  </a:lnTo>
                  <a:lnTo>
                    <a:pt x="184" y="1"/>
                  </a:lnTo>
                  <a:lnTo>
                    <a:pt x="184"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26" name="Freeform 880">
              <a:extLst>
                <a:ext uri="{FF2B5EF4-FFF2-40B4-BE49-F238E27FC236}">
                  <a16:creationId xmlns:a16="http://schemas.microsoft.com/office/drawing/2014/main" id="{90BE66B7-5BFF-4239-B6A9-6A2E7C4D1766}"/>
                </a:ext>
              </a:extLst>
            </p:cNvPr>
            <p:cNvSpPr>
              <a:spLocks noEditPoints="1"/>
            </p:cNvSpPr>
            <p:nvPr/>
          </p:nvSpPr>
          <p:spPr bwMode="auto">
            <a:xfrm>
              <a:off x="6248475" y="2679448"/>
              <a:ext cx="231040" cy="204330"/>
            </a:xfrm>
            <a:custGeom>
              <a:avLst/>
              <a:gdLst>
                <a:gd name="T0" fmla="*/ 137 w 173"/>
                <a:gd name="T1" fmla="*/ 59 h 153"/>
                <a:gd name="T2" fmla="*/ 134 w 173"/>
                <a:gd name="T3" fmla="*/ 58 h 153"/>
                <a:gd name="T4" fmla="*/ 115 w 173"/>
                <a:gd name="T5" fmla="*/ 7 h 153"/>
                <a:gd name="T6" fmla="*/ 7 w 173"/>
                <a:gd name="T7" fmla="*/ 2 h 153"/>
                <a:gd name="T8" fmla="*/ 29 w 173"/>
                <a:gd name="T9" fmla="*/ 3 h 153"/>
                <a:gd name="T10" fmla="*/ 41 w 173"/>
                <a:gd name="T11" fmla="*/ 7 h 153"/>
                <a:gd name="T12" fmla="*/ 50 w 173"/>
                <a:gd name="T13" fmla="*/ 9 h 153"/>
                <a:gd name="T14" fmla="*/ 66 w 173"/>
                <a:gd name="T15" fmla="*/ 8 h 153"/>
                <a:gd name="T16" fmla="*/ 71 w 173"/>
                <a:gd name="T17" fmla="*/ 7 h 153"/>
                <a:gd name="T18" fmla="*/ 74 w 173"/>
                <a:gd name="T19" fmla="*/ 3 h 153"/>
                <a:gd name="T20" fmla="*/ 78 w 173"/>
                <a:gd name="T21" fmla="*/ 2 h 153"/>
                <a:gd name="T22" fmla="*/ 83 w 173"/>
                <a:gd name="T23" fmla="*/ 1 h 153"/>
                <a:gd name="T24" fmla="*/ 93 w 173"/>
                <a:gd name="T25" fmla="*/ 2 h 153"/>
                <a:gd name="T26" fmla="*/ 95 w 173"/>
                <a:gd name="T27" fmla="*/ 3 h 153"/>
                <a:gd name="T28" fmla="*/ 94 w 173"/>
                <a:gd name="T29" fmla="*/ 3 h 153"/>
                <a:gd name="T30" fmla="*/ 95 w 173"/>
                <a:gd name="T31" fmla="*/ 7 h 153"/>
                <a:gd name="T32" fmla="*/ 100 w 173"/>
                <a:gd name="T33" fmla="*/ 6 h 153"/>
                <a:gd name="T34" fmla="*/ 106 w 173"/>
                <a:gd name="T35" fmla="*/ 9 h 153"/>
                <a:gd name="T36" fmla="*/ 110 w 173"/>
                <a:gd name="T37" fmla="*/ 7 h 153"/>
                <a:gd name="T38" fmla="*/ 114 w 173"/>
                <a:gd name="T39" fmla="*/ 9 h 153"/>
                <a:gd name="T40" fmla="*/ 126 w 173"/>
                <a:gd name="T41" fmla="*/ 4 h 153"/>
                <a:gd name="T42" fmla="*/ 130 w 173"/>
                <a:gd name="T43" fmla="*/ 18 h 153"/>
                <a:gd name="T44" fmla="*/ 136 w 173"/>
                <a:gd name="T45" fmla="*/ 32 h 153"/>
                <a:gd name="T46" fmla="*/ 135 w 173"/>
                <a:gd name="T47" fmla="*/ 44 h 153"/>
                <a:gd name="T48" fmla="*/ 133 w 173"/>
                <a:gd name="T49" fmla="*/ 55 h 153"/>
                <a:gd name="T50" fmla="*/ 131 w 173"/>
                <a:gd name="T51" fmla="*/ 62 h 153"/>
                <a:gd name="T52" fmla="*/ 122 w 173"/>
                <a:gd name="T53" fmla="*/ 55 h 153"/>
                <a:gd name="T54" fmla="*/ 115 w 173"/>
                <a:gd name="T55" fmla="*/ 45 h 153"/>
                <a:gd name="T56" fmla="*/ 112 w 173"/>
                <a:gd name="T57" fmla="*/ 38 h 153"/>
                <a:gd name="T58" fmla="*/ 107 w 173"/>
                <a:gd name="T59" fmla="*/ 32 h 153"/>
                <a:gd name="T60" fmla="*/ 105 w 173"/>
                <a:gd name="T61" fmla="*/ 27 h 153"/>
                <a:gd name="T62" fmla="*/ 103 w 173"/>
                <a:gd name="T63" fmla="*/ 32 h 153"/>
                <a:gd name="T64" fmla="*/ 107 w 173"/>
                <a:gd name="T65" fmla="*/ 41 h 153"/>
                <a:gd name="T66" fmla="*/ 115 w 173"/>
                <a:gd name="T67" fmla="*/ 52 h 153"/>
                <a:gd name="T68" fmla="*/ 122 w 173"/>
                <a:gd name="T69" fmla="*/ 60 h 153"/>
                <a:gd name="T70" fmla="*/ 122 w 173"/>
                <a:gd name="T71" fmla="*/ 64 h 153"/>
                <a:gd name="T72" fmla="*/ 127 w 173"/>
                <a:gd name="T73" fmla="*/ 73 h 153"/>
                <a:gd name="T74" fmla="*/ 130 w 173"/>
                <a:gd name="T75" fmla="*/ 83 h 153"/>
                <a:gd name="T76" fmla="*/ 140 w 173"/>
                <a:gd name="T77" fmla="*/ 98 h 153"/>
                <a:gd name="T78" fmla="*/ 145 w 173"/>
                <a:gd name="T79" fmla="*/ 108 h 153"/>
                <a:gd name="T80" fmla="*/ 152 w 173"/>
                <a:gd name="T81" fmla="*/ 119 h 153"/>
                <a:gd name="T82" fmla="*/ 152 w 173"/>
                <a:gd name="T83" fmla="*/ 121 h 153"/>
                <a:gd name="T84" fmla="*/ 153 w 173"/>
                <a:gd name="T85" fmla="*/ 132 h 153"/>
                <a:gd name="T86" fmla="*/ 157 w 173"/>
                <a:gd name="T87" fmla="*/ 140 h 153"/>
                <a:gd name="T88" fmla="*/ 167 w 173"/>
                <a:gd name="T89" fmla="*/ 147 h 153"/>
                <a:gd name="T90" fmla="*/ 172 w 173"/>
                <a:gd name="T91" fmla="*/ 153 h 153"/>
                <a:gd name="T92" fmla="*/ 137 w 173"/>
                <a:gd name="T93" fmla="*/ 153 h 153"/>
                <a:gd name="T94" fmla="*/ 114 w 173"/>
                <a:gd name="T95" fmla="*/ 153 h 153"/>
                <a:gd name="T96" fmla="*/ 100 w 173"/>
                <a:gd name="T97" fmla="*/ 153 h 153"/>
                <a:gd name="T98" fmla="*/ 93 w 173"/>
                <a:gd name="T99" fmla="*/ 153 h 153"/>
                <a:gd name="T100" fmla="*/ 78 w 173"/>
                <a:gd name="T101" fmla="*/ 153 h 153"/>
                <a:gd name="T102" fmla="*/ 63 w 173"/>
                <a:gd name="T103" fmla="*/ 153 h 153"/>
                <a:gd name="T104" fmla="*/ 49 w 173"/>
                <a:gd name="T105" fmla="*/ 153 h 153"/>
                <a:gd name="T106" fmla="*/ 34 w 173"/>
                <a:gd name="T107" fmla="*/ 153 h 153"/>
                <a:gd name="T108" fmla="*/ 20 w 173"/>
                <a:gd name="T109" fmla="*/ 153 h 153"/>
                <a:gd name="T110" fmla="*/ 9 w 173"/>
                <a:gd name="T111" fmla="*/ 134 h 153"/>
                <a:gd name="T112" fmla="*/ 7 w 173"/>
                <a:gd name="T113" fmla="*/ 84 h 153"/>
                <a:gd name="T114" fmla="*/ 5 w 173"/>
                <a:gd name="T115" fmla="*/ 43 h 153"/>
                <a:gd name="T116" fmla="*/ 0 w 173"/>
                <a:gd name="T117" fmla="*/ 24 h 153"/>
                <a:gd name="T118" fmla="*/ 2 w 173"/>
                <a:gd name="T119" fmla="*/ 13 h 153"/>
                <a:gd name="T120" fmla="*/ 3 w 173"/>
                <a:gd name="T121"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153">
                  <a:moveTo>
                    <a:pt x="129" y="78"/>
                  </a:moveTo>
                  <a:lnTo>
                    <a:pt x="128" y="78"/>
                  </a:lnTo>
                  <a:lnTo>
                    <a:pt x="128" y="77"/>
                  </a:lnTo>
                  <a:lnTo>
                    <a:pt x="129" y="77"/>
                  </a:lnTo>
                  <a:lnTo>
                    <a:pt x="129" y="78"/>
                  </a:lnTo>
                  <a:close/>
                  <a:moveTo>
                    <a:pt x="128" y="65"/>
                  </a:moveTo>
                  <a:lnTo>
                    <a:pt x="128" y="66"/>
                  </a:lnTo>
                  <a:lnTo>
                    <a:pt x="128" y="65"/>
                  </a:lnTo>
                  <a:lnTo>
                    <a:pt x="127" y="65"/>
                  </a:lnTo>
                  <a:lnTo>
                    <a:pt x="128" y="65"/>
                  </a:lnTo>
                  <a:close/>
                  <a:moveTo>
                    <a:pt x="137" y="59"/>
                  </a:moveTo>
                  <a:lnTo>
                    <a:pt x="136" y="59"/>
                  </a:lnTo>
                  <a:lnTo>
                    <a:pt x="136" y="58"/>
                  </a:lnTo>
                  <a:lnTo>
                    <a:pt x="137" y="58"/>
                  </a:lnTo>
                  <a:lnTo>
                    <a:pt x="137" y="59"/>
                  </a:lnTo>
                  <a:close/>
                  <a:moveTo>
                    <a:pt x="135" y="58"/>
                  </a:moveTo>
                  <a:lnTo>
                    <a:pt x="134" y="58"/>
                  </a:lnTo>
                  <a:lnTo>
                    <a:pt x="135" y="58"/>
                  </a:lnTo>
                  <a:lnTo>
                    <a:pt x="136" y="58"/>
                  </a:lnTo>
                  <a:lnTo>
                    <a:pt x="136" y="59"/>
                  </a:lnTo>
                  <a:lnTo>
                    <a:pt x="135" y="59"/>
                  </a:lnTo>
                  <a:lnTo>
                    <a:pt x="134" y="58"/>
                  </a:lnTo>
                  <a:lnTo>
                    <a:pt x="134" y="57"/>
                  </a:lnTo>
                  <a:lnTo>
                    <a:pt x="134" y="58"/>
                  </a:lnTo>
                  <a:lnTo>
                    <a:pt x="134" y="57"/>
                  </a:lnTo>
                  <a:lnTo>
                    <a:pt x="135" y="57"/>
                  </a:lnTo>
                  <a:lnTo>
                    <a:pt x="135" y="58"/>
                  </a:lnTo>
                  <a:close/>
                  <a:moveTo>
                    <a:pt x="115" y="7"/>
                  </a:moveTo>
                  <a:lnTo>
                    <a:pt x="116" y="8"/>
                  </a:lnTo>
                  <a:lnTo>
                    <a:pt x="115" y="8"/>
                  </a:lnTo>
                  <a:lnTo>
                    <a:pt x="113" y="7"/>
                  </a:lnTo>
                  <a:lnTo>
                    <a:pt x="114" y="7"/>
                  </a:lnTo>
                  <a:lnTo>
                    <a:pt x="115" y="7"/>
                  </a:lnTo>
                  <a:close/>
                  <a:moveTo>
                    <a:pt x="110" y="6"/>
                  </a:moveTo>
                  <a:lnTo>
                    <a:pt x="113" y="7"/>
                  </a:lnTo>
                  <a:lnTo>
                    <a:pt x="112" y="7"/>
                  </a:lnTo>
                  <a:lnTo>
                    <a:pt x="110" y="7"/>
                  </a:lnTo>
                  <a:lnTo>
                    <a:pt x="109" y="8"/>
                  </a:lnTo>
                  <a:lnTo>
                    <a:pt x="108" y="8"/>
                  </a:lnTo>
                  <a:lnTo>
                    <a:pt x="109" y="7"/>
                  </a:lnTo>
                  <a:lnTo>
                    <a:pt x="110" y="7"/>
                  </a:lnTo>
                  <a:lnTo>
                    <a:pt x="110" y="6"/>
                  </a:lnTo>
                  <a:close/>
                  <a:moveTo>
                    <a:pt x="6" y="2"/>
                  </a:moveTo>
                  <a:lnTo>
                    <a:pt x="7" y="2"/>
                  </a:lnTo>
                  <a:lnTo>
                    <a:pt x="8" y="2"/>
                  </a:lnTo>
                  <a:lnTo>
                    <a:pt x="10" y="1"/>
                  </a:lnTo>
                  <a:lnTo>
                    <a:pt x="13" y="0"/>
                  </a:lnTo>
                  <a:lnTo>
                    <a:pt x="14" y="0"/>
                  </a:lnTo>
                  <a:lnTo>
                    <a:pt x="15" y="0"/>
                  </a:lnTo>
                  <a:lnTo>
                    <a:pt x="21" y="2"/>
                  </a:lnTo>
                  <a:lnTo>
                    <a:pt x="24" y="2"/>
                  </a:lnTo>
                  <a:lnTo>
                    <a:pt x="25" y="2"/>
                  </a:lnTo>
                  <a:lnTo>
                    <a:pt x="27" y="3"/>
                  </a:lnTo>
                  <a:lnTo>
                    <a:pt x="28" y="3"/>
                  </a:lnTo>
                  <a:lnTo>
                    <a:pt x="29" y="3"/>
                  </a:lnTo>
                  <a:lnTo>
                    <a:pt x="30" y="3"/>
                  </a:lnTo>
                  <a:lnTo>
                    <a:pt x="31" y="4"/>
                  </a:lnTo>
                  <a:lnTo>
                    <a:pt x="32" y="4"/>
                  </a:lnTo>
                  <a:lnTo>
                    <a:pt x="34" y="4"/>
                  </a:lnTo>
                  <a:lnTo>
                    <a:pt x="34" y="6"/>
                  </a:lnTo>
                  <a:lnTo>
                    <a:pt x="35" y="6"/>
                  </a:lnTo>
                  <a:lnTo>
                    <a:pt x="35" y="7"/>
                  </a:lnTo>
                  <a:lnTo>
                    <a:pt x="36" y="7"/>
                  </a:lnTo>
                  <a:lnTo>
                    <a:pt x="37" y="7"/>
                  </a:lnTo>
                  <a:lnTo>
                    <a:pt x="38" y="7"/>
                  </a:lnTo>
                  <a:lnTo>
                    <a:pt x="41" y="7"/>
                  </a:lnTo>
                  <a:lnTo>
                    <a:pt x="41" y="6"/>
                  </a:lnTo>
                  <a:lnTo>
                    <a:pt x="41" y="7"/>
                  </a:lnTo>
                  <a:lnTo>
                    <a:pt x="41" y="8"/>
                  </a:lnTo>
                  <a:lnTo>
                    <a:pt x="42" y="8"/>
                  </a:lnTo>
                  <a:lnTo>
                    <a:pt x="43" y="8"/>
                  </a:lnTo>
                  <a:lnTo>
                    <a:pt x="45" y="8"/>
                  </a:lnTo>
                  <a:lnTo>
                    <a:pt x="45" y="9"/>
                  </a:lnTo>
                  <a:lnTo>
                    <a:pt x="46" y="9"/>
                  </a:lnTo>
                  <a:lnTo>
                    <a:pt x="48" y="9"/>
                  </a:lnTo>
                  <a:lnTo>
                    <a:pt x="49" y="9"/>
                  </a:lnTo>
                  <a:lnTo>
                    <a:pt x="50" y="9"/>
                  </a:lnTo>
                  <a:lnTo>
                    <a:pt x="52" y="10"/>
                  </a:lnTo>
                  <a:lnTo>
                    <a:pt x="53" y="10"/>
                  </a:lnTo>
                  <a:lnTo>
                    <a:pt x="53" y="11"/>
                  </a:lnTo>
                  <a:lnTo>
                    <a:pt x="55" y="11"/>
                  </a:lnTo>
                  <a:lnTo>
                    <a:pt x="57" y="13"/>
                  </a:lnTo>
                  <a:lnTo>
                    <a:pt x="59" y="13"/>
                  </a:lnTo>
                  <a:lnTo>
                    <a:pt x="62" y="11"/>
                  </a:lnTo>
                  <a:lnTo>
                    <a:pt x="63" y="10"/>
                  </a:lnTo>
                  <a:lnTo>
                    <a:pt x="64" y="10"/>
                  </a:lnTo>
                  <a:lnTo>
                    <a:pt x="64" y="9"/>
                  </a:lnTo>
                  <a:lnTo>
                    <a:pt x="66" y="8"/>
                  </a:lnTo>
                  <a:lnTo>
                    <a:pt x="67" y="8"/>
                  </a:lnTo>
                  <a:lnTo>
                    <a:pt x="67" y="7"/>
                  </a:lnTo>
                  <a:lnTo>
                    <a:pt x="69" y="7"/>
                  </a:lnTo>
                  <a:lnTo>
                    <a:pt x="69" y="6"/>
                  </a:lnTo>
                  <a:lnTo>
                    <a:pt x="70" y="6"/>
                  </a:lnTo>
                  <a:lnTo>
                    <a:pt x="70" y="4"/>
                  </a:lnTo>
                  <a:lnTo>
                    <a:pt x="70" y="6"/>
                  </a:lnTo>
                  <a:lnTo>
                    <a:pt x="71" y="6"/>
                  </a:lnTo>
                  <a:lnTo>
                    <a:pt x="72" y="6"/>
                  </a:lnTo>
                  <a:lnTo>
                    <a:pt x="71" y="6"/>
                  </a:lnTo>
                  <a:lnTo>
                    <a:pt x="71" y="7"/>
                  </a:lnTo>
                  <a:lnTo>
                    <a:pt x="72" y="7"/>
                  </a:lnTo>
                  <a:lnTo>
                    <a:pt x="72" y="6"/>
                  </a:lnTo>
                  <a:lnTo>
                    <a:pt x="73" y="6"/>
                  </a:lnTo>
                  <a:lnTo>
                    <a:pt x="73" y="7"/>
                  </a:lnTo>
                  <a:lnTo>
                    <a:pt x="73" y="6"/>
                  </a:lnTo>
                  <a:lnTo>
                    <a:pt x="72" y="6"/>
                  </a:lnTo>
                  <a:lnTo>
                    <a:pt x="73" y="4"/>
                  </a:lnTo>
                  <a:lnTo>
                    <a:pt x="73" y="3"/>
                  </a:lnTo>
                  <a:lnTo>
                    <a:pt x="73" y="2"/>
                  </a:lnTo>
                  <a:lnTo>
                    <a:pt x="73" y="3"/>
                  </a:lnTo>
                  <a:lnTo>
                    <a:pt x="74" y="3"/>
                  </a:lnTo>
                  <a:lnTo>
                    <a:pt x="74" y="2"/>
                  </a:lnTo>
                  <a:lnTo>
                    <a:pt x="73" y="2"/>
                  </a:lnTo>
                  <a:lnTo>
                    <a:pt x="74" y="2"/>
                  </a:lnTo>
                  <a:lnTo>
                    <a:pt x="76" y="2"/>
                  </a:lnTo>
                  <a:lnTo>
                    <a:pt x="76" y="3"/>
                  </a:lnTo>
                  <a:lnTo>
                    <a:pt x="76" y="2"/>
                  </a:lnTo>
                  <a:lnTo>
                    <a:pt x="78" y="2"/>
                  </a:lnTo>
                  <a:lnTo>
                    <a:pt x="81" y="1"/>
                  </a:lnTo>
                  <a:lnTo>
                    <a:pt x="80" y="1"/>
                  </a:lnTo>
                  <a:lnTo>
                    <a:pt x="79" y="2"/>
                  </a:lnTo>
                  <a:lnTo>
                    <a:pt x="78" y="2"/>
                  </a:lnTo>
                  <a:lnTo>
                    <a:pt x="78" y="3"/>
                  </a:lnTo>
                  <a:lnTo>
                    <a:pt x="77" y="3"/>
                  </a:lnTo>
                  <a:lnTo>
                    <a:pt x="78" y="3"/>
                  </a:lnTo>
                  <a:lnTo>
                    <a:pt x="79" y="3"/>
                  </a:lnTo>
                  <a:lnTo>
                    <a:pt x="80" y="3"/>
                  </a:lnTo>
                  <a:lnTo>
                    <a:pt x="81" y="3"/>
                  </a:lnTo>
                  <a:lnTo>
                    <a:pt x="83" y="3"/>
                  </a:lnTo>
                  <a:lnTo>
                    <a:pt x="83" y="2"/>
                  </a:lnTo>
                  <a:lnTo>
                    <a:pt x="84" y="2"/>
                  </a:lnTo>
                  <a:lnTo>
                    <a:pt x="84" y="1"/>
                  </a:lnTo>
                  <a:lnTo>
                    <a:pt x="83" y="1"/>
                  </a:lnTo>
                  <a:lnTo>
                    <a:pt x="81" y="1"/>
                  </a:lnTo>
                  <a:lnTo>
                    <a:pt x="83" y="1"/>
                  </a:lnTo>
                  <a:lnTo>
                    <a:pt x="84" y="0"/>
                  </a:lnTo>
                  <a:lnTo>
                    <a:pt x="84" y="1"/>
                  </a:lnTo>
                  <a:lnTo>
                    <a:pt x="85" y="1"/>
                  </a:lnTo>
                  <a:lnTo>
                    <a:pt x="87" y="2"/>
                  </a:lnTo>
                  <a:lnTo>
                    <a:pt x="88" y="2"/>
                  </a:lnTo>
                  <a:lnTo>
                    <a:pt x="89" y="3"/>
                  </a:lnTo>
                  <a:lnTo>
                    <a:pt x="91" y="3"/>
                  </a:lnTo>
                  <a:lnTo>
                    <a:pt x="92" y="2"/>
                  </a:lnTo>
                  <a:lnTo>
                    <a:pt x="93" y="2"/>
                  </a:lnTo>
                  <a:lnTo>
                    <a:pt x="94" y="1"/>
                  </a:lnTo>
                  <a:lnTo>
                    <a:pt x="94" y="2"/>
                  </a:lnTo>
                  <a:lnTo>
                    <a:pt x="95" y="2"/>
                  </a:lnTo>
                  <a:lnTo>
                    <a:pt x="95" y="3"/>
                  </a:lnTo>
                  <a:lnTo>
                    <a:pt x="96" y="3"/>
                  </a:lnTo>
                  <a:lnTo>
                    <a:pt x="96" y="4"/>
                  </a:lnTo>
                  <a:lnTo>
                    <a:pt x="98" y="4"/>
                  </a:lnTo>
                  <a:lnTo>
                    <a:pt x="99" y="6"/>
                  </a:lnTo>
                  <a:lnTo>
                    <a:pt x="98" y="6"/>
                  </a:lnTo>
                  <a:lnTo>
                    <a:pt x="96" y="4"/>
                  </a:lnTo>
                  <a:lnTo>
                    <a:pt x="95" y="3"/>
                  </a:lnTo>
                  <a:lnTo>
                    <a:pt x="95" y="2"/>
                  </a:lnTo>
                  <a:lnTo>
                    <a:pt x="94" y="2"/>
                  </a:lnTo>
                  <a:lnTo>
                    <a:pt x="93" y="2"/>
                  </a:lnTo>
                  <a:lnTo>
                    <a:pt x="94" y="2"/>
                  </a:lnTo>
                  <a:lnTo>
                    <a:pt x="94" y="3"/>
                  </a:lnTo>
                  <a:lnTo>
                    <a:pt x="93" y="3"/>
                  </a:lnTo>
                  <a:lnTo>
                    <a:pt x="93" y="2"/>
                  </a:lnTo>
                  <a:lnTo>
                    <a:pt x="93" y="3"/>
                  </a:lnTo>
                  <a:lnTo>
                    <a:pt x="94" y="3"/>
                  </a:lnTo>
                  <a:lnTo>
                    <a:pt x="93" y="3"/>
                  </a:lnTo>
                  <a:lnTo>
                    <a:pt x="94" y="3"/>
                  </a:lnTo>
                  <a:lnTo>
                    <a:pt x="93" y="4"/>
                  </a:lnTo>
                  <a:lnTo>
                    <a:pt x="94" y="4"/>
                  </a:lnTo>
                  <a:lnTo>
                    <a:pt x="93" y="4"/>
                  </a:lnTo>
                  <a:lnTo>
                    <a:pt x="93" y="6"/>
                  </a:lnTo>
                  <a:lnTo>
                    <a:pt x="94" y="6"/>
                  </a:lnTo>
                  <a:lnTo>
                    <a:pt x="94" y="7"/>
                  </a:lnTo>
                  <a:lnTo>
                    <a:pt x="94" y="6"/>
                  </a:lnTo>
                  <a:lnTo>
                    <a:pt x="94" y="7"/>
                  </a:lnTo>
                  <a:lnTo>
                    <a:pt x="95" y="7"/>
                  </a:lnTo>
                  <a:lnTo>
                    <a:pt x="96" y="7"/>
                  </a:lnTo>
                  <a:lnTo>
                    <a:pt x="95" y="7"/>
                  </a:lnTo>
                  <a:lnTo>
                    <a:pt x="96" y="7"/>
                  </a:lnTo>
                  <a:lnTo>
                    <a:pt x="96" y="8"/>
                  </a:lnTo>
                  <a:lnTo>
                    <a:pt x="96" y="9"/>
                  </a:lnTo>
                  <a:lnTo>
                    <a:pt x="98" y="9"/>
                  </a:lnTo>
                  <a:lnTo>
                    <a:pt x="98" y="8"/>
                  </a:lnTo>
                  <a:lnTo>
                    <a:pt x="98" y="9"/>
                  </a:lnTo>
                  <a:lnTo>
                    <a:pt x="98" y="8"/>
                  </a:lnTo>
                  <a:lnTo>
                    <a:pt x="99" y="8"/>
                  </a:lnTo>
                  <a:lnTo>
                    <a:pt x="100" y="8"/>
                  </a:lnTo>
                  <a:lnTo>
                    <a:pt x="100" y="7"/>
                  </a:lnTo>
                  <a:lnTo>
                    <a:pt x="100" y="6"/>
                  </a:lnTo>
                  <a:lnTo>
                    <a:pt x="99" y="6"/>
                  </a:lnTo>
                  <a:lnTo>
                    <a:pt x="100" y="6"/>
                  </a:lnTo>
                  <a:lnTo>
                    <a:pt x="101" y="7"/>
                  </a:lnTo>
                  <a:lnTo>
                    <a:pt x="102" y="8"/>
                  </a:lnTo>
                  <a:lnTo>
                    <a:pt x="103" y="9"/>
                  </a:lnTo>
                  <a:lnTo>
                    <a:pt x="105" y="9"/>
                  </a:lnTo>
                  <a:lnTo>
                    <a:pt x="106" y="9"/>
                  </a:lnTo>
                  <a:lnTo>
                    <a:pt x="107" y="8"/>
                  </a:lnTo>
                  <a:lnTo>
                    <a:pt x="108" y="8"/>
                  </a:lnTo>
                  <a:lnTo>
                    <a:pt x="107" y="8"/>
                  </a:lnTo>
                  <a:lnTo>
                    <a:pt x="106" y="9"/>
                  </a:lnTo>
                  <a:lnTo>
                    <a:pt x="105" y="9"/>
                  </a:lnTo>
                  <a:lnTo>
                    <a:pt x="106" y="9"/>
                  </a:lnTo>
                  <a:lnTo>
                    <a:pt x="107" y="9"/>
                  </a:lnTo>
                  <a:lnTo>
                    <a:pt x="108" y="8"/>
                  </a:lnTo>
                  <a:lnTo>
                    <a:pt x="108" y="9"/>
                  </a:lnTo>
                  <a:lnTo>
                    <a:pt x="108" y="8"/>
                  </a:lnTo>
                  <a:lnTo>
                    <a:pt x="109" y="8"/>
                  </a:lnTo>
                  <a:lnTo>
                    <a:pt x="109" y="9"/>
                  </a:lnTo>
                  <a:lnTo>
                    <a:pt x="110" y="8"/>
                  </a:lnTo>
                  <a:lnTo>
                    <a:pt x="109" y="8"/>
                  </a:lnTo>
                  <a:lnTo>
                    <a:pt x="110" y="7"/>
                  </a:lnTo>
                  <a:lnTo>
                    <a:pt x="112" y="8"/>
                  </a:lnTo>
                  <a:lnTo>
                    <a:pt x="110" y="8"/>
                  </a:lnTo>
                  <a:lnTo>
                    <a:pt x="112" y="9"/>
                  </a:lnTo>
                  <a:lnTo>
                    <a:pt x="113" y="9"/>
                  </a:lnTo>
                  <a:lnTo>
                    <a:pt x="112" y="9"/>
                  </a:lnTo>
                  <a:lnTo>
                    <a:pt x="113" y="9"/>
                  </a:lnTo>
                  <a:lnTo>
                    <a:pt x="113" y="8"/>
                  </a:lnTo>
                  <a:lnTo>
                    <a:pt x="113" y="9"/>
                  </a:lnTo>
                  <a:lnTo>
                    <a:pt x="113" y="8"/>
                  </a:lnTo>
                  <a:lnTo>
                    <a:pt x="113" y="9"/>
                  </a:lnTo>
                  <a:lnTo>
                    <a:pt x="114" y="9"/>
                  </a:lnTo>
                  <a:lnTo>
                    <a:pt x="114" y="8"/>
                  </a:lnTo>
                  <a:lnTo>
                    <a:pt x="113" y="8"/>
                  </a:lnTo>
                  <a:lnTo>
                    <a:pt x="115" y="8"/>
                  </a:lnTo>
                  <a:lnTo>
                    <a:pt x="114" y="8"/>
                  </a:lnTo>
                  <a:lnTo>
                    <a:pt x="115" y="8"/>
                  </a:lnTo>
                  <a:lnTo>
                    <a:pt x="116" y="8"/>
                  </a:lnTo>
                  <a:lnTo>
                    <a:pt x="117" y="8"/>
                  </a:lnTo>
                  <a:lnTo>
                    <a:pt x="119" y="8"/>
                  </a:lnTo>
                  <a:lnTo>
                    <a:pt x="121" y="8"/>
                  </a:lnTo>
                  <a:lnTo>
                    <a:pt x="123" y="7"/>
                  </a:lnTo>
                  <a:lnTo>
                    <a:pt x="126" y="4"/>
                  </a:lnTo>
                  <a:lnTo>
                    <a:pt x="126" y="6"/>
                  </a:lnTo>
                  <a:lnTo>
                    <a:pt x="126" y="7"/>
                  </a:lnTo>
                  <a:lnTo>
                    <a:pt x="127" y="9"/>
                  </a:lnTo>
                  <a:lnTo>
                    <a:pt x="128" y="10"/>
                  </a:lnTo>
                  <a:lnTo>
                    <a:pt x="128" y="11"/>
                  </a:lnTo>
                  <a:lnTo>
                    <a:pt x="129" y="14"/>
                  </a:lnTo>
                  <a:lnTo>
                    <a:pt x="130" y="15"/>
                  </a:lnTo>
                  <a:lnTo>
                    <a:pt x="130" y="17"/>
                  </a:lnTo>
                  <a:lnTo>
                    <a:pt x="130" y="18"/>
                  </a:lnTo>
                  <a:lnTo>
                    <a:pt x="131" y="18"/>
                  </a:lnTo>
                  <a:lnTo>
                    <a:pt x="130" y="18"/>
                  </a:lnTo>
                  <a:lnTo>
                    <a:pt x="130" y="20"/>
                  </a:lnTo>
                  <a:lnTo>
                    <a:pt x="131" y="20"/>
                  </a:lnTo>
                  <a:lnTo>
                    <a:pt x="131" y="21"/>
                  </a:lnTo>
                  <a:lnTo>
                    <a:pt x="133" y="22"/>
                  </a:lnTo>
                  <a:lnTo>
                    <a:pt x="134" y="24"/>
                  </a:lnTo>
                  <a:lnTo>
                    <a:pt x="134" y="25"/>
                  </a:lnTo>
                  <a:lnTo>
                    <a:pt x="135" y="27"/>
                  </a:lnTo>
                  <a:lnTo>
                    <a:pt x="135" y="29"/>
                  </a:lnTo>
                  <a:lnTo>
                    <a:pt x="136" y="30"/>
                  </a:lnTo>
                  <a:lnTo>
                    <a:pt x="136" y="31"/>
                  </a:lnTo>
                  <a:lnTo>
                    <a:pt x="136" y="32"/>
                  </a:lnTo>
                  <a:lnTo>
                    <a:pt x="137" y="34"/>
                  </a:lnTo>
                  <a:lnTo>
                    <a:pt x="136" y="35"/>
                  </a:lnTo>
                  <a:lnTo>
                    <a:pt x="136" y="36"/>
                  </a:lnTo>
                  <a:lnTo>
                    <a:pt x="135" y="36"/>
                  </a:lnTo>
                  <a:lnTo>
                    <a:pt x="135" y="37"/>
                  </a:lnTo>
                  <a:lnTo>
                    <a:pt x="135" y="38"/>
                  </a:lnTo>
                  <a:lnTo>
                    <a:pt x="135" y="39"/>
                  </a:lnTo>
                  <a:lnTo>
                    <a:pt x="135" y="41"/>
                  </a:lnTo>
                  <a:lnTo>
                    <a:pt x="135" y="42"/>
                  </a:lnTo>
                  <a:lnTo>
                    <a:pt x="135" y="43"/>
                  </a:lnTo>
                  <a:lnTo>
                    <a:pt x="135" y="44"/>
                  </a:lnTo>
                  <a:lnTo>
                    <a:pt x="135" y="45"/>
                  </a:lnTo>
                  <a:lnTo>
                    <a:pt x="135" y="46"/>
                  </a:lnTo>
                  <a:lnTo>
                    <a:pt x="134" y="46"/>
                  </a:lnTo>
                  <a:lnTo>
                    <a:pt x="134" y="48"/>
                  </a:lnTo>
                  <a:lnTo>
                    <a:pt x="134" y="49"/>
                  </a:lnTo>
                  <a:lnTo>
                    <a:pt x="134" y="50"/>
                  </a:lnTo>
                  <a:lnTo>
                    <a:pt x="133" y="50"/>
                  </a:lnTo>
                  <a:lnTo>
                    <a:pt x="133" y="51"/>
                  </a:lnTo>
                  <a:lnTo>
                    <a:pt x="133" y="52"/>
                  </a:lnTo>
                  <a:lnTo>
                    <a:pt x="133" y="53"/>
                  </a:lnTo>
                  <a:lnTo>
                    <a:pt x="133" y="55"/>
                  </a:lnTo>
                  <a:lnTo>
                    <a:pt x="133" y="56"/>
                  </a:lnTo>
                  <a:lnTo>
                    <a:pt x="133" y="57"/>
                  </a:lnTo>
                  <a:lnTo>
                    <a:pt x="133" y="58"/>
                  </a:lnTo>
                  <a:lnTo>
                    <a:pt x="133" y="59"/>
                  </a:lnTo>
                  <a:lnTo>
                    <a:pt x="131" y="59"/>
                  </a:lnTo>
                  <a:lnTo>
                    <a:pt x="131" y="60"/>
                  </a:lnTo>
                  <a:lnTo>
                    <a:pt x="130" y="60"/>
                  </a:lnTo>
                  <a:lnTo>
                    <a:pt x="130" y="62"/>
                  </a:lnTo>
                  <a:lnTo>
                    <a:pt x="131" y="62"/>
                  </a:lnTo>
                  <a:lnTo>
                    <a:pt x="130" y="62"/>
                  </a:lnTo>
                  <a:lnTo>
                    <a:pt x="131" y="62"/>
                  </a:lnTo>
                  <a:lnTo>
                    <a:pt x="130" y="62"/>
                  </a:lnTo>
                  <a:lnTo>
                    <a:pt x="131" y="62"/>
                  </a:lnTo>
                  <a:lnTo>
                    <a:pt x="130" y="62"/>
                  </a:lnTo>
                  <a:lnTo>
                    <a:pt x="130" y="60"/>
                  </a:lnTo>
                  <a:lnTo>
                    <a:pt x="128" y="60"/>
                  </a:lnTo>
                  <a:lnTo>
                    <a:pt x="127" y="59"/>
                  </a:lnTo>
                  <a:lnTo>
                    <a:pt x="126" y="58"/>
                  </a:lnTo>
                  <a:lnTo>
                    <a:pt x="124" y="58"/>
                  </a:lnTo>
                  <a:lnTo>
                    <a:pt x="124" y="57"/>
                  </a:lnTo>
                  <a:lnTo>
                    <a:pt x="123" y="56"/>
                  </a:lnTo>
                  <a:lnTo>
                    <a:pt x="122" y="55"/>
                  </a:lnTo>
                  <a:lnTo>
                    <a:pt x="122" y="53"/>
                  </a:lnTo>
                  <a:lnTo>
                    <a:pt x="121" y="53"/>
                  </a:lnTo>
                  <a:lnTo>
                    <a:pt x="121" y="52"/>
                  </a:lnTo>
                  <a:lnTo>
                    <a:pt x="119" y="51"/>
                  </a:lnTo>
                  <a:lnTo>
                    <a:pt x="119" y="50"/>
                  </a:lnTo>
                  <a:lnTo>
                    <a:pt x="117" y="50"/>
                  </a:lnTo>
                  <a:lnTo>
                    <a:pt x="116" y="49"/>
                  </a:lnTo>
                  <a:lnTo>
                    <a:pt x="116" y="48"/>
                  </a:lnTo>
                  <a:lnTo>
                    <a:pt x="115" y="48"/>
                  </a:lnTo>
                  <a:lnTo>
                    <a:pt x="115" y="46"/>
                  </a:lnTo>
                  <a:lnTo>
                    <a:pt x="115" y="45"/>
                  </a:lnTo>
                  <a:lnTo>
                    <a:pt x="116" y="45"/>
                  </a:lnTo>
                  <a:lnTo>
                    <a:pt x="115" y="45"/>
                  </a:lnTo>
                  <a:lnTo>
                    <a:pt x="115" y="44"/>
                  </a:lnTo>
                  <a:lnTo>
                    <a:pt x="115" y="43"/>
                  </a:lnTo>
                  <a:lnTo>
                    <a:pt x="115" y="42"/>
                  </a:lnTo>
                  <a:lnTo>
                    <a:pt x="114" y="42"/>
                  </a:lnTo>
                  <a:lnTo>
                    <a:pt x="114" y="41"/>
                  </a:lnTo>
                  <a:lnTo>
                    <a:pt x="113" y="41"/>
                  </a:lnTo>
                  <a:lnTo>
                    <a:pt x="113" y="39"/>
                  </a:lnTo>
                  <a:lnTo>
                    <a:pt x="112" y="39"/>
                  </a:lnTo>
                  <a:lnTo>
                    <a:pt x="112" y="38"/>
                  </a:lnTo>
                  <a:lnTo>
                    <a:pt x="110" y="38"/>
                  </a:lnTo>
                  <a:lnTo>
                    <a:pt x="110" y="37"/>
                  </a:lnTo>
                  <a:lnTo>
                    <a:pt x="109" y="37"/>
                  </a:lnTo>
                  <a:lnTo>
                    <a:pt x="109" y="36"/>
                  </a:lnTo>
                  <a:lnTo>
                    <a:pt x="109" y="35"/>
                  </a:lnTo>
                  <a:lnTo>
                    <a:pt x="108" y="35"/>
                  </a:lnTo>
                  <a:lnTo>
                    <a:pt x="108" y="34"/>
                  </a:lnTo>
                  <a:lnTo>
                    <a:pt x="108" y="35"/>
                  </a:lnTo>
                  <a:lnTo>
                    <a:pt x="108" y="34"/>
                  </a:lnTo>
                  <a:lnTo>
                    <a:pt x="108" y="32"/>
                  </a:lnTo>
                  <a:lnTo>
                    <a:pt x="107" y="32"/>
                  </a:lnTo>
                  <a:lnTo>
                    <a:pt x="107" y="31"/>
                  </a:lnTo>
                  <a:lnTo>
                    <a:pt x="107" y="30"/>
                  </a:lnTo>
                  <a:lnTo>
                    <a:pt x="107" y="29"/>
                  </a:lnTo>
                  <a:lnTo>
                    <a:pt x="106" y="29"/>
                  </a:lnTo>
                  <a:lnTo>
                    <a:pt x="106" y="28"/>
                  </a:lnTo>
                  <a:lnTo>
                    <a:pt x="106" y="27"/>
                  </a:lnTo>
                  <a:lnTo>
                    <a:pt x="105" y="27"/>
                  </a:lnTo>
                  <a:lnTo>
                    <a:pt x="106" y="27"/>
                  </a:lnTo>
                  <a:lnTo>
                    <a:pt x="106" y="25"/>
                  </a:lnTo>
                  <a:lnTo>
                    <a:pt x="105" y="25"/>
                  </a:lnTo>
                  <a:lnTo>
                    <a:pt x="105" y="27"/>
                  </a:lnTo>
                  <a:lnTo>
                    <a:pt x="106" y="27"/>
                  </a:lnTo>
                  <a:lnTo>
                    <a:pt x="105" y="27"/>
                  </a:lnTo>
                  <a:lnTo>
                    <a:pt x="103" y="27"/>
                  </a:lnTo>
                  <a:lnTo>
                    <a:pt x="103" y="28"/>
                  </a:lnTo>
                  <a:lnTo>
                    <a:pt x="105" y="28"/>
                  </a:lnTo>
                  <a:lnTo>
                    <a:pt x="103" y="30"/>
                  </a:lnTo>
                  <a:lnTo>
                    <a:pt x="103" y="31"/>
                  </a:lnTo>
                  <a:lnTo>
                    <a:pt x="102" y="31"/>
                  </a:lnTo>
                  <a:lnTo>
                    <a:pt x="103" y="31"/>
                  </a:lnTo>
                  <a:lnTo>
                    <a:pt x="102" y="32"/>
                  </a:lnTo>
                  <a:lnTo>
                    <a:pt x="103" y="32"/>
                  </a:lnTo>
                  <a:lnTo>
                    <a:pt x="103" y="34"/>
                  </a:lnTo>
                  <a:lnTo>
                    <a:pt x="105" y="34"/>
                  </a:lnTo>
                  <a:lnTo>
                    <a:pt x="105" y="35"/>
                  </a:lnTo>
                  <a:lnTo>
                    <a:pt x="106" y="35"/>
                  </a:lnTo>
                  <a:lnTo>
                    <a:pt x="106" y="36"/>
                  </a:lnTo>
                  <a:lnTo>
                    <a:pt x="107" y="36"/>
                  </a:lnTo>
                  <a:lnTo>
                    <a:pt x="107" y="37"/>
                  </a:lnTo>
                  <a:lnTo>
                    <a:pt x="107" y="38"/>
                  </a:lnTo>
                  <a:lnTo>
                    <a:pt x="108" y="39"/>
                  </a:lnTo>
                  <a:lnTo>
                    <a:pt x="108" y="41"/>
                  </a:lnTo>
                  <a:lnTo>
                    <a:pt x="107" y="41"/>
                  </a:lnTo>
                  <a:lnTo>
                    <a:pt x="107" y="42"/>
                  </a:lnTo>
                  <a:lnTo>
                    <a:pt x="108" y="43"/>
                  </a:lnTo>
                  <a:lnTo>
                    <a:pt x="108" y="44"/>
                  </a:lnTo>
                  <a:lnTo>
                    <a:pt x="109" y="45"/>
                  </a:lnTo>
                  <a:lnTo>
                    <a:pt x="110" y="45"/>
                  </a:lnTo>
                  <a:lnTo>
                    <a:pt x="112" y="48"/>
                  </a:lnTo>
                  <a:lnTo>
                    <a:pt x="112" y="49"/>
                  </a:lnTo>
                  <a:lnTo>
                    <a:pt x="113" y="49"/>
                  </a:lnTo>
                  <a:lnTo>
                    <a:pt x="113" y="50"/>
                  </a:lnTo>
                  <a:lnTo>
                    <a:pt x="114" y="51"/>
                  </a:lnTo>
                  <a:lnTo>
                    <a:pt x="115" y="52"/>
                  </a:lnTo>
                  <a:lnTo>
                    <a:pt x="115" y="53"/>
                  </a:lnTo>
                  <a:lnTo>
                    <a:pt x="116" y="55"/>
                  </a:lnTo>
                  <a:lnTo>
                    <a:pt x="116" y="56"/>
                  </a:lnTo>
                  <a:lnTo>
                    <a:pt x="117" y="56"/>
                  </a:lnTo>
                  <a:lnTo>
                    <a:pt x="119" y="56"/>
                  </a:lnTo>
                  <a:lnTo>
                    <a:pt x="119" y="57"/>
                  </a:lnTo>
                  <a:lnTo>
                    <a:pt x="120" y="57"/>
                  </a:lnTo>
                  <a:lnTo>
                    <a:pt x="121" y="58"/>
                  </a:lnTo>
                  <a:lnTo>
                    <a:pt x="121" y="59"/>
                  </a:lnTo>
                  <a:lnTo>
                    <a:pt x="122" y="59"/>
                  </a:lnTo>
                  <a:lnTo>
                    <a:pt x="122" y="60"/>
                  </a:lnTo>
                  <a:lnTo>
                    <a:pt x="121" y="60"/>
                  </a:lnTo>
                  <a:lnTo>
                    <a:pt x="120" y="60"/>
                  </a:lnTo>
                  <a:lnTo>
                    <a:pt x="121" y="60"/>
                  </a:lnTo>
                  <a:lnTo>
                    <a:pt x="121" y="62"/>
                  </a:lnTo>
                  <a:lnTo>
                    <a:pt x="121" y="63"/>
                  </a:lnTo>
                  <a:lnTo>
                    <a:pt x="122" y="63"/>
                  </a:lnTo>
                  <a:lnTo>
                    <a:pt x="121" y="63"/>
                  </a:lnTo>
                  <a:lnTo>
                    <a:pt x="122" y="63"/>
                  </a:lnTo>
                  <a:lnTo>
                    <a:pt x="121" y="63"/>
                  </a:lnTo>
                  <a:lnTo>
                    <a:pt x="121" y="64"/>
                  </a:lnTo>
                  <a:lnTo>
                    <a:pt x="122" y="64"/>
                  </a:lnTo>
                  <a:lnTo>
                    <a:pt x="122" y="65"/>
                  </a:lnTo>
                  <a:lnTo>
                    <a:pt x="123" y="65"/>
                  </a:lnTo>
                  <a:lnTo>
                    <a:pt x="123" y="66"/>
                  </a:lnTo>
                  <a:lnTo>
                    <a:pt x="123" y="67"/>
                  </a:lnTo>
                  <a:lnTo>
                    <a:pt x="124" y="69"/>
                  </a:lnTo>
                  <a:lnTo>
                    <a:pt x="126" y="69"/>
                  </a:lnTo>
                  <a:lnTo>
                    <a:pt x="126" y="70"/>
                  </a:lnTo>
                  <a:lnTo>
                    <a:pt x="126" y="71"/>
                  </a:lnTo>
                  <a:lnTo>
                    <a:pt x="126" y="72"/>
                  </a:lnTo>
                  <a:lnTo>
                    <a:pt x="127" y="72"/>
                  </a:lnTo>
                  <a:lnTo>
                    <a:pt x="127" y="73"/>
                  </a:lnTo>
                  <a:lnTo>
                    <a:pt x="128" y="73"/>
                  </a:lnTo>
                  <a:lnTo>
                    <a:pt x="128" y="74"/>
                  </a:lnTo>
                  <a:lnTo>
                    <a:pt x="129" y="76"/>
                  </a:lnTo>
                  <a:lnTo>
                    <a:pt x="128" y="76"/>
                  </a:lnTo>
                  <a:lnTo>
                    <a:pt x="128" y="77"/>
                  </a:lnTo>
                  <a:lnTo>
                    <a:pt x="128" y="78"/>
                  </a:lnTo>
                  <a:lnTo>
                    <a:pt x="128" y="79"/>
                  </a:lnTo>
                  <a:lnTo>
                    <a:pt x="129" y="79"/>
                  </a:lnTo>
                  <a:lnTo>
                    <a:pt x="129" y="80"/>
                  </a:lnTo>
                  <a:lnTo>
                    <a:pt x="130" y="81"/>
                  </a:lnTo>
                  <a:lnTo>
                    <a:pt x="130" y="83"/>
                  </a:lnTo>
                  <a:lnTo>
                    <a:pt x="131" y="84"/>
                  </a:lnTo>
                  <a:lnTo>
                    <a:pt x="133" y="87"/>
                  </a:lnTo>
                  <a:lnTo>
                    <a:pt x="134" y="87"/>
                  </a:lnTo>
                  <a:lnTo>
                    <a:pt x="134" y="90"/>
                  </a:lnTo>
                  <a:lnTo>
                    <a:pt x="135" y="91"/>
                  </a:lnTo>
                  <a:lnTo>
                    <a:pt x="136" y="91"/>
                  </a:lnTo>
                  <a:lnTo>
                    <a:pt x="136" y="93"/>
                  </a:lnTo>
                  <a:lnTo>
                    <a:pt x="137" y="93"/>
                  </a:lnTo>
                  <a:lnTo>
                    <a:pt x="138" y="95"/>
                  </a:lnTo>
                  <a:lnTo>
                    <a:pt x="138" y="97"/>
                  </a:lnTo>
                  <a:lnTo>
                    <a:pt x="140" y="98"/>
                  </a:lnTo>
                  <a:lnTo>
                    <a:pt x="140" y="99"/>
                  </a:lnTo>
                  <a:lnTo>
                    <a:pt x="141" y="99"/>
                  </a:lnTo>
                  <a:lnTo>
                    <a:pt x="141" y="100"/>
                  </a:lnTo>
                  <a:lnTo>
                    <a:pt x="141" y="101"/>
                  </a:lnTo>
                  <a:lnTo>
                    <a:pt x="142" y="102"/>
                  </a:lnTo>
                  <a:lnTo>
                    <a:pt x="143" y="105"/>
                  </a:lnTo>
                  <a:lnTo>
                    <a:pt x="143" y="106"/>
                  </a:lnTo>
                  <a:lnTo>
                    <a:pt x="144" y="106"/>
                  </a:lnTo>
                  <a:lnTo>
                    <a:pt x="144" y="107"/>
                  </a:lnTo>
                  <a:lnTo>
                    <a:pt x="144" y="108"/>
                  </a:lnTo>
                  <a:lnTo>
                    <a:pt x="145" y="108"/>
                  </a:lnTo>
                  <a:lnTo>
                    <a:pt x="145" y="109"/>
                  </a:lnTo>
                  <a:lnTo>
                    <a:pt x="145" y="111"/>
                  </a:lnTo>
                  <a:lnTo>
                    <a:pt x="147" y="111"/>
                  </a:lnTo>
                  <a:lnTo>
                    <a:pt x="147" y="112"/>
                  </a:lnTo>
                  <a:lnTo>
                    <a:pt x="147" y="113"/>
                  </a:lnTo>
                  <a:lnTo>
                    <a:pt x="148" y="113"/>
                  </a:lnTo>
                  <a:lnTo>
                    <a:pt x="148" y="114"/>
                  </a:lnTo>
                  <a:lnTo>
                    <a:pt x="150" y="116"/>
                  </a:lnTo>
                  <a:lnTo>
                    <a:pt x="151" y="118"/>
                  </a:lnTo>
                  <a:lnTo>
                    <a:pt x="151" y="119"/>
                  </a:lnTo>
                  <a:lnTo>
                    <a:pt x="152" y="119"/>
                  </a:lnTo>
                  <a:lnTo>
                    <a:pt x="151" y="119"/>
                  </a:lnTo>
                  <a:lnTo>
                    <a:pt x="152" y="119"/>
                  </a:lnTo>
                  <a:lnTo>
                    <a:pt x="153" y="120"/>
                  </a:lnTo>
                  <a:lnTo>
                    <a:pt x="153" y="121"/>
                  </a:lnTo>
                  <a:lnTo>
                    <a:pt x="155" y="121"/>
                  </a:lnTo>
                  <a:lnTo>
                    <a:pt x="156" y="121"/>
                  </a:lnTo>
                  <a:lnTo>
                    <a:pt x="156" y="122"/>
                  </a:lnTo>
                  <a:lnTo>
                    <a:pt x="155" y="122"/>
                  </a:lnTo>
                  <a:lnTo>
                    <a:pt x="153" y="122"/>
                  </a:lnTo>
                  <a:lnTo>
                    <a:pt x="153" y="121"/>
                  </a:lnTo>
                  <a:lnTo>
                    <a:pt x="152" y="121"/>
                  </a:lnTo>
                  <a:lnTo>
                    <a:pt x="151" y="122"/>
                  </a:lnTo>
                  <a:lnTo>
                    <a:pt x="152" y="122"/>
                  </a:lnTo>
                  <a:lnTo>
                    <a:pt x="152" y="123"/>
                  </a:lnTo>
                  <a:lnTo>
                    <a:pt x="151" y="123"/>
                  </a:lnTo>
                  <a:lnTo>
                    <a:pt x="152" y="125"/>
                  </a:lnTo>
                  <a:lnTo>
                    <a:pt x="152" y="126"/>
                  </a:lnTo>
                  <a:lnTo>
                    <a:pt x="152" y="127"/>
                  </a:lnTo>
                  <a:lnTo>
                    <a:pt x="152" y="128"/>
                  </a:lnTo>
                  <a:lnTo>
                    <a:pt x="152" y="129"/>
                  </a:lnTo>
                  <a:lnTo>
                    <a:pt x="153" y="130"/>
                  </a:lnTo>
                  <a:lnTo>
                    <a:pt x="153" y="132"/>
                  </a:lnTo>
                  <a:lnTo>
                    <a:pt x="153" y="133"/>
                  </a:lnTo>
                  <a:lnTo>
                    <a:pt x="155" y="134"/>
                  </a:lnTo>
                  <a:lnTo>
                    <a:pt x="155" y="135"/>
                  </a:lnTo>
                  <a:lnTo>
                    <a:pt x="155" y="137"/>
                  </a:lnTo>
                  <a:lnTo>
                    <a:pt x="156" y="137"/>
                  </a:lnTo>
                  <a:lnTo>
                    <a:pt x="156" y="139"/>
                  </a:lnTo>
                  <a:lnTo>
                    <a:pt x="157" y="139"/>
                  </a:lnTo>
                  <a:lnTo>
                    <a:pt x="156" y="139"/>
                  </a:lnTo>
                  <a:lnTo>
                    <a:pt x="156" y="137"/>
                  </a:lnTo>
                  <a:lnTo>
                    <a:pt x="157" y="139"/>
                  </a:lnTo>
                  <a:lnTo>
                    <a:pt x="157" y="140"/>
                  </a:lnTo>
                  <a:lnTo>
                    <a:pt x="158" y="141"/>
                  </a:lnTo>
                  <a:lnTo>
                    <a:pt x="159" y="141"/>
                  </a:lnTo>
                  <a:lnTo>
                    <a:pt x="160" y="141"/>
                  </a:lnTo>
                  <a:lnTo>
                    <a:pt x="162" y="142"/>
                  </a:lnTo>
                  <a:lnTo>
                    <a:pt x="163" y="142"/>
                  </a:lnTo>
                  <a:lnTo>
                    <a:pt x="164" y="143"/>
                  </a:lnTo>
                  <a:lnTo>
                    <a:pt x="164" y="144"/>
                  </a:lnTo>
                  <a:lnTo>
                    <a:pt x="165" y="146"/>
                  </a:lnTo>
                  <a:lnTo>
                    <a:pt x="166" y="146"/>
                  </a:lnTo>
                  <a:lnTo>
                    <a:pt x="166" y="147"/>
                  </a:lnTo>
                  <a:lnTo>
                    <a:pt x="167" y="147"/>
                  </a:lnTo>
                  <a:lnTo>
                    <a:pt x="167" y="148"/>
                  </a:lnTo>
                  <a:lnTo>
                    <a:pt x="169" y="148"/>
                  </a:lnTo>
                  <a:lnTo>
                    <a:pt x="170" y="150"/>
                  </a:lnTo>
                  <a:lnTo>
                    <a:pt x="171" y="150"/>
                  </a:lnTo>
                  <a:lnTo>
                    <a:pt x="171" y="149"/>
                  </a:lnTo>
                  <a:lnTo>
                    <a:pt x="171" y="150"/>
                  </a:lnTo>
                  <a:lnTo>
                    <a:pt x="172" y="150"/>
                  </a:lnTo>
                  <a:lnTo>
                    <a:pt x="172" y="151"/>
                  </a:lnTo>
                  <a:lnTo>
                    <a:pt x="173" y="151"/>
                  </a:lnTo>
                  <a:lnTo>
                    <a:pt x="173" y="153"/>
                  </a:lnTo>
                  <a:lnTo>
                    <a:pt x="172" y="153"/>
                  </a:lnTo>
                  <a:lnTo>
                    <a:pt x="170" y="153"/>
                  </a:lnTo>
                  <a:lnTo>
                    <a:pt x="166" y="153"/>
                  </a:lnTo>
                  <a:lnTo>
                    <a:pt x="163" y="153"/>
                  </a:lnTo>
                  <a:lnTo>
                    <a:pt x="159" y="153"/>
                  </a:lnTo>
                  <a:lnTo>
                    <a:pt x="157" y="153"/>
                  </a:lnTo>
                  <a:lnTo>
                    <a:pt x="153" y="153"/>
                  </a:lnTo>
                  <a:lnTo>
                    <a:pt x="150" y="153"/>
                  </a:lnTo>
                  <a:lnTo>
                    <a:pt x="148" y="153"/>
                  </a:lnTo>
                  <a:lnTo>
                    <a:pt x="144" y="153"/>
                  </a:lnTo>
                  <a:lnTo>
                    <a:pt x="141" y="153"/>
                  </a:lnTo>
                  <a:lnTo>
                    <a:pt x="137" y="153"/>
                  </a:lnTo>
                  <a:lnTo>
                    <a:pt x="135" y="153"/>
                  </a:lnTo>
                  <a:lnTo>
                    <a:pt x="131" y="153"/>
                  </a:lnTo>
                  <a:lnTo>
                    <a:pt x="128" y="153"/>
                  </a:lnTo>
                  <a:lnTo>
                    <a:pt x="124" y="153"/>
                  </a:lnTo>
                  <a:lnTo>
                    <a:pt x="122" y="153"/>
                  </a:lnTo>
                  <a:lnTo>
                    <a:pt x="121" y="153"/>
                  </a:lnTo>
                  <a:lnTo>
                    <a:pt x="119" y="153"/>
                  </a:lnTo>
                  <a:lnTo>
                    <a:pt x="117" y="153"/>
                  </a:lnTo>
                  <a:lnTo>
                    <a:pt x="116" y="153"/>
                  </a:lnTo>
                  <a:lnTo>
                    <a:pt x="115" y="153"/>
                  </a:lnTo>
                  <a:lnTo>
                    <a:pt x="114" y="153"/>
                  </a:lnTo>
                  <a:lnTo>
                    <a:pt x="113" y="153"/>
                  </a:lnTo>
                  <a:lnTo>
                    <a:pt x="112" y="153"/>
                  </a:lnTo>
                  <a:lnTo>
                    <a:pt x="110" y="153"/>
                  </a:lnTo>
                  <a:lnTo>
                    <a:pt x="109" y="153"/>
                  </a:lnTo>
                  <a:lnTo>
                    <a:pt x="108" y="153"/>
                  </a:lnTo>
                  <a:lnTo>
                    <a:pt x="107" y="153"/>
                  </a:lnTo>
                  <a:lnTo>
                    <a:pt x="105" y="153"/>
                  </a:lnTo>
                  <a:lnTo>
                    <a:pt x="103" y="153"/>
                  </a:lnTo>
                  <a:lnTo>
                    <a:pt x="102" y="153"/>
                  </a:lnTo>
                  <a:lnTo>
                    <a:pt x="101" y="153"/>
                  </a:lnTo>
                  <a:lnTo>
                    <a:pt x="100" y="153"/>
                  </a:lnTo>
                  <a:lnTo>
                    <a:pt x="99" y="153"/>
                  </a:lnTo>
                  <a:lnTo>
                    <a:pt x="99" y="151"/>
                  </a:lnTo>
                  <a:lnTo>
                    <a:pt x="99" y="150"/>
                  </a:lnTo>
                  <a:lnTo>
                    <a:pt x="99" y="149"/>
                  </a:lnTo>
                  <a:lnTo>
                    <a:pt x="98" y="149"/>
                  </a:lnTo>
                  <a:lnTo>
                    <a:pt x="96" y="149"/>
                  </a:lnTo>
                  <a:lnTo>
                    <a:pt x="96" y="150"/>
                  </a:lnTo>
                  <a:lnTo>
                    <a:pt x="96" y="151"/>
                  </a:lnTo>
                  <a:lnTo>
                    <a:pt x="95" y="153"/>
                  </a:lnTo>
                  <a:lnTo>
                    <a:pt x="94" y="153"/>
                  </a:lnTo>
                  <a:lnTo>
                    <a:pt x="93" y="153"/>
                  </a:lnTo>
                  <a:lnTo>
                    <a:pt x="91" y="153"/>
                  </a:lnTo>
                  <a:lnTo>
                    <a:pt x="89" y="153"/>
                  </a:lnTo>
                  <a:lnTo>
                    <a:pt x="88" y="153"/>
                  </a:lnTo>
                  <a:lnTo>
                    <a:pt x="87" y="153"/>
                  </a:lnTo>
                  <a:lnTo>
                    <a:pt x="86" y="153"/>
                  </a:lnTo>
                  <a:lnTo>
                    <a:pt x="85" y="153"/>
                  </a:lnTo>
                  <a:lnTo>
                    <a:pt x="84" y="153"/>
                  </a:lnTo>
                  <a:lnTo>
                    <a:pt x="81" y="153"/>
                  </a:lnTo>
                  <a:lnTo>
                    <a:pt x="80" y="153"/>
                  </a:lnTo>
                  <a:lnTo>
                    <a:pt x="79" y="153"/>
                  </a:lnTo>
                  <a:lnTo>
                    <a:pt x="78" y="153"/>
                  </a:lnTo>
                  <a:lnTo>
                    <a:pt x="77" y="153"/>
                  </a:lnTo>
                  <a:lnTo>
                    <a:pt x="76" y="153"/>
                  </a:lnTo>
                  <a:lnTo>
                    <a:pt x="74" y="153"/>
                  </a:lnTo>
                  <a:lnTo>
                    <a:pt x="72" y="153"/>
                  </a:lnTo>
                  <a:lnTo>
                    <a:pt x="71" y="153"/>
                  </a:lnTo>
                  <a:lnTo>
                    <a:pt x="70" y="153"/>
                  </a:lnTo>
                  <a:lnTo>
                    <a:pt x="69" y="153"/>
                  </a:lnTo>
                  <a:lnTo>
                    <a:pt x="67" y="153"/>
                  </a:lnTo>
                  <a:lnTo>
                    <a:pt x="66" y="153"/>
                  </a:lnTo>
                  <a:lnTo>
                    <a:pt x="65" y="153"/>
                  </a:lnTo>
                  <a:lnTo>
                    <a:pt x="63" y="153"/>
                  </a:lnTo>
                  <a:lnTo>
                    <a:pt x="62" y="153"/>
                  </a:lnTo>
                  <a:lnTo>
                    <a:pt x="60" y="153"/>
                  </a:lnTo>
                  <a:lnTo>
                    <a:pt x="59" y="153"/>
                  </a:lnTo>
                  <a:lnTo>
                    <a:pt x="58" y="153"/>
                  </a:lnTo>
                  <a:lnTo>
                    <a:pt x="57" y="153"/>
                  </a:lnTo>
                  <a:lnTo>
                    <a:pt x="56" y="153"/>
                  </a:lnTo>
                  <a:lnTo>
                    <a:pt x="53" y="153"/>
                  </a:lnTo>
                  <a:lnTo>
                    <a:pt x="52" y="153"/>
                  </a:lnTo>
                  <a:lnTo>
                    <a:pt x="51" y="153"/>
                  </a:lnTo>
                  <a:lnTo>
                    <a:pt x="50" y="153"/>
                  </a:lnTo>
                  <a:lnTo>
                    <a:pt x="49" y="153"/>
                  </a:lnTo>
                  <a:lnTo>
                    <a:pt x="48" y="153"/>
                  </a:lnTo>
                  <a:lnTo>
                    <a:pt x="46" y="153"/>
                  </a:lnTo>
                  <a:lnTo>
                    <a:pt x="44" y="153"/>
                  </a:lnTo>
                  <a:lnTo>
                    <a:pt x="43" y="153"/>
                  </a:lnTo>
                  <a:lnTo>
                    <a:pt x="42" y="153"/>
                  </a:lnTo>
                  <a:lnTo>
                    <a:pt x="41" y="153"/>
                  </a:lnTo>
                  <a:lnTo>
                    <a:pt x="39" y="153"/>
                  </a:lnTo>
                  <a:lnTo>
                    <a:pt x="38" y="153"/>
                  </a:lnTo>
                  <a:lnTo>
                    <a:pt x="37" y="153"/>
                  </a:lnTo>
                  <a:lnTo>
                    <a:pt x="36" y="153"/>
                  </a:lnTo>
                  <a:lnTo>
                    <a:pt x="34" y="153"/>
                  </a:lnTo>
                  <a:lnTo>
                    <a:pt x="32" y="153"/>
                  </a:lnTo>
                  <a:lnTo>
                    <a:pt x="31" y="153"/>
                  </a:lnTo>
                  <a:lnTo>
                    <a:pt x="30" y="153"/>
                  </a:lnTo>
                  <a:lnTo>
                    <a:pt x="29" y="153"/>
                  </a:lnTo>
                  <a:lnTo>
                    <a:pt x="28" y="153"/>
                  </a:lnTo>
                  <a:lnTo>
                    <a:pt x="27" y="153"/>
                  </a:lnTo>
                  <a:lnTo>
                    <a:pt x="24" y="153"/>
                  </a:lnTo>
                  <a:lnTo>
                    <a:pt x="23" y="153"/>
                  </a:lnTo>
                  <a:lnTo>
                    <a:pt x="22" y="153"/>
                  </a:lnTo>
                  <a:lnTo>
                    <a:pt x="21" y="153"/>
                  </a:lnTo>
                  <a:lnTo>
                    <a:pt x="20" y="153"/>
                  </a:lnTo>
                  <a:lnTo>
                    <a:pt x="19" y="153"/>
                  </a:lnTo>
                  <a:lnTo>
                    <a:pt x="17" y="153"/>
                  </a:lnTo>
                  <a:lnTo>
                    <a:pt x="15" y="153"/>
                  </a:lnTo>
                  <a:lnTo>
                    <a:pt x="14" y="153"/>
                  </a:lnTo>
                  <a:lnTo>
                    <a:pt x="13" y="153"/>
                  </a:lnTo>
                  <a:lnTo>
                    <a:pt x="12" y="153"/>
                  </a:lnTo>
                  <a:lnTo>
                    <a:pt x="10" y="153"/>
                  </a:lnTo>
                  <a:lnTo>
                    <a:pt x="10" y="148"/>
                  </a:lnTo>
                  <a:lnTo>
                    <a:pt x="9" y="143"/>
                  </a:lnTo>
                  <a:lnTo>
                    <a:pt x="9" y="139"/>
                  </a:lnTo>
                  <a:lnTo>
                    <a:pt x="9" y="134"/>
                  </a:lnTo>
                  <a:lnTo>
                    <a:pt x="9" y="129"/>
                  </a:lnTo>
                  <a:lnTo>
                    <a:pt x="9" y="125"/>
                  </a:lnTo>
                  <a:lnTo>
                    <a:pt x="9" y="120"/>
                  </a:lnTo>
                  <a:lnTo>
                    <a:pt x="9" y="115"/>
                  </a:lnTo>
                  <a:lnTo>
                    <a:pt x="8" y="111"/>
                  </a:lnTo>
                  <a:lnTo>
                    <a:pt x="8" y="106"/>
                  </a:lnTo>
                  <a:lnTo>
                    <a:pt x="8" y="101"/>
                  </a:lnTo>
                  <a:lnTo>
                    <a:pt x="8" y="97"/>
                  </a:lnTo>
                  <a:lnTo>
                    <a:pt x="8" y="92"/>
                  </a:lnTo>
                  <a:lnTo>
                    <a:pt x="7" y="87"/>
                  </a:lnTo>
                  <a:lnTo>
                    <a:pt x="7" y="84"/>
                  </a:lnTo>
                  <a:lnTo>
                    <a:pt x="7" y="79"/>
                  </a:lnTo>
                  <a:lnTo>
                    <a:pt x="7" y="76"/>
                  </a:lnTo>
                  <a:lnTo>
                    <a:pt x="7" y="72"/>
                  </a:lnTo>
                  <a:lnTo>
                    <a:pt x="7" y="71"/>
                  </a:lnTo>
                  <a:lnTo>
                    <a:pt x="6" y="66"/>
                  </a:lnTo>
                  <a:lnTo>
                    <a:pt x="6" y="64"/>
                  </a:lnTo>
                  <a:lnTo>
                    <a:pt x="6" y="63"/>
                  </a:lnTo>
                  <a:lnTo>
                    <a:pt x="6" y="57"/>
                  </a:lnTo>
                  <a:lnTo>
                    <a:pt x="6" y="56"/>
                  </a:lnTo>
                  <a:lnTo>
                    <a:pt x="6" y="50"/>
                  </a:lnTo>
                  <a:lnTo>
                    <a:pt x="5" y="43"/>
                  </a:lnTo>
                  <a:lnTo>
                    <a:pt x="5" y="41"/>
                  </a:lnTo>
                  <a:lnTo>
                    <a:pt x="5" y="38"/>
                  </a:lnTo>
                  <a:lnTo>
                    <a:pt x="5" y="37"/>
                  </a:lnTo>
                  <a:lnTo>
                    <a:pt x="2" y="35"/>
                  </a:lnTo>
                  <a:lnTo>
                    <a:pt x="2" y="34"/>
                  </a:lnTo>
                  <a:lnTo>
                    <a:pt x="2" y="32"/>
                  </a:lnTo>
                  <a:lnTo>
                    <a:pt x="2" y="31"/>
                  </a:lnTo>
                  <a:lnTo>
                    <a:pt x="1" y="30"/>
                  </a:lnTo>
                  <a:lnTo>
                    <a:pt x="1" y="29"/>
                  </a:lnTo>
                  <a:lnTo>
                    <a:pt x="1" y="28"/>
                  </a:lnTo>
                  <a:lnTo>
                    <a:pt x="0" y="24"/>
                  </a:lnTo>
                  <a:lnTo>
                    <a:pt x="0" y="23"/>
                  </a:lnTo>
                  <a:lnTo>
                    <a:pt x="0" y="22"/>
                  </a:lnTo>
                  <a:lnTo>
                    <a:pt x="0" y="21"/>
                  </a:lnTo>
                  <a:lnTo>
                    <a:pt x="1" y="21"/>
                  </a:lnTo>
                  <a:lnTo>
                    <a:pt x="1" y="20"/>
                  </a:lnTo>
                  <a:lnTo>
                    <a:pt x="2" y="18"/>
                  </a:lnTo>
                  <a:lnTo>
                    <a:pt x="2" y="17"/>
                  </a:lnTo>
                  <a:lnTo>
                    <a:pt x="2" y="16"/>
                  </a:lnTo>
                  <a:lnTo>
                    <a:pt x="2" y="15"/>
                  </a:lnTo>
                  <a:lnTo>
                    <a:pt x="3" y="14"/>
                  </a:lnTo>
                  <a:lnTo>
                    <a:pt x="2" y="13"/>
                  </a:lnTo>
                  <a:lnTo>
                    <a:pt x="2" y="11"/>
                  </a:lnTo>
                  <a:lnTo>
                    <a:pt x="2" y="10"/>
                  </a:lnTo>
                  <a:lnTo>
                    <a:pt x="1" y="9"/>
                  </a:lnTo>
                  <a:lnTo>
                    <a:pt x="1" y="8"/>
                  </a:lnTo>
                  <a:lnTo>
                    <a:pt x="1" y="7"/>
                  </a:lnTo>
                  <a:lnTo>
                    <a:pt x="0" y="6"/>
                  </a:lnTo>
                  <a:lnTo>
                    <a:pt x="0" y="4"/>
                  </a:lnTo>
                  <a:lnTo>
                    <a:pt x="1" y="4"/>
                  </a:lnTo>
                  <a:lnTo>
                    <a:pt x="2" y="2"/>
                  </a:lnTo>
                  <a:lnTo>
                    <a:pt x="3" y="1"/>
                  </a:lnTo>
                  <a:lnTo>
                    <a:pt x="3" y="0"/>
                  </a:lnTo>
                  <a:lnTo>
                    <a:pt x="5" y="0"/>
                  </a:lnTo>
                  <a:lnTo>
                    <a:pt x="5" y="1"/>
                  </a:lnTo>
                  <a:lnTo>
                    <a:pt x="5" y="2"/>
                  </a:lnTo>
                  <a:lnTo>
                    <a:pt x="6" y="2"/>
                  </a:lnTo>
                  <a:close/>
                </a:path>
              </a:pathLst>
            </a:custGeom>
            <a:solidFill>
              <a:srgbClr val="005392"/>
            </a:solidFill>
            <a:ln w="3175"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t-IT" sz="1200" dirty="0">
                <a:solidFill>
                  <a:schemeClr val="lt1"/>
                </a:solidFill>
              </a:endParaRPr>
            </a:p>
          </p:txBody>
        </p:sp>
        <p:sp>
          <p:nvSpPr>
            <p:cNvPr id="127" name="Freeform 881">
              <a:extLst>
                <a:ext uri="{FF2B5EF4-FFF2-40B4-BE49-F238E27FC236}">
                  <a16:creationId xmlns:a16="http://schemas.microsoft.com/office/drawing/2014/main" id="{133CCE7F-E370-4887-B3EB-3EA4F090296C}"/>
                </a:ext>
              </a:extLst>
            </p:cNvPr>
            <p:cNvSpPr>
              <a:spLocks noEditPoints="1"/>
            </p:cNvSpPr>
            <p:nvPr/>
          </p:nvSpPr>
          <p:spPr bwMode="auto">
            <a:xfrm>
              <a:off x="6478179" y="2967914"/>
              <a:ext cx="125536" cy="118859"/>
            </a:xfrm>
            <a:custGeom>
              <a:avLst/>
              <a:gdLst>
                <a:gd name="T0" fmla="*/ 51 w 94"/>
                <a:gd name="T1" fmla="*/ 37 h 89"/>
                <a:gd name="T2" fmla="*/ 55 w 94"/>
                <a:gd name="T3" fmla="*/ 38 h 89"/>
                <a:gd name="T4" fmla="*/ 49 w 94"/>
                <a:gd name="T5" fmla="*/ 37 h 89"/>
                <a:gd name="T6" fmla="*/ 49 w 94"/>
                <a:gd name="T7" fmla="*/ 36 h 89"/>
                <a:gd name="T8" fmla="*/ 49 w 94"/>
                <a:gd name="T9" fmla="*/ 33 h 89"/>
                <a:gd name="T10" fmla="*/ 50 w 94"/>
                <a:gd name="T11" fmla="*/ 30 h 89"/>
                <a:gd name="T12" fmla="*/ 34 w 94"/>
                <a:gd name="T13" fmla="*/ 11 h 89"/>
                <a:gd name="T14" fmla="*/ 35 w 94"/>
                <a:gd name="T15" fmla="*/ 17 h 89"/>
                <a:gd name="T16" fmla="*/ 36 w 94"/>
                <a:gd name="T17" fmla="*/ 23 h 89"/>
                <a:gd name="T18" fmla="*/ 39 w 94"/>
                <a:gd name="T19" fmla="*/ 30 h 89"/>
                <a:gd name="T20" fmla="*/ 42 w 94"/>
                <a:gd name="T21" fmla="*/ 37 h 89"/>
                <a:gd name="T22" fmla="*/ 42 w 94"/>
                <a:gd name="T23" fmla="*/ 39 h 89"/>
                <a:gd name="T24" fmla="*/ 45 w 94"/>
                <a:gd name="T25" fmla="*/ 43 h 89"/>
                <a:gd name="T26" fmla="*/ 48 w 94"/>
                <a:gd name="T27" fmla="*/ 44 h 89"/>
                <a:gd name="T28" fmla="*/ 47 w 94"/>
                <a:gd name="T29" fmla="*/ 40 h 89"/>
                <a:gd name="T30" fmla="*/ 49 w 94"/>
                <a:gd name="T31" fmla="*/ 42 h 89"/>
                <a:gd name="T32" fmla="*/ 51 w 94"/>
                <a:gd name="T33" fmla="*/ 46 h 89"/>
                <a:gd name="T34" fmla="*/ 55 w 94"/>
                <a:gd name="T35" fmla="*/ 47 h 89"/>
                <a:gd name="T36" fmla="*/ 57 w 94"/>
                <a:gd name="T37" fmla="*/ 47 h 89"/>
                <a:gd name="T38" fmla="*/ 59 w 94"/>
                <a:gd name="T39" fmla="*/ 51 h 89"/>
                <a:gd name="T40" fmla="*/ 66 w 94"/>
                <a:gd name="T41" fmla="*/ 53 h 89"/>
                <a:gd name="T42" fmla="*/ 70 w 94"/>
                <a:gd name="T43" fmla="*/ 58 h 89"/>
                <a:gd name="T44" fmla="*/ 73 w 94"/>
                <a:gd name="T45" fmla="*/ 63 h 89"/>
                <a:gd name="T46" fmla="*/ 78 w 94"/>
                <a:gd name="T47" fmla="*/ 66 h 89"/>
                <a:gd name="T48" fmla="*/ 82 w 94"/>
                <a:gd name="T49" fmla="*/ 70 h 89"/>
                <a:gd name="T50" fmla="*/ 82 w 94"/>
                <a:gd name="T51" fmla="*/ 70 h 89"/>
                <a:gd name="T52" fmla="*/ 85 w 94"/>
                <a:gd name="T53" fmla="*/ 75 h 89"/>
                <a:gd name="T54" fmla="*/ 89 w 94"/>
                <a:gd name="T55" fmla="*/ 79 h 89"/>
                <a:gd name="T56" fmla="*/ 92 w 94"/>
                <a:gd name="T57" fmla="*/ 82 h 89"/>
                <a:gd name="T58" fmla="*/ 93 w 94"/>
                <a:gd name="T59" fmla="*/ 82 h 89"/>
                <a:gd name="T60" fmla="*/ 90 w 94"/>
                <a:gd name="T61" fmla="*/ 88 h 89"/>
                <a:gd name="T62" fmla="*/ 84 w 94"/>
                <a:gd name="T63" fmla="*/ 87 h 89"/>
                <a:gd name="T64" fmla="*/ 78 w 94"/>
                <a:gd name="T65" fmla="*/ 81 h 89"/>
                <a:gd name="T66" fmla="*/ 69 w 94"/>
                <a:gd name="T67" fmla="*/ 71 h 89"/>
                <a:gd name="T68" fmla="*/ 62 w 94"/>
                <a:gd name="T69" fmla="*/ 61 h 89"/>
                <a:gd name="T70" fmla="*/ 55 w 94"/>
                <a:gd name="T71" fmla="*/ 58 h 89"/>
                <a:gd name="T72" fmla="*/ 49 w 94"/>
                <a:gd name="T73" fmla="*/ 57 h 89"/>
                <a:gd name="T74" fmla="*/ 43 w 94"/>
                <a:gd name="T75" fmla="*/ 54 h 89"/>
                <a:gd name="T76" fmla="*/ 37 w 94"/>
                <a:gd name="T77" fmla="*/ 53 h 89"/>
                <a:gd name="T78" fmla="*/ 32 w 94"/>
                <a:gd name="T79" fmla="*/ 56 h 89"/>
                <a:gd name="T80" fmla="*/ 27 w 94"/>
                <a:gd name="T81" fmla="*/ 56 h 89"/>
                <a:gd name="T82" fmla="*/ 23 w 94"/>
                <a:gd name="T83" fmla="*/ 52 h 89"/>
                <a:gd name="T84" fmla="*/ 20 w 94"/>
                <a:gd name="T85" fmla="*/ 51 h 89"/>
                <a:gd name="T86" fmla="*/ 15 w 94"/>
                <a:gd name="T87" fmla="*/ 60 h 89"/>
                <a:gd name="T88" fmla="*/ 12 w 94"/>
                <a:gd name="T89" fmla="*/ 56 h 89"/>
                <a:gd name="T90" fmla="*/ 8 w 94"/>
                <a:gd name="T91" fmla="*/ 59 h 89"/>
                <a:gd name="T92" fmla="*/ 2 w 94"/>
                <a:gd name="T93" fmla="*/ 58 h 89"/>
                <a:gd name="T94" fmla="*/ 0 w 94"/>
                <a:gd name="T95" fmla="*/ 50 h 89"/>
                <a:gd name="T96" fmla="*/ 2 w 94"/>
                <a:gd name="T97" fmla="*/ 39 h 89"/>
                <a:gd name="T98" fmla="*/ 5 w 94"/>
                <a:gd name="T99" fmla="*/ 30 h 89"/>
                <a:gd name="T100" fmla="*/ 5 w 94"/>
                <a:gd name="T101" fmla="*/ 23 h 89"/>
                <a:gd name="T102" fmla="*/ 7 w 94"/>
                <a:gd name="T103" fmla="*/ 17 h 89"/>
                <a:gd name="T104" fmla="*/ 8 w 94"/>
                <a:gd name="T105" fmla="*/ 15 h 89"/>
                <a:gd name="T106" fmla="*/ 13 w 94"/>
                <a:gd name="T107" fmla="*/ 11 h 89"/>
                <a:gd name="T108" fmla="*/ 18 w 94"/>
                <a:gd name="T109" fmla="*/ 9 h 89"/>
                <a:gd name="T110" fmla="*/ 21 w 94"/>
                <a:gd name="T111" fmla="*/ 7 h 89"/>
                <a:gd name="T112" fmla="*/ 25 w 94"/>
                <a:gd name="T113" fmla="*/ 5 h 89"/>
                <a:gd name="T114" fmla="*/ 29 w 94"/>
                <a:gd name="T115" fmla="*/ 3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4" h="89">
                  <a:moveTo>
                    <a:pt x="49" y="33"/>
                  </a:moveTo>
                  <a:lnTo>
                    <a:pt x="50" y="33"/>
                  </a:lnTo>
                  <a:lnTo>
                    <a:pt x="50" y="35"/>
                  </a:lnTo>
                  <a:lnTo>
                    <a:pt x="51" y="35"/>
                  </a:lnTo>
                  <a:lnTo>
                    <a:pt x="51" y="36"/>
                  </a:lnTo>
                  <a:lnTo>
                    <a:pt x="51" y="37"/>
                  </a:lnTo>
                  <a:lnTo>
                    <a:pt x="52" y="37"/>
                  </a:lnTo>
                  <a:lnTo>
                    <a:pt x="52" y="36"/>
                  </a:lnTo>
                  <a:lnTo>
                    <a:pt x="54" y="36"/>
                  </a:lnTo>
                  <a:lnTo>
                    <a:pt x="54" y="37"/>
                  </a:lnTo>
                  <a:lnTo>
                    <a:pt x="55" y="37"/>
                  </a:lnTo>
                  <a:lnTo>
                    <a:pt x="55" y="38"/>
                  </a:lnTo>
                  <a:lnTo>
                    <a:pt x="54" y="38"/>
                  </a:lnTo>
                  <a:lnTo>
                    <a:pt x="52" y="38"/>
                  </a:lnTo>
                  <a:lnTo>
                    <a:pt x="51" y="38"/>
                  </a:lnTo>
                  <a:lnTo>
                    <a:pt x="50" y="38"/>
                  </a:lnTo>
                  <a:lnTo>
                    <a:pt x="49" y="38"/>
                  </a:lnTo>
                  <a:lnTo>
                    <a:pt x="49" y="37"/>
                  </a:lnTo>
                  <a:lnTo>
                    <a:pt x="48" y="36"/>
                  </a:lnTo>
                  <a:lnTo>
                    <a:pt x="48" y="37"/>
                  </a:lnTo>
                  <a:lnTo>
                    <a:pt x="49" y="37"/>
                  </a:lnTo>
                  <a:lnTo>
                    <a:pt x="50" y="37"/>
                  </a:lnTo>
                  <a:lnTo>
                    <a:pt x="50" y="36"/>
                  </a:lnTo>
                  <a:lnTo>
                    <a:pt x="49" y="36"/>
                  </a:lnTo>
                  <a:lnTo>
                    <a:pt x="48" y="36"/>
                  </a:lnTo>
                  <a:lnTo>
                    <a:pt x="48" y="35"/>
                  </a:lnTo>
                  <a:lnTo>
                    <a:pt x="49" y="35"/>
                  </a:lnTo>
                  <a:lnTo>
                    <a:pt x="49" y="33"/>
                  </a:lnTo>
                  <a:lnTo>
                    <a:pt x="48" y="33"/>
                  </a:lnTo>
                  <a:lnTo>
                    <a:pt x="49" y="33"/>
                  </a:lnTo>
                  <a:close/>
                  <a:moveTo>
                    <a:pt x="50" y="31"/>
                  </a:moveTo>
                  <a:lnTo>
                    <a:pt x="50" y="32"/>
                  </a:lnTo>
                  <a:lnTo>
                    <a:pt x="50" y="31"/>
                  </a:lnTo>
                  <a:lnTo>
                    <a:pt x="49" y="31"/>
                  </a:lnTo>
                  <a:lnTo>
                    <a:pt x="49" y="30"/>
                  </a:lnTo>
                  <a:lnTo>
                    <a:pt x="50" y="30"/>
                  </a:lnTo>
                  <a:lnTo>
                    <a:pt x="50" y="31"/>
                  </a:lnTo>
                  <a:close/>
                  <a:moveTo>
                    <a:pt x="30" y="5"/>
                  </a:moveTo>
                  <a:lnTo>
                    <a:pt x="32" y="8"/>
                  </a:lnTo>
                  <a:lnTo>
                    <a:pt x="33" y="9"/>
                  </a:lnTo>
                  <a:lnTo>
                    <a:pt x="33" y="10"/>
                  </a:lnTo>
                  <a:lnTo>
                    <a:pt x="34" y="11"/>
                  </a:lnTo>
                  <a:lnTo>
                    <a:pt x="33" y="11"/>
                  </a:lnTo>
                  <a:lnTo>
                    <a:pt x="34" y="12"/>
                  </a:lnTo>
                  <a:lnTo>
                    <a:pt x="34" y="14"/>
                  </a:lnTo>
                  <a:lnTo>
                    <a:pt x="35" y="15"/>
                  </a:lnTo>
                  <a:lnTo>
                    <a:pt x="35" y="16"/>
                  </a:lnTo>
                  <a:lnTo>
                    <a:pt x="35" y="17"/>
                  </a:lnTo>
                  <a:lnTo>
                    <a:pt x="36" y="18"/>
                  </a:lnTo>
                  <a:lnTo>
                    <a:pt x="36" y="21"/>
                  </a:lnTo>
                  <a:lnTo>
                    <a:pt x="36" y="19"/>
                  </a:lnTo>
                  <a:lnTo>
                    <a:pt x="36" y="21"/>
                  </a:lnTo>
                  <a:lnTo>
                    <a:pt x="36" y="22"/>
                  </a:lnTo>
                  <a:lnTo>
                    <a:pt x="36" y="23"/>
                  </a:lnTo>
                  <a:lnTo>
                    <a:pt x="37" y="23"/>
                  </a:lnTo>
                  <a:lnTo>
                    <a:pt x="37" y="24"/>
                  </a:lnTo>
                  <a:lnTo>
                    <a:pt x="37" y="25"/>
                  </a:lnTo>
                  <a:lnTo>
                    <a:pt x="37" y="26"/>
                  </a:lnTo>
                  <a:lnTo>
                    <a:pt x="37" y="29"/>
                  </a:lnTo>
                  <a:lnTo>
                    <a:pt x="39" y="30"/>
                  </a:lnTo>
                  <a:lnTo>
                    <a:pt x="39" y="32"/>
                  </a:lnTo>
                  <a:lnTo>
                    <a:pt x="40" y="33"/>
                  </a:lnTo>
                  <a:lnTo>
                    <a:pt x="41" y="33"/>
                  </a:lnTo>
                  <a:lnTo>
                    <a:pt x="41" y="35"/>
                  </a:lnTo>
                  <a:lnTo>
                    <a:pt x="41" y="36"/>
                  </a:lnTo>
                  <a:lnTo>
                    <a:pt x="42" y="37"/>
                  </a:lnTo>
                  <a:lnTo>
                    <a:pt x="41" y="37"/>
                  </a:lnTo>
                  <a:lnTo>
                    <a:pt x="42" y="37"/>
                  </a:lnTo>
                  <a:lnTo>
                    <a:pt x="42" y="38"/>
                  </a:lnTo>
                  <a:lnTo>
                    <a:pt x="41" y="38"/>
                  </a:lnTo>
                  <a:lnTo>
                    <a:pt x="42" y="38"/>
                  </a:lnTo>
                  <a:lnTo>
                    <a:pt x="42" y="39"/>
                  </a:lnTo>
                  <a:lnTo>
                    <a:pt x="43" y="39"/>
                  </a:lnTo>
                  <a:lnTo>
                    <a:pt x="43" y="38"/>
                  </a:lnTo>
                  <a:lnTo>
                    <a:pt x="43" y="39"/>
                  </a:lnTo>
                  <a:lnTo>
                    <a:pt x="44" y="42"/>
                  </a:lnTo>
                  <a:lnTo>
                    <a:pt x="45" y="42"/>
                  </a:lnTo>
                  <a:lnTo>
                    <a:pt x="45" y="43"/>
                  </a:lnTo>
                  <a:lnTo>
                    <a:pt x="45" y="44"/>
                  </a:lnTo>
                  <a:lnTo>
                    <a:pt x="45" y="45"/>
                  </a:lnTo>
                  <a:lnTo>
                    <a:pt x="45" y="46"/>
                  </a:lnTo>
                  <a:lnTo>
                    <a:pt x="47" y="46"/>
                  </a:lnTo>
                  <a:lnTo>
                    <a:pt x="47" y="45"/>
                  </a:lnTo>
                  <a:lnTo>
                    <a:pt x="48" y="44"/>
                  </a:lnTo>
                  <a:lnTo>
                    <a:pt x="47" y="44"/>
                  </a:lnTo>
                  <a:lnTo>
                    <a:pt x="47" y="43"/>
                  </a:lnTo>
                  <a:lnTo>
                    <a:pt x="47" y="42"/>
                  </a:lnTo>
                  <a:lnTo>
                    <a:pt x="45" y="42"/>
                  </a:lnTo>
                  <a:lnTo>
                    <a:pt x="45" y="40"/>
                  </a:lnTo>
                  <a:lnTo>
                    <a:pt x="47" y="40"/>
                  </a:lnTo>
                  <a:lnTo>
                    <a:pt x="47" y="39"/>
                  </a:lnTo>
                  <a:lnTo>
                    <a:pt x="47" y="40"/>
                  </a:lnTo>
                  <a:lnTo>
                    <a:pt x="47" y="39"/>
                  </a:lnTo>
                  <a:lnTo>
                    <a:pt x="48" y="39"/>
                  </a:lnTo>
                  <a:lnTo>
                    <a:pt x="48" y="40"/>
                  </a:lnTo>
                  <a:lnTo>
                    <a:pt x="49" y="42"/>
                  </a:lnTo>
                  <a:lnTo>
                    <a:pt x="50" y="42"/>
                  </a:lnTo>
                  <a:lnTo>
                    <a:pt x="50" y="43"/>
                  </a:lnTo>
                  <a:lnTo>
                    <a:pt x="50" y="44"/>
                  </a:lnTo>
                  <a:lnTo>
                    <a:pt x="50" y="45"/>
                  </a:lnTo>
                  <a:lnTo>
                    <a:pt x="51" y="45"/>
                  </a:lnTo>
                  <a:lnTo>
                    <a:pt x="51" y="46"/>
                  </a:lnTo>
                  <a:lnTo>
                    <a:pt x="51" y="47"/>
                  </a:lnTo>
                  <a:lnTo>
                    <a:pt x="52" y="47"/>
                  </a:lnTo>
                  <a:lnTo>
                    <a:pt x="52" y="49"/>
                  </a:lnTo>
                  <a:lnTo>
                    <a:pt x="54" y="49"/>
                  </a:lnTo>
                  <a:lnTo>
                    <a:pt x="55" y="49"/>
                  </a:lnTo>
                  <a:lnTo>
                    <a:pt x="55" y="47"/>
                  </a:lnTo>
                  <a:lnTo>
                    <a:pt x="56" y="47"/>
                  </a:lnTo>
                  <a:lnTo>
                    <a:pt x="57" y="47"/>
                  </a:lnTo>
                  <a:lnTo>
                    <a:pt x="56" y="47"/>
                  </a:lnTo>
                  <a:lnTo>
                    <a:pt x="57" y="47"/>
                  </a:lnTo>
                  <a:lnTo>
                    <a:pt x="57" y="49"/>
                  </a:lnTo>
                  <a:lnTo>
                    <a:pt x="57" y="47"/>
                  </a:lnTo>
                  <a:lnTo>
                    <a:pt x="58" y="47"/>
                  </a:lnTo>
                  <a:lnTo>
                    <a:pt x="58" y="49"/>
                  </a:lnTo>
                  <a:lnTo>
                    <a:pt x="59" y="49"/>
                  </a:lnTo>
                  <a:lnTo>
                    <a:pt x="58" y="49"/>
                  </a:lnTo>
                  <a:lnTo>
                    <a:pt x="59" y="50"/>
                  </a:lnTo>
                  <a:lnTo>
                    <a:pt x="59" y="51"/>
                  </a:lnTo>
                  <a:lnTo>
                    <a:pt x="61" y="52"/>
                  </a:lnTo>
                  <a:lnTo>
                    <a:pt x="62" y="52"/>
                  </a:lnTo>
                  <a:lnTo>
                    <a:pt x="63" y="52"/>
                  </a:lnTo>
                  <a:lnTo>
                    <a:pt x="64" y="52"/>
                  </a:lnTo>
                  <a:lnTo>
                    <a:pt x="65" y="53"/>
                  </a:lnTo>
                  <a:lnTo>
                    <a:pt x="66" y="53"/>
                  </a:lnTo>
                  <a:lnTo>
                    <a:pt x="66" y="54"/>
                  </a:lnTo>
                  <a:lnTo>
                    <a:pt x="68" y="54"/>
                  </a:lnTo>
                  <a:lnTo>
                    <a:pt x="68" y="56"/>
                  </a:lnTo>
                  <a:lnTo>
                    <a:pt x="69" y="57"/>
                  </a:lnTo>
                  <a:lnTo>
                    <a:pt x="69" y="58"/>
                  </a:lnTo>
                  <a:lnTo>
                    <a:pt x="70" y="58"/>
                  </a:lnTo>
                  <a:lnTo>
                    <a:pt x="70" y="59"/>
                  </a:lnTo>
                  <a:lnTo>
                    <a:pt x="71" y="60"/>
                  </a:lnTo>
                  <a:lnTo>
                    <a:pt x="71" y="61"/>
                  </a:lnTo>
                  <a:lnTo>
                    <a:pt x="72" y="61"/>
                  </a:lnTo>
                  <a:lnTo>
                    <a:pt x="72" y="63"/>
                  </a:lnTo>
                  <a:lnTo>
                    <a:pt x="73" y="63"/>
                  </a:lnTo>
                  <a:lnTo>
                    <a:pt x="73" y="64"/>
                  </a:lnTo>
                  <a:lnTo>
                    <a:pt x="75" y="64"/>
                  </a:lnTo>
                  <a:lnTo>
                    <a:pt x="76" y="64"/>
                  </a:lnTo>
                  <a:lnTo>
                    <a:pt x="76" y="65"/>
                  </a:lnTo>
                  <a:lnTo>
                    <a:pt x="77" y="65"/>
                  </a:lnTo>
                  <a:lnTo>
                    <a:pt x="78" y="66"/>
                  </a:lnTo>
                  <a:lnTo>
                    <a:pt x="78" y="67"/>
                  </a:lnTo>
                  <a:lnTo>
                    <a:pt x="79" y="67"/>
                  </a:lnTo>
                  <a:lnTo>
                    <a:pt x="79" y="68"/>
                  </a:lnTo>
                  <a:lnTo>
                    <a:pt x="80" y="68"/>
                  </a:lnTo>
                  <a:lnTo>
                    <a:pt x="80" y="70"/>
                  </a:lnTo>
                  <a:lnTo>
                    <a:pt x="82" y="70"/>
                  </a:lnTo>
                  <a:lnTo>
                    <a:pt x="80" y="70"/>
                  </a:lnTo>
                  <a:lnTo>
                    <a:pt x="82" y="70"/>
                  </a:lnTo>
                  <a:lnTo>
                    <a:pt x="82" y="68"/>
                  </a:lnTo>
                  <a:lnTo>
                    <a:pt x="80" y="68"/>
                  </a:lnTo>
                  <a:lnTo>
                    <a:pt x="82" y="68"/>
                  </a:lnTo>
                  <a:lnTo>
                    <a:pt x="82" y="70"/>
                  </a:lnTo>
                  <a:lnTo>
                    <a:pt x="83" y="71"/>
                  </a:lnTo>
                  <a:lnTo>
                    <a:pt x="83" y="72"/>
                  </a:lnTo>
                  <a:lnTo>
                    <a:pt x="83" y="74"/>
                  </a:lnTo>
                  <a:lnTo>
                    <a:pt x="84" y="74"/>
                  </a:lnTo>
                  <a:lnTo>
                    <a:pt x="84" y="75"/>
                  </a:lnTo>
                  <a:lnTo>
                    <a:pt x="85" y="75"/>
                  </a:lnTo>
                  <a:lnTo>
                    <a:pt x="86" y="75"/>
                  </a:lnTo>
                  <a:lnTo>
                    <a:pt x="86" y="77"/>
                  </a:lnTo>
                  <a:lnTo>
                    <a:pt x="87" y="77"/>
                  </a:lnTo>
                  <a:lnTo>
                    <a:pt x="87" y="78"/>
                  </a:lnTo>
                  <a:lnTo>
                    <a:pt x="89" y="78"/>
                  </a:lnTo>
                  <a:lnTo>
                    <a:pt x="89" y="79"/>
                  </a:lnTo>
                  <a:lnTo>
                    <a:pt x="89" y="80"/>
                  </a:lnTo>
                  <a:lnTo>
                    <a:pt x="90" y="80"/>
                  </a:lnTo>
                  <a:lnTo>
                    <a:pt x="90" y="81"/>
                  </a:lnTo>
                  <a:lnTo>
                    <a:pt x="91" y="81"/>
                  </a:lnTo>
                  <a:lnTo>
                    <a:pt x="91" y="82"/>
                  </a:lnTo>
                  <a:lnTo>
                    <a:pt x="92" y="82"/>
                  </a:lnTo>
                  <a:lnTo>
                    <a:pt x="91" y="82"/>
                  </a:lnTo>
                  <a:lnTo>
                    <a:pt x="92" y="82"/>
                  </a:lnTo>
                  <a:lnTo>
                    <a:pt x="92" y="81"/>
                  </a:lnTo>
                  <a:lnTo>
                    <a:pt x="92" y="80"/>
                  </a:lnTo>
                  <a:lnTo>
                    <a:pt x="93" y="81"/>
                  </a:lnTo>
                  <a:lnTo>
                    <a:pt x="93" y="82"/>
                  </a:lnTo>
                  <a:lnTo>
                    <a:pt x="94" y="82"/>
                  </a:lnTo>
                  <a:lnTo>
                    <a:pt x="94" y="84"/>
                  </a:lnTo>
                  <a:lnTo>
                    <a:pt x="91" y="85"/>
                  </a:lnTo>
                  <a:lnTo>
                    <a:pt x="90" y="86"/>
                  </a:lnTo>
                  <a:lnTo>
                    <a:pt x="90" y="87"/>
                  </a:lnTo>
                  <a:lnTo>
                    <a:pt x="90" y="88"/>
                  </a:lnTo>
                  <a:lnTo>
                    <a:pt x="89" y="88"/>
                  </a:lnTo>
                  <a:lnTo>
                    <a:pt x="89" y="89"/>
                  </a:lnTo>
                  <a:lnTo>
                    <a:pt x="86" y="87"/>
                  </a:lnTo>
                  <a:lnTo>
                    <a:pt x="85" y="87"/>
                  </a:lnTo>
                  <a:lnTo>
                    <a:pt x="85" y="86"/>
                  </a:lnTo>
                  <a:lnTo>
                    <a:pt x="84" y="87"/>
                  </a:lnTo>
                  <a:lnTo>
                    <a:pt x="83" y="85"/>
                  </a:lnTo>
                  <a:lnTo>
                    <a:pt x="82" y="84"/>
                  </a:lnTo>
                  <a:lnTo>
                    <a:pt x="80" y="82"/>
                  </a:lnTo>
                  <a:lnTo>
                    <a:pt x="79" y="82"/>
                  </a:lnTo>
                  <a:lnTo>
                    <a:pt x="79" y="81"/>
                  </a:lnTo>
                  <a:lnTo>
                    <a:pt x="78" y="81"/>
                  </a:lnTo>
                  <a:lnTo>
                    <a:pt x="77" y="80"/>
                  </a:lnTo>
                  <a:lnTo>
                    <a:pt x="76" y="77"/>
                  </a:lnTo>
                  <a:lnTo>
                    <a:pt x="75" y="75"/>
                  </a:lnTo>
                  <a:lnTo>
                    <a:pt x="73" y="74"/>
                  </a:lnTo>
                  <a:lnTo>
                    <a:pt x="72" y="73"/>
                  </a:lnTo>
                  <a:lnTo>
                    <a:pt x="69" y="71"/>
                  </a:lnTo>
                  <a:lnTo>
                    <a:pt x="68" y="70"/>
                  </a:lnTo>
                  <a:lnTo>
                    <a:pt x="66" y="70"/>
                  </a:lnTo>
                  <a:lnTo>
                    <a:pt x="65" y="67"/>
                  </a:lnTo>
                  <a:lnTo>
                    <a:pt x="64" y="65"/>
                  </a:lnTo>
                  <a:lnTo>
                    <a:pt x="63" y="64"/>
                  </a:lnTo>
                  <a:lnTo>
                    <a:pt x="62" y="61"/>
                  </a:lnTo>
                  <a:lnTo>
                    <a:pt x="61" y="60"/>
                  </a:lnTo>
                  <a:lnTo>
                    <a:pt x="59" y="60"/>
                  </a:lnTo>
                  <a:lnTo>
                    <a:pt x="58" y="60"/>
                  </a:lnTo>
                  <a:lnTo>
                    <a:pt x="57" y="59"/>
                  </a:lnTo>
                  <a:lnTo>
                    <a:pt x="56" y="59"/>
                  </a:lnTo>
                  <a:lnTo>
                    <a:pt x="55" y="58"/>
                  </a:lnTo>
                  <a:lnTo>
                    <a:pt x="54" y="57"/>
                  </a:lnTo>
                  <a:lnTo>
                    <a:pt x="52" y="56"/>
                  </a:lnTo>
                  <a:lnTo>
                    <a:pt x="51" y="56"/>
                  </a:lnTo>
                  <a:lnTo>
                    <a:pt x="50" y="56"/>
                  </a:lnTo>
                  <a:lnTo>
                    <a:pt x="49" y="56"/>
                  </a:lnTo>
                  <a:lnTo>
                    <a:pt x="49" y="57"/>
                  </a:lnTo>
                  <a:lnTo>
                    <a:pt x="48" y="57"/>
                  </a:lnTo>
                  <a:lnTo>
                    <a:pt x="48" y="56"/>
                  </a:lnTo>
                  <a:lnTo>
                    <a:pt x="47" y="56"/>
                  </a:lnTo>
                  <a:lnTo>
                    <a:pt x="45" y="56"/>
                  </a:lnTo>
                  <a:lnTo>
                    <a:pt x="44" y="54"/>
                  </a:lnTo>
                  <a:lnTo>
                    <a:pt x="43" y="54"/>
                  </a:lnTo>
                  <a:lnTo>
                    <a:pt x="42" y="56"/>
                  </a:lnTo>
                  <a:lnTo>
                    <a:pt x="41" y="56"/>
                  </a:lnTo>
                  <a:lnTo>
                    <a:pt x="40" y="56"/>
                  </a:lnTo>
                  <a:lnTo>
                    <a:pt x="39" y="56"/>
                  </a:lnTo>
                  <a:lnTo>
                    <a:pt x="39" y="54"/>
                  </a:lnTo>
                  <a:lnTo>
                    <a:pt x="37" y="53"/>
                  </a:lnTo>
                  <a:lnTo>
                    <a:pt x="36" y="53"/>
                  </a:lnTo>
                  <a:lnTo>
                    <a:pt x="36" y="54"/>
                  </a:lnTo>
                  <a:lnTo>
                    <a:pt x="35" y="54"/>
                  </a:lnTo>
                  <a:lnTo>
                    <a:pt x="34" y="56"/>
                  </a:lnTo>
                  <a:lnTo>
                    <a:pt x="33" y="56"/>
                  </a:lnTo>
                  <a:lnTo>
                    <a:pt x="32" y="56"/>
                  </a:lnTo>
                  <a:lnTo>
                    <a:pt x="30" y="56"/>
                  </a:lnTo>
                  <a:lnTo>
                    <a:pt x="30" y="57"/>
                  </a:lnTo>
                  <a:lnTo>
                    <a:pt x="29" y="57"/>
                  </a:lnTo>
                  <a:lnTo>
                    <a:pt x="28" y="57"/>
                  </a:lnTo>
                  <a:lnTo>
                    <a:pt x="28" y="56"/>
                  </a:lnTo>
                  <a:lnTo>
                    <a:pt x="27" y="56"/>
                  </a:lnTo>
                  <a:lnTo>
                    <a:pt x="27" y="54"/>
                  </a:lnTo>
                  <a:lnTo>
                    <a:pt x="26" y="54"/>
                  </a:lnTo>
                  <a:lnTo>
                    <a:pt x="26" y="53"/>
                  </a:lnTo>
                  <a:lnTo>
                    <a:pt x="26" y="52"/>
                  </a:lnTo>
                  <a:lnTo>
                    <a:pt x="25" y="52"/>
                  </a:lnTo>
                  <a:lnTo>
                    <a:pt x="23" y="52"/>
                  </a:lnTo>
                  <a:lnTo>
                    <a:pt x="22" y="52"/>
                  </a:lnTo>
                  <a:lnTo>
                    <a:pt x="22" y="51"/>
                  </a:lnTo>
                  <a:lnTo>
                    <a:pt x="21" y="51"/>
                  </a:lnTo>
                  <a:lnTo>
                    <a:pt x="21" y="50"/>
                  </a:lnTo>
                  <a:lnTo>
                    <a:pt x="20" y="49"/>
                  </a:lnTo>
                  <a:lnTo>
                    <a:pt x="20" y="51"/>
                  </a:lnTo>
                  <a:lnTo>
                    <a:pt x="19" y="53"/>
                  </a:lnTo>
                  <a:lnTo>
                    <a:pt x="19" y="56"/>
                  </a:lnTo>
                  <a:lnTo>
                    <a:pt x="18" y="58"/>
                  </a:lnTo>
                  <a:lnTo>
                    <a:pt x="16" y="60"/>
                  </a:lnTo>
                  <a:lnTo>
                    <a:pt x="16" y="61"/>
                  </a:lnTo>
                  <a:lnTo>
                    <a:pt x="15" y="60"/>
                  </a:lnTo>
                  <a:lnTo>
                    <a:pt x="15" y="59"/>
                  </a:lnTo>
                  <a:lnTo>
                    <a:pt x="14" y="58"/>
                  </a:lnTo>
                  <a:lnTo>
                    <a:pt x="14" y="57"/>
                  </a:lnTo>
                  <a:lnTo>
                    <a:pt x="13" y="57"/>
                  </a:lnTo>
                  <a:lnTo>
                    <a:pt x="13" y="56"/>
                  </a:lnTo>
                  <a:lnTo>
                    <a:pt x="12" y="56"/>
                  </a:lnTo>
                  <a:lnTo>
                    <a:pt x="11" y="56"/>
                  </a:lnTo>
                  <a:lnTo>
                    <a:pt x="11" y="57"/>
                  </a:lnTo>
                  <a:lnTo>
                    <a:pt x="9" y="57"/>
                  </a:lnTo>
                  <a:lnTo>
                    <a:pt x="9" y="58"/>
                  </a:lnTo>
                  <a:lnTo>
                    <a:pt x="9" y="59"/>
                  </a:lnTo>
                  <a:lnTo>
                    <a:pt x="8" y="59"/>
                  </a:lnTo>
                  <a:lnTo>
                    <a:pt x="8" y="58"/>
                  </a:lnTo>
                  <a:lnTo>
                    <a:pt x="7" y="58"/>
                  </a:lnTo>
                  <a:lnTo>
                    <a:pt x="6" y="58"/>
                  </a:lnTo>
                  <a:lnTo>
                    <a:pt x="5" y="58"/>
                  </a:lnTo>
                  <a:lnTo>
                    <a:pt x="4" y="58"/>
                  </a:lnTo>
                  <a:lnTo>
                    <a:pt x="2" y="58"/>
                  </a:lnTo>
                  <a:lnTo>
                    <a:pt x="2" y="59"/>
                  </a:lnTo>
                  <a:lnTo>
                    <a:pt x="1" y="56"/>
                  </a:lnTo>
                  <a:lnTo>
                    <a:pt x="1" y="54"/>
                  </a:lnTo>
                  <a:lnTo>
                    <a:pt x="1" y="52"/>
                  </a:lnTo>
                  <a:lnTo>
                    <a:pt x="1" y="51"/>
                  </a:lnTo>
                  <a:lnTo>
                    <a:pt x="0" y="50"/>
                  </a:lnTo>
                  <a:lnTo>
                    <a:pt x="0" y="47"/>
                  </a:lnTo>
                  <a:lnTo>
                    <a:pt x="0" y="45"/>
                  </a:lnTo>
                  <a:lnTo>
                    <a:pt x="1" y="44"/>
                  </a:lnTo>
                  <a:lnTo>
                    <a:pt x="1" y="43"/>
                  </a:lnTo>
                  <a:lnTo>
                    <a:pt x="2" y="40"/>
                  </a:lnTo>
                  <a:lnTo>
                    <a:pt x="2" y="39"/>
                  </a:lnTo>
                  <a:lnTo>
                    <a:pt x="2" y="36"/>
                  </a:lnTo>
                  <a:lnTo>
                    <a:pt x="4" y="36"/>
                  </a:lnTo>
                  <a:lnTo>
                    <a:pt x="4" y="35"/>
                  </a:lnTo>
                  <a:lnTo>
                    <a:pt x="4" y="33"/>
                  </a:lnTo>
                  <a:lnTo>
                    <a:pt x="5" y="32"/>
                  </a:lnTo>
                  <a:lnTo>
                    <a:pt x="5" y="30"/>
                  </a:lnTo>
                  <a:lnTo>
                    <a:pt x="6" y="29"/>
                  </a:lnTo>
                  <a:lnTo>
                    <a:pt x="6" y="28"/>
                  </a:lnTo>
                  <a:lnTo>
                    <a:pt x="6" y="26"/>
                  </a:lnTo>
                  <a:lnTo>
                    <a:pt x="6" y="25"/>
                  </a:lnTo>
                  <a:lnTo>
                    <a:pt x="6" y="24"/>
                  </a:lnTo>
                  <a:lnTo>
                    <a:pt x="5" y="23"/>
                  </a:lnTo>
                  <a:lnTo>
                    <a:pt x="6" y="23"/>
                  </a:lnTo>
                  <a:lnTo>
                    <a:pt x="6" y="22"/>
                  </a:lnTo>
                  <a:lnTo>
                    <a:pt x="6" y="21"/>
                  </a:lnTo>
                  <a:lnTo>
                    <a:pt x="7" y="19"/>
                  </a:lnTo>
                  <a:lnTo>
                    <a:pt x="7" y="18"/>
                  </a:lnTo>
                  <a:lnTo>
                    <a:pt x="7" y="17"/>
                  </a:lnTo>
                  <a:lnTo>
                    <a:pt x="6" y="17"/>
                  </a:lnTo>
                  <a:lnTo>
                    <a:pt x="6" y="16"/>
                  </a:lnTo>
                  <a:lnTo>
                    <a:pt x="7" y="16"/>
                  </a:lnTo>
                  <a:lnTo>
                    <a:pt x="6" y="15"/>
                  </a:lnTo>
                  <a:lnTo>
                    <a:pt x="7" y="15"/>
                  </a:lnTo>
                  <a:lnTo>
                    <a:pt x="8" y="15"/>
                  </a:lnTo>
                  <a:lnTo>
                    <a:pt x="9" y="15"/>
                  </a:lnTo>
                  <a:lnTo>
                    <a:pt x="11" y="15"/>
                  </a:lnTo>
                  <a:lnTo>
                    <a:pt x="12" y="15"/>
                  </a:lnTo>
                  <a:lnTo>
                    <a:pt x="13" y="14"/>
                  </a:lnTo>
                  <a:lnTo>
                    <a:pt x="13" y="12"/>
                  </a:lnTo>
                  <a:lnTo>
                    <a:pt x="13" y="11"/>
                  </a:lnTo>
                  <a:lnTo>
                    <a:pt x="13" y="10"/>
                  </a:lnTo>
                  <a:lnTo>
                    <a:pt x="15" y="10"/>
                  </a:lnTo>
                  <a:lnTo>
                    <a:pt x="16" y="9"/>
                  </a:lnTo>
                  <a:lnTo>
                    <a:pt x="16" y="8"/>
                  </a:lnTo>
                  <a:lnTo>
                    <a:pt x="18" y="8"/>
                  </a:lnTo>
                  <a:lnTo>
                    <a:pt x="18" y="9"/>
                  </a:lnTo>
                  <a:lnTo>
                    <a:pt x="19" y="9"/>
                  </a:lnTo>
                  <a:lnTo>
                    <a:pt x="19" y="8"/>
                  </a:lnTo>
                  <a:lnTo>
                    <a:pt x="20" y="7"/>
                  </a:lnTo>
                  <a:lnTo>
                    <a:pt x="21" y="7"/>
                  </a:lnTo>
                  <a:lnTo>
                    <a:pt x="21" y="8"/>
                  </a:lnTo>
                  <a:lnTo>
                    <a:pt x="21" y="7"/>
                  </a:lnTo>
                  <a:lnTo>
                    <a:pt x="22" y="7"/>
                  </a:lnTo>
                  <a:lnTo>
                    <a:pt x="22" y="8"/>
                  </a:lnTo>
                  <a:lnTo>
                    <a:pt x="23" y="8"/>
                  </a:lnTo>
                  <a:lnTo>
                    <a:pt x="23" y="7"/>
                  </a:lnTo>
                  <a:lnTo>
                    <a:pt x="23" y="5"/>
                  </a:lnTo>
                  <a:lnTo>
                    <a:pt x="25" y="5"/>
                  </a:lnTo>
                  <a:lnTo>
                    <a:pt x="25" y="4"/>
                  </a:lnTo>
                  <a:lnTo>
                    <a:pt x="26" y="2"/>
                  </a:lnTo>
                  <a:lnTo>
                    <a:pt x="28" y="0"/>
                  </a:lnTo>
                  <a:lnTo>
                    <a:pt x="28" y="1"/>
                  </a:lnTo>
                  <a:lnTo>
                    <a:pt x="29" y="2"/>
                  </a:lnTo>
                  <a:lnTo>
                    <a:pt x="29" y="3"/>
                  </a:lnTo>
                  <a:lnTo>
                    <a:pt x="30" y="5"/>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28" name="Freeform 882">
              <a:extLst>
                <a:ext uri="{FF2B5EF4-FFF2-40B4-BE49-F238E27FC236}">
                  <a16:creationId xmlns:a16="http://schemas.microsoft.com/office/drawing/2014/main" id="{14F1BB1A-C736-461A-B560-CCCE2202E1C2}"/>
                </a:ext>
              </a:extLst>
            </p:cNvPr>
            <p:cNvSpPr>
              <a:spLocks noEditPoints="1"/>
            </p:cNvSpPr>
            <p:nvPr/>
          </p:nvSpPr>
          <p:spPr bwMode="auto">
            <a:xfrm>
              <a:off x="6398049" y="2605997"/>
              <a:ext cx="4007" cy="2671"/>
            </a:xfrm>
            <a:custGeom>
              <a:avLst/>
              <a:gdLst>
                <a:gd name="T0" fmla="*/ 3 w 3"/>
                <a:gd name="T1" fmla="*/ 1 h 2"/>
                <a:gd name="T2" fmla="*/ 2 w 3"/>
                <a:gd name="T3" fmla="*/ 1 h 2"/>
                <a:gd name="T4" fmla="*/ 2 w 3"/>
                <a:gd name="T5" fmla="*/ 1 h 2"/>
                <a:gd name="T6" fmla="*/ 2 w 3"/>
                <a:gd name="T7" fmla="*/ 1 h 2"/>
                <a:gd name="T8" fmla="*/ 2 w 3"/>
                <a:gd name="T9" fmla="*/ 1 h 2"/>
                <a:gd name="T10" fmla="*/ 2 w 3"/>
                <a:gd name="T11" fmla="*/ 1 h 2"/>
                <a:gd name="T12" fmla="*/ 2 w 3"/>
                <a:gd name="T13" fmla="*/ 1 h 2"/>
                <a:gd name="T14" fmla="*/ 2 w 3"/>
                <a:gd name="T15" fmla="*/ 1 h 2"/>
                <a:gd name="T16" fmla="*/ 2 w 3"/>
                <a:gd name="T17" fmla="*/ 2 h 2"/>
                <a:gd name="T18" fmla="*/ 2 w 3"/>
                <a:gd name="T19" fmla="*/ 2 h 2"/>
                <a:gd name="T20" fmla="*/ 2 w 3"/>
                <a:gd name="T21" fmla="*/ 2 h 2"/>
                <a:gd name="T22" fmla="*/ 3 w 3"/>
                <a:gd name="T23" fmla="*/ 2 h 2"/>
                <a:gd name="T24" fmla="*/ 3 w 3"/>
                <a:gd name="T25" fmla="*/ 2 h 2"/>
                <a:gd name="T26" fmla="*/ 2 w 3"/>
                <a:gd name="T27" fmla="*/ 2 h 2"/>
                <a:gd name="T28" fmla="*/ 2 w 3"/>
                <a:gd name="T29" fmla="*/ 2 h 2"/>
                <a:gd name="T30" fmla="*/ 2 w 3"/>
                <a:gd name="T31" fmla="*/ 2 h 2"/>
                <a:gd name="T32" fmla="*/ 2 w 3"/>
                <a:gd name="T33" fmla="*/ 2 h 2"/>
                <a:gd name="T34" fmla="*/ 2 w 3"/>
                <a:gd name="T35" fmla="*/ 2 h 2"/>
                <a:gd name="T36" fmla="*/ 2 w 3"/>
                <a:gd name="T37" fmla="*/ 2 h 2"/>
                <a:gd name="T38" fmla="*/ 1 w 3"/>
                <a:gd name="T39" fmla="*/ 2 h 2"/>
                <a:gd name="T40" fmla="*/ 1 w 3"/>
                <a:gd name="T41" fmla="*/ 2 h 2"/>
                <a:gd name="T42" fmla="*/ 1 w 3"/>
                <a:gd name="T43" fmla="*/ 2 h 2"/>
                <a:gd name="T44" fmla="*/ 1 w 3"/>
                <a:gd name="T45" fmla="*/ 2 h 2"/>
                <a:gd name="T46" fmla="*/ 1 w 3"/>
                <a:gd name="T47" fmla="*/ 2 h 2"/>
                <a:gd name="T48" fmla="*/ 1 w 3"/>
                <a:gd name="T49" fmla="*/ 2 h 2"/>
                <a:gd name="T50" fmla="*/ 1 w 3"/>
                <a:gd name="T51" fmla="*/ 2 h 2"/>
                <a:gd name="T52" fmla="*/ 1 w 3"/>
                <a:gd name="T53" fmla="*/ 2 h 2"/>
                <a:gd name="T54" fmla="*/ 1 w 3"/>
                <a:gd name="T55" fmla="*/ 2 h 2"/>
                <a:gd name="T56" fmla="*/ 0 w 3"/>
                <a:gd name="T57" fmla="*/ 1 h 2"/>
                <a:gd name="T58" fmla="*/ 1 w 3"/>
                <a:gd name="T59" fmla="*/ 1 h 2"/>
                <a:gd name="T60" fmla="*/ 0 w 3"/>
                <a:gd name="T61" fmla="*/ 1 h 2"/>
                <a:gd name="T62" fmla="*/ 0 w 3"/>
                <a:gd name="T63" fmla="*/ 1 h 2"/>
                <a:gd name="T64" fmla="*/ 0 w 3"/>
                <a:gd name="T65" fmla="*/ 1 h 2"/>
                <a:gd name="T66" fmla="*/ 1 w 3"/>
                <a:gd name="T67" fmla="*/ 1 h 2"/>
                <a:gd name="T68" fmla="*/ 1 w 3"/>
                <a:gd name="T69" fmla="*/ 1 h 2"/>
                <a:gd name="T70" fmla="*/ 1 w 3"/>
                <a:gd name="T71" fmla="*/ 1 h 2"/>
                <a:gd name="T72" fmla="*/ 1 w 3"/>
                <a:gd name="T73" fmla="*/ 1 h 2"/>
                <a:gd name="T74" fmla="*/ 1 w 3"/>
                <a:gd name="T75" fmla="*/ 1 h 2"/>
                <a:gd name="T76" fmla="*/ 2 w 3"/>
                <a:gd name="T77" fmla="*/ 1 h 2"/>
                <a:gd name="T78" fmla="*/ 2 w 3"/>
                <a:gd name="T79" fmla="*/ 1 h 2"/>
                <a:gd name="T80" fmla="*/ 2 w 3"/>
                <a:gd name="T81" fmla="*/ 1 h 2"/>
                <a:gd name="T82" fmla="*/ 2 w 3"/>
                <a:gd name="T83" fmla="*/ 1 h 2"/>
                <a:gd name="T84" fmla="*/ 2 w 3"/>
                <a:gd name="T85" fmla="*/ 0 h 2"/>
                <a:gd name="T86" fmla="*/ 2 w 3"/>
                <a:gd name="T87" fmla="*/ 0 h 2"/>
                <a:gd name="T88" fmla="*/ 2 w 3"/>
                <a:gd name="T89" fmla="*/ 0 h 2"/>
                <a:gd name="T90" fmla="*/ 3 w 3"/>
                <a:gd name="T91" fmla="*/ 0 h 2"/>
                <a:gd name="T92" fmla="*/ 3 w 3"/>
                <a:gd name="T93" fmla="*/ 0 h 2"/>
                <a:gd name="T94" fmla="*/ 3 w 3"/>
                <a:gd name="T95" fmla="*/ 0 h 2"/>
                <a:gd name="T96" fmla="*/ 3 w 3"/>
                <a:gd name="T97" fmla="*/ 0 h 2"/>
                <a:gd name="T98" fmla="*/ 3 w 3"/>
                <a:gd name="T99" fmla="*/ 1 h 2"/>
                <a:gd name="T100" fmla="*/ 1 w 3"/>
                <a:gd name="T101" fmla="*/ 1 h 2"/>
                <a:gd name="T102" fmla="*/ 1 w 3"/>
                <a:gd name="T103" fmla="*/ 1 h 2"/>
                <a:gd name="T104" fmla="*/ 1 w 3"/>
                <a:gd name="T105" fmla="*/ 1 h 2"/>
                <a:gd name="T106" fmla="*/ 1 w 3"/>
                <a:gd name="T107" fmla="*/ 1 h 2"/>
                <a:gd name="T108" fmla="*/ 1 w 3"/>
                <a:gd name="T10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 h="2">
                  <a:moveTo>
                    <a:pt x="3" y="1"/>
                  </a:moveTo>
                  <a:lnTo>
                    <a:pt x="3" y="1"/>
                  </a:lnTo>
                  <a:lnTo>
                    <a:pt x="2" y="0"/>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2"/>
                  </a:lnTo>
                  <a:lnTo>
                    <a:pt x="2" y="2"/>
                  </a:lnTo>
                  <a:lnTo>
                    <a:pt x="2" y="2"/>
                  </a:lnTo>
                  <a:lnTo>
                    <a:pt x="2" y="2"/>
                  </a:lnTo>
                  <a:lnTo>
                    <a:pt x="2" y="2"/>
                  </a:lnTo>
                  <a:lnTo>
                    <a:pt x="2" y="2"/>
                  </a:lnTo>
                  <a:lnTo>
                    <a:pt x="2" y="2"/>
                  </a:lnTo>
                  <a:lnTo>
                    <a:pt x="3" y="2"/>
                  </a:lnTo>
                  <a:lnTo>
                    <a:pt x="3" y="2"/>
                  </a:lnTo>
                  <a:lnTo>
                    <a:pt x="3"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1"/>
                  </a:lnTo>
                  <a:lnTo>
                    <a:pt x="0" y="1"/>
                  </a:lnTo>
                  <a:lnTo>
                    <a:pt x="1" y="1"/>
                  </a:lnTo>
                  <a:lnTo>
                    <a:pt x="1" y="1"/>
                  </a:lnTo>
                  <a:lnTo>
                    <a:pt x="0" y="1"/>
                  </a:lnTo>
                  <a:lnTo>
                    <a:pt x="0" y="1"/>
                  </a:lnTo>
                  <a:lnTo>
                    <a:pt x="0" y="1"/>
                  </a:lnTo>
                  <a:lnTo>
                    <a:pt x="0" y="1"/>
                  </a:lnTo>
                  <a:lnTo>
                    <a:pt x="0" y="1"/>
                  </a:lnTo>
                  <a:lnTo>
                    <a:pt x="0" y="1"/>
                  </a:lnTo>
                  <a:lnTo>
                    <a:pt x="0" y="1"/>
                  </a:lnTo>
                  <a:lnTo>
                    <a:pt x="1" y="1"/>
                  </a:lnTo>
                  <a:lnTo>
                    <a:pt x="1" y="1"/>
                  </a:lnTo>
                  <a:lnTo>
                    <a:pt x="1" y="1"/>
                  </a:lnTo>
                  <a:lnTo>
                    <a:pt x="1" y="1"/>
                  </a:lnTo>
                  <a:lnTo>
                    <a:pt x="1" y="1"/>
                  </a:lnTo>
                  <a:lnTo>
                    <a:pt x="1" y="1"/>
                  </a:lnTo>
                  <a:lnTo>
                    <a:pt x="1" y="1"/>
                  </a:lnTo>
                  <a:lnTo>
                    <a:pt x="1" y="1"/>
                  </a:lnTo>
                  <a:lnTo>
                    <a:pt x="1" y="1"/>
                  </a:lnTo>
                  <a:lnTo>
                    <a:pt x="1" y="1"/>
                  </a:lnTo>
                  <a:lnTo>
                    <a:pt x="2" y="1"/>
                  </a:lnTo>
                  <a:lnTo>
                    <a:pt x="2" y="1"/>
                  </a:lnTo>
                  <a:lnTo>
                    <a:pt x="2" y="1"/>
                  </a:lnTo>
                  <a:lnTo>
                    <a:pt x="2" y="1"/>
                  </a:lnTo>
                  <a:lnTo>
                    <a:pt x="2" y="1"/>
                  </a:lnTo>
                  <a:lnTo>
                    <a:pt x="2" y="1"/>
                  </a:lnTo>
                  <a:lnTo>
                    <a:pt x="2" y="1"/>
                  </a:lnTo>
                  <a:lnTo>
                    <a:pt x="2" y="0"/>
                  </a:lnTo>
                  <a:lnTo>
                    <a:pt x="2" y="0"/>
                  </a:lnTo>
                  <a:lnTo>
                    <a:pt x="2" y="0"/>
                  </a:lnTo>
                  <a:lnTo>
                    <a:pt x="2" y="0"/>
                  </a:lnTo>
                  <a:lnTo>
                    <a:pt x="2" y="0"/>
                  </a:lnTo>
                  <a:lnTo>
                    <a:pt x="2" y="0"/>
                  </a:lnTo>
                  <a:lnTo>
                    <a:pt x="3" y="0"/>
                  </a:lnTo>
                  <a:lnTo>
                    <a:pt x="3" y="0"/>
                  </a:lnTo>
                  <a:lnTo>
                    <a:pt x="3" y="0"/>
                  </a:lnTo>
                  <a:lnTo>
                    <a:pt x="3" y="0"/>
                  </a:lnTo>
                  <a:lnTo>
                    <a:pt x="3" y="0"/>
                  </a:lnTo>
                  <a:lnTo>
                    <a:pt x="3" y="0"/>
                  </a:lnTo>
                  <a:lnTo>
                    <a:pt x="3" y="0"/>
                  </a:lnTo>
                  <a:lnTo>
                    <a:pt x="3" y="0"/>
                  </a:lnTo>
                  <a:lnTo>
                    <a:pt x="3" y="1"/>
                  </a:lnTo>
                  <a:lnTo>
                    <a:pt x="3" y="1"/>
                  </a:lnTo>
                  <a:lnTo>
                    <a:pt x="3" y="1"/>
                  </a:lnTo>
                  <a:close/>
                  <a:moveTo>
                    <a:pt x="1" y="1"/>
                  </a:moveTo>
                  <a:lnTo>
                    <a:pt x="1" y="1"/>
                  </a:lnTo>
                  <a:lnTo>
                    <a:pt x="1" y="1"/>
                  </a:lnTo>
                  <a:lnTo>
                    <a:pt x="1" y="1"/>
                  </a:lnTo>
                  <a:lnTo>
                    <a:pt x="1" y="1"/>
                  </a:lnTo>
                  <a:lnTo>
                    <a:pt x="1" y="1"/>
                  </a:lnTo>
                  <a:lnTo>
                    <a:pt x="1" y="1"/>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29" name="Freeform 883">
              <a:extLst>
                <a:ext uri="{FF2B5EF4-FFF2-40B4-BE49-F238E27FC236}">
                  <a16:creationId xmlns:a16="http://schemas.microsoft.com/office/drawing/2014/main" id="{97BA2917-C687-45A2-9A6C-81360CAEE8CA}"/>
                </a:ext>
              </a:extLst>
            </p:cNvPr>
            <p:cNvSpPr>
              <a:spLocks/>
            </p:cNvSpPr>
            <p:nvPr/>
          </p:nvSpPr>
          <p:spPr bwMode="auto">
            <a:xfrm>
              <a:off x="6419417" y="3033353"/>
              <a:ext cx="277782" cy="243059"/>
            </a:xfrm>
            <a:custGeom>
              <a:avLst/>
              <a:gdLst>
                <a:gd name="T0" fmla="*/ 122 w 208"/>
                <a:gd name="T1" fmla="*/ 49 h 182"/>
                <a:gd name="T2" fmla="*/ 120 w 208"/>
                <a:gd name="T3" fmla="*/ 58 h 182"/>
                <a:gd name="T4" fmla="*/ 124 w 208"/>
                <a:gd name="T5" fmla="*/ 63 h 182"/>
                <a:gd name="T6" fmla="*/ 134 w 208"/>
                <a:gd name="T7" fmla="*/ 60 h 182"/>
                <a:gd name="T8" fmla="*/ 134 w 208"/>
                <a:gd name="T9" fmla="*/ 67 h 182"/>
                <a:gd name="T10" fmla="*/ 137 w 208"/>
                <a:gd name="T11" fmla="*/ 75 h 182"/>
                <a:gd name="T12" fmla="*/ 143 w 208"/>
                <a:gd name="T13" fmla="*/ 84 h 182"/>
                <a:gd name="T14" fmla="*/ 151 w 208"/>
                <a:gd name="T15" fmla="*/ 92 h 182"/>
                <a:gd name="T16" fmla="*/ 163 w 208"/>
                <a:gd name="T17" fmla="*/ 98 h 182"/>
                <a:gd name="T18" fmla="*/ 173 w 208"/>
                <a:gd name="T19" fmla="*/ 101 h 182"/>
                <a:gd name="T20" fmla="*/ 185 w 208"/>
                <a:gd name="T21" fmla="*/ 106 h 182"/>
                <a:gd name="T22" fmla="*/ 195 w 208"/>
                <a:gd name="T23" fmla="*/ 109 h 182"/>
                <a:gd name="T24" fmla="*/ 206 w 208"/>
                <a:gd name="T25" fmla="*/ 112 h 182"/>
                <a:gd name="T26" fmla="*/ 200 w 208"/>
                <a:gd name="T27" fmla="*/ 119 h 182"/>
                <a:gd name="T28" fmla="*/ 193 w 208"/>
                <a:gd name="T29" fmla="*/ 127 h 182"/>
                <a:gd name="T30" fmla="*/ 185 w 208"/>
                <a:gd name="T31" fmla="*/ 136 h 182"/>
                <a:gd name="T32" fmla="*/ 174 w 208"/>
                <a:gd name="T33" fmla="*/ 148 h 182"/>
                <a:gd name="T34" fmla="*/ 164 w 208"/>
                <a:gd name="T35" fmla="*/ 158 h 182"/>
                <a:gd name="T36" fmla="*/ 153 w 208"/>
                <a:gd name="T37" fmla="*/ 157 h 182"/>
                <a:gd name="T38" fmla="*/ 142 w 208"/>
                <a:gd name="T39" fmla="*/ 162 h 182"/>
                <a:gd name="T40" fmla="*/ 134 w 208"/>
                <a:gd name="T41" fmla="*/ 169 h 182"/>
                <a:gd name="T42" fmla="*/ 124 w 208"/>
                <a:gd name="T43" fmla="*/ 173 h 182"/>
                <a:gd name="T44" fmla="*/ 114 w 208"/>
                <a:gd name="T45" fmla="*/ 173 h 182"/>
                <a:gd name="T46" fmla="*/ 108 w 208"/>
                <a:gd name="T47" fmla="*/ 169 h 182"/>
                <a:gd name="T48" fmla="*/ 98 w 208"/>
                <a:gd name="T49" fmla="*/ 173 h 182"/>
                <a:gd name="T50" fmla="*/ 92 w 208"/>
                <a:gd name="T51" fmla="*/ 182 h 182"/>
                <a:gd name="T52" fmla="*/ 83 w 208"/>
                <a:gd name="T53" fmla="*/ 179 h 182"/>
                <a:gd name="T54" fmla="*/ 77 w 208"/>
                <a:gd name="T55" fmla="*/ 179 h 182"/>
                <a:gd name="T56" fmla="*/ 66 w 208"/>
                <a:gd name="T57" fmla="*/ 173 h 182"/>
                <a:gd name="T58" fmla="*/ 56 w 208"/>
                <a:gd name="T59" fmla="*/ 166 h 182"/>
                <a:gd name="T60" fmla="*/ 42 w 208"/>
                <a:gd name="T61" fmla="*/ 164 h 182"/>
                <a:gd name="T62" fmla="*/ 39 w 208"/>
                <a:gd name="T63" fmla="*/ 151 h 182"/>
                <a:gd name="T64" fmla="*/ 32 w 208"/>
                <a:gd name="T65" fmla="*/ 150 h 182"/>
                <a:gd name="T66" fmla="*/ 28 w 208"/>
                <a:gd name="T67" fmla="*/ 140 h 182"/>
                <a:gd name="T68" fmla="*/ 23 w 208"/>
                <a:gd name="T69" fmla="*/ 129 h 182"/>
                <a:gd name="T70" fmla="*/ 19 w 208"/>
                <a:gd name="T71" fmla="*/ 124 h 182"/>
                <a:gd name="T72" fmla="*/ 13 w 208"/>
                <a:gd name="T73" fmla="*/ 116 h 182"/>
                <a:gd name="T74" fmla="*/ 5 w 208"/>
                <a:gd name="T75" fmla="*/ 114 h 182"/>
                <a:gd name="T76" fmla="*/ 1 w 208"/>
                <a:gd name="T77" fmla="*/ 109 h 182"/>
                <a:gd name="T78" fmla="*/ 5 w 208"/>
                <a:gd name="T79" fmla="*/ 102 h 182"/>
                <a:gd name="T80" fmla="*/ 10 w 208"/>
                <a:gd name="T81" fmla="*/ 102 h 182"/>
                <a:gd name="T82" fmla="*/ 14 w 208"/>
                <a:gd name="T83" fmla="*/ 86 h 182"/>
                <a:gd name="T84" fmla="*/ 16 w 208"/>
                <a:gd name="T85" fmla="*/ 68 h 182"/>
                <a:gd name="T86" fmla="*/ 25 w 208"/>
                <a:gd name="T87" fmla="*/ 65 h 182"/>
                <a:gd name="T88" fmla="*/ 28 w 208"/>
                <a:gd name="T89" fmla="*/ 52 h 182"/>
                <a:gd name="T90" fmla="*/ 30 w 208"/>
                <a:gd name="T91" fmla="*/ 45 h 182"/>
                <a:gd name="T92" fmla="*/ 36 w 208"/>
                <a:gd name="T93" fmla="*/ 35 h 182"/>
                <a:gd name="T94" fmla="*/ 44 w 208"/>
                <a:gd name="T95" fmla="*/ 21 h 182"/>
                <a:gd name="T96" fmla="*/ 50 w 208"/>
                <a:gd name="T97" fmla="*/ 9 h 182"/>
                <a:gd name="T98" fmla="*/ 56 w 208"/>
                <a:gd name="T99" fmla="*/ 7 h 182"/>
                <a:gd name="T100" fmla="*/ 62 w 208"/>
                <a:gd name="T101" fmla="*/ 9 h 182"/>
                <a:gd name="T102" fmla="*/ 67 w 208"/>
                <a:gd name="T103" fmla="*/ 3 h 182"/>
                <a:gd name="T104" fmla="*/ 73 w 208"/>
                <a:gd name="T105" fmla="*/ 8 h 182"/>
                <a:gd name="T106" fmla="*/ 81 w 208"/>
                <a:gd name="T107" fmla="*/ 4 h 182"/>
                <a:gd name="T108" fmla="*/ 91 w 208"/>
                <a:gd name="T109" fmla="*/ 7 h 182"/>
                <a:gd name="T110" fmla="*/ 99 w 208"/>
                <a:gd name="T111" fmla="*/ 9 h 182"/>
                <a:gd name="T112" fmla="*/ 109 w 208"/>
                <a:gd name="T113" fmla="*/ 18 h 182"/>
                <a:gd name="T114" fmla="*/ 122 w 208"/>
                <a:gd name="T115" fmla="*/ 3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8" h="182">
                  <a:moveTo>
                    <a:pt x="128" y="38"/>
                  </a:moveTo>
                  <a:lnTo>
                    <a:pt x="127" y="39"/>
                  </a:lnTo>
                  <a:lnTo>
                    <a:pt x="127" y="40"/>
                  </a:lnTo>
                  <a:lnTo>
                    <a:pt x="126" y="44"/>
                  </a:lnTo>
                  <a:lnTo>
                    <a:pt x="124" y="44"/>
                  </a:lnTo>
                  <a:lnTo>
                    <a:pt x="124" y="45"/>
                  </a:lnTo>
                  <a:lnTo>
                    <a:pt x="124" y="46"/>
                  </a:lnTo>
                  <a:lnTo>
                    <a:pt x="123" y="47"/>
                  </a:lnTo>
                  <a:lnTo>
                    <a:pt x="122" y="49"/>
                  </a:lnTo>
                  <a:lnTo>
                    <a:pt x="121" y="50"/>
                  </a:lnTo>
                  <a:lnTo>
                    <a:pt x="121" y="51"/>
                  </a:lnTo>
                  <a:lnTo>
                    <a:pt x="120" y="52"/>
                  </a:lnTo>
                  <a:lnTo>
                    <a:pt x="120" y="53"/>
                  </a:lnTo>
                  <a:lnTo>
                    <a:pt x="120" y="54"/>
                  </a:lnTo>
                  <a:lnTo>
                    <a:pt x="121" y="56"/>
                  </a:lnTo>
                  <a:lnTo>
                    <a:pt x="121" y="57"/>
                  </a:lnTo>
                  <a:lnTo>
                    <a:pt x="120" y="57"/>
                  </a:lnTo>
                  <a:lnTo>
                    <a:pt x="120" y="58"/>
                  </a:lnTo>
                  <a:lnTo>
                    <a:pt x="119" y="59"/>
                  </a:lnTo>
                  <a:lnTo>
                    <a:pt x="120" y="59"/>
                  </a:lnTo>
                  <a:lnTo>
                    <a:pt x="120" y="60"/>
                  </a:lnTo>
                  <a:lnTo>
                    <a:pt x="121" y="60"/>
                  </a:lnTo>
                  <a:lnTo>
                    <a:pt x="121" y="61"/>
                  </a:lnTo>
                  <a:lnTo>
                    <a:pt x="121" y="63"/>
                  </a:lnTo>
                  <a:lnTo>
                    <a:pt x="122" y="63"/>
                  </a:lnTo>
                  <a:lnTo>
                    <a:pt x="123" y="63"/>
                  </a:lnTo>
                  <a:lnTo>
                    <a:pt x="124" y="63"/>
                  </a:lnTo>
                  <a:lnTo>
                    <a:pt x="124" y="61"/>
                  </a:lnTo>
                  <a:lnTo>
                    <a:pt x="126" y="61"/>
                  </a:lnTo>
                  <a:lnTo>
                    <a:pt x="127" y="61"/>
                  </a:lnTo>
                  <a:lnTo>
                    <a:pt x="128" y="61"/>
                  </a:lnTo>
                  <a:lnTo>
                    <a:pt x="129" y="61"/>
                  </a:lnTo>
                  <a:lnTo>
                    <a:pt x="130" y="60"/>
                  </a:lnTo>
                  <a:lnTo>
                    <a:pt x="131" y="60"/>
                  </a:lnTo>
                  <a:lnTo>
                    <a:pt x="133" y="60"/>
                  </a:lnTo>
                  <a:lnTo>
                    <a:pt x="134" y="60"/>
                  </a:lnTo>
                  <a:lnTo>
                    <a:pt x="134" y="61"/>
                  </a:lnTo>
                  <a:lnTo>
                    <a:pt x="135" y="61"/>
                  </a:lnTo>
                  <a:lnTo>
                    <a:pt x="136" y="61"/>
                  </a:lnTo>
                  <a:lnTo>
                    <a:pt x="136" y="63"/>
                  </a:lnTo>
                  <a:lnTo>
                    <a:pt x="135" y="64"/>
                  </a:lnTo>
                  <a:lnTo>
                    <a:pt x="135" y="65"/>
                  </a:lnTo>
                  <a:lnTo>
                    <a:pt x="134" y="65"/>
                  </a:lnTo>
                  <a:lnTo>
                    <a:pt x="134" y="66"/>
                  </a:lnTo>
                  <a:lnTo>
                    <a:pt x="134" y="67"/>
                  </a:lnTo>
                  <a:lnTo>
                    <a:pt x="133" y="67"/>
                  </a:lnTo>
                  <a:lnTo>
                    <a:pt x="134" y="68"/>
                  </a:lnTo>
                  <a:lnTo>
                    <a:pt x="134" y="70"/>
                  </a:lnTo>
                  <a:lnTo>
                    <a:pt x="135" y="70"/>
                  </a:lnTo>
                  <a:lnTo>
                    <a:pt x="135" y="71"/>
                  </a:lnTo>
                  <a:lnTo>
                    <a:pt x="135" y="72"/>
                  </a:lnTo>
                  <a:lnTo>
                    <a:pt x="135" y="73"/>
                  </a:lnTo>
                  <a:lnTo>
                    <a:pt x="136" y="74"/>
                  </a:lnTo>
                  <a:lnTo>
                    <a:pt x="137" y="75"/>
                  </a:lnTo>
                  <a:lnTo>
                    <a:pt x="138" y="75"/>
                  </a:lnTo>
                  <a:lnTo>
                    <a:pt x="138" y="77"/>
                  </a:lnTo>
                  <a:lnTo>
                    <a:pt x="138" y="78"/>
                  </a:lnTo>
                  <a:lnTo>
                    <a:pt x="140" y="79"/>
                  </a:lnTo>
                  <a:lnTo>
                    <a:pt x="141" y="79"/>
                  </a:lnTo>
                  <a:lnTo>
                    <a:pt x="141" y="80"/>
                  </a:lnTo>
                  <a:lnTo>
                    <a:pt x="142" y="82"/>
                  </a:lnTo>
                  <a:lnTo>
                    <a:pt x="142" y="84"/>
                  </a:lnTo>
                  <a:lnTo>
                    <a:pt x="143" y="84"/>
                  </a:lnTo>
                  <a:lnTo>
                    <a:pt x="143" y="85"/>
                  </a:lnTo>
                  <a:lnTo>
                    <a:pt x="144" y="85"/>
                  </a:lnTo>
                  <a:lnTo>
                    <a:pt x="144" y="86"/>
                  </a:lnTo>
                  <a:lnTo>
                    <a:pt x="144" y="87"/>
                  </a:lnTo>
                  <a:lnTo>
                    <a:pt x="145" y="87"/>
                  </a:lnTo>
                  <a:lnTo>
                    <a:pt x="147" y="88"/>
                  </a:lnTo>
                  <a:lnTo>
                    <a:pt x="148" y="89"/>
                  </a:lnTo>
                  <a:lnTo>
                    <a:pt x="150" y="91"/>
                  </a:lnTo>
                  <a:lnTo>
                    <a:pt x="151" y="92"/>
                  </a:lnTo>
                  <a:lnTo>
                    <a:pt x="152" y="93"/>
                  </a:lnTo>
                  <a:lnTo>
                    <a:pt x="153" y="94"/>
                  </a:lnTo>
                  <a:lnTo>
                    <a:pt x="155" y="94"/>
                  </a:lnTo>
                  <a:lnTo>
                    <a:pt x="157" y="95"/>
                  </a:lnTo>
                  <a:lnTo>
                    <a:pt x="158" y="95"/>
                  </a:lnTo>
                  <a:lnTo>
                    <a:pt x="159" y="95"/>
                  </a:lnTo>
                  <a:lnTo>
                    <a:pt x="160" y="96"/>
                  </a:lnTo>
                  <a:lnTo>
                    <a:pt x="162" y="96"/>
                  </a:lnTo>
                  <a:lnTo>
                    <a:pt x="163" y="98"/>
                  </a:lnTo>
                  <a:lnTo>
                    <a:pt x="164" y="98"/>
                  </a:lnTo>
                  <a:lnTo>
                    <a:pt x="165" y="98"/>
                  </a:lnTo>
                  <a:lnTo>
                    <a:pt x="166" y="99"/>
                  </a:lnTo>
                  <a:lnTo>
                    <a:pt x="167" y="99"/>
                  </a:lnTo>
                  <a:lnTo>
                    <a:pt x="169" y="100"/>
                  </a:lnTo>
                  <a:lnTo>
                    <a:pt x="170" y="100"/>
                  </a:lnTo>
                  <a:lnTo>
                    <a:pt x="171" y="100"/>
                  </a:lnTo>
                  <a:lnTo>
                    <a:pt x="172" y="101"/>
                  </a:lnTo>
                  <a:lnTo>
                    <a:pt x="173" y="101"/>
                  </a:lnTo>
                  <a:lnTo>
                    <a:pt x="174" y="101"/>
                  </a:lnTo>
                  <a:lnTo>
                    <a:pt x="176" y="102"/>
                  </a:lnTo>
                  <a:lnTo>
                    <a:pt x="177" y="102"/>
                  </a:lnTo>
                  <a:lnTo>
                    <a:pt x="178" y="103"/>
                  </a:lnTo>
                  <a:lnTo>
                    <a:pt x="179" y="103"/>
                  </a:lnTo>
                  <a:lnTo>
                    <a:pt x="180" y="103"/>
                  </a:lnTo>
                  <a:lnTo>
                    <a:pt x="181" y="105"/>
                  </a:lnTo>
                  <a:lnTo>
                    <a:pt x="184" y="105"/>
                  </a:lnTo>
                  <a:lnTo>
                    <a:pt x="185" y="106"/>
                  </a:lnTo>
                  <a:lnTo>
                    <a:pt x="186" y="106"/>
                  </a:lnTo>
                  <a:lnTo>
                    <a:pt x="187" y="106"/>
                  </a:lnTo>
                  <a:lnTo>
                    <a:pt x="188" y="107"/>
                  </a:lnTo>
                  <a:lnTo>
                    <a:pt x="190" y="107"/>
                  </a:lnTo>
                  <a:lnTo>
                    <a:pt x="191" y="107"/>
                  </a:lnTo>
                  <a:lnTo>
                    <a:pt x="192" y="108"/>
                  </a:lnTo>
                  <a:lnTo>
                    <a:pt x="193" y="108"/>
                  </a:lnTo>
                  <a:lnTo>
                    <a:pt x="194" y="109"/>
                  </a:lnTo>
                  <a:lnTo>
                    <a:pt x="195" y="109"/>
                  </a:lnTo>
                  <a:lnTo>
                    <a:pt x="198" y="109"/>
                  </a:lnTo>
                  <a:lnTo>
                    <a:pt x="200" y="109"/>
                  </a:lnTo>
                  <a:lnTo>
                    <a:pt x="202" y="109"/>
                  </a:lnTo>
                  <a:lnTo>
                    <a:pt x="204" y="109"/>
                  </a:lnTo>
                  <a:lnTo>
                    <a:pt x="206" y="109"/>
                  </a:lnTo>
                  <a:lnTo>
                    <a:pt x="208" y="109"/>
                  </a:lnTo>
                  <a:lnTo>
                    <a:pt x="207" y="109"/>
                  </a:lnTo>
                  <a:lnTo>
                    <a:pt x="207" y="110"/>
                  </a:lnTo>
                  <a:lnTo>
                    <a:pt x="206" y="112"/>
                  </a:lnTo>
                  <a:lnTo>
                    <a:pt x="205" y="113"/>
                  </a:lnTo>
                  <a:lnTo>
                    <a:pt x="205" y="114"/>
                  </a:lnTo>
                  <a:lnTo>
                    <a:pt x="204" y="114"/>
                  </a:lnTo>
                  <a:lnTo>
                    <a:pt x="204" y="115"/>
                  </a:lnTo>
                  <a:lnTo>
                    <a:pt x="202" y="116"/>
                  </a:lnTo>
                  <a:lnTo>
                    <a:pt x="201" y="116"/>
                  </a:lnTo>
                  <a:lnTo>
                    <a:pt x="201" y="117"/>
                  </a:lnTo>
                  <a:lnTo>
                    <a:pt x="200" y="117"/>
                  </a:lnTo>
                  <a:lnTo>
                    <a:pt x="200" y="119"/>
                  </a:lnTo>
                  <a:lnTo>
                    <a:pt x="199" y="120"/>
                  </a:lnTo>
                  <a:lnTo>
                    <a:pt x="198" y="121"/>
                  </a:lnTo>
                  <a:lnTo>
                    <a:pt x="197" y="122"/>
                  </a:lnTo>
                  <a:lnTo>
                    <a:pt x="195" y="123"/>
                  </a:lnTo>
                  <a:lnTo>
                    <a:pt x="195" y="124"/>
                  </a:lnTo>
                  <a:lnTo>
                    <a:pt x="194" y="124"/>
                  </a:lnTo>
                  <a:lnTo>
                    <a:pt x="194" y="126"/>
                  </a:lnTo>
                  <a:lnTo>
                    <a:pt x="193" y="126"/>
                  </a:lnTo>
                  <a:lnTo>
                    <a:pt x="193" y="127"/>
                  </a:lnTo>
                  <a:lnTo>
                    <a:pt x="192" y="128"/>
                  </a:lnTo>
                  <a:lnTo>
                    <a:pt x="191" y="128"/>
                  </a:lnTo>
                  <a:lnTo>
                    <a:pt x="191" y="129"/>
                  </a:lnTo>
                  <a:lnTo>
                    <a:pt x="190" y="130"/>
                  </a:lnTo>
                  <a:lnTo>
                    <a:pt x="188" y="131"/>
                  </a:lnTo>
                  <a:lnTo>
                    <a:pt x="187" y="133"/>
                  </a:lnTo>
                  <a:lnTo>
                    <a:pt x="186" y="134"/>
                  </a:lnTo>
                  <a:lnTo>
                    <a:pt x="186" y="135"/>
                  </a:lnTo>
                  <a:lnTo>
                    <a:pt x="185" y="136"/>
                  </a:lnTo>
                  <a:lnTo>
                    <a:pt x="184" y="137"/>
                  </a:lnTo>
                  <a:lnTo>
                    <a:pt x="183" y="137"/>
                  </a:lnTo>
                  <a:lnTo>
                    <a:pt x="183" y="138"/>
                  </a:lnTo>
                  <a:lnTo>
                    <a:pt x="181" y="140"/>
                  </a:lnTo>
                  <a:lnTo>
                    <a:pt x="180" y="141"/>
                  </a:lnTo>
                  <a:lnTo>
                    <a:pt x="179" y="143"/>
                  </a:lnTo>
                  <a:lnTo>
                    <a:pt x="178" y="144"/>
                  </a:lnTo>
                  <a:lnTo>
                    <a:pt x="177" y="147"/>
                  </a:lnTo>
                  <a:lnTo>
                    <a:pt x="174" y="148"/>
                  </a:lnTo>
                  <a:lnTo>
                    <a:pt x="173" y="150"/>
                  </a:lnTo>
                  <a:lnTo>
                    <a:pt x="172" y="152"/>
                  </a:lnTo>
                  <a:lnTo>
                    <a:pt x="171" y="154"/>
                  </a:lnTo>
                  <a:lnTo>
                    <a:pt x="169" y="156"/>
                  </a:lnTo>
                  <a:lnTo>
                    <a:pt x="169" y="157"/>
                  </a:lnTo>
                  <a:lnTo>
                    <a:pt x="167" y="158"/>
                  </a:lnTo>
                  <a:lnTo>
                    <a:pt x="166" y="158"/>
                  </a:lnTo>
                  <a:lnTo>
                    <a:pt x="165" y="158"/>
                  </a:lnTo>
                  <a:lnTo>
                    <a:pt x="164" y="158"/>
                  </a:lnTo>
                  <a:lnTo>
                    <a:pt x="163" y="158"/>
                  </a:lnTo>
                  <a:lnTo>
                    <a:pt x="162" y="158"/>
                  </a:lnTo>
                  <a:lnTo>
                    <a:pt x="160" y="158"/>
                  </a:lnTo>
                  <a:lnTo>
                    <a:pt x="159" y="157"/>
                  </a:lnTo>
                  <a:lnTo>
                    <a:pt x="158" y="157"/>
                  </a:lnTo>
                  <a:lnTo>
                    <a:pt x="157" y="157"/>
                  </a:lnTo>
                  <a:lnTo>
                    <a:pt x="156" y="157"/>
                  </a:lnTo>
                  <a:lnTo>
                    <a:pt x="155" y="157"/>
                  </a:lnTo>
                  <a:lnTo>
                    <a:pt x="153" y="157"/>
                  </a:lnTo>
                  <a:lnTo>
                    <a:pt x="152" y="158"/>
                  </a:lnTo>
                  <a:lnTo>
                    <a:pt x="151" y="158"/>
                  </a:lnTo>
                  <a:lnTo>
                    <a:pt x="150" y="158"/>
                  </a:lnTo>
                  <a:lnTo>
                    <a:pt x="149" y="158"/>
                  </a:lnTo>
                  <a:lnTo>
                    <a:pt x="148" y="159"/>
                  </a:lnTo>
                  <a:lnTo>
                    <a:pt x="147" y="159"/>
                  </a:lnTo>
                  <a:lnTo>
                    <a:pt x="145" y="161"/>
                  </a:lnTo>
                  <a:lnTo>
                    <a:pt x="143" y="162"/>
                  </a:lnTo>
                  <a:lnTo>
                    <a:pt x="142" y="162"/>
                  </a:lnTo>
                  <a:lnTo>
                    <a:pt x="141" y="163"/>
                  </a:lnTo>
                  <a:lnTo>
                    <a:pt x="140" y="164"/>
                  </a:lnTo>
                  <a:lnTo>
                    <a:pt x="140" y="165"/>
                  </a:lnTo>
                  <a:lnTo>
                    <a:pt x="140" y="166"/>
                  </a:lnTo>
                  <a:lnTo>
                    <a:pt x="138" y="166"/>
                  </a:lnTo>
                  <a:lnTo>
                    <a:pt x="138" y="168"/>
                  </a:lnTo>
                  <a:lnTo>
                    <a:pt x="137" y="168"/>
                  </a:lnTo>
                  <a:lnTo>
                    <a:pt x="136" y="168"/>
                  </a:lnTo>
                  <a:lnTo>
                    <a:pt x="134" y="169"/>
                  </a:lnTo>
                  <a:lnTo>
                    <a:pt x="133" y="169"/>
                  </a:lnTo>
                  <a:lnTo>
                    <a:pt x="130" y="169"/>
                  </a:lnTo>
                  <a:lnTo>
                    <a:pt x="129" y="169"/>
                  </a:lnTo>
                  <a:lnTo>
                    <a:pt x="128" y="169"/>
                  </a:lnTo>
                  <a:lnTo>
                    <a:pt x="127" y="170"/>
                  </a:lnTo>
                  <a:lnTo>
                    <a:pt x="126" y="171"/>
                  </a:lnTo>
                  <a:lnTo>
                    <a:pt x="126" y="172"/>
                  </a:lnTo>
                  <a:lnTo>
                    <a:pt x="124" y="172"/>
                  </a:lnTo>
                  <a:lnTo>
                    <a:pt x="124" y="173"/>
                  </a:lnTo>
                  <a:lnTo>
                    <a:pt x="123" y="173"/>
                  </a:lnTo>
                  <a:lnTo>
                    <a:pt x="123" y="172"/>
                  </a:lnTo>
                  <a:lnTo>
                    <a:pt x="122" y="172"/>
                  </a:lnTo>
                  <a:lnTo>
                    <a:pt x="121" y="172"/>
                  </a:lnTo>
                  <a:lnTo>
                    <a:pt x="120" y="173"/>
                  </a:lnTo>
                  <a:lnTo>
                    <a:pt x="119" y="173"/>
                  </a:lnTo>
                  <a:lnTo>
                    <a:pt x="117" y="173"/>
                  </a:lnTo>
                  <a:lnTo>
                    <a:pt x="115" y="173"/>
                  </a:lnTo>
                  <a:lnTo>
                    <a:pt x="114" y="173"/>
                  </a:lnTo>
                  <a:lnTo>
                    <a:pt x="114" y="172"/>
                  </a:lnTo>
                  <a:lnTo>
                    <a:pt x="113" y="171"/>
                  </a:lnTo>
                  <a:lnTo>
                    <a:pt x="112" y="171"/>
                  </a:lnTo>
                  <a:lnTo>
                    <a:pt x="112" y="170"/>
                  </a:lnTo>
                  <a:lnTo>
                    <a:pt x="110" y="170"/>
                  </a:lnTo>
                  <a:lnTo>
                    <a:pt x="110" y="169"/>
                  </a:lnTo>
                  <a:lnTo>
                    <a:pt x="109" y="169"/>
                  </a:lnTo>
                  <a:lnTo>
                    <a:pt x="109" y="168"/>
                  </a:lnTo>
                  <a:lnTo>
                    <a:pt x="108" y="169"/>
                  </a:lnTo>
                  <a:lnTo>
                    <a:pt x="107" y="169"/>
                  </a:lnTo>
                  <a:lnTo>
                    <a:pt x="106" y="170"/>
                  </a:lnTo>
                  <a:lnTo>
                    <a:pt x="103" y="170"/>
                  </a:lnTo>
                  <a:lnTo>
                    <a:pt x="103" y="171"/>
                  </a:lnTo>
                  <a:lnTo>
                    <a:pt x="102" y="171"/>
                  </a:lnTo>
                  <a:lnTo>
                    <a:pt x="101" y="172"/>
                  </a:lnTo>
                  <a:lnTo>
                    <a:pt x="100" y="172"/>
                  </a:lnTo>
                  <a:lnTo>
                    <a:pt x="99" y="173"/>
                  </a:lnTo>
                  <a:lnTo>
                    <a:pt x="98" y="173"/>
                  </a:lnTo>
                  <a:lnTo>
                    <a:pt x="96" y="175"/>
                  </a:lnTo>
                  <a:lnTo>
                    <a:pt x="96" y="176"/>
                  </a:lnTo>
                  <a:lnTo>
                    <a:pt x="95" y="177"/>
                  </a:lnTo>
                  <a:lnTo>
                    <a:pt x="95" y="178"/>
                  </a:lnTo>
                  <a:lnTo>
                    <a:pt x="94" y="179"/>
                  </a:lnTo>
                  <a:lnTo>
                    <a:pt x="93" y="179"/>
                  </a:lnTo>
                  <a:lnTo>
                    <a:pt x="93" y="180"/>
                  </a:lnTo>
                  <a:lnTo>
                    <a:pt x="93" y="182"/>
                  </a:lnTo>
                  <a:lnTo>
                    <a:pt x="92" y="182"/>
                  </a:lnTo>
                  <a:lnTo>
                    <a:pt x="91" y="182"/>
                  </a:lnTo>
                  <a:lnTo>
                    <a:pt x="91" y="180"/>
                  </a:lnTo>
                  <a:lnTo>
                    <a:pt x="89" y="180"/>
                  </a:lnTo>
                  <a:lnTo>
                    <a:pt x="88" y="180"/>
                  </a:lnTo>
                  <a:lnTo>
                    <a:pt x="87" y="180"/>
                  </a:lnTo>
                  <a:lnTo>
                    <a:pt x="86" y="180"/>
                  </a:lnTo>
                  <a:lnTo>
                    <a:pt x="85" y="180"/>
                  </a:lnTo>
                  <a:lnTo>
                    <a:pt x="84" y="180"/>
                  </a:lnTo>
                  <a:lnTo>
                    <a:pt x="83" y="179"/>
                  </a:lnTo>
                  <a:lnTo>
                    <a:pt x="81" y="179"/>
                  </a:lnTo>
                  <a:lnTo>
                    <a:pt x="80" y="179"/>
                  </a:lnTo>
                  <a:lnTo>
                    <a:pt x="80" y="178"/>
                  </a:lnTo>
                  <a:lnTo>
                    <a:pt x="80" y="179"/>
                  </a:lnTo>
                  <a:lnTo>
                    <a:pt x="79" y="179"/>
                  </a:lnTo>
                  <a:lnTo>
                    <a:pt x="79" y="178"/>
                  </a:lnTo>
                  <a:lnTo>
                    <a:pt x="78" y="178"/>
                  </a:lnTo>
                  <a:lnTo>
                    <a:pt x="77" y="178"/>
                  </a:lnTo>
                  <a:lnTo>
                    <a:pt x="77" y="179"/>
                  </a:lnTo>
                  <a:lnTo>
                    <a:pt x="74" y="178"/>
                  </a:lnTo>
                  <a:lnTo>
                    <a:pt x="73" y="178"/>
                  </a:lnTo>
                  <a:lnTo>
                    <a:pt x="72" y="178"/>
                  </a:lnTo>
                  <a:lnTo>
                    <a:pt x="71" y="178"/>
                  </a:lnTo>
                  <a:lnTo>
                    <a:pt x="71" y="177"/>
                  </a:lnTo>
                  <a:lnTo>
                    <a:pt x="70" y="177"/>
                  </a:lnTo>
                  <a:lnTo>
                    <a:pt x="69" y="176"/>
                  </a:lnTo>
                  <a:lnTo>
                    <a:pt x="67" y="175"/>
                  </a:lnTo>
                  <a:lnTo>
                    <a:pt x="66" y="173"/>
                  </a:lnTo>
                  <a:lnTo>
                    <a:pt x="65" y="172"/>
                  </a:lnTo>
                  <a:lnTo>
                    <a:pt x="64" y="171"/>
                  </a:lnTo>
                  <a:lnTo>
                    <a:pt x="62" y="170"/>
                  </a:lnTo>
                  <a:lnTo>
                    <a:pt x="60" y="170"/>
                  </a:lnTo>
                  <a:lnTo>
                    <a:pt x="59" y="169"/>
                  </a:lnTo>
                  <a:lnTo>
                    <a:pt x="58" y="168"/>
                  </a:lnTo>
                  <a:lnTo>
                    <a:pt x="57" y="168"/>
                  </a:lnTo>
                  <a:lnTo>
                    <a:pt x="57" y="166"/>
                  </a:lnTo>
                  <a:lnTo>
                    <a:pt x="56" y="166"/>
                  </a:lnTo>
                  <a:lnTo>
                    <a:pt x="56" y="165"/>
                  </a:lnTo>
                  <a:lnTo>
                    <a:pt x="55" y="165"/>
                  </a:lnTo>
                  <a:lnTo>
                    <a:pt x="52" y="165"/>
                  </a:lnTo>
                  <a:lnTo>
                    <a:pt x="51" y="165"/>
                  </a:lnTo>
                  <a:lnTo>
                    <a:pt x="49" y="165"/>
                  </a:lnTo>
                  <a:lnTo>
                    <a:pt x="46" y="165"/>
                  </a:lnTo>
                  <a:lnTo>
                    <a:pt x="45" y="165"/>
                  </a:lnTo>
                  <a:lnTo>
                    <a:pt x="43" y="165"/>
                  </a:lnTo>
                  <a:lnTo>
                    <a:pt x="42" y="164"/>
                  </a:lnTo>
                  <a:lnTo>
                    <a:pt x="42" y="163"/>
                  </a:lnTo>
                  <a:lnTo>
                    <a:pt x="39" y="161"/>
                  </a:lnTo>
                  <a:lnTo>
                    <a:pt x="39" y="159"/>
                  </a:lnTo>
                  <a:lnTo>
                    <a:pt x="39" y="158"/>
                  </a:lnTo>
                  <a:lnTo>
                    <a:pt x="39" y="156"/>
                  </a:lnTo>
                  <a:lnTo>
                    <a:pt x="39" y="155"/>
                  </a:lnTo>
                  <a:lnTo>
                    <a:pt x="39" y="154"/>
                  </a:lnTo>
                  <a:lnTo>
                    <a:pt x="39" y="152"/>
                  </a:lnTo>
                  <a:lnTo>
                    <a:pt x="39" y="151"/>
                  </a:lnTo>
                  <a:lnTo>
                    <a:pt x="38" y="150"/>
                  </a:lnTo>
                  <a:lnTo>
                    <a:pt x="37" y="150"/>
                  </a:lnTo>
                  <a:lnTo>
                    <a:pt x="37" y="151"/>
                  </a:lnTo>
                  <a:lnTo>
                    <a:pt x="36" y="150"/>
                  </a:lnTo>
                  <a:lnTo>
                    <a:pt x="35" y="150"/>
                  </a:lnTo>
                  <a:lnTo>
                    <a:pt x="34" y="150"/>
                  </a:lnTo>
                  <a:lnTo>
                    <a:pt x="34" y="151"/>
                  </a:lnTo>
                  <a:lnTo>
                    <a:pt x="32" y="151"/>
                  </a:lnTo>
                  <a:lnTo>
                    <a:pt x="32" y="150"/>
                  </a:lnTo>
                  <a:lnTo>
                    <a:pt x="32" y="149"/>
                  </a:lnTo>
                  <a:lnTo>
                    <a:pt x="31" y="148"/>
                  </a:lnTo>
                  <a:lnTo>
                    <a:pt x="30" y="148"/>
                  </a:lnTo>
                  <a:lnTo>
                    <a:pt x="30" y="147"/>
                  </a:lnTo>
                  <a:lnTo>
                    <a:pt x="29" y="145"/>
                  </a:lnTo>
                  <a:lnTo>
                    <a:pt x="28" y="143"/>
                  </a:lnTo>
                  <a:lnTo>
                    <a:pt x="28" y="142"/>
                  </a:lnTo>
                  <a:lnTo>
                    <a:pt x="28" y="141"/>
                  </a:lnTo>
                  <a:lnTo>
                    <a:pt x="28" y="140"/>
                  </a:lnTo>
                  <a:lnTo>
                    <a:pt x="27" y="138"/>
                  </a:lnTo>
                  <a:lnTo>
                    <a:pt x="27" y="137"/>
                  </a:lnTo>
                  <a:lnTo>
                    <a:pt x="25" y="136"/>
                  </a:lnTo>
                  <a:lnTo>
                    <a:pt x="25" y="135"/>
                  </a:lnTo>
                  <a:lnTo>
                    <a:pt x="25" y="134"/>
                  </a:lnTo>
                  <a:lnTo>
                    <a:pt x="25" y="133"/>
                  </a:lnTo>
                  <a:lnTo>
                    <a:pt x="24" y="131"/>
                  </a:lnTo>
                  <a:lnTo>
                    <a:pt x="24" y="130"/>
                  </a:lnTo>
                  <a:lnTo>
                    <a:pt x="23" y="129"/>
                  </a:lnTo>
                  <a:lnTo>
                    <a:pt x="22" y="129"/>
                  </a:lnTo>
                  <a:lnTo>
                    <a:pt x="22" y="128"/>
                  </a:lnTo>
                  <a:lnTo>
                    <a:pt x="21" y="128"/>
                  </a:lnTo>
                  <a:lnTo>
                    <a:pt x="22" y="128"/>
                  </a:lnTo>
                  <a:lnTo>
                    <a:pt x="22" y="127"/>
                  </a:lnTo>
                  <a:lnTo>
                    <a:pt x="21" y="127"/>
                  </a:lnTo>
                  <a:lnTo>
                    <a:pt x="21" y="126"/>
                  </a:lnTo>
                  <a:lnTo>
                    <a:pt x="19" y="126"/>
                  </a:lnTo>
                  <a:lnTo>
                    <a:pt x="19" y="124"/>
                  </a:lnTo>
                  <a:lnTo>
                    <a:pt x="17" y="124"/>
                  </a:lnTo>
                  <a:lnTo>
                    <a:pt x="17" y="123"/>
                  </a:lnTo>
                  <a:lnTo>
                    <a:pt x="17" y="122"/>
                  </a:lnTo>
                  <a:lnTo>
                    <a:pt x="16" y="122"/>
                  </a:lnTo>
                  <a:lnTo>
                    <a:pt x="15" y="122"/>
                  </a:lnTo>
                  <a:lnTo>
                    <a:pt x="15" y="121"/>
                  </a:lnTo>
                  <a:lnTo>
                    <a:pt x="15" y="120"/>
                  </a:lnTo>
                  <a:lnTo>
                    <a:pt x="14" y="119"/>
                  </a:lnTo>
                  <a:lnTo>
                    <a:pt x="13" y="116"/>
                  </a:lnTo>
                  <a:lnTo>
                    <a:pt x="12" y="116"/>
                  </a:lnTo>
                  <a:lnTo>
                    <a:pt x="10" y="115"/>
                  </a:lnTo>
                  <a:lnTo>
                    <a:pt x="10" y="114"/>
                  </a:lnTo>
                  <a:lnTo>
                    <a:pt x="9" y="114"/>
                  </a:lnTo>
                  <a:lnTo>
                    <a:pt x="8" y="114"/>
                  </a:lnTo>
                  <a:lnTo>
                    <a:pt x="7" y="114"/>
                  </a:lnTo>
                  <a:lnTo>
                    <a:pt x="7" y="113"/>
                  </a:lnTo>
                  <a:lnTo>
                    <a:pt x="6" y="113"/>
                  </a:lnTo>
                  <a:lnTo>
                    <a:pt x="5" y="114"/>
                  </a:lnTo>
                  <a:lnTo>
                    <a:pt x="5" y="113"/>
                  </a:lnTo>
                  <a:lnTo>
                    <a:pt x="3" y="113"/>
                  </a:lnTo>
                  <a:lnTo>
                    <a:pt x="2" y="113"/>
                  </a:lnTo>
                  <a:lnTo>
                    <a:pt x="1" y="113"/>
                  </a:lnTo>
                  <a:lnTo>
                    <a:pt x="1" y="112"/>
                  </a:lnTo>
                  <a:lnTo>
                    <a:pt x="0" y="112"/>
                  </a:lnTo>
                  <a:lnTo>
                    <a:pt x="0" y="110"/>
                  </a:lnTo>
                  <a:lnTo>
                    <a:pt x="0" y="109"/>
                  </a:lnTo>
                  <a:lnTo>
                    <a:pt x="1" y="109"/>
                  </a:lnTo>
                  <a:lnTo>
                    <a:pt x="1" y="108"/>
                  </a:lnTo>
                  <a:lnTo>
                    <a:pt x="1" y="107"/>
                  </a:lnTo>
                  <a:lnTo>
                    <a:pt x="2" y="107"/>
                  </a:lnTo>
                  <a:lnTo>
                    <a:pt x="2" y="106"/>
                  </a:lnTo>
                  <a:lnTo>
                    <a:pt x="2" y="105"/>
                  </a:lnTo>
                  <a:lnTo>
                    <a:pt x="2" y="103"/>
                  </a:lnTo>
                  <a:lnTo>
                    <a:pt x="2" y="102"/>
                  </a:lnTo>
                  <a:lnTo>
                    <a:pt x="3" y="102"/>
                  </a:lnTo>
                  <a:lnTo>
                    <a:pt x="5" y="102"/>
                  </a:lnTo>
                  <a:lnTo>
                    <a:pt x="6" y="102"/>
                  </a:lnTo>
                  <a:lnTo>
                    <a:pt x="7" y="102"/>
                  </a:lnTo>
                  <a:lnTo>
                    <a:pt x="7" y="101"/>
                  </a:lnTo>
                  <a:lnTo>
                    <a:pt x="7" y="102"/>
                  </a:lnTo>
                  <a:lnTo>
                    <a:pt x="8" y="102"/>
                  </a:lnTo>
                  <a:lnTo>
                    <a:pt x="9" y="102"/>
                  </a:lnTo>
                  <a:lnTo>
                    <a:pt x="9" y="103"/>
                  </a:lnTo>
                  <a:lnTo>
                    <a:pt x="10" y="103"/>
                  </a:lnTo>
                  <a:lnTo>
                    <a:pt x="10" y="102"/>
                  </a:lnTo>
                  <a:lnTo>
                    <a:pt x="12" y="102"/>
                  </a:lnTo>
                  <a:lnTo>
                    <a:pt x="13" y="102"/>
                  </a:lnTo>
                  <a:lnTo>
                    <a:pt x="14" y="102"/>
                  </a:lnTo>
                  <a:lnTo>
                    <a:pt x="15" y="101"/>
                  </a:lnTo>
                  <a:lnTo>
                    <a:pt x="15" y="100"/>
                  </a:lnTo>
                  <a:lnTo>
                    <a:pt x="15" y="99"/>
                  </a:lnTo>
                  <a:lnTo>
                    <a:pt x="15" y="94"/>
                  </a:lnTo>
                  <a:lnTo>
                    <a:pt x="15" y="89"/>
                  </a:lnTo>
                  <a:lnTo>
                    <a:pt x="14" y="86"/>
                  </a:lnTo>
                  <a:lnTo>
                    <a:pt x="14" y="85"/>
                  </a:lnTo>
                  <a:lnTo>
                    <a:pt x="15" y="82"/>
                  </a:lnTo>
                  <a:lnTo>
                    <a:pt x="16" y="77"/>
                  </a:lnTo>
                  <a:lnTo>
                    <a:pt x="17" y="77"/>
                  </a:lnTo>
                  <a:lnTo>
                    <a:pt x="17" y="75"/>
                  </a:lnTo>
                  <a:lnTo>
                    <a:pt x="17" y="74"/>
                  </a:lnTo>
                  <a:lnTo>
                    <a:pt x="17" y="73"/>
                  </a:lnTo>
                  <a:lnTo>
                    <a:pt x="17" y="70"/>
                  </a:lnTo>
                  <a:lnTo>
                    <a:pt x="16" y="68"/>
                  </a:lnTo>
                  <a:lnTo>
                    <a:pt x="17" y="68"/>
                  </a:lnTo>
                  <a:lnTo>
                    <a:pt x="19" y="66"/>
                  </a:lnTo>
                  <a:lnTo>
                    <a:pt x="19" y="65"/>
                  </a:lnTo>
                  <a:lnTo>
                    <a:pt x="21" y="64"/>
                  </a:lnTo>
                  <a:lnTo>
                    <a:pt x="23" y="65"/>
                  </a:lnTo>
                  <a:lnTo>
                    <a:pt x="23" y="66"/>
                  </a:lnTo>
                  <a:lnTo>
                    <a:pt x="24" y="66"/>
                  </a:lnTo>
                  <a:lnTo>
                    <a:pt x="24" y="65"/>
                  </a:lnTo>
                  <a:lnTo>
                    <a:pt x="25" y="65"/>
                  </a:lnTo>
                  <a:lnTo>
                    <a:pt x="25" y="64"/>
                  </a:lnTo>
                  <a:lnTo>
                    <a:pt x="27" y="63"/>
                  </a:lnTo>
                  <a:lnTo>
                    <a:pt x="25" y="63"/>
                  </a:lnTo>
                  <a:lnTo>
                    <a:pt x="27" y="59"/>
                  </a:lnTo>
                  <a:lnTo>
                    <a:pt x="27" y="58"/>
                  </a:lnTo>
                  <a:lnTo>
                    <a:pt x="25" y="58"/>
                  </a:lnTo>
                  <a:lnTo>
                    <a:pt x="25" y="57"/>
                  </a:lnTo>
                  <a:lnTo>
                    <a:pt x="28" y="53"/>
                  </a:lnTo>
                  <a:lnTo>
                    <a:pt x="28" y="52"/>
                  </a:lnTo>
                  <a:lnTo>
                    <a:pt x="27" y="52"/>
                  </a:lnTo>
                  <a:lnTo>
                    <a:pt x="27" y="51"/>
                  </a:lnTo>
                  <a:lnTo>
                    <a:pt x="27" y="50"/>
                  </a:lnTo>
                  <a:lnTo>
                    <a:pt x="27" y="49"/>
                  </a:lnTo>
                  <a:lnTo>
                    <a:pt x="28" y="49"/>
                  </a:lnTo>
                  <a:lnTo>
                    <a:pt x="28" y="47"/>
                  </a:lnTo>
                  <a:lnTo>
                    <a:pt x="29" y="47"/>
                  </a:lnTo>
                  <a:lnTo>
                    <a:pt x="30" y="46"/>
                  </a:lnTo>
                  <a:lnTo>
                    <a:pt x="30" y="45"/>
                  </a:lnTo>
                  <a:lnTo>
                    <a:pt x="30" y="44"/>
                  </a:lnTo>
                  <a:lnTo>
                    <a:pt x="31" y="44"/>
                  </a:lnTo>
                  <a:lnTo>
                    <a:pt x="31" y="43"/>
                  </a:lnTo>
                  <a:lnTo>
                    <a:pt x="31" y="42"/>
                  </a:lnTo>
                  <a:lnTo>
                    <a:pt x="32" y="42"/>
                  </a:lnTo>
                  <a:lnTo>
                    <a:pt x="35" y="37"/>
                  </a:lnTo>
                  <a:lnTo>
                    <a:pt x="35" y="36"/>
                  </a:lnTo>
                  <a:lnTo>
                    <a:pt x="36" y="36"/>
                  </a:lnTo>
                  <a:lnTo>
                    <a:pt x="36" y="35"/>
                  </a:lnTo>
                  <a:lnTo>
                    <a:pt x="39" y="35"/>
                  </a:lnTo>
                  <a:lnTo>
                    <a:pt x="41" y="35"/>
                  </a:lnTo>
                  <a:lnTo>
                    <a:pt x="42" y="35"/>
                  </a:lnTo>
                  <a:lnTo>
                    <a:pt x="42" y="32"/>
                  </a:lnTo>
                  <a:lnTo>
                    <a:pt x="41" y="31"/>
                  </a:lnTo>
                  <a:lnTo>
                    <a:pt x="42" y="31"/>
                  </a:lnTo>
                  <a:lnTo>
                    <a:pt x="42" y="30"/>
                  </a:lnTo>
                  <a:lnTo>
                    <a:pt x="43" y="24"/>
                  </a:lnTo>
                  <a:lnTo>
                    <a:pt x="44" y="21"/>
                  </a:lnTo>
                  <a:lnTo>
                    <a:pt x="44" y="19"/>
                  </a:lnTo>
                  <a:lnTo>
                    <a:pt x="45" y="17"/>
                  </a:lnTo>
                  <a:lnTo>
                    <a:pt x="45" y="16"/>
                  </a:lnTo>
                  <a:lnTo>
                    <a:pt x="45" y="15"/>
                  </a:lnTo>
                  <a:lnTo>
                    <a:pt x="46" y="10"/>
                  </a:lnTo>
                  <a:lnTo>
                    <a:pt x="46" y="9"/>
                  </a:lnTo>
                  <a:lnTo>
                    <a:pt x="48" y="9"/>
                  </a:lnTo>
                  <a:lnTo>
                    <a:pt x="49" y="9"/>
                  </a:lnTo>
                  <a:lnTo>
                    <a:pt x="50" y="9"/>
                  </a:lnTo>
                  <a:lnTo>
                    <a:pt x="51" y="9"/>
                  </a:lnTo>
                  <a:lnTo>
                    <a:pt x="52" y="9"/>
                  </a:lnTo>
                  <a:lnTo>
                    <a:pt x="52" y="10"/>
                  </a:lnTo>
                  <a:lnTo>
                    <a:pt x="53" y="10"/>
                  </a:lnTo>
                  <a:lnTo>
                    <a:pt x="53" y="9"/>
                  </a:lnTo>
                  <a:lnTo>
                    <a:pt x="53" y="8"/>
                  </a:lnTo>
                  <a:lnTo>
                    <a:pt x="55" y="8"/>
                  </a:lnTo>
                  <a:lnTo>
                    <a:pt x="55" y="7"/>
                  </a:lnTo>
                  <a:lnTo>
                    <a:pt x="56" y="7"/>
                  </a:lnTo>
                  <a:lnTo>
                    <a:pt x="57" y="7"/>
                  </a:lnTo>
                  <a:lnTo>
                    <a:pt x="57" y="8"/>
                  </a:lnTo>
                  <a:lnTo>
                    <a:pt x="58" y="8"/>
                  </a:lnTo>
                  <a:lnTo>
                    <a:pt x="58" y="9"/>
                  </a:lnTo>
                  <a:lnTo>
                    <a:pt x="59" y="10"/>
                  </a:lnTo>
                  <a:lnTo>
                    <a:pt x="59" y="11"/>
                  </a:lnTo>
                  <a:lnTo>
                    <a:pt x="60" y="12"/>
                  </a:lnTo>
                  <a:lnTo>
                    <a:pt x="60" y="11"/>
                  </a:lnTo>
                  <a:lnTo>
                    <a:pt x="62" y="9"/>
                  </a:lnTo>
                  <a:lnTo>
                    <a:pt x="63" y="7"/>
                  </a:lnTo>
                  <a:lnTo>
                    <a:pt x="63" y="4"/>
                  </a:lnTo>
                  <a:lnTo>
                    <a:pt x="64" y="2"/>
                  </a:lnTo>
                  <a:lnTo>
                    <a:pt x="64" y="0"/>
                  </a:lnTo>
                  <a:lnTo>
                    <a:pt x="65" y="1"/>
                  </a:lnTo>
                  <a:lnTo>
                    <a:pt x="65" y="2"/>
                  </a:lnTo>
                  <a:lnTo>
                    <a:pt x="66" y="2"/>
                  </a:lnTo>
                  <a:lnTo>
                    <a:pt x="66" y="3"/>
                  </a:lnTo>
                  <a:lnTo>
                    <a:pt x="67" y="3"/>
                  </a:lnTo>
                  <a:lnTo>
                    <a:pt x="69" y="3"/>
                  </a:lnTo>
                  <a:lnTo>
                    <a:pt x="70" y="3"/>
                  </a:lnTo>
                  <a:lnTo>
                    <a:pt x="70" y="4"/>
                  </a:lnTo>
                  <a:lnTo>
                    <a:pt x="70" y="5"/>
                  </a:lnTo>
                  <a:lnTo>
                    <a:pt x="71" y="5"/>
                  </a:lnTo>
                  <a:lnTo>
                    <a:pt x="71" y="7"/>
                  </a:lnTo>
                  <a:lnTo>
                    <a:pt x="72" y="7"/>
                  </a:lnTo>
                  <a:lnTo>
                    <a:pt x="72" y="8"/>
                  </a:lnTo>
                  <a:lnTo>
                    <a:pt x="73" y="8"/>
                  </a:lnTo>
                  <a:lnTo>
                    <a:pt x="74" y="8"/>
                  </a:lnTo>
                  <a:lnTo>
                    <a:pt x="74" y="7"/>
                  </a:lnTo>
                  <a:lnTo>
                    <a:pt x="76" y="7"/>
                  </a:lnTo>
                  <a:lnTo>
                    <a:pt x="77" y="7"/>
                  </a:lnTo>
                  <a:lnTo>
                    <a:pt x="78" y="7"/>
                  </a:lnTo>
                  <a:lnTo>
                    <a:pt x="79" y="5"/>
                  </a:lnTo>
                  <a:lnTo>
                    <a:pt x="80" y="5"/>
                  </a:lnTo>
                  <a:lnTo>
                    <a:pt x="80" y="4"/>
                  </a:lnTo>
                  <a:lnTo>
                    <a:pt x="81" y="4"/>
                  </a:lnTo>
                  <a:lnTo>
                    <a:pt x="83" y="5"/>
                  </a:lnTo>
                  <a:lnTo>
                    <a:pt x="83" y="7"/>
                  </a:lnTo>
                  <a:lnTo>
                    <a:pt x="84" y="7"/>
                  </a:lnTo>
                  <a:lnTo>
                    <a:pt x="85" y="7"/>
                  </a:lnTo>
                  <a:lnTo>
                    <a:pt x="86" y="7"/>
                  </a:lnTo>
                  <a:lnTo>
                    <a:pt x="87" y="5"/>
                  </a:lnTo>
                  <a:lnTo>
                    <a:pt x="88" y="5"/>
                  </a:lnTo>
                  <a:lnTo>
                    <a:pt x="89" y="7"/>
                  </a:lnTo>
                  <a:lnTo>
                    <a:pt x="91" y="7"/>
                  </a:lnTo>
                  <a:lnTo>
                    <a:pt x="92" y="7"/>
                  </a:lnTo>
                  <a:lnTo>
                    <a:pt x="92" y="8"/>
                  </a:lnTo>
                  <a:lnTo>
                    <a:pt x="93" y="8"/>
                  </a:lnTo>
                  <a:lnTo>
                    <a:pt x="93" y="7"/>
                  </a:lnTo>
                  <a:lnTo>
                    <a:pt x="94" y="7"/>
                  </a:lnTo>
                  <a:lnTo>
                    <a:pt x="95" y="7"/>
                  </a:lnTo>
                  <a:lnTo>
                    <a:pt x="96" y="7"/>
                  </a:lnTo>
                  <a:lnTo>
                    <a:pt x="98" y="8"/>
                  </a:lnTo>
                  <a:lnTo>
                    <a:pt x="99" y="9"/>
                  </a:lnTo>
                  <a:lnTo>
                    <a:pt x="100" y="10"/>
                  </a:lnTo>
                  <a:lnTo>
                    <a:pt x="101" y="10"/>
                  </a:lnTo>
                  <a:lnTo>
                    <a:pt x="102" y="11"/>
                  </a:lnTo>
                  <a:lnTo>
                    <a:pt x="103" y="11"/>
                  </a:lnTo>
                  <a:lnTo>
                    <a:pt x="105" y="11"/>
                  </a:lnTo>
                  <a:lnTo>
                    <a:pt x="106" y="12"/>
                  </a:lnTo>
                  <a:lnTo>
                    <a:pt x="107" y="15"/>
                  </a:lnTo>
                  <a:lnTo>
                    <a:pt x="108" y="16"/>
                  </a:lnTo>
                  <a:lnTo>
                    <a:pt x="109" y="18"/>
                  </a:lnTo>
                  <a:lnTo>
                    <a:pt x="110" y="21"/>
                  </a:lnTo>
                  <a:lnTo>
                    <a:pt x="112" y="21"/>
                  </a:lnTo>
                  <a:lnTo>
                    <a:pt x="113" y="22"/>
                  </a:lnTo>
                  <a:lnTo>
                    <a:pt x="116" y="24"/>
                  </a:lnTo>
                  <a:lnTo>
                    <a:pt x="117" y="25"/>
                  </a:lnTo>
                  <a:lnTo>
                    <a:pt x="119" y="26"/>
                  </a:lnTo>
                  <a:lnTo>
                    <a:pt x="120" y="28"/>
                  </a:lnTo>
                  <a:lnTo>
                    <a:pt x="121" y="31"/>
                  </a:lnTo>
                  <a:lnTo>
                    <a:pt x="122" y="32"/>
                  </a:lnTo>
                  <a:lnTo>
                    <a:pt x="123" y="32"/>
                  </a:lnTo>
                  <a:lnTo>
                    <a:pt x="123" y="33"/>
                  </a:lnTo>
                  <a:lnTo>
                    <a:pt x="124" y="33"/>
                  </a:lnTo>
                  <a:lnTo>
                    <a:pt x="126" y="35"/>
                  </a:lnTo>
                  <a:lnTo>
                    <a:pt x="127" y="36"/>
                  </a:lnTo>
                  <a:lnTo>
                    <a:pt x="128" y="38"/>
                  </a:lnTo>
                  <a:close/>
                </a:path>
              </a:pathLst>
            </a:custGeom>
            <a:solidFill>
              <a:srgbClr val="005392"/>
            </a:solidFill>
            <a:ln w="3175"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t-IT" sz="1200" dirty="0">
                <a:solidFill>
                  <a:schemeClr val="lt1"/>
                </a:solidFill>
              </a:endParaRPr>
            </a:p>
          </p:txBody>
        </p:sp>
        <p:sp>
          <p:nvSpPr>
            <p:cNvPr id="130" name="Freeform 885">
              <a:extLst>
                <a:ext uri="{FF2B5EF4-FFF2-40B4-BE49-F238E27FC236}">
                  <a16:creationId xmlns:a16="http://schemas.microsoft.com/office/drawing/2014/main" id="{662745B3-904C-42F2-A5CA-FC9237D574C6}"/>
                </a:ext>
              </a:extLst>
            </p:cNvPr>
            <p:cNvSpPr>
              <a:spLocks noEditPoints="1"/>
            </p:cNvSpPr>
            <p:nvPr/>
          </p:nvSpPr>
          <p:spPr bwMode="auto">
            <a:xfrm>
              <a:off x="4826179" y="4422261"/>
              <a:ext cx="58761" cy="28046"/>
            </a:xfrm>
            <a:custGeom>
              <a:avLst/>
              <a:gdLst>
                <a:gd name="T0" fmla="*/ 23 w 44"/>
                <a:gd name="T1" fmla="*/ 19 h 21"/>
                <a:gd name="T2" fmla="*/ 22 w 44"/>
                <a:gd name="T3" fmla="*/ 18 h 21"/>
                <a:gd name="T4" fmla="*/ 37 w 44"/>
                <a:gd name="T5" fmla="*/ 15 h 21"/>
                <a:gd name="T6" fmla="*/ 21 w 44"/>
                <a:gd name="T7" fmla="*/ 14 h 21"/>
                <a:gd name="T8" fmla="*/ 2 w 44"/>
                <a:gd name="T9" fmla="*/ 12 h 21"/>
                <a:gd name="T10" fmla="*/ 6 w 44"/>
                <a:gd name="T11" fmla="*/ 13 h 21"/>
                <a:gd name="T12" fmla="*/ 6 w 44"/>
                <a:gd name="T13" fmla="*/ 12 h 21"/>
                <a:gd name="T14" fmla="*/ 1 w 44"/>
                <a:gd name="T15" fmla="*/ 9 h 21"/>
                <a:gd name="T16" fmla="*/ 23 w 44"/>
                <a:gd name="T17" fmla="*/ 6 h 21"/>
                <a:gd name="T18" fmla="*/ 21 w 44"/>
                <a:gd name="T19" fmla="*/ 11 h 21"/>
                <a:gd name="T20" fmla="*/ 18 w 44"/>
                <a:gd name="T21" fmla="*/ 14 h 21"/>
                <a:gd name="T22" fmla="*/ 14 w 44"/>
                <a:gd name="T23" fmla="*/ 16 h 21"/>
                <a:gd name="T24" fmla="*/ 9 w 44"/>
                <a:gd name="T25" fmla="*/ 16 h 21"/>
                <a:gd name="T26" fmla="*/ 6 w 44"/>
                <a:gd name="T27" fmla="*/ 14 h 21"/>
                <a:gd name="T28" fmla="*/ 9 w 44"/>
                <a:gd name="T29" fmla="*/ 14 h 21"/>
                <a:gd name="T30" fmla="*/ 12 w 44"/>
                <a:gd name="T31" fmla="*/ 13 h 21"/>
                <a:gd name="T32" fmla="*/ 14 w 44"/>
                <a:gd name="T33" fmla="*/ 12 h 21"/>
                <a:gd name="T34" fmla="*/ 13 w 44"/>
                <a:gd name="T35" fmla="*/ 9 h 21"/>
                <a:gd name="T36" fmla="*/ 9 w 44"/>
                <a:gd name="T37" fmla="*/ 9 h 21"/>
                <a:gd name="T38" fmla="*/ 15 w 44"/>
                <a:gd name="T39" fmla="*/ 9 h 21"/>
                <a:gd name="T40" fmla="*/ 11 w 44"/>
                <a:gd name="T41" fmla="*/ 6 h 21"/>
                <a:gd name="T42" fmla="*/ 9 w 44"/>
                <a:gd name="T43" fmla="*/ 5 h 21"/>
                <a:gd name="T44" fmla="*/ 15 w 44"/>
                <a:gd name="T45" fmla="*/ 5 h 21"/>
                <a:gd name="T46" fmla="*/ 21 w 44"/>
                <a:gd name="T47" fmla="*/ 6 h 21"/>
                <a:gd name="T48" fmla="*/ 21 w 44"/>
                <a:gd name="T49" fmla="*/ 5 h 21"/>
                <a:gd name="T50" fmla="*/ 18 w 44"/>
                <a:gd name="T51" fmla="*/ 5 h 21"/>
                <a:gd name="T52" fmla="*/ 19 w 44"/>
                <a:gd name="T53" fmla="*/ 5 h 21"/>
                <a:gd name="T54" fmla="*/ 15 w 44"/>
                <a:gd name="T55" fmla="*/ 4 h 21"/>
                <a:gd name="T56" fmla="*/ 13 w 44"/>
                <a:gd name="T57" fmla="*/ 5 h 21"/>
                <a:gd name="T58" fmla="*/ 11 w 44"/>
                <a:gd name="T59" fmla="*/ 4 h 21"/>
                <a:gd name="T60" fmla="*/ 32 w 44"/>
                <a:gd name="T61" fmla="*/ 5 h 21"/>
                <a:gd name="T62" fmla="*/ 34 w 44"/>
                <a:gd name="T63" fmla="*/ 6 h 21"/>
                <a:gd name="T64" fmla="*/ 35 w 44"/>
                <a:gd name="T65" fmla="*/ 6 h 21"/>
                <a:gd name="T66" fmla="*/ 37 w 44"/>
                <a:gd name="T67" fmla="*/ 9 h 21"/>
                <a:gd name="T68" fmla="*/ 36 w 44"/>
                <a:gd name="T69" fmla="*/ 7 h 21"/>
                <a:gd name="T70" fmla="*/ 41 w 44"/>
                <a:gd name="T71" fmla="*/ 5 h 21"/>
                <a:gd name="T72" fmla="*/ 40 w 44"/>
                <a:gd name="T73" fmla="*/ 7 h 21"/>
                <a:gd name="T74" fmla="*/ 43 w 44"/>
                <a:gd name="T75" fmla="*/ 9 h 21"/>
                <a:gd name="T76" fmla="*/ 40 w 44"/>
                <a:gd name="T77" fmla="*/ 11 h 21"/>
                <a:gd name="T78" fmla="*/ 37 w 44"/>
                <a:gd name="T79" fmla="*/ 12 h 21"/>
                <a:gd name="T80" fmla="*/ 30 w 44"/>
                <a:gd name="T81" fmla="*/ 12 h 21"/>
                <a:gd name="T82" fmla="*/ 35 w 44"/>
                <a:gd name="T83" fmla="*/ 15 h 21"/>
                <a:gd name="T84" fmla="*/ 30 w 44"/>
                <a:gd name="T85" fmla="*/ 15 h 21"/>
                <a:gd name="T86" fmla="*/ 29 w 44"/>
                <a:gd name="T87" fmla="*/ 15 h 21"/>
                <a:gd name="T88" fmla="*/ 28 w 44"/>
                <a:gd name="T89" fmla="*/ 16 h 21"/>
                <a:gd name="T90" fmla="*/ 27 w 44"/>
                <a:gd name="T91" fmla="*/ 19 h 21"/>
                <a:gd name="T92" fmla="*/ 22 w 44"/>
                <a:gd name="T93" fmla="*/ 15 h 21"/>
                <a:gd name="T94" fmla="*/ 23 w 44"/>
                <a:gd name="T95" fmla="*/ 13 h 21"/>
                <a:gd name="T96" fmla="*/ 25 w 44"/>
                <a:gd name="T97" fmla="*/ 11 h 21"/>
                <a:gd name="T98" fmla="*/ 29 w 44"/>
                <a:gd name="T99" fmla="*/ 11 h 21"/>
                <a:gd name="T100" fmla="*/ 26 w 44"/>
                <a:gd name="T101" fmla="*/ 8 h 21"/>
                <a:gd name="T102" fmla="*/ 28 w 44"/>
                <a:gd name="T103" fmla="*/ 7 h 21"/>
                <a:gd name="T104" fmla="*/ 27 w 44"/>
                <a:gd name="T105" fmla="*/ 2 h 21"/>
                <a:gd name="T106" fmla="*/ 20 w 44"/>
                <a:gd name="T107" fmla="*/ 4 h 21"/>
                <a:gd name="T108" fmla="*/ 16 w 44"/>
                <a:gd name="T109" fmla="*/ 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 h="21">
                  <a:moveTo>
                    <a:pt x="23" y="20"/>
                  </a:moveTo>
                  <a:lnTo>
                    <a:pt x="25" y="20"/>
                  </a:lnTo>
                  <a:lnTo>
                    <a:pt x="25" y="21"/>
                  </a:lnTo>
                  <a:lnTo>
                    <a:pt x="23" y="20"/>
                  </a:lnTo>
                  <a:lnTo>
                    <a:pt x="22" y="20"/>
                  </a:lnTo>
                  <a:lnTo>
                    <a:pt x="23" y="20"/>
                  </a:lnTo>
                  <a:lnTo>
                    <a:pt x="23" y="19"/>
                  </a:lnTo>
                  <a:lnTo>
                    <a:pt x="23" y="20"/>
                  </a:lnTo>
                  <a:close/>
                  <a:moveTo>
                    <a:pt x="22" y="16"/>
                  </a:moveTo>
                  <a:lnTo>
                    <a:pt x="23" y="16"/>
                  </a:lnTo>
                  <a:lnTo>
                    <a:pt x="23" y="18"/>
                  </a:lnTo>
                  <a:lnTo>
                    <a:pt x="23" y="19"/>
                  </a:lnTo>
                  <a:lnTo>
                    <a:pt x="22" y="19"/>
                  </a:lnTo>
                  <a:lnTo>
                    <a:pt x="22" y="18"/>
                  </a:lnTo>
                  <a:lnTo>
                    <a:pt x="22" y="16"/>
                  </a:lnTo>
                  <a:lnTo>
                    <a:pt x="21" y="16"/>
                  </a:lnTo>
                  <a:lnTo>
                    <a:pt x="22" y="16"/>
                  </a:lnTo>
                  <a:close/>
                  <a:moveTo>
                    <a:pt x="37" y="14"/>
                  </a:moveTo>
                  <a:lnTo>
                    <a:pt x="37" y="15"/>
                  </a:lnTo>
                  <a:lnTo>
                    <a:pt x="37" y="14"/>
                  </a:lnTo>
                  <a:lnTo>
                    <a:pt x="37" y="15"/>
                  </a:lnTo>
                  <a:lnTo>
                    <a:pt x="37" y="16"/>
                  </a:lnTo>
                  <a:lnTo>
                    <a:pt x="37" y="15"/>
                  </a:lnTo>
                  <a:lnTo>
                    <a:pt x="36" y="15"/>
                  </a:lnTo>
                  <a:lnTo>
                    <a:pt x="36" y="14"/>
                  </a:lnTo>
                  <a:lnTo>
                    <a:pt x="37" y="14"/>
                  </a:lnTo>
                  <a:close/>
                  <a:moveTo>
                    <a:pt x="22" y="14"/>
                  </a:moveTo>
                  <a:lnTo>
                    <a:pt x="21" y="14"/>
                  </a:lnTo>
                  <a:lnTo>
                    <a:pt x="22" y="13"/>
                  </a:lnTo>
                  <a:lnTo>
                    <a:pt x="22" y="14"/>
                  </a:lnTo>
                  <a:close/>
                  <a:moveTo>
                    <a:pt x="2" y="12"/>
                  </a:moveTo>
                  <a:lnTo>
                    <a:pt x="4" y="12"/>
                  </a:lnTo>
                  <a:lnTo>
                    <a:pt x="2" y="12"/>
                  </a:lnTo>
                  <a:lnTo>
                    <a:pt x="1" y="12"/>
                  </a:lnTo>
                  <a:lnTo>
                    <a:pt x="2" y="12"/>
                  </a:lnTo>
                  <a:lnTo>
                    <a:pt x="4" y="12"/>
                  </a:lnTo>
                  <a:lnTo>
                    <a:pt x="2" y="12"/>
                  </a:lnTo>
                  <a:close/>
                  <a:moveTo>
                    <a:pt x="7" y="12"/>
                  </a:moveTo>
                  <a:lnTo>
                    <a:pt x="7" y="13"/>
                  </a:lnTo>
                  <a:lnTo>
                    <a:pt x="7" y="14"/>
                  </a:lnTo>
                  <a:lnTo>
                    <a:pt x="6" y="14"/>
                  </a:lnTo>
                  <a:lnTo>
                    <a:pt x="6" y="13"/>
                  </a:lnTo>
                  <a:lnTo>
                    <a:pt x="5" y="13"/>
                  </a:lnTo>
                  <a:lnTo>
                    <a:pt x="5" y="12"/>
                  </a:lnTo>
                  <a:lnTo>
                    <a:pt x="4" y="12"/>
                  </a:lnTo>
                  <a:lnTo>
                    <a:pt x="5" y="12"/>
                  </a:lnTo>
                  <a:lnTo>
                    <a:pt x="5" y="11"/>
                  </a:lnTo>
                  <a:lnTo>
                    <a:pt x="6" y="11"/>
                  </a:lnTo>
                  <a:lnTo>
                    <a:pt x="6" y="12"/>
                  </a:lnTo>
                  <a:lnTo>
                    <a:pt x="6" y="13"/>
                  </a:lnTo>
                  <a:lnTo>
                    <a:pt x="6" y="12"/>
                  </a:lnTo>
                  <a:lnTo>
                    <a:pt x="7" y="12"/>
                  </a:lnTo>
                  <a:lnTo>
                    <a:pt x="7" y="11"/>
                  </a:lnTo>
                  <a:lnTo>
                    <a:pt x="7" y="12"/>
                  </a:lnTo>
                  <a:close/>
                  <a:moveTo>
                    <a:pt x="2" y="9"/>
                  </a:moveTo>
                  <a:lnTo>
                    <a:pt x="1" y="9"/>
                  </a:lnTo>
                  <a:lnTo>
                    <a:pt x="1" y="11"/>
                  </a:lnTo>
                  <a:lnTo>
                    <a:pt x="1" y="9"/>
                  </a:lnTo>
                  <a:lnTo>
                    <a:pt x="2" y="9"/>
                  </a:lnTo>
                  <a:close/>
                  <a:moveTo>
                    <a:pt x="22" y="5"/>
                  </a:moveTo>
                  <a:lnTo>
                    <a:pt x="25" y="5"/>
                  </a:lnTo>
                  <a:lnTo>
                    <a:pt x="25" y="6"/>
                  </a:lnTo>
                  <a:lnTo>
                    <a:pt x="23" y="6"/>
                  </a:lnTo>
                  <a:lnTo>
                    <a:pt x="25" y="6"/>
                  </a:lnTo>
                  <a:lnTo>
                    <a:pt x="23" y="7"/>
                  </a:lnTo>
                  <a:lnTo>
                    <a:pt x="23" y="8"/>
                  </a:lnTo>
                  <a:lnTo>
                    <a:pt x="22" y="8"/>
                  </a:lnTo>
                  <a:lnTo>
                    <a:pt x="21" y="9"/>
                  </a:lnTo>
                  <a:lnTo>
                    <a:pt x="22" y="9"/>
                  </a:lnTo>
                  <a:lnTo>
                    <a:pt x="21" y="11"/>
                  </a:lnTo>
                  <a:lnTo>
                    <a:pt x="21" y="12"/>
                  </a:lnTo>
                  <a:lnTo>
                    <a:pt x="20" y="13"/>
                  </a:lnTo>
                  <a:lnTo>
                    <a:pt x="20" y="14"/>
                  </a:lnTo>
                  <a:lnTo>
                    <a:pt x="19" y="14"/>
                  </a:lnTo>
                  <a:lnTo>
                    <a:pt x="18" y="14"/>
                  </a:lnTo>
                  <a:lnTo>
                    <a:pt x="18" y="13"/>
                  </a:lnTo>
                  <a:lnTo>
                    <a:pt x="18" y="14"/>
                  </a:lnTo>
                  <a:lnTo>
                    <a:pt x="16" y="14"/>
                  </a:lnTo>
                  <a:lnTo>
                    <a:pt x="15" y="14"/>
                  </a:lnTo>
                  <a:lnTo>
                    <a:pt x="16" y="14"/>
                  </a:lnTo>
                  <a:lnTo>
                    <a:pt x="15" y="14"/>
                  </a:lnTo>
                  <a:lnTo>
                    <a:pt x="15" y="15"/>
                  </a:lnTo>
                  <a:lnTo>
                    <a:pt x="15" y="16"/>
                  </a:lnTo>
                  <a:lnTo>
                    <a:pt x="14" y="16"/>
                  </a:lnTo>
                  <a:lnTo>
                    <a:pt x="13" y="16"/>
                  </a:lnTo>
                  <a:lnTo>
                    <a:pt x="14" y="18"/>
                  </a:lnTo>
                  <a:lnTo>
                    <a:pt x="13" y="18"/>
                  </a:lnTo>
                  <a:lnTo>
                    <a:pt x="12" y="18"/>
                  </a:lnTo>
                  <a:lnTo>
                    <a:pt x="12" y="16"/>
                  </a:lnTo>
                  <a:lnTo>
                    <a:pt x="11" y="16"/>
                  </a:lnTo>
                  <a:lnTo>
                    <a:pt x="9" y="16"/>
                  </a:lnTo>
                  <a:lnTo>
                    <a:pt x="11" y="16"/>
                  </a:lnTo>
                  <a:lnTo>
                    <a:pt x="11" y="18"/>
                  </a:lnTo>
                  <a:lnTo>
                    <a:pt x="9" y="16"/>
                  </a:lnTo>
                  <a:lnTo>
                    <a:pt x="8" y="16"/>
                  </a:lnTo>
                  <a:lnTo>
                    <a:pt x="7" y="15"/>
                  </a:lnTo>
                  <a:lnTo>
                    <a:pt x="6" y="15"/>
                  </a:lnTo>
                  <a:lnTo>
                    <a:pt x="6" y="14"/>
                  </a:lnTo>
                  <a:lnTo>
                    <a:pt x="7" y="14"/>
                  </a:lnTo>
                  <a:lnTo>
                    <a:pt x="7" y="15"/>
                  </a:lnTo>
                  <a:lnTo>
                    <a:pt x="8" y="15"/>
                  </a:lnTo>
                  <a:lnTo>
                    <a:pt x="9" y="15"/>
                  </a:lnTo>
                  <a:lnTo>
                    <a:pt x="9" y="14"/>
                  </a:lnTo>
                  <a:lnTo>
                    <a:pt x="8" y="14"/>
                  </a:lnTo>
                  <a:lnTo>
                    <a:pt x="9" y="14"/>
                  </a:lnTo>
                  <a:lnTo>
                    <a:pt x="11" y="14"/>
                  </a:lnTo>
                  <a:lnTo>
                    <a:pt x="12" y="14"/>
                  </a:lnTo>
                  <a:lnTo>
                    <a:pt x="13" y="14"/>
                  </a:lnTo>
                  <a:lnTo>
                    <a:pt x="13" y="13"/>
                  </a:lnTo>
                  <a:lnTo>
                    <a:pt x="12" y="13"/>
                  </a:lnTo>
                  <a:lnTo>
                    <a:pt x="11" y="13"/>
                  </a:lnTo>
                  <a:lnTo>
                    <a:pt x="12" y="13"/>
                  </a:lnTo>
                  <a:lnTo>
                    <a:pt x="13" y="13"/>
                  </a:lnTo>
                  <a:lnTo>
                    <a:pt x="12" y="13"/>
                  </a:lnTo>
                  <a:lnTo>
                    <a:pt x="12" y="12"/>
                  </a:lnTo>
                  <a:lnTo>
                    <a:pt x="12" y="11"/>
                  </a:lnTo>
                  <a:lnTo>
                    <a:pt x="13" y="11"/>
                  </a:lnTo>
                  <a:lnTo>
                    <a:pt x="13" y="12"/>
                  </a:lnTo>
                  <a:lnTo>
                    <a:pt x="14" y="12"/>
                  </a:lnTo>
                  <a:lnTo>
                    <a:pt x="13" y="11"/>
                  </a:lnTo>
                  <a:lnTo>
                    <a:pt x="14" y="11"/>
                  </a:lnTo>
                  <a:lnTo>
                    <a:pt x="15" y="11"/>
                  </a:lnTo>
                  <a:lnTo>
                    <a:pt x="15" y="9"/>
                  </a:lnTo>
                  <a:lnTo>
                    <a:pt x="14" y="9"/>
                  </a:lnTo>
                  <a:lnTo>
                    <a:pt x="14" y="11"/>
                  </a:lnTo>
                  <a:lnTo>
                    <a:pt x="13" y="9"/>
                  </a:lnTo>
                  <a:lnTo>
                    <a:pt x="13" y="11"/>
                  </a:lnTo>
                  <a:lnTo>
                    <a:pt x="12" y="11"/>
                  </a:lnTo>
                  <a:lnTo>
                    <a:pt x="11" y="11"/>
                  </a:lnTo>
                  <a:lnTo>
                    <a:pt x="11" y="12"/>
                  </a:lnTo>
                  <a:lnTo>
                    <a:pt x="11" y="11"/>
                  </a:lnTo>
                  <a:lnTo>
                    <a:pt x="9" y="11"/>
                  </a:lnTo>
                  <a:lnTo>
                    <a:pt x="9" y="9"/>
                  </a:lnTo>
                  <a:lnTo>
                    <a:pt x="11" y="9"/>
                  </a:lnTo>
                  <a:lnTo>
                    <a:pt x="12" y="9"/>
                  </a:lnTo>
                  <a:lnTo>
                    <a:pt x="13" y="9"/>
                  </a:lnTo>
                  <a:lnTo>
                    <a:pt x="14" y="9"/>
                  </a:lnTo>
                  <a:lnTo>
                    <a:pt x="15" y="9"/>
                  </a:lnTo>
                  <a:lnTo>
                    <a:pt x="16" y="9"/>
                  </a:lnTo>
                  <a:lnTo>
                    <a:pt x="15" y="9"/>
                  </a:lnTo>
                  <a:lnTo>
                    <a:pt x="14" y="9"/>
                  </a:lnTo>
                  <a:lnTo>
                    <a:pt x="13" y="8"/>
                  </a:lnTo>
                  <a:lnTo>
                    <a:pt x="12" y="8"/>
                  </a:lnTo>
                  <a:lnTo>
                    <a:pt x="11" y="7"/>
                  </a:lnTo>
                  <a:lnTo>
                    <a:pt x="9" y="7"/>
                  </a:lnTo>
                  <a:lnTo>
                    <a:pt x="9" y="6"/>
                  </a:lnTo>
                  <a:lnTo>
                    <a:pt x="11" y="6"/>
                  </a:lnTo>
                  <a:lnTo>
                    <a:pt x="11" y="7"/>
                  </a:lnTo>
                  <a:lnTo>
                    <a:pt x="11" y="6"/>
                  </a:lnTo>
                  <a:lnTo>
                    <a:pt x="9" y="6"/>
                  </a:lnTo>
                  <a:lnTo>
                    <a:pt x="8" y="6"/>
                  </a:lnTo>
                  <a:lnTo>
                    <a:pt x="7" y="5"/>
                  </a:lnTo>
                  <a:lnTo>
                    <a:pt x="8" y="5"/>
                  </a:lnTo>
                  <a:lnTo>
                    <a:pt x="9" y="5"/>
                  </a:lnTo>
                  <a:lnTo>
                    <a:pt x="11" y="5"/>
                  </a:lnTo>
                  <a:lnTo>
                    <a:pt x="12" y="6"/>
                  </a:lnTo>
                  <a:lnTo>
                    <a:pt x="13" y="6"/>
                  </a:lnTo>
                  <a:lnTo>
                    <a:pt x="14" y="7"/>
                  </a:lnTo>
                  <a:lnTo>
                    <a:pt x="15" y="6"/>
                  </a:lnTo>
                  <a:lnTo>
                    <a:pt x="14" y="6"/>
                  </a:lnTo>
                  <a:lnTo>
                    <a:pt x="15" y="5"/>
                  </a:lnTo>
                  <a:lnTo>
                    <a:pt x="15" y="6"/>
                  </a:lnTo>
                  <a:lnTo>
                    <a:pt x="16" y="5"/>
                  </a:lnTo>
                  <a:lnTo>
                    <a:pt x="18" y="6"/>
                  </a:lnTo>
                  <a:lnTo>
                    <a:pt x="19" y="6"/>
                  </a:lnTo>
                  <a:lnTo>
                    <a:pt x="18" y="6"/>
                  </a:lnTo>
                  <a:lnTo>
                    <a:pt x="19" y="6"/>
                  </a:lnTo>
                  <a:lnTo>
                    <a:pt x="21" y="6"/>
                  </a:lnTo>
                  <a:lnTo>
                    <a:pt x="21" y="5"/>
                  </a:lnTo>
                  <a:lnTo>
                    <a:pt x="21" y="6"/>
                  </a:lnTo>
                  <a:lnTo>
                    <a:pt x="20" y="6"/>
                  </a:lnTo>
                  <a:lnTo>
                    <a:pt x="21" y="6"/>
                  </a:lnTo>
                  <a:lnTo>
                    <a:pt x="22" y="6"/>
                  </a:lnTo>
                  <a:lnTo>
                    <a:pt x="22" y="5"/>
                  </a:lnTo>
                  <a:lnTo>
                    <a:pt x="21" y="5"/>
                  </a:lnTo>
                  <a:lnTo>
                    <a:pt x="22" y="5"/>
                  </a:lnTo>
                  <a:close/>
                  <a:moveTo>
                    <a:pt x="19" y="5"/>
                  </a:moveTo>
                  <a:lnTo>
                    <a:pt x="20" y="5"/>
                  </a:lnTo>
                  <a:lnTo>
                    <a:pt x="19" y="5"/>
                  </a:lnTo>
                  <a:lnTo>
                    <a:pt x="19" y="6"/>
                  </a:lnTo>
                  <a:lnTo>
                    <a:pt x="19" y="5"/>
                  </a:lnTo>
                  <a:lnTo>
                    <a:pt x="18" y="5"/>
                  </a:lnTo>
                  <a:lnTo>
                    <a:pt x="19" y="5"/>
                  </a:lnTo>
                  <a:lnTo>
                    <a:pt x="18" y="5"/>
                  </a:lnTo>
                  <a:lnTo>
                    <a:pt x="16" y="5"/>
                  </a:lnTo>
                  <a:lnTo>
                    <a:pt x="18" y="5"/>
                  </a:lnTo>
                  <a:lnTo>
                    <a:pt x="18" y="4"/>
                  </a:lnTo>
                  <a:lnTo>
                    <a:pt x="18" y="5"/>
                  </a:lnTo>
                  <a:lnTo>
                    <a:pt x="19" y="5"/>
                  </a:lnTo>
                  <a:close/>
                  <a:moveTo>
                    <a:pt x="16" y="5"/>
                  </a:moveTo>
                  <a:lnTo>
                    <a:pt x="15" y="5"/>
                  </a:lnTo>
                  <a:lnTo>
                    <a:pt x="15" y="4"/>
                  </a:lnTo>
                  <a:lnTo>
                    <a:pt x="14" y="4"/>
                  </a:lnTo>
                  <a:lnTo>
                    <a:pt x="15" y="4"/>
                  </a:lnTo>
                  <a:lnTo>
                    <a:pt x="16" y="4"/>
                  </a:lnTo>
                  <a:lnTo>
                    <a:pt x="15" y="4"/>
                  </a:lnTo>
                  <a:lnTo>
                    <a:pt x="16" y="5"/>
                  </a:lnTo>
                  <a:close/>
                  <a:moveTo>
                    <a:pt x="12" y="4"/>
                  </a:moveTo>
                  <a:lnTo>
                    <a:pt x="13" y="4"/>
                  </a:lnTo>
                  <a:lnTo>
                    <a:pt x="14" y="4"/>
                  </a:lnTo>
                  <a:lnTo>
                    <a:pt x="14" y="5"/>
                  </a:lnTo>
                  <a:lnTo>
                    <a:pt x="14" y="6"/>
                  </a:lnTo>
                  <a:lnTo>
                    <a:pt x="13" y="5"/>
                  </a:lnTo>
                  <a:lnTo>
                    <a:pt x="12" y="5"/>
                  </a:lnTo>
                  <a:lnTo>
                    <a:pt x="13" y="5"/>
                  </a:lnTo>
                  <a:lnTo>
                    <a:pt x="14" y="5"/>
                  </a:lnTo>
                  <a:lnTo>
                    <a:pt x="13" y="5"/>
                  </a:lnTo>
                  <a:lnTo>
                    <a:pt x="13" y="4"/>
                  </a:lnTo>
                  <a:lnTo>
                    <a:pt x="12" y="4"/>
                  </a:lnTo>
                  <a:lnTo>
                    <a:pt x="11" y="4"/>
                  </a:lnTo>
                  <a:lnTo>
                    <a:pt x="12" y="4"/>
                  </a:lnTo>
                  <a:close/>
                  <a:moveTo>
                    <a:pt x="8" y="4"/>
                  </a:moveTo>
                  <a:lnTo>
                    <a:pt x="7" y="4"/>
                  </a:lnTo>
                  <a:lnTo>
                    <a:pt x="8" y="4"/>
                  </a:lnTo>
                  <a:close/>
                  <a:moveTo>
                    <a:pt x="30" y="4"/>
                  </a:moveTo>
                  <a:lnTo>
                    <a:pt x="30" y="5"/>
                  </a:lnTo>
                  <a:lnTo>
                    <a:pt x="32" y="5"/>
                  </a:lnTo>
                  <a:lnTo>
                    <a:pt x="32" y="4"/>
                  </a:lnTo>
                  <a:lnTo>
                    <a:pt x="33" y="4"/>
                  </a:lnTo>
                  <a:lnTo>
                    <a:pt x="34" y="4"/>
                  </a:lnTo>
                  <a:lnTo>
                    <a:pt x="34" y="5"/>
                  </a:lnTo>
                  <a:lnTo>
                    <a:pt x="35" y="5"/>
                  </a:lnTo>
                  <a:lnTo>
                    <a:pt x="35" y="6"/>
                  </a:lnTo>
                  <a:lnTo>
                    <a:pt x="34" y="6"/>
                  </a:lnTo>
                  <a:lnTo>
                    <a:pt x="34" y="5"/>
                  </a:lnTo>
                  <a:lnTo>
                    <a:pt x="33" y="5"/>
                  </a:lnTo>
                  <a:lnTo>
                    <a:pt x="33" y="6"/>
                  </a:lnTo>
                  <a:lnTo>
                    <a:pt x="34" y="6"/>
                  </a:lnTo>
                  <a:lnTo>
                    <a:pt x="34" y="7"/>
                  </a:lnTo>
                  <a:lnTo>
                    <a:pt x="34" y="6"/>
                  </a:lnTo>
                  <a:lnTo>
                    <a:pt x="35" y="6"/>
                  </a:lnTo>
                  <a:lnTo>
                    <a:pt x="35" y="7"/>
                  </a:lnTo>
                  <a:lnTo>
                    <a:pt x="35" y="8"/>
                  </a:lnTo>
                  <a:lnTo>
                    <a:pt x="36" y="8"/>
                  </a:lnTo>
                  <a:lnTo>
                    <a:pt x="36" y="7"/>
                  </a:lnTo>
                  <a:lnTo>
                    <a:pt x="36" y="8"/>
                  </a:lnTo>
                  <a:lnTo>
                    <a:pt x="37" y="8"/>
                  </a:lnTo>
                  <a:lnTo>
                    <a:pt x="37" y="9"/>
                  </a:lnTo>
                  <a:lnTo>
                    <a:pt x="37" y="8"/>
                  </a:lnTo>
                  <a:lnTo>
                    <a:pt x="39" y="8"/>
                  </a:lnTo>
                  <a:lnTo>
                    <a:pt x="37" y="8"/>
                  </a:lnTo>
                  <a:lnTo>
                    <a:pt x="37" y="7"/>
                  </a:lnTo>
                  <a:lnTo>
                    <a:pt x="36" y="7"/>
                  </a:lnTo>
                  <a:lnTo>
                    <a:pt x="36" y="6"/>
                  </a:lnTo>
                  <a:lnTo>
                    <a:pt x="36" y="7"/>
                  </a:lnTo>
                  <a:lnTo>
                    <a:pt x="35" y="7"/>
                  </a:lnTo>
                  <a:lnTo>
                    <a:pt x="35" y="6"/>
                  </a:lnTo>
                  <a:lnTo>
                    <a:pt x="36" y="6"/>
                  </a:lnTo>
                  <a:lnTo>
                    <a:pt x="36" y="5"/>
                  </a:lnTo>
                  <a:lnTo>
                    <a:pt x="39" y="5"/>
                  </a:lnTo>
                  <a:lnTo>
                    <a:pt x="40" y="5"/>
                  </a:lnTo>
                  <a:lnTo>
                    <a:pt x="41" y="5"/>
                  </a:lnTo>
                  <a:lnTo>
                    <a:pt x="41" y="6"/>
                  </a:lnTo>
                  <a:lnTo>
                    <a:pt x="42" y="6"/>
                  </a:lnTo>
                  <a:lnTo>
                    <a:pt x="42" y="7"/>
                  </a:lnTo>
                  <a:lnTo>
                    <a:pt x="43" y="7"/>
                  </a:lnTo>
                  <a:lnTo>
                    <a:pt x="42" y="7"/>
                  </a:lnTo>
                  <a:lnTo>
                    <a:pt x="41" y="7"/>
                  </a:lnTo>
                  <a:lnTo>
                    <a:pt x="40" y="7"/>
                  </a:lnTo>
                  <a:lnTo>
                    <a:pt x="39" y="7"/>
                  </a:lnTo>
                  <a:lnTo>
                    <a:pt x="39" y="8"/>
                  </a:lnTo>
                  <a:lnTo>
                    <a:pt x="40" y="8"/>
                  </a:lnTo>
                  <a:lnTo>
                    <a:pt x="41" y="8"/>
                  </a:lnTo>
                  <a:lnTo>
                    <a:pt x="42" y="8"/>
                  </a:lnTo>
                  <a:lnTo>
                    <a:pt x="43" y="8"/>
                  </a:lnTo>
                  <a:lnTo>
                    <a:pt x="43" y="9"/>
                  </a:lnTo>
                  <a:lnTo>
                    <a:pt x="42" y="9"/>
                  </a:lnTo>
                  <a:lnTo>
                    <a:pt x="43" y="9"/>
                  </a:lnTo>
                  <a:lnTo>
                    <a:pt x="44" y="9"/>
                  </a:lnTo>
                  <a:lnTo>
                    <a:pt x="43" y="9"/>
                  </a:lnTo>
                  <a:lnTo>
                    <a:pt x="42" y="11"/>
                  </a:lnTo>
                  <a:lnTo>
                    <a:pt x="41" y="11"/>
                  </a:lnTo>
                  <a:lnTo>
                    <a:pt x="40" y="11"/>
                  </a:lnTo>
                  <a:lnTo>
                    <a:pt x="39" y="11"/>
                  </a:lnTo>
                  <a:lnTo>
                    <a:pt x="37" y="11"/>
                  </a:lnTo>
                  <a:lnTo>
                    <a:pt x="39" y="11"/>
                  </a:lnTo>
                  <a:lnTo>
                    <a:pt x="40" y="11"/>
                  </a:lnTo>
                  <a:lnTo>
                    <a:pt x="40" y="12"/>
                  </a:lnTo>
                  <a:lnTo>
                    <a:pt x="39" y="12"/>
                  </a:lnTo>
                  <a:lnTo>
                    <a:pt x="37" y="12"/>
                  </a:lnTo>
                  <a:lnTo>
                    <a:pt x="39" y="12"/>
                  </a:lnTo>
                  <a:lnTo>
                    <a:pt x="37" y="13"/>
                  </a:lnTo>
                  <a:lnTo>
                    <a:pt x="36" y="13"/>
                  </a:lnTo>
                  <a:lnTo>
                    <a:pt x="35" y="13"/>
                  </a:lnTo>
                  <a:lnTo>
                    <a:pt x="33" y="13"/>
                  </a:lnTo>
                  <a:lnTo>
                    <a:pt x="32" y="12"/>
                  </a:lnTo>
                  <a:lnTo>
                    <a:pt x="30" y="12"/>
                  </a:lnTo>
                  <a:lnTo>
                    <a:pt x="30" y="13"/>
                  </a:lnTo>
                  <a:lnTo>
                    <a:pt x="32" y="13"/>
                  </a:lnTo>
                  <a:lnTo>
                    <a:pt x="33" y="13"/>
                  </a:lnTo>
                  <a:lnTo>
                    <a:pt x="33" y="14"/>
                  </a:lnTo>
                  <a:lnTo>
                    <a:pt x="34" y="14"/>
                  </a:lnTo>
                  <a:lnTo>
                    <a:pt x="35" y="14"/>
                  </a:lnTo>
                  <a:lnTo>
                    <a:pt x="35" y="15"/>
                  </a:lnTo>
                  <a:lnTo>
                    <a:pt x="35" y="16"/>
                  </a:lnTo>
                  <a:lnTo>
                    <a:pt x="34" y="15"/>
                  </a:lnTo>
                  <a:lnTo>
                    <a:pt x="33" y="15"/>
                  </a:lnTo>
                  <a:lnTo>
                    <a:pt x="32" y="15"/>
                  </a:lnTo>
                  <a:lnTo>
                    <a:pt x="32" y="16"/>
                  </a:lnTo>
                  <a:lnTo>
                    <a:pt x="32" y="15"/>
                  </a:lnTo>
                  <a:lnTo>
                    <a:pt x="30" y="15"/>
                  </a:lnTo>
                  <a:lnTo>
                    <a:pt x="29" y="14"/>
                  </a:lnTo>
                  <a:lnTo>
                    <a:pt x="28" y="14"/>
                  </a:lnTo>
                  <a:lnTo>
                    <a:pt x="27" y="14"/>
                  </a:lnTo>
                  <a:lnTo>
                    <a:pt x="27" y="15"/>
                  </a:lnTo>
                  <a:lnTo>
                    <a:pt x="27" y="14"/>
                  </a:lnTo>
                  <a:lnTo>
                    <a:pt x="28" y="15"/>
                  </a:lnTo>
                  <a:lnTo>
                    <a:pt x="29" y="15"/>
                  </a:lnTo>
                  <a:lnTo>
                    <a:pt x="30" y="16"/>
                  </a:lnTo>
                  <a:lnTo>
                    <a:pt x="29" y="16"/>
                  </a:lnTo>
                  <a:lnTo>
                    <a:pt x="30" y="16"/>
                  </a:lnTo>
                  <a:lnTo>
                    <a:pt x="30" y="18"/>
                  </a:lnTo>
                  <a:lnTo>
                    <a:pt x="29" y="18"/>
                  </a:lnTo>
                  <a:lnTo>
                    <a:pt x="28" y="18"/>
                  </a:lnTo>
                  <a:lnTo>
                    <a:pt x="28" y="16"/>
                  </a:lnTo>
                  <a:lnTo>
                    <a:pt x="27" y="16"/>
                  </a:lnTo>
                  <a:lnTo>
                    <a:pt x="26" y="16"/>
                  </a:lnTo>
                  <a:lnTo>
                    <a:pt x="27" y="18"/>
                  </a:lnTo>
                  <a:lnTo>
                    <a:pt x="28" y="18"/>
                  </a:lnTo>
                  <a:lnTo>
                    <a:pt x="28" y="19"/>
                  </a:lnTo>
                  <a:lnTo>
                    <a:pt x="28" y="20"/>
                  </a:lnTo>
                  <a:lnTo>
                    <a:pt x="27" y="19"/>
                  </a:lnTo>
                  <a:lnTo>
                    <a:pt x="26" y="19"/>
                  </a:lnTo>
                  <a:lnTo>
                    <a:pt x="26" y="18"/>
                  </a:lnTo>
                  <a:lnTo>
                    <a:pt x="25" y="18"/>
                  </a:lnTo>
                  <a:lnTo>
                    <a:pt x="23" y="18"/>
                  </a:lnTo>
                  <a:lnTo>
                    <a:pt x="23" y="16"/>
                  </a:lnTo>
                  <a:lnTo>
                    <a:pt x="22" y="16"/>
                  </a:lnTo>
                  <a:lnTo>
                    <a:pt x="22" y="15"/>
                  </a:lnTo>
                  <a:lnTo>
                    <a:pt x="22" y="16"/>
                  </a:lnTo>
                  <a:lnTo>
                    <a:pt x="23" y="16"/>
                  </a:lnTo>
                  <a:lnTo>
                    <a:pt x="23" y="15"/>
                  </a:lnTo>
                  <a:lnTo>
                    <a:pt x="23" y="14"/>
                  </a:lnTo>
                  <a:lnTo>
                    <a:pt x="23" y="13"/>
                  </a:lnTo>
                  <a:lnTo>
                    <a:pt x="22" y="13"/>
                  </a:lnTo>
                  <a:lnTo>
                    <a:pt x="23" y="13"/>
                  </a:lnTo>
                  <a:lnTo>
                    <a:pt x="25" y="13"/>
                  </a:lnTo>
                  <a:lnTo>
                    <a:pt x="23" y="13"/>
                  </a:lnTo>
                  <a:lnTo>
                    <a:pt x="25" y="13"/>
                  </a:lnTo>
                  <a:lnTo>
                    <a:pt x="25" y="12"/>
                  </a:lnTo>
                  <a:lnTo>
                    <a:pt x="23" y="12"/>
                  </a:lnTo>
                  <a:lnTo>
                    <a:pt x="25" y="12"/>
                  </a:lnTo>
                  <a:lnTo>
                    <a:pt x="25" y="11"/>
                  </a:lnTo>
                  <a:lnTo>
                    <a:pt x="26" y="11"/>
                  </a:lnTo>
                  <a:lnTo>
                    <a:pt x="27" y="9"/>
                  </a:lnTo>
                  <a:lnTo>
                    <a:pt x="27" y="11"/>
                  </a:lnTo>
                  <a:lnTo>
                    <a:pt x="27" y="9"/>
                  </a:lnTo>
                  <a:lnTo>
                    <a:pt x="28" y="9"/>
                  </a:lnTo>
                  <a:lnTo>
                    <a:pt x="28" y="11"/>
                  </a:lnTo>
                  <a:lnTo>
                    <a:pt x="29" y="11"/>
                  </a:lnTo>
                  <a:lnTo>
                    <a:pt x="29" y="12"/>
                  </a:lnTo>
                  <a:lnTo>
                    <a:pt x="29" y="11"/>
                  </a:lnTo>
                  <a:lnTo>
                    <a:pt x="28" y="9"/>
                  </a:lnTo>
                  <a:lnTo>
                    <a:pt x="29" y="9"/>
                  </a:lnTo>
                  <a:lnTo>
                    <a:pt x="28" y="9"/>
                  </a:lnTo>
                  <a:lnTo>
                    <a:pt x="27" y="8"/>
                  </a:lnTo>
                  <a:lnTo>
                    <a:pt x="26" y="8"/>
                  </a:lnTo>
                  <a:lnTo>
                    <a:pt x="26" y="7"/>
                  </a:lnTo>
                  <a:lnTo>
                    <a:pt x="27" y="7"/>
                  </a:lnTo>
                  <a:lnTo>
                    <a:pt x="27" y="8"/>
                  </a:lnTo>
                  <a:lnTo>
                    <a:pt x="28" y="8"/>
                  </a:lnTo>
                  <a:lnTo>
                    <a:pt x="28" y="7"/>
                  </a:lnTo>
                  <a:lnTo>
                    <a:pt x="27" y="7"/>
                  </a:lnTo>
                  <a:lnTo>
                    <a:pt x="28" y="7"/>
                  </a:lnTo>
                  <a:lnTo>
                    <a:pt x="26" y="6"/>
                  </a:lnTo>
                  <a:lnTo>
                    <a:pt x="27" y="6"/>
                  </a:lnTo>
                  <a:lnTo>
                    <a:pt x="27" y="5"/>
                  </a:lnTo>
                  <a:lnTo>
                    <a:pt x="28" y="5"/>
                  </a:lnTo>
                  <a:lnTo>
                    <a:pt x="28" y="4"/>
                  </a:lnTo>
                  <a:lnTo>
                    <a:pt x="27" y="4"/>
                  </a:lnTo>
                  <a:lnTo>
                    <a:pt x="27" y="2"/>
                  </a:lnTo>
                  <a:lnTo>
                    <a:pt x="27" y="4"/>
                  </a:lnTo>
                  <a:lnTo>
                    <a:pt x="28" y="4"/>
                  </a:lnTo>
                  <a:lnTo>
                    <a:pt x="29" y="4"/>
                  </a:lnTo>
                  <a:lnTo>
                    <a:pt x="30" y="4"/>
                  </a:lnTo>
                  <a:close/>
                  <a:moveTo>
                    <a:pt x="18" y="4"/>
                  </a:moveTo>
                  <a:lnTo>
                    <a:pt x="19" y="4"/>
                  </a:lnTo>
                  <a:lnTo>
                    <a:pt x="20" y="4"/>
                  </a:lnTo>
                  <a:lnTo>
                    <a:pt x="21" y="4"/>
                  </a:lnTo>
                  <a:lnTo>
                    <a:pt x="21" y="5"/>
                  </a:lnTo>
                  <a:lnTo>
                    <a:pt x="20" y="5"/>
                  </a:lnTo>
                  <a:lnTo>
                    <a:pt x="20" y="4"/>
                  </a:lnTo>
                  <a:lnTo>
                    <a:pt x="19" y="4"/>
                  </a:lnTo>
                  <a:lnTo>
                    <a:pt x="18" y="4"/>
                  </a:lnTo>
                  <a:lnTo>
                    <a:pt x="16" y="4"/>
                  </a:lnTo>
                  <a:lnTo>
                    <a:pt x="16" y="2"/>
                  </a:lnTo>
                  <a:lnTo>
                    <a:pt x="18" y="2"/>
                  </a:lnTo>
                  <a:lnTo>
                    <a:pt x="18" y="4"/>
                  </a:lnTo>
                  <a:close/>
                  <a:moveTo>
                    <a:pt x="1" y="0"/>
                  </a:moveTo>
                  <a:lnTo>
                    <a:pt x="0"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31" name="Freeform 886">
              <a:extLst>
                <a:ext uri="{FF2B5EF4-FFF2-40B4-BE49-F238E27FC236}">
                  <a16:creationId xmlns:a16="http://schemas.microsoft.com/office/drawing/2014/main" id="{ECDD38AC-ECD3-466B-91F2-B4B5BBACBF07}"/>
                </a:ext>
              </a:extLst>
            </p:cNvPr>
            <p:cNvSpPr>
              <a:spLocks noEditPoints="1"/>
            </p:cNvSpPr>
            <p:nvPr/>
          </p:nvSpPr>
          <p:spPr bwMode="auto">
            <a:xfrm>
              <a:off x="8367894" y="3141527"/>
              <a:ext cx="471428" cy="186968"/>
            </a:xfrm>
            <a:custGeom>
              <a:avLst/>
              <a:gdLst>
                <a:gd name="T0" fmla="*/ 241 w 353"/>
                <a:gd name="T1" fmla="*/ 140 h 140"/>
                <a:gd name="T2" fmla="*/ 241 w 353"/>
                <a:gd name="T3" fmla="*/ 140 h 140"/>
                <a:gd name="T4" fmla="*/ 240 w 353"/>
                <a:gd name="T5" fmla="*/ 139 h 140"/>
                <a:gd name="T6" fmla="*/ 241 w 353"/>
                <a:gd name="T7" fmla="*/ 139 h 140"/>
                <a:gd name="T8" fmla="*/ 241 w 353"/>
                <a:gd name="T9" fmla="*/ 139 h 140"/>
                <a:gd name="T10" fmla="*/ 241 w 353"/>
                <a:gd name="T11" fmla="*/ 95 h 140"/>
                <a:gd name="T12" fmla="*/ 240 w 353"/>
                <a:gd name="T13" fmla="*/ 95 h 140"/>
                <a:gd name="T14" fmla="*/ 240 w 353"/>
                <a:gd name="T15" fmla="*/ 95 h 140"/>
                <a:gd name="T16" fmla="*/ 222 w 353"/>
                <a:gd name="T17" fmla="*/ 70 h 140"/>
                <a:gd name="T18" fmla="*/ 222 w 353"/>
                <a:gd name="T19" fmla="*/ 70 h 140"/>
                <a:gd name="T20" fmla="*/ 353 w 353"/>
                <a:gd name="T21" fmla="*/ 71 h 140"/>
                <a:gd name="T22" fmla="*/ 352 w 353"/>
                <a:gd name="T23" fmla="*/ 71 h 140"/>
                <a:gd name="T24" fmla="*/ 350 w 353"/>
                <a:gd name="T25" fmla="*/ 70 h 140"/>
                <a:gd name="T26" fmla="*/ 352 w 353"/>
                <a:gd name="T27" fmla="*/ 69 h 140"/>
                <a:gd name="T28" fmla="*/ 353 w 353"/>
                <a:gd name="T29" fmla="*/ 70 h 140"/>
                <a:gd name="T30" fmla="*/ 353 w 353"/>
                <a:gd name="T31" fmla="*/ 70 h 140"/>
                <a:gd name="T32" fmla="*/ 270 w 353"/>
                <a:gd name="T33" fmla="*/ 63 h 140"/>
                <a:gd name="T34" fmla="*/ 270 w 353"/>
                <a:gd name="T35" fmla="*/ 63 h 140"/>
                <a:gd name="T36" fmla="*/ 160 w 353"/>
                <a:gd name="T37" fmla="*/ 48 h 140"/>
                <a:gd name="T38" fmla="*/ 160 w 353"/>
                <a:gd name="T39" fmla="*/ 48 h 140"/>
                <a:gd name="T40" fmla="*/ 279 w 353"/>
                <a:gd name="T41" fmla="*/ 48 h 140"/>
                <a:gd name="T42" fmla="*/ 279 w 353"/>
                <a:gd name="T43" fmla="*/ 48 h 140"/>
                <a:gd name="T44" fmla="*/ 283 w 353"/>
                <a:gd name="T45" fmla="*/ 45 h 140"/>
                <a:gd name="T46" fmla="*/ 284 w 353"/>
                <a:gd name="T47" fmla="*/ 45 h 140"/>
                <a:gd name="T48" fmla="*/ 284 w 353"/>
                <a:gd name="T49" fmla="*/ 45 h 140"/>
                <a:gd name="T50" fmla="*/ 284 w 353"/>
                <a:gd name="T51" fmla="*/ 45 h 140"/>
                <a:gd name="T52" fmla="*/ 285 w 353"/>
                <a:gd name="T53" fmla="*/ 45 h 140"/>
                <a:gd name="T54" fmla="*/ 285 w 353"/>
                <a:gd name="T55" fmla="*/ 46 h 140"/>
                <a:gd name="T56" fmla="*/ 285 w 353"/>
                <a:gd name="T57" fmla="*/ 47 h 140"/>
                <a:gd name="T58" fmla="*/ 284 w 353"/>
                <a:gd name="T59" fmla="*/ 47 h 140"/>
                <a:gd name="T60" fmla="*/ 283 w 353"/>
                <a:gd name="T61" fmla="*/ 47 h 140"/>
                <a:gd name="T62" fmla="*/ 283 w 353"/>
                <a:gd name="T63" fmla="*/ 46 h 140"/>
                <a:gd name="T64" fmla="*/ 283 w 353"/>
                <a:gd name="T65" fmla="*/ 46 h 140"/>
                <a:gd name="T66" fmla="*/ 283 w 353"/>
                <a:gd name="T67" fmla="*/ 45 h 140"/>
                <a:gd name="T68" fmla="*/ 283 w 353"/>
                <a:gd name="T69" fmla="*/ 45 h 140"/>
                <a:gd name="T70" fmla="*/ 194 w 353"/>
                <a:gd name="T71" fmla="*/ 38 h 140"/>
                <a:gd name="T72" fmla="*/ 194 w 353"/>
                <a:gd name="T73" fmla="*/ 39 h 140"/>
                <a:gd name="T74" fmla="*/ 157 w 353"/>
                <a:gd name="T75" fmla="*/ 38 h 140"/>
                <a:gd name="T76" fmla="*/ 191 w 353"/>
                <a:gd name="T77" fmla="*/ 38 h 140"/>
                <a:gd name="T78" fmla="*/ 191 w 353"/>
                <a:gd name="T79" fmla="*/ 39 h 140"/>
                <a:gd name="T80" fmla="*/ 191 w 353"/>
                <a:gd name="T81" fmla="*/ 39 h 140"/>
                <a:gd name="T82" fmla="*/ 191 w 353"/>
                <a:gd name="T83" fmla="*/ 39 h 140"/>
                <a:gd name="T84" fmla="*/ 191 w 353"/>
                <a:gd name="T85" fmla="*/ 38 h 140"/>
                <a:gd name="T86" fmla="*/ 191 w 353"/>
                <a:gd name="T87" fmla="*/ 38 h 140"/>
                <a:gd name="T88" fmla="*/ 194 w 353"/>
                <a:gd name="T89" fmla="*/ 36 h 140"/>
                <a:gd name="T90" fmla="*/ 194 w 353"/>
                <a:gd name="T91" fmla="*/ 36 h 140"/>
                <a:gd name="T92" fmla="*/ 194 w 353"/>
                <a:gd name="T93" fmla="*/ 36 h 140"/>
                <a:gd name="T94" fmla="*/ 172 w 353"/>
                <a:gd name="T95" fmla="*/ 19 h 140"/>
                <a:gd name="T96" fmla="*/ 172 w 353"/>
                <a:gd name="T97" fmla="*/ 19 h 140"/>
                <a:gd name="T98" fmla="*/ 162 w 353"/>
                <a:gd name="T99" fmla="*/ 19 h 140"/>
                <a:gd name="T100" fmla="*/ 163 w 353"/>
                <a:gd name="T101" fmla="*/ 19 h 140"/>
                <a:gd name="T102" fmla="*/ 168 w 353"/>
                <a:gd name="T103" fmla="*/ 13 h 140"/>
                <a:gd name="T104" fmla="*/ 168 w 353"/>
                <a:gd name="T105" fmla="*/ 13 h 140"/>
                <a:gd name="T106" fmla="*/ 1 w 353"/>
                <a:gd name="T107" fmla="*/ 4 h 140"/>
                <a:gd name="T108" fmla="*/ 1 w 353"/>
                <a:gd name="T109" fmla="*/ 4 h 140"/>
                <a:gd name="T110" fmla="*/ 0 w 353"/>
                <a:gd name="T111" fmla="*/ 4 h 140"/>
                <a:gd name="T112" fmla="*/ 0 w 353"/>
                <a:gd name="T113" fmla="*/ 5 h 140"/>
                <a:gd name="T114" fmla="*/ 0 w 353"/>
                <a:gd name="T115" fmla="*/ 4 h 140"/>
                <a:gd name="T116" fmla="*/ 0 w 353"/>
                <a:gd name="T117" fmla="*/ 4 h 140"/>
                <a:gd name="T118" fmla="*/ 1 w 353"/>
                <a:gd name="T119" fmla="*/ 4 h 140"/>
                <a:gd name="T120" fmla="*/ 1 w 353"/>
                <a:gd name="T121" fmla="*/ 3 h 140"/>
                <a:gd name="T122" fmla="*/ 34 w 353"/>
                <a:gd name="T123" fmla="*/ 0 h 140"/>
                <a:gd name="T124" fmla="*/ 34 w 353"/>
                <a:gd name="T125"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3" h="140">
                  <a:moveTo>
                    <a:pt x="241" y="140"/>
                  </a:moveTo>
                  <a:lnTo>
                    <a:pt x="241" y="140"/>
                  </a:lnTo>
                  <a:lnTo>
                    <a:pt x="241" y="140"/>
                  </a:lnTo>
                  <a:lnTo>
                    <a:pt x="241" y="140"/>
                  </a:lnTo>
                  <a:lnTo>
                    <a:pt x="241" y="140"/>
                  </a:lnTo>
                  <a:lnTo>
                    <a:pt x="241" y="140"/>
                  </a:lnTo>
                  <a:lnTo>
                    <a:pt x="241" y="140"/>
                  </a:lnTo>
                  <a:lnTo>
                    <a:pt x="241" y="140"/>
                  </a:lnTo>
                  <a:close/>
                  <a:moveTo>
                    <a:pt x="240" y="139"/>
                  </a:moveTo>
                  <a:lnTo>
                    <a:pt x="240" y="139"/>
                  </a:lnTo>
                  <a:lnTo>
                    <a:pt x="240" y="139"/>
                  </a:lnTo>
                  <a:lnTo>
                    <a:pt x="240" y="139"/>
                  </a:lnTo>
                  <a:lnTo>
                    <a:pt x="240" y="139"/>
                  </a:lnTo>
                  <a:lnTo>
                    <a:pt x="240" y="139"/>
                  </a:lnTo>
                  <a:close/>
                  <a:moveTo>
                    <a:pt x="241" y="139"/>
                  </a:moveTo>
                  <a:lnTo>
                    <a:pt x="241" y="139"/>
                  </a:lnTo>
                  <a:lnTo>
                    <a:pt x="241" y="139"/>
                  </a:lnTo>
                  <a:lnTo>
                    <a:pt x="241" y="139"/>
                  </a:lnTo>
                  <a:lnTo>
                    <a:pt x="241" y="139"/>
                  </a:lnTo>
                  <a:lnTo>
                    <a:pt x="241" y="139"/>
                  </a:lnTo>
                  <a:lnTo>
                    <a:pt x="241" y="139"/>
                  </a:lnTo>
                  <a:lnTo>
                    <a:pt x="241" y="139"/>
                  </a:lnTo>
                  <a:close/>
                  <a:moveTo>
                    <a:pt x="241" y="95"/>
                  </a:moveTo>
                  <a:lnTo>
                    <a:pt x="241" y="95"/>
                  </a:lnTo>
                  <a:lnTo>
                    <a:pt x="241" y="95"/>
                  </a:lnTo>
                  <a:lnTo>
                    <a:pt x="241" y="95"/>
                  </a:lnTo>
                  <a:lnTo>
                    <a:pt x="241" y="95"/>
                  </a:lnTo>
                  <a:close/>
                  <a:moveTo>
                    <a:pt x="240" y="95"/>
                  </a:moveTo>
                  <a:lnTo>
                    <a:pt x="239" y="95"/>
                  </a:lnTo>
                  <a:lnTo>
                    <a:pt x="239" y="95"/>
                  </a:lnTo>
                  <a:lnTo>
                    <a:pt x="239" y="95"/>
                  </a:lnTo>
                  <a:lnTo>
                    <a:pt x="240" y="95"/>
                  </a:lnTo>
                  <a:close/>
                  <a:moveTo>
                    <a:pt x="222" y="71"/>
                  </a:moveTo>
                  <a:lnTo>
                    <a:pt x="222" y="71"/>
                  </a:lnTo>
                  <a:lnTo>
                    <a:pt x="222" y="70"/>
                  </a:lnTo>
                  <a:lnTo>
                    <a:pt x="222" y="70"/>
                  </a:lnTo>
                  <a:lnTo>
                    <a:pt x="222" y="70"/>
                  </a:lnTo>
                  <a:lnTo>
                    <a:pt x="222" y="70"/>
                  </a:lnTo>
                  <a:lnTo>
                    <a:pt x="222" y="70"/>
                  </a:lnTo>
                  <a:lnTo>
                    <a:pt x="222" y="70"/>
                  </a:lnTo>
                  <a:lnTo>
                    <a:pt x="222" y="71"/>
                  </a:lnTo>
                  <a:close/>
                  <a:moveTo>
                    <a:pt x="353" y="70"/>
                  </a:moveTo>
                  <a:lnTo>
                    <a:pt x="353" y="71"/>
                  </a:lnTo>
                  <a:lnTo>
                    <a:pt x="353" y="71"/>
                  </a:lnTo>
                  <a:lnTo>
                    <a:pt x="352" y="71"/>
                  </a:lnTo>
                  <a:lnTo>
                    <a:pt x="352" y="71"/>
                  </a:lnTo>
                  <a:lnTo>
                    <a:pt x="352" y="71"/>
                  </a:lnTo>
                  <a:lnTo>
                    <a:pt x="352" y="71"/>
                  </a:lnTo>
                  <a:lnTo>
                    <a:pt x="352" y="71"/>
                  </a:lnTo>
                  <a:lnTo>
                    <a:pt x="352" y="71"/>
                  </a:lnTo>
                  <a:lnTo>
                    <a:pt x="350" y="71"/>
                  </a:lnTo>
                  <a:lnTo>
                    <a:pt x="350" y="70"/>
                  </a:lnTo>
                  <a:lnTo>
                    <a:pt x="350" y="70"/>
                  </a:lnTo>
                  <a:lnTo>
                    <a:pt x="352" y="70"/>
                  </a:lnTo>
                  <a:lnTo>
                    <a:pt x="352" y="69"/>
                  </a:lnTo>
                  <a:lnTo>
                    <a:pt x="352" y="69"/>
                  </a:lnTo>
                  <a:lnTo>
                    <a:pt x="353" y="70"/>
                  </a:lnTo>
                  <a:lnTo>
                    <a:pt x="353" y="70"/>
                  </a:lnTo>
                  <a:lnTo>
                    <a:pt x="353" y="70"/>
                  </a:lnTo>
                  <a:lnTo>
                    <a:pt x="353" y="70"/>
                  </a:lnTo>
                  <a:lnTo>
                    <a:pt x="353" y="70"/>
                  </a:lnTo>
                  <a:lnTo>
                    <a:pt x="353" y="70"/>
                  </a:lnTo>
                  <a:lnTo>
                    <a:pt x="353" y="70"/>
                  </a:lnTo>
                  <a:lnTo>
                    <a:pt x="353" y="70"/>
                  </a:lnTo>
                  <a:lnTo>
                    <a:pt x="353" y="70"/>
                  </a:lnTo>
                  <a:close/>
                  <a:moveTo>
                    <a:pt x="270" y="63"/>
                  </a:moveTo>
                  <a:lnTo>
                    <a:pt x="270" y="63"/>
                  </a:lnTo>
                  <a:lnTo>
                    <a:pt x="270" y="63"/>
                  </a:lnTo>
                  <a:lnTo>
                    <a:pt x="270" y="63"/>
                  </a:lnTo>
                  <a:lnTo>
                    <a:pt x="270" y="63"/>
                  </a:lnTo>
                  <a:lnTo>
                    <a:pt x="270" y="63"/>
                  </a:lnTo>
                  <a:lnTo>
                    <a:pt x="270" y="63"/>
                  </a:lnTo>
                  <a:lnTo>
                    <a:pt x="270" y="63"/>
                  </a:lnTo>
                  <a:lnTo>
                    <a:pt x="270" y="63"/>
                  </a:lnTo>
                  <a:close/>
                  <a:moveTo>
                    <a:pt x="160" y="48"/>
                  </a:moveTo>
                  <a:lnTo>
                    <a:pt x="160" y="48"/>
                  </a:lnTo>
                  <a:lnTo>
                    <a:pt x="160" y="48"/>
                  </a:lnTo>
                  <a:lnTo>
                    <a:pt x="160" y="48"/>
                  </a:lnTo>
                  <a:lnTo>
                    <a:pt x="160" y="48"/>
                  </a:lnTo>
                  <a:lnTo>
                    <a:pt x="160" y="48"/>
                  </a:lnTo>
                  <a:lnTo>
                    <a:pt x="160" y="48"/>
                  </a:lnTo>
                  <a:lnTo>
                    <a:pt x="160" y="48"/>
                  </a:lnTo>
                  <a:lnTo>
                    <a:pt x="160" y="48"/>
                  </a:lnTo>
                  <a:close/>
                  <a:moveTo>
                    <a:pt x="279" y="48"/>
                  </a:moveTo>
                  <a:lnTo>
                    <a:pt x="279" y="48"/>
                  </a:lnTo>
                  <a:lnTo>
                    <a:pt x="279" y="48"/>
                  </a:lnTo>
                  <a:lnTo>
                    <a:pt x="279" y="48"/>
                  </a:lnTo>
                  <a:lnTo>
                    <a:pt x="279" y="48"/>
                  </a:lnTo>
                  <a:lnTo>
                    <a:pt x="279" y="48"/>
                  </a:lnTo>
                  <a:lnTo>
                    <a:pt x="279" y="48"/>
                  </a:lnTo>
                  <a:close/>
                  <a:moveTo>
                    <a:pt x="283" y="45"/>
                  </a:moveTo>
                  <a:lnTo>
                    <a:pt x="283" y="45"/>
                  </a:lnTo>
                  <a:lnTo>
                    <a:pt x="283" y="45"/>
                  </a:lnTo>
                  <a:lnTo>
                    <a:pt x="284" y="45"/>
                  </a:lnTo>
                  <a:lnTo>
                    <a:pt x="284" y="45"/>
                  </a:lnTo>
                  <a:lnTo>
                    <a:pt x="284" y="45"/>
                  </a:lnTo>
                  <a:lnTo>
                    <a:pt x="284" y="45"/>
                  </a:lnTo>
                  <a:lnTo>
                    <a:pt x="284" y="45"/>
                  </a:lnTo>
                  <a:lnTo>
                    <a:pt x="284" y="45"/>
                  </a:lnTo>
                  <a:lnTo>
                    <a:pt x="284" y="45"/>
                  </a:lnTo>
                  <a:lnTo>
                    <a:pt x="284" y="45"/>
                  </a:lnTo>
                  <a:lnTo>
                    <a:pt x="284" y="45"/>
                  </a:lnTo>
                  <a:lnTo>
                    <a:pt x="284" y="45"/>
                  </a:lnTo>
                  <a:lnTo>
                    <a:pt x="284" y="45"/>
                  </a:lnTo>
                  <a:lnTo>
                    <a:pt x="284" y="45"/>
                  </a:lnTo>
                  <a:lnTo>
                    <a:pt x="285" y="45"/>
                  </a:lnTo>
                  <a:lnTo>
                    <a:pt x="285" y="45"/>
                  </a:lnTo>
                  <a:lnTo>
                    <a:pt x="285" y="45"/>
                  </a:lnTo>
                  <a:lnTo>
                    <a:pt x="285" y="46"/>
                  </a:lnTo>
                  <a:lnTo>
                    <a:pt x="285" y="46"/>
                  </a:lnTo>
                  <a:lnTo>
                    <a:pt x="285" y="46"/>
                  </a:lnTo>
                  <a:lnTo>
                    <a:pt x="285" y="46"/>
                  </a:lnTo>
                  <a:lnTo>
                    <a:pt x="285" y="46"/>
                  </a:lnTo>
                  <a:lnTo>
                    <a:pt x="285" y="46"/>
                  </a:lnTo>
                  <a:lnTo>
                    <a:pt x="285" y="47"/>
                  </a:lnTo>
                  <a:lnTo>
                    <a:pt x="285" y="47"/>
                  </a:lnTo>
                  <a:lnTo>
                    <a:pt x="285" y="47"/>
                  </a:lnTo>
                  <a:lnTo>
                    <a:pt x="285" y="47"/>
                  </a:lnTo>
                  <a:lnTo>
                    <a:pt x="285" y="47"/>
                  </a:lnTo>
                  <a:lnTo>
                    <a:pt x="284" y="47"/>
                  </a:lnTo>
                  <a:lnTo>
                    <a:pt x="284" y="47"/>
                  </a:lnTo>
                  <a:lnTo>
                    <a:pt x="284" y="47"/>
                  </a:lnTo>
                  <a:lnTo>
                    <a:pt x="283" y="47"/>
                  </a:lnTo>
                  <a:lnTo>
                    <a:pt x="283" y="47"/>
                  </a:lnTo>
                  <a:lnTo>
                    <a:pt x="283" y="47"/>
                  </a:lnTo>
                  <a:lnTo>
                    <a:pt x="283" y="47"/>
                  </a:lnTo>
                  <a:lnTo>
                    <a:pt x="283" y="47"/>
                  </a:lnTo>
                  <a:lnTo>
                    <a:pt x="283" y="46"/>
                  </a:lnTo>
                  <a:lnTo>
                    <a:pt x="283" y="46"/>
                  </a:lnTo>
                  <a:lnTo>
                    <a:pt x="283" y="46"/>
                  </a:lnTo>
                  <a:lnTo>
                    <a:pt x="283" y="46"/>
                  </a:lnTo>
                  <a:lnTo>
                    <a:pt x="283" y="46"/>
                  </a:lnTo>
                  <a:lnTo>
                    <a:pt x="282" y="46"/>
                  </a:lnTo>
                  <a:lnTo>
                    <a:pt x="282" y="46"/>
                  </a:lnTo>
                  <a:lnTo>
                    <a:pt x="282" y="45"/>
                  </a:lnTo>
                  <a:lnTo>
                    <a:pt x="283" y="45"/>
                  </a:lnTo>
                  <a:lnTo>
                    <a:pt x="283" y="45"/>
                  </a:lnTo>
                  <a:lnTo>
                    <a:pt x="283" y="45"/>
                  </a:lnTo>
                  <a:lnTo>
                    <a:pt x="283" y="45"/>
                  </a:lnTo>
                  <a:lnTo>
                    <a:pt x="283" y="45"/>
                  </a:lnTo>
                  <a:close/>
                  <a:moveTo>
                    <a:pt x="194" y="39"/>
                  </a:moveTo>
                  <a:lnTo>
                    <a:pt x="194" y="39"/>
                  </a:lnTo>
                  <a:lnTo>
                    <a:pt x="194" y="39"/>
                  </a:lnTo>
                  <a:lnTo>
                    <a:pt x="194" y="38"/>
                  </a:lnTo>
                  <a:lnTo>
                    <a:pt x="194" y="38"/>
                  </a:lnTo>
                  <a:lnTo>
                    <a:pt x="194" y="39"/>
                  </a:lnTo>
                  <a:lnTo>
                    <a:pt x="194" y="39"/>
                  </a:lnTo>
                  <a:lnTo>
                    <a:pt x="194" y="39"/>
                  </a:lnTo>
                  <a:close/>
                  <a:moveTo>
                    <a:pt x="157" y="38"/>
                  </a:moveTo>
                  <a:lnTo>
                    <a:pt x="157" y="38"/>
                  </a:lnTo>
                  <a:lnTo>
                    <a:pt x="157" y="38"/>
                  </a:lnTo>
                  <a:lnTo>
                    <a:pt x="157" y="38"/>
                  </a:lnTo>
                  <a:lnTo>
                    <a:pt x="157" y="38"/>
                  </a:lnTo>
                  <a:lnTo>
                    <a:pt x="157" y="38"/>
                  </a:lnTo>
                  <a:close/>
                  <a:moveTo>
                    <a:pt x="191" y="38"/>
                  </a:moveTo>
                  <a:lnTo>
                    <a:pt x="191" y="38"/>
                  </a:lnTo>
                  <a:lnTo>
                    <a:pt x="191" y="39"/>
                  </a:lnTo>
                  <a:lnTo>
                    <a:pt x="191" y="39"/>
                  </a:lnTo>
                  <a:lnTo>
                    <a:pt x="191" y="39"/>
                  </a:lnTo>
                  <a:lnTo>
                    <a:pt x="191" y="39"/>
                  </a:lnTo>
                  <a:lnTo>
                    <a:pt x="191" y="39"/>
                  </a:lnTo>
                  <a:lnTo>
                    <a:pt x="191" y="39"/>
                  </a:lnTo>
                  <a:lnTo>
                    <a:pt x="191" y="39"/>
                  </a:lnTo>
                  <a:lnTo>
                    <a:pt x="191" y="39"/>
                  </a:lnTo>
                  <a:lnTo>
                    <a:pt x="190" y="39"/>
                  </a:lnTo>
                  <a:lnTo>
                    <a:pt x="191" y="39"/>
                  </a:lnTo>
                  <a:lnTo>
                    <a:pt x="191" y="39"/>
                  </a:lnTo>
                  <a:lnTo>
                    <a:pt x="191" y="39"/>
                  </a:lnTo>
                  <a:lnTo>
                    <a:pt x="191" y="39"/>
                  </a:lnTo>
                  <a:lnTo>
                    <a:pt x="191" y="39"/>
                  </a:lnTo>
                  <a:lnTo>
                    <a:pt x="191" y="38"/>
                  </a:lnTo>
                  <a:lnTo>
                    <a:pt x="191" y="38"/>
                  </a:lnTo>
                  <a:lnTo>
                    <a:pt x="191" y="38"/>
                  </a:lnTo>
                  <a:lnTo>
                    <a:pt x="191" y="38"/>
                  </a:lnTo>
                  <a:lnTo>
                    <a:pt x="191" y="38"/>
                  </a:lnTo>
                  <a:lnTo>
                    <a:pt x="191" y="38"/>
                  </a:lnTo>
                  <a:close/>
                  <a:moveTo>
                    <a:pt x="194" y="36"/>
                  </a:moveTo>
                  <a:lnTo>
                    <a:pt x="194" y="36"/>
                  </a:lnTo>
                  <a:lnTo>
                    <a:pt x="194" y="36"/>
                  </a:lnTo>
                  <a:lnTo>
                    <a:pt x="194" y="36"/>
                  </a:lnTo>
                  <a:lnTo>
                    <a:pt x="194" y="36"/>
                  </a:lnTo>
                  <a:lnTo>
                    <a:pt x="196" y="36"/>
                  </a:lnTo>
                  <a:lnTo>
                    <a:pt x="194" y="36"/>
                  </a:lnTo>
                  <a:lnTo>
                    <a:pt x="194" y="36"/>
                  </a:lnTo>
                  <a:lnTo>
                    <a:pt x="194" y="38"/>
                  </a:lnTo>
                  <a:lnTo>
                    <a:pt x="194" y="38"/>
                  </a:lnTo>
                  <a:lnTo>
                    <a:pt x="194" y="36"/>
                  </a:lnTo>
                  <a:lnTo>
                    <a:pt x="194" y="36"/>
                  </a:lnTo>
                  <a:lnTo>
                    <a:pt x="194" y="36"/>
                  </a:lnTo>
                  <a:lnTo>
                    <a:pt x="194" y="36"/>
                  </a:lnTo>
                  <a:lnTo>
                    <a:pt x="194" y="36"/>
                  </a:lnTo>
                  <a:close/>
                  <a:moveTo>
                    <a:pt x="172" y="19"/>
                  </a:moveTo>
                  <a:lnTo>
                    <a:pt x="172" y="19"/>
                  </a:lnTo>
                  <a:lnTo>
                    <a:pt x="172" y="19"/>
                  </a:lnTo>
                  <a:lnTo>
                    <a:pt x="172" y="19"/>
                  </a:lnTo>
                  <a:lnTo>
                    <a:pt x="172" y="19"/>
                  </a:lnTo>
                  <a:lnTo>
                    <a:pt x="172" y="19"/>
                  </a:lnTo>
                  <a:close/>
                  <a:moveTo>
                    <a:pt x="162" y="19"/>
                  </a:moveTo>
                  <a:lnTo>
                    <a:pt x="162" y="19"/>
                  </a:lnTo>
                  <a:lnTo>
                    <a:pt x="162" y="19"/>
                  </a:lnTo>
                  <a:lnTo>
                    <a:pt x="162" y="19"/>
                  </a:lnTo>
                  <a:lnTo>
                    <a:pt x="162" y="18"/>
                  </a:lnTo>
                  <a:lnTo>
                    <a:pt x="162" y="18"/>
                  </a:lnTo>
                  <a:lnTo>
                    <a:pt x="163" y="19"/>
                  </a:lnTo>
                  <a:lnTo>
                    <a:pt x="162" y="19"/>
                  </a:lnTo>
                  <a:lnTo>
                    <a:pt x="162" y="19"/>
                  </a:lnTo>
                  <a:close/>
                  <a:moveTo>
                    <a:pt x="168" y="13"/>
                  </a:moveTo>
                  <a:lnTo>
                    <a:pt x="168" y="13"/>
                  </a:lnTo>
                  <a:lnTo>
                    <a:pt x="168" y="12"/>
                  </a:lnTo>
                  <a:lnTo>
                    <a:pt x="168" y="12"/>
                  </a:lnTo>
                  <a:lnTo>
                    <a:pt x="168" y="12"/>
                  </a:lnTo>
                  <a:lnTo>
                    <a:pt x="168" y="13"/>
                  </a:lnTo>
                  <a:lnTo>
                    <a:pt x="168" y="13"/>
                  </a:lnTo>
                  <a:lnTo>
                    <a:pt x="168" y="13"/>
                  </a:lnTo>
                  <a:close/>
                  <a:moveTo>
                    <a:pt x="1" y="4"/>
                  </a:moveTo>
                  <a:lnTo>
                    <a:pt x="1" y="4"/>
                  </a:lnTo>
                  <a:lnTo>
                    <a:pt x="1" y="4"/>
                  </a:lnTo>
                  <a:lnTo>
                    <a:pt x="1" y="4"/>
                  </a:lnTo>
                  <a:lnTo>
                    <a:pt x="1" y="4"/>
                  </a:lnTo>
                  <a:lnTo>
                    <a:pt x="1" y="4"/>
                  </a:lnTo>
                  <a:lnTo>
                    <a:pt x="1" y="4"/>
                  </a:lnTo>
                  <a:lnTo>
                    <a:pt x="1" y="4"/>
                  </a:lnTo>
                  <a:lnTo>
                    <a:pt x="1" y="4"/>
                  </a:lnTo>
                  <a:lnTo>
                    <a:pt x="0" y="4"/>
                  </a:lnTo>
                  <a:lnTo>
                    <a:pt x="0" y="4"/>
                  </a:lnTo>
                  <a:lnTo>
                    <a:pt x="0" y="5"/>
                  </a:lnTo>
                  <a:lnTo>
                    <a:pt x="0" y="6"/>
                  </a:lnTo>
                  <a:lnTo>
                    <a:pt x="0" y="5"/>
                  </a:lnTo>
                  <a:lnTo>
                    <a:pt x="0" y="5"/>
                  </a:lnTo>
                  <a:lnTo>
                    <a:pt x="0" y="4"/>
                  </a:lnTo>
                  <a:lnTo>
                    <a:pt x="0" y="4"/>
                  </a:lnTo>
                  <a:lnTo>
                    <a:pt x="0" y="4"/>
                  </a:lnTo>
                  <a:lnTo>
                    <a:pt x="0" y="4"/>
                  </a:lnTo>
                  <a:lnTo>
                    <a:pt x="0" y="4"/>
                  </a:lnTo>
                  <a:lnTo>
                    <a:pt x="0" y="3"/>
                  </a:lnTo>
                  <a:lnTo>
                    <a:pt x="0" y="4"/>
                  </a:lnTo>
                  <a:lnTo>
                    <a:pt x="1" y="4"/>
                  </a:lnTo>
                  <a:lnTo>
                    <a:pt x="1" y="4"/>
                  </a:lnTo>
                  <a:lnTo>
                    <a:pt x="1" y="4"/>
                  </a:lnTo>
                  <a:lnTo>
                    <a:pt x="1" y="4"/>
                  </a:lnTo>
                  <a:lnTo>
                    <a:pt x="1" y="3"/>
                  </a:lnTo>
                  <a:lnTo>
                    <a:pt x="1" y="3"/>
                  </a:lnTo>
                  <a:lnTo>
                    <a:pt x="1" y="3"/>
                  </a:lnTo>
                  <a:lnTo>
                    <a:pt x="1" y="3"/>
                  </a:lnTo>
                  <a:lnTo>
                    <a:pt x="1" y="3"/>
                  </a:lnTo>
                  <a:lnTo>
                    <a:pt x="1" y="4"/>
                  </a:lnTo>
                  <a:lnTo>
                    <a:pt x="1" y="4"/>
                  </a:lnTo>
                  <a:close/>
                  <a:moveTo>
                    <a:pt x="34" y="0"/>
                  </a:moveTo>
                  <a:lnTo>
                    <a:pt x="33" y="0"/>
                  </a:lnTo>
                  <a:lnTo>
                    <a:pt x="33" y="0"/>
                  </a:lnTo>
                  <a:lnTo>
                    <a:pt x="34" y="0"/>
                  </a:lnTo>
                  <a:lnTo>
                    <a:pt x="34" y="0"/>
                  </a:lnTo>
                  <a:lnTo>
                    <a:pt x="34" y="0"/>
                  </a:lnTo>
                  <a:lnTo>
                    <a:pt x="34"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32" name="Freeform 887">
              <a:extLst>
                <a:ext uri="{FF2B5EF4-FFF2-40B4-BE49-F238E27FC236}">
                  <a16:creationId xmlns:a16="http://schemas.microsoft.com/office/drawing/2014/main" id="{8F57C236-2586-4747-814A-86178EE0F3F0}"/>
                </a:ext>
              </a:extLst>
            </p:cNvPr>
            <p:cNvSpPr>
              <a:spLocks noEditPoints="1"/>
            </p:cNvSpPr>
            <p:nvPr/>
          </p:nvSpPr>
          <p:spPr bwMode="auto">
            <a:xfrm>
              <a:off x="5968022" y="3299115"/>
              <a:ext cx="109510" cy="132214"/>
            </a:xfrm>
            <a:custGeom>
              <a:avLst/>
              <a:gdLst>
                <a:gd name="T0" fmla="*/ 5 w 82"/>
                <a:gd name="T1" fmla="*/ 48 h 99"/>
                <a:gd name="T2" fmla="*/ 50 w 82"/>
                <a:gd name="T3" fmla="*/ 0 h 99"/>
                <a:gd name="T4" fmla="*/ 59 w 82"/>
                <a:gd name="T5" fmla="*/ 1 h 99"/>
                <a:gd name="T6" fmla="*/ 64 w 82"/>
                <a:gd name="T7" fmla="*/ 2 h 99"/>
                <a:gd name="T8" fmla="*/ 62 w 82"/>
                <a:gd name="T9" fmla="*/ 11 h 99"/>
                <a:gd name="T10" fmla="*/ 63 w 82"/>
                <a:gd name="T11" fmla="*/ 16 h 99"/>
                <a:gd name="T12" fmla="*/ 68 w 82"/>
                <a:gd name="T13" fmla="*/ 16 h 99"/>
                <a:gd name="T14" fmla="*/ 76 w 82"/>
                <a:gd name="T15" fmla="*/ 15 h 99"/>
                <a:gd name="T16" fmla="*/ 80 w 82"/>
                <a:gd name="T17" fmla="*/ 21 h 99"/>
                <a:gd name="T18" fmla="*/ 78 w 82"/>
                <a:gd name="T19" fmla="*/ 28 h 99"/>
                <a:gd name="T20" fmla="*/ 73 w 82"/>
                <a:gd name="T21" fmla="*/ 33 h 99"/>
                <a:gd name="T22" fmla="*/ 73 w 82"/>
                <a:gd name="T23" fmla="*/ 40 h 99"/>
                <a:gd name="T24" fmla="*/ 77 w 82"/>
                <a:gd name="T25" fmla="*/ 43 h 99"/>
                <a:gd name="T26" fmla="*/ 81 w 82"/>
                <a:gd name="T27" fmla="*/ 49 h 99"/>
                <a:gd name="T28" fmla="*/ 81 w 82"/>
                <a:gd name="T29" fmla="*/ 57 h 99"/>
                <a:gd name="T30" fmla="*/ 81 w 82"/>
                <a:gd name="T31" fmla="*/ 64 h 99"/>
                <a:gd name="T32" fmla="*/ 77 w 82"/>
                <a:gd name="T33" fmla="*/ 69 h 99"/>
                <a:gd name="T34" fmla="*/ 75 w 82"/>
                <a:gd name="T35" fmla="*/ 76 h 99"/>
                <a:gd name="T36" fmla="*/ 71 w 82"/>
                <a:gd name="T37" fmla="*/ 70 h 99"/>
                <a:gd name="T38" fmla="*/ 66 w 82"/>
                <a:gd name="T39" fmla="*/ 75 h 99"/>
                <a:gd name="T40" fmla="*/ 61 w 82"/>
                <a:gd name="T41" fmla="*/ 72 h 99"/>
                <a:gd name="T42" fmla="*/ 56 w 82"/>
                <a:gd name="T43" fmla="*/ 67 h 99"/>
                <a:gd name="T44" fmla="*/ 54 w 82"/>
                <a:gd name="T45" fmla="*/ 70 h 99"/>
                <a:gd name="T46" fmla="*/ 43 w 82"/>
                <a:gd name="T47" fmla="*/ 75 h 99"/>
                <a:gd name="T48" fmla="*/ 41 w 82"/>
                <a:gd name="T49" fmla="*/ 78 h 99"/>
                <a:gd name="T50" fmla="*/ 42 w 82"/>
                <a:gd name="T51" fmla="*/ 85 h 99"/>
                <a:gd name="T52" fmla="*/ 45 w 82"/>
                <a:gd name="T53" fmla="*/ 90 h 99"/>
                <a:gd name="T54" fmla="*/ 43 w 82"/>
                <a:gd name="T55" fmla="*/ 95 h 99"/>
                <a:gd name="T56" fmla="*/ 37 w 82"/>
                <a:gd name="T57" fmla="*/ 95 h 99"/>
                <a:gd name="T58" fmla="*/ 32 w 82"/>
                <a:gd name="T59" fmla="*/ 96 h 99"/>
                <a:gd name="T60" fmla="*/ 25 w 82"/>
                <a:gd name="T61" fmla="*/ 86 h 99"/>
                <a:gd name="T62" fmla="*/ 17 w 82"/>
                <a:gd name="T63" fmla="*/ 76 h 99"/>
                <a:gd name="T64" fmla="*/ 20 w 82"/>
                <a:gd name="T65" fmla="*/ 77 h 99"/>
                <a:gd name="T66" fmla="*/ 19 w 82"/>
                <a:gd name="T67" fmla="*/ 76 h 99"/>
                <a:gd name="T68" fmla="*/ 14 w 82"/>
                <a:gd name="T69" fmla="*/ 75 h 99"/>
                <a:gd name="T70" fmla="*/ 13 w 82"/>
                <a:gd name="T71" fmla="*/ 74 h 99"/>
                <a:gd name="T72" fmla="*/ 10 w 82"/>
                <a:gd name="T73" fmla="*/ 68 h 99"/>
                <a:gd name="T74" fmla="*/ 11 w 82"/>
                <a:gd name="T75" fmla="*/ 67 h 99"/>
                <a:gd name="T76" fmla="*/ 9 w 82"/>
                <a:gd name="T77" fmla="*/ 65 h 99"/>
                <a:gd name="T78" fmla="*/ 5 w 82"/>
                <a:gd name="T79" fmla="*/ 56 h 99"/>
                <a:gd name="T80" fmla="*/ 9 w 82"/>
                <a:gd name="T81" fmla="*/ 61 h 99"/>
                <a:gd name="T82" fmla="*/ 11 w 82"/>
                <a:gd name="T83" fmla="*/ 61 h 99"/>
                <a:gd name="T84" fmla="*/ 10 w 82"/>
                <a:gd name="T85" fmla="*/ 58 h 99"/>
                <a:gd name="T86" fmla="*/ 6 w 82"/>
                <a:gd name="T87" fmla="*/ 57 h 99"/>
                <a:gd name="T88" fmla="*/ 3 w 82"/>
                <a:gd name="T89" fmla="*/ 53 h 99"/>
                <a:gd name="T90" fmla="*/ 2 w 82"/>
                <a:gd name="T91" fmla="*/ 48 h 99"/>
                <a:gd name="T92" fmla="*/ 3 w 82"/>
                <a:gd name="T93" fmla="*/ 48 h 99"/>
                <a:gd name="T94" fmla="*/ 5 w 82"/>
                <a:gd name="T95" fmla="*/ 48 h 99"/>
                <a:gd name="T96" fmla="*/ 9 w 82"/>
                <a:gd name="T97" fmla="*/ 43 h 99"/>
                <a:gd name="T98" fmla="*/ 10 w 82"/>
                <a:gd name="T99" fmla="*/ 32 h 99"/>
                <a:gd name="T100" fmla="*/ 12 w 82"/>
                <a:gd name="T101" fmla="*/ 34 h 99"/>
                <a:gd name="T102" fmla="*/ 17 w 82"/>
                <a:gd name="T103" fmla="*/ 35 h 99"/>
                <a:gd name="T104" fmla="*/ 16 w 82"/>
                <a:gd name="T105" fmla="*/ 34 h 99"/>
                <a:gd name="T106" fmla="*/ 11 w 82"/>
                <a:gd name="T107" fmla="*/ 29 h 99"/>
                <a:gd name="T108" fmla="*/ 11 w 82"/>
                <a:gd name="T109" fmla="*/ 27 h 99"/>
                <a:gd name="T110" fmla="*/ 13 w 82"/>
                <a:gd name="T111" fmla="*/ 28 h 99"/>
                <a:gd name="T112" fmla="*/ 13 w 82"/>
                <a:gd name="T113" fmla="*/ 21 h 99"/>
                <a:gd name="T114" fmla="*/ 19 w 82"/>
                <a:gd name="T115" fmla="*/ 21 h 99"/>
                <a:gd name="T116" fmla="*/ 38 w 82"/>
                <a:gd name="T117" fmla="*/ 13 h 99"/>
                <a:gd name="T118" fmla="*/ 38 w 82"/>
                <a:gd name="T119"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2" h="99">
                  <a:moveTo>
                    <a:pt x="5" y="49"/>
                  </a:moveTo>
                  <a:lnTo>
                    <a:pt x="4" y="49"/>
                  </a:lnTo>
                  <a:lnTo>
                    <a:pt x="4" y="48"/>
                  </a:lnTo>
                  <a:lnTo>
                    <a:pt x="4" y="47"/>
                  </a:lnTo>
                  <a:lnTo>
                    <a:pt x="5" y="47"/>
                  </a:lnTo>
                  <a:lnTo>
                    <a:pt x="5" y="46"/>
                  </a:lnTo>
                  <a:lnTo>
                    <a:pt x="5" y="47"/>
                  </a:lnTo>
                  <a:lnTo>
                    <a:pt x="5" y="48"/>
                  </a:lnTo>
                  <a:lnTo>
                    <a:pt x="5" y="49"/>
                  </a:lnTo>
                  <a:close/>
                  <a:moveTo>
                    <a:pt x="43" y="0"/>
                  </a:moveTo>
                  <a:lnTo>
                    <a:pt x="45" y="0"/>
                  </a:lnTo>
                  <a:lnTo>
                    <a:pt x="46" y="0"/>
                  </a:lnTo>
                  <a:lnTo>
                    <a:pt x="47" y="0"/>
                  </a:lnTo>
                  <a:lnTo>
                    <a:pt x="48" y="0"/>
                  </a:lnTo>
                  <a:lnTo>
                    <a:pt x="49" y="0"/>
                  </a:lnTo>
                  <a:lnTo>
                    <a:pt x="50" y="0"/>
                  </a:lnTo>
                  <a:lnTo>
                    <a:pt x="52" y="0"/>
                  </a:lnTo>
                  <a:lnTo>
                    <a:pt x="53" y="0"/>
                  </a:lnTo>
                  <a:lnTo>
                    <a:pt x="54" y="0"/>
                  </a:lnTo>
                  <a:lnTo>
                    <a:pt x="54" y="1"/>
                  </a:lnTo>
                  <a:lnTo>
                    <a:pt x="54" y="0"/>
                  </a:lnTo>
                  <a:lnTo>
                    <a:pt x="55" y="1"/>
                  </a:lnTo>
                  <a:lnTo>
                    <a:pt x="57" y="1"/>
                  </a:lnTo>
                  <a:lnTo>
                    <a:pt x="59" y="1"/>
                  </a:lnTo>
                  <a:lnTo>
                    <a:pt x="60" y="1"/>
                  </a:lnTo>
                  <a:lnTo>
                    <a:pt x="61" y="1"/>
                  </a:lnTo>
                  <a:lnTo>
                    <a:pt x="62" y="1"/>
                  </a:lnTo>
                  <a:lnTo>
                    <a:pt x="62" y="0"/>
                  </a:lnTo>
                  <a:lnTo>
                    <a:pt x="63" y="0"/>
                  </a:lnTo>
                  <a:lnTo>
                    <a:pt x="63" y="1"/>
                  </a:lnTo>
                  <a:lnTo>
                    <a:pt x="64" y="1"/>
                  </a:lnTo>
                  <a:lnTo>
                    <a:pt x="64" y="2"/>
                  </a:lnTo>
                  <a:lnTo>
                    <a:pt x="64" y="4"/>
                  </a:lnTo>
                  <a:lnTo>
                    <a:pt x="64" y="5"/>
                  </a:lnTo>
                  <a:lnTo>
                    <a:pt x="63" y="5"/>
                  </a:lnTo>
                  <a:lnTo>
                    <a:pt x="63" y="6"/>
                  </a:lnTo>
                  <a:lnTo>
                    <a:pt x="63" y="7"/>
                  </a:lnTo>
                  <a:lnTo>
                    <a:pt x="63" y="8"/>
                  </a:lnTo>
                  <a:lnTo>
                    <a:pt x="62" y="9"/>
                  </a:lnTo>
                  <a:lnTo>
                    <a:pt x="62" y="11"/>
                  </a:lnTo>
                  <a:lnTo>
                    <a:pt x="62" y="12"/>
                  </a:lnTo>
                  <a:lnTo>
                    <a:pt x="63" y="12"/>
                  </a:lnTo>
                  <a:lnTo>
                    <a:pt x="63" y="13"/>
                  </a:lnTo>
                  <a:lnTo>
                    <a:pt x="63" y="14"/>
                  </a:lnTo>
                  <a:lnTo>
                    <a:pt x="63" y="15"/>
                  </a:lnTo>
                  <a:lnTo>
                    <a:pt x="64" y="15"/>
                  </a:lnTo>
                  <a:lnTo>
                    <a:pt x="63" y="15"/>
                  </a:lnTo>
                  <a:lnTo>
                    <a:pt x="63" y="16"/>
                  </a:lnTo>
                  <a:lnTo>
                    <a:pt x="62" y="16"/>
                  </a:lnTo>
                  <a:lnTo>
                    <a:pt x="63" y="16"/>
                  </a:lnTo>
                  <a:lnTo>
                    <a:pt x="63" y="18"/>
                  </a:lnTo>
                  <a:lnTo>
                    <a:pt x="64" y="18"/>
                  </a:lnTo>
                  <a:lnTo>
                    <a:pt x="64" y="16"/>
                  </a:lnTo>
                  <a:lnTo>
                    <a:pt x="66" y="16"/>
                  </a:lnTo>
                  <a:lnTo>
                    <a:pt x="67" y="16"/>
                  </a:lnTo>
                  <a:lnTo>
                    <a:pt x="68" y="16"/>
                  </a:lnTo>
                  <a:lnTo>
                    <a:pt x="69" y="15"/>
                  </a:lnTo>
                  <a:lnTo>
                    <a:pt x="70" y="15"/>
                  </a:lnTo>
                  <a:lnTo>
                    <a:pt x="71" y="15"/>
                  </a:lnTo>
                  <a:lnTo>
                    <a:pt x="71" y="14"/>
                  </a:lnTo>
                  <a:lnTo>
                    <a:pt x="74" y="14"/>
                  </a:lnTo>
                  <a:lnTo>
                    <a:pt x="75" y="14"/>
                  </a:lnTo>
                  <a:lnTo>
                    <a:pt x="75" y="15"/>
                  </a:lnTo>
                  <a:lnTo>
                    <a:pt x="76" y="15"/>
                  </a:lnTo>
                  <a:lnTo>
                    <a:pt x="76" y="14"/>
                  </a:lnTo>
                  <a:lnTo>
                    <a:pt x="77" y="15"/>
                  </a:lnTo>
                  <a:lnTo>
                    <a:pt x="78" y="15"/>
                  </a:lnTo>
                  <a:lnTo>
                    <a:pt x="78" y="16"/>
                  </a:lnTo>
                  <a:lnTo>
                    <a:pt x="78" y="18"/>
                  </a:lnTo>
                  <a:lnTo>
                    <a:pt x="78" y="19"/>
                  </a:lnTo>
                  <a:lnTo>
                    <a:pt x="80" y="20"/>
                  </a:lnTo>
                  <a:lnTo>
                    <a:pt x="80" y="21"/>
                  </a:lnTo>
                  <a:lnTo>
                    <a:pt x="81" y="21"/>
                  </a:lnTo>
                  <a:lnTo>
                    <a:pt x="81" y="22"/>
                  </a:lnTo>
                  <a:lnTo>
                    <a:pt x="81" y="23"/>
                  </a:lnTo>
                  <a:lnTo>
                    <a:pt x="81" y="25"/>
                  </a:lnTo>
                  <a:lnTo>
                    <a:pt x="80" y="25"/>
                  </a:lnTo>
                  <a:lnTo>
                    <a:pt x="80" y="26"/>
                  </a:lnTo>
                  <a:lnTo>
                    <a:pt x="80" y="27"/>
                  </a:lnTo>
                  <a:lnTo>
                    <a:pt x="78" y="28"/>
                  </a:lnTo>
                  <a:lnTo>
                    <a:pt x="77" y="28"/>
                  </a:lnTo>
                  <a:lnTo>
                    <a:pt x="76" y="28"/>
                  </a:lnTo>
                  <a:lnTo>
                    <a:pt x="75" y="28"/>
                  </a:lnTo>
                  <a:lnTo>
                    <a:pt x="75" y="29"/>
                  </a:lnTo>
                  <a:lnTo>
                    <a:pt x="75" y="30"/>
                  </a:lnTo>
                  <a:lnTo>
                    <a:pt x="74" y="30"/>
                  </a:lnTo>
                  <a:lnTo>
                    <a:pt x="74" y="32"/>
                  </a:lnTo>
                  <a:lnTo>
                    <a:pt x="73" y="33"/>
                  </a:lnTo>
                  <a:lnTo>
                    <a:pt x="73" y="34"/>
                  </a:lnTo>
                  <a:lnTo>
                    <a:pt x="73" y="35"/>
                  </a:lnTo>
                  <a:lnTo>
                    <a:pt x="73" y="36"/>
                  </a:lnTo>
                  <a:lnTo>
                    <a:pt x="74" y="36"/>
                  </a:lnTo>
                  <a:lnTo>
                    <a:pt x="74" y="37"/>
                  </a:lnTo>
                  <a:lnTo>
                    <a:pt x="73" y="37"/>
                  </a:lnTo>
                  <a:lnTo>
                    <a:pt x="73" y="39"/>
                  </a:lnTo>
                  <a:lnTo>
                    <a:pt x="73" y="40"/>
                  </a:lnTo>
                  <a:lnTo>
                    <a:pt x="73" y="41"/>
                  </a:lnTo>
                  <a:lnTo>
                    <a:pt x="74" y="41"/>
                  </a:lnTo>
                  <a:lnTo>
                    <a:pt x="75" y="41"/>
                  </a:lnTo>
                  <a:lnTo>
                    <a:pt x="76" y="41"/>
                  </a:lnTo>
                  <a:lnTo>
                    <a:pt x="76" y="42"/>
                  </a:lnTo>
                  <a:lnTo>
                    <a:pt x="76" y="43"/>
                  </a:lnTo>
                  <a:lnTo>
                    <a:pt x="76" y="44"/>
                  </a:lnTo>
                  <a:lnTo>
                    <a:pt x="77" y="43"/>
                  </a:lnTo>
                  <a:lnTo>
                    <a:pt x="78" y="43"/>
                  </a:lnTo>
                  <a:lnTo>
                    <a:pt x="80" y="44"/>
                  </a:lnTo>
                  <a:lnTo>
                    <a:pt x="81" y="44"/>
                  </a:lnTo>
                  <a:lnTo>
                    <a:pt x="81" y="46"/>
                  </a:lnTo>
                  <a:lnTo>
                    <a:pt x="81" y="47"/>
                  </a:lnTo>
                  <a:lnTo>
                    <a:pt x="82" y="47"/>
                  </a:lnTo>
                  <a:lnTo>
                    <a:pt x="81" y="47"/>
                  </a:lnTo>
                  <a:lnTo>
                    <a:pt x="81" y="49"/>
                  </a:lnTo>
                  <a:lnTo>
                    <a:pt x="81" y="50"/>
                  </a:lnTo>
                  <a:lnTo>
                    <a:pt x="81" y="51"/>
                  </a:lnTo>
                  <a:lnTo>
                    <a:pt x="80" y="51"/>
                  </a:lnTo>
                  <a:lnTo>
                    <a:pt x="80" y="53"/>
                  </a:lnTo>
                  <a:lnTo>
                    <a:pt x="81" y="54"/>
                  </a:lnTo>
                  <a:lnTo>
                    <a:pt x="81" y="55"/>
                  </a:lnTo>
                  <a:lnTo>
                    <a:pt x="81" y="56"/>
                  </a:lnTo>
                  <a:lnTo>
                    <a:pt x="81" y="57"/>
                  </a:lnTo>
                  <a:lnTo>
                    <a:pt x="81" y="58"/>
                  </a:lnTo>
                  <a:lnTo>
                    <a:pt x="81" y="60"/>
                  </a:lnTo>
                  <a:lnTo>
                    <a:pt x="81" y="61"/>
                  </a:lnTo>
                  <a:lnTo>
                    <a:pt x="81" y="62"/>
                  </a:lnTo>
                  <a:lnTo>
                    <a:pt x="80" y="62"/>
                  </a:lnTo>
                  <a:lnTo>
                    <a:pt x="80" y="63"/>
                  </a:lnTo>
                  <a:lnTo>
                    <a:pt x="81" y="63"/>
                  </a:lnTo>
                  <a:lnTo>
                    <a:pt x="81" y="64"/>
                  </a:lnTo>
                  <a:lnTo>
                    <a:pt x="80" y="64"/>
                  </a:lnTo>
                  <a:lnTo>
                    <a:pt x="80" y="65"/>
                  </a:lnTo>
                  <a:lnTo>
                    <a:pt x="80" y="67"/>
                  </a:lnTo>
                  <a:lnTo>
                    <a:pt x="78" y="68"/>
                  </a:lnTo>
                  <a:lnTo>
                    <a:pt x="77" y="68"/>
                  </a:lnTo>
                  <a:lnTo>
                    <a:pt x="77" y="69"/>
                  </a:lnTo>
                  <a:lnTo>
                    <a:pt x="78" y="69"/>
                  </a:lnTo>
                  <a:lnTo>
                    <a:pt x="77" y="69"/>
                  </a:lnTo>
                  <a:lnTo>
                    <a:pt x="77" y="70"/>
                  </a:lnTo>
                  <a:lnTo>
                    <a:pt x="77" y="71"/>
                  </a:lnTo>
                  <a:lnTo>
                    <a:pt x="76" y="71"/>
                  </a:lnTo>
                  <a:lnTo>
                    <a:pt x="76" y="72"/>
                  </a:lnTo>
                  <a:lnTo>
                    <a:pt x="77" y="74"/>
                  </a:lnTo>
                  <a:lnTo>
                    <a:pt x="76" y="75"/>
                  </a:lnTo>
                  <a:lnTo>
                    <a:pt x="76" y="76"/>
                  </a:lnTo>
                  <a:lnTo>
                    <a:pt x="75" y="76"/>
                  </a:lnTo>
                  <a:lnTo>
                    <a:pt x="74" y="76"/>
                  </a:lnTo>
                  <a:lnTo>
                    <a:pt x="73" y="76"/>
                  </a:lnTo>
                  <a:lnTo>
                    <a:pt x="73" y="75"/>
                  </a:lnTo>
                  <a:lnTo>
                    <a:pt x="73" y="74"/>
                  </a:lnTo>
                  <a:lnTo>
                    <a:pt x="73" y="72"/>
                  </a:lnTo>
                  <a:lnTo>
                    <a:pt x="71" y="72"/>
                  </a:lnTo>
                  <a:lnTo>
                    <a:pt x="71" y="71"/>
                  </a:lnTo>
                  <a:lnTo>
                    <a:pt x="71" y="70"/>
                  </a:lnTo>
                  <a:lnTo>
                    <a:pt x="70" y="70"/>
                  </a:lnTo>
                  <a:lnTo>
                    <a:pt x="70" y="71"/>
                  </a:lnTo>
                  <a:lnTo>
                    <a:pt x="69" y="72"/>
                  </a:lnTo>
                  <a:lnTo>
                    <a:pt x="69" y="74"/>
                  </a:lnTo>
                  <a:lnTo>
                    <a:pt x="68" y="74"/>
                  </a:lnTo>
                  <a:lnTo>
                    <a:pt x="68" y="75"/>
                  </a:lnTo>
                  <a:lnTo>
                    <a:pt x="67" y="75"/>
                  </a:lnTo>
                  <a:lnTo>
                    <a:pt x="66" y="75"/>
                  </a:lnTo>
                  <a:lnTo>
                    <a:pt x="63" y="74"/>
                  </a:lnTo>
                  <a:lnTo>
                    <a:pt x="62" y="75"/>
                  </a:lnTo>
                  <a:lnTo>
                    <a:pt x="61" y="74"/>
                  </a:lnTo>
                  <a:lnTo>
                    <a:pt x="60" y="74"/>
                  </a:lnTo>
                  <a:lnTo>
                    <a:pt x="60" y="75"/>
                  </a:lnTo>
                  <a:lnTo>
                    <a:pt x="60" y="74"/>
                  </a:lnTo>
                  <a:lnTo>
                    <a:pt x="61" y="74"/>
                  </a:lnTo>
                  <a:lnTo>
                    <a:pt x="61" y="72"/>
                  </a:lnTo>
                  <a:lnTo>
                    <a:pt x="60" y="72"/>
                  </a:lnTo>
                  <a:lnTo>
                    <a:pt x="60" y="71"/>
                  </a:lnTo>
                  <a:lnTo>
                    <a:pt x="59" y="71"/>
                  </a:lnTo>
                  <a:lnTo>
                    <a:pt x="59" y="70"/>
                  </a:lnTo>
                  <a:lnTo>
                    <a:pt x="59" y="69"/>
                  </a:lnTo>
                  <a:lnTo>
                    <a:pt x="57" y="68"/>
                  </a:lnTo>
                  <a:lnTo>
                    <a:pt x="57" y="67"/>
                  </a:lnTo>
                  <a:lnTo>
                    <a:pt x="56" y="67"/>
                  </a:lnTo>
                  <a:lnTo>
                    <a:pt x="56" y="65"/>
                  </a:lnTo>
                  <a:lnTo>
                    <a:pt x="55" y="65"/>
                  </a:lnTo>
                  <a:lnTo>
                    <a:pt x="54" y="65"/>
                  </a:lnTo>
                  <a:lnTo>
                    <a:pt x="54" y="67"/>
                  </a:lnTo>
                  <a:lnTo>
                    <a:pt x="53" y="67"/>
                  </a:lnTo>
                  <a:lnTo>
                    <a:pt x="53" y="69"/>
                  </a:lnTo>
                  <a:lnTo>
                    <a:pt x="53" y="70"/>
                  </a:lnTo>
                  <a:lnTo>
                    <a:pt x="54" y="70"/>
                  </a:lnTo>
                  <a:lnTo>
                    <a:pt x="53" y="70"/>
                  </a:lnTo>
                  <a:lnTo>
                    <a:pt x="53" y="71"/>
                  </a:lnTo>
                  <a:lnTo>
                    <a:pt x="53" y="72"/>
                  </a:lnTo>
                  <a:lnTo>
                    <a:pt x="53" y="74"/>
                  </a:lnTo>
                  <a:lnTo>
                    <a:pt x="47" y="75"/>
                  </a:lnTo>
                  <a:lnTo>
                    <a:pt x="46" y="74"/>
                  </a:lnTo>
                  <a:lnTo>
                    <a:pt x="45" y="74"/>
                  </a:lnTo>
                  <a:lnTo>
                    <a:pt x="43" y="75"/>
                  </a:lnTo>
                  <a:lnTo>
                    <a:pt x="42" y="75"/>
                  </a:lnTo>
                  <a:lnTo>
                    <a:pt x="42" y="74"/>
                  </a:lnTo>
                  <a:lnTo>
                    <a:pt x="41" y="74"/>
                  </a:lnTo>
                  <a:lnTo>
                    <a:pt x="40" y="74"/>
                  </a:lnTo>
                  <a:lnTo>
                    <a:pt x="41" y="75"/>
                  </a:lnTo>
                  <a:lnTo>
                    <a:pt x="40" y="76"/>
                  </a:lnTo>
                  <a:lnTo>
                    <a:pt x="41" y="77"/>
                  </a:lnTo>
                  <a:lnTo>
                    <a:pt x="41" y="78"/>
                  </a:lnTo>
                  <a:lnTo>
                    <a:pt x="41" y="79"/>
                  </a:lnTo>
                  <a:lnTo>
                    <a:pt x="40" y="81"/>
                  </a:lnTo>
                  <a:lnTo>
                    <a:pt x="40" y="82"/>
                  </a:lnTo>
                  <a:lnTo>
                    <a:pt x="41" y="82"/>
                  </a:lnTo>
                  <a:lnTo>
                    <a:pt x="42" y="83"/>
                  </a:lnTo>
                  <a:lnTo>
                    <a:pt x="43" y="84"/>
                  </a:lnTo>
                  <a:lnTo>
                    <a:pt x="43" y="85"/>
                  </a:lnTo>
                  <a:lnTo>
                    <a:pt x="42" y="85"/>
                  </a:lnTo>
                  <a:lnTo>
                    <a:pt x="42" y="86"/>
                  </a:lnTo>
                  <a:lnTo>
                    <a:pt x="42" y="88"/>
                  </a:lnTo>
                  <a:lnTo>
                    <a:pt x="43" y="88"/>
                  </a:lnTo>
                  <a:lnTo>
                    <a:pt x="43" y="89"/>
                  </a:lnTo>
                  <a:lnTo>
                    <a:pt x="45" y="89"/>
                  </a:lnTo>
                  <a:lnTo>
                    <a:pt x="46" y="89"/>
                  </a:lnTo>
                  <a:lnTo>
                    <a:pt x="46" y="90"/>
                  </a:lnTo>
                  <a:lnTo>
                    <a:pt x="45" y="90"/>
                  </a:lnTo>
                  <a:lnTo>
                    <a:pt x="45" y="91"/>
                  </a:lnTo>
                  <a:lnTo>
                    <a:pt x="43" y="92"/>
                  </a:lnTo>
                  <a:lnTo>
                    <a:pt x="43" y="93"/>
                  </a:lnTo>
                  <a:lnTo>
                    <a:pt x="45" y="93"/>
                  </a:lnTo>
                  <a:lnTo>
                    <a:pt x="45" y="95"/>
                  </a:lnTo>
                  <a:lnTo>
                    <a:pt x="45" y="96"/>
                  </a:lnTo>
                  <a:lnTo>
                    <a:pt x="43" y="96"/>
                  </a:lnTo>
                  <a:lnTo>
                    <a:pt x="43" y="95"/>
                  </a:lnTo>
                  <a:lnTo>
                    <a:pt x="42" y="95"/>
                  </a:lnTo>
                  <a:lnTo>
                    <a:pt x="42" y="96"/>
                  </a:lnTo>
                  <a:lnTo>
                    <a:pt x="41" y="95"/>
                  </a:lnTo>
                  <a:lnTo>
                    <a:pt x="40" y="92"/>
                  </a:lnTo>
                  <a:lnTo>
                    <a:pt x="39" y="92"/>
                  </a:lnTo>
                  <a:lnTo>
                    <a:pt x="39" y="93"/>
                  </a:lnTo>
                  <a:lnTo>
                    <a:pt x="38" y="93"/>
                  </a:lnTo>
                  <a:lnTo>
                    <a:pt x="37" y="95"/>
                  </a:lnTo>
                  <a:lnTo>
                    <a:pt x="35" y="95"/>
                  </a:lnTo>
                  <a:lnTo>
                    <a:pt x="35" y="96"/>
                  </a:lnTo>
                  <a:lnTo>
                    <a:pt x="34" y="98"/>
                  </a:lnTo>
                  <a:lnTo>
                    <a:pt x="34" y="99"/>
                  </a:lnTo>
                  <a:lnTo>
                    <a:pt x="33" y="98"/>
                  </a:lnTo>
                  <a:lnTo>
                    <a:pt x="33" y="97"/>
                  </a:lnTo>
                  <a:lnTo>
                    <a:pt x="32" y="97"/>
                  </a:lnTo>
                  <a:lnTo>
                    <a:pt x="32" y="96"/>
                  </a:lnTo>
                  <a:lnTo>
                    <a:pt x="32" y="95"/>
                  </a:lnTo>
                  <a:lnTo>
                    <a:pt x="30" y="93"/>
                  </a:lnTo>
                  <a:lnTo>
                    <a:pt x="27" y="91"/>
                  </a:lnTo>
                  <a:lnTo>
                    <a:pt x="27" y="90"/>
                  </a:lnTo>
                  <a:lnTo>
                    <a:pt x="27" y="89"/>
                  </a:lnTo>
                  <a:lnTo>
                    <a:pt x="26" y="89"/>
                  </a:lnTo>
                  <a:lnTo>
                    <a:pt x="26" y="88"/>
                  </a:lnTo>
                  <a:lnTo>
                    <a:pt x="25" y="86"/>
                  </a:lnTo>
                  <a:lnTo>
                    <a:pt x="24" y="85"/>
                  </a:lnTo>
                  <a:lnTo>
                    <a:pt x="21" y="83"/>
                  </a:lnTo>
                  <a:lnTo>
                    <a:pt x="19" y="81"/>
                  </a:lnTo>
                  <a:lnTo>
                    <a:pt x="18" y="81"/>
                  </a:lnTo>
                  <a:lnTo>
                    <a:pt x="17" y="79"/>
                  </a:lnTo>
                  <a:lnTo>
                    <a:pt x="14" y="76"/>
                  </a:lnTo>
                  <a:lnTo>
                    <a:pt x="16" y="76"/>
                  </a:lnTo>
                  <a:lnTo>
                    <a:pt x="17" y="76"/>
                  </a:lnTo>
                  <a:lnTo>
                    <a:pt x="17" y="77"/>
                  </a:lnTo>
                  <a:lnTo>
                    <a:pt x="18" y="77"/>
                  </a:lnTo>
                  <a:lnTo>
                    <a:pt x="18" y="78"/>
                  </a:lnTo>
                  <a:lnTo>
                    <a:pt x="18" y="77"/>
                  </a:lnTo>
                  <a:lnTo>
                    <a:pt x="18" y="78"/>
                  </a:lnTo>
                  <a:lnTo>
                    <a:pt x="19" y="78"/>
                  </a:lnTo>
                  <a:lnTo>
                    <a:pt x="19" y="77"/>
                  </a:lnTo>
                  <a:lnTo>
                    <a:pt x="20" y="77"/>
                  </a:lnTo>
                  <a:lnTo>
                    <a:pt x="21" y="77"/>
                  </a:lnTo>
                  <a:lnTo>
                    <a:pt x="20" y="77"/>
                  </a:lnTo>
                  <a:lnTo>
                    <a:pt x="20" y="76"/>
                  </a:lnTo>
                  <a:lnTo>
                    <a:pt x="19" y="76"/>
                  </a:lnTo>
                  <a:lnTo>
                    <a:pt x="20" y="76"/>
                  </a:lnTo>
                  <a:lnTo>
                    <a:pt x="20" y="77"/>
                  </a:lnTo>
                  <a:lnTo>
                    <a:pt x="19" y="77"/>
                  </a:lnTo>
                  <a:lnTo>
                    <a:pt x="19" y="76"/>
                  </a:lnTo>
                  <a:lnTo>
                    <a:pt x="19" y="77"/>
                  </a:lnTo>
                  <a:lnTo>
                    <a:pt x="18" y="77"/>
                  </a:lnTo>
                  <a:lnTo>
                    <a:pt x="18" y="76"/>
                  </a:lnTo>
                  <a:lnTo>
                    <a:pt x="17" y="75"/>
                  </a:lnTo>
                  <a:lnTo>
                    <a:pt x="16" y="75"/>
                  </a:lnTo>
                  <a:lnTo>
                    <a:pt x="16" y="76"/>
                  </a:lnTo>
                  <a:lnTo>
                    <a:pt x="14" y="76"/>
                  </a:lnTo>
                  <a:lnTo>
                    <a:pt x="14" y="75"/>
                  </a:lnTo>
                  <a:lnTo>
                    <a:pt x="16" y="75"/>
                  </a:lnTo>
                  <a:lnTo>
                    <a:pt x="14" y="75"/>
                  </a:lnTo>
                  <a:lnTo>
                    <a:pt x="13" y="75"/>
                  </a:lnTo>
                  <a:lnTo>
                    <a:pt x="13" y="74"/>
                  </a:lnTo>
                  <a:lnTo>
                    <a:pt x="13" y="75"/>
                  </a:lnTo>
                  <a:lnTo>
                    <a:pt x="14" y="75"/>
                  </a:lnTo>
                  <a:lnTo>
                    <a:pt x="13" y="75"/>
                  </a:lnTo>
                  <a:lnTo>
                    <a:pt x="13" y="74"/>
                  </a:lnTo>
                  <a:lnTo>
                    <a:pt x="12" y="71"/>
                  </a:lnTo>
                  <a:lnTo>
                    <a:pt x="11" y="70"/>
                  </a:lnTo>
                  <a:lnTo>
                    <a:pt x="11" y="69"/>
                  </a:lnTo>
                  <a:lnTo>
                    <a:pt x="10" y="69"/>
                  </a:lnTo>
                  <a:lnTo>
                    <a:pt x="10" y="68"/>
                  </a:lnTo>
                  <a:lnTo>
                    <a:pt x="9" y="67"/>
                  </a:lnTo>
                  <a:lnTo>
                    <a:pt x="10" y="67"/>
                  </a:lnTo>
                  <a:lnTo>
                    <a:pt x="10" y="68"/>
                  </a:lnTo>
                  <a:lnTo>
                    <a:pt x="10" y="67"/>
                  </a:lnTo>
                  <a:lnTo>
                    <a:pt x="11" y="67"/>
                  </a:lnTo>
                  <a:lnTo>
                    <a:pt x="11" y="68"/>
                  </a:lnTo>
                  <a:lnTo>
                    <a:pt x="12" y="68"/>
                  </a:lnTo>
                  <a:lnTo>
                    <a:pt x="12" y="69"/>
                  </a:lnTo>
                  <a:lnTo>
                    <a:pt x="12" y="68"/>
                  </a:lnTo>
                  <a:lnTo>
                    <a:pt x="12" y="67"/>
                  </a:lnTo>
                  <a:lnTo>
                    <a:pt x="11" y="67"/>
                  </a:lnTo>
                  <a:lnTo>
                    <a:pt x="11" y="65"/>
                  </a:lnTo>
                  <a:lnTo>
                    <a:pt x="11" y="67"/>
                  </a:lnTo>
                  <a:lnTo>
                    <a:pt x="11" y="65"/>
                  </a:lnTo>
                  <a:lnTo>
                    <a:pt x="11" y="67"/>
                  </a:lnTo>
                  <a:lnTo>
                    <a:pt x="10" y="65"/>
                  </a:lnTo>
                  <a:lnTo>
                    <a:pt x="10" y="67"/>
                  </a:lnTo>
                  <a:lnTo>
                    <a:pt x="9" y="67"/>
                  </a:lnTo>
                  <a:lnTo>
                    <a:pt x="9" y="65"/>
                  </a:lnTo>
                  <a:lnTo>
                    <a:pt x="9" y="64"/>
                  </a:lnTo>
                  <a:lnTo>
                    <a:pt x="9" y="63"/>
                  </a:lnTo>
                  <a:lnTo>
                    <a:pt x="7" y="63"/>
                  </a:lnTo>
                  <a:lnTo>
                    <a:pt x="7" y="62"/>
                  </a:lnTo>
                  <a:lnTo>
                    <a:pt x="7" y="61"/>
                  </a:lnTo>
                  <a:lnTo>
                    <a:pt x="6" y="61"/>
                  </a:lnTo>
                  <a:lnTo>
                    <a:pt x="5" y="57"/>
                  </a:lnTo>
                  <a:lnTo>
                    <a:pt x="5" y="56"/>
                  </a:lnTo>
                  <a:lnTo>
                    <a:pt x="4" y="56"/>
                  </a:lnTo>
                  <a:lnTo>
                    <a:pt x="5" y="56"/>
                  </a:lnTo>
                  <a:lnTo>
                    <a:pt x="5" y="57"/>
                  </a:lnTo>
                  <a:lnTo>
                    <a:pt x="6" y="58"/>
                  </a:lnTo>
                  <a:lnTo>
                    <a:pt x="6" y="60"/>
                  </a:lnTo>
                  <a:lnTo>
                    <a:pt x="7" y="60"/>
                  </a:lnTo>
                  <a:lnTo>
                    <a:pt x="7" y="61"/>
                  </a:lnTo>
                  <a:lnTo>
                    <a:pt x="9" y="61"/>
                  </a:lnTo>
                  <a:lnTo>
                    <a:pt x="9" y="63"/>
                  </a:lnTo>
                  <a:lnTo>
                    <a:pt x="10" y="63"/>
                  </a:lnTo>
                  <a:lnTo>
                    <a:pt x="10" y="62"/>
                  </a:lnTo>
                  <a:lnTo>
                    <a:pt x="10" y="63"/>
                  </a:lnTo>
                  <a:lnTo>
                    <a:pt x="11" y="63"/>
                  </a:lnTo>
                  <a:lnTo>
                    <a:pt x="11" y="62"/>
                  </a:lnTo>
                  <a:lnTo>
                    <a:pt x="12" y="62"/>
                  </a:lnTo>
                  <a:lnTo>
                    <a:pt x="11" y="61"/>
                  </a:lnTo>
                  <a:lnTo>
                    <a:pt x="11" y="60"/>
                  </a:lnTo>
                  <a:lnTo>
                    <a:pt x="11" y="61"/>
                  </a:lnTo>
                  <a:lnTo>
                    <a:pt x="10" y="61"/>
                  </a:lnTo>
                  <a:lnTo>
                    <a:pt x="10" y="62"/>
                  </a:lnTo>
                  <a:lnTo>
                    <a:pt x="9" y="62"/>
                  </a:lnTo>
                  <a:lnTo>
                    <a:pt x="9" y="61"/>
                  </a:lnTo>
                  <a:lnTo>
                    <a:pt x="9" y="60"/>
                  </a:lnTo>
                  <a:lnTo>
                    <a:pt x="10" y="58"/>
                  </a:lnTo>
                  <a:lnTo>
                    <a:pt x="10" y="57"/>
                  </a:lnTo>
                  <a:lnTo>
                    <a:pt x="10" y="58"/>
                  </a:lnTo>
                  <a:lnTo>
                    <a:pt x="9" y="58"/>
                  </a:lnTo>
                  <a:lnTo>
                    <a:pt x="7" y="58"/>
                  </a:lnTo>
                  <a:lnTo>
                    <a:pt x="6" y="58"/>
                  </a:lnTo>
                  <a:lnTo>
                    <a:pt x="7" y="58"/>
                  </a:lnTo>
                  <a:lnTo>
                    <a:pt x="6" y="58"/>
                  </a:lnTo>
                  <a:lnTo>
                    <a:pt x="6" y="57"/>
                  </a:lnTo>
                  <a:lnTo>
                    <a:pt x="6" y="58"/>
                  </a:lnTo>
                  <a:lnTo>
                    <a:pt x="5" y="57"/>
                  </a:lnTo>
                  <a:lnTo>
                    <a:pt x="5" y="56"/>
                  </a:lnTo>
                  <a:lnTo>
                    <a:pt x="5" y="55"/>
                  </a:lnTo>
                  <a:lnTo>
                    <a:pt x="5" y="56"/>
                  </a:lnTo>
                  <a:lnTo>
                    <a:pt x="4" y="55"/>
                  </a:lnTo>
                  <a:lnTo>
                    <a:pt x="4" y="54"/>
                  </a:lnTo>
                  <a:lnTo>
                    <a:pt x="3" y="53"/>
                  </a:lnTo>
                  <a:lnTo>
                    <a:pt x="4" y="53"/>
                  </a:lnTo>
                  <a:lnTo>
                    <a:pt x="4" y="51"/>
                  </a:lnTo>
                  <a:lnTo>
                    <a:pt x="3" y="53"/>
                  </a:lnTo>
                  <a:lnTo>
                    <a:pt x="3" y="51"/>
                  </a:lnTo>
                  <a:lnTo>
                    <a:pt x="3" y="50"/>
                  </a:lnTo>
                  <a:lnTo>
                    <a:pt x="2" y="50"/>
                  </a:lnTo>
                  <a:lnTo>
                    <a:pt x="2" y="49"/>
                  </a:lnTo>
                  <a:lnTo>
                    <a:pt x="2" y="48"/>
                  </a:lnTo>
                  <a:lnTo>
                    <a:pt x="0" y="47"/>
                  </a:lnTo>
                  <a:lnTo>
                    <a:pt x="0" y="46"/>
                  </a:lnTo>
                  <a:lnTo>
                    <a:pt x="0" y="47"/>
                  </a:lnTo>
                  <a:lnTo>
                    <a:pt x="2" y="47"/>
                  </a:lnTo>
                  <a:lnTo>
                    <a:pt x="2" y="48"/>
                  </a:lnTo>
                  <a:lnTo>
                    <a:pt x="2" y="49"/>
                  </a:lnTo>
                  <a:lnTo>
                    <a:pt x="3" y="49"/>
                  </a:lnTo>
                  <a:lnTo>
                    <a:pt x="3" y="48"/>
                  </a:lnTo>
                  <a:lnTo>
                    <a:pt x="4" y="48"/>
                  </a:lnTo>
                  <a:lnTo>
                    <a:pt x="3" y="48"/>
                  </a:lnTo>
                  <a:lnTo>
                    <a:pt x="4" y="48"/>
                  </a:lnTo>
                  <a:lnTo>
                    <a:pt x="4" y="49"/>
                  </a:lnTo>
                  <a:lnTo>
                    <a:pt x="5" y="49"/>
                  </a:lnTo>
                  <a:lnTo>
                    <a:pt x="5" y="50"/>
                  </a:lnTo>
                  <a:lnTo>
                    <a:pt x="5" y="49"/>
                  </a:lnTo>
                  <a:lnTo>
                    <a:pt x="5" y="48"/>
                  </a:lnTo>
                  <a:lnTo>
                    <a:pt x="6" y="48"/>
                  </a:lnTo>
                  <a:lnTo>
                    <a:pt x="6" y="47"/>
                  </a:lnTo>
                  <a:lnTo>
                    <a:pt x="6" y="48"/>
                  </a:lnTo>
                  <a:lnTo>
                    <a:pt x="6" y="47"/>
                  </a:lnTo>
                  <a:lnTo>
                    <a:pt x="6" y="46"/>
                  </a:lnTo>
                  <a:lnTo>
                    <a:pt x="7" y="46"/>
                  </a:lnTo>
                  <a:lnTo>
                    <a:pt x="7" y="44"/>
                  </a:lnTo>
                  <a:lnTo>
                    <a:pt x="9" y="43"/>
                  </a:lnTo>
                  <a:lnTo>
                    <a:pt x="9" y="42"/>
                  </a:lnTo>
                  <a:lnTo>
                    <a:pt x="9" y="40"/>
                  </a:lnTo>
                  <a:lnTo>
                    <a:pt x="10" y="39"/>
                  </a:lnTo>
                  <a:lnTo>
                    <a:pt x="10" y="37"/>
                  </a:lnTo>
                  <a:lnTo>
                    <a:pt x="10" y="36"/>
                  </a:lnTo>
                  <a:lnTo>
                    <a:pt x="9" y="33"/>
                  </a:lnTo>
                  <a:lnTo>
                    <a:pt x="9" y="32"/>
                  </a:lnTo>
                  <a:lnTo>
                    <a:pt x="10" y="32"/>
                  </a:lnTo>
                  <a:lnTo>
                    <a:pt x="10" y="30"/>
                  </a:lnTo>
                  <a:lnTo>
                    <a:pt x="10" y="32"/>
                  </a:lnTo>
                  <a:lnTo>
                    <a:pt x="10" y="33"/>
                  </a:lnTo>
                  <a:lnTo>
                    <a:pt x="10" y="34"/>
                  </a:lnTo>
                  <a:lnTo>
                    <a:pt x="11" y="34"/>
                  </a:lnTo>
                  <a:lnTo>
                    <a:pt x="11" y="35"/>
                  </a:lnTo>
                  <a:lnTo>
                    <a:pt x="12" y="35"/>
                  </a:lnTo>
                  <a:lnTo>
                    <a:pt x="12" y="34"/>
                  </a:lnTo>
                  <a:lnTo>
                    <a:pt x="13" y="34"/>
                  </a:lnTo>
                  <a:lnTo>
                    <a:pt x="13" y="35"/>
                  </a:lnTo>
                  <a:lnTo>
                    <a:pt x="13" y="34"/>
                  </a:lnTo>
                  <a:lnTo>
                    <a:pt x="14" y="35"/>
                  </a:lnTo>
                  <a:lnTo>
                    <a:pt x="16" y="35"/>
                  </a:lnTo>
                  <a:lnTo>
                    <a:pt x="16" y="36"/>
                  </a:lnTo>
                  <a:lnTo>
                    <a:pt x="16" y="35"/>
                  </a:lnTo>
                  <a:lnTo>
                    <a:pt x="17" y="35"/>
                  </a:lnTo>
                  <a:lnTo>
                    <a:pt x="17" y="34"/>
                  </a:lnTo>
                  <a:lnTo>
                    <a:pt x="18" y="34"/>
                  </a:lnTo>
                  <a:lnTo>
                    <a:pt x="19" y="34"/>
                  </a:lnTo>
                  <a:lnTo>
                    <a:pt x="18" y="34"/>
                  </a:lnTo>
                  <a:lnTo>
                    <a:pt x="18" y="33"/>
                  </a:lnTo>
                  <a:lnTo>
                    <a:pt x="18" y="34"/>
                  </a:lnTo>
                  <a:lnTo>
                    <a:pt x="17" y="34"/>
                  </a:lnTo>
                  <a:lnTo>
                    <a:pt x="16" y="34"/>
                  </a:lnTo>
                  <a:lnTo>
                    <a:pt x="14" y="34"/>
                  </a:lnTo>
                  <a:lnTo>
                    <a:pt x="14" y="33"/>
                  </a:lnTo>
                  <a:lnTo>
                    <a:pt x="13" y="33"/>
                  </a:lnTo>
                  <a:lnTo>
                    <a:pt x="13" y="32"/>
                  </a:lnTo>
                  <a:lnTo>
                    <a:pt x="12" y="32"/>
                  </a:lnTo>
                  <a:lnTo>
                    <a:pt x="11" y="32"/>
                  </a:lnTo>
                  <a:lnTo>
                    <a:pt x="11" y="30"/>
                  </a:lnTo>
                  <a:lnTo>
                    <a:pt x="11" y="29"/>
                  </a:lnTo>
                  <a:lnTo>
                    <a:pt x="10" y="29"/>
                  </a:lnTo>
                  <a:lnTo>
                    <a:pt x="10" y="28"/>
                  </a:lnTo>
                  <a:lnTo>
                    <a:pt x="9" y="28"/>
                  </a:lnTo>
                  <a:lnTo>
                    <a:pt x="9" y="27"/>
                  </a:lnTo>
                  <a:lnTo>
                    <a:pt x="10" y="27"/>
                  </a:lnTo>
                  <a:lnTo>
                    <a:pt x="10" y="26"/>
                  </a:lnTo>
                  <a:lnTo>
                    <a:pt x="11" y="26"/>
                  </a:lnTo>
                  <a:lnTo>
                    <a:pt x="11" y="27"/>
                  </a:lnTo>
                  <a:lnTo>
                    <a:pt x="11" y="26"/>
                  </a:lnTo>
                  <a:lnTo>
                    <a:pt x="12" y="26"/>
                  </a:lnTo>
                  <a:lnTo>
                    <a:pt x="12" y="27"/>
                  </a:lnTo>
                  <a:lnTo>
                    <a:pt x="11" y="27"/>
                  </a:lnTo>
                  <a:lnTo>
                    <a:pt x="12" y="27"/>
                  </a:lnTo>
                  <a:lnTo>
                    <a:pt x="12" y="28"/>
                  </a:lnTo>
                  <a:lnTo>
                    <a:pt x="13" y="27"/>
                  </a:lnTo>
                  <a:lnTo>
                    <a:pt x="13" y="28"/>
                  </a:lnTo>
                  <a:lnTo>
                    <a:pt x="13" y="29"/>
                  </a:lnTo>
                  <a:lnTo>
                    <a:pt x="13" y="28"/>
                  </a:lnTo>
                  <a:lnTo>
                    <a:pt x="13" y="27"/>
                  </a:lnTo>
                  <a:lnTo>
                    <a:pt x="13" y="26"/>
                  </a:lnTo>
                  <a:lnTo>
                    <a:pt x="13" y="23"/>
                  </a:lnTo>
                  <a:lnTo>
                    <a:pt x="13" y="22"/>
                  </a:lnTo>
                  <a:lnTo>
                    <a:pt x="12" y="21"/>
                  </a:lnTo>
                  <a:lnTo>
                    <a:pt x="13" y="21"/>
                  </a:lnTo>
                  <a:lnTo>
                    <a:pt x="13" y="20"/>
                  </a:lnTo>
                  <a:lnTo>
                    <a:pt x="14" y="20"/>
                  </a:lnTo>
                  <a:lnTo>
                    <a:pt x="16" y="20"/>
                  </a:lnTo>
                  <a:lnTo>
                    <a:pt x="16" y="21"/>
                  </a:lnTo>
                  <a:lnTo>
                    <a:pt x="17" y="21"/>
                  </a:lnTo>
                  <a:lnTo>
                    <a:pt x="18" y="22"/>
                  </a:lnTo>
                  <a:lnTo>
                    <a:pt x="18" y="21"/>
                  </a:lnTo>
                  <a:lnTo>
                    <a:pt x="19" y="21"/>
                  </a:lnTo>
                  <a:lnTo>
                    <a:pt x="20" y="21"/>
                  </a:lnTo>
                  <a:lnTo>
                    <a:pt x="25" y="21"/>
                  </a:lnTo>
                  <a:lnTo>
                    <a:pt x="28" y="21"/>
                  </a:lnTo>
                  <a:lnTo>
                    <a:pt x="32" y="21"/>
                  </a:lnTo>
                  <a:lnTo>
                    <a:pt x="33" y="21"/>
                  </a:lnTo>
                  <a:lnTo>
                    <a:pt x="38" y="21"/>
                  </a:lnTo>
                  <a:lnTo>
                    <a:pt x="38" y="16"/>
                  </a:lnTo>
                  <a:lnTo>
                    <a:pt x="38" y="13"/>
                  </a:lnTo>
                  <a:lnTo>
                    <a:pt x="38" y="9"/>
                  </a:lnTo>
                  <a:lnTo>
                    <a:pt x="38" y="8"/>
                  </a:lnTo>
                  <a:lnTo>
                    <a:pt x="38" y="5"/>
                  </a:lnTo>
                  <a:lnTo>
                    <a:pt x="38" y="2"/>
                  </a:lnTo>
                  <a:lnTo>
                    <a:pt x="37" y="2"/>
                  </a:lnTo>
                  <a:lnTo>
                    <a:pt x="38" y="2"/>
                  </a:lnTo>
                  <a:lnTo>
                    <a:pt x="38" y="1"/>
                  </a:lnTo>
                  <a:lnTo>
                    <a:pt x="38" y="0"/>
                  </a:lnTo>
                  <a:lnTo>
                    <a:pt x="41" y="0"/>
                  </a:lnTo>
                  <a:lnTo>
                    <a:pt x="42" y="0"/>
                  </a:lnTo>
                  <a:lnTo>
                    <a:pt x="43"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33" name="Freeform 888">
              <a:extLst>
                <a:ext uri="{FF2B5EF4-FFF2-40B4-BE49-F238E27FC236}">
                  <a16:creationId xmlns:a16="http://schemas.microsoft.com/office/drawing/2014/main" id="{6A67F180-5862-43EE-B9D7-BC879B81AC09}"/>
                </a:ext>
              </a:extLst>
            </p:cNvPr>
            <p:cNvSpPr>
              <a:spLocks/>
            </p:cNvSpPr>
            <p:nvPr/>
          </p:nvSpPr>
          <p:spPr bwMode="auto">
            <a:xfrm>
              <a:off x="6479514" y="2428376"/>
              <a:ext cx="122865" cy="53420"/>
            </a:xfrm>
            <a:custGeom>
              <a:avLst/>
              <a:gdLst>
                <a:gd name="T0" fmla="*/ 85 w 92"/>
                <a:gd name="T1" fmla="*/ 28 h 40"/>
                <a:gd name="T2" fmla="*/ 85 w 92"/>
                <a:gd name="T3" fmla="*/ 30 h 40"/>
                <a:gd name="T4" fmla="*/ 89 w 92"/>
                <a:gd name="T5" fmla="*/ 34 h 40"/>
                <a:gd name="T6" fmla="*/ 92 w 92"/>
                <a:gd name="T7" fmla="*/ 35 h 40"/>
                <a:gd name="T8" fmla="*/ 91 w 92"/>
                <a:gd name="T9" fmla="*/ 39 h 40"/>
                <a:gd name="T10" fmla="*/ 89 w 92"/>
                <a:gd name="T11" fmla="*/ 39 h 40"/>
                <a:gd name="T12" fmla="*/ 84 w 92"/>
                <a:gd name="T13" fmla="*/ 37 h 40"/>
                <a:gd name="T14" fmla="*/ 79 w 92"/>
                <a:gd name="T15" fmla="*/ 36 h 40"/>
                <a:gd name="T16" fmla="*/ 77 w 92"/>
                <a:gd name="T17" fmla="*/ 34 h 40"/>
                <a:gd name="T18" fmla="*/ 74 w 92"/>
                <a:gd name="T19" fmla="*/ 33 h 40"/>
                <a:gd name="T20" fmla="*/ 68 w 92"/>
                <a:gd name="T21" fmla="*/ 36 h 40"/>
                <a:gd name="T22" fmla="*/ 67 w 92"/>
                <a:gd name="T23" fmla="*/ 36 h 40"/>
                <a:gd name="T24" fmla="*/ 63 w 92"/>
                <a:gd name="T25" fmla="*/ 37 h 40"/>
                <a:gd name="T26" fmla="*/ 60 w 92"/>
                <a:gd name="T27" fmla="*/ 37 h 40"/>
                <a:gd name="T28" fmla="*/ 56 w 92"/>
                <a:gd name="T29" fmla="*/ 39 h 40"/>
                <a:gd name="T30" fmla="*/ 51 w 92"/>
                <a:gd name="T31" fmla="*/ 37 h 40"/>
                <a:gd name="T32" fmla="*/ 48 w 92"/>
                <a:gd name="T33" fmla="*/ 36 h 40"/>
                <a:gd name="T34" fmla="*/ 46 w 92"/>
                <a:gd name="T35" fmla="*/ 35 h 40"/>
                <a:gd name="T36" fmla="*/ 42 w 92"/>
                <a:gd name="T37" fmla="*/ 33 h 40"/>
                <a:gd name="T38" fmla="*/ 40 w 92"/>
                <a:gd name="T39" fmla="*/ 32 h 40"/>
                <a:gd name="T40" fmla="*/ 35 w 92"/>
                <a:gd name="T41" fmla="*/ 33 h 40"/>
                <a:gd name="T42" fmla="*/ 31 w 92"/>
                <a:gd name="T43" fmla="*/ 33 h 40"/>
                <a:gd name="T44" fmla="*/ 27 w 92"/>
                <a:gd name="T45" fmla="*/ 33 h 40"/>
                <a:gd name="T46" fmla="*/ 27 w 92"/>
                <a:gd name="T47" fmla="*/ 29 h 40"/>
                <a:gd name="T48" fmla="*/ 27 w 92"/>
                <a:gd name="T49" fmla="*/ 25 h 40"/>
                <a:gd name="T50" fmla="*/ 25 w 92"/>
                <a:gd name="T51" fmla="*/ 21 h 40"/>
                <a:gd name="T52" fmla="*/ 21 w 92"/>
                <a:gd name="T53" fmla="*/ 14 h 40"/>
                <a:gd name="T54" fmla="*/ 19 w 92"/>
                <a:gd name="T55" fmla="*/ 12 h 40"/>
                <a:gd name="T56" fmla="*/ 15 w 92"/>
                <a:gd name="T57" fmla="*/ 9 h 40"/>
                <a:gd name="T58" fmla="*/ 11 w 92"/>
                <a:gd name="T59" fmla="*/ 7 h 40"/>
                <a:gd name="T60" fmla="*/ 6 w 92"/>
                <a:gd name="T61" fmla="*/ 6 h 40"/>
                <a:gd name="T62" fmla="*/ 4 w 92"/>
                <a:gd name="T63" fmla="*/ 4 h 40"/>
                <a:gd name="T64" fmla="*/ 0 w 92"/>
                <a:gd name="T65" fmla="*/ 2 h 40"/>
                <a:gd name="T66" fmla="*/ 6 w 92"/>
                <a:gd name="T67" fmla="*/ 1 h 40"/>
                <a:gd name="T68" fmla="*/ 10 w 92"/>
                <a:gd name="T69" fmla="*/ 1 h 40"/>
                <a:gd name="T70" fmla="*/ 15 w 92"/>
                <a:gd name="T71" fmla="*/ 4 h 40"/>
                <a:gd name="T72" fmla="*/ 19 w 92"/>
                <a:gd name="T73" fmla="*/ 5 h 40"/>
                <a:gd name="T74" fmla="*/ 24 w 92"/>
                <a:gd name="T75" fmla="*/ 6 h 40"/>
                <a:gd name="T76" fmla="*/ 28 w 92"/>
                <a:gd name="T77" fmla="*/ 6 h 40"/>
                <a:gd name="T78" fmla="*/ 34 w 92"/>
                <a:gd name="T79" fmla="*/ 6 h 40"/>
                <a:gd name="T80" fmla="*/ 36 w 92"/>
                <a:gd name="T81" fmla="*/ 6 h 40"/>
                <a:gd name="T82" fmla="*/ 40 w 92"/>
                <a:gd name="T83" fmla="*/ 8 h 40"/>
                <a:gd name="T84" fmla="*/ 46 w 92"/>
                <a:gd name="T85" fmla="*/ 11 h 40"/>
                <a:gd name="T86" fmla="*/ 50 w 92"/>
                <a:gd name="T87" fmla="*/ 13 h 40"/>
                <a:gd name="T88" fmla="*/ 50 w 92"/>
                <a:gd name="T89" fmla="*/ 15 h 40"/>
                <a:gd name="T90" fmla="*/ 54 w 92"/>
                <a:gd name="T91" fmla="*/ 15 h 40"/>
                <a:gd name="T92" fmla="*/ 57 w 92"/>
                <a:gd name="T93" fmla="*/ 14 h 40"/>
                <a:gd name="T94" fmla="*/ 61 w 92"/>
                <a:gd name="T95" fmla="*/ 13 h 40"/>
                <a:gd name="T96" fmla="*/ 64 w 92"/>
                <a:gd name="T97" fmla="*/ 15 h 40"/>
                <a:gd name="T98" fmla="*/ 67 w 92"/>
                <a:gd name="T99" fmla="*/ 14 h 40"/>
                <a:gd name="T100" fmla="*/ 71 w 92"/>
                <a:gd name="T101" fmla="*/ 16 h 40"/>
                <a:gd name="T102" fmla="*/ 76 w 92"/>
                <a:gd name="T103" fmla="*/ 16 h 40"/>
                <a:gd name="T104" fmla="*/ 78 w 92"/>
                <a:gd name="T105" fmla="*/ 22 h 40"/>
                <a:gd name="T106" fmla="*/ 82 w 92"/>
                <a:gd name="T107" fmla="*/ 25 h 40"/>
                <a:gd name="T108" fmla="*/ 86 w 92"/>
                <a:gd name="T109" fmla="*/ 2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 h="40">
                  <a:moveTo>
                    <a:pt x="88" y="26"/>
                  </a:moveTo>
                  <a:lnTo>
                    <a:pt x="86" y="27"/>
                  </a:lnTo>
                  <a:lnTo>
                    <a:pt x="86" y="28"/>
                  </a:lnTo>
                  <a:lnTo>
                    <a:pt x="85" y="28"/>
                  </a:lnTo>
                  <a:lnTo>
                    <a:pt x="84" y="28"/>
                  </a:lnTo>
                  <a:lnTo>
                    <a:pt x="84" y="29"/>
                  </a:lnTo>
                  <a:lnTo>
                    <a:pt x="84" y="30"/>
                  </a:lnTo>
                  <a:lnTo>
                    <a:pt x="85" y="30"/>
                  </a:lnTo>
                  <a:lnTo>
                    <a:pt x="86" y="32"/>
                  </a:lnTo>
                  <a:lnTo>
                    <a:pt x="86" y="33"/>
                  </a:lnTo>
                  <a:lnTo>
                    <a:pt x="88" y="33"/>
                  </a:lnTo>
                  <a:lnTo>
                    <a:pt x="89" y="34"/>
                  </a:lnTo>
                  <a:lnTo>
                    <a:pt x="90" y="34"/>
                  </a:lnTo>
                  <a:lnTo>
                    <a:pt x="91" y="34"/>
                  </a:lnTo>
                  <a:lnTo>
                    <a:pt x="91" y="35"/>
                  </a:lnTo>
                  <a:lnTo>
                    <a:pt x="92" y="35"/>
                  </a:lnTo>
                  <a:lnTo>
                    <a:pt x="92" y="36"/>
                  </a:lnTo>
                  <a:lnTo>
                    <a:pt x="92" y="37"/>
                  </a:lnTo>
                  <a:lnTo>
                    <a:pt x="92" y="39"/>
                  </a:lnTo>
                  <a:lnTo>
                    <a:pt x="91" y="39"/>
                  </a:lnTo>
                  <a:lnTo>
                    <a:pt x="91" y="40"/>
                  </a:lnTo>
                  <a:lnTo>
                    <a:pt x="90" y="40"/>
                  </a:lnTo>
                  <a:lnTo>
                    <a:pt x="90" y="39"/>
                  </a:lnTo>
                  <a:lnTo>
                    <a:pt x="89" y="39"/>
                  </a:lnTo>
                  <a:lnTo>
                    <a:pt x="88" y="37"/>
                  </a:lnTo>
                  <a:lnTo>
                    <a:pt x="86" y="37"/>
                  </a:lnTo>
                  <a:lnTo>
                    <a:pt x="85" y="37"/>
                  </a:lnTo>
                  <a:lnTo>
                    <a:pt x="84" y="37"/>
                  </a:lnTo>
                  <a:lnTo>
                    <a:pt x="83" y="37"/>
                  </a:lnTo>
                  <a:lnTo>
                    <a:pt x="82" y="37"/>
                  </a:lnTo>
                  <a:lnTo>
                    <a:pt x="81" y="36"/>
                  </a:lnTo>
                  <a:lnTo>
                    <a:pt x="79" y="36"/>
                  </a:lnTo>
                  <a:lnTo>
                    <a:pt x="79" y="35"/>
                  </a:lnTo>
                  <a:lnTo>
                    <a:pt x="81" y="35"/>
                  </a:lnTo>
                  <a:lnTo>
                    <a:pt x="79" y="35"/>
                  </a:lnTo>
                  <a:lnTo>
                    <a:pt x="77" y="34"/>
                  </a:lnTo>
                  <a:lnTo>
                    <a:pt x="76" y="34"/>
                  </a:lnTo>
                  <a:lnTo>
                    <a:pt x="75" y="34"/>
                  </a:lnTo>
                  <a:lnTo>
                    <a:pt x="75" y="33"/>
                  </a:lnTo>
                  <a:lnTo>
                    <a:pt x="74" y="33"/>
                  </a:lnTo>
                  <a:lnTo>
                    <a:pt x="71" y="35"/>
                  </a:lnTo>
                  <a:lnTo>
                    <a:pt x="70" y="36"/>
                  </a:lnTo>
                  <a:lnTo>
                    <a:pt x="69" y="36"/>
                  </a:lnTo>
                  <a:lnTo>
                    <a:pt x="68" y="36"/>
                  </a:lnTo>
                  <a:lnTo>
                    <a:pt x="69" y="36"/>
                  </a:lnTo>
                  <a:lnTo>
                    <a:pt x="69" y="37"/>
                  </a:lnTo>
                  <a:lnTo>
                    <a:pt x="67" y="37"/>
                  </a:lnTo>
                  <a:lnTo>
                    <a:pt x="67" y="36"/>
                  </a:lnTo>
                  <a:lnTo>
                    <a:pt x="65" y="36"/>
                  </a:lnTo>
                  <a:lnTo>
                    <a:pt x="65" y="37"/>
                  </a:lnTo>
                  <a:lnTo>
                    <a:pt x="64" y="37"/>
                  </a:lnTo>
                  <a:lnTo>
                    <a:pt x="63" y="37"/>
                  </a:lnTo>
                  <a:lnTo>
                    <a:pt x="62" y="37"/>
                  </a:lnTo>
                  <a:lnTo>
                    <a:pt x="61" y="36"/>
                  </a:lnTo>
                  <a:lnTo>
                    <a:pt x="61" y="37"/>
                  </a:lnTo>
                  <a:lnTo>
                    <a:pt x="60" y="37"/>
                  </a:lnTo>
                  <a:lnTo>
                    <a:pt x="58" y="37"/>
                  </a:lnTo>
                  <a:lnTo>
                    <a:pt x="57" y="37"/>
                  </a:lnTo>
                  <a:lnTo>
                    <a:pt x="56" y="37"/>
                  </a:lnTo>
                  <a:lnTo>
                    <a:pt x="56" y="39"/>
                  </a:lnTo>
                  <a:lnTo>
                    <a:pt x="55" y="39"/>
                  </a:lnTo>
                  <a:lnTo>
                    <a:pt x="53" y="39"/>
                  </a:lnTo>
                  <a:lnTo>
                    <a:pt x="51" y="39"/>
                  </a:lnTo>
                  <a:lnTo>
                    <a:pt x="51" y="37"/>
                  </a:lnTo>
                  <a:lnTo>
                    <a:pt x="50" y="37"/>
                  </a:lnTo>
                  <a:lnTo>
                    <a:pt x="49" y="37"/>
                  </a:lnTo>
                  <a:lnTo>
                    <a:pt x="48" y="37"/>
                  </a:lnTo>
                  <a:lnTo>
                    <a:pt x="48" y="36"/>
                  </a:lnTo>
                  <a:lnTo>
                    <a:pt x="47" y="36"/>
                  </a:lnTo>
                  <a:lnTo>
                    <a:pt x="48" y="35"/>
                  </a:lnTo>
                  <a:lnTo>
                    <a:pt x="47" y="35"/>
                  </a:lnTo>
                  <a:lnTo>
                    <a:pt x="46" y="35"/>
                  </a:lnTo>
                  <a:lnTo>
                    <a:pt x="44" y="34"/>
                  </a:lnTo>
                  <a:lnTo>
                    <a:pt x="44" y="33"/>
                  </a:lnTo>
                  <a:lnTo>
                    <a:pt x="43" y="33"/>
                  </a:lnTo>
                  <a:lnTo>
                    <a:pt x="42" y="33"/>
                  </a:lnTo>
                  <a:lnTo>
                    <a:pt x="41" y="33"/>
                  </a:lnTo>
                  <a:lnTo>
                    <a:pt x="42" y="32"/>
                  </a:lnTo>
                  <a:lnTo>
                    <a:pt x="40" y="30"/>
                  </a:lnTo>
                  <a:lnTo>
                    <a:pt x="40" y="32"/>
                  </a:lnTo>
                  <a:lnTo>
                    <a:pt x="39" y="32"/>
                  </a:lnTo>
                  <a:lnTo>
                    <a:pt x="39" y="33"/>
                  </a:lnTo>
                  <a:lnTo>
                    <a:pt x="38" y="34"/>
                  </a:lnTo>
                  <a:lnTo>
                    <a:pt x="35" y="33"/>
                  </a:lnTo>
                  <a:lnTo>
                    <a:pt x="34" y="33"/>
                  </a:lnTo>
                  <a:lnTo>
                    <a:pt x="33" y="33"/>
                  </a:lnTo>
                  <a:lnTo>
                    <a:pt x="32" y="33"/>
                  </a:lnTo>
                  <a:lnTo>
                    <a:pt x="31" y="33"/>
                  </a:lnTo>
                  <a:lnTo>
                    <a:pt x="29" y="34"/>
                  </a:lnTo>
                  <a:lnTo>
                    <a:pt x="29" y="33"/>
                  </a:lnTo>
                  <a:lnTo>
                    <a:pt x="28" y="33"/>
                  </a:lnTo>
                  <a:lnTo>
                    <a:pt x="27" y="33"/>
                  </a:lnTo>
                  <a:lnTo>
                    <a:pt x="26" y="32"/>
                  </a:lnTo>
                  <a:lnTo>
                    <a:pt x="26" y="30"/>
                  </a:lnTo>
                  <a:lnTo>
                    <a:pt x="27" y="30"/>
                  </a:lnTo>
                  <a:lnTo>
                    <a:pt x="27" y="29"/>
                  </a:lnTo>
                  <a:lnTo>
                    <a:pt x="28" y="28"/>
                  </a:lnTo>
                  <a:lnTo>
                    <a:pt x="28" y="27"/>
                  </a:lnTo>
                  <a:lnTo>
                    <a:pt x="28" y="26"/>
                  </a:lnTo>
                  <a:lnTo>
                    <a:pt x="27" y="25"/>
                  </a:lnTo>
                  <a:lnTo>
                    <a:pt x="27" y="23"/>
                  </a:lnTo>
                  <a:lnTo>
                    <a:pt x="26" y="23"/>
                  </a:lnTo>
                  <a:lnTo>
                    <a:pt x="26" y="22"/>
                  </a:lnTo>
                  <a:lnTo>
                    <a:pt x="25" y="21"/>
                  </a:lnTo>
                  <a:lnTo>
                    <a:pt x="25" y="19"/>
                  </a:lnTo>
                  <a:lnTo>
                    <a:pt x="24" y="19"/>
                  </a:lnTo>
                  <a:lnTo>
                    <a:pt x="22" y="14"/>
                  </a:lnTo>
                  <a:lnTo>
                    <a:pt x="21" y="14"/>
                  </a:lnTo>
                  <a:lnTo>
                    <a:pt x="21" y="13"/>
                  </a:lnTo>
                  <a:lnTo>
                    <a:pt x="20" y="13"/>
                  </a:lnTo>
                  <a:lnTo>
                    <a:pt x="19" y="13"/>
                  </a:lnTo>
                  <a:lnTo>
                    <a:pt x="19" y="12"/>
                  </a:lnTo>
                  <a:lnTo>
                    <a:pt x="18" y="12"/>
                  </a:lnTo>
                  <a:lnTo>
                    <a:pt x="17" y="12"/>
                  </a:lnTo>
                  <a:lnTo>
                    <a:pt x="17" y="11"/>
                  </a:lnTo>
                  <a:lnTo>
                    <a:pt x="15" y="9"/>
                  </a:lnTo>
                  <a:lnTo>
                    <a:pt x="14" y="9"/>
                  </a:lnTo>
                  <a:lnTo>
                    <a:pt x="13" y="8"/>
                  </a:lnTo>
                  <a:lnTo>
                    <a:pt x="12" y="7"/>
                  </a:lnTo>
                  <a:lnTo>
                    <a:pt x="11" y="7"/>
                  </a:lnTo>
                  <a:lnTo>
                    <a:pt x="10" y="7"/>
                  </a:lnTo>
                  <a:lnTo>
                    <a:pt x="8" y="7"/>
                  </a:lnTo>
                  <a:lnTo>
                    <a:pt x="7" y="7"/>
                  </a:lnTo>
                  <a:lnTo>
                    <a:pt x="6" y="6"/>
                  </a:lnTo>
                  <a:lnTo>
                    <a:pt x="6" y="7"/>
                  </a:lnTo>
                  <a:lnTo>
                    <a:pt x="5" y="6"/>
                  </a:lnTo>
                  <a:lnTo>
                    <a:pt x="5" y="5"/>
                  </a:lnTo>
                  <a:lnTo>
                    <a:pt x="4" y="4"/>
                  </a:lnTo>
                  <a:lnTo>
                    <a:pt x="3" y="4"/>
                  </a:lnTo>
                  <a:lnTo>
                    <a:pt x="1" y="4"/>
                  </a:lnTo>
                  <a:lnTo>
                    <a:pt x="1" y="2"/>
                  </a:lnTo>
                  <a:lnTo>
                    <a:pt x="0" y="2"/>
                  </a:lnTo>
                  <a:lnTo>
                    <a:pt x="1" y="0"/>
                  </a:lnTo>
                  <a:lnTo>
                    <a:pt x="3" y="0"/>
                  </a:lnTo>
                  <a:lnTo>
                    <a:pt x="4" y="0"/>
                  </a:lnTo>
                  <a:lnTo>
                    <a:pt x="6" y="1"/>
                  </a:lnTo>
                  <a:lnTo>
                    <a:pt x="7" y="1"/>
                  </a:lnTo>
                  <a:lnTo>
                    <a:pt x="8" y="0"/>
                  </a:lnTo>
                  <a:lnTo>
                    <a:pt x="10" y="0"/>
                  </a:lnTo>
                  <a:lnTo>
                    <a:pt x="10" y="1"/>
                  </a:lnTo>
                  <a:lnTo>
                    <a:pt x="12" y="1"/>
                  </a:lnTo>
                  <a:lnTo>
                    <a:pt x="14" y="4"/>
                  </a:lnTo>
                  <a:lnTo>
                    <a:pt x="15" y="2"/>
                  </a:lnTo>
                  <a:lnTo>
                    <a:pt x="15" y="4"/>
                  </a:lnTo>
                  <a:lnTo>
                    <a:pt x="17" y="4"/>
                  </a:lnTo>
                  <a:lnTo>
                    <a:pt x="18" y="4"/>
                  </a:lnTo>
                  <a:lnTo>
                    <a:pt x="19" y="4"/>
                  </a:lnTo>
                  <a:lnTo>
                    <a:pt x="19" y="5"/>
                  </a:lnTo>
                  <a:lnTo>
                    <a:pt x="20" y="5"/>
                  </a:lnTo>
                  <a:lnTo>
                    <a:pt x="21" y="6"/>
                  </a:lnTo>
                  <a:lnTo>
                    <a:pt x="22" y="6"/>
                  </a:lnTo>
                  <a:lnTo>
                    <a:pt x="24" y="6"/>
                  </a:lnTo>
                  <a:lnTo>
                    <a:pt x="25" y="6"/>
                  </a:lnTo>
                  <a:lnTo>
                    <a:pt x="26" y="6"/>
                  </a:lnTo>
                  <a:lnTo>
                    <a:pt x="27" y="6"/>
                  </a:lnTo>
                  <a:lnTo>
                    <a:pt x="28" y="6"/>
                  </a:lnTo>
                  <a:lnTo>
                    <a:pt x="29" y="6"/>
                  </a:lnTo>
                  <a:lnTo>
                    <a:pt x="32" y="5"/>
                  </a:lnTo>
                  <a:lnTo>
                    <a:pt x="33" y="6"/>
                  </a:lnTo>
                  <a:lnTo>
                    <a:pt x="34" y="6"/>
                  </a:lnTo>
                  <a:lnTo>
                    <a:pt x="34" y="7"/>
                  </a:lnTo>
                  <a:lnTo>
                    <a:pt x="35" y="7"/>
                  </a:lnTo>
                  <a:lnTo>
                    <a:pt x="35" y="6"/>
                  </a:lnTo>
                  <a:lnTo>
                    <a:pt x="36" y="6"/>
                  </a:lnTo>
                  <a:lnTo>
                    <a:pt x="38" y="6"/>
                  </a:lnTo>
                  <a:lnTo>
                    <a:pt x="39" y="7"/>
                  </a:lnTo>
                  <a:lnTo>
                    <a:pt x="40" y="7"/>
                  </a:lnTo>
                  <a:lnTo>
                    <a:pt x="40" y="8"/>
                  </a:lnTo>
                  <a:lnTo>
                    <a:pt x="41" y="8"/>
                  </a:lnTo>
                  <a:lnTo>
                    <a:pt x="42" y="9"/>
                  </a:lnTo>
                  <a:lnTo>
                    <a:pt x="42" y="11"/>
                  </a:lnTo>
                  <a:lnTo>
                    <a:pt x="46" y="11"/>
                  </a:lnTo>
                  <a:lnTo>
                    <a:pt x="47" y="11"/>
                  </a:lnTo>
                  <a:lnTo>
                    <a:pt x="48" y="12"/>
                  </a:lnTo>
                  <a:lnTo>
                    <a:pt x="49" y="12"/>
                  </a:lnTo>
                  <a:lnTo>
                    <a:pt x="50" y="13"/>
                  </a:lnTo>
                  <a:lnTo>
                    <a:pt x="51" y="13"/>
                  </a:lnTo>
                  <a:lnTo>
                    <a:pt x="51" y="14"/>
                  </a:lnTo>
                  <a:lnTo>
                    <a:pt x="50" y="14"/>
                  </a:lnTo>
                  <a:lnTo>
                    <a:pt x="50" y="15"/>
                  </a:lnTo>
                  <a:lnTo>
                    <a:pt x="51" y="15"/>
                  </a:lnTo>
                  <a:lnTo>
                    <a:pt x="53" y="15"/>
                  </a:lnTo>
                  <a:lnTo>
                    <a:pt x="54" y="16"/>
                  </a:lnTo>
                  <a:lnTo>
                    <a:pt x="54" y="15"/>
                  </a:lnTo>
                  <a:lnTo>
                    <a:pt x="55" y="15"/>
                  </a:lnTo>
                  <a:lnTo>
                    <a:pt x="56" y="15"/>
                  </a:lnTo>
                  <a:lnTo>
                    <a:pt x="56" y="14"/>
                  </a:lnTo>
                  <a:lnTo>
                    <a:pt x="57" y="14"/>
                  </a:lnTo>
                  <a:lnTo>
                    <a:pt x="58" y="14"/>
                  </a:lnTo>
                  <a:lnTo>
                    <a:pt x="58" y="13"/>
                  </a:lnTo>
                  <a:lnTo>
                    <a:pt x="60" y="13"/>
                  </a:lnTo>
                  <a:lnTo>
                    <a:pt x="61" y="13"/>
                  </a:lnTo>
                  <a:lnTo>
                    <a:pt x="62" y="13"/>
                  </a:lnTo>
                  <a:lnTo>
                    <a:pt x="63" y="14"/>
                  </a:lnTo>
                  <a:lnTo>
                    <a:pt x="63" y="15"/>
                  </a:lnTo>
                  <a:lnTo>
                    <a:pt x="64" y="15"/>
                  </a:lnTo>
                  <a:lnTo>
                    <a:pt x="64" y="14"/>
                  </a:lnTo>
                  <a:lnTo>
                    <a:pt x="64" y="13"/>
                  </a:lnTo>
                  <a:lnTo>
                    <a:pt x="65" y="13"/>
                  </a:lnTo>
                  <a:lnTo>
                    <a:pt x="67" y="14"/>
                  </a:lnTo>
                  <a:lnTo>
                    <a:pt x="68" y="14"/>
                  </a:lnTo>
                  <a:lnTo>
                    <a:pt x="69" y="14"/>
                  </a:lnTo>
                  <a:lnTo>
                    <a:pt x="70" y="15"/>
                  </a:lnTo>
                  <a:lnTo>
                    <a:pt x="71" y="16"/>
                  </a:lnTo>
                  <a:lnTo>
                    <a:pt x="72" y="16"/>
                  </a:lnTo>
                  <a:lnTo>
                    <a:pt x="74" y="16"/>
                  </a:lnTo>
                  <a:lnTo>
                    <a:pt x="75" y="16"/>
                  </a:lnTo>
                  <a:lnTo>
                    <a:pt x="76" y="16"/>
                  </a:lnTo>
                  <a:lnTo>
                    <a:pt x="76" y="18"/>
                  </a:lnTo>
                  <a:lnTo>
                    <a:pt x="76" y="21"/>
                  </a:lnTo>
                  <a:lnTo>
                    <a:pt x="77" y="22"/>
                  </a:lnTo>
                  <a:lnTo>
                    <a:pt x="78" y="22"/>
                  </a:lnTo>
                  <a:lnTo>
                    <a:pt x="79" y="23"/>
                  </a:lnTo>
                  <a:lnTo>
                    <a:pt x="81" y="23"/>
                  </a:lnTo>
                  <a:lnTo>
                    <a:pt x="81" y="25"/>
                  </a:lnTo>
                  <a:lnTo>
                    <a:pt x="82" y="25"/>
                  </a:lnTo>
                  <a:lnTo>
                    <a:pt x="83" y="25"/>
                  </a:lnTo>
                  <a:lnTo>
                    <a:pt x="84" y="25"/>
                  </a:lnTo>
                  <a:lnTo>
                    <a:pt x="85" y="26"/>
                  </a:lnTo>
                  <a:lnTo>
                    <a:pt x="86" y="26"/>
                  </a:lnTo>
                  <a:lnTo>
                    <a:pt x="88" y="26"/>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34" name="Freeform 889">
              <a:extLst>
                <a:ext uri="{FF2B5EF4-FFF2-40B4-BE49-F238E27FC236}">
                  <a16:creationId xmlns:a16="http://schemas.microsoft.com/office/drawing/2014/main" id="{099CC8F4-2504-4AFE-864C-40B9B83BDEB4}"/>
                </a:ext>
              </a:extLst>
            </p:cNvPr>
            <p:cNvSpPr>
              <a:spLocks/>
            </p:cNvSpPr>
            <p:nvPr/>
          </p:nvSpPr>
          <p:spPr bwMode="auto">
            <a:xfrm>
              <a:off x="5746331" y="3112146"/>
              <a:ext cx="82800" cy="136220"/>
            </a:xfrm>
            <a:custGeom>
              <a:avLst/>
              <a:gdLst>
                <a:gd name="T0" fmla="*/ 45 w 62"/>
                <a:gd name="T1" fmla="*/ 2 h 102"/>
                <a:gd name="T2" fmla="*/ 44 w 62"/>
                <a:gd name="T3" fmla="*/ 8 h 102"/>
                <a:gd name="T4" fmla="*/ 49 w 62"/>
                <a:gd name="T5" fmla="*/ 12 h 102"/>
                <a:gd name="T6" fmla="*/ 51 w 62"/>
                <a:gd name="T7" fmla="*/ 14 h 102"/>
                <a:gd name="T8" fmla="*/ 51 w 62"/>
                <a:gd name="T9" fmla="*/ 18 h 102"/>
                <a:gd name="T10" fmla="*/ 50 w 62"/>
                <a:gd name="T11" fmla="*/ 22 h 102"/>
                <a:gd name="T12" fmla="*/ 49 w 62"/>
                <a:gd name="T13" fmla="*/ 25 h 102"/>
                <a:gd name="T14" fmla="*/ 49 w 62"/>
                <a:gd name="T15" fmla="*/ 26 h 102"/>
                <a:gd name="T16" fmla="*/ 51 w 62"/>
                <a:gd name="T17" fmla="*/ 27 h 102"/>
                <a:gd name="T18" fmla="*/ 52 w 62"/>
                <a:gd name="T19" fmla="*/ 32 h 102"/>
                <a:gd name="T20" fmla="*/ 52 w 62"/>
                <a:gd name="T21" fmla="*/ 36 h 102"/>
                <a:gd name="T22" fmla="*/ 50 w 62"/>
                <a:gd name="T23" fmla="*/ 37 h 102"/>
                <a:gd name="T24" fmla="*/ 52 w 62"/>
                <a:gd name="T25" fmla="*/ 42 h 102"/>
                <a:gd name="T26" fmla="*/ 55 w 62"/>
                <a:gd name="T27" fmla="*/ 46 h 102"/>
                <a:gd name="T28" fmla="*/ 54 w 62"/>
                <a:gd name="T29" fmla="*/ 50 h 102"/>
                <a:gd name="T30" fmla="*/ 54 w 62"/>
                <a:gd name="T31" fmla="*/ 56 h 102"/>
                <a:gd name="T32" fmla="*/ 54 w 62"/>
                <a:gd name="T33" fmla="*/ 60 h 102"/>
                <a:gd name="T34" fmla="*/ 54 w 62"/>
                <a:gd name="T35" fmla="*/ 64 h 102"/>
                <a:gd name="T36" fmla="*/ 52 w 62"/>
                <a:gd name="T37" fmla="*/ 69 h 102"/>
                <a:gd name="T38" fmla="*/ 56 w 62"/>
                <a:gd name="T39" fmla="*/ 75 h 102"/>
                <a:gd name="T40" fmla="*/ 61 w 62"/>
                <a:gd name="T41" fmla="*/ 79 h 102"/>
                <a:gd name="T42" fmla="*/ 59 w 62"/>
                <a:gd name="T43" fmla="*/ 83 h 102"/>
                <a:gd name="T44" fmla="*/ 49 w 62"/>
                <a:gd name="T45" fmla="*/ 85 h 102"/>
                <a:gd name="T46" fmla="*/ 45 w 62"/>
                <a:gd name="T47" fmla="*/ 88 h 102"/>
                <a:gd name="T48" fmla="*/ 38 w 62"/>
                <a:gd name="T49" fmla="*/ 91 h 102"/>
                <a:gd name="T50" fmla="*/ 35 w 62"/>
                <a:gd name="T51" fmla="*/ 93 h 102"/>
                <a:gd name="T52" fmla="*/ 30 w 62"/>
                <a:gd name="T53" fmla="*/ 95 h 102"/>
                <a:gd name="T54" fmla="*/ 26 w 62"/>
                <a:gd name="T55" fmla="*/ 97 h 102"/>
                <a:gd name="T56" fmla="*/ 21 w 62"/>
                <a:gd name="T57" fmla="*/ 98 h 102"/>
                <a:gd name="T58" fmla="*/ 16 w 62"/>
                <a:gd name="T59" fmla="*/ 102 h 102"/>
                <a:gd name="T60" fmla="*/ 13 w 62"/>
                <a:gd name="T61" fmla="*/ 99 h 102"/>
                <a:gd name="T62" fmla="*/ 2 w 62"/>
                <a:gd name="T63" fmla="*/ 96 h 102"/>
                <a:gd name="T64" fmla="*/ 6 w 62"/>
                <a:gd name="T65" fmla="*/ 95 h 102"/>
                <a:gd name="T66" fmla="*/ 6 w 62"/>
                <a:gd name="T67" fmla="*/ 92 h 102"/>
                <a:gd name="T68" fmla="*/ 6 w 62"/>
                <a:gd name="T69" fmla="*/ 88 h 102"/>
                <a:gd name="T70" fmla="*/ 2 w 62"/>
                <a:gd name="T71" fmla="*/ 83 h 102"/>
                <a:gd name="T72" fmla="*/ 0 w 62"/>
                <a:gd name="T73" fmla="*/ 72 h 102"/>
                <a:gd name="T74" fmla="*/ 2 w 62"/>
                <a:gd name="T75" fmla="*/ 65 h 102"/>
                <a:gd name="T76" fmla="*/ 5 w 62"/>
                <a:gd name="T77" fmla="*/ 57 h 102"/>
                <a:gd name="T78" fmla="*/ 7 w 62"/>
                <a:gd name="T79" fmla="*/ 51 h 102"/>
                <a:gd name="T80" fmla="*/ 8 w 62"/>
                <a:gd name="T81" fmla="*/ 48 h 102"/>
                <a:gd name="T82" fmla="*/ 9 w 62"/>
                <a:gd name="T83" fmla="*/ 42 h 102"/>
                <a:gd name="T84" fmla="*/ 8 w 62"/>
                <a:gd name="T85" fmla="*/ 34 h 102"/>
                <a:gd name="T86" fmla="*/ 8 w 62"/>
                <a:gd name="T87" fmla="*/ 30 h 102"/>
                <a:gd name="T88" fmla="*/ 8 w 62"/>
                <a:gd name="T89" fmla="*/ 27 h 102"/>
                <a:gd name="T90" fmla="*/ 7 w 62"/>
                <a:gd name="T91" fmla="*/ 22 h 102"/>
                <a:gd name="T92" fmla="*/ 7 w 62"/>
                <a:gd name="T93" fmla="*/ 16 h 102"/>
                <a:gd name="T94" fmla="*/ 6 w 62"/>
                <a:gd name="T95" fmla="*/ 13 h 102"/>
                <a:gd name="T96" fmla="*/ 5 w 62"/>
                <a:gd name="T97" fmla="*/ 11 h 102"/>
                <a:gd name="T98" fmla="*/ 6 w 62"/>
                <a:gd name="T99" fmla="*/ 5 h 102"/>
                <a:gd name="T100" fmla="*/ 12 w 62"/>
                <a:gd name="T101" fmla="*/ 2 h 102"/>
                <a:gd name="T102" fmla="*/ 26 w 62"/>
                <a:gd name="T103" fmla="*/ 2 h 102"/>
                <a:gd name="T104" fmla="*/ 33 w 62"/>
                <a:gd name="T105" fmla="*/ 4 h 102"/>
                <a:gd name="T106" fmla="*/ 37 w 62"/>
                <a:gd name="T107" fmla="*/ 4 h 102"/>
                <a:gd name="T108" fmla="*/ 41 w 62"/>
                <a:gd name="T109" fmla="*/ 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 h="102">
                  <a:moveTo>
                    <a:pt x="43" y="0"/>
                  </a:moveTo>
                  <a:lnTo>
                    <a:pt x="43" y="1"/>
                  </a:lnTo>
                  <a:lnTo>
                    <a:pt x="44" y="1"/>
                  </a:lnTo>
                  <a:lnTo>
                    <a:pt x="45" y="1"/>
                  </a:lnTo>
                  <a:lnTo>
                    <a:pt x="45" y="2"/>
                  </a:lnTo>
                  <a:lnTo>
                    <a:pt x="45" y="4"/>
                  </a:lnTo>
                  <a:lnTo>
                    <a:pt x="44" y="5"/>
                  </a:lnTo>
                  <a:lnTo>
                    <a:pt x="44" y="6"/>
                  </a:lnTo>
                  <a:lnTo>
                    <a:pt x="44" y="7"/>
                  </a:lnTo>
                  <a:lnTo>
                    <a:pt x="44" y="8"/>
                  </a:lnTo>
                  <a:lnTo>
                    <a:pt x="45" y="8"/>
                  </a:lnTo>
                  <a:lnTo>
                    <a:pt x="45" y="9"/>
                  </a:lnTo>
                  <a:lnTo>
                    <a:pt x="47" y="11"/>
                  </a:lnTo>
                  <a:lnTo>
                    <a:pt x="48" y="12"/>
                  </a:lnTo>
                  <a:lnTo>
                    <a:pt x="49" y="12"/>
                  </a:lnTo>
                  <a:lnTo>
                    <a:pt x="49" y="13"/>
                  </a:lnTo>
                  <a:lnTo>
                    <a:pt x="50" y="13"/>
                  </a:lnTo>
                  <a:lnTo>
                    <a:pt x="49" y="14"/>
                  </a:lnTo>
                  <a:lnTo>
                    <a:pt x="50" y="14"/>
                  </a:lnTo>
                  <a:lnTo>
                    <a:pt x="51" y="14"/>
                  </a:lnTo>
                  <a:lnTo>
                    <a:pt x="50" y="14"/>
                  </a:lnTo>
                  <a:lnTo>
                    <a:pt x="50" y="15"/>
                  </a:lnTo>
                  <a:lnTo>
                    <a:pt x="50" y="16"/>
                  </a:lnTo>
                  <a:lnTo>
                    <a:pt x="50" y="18"/>
                  </a:lnTo>
                  <a:lnTo>
                    <a:pt x="51" y="18"/>
                  </a:lnTo>
                  <a:lnTo>
                    <a:pt x="50" y="18"/>
                  </a:lnTo>
                  <a:lnTo>
                    <a:pt x="50" y="19"/>
                  </a:lnTo>
                  <a:lnTo>
                    <a:pt x="50" y="20"/>
                  </a:lnTo>
                  <a:lnTo>
                    <a:pt x="50" y="21"/>
                  </a:lnTo>
                  <a:lnTo>
                    <a:pt x="50" y="22"/>
                  </a:lnTo>
                  <a:lnTo>
                    <a:pt x="50" y="23"/>
                  </a:lnTo>
                  <a:lnTo>
                    <a:pt x="49" y="23"/>
                  </a:lnTo>
                  <a:lnTo>
                    <a:pt x="49" y="25"/>
                  </a:lnTo>
                  <a:lnTo>
                    <a:pt x="50" y="25"/>
                  </a:lnTo>
                  <a:lnTo>
                    <a:pt x="49" y="25"/>
                  </a:lnTo>
                  <a:lnTo>
                    <a:pt x="49" y="26"/>
                  </a:lnTo>
                  <a:lnTo>
                    <a:pt x="49" y="25"/>
                  </a:lnTo>
                  <a:lnTo>
                    <a:pt x="49" y="26"/>
                  </a:lnTo>
                  <a:lnTo>
                    <a:pt x="48" y="26"/>
                  </a:lnTo>
                  <a:lnTo>
                    <a:pt x="49" y="26"/>
                  </a:lnTo>
                  <a:lnTo>
                    <a:pt x="49" y="27"/>
                  </a:lnTo>
                  <a:lnTo>
                    <a:pt x="48" y="27"/>
                  </a:lnTo>
                  <a:lnTo>
                    <a:pt x="49" y="28"/>
                  </a:lnTo>
                  <a:lnTo>
                    <a:pt x="50" y="27"/>
                  </a:lnTo>
                  <a:lnTo>
                    <a:pt x="51" y="27"/>
                  </a:lnTo>
                  <a:lnTo>
                    <a:pt x="52" y="27"/>
                  </a:lnTo>
                  <a:lnTo>
                    <a:pt x="52" y="28"/>
                  </a:lnTo>
                  <a:lnTo>
                    <a:pt x="52" y="29"/>
                  </a:lnTo>
                  <a:lnTo>
                    <a:pt x="52" y="30"/>
                  </a:lnTo>
                  <a:lnTo>
                    <a:pt x="52" y="32"/>
                  </a:lnTo>
                  <a:lnTo>
                    <a:pt x="51" y="32"/>
                  </a:lnTo>
                  <a:lnTo>
                    <a:pt x="51" y="33"/>
                  </a:lnTo>
                  <a:lnTo>
                    <a:pt x="51" y="34"/>
                  </a:lnTo>
                  <a:lnTo>
                    <a:pt x="52" y="35"/>
                  </a:lnTo>
                  <a:lnTo>
                    <a:pt x="52" y="36"/>
                  </a:lnTo>
                  <a:lnTo>
                    <a:pt x="52" y="37"/>
                  </a:lnTo>
                  <a:lnTo>
                    <a:pt x="51" y="37"/>
                  </a:lnTo>
                  <a:lnTo>
                    <a:pt x="51" y="39"/>
                  </a:lnTo>
                  <a:lnTo>
                    <a:pt x="51" y="37"/>
                  </a:lnTo>
                  <a:lnTo>
                    <a:pt x="50" y="37"/>
                  </a:lnTo>
                  <a:lnTo>
                    <a:pt x="50" y="39"/>
                  </a:lnTo>
                  <a:lnTo>
                    <a:pt x="51" y="40"/>
                  </a:lnTo>
                  <a:lnTo>
                    <a:pt x="51" y="41"/>
                  </a:lnTo>
                  <a:lnTo>
                    <a:pt x="52" y="41"/>
                  </a:lnTo>
                  <a:lnTo>
                    <a:pt x="52" y="42"/>
                  </a:lnTo>
                  <a:lnTo>
                    <a:pt x="54" y="42"/>
                  </a:lnTo>
                  <a:lnTo>
                    <a:pt x="54" y="43"/>
                  </a:lnTo>
                  <a:lnTo>
                    <a:pt x="55" y="43"/>
                  </a:lnTo>
                  <a:lnTo>
                    <a:pt x="55" y="44"/>
                  </a:lnTo>
                  <a:lnTo>
                    <a:pt x="55" y="46"/>
                  </a:lnTo>
                  <a:lnTo>
                    <a:pt x="54" y="46"/>
                  </a:lnTo>
                  <a:lnTo>
                    <a:pt x="54" y="47"/>
                  </a:lnTo>
                  <a:lnTo>
                    <a:pt x="54" y="48"/>
                  </a:lnTo>
                  <a:lnTo>
                    <a:pt x="54" y="49"/>
                  </a:lnTo>
                  <a:lnTo>
                    <a:pt x="54" y="50"/>
                  </a:lnTo>
                  <a:lnTo>
                    <a:pt x="54" y="51"/>
                  </a:lnTo>
                  <a:lnTo>
                    <a:pt x="54" y="53"/>
                  </a:lnTo>
                  <a:lnTo>
                    <a:pt x="54" y="54"/>
                  </a:lnTo>
                  <a:lnTo>
                    <a:pt x="54" y="55"/>
                  </a:lnTo>
                  <a:lnTo>
                    <a:pt x="54" y="56"/>
                  </a:lnTo>
                  <a:lnTo>
                    <a:pt x="52" y="56"/>
                  </a:lnTo>
                  <a:lnTo>
                    <a:pt x="52" y="57"/>
                  </a:lnTo>
                  <a:lnTo>
                    <a:pt x="52" y="58"/>
                  </a:lnTo>
                  <a:lnTo>
                    <a:pt x="52" y="60"/>
                  </a:lnTo>
                  <a:lnTo>
                    <a:pt x="54" y="60"/>
                  </a:lnTo>
                  <a:lnTo>
                    <a:pt x="55" y="61"/>
                  </a:lnTo>
                  <a:lnTo>
                    <a:pt x="54" y="61"/>
                  </a:lnTo>
                  <a:lnTo>
                    <a:pt x="54" y="62"/>
                  </a:lnTo>
                  <a:lnTo>
                    <a:pt x="54" y="63"/>
                  </a:lnTo>
                  <a:lnTo>
                    <a:pt x="54" y="64"/>
                  </a:lnTo>
                  <a:lnTo>
                    <a:pt x="54" y="65"/>
                  </a:lnTo>
                  <a:lnTo>
                    <a:pt x="54" y="67"/>
                  </a:lnTo>
                  <a:lnTo>
                    <a:pt x="52" y="67"/>
                  </a:lnTo>
                  <a:lnTo>
                    <a:pt x="52" y="68"/>
                  </a:lnTo>
                  <a:lnTo>
                    <a:pt x="52" y="69"/>
                  </a:lnTo>
                  <a:lnTo>
                    <a:pt x="54" y="70"/>
                  </a:lnTo>
                  <a:lnTo>
                    <a:pt x="54" y="71"/>
                  </a:lnTo>
                  <a:lnTo>
                    <a:pt x="55" y="72"/>
                  </a:lnTo>
                  <a:lnTo>
                    <a:pt x="55" y="74"/>
                  </a:lnTo>
                  <a:lnTo>
                    <a:pt x="56" y="75"/>
                  </a:lnTo>
                  <a:lnTo>
                    <a:pt x="57" y="76"/>
                  </a:lnTo>
                  <a:lnTo>
                    <a:pt x="58" y="77"/>
                  </a:lnTo>
                  <a:lnTo>
                    <a:pt x="59" y="77"/>
                  </a:lnTo>
                  <a:lnTo>
                    <a:pt x="59" y="78"/>
                  </a:lnTo>
                  <a:lnTo>
                    <a:pt x="61" y="79"/>
                  </a:lnTo>
                  <a:lnTo>
                    <a:pt x="62" y="79"/>
                  </a:lnTo>
                  <a:lnTo>
                    <a:pt x="62" y="81"/>
                  </a:lnTo>
                  <a:lnTo>
                    <a:pt x="61" y="81"/>
                  </a:lnTo>
                  <a:lnTo>
                    <a:pt x="59" y="82"/>
                  </a:lnTo>
                  <a:lnTo>
                    <a:pt x="59" y="83"/>
                  </a:lnTo>
                  <a:lnTo>
                    <a:pt x="59" y="84"/>
                  </a:lnTo>
                  <a:lnTo>
                    <a:pt x="58" y="85"/>
                  </a:lnTo>
                  <a:lnTo>
                    <a:pt x="55" y="85"/>
                  </a:lnTo>
                  <a:lnTo>
                    <a:pt x="50" y="85"/>
                  </a:lnTo>
                  <a:lnTo>
                    <a:pt x="49" y="85"/>
                  </a:lnTo>
                  <a:lnTo>
                    <a:pt x="48" y="85"/>
                  </a:lnTo>
                  <a:lnTo>
                    <a:pt x="48" y="86"/>
                  </a:lnTo>
                  <a:lnTo>
                    <a:pt x="47" y="86"/>
                  </a:lnTo>
                  <a:lnTo>
                    <a:pt x="47" y="88"/>
                  </a:lnTo>
                  <a:lnTo>
                    <a:pt x="45" y="88"/>
                  </a:lnTo>
                  <a:lnTo>
                    <a:pt x="44" y="88"/>
                  </a:lnTo>
                  <a:lnTo>
                    <a:pt x="44" y="89"/>
                  </a:lnTo>
                  <a:lnTo>
                    <a:pt x="41" y="90"/>
                  </a:lnTo>
                  <a:lnTo>
                    <a:pt x="40" y="90"/>
                  </a:lnTo>
                  <a:lnTo>
                    <a:pt x="38" y="91"/>
                  </a:lnTo>
                  <a:lnTo>
                    <a:pt x="38" y="92"/>
                  </a:lnTo>
                  <a:lnTo>
                    <a:pt x="37" y="92"/>
                  </a:lnTo>
                  <a:lnTo>
                    <a:pt x="36" y="92"/>
                  </a:lnTo>
                  <a:lnTo>
                    <a:pt x="35" y="92"/>
                  </a:lnTo>
                  <a:lnTo>
                    <a:pt x="35" y="93"/>
                  </a:lnTo>
                  <a:lnTo>
                    <a:pt x="34" y="93"/>
                  </a:lnTo>
                  <a:lnTo>
                    <a:pt x="34" y="95"/>
                  </a:lnTo>
                  <a:lnTo>
                    <a:pt x="33" y="95"/>
                  </a:lnTo>
                  <a:lnTo>
                    <a:pt x="31" y="95"/>
                  </a:lnTo>
                  <a:lnTo>
                    <a:pt x="30" y="95"/>
                  </a:lnTo>
                  <a:lnTo>
                    <a:pt x="29" y="95"/>
                  </a:lnTo>
                  <a:lnTo>
                    <a:pt x="29" y="96"/>
                  </a:lnTo>
                  <a:lnTo>
                    <a:pt x="28" y="96"/>
                  </a:lnTo>
                  <a:lnTo>
                    <a:pt x="27" y="96"/>
                  </a:lnTo>
                  <a:lnTo>
                    <a:pt x="26" y="97"/>
                  </a:lnTo>
                  <a:lnTo>
                    <a:pt x="24" y="97"/>
                  </a:lnTo>
                  <a:lnTo>
                    <a:pt x="23" y="97"/>
                  </a:lnTo>
                  <a:lnTo>
                    <a:pt x="22" y="97"/>
                  </a:lnTo>
                  <a:lnTo>
                    <a:pt x="22" y="98"/>
                  </a:lnTo>
                  <a:lnTo>
                    <a:pt x="21" y="98"/>
                  </a:lnTo>
                  <a:lnTo>
                    <a:pt x="21" y="99"/>
                  </a:lnTo>
                  <a:lnTo>
                    <a:pt x="20" y="99"/>
                  </a:lnTo>
                  <a:lnTo>
                    <a:pt x="19" y="100"/>
                  </a:lnTo>
                  <a:lnTo>
                    <a:pt x="17" y="102"/>
                  </a:lnTo>
                  <a:lnTo>
                    <a:pt x="16" y="102"/>
                  </a:lnTo>
                  <a:lnTo>
                    <a:pt x="15" y="102"/>
                  </a:lnTo>
                  <a:lnTo>
                    <a:pt x="15" y="100"/>
                  </a:lnTo>
                  <a:lnTo>
                    <a:pt x="14" y="100"/>
                  </a:lnTo>
                  <a:lnTo>
                    <a:pt x="14" y="99"/>
                  </a:lnTo>
                  <a:lnTo>
                    <a:pt x="13" y="99"/>
                  </a:lnTo>
                  <a:lnTo>
                    <a:pt x="11" y="98"/>
                  </a:lnTo>
                  <a:lnTo>
                    <a:pt x="8" y="97"/>
                  </a:lnTo>
                  <a:lnTo>
                    <a:pt x="6" y="97"/>
                  </a:lnTo>
                  <a:lnTo>
                    <a:pt x="4" y="97"/>
                  </a:lnTo>
                  <a:lnTo>
                    <a:pt x="2" y="96"/>
                  </a:lnTo>
                  <a:lnTo>
                    <a:pt x="1" y="96"/>
                  </a:lnTo>
                  <a:lnTo>
                    <a:pt x="2" y="96"/>
                  </a:lnTo>
                  <a:lnTo>
                    <a:pt x="4" y="96"/>
                  </a:lnTo>
                  <a:lnTo>
                    <a:pt x="5" y="96"/>
                  </a:lnTo>
                  <a:lnTo>
                    <a:pt x="6" y="95"/>
                  </a:lnTo>
                  <a:lnTo>
                    <a:pt x="6" y="96"/>
                  </a:lnTo>
                  <a:lnTo>
                    <a:pt x="7" y="95"/>
                  </a:lnTo>
                  <a:lnTo>
                    <a:pt x="7" y="93"/>
                  </a:lnTo>
                  <a:lnTo>
                    <a:pt x="6" y="93"/>
                  </a:lnTo>
                  <a:lnTo>
                    <a:pt x="6" y="92"/>
                  </a:lnTo>
                  <a:lnTo>
                    <a:pt x="7" y="92"/>
                  </a:lnTo>
                  <a:lnTo>
                    <a:pt x="7" y="91"/>
                  </a:lnTo>
                  <a:lnTo>
                    <a:pt x="7" y="90"/>
                  </a:lnTo>
                  <a:lnTo>
                    <a:pt x="7" y="89"/>
                  </a:lnTo>
                  <a:lnTo>
                    <a:pt x="6" y="88"/>
                  </a:lnTo>
                  <a:lnTo>
                    <a:pt x="5" y="88"/>
                  </a:lnTo>
                  <a:lnTo>
                    <a:pt x="4" y="88"/>
                  </a:lnTo>
                  <a:lnTo>
                    <a:pt x="4" y="86"/>
                  </a:lnTo>
                  <a:lnTo>
                    <a:pt x="4" y="84"/>
                  </a:lnTo>
                  <a:lnTo>
                    <a:pt x="2" y="83"/>
                  </a:lnTo>
                  <a:lnTo>
                    <a:pt x="2" y="82"/>
                  </a:lnTo>
                  <a:lnTo>
                    <a:pt x="1" y="79"/>
                  </a:lnTo>
                  <a:lnTo>
                    <a:pt x="1" y="78"/>
                  </a:lnTo>
                  <a:lnTo>
                    <a:pt x="1" y="77"/>
                  </a:lnTo>
                  <a:lnTo>
                    <a:pt x="0" y="72"/>
                  </a:lnTo>
                  <a:lnTo>
                    <a:pt x="0" y="71"/>
                  </a:lnTo>
                  <a:lnTo>
                    <a:pt x="0" y="70"/>
                  </a:lnTo>
                  <a:lnTo>
                    <a:pt x="0" y="69"/>
                  </a:lnTo>
                  <a:lnTo>
                    <a:pt x="0" y="68"/>
                  </a:lnTo>
                  <a:lnTo>
                    <a:pt x="2" y="65"/>
                  </a:lnTo>
                  <a:lnTo>
                    <a:pt x="2" y="64"/>
                  </a:lnTo>
                  <a:lnTo>
                    <a:pt x="4" y="64"/>
                  </a:lnTo>
                  <a:lnTo>
                    <a:pt x="4" y="63"/>
                  </a:lnTo>
                  <a:lnTo>
                    <a:pt x="4" y="62"/>
                  </a:lnTo>
                  <a:lnTo>
                    <a:pt x="5" y="57"/>
                  </a:lnTo>
                  <a:lnTo>
                    <a:pt x="5" y="56"/>
                  </a:lnTo>
                  <a:lnTo>
                    <a:pt x="6" y="54"/>
                  </a:lnTo>
                  <a:lnTo>
                    <a:pt x="6" y="53"/>
                  </a:lnTo>
                  <a:lnTo>
                    <a:pt x="6" y="51"/>
                  </a:lnTo>
                  <a:lnTo>
                    <a:pt x="7" y="51"/>
                  </a:lnTo>
                  <a:lnTo>
                    <a:pt x="7" y="50"/>
                  </a:lnTo>
                  <a:lnTo>
                    <a:pt x="8" y="50"/>
                  </a:lnTo>
                  <a:lnTo>
                    <a:pt x="8" y="49"/>
                  </a:lnTo>
                  <a:lnTo>
                    <a:pt x="9" y="49"/>
                  </a:lnTo>
                  <a:lnTo>
                    <a:pt x="8" y="48"/>
                  </a:lnTo>
                  <a:lnTo>
                    <a:pt x="9" y="48"/>
                  </a:lnTo>
                  <a:lnTo>
                    <a:pt x="9" y="47"/>
                  </a:lnTo>
                  <a:lnTo>
                    <a:pt x="9" y="48"/>
                  </a:lnTo>
                  <a:lnTo>
                    <a:pt x="11" y="47"/>
                  </a:lnTo>
                  <a:lnTo>
                    <a:pt x="9" y="42"/>
                  </a:lnTo>
                  <a:lnTo>
                    <a:pt x="9" y="37"/>
                  </a:lnTo>
                  <a:lnTo>
                    <a:pt x="9" y="36"/>
                  </a:lnTo>
                  <a:lnTo>
                    <a:pt x="9" y="35"/>
                  </a:lnTo>
                  <a:lnTo>
                    <a:pt x="8" y="35"/>
                  </a:lnTo>
                  <a:lnTo>
                    <a:pt x="8" y="34"/>
                  </a:lnTo>
                  <a:lnTo>
                    <a:pt x="7" y="34"/>
                  </a:lnTo>
                  <a:lnTo>
                    <a:pt x="7" y="33"/>
                  </a:lnTo>
                  <a:lnTo>
                    <a:pt x="7" y="32"/>
                  </a:lnTo>
                  <a:lnTo>
                    <a:pt x="7" y="30"/>
                  </a:lnTo>
                  <a:lnTo>
                    <a:pt x="8" y="30"/>
                  </a:lnTo>
                  <a:lnTo>
                    <a:pt x="8" y="29"/>
                  </a:lnTo>
                  <a:lnTo>
                    <a:pt x="7" y="29"/>
                  </a:lnTo>
                  <a:lnTo>
                    <a:pt x="8" y="29"/>
                  </a:lnTo>
                  <a:lnTo>
                    <a:pt x="8" y="28"/>
                  </a:lnTo>
                  <a:lnTo>
                    <a:pt x="8" y="27"/>
                  </a:lnTo>
                  <a:lnTo>
                    <a:pt x="7" y="26"/>
                  </a:lnTo>
                  <a:lnTo>
                    <a:pt x="7" y="25"/>
                  </a:lnTo>
                  <a:lnTo>
                    <a:pt x="7" y="23"/>
                  </a:lnTo>
                  <a:lnTo>
                    <a:pt x="6" y="22"/>
                  </a:lnTo>
                  <a:lnTo>
                    <a:pt x="7" y="22"/>
                  </a:lnTo>
                  <a:lnTo>
                    <a:pt x="7" y="21"/>
                  </a:lnTo>
                  <a:lnTo>
                    <a:pt x="7" y="20"/>
                  </a:lnTo>
                  <a:lnTo>
                    <a:pt x="7" y="19"/>
                  </a:lnTo>
                  <a:lnTo>
                    <a:pt x="7" y="18"/>
                  </a:lnTo>
                  <a:lnTo>
                    <a:pt x="7" y="16"/>
                  </a:lnTo>
                  <a:lnTo>
                    <a:pt x="6" y="15"/>
                  </a:lnTo>
                  <a:lnTo>
                    <a:pt x="7" y="15"/>
                  </a:lnTo>
                  <a:lnTo>
                    <a:pt x="7" y="14"/>
                  </a:lnTo>
                  <a:lnTo>
                    <a:pt x="6" y="14"/>
                  </a:lnTo>
                  <a:lnTo>
                    <a:pt x="6" y="13"/>
                  </a:lnTo>
                  <a:lnTo>
                    <a:pt x="6" y="12"/>
                  </a:lnTo>
                  <a:lnTo>
                    <a:pt x="7" y="12"/>
                  </a:lnTo>
                  <a:lnTo>
                    <a:pt x="6" y="12"/>
                  </a:lnTo>
                  <a:lnTo>
                    <a:pt x="6" y="11"/>
                  </a:lnTo>
                  <a:lnTo>
                    <a:pt x="5" y="11"/>
                  </a:lnTo>
                  <a:lnTo>
                    <a:pt x="5" y="9"/>
                  </a:lnTo>
                  <a:lnTo>
                    <a:pt x="5" y="8"/>
                  </a:lnTo>
                  <a:lnTo>
                    <a:pt x="5" y="7"/>
                  </a:lnTo>
                  <a:lnTo>
                    <a:pt x="5" y="6"/>
                  </a:lnTo>
                  <a:lnTo>
                    <a:pt x="6" y="5"/>
                  </a:lnTo>
                  <a:lnTo>
                    <a:pt x="6" y="4"/>
                  </a:lnTo>
                  <a:lnTo>
                    <a:pt x="6" y="2"/>
                  </a:lnTo>
                  <a:lnTo>
                    <a:pt x="7" y="2"/>
                  </a:lnTo>
                  <a:lnTo>
                    <a:pt x="8" y="2"/>
                  </a:lnTo>
                  <a:lnTo>
                    <a:pt x="12" y="2"/>
                  </a:lnTo>
                  <a:lnTo>
                    <a:pt x="15" y="2"/>
                  </a:lnTo>
                  <a:lnTo>
                    <a:pt x="17" y="2"/>
                  </a:lnTo>
                  <a:lnTo>
                    <a:pt x="21" y="2"/>
                  </a:lnTo>
                  <a:lnTo>
                    <a:pt x="23" y="2"/>
                  </a:lnTo>
                  <a:lnTo>
                    <a:pt x="26" y="2"/>
                  </a:lnTo>
                  <a:lnTo>
                    <a:pt x="27" y="2"/>
                  </a:lnTo>
                  <a:lnTo>
                    <a:pt x="28" y="2"/>
                  </a:lnTo>
                  <a:lnTo>
                    <a:pt x="30" y="2"/>
                  </a:lnTo>
                  <a:lnTo>
                    <a:pt x="33" y="2"/>
                  </a:lnTo>
                  <a:lnTo>
                    <a:pt x="33" y="4"/>
                  </a:lnTo>
                  <a:lnTo>
                    <a:pt x="34" y="2"/>
                  </a:lnTo>
                  <a:lnTo>
                    <a:pt x="35" y="2"/>
                  </a:lnTo>
                  <a:lnTo>
                    <a:pt x="36" y="2"/>
                  </a:lnTo>
                  <a:lnTo>
                    <a:pt x="36" y="4"/>
                  </a:lnTo>
                  <a:lnTo>
                    <a:pt x="37" y="4"/>
                  </a:lnTo>
                  <a:lnTo>
                    <a:pt x="37" y="2"/>
                  </a:lnTo>
                  <a:lnTo>
                    <a:pt x="38" y="2"/>
                  </a:lnTo>
                  <a:lnTo>
                    <a:pt x="38" y="1"/>
                  </a:lnTo>
                  <a:lnTo>
                    <a:pt x="40" y="1"/>
                  </a:lnTo>
                  <a:lnTo>
                    <a:pt x="41" y="1"/>
                  </a:lnTo>
                  <a:lnTo>
                    <a:pt x="41" y="0"/>
                  </a:lnTo>
                  <a:lnTo>
                    <a:pt x="43" y="0"/>
                  </a:lnTo>
                  <a:close/>
                </a:path>
              </a:pathLst>
            </a:custGeom>
            <a:solidFill>
              <a:srgbClr val="0053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35" name="Freeform 890">
              <a:extLst>
                <a:ext uri="{FF2B5EF4-FFF2-40B4-BE49-F238E27FC236}">
                  <a16:creationId xmlns:a16="http://schemas.microsoft.com/office/drawing/2014/main" id="{E29B53AE-4F7D-4C53-AD08-5F9B17D8FDDC}"/>
                </a:ext>
              </a:extLst>
            </p:cNvPr>
            <p:cNvSpPr>
              <a:spLocks/>
            </p:cNvSpPr>
            <p:nvPr/>
          </p:nvSpPr>
          <p:spPr bwMode="auto">
            <a:xfrm>
              <a:off x="5714279" y="2584629"/>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36" name="Freeform 891">
              <a:extLst>
                <a:ext uri="{FF2B5EF4-FFF2-40B4-BE49-F238E27FC236}">
                  <a16:creationId xmlns:a16="http://schemas.microsoft.com/office/drawing/2014/main" id="{AEB1018B-1285-4658-89DE-CE9F11C69BF1}"/>
                </a:ext>
              </a:extLst>
            </p:cNvPr>
            <p:cNvSpPr>
              <a:spLocks/>
            </p:cNvSpPr>
            <p:nvPr/>
          </p:nvSpPr>
          <p:spPr bwMode="auto">
            <a:xfrm>
              <a:off x="5527311" y="3080095"/>
              <a:ext cx="136220" cy="116188"/>
            </a:xfrm>
            <a:custGeom>
              <a:avLst/>
              <a:gdLst>
                <a:gd name="T0" fmla="*/ 51 w 102"/>
                <a:gd name="T1" fmla="*/ 9 h 87"/>
                <a:gd name="T2" fmla="*/ 57 w 102"/>
                <a:gd name="T3" fmla="*/ 8 h 87"/>
                <a:gd name="T4" fmla="*/ 62 w 102"/>
                <a:gd name="T5" fmla="*/ 11 h 87"/>
                <a:gd name="T6" fmla="*/ 67 w 102"/>
                <a:gd name="T7" fmla="*/ 8 h 87"/>
                <a:gd name="T8" fmla="*/ 74 w 102"/>
                <a:gd name="T9" fmla="*/ 10 h 87"/>
                <a:gd name="T10" fmla="*/ 80 w 102"/>
                <a:gd name="T11" fmla="*/ 7 h 87"/>
                <a:gd name="T12" fmla="*/ 84 w 102"/>
                <a:gd name="T13" fmla="*/ 4 h 87"/>
                <a:gd name="T14" fmla="*/ 87 w 102"/>
                <a:gd name="T15" fmla="*/ 10 h 87"/>
                <a:gd name="T16" fmla="*/ 90 w 102"/>
                <a:gd name="T17" fmla="*/ 18 h 87"/>
                <a:gd name="T18" fmla="*/ 92 w 102"/>
                <a:gd name="T19" fmla="*/ 21 h 87"/>
                <a:gd name="T20" fmla="*/ 90 w 102"/>
                <a:gd name="T21" fmla="*/ 24 h 87"/>
                <a:gd name="T22" fmla="*/ 92 w 102"/>
                <a:gd name="T23" fmla="*/ 25 h 87"/>
                <a:gd name="T24" fmla="*/ 94 w 102"/>
                <a:gd name="T25" fmla="*/ 31 h 87"/>
                <a:gd name="T26" fmla="*/ 99 w 102"/>
                <a:gd name="T27" fmla="*/ 39 h 87"/>
                <a:gd name="T28" fmla="*/ 95 w 102"/>
                <a:gd name="T29" fmla="*/ 43 h 87"/>
                <a:gd name="T30" fmla="*/ 95 w 102"/>
                <a:gd name="T31" fmla="*/ 49 h 87"/>
                <a:gd name="T32" fmla="*/ 99 w 102"/>
                <a:gd name="T33" fmla="*/ 54 h 87"/>
                <a:gd name="T34" fmla="*/ 99 w 102"/>
                <a:gd name="T35" fmla="*/ 61 h 87"/>
                <a:gd name="T36" fmla="*/ 102 w 102"/>
                <a:gd name="T37" fmla="*/ 67 h 87"/>
                <a:gd name="T38" fmla="*/ 98 w 102"/>
                <a:gd name="T39" fmla="*/ 66 h 87"/>
                <a:gd name="T40" fmla="*/ 98 w 102"/>
                <a:gd name="T41" fmla="*/ 71 h 87"/>
                <a:gd name="T42" fmla="*/ 97 w 102"/>
                <a:gd name="T43" fmla="*/ 74 h 87"/>
                <a:gd name="T44" fmla="*/ 94 w 102"/>
                <a:gd name="T45" fmla="*/ 81 h 87"/>
                <a:gd name="T46" fmla="*/ 88 w 102"/>
                <a:gd name="T47" fmla="*/ 79 h 87"/>
                <a:gd name="T48" fmla="*/ 86 w 102"/>
                <a:gd name="T49" fmla="*/ 84 h 87"/>
                <a:gd name="T50" fmla="*/ 83 w 102"/>
                <a:gd name="T51" fmla="*/ 87 h 87"/>
                <a:gd name="T52" fmla="*/ 77 w 102"/>
                <a:gd name="T53" fmla="*/ 84 h 87"/>
                <a:gd name="T54" fmla="*/ 78 w 102"/>
                <a:gd name="T55" fmla="*/ 77 h 87"/>
                <a:gd name="T56" fmla="*/ 77 w 102"/>
                <a:gd name="T57" fmla="*/ 68 h 87"/>
                <a:gd name="T58" fmla="*/ 74 w 102"/>
                <a:gd name="T59" fmla="*/ 67 h 87"/>
                <a:gd name="T60" fmla="*/ 70 w 102"/>
                <a:gd name="T61" fmla="*/ 66 h 87"/>
                <a:gd name="T62" fmla="*/ 63 w 102"/>
                <a:gd name="T63" fmla="*/ 70 h 87"/>
                <a:gd name="T64" fmla="*/ 62 w 102"/>
                <a:gd name="T65" fmla="*/ 65 h 87"/>
                <a:gd name="T66" fmla="*/ 62 w 102"/>
                <a:gd name="T67" fmla="*/ 57 h 87"/>
                <a:gd name="T68" fmla="*/ 59 w 102"/>
                <a:gd name="T69" fmla="*/ 51 h 87"/>
                <a:gd name="T70" fmla="*/ 55 w 102"/>
                <a:gd name="T71" fmla="*/ 44 h 87"/>
                <a:gd name="T72" fmla="*/ 38 w 102"/>
                <a:gd name="T73" fmla="*/ 44 h 87"/>
                <a:gd name="T74" fmla="*/ 34 w 102"/>
                <a:gd name="T75" fmla="*/ 49 h 87"/>
                <a:gd name="T76" fmla="*/ 29 w 102"/>
                <a:gd name="T77" fmla="*/ 54 h 87"/>
                <a:gd name="T78" fmla="*/ 26 w 102"/>
                <a:gd name="T79" fmla="*/ 56 h 87"/>
                <a:gd name="T80" fmla="*/ 24 w 102"/>
                <a:gd name="T81" fmla="*/ 52 h 87"/>
                <a:gd name="T82" fmla="*/ 23 w 102"/>
                <a:gd name="T83" fmla="*/ 52 h 87"/>
                <a:gd name="T84" fmla="*/ 20 w 102"/>
                <a:gd name="T85" fmla="*/ 49 h 87"/>
                <a:gd name="T86" fmla="*/ 19 w 102"/>
                <a:gd name="T87" fmla="*/ 45 h 87"/>
                <a:gd name="T88" fmla="*/ 17 w 102"/>
                <a:gd name="T89" fmla="*/ 44 h 87"/>
                <a:gd name="T90" fmla="*/ 15 w 102"/>
                <a:gd name="T91" fmla="*/ 40 h 87"/>
                <a:gd name="T92" fmla="*/ 13 w 102"/>
                <a:gd name="T93" fmla="*/ 39 h 87"/>
                <a:gd name="T94" fmla="*/ 9 w 102"/>
                <a:gd name="T95" fmla="*/ 39 h 87"/>
                <a:gd name="T96" fmla="*/ 6 w 102"/>
                <a:gd name="T97" fmla="*/ 33 h 87"/>
                <a:gd name="T98" fmla="*/ 7 w 102"/>
                <a:gd name="T99" fmla="*/ 29 h 87"/>
                <a:gd name="T100" fmla="*/ 6 w 102"/>
                <a:gd name="T101" fmla="*/ 30 h 87"/>
                <a:gd name="T102" fmla="*/ 3 w 102"/>
                <a:gd name="T103" fmla="*/ 29 h 87"/>
                <a:gd name="T104" fmla="*/ 3 w 102"/>
                <a:gd name="T105" fmla="*/ 26 h 87"/>
                <a:gd name="T106" fmla="*/ 1 w 102"/>
                <a:gd name="T107" fmla="*/ 29 h 87"/>
                <a:gd name="T108" fmla="*/ 1 w 102"/>
                <a:gd name="T109" fmla="*/ 26 h 87"/>
                <a:gd name="T110" fmla="*/ 10 w 102"/>
                <a:gd name="T111" fmla="*/ 17 h 87"/>
                <a:gd name="T112" fmla="*/ 17 w 102"/>
                <a:gd name="T113" fmla="*/ 15 h 87"/>
                <a:gd name="T114" fmla="*/ 17 w 102"/>
                <a:gd name="T115" fmla="*/ 10 h 87"/>
                <a:gd name="T116" fmla="*/ 19 w 102"/>
                <a:gd name="T117" fmla="*/ 7 h 87"/>
                <a:gd name="T118" fmla="*/ 23 w 102"/>
                <a:gd name="T119" fmla="*/ 1 h 87"/>
                <a:gd name="T120" fmla="*/ 30 w 102"/>
                <a:gd name="T121" fmla="*/ 2 h 87"/>
                <a:gd name="T122" fmla="*/ 37 w 102"/>
                <a:gd name="T123" fmla="*/ 5 h 87"/>
                <a:gd name="T124" fmla="*/ 48 w 102"/>
                <a:gd name="T125" fmla="*/ 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 h="87">
                  <a:moveTo>
                    <a:pt x="51" y="4"/>
                  </a:moveTo>
                  <a:lnTo>
                    <a:pt x="50" y="5"/>
                  </a:lnTo>
                  <a:lnTo>
                    <a:pt x="51" y="5"/>
                  </a:lnTo>
                  <a:lnTo>
                    <a:pt x="51" y="7"/>
                  </a:lnTo>
                  <a:lnTo>
                    <a:pt x="50" y="7"/>
                  </a:lnTo>
                  <a:lnTo>
                    <a:pt x="50" y="8"/>
                  </a:lnTo>
                  <a:lnTo>
                    <a:pt x="50" y="9"/>
                  </a:lnTo>
                  <a:lnTo>
                    <a:pt x="51" y="9"/>
                  </a:lnTo>
                  <a:lnTo>
                    <a:pt x="52" y="10"/>
                  </a:lnTo>
                  <a:lnTo>
                    <a:pt x="53" y="11"/>
                  </a:lnTo>
                  <a:lnTo>
                    <a:pt x="53" y="10"/>
                  </a:lnTo>
                  <a:lnTo>
                    <a:pt x="55" y="10"/>
                  </a:lnTo>
                  <a:lnTo>
                    <a:pt x="55" y="9"/>
                  </a:lnTo>
                  <a:lnTo>
                    <a:pt x="56" y="9"/>
                  </a:lnTo>
                  <a:lnTo>
                    <a:pt x="56" y="8"/>
                  </a:lnTo>
                  <a:lnTo>
                    <a:pt x="57" y="8"/>
                  </a:lnTo>
                  <a:lnTo>
                    <a:pt x="58" y="8"/>
                  </a:lnTo>
                  <a:lnTo>
                    <a:pt x="58" y="9"/>
                  </a:lnTo>
                  <a:lnTo>
                    <a:pt x="59" y="9"/>
                  </a:lnTo>
                  <a:lnTo>
                    <a:pt x="59" y="10"/>
                  </a:lnTo>
                  <a:lnTo>
                    <a:pt x="59" y="11"/>
                  </a:lnTo>
                  <a:lnTo>
                    <a:pt x="60" y="12"/>
                  </a:lnTo>
                  <a:lnTo>
                    <a:pt x="62" y="12"/>
                  </a:lnTo>
                  <a:lnTo>
                    <a:pt x="62" y="11"/>
                  </a:lnTo>
                  <a:lnTo>
                    <a:pt x="63" y="11"/>
                  </a:lnTo>
                  <a:lnTo>
                    <a:pt x="63" y="10"/>
                  </a:lnTo>
                  <a:lnTo>
                    <a:pt x="64" y="10"/>
                  </a:lnTo>
                  <a:lnTo>
                    <a:pt x="64" y="9"/>
                  </a:lnTo>
                  <a:lnTo>
                    <a:pt x="65" y="9"/>
                  </a:lnTo>
                  <a:lnTo>
                    <a:pt x="65" y="8"/>
                  </a:lnTo>
                  <a:lnTo>
                    <a:pt x="66" y="8"/>
                  </a:lnTo>
                  <a:lnTo>
                    <a:pt x="67" y="8"/>
                  </a:lnTo>
                  <a:lnTo>
                    <a:pt x="69" y="8"/>
                  </a:lnTo>
                  <a:lnTo>
                    <a:pt x="70" y="8"/>
                  </a:lnTo>
                  <a:lnTo>
                    <a:pt x="70" y="9"/>
                  </a:lnTo>
                  <a:lnTo>
                    <a:pt x="71" y="9"/>
                  </a:lnTo>
                  <a:lnTo>
                    <a:pt x="72" y="9"/>
                  </a:lnTo>
                  <a:lnTo>
                    <a:pt x="72" y="10"/>
                  </a:lnTo>
                  <a:lnTo>
                    <a:pt x="73" y="10"/>
                  </a:lnTo>
                  <a:lnTo>
                    <a:pt x="74" y="10"/>
                  </a:lnTo>
                  <a:lnTo>
                    <a:pt x="76" y="9"/>
                  </a:lnTo>
                  <a:lnTo>
                    <a:pt x="74" y="9"/>
                  </a:lnTo>
                  <a:lnTo>
                    <a:pt x="76" y="9"/>
                  </a:lnTo>
                  <a:lnTo>
                    <a:pt x="76" y="8"/>
                  </a:lnTo>
                  <a:lnTo>
                    <a:pt x="78" y="8"/>
                  </a:lnTo>
                  <a:lnTo>
                    <a:pt x="78" y="7"/>
                  </a:lnTo>
                  <a:lnTo>
                    <a:pt x="79" y="7"/>
                  </a:lnTo>
                  <a:lnTo>
                    <a:pt x="80" y="7"/>
                  </a:lnTo>
                  <a:lnTo>
                    <a:pt x="80" y="5"/>
                  </a:lnTo>
                  <a:lnTo>
                    <a:pt x="80" y="4"/>
                  </a:lnTo>
                  <a:lnTo>
                    <a:pt x="79" y="4"/>
                  </a:lnTo>
                  <a:lnTo>
                    <a:pt x="79" y="3"/>
                  </a:lnTo>
                  <a:lnTo>
                    <a:pt x="80" y="3"/>
                  </a:lnTo>
                  <a:lnTo>
                    <a:pt x="81" y="3"/>
                  </a:lnTo>
                  <a:lnTo>
                    <a:pt x="83" y="3"/>
                  </a:lnTo>
                  <a:lnTo>
                    <a:pt x="84" y="4"/>
                  </a:lnTo>
                  <a:lnTo>
                    <a:pt x="85" y="4"/>
                  </a:lnTo>
                  <a:lnTo>
                    <a:pt x="85" y="5"/>
                  </a:lnTo>
                  <a:lnTo>
                    <a:pt x="85" y="7"/>
                  </a:lnTo>
                  <a:lnTo>
                    <a:pt x="85" y="8"/>
                  </a:lnTo>
                  <a:lnTo>
                    <a:pt x="86" y="8"/>
                  </a:lnTo>
                  <a:lnTo>
                    <a:pt x="86" y="9"/>
                  </a:lnTo>
                  <a:lnTo>
                    <a:pt x="86" y="10"/>
                  </a:lnTo>
                  <a:lnTo>
                    <a:pt x="87" y="10"/>
                  </a:lnTo>
                  <a:lnTo>
                    <a:pt x="87" y="11"/>
                  </a:lnTo>
                  <a:lnTo>
                    <a:pt x="87" y="12"/>
                  </a:lnTo>
                  <a:lnTo>
                    <a:pt x="86" y="16"/>
                  </a:lnTo>
                  <a:lnTo>
                    <a:pt x="87" y="16"/>
                  </a:lnTo>
                  <a:lnTo>
                    <a:pt x="88" y="16"/>
                  </a:lnTo>
                  <a:lnTo>
                    <a:pt x="88" y="17"/>
                  </a:lnTo>
                  <a:lnTo>
                    <a:pt x="88" y="18"/>
                  </a:lnTo>
                  <a:lnTo>
                    <a:pt x="90" y="18"/>
                  </a:lnTo>
                  <a:lnTo>
                    <a:pt x="90" y="19"/>
                  </a:lnTo>
                  <a:lnTo>
                    <a:pt x="91" y="19"/>
                  </a:lnTo>
                  <a:lnTo>
                    <a:pt x="91" y="18"/>
                  </a:lnTo>
                  <a:lnTo>
                    <a:pt x="91" y="19"/>
                  </a:lnTo>
                  <a:lnTo>
                    <a:pt x="92" y="19"/>
                  </a:lnTo>
                  <a:lnTo>
                    <a:pt x="92" y="21"/>
                  </a:lnTo>
                  <a:lnTo>
                    <a:pt x="93" y="21"/>
                  </a:lnTo>
                  <a:lnTo>
                    <a:pt x="92" y="21"/>
                  </a:lnTo>
                  <a:lnTo>
                    <a:pt x="92" y="22"/>
                  </a:lnTo>
                  <a:lnTo>
                    <a:pt x="93" y="22"/>
                  </a:lnTo>
                  <a:lnTo>
                    <a:pt x="92" y="22"/>
                  </a:lnTo>
                  <a:lnTo>
                    <a:pt x="91" y="23"/>
                  </a:lnTo>
                  <a:lnTo>
                    <a:pt x="92" y="23"/>
                  </a:lnTo>
                  <a:lnTo>
                    <a:pt x="91" y="23"/>
                  </a:lnTo>
                  <a:lnTo>
                    <a:pt x="91" y="24"/>
                  </a:lnTo>
                  <a:lnTo>
                    <a:pt x="90" y="24"/>
                  </a:lnTo>
                  <a:lnTo>
                    <a:pt x="90" y="25"/>
                  </a:lnTo>
                  <a:lnTo>
                    <a:pt x="88" y="26"/>
                  </a:lnTo>
                  <a:lnTo>
                    <a:pt x="88" y="28"/>
                  </a:lnTo>
                  <a:lnTo>
                    <a:pt x="90" y="28"/>
                  </a:lnTo>
                  <a:lnTo>
                    <a:pt x="91" y="28"/>
                  </a:lnTo>
                  <a:lnTo>
                    <a:pt x="91" y="26"/>
                  </a:lnTo>
                  <a:lnTo>
                    <a:pt x="91" y="25"/>
                  </a:lnTo>
                  <a:lnTo>
                    <a:pt x="92" y="25"/>
                  </a:lnTo>
                  <a:lnTo>
                    <a:pt x="93" y="26"/>
                  </a:lnTo>
                  <a:lnTo>
                    <a:pt x="93" y="25"/>
                  </a:lnTo>
                  <a:lnTo>
                    <a:pt x="93" y="26"/>
                  </a:lnTo>
                  <a:lnTo>
                    <a:pt x="94" y="26"/>
                  </a:lnTo>
                  <a:lnTo>
                    <a:pt x="94" y="29"/>
                  </a:lnTo>
                  <a:lnTo>
                    <a:pt x="93" y="30"/>
                  </a:lnTo>
                  <a:lnTo>
                    <a:pt x="94" y="30"/>
                  </a:lnTo>
                  <a:lnTo>
                    <a:pt x="94" y="31"/>
                  </a:lnTo>
                  <a:lnTo>
                    <a:pt x="94" y="33"/>
                  </a:lnTo>
                  <a:lnTo>
                    <a:pt x="94" y="35"/>
                  </a:lnTo>
                  <a:lnTo>
                    <a:pt x="95" y="36"/>
                  </a:lnTo>
                  <a:lnTo>
                    <a:pt x="97" y="36"/>
                  </a:lnTo>
                  <a:lnTo>
                    <a:pt x="97" y="37"/>
                  </a:lnTo>
                  <a:lnTo>
                    <a:pt x="98" y="37"/>
                  </a:lnTo>
                  <a:lnTo>
                    <a:pt x="99" y="38"/>
                  </a:lnTo>
                  <a:lnTo>
                    <a:pt x="99" y="39"/>
                  </a:lnTo>
                  <a:lnTo>
                    <a:pt x="98" y="39"/>
                  </a:lnTo>
                  <a:lnTo>
                    <a:pt x="98" y="40"/>
                  </a:lnTo>
                  <a:lnTo>
                    <a:pt x="98" y="42"/>
                  </a:lnTo>
                  <a:lnTo>
                    <a:pt x="97" y="42"/>
                  </a:lnTo>
                  <a:lnTo>
                    <a:pt x="97" y="43"/>
                  </a:lnTo>
                  <a:lnTo>
                    <a:pt x="95" y="43"/>
                  </a:lnTo>
                  <a:lnTo>
                    <a:pt x="97" y="43"/>
                  </a:lnTo>
                  <a:lnTo>
                    <a:pt x="95" y="43"/>
                  </a:lnTo>
                  <a:lnTo>
                    <a:pt x="95" y="44"/>
                  </a:lnTo>
                  <a:lnTo>
                    <a:pt x="97" y="44"/>
                  </a:lnTo>
                  <a:lnTo>
                    <a:pt x="95" y="44"/>
                  </a:lnTo>
                  <a:lnTo>
                    <a:pt x="97" y="44"/>
                  </a:lnTo>
                  <a:lnTo>
                    <a:pt x="97" y="45"/>
                  </a:lnTo>
                  <a:lnTo>
                    <a:pt x="97" y="44"/>
                  </a:lnTo>
                  <a:lnTo>
                    <a:pt x="97" y="45"/>
                  </a:lnTo>
                  <a:lnTo>
                    <a:pt x="95" y="49"/>
                  </a:lnTo>
                  <a:lnTo>
                    <a:pt x="95" y="50"/>
                  </a:lnTo>
                  <a:lnTo>
                    <a:pt x="97" y="50"/>
                  </a:lnTo>
                  <a:lnTo>
                    <a:pt x="97" y="52"/>
                  </a:lnTo>
                  <a:lnTo>
                    <a:pt x="98" y="52"/>
                  </a:lnTo>
                  <a:lnTo>
                    <a:pt x="99" y="52"/>
                  </a:lnTo>
                  <a:lnTo>
                    <a:pt x="100" y="52"/>
                  </a:lnTo>
                  <a:lnTo>
                    <a:pt x="100" y="53"/>
                  </a:lnTo>
                  <a:lnTo>
                    <a:pt x="99" y="54"/>
                  </a:lnTo>
                  <a:lnTo>
                    <a:pt x="99" y="56"/>
                  </a:lnTo>
                  <a:lnTo>
                    <a:pt x="100" y="56"/>
                  </a:lnTo>
                  <a:lnTo>
                    <a:pt x="101" y="57"/>
                  </a:lnTo>
                  <a:lnTo>
                    <a:pt x="100" y="57"/>
                  </a:lnTo>
                  <a:lnTo>
                    <a:pt x="99" y="58"/>
                  </a:lnTo>
                  <a:lnTo>
                    <a:pt x="99" y="59"/>
                  </a:lnTo>
                  <a:lnTo>
                    <a:pt x="99" y="60"/>
                  </a:lnTo>
                  <a:lnTo>
                    <a:pt x="99" y="61"/>
                  </a:lnTo>
                  <a:lnTo>
                    <a:pt x="100" y="61"/>
                  </a:lnTo>
                  <a:lnTo>
                    <a:pt x="100" y="63"/>
                  </a:lnTo>
                  <a:lnTo>
                    <a:pt x="101" y="63"/>
                  </a:lnTo>
                  <a:lnTo>
                    <a:pt x="101" y="64"/>
                  </a:lnTo>
                  <a:lnTo>
                    <a:pt x="102" y="64"/>
                  </a:lnTo>
                  <a:lnTo>
                    <a:pt x="102" y="65"/>
                  </a:lnTo>
                  <a:lnTo>
                    <a:pt x="102" y="66"/>
                  </a:lnTo>
                  <a:lnTo>
                    <a:pt x="102" y="67"/>
                  </a:lnTo>
                  <a:lnTo>
                    <a:pt x="102" y="68"/>
                  </a:lnTo>
                  <a:lnTo>
                    <a:pt x="101" y="68"/>
                  </a:lnTo>
                  <a:lnTo>
                    <a:pt x="101" y="67"/>
                  </a:lnTo>
                  <a:lnTo>
                    <a:pt x="100" y="66"/>
                  </a:lnTo>
                  <a:lnTo>
                    <a:pt x="100" y="67"/>
                  </a:lnTo>
                  <a:lnTo>
                    <a:pt x="99" y="67"/>
                  </a:lnTo>
                  <a:lnTo>
                    <a:pt x="99" y="66"/>
                  </a:lnTo>
                  <a:lnTo>
                    <a:pt x="98" y="66"/>
                  </a:lnTo>
                  <a:lnTo>
                    <a:pt x="97" y="66"/>
                  </a:lnTo>
                  <a:lnTo>
                    <a:pt x="95" y="66"/>
                  </a:lnTo>
                  <a:lnTo>
                    <a:pt x="94" y="67"/>
                  </a:lnTo>
                  <a:lnTo>
                    <a:pt x="94" y="68"/>
                  </a:lnTo>
                  <a:lnTo>
                    <a:pt x="94" y="70"/>
                  </a:lnTo>
                  <a:lnTo>
                    <a:pt x="95" y="71"/>
                  </a:lnTo>
                  <a:lnTo>
                    <a:pt x="97" y="72"/>
                  </a:lnTo>
                  <a:lnTo>
                    <a:pt x="98" y="71"/>
                  </a:lnTo>
                  <a:lnTo>
                    <a:pt x="98" y="72"/>
                  </a:lnTo>
                  <a:lnTo>
                    <a:pt x="98" y="73"/>
                  </a:lnTo>
                  <a:lnTo>
                    <a:pt x="99" y="73"/>
                  </a:lnTo>
                  <a:lnTo>
                    <a:pt x="99" y="74"/>
                  </a:lnTo>
                  <a:lnTo>
                    <a:pt x="98" y="74"/>
                  </a:lnTo>
                  <a:lnTo>
                    <a:pt x="98" y="73"/>
                  </a:lnTo>
                  <a:lnTo>
                    <a:pt x="97" y="73"/>
                  </a:lnTo>
                  <a:lnTo>
                    <a:pt x="97" y="74"/>
                  </a:lnTo>
                  <a:lnTo>
                    <a:pt x="97" y="75"/>
                  </a:lnTo>
                  <a:lnTo>
                    <a:pt x="97" y="77"/>
                  </a:lnTo>
                  <a:lnTo>
                    <a:pt x="97" y="78"/>
                  </a:lnTo>
                  <a:lnTo>
                    <a:pt x="97" y="79"/>
                  </a:lnTo>
                  <a:lnTo>
                    <a:pt x="95" y="79"/>
                  </a:lnTo>
                  <a:lnTo>
                    <a:pt x="95" y="80"/>
                  </a:lnTo>
                  <a:lnTo>
                    <a:pt x="95" y="81"/>
                  </a:lnTo>
                  <a:lnTo>
                    <a:pt x="94" y="81"/>
                  </a:lnTo>
                  <a:lnTo>
                    <a:pt x="94" y="80"/>
                  </a:lnTo>
                  <a:lnTo>
                    <a:pt x="93" y="80"/>
                  </a:lnTo>
                  <a:lnTo>
                    <a:pt x="92" y="80"/>
                  </a:lnTo>
                  <a:lnTo>
                    <a:pt x="91" y="81"/>
                  </a:lnTo>
                  <a:lnTo>
                    <a:pt x="91" y="80"/>
                  </a:lnTo>
                  <a:lnTo>
                    <a:pt x="90" y="80"/>
                  </a:lnTo>
                  <a:lnTo>
                    <a:pt x="90" y="79"/>
                  </a:lnTo>
                  <a:lnTo>
                    <a:pt x="88" y="79"/>
                  </a:lnTo>
                  <a:lnTo>
                    <a:pt x="88" y="80"/>
                  </a:lnTo>
                  <a:lnTo>
                    <a:pt x="87" y="80"/>
                  </a:lnTo>
                  <a:lnTo>
                    <a:pt x="87" y="81"/>
                  </a:lnTo>
                  <a:lnTo>
                    <a:pt x="88" y="81"/>
                  </a:lnTo>
                  <a:lnTo>
                    <a:pt x="87" y="81"/>
                  </a:lnTo>
                  <a:lnTo>
                    <a:pt x="87" y="82"/>
                  </a:lnTo>
                  <a:lnTo>
                    <a:pt x="87" y="84"/>
                  </a:lnTo>
                  <a:lnTo>
                    <a:pt x="86" y="84"/>
                  </a:lnTo>
                  <a:lnTo>
                    <a:pt x="86" y="85"/>
                  </a:lnTo>
                  <a:lnTo>
                    <a:pt x="86" y="86"/>
                  </a:lnTo>
                  <a:lnTo>
                    <a:pt x="85" y="86"/>
                  </a:lnTo>
                  <a:lnTo>
                    <a:pt x="85" y="85"/>
                  </a:lnTo>
                  <a:lnTo>
                    <a:pt x="85" y="86"/>
                  </a:lnTo>
                  <a:lnTo>
                    <a:pt x="84" y="86"/>
                  </a:lnTo>
                  <a:lnTo>
                    <a:pt x="83" y="86"/>
                  </a:lnTo>
                  <a:lnTo>
                    <a:pt x="83" y="87"/>
                  </a:lnTo>
                  <a:lnTo>
                    <a:pt x="83" y="86"/>
                  </a:lnTo>
                  <a:lnTo>
                    <a:pt x="81" y="86"/>
                  </a:lnTo>
                  <a:lnTo>
                    <a:pt x="81" y="85"/>
                  </a:lnTo>
                  <a:lnTo>
                    <a:pt x="81" y="84"/>
                  </a:lnTo>
                  <a:lnTo>
                    <a:pt x="80" y="84"/>
                  </a:lnTo>
                  <a:lnTo>
                    <a:pt x="79" y="84"/>
                  </a:lnTo>
                  <a:lnTo>
                    <a:pt x="78" y="84"/>
                  </a:lnTo>
                  <a:lnTo>
                    <a:pt x="77" y="84"/>
                  </a:lnTo>
                  <a:lnTo>
                    <a:pt x="78" y="84"/>
                  </a:lnTo>
                  <a:lnTo>
                    <a:pt x="78" y="82"/>
                  </a:lnTo>
                  <a:lnTo>
                    <a:pt x="78" y="81"/>
                  </a:lnTo>
                  <a:lnTo>
                    <a:pt x="79" y="81"/>
                  </a:lnTo>
                  <a:lnTo>
                    <a:pt x="79" y="80"/>
                  </a:lnTo>
                  <a:lnTo>
                    <a:pt x="79" y="79"/>
                  </a:lnTo>
                  <a:lnTo>
                    <a:pt x="79" y="78"/>
                  </a:lnTo>
                  <a:lnTo>
                    <a:pt x="78" y="77"/>
                  </a:lnTo>
                  <a:lnTo>
                    <a:pt x="78" y="75"/>
                  </a:lnTo>
                  <a:lnTo>
                    <a:pt x="78" y="74"/>
                  </a:lnTo>
                  <a:lnTo>
                    <a:pt x="78" y="73"/>
                  </a:lnTo>
                  <a:lnTo>
                    <a:pt x="78" y="72"/>
                  </a:lnTo>
                  <a:lnTo>
                    <a:pt x="77" y="72"/>
                  </a:lnTo>
                  <a:lnTo>
                    <a:pt x="77" y="71"/>
                  </a:lnTo>
                  <a:lnTo>
                    <a:pt x="77" y="70"/>
                  </a:lnTo>
                  <a:lnTo>
                    <a:pt x="77" y="68"/>
                  </a:lnTo>
                  <a:lnTo>
                    <a:pt x="76" y="68"/>
                  </a:lnTo>
                  <a:lnTo>
                    <a:pt x="76" y="67"/>
                  </a:lnTo>
                  <a:lnTo>
                    <a:pt x="74" y="67"/>
                  </a:lnTo>
                  <a:lnTo>
                    <a:pt x="74" y="68"/>
                  </a:lnTo>
                  <a:lnTo>
                    <a:pt x="74" y="67"/>
                  </a:lnTo>
                  <a:lnTo>
                    <a:pt x="76" y="67"/>
                  </a:lnTo>
                  <a:lnTo>
                    <a:pt x="74" y="66"/>
                  </a:lnTo>
                  <a:lnTo>
                    <a:pt x="74" y="67"/>
                  </a:lnTo>
                  <a:lnTo>
                    <a:pt x="73" y="66"/>
                  </a:lnTo>
                  <a:lnTo>
                    <a:pt x="73" y="65"/>
                  </a:lnTo>
                  <a:lnTo>
                    <a:pt x="73" y="66"/>
                  </a:lnTo>
                  <a:lnTo>
                    <a:pt x="72" y="66"/>
                  </a:lnTo>
                  <a:lnTo>
                    <a:pt x="71" y="66"/>
                  </a:lnTo>
                  <a:lnTo>
                    <a:pt x="70" y="67"/>
                  </a:lnTo>
                  <a:lnTo>
                    <a:pt x="69" y="67"/>
                  </a:lnTo>
                  <a:lnTo>
                    <a:pt x="70" y="66"/>
                  </a:lnTo>
                  <a:lnTo>
                    <a:pt x="69" y="66"/>
                  </a:lnTo>
                  <a:lnTo>
                    <a:pt x="67" y="66"/>
                  </a:lnTo>
                  <a:lnTo>
                    <a:pt x="66" y="66"/>
                  </a:lnTo>
                  <a:lnTo>
                    <a:pt x="65" y="66"/>
                  </a:lnTo>
                  <a:lnTo>
                    <a:pt x="64" y="66"/>
                  </a:lnTo>
                  <a:lnTo>
                    <a:pt x="64" y="67"/>
                  </a:lnTo>
                  <a:lnTo>
                    <a:pt x="63" y="68"/>
                  </a:lnTo>
                  <a:lnTo>
                    <a:pt x="63" y="70"/>
                  </a:lnTo>
                  <a:lnTo>
                    <a:pt x="62" y="70"/>
                  </a:lnTo>
                  <a:lnTo>
                    <a:pt x="62" y="68"/>
                  </a:lnTo>
                  <a:lnTo>
                    <a:pt x="60" y="68"/>
                  </a:lnTo>
                  <a:lnTo>
                    <a:pt x="60" y="70"/>
                  </a:lnTo>
                  <a:lnTo>
                    <a:pt x="60" y="68"/>
                  </a:lnTo>
                  <a:lnTo>
                    <a:pt x="60" y="67"/>
                  </a:lnTo>
                  <a:lnTo>
                    <a:pt x="62" y="66"/>
                  </a:lnTo>
                  <a:lnTo>
                    <a:pt x="62" y="65"/>
                  </a:lnTo>
                  <a:lnTo>
                    <a:pt x="63" y="64"/>
                  </a:lnTo>
                  <a:lnTo>
                    <a:pt x="64" y="64"/>
                  </a:lnTo>
                  <a:lnTo>
                    <a:pt x="63" y="63"/>
                  </a:lnTo>
                  <a:lnTo>
                    <a:pt x="62" y="61"/>
                  </a:lnTo>
                  <a:lnTo>
                    <a:pt x="62" y="60"/>
                  </a:lnTo>
                  <a:lnTo>
                    <a:pt x="62" y="59"/>
                  </a:lnTo>
                  <a:lnTo>
                    <a:pt x="62" y="58"/>
                  </a:lnTo>
                  <a:lnTo>
                    <a:pt x="62" y="57"/>
                  </a:lnTo>
                  <a:lnTo>
                    <a:pt x="60" y="57"/>
                  </a:lnTo>
                  <a:lnTo>
                    <a:pt x="59" y="57"/>
                  </a:lnTo>
                  <a:lnTo>
                    <a:pt x="60" y="56"/>
                  </a:lnTo>
                  <a:lnTo>
                    <a:pt x="60" y="54"/>
                  </a:lnTo>
                  <a:lnTo>
                    <a:pt x="60" y="53"/>
                  </a:lnTo>
                  <a:lnTo>
                    <a:pt x="60" y="52"/>
                  </a:lnTo>
                  <a:lnTo>
                    <a:pt x="59" y="52"/>
                  </a:lnTo>
                  <a:lnTo>
                    <a:pt x="59" y="51"/>
                  </a:lnTo>
                  <a:lnTo>
                    <a:pt x="58" y="51"/>
                  </a:lnTo>
                  <a:lnTo>
                    <a:pt x="58" y="50"/>
                  </a:lnTo>
                  <a:lnTo>
                    <a:pt x="58" y="49"/>
                  </a:lnTo>
                  <a:lnTo>
                    <a:pt x="57" y="49"/>
                  </a:lnTo>
                  <a:lnTo>
                    <a:pt x="57" y="47"/>
                  </a:lnTo>
                  <a:lnTo>
                    <a:pt x="56" y="46"/>
                  </a:lnTo>
                  <a:lnTo>
                    <a:pt x="56" y="45"/>
                  </a:lnTo>
                  <a:lnTo>
                    <a:pt x="55" y="44"/>
                  </a:lnTo>
                  <a:lnTo>
                    <a:pt x="53" y="43"/>
                  </a:lnTo>
                  <a:lnTo>
                    <a:pt x="52" y="43"/>
                  </a:lnTo>
                  <a:lnTo>
                    <a:pt x="50" y="43"/>
                  </a:lnTo>
                  <a:lnTo>
                    <a:pt x="44" y="43"/>
                  </a:lnTo>
                  <a:lnTo>
                    <a:pt x="44" y="44"/>
                  </a:lnTo>
                  <a:lnTo>
                    <a:pt x="41" y="44"/>
                  </a:lnTo>
                  <a:lnTo>
                    <a:pt x="40" y="44"/>
                  </a:lnTo>
                  <a:lnTo>
                    <a:pt x="38" y="44"/>
                  </a:lnTo>
                  <a:lnTo>
                    <a:pt x="37" y="44"/>
                  </a:lnTo>
                  <a:lnTo>
                    <a:pt x="36" y="44"/>
                  </a:lnTo>
                  <a:lnTo>
                    <a:pt x="36" y="45"/>
                  </a:lnTo>
                  <a:lnTo>
                    <a:pt x="35" y="45"/>
                  </a:lnTo>
                  <a:lnTo>
                    <a:pt x="35" y="46"/>
                  </a:lnTo>
                  <a:lnTo>
                    <a:pt x="35" y="47"/>
                  </a:lnTo>
                  <a:lnTo>
                    <a:pt x="34" y="47"/>
                  </a:lnTo>
                  <a:lnTo>
                    <a:pt x="34" y="49"/>
                  </a:lnTo>
                  <a:lnTo>
                    <a:pt x="34" y="50"/>
                  </a:lnTo>
                  <a:lnTo>
                    <a:pt x="33" y="52"/>
                  </a:lnTo>
                  <a:lnTo>
                    <a:pt x="31" y="52"/>
                  </a:lnTo>
                  <a:lnTo>
                    <a:pt x="31" y="53"/>
                  </a:lnTo>
                  <a:lnTo>
                    <a:pt x="30" y="53"/>
                  </a:lnTo>
                  <a:lnTo>
                    <a:pt x="30" y="54"/>
                  </a:lnTo>
                  <a:lnTo>
                    <a:pt x="29" y="53"/>
                  </a:lnTo>
                  <a:lnTo>
                    <a:pt x="29" y="54"/>
                  </a:lnTo>
                  <a:lnTo>
                    <a:pt x="29" y="56"/>
                  </a:lnTo>
                  <a:lnTo>
                    <a:pt x="28" y="57"/>
                  </a:lnTo>
                  <a:lnTo>
                    <a:pt x="27" y="58"/>
                  </a:lnTo>
                  <a:lnTo>
                    <a:pt x="26" y="57"/>
                  </a:lnTo>
                  <a:lnTo>
                    <a:pt x="24" y="57"/>
                  </a:lnTo>
                  <a:lnTo>
                    <a:pt x="24" y="58"/>
                  </a:lnTo>
                  <a:lnTo>
                    <a:pt x="24" y="57"/>
                  </a:lnTo>
                  <a:lnTo>
                    <a:pt x="26" y="56"/>
                  </a:lnTo>
                  <a:lnTo>
                    <a:pt x="27" y="56"/>
                  </a:lnTo>
                  <a:lnTo>
                    <a:pt x="26" y="56"/>
                  </a:lnTo>
                  <a:lnTo>
                    <a:pt x="26" y="54"/>
                  </a:lnTo>
                  <a:lnTo>
                    <a:pt x="24" y="54"/>
                  </a:lnTo>
                  <a:lnTo>
                    <a:pt x="24" y="56"/>
                  </a:lnTo>
                  <a:lnTo>
                    <a:pt x="24" y="54"/>
                  </a:lnTo>
                  <a:lnTo>
                    <a:pt x="24" y="53"/>
                  </a:lnTo>
                  <a:lnTo>
                    <a:pt x="24" y="52"/>
                  </a:lnTo>
                  <a:lnTo>
                    <a:pt x="24" y="53"/>
                  </a:lnTo>
                  <a:lnTo>
                    <a:pt x="23" y="53"/>
                  </a:lnTo>
                  <a:lnTo>
                    <a:pt x="23" y="54"/>
                  </a:lnTo>
                  <a:lnTo>
                    <a:pt x="23" y="53"/>
                  </a:lnTo>
                  <a:lnTo>
                    <a:pt x="22" y="52"/>
                  </a:lnTo>
                  <a:lnTo>
                    <a:pt x="23" y="52"/>
                  </a:lnTo>
                  <a:lnTo>
                    <a:pt x="23" y="51"/>
                  </a:lnTo>
                  <a:lnTo>
                    <a:pt x="23" y="52"/>
                  </a:lnTo>
                  <a:lnTo>
                    <a:pt x="22" y="52"/>
                  </a:lnTo>
                  <a:lnTo>
                    <a:pt x="22" y="51"/>
                  </a:lnTo>
                  <a:lnTo>
                    <a:pt x="21" y="51"/>
                  </a:lnTo>
                  <a:lnTo>
                    <a:pt x="22" y="50"/>
                  </a:lnTo>
                  <a:lnTo>
                    <a:pt x="21" y="50"/>
                  </a:lnTo>
                  <a:lnTo>
                    <a:pt x="20" y="50"/>
                  </a:lnTo>
                  <a:lnTo>
                    <a:pt x="19" y="50"/>
                  </a:lnTo>
                  <a:lnTo>
                    <a:pt x="20" y="49"/>
                  </a:lnTo>
                  <a:lnTo>
                    <a:pt x="20" y="47"/>
                  </a:lnTo>
                  <a:lnTo>
                    <a:pt x="20" y="46"/>
                  </a:lnTo>
                  <a:lnTo>
                    <a:pt x="21" y="46"/>
                  </a:lnTo>
                  <a:lnTo>
                    <a:pt x="20" y="46"/>
                  </a:lnTo>
                  <a:lnTo>
                    <a:pt x="20" y="45"/>
                  </a:lnTo>
                  <a:lnTo>
                    <a:pt x="20" y="46"/>
                  </a:lnTo>
                  <a:lnTo>
                    <a:pt x="19" y="46"/>
                  </a:lnTo>
                  <a:lnTo>
                    <a:pt x="19" y="45"/>
                  </a:lnTo>
                  <a:lnTo>
                    <a:pt x="19" y="44"/>
                  </a:lnTo>
                  <a:lnTo>
                    <a:pt x="20" y="44"/>
                  </a:lnTo>
                  <a:lnTo>
                    <a:pt x="20" y="43"/>
                  </a:lnTo>
                  <a:lnTo>
                    <a:pt x="19" y="43"/>
                  </a:lnTo>
                  <a:lnTo>
                    <a:pt x="19" y="44"/>
                  </a:lnTo>
                  <a:lnTo>
                    <a:pt x="19" y="45"/>
                  </a:lnTo>
                  <a:lnTo>
                    <a:pt x="17" y="45"/>
                  </a:lnTo>
                  <a:lnTo>
                    <a:pt x="17" y="44"/>
                  </a:lnTo>
                  <a:lnTo>
                    <a:pt x="16" y="44"/>
                  </a:lnTo>
                  <a:lnTo>
                    <a:pt x="16" y="43"/>
                  </a:lnTo>
                  <a:lnTo>
                    <a:pt x="15" y="43"/>
                  </a:lnTo>
                  <a:lnTo>
                    <a:pt x="14" y="43"/>
                  </a:lnTo>
                  <a:lnTo>
                    <a:pt x="14" y="42"/>
                  </a:lnTo>
                  <a:lnTo>
                    <a:pt x="15" y="40"/>
                  </a:lnTo>
                  <a:lnTo>
                    <a:pt x="15" y="42"/>
                  </a:lnTo>
                  <a:lnTo>
                    <a:pt x="15" y="40"/>
                  </a:lnTo>
                  <a:lnTo>
                    <a:pt x="14" y="40"/>
                  </a:lnTo>
                  <a:lnTo>
                    <a:pt x="15" y="39"/>
                  </a:lnTo>
                  <a:lnTo>
                    <a:pt x="14" y="39"/>
                  </a:lnTo>
                  <a:lnTo>
                    <a:pt x="14" y="40"/>
                  </a:lnTo>
                  <a:lnTo>
                    <a:pt x="14" y="42"/>
                  </a:lnTo>
                  <a:lnTo>
                    <a:pt x="13" y="42"/>
                  </a:lnTo>
                  <a:lnTo>
                    <a:pt x="13" y="40"/>
                  </a:lnTo>
                  <a:lnTo>
                    <a:pt x="13" y="39"/>
                  </a:lnTo>
                  <a:lnTo>
                    <a:pt x="13" y="40"/>
                  </a:lnTo>
                  <a:lnTo>
                    <a:pt x="12" y="40"/>
                  </a:lnTo>
                  <a:lnTo>
                    <a:pt x="12" y="39"/>
                  </a:lnTo>
                  <a:lnTo>
                    <a:pt x="12" y="40"/>
                  </a:lnTo>
                  <a:lnTo>
                    <a:pt x="10" y="39"/>
                  </a:lnTo>
                  <a:lnTo>
                    <a:pt x="9" y="39"/>
                  </a:lnTo>
                  <a:lnTo>
                    <a:pt x="9" y="38"/>
                  </a:lnTo>
                  <a:lnTo>
                    <a:pt x="9" y="39"/>
                  </a:lnTo>
                  <a:lnTo>
                    <a:pt x="9" y="38"/>
                  </a:lnTo>
                  <a:lnTo>
                    <a:pt x="8" y="39"/>
                  </a:lnTo>
                  <a:lnTo>
                    <a:pt x="8" y="38"/>
                  </a:lnTo>
                  <a:lnTo>
                    <a:pt x="8" y="37"/>
                  </a:lnTo>
                  <a:lnTo>
                    <a:pt x="7" y="36"/>
                  </a:lnTo>
                  <a:lnTo>
                    <a:pt x="7" y="35"/>
                  </a:lnTo>
                  <a:lnTo>
                    <a:pt x="6" y="35"/>
                  </a:lnTo>
                  <a:lnTo>
                    <a:pt x="6" y="33"/>
                  </a:lnTo>
                  <a:lnTo>
                    <a:pt x="7" y="33"/>
                  </a:lnTo>
                  <a:lnTo>
                    <a:pt x="7" y="32"/>
                  </a:lnTo>
                  <a:lnTo>
                    <a:pt x="6" y="32"/>
                  </a:lnTo>
                  <a:lnTo>
                    <a:pt x="7" y="31"/>
                  </a:lnTo>
                  <a:lnTo>
                    <a:pt x="7" y="30"/>
                  </a:lnTo>
                  <a:lnTo>
                    <a:pt x="8" y="30"/>
                  </a:lnTo>
                  <a:lnTo>
                    <a:pt x="8" y="29"/>
                  </a:lnTo>
                  <a:lnTo>
                    <a:pt x="7" y="29"/>
                  </a:lnTo>
                  <a:lnTo>
                    <a:pt x="7" y="30"/>
                  </a:lnTo>
                  <a:lnTo>
                    <a:pt x="7" y="31"/>
                  </a:lnTo>
                  <a:lnTo>
                    <a:pt x="6" y="31"/>
                  </a:lnTo>
                  <a:lnTo>
                    <a:pt x="6" y="32"/>
                  </a:lnTo>
                  <a:lnTo>
                    <a:pt x="5" y="32"/>
                  </a:lnTo>
                  <a:lnTo>
                    <a:pt x="6" y="31"/>
                  </a:lnTo>
                  <a:lnTo>
                    <a:pt x="5" y="31"/>
                  </a:lnTo>
                  <a:lnTo>
                    <a:pt x="6" y="30"/>
                  </a:lnTo>
                  <a:lnTo>
                    <a:pt x="5" y="30"/>
                  </a:lnTo>
                  <a:lnTo>
                    <a:pt x="5" y="31"/>
                  </a:lnTo>
                  <a:lnTo>
                    <a:pt x="3" y="31"/>
                  </a:lnTo>
                  <a:lnTo>
                    <a:pt x="3" y="30"/>
                  </a:lnTo>
                  <a:lnTo>
                    <a:pt x="5" y="30"/>
                  </a:lnTo>
                  <a:lnTo>
                    <a:pt x="5" y="29"/>
                  </a:lnTo>
                  <a:lnTo>
                    <a:pt x="3" y="30"/>
                  </a:lnTo>
                  <a:lnTo>
                    <a:pt x="3" y="29"/>
                  </a:lnTo>
                  <a:lnTo>
                    <a:pt x="3" y="28"/>
                  </a:lnTo>
                  <a:lnTo>
                    <a:pt x="5" y="28"/>
                  </a:lnTo>
                  <a:lnTo>
                    <a:pt x="5" y="26"/>
                  </a:lnTo>
                  <a:lnTo>
                    <a:pt x="6" y="26"/>
                  </a:lnTo>
                  <a:lnTo>
                    <a:pt x="6" y="25"/>
                  </a:lnTo>
                  <a:lnTo>
                    <a:pt x="6" y="26"/>
                  </a:lnTo>
                  <a:lnTo>
                    <a:pt x="5" y="26"/>
                  </a:lnTo>
                  <a:lnTo>
                    <a:pt x="3" y="26"/>
                  </a:lnTo>
                  <a:lnTo>
                    <a:pt x="3" y="28"/>
                  </a:lnTo>
                  <a:lnTo>
                    <a:pt x="2" y="26"/>
                  </a:lnTo>
                  <a:lnTo>
                    <a:pt x="2" y="28"/>
                  </a:lnTo>
                  <a:lnTo>
                    <a:pt x="2" y="26"/>
                  </a:lnTo>
                  <a:lnTo>
                    <a:pt x="1" y="26"/>
                  </a:lnTo>
                  <a:lnTo>
                    <a:pt x="2" y="28"/>
                  </a:lnTo>
                  <a:lnTo>
                    <a:pt x="2" y="29"/>
                  </a:lnTo>
                  <a:lnTo>
                    <a:pt x="1" y="29"/>
                  </a:lnTo>
                  <a:lnTo>
                    <a:pt x="1" y="30"/>
                  </a:lnTo>
                  <a:lnTo>
                    <a:pt x="2" y="30"/>
                  </a:lnTo>
                  <a:lnTo>
                    <a:pt x="1" y="30"/>
                  </a:lnTo>
                  <a:lnTo>
                    <a:pt x="0" y="30"/>
                  </a:lnTo>
                  <a:lnTo>
                    <a:pt x="0" y="29"/>
                  </a:lnTo>
                  <a:lnTo>
                    <a:pt x="0" y="28"/>
                  </a:lnTo>
                  <a:lnTo>
                    <a:pt x="1" y="28"/>
                  </a:lnTo>
                  <a:lnTo>
                    <a:pt x="1" y="26"/>
                  </a:lnTo>
                  <a:lnTo>
                    <a:pt x="3" y="23"/>
                  </a:lnTo>
                  <a:lnTo>
                    <a:pt x="3" y="22"/>
                  </a:lnTo>
                  <a:lnTo>
                    <a:pt x="5" y="19"/>
                  </a:lnTo>
                  <a:lnTo>
                    <a:pt x="6" y="18"/>
                  </a:lnTo>
                  <a:lnTo>
                    <a:pt x="7" y="18"/>
                  </a:lnTo>
                  <a:lnTo>
                    <a:pt x="8" y="18"/>
                  </a:lnTo>
                  <a:lnTo>
                    <a:pt x="9" y="18"/>
                  </a:lnTo>
                  <a:lnTo>
                    <a:pt x="10" y="17"/>
                  </a:lnTo>
                  <a:lnTo>
                    <a:pt x="10" y="16"/>
                  </a:lnTo>
                  <a:lnTo>
                    <a:pt x="12" y="16"/>
                  </a:lnTo>
                  <a:lnTo>
                    <a:pt x="13" y="16"/>
                  </a:lnTo>
                  <a:lnTo>
                    <a:pt x="14" y="16"/>
                  </a:lnTo>
                  <a:lnTo>
                    <a:pt x="15" y="16"/>
                  </a:lnTo>
                  <a:lnTo>
                    <a:pt x="16" y="16"/>
                  </a:lnTo>
                  <a:lnTo>
                    <a:pt x="17" y="16"/>
                  </a:lnTo>
                  <a:lnTo>
                    <a:pt x="17" y="15"/>
                  </a:lnTo>
                  <a:lnTo>
                    <a:pt x="17" y="16"/>
                  </a:lnTo>
                  <a:lnTo>
                    <a:pt x="19" y="16"/>
                  </a:lnTo>
                  <a:lnTo>
                    <a:pt x="19" y="15"/>
                  </a:lnTo>
                  <a:lnTo>
                    <a:pt x="19" y="14"/>
                  </a:lnTo>
                  <a:lnTo>
                    <a:pt x="19" y="12"/>
                  </a:lnTo>
                  <a:lnTo>
                    <a:pt x="19" y="11"/>
                  </a:lnTo>
                  <a:lnTo>
                    <a:pt x="19" y="10"/>
                  </a:lnTo>
                  <a:lnTo>
                    <a:pt x="17" y="10"/>
                  </a:lnTo>
                  <a:lnTo>
                    <a:pt x="17" y="9"/>
                  </a:lnTo>
                  <a:lnTo>
                    <a:pt x="16" y="9"/>
                  </a:lnTo>
                  <a:lnTo>
                    <a:pt x="15" y="8"/>
                  </a:lnTo>
                  <a:lnTo>
                    <a:pt x="16" y="8"/>
                  </a:lnTo>
                  <a:lnTo>
                    <a:pt x="17" y="7"/>
                  </a:lnTo>
                  <a:lnTo>
                    <a:pt x="19" y="7"/>
                  </a:lnTo>
                  <a:lnTo>
                    <a:pt x="17" y="7"/>
                  </a:lnTo>
                  <a:lnTo>
                    <a:pt x="19" y="7"/>
                  </a:lnTo>
                  <a:lnTo>
                    <a:pt x="20" y="7"/>
                  </a:lnTo>
                  <a:lnTo>
                    <a:pt x="20" y="5"/>
                  </a:lnTo>
                  <a:lnTo>
                    <a:pt x="20" y="4"/>
                  </a:lnTo>
                  <a:lnTo>
                    <a:pt x="20" y="3"/>
                  </a:lnTo>
                  <a:lnTo>
                    <a:pt x="19" y="2"/>
                  </a:lnTo>
                  <a:lnTo>
                    <a:pt x="19" y="1"/>
                  </a:lnTo>
                  <a:lnTo>
                    <a:pt x="19" y="0"/>
                  </a:lnTo>
                  <a:lnTo>
                    <a:pt x="23" y="1"/>
                  </a:lnTo>
                  <a:lnTo>
                    <a:pt x="24" y="1"/>
                  </a:lnTo>
                  <a:lnTo>
                    <a:pt x="26" y="1"/>
                  </a:lnTo>
                  <a:lnTo>
                    <a:pt x="27" y="1"/>
                  </a:lnTo>
                  <a:lnTo>
                    <a:pt x="28" y="1"/>
                  </a:lnTo>
                  <a:lnTo>
                    <a:pt x="28" y="2"/>
                  </a:lnTo>
                  <a:lnTo>
                    <a:pt x="28" y="3"/>
                  </a:lnTo>
                  <a:lnTo>
                    <a:pt x="29" y="3"/>
                  </a:lnTo>
                  <a:lnTo>
                    <a:pt x="30" y="2"/>
                  </a:lnTo>
                  <a:lnTo>
                    <a:pt x="31" y="3"/>
                  </a:lnTo>
                  <a:lnTo>
                    <a:pt x="33" y="3"/>
                  </a:lnTo>
                  <a:lnTo>
                    <a:pt x="33" y="4"/>
                  </a:lnTo>
                  <a:lnTo>
                    <a:pt x="34" y="4"/>
                  </a:lnTo>
                  <a:lnTo>
                    <a:pt x="35" y="4"/>
                  </a:lnTo>
                  <a:lnTo>
                    <a:pt x="35" y="5"/>
                  </a:lnTo>
                  <a:lnTo>
                    <a:pt x="36" y="4"/>
                  </a:lnTo>
                  <a:lnTo>
                    <a:pt x="37" y="5"/>
                  </a:lnTo>
                  <a:lnTo>
                    <a:pt x="38" y="5"/>
                  </a:lnTo>
                  <a:lnTo>
                    <a:pt x="41" y="5"/>
                  </a:lnTo>
                  <a:lnTo>
                    <a:pt x="42" y="4"/>
                  </a:lnTo>
                  <a:lnTo>
                    <a:pt x="43" y="4"/>
                  </a:lnTo>
                  <a:lnTo>
                    <a:pt x="44" y="4"/>
                  </a:lnTo>
                  <a:lnTo>
                    <a:pt x="45" y="4"/>
                  </a:lnTo>
                  <a:lnTo>
                    <a:pt x="47" y="4"/>
                  </a:lnTo>
                  <a:lnTo>
                    <a:pt x="48" y="4"/>
                  </a:lnTo>
                  <a:lnTo>
                    <a:pt x="49" y="4"/>
                  </a:lnTo>
                  <a:lnTo>
                    <a:pt x="50" y="4"/>
                  </a:lnTo>
                  <a:lnTo>
                    <a:pt x="51" y="4"/>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37" name="Freeform 892">
              <a:extLst>
                <a:ext uri="{FF2B5EF4-FFF2-40B4-BE49-F238E27FC236}">
                  <a16:creationId xmlns:a16="http://schemas.microsoft.com/office/drawing/2014/main" id="{CFFC54D2-FBD5-4808-A859-A9BCF99B07ED}"/>
                </a:ext>
              </a:extLst>
            </p:cNvPr>
            <p:cNvSpPr>
              <a:spLocks/>
            </p:cNvSpPr>
            <p:nvPr/>
          </p:nvSpPr>
          <p:spPr bwMode="auto">
            <a:xfrm>
              <a:off x="5496594" y="3056056"/>
              <a:ext cx="56091" cy="16026"/>
            </a:xfrm>
            <a:custGeom>
              <a:avLst/>
              <a:gdLst>
                <a:gd name="T0" fmla="*/ 0 w 42"/>
                <a:gd name="T1" fmla="*/ 11 h 12"/>
                <a:gd name="T2" fmla="*/ 0 w 42"/>
                <a:gd name="T3" fmla="*/ 8 h 12"/>
                <a:gd name="T4" fmla="*/ 0 w 42"/>
                <a:gd name="T5" fmla="*/ 7 h 12"/>
                <a:gd name="T6" fmla="*/ 2 w 42"/>
                <a:gd name="T7" fmla="*/ 6 h 12"/>
                <a:gd name="T8" fmla="*/ 2 w 42"/>
                <a:gd name="T9" fmla="*/ 6 h 12"/>
                <a:gd name="T10" fmla="*/ 3 w 42"/>
                <a:gd name="T11" fmla="*/ 8 h 12"/>
                <a:gd name="T12" fmla="*/ 4 w 42"/>
                <a:gd name="T13" fmla="*/ 8 h 12"/>
                <a:gd name="T14" fmla="*/ 6 w 42"/>
                <a:gd name="T15" fmla="*/ 9 h 12"/>
                <a:gd name="T16" fmla="*/ 4 w 42"/>
                <a:gd name="T17" fmla="*/ 8 h 12"/>
                <a:gd name="T18" fmla="*/ 6 w 42"/>
                <a:gd name="T19" fmla="*/ 8 h 12"/>
                <a:gd name="T20" fmla="*/ 8 w 42"/>
                <a:gd name="T21" fmla="*/ 8 h 12"/>
                <a:gd name="T22" fmla="*/ 8 w 42"/>
                <a:gd name="T23" fmla="*/ 8 h 12"/>
                <a:gd name="T24" fmla="*/ 8 w 42"/>
                <a:gd name="T25" fmla="*/ 8 h 12"/>
                <a:gd name="T26" fmla="*/ 8 w 42"/>
                <a:gd name="T27" fmla="*/ 7 h 12"/>
                <a:gd name="T28" fmla="*/ 11 w 42"/>
                <a:gd name="T29" fmla="*/ 6 h 12"/>
                <a:gd name="T30" fmla="*/ 12 w 42"/>
                <a:gd name="T31" fmla="*/ 6 h 12"/>
                <a:gd name="T32" fmla="*/ 15 w 42"/>
                <a:gd name="T33" fmla="*/ 6 h 12"/>
                <a:gd name="T34" fmla="*/ 16 w 42"/>
                <a:gd name="T35" fmla="*/ 6 h 12"/>
                <a:gd name="T36" fmla="*/ 17 w 42"/>
                <a:gd name="T37" fmla="*/ 5 h 12"/>
                <a:gd name="T38" fmla="*/ 18 w 42"/>
                <a:gd name="T39" fmla="*/ 5 h 12"/>
                <a:gd name="T40" fmla="*/ 21 w 42"/>
                <a:gd name="T41" fmla="*/ 6 h 12"/>
                <a:gd name="T42" fmla="*/ 21 w 42"/>
                <a:gd name="T43" fmla="*/ 6 h 12"/>
                <a:gd name="T44" fmla="*/ 18 w 42"/>
                <a:gd name="T45" fmla="*/ 5 h 12"/>
                <a:gd name="T46" fmla="*/ 17 w 42"/>
                <a:gd name="T47" fmla="*/ 5 h 12"/>
                <a:gd name="T48" fmla="*/ 16 w 42"/>
                <a:gd name="T49" fmla="*/ 5 h 12"/>
                <a:gd name="T50" fmla="*/ 14 w 42"/>
                <a:gd name="T51" fmla="*/ 6 h 12"/>
                <a:gd name="T52" fmla="*/ 8 w 42"/>
                <a:gd name="T53" fmla="*/ 7 h 12"/>
                <a:gd name="T54" fmla="*/ 7 w 42"/>
                <a:gd name="T55" fmla="*/ 7 h 12"/>
                <a:gd name="T56" fmla="*/ 7 w 42"/>
                <a:gd name="T57" fmla="*/ 7 h 12"/>
                <a:gd name="T58" fmla="*/ 6 w 42"/>
                <a:gd name="T59" fmla="*/ 7 h 12"/>
                <a:gd name="T60" fmla="*/ 4 w 42"/>
                <a:gd name="T61" fmla="*/ 6 h 12"/>
                <a:gd name="T62" fmla="*/ 3 w 42"/>
                <a:gd name="T63" fmla="*/ 5 h 12"/>
                <a:gd name="T64" fmla="*/ 4 w 42"/>
                <a:gd name="T65" fmla="*/ 4 h 12"/>
                <a:gd name="T66" fmla="*/ 10 w 42"/>
                <a:gd name="T67" fmla="*/ 4 h 12"/>
                <a:gd name="T68" fmla="*/ 15 w 42"/>
                <a:gd name="T69" fmla="*/ 4 h 12"/>
                <a:gd name="T70" fmla="*/ 18 w 42"/>
                <a:gd name="T71" fmla="*/ 2 h 12"/>
                <a:gd name="T72" fmla="*/ 21 w 42"/>
                <a:gd name="T73" fmla="*/ 0 h 12"/>
                <a:gd name="T74" fmla="*/ 24 w 42"/>
                <a:gd name="T75" fmla="*/ 0 h 12"/>
                <a:gd name="T76" fmla="*/ 28 w 42"/>
                <a:gd name="T77" fmla="*/ 1 h 12"/>
                <a:gd name="T78" fmla="*/ 30 w 42"/>
                <a:gd name="T79" fmla="*/ 2 h 12"/>
                <a:gd name="T80" fmla="*/ 32 w 42"/>
                <a:gd name="T81" fmla="*/ 5 h 12"/>
                <a:gd name="T82" fmla="*/ 35 w 42"/>
                <a:gd name="T83" fmla="*/ 6 h 12"/>
                <a:gd name="T84" fmla="*/ 38 w 42"/>
                <a:gd name="T85" fmla="*/ 4 h 12"/>
                <a:gd name="T86" fmla="*/ 39 w 42"/>
                <a:gd name="T87" fmla="*/ 4 h 12"/>
                <a:gd name="T88" fmla="*/ 40 w 42"/>
                <a:gd name="T89" fmla="*/ 5 h 12"/>
                <a:gd name="T90" fmla="*/ 38 w 42"/>
                <a:gd name="T91" fmla="*/ 8 h 12"/>
                <a:gd name="T92" fmla="*/ 36 w 42"/>
                <a:gd name="T93" fmla="*/ 9 h 12"/>
                <a:gd name="T94" fmla="*/ 32 w 42"/>
                <a:gd name="T95" fmla="*/ 8 h 12"/>
                <a:gd name="T96" fmla="*/ 31 w 42"/>
                <a:gd name="T97" fmla="*/ 8 h 12"/>
                <a:gd name="T98" fmla="*/ 28 w 42"/>
                <a:gd name="T99" fmla="*/ 7 h 12"/>
                <a:gd name="T100" fmla="*/ 25 w 42"/>
                <a:gd name="T101" fmla="*/ 6 h 12"/>
                <a:gd name="T102" fmla="*/ 23 w 42"/>
                <a:gd name="T103" fmla="*/ 4 h 12"/>
                <a:gd name="T104" fmla="*/ 22 w 42"/>
                <a:gd name="T105" fmla="*/ 6 h 12"/>
                <a:gd name="T106" fmla="*/ 17 w 42"/>
                <a:gd name="T107" fmla="*/ 7 h 12"/>
                <a:gd name="T108" fmla="*/ 15 w 42"/>
                <a:gd name="T109" fmla="*/ 7 h 12"/>
                <a:gd name="T110" fmla="*/ 12 w 42"/>
                <a:gd name="T111" fmla="*/ 11 h 12"/>
                <a:gd name="T112" fmla="*/ 2 w 42"/>
                <a:gd name="T113" fmla="*/ 11 h 12"/>
                <a:gd name="T114" fmla="*/ 1 w 42"/>
                <a:gd name="T11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 h="12">
                  <a:moveTo>
                    <a:pt x="1" y="12"/>
                  </a:moveTo>
                  <a:lnTo>
                    <a:pt x="0" y="12"/>
                  </a:lnTo>
                  <a:lnTo>
                    <a:pt x="0" y="12"/>
                  </a:lnTo>
                  <a:lnTo>
                    <a:pt x="0" y="12"/>
                  </a:lnTo>
                  <a:lnTo>
                    <a:pt x="0" y="12"/>
                  </a:lnTo>
                  <a:lnTo>
                    <a:pt x="0" y="11"/>
                  </a:lnTo>
                  <a:lnTo>
                    <a:pt x="0" y="11"/>
                  </a:lnTo>
                  <a:lnTo>
                    <a:pt x="0" y="11"/>
                  </a:lnTo>
                  <a:lnTo>
                    <a:pt x="0" y="9"/>
                  </a:lnTo>
                  <a:lnTo>
                    <a:pt x="0" y="9"/>
                  </a:lnTo>
                  <a:lnTo>
                    <a:pt x="0" y="9"/>
                  </a:lnTo>
                  <a:lnTo>
                    <a:pt x="0" y="8"/>
                  </a:lnTo>
                  <a:lnTo>
                    <a:pt x="0" y="8"/>
                  </a:lnTo>
                  <a:lnTo>
                    <a:pt x="0" y="8"/>
                  </a:lnTo>
                  <a:lnTo>
                    <a:pt x="0" y="8"/>
                  </a:lnTo>
                  <a:lnTo>
                    <a:pt x="0" y="8"/>
                  </a:lnTo>
                  <a:lnTo>
                    <a:pt x="0" y="7"/>
                  </a:lnTo>
                  <a:lnTo>
                    <a:pt x="0" y="7"/>
                  </a:lnTo>
                  <a:lnTo>
                    <a:pt x="0" y="7"/>
                  </a:lnTo>
                  <a:lnTo>
                    <a:pt x="0" y="7"/>
                  </a:lnTo>
                  <a:lnTo>
                    <a:pt x="0" y="7"/>
                  </a:lnTo>
                  <a:lnTo>
                    <a:pt x="0" y="7"/>
                  </a:lnTo>
                  <a:lnTo>
                    <a:pt x="0" y="6"/>
                  </a:lnTo>
                  <a:lnTo>
                    <a:pt x="1" y="6"/>
                  </a:lnTo>
                  <a:lnTo>
                    <a:pt x="2" y="5"/>
                  </a:lnTo>
                  <a:lnTo>
                    <a:pt x="2" y="5"/>
                  </a:lnTo>
                  <a:lnTo>
                    <a:pt x="2" y="5"/>
                  </a:lnTo>
                  <a:lnTo>
                    <a:pt x="2" y="6"/>
                  </a:lnTo>
                  <a:lnTo>
                    <a:pt x="2" y="6"/>
                  </a:lnTo>
                  <a:lnTo>
                    <a:pt x="2" y="5"/>
                  </a:lnTo>
                  <a:lnTo>
                    <a:pt x="2" y="5"/>
                  </a:lnTo>
                  <a:lnTo>
                    <a:pt x="2" y="6"/>
                  </a:lnTo>
                  <a:lnTo>
                    <a:pt x="3" y="6"/>
                  </a:lnTo>
                  <a:lnTo>
                    <a:pt x="3" y="6"/>
                  </a:lnTo>
                  <a:lnTo>
                    <a:pt x="2" y="6"/>
                  </a:lnTo>
                  <a:lnTo>
                    <a:pt x="2" y="6"/>
                  </a:lnTo>
                  <a:lnTo>
                    <a:pt x="2" y="6"/>
                  </a:lnTo>
                  <a:lnTo>
                    <a:pt x="2" y="6"/>
                  </a:lnTo>
                  <a:lnTo>
                    <a:pt x="2" y="7"/>
                  </a:lnTo>
                  <a:lnTo>
                    <a:pt x="3" y="7"/>
                  </a:lnTo>
                  <a:lnTo>
                    <a:pt x="3" y="7"/>
                  </a:lnTo>
                  <a:lnTo>
                    <a:pt x="3" y="8"/>
                  </a:lnTo>
                  <a:lnTo>
                    <a:pt x="3" y="8"/>
                  </a:lnTo>
                  <a:lnTo>
                    <a:pt x="4" y="8"/>
                  </a:lnTo>
                  <a:lnTo>
                    <a:pt x="4" y="8"/>
                  </a:lnTo>
                  <a:lnTo>
                    <a:pt x="4" y="8"/>
                  </a:lnTo>
                  <a:lnTo>
                    <a:pt x="4" y="8"/>
                  </a:lnTo>
                  <a:lnTo>
                    <a:pt x="4" y="8"/>
                  </a:lnTo>
                  <a:lnTo>
                    <a:pt x="4" y="8"/>
                  </a:lnTo>
                  <a:lnTo>
                    <a:pt x="6" y="9"/>
                  </a:lnTo>
                  <a:lnTo>
                    <a:pt x="6" y="9"/>
                  </a:lnTo>
                  <a:lnTo>
                    <a:pt x="6" y="9"/>
                  </a:lnTo>
                  <a:lnTo>
                    <a:pt x="6" y="9"/>
                  </a:lnTo>
                  <a:lnTo>
                    <a:pt x="6" y="9"/>
                  </a:lnTo>
                  <a:lnTo>
                    <a:pt x="6" y="9"/>
                  </a:lnTo>
                  <a:lnTo>
                    <a:pt x="6" y="9"/>
                  </a:lnTo>
                  <a:lnTo>
                    <a:pt x="6" y="9"/>
                  </a:lnTo>
                  <a:lnTo>
                    <a:pt x="6" y="9"/>
                  </a:lnTo>
                  <a:lnTo>
                    <a:pt x="6" y="9"/>
                  </a:lnTo>
                  <a:lnTo>
                    <a:pt x="6" y="8"/>
                  </a:lnTo>
                  <a:lnTo>
                    <a:pt x="6" y="8"/>
                  </a:lnTo>
                  <a:lnTo>
                    <a:pt x="4" y="8"/>
                  </a:lnTo>
                  <a:lnTo>
                    <a:pt x="4" y="8"/>
                  </a:lnTo>
                  <a:lnTo>
                    <a:pt x="4" y="8"/>
                  </a:lnTo>
                  <a:lnTo>
                    <a:pt x="6" y="8"/>
                  </a:lnTo>
                  <a:lnTo>
                    <a:pt x="6" y="8"/>
                  </a:lnTo>
                  <a:lnTo>
                    <a:pt x="6" y="8"/>
                  </a:lnTo>
                  <a:lnTo>
                    <a:pt x="6" y="8"/>
                  </a:lnTo>
                  <a:lnTo>
                    <a:pt x="6" y="8"/>
                  </a:lnTo>
                  <a:lnTo>
                    <a:pt x="6" y="8"/>
                  </a:lnTo>
                  <a:lnTo>
                    <a:pt x="7" y="8"/>
                  </a:lnTo>
                  <a:lnTo>
                    <a:pt x="7" y="8"/>
                  </a:lnTo>
                  <a:lnTo>
                    <a:pt x="7" y="8"/>
                  </a:lnTo>
                  <a:lnTo>
                    <a:pt x="7" y="8"/>
                  </a:lnTo>
                  <a:lnTo>
                    <a:pt x="8" y="8"/>
                  </a:lnTo>
                  <a:lnTo>
                    <a:pt x="8" y="8"/>
                  </a:lnTo>
                  <a:lnTo>
                    <a:pt x="8" y="8"/>
                  </a:lnTo>
                  <a:lnTo>
                    <a:pt x="8" y="8"/>
                  </a:lnTo>
                  <a:lnTo>
                    <a:pt x="8" y="9"/>
                  </a:lnTo>
                  <a:lnTo>
                    <a:pt x="8" y="8"/>
                  </a:lnTo>
                  <a:lnTo>
                    <a:pt x="9" y="8"/>
                  </a:lnTo>
                  <a:lnTo>
                    <a:pt x="9" y="8"/>
                  </a:lnTo>
                  <a:lnTo>
                    <a:pt x="9" y="8"/>
                  </a:lnTo>
                  <a:lnTo>
                    <a:pt x="8" y="8"/>
                  </a:lnTo>
                  <a:lnTo>
                    <a:pt x="8" y="8"/>
                  </a:lnTo>
                  <a:lnTo>
                    <a:pt x="8" y="8"/>
                  </a:lnTo>
                  <a:lnTo>
                    <a:pt x="8" y="8"/>
                  </a:lnTo>
                  <a:lnTo>
                    <a:pt x="8" y="8"/>
                  </a:lnTo>
                  <a:lnTo>
                    <a:pt x="8" y="8"/>
                  </a:lnTo>
                  <a:lnTo>
                    <a:pt x="8" y="8"/>
                  </a:lnTo>
                  <a:lnTo>
                    <a:pt x="8" y="8"/>
                  </a:lnTo>
                  <a:lnTo>
                    <a:pt x="8" y="8"/>
                  </a:lnTo>
                  <a:lnTo>
                    <a:pt x="8" y="8"/>
                  </a:lnTo>
                  <a:lnTo>
                    <a:pt x="8" y="8"/>
                  </a:lnTo>
                  <a:lnTo>
                    <a:pt x="8" y="7"/>
                  </a:lnTo>
                  <a:lnTo>
                    <a:pt x="8" y="7"/>
                  </a:lnTo>
                  <a:lnTo>
                    <a:pt x="8" y="7"/>
                  </a:lnTo>
                  <a:lnTo>
                    <a:pt x="8" y="7"/>
                  </a:lnTo>
                  <a:lnTo>
                    <a:pt x="8" y="6"/>
                  </a:lnTo>
                  <a:lnTo>
                    <a:pt x="9" y="6"/>
                  </a:lnTo>
                  <a:lnTo>
                    <a:pt x="9" y="6"/>
                  </a:lnTo>
                  <a:lnTo>
                    <a:pt x="9" y="6"/>
                  </a:lnTo>
                  <a:lnTo>
                    <a:pt x="9" y="6"/>
                  </a:lnTo>
                  <a:lnTo>
                    <a:pt x="9" y="6"/>
                  </a:lnTo>
                  <a:lnTo>
                    <a:pt x="11" y="6"/>
                  </a:lnTo>
                  <a:lnTo>
                    <a:pt x="11" y="6"/>
                  </a:lnTo>
                  <a:lnTo>
                    <a:pt x="11" y="6"/>
                  </a:lnTo>
                  <a:lnTo>
                    <a:pt x="12" y="6"/>
                  </a:lnTo>
                  <a:lnTo>
                    <a:pt x="12" y="6"/>
                  </a:lnTo>
                  <a:lnTo>
                    <a:pt x="12" y="6"/>
                  </a:lnTo>
                  <a:lnTo>
                    <a:pt x="12" y="6"/>
                  </a:lnTo>
                  <a:lnTo>
                    <a:pt x="12" y="6"/>
                  </a:lnTo>
                  <a:lnTo>
                    <a:pt x="12" y="6"/>
                  </a:lnTo>
                  <a:lnTo>
                    <a:pt x="12" y="6"/>
                  </a:lnTo>
                  <a:lnTo>
                    <a:pt x="12" y="6"/>
                  </a:lnTo>
                  <a:lnTo>
                    <a:pt x="12" y="6"/>
                  </a:lnTo>
                  <a:lnTo>
                    <a:pt x="14" y="6"/>
                  </a:lnTo>
                  <a:lnTo>
                    <a:pt x="14" y="6"/>
                  </a:lnTo>
                  <a:lnTo>
                    <a:pt x="15" y="6"/>
                  </a:lnTo>
                  <a:lnTo>
                    <a:pt x="15" y="6"/>
                  </a:lnTo>
                  <a:lnTo>
                    <a:pt x="15" y="6"/>
                  </a:lnTo>
                  <a:lnTo>
                    <a:pt x="16" y="6"/>
                  </a:lnTo>
                  <a:lnTo>
                    <a:pt x="16" y="6"/>
                  </a:lnTo>
                  <a:lnTo>
                    <a:pt x="16" y="6"/>
                  </a:lnTo>
                  <a:lnTo>
                    <a:pt x="16" y="6"/>
                  </a:lnTo>
                  <a:lnTo>
                    <a:pt x="16" y="6"/>
                  </a:lnTo>
                  <a:lnTo>
                    <a:pt x="16" y="6"/>
                  </a:lnTo>
                  <a:lnTo>
                    <a:pt x="16" y="6"/>
                  </a:lnTo>
                  <a:lnTo>
                    <a:pt x="16" y="6"/>
                  </a:lnTo>
                  <a:lnTo>
                    <a:pt x="17" y="5"/>
                  </a:lnTo>
                  <a:lnTo>
                    <a:pt x="17" y="5"/>
                  </a:lnTo>
                  <a:lnTo>
                    <a:pt x="17" y="5"/>
                  </a:lnTo>
                  <a:lnTo>
                    <a:pt x="17" y="5"/>
                  </a:lnTo>
                  <a:lnTo>
                    <a:pt x="17" y="5"/>
                  </a:lnTo>
                  <a:lnTo>
                    <a:pt x="17" y="5"/>
                  </a:lnTo>
                  <a:lnTo>
                    <a:pt x="17" y="5"/>
                  </a:lnTo>
                  <a:lnTo>
                    <a:pt x="18" y="5"/>
                  </a:lnTo>
                  <a:lnTo>
                    <a:pt x="18" y="5"/>
                  </a:lnTo>
                  <a:lnTo>
                    <a:pt x="18" y="5"/>
                  </a:lnTo>
                  <a:lnTo>
                    <a:pt x="18" y="5"/>
                  </a:lnTo>
                  <a:lnTo>
                    <a:pt x="18" y="5"/>
                  </a:lnTo>
                  <a:lnTo>
                    <a:pt x="18" y="5"/>
                  </a:lnTo>
                  <a:lnTo>
                    <a:pt x="18" y="6"/>
                  </a:lnTo>
                  <a:lnTo>
                    <a:pt x="18" y="6"/>
                  </a:lnTo>
                  <a:lnTo>
                    <a:pt x="19" y="6"/>
                  </a:lnTo>
                  <a:lnTo>
                    <a:pt x="19" y="6"/>
                  </a:lnTo>
                  <a:lnTo>
                    <a:pt x="21" y="6"/>
                  </a:lnTo>
                  <a:lnTo>
                    <a:pt x="21" y="5"/>
                  </a:lnTo>
                  <a:lnTo>
                    <a:pt x="21" y="5"/>
                  </a:lnTo>
                  <a:lnTo>
                    <a:pt x="21" y="5"/>
                  </a:lnTo>
                  <a:lnTo>
                    <a:pt x="21" y="5"/>
                  </a:lnTo>
                  <a:lnTo>
                    <a:pt x="21" y="5"/>
                  </a:lnTo>
                  <a:lnTo>
                    <a:pt x="21" y="6"/>
                  </a:lnTo>
                  <a:lnTo>
                    <a:pt x="21" y="6"/>
                  </a:lnTo>
                  <a:lnTo>
                    <a:pt x="21" y="6"/>
                  </a:lnTo>
                  <a:lnTo>
                    <a:pt x="19" y="6"/>
                  </a:lnTo>
                  <a:lnTo>
                    <a:pt x="19" y="6"/>
                  </a:lnTo>
                  <a:lnTo>
                    <a:pt x="19" y="6"/>
                  </a:lnTo>
                  <a:lnTo>
                    <a:pt x="19" y="6"/>
                  </a:lnTo>
                  <a:lnTo>
                    <a:pt x="18" y="5"/>
                  </a:lnTo>
                  <a:lnTo>
                    <a:pt x="18" y="5"/>
                  </a:lnTo>
                  <a:lnTo>
                    <a:pt x="18" y="5"/>
                  </a:lnTo>
                  <a:lnTo>
                    <a:pt x="18" y="5"/>
                  </a:lnTo>
                  <a:lnTo>
                    <a:pt x="18" y="5"/>
                  </a:lnTo>
                  <a:lnTo>
                    <a:pt x="18" y="5"/>
                  </a:lnTo>
                  <a:lnTo>
                    <a:pt x="18" y="5"/>
                  </a:lnTo>
                  <a:lnTo>
                    <a:pt x="17" y="5"/>
                  </a:lnTo>
                  <a:lnTo>
                    <a:pt x="17" y="5"/>
                  </a:lnTo>
                  <a:lnTo>
                    <a:pt x="17" y="5"/>
                  </a:lnTo>
                  <a:lnTo>
                    <a:pt x="17" y="5"/>
                  </a:lnTo>
                  <a:lnTo>
                    <a:pt x="17" y="5"/>
                  </a:lnTo>
                  <a:lnTo>
                    <a:pt x="17" y="5"/>
                  </a:lnTo>
                  <a:lnTo>
                    <a:pt x="17" y="5"/>
                  </a:lnTo>
                  <a:lnTo>
                    <a:pt x="17" y="5"/>
                  </a:lnTo>
                  <a:lnTo>
                    <a:pt x="16" y="5"/>
                  </a:lnTo>
                  <a:lnTo>
                    <a:pt x="16" y="5"/>
                  </a:lnTo>
                  <a:lnTo>
                    <a:pt x="16" y="5"/>
                  </a:lnTo>
                  <a:lnTo>
                    <a:pt x="16" y="5"/>
                  </a:lnTo>
                  <a:lnTo>
                    <a:pt x="15" y="5"/>
                  </a:lnTo>
                  <a:lnTo>
                    <a:pt x="15" y="5"/>
                  </a:lnTo>
                  <a:lnTo>
                    <a:pt x="15" y="6"/>
                  </a:lnTo>
                  <a:lnTo>
                    <a:pt x="14" y="6"/>
                  </a:lnTo>
                  <a:lnTo>
                    <a:pt x="10" y="6"/>
                  </a:lnTo>
                  <a:lnTo>
                    <a:pt x="9" y="6"/>
                  </a:lnTo>
                  <a:lnTo>
                    <a:pt x="9" y="6"/>
                  </a:lnTo>
                  <a:lnTo>
                    <a:pt x="9" y="6"/>
                  </a:lnTo>
                  <a:lnTo>
                    <a:pt x="8" y="6"/>
                  </a:lnTo>
                  <a:lnTo>
                    <a:pt x="8" y="6"/>
                  </a:lnTo>
                  <a:lnTo>
                    <a:pt x="8" y="7"/>
                  </a:lnTo>
                  <a:lnTo>
                    <a:pt x="7" y="7"/>
                  </a:lnTo>
                  <a:lnTo>
                    <a:pt x="7" y="7"/>
                  </a:lnTo>
                  <a:lnTo>
                    <a:pt x="7" y="7"/>
                  </a:lnTo>
                  <a:lnTo>
                    <a:pt x="7" y="7"/>
                  </a:lnTo>
                  <a:lnTo>
                    <a:pt x="7" y="7"/>
                  </a:lnTo>
                  <a:lnTo>
                    <a:pt x="7" y="7"/>
                  </a:lnTo>
                  <a:lnTo>
                    <a:pt x="7" y="7"/>
                  </a:lnTo>
                  <a:lnTo>
                    <a:pt x="7" y="7"/>
                  </a:lnTo>
                  <a:lnTo>
                    <a:pt x="7" y="6"/>
                  </a:lnTo>
                  <a:lnTo>
                    <a:pt x="7" y="7"/>
                  </a:lnTo>
                  <a:lnTo>
                    <a:pt x="7" y="7"/>
                  </a:lnTo>
                  <a:lnTo>
                    <a:pt x="7" y="7"/>
                  </a:lnTo>
                  <a:lnTo>
                    <a:pt x="7" y="7"/>
                  </a:lnTo>
                  <a:lnTo>
                    <a:pt x="7" y="7"/>
                  </a:lnTo>
                  <a:lnTo>
                    <a:pt x="7" y="7"/>
                  </a:lnTo>
                  <a:lnTo>
                    <a:pt x="7" y="7"/>
                  </a:lnTo>
                  <a:lnTo>
                    <a:pt x="7" y="7"/>
                  </a:lnTo>
                  <a:lnTo>
                    <a:pt x="7" y="7"/>
                  </a:lnTo>
                  <a:lnTo>
                    <a:pt x="7" y="7"/>
                  </a:lnTo>
                  <a:lnTo>
                    <a:pt x="6" y="7"/>
                  </a:lnTo>
                  <a:lnTo>
                    <a:pt x="6" y="7"/>
                  </a:lnTo>
                  <a:lnTo>
                    <a:pt x="6" y="7"/>
                  </a:lnTo>
                  <a:lnTo>
                    <a:pt x="4" y="7"/>
                  </a:lnTo>
                  <a:lnTo>
                    <a:pt x="3" y="7"/>
                  </a:lnTo>
                  <a:lnTo>
                    <a:pt x="3" y="7"/>
                  </a:lnTo>
                  <a:lnTo>
                    <a:pt x="4" y="7"/>
                  </a:lnTo>
                  <a:lnTo>
                    <a:pt x="4" y="7"/>
                  </a:lnTo>
                  <a:lnTo>
                    <a:pt x="4" y="6"/>
                  </a:lnTo>
                  <a:lnTo>
                    <a:pt x="3" y="6"/>
                  </a:lnTo>
                  <a:lnTo>
                    <a:pt x="3" y="6"/>
                  </a:lnTo>
                  <a:lnTo>
                    <a:pt x="3" y="6"/>
                  </a:lnTo>
                  <a:lnTo>
                    <a:pt x="3" y="6"/>
                  </a:lnTo>
                  <a:lnTo>
                    <a:pt x="3" y="6"/>
                  </a:lnTo>
                  <a:lnTo>
                    <a:pt x="3" y="5"/>
                  </a:lnTo>
                  <a:lnTo>
                    <a:pt x="3" y="5"/>
                  </a:lnTo>
                  <a:lnTo>
                    <a:pt x="3" y="5"/>
                  </a:lnTo>
                  <a:lnTo>
                    <a:pt x="3" y="5"/>
                  </a:lnTo>
                  <a:lnTo>
                    <a:pt x="3" y="4"/>
                  </a:lnTo>
                  <a:lnTo>
                    <a:pt x="3" y="4"/>
                  </a:lnTo>
                  <a:lnTo>
                    <a:pt x="3" y="4"/>
                  </a:lnTo>
                  <a:lnTo>
                    <a:pt x="3" y="4"/>
                  </a:lnTo>
                  <a:lnTo>
                    <a:pt x="4" y="4"/>
                  </a:lnTo>
                  <a:lnTo>
                    <a:pt x="4" y="4"/>
                  </a:lnTo>
                  <a:lnTo>
                    <a:pt x="6" y="4"/>
                  </a:lnTo>
                  <a:lnTo>
                    <a:pt x="7" y="4"/>
                  </a:lnTo>
                  <a:lnTo>
                    <a:pt x="8" y="4"/>
                  </a:lnTo>
                  <a:lnTo>
                    <a:pt x="8" y="4"/>
                  </a:lnTo>
                  <a:lnTo>
                    <a:pt x="9" y="4"/>
                  </a:lnTo>
                  <a:lnTo>
                    <a:pt x="10" y="4"/>
                  </a:lnTo>
                  <a:lnTo>
                    <a:pt x="10" y="4"/>
                  </a:lnTo>
                  <a:lnTo>
                    <a:pt x="11" y="4"/>
                  </a:lnTo>
                  <a:lnTo>
                    <a:pt x="11" y="4"/>
                  </a:lnTo>
                  <a:lnTo>
                    <a:pt x="12" y="4"/>
                  </a:lnTo>
                  <a:lnTo>
                    <a:pt x="14" y="4"/>
                  </a:lnTo>
                  <a:lnTo>
                    <a:pt x="15" y="4"/>
                  </a:lnTo>
                  <a:lnTo>
                    <a:pt x="15" y="4"/>
                  </a:lnTo>
                  <a:lnTo>
                    <a:pt x="16" y="4"/>
                  </a:lnTo>
                  <a:lnTo>
                    <a:pt x="17" y="4"/>
                  </a:lnTo>
                  <a:lnTo>
                    <a:pt x="17" y="4"/>
                  </a:lnTo>
                  <a:lnTo>
                    <a:pt x="18" y="4"/>
                  </a:lnTo>
                  <a:lnTo>
                    <a:pt x="18" y="2"/>
                  </a:lnTo>
                  <a:lnTo>
                    <a:pt x="18" y="2"/>
                  </a:lnTo>
                  <a:lnTo>
                    <a:pt x="18" y="2"/>
                  </a:lnTo>
                  <a:lnTo>
                    <a:pt x="18" y="2"/>
                  </a:lnTo>
                  <a:lnTo>
                    <a:pt x="18" y="2"/>
                  </a:lnTo>
                  <a:lnTo>
                    <a:pt x="18" y="1"/>
                  </a:lnTo>
                  <a:lnTo>
                    <a:pt x="18" y="1"/>
                  </a:lnTo>
                  <a:lnTo>
                    <a:pt x="19" y="1"/>
                  </a:lnTo>
                  <a:lnTo>
                    <a:pt x="19" y="0"/>
                  </a:lnTo>
                  <a:lnTo>
                    <a:pt x="21" y="0"/>
                  </a:lnTo>
                  <a:lnTo>
                    <a:pt x="21" y="0"/>
                  </a:lnTo>
                  <a:lnTo>
                    <a:pt x="21" y="1"/>
                  </a:lnTo>
                  <a:lnTo>
                    <a:pt x="21" y="1"/>
                  </a:lnTo>
                  <a:lnTo>
                    <a:pt x="22" y="1"/>
                  </a:lnTo>
                  <a:lnTo>
                    <a:pt x="23" y="0"/>
                  </a:lnTo>
                  <a:lnTo>
                    <a:pt x="23" y="0"/>
                  </a:lnTo>
                  <a:lnTo>
                    <a:pt x="24" y="0"/>
                  </a:lnTo>
                  <a:lnTo>
                    <a:pt x="24" y="0"/>
                  </a:lnTo>
                  <a:lnTo>
                    <a:pt x="26" y="0"/>
                  </a:lnTo>
                  <a:lnTo>
                    <a:pt x="26" y="0"/>
                  </a:lnTo>
                  <a:lnTo>
                    <a:pt x="26" y="1"/>
                  </a:lnTo>
                  <a:lnTo>
                    <a:pt x="26" y="1"/>
                  </a:lnTo>
                  <a:lnTo>
                    <a:pt x="28" y="1"/>
                  </a:lnTo>
                  <a:lnTo>
                    <a:pt x="28" y="1"/>
                  </a:lnTo>
                  <a:lnTo>
                    <a:pt x="28" y="2"/>
                  </a:lnTo>
                  <a:lnTo>
                    <a:pt x="28" y="2"/>
                  </a:lnTo>
                  <a:lnTo>
                    <a:pt x="28" y="4"/>
                  </a:lnTo>
                  <a:lnTo>
                    <a:pt x="29" y="4"/>
                  </a:lnTo>
                  <a:lnTo>
                    <a:pt x="29" y="4"/>
                  </a:lnTo>
                  <a:lnTo>
                    <a:pt x="29" y="2"/>
                  </a:lnTo>
                  <a:lnTo>
                    <a:pt x="30" y="2"/>
                  </a:lnTo>
                  <a:lnTo>
                    <a:pt x="30" y="2"/>
                  </a:lnTo>
                  <a:lnTo>
                    <a:pt x="31" y="2"/>
                  </a:lnTo>
                  <a:lnTo>
                    <a:pt x="31" y="2"/>
                  </a:lnTo>
                  <a:lnTo>
                    <a:pt x="31" y="4"/>
                  </a:lnTo>
                  <a:lnTo>
                    <a:pt x="31" y="4"/>
                  </a:lnTo>
                  <a:lnTo>
                    <a:pt x="32" y="5"/>
                  </a:lnTo>
                  <a:lnTo>
                    <a:pt x="32" y="5"/>
                  </a:lnTo>
                  <a:lnTo>
                    <a:pt x="32" y="5"/>
                  </a:lnTo>
                  <a:lnTo>
                    <a:pt x="32" y="5"/>
                  </a:lnTo>
                  <a:lnTo>
                    <a:pt x="33" y="6"/>
                  </a:lnTo>
                  <a:lnTo>
                    <a:pt x="33" y="6"/>
                  </a:lnTo>
                  <a:lnTo>
                    <a:pt x="33" y="6"/>
                  </a:lnTo>
                  <a:lnTo>
                    <a:pt x="33" y="6"/>
                  </a:lnTo>
                  <a:lnTo>
                    <a:pt x="35" y="6"/>
                  </a:lnTo>
                  <a:lnTo>
                    <a:pt x="36" y="5"/>
                  </a:lnTo>
                  <a:lnTo>
                    <a:pt x="36" y="5"/>
                  </a:lnTo>
                  <a:lnTo>
                    <a:pt x="37" y="5"/>
                  </a:lnTo>
                  <a:lnTo>
                    <a:pt x="37" y="4"/>
                  </a:lnTo>
                  <a:lnTo>
                    <a:pt x="38" y="4"/>
                  </a:lnTo>
                  <a:lnTo>
                    <a:pt x="38" y="4"/>
                  </a:lnTo>
                  <a:lnTo>
                    <a:pt x="38" y="4"/>
                  </a:lnTo>
                  <a:lnTo>
                    <a:pt x="38" y="4"/>
                  </a:lnTo>
                  <a:lnTo>
                    <a:pt x="38" y="4"/>
                  </a:lnTo>
                  <a:lnTo>
                    <a:pt x="38" y="4"/>
                  </a:lnTo>
                  <a:lnTo>
                    <a:pt x="39" y="4"/>
                  </a:lnTo>
                  <a:lnTo>
                    <a:pt x="39" y="4"/>
                  </a:lnTo>
                  <a:lnTo>
                    <a:pt x="39" y="4"/>
                  </a:lnTo>
                  <a:lnTo>
                    <a:pt x="39" y="4"/>
                  </a:lnTo>
                  <a:lnTo>
                    <a:pt x="40" y="5"/>
                  </a:lnTo>
                  <a:lnTo>
                    <a:pt x="40" y="5"/>
                  </a:lnTo>
                  <a:lnTo>
                    <a:pt x="40" y="5"/>
                  </a:lnTo>
                  <a:lnTo>
                    <a:pt x="40" y="5"/>
                  </a:lnTo>
                  <a:lnTo>
                    <a:pt x="40" y="5"/>
                  </a:lnTo>
                  <a:lnTo>
                    <a:pt x="40" y="5"/>
                  </a:lnTo>
                  <a:lnTo>
                    <a:pt x="40" y="5"/>
                  </a:lnTo>
                  <a:lnTo>
                    <a:pt x="40" y="6"/>
                  </a:lnTo>
                  <a:lnTo>
                    <a:pt x="42" y="6"/>
                  </a:lnTo>
                  <a:lnTo>
                    <a:pt x="40" y="7"/>
                  </a:lnTo>
                  <a:lnTo>
                    <a:pt x="40" y="7"/>
                  </a:lnTo>
                  <a:lnTo>
                    <a:pt x="40" y="8"/>
                  </a:lnTo>
                  <a:lnTo>
                    <a:pt x="39" y="8"/>
                  </a:lnTo>
                  <a:lnTo>
                    <a:pt x="38" y="8"/>
                  </a:lnTo>
                  <a:lnTo>
                    <a:pt x="38" y="8"/>
                  </a:lnTo>
                  <a:lnTo>
                    <a:pt x="37" y="8"/>
                  </a:lnTo>
                  <a:lnTo>
                    <a:pt x="37" y="8"/>
                  </a:lnTo>
                  <a:lnTo>
                    <a:pt x="37" y="8"/>
                  </a:lnTo>
                  <a:lnTo>
                    <a:pt x="36" y="9"/>
                  </a:lnTo>
                  <a:lnTo>
                    <a:pt x="36" y="9"/>
                  </a:lnTo>
                  <a:lnTo>
                    <a:pt x="36" y="9"/>
                  </a:lnTo>
                  <a:lnTo>
                    <a:pt x="35" y="9"/>
                  </a:lnTo>
                  <a:lnTo>
                    <a:pt x="33" y="9"/>
                  </a:lnTo>
                  <a:lnTo>
                    <a:pt x="33" y="9"/>
                  </a:lnTo>
                  <a:lnTo>
                    <a:pt x="33" y="9"/>
                  </a:lnTo>
                  <a:lnTo>
                    <a:pt x="32" y="8"/>
                  </a:lnTo>
                  <a:lnTo>
                    <a:pt x="32" y="8"/>
                  </a:lnTo>
                  <a:lnTo>
                    <a:pt x="32" y="8"/>
                  </a:lnTo>
                  <a:lnTo>
                    <a:pt x="32" y="8"/>
                  </a:lnTo>
                  <a:lnTo>
                    <a:pt x="32" y="8"/>
                  </a:lnTo>
                  <a:lnTo>
                    <a:pt x="32" y="8"/>
                  </a:lnTo>
                  <a:lnTo>
                    <a:pt x="31" y="8"/>
                  </a:lnTo>
                  <a:lnTo>
                    <a:pt x="31" y="8"/>
                  </a:lnTo>
                  <a:lnTo>
                    <a:pt x="31" y="8"/>
                  </a:lnTo>
                  <a:lnTo>
                    <a:pt x="31" y="8"/>
                  </a:lnTo>
                  <a:lnTo>
                    <a:pt x="30" y="7"/>
                  </a:lnTo>
                  <a:lnTo>
                    <a:pt x="30" y="7"/>
                  </a:lnTo>
                  <a:lnTo>
                    <a:pt x="30" y="7"/>
                  </a:lnTo>
                  <a:lnTo>
                    <a:pt x="29" y="7"/>
                  </a:lnTo>
                  <a:lnTo>
                    <a:pt x="29" y="7"/>
                  </a:lnTo>
                  <a:lnTo>
                    <a:pt x="29" y="7"/>
                  </a:lnTo>
                  <a:lnTo>
                    <a:pt x="28" y="7"/>
                  </a:lnTo>
                  <a:lnTo>
                    <a:pt x="28" y="6"/>
                  </a:lnTo>
                  <a:lnTo>
                    <a:pt x="28" y="6"/>
                  </a:lnTo>
                  <a:lnTo>
                    <a:pt x="28" y="6"/>
                  </a:lnTo>
                  <a:lnTo>
                    <a:pt x="26" y="6"/>
                  </a:lnTo>
                  <a:lnTo>
                    <a:pt x="26" y="6"/>
                  </a:lnTo>
                  <a:lnTo>
                    <a:pt x="26" y="6"/>
                  </a:lnTo>
                  <a:lnTo>
                    <a:pt x="25" y="6"/>
                  </a:lnTo>
                  <a:lnTo>
                    <a:pt x="25" y="6"/>
                  </a:lnTo>
                  <a:lnTo>
                    <a:pt x="24" y="5"/>
                  </a:lnTo>
                  <a:lnTo>
                    <a:pt x="24" y="5"/>
                  </a:lnTo>
                  <a:lnTo>
                    <a:pt x="24" y="5"/>
                  </a:lnTo>
                  <a:lnTo>
                    <a:pt x="24" y="5"/>
                  </a:lnTo>
                  <a:lnTo>
                    <a:pt x="24" y="5"/>
                  </a:lnTo>
                  <a:lnTo>
                    <a:pt x="23" y="4"/>
                  </a:lnTo>
                  <a:lnTo>
                    <a:pt x="23" y="4"/>
                  </a:lnTo>
                  <a:lnTo>
                    <a:pt x="23" y="4"/>
                  </a:lnTo>
                  <a:lnTo>
                    <a:pt x="22" y="4"/>
                  </a:lnTo>
                  <a:lnTo>
                    <a:pt x="22" y="5"/>
                  </a:lnTo>
                  <a:lnTo>
                    <a:pt x="22" y="5"/>
                  </a:lnTo>
                  <a:lnTo>
                    <a:pt x="22" y="6"/>
                  </a:lnTo>
                  <a:lnTo>
                    <a:pt x="22" y="6"/>
                  </a:lnTo>
                  <a:lnTo>
                    <a:pt x="22" y="7"/>
                  </a:lnTo>
                  <a:lnTo>
                    <a:pt x="21" y="7"/>
                  </a:lnTo>
                  <a:lnTo>
                    <a:pt x="21" y="7"/>
                  </a:lnTo>
                  <a:lnTo>
                    <a:pt x="19" y="7"/>
                  </a:lnTo>
                  <a:lnTo>
                    <a:pt x="19" y="7"/>
                  </a:lnTo>
                  <a:lnTo>
                    <a:pt x="18" y="7"/>
                  </a:lnTo>
                  <a:lnTo>
                    <a:pt x="17" y="7"/>
                  </a:lnTo>
                  <a:lnTo>
                    <a:pt x="17" y="7"/>
                  </a:lnTo>
                  <a:lnTo>
                    <a:pt x="17" y="7"/>
                  </a:lnTo>
                  <a:lnTo>
                    <a:pt x="16" y="7"/>
                  </a:lnTo>
                  <a:lnTo>
                    <a:pt x="16" y="7"/>
                  </a:lnTo>
                  <a:lnTo>
                    <a:pt x="15" y="7"/>
                  </a:lnTo>
                  <a:lnTo>
                    <a:pt x="15" y="7"/>
                  </a:lnTo>
                  <a:lnTo>
                    <a:pt x="15" y="7"/>
                  </a:lnTo>
                  <a:lnTo>
                    <a:pt x="14" y="7"/>
                  </a:lnTo>
                  <a:lnTo>
                    <a:pt x="14" y="7"/>
                  </a:lnTo>
                  <a:lnTo>
                    <a:pt x="14" y="8"/>
                  </a:lnTo>
                  <a:lnTo>
                    <a:pt x="14" y="9"/>
                  </a:lnTo>
                  <a:lnTo>
                    <a:pt x="14" y="9"/>
                  </a:lnTo>
                  <a:lnTo>
                    <a:pt x="14" y="11"/>
                  </a:lnTo>
                  <a:lnTo>
                    <a:pt x="12" y="11"/>
                  </a:lnTo>
                  <a:lnTo>
                    <a:pt x="12" y="11"/>
                  </a:lnTo>
                  <a:lnTo>
                    <a:pt x="12" y="11"/>
                  </a:lnTo>
                  <a:lnTo>
                    <a:pt x="11" y="11"/>
                  </a:lnTo>
                  <a:lnTo>
                    <a:pt x="9" y="11"/>
                  </a:lnTo>
                  <a:lnTo>
                    <a:pt x="7" y="11"/>
                  </a:lnTo>
                  <a:lnTo>
                    <a:pt x="4" y="11"/>
                  </a:lnTo>
                  <a:lnTo>
                    <a:pt x="2" y="11"/>
                  </a:lnTo>
                  <a:lnTo>
                    <a:pt x="2" y="11"/>
                  </a:lnTo>
                  <a:lnTo>
                    <a:pt x="1" y="11"/>
                  </a:lnTo>
                  <a:lnTo>
                    <a:pt x="1" y="11"/>
                  </a:lnTo>
                  <a:lnTo>
                    <a:pt x="1" y="11"/>
                  </a:lnTo>
                  <a:lnTo>
                    <a:pt x="1" y="12"/>
                  </a:lnTo>
                  <a:lnTo>
                    <a:pt x="1" y="12"/>
                  </a:lnTo>
                  <a:lnTo>
                    <a:pt x="1" y="12"/>
                  </a:lnTo>
                  <a:lnTo>
                    <a:pt x="1" y="1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38" name="Freeform 893">
              <a:extLst>
                <a:ext uri="{FF2B5EF4-FFF2-40B4-BE49-F238E27FC236}">
                  <a16:creationId xmlns:a16="http://schemas.microsoft.com/office/drawing/2014/main" id="{CA3F8C22-711C-41F4-A5AC-6BB398E4DFAA}"/>
                </a:ext>
              </a:extLst>
            </p:cNvPr>
            <p:cNvSpPr>
              <a:spLocks noEditPoints="1"/>
            </p:cNvSpPr>
            <p:nvPr/>
          </p:nvSpPr>
          <p:spPr bwMode="auto">
            <a:xfrm>
              <a:off x="5497930" y="3080095"/>
              <a:ext cx="56091" cy="37394"/>
            </a:xfrm>
            <a:custGeom>
              <a:avLst/>
              <a:gdLst>
                <a:gd name="T0" fmla="*/ 10 w 42"/>
                <a:gd name="T1" fmla="*/ 25 h 28"/>
                <a:gd name="T2" fmla="*/ 9 w 42"/>
                <a:gd name="T3" fmla="*/ 24 h 28"/>
                <a:gd name="T4" fmla="*/ 9 w 42"/>
                <a:gd name="T5" fmla="*/ 24 h 28"/>
                <a:gd name="T6" fmla="*/ 7 w 42"/>
                <a:gd name="T7" fmla="*/ 25 h 28"/>
                <a:gd name="T8" fmla="*/ 6 w 42"/>
                <a:gd name="T9" fmla="*/ 24 h 28"/>
                <a:gd name="T10" fmla="*/ 8 w 42"/>
                <a:gd name="T11" fmla="*/ 24 h 28"/>
                <a:gd name="T12" fmla="*/ 14 w 42"/>
                <a:gd name="T13" fmla="*/ 23 h 28"/>
                <a:gd name="T14" fmla="*/ 7 w 42"/>
                <a:gd name="T15" fmla="*/ 22 h 28"/>
                <a:gd name="T16" fmla="*/ 14 w 42"/>
                <a:gd name="T17" fmla="*/ 19 h 28"/>
                <a:gd name="T18" fmla="*/ 6 w 42"/>
                <a:gd name="T19" fmla="*/ 18 h 28"/>
                <a:gd name="T20" fmla="*/ 5 w 42"/>
                <a:gd name="T21" fmla="*/ 19 h 28"/>
                <a:gd name="T22" fmla="*/ 10 w 42"/>
                <a:gd name="T23" fmla="*/ 18 h 28"/>
                <a:gd name="T24" fmla="*/ 10 w 42"/>
                <a:gd name="T25" fmla="*/ 17 h 28"/>
                <a:gd name="T26" fmla="*/ 15 w 42"/>
                <a:gd name="T27" fmla="*/ 17 h 28"/>
                <a:gd name="T28" fmla="*/ 8 w 42"/>
                <a:gd name="T29" fmla="*/ 14 h 28"/>
                <a:gd name="T30" fmla="*/ 42 w 42"/>
                <a:gd name="T31" fmla="*/ 5 h 28"/>
                <a:gd name="T32" fmla="*/ 38 w 42"/>
                <a:gd name="T33" fmla="*/ 8 h 28"/>
                <a:gd name="T34" fmla="*/ 41 w 42"/>
                <a:gd name="T35" fmla="*/ 11 h 28"/>
                <a:gd name="T36" fmla="*/ 39 w 42"/>
                <a:gd name="T37" fmla="*/ 15 h 28"/>
                <a:gd name="T38" fmla="*/ 34 w 42"/>
                <a:gd name="T39" fmla="*/ 16 h 28"/>
                <a:gd name="T40" fmla="*/ 28 w 42"/>
                <a:gd name="T41" fmla="*/ 18 h 28"/>
                <a:gd name="T42" fmla="*/ 22 w 42"/>
                <a:gd name="T43" fmla="*/ 28 h 28"/>
                <a:gd name="T44" fmla="*/ 23 w 42"/>
                <a:gd name="T45" fmla="*/ 24 h 28"/>
                <a:gd name="T46" fmla="*/ 21 w 42"/>
                <a:gd name="T47" fmla="*/ 26 h 28"/>
                <a:gd name="T48" fmla="*/ 20 w 42"/>
                <a:gd name="T49" fmla="*/ 23 h 28"/>
                <a:gd name="T50" fmla="*/ 17 w 42"/>
                <a:gd name="T51" fmla="*/ 21 h 28"/>
                <a:gd name="T52" fmla="*/ 17 w 42"/>
                <a:gd name="T53" fmla="*/ 21 h 28"/>
                <a:gd name="T54" fmla="*/ 16 w 42"/>
                <a:gd name="T55" fmla="*/ 19 h 28"/>
                <a:gd name="T56" fmla="*/ 18 w 42"/>
                <a:gd name="T57" fmla="*/ 17 h 28"/>
                <a:gd name="T58" fmla="*/ 21 w 42"/>
                <a:gd name="T59" fmla="*/ 17 h 28"/>
                <a:gd name="T60" fmla="*/ 22 w 42"/>
                <a:gd name="T61" fmla="*/ 18 h 28"/>
                <a:gd name="T62" fmla="*/ 22 w 42"/>
                <a:gd name="T63" fmla="*/ 16 h 28"/>
                <a:gd name="T64" fmla="*/ 21 w 42"/>
                <a:gd name="T65" fmla="*/ 15 h 28"/>
                <a:gd name="T66" fmla="*/ 20 w 42"/>
                <a:gd name="T67" fmla="*/ 16 h 28"/>
                <a:gd name="T68" fmla="*/ 17 w 42"/>
                <a:gd name="T69" fmla="*/ 17 h 28"/>
                <a:gd name="T70" fmla="*/ 16 w 42"/>
                <a:gd name="T71" fmla="*/ 16 h 28"/>
                <a:gd name="T72" fmla="*/ 17 w 42"/>
                <a:gd name="T73" fmla="*/ 12 h 28"/>
                <a:gd name="T74" fmla="*/ 22 w 42"/>
                <a:gd name="T75" fmla="*/ 14 h 28"/>
                <a:gd name="T76" fmla="*/ 22 w 42"/>
                <a:gd name="T77" fmla="*/ 12 h 28"/>
                <a:gd name="T78" fmla="*/ 20 w 42"/>
                <a:gd name="T79" fmla="*/ 12 h 28"/>
                <a:gd name="T80" fmla="*/ 14 w 42"/>
                <a:gd name="T81" fmla="*/ 14 h 28"/>
                <a:gd name="T82" fmla="*/ 11 w 42"/>
                <a:gd name="T83" fmla="*/ 12 h 28"/>
                <a:gd name="T84" fmla="*/ 10 w 42"/>
                <a:gd name="T85" fmla="*/ 14 h 28"/>
                <a:gd name="T86" fmla="*/ 14 w 42"/>
                <a:gd name="T87" fmla="*/ 10 h 28"/>
                <a:gd name="T88" fmla="*/ 10 w 42"/>
                <a:gd name="T89" fmla="*/ 11 h 28"/>
                <a:gd name="T90" fmla="*/ 6 w 42"/>
                <a:gd name="T91" fmla="*/ 11 h 28"/>
                <a:gd name="T92" fmla="*/ 6 w 42"/>
                <a:gd name="T93" fmla="*/ 7 h 28"/>
                <a:gd name="T94" fmla="*/ 7 w 42"/>
                <a:gd name="T95" fmla="*/ 5 h 28"/>
                <a:gd name="T96" fmla="*/ 6 w 42"/>
                <a:gd name="T97" fmla="*/ 7 h 28"/>
                <a:gd name="T98" fmla="*/ 1 w 42"/>
                <a:gd name="T99" fmla="*/ 7 h 28"/>
                <a:gd name="T100" fmla="*/ 6 w 42"/>
                <a:gd name="T101" fmla="*/ 4 h 28"/>
                <a:gd name="T102" fmla="*/ 9 w 42"/>
                <a:gd name="T103" fmla="*/ 4 h 28"/>
                <a:gd name="T104" fmla="*/ 20 w 42"/>
                <a:gd name="T105" fmla="*/ 1 h 28"/>
                <a:gd name="T106" fmla="*/ 32 w 42"/>
                <a:gd name="T107" fmla="*/ 0 h 28"/>
                <a:gd name="T108" fmla="*/ 42 w 42"/>
                <a:gd name="T10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2" h="28">
                  <a:moveTo>
                    <a:pt x="10" y="24"/>
                  </a:moveTo>
                  <a:lnTo>
                    <a:pt x="10" y="25"/>
                  </a:lnTo>
                  <a:lnTo>
                    <a:pt x="11" y="25"/>
                  </a:lnTo>
                  <a:lnTo>
                    <a:pt x="10" y="25"/>
                  </a:lnTo>
                  <a:lnTo>
                    <a:pt x="9" y="25"/>
                  </a:lnTo>
                  <a:lnTo>
                    <a:pt x="10" y="25"/>
                  </a:lnTo>
                  <a:lnTo>
                    <a:pt x="9" y="25"/>
                  </a:lnTo>
                  <a:lnTo>
                    <a:pt x="10" y="25"/>
                  </a:lnTo>
                  <a:lnTo>
                    <a:pt x="10" y="24"/>
                  </a:lnTo>
                  <a:lnTo>
                    <a:pt x="10" y="23"/>
                  </a:lnTo>
                  <a:lnTo>
                    <a:pt x="10" y="24"/>
                  </a:lnTo>
                  <a:close/>
                  <a:moveTo>
                    <a:pt x="9" y="24"/>
                  </a:moveTo>
                  <a:lnTo>
                    <a:pt x="9" y="25"/>
                  </a:lnTo>
                  <a:lnTo>
                    <a:pt x="9" y="24"/>
                  </a:lnTo>
                  <a:lnTo>
                    <a:pt x="8" y="24"/>
                  </a:lnTo>
                  <a:lnTo>
                    <a:pt x="9" y="24"/>
                  </a:lnTo>
                  <a:lnTo>
                    <a:pt x="9" y="23"/>
                  </a:lnTo>
                  <a:lnTo>
                    <a:pt x="9" y="24"/>
                  </a:lnTo>
                  <a:close/>
                  <a:moveTo>
                    <a:pt x="8" y="24"/>
                  </a:moveTo>
                  <a:lnTo>
                    <a:pt x="9" y="25"/>
                  </a:lnTo>
                  <a:lnTo>
                    <a:pt x="8" y="25"/>
                  </a:lnTo>
                  <a:lnTo>
                    <a:pt x="8" y="26"/>
                  </a:lnTo>
                  <a:lnTo>
                    <a:pt x="7" y="26"/>
                  </a:lnTo>
                  <a:lnTo>
                    <a:pt x="7" y="25"/>
                  </a:lnTo>
                  <a:lnTo>
                    <a:pt x="8" y="25"/>
                  </a:lnTo>
                  <a:lnTo>
                    <a:pt x="7" y="25"/>
                  </a:lnTo>
                  <a:lnTo>
                    <a:pt x="7" y="26"/>
                  </a:lnTo>
                  <a:lnTo>
                    <a:pt x="7" y="25"/>
                  </a:lnTo>
                  <a:lnTo>
                    <a:pt x="6" y="25"/>
                  </a:lnTo>
                  <a:lnTo>
                    <a:pt x="6" y="24"/>
                  </a:lnTo>
                  <a:lnTo>
                    <a:pt x="7" y="24"/>
                  </a:lnTo>
                  <a:lnTo>
                    <a:pt x="7" y="25"/>
                  </a:lnTo>
                  <a:lnTo>
                    <a:pt x="7" y="24"/>
                  </a:lnTo>
                  <a:lnTo>
                    <a:pt x="8" y="24"/>
                  </a:lnTo>
                  <a:lnTo>
                    <a:pt x="8" y="23"/>
                  </a:lnTo>
                  <a:lnTo>
                    <a:pt x="8" y="24"/>
                  </a:lnTo>
                  <a:close/>
                  <a:moveTo>
                    <a:pt x="11" y="23"/>
                  </a:moveTo>
                  <a:lnTo>
                    <a:pt x="10" y="23"/>
                  </a:lnTo>
                  <a:lnTo>
                    <a:pt x="11" y="22"/>
                  </a:lnTo>
                  <a:lnTo>
                    <a:pt x="11" y="23"/>
                  </a:lnTo>
                  <a:close/>
                  <a:moveTo>
                    <a:pt x="14" y="22"/>
                  </a:moveTo>
                  <a:lnTo>
                    <a:pt x="14" y="23"/>
                  </a:lnTo>
                  <a:lnTo>
                    <a:pt x="13" y="23"/>
                  </a:lnTo>
                  <a:lnTo>
                    <a:pt x="13" y="24"/>
                  </a:lnTo>
                  <a:lnTo>
                    <a:pt x="13" y="23"/>
                  </a:lnTo>
                  <a:lnTo>
                    <a:pt x="13" y="22"/>
                  </a:lnTo>
                  <a:lnTo>
                    <a:pt x="14" y="22"/>
                  </a:lnTo>
                  <a:close/>
                  <a:moveTo>
                    <a:pt x="7" y="22"/>
                  </a:moveTo>
                  <a:lnTo>
                    <a:pt x="7" y="23"/>
                  </a:lnTo>
                  <a:lnTo>
                    <a:pt x="6" y="23"/>
                  </a:lnTo>
                  <a:lnTo>
                    <a:pt x="6" y="22"/>
                  </a:lnTo>
                  <a:lnTo>
                    <a:pt x="7" y="22"/>
                  </a:lnTo>
                  <a:close/>
                  <a:moveTo>
                    <a:pt x="14" y="18"/>
                  </a:moveTo>
                  <a:lnTo>
                    <a:pt x="14" y="19"/>
                  </a:lnTo>
                  <a:lnTo>
                    <a:pt x="13" y="19"/>
                  </a:lnTo>
                  <a:lnTo>
                    <a:pt x="14" y="19"/>
                  </a:lnTo>
                  <a:lnTo>
                    <a:pt x="14" y="18"/>
                  </a:lnTo>
                  <a:close/>
                  <a:moveTo>
                    <a:pt x="7" y="19"/>
                  </a:moveTo>
                  <a:lnTo>
                    <a:pt x="6" y="19"/>
                  </a:lnTo>
                  <a:lnTo>
                    <a:pt x="6" y="18"/>
                  </a:lnTo>
                  <a:lnTo>
                    <a:pt x="7" y="18"/>
                  </a:lnTo>
                  <a:lnTo>
                    <a:pt x="7" y="19"/>
                  </a:lnTo>
                  <a:close/>
                  <a:moveTo>
                    <a:pt x="6" y="17"/>
                  </a:moveTo>
                  <a:lnTo>
                    <a:pt x="6" y="18"/>
                  </a:lnTo>
                  <a:lnTo>
                    <a:pt x="6" y="19"/>
                  </a:lnTo>
                  <a:lnTo>
                    <a:pt x="5" y="19"/>
                  </a:lnTo>
                  <a:lnTo>
                    <a:pt x="5" y="18"/>
                  </a:lnTo>
                  <a:lnTo>
                    <a:pt x="3" y="18"/>
                  </a:lnTo>
                  <a:lnTo>
                    <a:pt x="5" y="18"/>
                  </a:lnTo>
                  <a:lnTo>
                    <a:pt x="6" y="17"/>
                  </a:lnTo>
                  <a:close/>
                  <a:moveTo>
                    <a:pt x="10" y="17"/>
                  </a:moveTo>
                  <a:lnTo>
                    <a:pt x="10" y="18"/>
                  </a:lnTo>
                  <a:lnTo>
                    <a:pt x="10" y="19"/>
                  </a:lnTo>
                  <a:lnTo>
                    <a:pt x="9" y="19"/>
                  </a:lnTo>
                  <a:lnTo>
                    <a:pt x="8" y="19"/>
                  </a:lnTo>
                  <a:lnTo>
                    <a:pt x="9" y="18"/>
                  </a:lnTo>
                  <a:lnTo>
                    <a:pt x="9" y="17"/>
                  </a:lnTo>
                  <a:lnTo>
                    <a:pt x="10" y="17"/>
                  </a:lnTo>
                  <a:close/>
                  <a:moveTo>
                    <a:pt x="16" y="17"/>
                  </a:moveTo>
                  <a:lnTo>
                    <a:pt x="16" y="18"/>
                  </a:lnTo>
                  <a:lnTo>
                    <a:pt x="15" y="18"/>
                  </a:lnTo>
                  <a:lnTo>
                    <a:pt x="16" y="18"/>
                  </a:lnTo>
                  <a:lnTo>
                    <a:pt x="15" y="18"/>
                  </a:lnTo>
                  <a:lnTo>
                    <a:pt x="15" y="17"/>
                  </a:lnTo>
                  <a:lnTo>
                    <a:pt x="16" y="17"/>
                  </a:lnTo>
                  <a:close/>
                  <a:moveTo>
                    <a:pt x="9" y="12"/>
                  </a:moveTo>
                  <a:lnTo>
                    <a:pt x="9" y="14"/>
                  </a:lnTo>
                  <a:lnTo>
                    <a:pt x="9" y="15"/>
                  </a:lnTo>
                  <a:lnTo>
                    <a:pt x="8" y="15"/>
                  </a:lnTo>
                  <a:lnTo>
                    <a:pt x="8" y="14"/>
                  </a:lnTo>
                  <a:lnTo>
                    <a:pt x="7" y="14"/>
                  </a:lnTo>
                  <a:lnTo>
                    <a:pt x="7" y="12"/>
                  </a:lnTo>
                  <a:lnTo>
                    <a:pt x="8" y="12"/>
                  </a:lnTo>
                  <a:lnTo>
                    <a:pt x="9" y="12"/>
                  </a:lnTo>
                  <a:close/>
                  <a:moveTo>
                    <a:pt x="42" y="4"/>
                  </a:moveTo>
                  <a:lnTo>
                    <a:pt x="42" y="5"/>
                  </a:lnTo>
                  <a:lnTo>
                    <a:pt x="42" y="7"/>
                  </a:lnTo>
                  <a:lnTo>
                    <a:pt x="41" y="7"/>
                  </a:lnTo>
                  <a:lnTo>
                    <a:pt x="39" y="7"/>
                  </a:lnTo>
                  <a:lnTo>
                    <a:pt x="41" y="7"/>
                  </a:lnTo>
                  <a:lnTo>
                    <a:pt x="39" y="7"/>
                  </a:lnTo>
                  <a:lnTo>
                    <a:pt x="38" y="8"/>
                  </a:lnTo>
                  <a:lnTo>
                    <a:pt x="37" y="8"/>
                  </a:lnTo>
                  <a:lnTo>
                    <a:pt x="38" y="9"/>
                  </a:lnTo>
                  <a:lnTo>
                    <a:pt x="39" y="9"/>
                  </a:lnTo>
                  <a:lnTo>
                    <a:pt x="39" y="10"/>
                  </a:lnTo>
                  <a:lnTo>
                    <a:pt x="41" y="10"/>
                  </a:lnTo>
                  <a:lnTo>
                    <a:pt x="41" y="11"/>
                  </a:lnTo>
                  <a:lnTo>
                    <a:pt x="41" y="12"/>
                  </a:lnTo>
                  <a:lnTo>
                    <a:pt x="41" y="14"/>
                  </a:lnTo>
                  <a:lnTo>
                    <a:pt x="41" y="15"/>
                  </a:lnTo>
                  <a:lnTo>
                    <a:pt x="41" y="16"/>
                  </a:lnTo>
                  <a:lnTo>
                    <a:pt x="39" y="16"/>
                  </a:lnTo>
                  <a:lnTo>
                    <a:pt x="39" y="15"/>
                  </a:lnTo>
                  <a:lnTo>
                    <a:pt x="39" y="16"/>
                  </a:lnTo>
                  <a:lnTo>
                    <a:pt x="38" y="16"/>
                  </a:lnTo>
                  <a:lnTo>
                    <a:pt x="37" y="16"/>
                  </a:lnTo>
                  <a:lnTo>
                    <a:pt x="36" y="16"/>
                  </a:lnTo>
                  <a:lnTo>
                    <a:pt x="35" y="16"/>
                  </a:lnTo>
                  <a:lnTo>
                    <a:pt x="34" y="16"/>
                  </a:lnTo>
                  <a:lnTo>
                    <a:pt x="32" y="16"/>
                  </a:lnTo>
                  <a:lnTo>
                    <a:pt x="32" y="17"/>
                  </a:lnTo>
                  <a:lnTo>
                    <a:pt x="31" y="18"/>
                  </a:lnTo>
                  <a:lnTo>
                    <a:pt x="30" y="18"/>
                  </a:lnTo>
                  <a:lnTo>
                    <a:pt x="29" y="18"/>
                  </a:lnTo>
                  <a:lnTo>
                    <a:pt x="28" y="18"/>
                  </a:lnTo>
                  <a:lnTo>
                    <a:pt x="27" y="19"/>
                  </a:lnTo>
                  <a:lnTo>
                    <a:pt x="25" y="22"/>
                  </a:lnTo>
                  <a:lnTo>
                    <a:pt x="25" y="23"/>
                  </a:lnTo>
                  <a:lnTo>
                    <a:pt x="23" y="26"/>
                  </a:lnTo>
                  <a:lnTo>
                    <a:pt x="23" y="28"/>
                  </a:lnTo>
                  <a:lnTo>
                    <a:pt x="22" y="28"/>
                  </a:lnTo>
                  <a:lnTo>
                    <a:pt x="22" y="26"/>
                  </a:lnTo>
                  <a:lnTo>
                    <a:pt x="22" y="28"/>
                  </a:lnTo>
                  <a:lnTo>
                    <a:pt x="22" y="26"/>
                  </a:lnTo>
                  <a:lnTo>
                    <a:pt x="22" y="25"/>
                  </a:lnTo>
                  <a:lnTo>
                    <a:pt x="23" y="25"/>
                  </a:lnTo>
                  <a:lnTo>
                    <a:pt x="23" y="24"/>
                  </a:lnTo>
                  <a:lnTo>
                    <a:pt x="23" y="23"/>
                  </a:lnTo>
                  <a:lnTo>
                    <a:pt x="23" y="24"/>
                  </a:lnTo>
                  <a:lnTo>
                    <a:pt x="22" y="24"/>
                  </a:lnTo>
                  <a:lnTo>
                    <a:pt x="22" y="25"/>
                  </a:lnTo>
                  <a:lnTo>
                    <a:pt x="21" y="25"/>
                  </a:lnTo>
                  <a:lnTo>
                    <a:pt x="21" y="26"/>
                  </a:lnTo>
                  <a:lnTo>
                    <a:pt x="20" y="26"/>
                  </a:lnTo>
                  <a:lnTo>
                    <a:pt x="20" y="25"/>
                  </a:lnTo>
                  <a:lnTo>
                    <a:pt x="21" y="24"/>
                  </a:lnTo>
                  <a:lnTo>
                    <a:pt x="20" y="23"/>
                  </a:lnTo>
                  <a:lnTo>
                    <a:pt x="21" y="23"/>
                  </a:lnTo>
                  <a:lnTo>
                    <a:pt x="20" y="23"/>
                  </a:lnTo>
                  <a:lnTo>
                    <a:pt x="20" y="24"/>
                  </a:lnTo>
                  <a:lnTo>
                    <a:pt x="18" y="24"/>
                  </a:lnTo>
                  <a:lnTo>
                    <a:pt x="17" y="24"/>
                  </a:lnTo>
                  <a:lnTo>
                    <a:pt x="17" y="23"/>
                  </a:lnTo>
                  <a:lnTo>
                    <a:pt x="17" y="22"/>
                  </a:lnTo>
                  <a:lnTo>
                    <a:pt x="17" y="21"/>
                  </a:lnTo>
                  <a:lnTo>
                    <a:pt x="18" y="21"/>
                  </a:lnTo>
                  <a:lnTo>
                    <a:pt x="20" y="21"/>
                  </a:lnTo>
                  <a:lnTo>
                    <a:pt x="20" y="19"/>
                  </a:lnTo>
                  <a:lnTo>
                    <a:pt x="18" y="21"/>
                  </a:lnTo>
                  <a:lnTo>
                    <a:pt x="18" y="19"/>
                  </a:lnTo>
                  <a:lnTo>
                    <a:pt x="17" y="21"/>
                  </a:lnTo>
                  <a:lnTo>
                    <a:pt x="16" y="21"/>
                  </a:lnTo>
                  <a:lnTo>
                    <a:pt x="16" y="22"/>
                  </a:lnTo>
                  <a:lnTo>
                    <a:pt x="16" y="21"/>
                  </a:lnTo>
                  <a:lnTo>
                    <a:pt x="16" y="19"/>
                  </a:lnTo>
                  <a:lnTo>
                    <a:pt x="17" y="19"/>
                  </a:lnTo>
                  <a:lnTo>
                    <a:pt x="16" y="19"/>
                  </a:lnTo>
                  <a:lnTo>
                    <a:pt x="16" y="18"/>
                  </a:lnTo>
                  <a:lnTo>
                    <a:pt x="17" y="18"/>
                  </a:lnTo>
                  <a:lnTo>
                    <a:pt x="17" y="19"/>
                  </a:lnTo>
                  <a:lnTo>
                    <a:pt x="17" y="18"/>
                  </a:lnTo>
                  <a:lnTo>
                    <a:pt x="18" y="18"/>
                  </a:lnTo>
                  <a:lnTo>
                    <a:pt x="18" y="17"/>
                  </a:lnTo>
                  <a:lnTo>
                    <a:pt x="18" y="18"/>
                  </a:lnTo>
                  <a:lnTo>
                    <a:pt x="20" y="18"/>
                  </a:lnTo>
                  <a:lnTo>
                    <a:pt x="20" y="17"/>
                  </a:lnTo>
                  <a:lnTo>
                    <a:pt x="18" y="17"/>
                  </a:lnTo>
                  <a:lnTo>
                    <a:pt x="20" y="17"/>
                  </a:lnTo>
                  <a:lnTo>
                    <a:pt x="21" y="17"/>
                  </a:lnTo>
                  <a:lnTo>
                    <a:pt x="21" y="16"/>
                  </a:lnTo>
                  <a:lnTo>
                    <a:pt x="21" y="17"/>
                  </a:lnTo>
                  <a:lnTo>
                    <a:pt x="22" y="17"/>
                  </a:lnTo>
                  <a:lnTo>
                    <a:pt x="21" y="17"/>
                  </a:lnTo>
                  <a:lnTo>
                    <a:pt x="22" y="17"/>
                  </a:lnTo>
                  <a:lnTo>
                    <a:pt x="22" y="18"/>
                  </a:lnTo>
                  <a:lnTo>
                    <a:pt x="22" y="17"/>
                  </a:lnTo>
                  <a:lnTo>
                    <a:pt x="23" y="17"/>
                  </a:lnTo>
                  <a:lnTo>
                    <a:pt x="22" y="17"/>
                  </a:lnTo>
                  <a:lnTo>
                    <a:pt x="22" y="16"/>
                  </a:lnTo>
                  <a:lnTo>
                    <a:pt x="22" y="17"/>
                  </a:lnTo>
                  <a:lnTo>
                    <a:pt x="22" y="16"/>
                  </a:lnTo>
                  <a:lnTo>
                    <a:pt x="21" y="16"/>
                  </a:lnTo>
                  <a:lnTo>
                    <a:pt x="22" y="16"/>
                  </a:lnTo>
                  <a:lnTo>
                    <a:pt x="21" y="16"/>
                  </a:lnTo>
                  <a:lnTo>
                    <a:pt x="20" y="16"/>
                  </a:lnTo>
                  <a:lnTo>
                    <a:pt x="21" y="16"/>
                  </a:lnTo>
                  <a:lnTo>
                    <a:pt x="21" y="15"/>
                  </a:lnTo>
                  <a:lnTo>
                    <a:pt x="20" y="15"/>
                  </a:lnTo>
                  <a:lnTo>
                    <a:pt x="20" y="16"/>
                  </a:lnTo>
                  <a:lnTo>
                    <a:pt x="20" y="15"/>
                  </a:lnTo>
                  <a:lnTo>
                    <a:pt x="18" y="15"/>
                  </a:lnTo>
                  <a:lnTo>
                    <a:pt x="18" y="16"/>
                  </a:lnTo>
                  <a:lnTo>
                    <a:pt x="20" y="16"/>
                  </a:lnTo>
                  <a:lnTo>
                    <a:pt x="18" y="16"/>
                  </a:lnTo>
                  <a:lnTo>
                    <a:pt x="18" y="17"/>
                  </a:lnTo>
                  <a:lnTo>
                    <a:pt x="18" y="16"/>
                  </a:lnTo>
                  <a:lnTo>
                    <a:pt x="18" y="17"/>
                  </a:lnTo>
                  <a:lnTo>
                    <a:pt x="17" y="16"/>
                  </a:lnTo>
                  <a:lnTo>
                    <a:pt x="17" y="17"/>
                  </a:lnTo>
                  <a:lnTo>
                    <a:pt x="18" y="17"/>
                  </a:lnTo>
                  <a:lnTo>
                    <a:pt x="17" y="17"/>
                  </a:lnTo>
                  <a:lnTo>
                    <a:pt x="17" y="18"/>
                  </a:lnTo>
                  <a:lnTo>
                    <a:pt x="17" y="17"/>
                  </a:lnTo>
                  <a:lnTo>
                    <a:pt x="17" y="16"/>
                  </a:lnTo>
                  <a:lnTo>
                    <a:pt x="16" y="16"/>
                  </a:lnTo>
                  <a:lnTo>
                    <a:pt x="16" y="15"/>
                  </a:lnTo>
                  <a:lnTo>
                    <a:pt x="16" y="16"/>
                  </a:lnTo>
                  <a:lnTo>
                    <a:pt x="16" y="15"/>
                  </a:lnTo>
                  <a:lnTo>
                    <a:pt x="16" y="14"/>
                  </a:lnTo>
                  <a:lnTo>
                    <a:pt x="17" y="14"/>
                  </a:lnTo>
                  <a:lnTo>
                    <a:pt x="17" y="12"/>
                  </a:lnTo>
                  <a:lnTo>
                    <a:pt x="18" y="12"/>
                  </a:lnTo>
                  <a:lnTo>
                    <a:pt x="21" y="12"/>
                  </a:lnTo>
                  <a:lnTo>
                    <a:pt x="22" y="12"/>
                  </a:lnTo>
                  <a:lnTo>
                    <a:pt x="22" y="11"/>
                  </a:lnTo>
                  <a:lnTo>
                    <a:pt x="22" y="12"/>
                  </a:lnTo>
                  <a:lnTo>
                    <a:pt x="22" y="14"/>
                  </a:lnTo>
                  <a:lnTo>
                    <a:pt x="23" y="14"/>
                  </a:lnTo>
                  <a:lnTo>
                    <a:pt x="23" y="15"/>
                  </a:lnTo>
                  <a:lnTo>
                    <a:pt x="24" y="15"/>
                  </a:lnTo>
                  <a:lnTo>
                    <a:pt x="23" y="14"/>
                  </a:lnTo>
                  <a:lnTo>
                    <a:pt x="22" y="14"/>
                  </a:lnTo>
                  <a:lnTo>
                    <a:pt x="22" y="12"/>
                  </a:lnTo>
                  <a:lnTo>
                    <a:pt x="23" y="12"/>
                  </a:lnTo>
                  <a:lnTo>
                    <a:pt x="23" y="11"/>
                  </a:lnTo>
                  <a:lnTo>
                    <a:pt x="22" y="11"/>
                  </a:lnTo>
                  <a:lnTo>
                    <a:pt x="21" y="11"/>
                  </a:lnTo>
                  <a:lnTo>
                    <a:pt x="21" y="12"/>
                  </a:lnTo>
                  <a:lnTo>
                    <a:pt x="20" y="12"/>
                  </a:lnTo>
                  <a:lnTo>
                    <a:pt x="18" y="11"/>
                  </a:lnTo>
                  <a:lnTo>
                    <a:pt x="17" y="11"/>
                  </a:lnTo>
                  <a:lnTo>
                    <a:pt x="16" y="11"/>
                  </a:lnTo>
                  <a:lnTo>
                    <a:pt x="16" y="12"/>
                  </a:lnTo>
                  <a:lnTo>
                    <a:pt x="15" y="14"/>
                  </a:lnTo>
                  <a:lnTo>
                    <a:pt x="14" y="14"/>
                  </a:lnTo>
                  <a:lnTo>
                    <a:pt x="13" y="14"/>
                  </a:lnTo>
                  <a:lnTo>
                    <a:pt x="13" y="15"/>
                  </a:lnTo>
                  <a:lnTo>
                    <a:pt x="11" y="15"/>
                  </a:lnTo>
                  <a:lnTo>
                    <a:pt x="13" y="14"/>
                  </a:lnTo>
                  <a:lnTo>
                    <a:pt x="13" y="12"/>
                  </a:lnTo>
                  <a:lnTo>
                    <a:pt x="11" y="12"/>
                  </a:lnTo>
                  <a:lnTo>
                    <a:pt x="11" y="14"/>
                  </a:lnTo>
                  <a:lnTo>
                    <a:pt x="11" y="15"/>
                  </a:lnTo>
                  <a:lnTo>
                    <a:pt x="11" y="14"/>
                  </a:lnTo>
                  <a:lnTo>
                    <a:pt x="10" y="14"/>
                  </a:lnTo>
                  <a:lnTo>
                    <a:pt x="10" y="15"/>
                  </a:lnTo>
                  <a:lnTo>
                    <a:pt x="10" y="14"/>
                  </a:lnTo>
                  <a:lnTo>
                    <a:pt x="10" y="12"/>
                  </a:lnTo>
                  <a:lnTo>
                    <a:pt x="11" y="11"/>
                  </a:lnTo>
                  <a:lnTo>
                    <a:pt x="13" y="10"/>
                  </a:lnTo>
                  <a:lnTo>
                    <a:pt x="13" y="11"/>
                  </a:lnTo>
                  <a:lnTo>
                    <a:pt x="14" y="11"/>
                  </a:lnTo>
                  <a:lnTo>
                    <a:pt x="14" y="10"/>
                  </a:lnTo>
                  <a:lnTo>
                    <a:pt x="14" y="11"/>
                  </a:lnTo>
                  <a:lnTo>
                    <a:pt x="13" y="11"/>
                  </a:lnTo>
                  <a:lnTo>
                    <a:pt x="13" y="10"/>
                  </a:lnTo>
                  <a:lnTo>
                    <a:pt x="11" y="10"/>
                  </a:lnTo>
                  <a:lnTo>
                    <a:pt x="11" y="11"/>
                  </a:lnTo>
                  <a:lnTo>
                    <a:pt x="10" y="11"/>
                  </a:lnTo>
                  <a:lnTo>
                    <a:pt x="10" y="12"/>
                  </a:lnTo>
                  <a:lnTo>
                    <a:pt x="9" y="12"/>
                  </a:lnTo>
                  <a:lnTo>
                    <a:pt x="8" y="12"/>
                  </a:lnTo>
                  <a:lnTo>
                    <a:pt x="7" y="12"/>
                  </a:lnTo>
                  <a:lnTo>
                    <a:pt x="6" y="12"/>
                  </a:lnTo>
                  <a:lnTo>
                    <a:pt x="6" y="11"/>
                  </a:lnTo>
                  <a:lnTo>
                    <a:pt x="5" y="11"/>
                  </a:lnTo>
                  <a:lnTo>
                    <a:pt x="5" y="10"/>
                  </a:lnTo>
                  <a:lnTo>
                    <a:pt x="5" y="9"/>
                  </a:lnTo>
                  <a:lnTo>
                    <a:pt x="5" y="8"/>
                  </a:lnTo>
                  <a:lnTo>
                    <a:pt x="6" y="8"/>
                  </a:lnTo>
                  <a:lnTo>
                    <a:pt x="6" y="7"/>
                  </a:lnTo>
                  <a:lnTo>
                    <a:pt x="7" y="7"/>
                  </a:lnTo>
                  <a:lnTo>
                    <a:pt x="8" y="7"/>
                  </a:lnTo>
                  <a:lnTo>
                    <a:pt x="8" y="5"/>
                  </a:lnTo>
                  <a:lnTo>
                    <a:pt x="9" y="5"/>
                  </a:lnTo>
                  <a:lnTo>
                    <a:pt x="8" y="5"/>
                  </a:lnTo>
                  <a:lnTo>
                    <a:pt x="7" y="5"/>
                  </a:lnTo>
                  <a:lnTo>
                    <a:pt x="7" y="7"/>
                  </a:lnTo>
                  <a:lnTo>
                    <a:pt x="6" y="7"/>
                  </a:lnTo>
                  <a:lnTo>
                    <a:pt x="6" y="8"/>
                  </a:lnTo>
                  <a:lnTo>
                    <a:pt x="5" y="8"/>
                  </a:lnTo>
                  <a:lnTo>
                    <a:pt x="5" y="7"/>
                  </a:lnTo>
                  <a:lnTo>
                    <a:pt x="6" y="7"/>
                  </a:lnTo>
                  <a:lnTo>
                    <a:pt x="5" y="7"/>
                  </a:lnTo>
                  <a:lnTo>
                    <a:pt x="5" y="8"/>
                  </a:lnTo>
                  <a:lnTo>
                    <a:pt x="3" y="8"/>
                  </a:lnTo>
                  <a:lnTo>
                    <a:pt x="2" y="8"/>
                  </a:lnTo>
                  <a:lnTo>
                    <a:pt x="2" y="7"/>
                  </a:lnTo>
                  <a:lnTo>
                    <a:pt x="1" y="7"/>
                  </a:lnTo>
                  <a:lnTo>
                    <a:pt x="1" y="5"/>
                  </a:lnTo>
                  <a:lnTo>
                    <a:pt x="0" y="5"/>
                  </a:lnTo>
                  <a:lnTo>
                    <a:pt x="2" y="5"/>
                  </a:lnTo>
                  <a:lnTo>
                    <a:pt x="3" y="5"/>
                  </a:lnTo>
                  <a:lnTo>
                    <a:pt x="5" y="4"/>
                  </a:lnTo>
                  <a:lnTo>
                    <a:pt x="6" y="4"/>
                  </a:lnTo>
                  <a:lnTo>
                    <a:pt x="7" y="3"/>
                  </a:lnTo>
                  <a:lnTo>
                    <a:pt x="7" y="4"/>
                  </a:lnTo>
                  <a:lnTo>
                    <a:pt x="7" y="3"/>
                  </a:lnTo>
                  <a:lnTo>
                    <a:pt x="8" y="3"/>
                  </a:lnTo>
                  <a:lnTo>
                    <a:pt x="9" y="3"/>
                  </a:lnTo>
                  <a:lnTo>
                    <a:pt x="9" y="4"/>
                  </a:lnTo>
                  <a:lnTo>
                    <a:pt x="10" y="4"/>
                  </a:lnTo>
                  <a:lnTo>
                    <a:pt x="11" y="4"/>
                  </a:lnTo>
                  <a:lnTo>
                    <a:pt x="14" y="4"/>
                  </a:lnTo>
                  <a:lnTo>
                    <a:pt x="17" y="2"/>
                  </a:lnTo>
                  <a:lnTo>
                    <a:pt x="18" y="1"/>
                  </a:lnTo>
                  <a:lnTo>
                    <a:pt x="20" y="1"/>
                  </a:lnTo>
                  <a:lnTo>
                    <a:pt x="21" y="0"/>
                  </a:lnTo>
                  <a:lnTo>
                    <a:pt x="22" y="0"/>
                  </a:lnTo>
                  <a:lnTo>
                    <a:pt x="25" y="0"/>
                  </a:lnTo>
                  <a:lnTo>
                    <a:pt x="27" y="0"/>
                  </a:lnTo>
                  <a:lnTo>
                    <a:pt x="31" y="0"/>
                  </a:lnTo>
                  <a:lnTo>
                    <a:pt x="32" y="0"/>
                  </a:lnTo>
                  <a:lnTo>
                    <a:pt x="36" y="0"/>
                  </a:lnTo>
                  <a:lnTo>
                    <a:pt x="41" y="0"/>
                  </a:lnTo>
                  <a:lnTo>
                    <a:pt x="41" y="1"/>
                  </a:lnTo>
                  <a:lnTo>
                    <a:pt x="41" y="2"/>
                  </a:lnTo>
                  <a:lnTo>
                    <a:pt x="42" y="3"/>
                  </a:lnTo>
                  <a:lnTo>
                    <a:pt x="42" y="4"/>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39" name="Freeform 894">
              <a:extLst>
                <a:ext uri="{FF2B5EF4-FFF2-40B4-BE49-F238E27FC236}">
                  <a16:creationId xmlns:a16="http://schemas.microsoft.com/office/drawing/2014/main" id="{9E0381AD-80D1-4444-8554-CF559B763BC7}"/>
                </a:ext>
              </a:extLst>
            </p:cNvPr>
            <p:cNvSpPr>
              <a:spLocks noEditPoints="1"/>
            </p:cNvSpPr>
            <p:nvPr/>
          </p:nvSpPr>
          <p:spPr bwMode="auto">
            <a:xfrm>
              <a:off x="5910596" y="3268399"/>
              <a:ext cx="108175" cy="110846"/>
            </a:xfrm>
            <a:custGeom>
              <a:avLst/>
              <a:gdLst>
                <a:gd name="T0" fmla="*/ 0 w 81"/>
                <a:gd name="T1" fmla="*/ 83 h 83"/>
                <a:gd name="T2" fmla="*/ 0 w 81"/>
                <a:gd name="T3" fmla="*/ 83 h 83"/>
                <a:gd name="T4" fmla="*/ 0 w 81"/>
                <a:gd name="T5" fmla="*/ 83 h 83"/>
                <a:gd name="T6" fmla="*/ 64 w 81"/>
                <a:gd name="T7" fmla="*/ 25 h 83"/>
                <a:gd name="T8" fmla="*/ 76 w 81"/>
                <a:gd name="T9" fmla="*/ 25 h 83"/>
                <a:gd name="T10" fmla="*/ 81 w 81"/>
                <a:gd name="T11" fmla="*/ 31 h 83"/>
                <a:gd name="T12" fmla="*/ 81 w 81"/>
                <a:gd name="T13" fmla="*/ 44 h 83"/>
                <a:gd name="T14" fmla="*/ 68 w 81"/>
                <a:gd name="T15" fmla="*/ 44 h 83"/>
                <a:gd name="T16" fmla="*/ 62 w 81"/>
                <a:gd name="T17" fmla="*/ 44 h 83"/>
                <a:gd name="T18" fmla="*/ 61 w 81"/>
                <a:gd name="T19" fmla="*/ 45 h 83"/>
                <a:gd name="T20" fmla="*/ 61 w 81"/>
                <a:gd name="T21" fmla="*/ 45 h 83"/>
                <a:gd name="T22" fmla="*/ 60 w 81"/>
                <a:gd name="T23" fmla="*/ 44 h 83"/>
                <a:gd name="T24" fmla="*/ 59 w 81"/>
                <a:gd name="T25" fmla="*/ 44 h 83"/>
                <a:gd name="T26" fmla="*/ 59 w 81"/>
                <a:gd name="T27" fmla="*/ 43 h 83"/>
                <a:gd name="T28" fmla="*/ 60 w 81"/>
                <a:gd name="T29" fmla="*/ 43 h 83"/>
                <a:gd name="T30" fmla="*/ 59 w 81"/>
                <a:gd name="T31" fmla="*/ 42 h 83"/>
                <a:gd name="T32" fmla="*/ 57 w 81"/>
                <a:gd name="T33" fmla="*/ 42 h 83"/>
                <a:gd name="T34" fmla="*/ 57 w 81"/>
                <a:gd name="T35" fmla="*/ 42 h 83"/>
                <a:gd name="T36" fmla="*/ 56 w 81"/>
                <a:gd name="T37" fmla="*/ 43 h 83"/>
                <a:gd name="T38" fmla="*/ 55 w 81"/>
                <a:gd name="T39" fmla="*/ 42 h 83"/>
                <a:gd name="T40" fmla="*/ 55 w 81"/>
                <a:gd name="T41" fmla="*/ 42 h 83"/>
                <a:gd name="T42" fmla="*/ 54 w 81"/>
                <a:gd name="T43" fmla="*/ 42 h 83"/>
                <a:gd name="T44" fmla="*/ 53 w 81"/>
                <a:gd name="T45" fmla="*/ 42 h 83"/>
                <a:gd name="T46" fmla="*/ 53 w 81"/>
                <a:gd name="T47" fmla="*/ 41 h 83"/>
                <a:gd name="T48" fmla="*/ 54 w 81"/>
                <a:gd name="T49" fmla="*/ 39 h 83"/>
                <a:gd name="T50" fmla="*/ 54 w 81"/>
                <a:gd name="T51" fmla="*/ 38 h 83"/>
                <a:gd name="T52" fmla="*/ 55 w 81"/>
                <a:gd name="T53" fmla="*/ 37 h 83"/>
                <a:gd name="T54" fmla="*/ 55 w 81"/>
                <a:gd name="T55" fmla="*/ 36 h 83"/>
                <a:gd name="T56" fmla="*/ 56 w 81"/>
                <a:gd name="T57" fmla="*/ 35 h 83"/>
                <a:gd name="T58" fmla="*/ 56 w 81"/>
                <a:gd name="T59" fmla="*/ 35 h 83"/>
                <a:gd name="T60" fmla="*/ 57 w 81"/>
                <a:gd name="T61" fmla="*/ 35 h 83"/>
                <a:gd name="T62" fmla="*/ 57 w 81"/>
                <a:gd name="T63" fmla="*/ 35 h 83"/>
                <a:gd name="T64" fmla="*/ 57 w 81"/>
                <a:gd name="T65" fmla="*/ 32 h 83"/>
                <a:gd name="T66" fmla="*/ 57 w 81"/>
                <a:gd name="T67" fmla="*/ 31 h 83"/>
                <a:gd name="T68" fmla="*/ 57 w 81"/>
                <a:gd name="T69" fmla="*/ 31 h 83"/>
                <a:gd name="T70" fmla="*/ 59 w 81"/>
                <a:gd name="T71" fmla="*/ 30 h 83"/>
                <a:gd name="T72" fmla="*/ 59 w 81"/>
                <a:gd name="T73" fmla="*/ 30 h 83"/>
                <a:gd name="T74" fmla="*/ 59 w 81"/>
                <a:gd name="T75" fmla="*/ 27 h 83"/>
                <a:gd name="T76" fmla="*/ 59 w 81"/>
                <a:gd name="T77" fmla="*/ 27 h 83"/>
                <a:gd name="T78" fmla="*/ 59 w 81"/>
                <a:gd name="T79" fmla="*/ 24 h 83"/>
                <a:gd name="T80" fmla="*/ 59 w 81"/>
                <a:gd name="T81" fmla="*/ 23 h 83"/>
                <a:gd name="T82" fmla="*/ 59 w 81"/>
                <a:gd name="T83" fmla="*/ 24 h 83"/>
                <a:gd name="T84" fmla="*/ 60 w 81"/>
                <a:gd name="T85" fmla="*/ 24 h 83"/>
                <a:gd name="T86" fmla="*/ 45 w 81"/>
                <a:gd name="T87" fmla="*/ 0 h 83"/>
                <a:gd name="T88" fmla="*/ 46 w 81"/>
                <a:gd name="T89" fmla="*/ 1 h 83"/>
                <a:gd name="T90" fmla="*/ 47 w 81"/>
                <a:gd name="T91" fmla="*/ 0 h 83"/>
                <a:gd name="T92" fmla="*/ 47 w 81"/>
                <a:gd name="T93" fmla="*/ 2 h 83"/>
                <a:gd name="T94" fmla="*/ 46 w 81"/>
                <a:gd name="T95" fmla="*/ 3 h 83"/>
                <a:gd name="T96" fmla="*/ 46 w 81"/>
                <a:gd name="T97" fmla="*/ 4 h 83"/>
                <a:gd name="T98" fmla="*/ 45 w 81"/>
                <a:gd name="T99" fmla="*/ 6 h 83"/>
                <a:gd name="T100" fmla="*/ 45 w 81"/>
                <a:gd name="T101" fmla="*/ 7 h 83"/>
                <a:gd name="T102" fmla="*/ 43 w 81"/>
                <a:gd name="T103" fmla="*/ 9 h 83"/>
                <a:gd name="T104" fmla="*/ 42 w 81"/>
                <a:gd name="T105" fmla="*/ 9 h 83"/>
                <a:gd name="T106" fmla="*/ 41 w 81"/>
                <a:gd name="T107" fmla="*/ 9 h 83"/>
                <a:gd name="T108" fmla="*/ 41 w 81"/>
                <a:gd name="T109" fmla="*/ 8 h 83"/>
                <a:gd name="T110" fmla="*/ 40 w 81"/>
                <a:gd name="T111" fmla="*/ 7 h 83"/>
                <a:gd name="T112" fmla="*/ 40 w 81"/>
                <a:gd name="T113" fmla="*/ 7 h 83"/>
                <a:gd name="T114" fmla="*/ 40 w 81"/>
                <a:gd name="T115" fmla="*/ 4 h 83"/>
                <a:gd name="T116" fmla="*/ 41 w 81"/>
                <a:gd name="T117" fmla="*/ 4 h 83"/>
                <a:gd name="T118" fmla="*/ 41 w 81"/>
                <a:gd name="T119" fmla="*/ 4 h 83"/>
                <a:gd name="T120" fmla="*/ 42 w 81"/>
                <a:gd name="T121" fmla="*/ 3 h 83"/>
                <a:gd name="T122" fmla="*/ 43 w 81"/>
                <a:gd name="T123" fmla="*/ 0 h 83"/>
                <a:gd name="T124" fmla="*/ 45 w 81"/>
                <a:gd name="T125"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1" h="83">
                  <a:moveTo>
                    <a:pt x="0" y="83"/>
                  </a:moveTo>
                  <a:lnTo>
                    <a:pt x="0" y="83"/>
                  </a:lnTo>
                  <a:lnTo>
                    <a:pt x="0" y="83"/>
                  </a:lnTo>
                  <a:lnTo>
                    <a:pt x="0" y="83"/>
                  </a:lnTo>
                  <a:lnTo>
                    <a:pt x="0" y="83"/>
                  </a:lnTo>
                  <a:lnTo>
                    <a:pt x="0" y="83"/>
                  </a:lnTo>
                  <a:lnTo>
                    <a:pt x="0" y="83"/>
                  </a:lnTo>
                  <a:lnTo>
                    <a:pt x="0" y="83"/>
                  </a:lnTo>
                  <a:lnTo>
                    <a:pt x="0" y="83"/>
                  </a:lnTo>
                  <a:lnTo>
                    <a:pt x="0" y="83"/>
                  </a:lnTo>
                  <a:lnTo>
                    <a:pt x="0" y="83"/>
                  </a:lnTo>
                  <a:lnTo>
                    <a:pt x="0" y="83"/>
                  </a:lnTo>
                  <a:close/>
                  <a:moveTo>
                    <a:pt x="61" y="25"/>
                  </a:moveTo>
                  <a:lnTo>
                    <a:pt x="62" y="25"/>
                  </a:lnTo>
                  <a:lnTo>
                    <a:pt x="63" y="25"/>
                  </a:lnTo>
                  <a:lnTo>
                    <a:pt x="64" y="25"/>
                  </a:lnTo>
                  <a:lnTo>
                    <a:pt x="68" y="25"/>
                  </a:lnTo>
                  <a:lnTo>
                    <a:pt x="68" y="25"/>
                  </a:lnTo>
                  <a:lnTo>
                    <a:pt x="71" y="25"/>
                  </a:lnTo>
                  <a:lnTo>
                    <a:pt x="76" y="25"/>
                  </a:lnTo>
                  <a:lnTo>
                    <a:pt x="80" y="25"/>
                  </a:lnTo>
                  <a:lnTo>
                    <a:pt x="81" y="25"/>
                  </a:lnTo>
                  <a:lnTo>
                    <a:pt x="81" y="28"/>
                  </a:lnTo>
                  <a:lnTo>
                    <a:pt x="81" y="31"/>
                  </a:lnTo>
                  <a:lnTo>
                    <a:pt x="81" y="32"/>
                  </a:lnTo>
                  <a:lnTo>
                    <a:pt x="81" y="36"/>
                  </a:lnTo>
                  <a:lnTo>
                    <a:pt x="81" y="39"/>
                  </a:lnTo>
                  <a:lnTo>
                    <a:pt x="81" y="44"/>
                  </a:lnTo>
                  <a:lnTo>
                    <a:pt x="76" y="44"/>
                  </a:lnTo>
                  <a:lnTo>
                    <a:pt x="75" y="44"/>
                  </a:lnTo>
                  <a:lnTo>
                    <a:pt x="71" y="44"/>
                  </a:lnTo>
                  <a:lnTo>
                    <a:pt x="68" y="44"/>
                  </a:lnTo>
                  <a:lnTo>
                    <a:pt x="68" y="44"/>
                  </a:lnTo>
                  <a:lnTo>
                    <a:pt x="63" y="44"/>
                  </a:lnTo>
                  <a:lnTo>
                    <a:pt x="62" y="44"/>
                  </a:lnTo>
                  <a:lnTo>
                    <a:pt x="62" y="44"/>
                  </a:lnTo>
                  <a:lnTo>
                    <a:pt x="61" y="44"/>
                  </a:lnTo>
                  <a:lnTo>
                    <a:pt x="61" y="44"/>
                  </a:lnTo>
                  <a:lnTo>
                    <a:pt x="61" y="44"/>
                  </a:lnTo>
                  <a:lnTo>
                    <a:pt x="61" y="45"/>
                  </a:lnTo>
                  <a:lnTo>
                    <a:pt x="61" y="45"/>
                  </a:lnTo>
                  <a:lnTo>
                    <a:pt x="61" y="45"/>
                  </a:lnTo>
                  <a:lnTo>
                    <a:pt x="61" y="45"/>
                  </a:lnTo>
                  <a:lnTo>
                    <a:pt x="61" y="45"/>
                  </a:lnTo>
                  <a:lnTo>
                    <a:pt x="60" y="44"/>
                  </a:lnTo>
                  <a:lnTo>
                    <a:pt x="60" y="44"/>
                  </a:lnTo>
                  <a:lnTo>
                    <a:pt x="60" y="44"/>
                  </a:lnTo>
                  <a:lnTo>
                    <a:pt x="60" y="44"/>
                  </a:lnTo>
                  <a:lnTo>
                    <a:pt x="59" y="44"/>
                  </a:lnTo>
                  <a:lnTo>
                    <a:pt x="59" y="44"/>
                  </a:lnTo>
                  <a:lnTo>
                    <a:pt x="59" y="44"/>
                  </a:lnTo>
                  <a:lnTo>
                    <a:pt x="59" y="44"/>
                  </a:lnTo>
                  <a:lnTo>
                    <a:pt x="59" y="43"/>
                  </a:lnTo>
                  <a:lnTo>
                    <a:pt x="59" y="43"/>
                  </a:lnTo>
                  <a:lnTo>
                    <a:pt x="59" y="43"/>
                  </a:lnTo>
                  <a:lnTo>
                    <a:pt x="59" y="43"/>
                  </a:lnTo>
                  <a:lnTo>
                    <a:pt x="60" y="43"/>
                  </a:lnTo>
                  <a:lnTo>
                    <a:pt x="60" y="43"/>
                  </a:lnTo>
                  <a:lnTo>
                    <a:pt x="60" y="43"/>
                  </a:lnTo>
                  <a:lnTo>
                    <a:pt x="60" y="43"/>
                  </a:lnTo>
                  <a:lnTo>
                    <a:pt x="59" y="43"/>
                  </a:lnTo>
                  <a:lnTo>
                    <a:pt x="59" y="43"/>
                  </a:lnTo>
                  <a:lnTo>
                    <a:pt x="59" y="43"/>
                  </a:lnTo>
                  <a:lnTo>
                    <a:pt x="59" y="42"/>
                  </a:lnTo>
                  <a:lnTo>
                    <a:pt x="59" y="42"/>
                  </a:lnTo>
                  <a:lnTo>
                    <a:pt x="57" y="42"/>
                  </a:lnTo>
                  <a:lnTo>
                    <a:pt x="57" y="42"/>
                  </a:lnTo>
                  <a:lnTo>
                    <a:pt x="57" y="42"/>
                  </a:lnTo>
                  <a:lnTo>
                    <a:pt x="57" y="42"/>
                  </a:lnTo>
                  <a:lnTo>
                    <a:pt x="57" y="42"/>
                  </a:lnTo>
                  <a:lnTo>
                    <a:pt x="57" y="42"/>
                  </a:lnTo>
                  <a:lnTo>
                    <a:pt x="57" y="42"/>
                  </a:lnTo>
                  <a:lnTo>
                    <a:pt x="57" y="42"/>
                  </a:lnTo>
                  <a:lnTo>
                    <a:pt x="57" y="43"/>
                  </a:lnTo>
                  <a:lnTo>
                    <a:pt x="56" y="43"/>
                  </a:lnTo>
                  <a:lnTo>
                    <a:pt x="56" y="43"/>
                  </a:lnTo>
                  <a:lnTo>
                    <a:pt x="56" y="43"/>
                  </a:lnTo>
                  <a:lnTo>
                    <a:pt x="56" y="43"/>
                  </a:lnTo>
                  <a:lnTo>
                    <a:pt x="56" y="43"/>
                  </a:lnTo>
                  <a:lnTo>
                    <a:pt x="55" y="42"/>
                  </a:lnTo>
                  <a:lnTo>
                    <a:pt x="55" y="42"/>
                  </a:lnTo>
                  <a:lnTo>
                    <a:pt x="55" y="42"/>
                  </a:lnTo>
                  <a:lnTo>
                    <a:pt x="55" y="42"/>
                  </a:lnTo>
                  <a:lnTo>
                    <a:pt x="55" y="42"/>
                  </a:lnTo>
                  <a:lnTo>
                    <a:pt x="55" y="42"/>
                  </a:lnTo>
                  <a:lnTo>
                    <a:pt x="54" y="42"/>
                  </a:lnTo>
                  <a:lnTo>
                    <a:pt x="54" y="42"/>
                  </a:lnTo>
                  <a:lnTo>
                    <a:pt x="54" y="42"/>
                  </a:lnTo>
                  <a:lnTo>
                    <a:pt x="54" y="42"/>
                  </a:lnTo>
                  <a:lnTo>
                    <a:pt x="53" y="42"/>
                  </a:lnTo>
                  <a:lnTo>
                    <a:pt x="53" y="42"/>
                  </a:lnTo>
                  <a:lnTo>
                    <a:pt x="53" y="42"/>
                  </a:lnTo>
                  <a:lnTo>
                    <a:pt x="53" y="42"/>
                  </a:lnTo>
                  <a:lnTo>
                    <a:pt x="53" y="42"/>
                  </a:lnTo>
                  <a:lnTo>
                    <a:pt x="53" y="41"/>
                  </a:lnTo>
                  <a:lnTo>
                    <a:pt x="53" y="41"/>
                  </a:lnTo>
                  <a:lnTo>
                    <a:pt x="53" y="41"/>
                  </a:lnTo>
                  <a:lnTo>
                    <a:pt x="53" y="41"/>
                  </a:lnTo>
                  <a:lnTo>
                    <a:pt x="53" y="39"/>
                  </a:lnTo>
                  <a:lnTo>
                    <a:pt x="54" y="39"/>
                  </a:lnTo>
                  <a:lnTo>
                    <a:pt x="54" y="39"/>
                  </a:lnTo>
                  <a:lnTo>
                    <a:pt x="54" y="39"/>
                  </a:lnTo>
                  <a:lnTo>
                    <a:pt x="54" y="38"/>
                  </a:lnTo>
                  <a:lnTo>
                    <a:pt x="54" y="38"/>
                  </a:lnTo>
                  <a:lnTo>
                    <a:pt x="54" y="38"/>
                  </a:lnTo>
                  <a:lnTo>
                    <a:pt x="54" y="37"/>
                  </a:lnTo>
                  <a:lnTo>
                    <a:pt x="54" y="37"/>
                  </a:lnTo>
                  <a:lnTo>
                    <a:pt x="55" y="37"/>
                  </a:lnTo>
                  <a:lnTo>
                    <a:pt x="55" y="37"/>
                  </a:lnTo>
                  <a:lnTo>
                    <a:pt x="55" y="36"/>
                  </a:lnTo>
                  <a:lnTo>
                    <a:pt x="55" y="36"/>
                  </a:lnTo>
                  <a:lnTo>
                    <a:pt x="55" y="36"/>
                  </a:lnTo>
                  <a:lnTo>
                    <a:pt x="55" y="36"/>
                  </a:lnTo>
                  <a:lnTo>
                    <a:pt x="55" y="36"/>
                  </a:lnTo>
                  <a:lnTo>
                    <a:pt x="55" y="36"/>
                  </a:lnTo>
                  <a:lnTo>
                    <a:pt x="56" y="35"/>
                  </a:lnTo>
                  <a:lnTo>
                    <a:pt x="56" y="35"/>
                  </a:lnTo>
                  <a:lnTo>
                    <a:pt x="56" y="35"/>
                  </a:lnTo>
                  <a:lnTo>
                    <a:pt x="56" y="35"/>
                  </a:lnTo>
                  <a:lnTo>
                    <a:pt x="56" y="35"/>
                  </a:lnTo>
                  <a:lnTo>
                    <a:pt x="57" y="35"/>
                  </a:lnTo>
                  <a:lnTo>
                    <a:pt x="57" y="35"/>
                  </a:lnTo>
                  <a:lnTo>
                    <a:pt x="57" y="35"/>
                  </a:lnTo>
                  <a:lnTo>
                    <a:pt x="57" y="35"/>
                  </a:lnTo>
                  <a:lnTo>
                    <a:pt x="59" y="35"/>
                  </a:lnTo>
                  <a:lnTo>
                    <a:pt x="57" y="35"/>
                  </a:lnTo>
                  <a:lnTo>
                    <a:pt x="57" y="35"/>
                  </a:lnTo>
                  <a:lnTo>
                    <a:pt x="57" y="35"/>
                  </a:lnTo>
                  <a:lnTo>
                    <a:pt x="56" y="34"/>
                  </a:lnTo>
                  <a:lnTo>
                    <a:pt x="56" y="34"/>
                  </a:lnTo>
                  <a:lnTo>
                    <a:pt x="56" y="34"/>
                  </a:lnTo>
                  <a:lnTo>
                    <a:pt x="57" y="32"/>
                  </a:lnTo>
                  <a:lnTo>
                    <a:pt x="57" y="32"/>
                  </a:lnTo>
                  <a:lnTo>
                    <a:pt x="57" y="32"/>
                  </a:lnTo>
                  <a:lnTo>
                    <a:pt x="57" y="32"/>
                  </a:lnTo>
                  <a:lnTo>
                    <a:pt x="57" y="31"/>
                  </a:lnTo>
                  <a:lnTo>
                    <a:pt x="57" y="31"/>
                  </a:lnTo>
                  <a:lnTo>
                    <a:pt x="57" y="31"/>
                  </a:lnTo>
                  <a:lnTo>
                    <a:pt x="57" y="31"/>
                  </a:lnTo>
                  <a:lnTo>
                    <a:pt x="57" y="31"/>
                  </a:lnTo>
                  <a:lnTo>
                    <a:pt x="57" y="31"/>
                  </a:lnTo>
                  <a:lnTo>
                    <a:pt x="59" y="31"/>
                  </a:lnTo>
                  <a:lnTo>
                    <a:pt x="59" y="30"/>
                  </a:lnTo>
                  <a:lnTo>
                    <a:pt x="59" y="30"/>
                  </a:lnTo>
                  <a:lnTo>
                    <a:pt x="59" y="30"/>
                  </a:lnTo>
                  <a:lnTo>
                    <a:pt x="59" y="30"/>
                  </a:lnTo>
                  <a:lnTo>
                    <a:pt x="59" y="30"/>
                  </a:lnTo>
                  <a:lnTo>
                    <a:pt x="59" y="30"/>
                  </a:lnTo>
                  <a:lnTo>
                    <a:pt x="59" y="29"/>
                  </a:lnTo>
                  <a:lnTo>
                    <a:pt x="59" y="29"/>
                  </a:lnTo>
                  <a:lnTo>
                    <a:pt x="59" y="27"/>
                  </a:lnTo>
                  <a:lnTo>
                    <a:pt x="59" y="27"/>
                  </a:lnTo>
                  <a:lnTo>
                    <a:pt x="59" y="27"/>
                  </a:lnTo>
                  <a:lnTo>
                    <a:pt x="59" y="27"/>
                  </a:lnTo>
                  <a:lnTo>
                    <a:pt x="59" y="27"/>
                  </a:lnTo>
                  <a:lnTo>
                    <a:pt x="59" y="27"/>
                  </a:lnTo>
                  <a:lnTo>
                    <a:pt x="59" y="27"/>
                  </a:lnTo>
                  <a:lnTo>
                    <a:pt x="59" y="27"/>
                  </a:lnTo>
                  <a:lnTo>
                    <a:pt x="59" y="24"/>
                  </a:lnTo>
                  <a:lnTo>
                    <a:pt x="59" y="24"/>
                  </a:lnTo>
                  <a:lnTo>
                    <a:pt x="59" y="23"/>
                  </a:lnTo>
                  <a:lnTo>
                    <a:pt x="59" y="23"/>
                  </a:lnTo>
                  <a:lnTo>
                    <a:pt x="59" y="23"/>
                  </a:lnTo>
                  <a:lnTo>
                    <a:pt x="59" y="23"/>
                  </a:lnTo>
                  <a:lnTo>
                    <a:pt x="59" y="23"/>
                  </a:lnTo>
                  <a:lnTo>
                    <a:pt x="59" y="23"/>
                  </a:lnTo>
                  <a:lnTo>
                    <a:pt x="59" y="23"/>
                  </a:lnTo>
                  <a:lnTo>
                    <a:pt x="59" y="24"/>
                  </a:lnTo>
                  <a:lnTo>
                    <a:pt x="59" y="24"/>
                  </a:lnTo>
                  <a:lnTo>
                    <a:pt x="60" y="24"/>
                  </a:lnTo>
                  <a:lnTo>
                    <a:pt x="60" y="24"/>
                  </a:lnTo>
                  <a:lnTo>
                    <a:pt x="60" y="24"/>
                  </a:lnTo>
                  <a:lnTo>
                    <a:pt x="60" y="25"/>
                  </a:lnTo>
                  <a:lnTo>
                    <a:pt x="61" y="25"/>
                  </a:lnTo>
                  <a:close/>
                  <a:moveTo>
                    <a:pt x="45" y="0"/>
                  </a:moveTo>
                  <a:lnTo>
                    <a:pt x="45" y="0"/>
                  </a:lnTo>
                  <a:lnTo>
                    <a:pt x="45" y="0"/>
                  </a:lnTo>
                  <a:lnTo>
                    <a:pt x="45" y="0"/>
                  </a:lnTo>
                  <a:lnTo>
                    <a:pt x="46" y="1"/>
                  </a:lnTo>
                  <a:lnTo>
                    <a:pt x="46" y="1"/>
                  </a:lnTo>
                  <a:lnTo>
                    <a:pt x="46" y="0"/>
                  </a:lnTo>
                  <a:lnTo>
                    <a:pt x="47" y="0"/>
                  </a:lnTo>
                  <a:lnTo>
                    <a:pt x="47" y="0"/>
                  </a:lnTo>
                  <a:lnTo>
                    <a:pt x="47" y="0"/>
                  </a:lnTo>
                  <a:lnTo>
                    <a:pt x="47" y="1"/>
                  </a:lnTo>
                  <a:lnTo>
                    <a:pt x="47" y="1"/>
                  </a:lnTo>
                  <a:lnTo>
                    <a:pt x="47" y="1"/>
                  </a:lnTo>
                  <a:lnTo>
                    <a:pt x="47" y="2"/>
                  </a:lnTo>
                  <a:lnTo>
                    <a:pt x="47" y="2"/>
                  </a:lnTo>
                  <a:lnTo>
                    <a:pt x="47" y="2"/>
                  </a:lnTo>
                  <a:lnTo>
                    <a:pt x="47" y="2"/>
                  </a:lnTo>
                  <a:lnTo>
                    <a:pt x="46" y="3"/>
                  </a:lnTo>
                  <a:lnTo>
                    <a:pt x="46" y="3"/>
                  </a:lnTo>
                  <a:lnTo>
                    <a:pt x="46" y="4"/>
                  </a:lnTo>
                  <a:lnTo>
                    <a:pt x="46" y="4"/>
                  </a:lnTo>
                  <a:lnTo>
                    <a:pt x="46" y="4"/>
                  </a:lnTo>
                  <a:lnTo>
                    <a:pt x="45" y="6"/>
                  </a:lnTo>
                  <a:lnTo>
                    <a:pt x="45" y="6"/>
                  </a:lnTo>
                  <a:lnTo>
                    <a:pt x="45" y="6"/>
                  </a:lnTo>
                  <a:lnTo>
                    <a:pt x="45" y="6"/>
                  </a:lnTo>
                  <a:lnTo>
                    <a:pt x="45" y="6"/>
                  </a:lnTo>
                  <a:lnTo>
                    <a:pt x="45" y="7"/>
                  </a:lnTo>
                  <a:lnTo>
                    <a:pt x="45" y="7"/>
                  </a:lnTo>
                  <a:lnTo>
                    <a:pt x="45" y="7"/>
                  </a:lnTo>
                  <a:lnTo>
                    <a:pt x="43" y="8"/>
                  </a:lnTo>
                  <a:lnTo>
                    <a:pt x="43" y="9"/>
                  </a:lnTo>
                  <a:lnTo>
                    <a:pt x="43" y="9"/>
                  </a:lnTo>
                  <a:lnTo>
                    <a:pt x="43" y="9"/>
                  </a:lnTo>
                  <a:lnTo>
                    <a:pt x="42" y="9"/>
                  </a:lnTo>
                  <a:lnTo>
                    <a:pt x="42" y="9"/>
                  </a:lnTo>
                  <a:lnTo>
                    <a:pt x="42" y="9"/>
                  </a:lnTo>
                  <a:lnTo>
                    <a:pt x="42" y="9"/>
                  </a:lnTo>
                  <a:lnTo>
                    <a:pt x="42" y="8"/>
                  </a:lnTo>
                  <a:lnTo>
                    <a:pt x="42" y="8"/>
                  </a:lnTo>
                  <a:lnTo>
                    <a:pt x="41" y="9"/>
                  </a:lnTo>
                  <a:lnTo>
                    <a:pt x="41" y="9"/>
                  </a:lnTo>
                  <a:lnTo>
                    <a:pt x="41" y="8"/>
                  </a:lnTo>
                  <a:lnTo>
                    <a:pt x="41" y="8"/>
                  </a:lnTo>
                  <a:lnTo>
                    <a:pt x="41" y="8"/>
                  </a:lnTo>
                  <a:lnTo>
                    <a:pt x="41" y="8"/>
                  </a:lnTo>
                  <a:lnTo>
                    <a:pt x="40" y="8"/>
                  </a:lnTo>
                  <a:lnTo>
                    <a:pt x="40" y="8"/>
                  </a:lnTo>
                  <a:lnTo>
                    <a:pt x="40" y="8"/>
                  </a:lnTo>
                  <a:lnTo>
                    <a:pt x="40" y="7"/>
                  </a:lnTo>
                  <a:lnTo>
                    <a:pt x="40" y="7"/>
                  </a:lnTo>
                  <a:lnTo>
                    <a:pt x="40" y="7"/>
                  </a:lnTo>
                  <a:lnTo>
                    <a:pt x="40" y="7"/>
                  </a:lnTo>
                  <a:lnTo>
                    <a:pt x="40" y="7"/>
                  </a:lnTo>
                  <a:lnTo>
                    <a:pt x="40" y="6"/>
                  </a:lnTo>
                  <a:lnTo>
                    <a:pt x="40" y="6"/>
                  </a:lnTo>
                  <a:lnTo>
                    <a:pt x="40" y="6"/>
                  </a:lnTo>
                  <a:lnTo>
                    <a:pt x="40" y="4"/>
                  </a:lnTo>
                  <a:lnTo>
                    <a:pt x="41" y="4"/>
                  </a:lnTo>
                  <a:lnTo>
                    <a:pt x="41" y="4"/>
                  </a:lnTo>
                  <a:lnTo>
                    <a:pt x="41" y="4"/>
                  </a:lnTo>
                  <a:lnTo>
                    <a:pt x="41" y="4"/>
                  </a:lnTo>
                  <a:lnTo>
                    <a:pt x="42" y="4"/>
                  </a:lnTo>
                  <a:lnTo>
                    <a:pt x="42" y="4"/>
                  </a:lnTo>
                  <a:lnTo>
                    <a:pt x="42" y="4"/>
                  </a:lnTo>
                  <a:lnTo>
                    <a:pt x="41" y="4"/>
                  </a:lnTo>
                  <a:lnTo>
                    <a:pt x="42" y="4"/>
                  </a:lnTo>
                  <a:lnTo>
                    <a:pt x="42" y="3"/>
                  </a:lnTo>
                  <a:lnTo>
                    <a:pt x="42" y="3"/>
                  </a:lnTo>
                  <a:lnTo>
                    <a:pt x="42" y="3"/>
                  </a:lnTo>
                  <a:lnTo>
                    <a:pt x="42" y="2"/>
                  </a:lnTo>
                  <a:lnTo>
                    <a:pt x="42" y="1"/>
                  </a:lnTo>
                  <a:lnTo>
                    <a:pt x="43" y="1"/>
                  </a:lnTo>
                  <a:lnTo>
                    <a:pt x="43" y="0"/>
                  </a:lnTo>
                  <a:lnTo>
                    <a:pt x="43" y="0"/>
                  </a:lnTo>
                  <a:lnTo>
                    <a:pt x="43" y="0"/>
                  </a:lnTo>
                  <a:lnTo>
                    <a:pt x="43" y="0"/>
                  </a:lnTo>
                  <a:lnTo>
                    <a:pt x="45"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40" name="Freeform 895">
              <a:extLst>
                <a:ext uri="{FF2B5EF4-FFF2-40B4-BE49-F238E27FC236}">
                  <a16:creationId xmlns:a16="http://schemas.microsoft.com/office/drawing/2014/main" id="{93B349FF-F279-4C19-909F-4B64AF334E4F}"/>
                </a:ext>
              </a:extLst>
            </p:cNvPr>
            <p:cNvSpPr>
              <a:spLocks noEditPoints="1"/>
            </p:cNvSpPr>
            <p:nvPr/>
          </p:nvSpPr>
          <p:spPr bwMode="auto">
            <a:xfrm>
              <a:off x="4663250" y="3082766"/>
              <a:ext cx="8013" cy="12020"/>
            </a:xfrm>
            <a:custGeom>
              <a:avLst/>
              <a:gdLst>
                <a:gd name="T0" fmla="*/ 1 w 6"/>
                <a:gd name="T1" fmla="*/ 8 h 9"/>
                <a:gd name="T2" fmla="*/ 1 w 6"/>
                <a:gd name="T3" fmla="*/ 8 h 9"/>
                <a:gd name="T4" fmla="*/ 1 w 6"/>
                <a:gd name="T5" fmla="*/ 8 h 9"/>
                <a:gd name="T6" fmla="*/ 1 w 6"/>
                <a:gd name="T7" fmla="*/ 8 h 9"/>
                <a:gd name="T8" fmla="*/ 1 w 6"/>
                <a:gd name="T9" fmla="*/ 8 h 9"/>
                <a:gd name="T10" fmla="*/ 1 w 6"/>
                <a:gd name="T11" fmla="*/ 8 h 9"/>
                <a:gd name="T12" fmla="*/ 0 w 6"/>
                <a:gd name="T13" fmla="*/ 8 h 9"/>
                <a:gd name="T14" fmla="*/ 0 w 6"/>
                <a:gd name="T15" fmla="*/ 8 h 9"/>
                <a:gd name="T16" fmla="*/ 1 w 6"/>
                <a:gd name="T17" fmla="*/ 8 h 9"/>
                <a:gd name="T18" fmla="*/ 1 w 6"/>
                <a:gd name="T19" fmla="*/ 8 h 9"/>
                <a:gd name="T20" fmla="*/ 1 w 6"/>
                <a:gd name="T21" fmla="*/ 7 h 9"/>
                <a:gd name="T22" fmla="*/ 1 w 6"/>
                <a:gd name="T23" fmla="*/ 6 h 9"/>
                <a:gd name="T24" fmla="*/ 2 w 6"/>
                <a:gd name="T25" fmla="*/ 5 h 9"/>
                <a:gd name="T26" fmla="*/ 2 w 6"/>
                <a:gd name="T27" fmla="*/ 6 h 9"/>
                <a:gd name="T28" fmla="*/ 2 w 6"/>
                <a:gd name="T29" fmla="*/ 6 h 9"/>
                <a:gd name="T30" fmla="*/ 2 w 6"/>
                <a:gd name="T31" fmla="*/ 6 h 9"/>
                <a:gd name="T32" fmla="*/ 2 w 6"/>
                <a:gd name="T33" fmla="*/ 7 h 9"/>
                <a:gd name="T34" fmla="*/ 2 w 6"/>
                <a:gd name="T35" fmla="*/ 7 h 9"/>
                <a:gd name="T36" fmla="*/ 2 w 6"/>
                <a:gd name="T37" fmla="*/ 7 h 9"/>
                <a:gd name="T38" fmla="*/ 2 w 6"/>
                <a:gd name="T39" fmla="*/ 8 h 9"/>
                <a:gd name="T40" fmla="*/ 2 w 6"/>
                <a:gd name="T41" fmla="*/ 8 h 9"/>
                <a:gd name="T42" fmla="*/ 2 w 6"/>
                <a:gd name="T43" fmla="*/ 8 h 9"/>
                <a:gd name="T44" fmla="*/ 6 w 6"/>
                <a:gd name="T45" fmla="*/ 1 h 9"/>
                <a:gd name="T46" fmla="*/ 5 w 6"/>
                <a:gd name="T47" fmla="*/ 1 h 9"/>
                <a:gd name="T48" fmla="*/ 5 w 6"/>
                <a:gd name="T49" fmla="*/ 1 h 9"/>
                <a:gd name="T50" fmla="*/ 5 w 6"/>
                <a:gd name="T51" fmla="*/ 1 h 9"/>
                <a:gd name="T52" fmla="*/ 5 w 6"/>
                <a:gd name="T53" fmla="*/ 1 h 9"/>
                <a:gd name="T54" fmla="*/ 5 w 6"/>
                <a:gd name="T55" fmla="*/ 1 h 9"/>
                <a:gd name="T56" fmla="*/ 5 w 6"/>
                <a:gd name="T57" fmla="*/ 1 h 9"/>
                <a:gd name="T58" fmla="*/ 5 w 6"/>
                <a:gd name="T59" fmla="*/ 1 h 9"/>
                <a:gd name="T60" fmla="*/ 6 w 6"/>
                <a:gd name="T61" fmla="*/ 0 h 9"/>
                <a:gd name="T62" fmla="*/ 6 w 6"/>
                <a:gd name="T63" fmla="*/ 1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 h="9">
                  <a:moveTo>
                    <a:pt x="2" y="8"/>
                  </a:moveTo>
                  <a:lnTo>
                    <a:pt x="1" y="8"/>
                  </a:lnTo>
                  <a:lnTo>
                    <a:pt x="1" y="8"/>
                  </a:lnTo>
                  <a:lnTo>
                    <a:pt x="1" y="8"/>
                  </a:lnTo>
                  <a:lnTo>
                    <a:pt x="1" y="8"/>
                  </a:lnTo>
                  <a:lnTo>
                    <a:pt x="1" y="8"/>
                  </a:lnTo>
                  <a:lnTo>
                    <a:pt x="1" y="9"/>
                  </a:lnTo>
                  <a:lnTo>
                    <a:pt x="1" y="8"/>
                  </a:lnTo>
                  <a:lnTo>
                    <a:pt x="1" y="8"/>
                  </a:lnTo>
                  <a:lnTo>
                    <a:pt x="1" y="8"/>
                  </a:lnTo>
                  <a:lnTo>
                    <a:pt x="1" y="8"/>
                  </a:lnTo>
                  <a:lnTo>
                    <a:pt x="1" y="8"/>
                  </a:lnTo>
                  <a:lnTo>
                    <a:pt x="0" y="8"/>
                  </a:lnTo>
                  <a:lnTo>
                    <a:pt x="0" y="8"/>
                  </a:lnTo>
                  <a:lnTo>
                    <a:pt x="0" y="8"/>
                  </a:lnTo>
                  <a:lnTo>
                    <a:pt x="0" y="8"/>
                  </a:lnTo>
                  <a:lnTo>
                    <a:pt x="1" y="8"/>
                  </a:lnTo>
                  <a:lnTo>
                    <a:pt x="1" y="8"/>
                  </a:lnTo>
                  <a:lnTo>
                    <a:pt x="1" y="8"/>
                  </a:lnTo>
                  <a:lnTo>
                    <a:pt x="1" y="8"/>
                  </a:lnTo>
                  <a:lnTo>
                    <a:pt x="1" y="7"/>
                  </a:lnTo>
                  <a:lnTo>
                    <a:pt x="1" y="7"/>
                  </a:lnTo>
                  <a:lnTo>
                    <a:pt x="1" y="7"/>
                  </a:lnTo>
                  <a:lnTo>
                    <a:pt x="1" y="6"/>
                  </a:lnTo>
                  <a:lnTo>
                    <a:pt x="2" y="5"/>
                  </a:lnTo>
                  <a:lnTo>
                    <a:pt x="2" y="5"/>
                  </a:lnTo>
                  <a:lnTo>
                    <a:pt x="2" y="5"/>
                  </a:lnTo>
                  <a:lnTo>
                    <a:pt x="2" y="6"/>
                  </a:lnTo>
                  <a:lnTo>
                    <a:pt x="2" y="6"/>
                  </a:lnTo>
                  <a:lnTo>
                    <a:pt x="2" y="6"/>
                  </a:lnTo>
                  <a:lnTo>
                    <a:pt x="2" y="6"/>
                  </a:lnTo>
                  <a:lnTo>
                    <a:pt x="2" y="6"/>
                  </a:lnTo>
                  <a:lnTo>
                    <a:pt x="2" y="7"/>
                  </a:lnTo>
                  <a:lnTo>
                    <a:pt x="2" y="7"/>
                  </a:lnTo>
                  <a:lnTo>
                    <a:pt x="2" y="7"/>
                  </a:lnTo>
                  <a:lnTo>
                    <a:pt x="2" y="7"/>
                  </a:lnTo>
                  <a:lnTo>
                    <a:pt x="2" y="7"/>
                  </a:lnTo>
                  <a:lnTo>
                    <a:pt x="2" y="7"/>
                  </a:lnTo>
                  <a:lnTo>
                    <a:pt x="2" y="7"/>
                  </a:lnTo>
                  <a:lnTo>
                    <a:pt x="2" y="8"/>
                  </a:lnTo>
                  <a:lnTo>
                    <a:pt x="2" y="8"/>
                  </a:lnTo>
                  <a:lnTo>
                    <a:pt x="2" y="8"/>
                  </a:lnTo>
                  <a:lnTo>
                    <a:pt x="2" y="8"/>
                  </a:lnTo>
                  <a:lnTo>
                    <a:pt x="2" y="8"/>
                  </a:lnTo>
                  <a:close/>
                  <a:moveTo>
                    <a:pt x="6" y="1"/>
                  </a:moveTo>
                  <a:lnTo>
                    <a:pt x="6" y="1"/>
                  </a:lnTo>
                  <a:lnTo>
                    <a:pt x="6" y="1"/>
                  </a:lnTo>
                  <a:lnTo>
                    <a:pt x="5" y="1"/>
                  </a:lnTo>
                  <a:lnTo>
                    <a:pt x="5" y="1"/>
                  </a:lnTo>
                  <a:lnTo>
                    <a:pt x="5" y="1"/>
                  </a:lnTo>
                  <a:lnTo>
                    <a:pt x="5" y="2"/>
                  </a:lnTo>
                  <a:lnTo>
                    <a:pt x="5" y="1"/>
                  </a:lnTo>
                  <a:lnTo>
                    <a:pt x="5" y="1"/>
                  </a:lnTo>
                  <a:lnTo>
                    <a:pt x="5" y="1"/>
                  </a:lnTo>
                  <a:lnTo>
                    <a:pt x="5" y="1"/>
                  </a:lnTo>
                  <a:lnTo>
                    <a:pt x="5" y="1"/>
                  </a:lnTo>
                  <a:lnTo>
                    <a:pt x="5" y="1"/>
                  </a:lnTo>
                  <a:lnTo>
                    <a:pt x="5" y="1"/>
                  </a:lnTo>
                  <a:lnTo>
                    <a:pt x="5" y="1"/>
                  </a:lnTo>
                  <a:lnTo>
                    <a:pt x="5" y="1"/>
                  </a:lnTo>
                  <a:lnTo>
                    <a:pt x="6" y="1"/>
                  </a:lnTo>
                  <a:lnTo>
                    <a:pt x="6" y="0"/>
                  </a:lnTo>
                  <a:lnTo>
                    <a:pt x="6" y="1"/>
                  </a:lnTo>
                  <a:lnTo>
                    <a:pt x="6"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41" name="Freeform 896">
              <a:extLst>
                <a:ext uri="{FF2B5EF4-FFF2-40B4-BE49-F238E27FC236}">
                  <a16:creationId xmlns:a16="http://schemas.microsoft.com/office/drawing/2014/main" id="{6D0A903A-291A-4389-9FA9-4746F83631E2}"/>
                </a:ext>
              </a:extLst>
            </p:cNvPr>
            <p:cNvSpPr>
              <a:spLocks noEditPoints="1"/>
            </p:cNvSpPr>
            <p:nvPr/>
          </p:nvSpPr>
          <p:spPr bwMode="auto">
            <a:xfrm>
              <a:off x="4929012" y="1699200"/>
              <a:ext cx="749209" cy="400646"/>
            </a:xfrm>
            <a:custGeom>
              <a:avLst/>
              <a:gdLst>
                <a:gd name="T0" fmla="*/ 154 w 561"/>
                <a:gd name="T1" fmla="*/ 295 h 300"/>
                <a:gd name="T2" fmla="*/ 142 w 561"/>
                <a:gd name="T3" fmla="*/ 286 h 300"/>
                <a:gd name="T4" fmla="*/ 109 w 561"/>
                <a:gd name="T5" fmla="*/ 252 h 300"/>
                <a:gd name="T6" fmla="*/ 225 w 561"/>
                <a:gd name="T7" fmla="*/ 228 h 300"/>
                <a:gd name="T8" fmla="*/ 304 w 561"/>
                <a:gd name="T9" fmla="*/ 201 h 300"/>
                <a:gd name="T10" fmla="*/ 115 w 561"/>
                <a:gd name="T11" fmla="*/ 168 h 300"/>
                <a:gd name="T12" fmla="*/ 144 w 561"/>
                <a:gd name="T13" fmla="*/ 146 h 300"/>
                <a:gd name="T14" fmla="*/ 115 w 561"/>
                <a:gd name="T15" fmla="*/ 128 h 300"/>
                <a:gd name="T16" fmla="*/ 414 w 561"/>
                <a:gd name="T17" fmla="*/ 120 h 300"/>
                <a:gd name="T18" fmla="*/ 121 w 561"/>
                <a:gd name="T19" fmla="*/ 112 h 300"/>
                <a:gd name="T20" fmla="*/ 491 w 561"/>
                <a:gd name="T21" fmla="*/ 95 h 300"/>
                <a:gd name="T22" fmla="*/ 474 w 561"/>
                <a:gd name="T23" fmla="*/ 58 h 300"/>
                <a:gd name="T24" fmla="*/ 488 w 561"/>
                <a:gd name="T25" fmla="*/ 35 h 300"/>
                <a:gd name="T26" fmla="*/ 333 w 561"/>
                <a:gd name="T27" fmla="*/ 6 h 300"/>
                <a:gd name="T28" fmla="*/ 377 w 561"/>
                <a:gd name="T29" fmla="*/ 8 h 300"/>
                <a:gd name="T30" fmla="*/ 384 w 561"/>
                <a:gd name="T31" fmla="*/ 16 h 300"/>
                <a:gd name="T32" fmla="*/ 485 w 561"/>
                <a:gd name="T33" fmla="*/ 21 h 300"/>
                <a:gd name="T34" fmla="*/ 505 w 561"/>
                <a:gd name="T35" fmla="*/ 30 h 300"/>
                <a:gd name="T36" fmla="*/ 464 w 561"/>
                <a:gd name="T37" fmla="*/ 62 h 300"/>
                <a:gd name="T38" fmla="*/ 454 w 561"/>
                <a:gd name="T39" fmla="*/ 75 h 300"/>
                <a:gd name="T40" fmla="*/ 457 w 561"/>
                <a:gd name="T41" fmla="*/ 89 h 300"/>
                <a:gd name="T42" fmla="*/ 448 w 561"/>
                <a:gd name="T43" fmla="*/ 111 h 300"/>
                <a:gd name="T44" fmla="*/ 394 w 561"/>
                <a:gd name="T45" fmla="*/ 113 h 300"/>
                <a:gd name="T46" fmla="*/ 421 w 561"/>
                <a:gd name="T47" fmla="*/ 128 h 300"/>
                <a:gd name="T48" fmla="*/ 441 w 561"/>
                <a:gd name="T49" fmla="*/ 148 h 300"/>
                <a:gd name="T50" fmla="*/ 383 w 561"/>
                <a:gd name="T51" fmla="*/ 138 h 300"/>
                <a:gd name="T52" fmla="*/ 376 w 561"/>
                <a:gd name="T53" fmla="*/ 156 h 300"/>
                <a:gd name="T54" fmla="*/ 408 w 561"/>
                <a:gd name="T55" fmla="*/ 166 h 300"/>
                <a:gd name="T56" fmla="*/ 346 w 561"/>
                <a:gd name="T57" fmla="*/ 183 h 300"/>
                <a:gd name="T58" fmla="*/ 304 w 561"/>
                <a:gd name="T59" fmla="*/ 202 h 300"/>
                <a:gd name="T60" fmla="*/ 261 w 561"/>
                <a:gd name="T61" fmla="*/ 214 h 300"/>
                <a:gd name="T62" fmla="*/ 236 w 561"/>
                <a:gd name="T63" fmla="*/ 219 h 300"/>
                <a:gd name="T64" fmla="*/ 216 w 561"/>
                <a:gd name="T65" fmla="*/ 246 h 300"/>
                <a:gd name="T66" fmla="*/ 193 w 561"/>
                <a:gd name="T67" fmla="*/ 259 h 300"/>
                <a:gd name="T68" fmla="*/ 180 w 561"/>
                <a:gd name="T69" fmla="*/ 281 h 300"/>
                <a:gd name="T70" fmla="*/ 177 w 561"/>
                <a:gd name="T71" fmla="*/ 295 h 300"/>
                <a:gd name="T72" fmla="*/ 154 w 561"/>
                <a:gd name="T73" fmla="*/ 289 h 300"/>
                <a:gd name="T74" fmla="*/ 151 w 561"/>
                <a:gd name="T75" fmla="*/ 280 h 300"/>
                <a:gd name="T76" fmla="*/ 128 w 561"/>
                <a:gd name="T77" fmla="*/ 278 h 300"/>
                <a:gd name="T78" fmla="*/ 119 w 561"/>
                <a:gd name="T79" fmla="*/ 268 h 300"/>
                <a:gd name="T80" fmla="*/ 113 w 561"/>
                <a:gd name="T81" fmla="*/ 251 h 300"/>
                <a:gd name="T82" fmla="*/ 116 w 561"/>
                <a:gd name="T83" fmla="*/ 237 h 300"/>
                <a:gd name="T84" fmla="*/ 120 w 561"/>
                <a:gd name="T85" fmla="*/ 229 h 300"/>
                <a:gd name="T86" fmla="*/ 102 w 561"/>
                <a:gd name="T87" fmla="*/ 223 h 300"/>
                <a:gd name="T88" fmla="*/ 106 w 561"/>
                <a:gd name="T89" fmla="*/ 212 h 300"/>
                <a:gd name="T90" fmla="*/ 99 w 561"/>
                <a:gd name="T91" fmla="*/ 205 h 300"/>
                <a:gd name="T92" fmla="*/ 126 w 561"/>
                <a:gd name="T93" fmla="*/ 196 h 300"/>
                <a:gd name="T94" fmla="*/ 130 w 561"/>
                <a:gd name="T95" fmla="*/ 188 h 300"/>
                <a:gd name="T96" fmla="*/ 113 w 561"/>
                <a:gd name="T97" fmla="*/ 184 h 300"/>
                <a:gd name="T98" fmla="*/ 119 w 561"/>
                <a:gd name="T99" fmla="*/ 181 h 300"/>
                <a:gd name="T100" fmla="*/ 149 w 561"/>
                <a:gd name="T101" fmla="*/ 168 h 300"/>
                <a:gd name="T102" fmla="*/ 137 w 561"/>
                <a:gd name="T103" fmla="*/ 149 h 300"/>
                <a:gd name="T104" fmla="*/ 145 w 561"/>
                <a:gd name="T105" fmla="*/ 139 h 300"/>
                <a:gd name="T106" fmla="*/ 124 w 561"/>
                <a:gd name="T107" fmla="*/ 132 h 300"/>
                <a:gd name="T108" fmla="*/ 122 w 561"/>
                <a:gd name="T109" fmla="*/ 111 h 300"/>
                <a:gd name="T110" fmla="*/ 109 w 561"/>
                <a:gd name="T111" fmla="*/ 85 h 300"/>
                <a:gd name="T112" fmla="*/ 43 w 561"/>
                <a:gd name="T113" fmla="*/ 81 h 300"/>
                <a:gd name="T114" fmla="*/ 49 w 561"/>
                <a:gd name="T115" fmla="*/ 65 h 300"/>
                <a:gd name="T116" fmla="*/ 44 w 561"/>
                <a:gd name="T117" fmla="*/ 49 h 300"/>
                <a:gd name="T118" fmla="*/ 107 w 561"/>
                <a:gd name="T119" fmla="*/ 26 h 300"/>
                <a:gd name="T120" fmla="*/ 207 w 561"/>
                <a:gd name="T121" fmla="*/ 13 h 300"/>
                <a:gd name="T122" fmla="*/ 292 w 561"/>
                <a:gd name="T123" fmla="*/ 12 h 300"/>
                <a:gd name="T124" fmla="*/ 298 w 561"/>
                <a:gd name="T125" fmla="*/ 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1" h="300">
                  <a:moveTo>
                    <a:pt x="170" y="299"/>
                  </a:moveTo>
                  <a:lnTo>
                    <a:pt x="171" y="299"/>
                  </a:lnTo>
                  <a:lnTo>
                    <a:pt x="170" y="299"/>
                  </a:lnTo>
                  <a:lnTo>
                    <a:pt x="170" y="300"/>
                  </a:lnTo>
                  <a:lnTo>
                    <a:pt x="170" y="299"/>
                  </a:lnTo>
                  <a:lnTo>
                    <a:pt x="169" y="299"/>
                  </a:lnTo>
                  <a:lnTo>
                    <a:pt x="169" y="300"/>
                  </a:lnTo>
                  <a:lnTo>
                    <a:pt x="169" y="299"/>
                  </a:lnTo>
                  <a:lnTo>
                    <a:pt x="169" y="300"/>
                  </a:lnTo>
                  <a:lnTo>
                    <a:pt x="168" y="300"/>
                  </a:lnTo>
                  <a:lnTo>
                    <a:pt x="168" y="299"/>
                  </a:lnTo>
                  <a:lnTo>
                    <a:pt x="166" y="299"/>
                  </a:lnTo>
                  <a:lnTo>
                    <a:pt x="166" y="300"/>
                  </a:lnTo>
                  <a:lnTo>
                    <a:pt x="165" y="300"/>
                  </a:lnTo>
                  <a:lnTo>
                    <a:pt x="165" y="299"/>
                  </a:lnTo>
                  <a:lnTo>
                    <a:pt x="166" y="299"/>
                  </a:lnTo>
                  <a:lnTo>
                    <a:pt x="166" y="298"/>
                  </a:lnTo>
                  <a:lnTo>
                    <a:pt x="168" y="298"/>
                  </a:lnTo>
                  <a:lnTo>
                    <a:pt x="169" y="298"/>
                  </a:lnTo>
                  <a:lnTo>
                    <a:pt x="170" y="298"/>
                  </a:lnTo>
                  <a:lnTo>
                    <a:pt x="170" y="299"/>
                  </a:lnTo>
                  <a:close/>
                  <a:moveTo>
                    <a:pt x="162" y="298"/>
                  </a:moveTo>
                  <a:lnTo>
                    <a:pt x="161" y="298"/>
                  </a:lnTo>
                  <a:lnTo>
                    <a:pt x="162" y="298"/>
                  </a:lnTo>
                  <a:close/>
                  <a:moveTo>
                    <a:pt x="176" y="298"/>
                  </a:moveTo>
                  <a:lnTo>
                    <a:pt x="175" y="298"/>
                  </a:lnTo>
                  <a:lnTo>
                    <a:pt x="175" y="299"/>
                  </a:lnTo>
                  <a:lnTo>
                    <a:pt x="173" y="299"/>
                  </a:lnTo>
                  <a:lnTo>
                    <a:pt x="173" y="298"/>
                  </a:lnTo>
                  <a:lnTo>
                    <a:pt x="175" y="298"/>
                  </a:lnTo>
                  <a:lnTo>
                    <a:pt x="175" y="296"/>
                  </a:lnTo>
                  <a:lnTo>
                    <a:pt x="175" y="298"/>
                  </a:lnTo>
                  <a:lnTo>
                    <a:pt x="176" y="298"/>
                  </a:lnTo>
                  <a:close/>
                  <a:moveTo>
                    <a:pt x="168" y="298"/>
                  </a:moveTo>
                  <a:lnTo>
                    <a:pt x="166" y="298"/>
                  </a:lnTo>
                  <a:lnTo>
                    <a:pt x="165" y="298"/>
                  </a:lnTo>
                  <a:lnTo>
                    <a:pt x="165" y="299"/>
                  </a:lnTo>
                  <a:lnTo>
                    <a:pt x="165" y="298"/>
                  </a:lnTo>
                  <a:lnTo>
                    <a:pt x="165" y="299"/>
                  </a:lnTo>
                  <a:lnTo>
                    <a:pt x="164" y="299"/>
                  </a:lnTo>
                  <a:lnTo>
                    <a:pt x="163" y="299"/>
                  </a:lnTo>
                  <a:lnTo>
                    <a:pt x="162" y="299"/>
                  </a:lnTo>
                  <a:lnTo>
                    <a:pt x="163" y="299"/>
                  </a:lnTo>
                  <a:lnTo>
                    <a:pt x="163" y="298"/>
                  </a:lnTo>
                  <a:lnTo>
                    <a:pt x="164" y="298"/>
                  </a:lnTo>
                  <a:lnTo>
                    <a:pt x="164" y="296"/>
                  </a:lnTo>
                  <a:lnTo>
                    <a:pt x="165" y="296"/>
                  </a:lnTo>
                  <a:lnTo>
                    <a:pt x="166" y="296"/>
                  </a:lnTo>
                  <a:lnTo>
                    <a:pt x="168" y="296"/>
                  </a:lnTo>
                  <a:lnTo>
                    <a:pt x="168" y="298"/>
                  </a:lnTo>
                  <a:close/>
                  <a:moveTo>
                    <a:pt x="173" y="298"/>
                  </a:moveTo>
                  <a:lnTo>
                    <a:pt x="172" y="298"/>
                  </a:lnTo>
                  <a:lnTo>
                    <a:pt x="172" y="299"/>
                  </a:lnTo>
                  <a:lnTo>
                    <a:pt x="172" y="298"/>
                  </a:lnTo>
                  <a:lnTo>
                    <a:pt x="173" y="298"/>
                  </a:lnTo>
                  <a:lnTo>
                    <a:pt x="173" y="296"/>
                  </a:lnTo>
                  <a:lnTo>
                    <a:pt x="175" y="296"/>
                  </a:lnTo>
                  <a:lnTo>
                    <a:pt x="175" y="298"/>
                  </a:lnTo>
                  <a:lnTo>
                    <a:pt x="173" y="298"/>
                  </a:lnTo>
                  <a:close/>
                  <a:moveTo>
                    <a:pt x="165" y="295"/>
                  </a:moveTo>
                  <a:lnTo>
                    <a:pt x="165" y="296"/>
                  </a:lnTo>
                  <a:lnTo>
                    <a:pt x="164" y="296"/>
                  </a:lnTo>
                  <a:lnTo>
                    <a:pt x="164" y="298"/>
                  </a:lnTo>
                  <a:lnTo>
                    <a:pt x="163" y="298"/>
                  </a:lnTo>
                  <a:lnTo>
                    <a:pt x="163" y="296"/>
                  </a:lnTo>
                  <a:lnTo>
                    <a:pt x="164" y="296"/>
                  </a:lnTo>
                  <a:lnTo>
                    <a:pt x="163" y="296"/>
                  </a:lnTo>
                  <a:lnTo>
                    <a:pt x="163" y="298"/>
                  </a:lnTo>
                  <a:lnTo>
                    <a:pt x="162" y="298"/>
                  </a:lnTo>
                  <a:lnTo>
                    <a:pt x="163" y="298"/>
                  </a:lnTo>
                  <a:lnTo>
                    <a:pt x="163" y="296"/>
                  </a:lnTo>
                  <a:lnTo>
                    <a:pt x="162" y="296"/>
                  </a:lnTo>
                  <a:lnTo>
                    <a:pt x="162" y="298"/>
                  </a:lnTo>
                  <a:lnTo>
                    <a:pt x="162" y="296"/>
                  </a:lnTo>
                  <a:lnTo>
                    <a:pt x="163" y="296"/>
                  </a:lnTo>
                  <a:lnTo>
                    <a:pt x="163" y="295"/>
                  </a:lnTo>
                  <a:lnTo>
                    <a:pt x="164" y="295"/>
                  </a:lnTo>
                  <a:lnTo>
                    <a:pt x="165" y="295"/>
                  </a:lnTo>
                  <a:close/>
                  <a:moveTo>
                    <a:pt x="168" y="296"/>
                  </a:moveTo>
                  <a:lnTo>
                    <a:pt x="166" y="296"/>
                  </a:lnTo>
                  <a:lnTo>
                    <a:pt x="165" y="296"/>
                  </a:lnTo>
                  <a:lnTo>
                    <a:pt x="165" y="295"/>
                  </a:lnTo>
                  <a:lnTo>
                    <a:pt x="165" y="294"/>
                  </a:lnTo>
                  <a:lnTo>
                    <a:pt x="165" y="295"/>
                  </a:lnTo>
                  <a:lnTo>
                    <a:pt x="166" y="295"/>
                  </a:lnTo>
                  <a:lnTo>
                    <a:pt x="165" y="295"/>
                  </a:lnTo>
                  <a:lnTo>
                    <a:pt x="166" y="295"/>
                  </a:lnTo>
                  <a:lnTo>
                    <a:pt x="166" y="296"/>
                  </a:lnTo>
                  <a:lnTo>
                    <a:pt x="168" y="296"/>
                  </a:lnTo>
                  <a:close/>
                  <a:moveTo>
                    <a:pt x="172" y="295"/>
                  </a:moveTo>
                  <a:lnTo>
                    <a:pt x="177" y="296"/>
                  </a:lnTo>
                  <a:lnTo>
                    <a:pt x="176" y="298"/>
                  </a:lnTo>
                  <a:lnTo>
                    <a:pt x="176" y="296"/>
                  </a:lnTo>
                  <a:lnTo>
                    <a:pt x="175" y="296"/>
                  </a:lnTo>
                  <a:lnTo>
                    <a:pt x="173" y="296"/>
                  </a:lnTo>
                  <a:lnTo>
                    <a:pt x="172" y="296"/>
                  </a:lnTo>
                  <a:lnTo>
                    <a:pt x="173" y="296"/>
                  </a:lnTo>
                  <a:lnTo>
                    <a:pt x="172" y="298"/>
                  </a:lnTo>
                  <a:lnTo>
                    <a:pt x="171" y="299"/>
                  </a:lnTo>
                  <a:lnTo>
                    <a:pt x="171" y="298"/>
                  </a:lnTo>
                  <a:lnTo>
                    <a:pt x="170" y="298"/>
                  </a:lnTo>
                  <a:lnTo>
                    <a:pt x="169" y="298"/>
                  </a:lnTo>
                  <a:lnTo>
                    <a:pt x="168" y="296"/>
                  </a:lnTo>
                  <a:lnTo>
                    <a:pt x="169" y="296"/>
                  </a:lnTo>
                  <a:lnTo>
                    <a:pt x="170" y="296"/>
                  </a:lnTo>
                  <a:lnTo>
                    <a:pt x="171" y="296"/>
                  </a:lnTo>
                  <a:lnTo>
                    <a:pt x="170" y="296"/>
                  </a:lnTo>
                  <a:lnTo>
                    <a:pt x="169" y="296"/>
                  </a:lnTo>
                  <a:lnTo>
                    <a:pt x="168" y="296"/>
                  </a:lnTo>
                  <a:lnTo>
                    <a:pt x="166" y="295"/>
                  </a:lnTo>
                  <a:lnTo>
                    <a:pt x="166" y="294"/>
                  </a:lnTo>
                  <a:lnTo>
                    <a:pt x="168" y="294"/>
                  </a:lnTo>
                  <a:lnTo>
                    <a:pt x="172" y="295"/>
                  </a:lnTo>
                  <a:close/>
                  <a:moveTo>
                    <a:pt x="154" y="295"/>
                  </a:moveTo>
                  <a:lnTo>
                    <a:pt x="154" y="294"/>
                  </a:lnTo>
                  <a:lnTo>
                    <a:pt x="155" y="294"/>
                  </a:lnTo>
                  <a:lnTo>
                    <a:pt x="155" y="295"/>
                  </a:lnTo>
                  <a:lnTo>
                    <a:pt x="154" y="295"/>
                  </a:lnTo>
                  <a:close/>
                  <a:moveTo>
                    <a:pt x="155" y="292"/>
                  </a:moveTo>
                  <a:lnTo>
                    <a:pt x="156" y="292"/>
                  </a:lnTo>
                  <a:lnTo>
                    <a:pt x="156" y="293"/>
                  </a:lnTo>
                  <a:lnTo>
                    <a:pt x="155" y="293"/>
                  </a:lnTo>
                  <a:lnTo>
                    <a:pt x="154" y="294"/>
                  </a:lnTo>
                  <a:lnTo>
                    <a:pt x="152" y="294"/>
                  </a:lnTo>
                  <a:lnTo>
                    <a:pt x="152" y="293"/>
                  </a:lnTo>
                  <a:lnTo>
                    <a:pt x="154" y="293"/>
                  </a:lnTo>
                  <a:lnTo>
                    <a:pt x="154" y="292"/>
                  </a:lnTo>
                  <a:lnTo>
                    <a:pt x="155" y="292"/>
                  </a:lnTo>
                  <a:close/>
                  <a:moveTo>
                    <a:pt x="157" y="292"/>
                  </a:moveTo>
                  <a:lnTo>
                    <a:pt x="156" y="292"/>
                  </a:lnTo>
                  <a:lnTo>
                    <a:pt x="157" y="291"/>
                  </a:lnTo>
                  <a:lnTo>
                    <a:pt x="158" y="291"/>
                  </a:lnTo>
                  <a:lnTo>
                    <a:pt x="157" y="292"/>
                  </a:lnTo>
                  <a:close/>
                  <a:moveTo>
                    <a:pt x="157" y="293"/>
                  </a:moveTo>
                  <a:lnTo>
                    <a:pt x="156" y="293"/>
                  </a:lnTo>
                  <a:lnTo>
                    <a:pt x="157" y="292"/>
                  </a:lnTo>
                  <a:lnTo>
                    <a:pt x="158" y="292"/>
                  </a:lnTo>
                  <a:lnTo>
                    <a:pt x="158" y="291"/>
                  </a:lnTo>
                  <a:lnTo>
                    <a:pt x="159" y="291"/>
                  </a:lnTo>
                  <a:lnTo>
                    <a:pt x="158" y="291"/>
                  </a:lnTo>
                  <a:lnTo>
                    <a:pt x="158" y="292"/>
                  </a:lnTo>
                  <a:lnTo>
                    <a:pt x="157" y="292"/>
                  </a:lnTo>
                  <a:lnTo>
                    <a:pt x="157" y="293"/>
                  </a:lnTo>
                  <a:close/>
                  <a:moveTo>
                    <a:pt x="154" y="291"/>
                  </a:moveTo>
                  <a:lnTo>
                    <a:pt x="155" y="291"/>
                  </a:lnTo>
                  <a:lnTo>
                    <a:pt x="154" y="291"/>
                  </a:lnTo>
                  <a:close/>
                  <a:moveTo>
                    <a:pt x="150" y="287"/>
                  </a:moveTo>
                  <a:lnTo>
                    <a:pt x="150" y="288"/>
                  </a:lnTo>
                  <a:lnTo>
                    <a:pt x="149" y="288"/>
                  </a:lnTo>
                  <a:lnTo>
                    <a:pt x="148" y="288"/>
                  </a:lnTo>
                  <a:lnTo>
                    <a:pt x="149" y="287"/>
                  </a:lnTo>
                  <a:lnTo>
                    <a:pt x="150" y="287"/>
                  </a:lnTo>
                  <a:close/>
                  <a:moveTo>
                    <a:pt x="148" y="287"/>
                  </a:moveTo>
                  <a:lnTo>
                    <a:pt x="148" y="288"/>
                  </a:lnTo>
                  <a:lnTo>
                    <a:pt x="147" y="288"/>
                  </a:lnTo>
                  <a:lnTo>
                    <a:pt x="147" y="287"/>
                  </a:lnTo>
                  <a:lnTo>
                    <a:pt x="147" y="288"/>
                  </a:lnTo>
                  <a:lnTo>
                    <a:pt x="145" y="287"/>
                  </a:lnTo>
                  <a:lnTo>
                    <a:pt x="147" y="287"/>
                  </a:lnTo>
                  <a:lnTo>
                    <a:pt x="149" y="287"/>
                  </a:lnTo>
                  <a:lnTo>
                    <a:pt x="148" y="287"/>
                  </a:lnTo>
                  <a:close/>
                  <a:moveTo>
                    <a:pt x="142" y="286"/>
                  </a:moveTo>
                  <a:lnTo>
                    <a:pt x="141" y="286"/>
                  </a:lnTo>
                  <a:lnTo>
                    <a:pt x="142" y="286"/>
                  </a:lnTo>
                  <a:lnTo>
                    <a:pt x="143" y="286"/>
                  </a:lnTo>
                  <a:lnTo>
                    <a:pt x="142" y="286"/>
                  </a:lnTo>
                  <a:close/>
                  <a:moveTo>
                    <a:pt x="145" y="286"/>
                  </a:moveTo>
                  <a:lnTo>
                    <a:pt x="144" y="287"/>
                  </a:lnTo>
                  <a:lnTo>
                    <a:pt x="143" y="287"/>
                  </a:lnTo>
                  <a:lnTo>
                    <a:pt x="143" y="286"/>
                  </a:lnTo>
                  <a:lnTo>
                    <a:pt x="144" y="286"/>
                  </a:lnTo>
                  <a:lnTo>
                    <a:pt x="145" y="286"/>
                  </a:lnTo>
                  <a:close/>
                  <a:moveTo>
                    <a:pt x="134" y="286"/>
                  </a:moveTo>
                  <a:lnTo>
                    <a:pt x="135" y="286"/>
                  </a:lnTo>
                  <a:lnTo>
                    <a:pt x="134" y="286"/>
                  </a:lnTo>
                  <a:lnTo>
                    <a:pt x="134" y="285"/>
                  </a:lnTo>
                  <a:lnTo>
                    <a:pt x="134" y="286"/>
                  </a:lnTo>
                  <a:close/>
                  <a:moveTo>
                    <a:pt x="137" y="286"/>
                  </a:moveTo>
                  <a:lnTo>
                    <a:pt x="137" y="285"/>
                  </a:lnTo>
                  <a:lnTo>
                    <a:pt x="137" y="286"/>
                  </a:lnTo>
                  <a:close/>
                  <a:moveTo>
                    <a:pt x="136" y="286"/>
                  </a:moveTo>
                  <a:lnTo>
                    <a:pt x="135" y="286"/>
                  </a:lnTo>
                  <a:lnTo>
                    <a:pt x="135" y="285"/>
                  </a:lnTo>
                  <a:lnTo>
                    <a:pt x="136" y="285"/>
                  </a:lnTo>
                  <a:lnTo>
                    <a:pt x="136" y="286"/>
                  </a:lnTo>
                  <a:close/>
                  <a:moveTo>
                    <a:pt x="144" y="286"/>
                  </a:moveTo>
                  <a:lnTo>
                    <a:pt x="145" y="285"/>
                  </a:lnTo>
                  <a:lnTo>
                    <a:pt x="145" y="286"/>
                  </a:lnTo>
                  <a:lnTo>
                    <a:pt x="144" y="286"/>
                  </a:lnTo>
                  <a:close/>
                  <a:moveTo>
                    <a:pt x="128" y="285"/>
                  </a:moveTo>
                  <a:lnTo>
                    <a:pt x="128" y="286"/>
                  </a:lnTo>
                  <a:lnTo>
                    <a:pt x="128" y="285"/>
                  </a:lnTo>
                  <a:lnTo>
                    <a:pt x="129" y="286"/>
                  </a:lnTo>
                  <a:lnTo>
                    <a:pt x="128" y="286"/>
                  </a:lnTo>
                  <a:lnTo>
                    <a:pt x="129" y="286"/>
                  </a:lnTo>
                  <a:lnTo>
                    <a:pt x="130" y="286"/>
                  </a:lnTo>
                  <a:lnTo>
                    <a:pt x="129" y="287"/>
                  </a:lnTo>
                  <a:lnTo>
                    <a:pt x="128" y="287"/>
                  </a:lnTo>
                  <a:lnTo>
                    <a:pt x="127" y="287"/>
                  </a:lnTo>
                  <a:lnTo>
                    <a:pt x="128" y="287"/>
                  </a:lnTo>
                  <a:lnTo>
                    <a:pt x="127" y="287"/>
                  </a:lnTo>
                  <a:lnTo>
                    <a:pt x="126" y="287"/>
                  </a:lnTo>
                  <a:lnTo>
                    <a:pt x="124" y="287"/>
                  </a:lnTo>
                  <a:lnTo>
                    <a:pt x="124" y="286"/>
                  </a:lnTo>
                  <a:lnTo>
                    <a:pt x="126" y="286"/>
                  </a:lnTo>
                  <a:lnTo>
                    <a:pt x="124" y="286"/>
                  </a:lnTo>
                  <a:lnTo>
                    <a:pt x="127" y="285"/>
                  </a:lnTo>
                  <a:lnTo>
                    <a:pt x="128" y="285"/>
                  </a:lnTo>
                  <a:close/>
                  <a:moveTo>
                    <a:pt x="137" y="285"/>
                  </a:moveTo>
                  <a:lnTo>
                    <a:pt x="136" y="285"/>
                  </a:lnTo>
                  <a:lnTo>
                    <a:pt x="137" y="285"/>
                  </a:lnTo>
                  <a:close/>
                  <a:moveTo>
                    <a:pt x="135" y="285"/>
                  </a:moveTo>
                  <a:lnTo>
                    <a:pt x="136" y="285"/>
                  </a:lnTo>
                  <a:lnTo>
                    <a:pt x="135" y="285"/>
                  </a:lnTo>
                  <a:close/>
                  <a:moveTo>
                    <a:pt x="186" y="285"/>
                  </a:moveTo>
                  <a:lnTo>
                    <a:pt x="185" y="285"/>
                  </a:lnTo>
                  <a:lnTo>
                    <a:pt x="184" y="285"/>
                  </a:lnTo>
                  <a:lnTo>
                    <a:pt x="183" y="285"/>
                  </a:lnTo>
                  <a:lnTo>
                    <a:pt x="184" y="285"/>
                  </a:lnTo>
                  <a:lnTo>
                    <a:pt x="184" y="284"/>
                  </a:lnTo>
                  <a:lnTo>
                    <a:pt x="185" y="284"/>
                  </a:lnTo>
                  <a:lnTo>
                    <a:pt x="186" y="284"/>
                  </a:lnTo>
                  <a:lnTo>
                    <a:pt x="186" y="285"/>
                  </a:lnTo>
                  <a:close/>
                  <a:moveTo>
                    <a:pt x="136" y="285"/>
                  </a:moveTo>
                  <a:lnTo>
                    <a:pt x="136" y="284"/>
                  </a:lnTo>
                  <a:lnTo>
                    <a:pt x="137" y="284"/>
                  </a:lnTo>
                  <a:lnTo>
                    <a:pt x="137" y="285"/>
                  </a:lnTo>
                  <a:lnTo>
                    <a:pt x="136" y="285"/>
                  </a:lnTo>
                  <a:close/>
                  <a:moveTo>
                    <a:pt x="138" y="284"/>
                  </a:moveTo>
                  <a:lnTo>
                    <a:pt x="137" y="284"/>
                  </a:lnTo>
                  <a:lnTo>
                    <a:pt x="138" y="284"/>
                  </a:lnTo>
                  <a:close/>
                  <a:moveTo>
                    <a:pt x="148" y="284"/>
                  </a:moveTo>
                  <a:lnTo>
                    <a:pt x="145" y="285"/>
                  </a:lnTo>
                  <a:lnTo>
                    <a:pt x="144" y="285"/>
                  </a:lnTo>
                  <a:lnTo>
                    <a:pt x="143" y="286"/>
                  </a:lnTo>
                  <a:lnTo>
                    <a:pt x="142" y="286"/>
                  </a:lnTo>
                  <a:lnTo>
                    <a:pt x="141" y="286"/>
                  </a:lnTo>
                  <a:lnTo>
                    <a:pt x="140" y="286"/>
                  </a:lnTo>
                  <a:lnTo>
                    <a:pt x="141" y="285"/>
                  </a:lnTo>
                  <a:lnTo>
                    <a:pt x="143" y="285"/>
                  </a:lnTo>
                  <a:lnTo>
                    <a:pt x="144" y="285"/>
                  </a:lnTo>
                  <a:lnTo>
                    <a:pt x="148" y="284"/>
                  </a:lnTo>
                  <a:lnTo>
                    <a:pt x="147" y="284"/>
                  </a:lnTo>
                  <a:lnTo>
                    <a:pt x="148" y="284"/>
                  </a:lnTo>
                  <a:close/>
                  <a:moveTo>
                    <a:pt x="144" y="284"/>
                  </a:moveTo>
                  <a:lnTo>
                    <a:pt x="144" y="282"/>
                  </a:lnTo>
                  <a:lnTo>
                    <a:pt x="145" y="282"/>
                  </a:lnTo>
                  <a:lnTo>
                    <a:pt x="144" y="284"/>
                  </a:lnTo>
                  <a:close/>
                  <a:moveTo>
                    <a:pt x="127" y="281"/>
                  </a:moveTo>
                  <a:lnTo>
                    <a:pt x="128" y="281"/>
                  </a:lnTo>
                  <a:lnTo>
                    <a:pt x="127" y="281"/>
                  </a:lnTo>
                  <a:lnTo>
                    <a:pt x="127" y="282"/>
                  </a:lnTo>
                  <a:lnTo>
                    <a:pt x="126" y="281"/>
                  </a:lnTo>
                  <a:lnTo>
                    <a:pt x="126" y="282"/>
                  </a:lnTo>
                  <a:lnTo>
                    <a:pt x="124" y="282"/>
                  </a:lnTo>
                  <a:lnTo>
                    <a:pt x="124" y="281"/>
                  </a:lnTo>
                  <a:lnTo>
                    <a:pt x="126" y="281"/>
                  </a:lnTo>
                  <a:lnTo>
                    <a:pt x="127" y="281"/>
                  </a:lnTo>
                  <a:close/>
                  <a:moveTo>
                    <a:pt x="119" y="279"/>
                  </a:moveTo>
                  <a:lnTo>
                    <a:pt x="120" y="278"/>
                  </a:lnTo>
                  <a:lnTo>
                    <a:pt x="121" y="278"/>
                  </a:lnTo>
                  <a:lnTo>
                    <a:pt x="121" y="279"/>
                  </a:lnTo>
                  <a:lnTo>
                    <a:pt x="120" y="279"/>
                  </a:lnTo>
                  <a:lnTo>
                    <a:pt x="119" y="279"/>
                  </a:lnTo>
                  <a:close/>
                  <a:moveTo>
                    <a:pt x="123" y="278"/>
                  </a:moveTo>
                  <a:lnTo>
                    <a:pt x="122" y="278"/>
                  </a:lnTo>
                  <a:lnTo>
                    <a:pt x="121" y="278"/>
                  </a:lnTo>
                  <a:lnTo>
                    <a:pt x="120" y="278"/>
                  </a:lnTo>
                  <a:lnTo>
                    <a:pt x="121" y="278"/>
                  </a:lnTo>
                  <a:lnTo>
                    <a:pt x="122" y="278"/>
                  </a:lnTo>
                  <a:lnTo>
                    <a:pt x="123" y="278"/>
                  </a:lnTo>
                  <a:close/>
                  <a:moveTo>
                    <a:pt x="191" y="277"/>
                  </a:moveTo>
                  <a:lnTo>
                    <a:pt x="191" y="275"/>
                  </a:lnTo>
                  <a:lnTo>
                    <a:pt x="192" y="275"/>
                  </a:lnTo>
                  <a:lnTo>
                    <a:pt x="191" y="275"/>
                  </a:lnTo>
                  <a:lnTo>
                    <a:pt x="191" y="277"/>
                  </a:lnTo>
                  <a:close/>
                  <a:moveTo>
                    <a:pt x="119" y="273"/>
                  </a:moveTo>
                  <a:lnTo>
                    <a:pt x="117" y="273"/>
                  </a:lnTo>
                  <a:lnTo>
                    <a:pt x="119" y="273"/>
                  </a:lnTo>
                  <a:close/>
                  <a:moveTo>
                    <a:pt x="195" y="271"/>
                  </a:moveTo>
                  <a:lnTo>
                    <a:pt x="197" y="271"/>
                  </a:lnTo>
                  <a:lnTo>
                    <a:pt x="197" y="272"/>
                  </a:lnTo>
                  <a:lnTo>
                    <a:pt x="195" y="272"/>
                  </a:lnTo>
                  <a:lnTo>
                    <a:pt x="194" y="272"/>
                  </a:lnTo>
                  <a:lnTo>
                    <a:pt x="195" y="271"/>
                  </a:lnTo>
                  <a:lnTo>
                    <a:pt x="197" y="271"/>
                  </a:lnTo>
                  <a:lnTo>
                    <a:pt x="197" y="270"/>
                  </a:lnTo>
                  <a:lnTo>
                    <a:pt x="197" y="271"/>
                  </a:lnTo>
                  <a:lnTo>
                    <a:pt x="195" y="271"/>
                  </a:lnTo>
                  <a:close/>
                  <a:moveTo>
                    <a:pt x="198" y="260"/>
                  </a:moveTo>
                  <a:lnTo>
                    <a:pt x="199" y="260"/>
                  </a:lnTo>
                  <a:lnTo>
                    <a:pt x="200" y="260"/>
                  </a:lnTo>
                  <a:lnTo>
                    <a:pt x="199" y="260"/>
                  </a:lnTo>
                  <a:lnTo>
                    <a:pt x="199" y="261"/>
                  </a:lnTo>
                  <a:lnTo>
                    <a:pt x="198" y="261"/>
                  </a:lnTo>
                  <a:lnTo>
                    <a:pt x="198" y="260"/>
                  </a:lnTo>
                  <a:close/>
                  <a:moveTo>
                    <a:pt x="198" y="257"/>
                  </a:moveTo>
                  <a:lnTo>
                    <a:pt x="199" y="257"/>
                  </a:lnTo>
                  <a:lnTo>
                    <a:pt x="201" y="257"/>
                  </a:lnTo>
                  <a:lnTo>
                    <a:pt x="202" y="258"/>
                  </a:lnTo>
                  <a:lnTo>
                    <a:pt x="201" y="258"/>
                  </a:lnTo>
                  <a:lnTo>
                    <a:pt x="204" y="258"/>
                  </a:lnTo>
                  <a:lnTo>
                    <a:pt x="202" y="258"/>
                  </a:lnTo>
                  <a:lnTo>
                    <a:pt x="201" y="258"/>
                  </a:lnTo>
                  <a:lnTo>
                    <a:pt x="200" y="258"/>
                  </a:lnTo>
                  <a:lnTo>
                    <a:pt x="199" y="258"/>
                  </a:lnTo>
                  <a:lnTo>
                    <a:pt x="200" y="258"/>
                  </a:lnTo>
                  <a:lnTo>
                    <a:pt x="201" y="258"/>
                  </a:lnTo>
                  <a:lnTo>
                    <a:pt x="201" y="259"/>
                  </a:lnTo>
                  <a:lnTo>
                    <a:pt x="200" y="259"/>
                  </a:lnTo>
                  <a:lnTo>
                    <a:pt x="200" y="258"/>
                  </a:lnTo>
                  <a:lnTo>
                    <a:pt x="199" y="258"/>
                  </a:lnTo>
                  <a:lnTo>
                    <a:pt x="198" y="258"/>
                  </a:lnTo>
                  <a:lnTo>
                    <a:pt x="198" y="259"/>
                  </a:lnTo>
                  <a:lnTo>
                    <a:pt x="197" y="259"/>
                  </a:lnTo>
                  <a:lnTo>
                    <a:pt x="197" y="258"/>
                  </a:lnTo>
                  <a:lnTo>
                    <a:pt x="198" y="258"/>
                  </a:lnTo>
                  <a:lnTo>
                    <a:pt x="197" y="258"/>
                  </a:lnTo>
                  <a:lnTo>
                    <a:pt x="198" y="257"/>
                  </a:lnTo>
                  <a:close/>
                  <a:moveTo>
                    <a:pt x="204" y="257"/>
                  </a:moveTo>
                  <a:lnTo>
                    <a:pt x="202" y="257"/>
                  </a:lnTo>
                  <a:lnTo>
                    <a:pt x="204" y="257"/>
                  </a:lnTo>
                  <a:lnTo>
                    <a:pt x="202" y="257"/>
                  </a:lnTo>
                  <a:lnTo>
                    <a:pt x="204" y="257"/>
                  </a:lnTo>
                  <a:close/>
                  <a:moveTo>
                    <a:pt x="208" y="254"/>
                  </a:moveTo>
                  <a:lnTo>
                    <a:pt x="208" y="256"/>
                  </a:lnTo>
                  <a:lnTo>
                    <a:pt x="207" y="256"/>
                  </a:lnTo>
                  <a:lnTo>
                    <a:pt x="207" y="254"/>
                  </a:lnTo>
                  <a:lnTo>
                    <a:pt x="208" y="254"/>
                  </a:lnTo>
                  <a:lnTo>
                    <a:pt x="208" y="253"/>
                  </a:lnTo>
                  <a:lnTo>
                    <a:pt x="209" y="254"/>
                  </a:lnTo>
                  <a:lnTo>
                    <a:pt x="208" y="254"/>
                  </a:lnTo>
                  <a:close/>
                  <a:moveTo>
                    <a:pt x="109" y="253"/>
                  </a:moveTo>
                  <a:lnTo>
                    <a:pt x="108" y="253"/>
                  </a:lnTo>
                  <a:lnTo>
                    <a:pt x="109" y="253"/>
                  </a:lnTo>
                  <a:lnTo>
                    <a:pt x="109" y="252"/>
                  </a:lnTo>
                  <a:lnTo>
                    <a:pt x="111" y="252"/>
                  </a:lnTo>
                  <a:lnTo>
                    <a:pt x="111" y="253"/>
                  </a:lnTo>
                  <a:lnTo>
                    <a:pt x="109" y="253"/>
                  </a:lnTo>
                  <a:close/>
                  <a:moveTo>
                    <a:pt x="211" y="253"/>
                  </a:moveTo>
                  <a:lnTo>
                    <a:pt x="209" y="253"/>
                  </a:lnTo>
                  <a:lnTo>
                    <a:pt x="208" y="253"/>
                  </a:lnTo>
                  <a:lnTo>
                    <a:pt x="209" y="252"/>
                  </a:lnTo>
                  <a:lnTo>
                    <a:pt x="211" y="252"/>
                  </a:lnTo>
                  <a:lnTo>
                    <a:pt x="211" y="253"/>
                  </a:lnTo>
                  <a:close/>
                  <a:moveTo>
                    <a:pt x="109" y="252"/>
                  </a:moveTo>
                  <a:lnTo>
                    <a:pt x="108" y="253"/>
                  </a:lnTo>
                  <a:lnTo>
                    <a:pt x="108" y="252"/>
                  </a:lnTo>
                  <a:lnTo>
                    <a:pt x="107" y="252"/>
                  </a:lnTo>
                  <a:lnTo>
                    <a:pt x="108" y="252"/>
                  </a:lnTo>
                  <a:lnTo>
                    <a:pt x="109" y="251"/>
                  </a:lnTo>
                  <a:lnTo>
                    <a:pt x="109" y="252"/>
                  </a:lnTo>
                  <a:close/>
                  <a:moveTo>
                    <a:pt x="111" y="252"/>
                  </a:moveTo>
                  <a:lnTo>
                    <a:pt x="109" y="252"/>
                  </a:lnTo>
                  <a:lnTo>
                    <a:pt x="111" y="252"/>
                  </a:lnTo>
                  <a:lnTo>
                    <a:pt x="111" y="251"/>
                  </a:lnTo>
                  <a:lnTo>
                    <a:pt x="112" y="251"/>
                  </a:lnTo>
                  <a:lnTo>
                    <a:pt x="112" y="252"/>
                  </a:lnTo>
                  <a:lnTo>
                    <a:pt x="111" y="252"/>
                  </a:lnTo>
                  <a:close/>
                  <a:moveTo>
                    <a:pt x="212" y="252"/>
                  </a:moveTo>
                  <a:lnTo>
                    <a:pt x="211" y="252"/>
                  </a:lnTo>
                  <a:lnTo>
                    <a:pt x="212" y="252"/>
                  </a:lnTo>
                  <a:lnTo>
                    <a:pt x="211" y="252"/>
                  </a:lnTo>
                  <a:lnTo>
                    <a:pt x="209" y="252"/>
                  </a:lnTo>
                  <a:lnTo>
                    <a:pt x="209" y="251"/>
                  </a:lnTo>
                  <a:lnTo>
                    <a:pt x="211" y="251"/>
                  </a:lnTo>
                  <a:lnTo>
                    <a:pt x="212" y="251"/>
                  </a:lnTo>
                  <a:lnTo>
                    <a:pt x="212" y="252"/>
                  </a:lnTo>
                  <a:close/>
                  <a:moveTo>
                    <a:pt x="209" y="249"/>
                  </a:moveTo>
                  <a:lnTo>
                    <a:pt x="211" y="249"/>
                  </a:lnTo>
                  <a:lnTo>
                    <a:pt x="212" y="249"/>
                  </a:lnTo>
                  <a:lnTo>
                    <a:pt x="213" y="250"/>
                  </a:lnTo>
                  <a:lnTo>
                    <a:pt x="214" y="251"/>
                  </a:lnTo>
                  <a:lnTo>
                    <a:pt x="213" y="251"/>
                  </a:lnTo>
                  <a:lnTo>
                    <a:pt x="213" y="250"/>
                  </a:lnTo>
                  <a:lnTo>
                    <a:pt x="213" y="251"/>
                  </a:lnTo>
                  <a:lnTo>
                    <a:pt x="212" y="251"/>
                  </a:lnTo>
                  <a:lnTo>
                    <a:pt x="212" y="250"/>
                  </a:lnTo>
                  <a:lnTo>
                    <a:pt x="211" y="250"/>
                  </a:lnTo>
                  <a:lnTo>
                    <a:pt x="211" y="251"/>
                  </a:lnTo>
                  <a:lnTo>
                    <a:pt x="209" y="251"/>
                  </a:lnTo>
                  <a:lnTo>
                    <a:pt x="209" y="250"/>
                  </a:lnTo>
                  <a:lnTo>
                    <a:pt x="208" y="249"/>
                  </a:lnTo>
                  <a:lnTo>
                    <a:pt x="207" y="249"/>
                  </a:lnTo>
                  <a:lnTo>
                    <a:pt x="207" y="247"/>
                  </a:lnTo>
                  <a:lnTo>
                    <a:pt x="206" y="247"/>
                  </a:lnTo>
                  <a:lnTo>
                    <a:pt x="207" y="247"/>
                  </a:lnTo>
                  <a:lnTo>
                    <a:pt x="208" y="247"/>
                  </a:lnTo>
                  <a:lnTo>
                    <a:pt x="209" y="247"/>
                  </a:lnTo>
                  <a:lnTo>
                    <a:pt x="209" y="249"/>
                  </a:lnTo>
                  <a:close/>
                  <a:moveTo>
                    <a:pt x="106" y="247"/>
                  </a:moveTo>
                  <a:lnTo>
                    <a:pt x="104" y="247"/>
                  </a:lnTo>
                  <a:lnTo>
                    <a:pt x="105" y="247"/>
                  </a:lnTo>
                  <a:lnTo>
                    <a:pt x="105" y="246"/>
                  </a:lnTo>
                  <a:lnTo>
                    <a:pt x="106" y="246"/>
                  </a:lnTo>
                  <a:lnTo>
                    <a:pt x="106" y="247"/>
                  </a:lnTo>
                  <a:close/>
                  <a:moveTo>
                    <a:pt x="220" y="245"/>
                  </a:moveTo>
                  <a:lnTo>
                    <a:pt x="219" y="245"/>
                  </a:lnTo>
                  <a:lnTo>
                    <a:pt x="220" y="245"/>
                  </a:lnTo>
                  <a:close/>
                  <a:moveTo>
                    <a:pt x="102" y="238"/>
                  </a:moveTo>
                  <a:lnTo>
                    <a:pt x="101" y="238"/>
                  </a:lnTo>
                  <a:lnTo>
                    <a:pt x="100" y="238"/>
                  </a:lnTo>
                  <a:lnTo>
                    <a:pt x="101" y="238"/>
                  </a:lnTo>
                  <a:lnTo>
                    <a:pt x="101" y="237"/>
                  </a:lnTo>
                  <a:lnTo>
                    <a:pt x="102" y="237"/>
                  </a:lnTo>
                  <a:lnTo>
                    <a:pt x="102" y="238"/>
                  </a:lnTo>
                  <a:close/>
                  <a:moveTo>
                    <a:pt x="222" y="237"/>
                  </a:moveTo>
                  <a:lnTo>
                    <a:pt x="223" y="237"/>
                  </a:lnTo>
                  <a:lnTo>
                    <a:pt x="222" y="237"/>
                  </a:lnTo>
                  <a:lnTo>
                    <a:pt x="223" y="237"/>
                  </a:lnTo>
                  <a:lnTo>
                    <a:pt x="222" y="237"/>
                  </a:lnTo>
                  <a:lnTo>
                    <a:pt x="220" y="237"/>
                  </a:lnTo>
                  <a:lnTo>
                    <a:pt x="219" y="237"/>
                  </a:lnTo>
                  <a:lnTo>
                    <a:pt x="219" y="236"/>
                  </a:lnTo>
                  <a:lnTo>
                    <a:pt x="220" y="236"/>
                  </a:lnTo>
                  <a:lnTo>
                    <a:pt x="221" y="236"/>
                  </a:lnTo>
                  <a:lnTo>
                    <a:pt x="222" y="236"/>
                  </a:lnTo>
                  <a:lnTo>
                    <a:pt x="223" y="236"/>
                  </a:lnTo>
                  <a:lnTo>
                    <a:pt x="222" y="236"/>
                  </a:lnTo>
                  <a:lnTo>
                    <a:pt x="222" y="237"/>
                  </a:lnTo>
                  <a:close/>
                  <a:moveTo>
                    <a:pt x="112" y="236"/>
                  </a:moveTo>
                  <a:lnTo>
                    <a:pt x="111" y="237"/>
                  </a:lnTo>
                  <a:lnTo>
                    <a:pt x="109" y="237"/>
                  </a:lnTo>
                  <a:lnTo>
                    <a:pt x="109" y="236"/>
                  </a:lnTo>
                  <a:lnTo>
                    <a:pt x="111" y="237"/>
                  </a:lnTo>
                  <a:lnTo>
                    <a:pt x="111" y="236"/>
                  </a:lnTo>
                  <a:lnTo>
                    <a:pt x="109" y="236"/>
                  </a:lnTo>
                  <a:lnTo>
                    <a:pt x="111" y="236"/>
                  </a:lnTo>
                  <a:lnTo>
                    <a:pt x="112" y="236"/>
                  </a:lnTo>
                  <a:lnTo>
                    <a:pt x="111" y="236"/>
                  </a:lnTo>
                  <a:lnTo>
                    <a:pt x="111" y="235"/>
                  </a:lnTo>
                  <a:lnTo>
                    <a:pt x="112" y="235"/>
                  </a:lnTo>
                  <a:lnTo>
                    <a:pt x="113" y="235"/>
                  </a:lnTo>
                  <a:lnTo>
                    <a:pt x="113" y="233"/>
                  </a:lnTo>
                  <a:lnTo>
                    <a:pt x="114" y="232"/>
                  </a:lnTo>
                  <a:lnTo>
                    <a:pt x="115" y="232"/>
                  </a:lnTo>
                  <a:lnTo>
                    <a:pt x="116" y="232"/>
                  </a:lnTo>
                  <a:lnTo>
                    <a:pt x="116" y="233"/>
                  </a:lnTo>
                  <a:lnTo>
                    <a:pt x="115" y="233"/>
                  </a:lnTo>
                  <a:lnTo>
                    <a:pt x="114" y="233"/>
                  </a:lnTo>
                  <a:lnTo>
                    <a:pt x="114" y="235"/>
                  </a:lnTo>
                  <a:lnTo>
                    <a:pt x="113" y="235"/>
                  </a:lnTo>
                  <a:lnTo>
                    <a:pt x="113" y="236"/>
                  </a:lnTo>
                  <a:lnTo>
                    <a:pt x="112" y="236"/>
                  </a:lnTo>
                  <a:close/>
                  <a:moveTo>
                    <a:pt x="111" y="235"/>
                  </a:moveTo>
                  <a:lnTo>
                    <a:pt x="109" y="235"/>
                  </a:lnTo>
                  <a:lnTo>
                    <a:pt x="108" y="235"/>
                  </a:lnTo>
                  <a:lnTo>
                    <a:pt x="109" y="235"/>
                  </a:lnTo>
                  <a:lnTo>
                    <a:pt x="109" y="233"/>
                  </a:lnTo>
                  <a:lnTo>
                    <a:pt x="111" y="233"/>
                  </a:lnTo>
                  <a:lnTo>
                    <a:pt x="112" y="232"/>
                  </a:lnTo>
                  <a:lnTo>
                    <a:pt x="113" y="232"/>
                  </a:lnTo>
                  <a:lnTo>
                    <a:pt x="112" y="233"/>
                  </a:lnTo>
                  <a:lnTo>
                    <a:pt x="111" y="235"/>
                  </a:lnTo>
                  <a:close/>
                  <a:moveTo>
                    <a:pt x="227" y="230"/>
                  </a:moveTo>
                  <a:lnTo>
                    <a:pt x="226" y="230"/>
                  </a:lnTo>
                  <a:lnTo>
                    <a:pt x="227" y="230"/>
                  </a:lnTo>
                  <a:lnTo>
                    <a:pt x="228" y="231"/>
                  </a:lnTo>
                  <a:lnTo>
                    <a:pt x="227" y="231"/>
                  </a:lnTo>
                  <a:lnTo>
                    <a:pt x="227" y="232"/>
                  </a:lnTo>
                  <a:lnTo>
                    <a:pt x="228" y="232"/>
                  </a:lnTo>
                  <a:lnTo>
                    <a:pt x="229" y="232"/>
                  </a:lnTo>
                  <a:lnTo>
                    <a:pt x="229" y="233"/>
                  </a:lnTo>
                  <a:lnTo>
                    <a:pt x="228" y="233"/>
                  </a:lnTo>
                  <a:lnTo>
                    <a:pt x="227" y="233"/>
                  </a:lnTo>
                  <a:lnTo>
                    <a:pt x="226" y="233"/>
                  </a:lnTo>
                  <a:lnTo>
                    <a:pt x="226" y="232"/>
                  </a:lnTo>
                  <a:lnTo>
                    <a:pt x="226" y="231"/>
                  </a:lnTo>
                  <a:lnTo>
                    <a:pt x="226" y="230"/>
                  </a:lnTo>
                  <a:lnTo>
                    <a:pt x="225" y="230"/>
                  </a:lnTo>
                  <a:lnTo>
                    <a:pt x="225" y="229"/>
                  </a:lnTo>
                  <a:lnTo>
                    <a:pt x="225" y="228"/>
                  </a:lnTo>
                  <a:lnTo>
                    <a:pt x="223" y="228"/>
                  </a:lnTo>
                  <a:lnTo>
                    <a:pt x="225" y="226"/>
                  </a:lnTo>
                  <a:lnTo>
                    <a:pt x="226" y="226"/>
                  </a:lnTo>
                  <a:lnTo>
                    <a:pt x="226" y="228"/>
                  </a:lnTo>
                  <a:lnTo>
                    <a:pt x="227" y="228"/>
                  </a:lnTo>
                  <a:lnTo>
                    <a:pt x="227" y="229"/>
                  </a:lnTo>
                  <a:lnTo>
                    <a:pt x="228" y="230"/>
                  </a:lnTo>
                  <a:lnTo>
                    <a:pt x="227" y="230"/>
                  </a:lnTo>
                  <a:close/>
                  <a:moveTo>
                    <a:pt x="237" y="221"/>
                  </a:moveTo>
                  <a:lnTo>
                    <a:pt x="239" y="221"/>
                  </a:lnTo>
                  <a:lnTo>
                    <a:pt x="240" y="221"/>
                  </a:lnTo>
                  <a:lnTo>
                    <a:pt x="240" y="222"/>
                  </a:lnTo>
                  <a:lnTo>
                    <a:pt x="239" y="222"/>
                  </a:lnTo>
                  <a:lnTo>
                    <a:pt x="240" y="222"/>
                  </a:lnTo>
                  <a:lnTo>
                    <a:pt x="237" y="222"/>
                  </a:lnTo>
                  <a:lnTo>
                    <a:pt x="237" y="221"/>
                  </a:lnTo>
                  <a:close/>
                  <a:moveTo>
                    <a:pt x="266" y="218"/>
                  </a:moveTo>
                  <a:lnTo>
                    <a:pt x="268" y="218"/>
                  </a:lnTo>
                  <a:lnTo>
                    <a:pt x="266" y="218"/>
                  </a:lnTo>
                  <a:lnTo>
                    <a:pt x="265" y="218"/>
                  </a:lnTo>
                  <a:lnTo>
                    <a:pt x="266" y="218"/>
                  </a:lnTo>
                  <a:close/>
                  <a:moveTo>
                    <a:pt x="99" y="218"/>
                  </a:moveTo>
                  <a:lnTo>
                    <a:pt x="98" y="218"/>
                  </a:lnTo>
                  <a:lnTo>
                    <a:pt x="97" y="218"/>
                  </a:lnTo>
                  <a:lnTo>
                    <a:pt x="97" y="217"/>
                  </a:lnTo>
                  <a:lnTo>
                    <a:pt x="98" y="217"/>
                  </a:lnTo>
                  <a:lnTo>
                    <a:pt x="100" y="217"/>
                  </a:lnTo>
                  <a:lnTo>
                    <a:pt x="101" y="217"/>
                  </a:lnTo>
                  <a:lnTo>
                    <a:pt x="100" y="218"/>
                  </a:lnTo>
                  <a:lnTo>
                    <a:pt x="99" y="218"/>
                  </a:lnTo>
                  <a:close/>
                  <a:moveTo>
                    <a:pt x="268" y="218"/>
                  </a:moveTo>
                  <a:lnTo>
                    <a:pt x="266" y="217"/>
                  </a:lnTo>
                  <a:lnTo>
                    <a:pt x="268" y="217"/>
                  </a:lnTo>
                  <a:lnTo>
                    <a:pt x="266" y="217"/>
                  </a:lnTo>
                  <a:lnTo>
                    <a:pt x="265" y="217"/>
                  </a:lnTo>
                  <a:lnTo>
                    <a:pt x="265" y="216"/>
                  </a:lnTo>
                  <a:lnTo>
                    <a:pt x="266" y="216"/>
                  </a:lnTo>
                  <a:lnTo>
                    <a:pt x="268" y="216"/>
                  </a:lnTo>
                  <a:lnTo>
                    <a:pt x="269" y="217"/>
                  </a:lnTo>
                  <a:lnTo>
                    <a:pt x="268" y="217"/>
                  </a:lnTo>
                  <a:lnTo>
                    <a:pt x="268" y="218"/>
                  </a:lnTo>
                  <a:close/>
                  <a:moveTo>
                    <a:pt x="270" y="216"/>
                  </a:moveTo>
                  <a:lnTo>
                    <a:pt x="270" y="215"/>
                  </a:lnTo>
                  <a:lnTo>
                    <a:pt x="269" y="215"/>
                  </a:lnTo>
                  <a:lnTo>
                    <a:pt x="270" y="215"/>
                  </a:lnTo>
                  <a:lnTo>
                    <a:pt x="269" y="215"/>
                  </a:lnTo>
                  <a:lnTo>
                    <a:pt x="270" y="215"/>
                  </a:lnTo>
                  <a:lnTo>
                    <a:pt x="270" y="214"/>
                  </a:lnTo>
                  <a:lnTo>
                    <a:pt x="271" y="214"/>
                  </a:lnTo>
                  <a:lnTo>
                    <a:pt x="271" y="215"/>
                  </a:lnTo>
                  <a:lnTo>
                    <a:pt x="271" y="216"/>
                  </a:lnTo>
                  <a:lnTo>
                    <a:pt x="270" y="216"/>
                  </a:lnTo>
                  <a:close/>
                  <a:moveTo>
                    <a:pt x="264" y="215"/>
                  </a:moveTo>
                  <a:lnTo>
                    <a:pt x="265" y="216"/>
                  </a:lnTo>
                  <a:lnTo>
                    <a:pt x="264" y="216"/>
                  </a:lnTo>
                  <a:lnTo>
                    <a:pt x="264" y="215"/>
                  </a:lnTo>
                  <a:lnTo>
                    <a:pt x="263" y="215"/>
                  </a:lnTo>
                  <a:lnTo>
                    <a:pt x="263" y="216"/>
                  </a:lnTo>
                  <a:lnTo>
                    <a:pt x="264" y="216"/>
                  </a:lnTo>
                  <a:lnTo>
                    <a:pt x="263" y="216"/>
                  </a:lnTo>
                  <a:lnTo>
                    <a:pt x="264" y="216"/>
                  </a:lnTo>
                  <a:lnTo>
                    <a:pt x="265" y="216"/>
                  </a:lnTo>
                  <a:lnTo>
                    <a:pt x="264" y="217"/>
                  </a:lnTo>
                  <a:lnTo>
                    <a:pt x="263" y="217"/>
                  </a:lnTo>
                  <a:lnTo>
                    <a:pt x="262" y="217"/>
                  </a:lnTo>
                  <a:lnTo>
                    <a:pt x="262" y="218"/>
                  </a:lnTo>
                  <a:lnTo>
                    <a:pt x="262" y="217"/>
                  </a:lnTo>
                  <a:lnTo>
                    <a:pt x="261" y="217"/>
                  </a:lnTo>
                  <a:lnTo>
                    <a:pt x="261" y="218"/>
                  </a:lnTo>
                  <a:lnTo>
                    <a:pt x="259" y="218"/>
                  </a:lnTo>
                  <a:lnTo>
                    <a:pt x="258" y="218"/>
                  </a:lnTo>
                  <a:lnTo>
                    <a:pt x="258" y="217"/>
                  </a:lnTo>
                  <a:lnTo>
                    <a:pt x="258" y="216"/>
                  </a:lnTo>
                  <a:lnTo>
                    <a:pt x="257" y="216"/>
                  </a:lnTo>
                  <a:lnTo>
                    <a:pt x="258" y="216"/>
                  </a:lnTo>
                  <a:lnTo>
                    <a:pt x="258" y="215"/>
                  </a:lnTo>
                  <a:lnTo>
                    <a:pt x="259" y="215"/>
                  </a:lnTo>
                  <a:lnTo>
                    <a:pt x="259" y="214"/>
                  </a:lnTo>
                  <a:lnTo>
                    <a:pt x="261" y="214"/>
                  </a:lnTo>
                  <a:lnTo>
                    <a:pt x="262" y="214"/>
                  </a:lnTo>
                  <a:lnTo>
                    <a:pt x="263" y="214"/>
                  </a:lnTo>
                  <a:lnTo>
                    <a:pt x="263" y="215"/>
                  </a:lnTo>
                  <a:lnTo>
                    <a:pt x="264" y="215"/>
                  </a:lnTo>
                  <a:close/>
                  <a:moveTo>
                    <a:pt x="277" y="214"/>
                  </a:moveTo>
                  <a:lnTo>
                    <a:pt x="276" y="214"/>
                  </a:lnTo>
                  <a:lnTo>
                    <a:pt x="276" y="215"/>
                  </a:lnTo>
                  <a:lnTo>
                    <a:pt x="275" y="215"/>
                  </a:lnTo>
                  <a:lnTo>
                    <a:pt x="276" y="214"/>
                  </a:lnTo>
                  <a:lnTo>
                    <a:pt x="277" y="214"/>
                  </a:lnTo>
                  <a:close/>
                  <a:moveTo>
                    <a:pt x="273" y="214"/>
                  </a:moveTo>
                  <a:lnTo>
                    <a:pt x="272" y="214"/>
                  </a:lnTo>
                  <a:lnTo>
                    <a:pt x="273" y="214"/>
                  </a:lnTo>
                  <a:lnTo>
                    <a:pt x="273" y="215"/>
                  </a:lnTo>
                  <a:lnTo>
                    <a:pt x="272" y="215"/>
                  </a:lnTo>
                  <a:lnTo>
                    <a:pt x="273" y="215"/>
                  </a:lnTo>
                  <a:lnTo>
                    <a:pt x="272" y="215"/>
                  </a:lnTo>
                  <a:lnTo>
                    <a:pt x="271" y="215"/>
                  </a:lnTo>
                  <a:lnTo>
                    <a:pt x="272" y="215"/>
                  </a:lnTo>
                  <a:lnTo>
                    <a:pt x="272" y="214"/>
                  </a:lnTo>
                  <a:lnTo>
                    <a:pt x="271" y="214"/>
                  </a:lnTo>
                  <a:lnTo>
                    <a:pt x="272" y="214"/>
                  </a:lnTo>
                  <a:lnTo>
                    <a:pt x="273" y="212"/>
                  </a:lnTo>
                  <a:lnTo>
                    <a:pt x="275" y="212"/>
                  </a:lnTo>
                  <a:lnTo>
                    <a:pt x="275" y="214"/>
                  </a:lnTo>
                  <a:lnTo>
                    <a:pt x="273" y="214"/>
                  </a:lnTo>
                  <a:close/>
                  <a:moveTo>
                    <a:pt x="286" y="210"/>
                  </a:moveTo>
                  <a:lnTo>
                    <a:pt x="285" y="210"/>
                  </a:lnTo>
                  <a:lnTo>
                    <a:pt x="285" y="209"/>
                  </a:lnTo>
                  <a:lnTo>
                    <a:pt x="286" y="209"/>
                  </a:lnTo>
                  <a:lnTo>
                    <a:pt x="287" y="209"/>
                  </a:lnTo>
                  <a:lnTo>
                    <a:pt x="286" y="209"/>
                  </a:lnTo>
                  <a:lnTo>
                    <a:pt x="287" y="209"/>
                  </a:lnTo>
                  <a:lnTo>
                    <a:pt x="286" y="209"/>
                  </a:lnTo>
                  <a:lnTo>
                    <a:pt x="286" y="210"/>
                  </a:lnTo>
                  <a:close/>
                  <a:moveTo>
                    <a:pt x="305" y="201"/>
                  </a:moveTo>
                  <a:lnTo>
                    <a:pt x="306" y="201"/>
                  </a:lnTo>
                  <a:lnTo>
                    <a:pt x="305" y="201"/>
                  </a:lnTo>
                  <a:lnTo>
                    <a:pt x="304" y="201"/>
                  </a:lnTo>
                  <a:lnTo>
                    <a:pt x="305" y="201"/>
                  </a:lnTo>
                  <a:lnTo>
                    <a:pt x="305" y="200"/>
                  </a:lnTo>
                  <a:lnTo>
                    <a:pt x="306" y="201"/>
                  </a:lnTo>
                  <a:lnTo>
                    <a:pt x="305" y="201"/>
                  </a:lnTo>
                  <a:close/>
                  <a:moveTo>
                    <a:pt x="312" y="196"/>
                  </a:moveTo>
                  <a:lnTo>
                    <a:pt x="311" y="196"/>
                  </a:lnTo>
                  <a:lnTo>
                    <a:pt x="312" y="196"/>
                  </a:lnTo>
                  <a:close/>
                  <a:moveTo>
                    <a:pt x="314" y="194"/>
                  </a:moveTo>
                  <a:lnTo>
                    <a:pt x="313" y="195"/>
                  </a:lnTo>
                  <a:lnTo>
                    <a:pt x="313" y="194"/>
                  </a:lnTo>
                  <a:lnTo>
                    <a:pt x="314" y="194"/>
                  </a:lnTo>
                  <a:lnTo>
                    <a:pt x="313" y="194"/>
                  </a:lnTo>
                  <a:lnTo>
                    <a:pt x="314" y="194"/>
                  </a:lnTo>
                  <a:close/>
                  <a:moveTo>
                    <a:pt x="351" y="183"/>
                  </a:moveTo>
                  <a:lnTo>
                    <a:pt x="350" y="183"/>
                  </a:lnTo>
                  <a:lnTo>
                    <a:pt x="350" y="182"/>
                  </a:lnTo>
                  <a:lnTo>
                    <a:pt x="351" y="182"/>
                  </a:lnTo>
                  <a:lnTo>
                    <a:pt x="353" y="182"/>
                  </a:lnTo>
                  <a:lnTo>
                    <a:pt x="354" y="182"/>
                  </a:lnTo>
                  <a:lnTo>
                    <a:pt x="353" y="182"/>
                  </a:lnTo>
                  <a:lnTo>
                    <a:pt x="351" y="183"/>
                  </a:lnTo>
                  <a:close/>
                  <a:moveTo>
                    <a:pt x="117" y="179"/>
                  </a:moveTo>
                  <a:lnTo>
                    <a:pt x="117" y="180"/>
                  </a:lnTo>
                  <a:lnTo>
                    <a:pt x="116" y="180"/>
                  </a:lnTo>
                  <a:lnTo>
                    <a:pt x="115" y="180"/>
                  </a:lnTo>
                  <a:lnTo>
                    <a:pt x="114" y="180"/>
                  </a:lnTo>
                  <a:lnTo>
                    <a:pt x="114" y="179"/>
                  </a:lnTo>
                  <a:lnTo>
                    <a:pt x="115" y="179"/>
                  </a:lnTo>
                  <a:lnTo>
                    <a:pt x="116" y="179"/>
                  </a:lnTo>
                  <a:lnTo>
                    <a:pt x="117" y="179"/>
                  </a:lnTo>
                  <a:close/>
                  <a:moveTo>
                    <a:pt x="127" y="177"/>
                  </a:moveTo>
                  <a:lnTo>
                    <a:pt x="126" y="177"/>
                  </a:lnTo>
                  <a:lnTo>
                    <a:pt x="124" y="177"/>
                  </a:lnTo>
                  <a:lnTo>
                    <a:pt x="123" y="177"/>
                  </a:lnTo>
                  <a:lnTo>
                    <a:pt x="123" y="176"/>
                  </a:lnTo>
                  <a:lnTo>
                    <a:pt x="124" y="176"/>
                  </a:lnTo>
                  <a:lnTo>
                    <a:pt x="126" y="176"/>
                  </a:lnTo>
                  <a:lnTo>
                    <a:pt x="127" y="176"/>
                  </a:lnTo>
                  <a:lnTo>
                    <a:pt x="127" y="177"/>
                  </a:lnTo>
                  <a:lnTo>
                    <a:pt x="127" y="176"/>
                  </a:lnTo>
                  <a:lnTo>
                    <a:pt x="128" y="176"/>
                  </a:lnTo>
                  <a:lnTo>
                    <a:pt x="129" y="176"/>
                  </a:lnTo>
                  <a:lnTo>
                    <a:pt x="128" y="176"/>
                  </a:lnTo>
                  <a:lnTo>
                    <a:pt x="127" y="177"/>
                  </a:lnTo>
                  <a:close/>
                  <a:moveTo>
                    <a:pt x="127" y="175"/>
                  </a:moveTo>
                  <a:lnTo>
                    <a:pt x="126" y="175"/>
                  </a:lnTo>
                  <a:lnTo>
                    <a:pt x="126" y="176"/>
                  </a:lnTo>
                  <a:lnTo>
                    <a:pt x="124" y="176"/>
                  </a:lnTo>
                  <a:lnTo>
                    <a:pt x="123" y="176"/>
                  </a:lnTo>
                  <a:lnTo>
                    <a:pt x="121" y="176"/>
                  </a:lnTo>
                  <a:lnTo>
                    <a:pt x="120" y="176"/>
                  </a:lnTo>
                  <a:lnTo>
                    <a:pt x="117" y="176"/>
                  </a:lnTo>
                  <a:lnTo>
                    <a:pt x="116" y="177"/>
                  </a:lnTo>
                  <a:lnTo>
                    <a:pt x="116" y="176"/>
                  </a:lnTo>
                  <a:lnTo>
                    <a:pt x="117" y="176"/>
                  </a:lnTo>
                  <a:lnTo>
                    <a:pt x="120" y="176"/>
                  </a:lnTo>
                  <a:lnTo>
                    <a:pt x="122" y="175"/>
                  </a:lnTo>
                  <a:lnTo>
                    <a:pt x="123" y="175"/>
                  </a:lnTo>
                  <a:lnTo>
                    <a:pt x="122" y="175"/>
                  </a:lnTo>
                  <a:lnTo>
                    <a:pt x="126" y="175"/>
                  </a:lnTo>
                  <a:lnTo>
                    <a:pt x="127" y="175"/>
                  </a:lnTo>
                  <a:close/>
                  <a:moveTo>
                    <a:pt x="424" y="162"/>
                  </a:moveTo>
                  <a:lnTo>
                    <a:pt x="422" y="162"/>
                  </a:lnTo>
                  <a:lnTo>
                    <a:pt x="421" y="162"/>
                  </a:lnTo>
                  <a:lnTo>
                    <a:pt x="420" y="162"/>
                  </a:lnTo>
                  <a:lnTo>
                    <a:pt x="421" y="161"/>
                  </a:lnTo>
                  <a:lnTo>
                    <a:pt x="422" y="161"/>
                  </a:lnTo>
                  <a:lnTo>
                    <a:pt x="424" y="161"/>
                  </a:lnTo>
                  <a:lnTo>
                    <a:pt x="424" y="162"/>
                  </a:lnTo>
                  <a:close/>
                  <a:moveTo>
                    <a:pt x="145" y="159"/>
                  </a:moveTo>
                  <a:lnTo>
                    <a:pt x="147" y="160"/>
                  </a:lnTo>
                  <a:lnTo>
                    <a:pt x="148" y="160"/>
                  </a:lnTo>
                  <a:lnTo>
                    <a:pt x="149" y="160"/>
                  </a:lnTo>
                  <a:lnTo>
                    <a:pt x="147" y="161"/>
                  </a:lnTo>
                  <a:lnTo>
                    <a:pt x="145" y="161"/>
                  </a:lnTo>
                  <a:lnTo>
                    <a:pt x="144" y="161"/>
                  </a:lnTo>
                  <a:lnTo>
                    <a:pt x="144" y="162"/>
                  </a:lnTo>
                  <a:lnTo>
                    <a:pt x="144" y="163"/>
                  </a:lnTo>
                  <a:lnTo>
                    <a:pt x="143" y="165"/>
                  </a:lnTo>
                  <a:lnTo>
                    <a:pt x="142" y="165"/>
                  </a:lnTo>
                  <a:lnTo>
                    <a:pt x="141" y="165"/>
                  </a:lnTo>
                  <a:lnTo>
                    <a:pt x="141" y="163"/>
                  </a:lnTo>
                  <a:lnTo>
                    <a:pt x="141" y="162"/>
                  </a:lnTo>
                  <a:lnTo>
                    <a:pt x="141" y="161"/>
                  </a:lnTo>
                  <a:lnTo>
                    <a:pt x="142" y="161"/>
                  </a:lnTo>
                  <a:lnTo>
                    <a:pt x="143" y="161"/>
                  </a:lnTo>
                  <a:lnTo>
                    <a:pt x="143" y="160"/>
                  </a:lnTo>
                  <a:lnTo>
                    <a:pt x="144" y="160"/>
                  </a:lnTo>
                  <a:lnTo>
                    <a:pt x="145" y="160"/>
                  </a:lnTo>
                  <a:lnTo>
                    <a:pt x="144" y="160"/>
                  </a:lnTo>
                  <a:lnTo>
                    <a:pt x="143" y="160"/>
                  </a:lnTo>
                  <a:lnTo>
                    <a:pt x="142" y="160"/>
                  </a:lnTo>
                  <a:lnTo>
                    <a:pt x="143" y="160"/>
                  </a:lnTo>
                  <a:lnTo>
                    <a:pt x="144" y="159"/>
                  </a:lnTo>
                  <a:lnTo>
                    <a:pt x="143" y="159"/>
                  </a:lnTo>
                  <a:lnTo>
                    <a:pt x="144" y="159"/>
                  </a:lnTo>
                  <a:lnTo>
                    <a:pt x="145" y="159"/>
                  </a:lnTo>
                  <a:close/>
                  <a:moveTo>
                    <a:pt x="128" y="159"/>
                  </a:moveTo>
                  <a:lnTo>
                    <a:pt x="129" y="159"/>
                  </a:lnTo>
                  <a:lnTo>
                    <a:pt x="130" y="160"/>
                  </a:lnTo>
                  <a:lnTo>
                    <a:pt x="131" y="160"/>
                  </a:lnTo>
                  <a:lnTo>
                    <a:pt x="133" y="160"/>
                  </a:lnTo>
                  <a:lnTo>
                    <a:pt x="135" y="161"/>
                  </a:lnTo>
                  <a:lnTo>
                    <a:pt x="135" y="162"/>
                  </a:lnTo>
                  <a:lnTo>
                    <a:pt x="134" y="162"/>
                  </a:lnTo>
                  <a:lnTo>
                    <a:pt x="135" y="163"/>
                  </a:lnTo>
                  <a:lnTo>
                    <a:pt x="135" y="162"/>
                  </a:lnTo>
                  <a:lnTo>
                    <a:pt x="135" y="163"/>
                  </a:lnTo>
                  <a:lnTo>
                    <a:pt x="133" y="165"/>
                  </a:lnTo>
                  <a:lnTo>
                    <a:pt x="131" y="165"/>
                  </a:lnTo>
                  <a:lnTo>
                    <a:pt x="130" y="166"/>
                  </a:lnTo>
                  <a:lnTo>
                    <a:pt x="129" y="166"/>
                  </a:lnTo>
                  <a:lnTo>
                    <a:pt x="123" y="167"/>
                  </a:lnTo>
                  <a:lnTo>
                    <a:pt x="122" y="167"/>
                  </a:lnTo>
                  <a:lnTo>
                    <a:pt x="120" y="167"/>
                  </a:lnTo>
                  <a:lnTo>
                    <a:pt x="119" y="168"/>
                  </a:lnTo>
                  <a:lnTo>
                    <a:pt x="116" y="168"/>
                  </a:lnTo>
                  <a:lnTo>
                    <a:pt x="115" y="168"/>
                  </a:lnTo>
                  <a:lnTo>
                    <a:pt x="114" y="168"/>
                  </a:lnTo>
                  <a:lnTo>
                    <a:pt x="113" y="168"/>
                  </a:lnTo>
                  <a:lnTo>
                    <a:pt x="113" y="167"/>
                  </a:lnTo>
                  <a:lnTo>
                    <a:pt x="111" y="167"/>
                  </a:lnTo>
                  <a:lnTo>
                    <a:pt x="109" y="167"/>
                  </a:lnTo>
                  <a:lnTo>
                    <a:pt x="109" y="166"/>
                  </a:lnTo>
                  <a:lnTo>
                    <a:pt x="111" y="166"/>
                  </a:lnTo>
                  <a:lnTo>
                    <a:pt x="113" y="166"/>
                  </a:lnTo>
                  <a:lnTo>
                    <a:pt x="114" y="166"/>
                  </a:lnTo>
                  <a:lnTo>
                    <a:pt x="115" y="166"/>
                  </a:lnTo>
                  <a:lnTo>
                    <a:pt x="116" y="166"/>
                  </a:lnTo>
                  <a:lnTo>
                    <a:pt x="119" y="166"/>
                  </a:lnTo>
                  <a:lnTo>
                    <a:pt x="117" y="166"/>
                  </a:lnTo>
                  <a:lnTo>
                    <a:pt x="116" y="165"/>
                  </a:lnTo>
                  <a:lnTo>
                    <a:pt x="117" y="165"/>
                  </a:lnTo>
                  <a:lnTo>
                    <a:pt x="119" y="163"/>
                  </a:lnTo>
                  <a:lnTo>
                    <a:pt x="120" y="163"/>
                  </a:lnTo>
                  <a:lnTo>
                    <a:pt x="119" y="163"/>
                  </a:lnTo>
                  <a:lnTo>
                    <a:pt x="117" y="163"/>
                  </a:lnTo>
                  <a:lnTo>
                    <a:pt x="117" y="165"/>
                  </a:lnTo>
                  <a:lnTo>
                    <a:pt x="116" y="165"/>
                  </a:lnTo>
                  <a:lnTo>
                    <a:pt x="115" y="166"/>
                  </a:lnTo>
                  <a:lnTo>
                    <a:pt x="114" y="166"/>
                  </a:lnTo>
                  <a:lnTo>
                    <a:pt x="114" y="165"/>
                  </a:lnTo>
                  <a:lnTo>
                    <a:pt x="115" y="165"/>
                  </a:lnTo>
                  <a:lnTo>
                    <a:pt x="113" y="165"/>
                  </a:lnTo>
                  <a:lnTo>
                    <a:pt x="114" y="165"/>
                  </a:lnTo>
                  <a:lnTo>
                    <a:pt x="114" y="163"/>
                  </a:lnTo>
                  <a:lnTo>
                    <a:pt x="113" y="163"/>
                  </a:lnTo>
                  <a:lnTo>
                    <a:pt x="112" y="165"/>
                  </a:lnTo>
                  <a:lnTo>
                    <a:pt x="111" y="163"/>
                  </a:lnTo>
                  <a:lnTo>
                    <a:pt x="109" y="163"/>
                  </a:lnTo>
                  <a:lnTo>
                    <a:pt x="106" y="163"/>
                  </a:lnTo>
                  <a:lnTo>
                    <a:pt x="105" y="163"/>
                  </a:lnTo>
                  <a:lnTo>
                    <a:pt x="106" y="163"/>
                  </a:lnTo>
                  <a:lnTo>
                    <a:pt x="106" y="162"/>
                  </a:lnTo>
                  <a:lnTo>
                    <a:pt x="105" y="162"/>
                  </a:lnTo>
                  <a:lnTo>
                    <a:pt x="105" y="161"/>
                  </a:lnTo>
                  <a:lnTo>
                    <a:pt x="106" y="161"/>
                  </a:lnTo>
                  <a:lnTo>
                    <a:pt x="107" y="161"/>
                  </a:lnTo>
                  <a:lnTo>
                    <a:pt x="108" y="161"/>
                  </a:lnTo>
                  <a:lnTo>
                    <a:pt x="108" y="162"/>
                  </a:lnTo>
                  <a:lnTo>
                    <a:pt x="109" y="162"/>
                  </a:lnTo>
                  <a:lnTo>
                    <a:pt x="111" y="162"/>
                  </a:lnTo>
                  <a:lnTo>
                    <a:pt x="109" y="161"/>
                  </a:lnTo>
                  <a:lnTo>
                    <a:pt x="108" y="161"/>
                  </a:lnTo>
                  <a:lnTo>
                    <a:pt x="107" y="161"/>
                  </a:lnTo>
                  <a:lnTo>
                    <a:pt x="106" y="160"/>
                  </a:lnTo>
                  <a:lnTo>
                    <a:pt x="107" y="160"/>
                  </a:lnTo>
                  <a:lnTo>
                    <a:pt x="107" y="159"/>
                  </a:lnTo>
                  <a:lnTo>
                    <a:pt x="108" y="159"/>
                  </a:lnTo>
                  <a:lnTo>
                    <a:pt x="109" y="159"/>
                  </a:lnTo>
                  <a:lnTo>
                    <a:pt x="113" y="159"/>
                  </a:lnTo>
                  <a:lnTo>
                    <a:pt x="111" y="159"/>
                  </a:lnTo>
                  <a:lnTo>
                    <a:pt x="108" y="158"/>
                  </a:lnTo>
                  <a:lnTo>
                    <a:pt x="108" y="156"/>
                  </a:lnTo>
                  <a:lnTo>
                    <a:pt x="108" y="155"/>
                  </a:lnTo>
                  <a:lnTo>
                    <a:pt x="109" y="155"/>
                  </a:lnTo>
                  <a:lnTo>
                    <a:pt x="111" y="155"/>
                  </a:lnTo>
                  <a:lnTo>
                    <a:pt x="112" y="154"/>
                  </a:lnTo>
                  <a:lnTo>
                    <a:pt x="114" y="154"/>
                  </a:lnTo>
                  <a:lnTo>
                    <a:pt x="115" y="154"/>
                  </a:lnTo>
                  <a:lnTo>
                    <a:pt x="119" y="154"/>
                  </a:lnTo>
                  <a:lnTo>
                    <a:pt x="120" y="154"/>
                  </a:lnTo>
                  <a:lnTo>
                    <a:pt x="122" y="155"/>
                  </a:lnTo>
                  <a:lnTo>
                    <a:pt x="123" y="155"/>
                  </a:lnTo>
                  <a:lnTo>
                    <a:pt x="124" y="155"/>
                  </a:lnTo>
                  <a:lnTo>
                    <a:pt x="126" y="155"/>
                  </a:lnTo>
                  <a:lnTo>
                    <a:pt x="126" y="156"/>
                  </a:lnTo>
                  <a:lnTo>
                    <a:pt x="127" y="156"/>
                  </a:lnTo>
                  <a:lnTo>
                    <a:pt x="127" y="158"/>
                  </a:lnTo>
                  <a:lnTo>
                    <a:pt x="128" y="158"/>
                  </a:lnTo>
                  <a:lnTo>
                    <a:pt x="128" y="159"/>
                  </a:lnTo>
                  <a:close/>
                  <a:moveTo>
                    <a:pt x="112" y="153"/>
                  </a:moveTo>
                  <a:lnTo>
                    <a:pt x="109" y="153"/>
                  </a:lnTo>
                  <a:lnTo>
                    <a:pt x="108" y="153"/>
                  </a:lnTo>
                  <a:lnTo>
                    <a:pt x="108" y="152"/>
                  </a:lnTo>
                  <a:lnTo>
                    <a:pt x="109" y="152"/>
                  </a:lnTo>
                  <a:lnTo>
                    <a:pt x="111" y="152"/>
                  </a:lnTo>
                  <a:lnTo>
                    <a:pt x="112" y="153"/>
                  </a:lnTo>
                  <a:close/>
                  <a:moveTo>
                    <a:pt x="397" y="151"/>
                  </a:moveTo>
                  <a:lnTo>
                    <a:pt x="398" y="151"/>
                  </a:lnTo>
                  <a:lnTo>
                    <a:pt x="397" y="152"/>
                  </a:lnTo>
                  <a:lnTo>
                    <a:pt x="396" y="152"/>
                  </a:lnTo>
                  <a:lnTo>
                    <a:pt x="394" y="152"/>
                  </a:lnTo>
                  <a:lnTo>
                    <a:pt x="394" y="151"/>
                  </a:lnTo>
                  <a:lnTo>
                    <a:pt x="396" y="151"/>
                  </a:lnTo>
                  <a:lnTo>
                    <a:pt x="397" y="151"/>
                  </a:lnTo>
                  <a:close/>
                  <a:moveTo>
                    <a:pt x="145" y="149"/>
                  </a:moveTo>
                  <a:lnTo>
                    <a:pt x="144" y="149"/>
                  </a:lnTo>
                  <a:lnTo>
                    <a:pt x="142" y="148"/>
                  </a:lnTo>
                  <a:lnTo>
                    <a:pt x="143" y="148"/>
                  </a:lnTo>
                  <a:lnTo>
                    <a:pt x="144" y="148"/>
                  </a:lnTo>
                  <a:lnTo>
                    <a:pt x="145" y="149"/>
                  </a:lnTo>
                  <a:close/>
                  <a:moveTo>
                    <a:pt x="384" y="146"/>
                  </a:moveTo>
                  <a:lnTo>
                    <a:pt x="385" y="146"/>
                  </a:lnTo>
                  <a:lnTo>
                    <a:pt x="387" y="146"/>
                  </a:lnTo>
                  <a:lnTo>
                    <a:pt x="386" y="146"/>
                  </a:lnTo>
                  <a:lnTo>
                    <a:pt x="386" y="147"/>
                  </a:lnTo>
                  <a:lnTo>
                    <a:pt x="385" y="147"/>
                  </a:lnTo>
                  <a:lnTo>
                    <a:pt x="384" y="148"/>
                  </a:lnTo>
                  <a:lnTo>
                    <a:pt x="383" y="148"/>
                  </a:lnTo>
                  <a:lnTo>
                    <a:pt x="382" y="148"/>
                  </a:lnTo>
                  <a:lnTo>
                    <a:pt x="382" y="147"/>
                  </a:lnTo>
                  <a:lnTo>
                    <a:pt x="383" y="146"/>
                  </a:lnTo>
                  <a:lnTo>
                    <a:pt x="384" y="146"/>
                  </a:lnTo>
                  <a:close/>
                  <a:moveTo>
                    <a:pt x="145" y="147"/>
                  </a:moveTo>
                  <a:lnTo>
                    <a:pt x="144" y="147"/>
                  </a:lnTo>
                  <a:lnTo>
                    <a:pt x="143" y="147"/>
                  </a:lnTo>
                  <a:lnTo>
                    <a:pt x="142" y="147"/>
                  </a:lnTo>
                  <a:lnTo>
                    <a:pt x="141" y="147"/>
                  </a:lnTo>
                  <a:lnTo>
                    <a:pt x="140" y="147"/>
                  </a:lnTo>
                  <a:lnTo>
                    <a:pt x="140" y="146"/>
                  </a:lnTo>
                  <a:lnTo>
                    <a:pt x="141" y="146"/>
                  </a:lnTo>
                  <a:lnTo>
                    <a:pt x="142" y="145"/>
                  </a:lnTo>
                  <a:lnTo>
                    <a:pt x="143" y="145"/>
                  </a:lnTo>
                  <a:lnTo>
                    <a:pt x="143" y="146"/>
                  </a:lnTo>
                  <a:lnTo>
                    <a:pt x="144" y="146"/>
                  </a:lnTo>
                  <a:lnTo>
                    <a:pt x="145" y="146"/>
                  </a:lnTo>
                  <a:lnTo>
                    <a:pt x="145" y="147"/>
                  </a:lnTo>
                  <a:close/>
                  <a:moveTo>
                    <a:pt x="404" y="148"/>
                  </a:moveTo>
                  <a:lnTo>
                    <a:pt x="405" y="148"/>
                  </a:lnTo>
                  <a:lnTo>
                    <a:pt x="406" y="148"/>
                  </a:lnTo>
                  <a:lnTo>
                    <a:pt x="406" y="149"/>
                  </a:lnTo>
                  <a:lnTo>
                    <a:pt x="405" y="149"/>
                  </a:lnTo>
                  <a:lnTo>
                    <a:pt x="403" y="149"/>
                  </a:lnTo>
                  <a:lnTo>
                    <a:pt x="401" y="151"/>
                  </a:lnTo>
                  <a:lnTo>
                    <a:pt x="400" y="151"/>
                  </a:lnTo>
                  <a:lnTo>
                    <a:pt x="399" y="151"/>
                  </a:lnTo>
                  <a:lnTo>
                    <a:pt x="398" y="151"/>
                  </a:lnTo>
                  <a:lnTo>
                    <a:pt x="397" y="151"/>
                  </a:lnTo>
                  <a:lnTo>
                    <a:pt x="396" y="151"/>
                  </a:lnTo>
                  <a:lnTo>
                    <a:pt x="394" y="151"/>
                  </a:lnTo>
                  <a:lnTo>
                    <a:pt x="393" y="151"/>
                  </a:lnTo>
                  <a:lnTo>
                    <a:pt x="392" y="151"/>
                  </a:lnTo>
                  <a:lnTo>
                    <a:pt x="389" y="152"/>
                  </a:lnTo>
                  <a:lnTo>
                    <a:pt x="389" y="151"/>
                  </a:lnTo>
                  <a:lnTo>
                    <a:pt x="389" y="152"/>
                  </a:lnTo>
                  <a:lnTo>
                    <a:pt x="387" y="152"/>
                  </a:lnTo>
                  <a:lnTo>
                    <a:pt x="384" y="152"/>
                  </a:lnTo>
                  <a:lnTo>
                    <a:pt x="380" y="152"/>
                  </a:lnTo>
                  <a:lnTo>
                    <a:pt x="377" y="153"/>
                  </a:lnTo>
                  <a:lnTo>
                    <a:pt x="377" y="152"/>
                  </a:lnTo>
                  <a:lnTo>
                    <a:pt x="378" y="152"/>
                  </a:lnTo>
                  <a:lnTo>
                    <a:pt x="378" y="151"/>
                  </a:lnTo>
                  <a:lnTo>
                    <a:pt x="379" y="149"/>
                  </a:lnTo>
                  <a:lnTo>
                    <a:pt x="382" y="149"/>
                  </a:lnTo>
                  <a:lnTo>
                    <a:pt x="383" y="149"/>
                  </a:lnTo>
                  <a:lnTo>
                    <a:pt x="383" y="148"/>
                  </a:lnTo>
                  <a:lnTo>
                    <a:pt x="384" y="148"/>
                  </a:lnTo>
                  <a:lnTo>
                    <a:pt x="385" y="148"/>
                  </a:lnTo>
                  <a:lnTo>
                    <a:pt x="386" y="147"/>
                  </a:lnTo>
                  <a:lnTo>
                    <a:pt x="387" y="147"/>
                  </a:lnTo>
                  <a:lnTo>
                    <a:pt x="389" y="146"/>
                  </a:lnTo>
                  <a:lnTo>
                    <a:pt x="393" y="146"/>
                  </a:lnTo>
                  <a:lnTo>
                    <a:pt x="397" y="146"/>
                  </a:lnTo>
                  <a:lnTo>
                    <a:pt x="398" y="145"/>
                  </a:lnTo>
                  <a:lnTo>
                    <a:pt x="399" y="145"/>
                  </a:lnTo>
                  <a:lnTo>
                    <a:pt x="403" y="144"/>
                  </a:lnTo>
                  <a:lnTo>
                    <a:pt x="404" y="144"/>
                  </a:lnTo>
                  <a:lnTo>
                    <a:pt x="403" y="144"/>
                  </a:lnTo>
                  <a:lnTo>
                    <a:pt x="403" y="145"/>
                  </a:lnTo>
                  <a:lnTo>
                    <a:pt x="405" y="146"/>
                  </a:lnTo>
                  <a:lnTo>
                    <a:pt x="406" y="147"/>
                  </a:lnTo>
                  <a:lnTo>
                    <a:pt x="405" y="147"/>
                  </a:lnTo>
                  <a:lnTo>
                    <a:pt x="406" y="147"/>
                  </a:lnTo>
                  <a:lnTo>
                    <a:pt x="405" y="147"/>
                  </a:lnTo>
                  <a:lnTo>
                    <a:pt x="404" y="147"/>
                  </a:lnTo>
                  <a:lnTo>
                    <a:pt x="404" y="148"/>
                  </a:lnTo>
                  <a:close/>
                  <a:moveTo>
                    <a:pt x="405" y="144"/>
                  </a:moveTo>
                  <a:lnTo>
                    <a:pt x="406" y="144"/>
                  </a:lnTo>
                  <a:lnTo>
                    <a:pt x="406" y="145"/>
                  </a:lnTo>
                  <a:lnTo>
                    <a:pt x="407" y="145"/>
                  </a:lnTo>
                  <a:lnTo>
                    <a:pt x="406" y="145"/>
                  </a:lnTo>
                  <a:lnTo>
                    <a:pt x="405" y="145"/>
                  </a:lnTo>
                  <a:lnTo>
                    <a:pt x="405" y="144"/>
                  </a:lnTo>
                  <a:lnTo>
                    <a:pt x="404" y="144"/>
                  </a:lnTo>
                  <a:lnTo>
                    <a:pt x="405" y="144"/>
                  </a:lnTo>
                  <a:close/>
                  <a:moveTo>
                    <a:pt x="128" y="145"/>
                  </a:moveTo>
                  <a:lnTo>
                    <a:pt x="126" y="145"/>
                  </a:lnTo>
                  <a:lnTo>
                    <a:pt x="124" y="144"/>
                  </a:lnTo>
                  <a:lnTo>
                    <a:pt x="123" y="144"/>
                  </a:lnTo>
                  <a:lnTo>
                    <a:pt x="124" y="142"/>
                  </a:lnTo>
                  <a:lnTo>
                    <a:pt x="126" y="142"/>
                  </a:lnTo>
                  <a:lnTo>
                    <a:pt x="126" y="141"/>
                  </a:lnTo>
                  <a:lnTo>
                    <a:pt x="127" y="141"/>
                  </a:lnTo>
                  <a:lnTo>
                    <a:pt x="128" y="141"/>
                  </a:lnTo>
                  <a:lnTo>
                    <a:pt x="129" y="141"/>
                  </a:lnTo>
                  <a:lnTo>
                    <a:pt x="129" y="142"/>
                  </a:lnTo>
                  <a:lnTo>
                    <a:pt x="129" y="144"/>
                  </a:lnTo>
                  <a:lnTo>
                    <a:pt x="128" y="145"/>
                  </a:lnTo>
                  <a:close/>
                  <a:moveTo>
                    <a:pt x="137" y="142"/>
                  </a:moveTo>
                  <a:lnTo>
                    <a:pt x="134" y="142"/>
                  </a:lnTo>
                  <a:lnTo>
                    <a:pt x="133" y="142"/>
                  </a:lnTo>
                  <a:lnTo>
                    <a:pt x="133" y="141"/>
                  </a:lnTo>
                  <a:lnTo>
                    <a:pt x="133" y="140"/>
                  </a:lnTo>
                  <a:lnTo>
                    <a:pt x="134" y="140"/>
                  </a:lnTo>
                  <a:lnTo>
                    <a:pt x="135" y="140"/>
                  </a:lnTo>
                  <a:lnTo>
                    <a:pt x="138" y="140"/>
                  </a:lnTo>
                  <a:lnTo>
                    <a:pt x="141" y="140"/>
                  </a:lnTo>
                  <a:lnTo>
                    <a:pt x="141" y="141"/>
                  </a:lnTo>
                  <a:lnTo>
                    <a:pt x="140" y="141"/>
                  </a:lnTo>
                  <a:lnTo>
                    <a:pt x="138" y="141"/>
                  </a:lnTo>
                  <a:lnTo>
                    <a:pt x="138" y="142"/>
                  </a:lnTo>
                  <a:lnTo>
                    <a:pt x="137" y="142"/>
                  </a:lnTo>
                  <a:close/>
                  <a:moveTo>
                    <a:pt x="136" y="137"/>
                  </a:moveTo>
                  <a:lnTo>
                    <a:pt x="137" y="137"/>
                  </a:lnTo>
                  <a:lnTo>
                    <a:pt x="140" y="137"/>
                  </a:lnTo>
                  <a:lnTo>
                    <a:pt x="138" y="137"/>
                  </a:lnTo>
                  <a:lnTo>
                    <a:pt x="137" y="137"/>
                  </a:lnTo>
                  <a:lnTo>
                    <a:pt x="136" y="138"/>
                  </a:lnTo>
                  <a:lnTo>
                    <a:pt x="135" y="138"/>
                  </a:lnTo>
                  <a:lnTo>
                    <a:pt x="134" y="138"/>
                  </a:lnTo>
                  <a:lnTo>
                    <a:pt x="133" y="138"/>
                  </a:lnTo>
                  <a:lnTo>
                    <a:pt x="131" y="138"/>
                  </a:lnTo>
                  <a:lnTo>
                    <a:pt x="133" y="137"/>
                  </a:lnTo>
                  <a:lnTo>
                    <a:pt x="135" y="137"/>
                  </a:lnTo>
                  <a:lnTo>
                    <a:pt x="136" y="137"/>
                  </a:lnTo>
                  <a:close/>
                  <a:moveTo>
                    <a:pt x="113" y="134"/>
                  </a:moveTo>
                  <a:lnTo>
                    <a:pt x="112" y="134"/>
                  </a:lnTo>
                  <a:lnTo>
                    <a:pt x="111" y="133"/>
                  </a:lnTo>
                  <a:lnTo>
                    <a:pt x="112" y="133"/>
                  </a:lnTo>
                  <a:lnTo>
                    <a:pt x="113" y="133"/>
                  </a:lnTo>
                  <a:lnTo>
                    <a:pt x="114" y="133"/>
                  </a:lnTo>
                  <a:lnTo>
                    <a:pt x="115" y="133"/>
                  </a:lnTo>
                  <a:lnTo>
                    <a:pt x="114" y="134"/>
                  </a:lnTo>
                  <a:lnTo>
                    <a:pt x="113" y="134"/>
                  </a:lnTo>
                  <a:close/>
                  <a:moveTo>
                    <a:pt x="121" y="128"/>
                  </a:moveTo>
                  <a:lnTo>
                    <a:pt x="120" y="128"/>
                  </a:lnTo>
                  <a:lnTo>
                    <a:pt x="119" y="128"/>
                  </a:lnTo>
                  <a:lnTo>
                    <a:pt x="119" y="130"/>
                  </a:lnTo>
                  <a:lnTo>
                    <a:pt x="117" y="130"/>
                  </a:lnTo>
                  <a:lnTo>
                    <a:pt x="116" y="130"/>
                  </a:lnTo>
                  <a:lnTo>
                    <a:pt x="115" y="130"/>
                  </a:lnTo>
                  <a:lnTo>
                    <a:pt x="114" y="130"/>
                  </a:lnTo>
                  <a:lnTo>
                    <a:pt x="115" y="128"/>
                  </a:lnTo>
                  <a:lnTo>
                    <a:pt x="117" y="128"/>
                  </a:lnTo>
                  <a:lnTo>
                    <a:pt x="116" y="128"/>
                  </a:lnTo>
                  <a:lnTo>
                    <a:pt x="115" y="128"/>
                  </a:lnTo>
                  <a:lnTo>
                    <a:pt x="116" y="128"/>
                  </a:lnTo>
                  <a:lnTo>
                    <a:pt x="117" y="128"/>
                  </a:lnTo>
                  <a:lnTo>
                    <a:pt x="119" y="127"/>
                  </a:lnTo>
                  <a:lnTo>
                    <a:pt x="120" y="127"/>
                  </a:lnTo>
                  <a:lnTo>
                    <a:pt x="121" y="127"/>
                  </a:lnTo>
                  <a:lnTo>
                    <a:pt x="122" y="127"/>
                  </a:lnTo>
                  <a:lnTo>
                    <a:pt x="121" y="127"/>
                  </a:lnTo>
                  <a:lnTo>
                    <a:pt x="121" y="128"/>
                  </a:lnTo>
                  <a:close/>
                  <a:moveTo>
                    <a:pt x="119" y="123"/>
                  </a:moveTo>
                  <a:lnTo>
                    <a:pt x="117" y="123"/>
                  </a:lnTo>
                  <a:lnTo>
                    <a:pt x="116" y="124"/>
                  </a:lnTo>
                  <a:lnTo>
                    <a:pt x="116" y="123"/>
                  </a:lnTo>
                  <a:lnTo>
                    <a:pt x="115" y="123"/>
                  </a:lnTo>
                  <a:lnTo>
                    <a:pt x="115" y="124"/>
                  </a:lnTo>
                  <a:lnTo>
                    <a:pt x="114" y="124"/>
                  </a:lnTo>
                  <a:lnTo>
                    <a:pt x="113" y="124"/>
                  </a:lnTo>
                  <a:lnTo>
                    <a:pt x="113" y="123"/>
                  </a:lnTo>
                  <a:lnTo>
                    <a:pt x="114" y="123"/>
                  </a:lnTo>
                  <a:lnTo>
                    <a:pt x="115" y="123"/>
                  </a:lnTo>
                  <a:lnTo>
                    <a:pt x="116" y="123"/>
                  </a:lnTo>
                  <a:lnTo>
                    <a:pt x="117" y="121"/>
                  </a:lnTo>
                  <a:lnTo>
                    <a:pt x="117" y="123"/>
                  </a:lnTo>
                  <a:lnTo>
                    <a:pt x="119" y="121"/>
                  </a:lnTo>
                  <a:lnTo>
                    <a:pt x="119" y="123"/>
                  </a:lnTo>
                  <a:close/>
                  <a:moveTo>
                    <a:pt x="126" y="121"/>
                  </a:moveTo>
                  <a:lnTo>
                    <a:pt x="124" y="121"/>
                  </a:lnTo>
                  <a:lnTo>
                    <a:pt x="124" y="123"/>
                  </a:lnTo>
                  <a:lnTo>
                    <a:pt x="123" y="123"/>
                  </a:lnTo>
                  <a:lnTo>
                    <a:pt x="122" y="123"/>
                  </a:lnTo>
                  <a:lnTo>
                    <a:pt x="121" y="124"/>
                  </a:lnTo>
                  <a:lnTo>
                    <a:pt x="120" y="124"/>
                  </a:lnTo>
                  <a:lnTo>
                    <a:pt x="120" y="125"/>
                  </a:lnTo>
                  <a:lnTo>
                    <a:pt x="120" y="124"/>
                  </a:lnTo>
                  <a:lnTo>
                    <a:pt x="119" y="125"/>
                  </a:lnTo>
                  <a:lnTo>
                    <a:pt x="117" y="125"/>
                  </a:lnTo>
                  <a:lnTo>
                    <a:pt x="119" y="125"/>
                  </a:lnTo>
                  <a:lnTo>
                    <a:pt x="119" y="124"/>
                  </a:lnTo>
                  <a:lnTo>
                    <a:pt x="117" y="124"/>
                  </a:lnTo>
                  <a:lnTo>
                    <a:pt x="116" y="124"/>
                  </a:lnTo>
                  <a:lnTo>
                    <a:pt x="115" y="124"/>
                  </a:lnTo>
                  <a:lnTo>
                    <a:pt x="116" y="124"/>
                  </a:lnTo>
                  <a:lnTo>
                    <a:pt x="117" y="124"/>
                  </a:lnTo>
                  <a:lnTo>
                    <a:pt x="119" y="123"/>
                  </a:lnTo>
                  <a:lnTo>
                    <a:pt x="120" y="123"/>
                  </a:lnTo>
                  <a:lnTo>
                    <a:pt x="121" y="121"/>
                  </a:lnTo>
                  <a:lnTo>
                    <a:pt x="123" y="121"/>
                  </a:lnTo>
                  <a:lnTo>
                    <a:pt x="124" y="121"/>
                  </a:lnTo>
                  <a:lnTo>
                    <a:pt x="123" y="121"/>
                  </a:lnTo>
                  <a:lnTo>
                    <a:pt x="126" y="121"/>
                  </a:lnTo>
                  <a:close/>
                  <a:moveTo>
                    <a:pt x="426" y="120"/>
                  </a:moveTo>
                  <a:lnTo>
                    <a:pt x="427" y="121"/>
                  </a:lnTo>
                  <a:lnTo>
                    <a:pt x="428" y="121"/>
                  </a:lnTo>
                  <a:lnTo>
                    <a:pt x="433" y="121"/>
                  </a:lnTo>
                  <a:lnTo>
                    <a:pt x="434" y="121"/>
                  </a:lnTo>
                  <a:lnTo>
                    <a:pt x="434" y="123"/>
                  </a:lnTo>
                  <a:lnTo>
                    <a:pt x="435" y="123"/>
                  </a:lnTo>
                  <a:lnTo>
                    <a:pt x="436" y="124"/>
                  </a:lnTo>
                  <a:lnTo>
                    <a:pt x="437" y="124"/>
                  </a:lnTo>
                  <a:lnTo>
                    <a:pt x="439" y="124"/>
                  </a:lnTo>
                  <a:lnTo>
                    <a:pt x="440" y="124"/>
                  </a:lnTo>
                  <a:lnTo>
                    <a:pt x="440" y="125"/>
                  </a:lnTo>
                  <a:lnTo>
                    <a:pt x="441" y="125"/>
                  </a:lnTo>
                  <a:lnTo>
                    <a:pt x="442" y="125"/>
                  </a:lnTo>
                  <a:lnTo>
                    <a:pt x="442" y="126"/>
                  </a:lnTo>
                  <a:lnTo>
                    <a:pt x="441" y="126"/>
                  </a:lnTo>
                  <a:lnTo>
                    <a:pt x="443" y="126"/>
                  </a:lnTo>
                  <a:lnTo>
                    <a:pt x="444" y="126"/>
                  </a:lnTo>
                  <a:lnTo>
                    <a:pt x="443" y="126"/>
                  </a:lnTo>
                  <a:lnTo>
                    <a:pt x="443" y="127"/>
                  </a:lnTo>
                  <a:lnTo>
                    <a:pt x="444" y="127"/>
                  </a:lnTo>
                  <a:lnTo>
                    <a:pt x="443" y="127"/>
                  </a:lnTo>
                  <a:lnTo>
                    <a:pt x="442" y="127"/>
                  </a:lnTo>
                  <a:lnTo>
                    <a:pt x="442" y="126"/>
                  </a:lnTo>
                  <a:lnTo>
                    <a:pt x="441" y="126"/>
                  </a:lnTo>
                  <a:lnTo>
                    <a:pt x="440" y="126"/>
                  </a:lnTo>
                  <a:lnTo>
                    <a:pt x="437" y="126"/>
                  </a:lnTo>
                  <a:lnTo>
                    <a:pt x="436" y="126"/>
                  </a:lnTo>
                  <a:lnTo>
                    <a:pt x="436" y="127"/>
                  </a:lnTo>
                  <a:lnTo>
                    <a:pt x="440" y="128"/>
                  </a:lnTo>
                  <a:lnTo>
                    <a:pt x="441" y="128"/>
                  </a:lnTo>
                  <a:lnTo>
                    <a:pt x="442" y="128"/>
                  </a:lnTo>
                  <a:lnTo>
                    <a:pt x="441" y="130"/>
                  </a:lnTo>
                  <a:lnTo>
                    <a:pt x="441" y="131"/>
                  </a:lnTo>
                  <a:lnTo>
                    <a:pt x="440" y="131"/>
                  </a:lnTo>
                  <a:lnTo>
                    <a:pt x="437" y="131"/>
                  </a:lnTo>
                  <a:lnTo>
                    <a:pt x="436" y="130"/>
                  </a:lnTo>
                  <a:lnTo>
                    <a:pt x="437" y="130"/>
                  </a:lnTo>
                  <a:lnTo>
                    <a:pt x="436" y="130"/>
                  </a:lnTo>
                  <a:lnTo>
                    <a:pt x="435" y="130"/>
                  </a:lnTo>
                  <a:lnTo>
                    <a:pt x="434" y="128"/>
                  </a:lnTo>
                  <a:lnTo>
                    <a:pt x="433" y="128"/>
                  </a:lnTo>
                  <a:lnTo>
                    <a:pt x="429" y="127"/>
                  </a:lnTo>
                  <a:lnTo>
                    <a:pt x="427" y="126"/>
                  </a:lnTo>
                  <a:lnTo>
                    <a:pt x="426" y="126"/>
                  </a:lnTo>
                  <a:lnTo>
                    <a:pt x="425" y="126"/>
                  </a:lnTo>
                  <a:lnTo>
                    <a:pt x="424" y="126"/>
                  </a:lnTo>
                  <a:lnTo>
                    <a:pt x="424" y="125"/>
                  </a:lnTo>
                  <a:lnTo>
                    <a:pt x="422" y="125"/>
                  </a:lnTo>
                  <a:lnTo>
                    <a:pt x="421" y="125"/>
                  </a:lnTo>
                  <a:lnTo>
                    <a:pt x="421" y="124"/>
                  </a:lnTo>
                  <a:lnTo>
                    <a:pt x="421" y="123"/>
                  </a:lnTo>
                  <a:lnTo>
                    <a:pt x="421" y="121"/>
                  </a:lnTo>
                  <a:lnTo>
                    <a:pt x="420" y="121"/>
                  </a:lnTo>
                  <a:lnTo>
                    <a:pt x="421" y="121"/>
                  </a:lnTo>
                  <a:lnTo>
                    <a:pt x="426" y="120"/>
                  </a:lnTo>
                  <a:close/>
                  <a:moveTo>
                    <a:pt x="418" y="120"/>
                  </a:moveTo>
                  <a:lnTo>
                    <a:pt x="417" y="121"/>
                  </a:lnTo>
                  <a:lnTo>
                    <a:pt x="415" y="123"/>
                  </a:lnTo>
                  <a:lnTo>
                    <a:pt x="415" y="121"/>
                  </a:lnTo>
                  <a:lnTo>
                    <a:pt x="414" y="121"/>
                  </a:lnTo>
                  <a:lnTo>
                    <a:pt x="413" y="121"/>
                  </a:lnTo>
                  <a:lnTo>
                    <a:pt x="412" y="121"/>
                  </a:lnTo>
                  <a:lnTo>
                    <a:pt x="413" y="121"/>
                  </a:lnTo>
                  <a:lnTo>
                    <a:pt x="414" y="121"/>
                  </a:lnTo>
                  <a:lnTo>
                    <a:pt x="414" y="120"/>
                  </a:lnTo>
                  <a:lnTo>
                    <a:pt x="415" y="120"/>
                  </a:lnTo>
                  <a:lnTo>
                    <a:pt x="418" y="120"/>
                  </a:lnTo>
                  <a:close/>
                  <a:moveTo>
                    <a:pt x="122" y="119"/>
                  </a:moveTo>
                  <a:lnTo>
                    <a:pt x="124" y="119"/>
                  </a:lnTo>
                  <a:lnTo>
                    <a:pt x="126" y="119"/>
                  </a:lnTo>
                  <a:lnTo>
                    <a:pt x="126" y="120"/>
                  </a:lnTo>
                  <a:lnTo>
                    <a:pt x="124" y="120"/>
                  </a:lnTo>
                  <a:lnTo>
                    <a:pt x="123" y="120"/>
                  </a:lnTo>
                  <a:lnTo>
                    <a:pt x="123" y="119"/>
                  </a:lnTo>
                  <a:lnTo>
                    <a:pt x="122" y="119"/>
                  </a:lnTo>
                  <a:lnTo>
                    <a:pt x="122" y="120"/>
                  </a:lnTo>
                  <a:lnTo>
                    <a:pt x="121" y="120"/>
                  </a:lnTo>
                  <a:lnTo>
                    <a:pt x="121" y="119"/>
                  </a:lnTo>
                  <a:lnTo>
                    <a:pt x="120" y="119"/>
                  </a:lnTo>
                  <a:lnTo>
                    <a:pt x="121" y="119"/>
                  </a:lnTo>
                  <a:lnTo>
                    <a:pt x="122" y="119"/>
                  </a:lnTo>
                  <a:close/>
                  <a:moveTo>
                    <a:pt x="433" y="118"/>
                  </a:moveTo>
                  <a:lnTo>
                    <a:pt x="436" y="119"/>
                  </a:lnTo>
                  <a:lnTo>
                    <a:pt x="437" y="119"/>
                  </a:lnTo>
                  <a:lnTo>
                    <a:pt x="442" y="119"/>
                  </a:lnTo>
                  <a:lnTo>
                    <a:pt x="443" y="120"/>
                  </a:lnTo>
                  <a:lnTo>
                    <a:pt x="444" y="120"/>
                  </a:lnTo>
                  <a:lnTo>
                    <a:pt x="446" y="120"/>
                  </a:lnTo>
                  <a:lnTo>
                    <a:pt x="444" y="120"/>
                  </a:lnTo>
                  <a:lnTo>
                    <a:pt x="444" y="121"/>
                  </a:lnTo>
                  <a:lnTo>
                    <a:pt x="443" y="121"/>
                  </a:lnTo>
                  <a:lnTo>
                    <a:pt x="442" y="121"/>
                  </a:lnTo>
                  <a:lnTo>
                    <a:pt x="443" y="121"/>
                  </a:lnTo>
                  <a:lnTo>
                    <a:pt x="444" y="121"/>
                  </a:lnTo>
                  <a:lnTo>
                    <a:pt x="444" y="123"/>
                  </a:lnTo>
                  <a:lnTo>
                    <a:pt x="446" y="123"/>
                  </a:lnTo>
                  <a:lnTo>
                    <a:pt x="444" y="123"/>
                  </a:lnTo>
                  <a:lnTo>
                    <a:pt x="444" y="124"/>
                  </a:lnTo>
                  <a:lnTo>
                    <a:pt x="443" y="123"/>
                  </a:lnTo>
                  <a:lnTo>
                    <a:pt x="442" y="123"/>
                  </a:lnTo>
                  <a:lnTo>
                    <a:pt x="441" y="123"/>
                  </a:lnTo>
                  <a:lnTo>
                    <a:pt x="437" y="123"/>
                  </a:lnTo>
                  <a:lnTo>
                    <a:pt x="439" y="123"/>
                  </a:lnTo>
                  <a:lnTo>
                    <a:pt x="437" y="123"/>
                  </a:lnTo>
                  <a:lnTo>
                    <a:pt x="436" y="123"/>
                  </a:lnTo>
                  <a:lnTo>
                    <a:pt x="437" y="123"/>
                  </a:lnTo>
                  <a:lnTo>
                    <a:pt x="437" y="121"/>
                  </a:lnTo>
                  <a:lnTo>
                    <a:pt x="436" y="121"/>
                  </a:lnTo>
                  <a:lnTo>
                    <a:pt x="433" y="120"/>
                  </a:lnTo>
                  <a:lnTo>
                    <a:pt x="433" y="121"/>
                  </a:lnTo>
                  <a:lnTo>
                    <a:pt x="432" y="120"/>
                  </a:lnTo>
                  <a:lnTo>
                    <a:pt x="431" y="120"/>
                  </a:lnTo>
                  <a:lnTo>
                    <a:pt x="429" y="121"/>
                  </a:lnTo>
                  <a:lnTo>
                    <a:pt x="428" y="120"/>
                  </a:lnTo>
                  <a:lnTo>
                    <a:pt x="427" y="120"/>
                  </a:lnTo>
                  <a:lnTo>
                    <a:pt x="424" y="120"/>
                  </a:lnTo>
                  <a:lnTo>
                    <a:pt x="420" y="120"/>
                  </a:lnTo>
                  <a:lnTo>
                    <a:pt x="420" y="119"/>
                  </a:lnTo>
                  <a:lnTo>
                    <a:pt x="424" y="119"/>
                  </a:lnTo>
                  <a:lnTo>
                    <a:pt x="428" y="119"/>
                  </a:lnTo>
                  <a:lnTo>
                    <a:pt x="431" y="119"/>
                  </a:lnTo>
                  <a:lnTo>
                    <a:pt x="433" y="118"/>
                  </a:lnTo>
                  <a:close/>
                  <a:moveTo>
                    <a:pt x="451" y="118"/>
                  </a:moveTo>
                  <a:lnTo>
                    <a:pt x="450" y="118"/>
                  </a:lnTo>
                  <a:lnTo>
                    <a:pt x="451" y="118"/>
                  </a:lnTo>
                  <a:lnTo>
                    <a:pt x="451" y="117"/>
                  </a:lnTo>
                  <a:lnTo>
                    <a:pt x="453" y="118"/>
                  </a:lnTo>
                  <a:lnTo>
                    <a:pt x="454" y="118"/>
                  </a:lnTo>
                  <a:lnTo>
                    <a:pt x="453" y="118"/>
                  </a:lnTo>
                  <a:lnTo>
                    <a:pt x="451" y="118"/>
                  </a:lnTo>
                  <a:close/>
                  <a:moveTo>
                    <a:pt x="427" y="114"/>
                  </a:moveTo>
                  <a:lnTo>
                    <a:pt x="431" y="116"/>
                  </a:lnTo>
                  <a:lnTo>
                    <a:pt x="434" y="116"/>
                  </a:lnTo>
                  <a:lnTo>
                    <a:pt x="434" y="117"/>
                  </a:lnTo>
                  <a:lnTo>
                    <a:pt x="433" y="117"/>
                  </a:lnTo>
                  <a:lnTo>
                    <a:pt x="429" y="116"/>
                  </a:lnTo>
                  <a:lnTo>
                    <a:pt x="426" y="116"/>
                  </a:lnTo>
                  <a:lnTo>
                    <a:pt x="421" y="116"/>
                  </a:lnTo>
                  <a:lnTo>
                    <a:pt x="418" y="116"/>
                  </a:lnTo>
                  <a:lnTo>
                    <a:pt x="417" y="116"/>
                  </a:lnTo>
                  <a:lnTo>
                    <a:pt x="418" y="116"/>
                  </a:lnTo>
                  <a:lnTo>
                    <a:pt x="419" y="116"/>
                  </a:lnTo>
                  <a:lnTo>
                    <a:pt x="422" y="116"/>
                  </a:lnTo>
                  <a:lnTo>
                    <a:pt x="424" y="116"/>
                  </a:lnTo>
                  <a:lnTo>
                    <a:pt x="426" y="117"/>
                  </a:lnTo>
                  <a:lnTo>
                    <a:pt x="428" y="117"/>
                  </a:lnTo>
                  <a:lnTo>
                    <a:pt x="432" y="117"/>
                  </a:lnTo>
                  <a:lnTo>
                    <a:pt x="435" y="117"/>
                  </a:lnTo>
                  <a:lnTo>
                    <a:pt x="436" y="117"/>
                  </a:lnTo>
                  <a:lnTo>
                    <a:pt x="436" y="118"/>
                  </a:lnTo>
                  <a:lnTo>
                    <a:pt x="435" y="118"/>
                  </a:lnTo>
                  <a:lnTo>
                    <a:pt x="431" y="118"/>
                  </a:lnTo>
                  <a:lnTo>
                    <a:pt x="426" y="118"/>
                  </a:lnTo>
                  <a:lnTo>
                    <a:pt x="421" y="119"/>
                  </a:lnTo>
                  <a:lnTo>
                    <a:pt x="420" y="119"/>
                  </a:lnTo>
                  <a:lnTo>
                    <a:pt x="419" y="119"/>
                  </a:lnTo>
                  <a:lnTo>
                    <a:pt x="419" y="118"/>
                  </a:lnTo>
                  <a:lnTo>
                    <a:pt x="418" y="118"/>
                  </a:lnTo>
                  <a:lnTo>
                    <a:pt x="415" y="118"/>
                  </a:lnTo>
                  <a:lnTo>
                    <a:pt x="412" y="118"/>
                  </a:lnTo>
                  <a:lnTo>
                    <a:pt x="411" y="117"/>
                  </a:lnTo>
                  <a:lnTo>
                    <a:pt x="410" y="117"/>
                  </a:lnTo>
                  <a:lnTo>
                    <a:pt x="411" y="117"/>
                  </a:lnTo>
                  <a:lnTo>
                    <a:pt x="412" y="116"/>
                  </a:lnTo>
                  <a:lnTo>
                    <a:pt x="413" y="116"/>
                  </a:lnTo>
                  <a:lnTo>
                    <a:pt x="414" y="116"/>
                  </a:lnTo>
                  <a:lnTo>
                    <a:pt x="414" y="114"/>
                  </a:lnTo>
                  <a:lnTo>
                    <a:pt x="415" y="114"/>
                  </a:lnTo>
                  <a:lnTo>
                    <a:pt x="419" y="114"/>
                  </a:lnTo>
                  <a:lnTo>
                    <a:pt x="422" y="113"/>
                  </a:lnTo>
                  <a:lnTo>
                    <a:pt x="424" y="114"/>
                  </a:lnTo>
                  <a:lnTo>
                    <a:pt x="427" y="114"/>
                  </a:lnTo>
                  <a:close/>
                  <a:moveTo>
                    <a:pt x="122" y="112"/>
                  </a:moveTo>
                  <a:lnTo>
                    <a:pt x="123" y="113"/>
                  </a:lnTo>
                  <a:lnTo>
                    <a:pt x="124" y="113"/>
                  </a:lnTo>
                  <a:lnTo>
                    <a:pt x="123" y="114"/>
                  </a:lnTo>
                  <a:lnTo>
                    <a:pt x="122" y="114"/>
                  </a:lnTo>
                  <a:lnTo>
                    <a:pt x="123" y="114"/>
                  </a:lnTo>
                  <a:lnTo>
                    <a:pt x="123" y="113"/>
                  </a:lnTo>
                  <a:lnTo>
                    <a:pt x="122" y="113"/>
                  </a:lnTo>
                  <a:lnTo>
                    <a:pt x="121" y="113"/>
                  </a:lnTo>
                  <a:lnTo>
                    <a:pt x="122" y="112"/>
                  </a:lnTo>
                  <a:lnTo>
                    <a:pt x="121" y="112"/>
                  </a:lnTo>
                  <a:lnTo>
                    <a:pt x="120" y="112"/>
                  </a:lnTo>
                  <a:lnTo>
                    <a:pt x="121" y="112"/>
                  </a:lnTo>
                  <a:lnTo>
                    <a:pt x="122" y="112"/>
                  </a:lnTo>
                  <a:close/>
                  <a:moveTo>
                    <a:pt x="121" y="109"/>
                  </a:moveTo>
                  <a:lnTo>
                    <a:pt x="123" y="109"/>
                  </a:lnTo>
                  <a:lnTo>
                    <a:pt x="122" y="109"/>
                  </a:lnTo>
                  <a:lnTo>
                    <a:pt x="121" y="109"/>
                  </a:lnTo>
                  <a:lnTo>
                    <a:pt x="120" y="109"/>
                  </a:lnTo>
                  <a:lnTo>
                    <a:pt x="120" y="110"/>
                  </a:lnTo>
                  <a:lnTo>
                    <a:pt x="119" y="110"/>
                  </a:lnTo>
                  <a:lnTo>
                    <a:pt x="119" y="109"/>
                  </a:lnTo>
                  <a:lnTo>
                    <a:pt x="120" y="109"/>
                  </a:lnTo>
                  <a:lnTo>
                    <a:pt x="116" y="109"/>
                  </a:lnTo>
                  <a:lnTo>
                    <a:pt x="117" y="109"/>
                  </a:lnTo>
                  <a:lnTo>
                    <a:pt x="116" y="109"/>
                  </a:lnTo>
                  <a:lnTo>
                    <a:pt x="117" y="107"/>
                  </a:lnTo>
                  <a:lnTo>
                    <a:pt x="121" y="109"/>
                  </a:lnTo>
                  <a:close/>
                  <a:moveTo>
                    <a:pt x="458" y="102"/>
                  </a:moveTo>
                  <a:lnTo>
                    <a:pt x="460" y="102"/>
                  </a:lnTo>
                  <a:lnTo>
                    <a:pt x="463" y="102"/>
                  </a:lnTo>
                  <a:lnTo>
                    <a:pt x="463" y="103"/>
                  </a:lnTo>
                  <a:lnTo>
                    <a:pt x="464" y="104"/>
                  </a:lnTo>
                  <a:lnTo>
                    <a:pt x="465" y="104"/>
                  </a:lnTo>
                  <a:lnTo>
                    <a:pt x="467" y="104"/>
                  </a:lnTo>
                  <a:lnTo>
                    <a:pt x="465" y="104"/>
                  </a:lnTo>
                  <a:lnTo>
                    <a:pt x="463" y="105"/>
                  </a:lnTo>
                  <a:lnTo>
                    <a:pt x="460" y="105"/>
                  </a:lnTo>
                  <a:lnTo>
                    <a:pt x="458" y="105"/>
                  </a:lnTo>
                  <a:lnTo>
                    <a:pt x="457" y="105"/>
                  </a:lnTo>
                  <a:lnTo>
                    <a:pt x="455" y="105"/>
                  </a:lnTo>
                  <a:lnTo>
                    <a:pt x="454" y="105"/>
                  </a:lnTo>
                  <a:lnTo>
                    <a:pt x="451" y="104"/>
                  </a:lnTo>
                  <a:lnTo>
                    <a:pt x="449" y="104"/>
                  </a:lnTo>
                  <a:lnTo>
                    <a:pt x="449" y="103"/>
                  </a:lnTo>
                  <a:lnTo>
                    <a:pt x="450" y="103"/>
                  </a:lnTo>
                  <a:lnTo>
                    <a:pt x="454" y="102"/>
                  </a:lnTo>
                  <a:lnTo>
                    <a:pt x="456" y="100"/>
                  </a:lnTo>
                  <a:lnTo>
                    <a:pt x="458" y="100"/>
                  </a:lnTo>
                  <a:lnTo>
                    <a:pt x="458" y="102"/>
                  </a:lnTo>
                  <a:close/>
                  <a:moveTo>
                    <a:pt x="123" y="100"/>
                  </a:moveTo>
                  <a:lnTo>
                    <a:pt x="121" y="100"/>
                  </a:lnTo>
                  <a:lnTo>
                    <a:pt x="117" y="100"/>
                  </a:lnTo>
                  <a:lnTo>
                    <a:pt x="116" y="100"/>
                  </a:lnTo>
                  <a:lnTo>
                    <a:pt x="113" y="100"/>
                  </a:lnTo>
                  <a:lnTo>
                    <a:pt x="116" y="100"/>
                  </a:lnTo>
                  <a:lnTo>
                    <a:pt x="120" y="99"/>
                  </a:lnTo>
                  <a:lnTo>
                    <a:pt x="121" y="99"/>
                  </a:lnTo>
                  <a:lnTo>
                    <a:pt x="122" y="99"/>
                  </a:lnTo>
                  <a:lnTo>
                    <a:pt x="123" y="100"/>
                  </a:lnTo>
                  <a:lnTo>
                    <a:pt x="122" y="100"/>
                  </a:lnTo>
                  <a:lnTo>
                    <a:pt x="123" y="100"/>
                  </a:lnTo>
                  <a:close/>
                  <a:moveTo>
                    <a:pt x="479" y="98"/>
                  </a:moveTo>
                  <a:lnTo>
                    <a:pt x="479" y="99"/>
                  </a:lnTo>
                  <a:lnTo>
                    <a:pt x="481" y="99"/>
                  </a:lnTo>
                  <a:lnTo>
                    <a:pt x="481" y="98"/>
                  </a:lnTo>
                  <a:lnTo>
                    <a:pt x="481" y="99"/>
                  </a:lnTo>
                  <a:lnTo>
                    <a:pt x="479" y="99"/>
                  </a:lnTo>
                  <a:lnTo>
                    <a:pt x="476" y="99"/>
                  </a:lnTo>
                  <a:lnTo>
                    <a:pt x="477" y="98"/>
                  </a:lnTo>
                  <a:lnTo>
                    <a:pt x="479" y="98"/>
                  </a:lnTo>
                  <a:lnTo>
                    <a:pt x="481" y="98"/>
                  </a:lnTo>
                  <a:lnTo>
                    <a:pt x="479" y="98"/>
                  </a:lnTo>
                  <a:close/>
                  <a:moveTo>
                    <a:pt x="482" y="98"/>
                  </a:moveTo>
                  <a:lnTo>
                    <a:pt x="483" y="98"/>
                  </a:lnTo>
                  <a:lnTo>
                    <a:pt x="484" y="98"/>
                  </a:lnTo>
                  <a:lnTo>
                    <a:pt x="485" y="98"/>
                  </a:lnTo>
                  <a:lnTo>
                    <a:pt x="484" y="98"/>
                  </a:lnTo>
                  <a:lnTo>
                    <a:pt x="484" y="99"/>
                  </a:lnTo>
                  <a:lnTo>
                    <a:pt x="483" y="99"/>
                  </a:lnTo>
                  <a:lnTo>
                    <a:pt x="483" y="98"/>
                  </a:lnTo>
                  <a:lnTo>
                    <a:pt x="482" y="98"/>
                  </a:lnTo>
                  <a:close/>
                  <a:moveTo>
                    <a:pt x="468" y="96"/>
                  </a:moveTo>
                  <a:lnTo>
                    <a:pt x="468" y="95"/>
                  </a:lnTo>
                  <a:lnTo>
                    <a:pt x="469" y="95"/>
                  </a:lnTo>
                  <a:lnTo>
                    <a:pt x="471" y="96"/>
                  </a:lnTo>
                  <a:lnTo>
                    <a:pt x="470" y="97"/>
                  </a:lnTo>
                  <a:lnTo>
                    <a:pt x="469" y="97"/>
                  </a:lnTo>
                  <a:lnTo>
                    <a:pt x="468" y="98"/>
                  </a:lnTo>
                  <a:lnTo>
                    <a:pt x="467" y="98"/>
                  </a:lnTo>
                  <a:lnTo>
                    <a:pt x="465" y="98"/>
                  </a:lnTo>
                  <a:lnTo>
                    <a:pt x="464" y="97"/>
                  </a:lnTo>
                  <a:lnTo>
                    <a:pt x="463" y="97"/>
                  </a:lnTo>
                  <a:lnTo>
                    <a:pt x="463" y="96"/>
                  </a:lnTo>
                  <a:lnTo>
                    <a:pt x="464" y="96"/>
                  </a:lnTo>
                  <a:lnTo>
                    <a:pt x="464" y="95"/>
                  </a:lnTo>
                  <a:lnTo>
                    <a:pt x="463" y="95"/>
                  </a:lnTo>
                  <a:lnTo>
                    <a:pt x="464" y="95"/>
                  </a:lnTo>
                  <a:lnTo>
                    <a:pt x="465" y="93"/>
                  </a:lnTo>
                  <a:lnTo>
                    <a:pt x="467" y="93"/>
                  </a:lnTo>
                  <a:lnTo>
                    <a:pt x="468" y="93"/>
                  </a:lnTo>
                  <a:lnTo>
                    <a:pt x="469" y="93"/>
                  </a:lnTo>
                  <a:lnTo>
                    <a:pt x="470" y="93"/>
                  </a:lnTo>
                  <a:lnTo>
                    <a:pt x="470" y="95"/>
                  </a:lnTo>
                  <a:lnTo>
                    <a:pt x="469" y="95"/>
                  </a:lnTo>
                  <a:lnTo>
                    <a:pt x="468" y="95"/>
                  </a:lnTo>
                  <a:lnTo>
                    <a:pt x="468" y="96"/>
                  </a:lnTo>
                  <a:close/>
                  <a:moveTo>
                    <a:pt x="491" y="90"/>
                  </a:moveTo>
                  <a:lnTo>
                    <a:pt x="489" y="91"/>
                  </a:lnTo>
                  <a:lnTo>
                    <a:pt x="488" y="91"/>
                  </a:lnTo>
                  <a:lnTo>
                    <a:pt x="486" y="91"/>
                  </a:lnTo>
                  <a:lnTo>
                    <a:pt x="488" y="91"/>
                  </a:lnTo>
                  <a:lnTo>
                    <a:pt x="489" y="91"/>
                  </a:lnTo>
                  <a:lnTo>
                    <a:pt x="489" y="92"/>
                  </a:lnTo>
                  <a:lnTo>
                    <a:pt x="490" y="92"/>
                  </a:lnTo>
                  <a:lnTo>
                    <a:pt x="490" y="93"/>
                  </a:lnTo>
                  <a:lnTo>
                    <a:pt x="491" y="93"/>
                  </a:lnTo>
                  <a:lnTo>
                    <a:pt x="492" y="93"/>
                  </a:lnTo>
                  <a:lnTo>
                    <a:pt x="492" y="92"/>
                  </a:lnTo>
                  <a:lnTo>
                    <a:pt x="493" y="92"/>
                  </a:lnTo>
                  <a:lnTo>
                    <a:pt x="495" y="92"/>
                  </a:lnTo>
                  <a:lnTo>
                    <a:pt x="495" y="93"/>
                  </a:lnTo>
                  <a:lnTo>
                    <a:pt x="493" y="95"/>
                  </a:lnTo>
                  <a:lnTo>
                    <a:pt x="492" y="95"/>
                  </a:lnTo>
                  <a:lnTo>
                    <a:pt x="493" y="95"/>
                  </a:lnTo>
                  <a:lnTo>
                    <a:pt x="492" y="95"/>
                  </a:lnTo>
                  <a:lnTo>
                    <a:pt x="491" y="95"/>
                  </a:lnTo>
                  <a:lnTo>
                    <a:pt x="492" y="95"/>
                  </a:lnTo>
                  <a:lnTo>
                    <a:pt x="491" y="95"/>
                  </a:lnTo>
                  <a:lnTo>
                    <a:pt x="491" y="93"/>
                  </a:lnTo>
                  <a:lnTo>
                    <a:pt x="490" y="95"/>
                  </a:lnTo>
                  <a:lnTo>
                    <a:pt x="490" y="93"/>
                  </a:lnTo>
                  <a:lnTo>
                    <a:pt x="488" y="93"/>
                  </a:lnTo>
                  <a:lnTo>
                    <a:pt x="486" y="93"/>
                  </a:lnTo>
                  <a:lnTo>
                    <a:pt x="484" y="95"/>
                  </a:lnTo>
                  <a:lnTo>
                    <a:pt x="481" y="95"/>
                  </a:lnTo>
                  <a:lnTo>
                    <a:pt x="479" y="95"/>
                  </a:lnTo>
                  <a:lnTo>
                    <a:pt x="479" y="93"/>
                  </a:lnTo>
                  <a:lnTo>
                    <a:pt x="479" y="92"/>
                  </a:lnTo>
                  <a:lnTo>
                    <a:pt x="481" y="92"/>
                  </a:lnTo>
                  <a:lnTo>
                    <a:pt x="481" y="91"/>
                  </a:lnTo>
                  <a:lnTo>
                    <a:pt x="481" y="90"/>
                  </a:lnTo>
                  <a:lnTo>
                    <a:pt x="482" y="90"/>
                  </a:lnTo>
                  <a:lnTo>
                    <a:pt x="483" y="90"/>
                  </a:lnTo>
                  <a:lnTo>
                    <a:pt x="484" y="90"/>
                  </a:lnTo>
                  <a:lnTo>
                    <a:pt x="485" y="90"/>
                  </a:lnTo>
                  <a:lnTo>
                    <a:pt x="486" y="90"/>
                  </a:lnTo>
                  <a:lnTo>
                    <a:pt x="488" y="90"/>
                  </a:lnTo>
                  <a:lnTo>
                    <a:pt x="488" y="89"/>
                  </a:lnTo>
                  <a:lnTo>
                    <a:pt x="489" y="89"/>
                  </a:lnTo>
                  <a:lnTo>
                    <a:pt x="490" y="89"/>
                  </a:lnTo>
                  <a:lnTo>
                    <a:pt x="490" y="90"/>
                  </a:lnTo>
                  <a:lnTo>
                    <a:pt x="491" y="90"/>
                  </a:lnTo>
                  <a:lnTo>
                    <a:pt x="490" y="90"/>
                  </a:lnTo>
                  <a:lnTo>
                    <a:pt x="491" y="90"/>
                  </a:lnTo>
                  <a:close/>
                  <a:moveTo>
                    <a:pt x="19" y="76"/>
                  </a:moveTo>
                  <a:lnTo>
                    <a:pt x="17" y="76"/>
                  </a:lnTo>
                  <a:lnTo>
                    <a:pt x="15" y="75"/>
                  </a:lnTo>
                  <a:lnTo>
                    <a:pt x="20" y="75"/>
                  </a:lnTo>
                  <a:lnTo>
                    <a:pt x="19" y="76"/>
                  </a:lnTo>
                  <a:close/>
                  <a:moveTo>
                    <a:pt x="486" y="75"/>
                  </a:moveTo>
                  <a:lnTo>
                    <a:pt x="485" y="76"/>
                  </a:lnTo>
                  <a:lnTo>
                    <a:pt x="485" y="77"/>
                  </a:lnTo>
                  <a:lnTo>
                    <a:pt x="485" y="78"/>
                  </a:lnTo>
                  <a:lnTo>
                    <a:pt x="485" y="79"/>
                  </a:lnTo>
                  <a:lnTo>
                    <a:pt x="485" y="81"/>
                  </a:lnTo>
                  <a:lnTo>
                    <a:pt x="485" y="82"/>
                  </a:lnTo>
                  <a:lnTo>
                    <a:pt x="485" y="83"/>
                  </a:lnTo>
                  <a:lnTo>
                    <a:pt x="484" y="83"/>
                  </a:lnTo>
                  <a:lnTo>
                    <a:pt x="485" y="83"/>
                  </a:lnTo>
                  <a:lnTo>
                    <a:pt x="485" y="82"/>
                  </a:lnTo>
                  <a:lnTo>
                    <a:pt x="483" y="79"/>
                  </a:lnTo>
                  <a:lnTo>
                    <a:pt x="483" y="78"/>
                  </a:lnTo>
                  <a:lnTo>
                    <a:pt x="482" y="76"/>
                  </a:lnTo>
                  <a:lnTo>
                    <a:pt x="482" y="75"/>
                  </a:lnTo>
                  <a:lnTo>
                    <a:pt x="483" y="75"/>
                  </a:lnTo>
                  <a:lnTo>
                    <a:pt x="485" y="75"/>
                  </a:lnTo>
                  <a:lnTo>
                    <a:pt x="484" y="75"/>
                  </a:lnTo>
                  <a:lnTo>
                    <a:pt x="483" y="75"/>
                  </a:lnTo>
                  <a:lnTo>
                    <a:pt x="483" y="74"/>
                  </a:lnTo>
                  <a:lnTo>
                    <a:pt x="483" y="72"/>
                  </a:lnTo>
                  <a:lnTo>
                    <a:pt x="484" y="72"/>
                  </a:lnTo>
                  <a:lnTo>
                    <a:pt x="484" y="74"/>
                  </a:lnTo>
                  <a:lnTo>
                    <a:pt x="485" y="74"/>
                  </a:lnTo>
                  <a:lnTo>
                    <a:pt x="486" y="74"/>
                  </a:lnTo>
                  <a:lnTo>
                    <a:pt x="486" y="75"/>
                  </a:lnTo>
                  <a:close/>
                  <a:moveTo>
                    <a:pt x="5" y="64"/>
                  </a:moveTo>
                  <a:lnTo>
                    <a:pt x="8" y="65"/>
                  </a:lnTo>
                  <a:lnTo>
                    <a:pt x="9" y="65"/>
                  </a:lnTo>
                  <a:lnTo>
                    <a:pt x="10" y="65"/>
                  </a:lnTo>
                  <a:lnTo>
                    <a:pt x="12" y="65"/>
                  </a:lnTo>
                  <a:lnTo>
                    <a:pt x="10" y="65"/>
                  </a:lnTo>
                  <a:lnTo>
                    <a:pt x="9" y="65"/>
                  </a:lnTo>
                  <a:lnTo>
                    <a:pt x="8" y="67"/>
                  </a:lnTo>
                  <a:lnTo>
                    <a:pt x="7" y="67"/>
                  </a:lnTo>
                  <a:lnTo>
                    <a:pt x="3" y="67"/>
                  </a:lnTo>
                  <a:lnTo>
                    <a:pt x="3" y="65"/>
                  </a:lnTo>
                  <a:lnTo>
                    <a:pt x="2" y="65"/>
                  </a:lnTo>
                  <a:lnTo>
                    <a:pt x="0" y="65"/>
                  </a:lnTo>
                  <a:lnTo>
                    <a:pt x="1" y="65"/>
                  </a:lnTo>
                  <a:lnTo>
                    <a:pt x="2" y="64"/>
                  </a:lnTo>
                  <a:lnTo>
                    <a:pt x="3" y="64"/>
                  </a:lnTo>
                  <a:lnTo>
                    <a:pt x="5" y="64"/>
                  </a:lnTo>
                  <a:close/>
                  <a:moveTo>
                    <a:pt x="16" y="64"/>
                  </a:moveTo>
                  <a:lnTo>
                    <a:pt x="19" y="64"/>
                  </a:lnTo>
                  <a:lnTo>
                    <a:pt x="21" y="65"/>
                  </a:lnTo>
                  <a:lnTo>
                    <a:pt x="22" y="65"/>
                  </a:lnTo>
                  <a:lnTo>
                    <a:pt x="23" y="65"/>
                  </a:lnTo>
                  <a:lnTo>
                    <a:pt x="22" y="65"/>
                  </a:lnTo>
                  <a:lnTo>
                    <a:pt x="21" y="65"/>
                  </a:lnTo>
                  <a:lnTo>
                    <a:pt x="17" y="65"/>
                  </a:lnTo>
                  <a:lnTo>
                    <a:pt x="14" y="65"/>
                  </a:lnTo>
                  <a:lnTo>
                    <a:pt x="13" y="65"/>
                  </a:lnTo>
                  <a:lnTo>
                    <a:pt x="13" y="64"/>
                  </a:lnTo>
                  <a:lnTo>
                    <a:pt x="14" y="64"/>
                  </a:lnTo>
                  <a:lnTo>
                    <a:pt x="15" y="64"/>
                  </a:lnTo>
                  <a:lnTo>
                    <a:pt x="16" y="64"/>
                  </a:lnTo>
                  <a:close/>
                  <a:moveTo>
                    <a:pt x="496" y="62"/>
                  </a:moveTo>
                  <a:lnTo>
                    <a:pt x="495" y="63"/>
                  </a:lnTo>
                  <a:lnTo>
                    <a:pt x="493" y="63"/>
                  </a:lnTo>
                  <a:lnTo>
                    <a:pt x="492" y="62"/>
                  </a:lnTo>
                  <a:lnTo>
                    <a:pt x="493" y="62"/>
                  </a:lnTo>
                  <a:lnTo>
                    <a:pt x="496" y="61"/>
                  </a:lnTo>
                  <a:lnTo>
                    <a:pt x="496" y="60"/>
                  </a:lnTo>
                  <a:lnTo>
                    <a:pt x="497" y="60"/>
                  </a:lnTo>
                  <a:lnTo>
                    <a:pt x="498" y="60"/>
                  </a:lnTo>
                  <a:lnTo>
                    <a:pt x="499" y="61"/>
                  </a:lnTo>
                  <a:lnTo>
                    <a:pt x="498" y="61"/>
                  </a:lnTo>
                  <a:lnTo>
                    <a:pt x="498" y="62"/>
                  </a:lnTo>
                  <a:lnTo>
                    <a:pt x="497" y="62"/>
                  </a:lnTo>
                  <a:lnTo>
                    <a:pt x="496" y="62"/>
                  </a:lnTo>
                  <a:close/>
                  <a:moveTo>
                    <a:pt x="467" y="60"/>
                  </a:moveTo>
                  <a:lnTo>
                    <a:pt x="465" y="60"/>
                  </a:lnTo>
                  <a:lnTo>
                    <a:pt x="465" y="58"/>
                  </a:lnTo>
                  <a:lnTo>
                    <a:pt x="467" y="58"/>
                  </a:lnTo>
                  <a:lnTo>
                    <a:pt x="468" y="58"/>
                  </a:lnTo>
                  <a:lnTo>
                    <a:pt x="468" y="60"/>
                  </a:lnTo>
                  <a:lnTo>
                    <a:pt x="467" y="60"/>
                  </a:lnTo>
                  <a:close/>
                  <a:moveTo>
                    <a:pt x="478" y="58"/>
                  </a:moveTo>
                  <a:lnTo>
                    <a:pt x="478" y="60"/>
                  </a:lnTo>
                  <a:lnTo>
                    <a:pt x="479" y="60"/>
                  </a:lnTo>
                  <a:lnTo>
                    <a:pt x="483" y="60"/>
                  </a:lnTo>
                  <a:lnTo>
                    <a:pt x="484" y="60"/>
                  </a:lnTo>
                  <a:lnTo>
                    <a:pt x="484" y="61"/>
                  </a:lnTo>
                  <a:lnTo>
                    <a:pt x="481" y="60"/>
                  </a:lnTo>
                  <a:lnTo>
                    <a:pt x="477" y="60"/>
                  </a:lnTo>
                  <a:lnTo>
                    <a:pt x="474" y="58"/>
                  </a:lnTo>
                  <a:lnTo>
                    <a:pt x="476" y="58"/>
                  </a:lnTo>
                  <a:lnTo>
                    <a:pt x="477" y="58"/>
                  </a:lnTo>
                  <a:lnTo>
                    <a:pt x="478" y="58"/>
                  </a:lnTo>
                  <a:close/>
                  <a:moveTo>
                    <a:pt x="489" y="57"/>
                  </a:moveTo>
                  <a:lnTo>
                    <a:pt x="488" y="57"/>
                  </a:lnTo>
                  <a:lnTo>
                    <a:pt x="488" y="58"/>
                  </a:lnTo>
                  <a:lnTo>
                    <a:pt x="485" y="60"/>
                  </a:lnTo>
                  <a:lnTo>
                    <a:pt x="485" y="58"/>
                  </a:lnTo>
                  <a:lnTo>
                    <a:pt x="486" y="58"/>
                  </a:lnTo>
                  <a:lnTo>
                    <a:pt x="486" y="57"/>
                  </a:lnTo>
                  <a:lnTo>
                    <a:pt x="485" y="57"/>
                  </a:lnTo>
                  <a:lnTo>
                    <a:pt x="484" y="57"/>
                  </a:lnTo>
                  <a:lnTo>
                    <a:pt x="485" y="57"/>
                  </a:lnTo>
                  <a:lnTo>
                    <a:pt x="488" y="57"/>
                  </a:lnTo>
                  <a:lnTo>
                    <a:pt x="489" y="57"/>
                  </a:lnTo>
                  <a:close/>
                  <a:moveTo>
                    <a:pt x="475" y="57"/>
                  </a:moveTo>
                  <a:lnTo>
                    <a:pt x="472" y="57"/>
                  </a:lnTo>
                  <a:lnTo>
                    <a:pt x="471" y="56"/>
                  </a:lnTo>
                  <a:lnTo>
                    <a:pt x="472" y="56"/>
                  </a:lnTo>
                  <a:lnTo>
                    <a:pt x="474" y="56"/>
                  </a:lnTo>
                  <a:lnTo>
                    <a:pt x="474" y="55"/>
                  </a:lnTo>
                  <a:lnTo>
                    <a:pt x="475" y="55"/>
                  </a:lnTo>
                  <a:lnTo>
                    <a:pt x="475" y="56"/>
                  </a:lnTo>
                  <a:lnTo>
                    <a:pt x="475" y="57"/>
                  </a:lnTo>
                  <a:close/>
                  <a:moveTo>
                    <a:pt x="484" y="56"/>
                  </a:moveTo>
                  <a:lnTo>
                    <a:pt x="483" y="56"/>
                  </a:lnTo>
                  <a:lnTo>
                    <a:pt x="483" y="55"/>
                  </a:lnTo>
                  <a:lnTo>
                    <a:pt x="482" y="55"/>
                  </a:lnTo>
                  <a:lnTo>
                    <a:pt x="482" y="54"/>
                  </a:lnTo>
                  <a:lnTo>
                    <a:pt x="483" y="54"/>
                  </a:lnTo>
                  <a:lnTo>
                    <a:pt x="483" y="55"/>
                  </a:lnTo>
                  <a:lnTo>
                    <a:pt x="484" y="55"/>
                  </a:lnTo>
                  <a:lnTo>
                    <a:pt x="484" y="56"/>
                  </a:lnTo>
                  <a:close/>
                  <a:moveTo>
                    <a:pt x="489" y="55"/>
                  </a:moveTo>
                  <a:lnTo>
                    <a:pt x="488" y="55"/>
                  </a:lnTo>
                  <a:lnTo>
                    <a:pt x="489" y="56"/>
                  </a:lnTo>
                  <a:lnTo>
                    <a:pt x="488" y="56"/>
                  </a:lnTo>
                  <a:lnTo>
                    <a:pt x="486" y="56"/>
                  </a:lnTo>
                  <a:lnTo>
                    <a:pt x="485" y="56"/>
                  </a:lnTo>
                  <a:lnTo>
                    <a:pt x="485" y="55"/>
                  </a:lnTo>
                  <a:lnTo>
                    <a:pt x="485" y="54"/>
                  </a:lnTo>
                  <a:lnTo>
                    <a:pt x="489" y="53"/>
                  </a:lnTo>
                  <a:lnTo>
                    <a:pt x="489" y="54"/>
                  </a:lnTo>
                  <a:lnTo>
                    <a:pt x="489" y="55"/>
                  </a:lnTo>
                  <a:close/>
                  <a:moveTo>
                    <a:pt x="492" y="53"/>
                  </a:moveTo>
                  <a:lnTo>
                    <a:pt x="491" y="51"/>
                  </a:lnTo>
                  <a:lnTo>
                    <a:pt x="492" y="51"/>
                  </a:lnTo>
                  <a:lnTo>
                    <a:pt x="493" y="51"/>
                  </a:lnTo>
                  <a:lnTo>
                    <a:pt x="495" y="51"/>
                  </a:lnTo>
                  <a:lnTo>
                    <a:pt x="496" y="51"/>
                  </a:lnTo>
                  <a:lnTo>
                    <a:pt x="495" y="51"/>
                  </a:lnTo>
                  <a:lnTo>
                    <a:pt x="493" y="53"/>
                  </a:lnTo>
                  <a:lnTo>
                    <a:pt x="492" y="53"/>
                  </a:lnTo>
                  <a:close/>
                  <a:moveTo>
                    <a:pt x="496" y="50"/>
                  </a:moveTo>
                  <a:lnTo>
                    <a:pt x="496" y="49"/>
                  </a:lnTo>
                  <a:lnTo>
                    <a:pt x="497" y="49"/>
                  </a:lnTo>
                  <a:lnTo>
                    <a:pt x="498" y="49"/>
                  </a:lnTo>
                  <a:lnTo>
                    <a:pt x="497" y="50"/>
                  </a:lnTo>
                  <a:lnTo>
                    <a:pt x="496" y="50"/>
                  </a:lnTo>
                  <a:close/>
                  <a:moveTo>
                    <a:pt x="488" y="48"/>
                  </a:moveTo>
                  <a:lnTo>
                    <a:pt x="489" y="48"/>
                  </a:lnTo>
                  <a:lnTo>
                    <a:pt x="489" y="49"/>
                  </a:lnTo>
                  <a:lnTo>
                    <a:pt x="488" y="49"/>
                  </a:lnTo>
                  <a:lnTo>
                    <a:pt x="489" y="49"/>
                  </a:lnTo>
                  <a:lnTo>
                    <a:pt x="486" y="49"/>
                  </a:lnTo>
                  <a:lnTo>
                    <a:pt x="486" y="50"/>
                  </a:lnTo>
                  <a:lnTo>
                    <a:pt x="488" y="50"/>
                  </a:lnTo>
                  <a:lnTo>
                    <a:pt x="488" y="49"/>
                  </a:lnTo>
                  <a:lnTo>
                    <a:pt x="489" y="50"/>
                  </a:lnTo>
                  <a:lnTo>
                    <a:pt x="488" y="50"/>
                  </a:lnTo>
                  <a:lnTo>
                    <a:pt x="486" y="50"/>
                  </a:lnTo>
                  <a:lnTo>
                    <a:pt x="485" y="50"/>
                  </a:lnTo>
                  <a:lnTo>
                    <a:pt x="484" y="50"/>
                  </a:lnTo>
                  <a:lnTo>
                    <a:pt x="484" y="49"/>
                  </a:lnTo>
                  <a:lnTo>
                    <a:pt x="488" y="48"/>
                  </a:lnTo>
                  <a:lnTo>
                    <a:pt x="489" y="48"/>
                  </a:lnTo>
                  <a:lnTo>
                    <a:pt x="488" y="48"/>
                  </a:lnTo>
                  <a:close/>
                  <a:moveTo>
                    <a:pt x="504" y="47"/>
                  </a:moveTo>
                  <a:lnTo>
                    <a:pt x="503" y="47"/>
                  </a:lnTo>
                  <a:lnTo>
                    <a:pt x="501" y="47"/>
                  </a:lnTo>
                  <a:lnTo>
                    <a:pt x="500" y="47"/>
                  </a:lnTo>
                  <a:lnTo>
                    <a:pt x="500" y="48"/>
                  </a:lnTo>
                  <a:lnTo>
                    <a:pt x="499" y="48"/>
                  </a:lnTo>
                  <a:lnTo>
                    <a:pt x="499" y="47"/>
                  </a:lnTo>
                  <a:lnTo>
                    <a:pt x="500" y="46"/>
                  </a:lnTo>
                  <a:lnTo>
                    <a:pt x="501" y="46"/>
                  </a:lnTo>
                  <a:lnTo>
                    <a:pt x="501" y="44"/>
                  </a:lnTo>
                  <a:lnTo>
                    <a:pt x="503" y="44"/>
                  </a:lnTo>
                  <a:lnTo>
                    <a:pt x="504" y="46"/>
                  </a:lnTo>
                  <a:lnTo>
                    <a:pt x="504" y="47"/>
                  </a:lnTo>
                  <a:close/>
                  <a:moveTo>
                    <a:pt x="507" y="36"/>
                  </a:moveTo>
                  <a:lnTo>
                    <a:pt x="506" y="36"/>
                  </a:lnTo>
                  <a:lnTo>
                    <a:pt x="504" y="37"/>
                  </a:lnTo>
                  <a:lnTo>
                    <a:pt x="501" y="39"/>
                  </a:lnTo>
                  <a:lnTo>
                    <a:pt x="499" y="39"/>
                  </a:lnTo>
                  <a:lnTo>
                    <a:pt x="496" y="39"/>
                  </a:lnTo>
                  <a:lnTo>
                    <a:pt x="493" y="39"/>
                  </a:lnTo>
                  <a:lnTo>
                    <a:pt x="491" y="39"/>
                  </a:lnTo>
                  <a:lnTo>
                    <a:pt x="491" y="37"/>
                  </a:lnTo>
                  <a:lnTo>
                    <a:pt x="490" y="37"/>
                  </a:lnTo>
                  <a:lnTo>
                    <a:pt x="489" y="37"/>
                  </a:lnTo>
                  <a:lnTo>
                    <a:pt x="491" y="36"/>
                  </a:lnTo>
                  <a:lnTo>
                    <a:pt x="492" y="36"/>
                  </a:lnTo>
                  <a:lnTo>
                    <a:pt x="493" y="36"/>
                  </a:lnTo>
                  <a:lnTo>
                    <a:pt x="492" y="35"/>
                  </a:lnTo>
                  <a:lnTo>
                    <a:pt x="493" y="35"/>
                  </a:lnTo>
                  <a:lnTo>
                    <a:pt x="495" y="35"/>
                  </a:lnTo>
                  <a:lnTo>
                    <a:pt x="495" y="36"/>
                  </a:lnTo>
                  <a:lnTo>
                    <a:pt x="496" y="36"/>
                  </a:lnTo>
                  <a:lnTo>
                    <a:pt x="496" y="35"/>
                  </a:lnTo>
                  <a:lnTo>
                    <a:pt x="500" y="35"/>
                  </a:lnTo>
                  <a:lnTo>
                    <a:pt x="504" y="35"/>
                  </a:lnTo>
                  <a:lnTo>
                    <a:pt x="507" y="35"/>
                  </a:lnTo>
                  <a:lnTo>
                    <a:pt x="507" y="36"/>
                  </a:lnTo>
                  <a:close/>
                  <a:moveTo>
                    <a:pt x="496" y="34"/>
                  </a:moveTo>
                  <a:lnTo>
                    <a:pt x="495" y="34"/>
                  </a:lnTo>
                  <a:lnTo>
                    <a:pt x="491" y="35"/>
                  </a:lnTo>
                  <a:lnTo>
                    <a:pt x="488" y="35"/>
                  </a:lnTo>
                  <a:lnTo>
                    <a:pt x="486" y="35"/>
                  </a:lnTo>
                  <a:lnTo>
                    <a:pt x="488" y="35"/>
                  </a:lnTo>
                  <a:lnTo>
                    <a:pt x="488" y="34"/>
                  </a:lnTo>
                  <a:lnTo>
                    <a:pt x="489" y="34"/>
                  </a:lnTo>
                  <a:lnTo>
                    <a:pt x="490" y="34"/>
                  </a:lnTo>
                  <a:lnTo>
                    <a:pt x="491" y="34"/>
                  </a:lnTo>
                  <a:lnTo>
                    <a:pt x="496" y="34"/>
                  </a:lnTo>
                  <a:close/>
                  <a:moveTo>
                    <a:pt x="84" y="28"/>
                  </a:moveTo>
                  <a:lnTo>
                    <a:pt x="84" y="29"/>
                  </a:lnTo>
                  <a:lnTo>
                    <a:pt x="85" y="29"/>
                  </a:lnTo>
                  <a:lnTo>
                    <a:pt x="86" y="29"/>
                  </a:lnTo>
                  <a:lnTo>
                    <a:pt x="85" y="29"/>
                  </a:lnTo>
                  <a:lnTo>
                    <a:pt x="84" y="29"/>
                  </a:lnTo>
                  <a:lnTo>
                    <a:pt x="83" y="29"/>
                  </a:lnTo>
                  <a:lnTo>
                    <a:pt x="83" y="28"/>
                  </a:lnTo>
                  <a:lnTo>
                    <a:pt x="84" y="28"/>
                  </a:lnTo>
                  <a:close/>
                  <a:moveTo>
                    <a:pt x="90" y="27"/>
                  </a:moveTo>
                  <a:lnTo>
                    <a:pt x="91" y="27"/>
                  </a:lnTo>
                  <a:lnTo>
                    <a:pt x="90" y="27"/>
                  </a:lnTo>
                  <a:close/>
                  <a:moveTo>
                    <a:pt x="511" y="20"/>
                  </a:moveTo>
                  <a:lnTo>
                    <a:pt x="507" y="20"/>
                  </a:lnTo>
                  <a:lnTo>
                    <a:pt x="507" y="19"/>
                  </a:lnTo>
                  <a:lnTo>
                    <a:pt x="504" y="19"/>
                  </a:lnTo>
                  <a:lnTo>
                    <a:pt x="503" y="19"/>
                  </a:lnTo>
                  <a:lnTo>
                    <a:pt x="504" y="18"/>
                  </a:lnTo>
                  <a:lnTo>
                    <a:pt x="507" y="18"/>
                  </a:lnTo>
                  <a:lnTo>
                    <a:pt x="507" y="19"/>
                  </a:lnTo>
                  <a:lnTo>
                    <a:pt x="508" y="19"/>
                  </a:lnTo>
                  <a:lnTo>
                    <a:pt x="510" y="19"/>
                  </a:lnTo>
                  <a:lnTo>
                    <a:pt x="511" y="19"/>
                  </a:lnTo>
                  <a:lnTo>
                    <a:pt x="511" y="20"/>
                  </a:lnTo>
                  <a:close/>
                  <a:moveTo>
                    <a:pt x="500" y="18"/>
                  </a:moveTo>
                  <a:lnTo>
                    <a:pt x="497" y="18"/>
                  </a:lnTo>
                  <a:lnTo>
                    <a:pt x="493" y="16"/>
                  </a:lnTo>
                  <a:lnTo>
                    <a:pt x="493" y="15"/>
                  </a:lnTo>
                  <a:lnTo>
                    <a:pt x="492" y="15"/>
                  </a:lnTo>
                  <a:lnTo>
                    <a:pt x="492" y="14"/>
                  </a:lnTo>
                  <a:lnTo>
                    <a:pt x="493" y="14"/>
                  </a:lnTo>
                  <a:lnTo>
                    <a:pt x="495" y="14"/>
                  </a:lnTo>
                  <a:lnTo>
                    <a:pt x="496" y="14"/>
                  </a:lnTo>
                  <a:lnTo>
                    <a:pt x="497" y="15"/>
                  </a:lnTo>
                  <a:lnTo>
                    <a:pt x="498" y="15"/>
                  </a:lnTo>
                  <a:lnTo>
                    <a:pt x="500" y="16"/>
                  </a:lnTo>
                  <a:lnTo>
                    <a:pt x="500" y="18"/>
                  </a:lnTo>
                  <a:close/>
                  <a:moveTo>
                    <a:pt x="227" y="15"/>
                  </a:moveTo>
                  <a:lnTo>
                    <a:pt x="223" y="15"/>
                  </a:lnTo>
                  <a:lnTo>
                    <a:pt x="220" y="15"/>
                  </a:lnTo>
                  <a:lnTo>
                    <a:pt x="216" y="15"/>
                  </a:lnTo>
                  <a:lnTo>
                    <a:pt x="213" y="14"/>
                  </a:lnTo>
                  <a:lnTo>
                    <a:pt x="212" y="14"/>
                  </a:lnTo>
                  <a:lnTo>
                    <a:pt x="212" y="13"/>
                  </a:lnTo>
                  <a:lnTo>
                    <a:pt x="213" y="13"/>
                  </a:lnTo>
                  <a:lnTo>
                    <a:pt x="215" y="13"/>
                  </a:lnTo>
                  <a:lnTo>
                    <a:pt x="216" y="13"/>
                  </a:lnTo>
                  <a:lnTo>
                    <a:pt x="219" y="13"/>
                  </a:lnTo>
                  <a:lnTo>
                    <a:pt x="218" y="13"/>
                  </a:lnTo>
                  <a:lnTo>
                    <a:pt x="219" y="13"/>
                  </a:lnTo>
                  <a:lnTo>
                    <a:pt x="219" y="14"/>
                  </a:lnTo>
                  <a:lnTo>
                    <a:pt x="221" y="14"/>
                  </a:lnTo>
                  <a:lnTo>
                    <a:pt x="225" y="15"/>
                  </a:lnTo>
                  <a:lnTo>
                    <a:pt x="228" y="15"/>
                  </a:lnTo>
                  <a:lnTo>
                    <a:pt x="227" y="15"/>
                  </a:lnTo>
                  <a:close/>
                  <a:moveTo>
                    <a:pt x="276" y="9"/>
                  </a:moveTo>
                  <a:lnTo>
                    <a:pt x="278" y="9"/>
                  </a:lnTo>
                  <a:lnTo>
                    <a:pt x="280" y="11"/>
                  </a:lnTo>
                  <a:lnTo>
                    <a:pt x="282" y="11"/>
                  </a:lnTo>
                  <a:lnTo>
                    <a:pt x="284" y="11"/>
                  </a:lnTo>
                  <a:lnTo>
                    <a:pt x="286" y="12"/>
                  </a:lnTo>
                  <a:lnTo>
                    <a:pt x="287" y="12"/>
                  </a:lnTo>
                  <a:lnTo>
                    <a:pt x="286" y="12"/>
                  </a:lnTo>
                  <a:lnTo>
                    <a:pt x="284" y="13"/>
                  </a:lnTo>
                  <a:lnTo>
                    <a:pt x="280" y="13"/>
                  </a:lnTo>
                  <a:lnTo>
                    <a:pt x="280" y="14"/>
                  </a:lnTo>
                  <a:lnTo>
                    <a:pt x="282" y="14"/>
                  </a:lnTo>
                  <a:lnTo>
                    <a:pt x="283" y="14"/>
                  </a:lnTo>
                  <a:lnTo>
                    <a:pt x="283" y="15"/>
                  </a:lnTo>
                  <a:lnTo>
                    <a:pt x="282" y="15"/>
                  </a:lnTo>
                  <a:lnTo>
                    <a:pt x="280" y="15"/>
                  </a:lnTo>
                  <a:lnTo>
                    <a:pt x="279" y="15"/>
                  </a:lnTo>
                  <a:lnTo>
                    <a:pt x="278" y="14"/>
                  </a:lnTo>
                  <a:lnTo>
                    <a:pt x="277" y="14"/>
                  </a:lnTo>
                  <a:lnTo>
                    <a:pt x="273" y="13"/>
                  </a:lnTo>
                  <a:lnTo>
                    <a:pt x="270" y="13"/>
                  </a:lnTo>
                  <a:lnTo>
                    <a:pt x="266" y="12"/>
                  </a:lnTo>
                  <a:lnTo>
                    <a:pt x="265" y="12"/>
                  </a:lnTo>
                  <a:lnTo>
                    <a:pt x="265" y="11"/>
                  </a:lnTo>
                  <a:lnTo>
                    <a:pt x="264" y="11"/>
                  </a:lnTo>
                  <a:lnTo>
                    <a:pt x="263" y="11"/>
                  </a:lnTo>
                  <a:lnTo>
                    <a:pt x="262" y="9"/>
                  </a:lnTo>
                  <a:lnTo>
                    <a:pt x="261" y="9"/>
                  </a:lnTo>
                  <a:lnTo>
                    <a:pt x="262" y="9"/>
                  </a:lnTo>
                  <a:lnTo>
                    <a:pt x="265" y="9"/>
                  </a:lnTo>
                  <a:lnTo>
                    <a:pt x="269" y="9"/>
                  </a:lnTo>
                  <a:lnTo>
                    <a:pt x="271" y="9"/>
                  </a:lnTo>
                  <a:lnTo>
                    <a:pt x="273" y="9"/>
                  </a:lnTo>
                  <a:lnTo>
                    <a:pt x="276" y="9"/>
                  </a:lnTo>
                  <a:close/>
                  <a:moveTo>
                    <a:pt x="264" y="8"/>
                  </a:moveTo>
                  <a:lnTo>
                    <a:pt x="261" y="8"/>
                  </a:lnTo>
                  <a:lnTo>
                    <a:pt x="257" y="8"/>
                  </a:lnTo>
                  <a:lnTo>
                    <a:pt x="257" y="7"/>
                  </a:lnTo>
                  <a:lnTo>
                    <a:pt x="258" y="7"/>
                  </a:lnTo>
                  <a:lnTo>
                    <a:pt x="261" y="7"/>
                  </a:lnTo>
                  <a:lnTo>
                    <a:pt x="264" y="8"/>
                  </a:lnTo>
                  <a:close/>
                  <a:moveTo>
                    <a:pt x="332" y="6"/>
                  </a:moveTo>
                  <a:lnTo>
                    <a:pt x="330" y="6"/>
                  </a:lnTo>
                  <a:lnTo>
                    <a:pt x="329" y="6"/>
                  </a:lnTo>
                  <a:lnTo>
                    <a:pt x="328" y="6"/>
                  </a:lnTo>
                  <a:lnTo>
                    <a:pt x="327" y="6"/>
                  </a:lnTo>
                  <a:lnTo>
                    <a:pt x="325" y="6"/>
                  </a:lnTo>
                  <a:lnTo>
                    <a:pt x="325" y="5"/>
                  </a:lnTo>
                  <a:lnTo>
                    <a:pt x="323" y="5"/>
                  </a:lnTo>
                  <a:lnTo>
                    <a:pt x="326" y="5"/>
                  </a:lnTo>
                  <a:lnTo>
                    <a:pt x="328" y="5"/>
                  </a:lnTo>
                  <a:lnTo>
                    <a:pt x="329" y="5"/>
                  </a:lnTo>
                  <a:lnTo>
                    <a:pt x="333" y="5"/>
                  </a:lnTo>
                  <a:lnTo>
                    <a:pt x="334" y="5"/>
                  </a:lnTo>
                  <a:lnTo>
                    <a:pt x="334" y="6"/>
                  </a:lnTo>
                  <a:lnTo>
                    <a:pt x="333" y="6"/>
                  </a:lnTo>
                  <a:lnTo>
                    <a:pt x="332" y="6"/>
                  </a:lnTo>
                  <a:close/>
                  <a:moveTo>
                    <a:pt x="321" y="5"/>
                  </a:moveTo>
                  <a:lnTo>
                    <a:pt x="322" y="5"/>
                  </a:lnTo>
                  <a:lnTo>
                    <a:pt x="323" y="6"/>
                  </a:lnTo>
                  <a:lnTo>
                    <a:pt x="326" y="6"/>
                  </a:lnTo>
                  <a:lnTo>
                    <a:pt x="327" y="6"/>
                  </a:lnTo>
                  <a:lnTo>
                    <a:pt x="328" y="6"/>
                  </a:lnTo>
                  <a:lnTo>
                    <a:pt x="325" y="6"/>
                  </a:lnTo>
                  <a:lnTo>
                    <a:pt x="321" y="6"/>
                  </a:lnTo>
                  <a:lnTo>
                    <a:pt x="320" y="6"/>
                  </a:lnTo>
                  <a:lnTo>
                    <a:pt x="319" y="6"/>
                  </a:lnTo>
                  <a:lnTo>
                    <a:pt x="319" y="5"/>
                  </a:lnTo>
                  <a:lnTo>
                    <a:pt x="316" y="5"/>
                  </a:lnTo>
                  <a:lnTo>
                    <a:pt x="315" y="5"/>
                  </a:lnTo>
                  <a:lnTo>
                    <a:pt x="316" y="5"/>
                  </a:lnTo>
                  <a:lnTo>
                    <a:pt x="315" y="5"/>
                  </a:lnTo>
                  <a:lnTo>
                    <a:pt x="316" y="5"/>
                  </a:lnTo>
                  <a:lnTo>
                    <a:pt x="319" y="5"/>
                  </a:lnTo>
                  <a:lnTo>
                    <a:pt x="321" y="5"/>
                  </a:lnTo>
                  <a:close/>
                  <a:moveTo>
                    <a:pt x="327" y="2"/>
                  </a:moveTo>
                  <a:lnTo>
                    <a:pt x="327" y="4"/>
                  </a:lnTo>
                  <a:lnTo>
                    <a:pt x="329" y="4"/>
                  </a:lnTo>
                  <a:lnTo>
                    <a:pt x="330" y="4"/>
                  </a:lnTo>
                  <a:lnTo>
                    <a:pt x="332" y="4"/>
                  </a:lnTo>
                  <a:lnTo>
                    <a:pt x="333" y="4"/>
                  </a:lnTo>
                  <a:lnTo>
                    <a:pt x="335" y="5"/>
                  </a:lnTo>
                  <a:lnTo>
                    <a:pt x="337" y="5"/>
                  </a:lnTo>
                  <a:lnTo>
                    <a:pt x="339" y="5"/>
                  </a:lnTo>
                  <a:lnTo>
                    <a:pt x="336" y="5"/>
                  </a:lnTo>
                  <a:lnTo>
                    <a:pt x="333" y="5"/>
                  </a:lnTo>
                  <a:lnTo>
                    <a:pt x="329" y="5"/>
                  </a:lnTo>
                  <a:lnTo>
                    <a:pt x="329" y="4"/>
                  </a:lnTo>
                  <a:lnTo>
                    <a:pt x="328" y="4"/>
                  </a:lnTo>
                  <a:lnTo>
                    <a:pt x="326" y="4"/>
                  </a:lnTo>
                  <a:lnTo>
                    <a:pt x="323" y="4"/>
                  </a:lnTo>
                  <a:lnTo>
                    <a:pt x="325" y="2"/>
                  </a:lnTo>
                  <a:lnTo>
                    <a:pt x="326" y="4"/>
                  </a:lnTo>
                  <a:lnTo>
                    <a:pt x="326" y="2"/>
                  </a:lnTo>
                  <a:lnTo>
                    <a:pt x="325" y="2"/>
                  </a:lnTo>
                  <a:lnTo>
                    <a:pt x="327" y="2"/>
                  </a:lnTo>
                  <a:close/>
                  <a:moveTo>
                    <a:pt x="394" y="0"/>
                  </a:moveTo>
                  <a:lnTo>
                    <a:pt x="394" y="1"/>
                  </a:lnTo>
                  <a:lnTo>
                    <a:pt x="393" y="1"/>
                  </a:lnTo>
                  <a:lnTo>
                    <a:pt x="396" y="1"/>
                  </a:lnTo>
                  <a:lnTo>
                    <a:pt x="398" y="0"/>
                  </a:lnTo>
                  <a:lnTo>
                    <a:pt x="399" y="1"/>
                  </a:lnTo>
                  <a:lnTo>
                    <a:pt x="403" y="1"/>
                  </a:lnTo>
                  <a:lnTo>
                    <a:pt x="406" y="1"/>
                  </a:lnTo>
                  <a:lnTo>
                    <a:pt x="407" y="1"/>
                  </a:lnTo>
                  <a:lnTo>
                    <a:pt x="411" y="1"/>
                  </a:lnTo>
                  <a:lnTo>
                    <a:pt x="414" y="1"/>
                  </a:lnTo>
                  <a:lnTo>
                    <a:pt x="418" y="1"/>
                  </a:lnTo>
                  <a:lnTo>
                    <a:pt x="419" y="1"/>
                  </a:lnTo>
                  <a:lnTo>
                    <a:pt x="420" y="1"/>
                  </a:lnTo>
                  <a:lnTo>
                    <a:pt x="424" y="1"/>
                  </a:lnTo>
                  <a:lnTo>
                    <a:pt x="422" y="2"/>
                  </a:lnTo>
                  <a:lnTo>
                    <a:pt x="421" y="1"/>
                  </a:lnTo>
                  <a:lnTo>
                    <a:pt x="420" y="1"/>
                  </a:lnTo>
                  <a:lnTo>
                    <a:pt x="421" y="2"/>
                  </a:lnTo>
                  <a:lnTo>
                    <a:pt x="424" y="2"/>
                  </a:lnTo>
                  <a:lnTo>
                    <a:pt x="427" y="2"/>
                  </a:lnTo>
                  <a:lnTo>
                    <a:pt x="426" y="2"/>
                  </a:lnTo>
                  <a:lnTo>
                    <a:pt x="425" y="2"/>
                  </a:lnTo>
                  <a:lnTo>
                    <a:pt x="428" y="2"/>
                  </a:lnTo>
                  <a:lnTo>
                    <a:pt x="432" y="2"/>
                  </a:lnTo>
                  <a:lnTo>
                    <a:pt x="435" y="2"/>
                  </a:lnTo>
                  <a:lnTo>
                    <a:pt x="440" y="2"/>
                  </a:lnTo>
                  <a:lnTo>
                    <a:pt x="443" y="4"/>
                  </a:lnTo>
                  <a:lnTo>
                    <a:pt x="447" y="4"/>
                  </a:lnTo>
                  <a:lnTo>
                    <a:pt x="446" y="4"/>
                  </a:lnTo>
                  <a:lnTo>
                    <a:pt x="444" y="4"/>
                  </a:lnTo>
                  <a:lnTo>
                    <a:pt x="443" y="4"/>
                  </a:lnTo>
                  <a:lnTo>
                    <a:pt x="443" y="5"/>
                  </a:lnTo>
                  <a:lnTo>
                    <a:pt x="439" y="5"/>
                  </a:lnTo>
                  <a:lnTo>
                    <a:pt x="435" y="5"/>
                  </a:lnTo>
                  <a:lnTo>
                    <a:pt x="432" y="5"/>
                  </a:lnTo>
                  <a:lnTo>
                    <a:pt x="427" y="5"/>
                  </a:lnTo>
                  <a:lnTo>
                    <a:pt x="424" y="5"/>
                  </a:lnTo>
                  <a:lnTo>
                    <a:pt x="420" y="5"/>
                  </a:lnTo>
                  <a:lnTo>
                    <a:pt x="415" y="5"/>
                  </a:lnTo>
                  <a:lnTo>
                    <a:pt x="412" y="5"/>
                  </a:lnTo>
                  <a:lnTo>
                    <a:pt x="408" y="5"/>
                  </a:lnTo>
                  <a:lnTo>
                    <a:pt x="404" y="5"/>
                  </a:lnTo>
                  <a:lnTo>
                    <a:pt x="403" y="5"/>
                  </a:lnTo>
                  <a:lnTo>
                    <a:pt x="399" y="5"/>
                  </a:lnTo>
                  <a:lnTo>
                    <a:pt x="396" y="6"/>
                  </a:lnTo>
                  <a:lnTo>
                    <a:pt x="392" y="6"/>
                  </a:lnTo>
                  <a:lnTo>
                    <a:pt x="391" y="6"/>
                  </a:lnTo>
                  <a:lnTo>
                    <a:pt x="390" y="5"/>
                  </a:lnTo>
                  <a:lnTo>
                    <a:pt x="386" y="5"/>
                  </a:lnTo>
                  <a:lnTo>
                    <a:pt x="382" y="5"/>
                  </a:lnTo>
                  <a:lnTo>
                    <a:pt x="383" y="5"/>
                  </a:lnTo>
                  <a:lnTo>
                    <a:pt x="384" y="5"/>
                  </a:lnTo>
                  <a:lnTo>
                    <a:pt x="387" y="5"/>
                  </a:lnTo>
                  <a:lnTo>
                    <a:pt x="390" y="6"/>
                  </a:lnTo>
                  <a:lnTo>
                    <a:pt x="385" y="6"/>
                  </a:lnTo>
                  <a:lnTo>
                    <a:pt x="384" y="6"/>
                  </a:lnTo>
                  <a:lnTo>
                    <a:pt x="380" y="6"/>
                  </a:lnTo>
                  <a:lnTo>
                    <a:pt x="377" y="6"/>
                  </a:lnTo>
                  <a:lnTo>
                    <a:pt x="373" y="6"/>
                  </a:lnTo>
                  <a:lnTo>
                    <a:pt x="370" y="7"/>
                  </a:lnTo>
                  <a:lnTo>
                    <a:pt x="367" y="7"/>
                  </a:lnTo>
                  <a:lnTo>
                    <a:pt x="363" y="7"/>
                  </a:lnTo>
                  <a:lnTo>
                    <a:pt x="365" y="7"/>
                  </a:lnTo>
                  <a:lnTo>
                    <a:pt x="364" y="7"/>
                  </a:lnTo>
                  <a:lnTo>
                    <a:pt x="364" y="8"/>
                  </a:lnTo>
                  <a:lnTo>
                    <a:pt x="363" y="8"/>
                  </a:lnTo>
                  <a:lnTo>
                    <a:pt x="364" y="8"/>
                  </a:lnTo>
                  <a:lnTo>
                    <a:pt x="365" y="8"/>
                  </a:lnTo>
                  <a:lnTo>
                    <a:pt x="365" y="7"/>
                  </a:lnTo>
                  <a:lnTo>
                    <a:pt x="369" y="7"/>
                  </a:lnTo>
                  <a:lnTo>
                    <a:pt x="372" y="7"/>
                  </a:lnTo>
                  <a:lnTo>
                    <a:pt x="376" y="7"/>
                  </a:lnTo>
                  <a:lnTo>
                    <a:pt x="377" y="7"/>
                  </a:lnTo>
                  <a:lnTo>
                    <a:pt x="378" y="7"/>
                  </a:lnTo>
                  <a:lnTo>
                    <a:pt x="377" y="8"/>
                  </a:lnTo>
                  <a:lnTo>
                    <a:pt x="376" y="8"/>
                  </a:lnTo>
                  <a:lnTo>
                    <a:pt x="377" y="8"/>
                  </a:lnTo>
                  <a:lnTo>
                    <a:pt x="378" y="8"/>
                  </a:lnTo>
                  <a:lnTo>
                    <a:pt x="378" y="7"/>
                  </a:lnTo>
                  <a:lnTo>
                    <a:pt x="379" y="7"/>
                  </a:lnTo>
                  <a:lnTo>
                    <a:pt x="384" y="6"/>
                  </a:lnTo>
                  <a:lnTo>
                    <a:pt x="389" y="6"/>
                  </a:lnTo>
                  <a:lnTo>
                    <a:pt x="392" y="6"/>
                  </a:lnTo>
                  <a:lnTo>
                    <a:pt x="394" y="6"/>
                  </a:lnTo>
                  <a:lnTo>
                    <a:pt x="396" y="6"/>
                  </a:lnTo>
                  <a:lnTo>
                    <a:pt x="396" y="7"/>
                  </a:lnTo>
                  <a:lnTo>
                    <a:pt x="397" y="7"/>
                  </a:lnTo>
                  <a:lnTo>
                    <a:pt x="397" y="6"/>
                  </a:lnTo>
                  <a:lnTo>
                    <a:pt x="398" y="6"/>
                  </a:lnTo>
                  <a:lnTo>
                    <a:pt x="401" y="6"/>
                  </a:lnTo>
                  <a:lnTo>
                    <a:pt x="405" y="6"/>
                  </a:lnTo>
                  <a:lnTo>
                    <a:pt x="408" y="5"/>
                  </a:lnTo>
                  <a:lnTo>
                    <a:pt x="410" y="5"/>
                  </a:lnTo>
                  <a:lnTo>
                    <a:pt x="413" y="5"/>
                  </a:lnTo>
                  <a:lnTo>
                    <a:pt x="417" y="5"/>
                  </a:lnTo>
                  <a:lnTo>
                    <a:pt x="421" y="5"/>
                  </a:lnTo>
                  <a:lnTo>
                    <a:pt x="425" y="6"/>
                  </a:lnTo>
                  <a:lnTo>
                    <a:pt x="426" y="6"/>
                  </a:lnTo>
                  <a:lnTo>
                    <a:pt x="427" y="6"/>
                  </a:lnTo>
                  <a:lnTo>
                    <a:pt x="431" y="6"/>
                  </a:lnTo>
                  <a:lnTo>
                    <a:pt x="432" y="6"/>
                  </a:lnTo>
                  <a:lnTo>
                    <a:pt x="435" y="6"/>
                  </a:lnTo>
                  <a:lnTo>
                    <a:pt x="437" y="6"/>
                  </a:lnTo>
                  <a:lnTo>
                    <a:pt x="439" y="6"/>
                  </a:lnTo>
                  <a:lnTo>
                    <a:pt x="442" y="5"/>
                  </a:lnTo>
                  <a:lnTo>
                    <a:pt x="446" y="5"/>
                  </a:lnTo>
                  <a:lnTo>
                    <a:pt x="449" y="5"/>
                  </a:lnTo>
                  <a:lnTo>
                    <a:pt x="451" y="5"/>
                  </a:lnTo>
                  <a:lnTo>
                    <a:pt x="453" y="5"/>
                  </a:lnTo>
                  <a:lnTo>
                    <a:pt x="451" y="5"/>
                  </a:lnTo>
                  <a:lnTo>
                    <a:pt x="451" y="6"/>
                  </a:lnTo>
                  <a:lnTo>
                    <a:pt x="453" y="6"/>
                  </a:lnTo>
                  <a:lnTo>
                    <a:pt x="451" y="7"/>
                  </a:lnTo>
                  <a:lnTo>
                    <a:pt x="450" y="7"/>
                  </a:lnTo>
                  <a:lnTo>
                    <a:pt x="449" y="7"/>
                  </a:lnTo>
                  <a:lnTo>
                    <a:pt x="446" y="8"/>
                  </a:lnTo>
                  <a:lnTo>
                    <a:pt x="442" y="8"/>
                  </a:lnTo>
                  <a:lnTo>
                    <a:pt x="443" y="8"/>
                  </a:lnTo>
                  <a:lnTo>
                    <a:pt x="444" y="8"/>
                  </a:lnTo>
                  <a:lnTo>
                    <a:pt x="446" y="8"/>
                  </a:lnTo>
                  <a:lnTo>
                    <a:pt x="449" y="8"/>
                  </a:lnTo>
                  <a:lnTo>
                    <a:pt x="451" y="7"/>
                  </a:lnTo>
                  <a:lnTo>
                    <a:pt x="455" y="7"/>
                  </a:lnTo>
                  <a:lnTo>
                    <a:pt x="457" y="7"/>
                  </a:lnTo>
                  <a:lnTo>
                    <a:pt x="458" y="7"/>
                  </a:lnTo>
                  <a:lnTo>
                    <a:pt x="460" y="7"/>
                  </a:lnTo>
                  <a:lnTo>
                    <a:pt x="458" y="7"/>
                  </a:lnTo>
                  <a:lnTo>
                    <a:pt x="460" y="8"/>
                  </a:lnTo>
                  <a:lnTo>
                    <a:pt x="458" y="8"/>
                  </a:lnTo>
                  <a:lnTo>
                    <a:pt x="460" y="8"/>
                  </a:lnTo>
                  <a:lnTo>
                    <a:pt x="461" y="8"/>
                  </a:lnTo>
                  <a:lnTo>
                    <a:pt x="462" y="7"/>
                  </a:lnTo>
                  <a:lnTo>
                    <a:pt x="464" y="7"/>
                  </a:lnTo>
                  <a:lnTo>
                    <a:pt x="465" y="7"/>
                  </a:lnTo>
                  <a:lnTo>
                    <a:pt x="465" y="8"/>
                  </a:lnTo>
                  <a:lnTo>
                    <a:pt x="468" y="8"/>
                  </a:lnTo>
                  <a:lnTo>
                    <a:pt x="469" y="8"/>
                  </a:lnTo>
                  <a:lnTo>
                    <a:pt x="470" y="8"/>
                  </a:lnTo>
                  <a:lnTo>
                    <a:pt x="471" y="8"/>
                  </a:lnTo>
                  <a:lnTo>
                    <a:pt x="474" y="8"/>
                  </a:lnTo>
                  <a:lnTo>
                    <a:pt x="475" y="8"/>
                  </a:lnTo>
                  <a:lnTo>
                    <a:pt x="476" y="8"/>
                  </a:lnTo>
                  <a:lnTo>
                    <a:pt x="476" y="9"/>
                  </a:lnTo>
                  <a:lnTo>
                    <a:pt x="477" y="9"/>
                  </a:lnTo>
                  <a:lnTo>
                    <a:pt x="478" y="9"/>
                  </a:lnTo>
                  <a:lnTo>
                    <a:pt x="479" y="9"/>
                  </a:lnTo>
                  <a:lnTo>
                    <a:pt x="481" y="9"/>
                  </a:lnTo>
                  <a:lnTo>
                    <a:pt x="479" y="9"/>
                  </a:lnTo>
                  <a:lnTo>
                    <a:pt x="479" y="11"/>
                  </a:lnTo>
                  <a:lnTo>
                    <a:pt x="478" y="11"/>
                  </a:lnTo>
                  <a:lnTo>
                    <a:pt x="476" y="11"/>
                  </a:lnTo>
                  <a:lnTo>
                    <a:pt x="472" y="11"/>
                  </a:lnTo>
                  <a:lnTo>
                    <a:pt x="471" y="12"/>
                  </a:lnTo>
                  <a:lnTo>
                    <a:pt x="472" y="12"/>
                  </a:lnTo>
                  <a:lnTo>
                    <a:pt x="470" y="12"/>
                  </a:lnTo>
                  <a:lnTo>
                    <a:pt x="467" y="13"/>
                  </a:lnTo>
                  <a:lnTo>
                    <a:pt x="462" y="13"/>
                  </a:lnTo>
                  <a:lnTo>
                    <a:pt x="458" y="13"/>
                  </a:lnTo>
                  <a:lnTo>
                    <a:pt x="457" y="13"/>
                  </a:lnTo>
                  <a:lnTo>
                    <a:pt x="454" y="13"/>
                  </a:lnTo>
                  <a:lnTo>
                    <a:pt x="449" y="13"/>
                  </a:lnTo>
                  <a:lnTo>
                    <a:pt x="446" y="13"/>
                  </a:lnTo>
                  <a:lnTo>
                    <a:pt x="441" y="13"/>
                  </a:lnTo>
                  <a:lnTo>
                    <a:pt x="436" y="13"/>
                  </a:lnTo>
                  <a:lnTo>
                    <a:pt x="433" y="13"/>
                  </a:lnTo>
                  <a:lnTo>
                    <a:pt x="428" y="14"/>
                  </a:lnTo>
                  <a:lnTo>
                    <a:pt x="425" y="14"/>
                  </a:lnTo>
                  <a:lnTo>
                    <a:pt x="420" y="14"/>
                  </a:lnTo>
                  <a:lnTo>
                    <a:pt x="415" y="14"/>
                  </a:lnTo>
                  <a:lnTo>
                    <a:pt x="412" y="14"/>
                  </a:lnTo>
                  <a:lnTo>
                    <a:pt x="407" y="14"/>
                  </a:lnTo>
                  <a:lnTo>
                    <a:pt x="405" y="14"/>
                  </a:lnTo>
                  <a:lnTo>
                    <a:pt x="403" y="14"/>
                  </a:lnTo>
                  <a:lnTo>
                    <a:pt x="400" y="14"/>
                  </a:lnTo>
                  <a:lnTo>
                    <a:pt x="398" y="14"/>
                  </a:lnTo>
                  <a:lnTo>
                    <a:pt x="394" y="13"/>
                  </a:lnTo>
                  <a:lnTo>
                    <a:pt x="393" y="13"/>
                  </a:lnTo>
                  <a:lnTo>
                    <a:pt x="393" y="14"/>
                  </a:lnTo>
                  <a:lnTo>
                    <a:pt x="397" y="14"/>
                  </a:lnTo>
                  <a:lnTo>
                    <a:pt x="400" y="14"/>
                  </a:lnTo>
                  <a:lnTo>
                    <a:pt x="404" y="14"/>
                  </a:lnTo>
                  <a:lnTo>
                    <a:pt x="405" y="14"/>
                  </a:lnTo>
                  <a:lnTo>
                    <a:pt x="406" y="14"/>
                  </a:lnTo>
                  <a:lnTo>
                    <a:pt x="407" y="14"/>
                  </a:lnTo>
                  <a:lnTo>
                    <a:pt x="406" y="15"/>
                  </a:lnTo>
                  <a:lnTo>
                    <a:pt x="404" y="15"/>
                  </a:lnTo>
                  <a:lnTo>
                    <a:pt x="400" y="15"/>
                  </a:lnTo>
                  <a:lnTo>
                    <a:pt x="397" y="15"/>
                  </a:lnTo>
                  <a:lnTo>
                    <a:pt x="396" y="15"/>
                  </a:lnTo>
                  <a:lnTo>
                    <a:pt x="393" y="16"/>
                  </a:lnTo>
                  <a:lnTo>
                    <a:pt x="391" y="16"/>
                  </a:lnTo>
                  <a:lnTo>
                    <a:pt x="390" y="16"/>
                  </a:lnTo>
                  <a:lnTo>
                    <a:pt x="389" y="16"/>
                  </a:lnTo>
                  <a:lnTo>
                    <a:pt x="387" y="16"/>
                  </a:lnTo>
                  <a:lnTo>
                    <a:pt x="384" y="16"/>
                  </a:lnTo>
                  <a:lnTo>
                    <a:pt x="383" y="16"/>
                  </a:lnTo>
                  <a:lnTo>
                    <a:pt x="382" y="18"/>
                  </a:lnTo>
                  <a:lnTo>
                    <a:pt x="380" y="18"/>
                  </a:lnTo>
                  <a:lnTo>
                    <a:pt x="382" y="18"/>
                  </a:lnTo>
                  <a:lnTo>
                    <a:pt x="382" y="19"/>
                  </a:lnTo>
                  <a:lnTo>
                    <a:pt x="383" y="19"/>
                  </a:lnTo>
                  <a:lnTo>
                    <a:pt x="386" y="19"/>
                  </a:lnTo>
                  <a:lnTo>
                    <a:pt x="386" y="18"/>
                  </a:lnTo>
                  <a:lnTo>
                    <a:pt x="389" y="18"/>
                  </a:lnTo>
                  <a:lnTo>
                    <a:pt x="391" y="18"/>
                  </a:lnTo>
                  <a:lnTo>
                    <a:pt x="394" y="16"/>
                  </a:lnTo>
                  <a:lnTo>
                    <a:pt x="398" y="16"/>
                  </a:lnTo>
                  <a:lnTo>
                    <a:pt x="399" y="16"/>
                  </a:lnTo>
                  <a:lnTo>
                    <a:pt x="400" y="16"/>
                  </a:lnTo>
                  <a:lnTo>
                    <a:pt x="401" y="16"/>
                  </a:lnTo>
                  <a:lnTo>
                    <a:pt x="404" y="16"/>
                  </a:lnTo>
                  <a:lnTo>
                    <a:pt x="405" y="16"/>
                  </a:lnTo>
                  <a:lnTo>
                    <a:pt x="407" y="16"/>
                  </a:lnTo>
                  <a:lnTo>
                    <a:pt x="408" y="16"/>
                  </a:lnTo>
                  <a:lnTo>
                    <a:pt x="411" y="16"/>
                  </a:lnTo>
                  <a:lnTo>
                    <a:pt x="412" y="16"/>
                  </a:lnTo>
                  <a:lnTo>
                    <a:pt x="412" y="15"/>
                  </a:lnTo>
                  <a:lnTo>
                    <a:pt x="414" y="15"/>
                  </a:lnTo>
                  <a:lnTo>
                    <a:pt x="415" y="15"/>
                  </a:lnTo>
                  <a:lnTo>
                    <a:pt x="417" y="15"/>
                  </a:lnTo>
                  <a:lnTo>
                    <a:pt x="418" y="15"/>
                  </a:lnTo>
                  <a:lnTo>
                    <a:pt x="419" y="15"/>
                  </a:lnTo>
                  <a:lnTo>
                    <a:pt x="420" y="15"/>
                  </a:lnTo>
                  <a:lnTo>
                    <a:pt x="421" y="15"/>
                  </a:lnTo>
                  <a:lnTo>
                    <a:pt x="424" y="15"/>
                  </a:lnTo>
                  <a:lnTo>
                    <a:pt x="425" y="15"/>
                  </a:lnTo>
                  <a:lnTo>
                    <a:pt x="428" y="15"/>
                  </a:lnTo>
                  <a:lnTo>
                    <a:pt x="432" y="15"/>
                  </a:lnTo>
                  <a:lnTo>
                    <a:pt x="436" y="15"/>
                  </a:lnTo>
                  <a:lnTo>
                    <a:pt x="440" y="15"/>
                  </a:lnTo>
                  <a:lnTo>
                    <a:pt x="443" y="15"/>
                  </a:lnTo>
                  <a:lnTo>
                    <a:pt x="447" y="15"/>
                  </a:lnTo>
                  <a:lnTo>
                    <a:pt x="450" y="15"/>
                  </a:lnTo>
                  <a:lnTo>
                    <a:pt x="450" y="16"/>
                  </a:lnTo>
                  <a:lnTo>
                    <a:pt x="450" y="18"/>
                  </a:lnTo>
                  <a:lnTo>
                    <a:pt x="449" y="18"/>
                  </a:lnTo>
                  <a:lnTo>
                    <a:pt x="446" y="18"/>
                  </a:lnTo>
                  <a:lnTo>
                    <a:pt x="442" y="19"/>
                  </a:lnTo>
                  <a:lnTo>
                    <a:pt x="439" y="19"/>
                  </a:lnTo>
                  <a:lnTo>
                    <a:pt x="435" y="19"/>
                  </a:lnTo>
                  <a:lnTo>
                    <a:pt x="434" y="20"/>
                  </a:lnTo>
                  <a:lnTo>
                    <a:pt x="433" y="20"/>
                  </a:lnTo>
                  <a:lnTo>
                    <a:pt x="432" y="20"/>
                  </a:lnTo>
                  <a:lnTo>
                    <a:pt x="433" y="20"/>
                  </a:lnTo>
                  <a:lnTo>
                    <a:pt x="433" y="21"/>
                  </a:lnTo>
                  <a:lnTo>
                    <a:pt x="434" y="21"/>
                  </a:lnTo>
                  <a:lnTo>
                    <a:pt x="437" y="20"/>
                  </a:lnTo>
                  <a:lnTo>
                    <a:pt x="441" y="20"/>
                  </a:lnTo>
                  <a:lnTo>
                    <a:pt x="442" y="20"/>
                  </a:lnTo>
                  <a:lnTo>
                    <a:pt x="446" y="20"/>
                  </a:lnTo>
                  <a:lnTo>
                    <a:pt x="450" y="19"/>
                  </a:lnTo>
                  <a:lnTo>
                    <a:pt x="451" y="19"/>
                  </a:lnTo>
                  <a:lnTo>
                    <a:pt x="453" y="19"/>
                  </a:lnTo>
                  <a:lnTo>
                    <a:pt x="455" y="19"/>
                  </a:lnTo>
                  <a:lnTo>
                    <a:pt x="457" y="18"/>
                  </a:lnTo>
                  <a:lnTo>
                    <a:pt x="460" y="19"/>
                  </a:lnTo>
                  <a:lnTo>
                    <a:pt x="461" y="18"/>
                  </a:lnTo>
                  <a:lnTo>
                    <a:pt x="461" y="16"/>
                  </a:lnTo>
                  <a:lnTo>
                    <a:pt x="462" y="16"/>
                  </a:lnTo>
                  <a:lnTo>
                    <a:pt x="462" y="15"/>
                  </a:lnTo>
                  <a:lnTo>
                    <a:pt x="463" y="15"/>
                  </a:lnTo>
                  <a:lnTo>
                    <a:pt x="464" y="15"/>
                  </a:lnTo>
                  <a:lnTo>
                    <a:pt x="468" y="15"/>
                  </a:lnTo>
                  <a:lnTo>
                    <a:pt x="471" y="15"/>
                  </a:lnTo>
                  <a:lnTo>
                    <a:pt x="475" y="15"/>
                  </a:lnTo>
                  <a:lnTo>
                    <a:pt x="478" y="15"/>
                  </a:lnTo>
                  <a:lnTo>
                    <a:pt x="479" y="15"/>
                  </a:lnTo>
                  <a:lnTo>
                    <a:pt x="481" y="15"/>
                  </a:lnTo>
                  <a:lnTo>
                    <a:pt x="481" y="16"/>
                  </a:lnTo>
                  <a:lnTo>
                    <a:pt x="479" y="16"/>
                  </a:lnTo>
                  <a:lnTo>
                    <a:pt x="479" y="18"/>
                  </a:lnTo>
                  <a:lnTo>
                    <a:pt x="481" y="18"/>
                  </a:lnTo>
                  <a:lnTo>
                    <a:pt x="479" y="18"/>
                  </a:lnTo>
                  <a:lnTo>
                    <a:pt x="479" y="19"/>
                  </a:lnTo>
                  <a:lnTo>
                    <a:pt x="478" y="19"/>
                  </a:lnTo>
                  <a:lnTo>
                    <a:pt x="478" y="20"/>
                  </a:lnTo>
                  <a:lnTo>
                    <a:pt x="477" y="20"/>
                  </a:lnTo>
                  <a:lnTo>
                    <a:pt x="475" y="21"/>
                  </a:lnTo>
                  <a:lnTo>
                    <a:pt x="472" y="22"/>
                  </a:lnTo>
                  <a:lnTo>
                    <a:pt x="470" y="22"/>
                  </a:lnTo>
                  <a:lnTo>
                    <a:pt x="469" y="23"/>
                  </a:lnTo>
                  <a:lnTo>
                    <a:pt x="468" y="23"/>
                  </a:lnTo>
                  <a:lnTo>
                    <a:pt x="467" y="25"/>
                  </a:lnTo>
                  <a:lnTo>
                    <a:pt x="465" y="25"/>
                  </a:lnTo>
                  <a:lnTo>
                    <a:pt x="464" y="25"/>
                  </a:lnTo>
                  <a:lnTo>
                    <a:pt x="460" y="26"/>
                  </a:lnTo>
                  <a:lnTo>
                    <a:pt x="458" y="27"/>
                  </a:lnTo>
                  <a:lnTo>
                    <a:pt x="457" y="27"/>
                  </a:lnTo>
                  <a:lnTo>
                    <a:pt x="457" y="28"/>
                  </a:lnTo>
                  <a:lnTo>
                    <a:pt x="456" y="28"/>
                  </a:lnTo>
                  <a:lnTo>
                    <a:pt x="455" y="28"/>
                  </a:lnTo>
                  <a:lnTo>
                    <a:pt x="454" y="28"/>
                  </a:lnTo>
                  <a:lnTo>
                    <a:pt x="453" y="29"/>
                  </a:lnTo>
                  <a:lnTo>
                    <a:pt x="455" y="29"/>
                  </a:lnTo>
                  <a:lnTo>
                    <a:pt x="458" y="28"/>
                  </a:lnTo>
                  <a:lnTo>
                    <a:pt x="460" y="28"/>
                  </a:lnTo>
                  <a:lnTo>
                    <a:pt x="460" y="27"/>
                  </a:lnTo>
                  <a:lnTo>
                    <a:pt x="461" y="27"/>
                  </a:lnTo>
                  <a:lnTo>
                    <a:pt x="462" y="27"/>
                  </a:lnTo>
                  <a:lnTo>
                    <a:pt x="461" y="27"/>
                  </a:lnTo>
                  <a:lnTo>
                    <a:pt x="463" y="26"/>
                  </a:lnTo>
                  <a:lnTo>
                    <a:pt x="467" y="26"/>
                  </a:lnTo>
                  <a:lnTo>
                    <a:pt x="468" y="26"/>
                  </a:lnTo>
                  <a:lnTo>
                    <a:pt x="468" y="25"/>
                  </a:lnTo>
                  <a:lnTo>
                    <a:pt x="469" y="26"/>
                  </a:lnTo>
                  <a:lnTo>
                    <a:pt x="470" y="25"/>
                  </a:lnTo>
                  <a:lnTo>
                    <a:pt x="471" y="25"/>
                  </a:lnTo>
                  <a:lnTo>
                    <a:pt x="475" y="23"/>
                  </a:lnTo>
                  <a:lnTo>
                    <a:pt x="476" y="23"/>
                  </a:lnTo>
                  <a:lnTo>
                    <a:pt x="479" y="23"/>
                  </a:lnTo>
                  <a:lnTo>
                    <a:pt x="481" y="22"/>
                  </a:lnTo>
                  <a:lnTo>
                    <a:pt x="482" y="22"/>
                  </a:lnTo>
                  <a:lnTo>
                    <a:pt x="485" y="21"/>
                  </a:lnTo>
                  <a:lnTo>
                    <a:pt x="490" y="20"/>
                  </a:lnTo>
                  <a:lnTo>
                    <a:pt x="488" y="20"/>
                  </a:lnTo>
                  <a:lnTo>
                    <a:pt x="489" y="19"/>
                  </a:lnTo>
                  <a:lnTo>
                    <a:pt x="490" y="19"/>
                  </a:lnTo>
                  <a:lnTo>
                    <a:pt x="489" y="19"/>
                  </a:lnTo>
                  <a:lnTo>
                    <a:pt x="490" y="19"/>
                  </a:lnTo>
                  <a:lnTo>
                    <a:pt x="491" y="19"/>
                  </a:lnTo>
                  <a:lnTo>
                    <a:pt x="492" y="19"/>
                  </a:lnTo>
                  <a:lnTo>
                    <a:pt x="493" y="19"/>
                  </a:lnTo>
                  <a:lnTo>
                    <a:pt x="495" y="19"/>
                  </a:lnTo>
                  <a:lnTo>
                    <a:pt x="496" y="19"/>
                  </a:lnTo>
                  <a:lnTo>
                    <a:pt x="497" y="19"/>
                  </a:lnTo>
                  <a:lnTo>
                    <a:pt x="497" y="20"/>
                  </a:lnTo>
                  <a:lnTo>
                    <a:pt x="495" y="20"/>
                  </a:lnTo>
                  <a:lnTo>
                    <a:pt x="493" y="20"/>
                  </a:lnTo>
                  <a:lnTo>
                    <a:pt x="493" y="21"/>
                  </a:lnTo>
                  <a:lnTo>
                    <a:pt x="492" y="21"/>
                  </a:lnTo>
                  <a:lnTo>
                    <a:pt x="496" y="21"/>
                  </a:lnTo>
                  <a:lnTo>
                    <a:pt x="499" y="20"/>
                  </a:lnTo>
                  <a:lnTo>
                    <a:pt x="500" y="20"/>
                  </a:lnTo>
                  <a:lnTo>
                    <a:pt x="501" y="20"/>
                  </a:lnTo>
                  <a:lnTo>
                    <a:pt x="501" y="21"/>
                  </a:lnTo>
                  <a:lnTo>
                    <a:pt x="503" y="21"/>
                  </a:lnTo>
                  <a:lnTo>
                    <a:pt x="505" y="21"/>
                  </a:lnTo>
                  <a:lnTo>
                    <a:pt x="506" y="21"/>
                  </a:lnTo>
                  <a:lnTo>
                    <a:pt x="508" y="21"/>
                  </a:lnTo>
                  <a:lnTo>
                    <a:pt x="510" y="21"/>
                  </a:lnTo>
                  <a:lnTo>
                    <a:pt x="512" y="21"/>
                  </a:lnTo>
                  <a:lnTo>
                    <a:pt x="513" y="21"/>
                  </a:lnTo>
                  <a:lnTo>
                    <a:pt x="513" y="20"/>
                  </a:lnTo>
                  <a:lnTo>
                    <a:pt x="514" y="20"/>
                  </a:lnTo>
                  <a:lnTo>
                    <a:pt x="515" y="20"/>
                  </a:lnTo>
                  <a:lnTo>
                    <a:pt x="514" y="20"/>
                  </a:lnTo>
                  <a:lnTo>
                    <a:pt x="513" y="20"/>
                  </a:lnTo>
                  <a:lnTo>
                    <a:pt x="514" y="20"/>
                  </a:lnTo>
                  <a:lnTo>
                    <a:pt x="515" y="19"/>
                  </a:lnTo>
                  <a:lnTo>
                    <a:pt x="518" y="19"/>
                  </a:lnTo>
                  <a:lnTo>
                    <a:pt x="519" y="19"/>
                  </a:lnTo>
                  <a:lnTo>
                    <a:pt x="518" y="19"/>
                  </a:lnTo>
                  <a:lnTo>
                    <a:pt x="518" y="18"/>
                  </a:lnTo>
                  <a:lnTo>
                    <a:pt x="521" y="18"/>
                  </a:lnTo>
                  <a:lnTo>
                    <a:pt x="522" y="18"/>
                  </a:lnTo>
                  <a:lnTo>
                    <a:pt x="524" y="18"/>
                  </a:lnTo>
                  <a:lnTo>
                    <a:pt x="525" y="18"/>
                  </a:lnTo>
                  <a:lnTo>
                    <a:pt x="526" y="18"/>
                  </a:lnTo>
                  <a:lnTo>
                    <a:pt x="528" y="18"/>
                  </a:lnTo>
                  <a:lnTo>
                    <a:pt x="529" y="18"/>
                  </a:lnTo>
                  <a:lnTo>
                    <a:pt x="533" y="18"/>
                  </a:lnTo>
                  <a:lnTo>
                    <a:pt x="536" y="18"/>
                  </a:lnTo>
                  <a:lnTo>
                    <a:pt x="540" y="18"/>
                  </a:lnTo>
                  <a:lnTo>
                    <a:pt x="543" y="18"/>
                  </a:lnTo>
                  <a:lnTo>
                    <a:pt x="547" y="19"/>
                  </a:lnTo>
                  <a:lnTo>
                    <a:pt x="548" y="19"/>
                  </a:lnTo>
                  <a:lnTo>
                    <a:pt x="549" y="19"/>
                  </a:lnTo>
                  <a:lnTo>
                    <a:pt x="550" y="19"/>
                  </a:lnTo>
                  <a:lnTo>
                    <a:pt x="552" y="19"/>
                  </a:lnTo>
                  <a:lnTo>
                    <a:pt x="554" y="19"/>
                  </a:lnTo>
                  <a:lnTo>
                    <a:pt x="556" y="19"/>
                  </a:lnTo>
                  <a:lnTo>
                    <a:pt x="557" y="20"/>
                  </a:lnTo>
                  <a:lnTo>
                    <a:pt x="559" y="20"/>
                  </a:lnTo>
                  <a:lnTo>
                    <a:pt x="561" y="20"/>
                  </a:lnTo>
                  <a:lnTo>
                    <a:pt x="561" y="21"/>
                  </a:lnTo>
                  <a:lnTo>
                    <a:pt x="559" y="21"/>
                  </a:lnTo>
                  <a:lnTo>
                    <a:pt x="556" y="22"/>
                  </a:lnTo>
                  <a:lnTo>
                    <a:pt x="554" y="22"/>
                  </a:lnTo>
                  <a:lnTo>
                    <a:pt x="553" y="22"/>
                  </a:lnTo>
                  <a:lnTo>
                    <a:pt x="552" y="23"/>
                  </a:lnTo>
                  <a:lnTo>
                    <a:pt x="550" y="23"/>
                  </a:lnTo>
                  <a:lnTo>
                    <a:pt x="548" y="23"/>
                  </a:lnTo>
                  <a:lnTo>
                    <a:pt x="546" y="25"/>
                  </a:lnTo>
                  <a:lnTo>
                    <a:pt x="545" y="25"/>
                  </a:lnTo>
                  <a:lnTo>
                    <a:pt x="543" y="25"/>
                  </a:lnTo>
                  <a:lnTo>
                    <a:pt x="541" y="26"/>
                  </a:lnTo>
                  <a:lnTo>
                    <a:pt x="538" y="25"/>
                  </a:lnTo>
                  <a:lnTo>
                    <a:pt x="533" y="26"/>
                  </a:lnTo>
                  <a:lnTo>
                    <a:pt x="534" y="26"/>
                  </a:lnTo>
                  <a:lnTo>
                    <a:pt x="536" y="26"/>
                  </a:lnTo>
                  <a:lnTo>
                    <a:pt x="536" y="27"/>
                  </a:lnTo>
                  <a:lnTo>
                    <a:pt x="535" y="27"/>
                  </a:lnTo>
                  <a:lnTo>
                    <a:pt x="535" y="28"/>
                  </a:lnTo>
                  <a:lnTo>
                    <a:pt x="532" y="28"/>
                  </a:lnTo>
                  <a:lnTo>
                    <a:pt x="531" y="28"/>
                  </a:lnTo>
                  <a:lnTo>
                    <a:pt x="528" y="28"/>
                  </a:lnTo>
                  <a:lnTo>
                    <a:pt x="526" y="28"/>
                  </a:lnTo>
                  <a:lnTo>
                    <a:pt x="525" y="29"/>
                  </a:lnTo>
                  <a:lnTo>
                    <a:pt x="521" y="29"/>
                  </a:lnTo>
                  <a:lnTo>
                    <a:pt x="518" y="29"/>
                  </a:lnTo>
                  <a:lnTo>
                    <a:pt x="517" y="29"/>
                  </a:lnTo>
                  <a:lnTo>
                    <a:pt x="514" y="29"/>
                  </a:lnTo>
                  <a:lnTo>
                    <a:pt x="511" y="29"/>
                  </a:lnTo>
                  <a:lnTo>
                    <a:pt x="510" y="28"/>
                  </a:lnTo>
                  <a:lnTo>
                    <a:pt x="507" y="28"/>
                  </a:lnTo>
                  <a:lnTo>
                    <a:pt x="507" y="29"/>
                  </a:lnTo>
                  <a:lnTo>
                    <a:pt x="506" y="29"/>
                  </a:lnTo>
                  <a:lnTo>
                    <a:pt x="504" y="29"/>
                  </a:lnTo>
                  <a:lnTo>
                    <a:pt x="503" y="29"/>
                  </a:lnTo>
                  <a:lnTo>
                    <a:pt x="500" y="29"/>
                  </a:lnTo>
                  <a:lnTo>
                    <a:pt x="498" y="29"/>
                  </a:lnTo>
                  <a:lnTo>
                    <a:pt x="495" y="29"/>
                  </a:lnTo>
                  <a:lnTo>
                    <a:pt x="493" y="29"/>
                  </a:lnTo>
                  <a:lnTo>
                    <a:pt x="492" y="29"/>
                  </a:lnTo>
                  <a:lnTo>
                    <a:pt x="490" y="29"/>
                  </a:lnTo>
                  <a:lnTo>
                    <a:pt x="486" y="29"/>
                  </a:lnTo>
                  <a:lnTo>
                    <a:pt x="484" y="29"/>
                  </a:lnTo>
                  <a:lnTo>
                    <a:pt x="481" y="29"/>
                  </a:lnTo>
                  <a:lnTo>
                    <a:pt x="478" y="29"/>
                  </a:lnTo>
                  <a:lnTo>
                    <a:pt x="478" y="30"/>
                  </a:lnTo>
                  <a:lnTo>
                    <a:pt x="482" y="30"/>
                  </a:lnTo>
                  <a:lnTo>
                    <a:pt x="483" y="30"/>
                  </a:lnTo>
                  <a:lnTo>
                    <a:pt x="486" y="29"/>
                  </a:lnTo>
                  <a:lnTo>
                    <a:pt x="490" y="29"/>
                  </a:lnTo>
                  <a:lnTo>
                    <a:pt x="493" y="29"/>
                  </a:lnTo>
                  <a:lnTo>
                    <a:pt x="495" y="29"/>
                  </a:lnTo>
                  <a:lnTo>
                    <a:pt x="496" y="29"/>
                  </a:lnTo>
                  <a:lnTo>
                    <a:pt x="497" y="30"/>
                  </a:lnTo>
                  <a:lnTo>
                    <a:pt x="499" y="30"/>
                  </a:lnTo>
                  <a:lnTo>
                    <a:pt x="501" y="30"/>
                  </a:lnTo>
                  <a:lnTo>
                    <a:pt x="505" y="30"/>
                  </a:lnTo>
                  <a:lnTo>
                    <a:pt x="508" y="30"/>
                  </a:lnTo>
                  <a:lnTo>
                    <a:pt x="512" y="29"/>
                  </a:lnTo>
                  <a:lnTo>
                    <a:pt x="513" y="29"/>
                  </a:lnTo>
                  <a:lnTo>
                    <a:pt x="514" y="30"/>
                  </a:lnTo>
                  <a:lnTo>
                    <a:pt x="515" y="30"/>
                  </a:lnTo>
                  <a:lnTo>
                    <a:pt x="519" y="30"/>
                  </a:lnTo>
                  <a:lnTo>
                    <a:pt x="521" y="32"/>
                  </a:lnTo>
                  <a:lnTo>
                    <a:pt x="517" y="33"/>
                  </a:lnTo>
                  <a:lnTo>
                    <a:pt x="515" y="33"/>
                  </a:lnTo>
                  <a:lnTo>
                    <a:pt x="517" y="33"/>
                  </a:lnTo>
                  <a:lnTo>
                    <a:pt x="515" y="33"/>
                  </a:lnTo>
                  <a:lnTo>
                    <a:pt x="512" y="34"/>
                  </a:lnTo>
                  <a:lnTo>
                    <a:pt x="511" y="34"/>
                  </a:lnTo>
                  <a:lnTo>
                    <a:pt x="510" y="34"/>
                  </a:lnTo>
                  <a:lnTo>
                    <a:pt x="508" y="34"/>
                  </a:lnTo>
                  <a:lnTo>
                    <a:pt x="505" y="34"/>
                  </a:lnTo>
                  <a:lnTo>
                    <a:pt x="503" y="34"/>
                  </a:lnTo>
                  <a:lnTo>
                    <a:pt x="499" y="34"/>
                  </a:lnTo>
                  <a:lnTo>
                    <a:pt x="496" y="34"/>
                  </a:lnTo>
                  <a:lnTo>
                    <a:pt x="495" y="33"/>
                  </a:lnTo>
                  <a:lnTo>
                    <a:pt x="493" y="33"/>
                  </a:lnTo>
                  <a:lnTo>
                    <a:pt x="492" y="33"/>
                  </a:lnTo>
                  <a:lnTo>
                    <a:pt x="489" y="33"/>
                  </a:lnTo>
                  <a:lnTo>
                    <a:pt x="488" y="33"/>
                  </a:lnTo>
                  <a:lnTo>
                    <a:pt x="486" y="34"/>
                  </a:lnTo>
                  <a:lnTo>
                    <a:pt x="483" y="35"/>
                  </a:lnTo>
                  <a:lnTo>
                    <a:pt x="484" y="35"/>
                  </a:lnTo>
                  <a:lnTo>
                    <a:pt x="483" y="35"/>
                  </a:lnTo>
                  <a:lnTo>
                    <a:pt x="482" y="35"/>
                  </a:lnTo>
                  <a:lnTo>
                    <a:pt x="483" y="35"/>
                  </a:lnTo>
                  <a:lnTo>
                    <a:pt x="483" y="36"/>
                  </a:lnTo>
                  <a:lnTo>
                    <a:pt x="481" y="37"/>
                  </a:lnTo>
                  <a:lnTo>
                    <a:pt x="479" y="37"/>
                  </a:lnTo>
                  <a:lnTo>
                    <a:pt x="481" y="37"/>
                  </a:lnTo>
                  <a:lnTo>
                    <a:pt x="483" y="37"/>
                  </a:lnTo>
                  <a:lnTo>
                    <a:pt x="483" y="39"/>
                  </a:lnTo>
                  <a:lnTo>
                    <a:pt x="483" y="40"/>
                  </a:lnTo>
                  <a:lnTo>
                    <a:pt x="484" y="39"/>
                  </a:lnTo>
                  <a:lnTo>
                    <a:pt x="484" y="40"/>
                  </a:lnTo>
                  <a:lnTo>
                    <a:pt x="484" y="39"/>
                  </a:lnTo>
                  <a:lnTo>
                    <a:pt x="485" y="39"/>
                  </a:lnTo>
                  <a:lnTo>
                    <a:pt x="488" y="39"/>
                  </a:lnTo>
                  <a:lnTo>
                    <a:pt x="489" y="39"/>
                  </a:lnTo>
                  <a:lnTo>
                    <a:pt x="490" y="39"/>
                  </a:lnTo>
                  <a:lnTo>
                    <a:pt x="490" y="40"/>
                  </a:lnTo>
                  <a:lnTo>
                    <a:pt x="488" y="40"/>
                  </a:lnTo>
                  <a:lnTo>
                    <a:pt x="489" y="40"/>
                  </a:lnTo>
                  <a:lnTo>
                    <a:pt x="489" y="41"/>
                  </a:lnTo>
                  <a:lnTo>
                    <a:pt x="488" y="41"/>
                  </a:lnTo>
                  <a:lnTo>
                    <a:pt x="486" y="41"/>
                  </a:lnTo>
                  <a:lnTo>
                    <a:pt x="486" y="42"/>
                  </a:lnTo>
                  <a:lnTo>
                    <a:pt x="485" y="42"/>
                  </a:lnTo>
                  <a:lnTo>
                    <a:pt x="485" y="43"/>
                  </a:lnTo>
                  <a:lnTo>
                    <a:pt x="486" y="43"/>
                  </a:lnTo>
                  <a:lnTo>
                    <a:pt x="486" y="44"/>
                  </a:lnTo>
                  <a:lnTo>
                    <a:pt x="485" y="44"/>
                  </a:lnTo>
                  <a:lnTo>
                    <a:pt x="486" y="44"/>
                  </a:lnTo>
                  <a:lnTo>
                    <a:pt x="486" y="43"/>
                  </a:lnTo>
                  <a:lnTo>
                    <a:pt x="488" y="43"/>
                  </a:lnTo>
                  <a:lnTo>
                    <a:pt x="488" y="42"/>
                  </a:lnTo>
                  <a:lnTo>
                    <a:pt x="489" y="42"/>
                  </a:lnTo>
                  <a:lnTo>
                    <a:pt x="489" y="43"/>
                  </a:lnTo>
                  <a:lnTo>
                    <a:pt x="489" y="44"/>
                  </a:lnTo>
                  <a:lnTo>
                    <a:pt x="491" y="44"/>
                  </a:lnTo>
                  <a:lnTo>
                    <a:pt x="490" y="44"/>
                  </a:lnTo>
                  <a:lnTo>
                    <a:pt x="490" y="46"/>
                  </a:lnTo>
                  <a:lnTo>
                    <a:pt x="491" y="46"/>
                  </a:lnTo>
                  <a:lnTo>
                    <a:pt x="490" y="46"/>
                  </a:lnTo>
                  <a:lnTo>
                    <a:pt x="489" y="46"/>
                  </a:lnTo>
                  <a:lnTo>
                    <a:pt x="489" y="44"/>
                  </a:lnTo>
                  <a:lnTo>
                    <a:pt x="489" y="46"/>
                  </a:lnTo>
                  <a:lnTo>
                    <a:pt x="488" y="46"/>
                  </a:lnTo>
                  <a:lnTo>
                    <a:pt x="486" y="46"/>
                  </a:lnTo>
                  <a:lnTo>
                    <a:pt x="485" y="46"/>
                  </a:lnTo>
                  <a:lnTo>
                    <a:pt x="484" y="46"/>
                  </a:lnTo>
                  <a:lnTo>
                    <a:pt x="483" y="46"/>
                  </a:lnTo>
                  <a:lnTo>
                    <a:pt x="483" y="47"/>
                  </a:lnTo>
                  <a:lnTo>
                    <a:pt x="482" y="47"/>
                  </a:lnTo>
                  <a:lnTo>
                    <a:pt x="483" y="48"/>
                  </a:lnTo>
                  <a:lnTo>
                    <a:pt x="482" y="48"/>
                  </a:lnTo>
                  <a:lnTo>
                    <a:pt x="482" y="49"/>
                  </a:lnTo>
                  <a:lnTo>
                    <a:pt x="481" y="49"/>
                  </a:lnTo>
                  <a:lnTo>
                    <a:pt x="478" y="49"/>
                  </a:lnTo>
                  <a:lnTo>
                    <a:pt x="477" y="49"/>
                  </a:lnTo>
                  <a:lnTo>
                    <a:pt x="477" y="48"/>
                  </a:lnTo>
                  <a:lnTo>
                    <a:pt x="475" y="49"/>
                  </a:lnTo>
                  <a:lnTo>
                    <a:pt x="474" y="49"/>
                  </a:lnTo>
                  <a:lnTo>
                    <a:pt x="471" y="49"/>
                  </a:lnTo>
                  <a:lnTo>
                    <a:pt x="472" y="50"/>
                  </a:lnTo>
                  <a:lnTo>
                    <a:pt x="470" y="50"/>
                  </a:lnTo>
                  <a:lnTo>
                    <a:pt x="469" y="51"/>
                  </a:lnTo>
                  <a:lnTo>
                    <a:pt x="471" y="51"/>
                  </a:lnTo>
                  <a:lnTo>
                    <a:pt x="472" y="51"/>
                  </a:lnTo>
                  <a:lnTo>
                    <a:pt x="471" y="51"/>
                  </a:lnTo>
                  <a:lnTo>
                    <a:pt x="470" y="53"/>
                  </a:lnTo>
                  <a:lnTo>
                    <a:pt x="469" y="54"/>
                  </a:lnTo>
                  <a:lnTo>
                    <a:pt x="468" y="54"/>
                  </a:lnTo>
                  <a:lnTo>
                    <a:pt x="468" y="55"/>
                  </a:lnTo>
                  <a:lnTo>
                    <a:pt x="467" y="55"/>
                  </a:lnTo>
                  <a:lnTo>
                    <a:pt x="468" y="56"/>
                  </a:lnTo>
                  <a:lnTo>
                    <a:pt x="467" y="56"/>
                  </a:lnTo>
                  <a:lnTo>
                    <a:pt x="467" y="57"/>
                  </a:lnTo>
                  <a:lnTo>
                    <a:pt x="465" y="57"/>
                  </a:lnTo>
                  <a:lnTo>
                    <a:pt x="463" y="58"/>
                  </a:lnTo>
                  <a:lnTo>
                    <a:pt x="464" y="58"/>
                  </a:lnTo>
                  <a:lnTo>
                    <a:pt x="464" y="60"/>
                  </a:lnTo>
                  <a:lnTo>
                    <a:pt x="463" y="60"/>
                  </a:lnTo>
                  <a:lnTo>
                    <a:pt x="462" y="60"/>
                  </a:lnTo>
                  <a:lnTo>
                    <a:pt x="461" y="60"/>
                  </a:lnTo>
                  <a:lnTo>
                    <a:pt x="461" y="61"/>
                  </a:lnTo>
                  <a:lnTo>
                    <a:pt x="461" y="62"/>
                  </a:lnTo>
                  <a:lnTo>
                    <a:pt x="460" y="62"/>
                  </a:lnTo>
                  <a:lnTo>
                    <a:pt x="462" y="62"/>
                  </a:lnTo>
                  <a:lnTo>
                    <a:pt x="463" y="62"/>
                  </a:lnTo>
                  <a:lnTo>
                    <a:pt x="464" y="62"/>
                  </a:lnTo>
                  <a:lnTo>
                    <a:pt x="462" y="63"/>
                  </a:lnTo>
                  <a:lnTo>
                    <a:pt x="463" y="63"/>
                  </a:lnTo>
                  <a:lnTo>
                    <a:pt x="464" y="62"/>
                  </a:lnTo>
                  <a:lnTo>
                    <a:pt x="465" y="62"/>
                  </a:lnTo>
                  <a:lnTo>
                    <a:pt x="464" y="62"/>
                  </a:lnTo>
                  <a:lnTo>
                    <a:pt x="464" y="61"/>
                  </a:lnTo>
                  <a:lnTo>
                    <a:pt x="465" y="61"/>
                  </a:lnTo>
                  <a:lnTo>
                    <a:pt x="469" y="58"/>
                  </a:lnTo>
                  <a:lnTo>
                    <a:pt x="471" y="58"/>
                  </a:lnTo>
                  <a:lnTo>
                    <a:pt x="474" y="60"/>
                  </a:lnTo>
                  <a:lnTo>
                    <a:pt x="477" y="61"/>
                  </a:lnTo>
                  <a:lnTo>
                    <a:pt x="481" y="61"/>
                  </a:lnTo>
                  <a:lnTo>
                    <a:pt x="483" y="62"/>
                  </a:lnTo>
                  <a:lnTo>
                    <a:pt x="484" y="62"/>
                  </a:lnTo>
                  <a:lnTo>
                    <a:pt x="485" y="62"/>
                  </a:lnTo>
                  <a:lnTo>
                    <a:pt x="485" y="63"/>
                  </a:lnTo>
                  <a:lnTo>
                    <a:pt x="486" y="63"/>
                  </a:lnTo>
                  <a:lnTo>
                    <a:pt x="485" y="63"/>
                  </a:lnTo>
                  <a:lnTo>
                    <a:pt x="484" y="63"/>
                  </a:lnTo>
                  <a:lnTo>
                    <a:pt x="483" y="64"/>
                  </a:lnTo>
                  <a:lnTo>
                    <a:pt x="482" y="64"/>
                  </a:lnTo>
                  <a:lnTo>
                    <a:pt x="479" y="63"/>
                  </a:lnTo>
                  <a:lnTo>
                    <a:pt x="477" y="62"/>
                  </a:lnTo>
                  <a:lnTo>
                    <a:pt x="476" y="62"/>
                  </a:lnTo>
                  <a:lnTo>
                    <a:pt x="475" y="62"/>
                  </a:lnTo>
                  <a:lnTo>
                    <a:pt x="474" y="62"/>
                  </a:lnTo>
                  <a:lnTo>
                    <a:pt x="469" y="62"/>
                  </a:lnTo>
                  <a:lnTo>
                    <a:pt x="470" y="63"/>
                  </a:lnTo>
                  <a:lnTo>
                    <a:pt x="474" y="63"/>
                  </a:lnTo>
                  <a:lnTo>
                    <a:pt x="474" y="64"/>
                  </a:lnTo>
                  <a:lnTo>
                    <a:pt x="472" y="64"/>
                  </a:lnTo>
                  <a:lnTo>
                    <a:pt x="471" y="64"/>
                  </a:lnTo>
                  <a:lnTo>
                    <a:pt x="469" y="64"/>
                  </a:lnTo>
                  <a:lnTo>
                    <a:pt x="468" y="64"/>
                  </a:lnTo>
                  <a:lnTo>
                    <a:pt x="469" y="64"/>
                  </a:lnTo>
                  <a:lnTo>
                    <a:pt x="471" y="64"/>
                  </a:lnTo>
                  <a:lnTo>
                    <a:pt x="475" y="65"/>
                  </a:lnTo>
                  <a:lnTo>
                    <a:pt x="472" y="65"/>
                  </a:lnTo>
                  <a:lnTo>
                    <a:pt x="471" y="65"/>
                  </a:lnTo>
                  <a:lnTo>
                    <a:pt x="474" y="65"/>
                  </a:lnTo>
                  <a:lnTo>
                    <a:pt x="476" y="65"/>
                  </a:lnTo>
                  <a:lnTo>
                    <a:pt x="478" y="67"/>
                  </a:lnTo>
                  <a:lnTo>
                    <a:pt x="479" y="67"/>
                  </a:lnTo>
                  <a:lnTo>
                    <a:pt x="481" y="67"/>
                  </a:lnTo>
                  <a:lnTo>
                    <a:pt x="481" y="68"/>
                  </a:lnTo>
                  <a:lnTo>
                    <a:pt x="482" y="68"/>
                  </a:lnTo>
                  <a:lnTo>
                    <a:pt x="483" y="68"/>
                  </a:lnTo>
                  <a:lnTo>
                    <a:pt x="484" y="68"/>
                  </a:lnTo>
                  <a:lnTo>
                    <a:pt x="484" y="67"/>
                  </a:lnTo>
                  <a:lnTo>
                    <a:pt x="485" y="67"/>
                  </a:lnTo>
                  <a:lnTo>
                    <a:pt x="486" y="67"/>
                  </a:lnTo>
                  <a:lnTo>
                    <a:pt x="489" y="67"/>
                  </a:lnTo>
                  <a:lnTo>
                    <a:pt x="490" y="68"/>
                  </a:lnTo>
                  <a:lnTo>
                    <a:pt x="491" y="68"/>
                  </a:lnTo>
                  <a:lnTo>
                    <a:pt x="491" y="69"/>
                  </a:lnTo>
                  <a:lnTo>
                    <a:pt x="491" y="70"/>
                  </a:lnTo>
                  <a:lnTo>
                    <a:pt x="491" y="71"/>
                  </a:lnTo>
                  <a:lnTo>
                    <a:pt x="490" y="71"/>
                  </a:lnTo>
                  <a:lnTo>
                    <a:pt x="490" y="72"/>
                  </a:lnTo>
                  <a:lnTo>
                    <a:pt x="489" y="72"/>
                  </a:lnTo>
                  <a:lnTo>
                    <a:pt x="488" y="72"/>
                  </a:lnTo>
                  <a:lnTo>
                    <a:pt x="488" y="74"/>
                  </a:lnTo>
                  <a:lnTo>
                    <a:pt x="488" y="72"/>
                  </a:lnTo>
                  <a:lnTo>
                    <a:pt x="486" y="72"/>
                  </a:lnTo>
                  <a:lnTo>
                    <a:pt x="486" y="74"/>
                  </a:lnTo>
                  <a:lnTo>
                    <a:pt x="486" y="72"/>
                  </a:lnTo>
                  <a:lnTo>
                    <a:pt x="485" y="72"/>
                  </a:lnTo>
                  <a:lnTo>
                    <a:pt x="484" y="72"/>
                  </a:lnTo>
                  <a:lnTo>
                    <a:pt x="483" y="72"/>
                  </a:lnTo>
                  <a:lnTo>
                    <a:pt x="481" y="72"/>
                  </a:lnTo>
                  <a:lnTo>
                    <a:pt x="479" y="72"/>
                  </a:lnTo>
                  <a:lnTo>
                    <a:pt x="479" y="71"/>
                  </a:lnTo>
                  <a:lnTo>
                    <a:pt x="478" y="71"/>
                  </a:lnTo>
                  <a:lnTo>
                    <a:pt x="476" y="71"/>
                  </a:lnTo>
                  <a:lnTo>
                    <a:pt x="472" y="71"/>
                  </a:lnTo>
                  <a:lnTo>
                    <a:pt x="470" y="71"/>
                  </a:lnTo>
                  <a:lnTo>
                    <a:pt x="469" y="71"/>
                  </a:lnTo>
                  <a:lnTo>
                    <a:pt x="468" y="71"/>
                  </a:lnTo>
                  <a:lnTo>
                    <a:pt x="467" y="71"/>
                  </a:lnTo>
                  <a:lnTo>
                    <a:pt x="465" y="71"/>
                  </a:lnTo>
                  <a:lnTo>
                    <a:pt x="462" y="71"/>
                  </a:lnTo>
                  <a:lnTo>
                    <a:pt x="461" y="71"/>
                  </a:lnTo>
                  <a:lnTo>
                    <a:pt x="458" y="71"/>
                  </a:lnTo>
                  <a:lnTo>
                    <a:pt x="460" y="71"/>
                  </a:lnTo>
                  <a:lnTo>
                    <a:pt x="462" y="71"/>
                  </a:lnTo>
                  <a:lnTo>
                    <a:pt x="465" y="71"/>
                  </a:lnTo>
                  <a:lnTo>
                    <a:pt x="467" y="72"/>
                  </a:lnTo>
                  <a:lnTo>
                    <a:pt x="468" y="71"/>
                  </a:lnTo>
                  <a:lnTo>
                    <a:pt x="468" y="72"/>
                  </a:lnTo>
                  <a:lnTo>
                    <a:pt x="465" y="72"/>
                  </a:lnTo>
                  <a:lnTo>
                    <a:pt x="464" y="72"/>
                  </a:lnTo>
                  <a:lnTo>
                    <a:pt x="463" y="72"/>
                  </a:lnTo>
                  <a:lnTo>
                    <a:pt x="462" y="72"/>
                  </a:lnTo>
                  <a:lnTo>
                    <a:pt x="463" y="72"/>
                  </a:lnTo>
                  <a:lnTo>
                    <a:pt x="462" y="72"/>
                  </a:lnTo>
                  <a:lnTo>
                    <a:pt x="462" y="74"/>
                  </a:lnTo>
                  <a:lnTo>
                    <a:pt x="461" y="74"/>
                  </a:lnTo>
                  <a:lnTo>
                    <a:pt x="458" y="74"/>
                  </a:lnTo>
                  <a:lnTo>
                    <a:pt x="460" y="74"/>
                  </a:lnTo>
                  <a:lnTo>
                    <a:pt x="460" y="75"/>
                  </a:lnTo>
                  <a:lnTo>
                    <a:pt x="458" y="75"/>
                  </a:lnTo>
                  <a:lnTo>
                    <a:pt x="458" y="74"/>
                  </a:lnTo>
                  <a:lnTo>
                    <a:pt x="457" y="74"/>
                  </a:lnTo>
                  <a:lnTo>
                    <a:pt x="456" y="72"/>
                  </a:lnTo>
                  <a:lnTo>
                    <a:pt x="455" y="72"/>
                  </a:lnTo>
                  <a:lnTo>
                    <a:pt x="455" y="71"/>
                  </a:lnTo>
                  <a:lnTo>
                    <a:pt x="454" y="71"/>
                  </a:lnTo>
                  <a:lnTo>
                    <a:pt x="451" y="72"/>
                  </a:lnTo>
                  <a:lnTo>
                    <a:pt x="453" y="72"/>
                  </a:lnTo>
                  <a:lnTo>
                    <a:pt x="453" y="74"/>
                  </a:lnTo>
                  <a:lnTo>
                    <a:pt x="451" y="72"/>
                  </a:lnTo>
                  <a:lnTo>
                    <a:pt x="450" y="74"/>
                  </a:lnTo>
                  <a:lnTo>
                    <a:pt x="449" y="74"/>
                  </a:lnTo>
                  <a:lnTo>
                    <a:pt x="451" y="74"/>
                  </a:lnTo>
                  <a:lnTo>
                    <a:pt x="451" y="75"/>
                  </a:lnTo>
                  <a:lnTo>
                    <a:pt x="450" y="75"/>
                  </a:lnTo>
                  <a:lnTo>
                    <a:pt x="451" y="75"/>
                  </a:lnTo>
                  <a:lnTo>
                    <a:pt x="451" y="76"/>
                  </a:lnTo>
                  <a:lnTo>
                    <a:pt x="453" y="76"/>
                  </a:lnTo>
                  <a:lnTo>
                    <a:pt x="453" y="75"/>
                  </a:lnTo>
                  <a:lnTo>
                    <a:pt x="454" y="75"/>
                  </a:lnTo>
                  <a:lnTo>
                    <a:pt x="455" y="75"/>
                  </a:lnTo>
                  <a:lnTo>
                    <a:pt x="456" y="75"/>
                  </a:lnTo>
                  <a:lnTo>
                    <a:pt x="457" y="75"/>
                  </a:lnTo>
                  <a:lnTo>
                    <a:pt x="456" y="75"/>
                  </a:lnTo>
                  <a:lnTo>
                    <a:pt x="455" y="75"/>
                  </a:lnTo>
                  <a:lnTo>
                    <a:pt x="455" y="76"/>
                  </a:lnTo>
                  <a:lnTo>
                    <a:pt x="456" y="76"/>
                  </a:lnTo>
                  <a:lnTo>
                    <a:pt x="456" y="75"/>
                  </a:lnTo>
                  <a:lnTo>
                    <a:pt x="457" y="75"/>
                  </a:lnTo>
                  <a:lnTo>
                    <a:pt x="458" y="76"/>
                  </a:lnTo>
                  <a:lnTo>
                    <a:pt x="455" y="76"/>
                  </a:lnTo>
                  <a:lnTo>
                    <a:pt x="456" y="76"/>
                  </a:lnTo>
                  <a:lnTo>
                    <a:pt x="457" y="76"/>
                  </a:lnTo>
                  <a:lnTo>
                    <a:pt x="458" y="76"/>
                  </a:lnTo>
                  <a:lnTo>
                    <a:pt x="457" y="76"/>
                  </a:lnTo>
                  <a:lnTo>
                    <a:pt x="457" y="77"/>
                  </a:lnTo>
                  <a:lnTo>
                    <a:pt x="454" y="77"/>
                  </a:lnTo>
                  <a:lnTo>
                    <a:pt x="453" y="77"/>
                  </a:lnTo>
                  <a:lnTo>
                    <a:pt x="453" y="76"/>
                  </a:lnTo>
                  <a:lnTo>
                    <a:pt x="451" y="76"/>
                  </a:lnTo>
                  <a:lnTo>
                    <a:pt x="451" y="77"/>
                  </a:lnTo>
                  <a:lnTo>
                    <a:pt x="450" y="77"/>
                  </a:lnTo>
                  <a:lnTo>
                    <a:pt x="451" y="77"/>
                  </a:lnTo>
                  <a:lnTo>
                    <a:pt x="453" y="77"/>
                  </a:lnTo>
                  <a:lnTo>
                    <a:pt x="456" y="77"/>
                  </a:lnTo>
                  <a:lnTo>
                    <a:pt x="458" y="77"/>
                  </a:lnTo>
                  <a:lnTo>
                    <a:pt x="458" y="78"/>
                  </a:lnTo>
                  <a:lnTo>
                    <a:pt x="457" y="78"/>
                  </a:lnTo>
                  <a:lnTo>
                    <a:pt x="457" y="79"/>
                  </a:lnTo>
                  <a:lnTo>
                    <a:pt x="458" y="79"/>
                  </a:lnTo>
                  <a:lnTo>
                    <a:pt x="460" y="79"/>
                  </a:lnTo>
                  <a:lnTo>
                    <a:pt x="460" y="78"/>
                  </a:lnTo>
                  <a:lnTo>
                    <a:pt x="461" y="78"/>
                  </a:lnTo>
                  <a:lnTo>
                    <a:pt x="460" y="78"/>
                  </a:lnTo>
                  <a:lnTo>
                    <a:pt x="461" y="78"/>
                  </a:lnTo>
                  <a:lnTo>
                    <a:pt x="463" y="78"/>
                  </a:lnTo>
                  <a:lnTo>
                    <a:pt x="464" y="79"/>
                  </a:lnTo>
                  <a:lnTo>
                    <a:pt x="465" y="79"/>
                  </a:lnTo>
                  <a:lnTo>
                    <a:pt x="467" y="79"/>
                  </a:lnTo>
                  <a:lnTo>
                    <a:pt x="468" y="81"/>
                  </a:lnTo>
                  <a:lnTo>
                    <a:pt x="467" y="81"/>
                  </a:lnTo>
                  <a:lnTo>
                    <a:pt x="468" y="81"/>
                  </a:lnTo>
                  <a:lnTo>
                    <a:pt x="469" y="81"/>
                  </a:lnTo>
                  <a:lnTo>
                    <a:pt x="468" y="79"/>
                  </a:lnTo>
                  <a:lnTo>
                    <a:pt x="467" y="79"/>
                  </a:lnTo>
                  <a:lnTo>
                    <a:pt x="464" y="79"/>
                  </a:lnTo>
                  <a:lnTo>
                    <a:pt x="464" y="78"/>
                  </a:lnTo>
                  <a:lnTo>
                    <a:pt x="464" y="79"/>
                  </a:lnTo>
                  <a:lnTo>
                    <a:pt x="463" y="79"/>
                  </a:lnTo>
                  <a:lnTo>
                    <a:pt x="463" y="78"/>
                  </a:lnTo>
                  <a:lnTo>
                    <a:pt x="464" y="78"/>
                  </a:lnTo>
                  <a:lnTo>
                    <a:pt x="467" y="79"/>
                  </a:lnTo>
                  <a:lnTo>
                    <a:pt x="468" y="79"/>
                  </a:lnTo>
                  <a:lnTo>
                    <a:pt x="470" y="79"/>
                  </a:lnTo>
                  <a:lnTo>
                    <a:pt x="471" y="79"/>
                  </a:lnTo>
                  <a:lnTo>
                    <a:pt x="474" y="79"/>
                  </a:lnTo>
                  <a:lnTo>
                    <a:pt x="475" y="79"/>
                  </a:lnTo>
                  <a:lnTo>
                    <a:pt x="476" y="81"/>
                  </a:lnTo>
                  <a:lnTo>
                    <a:pt x="475" y="81"/>
                  </a:lnTo>
                  <a:lnTo>
                    <a:pt x="475" y="82"/>
                  </a:lnTo>
                  <a:lnTo>
                    <a:pt x="474" y="82"/>
                  </a:lnTo>
                  <a:lnTo>
                    <a:pt x="472" y="82"/>
                  </a:lnTo>
                  <a:lnTo>
                    <a:pt x="470" y="82"/>
                  </a:lnTo>
                  <a:lnTo>
                    <a:pt x="465" y="82"/>
                  </a:lnTo>
                  <a:lnTo>
                    <a:pt x="462" y="82"/>
                  </a:lnTo>
                  <a:lnTo>
                    <a:pt x="457" y="82"/>
                  </a:lnTo>
                  <a:lnTo>
                    <a:pt x="456" y="82"/>
                  </a:lnTo>
                  <a:lnTo>
                    <a:pt x="455" y="82"/>
                  </a:lnTo>
                  <a:lnTo>
                    <a:pt x="454" y="82"/>
                  </a:lnTo>
                  <a:lnTo>
                    <a:pt x="455" y="82"/>
                  </a:lnTo>
                  <a:lnTo>
                    <a:pt x="455" y="83"/>
                  </a:lnTo>
                  <a:lnTo>
                    <a:pt x="457" y="83"/>
                  </a:lnTo>
                  <a:lnTo>
                    <a:pt x="460" y="83"/>
                  </a:lnTo>
                  <a:lnTo>
                    <a:pt x="463" y="83"/>
                  </a:lnTo>
                  <a:lnTo>
                    <a:pt x="467" y="83"/>
                  </a:lnTo>
                  <a:lnTo>
                    <a:pt x="468" y="83"/>
                  </a:lnTo>
                  <a:lnTo>
                    <a:pt x="469" y="83"/>
                  </a:lnTo>
                  <a:lnTo>
                    <a:pt x="472" y="83"/>
                  </a:lnTo>
                  <a:lnTo>
                    <a:pt x="475" y="83"/>
                  </a:lnTo>
                  <a:lnTo>
                    <a:pt x="475" y="84"/>
                  </a:lnTo>
                  <a:lnTo>
                    <a:pt x="476" y="84"/>
                  </a:lnTo>
                  <a:lnTo>
                    <a:pt x="476" y="85"/>
                  </a:lnTo>
                  <a:lnTo>
                    <a:pt x="477" y="85"/>
                  </a:lnTo>
                  <a:lnTo>
                    <a:pt x="476" y="85"/>
                  </a:lnTo>
                  <a:lnTo>
                    <a:pt x="475" y="85"/>
                  </a:lnTo>
                  <a:lnTo>
                    <a:pt x="475" y="86"/>
                  </a:lnTo>
                  <a:lnTo>
                    <a:pt x="476" y="86"/>
                  </a:lnTo>
                  <a:lnTo>
                    <a:pt x="476" y="88"/>
                  </a:lnTo>
                  <a:lnTo>
                    <a:pt x="477" y="88"/>
                  </a:lnTo>
                  <a:lnTo>
                    <a:pt x="477" y="89"/>
                  </a:lnTo>
                  <a:lnTo>
                    <a:pt x="476" y="90"/>
                  </a:lnTo>
                  <a:lnTo>
                    <a:pt x="476" y="91"/>
                  </a:lnTo>
                  <a:lnTo>
                    <a:pt x="475" y="92"/>
                  </a:lnTo>
                  <a:lnTo>
                    <a:pt x="474" y="92"/>
                  </a:lnTo>
                  <a:lnTo>
                    <a:pt x="471" y="92"/>
                  </a:lnTo>
                  <a:lnTo>
                    <a:pt x="470" y="92"/>
                  </a:lnTo>
                  <a:lnTo>
                    <a:pt x="470" y="91"/>
                  </a:lnTo>
                  <a:lnTo>
                    <a:pt x="470" y="90"/>
                  </a:lnTo>
                  <a:lnTo>
                    <a:pt x="469" y="90"/>
                  </a:lnTo>
                  <a:lnTo>
                    <a:pt x="468" y="90"/>
                  </a:lnTo>
                  <a:lnTo>
                    <a:pt x="467" y="90"/>
                  </a:lnTo>
                  <a:lnTo>
                    <a:pt x="464" y="91"/>
                  </a:lnTo>
                  <a:lnTo>
                    <a:pt x="463" y="90"/>
                  </a:lnTo>
                  <a:lnTo>
                    <a:pt x="462" y="90"/>
                  </a:lnTo>
                  <a:lnTo>
                    <a:pt x="461" y="90"/>
                  </a:lnTo>
                  <a:lnTo>
                    <a:pt x="460" y="89"/>
                  </a:lnTo>
                  <a:lnTo>
                    <a:pt x="458" y="88"/>
                  </a:lnTo>
                  <a:lnTo>
                    <a:pt x="455" y="86"/>
                  </a:lnTo>
                  <a:lnTo>
                    <a:pt x="453" y="86"/>
                  </a:lnTo>
                  <a:lnTo>
                    <a:pt x="450" y="86"/>
                  </a:lnTo>
                  <a:lnTo>
                    <a:pt x="453" y="86"/>
                  </a:lnTo>
                  <a:lnTo>
                    <a:pt x="456" y="88"/>
                  </a:lnTo>
                  <a:lnTo>
                    <a:pt x="457" y="89"/>
                  </a:lnTo>
                  <a:lnTo>
                    <a:pt x="453" y="89"/>
                  </a:lnTo>
                  <a:lnTo>
                    <a:pt x="448" y="88"/>
                  </a:lnTo>
                  <a:lnTo>
                    <a:pt x="451" y="89"/>
                  </a:lnTo>
                  <a:lnTo>
                    <a:pt x="454" y="89"/>
                  </a:lnTo>
                  <a:lnTo>
                    <a:pt x="457" y="89"/>
                  </a:lnTo>
                  <a:lnTo>
                    <a:pt x="457" y="90"/>
                  </a:lnTo>
                  <a:lnTo>
                    <a:pt x="458" y="90"/>
                  </a:lnTo>
                  <a:lnTo>
                    <a:pt x="461" y="90"/>
                  </a:lnTo>
                  <a:lnTo>
                    <a:pt x="462" y="90"/>
                  </a:lnTo>
                  <a:lnTo>
                    <a:pt x="462" y="91"/>
                  </a:lnTo>
                  <a:lnTo>
                    <a:pt x="464" y="91"/>
                  </a:lnTo>
                  <a:lnTo>
                    <a:pt x="464" y="92"/>
                  </a:lnTo>
                  <a:lnTo>
                    <a:pt x="465" y="92"/>
                  </a:lnTo>
                  <a:lnTo>
                    <a:pt x="463" y="92"/>
                  </a:lnTo>
                  <a:lnTo>
                    <a:pt x="461" y="92"/>
                  </a:lnTo>
                  <a:lnTo>
                    <a:pt x="460" y="92"/>
                  </a:lnTo>
                  <a:lnTo>
                    <a:pt x="458" y="92"/>
                  </a:lnTo>
                  <a:lnTo>
                    <a:pt x="455" y="95"/>
                  </a:lnTo>
                  <a:lnTo>
                    <a:pt x="453" y="95"/>
                  </a:lnTo>
                  <a:lnTo>
                    <a:pt x="453" y="93"/>
                  </a:lnTo>
                  <a:lnTo>
                    <a:pt x="451" y="93"/>
                  </a:lnTo>
                  <a:lnTo>
                    <a:pt x="448" y="92"/>
                  </a:lnTo>
                  <a:lnTo>
                    <a:pt x="447" y="92"/>
                  </a:lnTo>
                  <a:lnTo>
                    <a:pt x="448" y="92"/>
                  </a:lnTo>
                  <a:lnTo>
                    <a:pt x="449" y="92"/>
                  </a:lnTo>
                  <a:lnTo>
                    <a:pt x="451" y="93"/>
                  </a:lnTo>
                  <a:lnTo>
                    <a:pt x="450" y="93"/>
                  </a:lnTo>
                  <a:lnTo>
                    <a:pt x="451" y="95"/>
                  </a:lnTo>
                  <a:lnTo>
                    <a:pt x="453" y="95"/>
                  </a:lnTo>
                  <a:lnTo>
                    <a:pt x="454" y="95"/>
                  </a:lnTo>
                  <a:lnTo>
                    <a:pt x="455" y="95"/>
                  </a:lnTo>
                  <a:lnTo>
                    <a:pt x="460" y="93"/>
                  </a:lnTo>
                  <a:lnTo>
                    <a:pt x="461" y="93"/>
                  </a:lnTo>
                  <a:lnTo>
                    <a:pt x="462" y="93"/>
                  </a:lnTo>
                  <a:lnTo>
                    <a:pt x="463" y="93"/>
                  </a:lnTo>
                  <a:lnTo>
                    <a:pt x="464" y="93"/>
                  </a:lnTo>
                  <a:lnTo>
                    <a:pt x="463" y="93"/>
                  </a:lnTo>
                  <a:lnTo>
                    <a:pt x="463" y="95"/>
                  </a:lnTo>
                  <a:lnTo>
                    <a:pt x="463" y="96"/>
                  </a:lnTo>
                  <a:lnTo>
                    <a:pt x="462" y="96"/>
                  </a:lnTo>
                  <a:lnTo>
                    <a:pt x="462" y="97"/>
                  </a:lnTo>
                  <a:lnTo>
                    <a:pt x="463" y="97"/>
                  </a:lnTo>
                  <a:lnTo>
                    <a:pt x="462" y="98"/>
                  </a:lnTo>
                  <a:lnTo>
                    <a:pt x="461" y="98"/>
                  </a:lnTo>
                  <a:lnTo>
                    <a:pt x="458" y="98"/>
                  </a:lnTo>
                  <a:lnTo>
                    <a:pt x="462" y="98"/>
                  </a:lnTo>
                  <a:lnTo>
                    <a:pt x="463" y="98"/>
                  </a:lnTo>
                  <a:lnTo>
                    <a:pt x="465" y="98"/>
                  </a:lnTo>
                  <a:lnTo>
                    <a:pt x="467" y="98"/>
                  </a:lnTo>
                  <a:lnTo>
                    <a:pt x="468" y="98"/>
                  </a:lnTo>
                  <a:lnTo>
                    <a:pt x="469" y="98"/>
                  </a:lnTo>
                  <a:lnTo>
                    <a:pt x="469" y="99"/>
                  </a:lnTo>
                  <a:lnTo>
                    <a:pt x="470" y="99"/>
                  </a:lnTo>
                  <a:lnTo>
                    <a:pt x="471" y="99"/>
                  </a:lnTo>
                  <a:lnTo>
                    <a:pt x="472" y="98"/>
                  </a:lnTo>
                  <a:lnTo>
                    <a:pt x="474" y="98"/>
                  </a:lnTo>
                  <a:lnTo>
                    <a:pt x="475" y="98"/>
                  </a:lnTo>
                  <a:lnTo>
                    <a:pt x="476" y="98"/>
                  </a:lnTo>
                  <a:lnTo>
                    <a:pt x="475" y="99"/>
                  </a:lnTo>
                  <a:lnTo>
                    <a:pt x="474" y="99"/>
                  </a:lnTo>
                  <a:lnTo>
                    <a:pt x="475" y="99"/>
                  </a:lnTo>
                  <a:lnTo>
                    <a:pt x="475" y="100"/>
                  </a:lnTo>
                  <a:lnTo>
                    <a:pt x="476" y="100"/>
                  </a:lnTo>
                  <a:lnTo>
                    <a:pt x="477" y="100"/>
                  </a:lnTo>
                  <a:lnTo>
                    <a:pt x="478" y="100"/>
                  </a:lnTo>
                  <a:lnTo>
                    <a:pt x="477" y="100"/>
                  </a:lnTo>
                  <a:lnTo>
                    <a:pt x="477" y="102"/>
                  </a:lnTo>
                  <a:lnTo>
                    <a:pt x="476" y="102"/>
                  </a:lnTo>
                  <a:lnTo>
                    <a:pt x="476" y="103"/>
                  </a:lnTo>
                  <a:lnTo>
                    <a:pt x="474" y="103"/>
                  </a:lnTo>
                  <a:lnTo>
                    <a:pt x="471" y="104"/>
                  </a:lnTo>
                  <a:lnTo>
                    <a:pt x="468" y="103"/>
                  </a:lnTo>
                  <a:lnTo>
                    <a:pt x="465" y="103"/>
                  </a:lnTo>
                  <a:lnTo>
                    <a:pt x="465" y="102"/>
                  </a:lnTo>
                  <a:lnTo>
                    <a:pt x="464" y="102"/>
                  </a:lnTo>
                  <a:lnTo>
                    <a:pt x="464" y="100"/>
                  </a:lnTo>
                  <a:lnTo>
                    <a:pt x="464" y="102"/>
                  </a:lnTo>
                  <a:lnTo>
                    <a:pt x="463" y="102"/>
                  </a:lnTo>
                  <a:lnTo>
                    <a:pt x="463" y="100"/>
                  </a:lnTo>
                  <a:lnTo>
                    <a:pt x="462" y="100"/>
                  </a:lnTo>
                  <a:lnTo>
                    <a:pt x="460" y="100"/>
                  </a:lnTo>
                  <a:lnTo>
                    <a:pt x="456" y="100"/>
                  </a:lnTo>
                  <a:lnTo>
                    <a:pt x="454" y="100"/>
                  </a:lnTo>
                  <a:lnTo>
                    <a:pt x="453" y="100"/>
                  </a:lnTo>
                  <a:lnTo>
                    <a:pt x="451" y="100"/>
                  </a:lnTo>
                  <a:lnTo>
                    <a:pt x="450" y="100"/>
                  </a:lnTo>
                  <a:lnTo>
                    <a:pt x="450" y="99"/>
                  </a:lnTo>
                  <a:lnTo>
                    <a:pt x="449" y="99"/>
                  </a:lnTo>
                  <a:lnTo>
                    <a:pt x="448" y="99"/>
                  </a:lnTo>
                  <a:lnTo>
                    <a:pt x="449" y="99"/>
                  </a:lnTo>
                  <a:lnTo>
                    <a:pt x="450" y="100"/>
                  </a:lnTo>
                  <a:lnTo>
                    <a:pt x="451" y="102"/>
                  </a:lnTo>
                  <a:lnTo>
                    <a:pt x="450" y="102"/>
                  </a:lnTo>
                  <a:lnTo>
                    <a:pt x="449" y="103"/>
                  </a:lnTo>
                  <a:lnTo>
                    <a:pt x="448" y="103"/>
                  </a:lnTo>
                  <a:lnTo>
                    <a:pt x="447" y="103"/>
                  </a:lnTo>
                  <a:lnTo>
                    <a:pt x="446" y="103"/>
                  </a:lnTo>
                  <a:lnTo>
                    <a:pt x="444" y="103"/>
                  </a:lnTo>
                  <a:lnTo>
                    <a:pt x="446" y="103"/>
                  </a:lnTo>
                  <a:lnTo>
                    <a:pt x="447" y="103"/>
                  </a:lnTo>
                  <a:lnTo>
                    <a:pt x="448" y="103"/>
                  </a:lnTo>
                  <a:lnTo>
                    <a:pt x="448" y="104"/>
                  </a:lnTo>
                  <a:lnTo>
                    <a:pt x="447" y="104"/>
                  </a:lnTo>
                  <a:lnTo>
                    <a:pt x="446" y="104"/>
                  </a:lnTo>
                  <a:lnTo>
                    <a:pt x="444" y="105"/>
                  </a:lnTo>
                  <a:lnTo>
                    <a:pt x="446" y="105"/>
                  </a:lnTo>
                  <a:lnTo>
                    <a:pt x="446" y="104"/>
                  </a:lnTo>
                  <a:lnTo>
                    <a:pt x="447" y="104"/>
                  </a:lnTo>
                  <a:lnTo>
                    <a:pt x="447" y="105"/>
                  </a:lnTo>
                  <a:lnTo>
                    <a:pt x="446" y="105"/>
                  </a:lnTo>
                  <a:lnTo>
                    <a:pt x="444" y="105"/>
                  </a:lnTo>
                  <a:lnTo>
                    <a:pt x="443" y="105"/>
                  </a:lnTo>
                  <a:lnTo>
                    <a:pt x="443" y="106"/>
                  </a:lnTo>
                  <a:lnTo>
                    <a:pt x="444" y="106"/>
                  </a:lnTo>
                  <a:lnTo>
                    <a:pt x="446" y="106"/>
                  </a:lnTo>
                  <a:lnTo>
                    <a:pt x="447" y="106"/>
                  </a:lnTo>
                  <a:lnTo>
                    <a:pt x="448" y="106"/>
                  </a:lnTo>
                  <a:lnTo>
                    <a:pt x="448" y="107"/>
                  </a:lnTo>
                  <a:lnTo>
                    <a:pt x="449" y="107"/>
                  </a:lnTo>
                  <a:lnTo>
                    <a:pt x="449" y="109"/>
                  </a:lnTo>
                  <a:lnTo>
                    <a:pt x="449" y="110"/>
                  </a:lnTo>
                  <a:lnTo>
                    <a:pt x="448" y="110"/>
                  </a:lnTo>
                  <a:lnTo>
                    <a:pt x="448" y="111"/>
                  </a:lnTo>
                  <a:lnTo>
                    <a:pt x="449" y="111"/>
                  </a:lnTo>
                  <a:lnTo>
                    <a:pt x="449" y="110"/>
                  </a:lnTo>
                  <a:lnTo>
                    <a:pt x="449" y="109"/>
                  </a:lnTo>
                  <a:lnTo>
                    <a:pt x="449" y="107"/>
                  </a:lnTo>
                  <a:lnTo>
                    <a:pt x="448" y="107"/>
                  </a:lnTo>
                  <a:lnTo>
                    <a:pt x="448" y="106"/>
                  </a:lnTo>
                  <a:lnTo>
                    <a:pt x="449" y="106"/>
                  </a:lnTo>
                  <a:lnTo>
                    <a:pt x="450" y="106"/>
                  </a:lnTo>
                  <a:lnTo>
                    <a:pt x="451" y="106"/>
                  </a:lnTo>
                  <a:lnTo>
                    <a:pt x="456" y="107"/>
                  </a:lnTo>
                  <a:lnTo>
                    <a:pt x="460" y="107"/>
                  </a:lnTo>
                  <a:lnTo>
                    <a:pt x="463" y="107"/>
                  </a:lnTo>
                  <a:lnTo>
                    <a:pt x="463" y="109"/>
                  </a:lnTo>
                  <a:lnTo>
                    <a:pt x="464" y="109"/>
                  </a:lnTo>
                  <a:lnTo>
                    <a:pt x="463" y="109"/>
                  </a:lnTo>
                  <a:lnTo>
                    <a:pt x="463" y="110"/>
                  </a:lnTo>
                  <a:lnTo>
                    <a:pt x="462" y="110"/>
                  </a:lnTo>
                  <a:lnTo>
                    <a:pt x="461" y="110"/>
                  </a:lnTo>
                  <a:lnTo>
                    <a:pt x="461" y="111"/>
                  </a:lnTo>
                  <a:lnTo>
                    <a:pt x="462" y="111"/>
                  </a:lnTo>
                  <a:lnTo>
                    <a:pt x="461" y="111"/>
                  </a:lnTo>
                  <a:lnTo>
                    <a:pt x="461" y="112"/>
                  </a:lnTo>
                  <a:lnTo>
                    <a:pt x="462" y="112"/>
                  </a:lnTo>
                  <a:lnTo>
                    <a:pt x="462" y="113"/>
                  </a:lnTo>
                  <a:lnTo>
                    <a:pt x="461" y="113"/>
                  </a:lnTo>
                  <a:lnTo>
                    <a:pt x="460" y="113"/>
                  </a:lnTo>
                  <a:lnTo>
                    <a:pt x="456" y="113"/>
                  </a:lnTo>
                  <a:lnTo>
                    <a:pt x="453" y="113"/>
                  </a:lnTo>
                  <a:lnTo>
                    <a:pt x="451" y="113"/>
                  </a:lnTo>
                  <a:lnTo>
                    <a:pt x="450" y="113"/>
                  </a:lnTo>
                  <a:lnTo>
                    <a:pt x="450" y="114"/>
                  </a:lnTo>
                  <a:lnTo>
                    <a:pt x="449" y="114"/>
                  </a:lnTo>
                  <a:lnTo>
                    <a:pt x="448" y="114"/>
                  </a:lnTo>
                  <a:lnTo>
                    <a:pt x="446" y="114"/>
                  </a:lnTo>
                  <a:lnTo>
                    <a:pt x="444" y="116"/>
                  </a:lnTo>
                  <a:lnTo>
                    <a:pt x="443" y="116"/>
                  </a:lnTo>
                  <a:lnTo>
                    <a:pt x="442" y="116"/>
                  </a:lnTo>
                  <a:lnTo>
                    <a:pt x="440" y="116"/>
                  </a:lnTo>
                  <a:lnTo>
                    <a:pt x="436" y="116"/>
                  </a:lnTo>
                  <a:lnTo>
                    <a:pt x="436" y="114"/>
                  </a:lnTo>
                  <a:lnTo>
                    <a:pt x="435" y="114"/>
                  </a:lnTo>
                  <a:lnTo>
                    <a:pt x="434" y="114"/>
                  </a:lnTo>
                  <a:lnTo>
                    <a:pt x="432" y="113"/>
                  </a:lnTo>
                  <a:lnTo>
                    <a:pt x="431" y="113"/>
                  </a:lnTo>
                  <a:lnTo>
                    <a:pt x="429" y="112"/>
                  </a:lnTo>
                  <a:lnTo>
                    <a:pt x="428" y="112"/>
                  </a:lnTo>
                  <a:lnTo>
                    <a:pt x="427" y="112"/>
                  </a:lnTo>
                  <a:lnTo>
                    <a:pt x="427" y="111"/>
                  </a:lnTo>
                  <a:lnTo>
                    <a:pt x="428" y="110"/>
                  </a:lnTo>
                  <a:lnTo>
                    <a:pt x="431" y="110"/>
                  </a:lnTo>
                  <a:lnTo>
                    <a:pt x="432" y="110"/>
                  </a:lnTo>
                  <a:lnTo>
                    <a:pt x="433" y="110"/>
                  </a:lnTo>
                  <a:lnTo>
                    <a:pt x="433" y="111"/>
                  </a:lnTo>
                  <a:lnTo>
                    <a:pt x="434" y="111"/>
                  </a:lnTo>
                  <a:lnTo>
                    <a:pt x="436" y="111"/>
                  </a:lnTo>
                  <a:lnTo>
                    <a:pt x="439" y="112"/>
                  </a:lnTo>
                  <a:lnTo>
                    <a:pt x="440" y="112"/>
                  </a:lnTo>
                  <a:lnTo>
                    <a:pt x="441" y="112"/>
                  </a:lnTo>
                  <a:lnTo>
                    <a:pt x="442" y="112"/>
                  </a:lnTo>
                  <a:lnTo>
                    <a:pt x="443" y="112"/>
                  </a:lnTo>
                  <a:lnTo>
                    <a:pt x="444" y="111"/>
                  </a:lnTo>
                  <a:lnTo>
                    <a:pt x="443" y="111"/>
                  </a:lnTo>
                  <a:lnTo>
                    <a:pt x="442" y="111"/>
                  </a:lnTo>
                  <a:lnTo>
                    <a:pt x="441" y="112"/>
                  </a:lnTo>
                  <a:lnTo>
                    <a:pt x="439" y="112"/>
                  </a:lnTo>
                  <a:lnTo>
                    <a:pt x="437" y="111"/>
                  </a:lnTo>
                  <a:lnTo>
                    <a:pt x="436" y="111"/>
                  </a:lnTo>
                  <a:lnTo>
                    <a:pt x="435" y="111"/>
                  </a:lnTo>
                  <a:lnTo>
                    <a:pt x="432" y="110"/>
                  </a:lnTo>
                  <a:lnTo>
                    <a:pt x="429" y="110"/>
                  </a:lnTo>
                  <a:lnTo>
                    <a:pt x="428" y="109"/>
                  </a:lnTo>
                  <a:lnTo>
                    <a:pt x="427" y="109"/>
                  </a:lnTo>
                  <a:lnTo>
                    <a:pt x="426" y="110"/>
                  </a:lnTo>
                  <a:lnTo>
                    <a:pt x="425" y="110"/>
                  </a:lnTo>
                  <a:lnTo>
                    <a:pt x="424" y="110"/>
                  </a:lnTo>
                  <a:lnTo>
                    <a:pt x="424" y="111"/>
                  </a:lnTo>
                  <a:lnTo>
                    <a:pt x="424" y="112"/>
                  </a:lnTo>
                  <a:lnTo>
                    <a:pt x="422" y="112"/>
                  </a:lnTo>
                  <a:lnTo>
                    <a:pt x="419" y="111"/>
                  </a:lnTo>
                  <a:lnTo>
                    <a:pt x="418" y="111"/>
                  </a:lnTo>
                  <a:lnTo>
                    <a:pt x="419" y="111"/>
                  </a:lnTo>
                  <a:lnTo>
                    <a:pt x="419" y="110"/>
                  </a:lnTo>
                  <a:lnTo>
                    <a:pt x="418" y="110"/>
                  </a:lnTo>
                  <a:lnTo>
                    <a:pt x="417" y="110"/>
                  </a:lnTo>
                  <a:lnTo>
                    <a:pt x="415" y="109"/>
                  </a:lnTo>
                  <a:lnTo>
                    <a:pt x="414" y="109"/>
                  </a:lnTo>
                  <a:lnTo>
                    <a:pt x="414" y="107"/>
                  </a:lnTo>
                  <a:lnTo>
                    <a:pt x="413" y="107"/>
                  </a:lnTo>
                  <a:lnTo>
                    <a:pt x="412" y="107"/>
                  </a:lnTo>
                  <a:lnTo>
                    <a:pt x="413" y="109"/>
                  </a:lnTo>
                  <a:lnTo>
                    <a:pt x="414" y="110"/>
                  </a:lnTo>
                  <a:lnTo>
                    <a:pt x="415" y="110"/>
                  </a:lnTo>
                  <a:lnTo>
                    <a:pt x="418" y="111"/>
                  </a:lnTo>
                  <a:lnTo>
                    <a:pt x="417" y="111"/>
                  </a:lnTo>
                  <a:lnTo>
                    <a:pt x="418" y="112"/>
                  </a:lnTo>
                  <a:lnTo>
                    <a:pt x="419" y="112"/>
                  </a:lnTo>
                  <a:lnTo>
                    <a:pt x="420" y="112"/>
                  </a:lnTo>
                  <a:lnTo>
                    <a:pt x="421" y="112"/>
                  </a:lnTo>
                  <a:lnTo>
                    <a:pt x="420" y="113"/>
                  </a:lnTo>
                  <a:lnTo>
                    <a:pt x="418" y="113"/>
                  </a:lnTo>
                  <a:lnTo>
                    <a:pt x="414" y="113"/>
                  </a:lnTo>
                  <a:lnTo>
                    <a:pt x="412" y="114"/>
                  </a:lnTo>
                  <a:lnTo>
                    <a:pt x="413" y="114"/>
                  </a:lnTo>
                  <a:lnTo>
                    <a:pt x="412" y="116"/>
                  </a:lnTo>
                  <a:lnTo>
                    <a:pt x="410" y="116"/>
                  </a:lnTo>
                  <a:lnTo>
                    <a:pt x="408" y="116"/>
                  </a:lnTo>
                  <a:lnTo>
                    <a:pt x="407" y="116"/>
                  </a:lnTo>
                  <a:lnTo>
                    <a:pt x="406" y="116"/>
                  </a:lnTo>
                  <a:lnTo>
                    <a:pt x="405" y="116"/>
                  </a:lnTo>
                  <a:lnTo>
                    <a:pt x="404" y="116"/>
                  </a:lnTo>
                  <a:lnTo>
                    <a:pt x="404" y="114"/>
                  </a:lnTo>
                  <a:lnTo>
                    <a:pt x="403" y="114"/>
                  </a:lnTo>
                  <a:lnTo>
                    <a:pt x="403" y="116"/>
                  </a:lnTo>
                  <a:lnTo>
                    <a:pt x="401" y="116"/>
                  </a:lnTo>
                  <a:lnTo>
                    <a:pt x="399" y="114"/>
                  </a:lnTo>
                  <a:lnTo>
                    <a:pt x="397" y="113"/>
                  </a:lnTo>
                  <a:lnTo>
                    <a:pt x="396" y="113"/>
                  </a:lnTo>
                  <a:lnTo>
                    <a:pt x="394" y="113"/>
                  </a:lnTo>
                  <a:lnTo>
                    <a:pt x="393" y="113"/>
                  </a:lnTo>
                  <a:lnTo>
                    <a:pt x="394" y="113"/>
                  </a:lnTo>
                  <a:lnTo>
                    <a:pt x="396" y="114"/>
                  </a:lnTo>
                  <a:lnTo>
                    <a:pt x="397" y="114"/>
                  </a:lnTo>
                  <a:lnTo>
                    <a:pt x="399" y="116"/>
                  </a:lnTo>
                  <a:lnTo>
                    <a:pt x="398" y="116"/>
                  </a:lnTo>
                  <a:lnTo>
                    <a:pt x="399" y="116"/>
                  </a:lnTo>
                  <a:lnTo>
                    <a:pt x="400" y="116"/>
                  </a:lnTo>
                  <a:lnTo>
                    <a:pt x="403" y="116"/>
                  </a:lnTo>
                  <a:lnTo>
                    <a:pt x="404" y="116"/>
                  </a:lnTo>
                  <a:lnTo>
                    <a:pt x="404" y="117"/>
                  </a:lnTo>
                  <a:lnTo>
                    <a:pt x="403" y="117"/>
                  </a:lnTo>
                  <a:lnTo>
                    <a:pt x="401" y="117"/>
                  </a:lnTo>
                  <a:lnTo>
                    <a:pt x="400" y="117"/>
                  </a:lnTo>
                  <a:lnTo>
                    <a:pt x="400" y="118"/>
                  </a:lnTo>
                  <a:lnTo>
                    <a:pt x="399" y="118"/>
                  </a:lnTo>
                  <a:lnTo>
                    <a:pt x="398" y="117"/>
                  </a:lnTo>
                  <a:lnTo>
                    <a:pt x="397" y="117"/>
                  </a:lnTo>
                  <a:lnTo>
                    <a:pt x="396" y="117"/>
                  </a:lnTo>
                  <a:lnTo>
                    <a:pt x="393" y="117"/>
                  </a:lnTo>
                  <a:lnTo>
                    <a:pt x="391" y="117"/>
                  </a:lnTo>
                  <a:lnTo>
                    <a:pt x="390" y="118"/>
                  </a:lnTo>
                  <a:lnTo>
                    <a:pt x="391" y="118"/>
                  </a:lnTo>
                  <a:lnTo>
                    <a:pt x="392" y="118"/>
                  </a:lnTo>
                  <a:lnTo>
                    <a:pt x="393" y="118"/>
                  </a:lnTo>
                  <a:lnTo>
                    <a:pt x="393" y="119"/>
                  </a:lnTo>
                  <a:lnTo>
                    <a:pt x="392" y="120"/>
                  </a:lnTo>
                  <a:lnTo>
                    <a:pt x="391" y="120"/>
                  </a:lnTo>
                  <a:lnTo>
                    <a:pt x="392" y="120"/>
                  </a:lnTo>
                  <a:lnTo>
                    <a:pt x="393" y="119"/>
                  </a:lnTo>
                  <a:lnTo>
                    <a:pt x="394" y="118"/>
                  </a:lnTo>
                  <a:lnTo>
                    <a:pt x="396" y="117"/>
                  </a:lnTo>
                  <a:lnTo>
                    <a:pt x="400" y="118"/>
                  </a:lnTo>
                  <a:lnTo>
                    <a:pt x="401" y="118"/>
                  </a:lnTo>
                  <a:lnTo>
                    <a:pt x="403" y="117"/>
                  </a:lnTo>
                  <a:lnTo>
                    <a:pt x="407" y="117"/>
                  </a:lnTo>
                  <a:lnTo>
                    <a:pt x="408" y="117"/>
                  </a:lnTo>
                  <a:lnTo>
                    <a:pt x="410" y="118"/>
                  </a:lnTo>
                  <a:lnTo>
                    <a:pt x="413" y="118"/>
                  </a:lnTo>
                  <a:lnTo>
                    <a:pt x="415" y="118"/>
                  </a:lnTo>
                  <a:lnTo>
                    <a:pt x="415" y="119"/>
                  </a:lnTo>
                  <a:lnTo>
                    <a:pt x="417" y="119"/>
                  </a:lnTo>
                  <a:lnTo>
                    <a:pt x="415" y="119"/>
                  </a:lnTo>
                  <a:lnTo>
                    <a:pt x="414" y="120"/>
                  </a:lnTo>
                  <a:lnTo>
                    <a:pt x="413" y="120"/>
                  </a:lnTo>
                  <a:lnTo>
                    <a:pt x="408" y="120"/>
                  </a:lnTo>
                  <a:lnTo>
                    <a:pt x="407" y="121"/>
                  </a:lnTo>
                  <a:lnTo>
                    <a:pt x="406" y="121"/>
                  </a:lnTo>
                  <a:lnTo>
                    <a:pt x="405" y="121"/>
                  </a:lnTo>
                  <a:lnTo>
                    <a:pt x="404" y="123"/>
                  </a:lnTo>
                  <a:lnTo>
                    <a:pt x="403" y="121"/>
                  </a:lnTo>
                  <a:lnTo>
                    <a:pt x="400" y="121"/>
                  </a:lnTo>
                  <a:lnTo>
                    <a:pt x="398" y="120"/>
                  </a:lnTo>
                  <a:lnTo>
                    <a:pt x="396" y="121"/>
                  </a:lnTo>
                  <a:lnTo>
                    <a:pt x="394" y="121"/>
                  </a:lnTo>
                  <a:lnTo>
                    <a:pt x="393" y="121"/>
                  </a:lnTo>
                  <a:lnTo>
                    <a:pt x="392" y="121"/>
                  </a:lnTo>
                  <a:lnTo>
                    <a:pt x="394" y="121"/>
                  </a:lnTo>
                  <a:lnTo>
                    <a:pt x="396" y="121"/>
                  </a:lnTo>
                  <a:lnTo>
                    <a:pt x="397" y="121"/>
                  </a:lnTo>
                  <a:lnTo>
                    <a:pt x="399" y="121"/>
                  </a:lnTo>
                  <a:lnTo>
                    <a:pt x="400" y="121"/>
                  </a:lnTo>
                  <a:lnTo>
                    <a:pt x="401" y="121"/>
                  </a:lnTo>
                  <a:lnTo>
                    <a:pt x="401" y="123"/>
                  </a:lnTo>
                  <a:lnTo>
                    <a:pt x="400" y="123"/>
                  </a:lnTo>
                  <a:lnTo>
                    <a:pt x="399" y="123"/>
                  </a:lnTo>
                  <a:lnTo>
                    <a:pt x="398" y="123"/>
                  </a:lnTo>
                  <a:lnTo>
                    <a:pt x="403" y="123"/>
                  </a:lnTo>
                  <a:lnTo>
                    <a:pt x="401" y="124"/>
                  </a:lnTo>
                  <a:lnTo>
                    <a:pt x="400" y="124"/>
                  </a:lnTo>
                  <a:lnTo>
                    <a:pt x="400" y="125"/>
                  </a:lnTo>
                  <a:lnTo>
                    <a:pt x="401" y="125"/>
                  </a:lnTo>
                  <a:lnTo>
                    <a:pt x="403" y="123"/>
                  </a:lnTo>
                  <a:lnTo>
                    <a:pt x="404" y="123"/>
                  </a:lnTo>
                  <a:lnTo>
                    <a:pt x="405" y="123"/>
                  </a:lnTo>
                  <a:lnTo>
                    <a:pt x="406" y="123"/>
                  </a:lnTo>
                  <a:lnTo>
                    <a:pt x="407" y="123"/>
                  </a:lnTo>
                  <a:lnTo>
                    <a:pt x="408" y="121"/>
                  </a:lnTo>
                  <a:lnTo>
                    <a:pt x="410" y="121"/>
                  </a:lnTo>
                  <a:lnTo>
                    <a:pt x="411" y="121"/>
                  </a:lnTo>
                  <a:lnTo>
                    <a:pt x="412" y="121"/>
                  </a:lnTo>
                  <a:lnTo>
                    <a:pt x="413" y="121"/>
                  </a:lnTo>
                  <a:lnTo>
                    <a:pt x="413" y="123"/>
                  </a:lnTo>
                  <a:lnTo>
                    <a:pt x="414" y="123"/>
                  </a:lnTo>
                  <a:lnTo>
                    <a:pt x="415" y="123"/>
                  </a:lnTo>
                  <a:lnTo>
                    <a:pt x="417" y="123"/>
                  </a:lnTo>
                  <a:lnTo>
                    <a:pt x="418" y="124"/>
                  </a:lnTo>
                  <a:lnTo>
                    <a:pt x="418" y="125"/>
                  </a:lnTo>
                  <a:lnTo>
                    <a:pt x="419" y="125"/>
                  </a:lnTo>
                  <a:lnTo>
                    <a:pt x="418" y="125"/>
                  </a:lnTo>
                  <a:lnTo>
                    <a:pt x="417" y="126"/>
                  </a:lnTo>
                  <a:lnTo>
                    <a:pt x="415" y="126"/>
                  </a:lnTo>
                  <a:lnTo>
                    <a:pt x="413" y="126"/>
                  </a:lnTo>
                  <a:lnTo>
                    <a:pt x="410" y="126"/>
                  </a:lnTo>
                  <a:lnTo>
                    <a:pt x="405" y="126"/>
                  </a:lnTo>
                  <a:lnTo>
                    <a:pt x="406" y="127"/>
                  </a:lnTo>
                  <a:lnTo>
                    <a:pt x="407" y="127"/>
                  </a:lnTo>
                  <a:lnTo>
                    <a:pt x="410" y="127"/>
                  </a:lnTo>
                  <a:lnTo>
                    <a:pt x="411" y="127"/>
                  </a:lnTo>
                  <a:lnTo>
                    <a:pt x="410" y="128"/>
                  </a:lnTo>
                  <a:lnTo>
                    <a:pt x="408" y="128"/>
                  </a:lnTo>
                  <a:lnTo>
                    <a:pt x="408" y="130"/>
                  </a:lnTo>
                  <a:lnTo>
                    <a:pt x="408" y="131"/>
                  </a:lnTo>
                  <a:lnTo>
                    <a:pt x="410" y="131"/>
                  </a:lnTo>
                  <a:lnTo>
                    <a:pt x="410" y="130"/>
                  </a:lnTo>
                  <a:lnTo>
                    <a:pt x="410" y="128"/>
                  </a:lnTo>
                  <a:lnTo>
                    <a:pt x="411" y="128"/>
                  </a:lnTo>
                  <a:lnTo>
                    <a:pt x="412" y="127"/>
                  </a:lnTo>
                  <a:lnTo>
                    <a:pt x="413" y="127"/>
                  </a:lnTo>
                  <a:lnTo>
                    <a:pt x="414" y="127"/>
                  </a:lnTo>
                  <a:lnTo>
                    <a:pt x="415" y="126"/>
                  </a:lnTo>
                  <a:lnTo>
                    <a:pt x="417" y="126"/>
                  </a:lnTo>
                  <a:lnTo>
                    <a:pt x="417" y="127"/>
                  </a:lnTo>
                  <a:lnTo>
                    <a:pt x="418" y="126"/>
                  </a:lnTo>
                  <a:lnTo>
                    <a:pt x="419" y="126"/>
                  </a:lnTo>
                  <a:lnTo>
                    <a:pt x="419" y="127"/>
                  </a:lnTo>
                  <a:lnTo>
                    <a:pt x="420" y="127"/>
                  </a:lnTo>
                  <a:lnTo>
                    <a:pt x="421" y="128"/>
                  </a:lnTo>
                  <a:lnTo>
                    <a:pt x="421" y="127"/>
                  </a:lnTo>
                  <a:lnTo>
                    <a:pt x="422" y="128"/>
                  </a:lnTo>
                  <a:lnTo>
                    <a:pt x="424" y="128"/>
                  </a:lnTo>
                  <a:lnTo>
                    <a:pt x="425" y="128"/>
                  </a:lnTo>
                  <a:lnTo>
                    <a:pt x="425" y="130"/>
                  </a:lnTo>
                  <a:lnTo>
                    <a:pt x="425" y="128"/>
                  </a:lnTo>
                  <a:lnTo>
                    <a:pt x="425" y="130"/>
                  </a:lnTo>
                  <a:lnTo>
                    <a:pt x="426" y="130"/>
                  </a:lnTo>
                  <a:lnTo>
                    <a:pt x="426" y="128"/>
                  </a:lnTo>
                  <a:lnTo>
                    <a:pt x="426" y="130"/>
                  </a:lnTo>
                  <a:lnTo>
                    <a:pt x="425" y="131"/>
                  </a:lnTo>
                  <a:lnTo>
                    <a:pt x="426" y="131"/>
                  </a:lnTo>
                  <a:lnTo>
                    <a:pt x="426" y="130"/>
                  </a:lnTo>
                  <a:lnTo>
                    <a:pt x="427" y="130"/>
                  </a:lnTo>
                  <a:lnTo>
                    <a:pt x="432" y="131"/>
                  </a:lnTo>
                  <a:lnTo>
                    <a:pt x="432" y="132"/>
                  </a:lnTo>
                  <a:lnTo>
                    <a:pt x="431" y="132"/>
                  </a:lnTo>
                  <a:lnTo>
                    <a:pt x="432" y="132"/>
                  </a:lnTo>
                  <a:lnTo>
                    <a:pt x="433" y="132"/>
                  </a:lnTo>
                  <a:lnTo>
                    <a:pt x="435" y="133"/>
                  </a:lnTo>
                  <a:lnTo>
                    <a:pt x="436" y="133"/>
                  </a:lnTo>
                  <a:lnTo>
                    <a:pt x="435" y="134"/>
                  </a:lnTo>
                  <a:lnTo>
                    <a:pt x="434" y="134"/>
                  </a:lnTo>
                  <a:lnTo>
                    <a:pt x="432" y="135"/>
                  </a:lnTo>
                  <a:lnTo>
                    <a:pt x="431" y="135"/>
                  </a:lnTo>
                  <a:lnTo>
                    <a:pt x="431" y="137"/>
                  </a:lnTo>
                  <a:lnTo>
                    <a:pt x="432" y="137"/>
                  </a:lnTo>
                  <a:lnTo>
                    <a:pt x="433" y="135"/>
                  </a:lnTo>
                  <a:lnTo>
                    <a:pt x="436" y="135"/>
                  </a:lnTo>
                  <a:lnTo>
                    <a:pt x="437" y="134"/>
                  </a:lnTo>
                  <a:lnTo>
                    <a:pt x="437" y="135"/>
                  </a:lnTo>
                  <a:lnTo>
                    <a:pt x="436" y="135"/>
                  </a:lnTo>
                  <a:lnTo>
                    <a:pt x="435" y="135"/>
                  </a:lnTo>
                  <a:lnTo>
                    <a:pt x="435" y="137"/>
                  </a:lnTo>
                  <a:lnTo>
                    <a:pt x="435" y="138"/>
                  </a:lnTo>
                  <a:lnTo>
                    <a:pt x="435" y="137"/>
                  </a:lnTo>
                  <a:lnTo>
                    <a:pt x="436" y="137"/>
                  </a:lnTo>
                  <a:lnTo>
                    <a:pt x="437" y="137"/>
                  </a:lnTo>
                  <a:lnTo>
                    <a:pt x="439" y="137"/>
                  </a:lnTo>
                  <a:lnTo>
                    <a:pt x="439" y="135"/>
                  </a:lnTo>
                  <a:lnTo>
                    <a:pt x="440" y="135"/>
                  </a:lnTo>
                  <a:lnTo>
                    <a:pt x="442" y="135"/>
                  </a:lnTo>
                  <a:lnTo>
                    <a:pt x="441" y="135"/>
                  </a:lnTo>
                  <a:lnTo>
                    <a:pt x="441" y="137"/>
                  </a:lnTo>
                  <a:lnTo>
                    <a:pt x="440" y="137"/>
                  </a:lnTo>
                  <a:lnTo>
                    <a:pt x="439" y="137"/>
                  </a:lnTo>
                  <a:lnTo>
                    <a:pt x="440" y="137"/>
                  </a:lnTo>
                  <a:lnTo>
                    <a:pt x="440" y="138"/>
                  </a:lnTo>
                  <a:lnTo>
                    <a:pt x="439" y="138"/>
                  </a:lnTo>
                  <a:lnTo>
                    <a:pt x="437" y="138"/>
                  </a:lnTo>
                  <a:lnTo>
                    <a:pt x="436" y="138"/>
                  </a:lnTo>
                  <a:lnTo>
                    <a:pt x="435" y="139"/>
                  </a:lnTo>
                  <a:lnTo>
                    <a:pt x="435" y="140"/>
                  </a:lnTo>
                  <a:lnTo>
                    <a:pt x="436" y="140"/>
                  </a:lnTo>
                  <a:lnTo>
                    <a:pt x="435" y="141"/>
                  </a:lnTo>
                  <a:lnTo>
                    <a:pt x="436" y="141"/>
                  </a:lnTo>
                  <a:lnTo>
                    <a:pt x="437" y="141"/>
                  </a:lnTo>
                  <a:lnTo>
                    <a:pt x="437" y="140"/>
                  </a:lnTo>
                  <a:lnTo>
                    <a:pt x="436" y="140"/>
                  </a:lnTo>
                  <a:lnTo>
                    <a:pt x="437" y="140"/>
                  </a:lnTo>
                  <a:lnTo>
                    <a:pt x="437" y="139"/>
                  </a:lnTo>
                  <a:lnTo>
                    <a:pt x="440" y="139"/>
                  </a:lnTo>
                  <a:lnTo>
                    <a:pt x="441" y="139"/>
                  </a:lnTo>
                  <a:lnTo>
                    <a:pt x="442" y="139"/>
                  </a:lnTo>
                  <a:lnTo>
                    <a:pt x="442" y="138"/>
                  </a:lnTo>
                  <a:lnTo>
                    <a:pt x="442" y="139"/>
                  </a:lnTo>
                  <a:lnTo>
                    <a:pt x="443" y="138"/>
                  </a:lnTo>
                  <a:lnTo>
                    <a:pt x="443" y="139"/>
                  </a:lnTo>
                  <a:lnTo>
                    <a:pt x="442" y="139"/>
                  </a:lnTo>
                  <a:lnTo>
                    <a:pt x="443" y="139"/>
                  </a:lnTo>
                  <a:lnTo>
                    <a:pt x="442" y="139"/>
                  </a:lnTo>
                  <a:lnTo>
                    <a:pt x="443" y="140"/>
                  </a:lnTo>
                  <a:lnTo>
                    <a:pt x="442" y="140"/>
                  </a:lnTo>
                  <a:lnTo>
                    <a:pt x="443" y="140"/>
                  </a:lnTo>
                  <a:lnTo>
                    <a:pt x="442" y="140"/>
                  </a:lnTo>
                  <a:lnTo>
                    <a:pt x="442" y="141"/>
                  </a:lnTo>
                  <a:lnTo>
                    <a:pt x="443" y="140"/>
                  </a:lnTo>
                  <a:lnTo>
                    <a:pt x="444" y="140"/>
                  </a:lnTo>
                  <a:lnTo>
                    <a:pt x="444" y="141"/>
                  </a:lnTo>
                  <a:lnTo>
                    <a:pt x="441" y="141"/>
                  </a:lnTo>
                  <a:lnTo>
                    <a:pt x="441" y="142"/>
                  </a:lnTo>
                  <a:lnTo>
                    <a:pt x="441" y="141"/>
                  </a:lnTo>
                  <a:lnTo>
                    <a:pt x="442" y="141"/>
                  </a:lnTo>
                  <a:lnTo>
                    <a:pt x="443" y="141"/>
                  </a:lnTo>
                  <a:lnTo>
                    <a:pt x="442" y="142"/>
                  </a:lnTo>
                  <a:lnTo>
                    <a:pt x="443" y="142"/>
                  </a:lnTo>
                  <a:lnTo>
                    <a:pt x="442" y="144"/>
                  </a:lnTo>
                  <a:lnTo>
                    <a:pt x="442" y="142"/>
                  </a:lnTo>
                  <a:lnTo>
                    <a:pt x="441" y="142"/>
                  </a:lnTo>
                  <a:lnTo>
                    <a:pt x="442" y="142"/>
                  </a:lnTo>
                  <a:lnTo>
                    <a:pt x="441" y="144"/>
                  </a:lnTo>
                  <a:lnTo>
                    <a:pt x="442" y="144"/>
                  </a:lnTo>
                  <a:lnTo>
                    <a:pt x="439" y="144"/>
                  </a:lnTo>
                  <a:lnTo>
                    <a:pt x="437" y="144"/>
                  </a:lnTo>
                  <a:lnTo>
                    <a:pt x="436" y="145"/>
                  </a:lnTo>
                  <a:lnTo>
                    <a:pt x="440" y="144"/>
                  </a:lnTo>
                  <a:lnTo>
                    <a:pt x="441" y="145"/>
                  </a:lnTo>
                  <a:lnTo>
                    <a:pt x="441" y="144"/>
                  </a:lnTo>
                  <a:lnTo>
                    <a:pt x="442" y="144"/>
                  </a:lnTo>
                  <a:lnTo>
                    <a:pt x="443" y="144"/>
                  </a:lnTo>
                  <a:lnTo>
                    <a:pt x="442" y="145"/>
                  </a:lnTo>
                  <a:lnTo>
                    <a:pt x="443" y="145"/>
                  </a:lnTo>
                  <a:lnTo>
                    <a:pt x="442" y="145"/>
                  </a:lnTo>
                  <a:lnTo>
                    <a:pt x="441" y="145"/>
                  </a:lnTo>
                  <a:lnTo>
                    <a:pt x="440" y="145"/>
                  </a:lnTo>
                  <a:lnTo>
                    <a:pt x="440" y="146"/>
                  </a:lnTo>
                  <a:lnTo>
                    <a:pt x="442" y="145"/>
                  </a:lnTo>
                  <a:lnTo>
                    <a:pt x="442" y="146"/>
                  </a:lnTo>
                  <a:lnTo>
                    <a:pt x="441" y="146"/>
                  </a:lnTo>
                  <a:lnTo>
                    <a:pt x="442" y="146"/>
                  </a:lnTo>
                  <a:lnTo>
                    <a:pt x="443" y="146"/>
                  </a:lnTo>
                  <a:lnTo>
                    <a:pt x="442" y="146"/>
                  </a:lnTo>
                  <a:lnTo>
                    <a:pt x="441" y="147"/>
                  </a:lnTo>
                  <a:lnTo>
                    <a:pt x="442" y="147"/>
                  </a:lnTo>
                  <a:lnTo>
                    <a:pt x="441" y="147"/>
                  </a:lnTo>
                  <a:lnTo>
                    <a:pt x="440" y="147"/>
                  </a:lnTo>
                  <a:lnTo>
                    <a:pt x="440" y="148"/>
                  </a:lnTo>
                  <a:lnTo>
                    <a:pt x="441" y="148"/>
                  </a:lnTo>
                  <a:lnTo>
                    <a:pt x="442" y="147"/>
                  </a:lnTo>
                  <a:lnTo>
                    <a:pt x="442" y="148"/>
                  </a:lnTo>
                  <a:lnTo>
                    <a:pt x="441" y="148"/>
                  </a:lnTo>
                  <a:lnTo>
                    <a:pt x="442" y="148"/>
                  </a:lnTo>
                  <a:lnTo>
                    <a:pt x="443" y="148"/>
                  </a:lnTo>
                  <a:lnTo>
                    <a:pt x="441" y="148"/>
                  </a:lnTo>
                  <a:lnTo>
                    <a:pt x="441" y="149"/>
                  </a:lnTo>
                  <a:lnTo>
                    <a:pt x="442" y="149"/>
                  </a:lnTo>
                  <a:lnTo>
                    <a:pt x="441" y="149"/>
                  </a:lnTo>
                  <a:lnTo>
                    <a:pt x="441" y="151"/>
                  </a:lnTo>
                  <a:lnTo>
                    <a:pt x="442" y="151"/>
                  </a:lnTo>
                  <a:lnTo>
                    <a:pt x="441" y="151"/>
                  </a:lnTo>
                  <a:lnTo>
                    <a:pt x="442" y="151"/>
                  </a:lnTo>
                  <a:lnTo>
                    <a:pt x="443" y="151"/>
                  </a:lnTo>
                  <a:lnTo>
                    <a:pt x="442" y="152"/>
                  </a:lnTo>
                  <a:lnTo>
                    <a:pt x="441" y="152"/>
                  </a:lnTo>
                  <a:lnTo>
                    <a:pt x="441" y="153"/>
                  </a:lnTo>
                  <a:lnTo>
                    <a:pt x="440" y="153"/>
                  </a:lnTo>
                  <a:lnTo>
                    <a:pt x="440" y="152"/>
                  </a:lnTo>
                  <a:lnTo>
                    <a:pt x="440" y="153"/>
                  </a:lnTo>
                  <a:lnTo>
                    <a:pt x="439" y="153"/>
                  </a:lnTo>
                  <a:lnTo>
                    <a:pt x="437" y="153"/>
                  </a:lnTo>
                  <a:lnTo>
                    <a:pt x="439" y="152"/>
                  </a:lnTo>
                  <a:lnTo>
                    <a:pt x="437" y="152"/>
                  </a:lnTo>
                  <a:lnTo>
                    <a:pt x="436" y="152"/>
                  </a:lnTo>
                  <a:lnTo>
                    <a:pt x="435" y="152"/>
                  </a:lnTo>
                  <a:lnTo>
                    <a:pt x="434" y="152"/>
                  </a:lnTo>
                  <a:lnTo>
                    <a:pt x="434" y="151"/>
                  </a:lnTo>
                  <a:lnTo>
                    <a:pt x="434" y="149"/>
                  </a:lnTo>
                  <a:lnTo>
                    <a:pt x="434" y="148"/>
                  </a:lnTo>
                  <a:lnTo>
                    <a:pt x="434" y="147"/>
                  </a:lnTo>
                  <a:lnTo>
                    <a:pt x="435" y="147"/>
                  </a:lnTo>
                  <a:lnTo>
                    <a:pt x="434" y="147"/>
                  </a:lnTo>
                  <a:lnTo>
                    <a:pt x="433" y="147"/>
                  </a:lnTo>
                  <a:lnTo>
                    <a:pt x="433" y="148"/>
                  </a:lnTo>
                  <a:lnTo>
                    <a:pt x="432" y="148"/>
                  </a:lnTo>
                  <a:lnTo>
                    <a:pt x="432" y="149"/>
                  </a:lnTo>
                  <a:lnTo>
                    <a:pt x="433" y="149"/>
                  </a:lnTo>
                  <a:lnTo>
                    <a:pt x="433" y="151"/>
                  </a:lnTo>
                  <a:lnTo>
                    <a:pt x="432" y="152"/>
                  </a:lnTo>
                  <a:lnTo>
                    <a:pt x="428" y="152"/>
                  </a:lnTo>
                  <a:lnTo>
                    <a:pt x="427" y="153"/>
                  </a:lnTo>
                  <a:lnTo>
                    <a:pt x="425" y="152"/>
                  </a:lnTo>
                  <a:lnTo>
                    <a:pt x="421" y="151"/>
                  </a:lnTo>
                  <a:lnTo>
                    <a:pt x="420" y="151"/>
                  </a:lnTo>
                  <a:lnTo>
                    <a:pt x="419" y="149"/>
                  </a:lnTo>
                  <a:lnTo>
                    <a:pt x="418" y="149"/>
                  </a:lnTo>
                  <a:lnTo>
                    <a:pt x="418" y="148"/>
                  </a:lnTo>
                  <a:lnTo>
                    <a:pt x="418" y="147"/>
                  </a:lnTo>
                  <a:lnTo>
                    <a:pt x="417" y="147"/>
                  </a:lnTo>
                  <a:lnTo>
                    <a:pt x="418" y="146"/>
                  </a:lnTo>
                  <a:lnTo>
                    <a:pt x="417" y="146"/>
                  </a:lnTo>
                  <a:lnTo>
                    <a:pt x="418" y="146"/>
                  </a:lnTo>
                  <a:lnTo>
                    <a:pt x="418" y="145"/>
                  </a:lnTo>
                  <a:lnTo>
                    <a:pt x="418" y="144"/>
                  </a:lnTo>
                  <a:lnTo>
                    <a:pt x="415" y="142"/>
                  </a:lnTo>
                  <a:lnTo>
                    <a:pt x="414" y="142"/>
                  </a:lnTo>
                  <a:lnTo>
                    <a:pt x="414" y="141"/>
                  </a:lnTo>
                  <a:lnTo>
                    <a:pt x="414" y="140"/>
                  </a:lnTo>
                  <a:lnTo>
                    <a:pt x="413" y="140"/>
                  </a:lnTo>
                  <a:lnTo>
                    <a:pt x="412" y="141"/>
                  </a:lnTo>
                  <a:lnTo>
                    <a:pt x="411" y="141"/>
                  </a:lnTo>
                  <a:lnTo>
                    <a:pt x="410" y="141"/>
                  </a:lnTo>
                  <a:lnTo>
                    <a:pt x="410" y="140"/>
                  </a:lnTo>
                  <a:lnTo>
                    <a:pt x="408" y="140"/>
                  </a:lnTo>
                  <a:lnTo>
                    <a:pt x="407" y="139"/>
                  </a:lnTo>
                  <a:lnTo>
                    <a:pt x="406" y="139"/>
                  </a:lnTo>
                  <a:lnTo>
                    <a:pt x="406" y="138"/>
                  </a:lnTo>
                  <a:lnTo>
                    <a:pt x="405" y="138"/>
                  </a:lnTo>
                  <a:lnTo>
                    <a:pt x="404" y="138"/>
                  </a:lnTo>
                  <a:lnTo>
                    <a:pt x="403" y="138"/>
                  </a:lnTo>
                  <a:lnTo>
                    <a:pt x="401" y="138"/>
                  </a:lnTo>
                  <a:lnTo>
                    <a:pt x="400" y="138"/>
                  </a:lnTo>
                  <a:lnTo>
                    <a:pt x="399" y="138"/>
                  </a:lnTo>
                  <a:lnTo>
                    <a:pt x="398" y="138"/>
                  </a:lnTo>
                  <a:lnTo>
                    <a:pt x="398" y="137"/>
                  </a:lnTo>
                  <a:lnTo>
                    <a:pt x="397" y="137"/>
                  </a:lnTo>
                  <a:lnTo>
                    <a:pt x="397" y="138"/>
                  </a:lnTo>
                  <a:lnTo>
                    <a:pt x="396" y="138"/>
                  </a:lnTo>
                  <a:lnTo>
                    <a:pt x="393" y="138"/>
                  </a:lnTo>
                  <a:lnTo>
                    <a:pt x="392" y="138"/>
                  </a:lnTo>
                  <a:lnTo>
                    <a:pt x="391" y="137"/>
                  </a:lnTo>
                  <a:lnTo>
                    <a:pt x="390" y="135"/>
                  </a:lnTo>
                  <a:lnTo>
                    <a:pt x="390" y="134"/>
                  </a:lnTo>
                  <a:lnTo>
                    <a:pt x="389" y="134"/>
                  </a:lnTo>
                  <a:lnTo>
                    <a:pt x="387" y="134"/>
                  </a:lnTo>
                  <a:lnTo>
                    <a:pt x="386" y="134"/>
                  </a:lnTo>
                  <a:lnTo>
                    <a:pt x="386" y="133"/>
                  </a:lnTo>
                  <a:lnTo>
                    <a:pt x="387" y="133"/>
                  </a:lnTo>
                  <a:lnTo>
                    <a:pt x="384" y="132"/>
                  </a:lnTo>
                  <a:lnTo>
                    <a:pt x="383" y="132"/>
                  </a:lnTo>
                  <a:lnTo>
                    <a:pt x="382" y="132"/>
                  </a:lnTo>
                  <a:lnTo>
                    <a:pt x="380" y="131"/>
                  </a:lnTo>
                  <a:lnTo>
                    <a:pt x="379" y="131"/>
                  </a:lnTo>
                  <a:lnTo>
                    <a:pt x="378" y="131"/>
                  </a:lnTo>
                  <a:lnTo>
                    <a:pt x="377" y="131"/>
                  </a:lnTo>
                  <a:lnTo>
                    <a:pt x="378" y="131"/>
                  </a:lnTo>
                  <a:lnTo>
                    <a:pt x="379" y="131"/>
                  </a:lnTo>
                  <a:lnTo>
                    <a:pt x="380" y="132"/>
                  </a:lnTo>
                  <a:lnTo>
                    <a:pt x="379" y="132"/>
                  </a:lnTo>
                  <a:lnTo>
                    <a:pt x="378" y="133"/>
                  </a:lnTo>
                  <a:lnTo>
                    <a:pt x="379" y="133"/>
                  </a:lnTo>
                  <a:lnTo>
                    <a:pt x="382" y="133"/>
                  </a:lnTo>
                  <a:lnTo>
                    <a:pt x="384" y="133"/>
                  </a:lnTo>
                  <a:lnTo>
                    <a:pt x="385" y="133"/>
                  </a:lnTo>
                  <a:lnTo>
                    <a:pt x="384" y="133"/>
                  </a:lnTo>
                  <a:lnTo>
                    <a:pt x="383" y="133"/>
                  </a:lnTo>
                  <a:lnTo>
                    <a:pt x="386" y="134"/>
                  </a:lnTo>
                  <a:lnTo>
                    <a:pt x="389" y="135"/>
                  </a:lnTo>
                  <a:lnTo>
                    <a:pt x="389" y="137"/>
                  </a:lnTo>
                  <a:lnTo>
                    <a:pt x="387" y="137"/>
                  </a:lnTo>
                  <a:lnTo>
                    <a:pt x="386" y="137"/>
                  </a:lnTo>
                  <a:lnTo>
                    <a:pt x="385" y="137"/>
                  </a:lnTo>
                  <a:lnTo>
                    <a:pt x="384" y="137"/>
                  </a:lnTo>
                  <a:lnTo>
                    <a:pt x="383" y="137"/>
                  </a:lnTo>
                  <a:lnTo>
                    <a:pt x="382" y="137"/>
                  </a:lnTo>
                  <a:lnTo>
                    <a:pt x="383" y="137"/>
                  </a:lnTo>
                  <a:lnTo>
                    <a:pt x="383" y="138"/>
                  </a:lnTo>
                  <a:lnTo>
                    <a:pt x="378" y="138"/>
                  </a:lnTo>
                  <a:lnTo>
                    <a:pt x="377" y="138"/>
                  </a:lnTo>
                  <a:lnTo>
                    <a:pt x="378" y="138"/>
                  </a:lnTo>
                  <a:lnTo>
                    <a:pt x="380" y="138"/>
                  </a:lnTo>
                  <a:lnTo>
                    <a:pt x="383" y="138"/>
                  </a:lnTo>
                  <a:lnTo>
                    <a:pt x="384" y="138"/>
                  </a:lnTo>
                  <a:lnTo>
                    <a:pt x="385" y="137"/>
                  </a:lnTo>
                  <a:lnTo>
                    <a:pt x="389" y="138"/>
                  </a:lnTo>
                  <a:lnTo>
                    <a:pt x="391" y="138"/>
                  </a:lnTo>
                  <a:lnTo>
                    <a:pt x="390" y="138"/>
                  </a:lnTo>
                  <a:lnTo>
                    <a:pt x="389" y="138"/>
                  </a:lnTo>
                  <a:lnTo>
                    <a:pt x="390" y="139"/>
                  </a:lnTo>
                  <a:lnTo>
                    <a:pt x="390" y="138"/>
                  </a:lnTo>
                  <a:lnTo>
                    <a:pt x="391" y="138"/>
                  </a:lnTo>
                  <a:lnTo>
                    <a:pt x="392" y="138"/>
                  </a:lnTo>
                  <a:lnTo>
                    <a:pt x="393" y="139"/>
                  </a:lnTo>
                  <a:lnTo>
                    <a:pt x="394" y="139"/>
                  </a:lnTo>
                  <a:lnTo>
                    <a:pt x="397" y="139"/>
                  </a:lnTo>
                  <a:lnTo>
                    <a:pt x="397" y="138"/>
                  </a:lnTo>
                  <a:lnTo>
                    <a:pt x="398" y="139"/>
                  </a:lnTo>
                  <a:lnTo>
                    <a:pt x="399" y="138"/>
                  </a:lnTo>
                  <a:lnTo>
                    <a:pt x="400" y="139"/>
                  </a:lnTo>
                  <a:lnTo>
                    <a:pt x="401" y="139"/>
                  </a:lnTo>
                  <a:lnTo>
                    <a:pt x="404" y="139"/>
                  </a:lnTo>
                  <a:lnTo>
                    <a:pt x="405" y="139"/>
                  </a:lnTo>
                  <a:lnTo>
                    <a:pt x="405" y="140"/>
                  </a:lnTo>
                  <a:lnTo>
                    <a:pt x="406" y="140"/>
                  </a:lnTo>
                  <a:lnTo>
                    <a:pt x="407" y="140"/>
                  </a:lnTo>
                  <a:lnTo>
                    <a:pt x="406" y="140"/>
                  </a:lnTo>
                  <a:lnTo>
                    <a:pt x="406" y="141"/>
                  </a:lnTo>
                  <a:lnTo>
                    <a:pt x="405" y="142"/>
                  </a:lnTo>
                  <a:lnTo>
                    <a:pt x="404" y="141"/>
                  </a:lnTo>
                  <a:lnTo>
                    <a:pt x="403" y="141"/>
                  </a:lnTo>
                  <a:lnTo>
                    <a:pt x="403" y="142"/>
                  </a:lnTo>
                  <a:lnTo>
                    <a:pt x="405" y="142"/>
                  </a:lnTo>
                  <a:lnTo>
                    <a:pt x="404" y="142"/>
                  </a:lnTo>
                  <a:lnTo>
                    <a:pt x="403" y="144"/>
                  </a:lnTo>
                  <a:lnTo>
                    <a:pt x="401" y="144"/>
                  </a:lnTo>
                  <a:lnTo>
                    <a:pt x="400" y="144"/>
                  </a:lnTo>
                  <a:lnTo>
                    <a:pt x="400" y="145"/>
                  </a:lnTo>
                  <a:lnTo>
                    <a:pt x="399" y="145"/>
                  </a:lnTo>
                  <a:lnTo>
                    <a:pt x="398" y="145"/>
                  </a:lnTo>
                  <a:lnTo>
                    <a:pt x="397" y="145"/>
                  </a:lnTo>
                  <a:lnTo>
                    <a:pt x="396" y="145"/>
                  </a:lnTo>
                  <a:lnTo>
                    <a:pt x="391" y="146"/>
                  </a:lnTo>
                  <a:lnTo>
                    <a:pt x="389" y="146"/>
                  </a:lnTo>
                  <a:lnTo>
                    <a:pt x="387" y="146"/>
                  </a:lnTo>
                  <a:lnTo>
                    <a:pt x="385" y="146"/>
                  </a:lnTo>
                  <a:lnTo>
                    <a:pt x="384" y="145"/>
                  </a:lnTo>
                  <a:lnTo>
                    <a:pt x="383" y="144"/>
                  </a:lnTo>
                  <a:lnTo>
                    <a:pt x="383" y="142"/>
                  </a:lnTo>
                  <a:lnTo>
                    <a:pt x="382" y="144"/>
                  </a:lnTo>
                  <a:lnTo>
                    <a:pt x="382" y="145"/>
                  </a:lnTo>
                  <a:lnTo>
                    <a:pt x="383" y="145"/>
                  </a:lnTo>
                  <a:lnTo>
                    <a:pt x="384" y="145"/>
                  </a:lnTo>
                  <a:lnTo>
                    <a:pt x="384" y="146"/>
                  </a:lnTo>
                  <a:lnTo>
                    <a:pt x="383" y="146"/>
                  </a:lnTo>
                  <a:lnTo>
                    <a:pt x="382" y="145"/>
                  </a:lnTo>
                  <a:lnTo>
                    <a:pt x="380" y="145"/>
                  </a:lnTo>
                  <a:lnTo>
                    <a:pt x="379" y="145"/>
                  </a:lnTo>
                  <a:lnTo>
                    <a:pt x="378" y="145"/>
                  </a:lnTo>
                  <a:lnTo>
                    <a:pt x="377" y="145"/>
                  </a:lnTo>
                  <a:lnTo>
                    <a:pt x="376" y="145"/>
                  </a:lnTo>
                  <a:lnTo>
                    <a:pt x="376" y="146"/>
                  </a:lnTo>
                  <a:lnTo>
                    <a:pt x="378" y="146"/>
                  </a:lnTo>
                  <a:lnTo>
                    <a:pt x="379" y="146"/>
                  </a:lnTo>
                  <a:lnTo>
                    <a:pt x="380" y="146"/>
                  </a:lnTo>
                  <a:lnTo>
                    <a:pt x="380" y="147"/>
                  </a:lnTo>
                  <a:lnTo>
                    <a:pt x="379" y="147"/>
                  </a:lnTo>
                  <a:lnTo>
                    <a:pt x="379" y="148"/>
                  </a:lnTo>
                  <a:lnTo>
                    <a:pt x="378" y="148"/>
                  </a:lnTo>
                  <a:lnTo>
                    <a:pt x="377" y="149"/>
                  </a:lnTo>
                  <a:lnTo>
                    <a:pt x="376" y="149"/>
                  </a:lnTo>
                  <a:lnTo>
                    <a:pt x="376" y="151"/>
                  </a:lnTo>
                  <a:lnTo>
                    <a:pt x="375" y="151"/>
                  </a:lnTo>
                  <a:lnTo>
                    <a:pt x="373" y="151"/>
                  </a:lnTo>
                  <a:lnTo>
                    <a:pt x="372" y="151"/>
                  </a:lnTo>
                  <a:lnTo>
                    <a:pt x="372" y="152"/>
                  </a:lnTo>
                  <a:lnTo>
                    <a:pt x="371" y="151"/>
                  </a:lnTo>
                  <a:lnTo>
                    <a:pt x="368" y="152"/>
                  </a:lnTo>
                  <a:lnTo>
                    <a:pt x="367" y="152"/>
                  </a:lnTo>
                  <a:lnTo>
                    <a:pt x="365" y="152"/>
                  </a:lnTo>
                  <a:lnTo>
                    <a:pt x="367" y="153"/>
                  </a:lnTo>
                  <a:lnTo>
                    <a:pt x="365" y="153"/>
                  </a:lnTo>
                  <a:lnTo>
                    <a:pt x="367" y="153"/>
                  </a:lnTo>
                  <a:lnTo>
                    <a:pt x="368" y="153"/>
                  </a:lnTo>
                  <a:lnTo>
                    <a:pt x="369" y="152"/>
                  </a:lnTo>
                  <a:lnTo>
                    <a:pt x="370" y="152"/>
                  </a:lnTo>
                  <a:lnTo>
                    <a:pt x="372" y="152"/>
                  </a:lnTo>
                  <a:lnTo>
                    <a:pt x="373" y="152"/>
                  </a:lnTo>
                  <a:lnTo>
                    <a:pt x="375" y="152"/>
                  </a:lnTo>
                  <a:lnTo>
                    <a:pt x="376" y="152"/>
                  </a:lnTo>
                  <a:lnTo>
                    <a:pt x="375" y="152"/>
                  </a:lnTo>
                  <a:lnTo>
                    <a:pt x="375" y="153"/>
                  </a:lnTo>
                  <a:lnTo>
                    <a:pt x="376" y="153"/>
                  </a:lnTo>
                  <a:lnTo>
                    <a:pt x="377" y="153"/>
                  </a:lnTo>
                  <a:lnTo>
                    <a:pt x="382" y="153"/>
                  </a:lnTo>
                  <a:lnTo>
                    <a:pt x="386" y="152"/>
                  </a:lnTo>
                  <a:lnTo>
                    <a:pt x="387" y="152"/>
                  </a:lnTo>
                  <a:lnTo>
                    <a:pt x="389" y="152"/>
                  </a:lnTo>
                  <a:lnTo>
                    <a:pt x="390" y="152"/>
                  </a:lnTo>
                  <a:lnTo>
                    <a:pt x="391" y="152"/>
                  </a:lnTo>
                  <a:lnTo>
                    <a:pt x="393" y="152"/>
                  </a:lnTo>
                  <a:lnTo>
                    <a:pt x="394" y="153"/>
                  </a:lnTo>
                  <a:lnTo>
                    <a:pt x="393" y="153"/>
                  </a:lnTo>
                  <a:lnTo>
                    <a:pt x="393" y="154"/>
                  </a:lnTo>
                  <a:lnTo>
                    <a:pt x="391" y="154"/>
                  </a:lnTo>
                  <a:lnTo>
                    <a:pt x="390" y="154"/>
                  </a:lnTo>
                  <a:lnTo>
                    <a:pt x="389" y="154"/>
                  </a:lnTo>
                  <a:lnTo>
                    <a:pt x="387" y="154"/>
                  </a:lnTo>
                  <a:lnTo>
                    <a:pt x="386" y="154"/>
                  </a:lnTo>
                  <a:lnTo>
                    <a:pt x="385" y="154"/>
                  </a:lnTo>
                  <a:lnTo>
                    <a:pt x="384" y="155"/>
                  </a:lnTo>
                  <a:lnTo>
                    <a:pt x="383" y="155"/>
                  </a:lnTo>
                  <a:lnTo>
                    <a:pt x="380" y="156"/>
                  </a:lnTo>
                  <a:lnTo>
                    <a:pt x="379" y="156"/>
                  </a:lnTo>
                  <a:lnTo>
                    <a:pt x="378" y="156"/>
                  </a:lnTo>
                  <a:lnTo>
                    <a:pt x="376" y="156"/>
                  </a:lnTo>
                  <a:lnTo>
                    <a:pt x="375" y="156"/>
                  </a:lnTo>
                  <a:lnTo>
                    <a:pt x="373" y="156"/>
                  </a:lnTo>
                  <a:lnTo>
                    <a:pt x="372" y="156"/>
                  </a:lnTo>
                  <a:lnTo>
                    <a:pt x="371" y="156"/>
                  </a:lnTo>
                  <a:lnTo>
                    <a:pt x="371" y="158"/>
                  </a:lnTo>
                  <a:lnTo>
                    <a:pt x="372" y="158"/>
                  </a:lnTo>
                  <a:lnTo>
                    <a:pt x="373" y="158"/>
                  </a:lnTo>
                  <a:lnTo>
                    <a:pt x="375" y="158"/>
                  </a:lnTo>
                  <a:lnTo>
                    <a:pt x="376" y="158"/>
                  </a:lnTo>
                  <a:lnTo>
                    <a:pt x="377" y="158"/>
                  </a:lnTo>
                  <a:lnTo>
                    <a:pt x="378" y="158"/>
                  </a:lnTo>
                  <a:lnTo>
                    <a:pt x="380" y="158"/>
                  </a:lnTo>
                  <a:lnTo>
                    <a:pt x="382" y="158"/>
                  </a:lnTo>
                  <a:lnTo>
                    <a:pt x="382" y="159"/>
                  </a:lnTo>
                  <a:lnTo>
                    <a:pt x="383" y="159"/>
                  </a:lnTo>
                  <a:lnTo>
                    <a:pt x="384" y="159"/>
                  </a:lnTo>
                  <a:lnTo>
                    <a:pt x="384" y="158"/>
                  </a:lnTo>
                  <a:lnTo>
                    <a:pt x="385" y="156"/>
                  </a:lnTo>
                  <a:lnTo>
                    <a:pt x="386" y="155"/>
                  </a:lnTo>
                  <a:lnTo>
                    <a:pt x="387" y="155"/>
                  </a:lnTo>
                  <a:lnTo>
                    <a:pt x="389" y="155"/>
                  </a:lnTo>
                  <a:lnTo>
                    <a:pt x="389" y="154"/>
                  </a:lnTo>
                  <a:lnTo>
                    <a:pt x="391" y="155"/>
                  </a:lnTo>
                  <a:lnTo>
                    <a:pt x="392" y="155"/>
                  </a:lnTo>
                  <a:lnTo>
                    <a:pt x="394" y="155"/>
                  </a:lnTo>
                  <a:lnTo>
                    <a:pt x="398" y="154"/>
                  </a:lnTo>
                  <a:lnTo>
                    <a:pt x="399" y="154"/>
                  </a:lnTo>
                  <a:lnTo>
                    <a:pt x="403" y="153"/>
                  </a:lnTo>
                  <a:lnTo>
                    <a:pt x="404" y="153"/>
                  </a:lnTo>
                  <a:lnTo>
                    <a:pt x="405" y="153"/>
                  </a:lnTo>
                  <a:lnTo>
                    <a:pt x="406" y="153"/>
                  </a:lnTo>
                  <a:lnTo>
                    <a:pt x="405" y="153"/>
                  </a:lnTo>
                  <a:lnTo>
                    <a:pt x="404" y="153"/>
                  </a:lnTo>
                  <a:lnTo>
                    <a:pt x="405" y="153"/>
                  </a:lnTo>
                  <a:lnTo>
                    <a:pt x="405" y="154"/>
                  </a:lnTo>
                  <a:lnTo>
                    <a:pt x="404" y="154"/>
                  </a:lnTo>
                  <a:lnTo>
                    <a:pt x="405" y="154"/>
                  </a:lnTo>
                  <a:lnTo>
                    <a:pt x="406" y="154"/>
                  </a:lnTo>
                  <a:lnTo>
                    <a:pt x="407" y="153"/>
                  </a:lnTo>
                  <a:lnTo>
                    <a:pt x="408" y="153"/>
                  </a:lnTo>
                  <a:lnTo>
                    <a:pt x="408" y="154"/>
                  </a:lnTo>
                  <a:lnTo>
                    <a:pt x="410" y="154"/>
                  </a:lnTo>
                  <a:lnTo>
                    <a:pt x="411" y="154"/>
                  </a:lnTo>
                  <a:lnTo>
                    <a:pt x="412" y="154"/>
                  </a:lnTo>
                  <a:lnTo>
                    <a:pt x="413" y="155"/>
                  </a:lnTo>
                  <a:lnTo>
                    <a:pt x="415" y="155"/>
                  </a:lnTo>
                  <a:lnTo>
                    <a:pt x="417" y="155"/>
                  </a:lnTo>
                  <a:lnTo>
                    <a:pt x="417" y="156"/>
                  </a:lnTo>
                  <a:lnTo>
                    <a:pt x="418" y="156"/>
                  </a:lnTo>
                  <a:lnTo>
                    <a:pt x="419" y="156"/>
                  </a:lnTo>
                  <a:lnTo>
                    <a:pt x="420" y="156"/>
                  </a:lnTo>
                  <a:lnTo>
                    <a:pt x="421" y="156"/>
                  </a:lnTo>
                  <a:lnTo>
                    <a:pt x="426" y="156"/>
                  </a:lnTo>
                  <a:lnTo>
                    <a:pt x="429" y="156"/>
                  </a:lnTo>
                  <a:lnTo>
                    <a:pt x="433" y="156"/>
                  </a:lnTo>
                  <a:lnTo>
                    <a:pt x="434" y="156"/>
                  </a:lnTo>
                  <a:lnTo>
                    <a:pt x="435" y="156"/>
                  </a:lnTo>
                  <a:lnTo>
                    <a:pt x="436" y="156"/>
                  </a:lnTo>
                  <a:lnTo>
                    <a:pt x="435" y="156"/>
                  </a:lnTo>
                  <a:lnTo>
                    <a:pt x="435" y="158"/>
                  </a:lnTo>
                  <a:lnTo>
                    <a:pt x="434" y="158"/>
                  </a:lnTo>
                  <a:lnTo>
                    <a:pt x="433" y="159"/>
                  </a:lnTo>
                  <a:lnTo>
                    <a:pt x="433" y="158"/>
                  </a:lnTo>
                  <a:lnTo>
                    <a:pt x="432" y="158"/>
                  </a:lnTo>
                  <a:lnTo>
                    <a:pt x="432" y="159"/>
                  </a:lnTo>
                  <a:lnTo>
                    <a:pt x="431" y="159"/>
                  </a:lnTo>
                  <a:lnTo>
                    <a:pt x="429" y="159"/>
                  </a:lnTo>
                  <a:lnTo>
                    <a:pt x="428" y="159"/>
                  </a:lnTo>
                  <a:lnTo>
                    <a:pt x="429" y="159"/>
                  </a:lnTo>
                  <a:lnTo>
                    <a:pt x="428" y="159"/>
                  </a:lnTo>
                  <a:lnTo>
                    <a:pt x="427" y="159"/>
                  </a:lnTo>
                  <a:lnTo>
                    <a:pt x="428" y="159"/>
                  </a:lnTo>
                  <a:lnTo>
                    <a:pt x="428" y="160"/>
                  </a:lnTo>
                  <a:lnTo>
                    <a:pt x="427" y="160"/>
                  </a:lnTo>
                  <a:lnTo>
                    <a:pt x="427" y="159"/>
                  </a:lnTo>
                  <a:lnTo>
                    <a:pt x="426" y="159"/>
                  </a:lnTo>
                  <a:lnTo>
                    <a:pt x="426" y="160"/>
                  </a:lnTo>
                  <a:lnTo>
                    <a:pt x="425" y="160"/>
                  </a:lnTo>
                  <a:lnTo>
                    <a:pt x="424" y="160"/>
                  </a:lnTo>
                  <a:lnTo>
                    <a:pt x="427" y="160"/>
                  </a:lnTo>
                  <a:lnTo>
                    <a:pt x="427" y="161"/>
                  </a:lnTo>
                  <a:lnTo>
                    <a:pt x="426" y="161"/>
                  </a:lnTo>
                  <a:lnTo>
                    <a:pt x="425" y="161"/>
                  </a:lnTo>
                  <a:lnTo>
                    <a:pt x="424" y="161"/>
                  </a:lnTo>
                  <a:lnTo>
                    <a:pt x="424" y="160"/>
                  </a:lnTo>
                  <a:lnTo>
                    <a:pt x="422" y="160"/>
                  </a:lnTo>
                  <a:lnTo>
                    <a:pt x="424" y="160"/>
                  </a:lnTo>
                  <a:lnTo>
                    <a:pt x="424" y="161"/>
                  </a:lnTo>
                  <a:lnTo>
                    <a:pt x="422" y="161"/>
                  </a:lnTo>
                  <a:lnTo>
                    <a:pt x="420" y="161"/>
                  </a:lnTo>
                  <a:lnTo>
                    <a:pt x="417" y="161"/>
                  </a:lnTo>
                  <a:lnTo>
                    <a:pt x="419" y="162"/>
                  </a:lnTo>
                  <a:lnTo>
                    <a:pt x="420" y="163"/>
                  </a:lnTo>
                  <a:lnTo>
                    <a:pt x="419" y="163"/>
                  </a:lnTo>
                  <a:lnTo>
                    <a:pt x="418" y="163"/>
                  </a:lnTo>
                  <a:lnTo>
                    <a:pt x="419" y="163"/>
                  </a:lnTo>
                  <a:lnTo>
                    <a:pt x="419" y="165"/>
                  </a:lnTo>
                  <a:lnTo>
                    <a:pt x="418" y="165"/>
                  </a:lnTo>
                  <a:lnTo>
                    <a:pt x="417" y="165"/>
                  </a:lnTo>
                  <a:lnTo>
                    <a:pt x="415" y="165"/>
                  </a:lnTo>
                  <a:lnTo>
                    <a:pt x="415" y="163"/>
                  </a:lnTo>
                  <a:lnTo>
                    <a:pt x="414" y="163"/>
                  </a:lnTo>
                  <a:lnTo>
                    <a:pt x="413" y="163"/>
                  </a:lnTo>
                  <a:lnTo>
                    <a:pt x="412" y="163"/>
                  </a:lnTo>
                  <a:lnTo>
                    <a:pt x="413" y="163"/>
                  </a:lnTo>
                  <a:lnTo>
                    <a:pt x="414" y="165"/>
                  </a:lnTo>
                  <a:lnTo>
                    <a:pt x="413" y="165"/>
                  </a:lnTo>
                  <a:lnTo>
                    <a:pt x="414" y="166"/>
                  </a:lnTo>
                  <a:lnTo>
                    <a:pt x="413" y="166"/>
                  </a:lnTo>
                  <a:lnTo>
                    <a:pt x="414" y="166"/>
                  </a:lnTo>
                  <a:lnTo>
                    <a:pt x="412" y="166"/>
                  </a:lnTo>
                  <a:lnTo>
                    <a:pt x="411" y="166"/>
                  </a:lnTo>
                  <a:lnTo>
                    <a:pt x="411" y="167"/>
                  </a:lnTo>
                  <a:lnTo>
                    <a:pt x="410" y="167"/>
                  </a:lnTo>
                  <a:lnTo>
                    <a:pt x="410" y="166"/>
                  </a:lnTo>
                  <a:lnTo>
                    <a:pt x="411" y="166"/>
                  </a:lnTo>
                  <a:lnTo>
                    <a:pt x="410" y="166"/>
                  </a:lnTo>
                  <a:lnTo>
                    <a:pt x="408" y="166"/>
                  </a:lnTo>
                  <a:lnTo>
                    <a:pt x="407" y="166"/>
                  </a:lnTo>
                  <a:lnTo>
                    <a:pt x="408" y="167"/>
                  </a:lnTo>
                  <a:lnTo>
                    <a:pt x="407" y="167"/>
                  </a:lnTo>
                  <a:lnTo>
                    <a:pt x="407" y="168"/>
                  </a:lnTo>
                  <a:lnTo>
                    <a:pt x="408" y="167"/>
                  </a:lnTo>
                  <a:lnTo>
                    <a:pt x="408" y="168"/>
                  </a:lnTo>
                  <a:lnTo>
                    <a:pt x="407" y="168"/>
                  </a:lnTo>
                  <a:lnTo>
                    <a:pt x="406" y="168"/>
                  </a:lnTo>
                  <a:lnTo>
                    <a:pt x="405" y="168"/>
                  </a:lnTo>
                  <a:lnTo>
                    <a:pt x="404" y="167"/>
                  </a:lnTo>
                  <a:lnTo>
                    <a:pt x="403" y="168"/>
                  </a:lnTo>
                  <a:lnTo>
                    <a:pt x="401" y="168"/>
                  </a:lnTo>
                  <a:lnTo>
                    <a:pt x="404" y="168"/>
                  </a:lnTo>
                  <a:lnTo>
                    <a:pt x="405" y="168"/>
                  </a:lnTo>
                  <a:lnTo>
                    <a:pt x="405" y="169"/>
                  </a:lnTo>
                  <a:lnTo>
                    <a:pt x="404" y="169"/>
                  </a:lnTo>
                  <a:lnTo>
                    <a:pt x="403" y="169"/>
                  </a:lnTo>
                  <a:lnTo>
                    <a:pt x="404" y="169"/>
                  </a:lnTo>
                  <a:lnTo>
                    <a:pt x="404" y="170"/>
                  </a:lnTo>
                  <a:lnTo>
                    <a:pt x="403" y="170"/>
                  </a:lnTo>
                  <a:lnTo>
                    <a:pt x="401" y="169"/>
                  </a:lnTo>
                  <a:lnTo>
                    <a:pt x="400" y="169"/>
                  </a:lnTo>
                  <a:lnTo>
                    <a:pt x="401" y="169"/>
                  </a:lnTo>
                  <a:lnTo>
                    <a:pt x="401" y="170"/>
                  </a:lnTo>
                  <a:lnTo>
                    <a:pt x="400" y="170"/>
                  </a:lnTo>
                  <a:lnTo>
                    <a:pt x="401" y="170"/>
                  </a:lnTo>
                  <a:lnTo>
                    <a:pt x="401" y="172"/>
                  </a:lnTo>
                  <a:lnTo>
                    <a:pt x="400" y="172"/>
                  </a:lnTo>
                  <a:lnTo>
                    <a:pt x="400" y="170"/>
                  </a:lnTo>
                  <a:lnTo>
                    <a:pt x="399" y="170"/>
                  </a:lnTo>
                  <a:lnTo>
                    <a:pt x="398" y="170"/>
                  </a:lnTo>
                  <a:lnTo>
                    <a:pt x="397" y="170"/>
                  </a:lnTo>
                  <a:lnTo>
                    <a:pt x="398" y="170"/>
                  </a:lnTo>
                  <a:lnTo>
                    <a:pt x="398" y="172"/>
                  </a:lnTo>
                  <a:lnTo>
                    <a:pt x="397" y="172"/>
                  </a:lnTo>
                  <a:lnTo>
                    <a:pt x="398" y="172"/>
                  </a:lnTo>
                  <a:lnTo>
                    <a:pt x="399" y="172"/>
                  </a:lnTo>
                  <a:lnTo>
                    <a:pt x="397" y="172"/>
                  </a:lnTo>
                  <a:lnTo>
                    <a:pt x="397" y="173"/>
                  </a:lnTo>
                  <a:lnTo>
                    <a:pt x="398" y="173"/>
                  </a:lnTo>
                  <a:lnTo>
                    <a:pt x="397" y="173"/>
                  </a:lnTo>
                  <a:lnTo>
                    <a:pt x="396" y="173"/>
                  </a:lnTo>
                  <a:lnTo>
                    <a:pt x="394" y="173"/>
                  </a:lnTo>
                  <a:lnTo>
                    <a:pt x="396" y="173"/>
                  </a:lnTo>
                  <a:lnTo>
                    <a:pt x="396" y="174"/>
                  </a:lnTo>
                  <a:lnTo>
                    <a:pt x="394" y="174"/>
                  </a:lnTo>
                  <a:lnTo>
                    <a:pt x="393" y="174"/>
                  </a:lnTo>
                  <a:lnTo>
                    <a:pt x="392" y="174"/>
                  </a:lnTo>
                  <a:lnTo>
                    <a:pt x="391" y="174"/>
                  </a:lnTo>
                  <a:lnTo>
                    <a:pt x="390" y="174"/>
                  </a:lnTo>
                  <a:lnTo>
                    <a:pt x="390" y="175"/>
                  </a:lnTo>
                  <a:lnTo>
                    <a:pt x="390" y="176"/>
                  </a:lnTo>
                  <a:lnTo>
                    <a:pt x="389" y="176"/>
                  </a:lnTo>
                  <a:lnTo>
                    <a:pt x="387" y="176"/>
                  </a:lnTo>
                  <a:lnTo>
                    <a:pt x="387" y="175"/>
                  </a:lnTo>
                  <a:lnTo>
                    <a:pt x="387" y="176"/>
                  </a:lnTo>
                  <a:lnTo>
                    <a:pt x="386" y="176"/>
                  </a:lnTo>
                  <a:lnTo>
                    <a:pt x="385" y="176"/>
                  </a:lnTo>
                  <a:lnTo>
                    <a:pt x="385" y="175"/>
                  </a:lnTo>
                  <a:lnTo>
                    <a:pt x="384" y="176"/>
                  </a:lnTo>
                  <a:lnTo>
                    <a:pt x="383" y="176"/>
                  </a:lnTo>
                  <a:lnTo>
                    <a:pt x="382" y="176"/>
                  </a:lnTo>
                  <a:lnTo>
                    <a:pt x="382" y="177"/>
                  </a:lnTo>
                  <a:lnTo>
                    <a:pt x="380" y="177"/>
                  </a:lnTo>
                  <a:lnTo>
                    <a:pt x="380" y="176"/>
                  </a:lnTo>
                  <a:lnTo>
                    <a:pt x="379" y="176"/>
                  </a:lnTo>
                  <a:lnTo>
                    <a:pt x="379" y="177"/>
                  </a:lnTo>
                  <a:lnTo>
                    <a:pt x="377" y="177"/>
                  </a:lnTo>
                  <a:lnTo>
                    <a:pt x="376" y="177"/>
                  </a:lnTo>
                  <a:lnTo>
                    <a:pt x="375" y="177"/>
                  </a:lnTo>
                  <a:lnTo>
                    <a:pt x="376" y="179"/>
                  </a:lnTo>
                  <a:lnTo>
                    <a:pt x="375" y="179"/>
                  </a:lnTo>
                  <a:lnTo>
                    <a:pt x="373" y="179"/>
                  </a:lnTo>
                  <a:lnTo>
                    <a:pt x="372" y="179"/>
                  </a:lnTo>
                  <a:lnTo>
                    <a:pt x="372" y="177"/>
                  </a:lnTo>
                  <a:lnTo>
                    <a:pt x="371" y="177"/>
                  </a:lnTo>
                  <a:lnTo>
                    <a:pt x="371" y="179"/>
                  </a:lnTo>
                  <a:lnTo>
                    <a:pt x="370" y="179"/>
                  </a:lnTo>
                  <a:lnTo>
                    <a:pt x="369" y="179"/>
                  </a:lnTo>
                  <a:lnTo>
                    <a:pt x="368" y="179"/>
                  </a:lnTo>
                  <a:lnTo>
                    <a:pt x="369" y="179"/>
                  </a:lnTo>
                  <a:lnTo>
                    <a:pt x="367" y="179"/>
                  </a:lnTo>
                  <a:lnTo>
                    <a:pt x="367" y="180"/>
                  </a:lnTo>
                  <a:lnTo>
                    <a:pt x="365" y="180"/>
                  </a:lnTo>
                  <a:lnTo>
                    <a:pt x="364" y="180"/>
                  </a:lnTo>
                  <a:lnTo>
                    <a:pt x="363" y="180"/>
                  </a:lnTo>
                  <a:lnTo>
                    <a:pt x="362" y="181"/>
                  </a:lnTo>
                  <a:lnTo>
                    <a:pt x="362" y="180"/>
                  </a:lnTo>
                  <a:lnTo>
                    <a:pt x="361" y="180"/>
                  </a:lnTo>
                  <a:lnTo>
                    <a:pt x="360" y="180"/>
                  </a:lnTo>
                  <a:lnTo>
                    <a:pt x="360" y="181"/>
                  </a:lnTo>
                  <a:lnTo>
                    <a:pt x="358" y="181"/>
                  </a:lnTo>
                  <a:lnTo>
                    <a:pt x="357" y="181"/>
                  </a:lnTo>
                  <a:lnTo>
                    <a:pt x="357" y="182"/>
                  </a:lnTo>
                  <a:lnTo>
                    <a:pt x="356" y="181"/>
                  </a:lnTo>
                  <a:lnTo>
                    <a:pt x="356" y="182"/>
                  </a:lnTo>
                  <a:lnTo>
                    <a:pt x="355" y="182"/>
                  </a:lnTo>
                  <a:lnTo>
                    <a:pt x="355" y="181"/>
                  </a:lnTo>
                  <a:lnTo>
                    <a:pt x="354" y="181"/>
                  </a:lnTo>
                  <a:lnTo>
                    <a:pt x="355" y="181"/>
                  </a:lnTo>
                  <a:lnTo>
                    <a:pt x="354" y="181"/>
                  </a:lnTo>
                  <a:lnTo>
                    <a:pt x="353" y="181"/>
                  </a:lnTo>
                  <a:lnTo>
                    <a:pt x="353" y="180"/>
                  </a:lnTo>
                  <a:lnTo>
                    <a:pt x="351" y="180"/>
                  </a:lnTo>
                  <a:lnTo>
                    <a:pt x="350" y="180"/>
                  </a:lnTo>
                  <a:lnTo>
                    <a:pt x="350" y="181"/>
                  </a:lnTo>
                  <a:lnTo>
                    <a:pt x="350" y="182"/>
                  </a:lnTo>
                  <a:lnTo>
                    <a:pt x="349" y="182"/>
                  </a:lnTo>
                  <a:lnTo>
                    <a:pt x="349" y="181"/>
                  </a:lnTo>
                  <a:lnTo>
                    <a:pt x="348" y="181"/>
                  </a:lnTo>
                  <a:lnTo>
                    <a:pt x="348" y="182"/>
                  </a:lnTo>
                  <a:lnTo>
                    <a:pt x="348" y="181"/>
                  </a:lnTo>
                  <a:lnTo>
                    <a:pt x="349" y="182"/>
                  </a:lnTo>
                  <a:lnTo>
                    <a:pt x="350" y="183"/>
                  </a:lnTo>
                  <a:lnTo>
                    <a:pt x="349" y="183"/>
                  </a:lnTo>
                  <a:lnTo>
                    <a:pt x="348" y="183"/>
                  </a:lnTo>
                  <a:lnTo>
                    <a:pt x="347" y="183"/>
                  </a:lnTo>
                  <a:lnTo>
                    <a:pt x="346" y="183"/>
                  </a:lnTo>
                  <a:lnTo>
                    <a:pt x="346" y="182"/>
                  </a:lnTo>
                  <a:lnTo>
                    <a:pt x="347" y="182"/>
                  </a:lnTo>
                  <a:lnTo>
                    <a:pt x="346" y="182"/>
                  </a:lnTo>
                  <a:lnTo>
                    <a:pt x="343" y="181"/>
                  </a:lnTo>
                  <a:lnTo>
                    <a:pt x="342" y="181"/>
                  </a:lnTo>
                  <a:lnTo>
                    <a:pt x="342" y="182"/>
                  </a:lnTo>
                  <a:lnTo>
                    <a:pt x="346" y="182"/>
                  </a:lnTo>
                  <a:lnTo>
                    <a:pt x="346" y="183"/>
                  </a:lnTo>
                  <a:lnTo>
                    <a:pt x="346" y="184"/>
                  </a:lnTo>
                  <a:lnTo>
                    <a:pt x="344" y="184"/>
                  </a:lnTo>
                  <a:lnTo>
                    <a:pt x="344" y="183"/>
                  </a:lnTo>
                  <a:lnTo>
                    <a:pt x="343" y="184"/>
                  </a:lnTo>
                  <a:lnTo>
                    <a:pt x="342" y="184"/>
                  </a:lnTo>
                  <a:lnTo>
                    <a:pt x="342" y="183"/>
                  </a:lnTo>
                  <a:lnTo>
                    <a:pt x="341" y="184"/>
                  </a:lnTo>
                  <a:lnTo>
                    <a:pt x="341" y="183"/>
                  </a:lnTo>
                  <a:lnTo>
                    <a:pt x="341" y="184"/>
                  </a:lnTo>
                  <a:lnTo>
                    <a:pt x="340" y="184"/>
                  </a:lnTo>
                  <a:lnTo>
                    <a:pt x="339" y="184"/>
                  </a:lnTo>
                  <a:lnTo>
                    <a:pt x="337" y="183"/>
                  </a:lnTo>
                  <a:lnTo>
                    <a:pt x="335" y="183"/>
                  </a:lnTo>
                  <a:lnTo>
                    <a:pt x="336" y="183"/>
                  </a:lnTo>
                  <a:lnTo>
                    <a:pt x="336" y="182"/>
                  </a:lnTo>
                  <a:lnTo>
                    <a:pt x="335" y="183"/>
                  </a:lnTo>
                  <a:lnTo>
                    <a:pt x="334" y="183"/>
                  </a:lnTo>
                  <a:lnTo>
                    <a:pt x="333" y="183"/>
                  </a:lnTo>
                  <a:lnTo>
                    <a:pt x="333" y="182"/>
                  </a:lnTo>
                  <a:lnTo>
                    <a:pt x="334" y="182"/>
                  </a:lnTo>
                  <a:lnTo>
                    <a:pt x="335" y="182"/>
                  </a:lnTo>
                  <a:lnTo>
                    <a:pt x="334" y="181"/>
                  </a:lnTo>
                  <a:lnTo>
                    <a:pt x="330" y="181"/>
                  </a:lnTo>
                  <a:lnTo>
                    <a:pt x="329" y="181"/>
                  </a:lnTo>
                  <a:lnTo>
                    <a:pt x="329" y="180"/>
                  </a:lnTo>
                  <a:lnTo>
                    <a:pt x="329" y="179"/>
                  </a:lnTo>
                  <a:lnTo>
                    <a:pt x="328" y="179"/>
                  </a:lnTo>
                  <a:lnTo>
                    <a:pt x="327" y="179"/>
                  </a:lnTo>
                  <a:lnTo>
                    <a:pt x="328" y="179"/>
                  </a:lnTo>
                  <a:lnTo>
                    <a:pt x="327" y="177"/>
                  </a:lnTo>
                  <a:lnTo>
                    <a:pt x="327" y="176"/>
                  </a:lnTo>
                  <a:lnTo>
                    <a:pt x="326" y="176"/>
                  </a:lnTo>
                  <a:lnTo>
                    <a:pt x="326" y="177"/>
                  </a:lnTo>
                  <a:lnTo>
                    <a:pt x="327" y="177"/>
                  </a:lnTo>
                  <a:lnTo>
                    <a:pt x="326" y="179"/>
                  </a:lnTo>
                  <a:lnTo>
                    <a:pt x="325" y="177"/>
                  </a:lnTo>
                  <a:lnTo>
                    <a:pt x="326" y="179"/>
                  </a:lnTo>
                  <a:lnTo>
                    <a:pt x="326" y="180"/>
                  </a:lnTo>
                  <a:lnTo>
                    <a:pt x="327" y="180"/>
                  </a:lnTo>
                  <a:lnTo>
                    <a:pt x="328" y="180"/>
                  </a:lnTo>
                  <a:lnTo>
                    <a:pt x="328" y="181"/>
                  </a:lnTo>
                  <a:lnTo>
                    <a:pt x="329" y="182"/>
                  </a:lnTo>
                  <a:lnTo>
                    <a:pt x="328" y="182"/>
                  </a:lnTo>
                  <a:lnTo>
                    <a:pt x="326" y="182"/>
                  </a:lnTo>
                  <a:lnTo>
                    <a:pt x="325" y="182"/>
                  </a:lnTo>
                  <a:lnTo>
                    <a:pt x="326" y="182"/>
                  </a:lnTo>
                  <a:lnTo>
                    <a:pt x="327" y="182"/>
                  </a:lnTo>
                  <a:lnTo>
                    <a:pt x="328" y="182"/>
                  </a:lnTo>
                  <a:lnTo>
                    <a:pt x="328" y="183"/>
                  </a:lnTo>
                  <a:lnTo>
                    <a:pt x="329" y="183"/>
                  </a:lnTo>
                  <a:lnTo>
                    <a:pt x="329" y="184"/>
                  </a:lnTo>
                  <a:lnTo>
                    <a:pt x="328" y="184"/>
                  </a:lnTo>
                  <a:lnTo>
                    <a:pt x="328" y="186"/>
                  </a:lnTo>
                  <a:lnTo>
                    <a:pt x="327" y="186"/>
                  </a:lnTo>
                  <a:lnTo>
                    <a:pt x="327" y="187"/>
                  </a:lnTo>
                  <a:lnTo>
                    <a:pt x="326" y="187"/>
                  </a:lnTo>
                  <a:lnTo>
                    <a:pt x="325" y="187"/>
                  </a:lnTo>
                  <a:lnTo>
                    <a:pt x="323" y="187"/>
                  </a:lnTo>
                  <a:lnTo>
                    <a:pt x="322" y="187"/>
                  </a:lnTo>
                  <a:lnTo>
                    <a:pt x="322" y="188"/>
                  </a:lnTo>
                  <a:lnTo>
                    <a:pt x="321" y="188"/>
                  </a:lnTo>
                  <a:lnTo>
                    <a:pt x="320" y="188"/>
                  </a:lnTo>
                  <a:lnTo>
                    <a:pt x="320" y="189"/>
                  </a:lnTo>
                  <a:lnTo>
                    <a:pt x="319" y="189"/>
                  </a:lnTo>
                  <a:lnTo>
                    <a:pt x="316" y="189"/>
                  </a:lnTo>
                  <a:lnTo>
                    <a:pt x="315" y="189"/>
                  </a:lnTo>
                  <a:lnTo>
                    <a:pt x="316" y="189"/>
                  </a:lnTo>
                  <a:lnTo>
                    <a:pt x="316" y="190"/>
                  </a:lnTo>
                  <a:lnTo>
                    <a:pt x="315" y="190"/>
                  </a:lnTo>
                  <a:lnTo>
                    <a:pt x="315" y="191"/>
                  </a:lnTo>
                  <a:lnTo>
                    <a:pt x="314" y="191"/>
                  </a:lnTo>
                  <a:lnTo>
                    <a:pt x="314" y="190"/>
                  </a:lnTo>
                  <a:lnTo>
                    <a:pt x="313" y="191"/>
                  </a:lnTo>
                  <a:lnTo>
                    <a:pt x="314" y="191"/>
                  </a:lnTo>
                  <a:lnTo>
                    <a:pt x="313" y="191"/>
                  </a:lnTo>
                  <a:lnTo>
                    <a:pt x="314" y="191"/>
                  </a:lnTo>
                  <a:lnTo>
                    <a:pt x="314" y="193"/>
                  </a:lnTo>
                  <a:lnTo>
                    <a:pt x="313" y="193"/>
                  </a:lnTo>
                  <a:lnTo>
                    <a:pt x="314" y="193"/>
                  </a:lnTo>
                  <a:lnTo>
                    <a:pt x="313" y="193"/>
                  </a:lnTo>
                  <a:lnTo>
                    <a:pt x="313" y="194"/>
                  </a:lnTo>
                  <a:lnTo>
                    <a:pt x="312" y="194"/>
                  </a:lnTo>
                  <a:lnTo>
                    <a:pt x="312" y="193"/>
                  </a:lnTo>
                  <a:lnTo>
                    <a:pt x="312" y="194"/>
                  </a:lnTo>
                  <a:lnTo>
                    <a:pt x="311" y="193"/>
                  </a:lnTo>
                  <a:lnTo>
                    <a:pt x="311" y="194"/>
                  </a:lnTo>
                  <a:lnTo>
                    <a:pt x="312" y="194"/>
                  </a:lnTo>
                  <a:lnTo>
                    <a:pt x="312" y="195"/>
                  </a:lnTo>
                  <a:lnTo>
                    <a:pt x="311" y="195"/>
                  </a:lnTo>
                  <a:lnTo>
                    <a:pt x="309" y="195"/>
                  </a:lnTo>
                  <a:lnTo>
                    <a:pt x="308" y="195"/>
                  </a:lnTo>
                  <a:lnTo>
                    <a:pt x="309" y="196"/>
                  </a:lnTo>
                  <a:lnTo>
                    <a:pt x="309" y="195"/>
                  </a:lnTo>
                  <a:lnTo>
                    <a:pt x="311" y="196"/>
                  </a:lnTo>
                  <a:lnTo>
                    <a:pt x="309" y="196"/>
                  </a:lnTo>
                  <a:lnTo>
                    <a:pt x="311" y="196"/>
                  </a:lnTo>
                  <a:lnTo>
                    <a:pt x="309" y="196"/>
                  </a:lnTo>
                  <a:lnTo>
                    <a:pt x="309" y="197"/>
                  </a:lnTo>
                  <a:lnTo>
                    <a:pt x="308" y="197"/>
                  </a:lnTo>
                  <a:lnTo>
                    <a:pt x="307" y="198"/>
                  </a:lnTo>
                  <a:lnTo>
                    <a:pt x="306" y="198"/>
                  </a:lnTo>
                  <a:lnTo>
                    <a:pt x="307" y="198"/>
                  </a:lnTo>
                  <a:lnTo>
                    <a:pt x="305" y="198"/>
                  </a:lnTo>
                  <a:lnTo>
                    <a:pt x="306" y="198"/>
                  </a:lnTo>
                  <a:lnTo>
                    <a:pt x="306" y="200"/>
                  </a:lnTo>
                  <a:lnTo>
                    <a:pt x="305" y="200"/>
                  </a:lnTo>
                  <a:lnTo>
                    <a:pt x="305" y="198"/>
                  </a:lnTo>
                  <a:lnTo>
                    <a:pt x="305" y="200"/>
                  </a:lnTo>
                  <a:lnTo>
                    <a:pt x="304" y="201"/>
                  </a:lnTo>
                  <a:lnTo>
                    <a:pt x="304" y="202"/>
                  </a:lnTo>
                  <a:lnTo>
                    <a:pt x="305" y="202"/>
                  </a:lnTo>
                  <a:lnTo>
                    <a:pt x="304" y="202"/>
                  </a:lnTo>
                  <a:lnTo>
                    <a:pt x="304" y="201"/>
                  </a:lnTo>
                  <a:lnTo>
                    <a:pt x="303" y="201"/>
                  </a:lnTo>
                  <a:lnTo>
                    <a:pt x="304" y="202"/>
                  </a:lnTo>
                  <a:lnTo>
                    <a:pt x="303" y="202"/>
                  </a:lnTo>
                  <a:lnTo>
                    <a:pt x="301" y="202"/>
                  </a:lnTo>
                  <a:lnTo>
                    <a:pt x="301" y="203"/>
                  </a:lnTo>
                  <a:lnTo>
                    <a:pt x="300" y="204"/>
                  </a:lnTo>
                  <a:lnTo>
                    <a:pt x="300" y="203"/>
                  </a:lnTo>
                  <a:lnTo>
                    <a:pt x="299" y="204"/>
                  </a:lnTo>
                  <a:lnTo>
                    <a:pt x="299" y="203"/>
                  </a:lnTo>
                  <a:lnTo>
                    <a:pt x="299" y="202"/>
                  </a:lnTo>
                  <a:lnTo>
                    <a:pt x="299" y="203"/>
                  </a:lnTo>
                  <a:lnTo>
                    <a:pt x="298" y="203"/>
                  </a:lnTo>
                  <a:lnTo>
                    <a:pt x="298" y="204"/>
                  </a:lnTo>
                  <a:lnTo>
                    <a:pt x="299" y="204"/>
                  </a:lnTo>
                  <a:lnTo>
                    <a:pt x="298" y="205"/>
                  </a:lnTo>
                  <a:lnTo>
                    <a:pt x="297" y="205"/>
                  </a:lnTo>
                  <a:lnTo>
                    <a:pt x="297" y="207"/>
                  </a:lnTo>
                  <a:lnTo>
                    <a:pt x="296" y="207"/>
                  </a:lnTo>
                  <a:lnTo>
                    <a:pt x="294" y="207"/>
                  </a:lnTo>
                  <a:lnTo>
                    <a:pt x="294" y="208"/>
                  </a:lnTo>
                  <a:lnTo>
                    <a:pt x="293" y="208"/>
                  </a:lnTo>
                  <a:lnTo>
                    <a:pt x="292" y="208"/>
                  </a:lnTo>
                  <a:lnTo>
                    <a:pt x="291" y="208"/>
                  </a:lnTo>
                  <a:lnTo>
                    <a:pt x="290" y="208"/>
                  </a:lnTo>
                  <a:lnTo>
                    <a:pt x="291" y="208"/>
                  </a:lnTo>
                  <a:lnTo>
                    <a:pt x="291" y="207"/>
                  </a:lnTo>
                  <a:lnTo>
                    <a:pt x="290" y="207"/>
                  </a:lnTo>
                  <a:lnTo>
                    <a:pt x="290" y="208"/>
                  </a:lnTo>
                  <a:lnTo>
                    <a:pt x="289" y="208"/>
                  </a:lnTo>
                  <a:lnTo>
                    <a:pt x="290" y="208"/>
                  </a:lnTo>
                  <a:lnTo>
                    <a:pt x="291" y="209"/>
                  </a:lnTo>
                  <a:lnTo>
                    <a:pt x="290" y="209"/>
                  </a:lnTo>
                  <a:lnTo>
                    <a:pt x="289" y="209"/>
                  </a:lnTo>
                  <a:lnTo>
                    <a:pt x="287" y="208"/>
                  </a:lnTo>
                  <a:lnTo>
                    <a:pt x="286" y="208"/>
                  </a:lnTo>
                  <a:lnTo>
                    <a:pt x="287" y="208"/>
                  </a:lnTo>
                  <a:lnTo>
                    <a:pt x="286" y="208"/>
                  </a:lnTo>
                  <a:lnTo>
                    <a:pt x="285" y="208"/>
                  </a:lnTo>
                  <a:lnTo>
                    <a:pt x="284" y="207"/>
                  </a:lnTo>
                  <a:lnTo>
                    <a:pt x="283" y="207"/>
                  </a:lnTo>
                  <a:lnTo>
                    <a:pt x="284" y="207"/>
                  </a:lnTo>
                  <a:lnTo>
                    <a:pt x="284" y="208"/>
                  </a:lnTo>
                  <a:lnTo>
                    <a:pt x="285" y="208"/>
                  </a:lnTo>
                  <a:lnTo>
                    <a:pt x="284" y="208"/>
                  </a:lnTo>
                  <a:lnTo>
                    <a:pt x="284" y="209"/>
                  </a:lnTo>
                  <a:lnTo>
                    <a:pt x="284" y="208"/>
                  </a:lnTo>
                  <a:lnTo>
                    <a:pt x="285" y="209"/>
                  </a:lnTo>
                  <a:lnTo>
                    <a:pt x="284" y="209"/>
                  </a:lnTo>
                  <a:lnTo>
                    <a:pt x="285" y="209"/>
                  </a:lnTo>
                  <a:lnTo>
                    <a:pt x="285" y="210"/>
                  </a:lnTo>
                  <a:lnTo>
                    <a:pt x="284" y="210"/>
                  </a:lnTo>
                  <a:lnTo>
                    <a:pt x="284" y="209"/>
                  </a:lnTo>
                  <a:lnTo>
                    <a:pt x="283" y="209"/>
                  </a:lnTo>
                  <a:lnTo>
                    <a:pt x="283" y="210"/>
                  </a:lnTo>
                  <a:lnTo>
                    <a:pt x="284" y="210"/>
                  </a:lnTo>
                  <a:lnTo>
                    <a:pt x="283" y="210"/>
                  </a:lnTo>
                  <a:lnTo>
                    <a:pt x="282" y="210"/>
                  </a:lnTo>
                  <a:lnTo>
                    <a:pt x="280" y="211"/>
                  </a:lnTo>
                  <a:lnTo>
                    <a:pt x="282" y="211"/>
                  </a:lnTo>
                  <a:lnTo>
                    <a:pt x="282" y="210"/>
                  </a:lnTo>
                  <a:lnTo>
                    <a:pt x="283" y="211"/>
                  </a:lnTo>
                  <a:lnTo>
                    <a:pt x="282" y="211"/>
                  </a:lnTo>
                  <a:lnTo>
                    <a:pt x="280" y="211"/>
                  </a:lnTo>
                  <a:lnTo>
                    <a:pt x="282" y="211"/>
                  </a:lnTo>
                  <a:lnTo>
                    <a:pt x="280" y="211"/>
                  </a:lnTo>
                  <a:lnTo>
                    <a:pt x="282" y="211"/>
                  </a:lnTo>
                  <a:lnTo>
                    <a:pt x="280" y="212"/>
                  </a:lnTo>
                  <a:lnTo>
                    <a:pt x="279" y="212"/>
                  </a:lnTo>
                  <a:lnTo>
                    <a:pt x="279" y="214"/>
                  </a:lnTo>
                  <a:lnTo>
                    <a:pt x="278" y="214"/>
                  </a:lnTo>
                  <a:lnTo>
                    <a:pt x="278" y="212"/>
                  </a:lnTo>
                  <a:lnTo>
                    <a:pt x="277" y="214"/>
                  </a:lnTo>
                  <a:lnTo>
                    <a:pt x="277" y="212"/>
                  </a:lnTo>
                  <a:lnTo>
                    <a:pt x="278" y="212"/>
                  </a:lnTo>
                  <a:lnTo>
                    <a:pt x="277" y="212"/>
                  </a:lnTo>
                  <a:lnTo>
                    <a:pt x="276" y="212"/>
                  </a:lnTo>
                  <a:lnTo>
                    <a:pt x="277" y="212"/>
                  </a:lnTo>
                  <a:lnTo>
                    <a:pt x="276" y="212"/>
                  </a:lnTo>
                  <a:lnTo>
                    <a:pt x="276" y="214"/>
                  </a:lnTo>
                  <a:lnTo>
                    <a:pt x="276" y="212"/>
                  </a:lnTo>
                  <a:lnTo>
                    <a:pt x="276" y="211"/>
                  </a:lnTo>
                  <a:lnTo>
                    <a:pt x="277" y="211"/>
                  </a:lnTo>
                  <a:lnTo>
                    <a:pt x="276" y="211"/>
                  </a:lnTo>
                  <a:lnTo>
                    <a:pt x="275" y="211"/>
                  </a:lnTo>
                  <a:lnTo>
                    <a:pt x="273" y="211"/>
                  </a:lnTo>
                  <a:lnTo>
                    <a:pt x="275" y="211"/>
                  </a:lnTo>
                  <a:lnTo>
                    <a:pt x="275" y="212"/>
                  </a:lnTo>
                  <a:lnTo>
                    <a:pt x="272" y="212"/>
                  </a:lnTo>
                  <a:lnTo>
                    <a:pt x="272" y="214"/>
                  </a:lnTo>
                  <a:lnTo>
                    <a:pt x="271" y="214"/>
                  </a:lnTo>
                  <a:lnTo>
                    <a:pt x="270" y="214"/>
                  </a:lnTo>
                  <a:lnTo>
                    <a:pt x="271" y="214"/>
                  </a:lnTo>
                  <a:lnTo>
                    <a:pt x="270" y="214"/>
                  </a:lnTo>
                  <a:lnTo>
                    <a:pt x="269" y="215"/>
                  </a:lnTo>
                  <a:lnTo>
                    <a:pt x="269" y="214"/>
                  </a:lnTo>
                  <a:lnTo>
                    <a:pt x="268" y="212"/>
                  </a:lnTo>
                  <a:lnTo>
                    <a:pt x="269" y="212"/>
                  </a:lnTo>
                  <a:lnTo>
                    <a:pt x="269" y="211"/>
                  </a:lnTo>
                  <a:lnTo>
                    <a:pt x="269" y="212"/>
                  </a:lnTo>
                  <a:lnTo>
                    <a:pt x="268" y="212"/>
                  </a:lnTo>
                  <a:lnTo>
                    <a:pt x="268" y="214"/>
                  </a:lnTo>
                  <a:lnTo>
                    <a:pt x="266" y="214"/>
                  </a:lnTo>
                  <a:lnTo>
                    <a:pt x="268" y="214"/>
                  </a:lnTo>
                  <a:lnTo>
                    <a:pt x="268" y="215"/>
                  </a:lnTo>
                  <a:lnTo>
                    <a:pt x="266" y="215"/>
                  </a:lnTo>
                  <a:lnTo>
                    <a:pt x="265" y="215"/>
                  </a:lnTo>
                  <a:lnTo>
                    <a:pt x="266" y="215"/>
                  </a:lnTo>
                  <a:lnTo>
                    <a:pt x="264" y="214"/>
                  </a:lnTo>
                  <a:lnTo>
                    <a:pt x="263" y="214"/>
                  </a:lnTo>
                  <a:lnTo>
                    <a:pt x="262" y="214"/>
                  </a:lnTo>
                  <a:lnTo>
                    <a:pt x="262" y="212"/>
                  </a:lnTo>
                  <a:lnTo>
                    <a:pt x="262" y="214"/>
                  </a:lnTo>
                  <a:lnTo>
                    <a:pt x="261" y="214"/>
                  </a:lnTo>
                  <a:lnTo>
                    <a:pt x="259" y="214"/>
                  </a:lnTo>
                  <a:lnTo>
                    <a:pt x="261" y="214"/>
                  </a:lnTo>
                  <a:lnTo>
                    <a:pt x="261" y="212"/>
                  </a:lnTo>
                  <a:lnTo>
                    <a:pt x="262" y="212"/>
                  </a:lnTo>
                  <a:lnTo>
                    <a:pt x="261" y="212"/>
                  </a:lnTo>
                  <a:lnTo>
                    <a:pt x="262" y="212"/>
                  </a:lnTo>
                  <a:lnTo>
                    <a:pt x="261" y="212"/>
                  </a:lnTo>
                  <a:lnTo>
                    <a:pt x="261" y="211"/>
                  </a:lnTo>
                  <a:lnTo>
                    <a:pt x="262" y="211"/>
                  </a:lnTo>
                  <a:lnTo>
                    <a:pt x="263" y="211"/>
                  </a:lnTo>
                  <a:lnTo>
                    <a:pt x="263" y="210"/>
                  </a:lnTo>
                  <a:lnTo>
                    <a:pt x="264" y="210"/>
                  </a:lnTo>
                  <a:lnTo>
                    <a:pt x="265" y="209"/>
                  </a:lnTo>
                  <a:lnTo>
                    <a:pt x="268" y="208"/>
                  </a:lnTo>
                  <a:lnTo>
                    <a:pt x="269" y="208"/>
                  </a:lnTo>
                  <a:lnTo>
                    <a:pt x="266" y="208"/>
                  </a:lnTo>
                  <a:lnTo>
                    <a:pt x="265" y="208"/>
                  </a:lnTo>
                  <a:lnTo>
                    <a:pt x="264" y="208"/>
                  </a:lnTo>
                  <a:lnTo>
                    <a:pt x="263" y="208"/>
                  </a:lnTo>
                  <a:lnTo>
                    <a:pt x="263" y="207"/>
                  </a:lnTo>
                  <a:lnTo>
                    <a:pt x="262" y="207"/>
                  </a:lnTo>
                  <a:lnTo>
                    <a:pt x="261" y="207"/>
                  </a:lnTo>
                  <a:lnTo>
                    <a:pt x="259" y="207"/>
                  </a:lnTo>
                  <a:lnTo>
                    <a:pt x="259" y="208"/>
                  </a:lnTo>
                  <a:lnTo>
                    <a:pt x="258" y="208"/>
                  </a:lnTo>
                  <a:lnTo>
                    <a:pt x="263" y="208"/>
                  </a:lnTo>
                  <a:lnTo>
                    <a:pt x="263" y="209"/>
                  </a:lnTo>
                  <a:lnTo>
                    <a:pt x="262" y="209"/>
                  </a:lnTo>
                  <a:lnTo>
                    <a:pt x="261" y="209"/>
                  </a:lnTo>
                  <a:lnTo>
                    <a:pt x="259" y="209"/>
                  </a:lnTo>
                  <a:lnTo>
                    <a:pt x="261" y="209"/>
                  </a:lnTo>
                  <a:lnTo>
                    <a:pt x="262" y="209"/>
                  </a:lnTo>
                  <a:lnTo>
                    <a:pt x="261" y="210"/>
                  </a:lnTo>
                  <a:lnTo>
                    <a:pt x="259" y="210"/>
                  </a:lnTo>
                  <a:lnTo>
                    <a:pt x="259" y="211"/>
                  </a:lnTo>
                  <a:lnTo>
                    <a:pt x="258" y="211"/>
                  </a:lnTo>
                  <a:lnTo>
                    <a:pt x="258" y="210"/>
                  </a:lnTo>
                  <a:lnTo>
                    <a:pt x="258" y="211"/>
                  </a:lnTo>
                  <a:lnTo>
                    <a:pt x="259" y="211"/>
                  </a:lnTo>
                  <a:lnTo>
                    <a:pt x="259" y="212"/>
                  </a:lnTo>
                  <a:lnTo>
                    <a:pt x="258" y="212"/>
                  </a:lnTo>
                  <a:lnTo>
                    <a:pt x="258" y="214"/>
                  </a:lnTo>
                  <a:lnTo>
                    <a:pt x="257" y="214"/>
                  </a:lnTo>
                  <a:lnTo>
                    <a:pt x="258" y="214"/>
                  </a:lnTo>
                  <a:lnTo>
                    <a:pt x="258" y="212"/>
                  </a:lnTo>
                  <a:lnTo>
                    <a:pt x="257" y="212"/>
                  </a:lnTo>
                  <a:lnTo>
                    <a:pt x="257" y="214"/>
                  </a:lnTo>
                  <a:lnTo>
                    <a:pt x="256" y="214"/>
                  </a:lnTo>
                  <a:lnTo>
                    <a:pt x="255" y="214"/>
                  </a:lnTo>
                  <a:lnTo>
                    <a:pt x="255" y="212"/>
                  </a:lnTo>
                  <a:lnTo>
                    <a:pt x="255" y="211"/>
                  </a:lnTo>
                  <a:lnTo>
                    <a:pt x="254" y="212"/>
                  </a:lnTo>
                  <a:lnTo>
                    <a:pt x="254" y="214"/>
                  </a:lnTo>
                  <a:lnTo>
                    <a:pt x="255" y="214"/>
                  </a:lnTo>
                  <a:lnTo>
                    <a:pt x="255" y="215"/>
                  </a:lnTo>
                  <a:lnTo>
                    <a:pt x="256" y="215"/>
                  </a:lnTo>
                  <a:lnTo>
                    <a:pt x="257" y="215"/>
                  </a:lnTo>
                  <a:lnTo>
                    <a:pt x="256" y="215"/>
                  </a:lnTo>
                  <a:lnTo>
                    <a:pt x="256" y="216"/>
                  </a:lnTo>
                  <a:lnTo>
                    <a:pt x="255" y="216"/>
                  </a:lnTo>
                  <a:lnTo>
                    <a:pt x="255" y="217"/>
                  </a:lnTo>
                  <a:lnTo>
                    <a:pt x="254" y="217"/>
                  </a:lnTo>
                  <a:lnTo>
                    <a:pt x="252" y="217"/>
                  </a:lnTo>
                  <a:lnTo>
                    <a:pt x="252" y="218"/>
                  </a:lnTo>
                  <a:lnTo>
                    <a:pt x="251" y="218"/>
                  </a:lnTo>
                  <a:lnTo>
                    <a:pt x="251" y="217"/>
                  </a:lnTo>
                  <a:lnTo>
                    <a:pt x="252" y="217"/>
                  </a:lnTo>
                  <a:lnTo>
                    <a:pt x="252" y="216"/>
                  </a:lnTo>
                  <a:lnTo>
                    <a:pt x="252" y="217"/>
                  </a:lnTo>
                  <a:lnTo>
                    <a:pt x="252" y="216"/>
                  </a:lnTo>
                  <a:lnTo>
                    <a:pt x="251" y="216"/>
                  </a:lnTo>
                  <a:lnTo>
                    <a:pt x="252" y="216"/>
                  </a:lnTo>
                  <a:lnTo>
                    <a:pt x="251" y="217"/>
                  </a:lnTo>
                  <a:lnTo>
                    <a:pt x="251" y="216"/>
                  </a:lnTo>
                  <a:lnTo>
                    <a:pt x="250" y="217"/>
                  </a:lnTo>
                  <a:lnTo>
                    <a:pt x="251" y="217"/>
                  </a:lnTo>
                  <a:lnTo>
                    <a:pt x="250" y="217"/>
                  </a:lnTo>
                  <a:lnTo>
                    <a:pt x="250" y="216"/>
                  </a:lnTo>
                  <a:lnTo>
                    <a:pt x="249" y="216"/>
                  </a:lnTo>
                  <a:lnTo>
                    <a:pt x="249" y="217"/>
                  </a:lnTo>
                  <a:lnTo>
                    <a:pt x="250" y="217"/>
                  </a:lnTo>
                  <a:lnTo>
                    <a:pt x="250" y="218"/>
                  </a:lnTo>
                  <a:lnTo>
                    <a:pt x="249" y="218"/>
                  </a:lnTo>
                  <a:lnTo>
                    <a:pt x="249" y="217"/>
                  </a:lnTo>
                  <a:lnTo>
                    <a:pt x="248" y="217"/>
                  </a:lnTo>
                  <a:lnTo>
                    <a:pt x="248" y="218"/>
                  </a:lnTo>
                  <a:lnTo>
                    <a:pt x="247" y="218"/>
                  </a:lnTo>
                  <a:lnTo>
                    <a:pt x="245" y="218"/>
                  </a:lnTo>
                  <a:lnTo>
                    <a:pt x="245" y="217"/>
                  </a:lnTo>
                  <a:lnTo>
                    <a:pt x="244" y="216"/>
                  </a:lnTo>
                  <a:lnTo>
                    <a:pt x="243" y="216"/>
                  </a:lnTo>
                  <a:lnTo>
                    <a:pt x="244" y="216"/>
                  </a:lnTo>
                  <a:lnTo>
                    <a:pt x="244" y="217"/>
                  </a:lnTo>
                  <a:lnTo>
                    <a:pt x="244" y="218"/>
                  </a:lnTo>
                  <a:lnTo>
                    <a:pt x="243" y="218"/>
                  </a:lnTo>
                  <a:lnTo>
                    <a:pt x="243" y="217"/>
                  </a:lnTo>
                  <a:lnTo>
                    <a:pt x="243" y="218"/>
                  </a:lnTo>
                  <a:lnTo>
                    <a:pt x="243" y="217"/>
                  </a:lnTo>
                  <a:lnTo>
                    <a:pt x="242" y="218"/>
                  </a:lnTo>
                  <a:lnTo>
                    <a:pt x="241" y="218"/>
                  </a:lnTo>
                  <a:lnTo>
                    <a:pt x="242" y="217"/>
                  </a:lnTo>
                  <a:lnTo>
                    <a:pt x="241" y="217"/>
                  </a:lnTo>
                  <a:lnTo>
                    <a:pt x="242" y="217"/>
                  </a:lnTo>
                  <a:lnTo>
                    <a:pt x="241" y="217"/>
                  </a:lnTo>
                  <a:lnTo>
                    <a:pt x="240" y="217"/>
                  </a:lnTo>
                  <a:lnTo>
                    <a:pt x="240" y="216"/>
                  </a:lnTo>
                  <a:lnTo>
                    <a:pt x="240" y="217"/>
                  </a:lnTo>
                  <a:lnTo>
                    <a:pt x="239" y="217"/>
                  </a:lnTo>
                  <a:lnTo>
                    <a:pt x="239" y="218"/>
                  </a:lnTo>
                  <a:lnTo>
                    <a:pt x="237" y="218"/>
                  </a:lnTo>
                  <a:lnTo>
                    <a:pt x="239" y="218"/>
                  </a:lnTo>
                  <a:lnTo>
                    <a:pt x="237" y="218"/>
                  </a:lnTo>
                  <a:lnTo>
                    <a:pt x="237" y="219"/>
                  </a:lnTo>
                  <a:lnTo>
                    <a:pt x="236" y="218"/>
                  </a:lnTo>
                  <a:lnTo>
                    <a:pt x="235" y="218"/>
                  </a:lnTo>
                  <a:lnTo>
                    <a:pt x="235" y="219"/>
                  </a:lnTo>
                  <a:lnTo>
                    <a:pt x="234" y="219"/>
                  </a:lnTo>
                  <a:lnTo>
                    <a:pt x="234" y="218"/>
                  </a:lnTo>
                  <a:lnTo>
                    <a:pt x="234" y="219"/>
                  </a:lnTo>
                  <a:lnTo>
                    <a:pt x="236" y="219"/>
                  </a:lnTo>
                  <a:lnTo>
                    <a:pt x="237" y="221"/>
                  </a:lnTo>
                  <a:lnTo>
                    <a:pt x="236" y="221"/>
                  </a:lnTo>
                  <a:lnTo>
                    <a:pt x="235" y="221"/>
                  </a:lnTo>
                  <a:lnTo>
                    <a:pt x="236" y="222"/>
                  </a:lnTo>
                  <a:lnTo>
                    <a:pt x="236" y="223"/>
                  </a:lnTo>
                  <a:lnTo>
                    <a:pt x="236" y="222"/>
                  </a:lnTo>
                  <a:lnTo>
                    <a:pt x="237" y="222"/>
                  </a:lnTo>
                  <a:lnTo>
                    <a:pt x="237" y="223"/>
                  </a:lnTo>
                  <a:lnTo>
                    <a:pt x="236" y="223"/>
                  </a:lnTo>
                  <a:lnTo>
                    <a:pt x="237" y="223"/>
                  </a:lnTo>
                  <a:lnTo>
                    <a:pt x="236" y="223"/>
                  </a:lnTo>
                  <a:lnTo>
                    <a:pt x="235" y="223"/>
                  </a:lnTo>
                  <a:lnTo>
                    <a:pt x="234" y="223"/>
                  </a:lnTo>
                  <a:lnTo>
                    <a:pt x="235" y="223"/>
                  </a:lnTo>
                  <a:lnTo>
                    <a:pt x="235" y="224"/>
                  </a:lnTo>
                  <a:lnTo>
                    <a:pt x="234" y="224"/>
                  </a:lnTo>
                  <a:lnTo>
                    <a:pt x="233" y="224"/>
                  </a:lnTo>
                  <a:lnTo>
                    <a:pt x="234" y="224"/>
                  </a:lnTo>
                  <a:lnTo>
                    <a:pt x="233" y="224"/>
                  </a:lnTo>
                  <a:lnTo>
                    <a:pt x="234" y="224"/>
                  </a:lnTo>
                  <a:lnTo>
                    <a:pt x="235" y="224"/>
                  </a:lnTo>
                  <a:lnTo>
                    <a:pt x="234" y="225"/>
                  </a:lnTo>
                  <a:lnTo>
                    <a:pt x="234" y="224"/>
                  </a:lnTo>
                  <a:lnTo>
                    <a:pt x="233" y="225"/>
                  </a:lnTo>
                  <a:lnTo>
                    <a:pt x="232" y="225"/>
                  </a:lnTo>
                  <a:lnTo>
                    <a:pt x="230" y="225"/>
                  </a:lnTo>
                  <a:lnTo>
                    <a:pt x="230" y="226"/>
                  </a:lnTo>
                  <a:lnTo>
                    <a:pt x="230" y="225"/>
                  </a:lnTo>
                  <a:lnTo>
                    <a:pt x="229" y="225"/>
                  </a:lnTo>
                  <a:lnTo>
                    <a:pt x="228" y="224"/>
                  </a:lnTo>
                  <a:lnTo>
                    <a:pt x="227" y="224"/>
                  </a:lnTo>
                  <a:lnTo>
                    <a:pt x="226" y="225"/>
                  </a:lnTo>
                  <a:lnTo>
                    <a:pt x="225" y="224"/>
                  </a:lnTo>
                  <a:lnTo>
                    <a:pt x="225" y="225"/>
                  </a:lnTo>
                  <a:lnTo>
                    <a:pt x="223" y="225"/>
                  </a:lnTo>
                  <a:lnTo>
                    <a:pt x="222" y="224"/>
                  </a:lnTo>
                  <a:lnTo>
                    <a:pt x="222" y="225"/>
                  </a:lnTo>
                  <a:lnTo>
                    <a:pt x="222" y="226"/>
                  </a:lnTo>
                  <a:lnTo>
                    <a:pt x="223" y="226"/>
                  </a:lnTo>
                  <a:lnTo>
                    <a:pt x="222" y="226"/>
                  </a:lnTo>
                  <a:lnTo>
                    <a:pt x="221" y="226"/>
                  </a:lnTo>
                  <a:lnTo>
                    <a:pt x="221" y="228"/>
                  </a:lnTo>
                  <a:lnTo>
                    <a:pt x="222" y="228"/>
                  </a:lnTo>
                  <a:lnTo>
                    <a:pt x="223" y="228"/>
                  </a:lnTo>
                  <a:lnTo>
                    <a:pt x="223" y="229"/>
                  </a:lnTo>
                  <a:lnTo>
                    <a:pt x="222" y="229"/>
                  </a:lnTo>
                  <a:lnTo>
                    <a:pt x="223" y="229"/>
                  </a:lnTo>
                  <a:lnTo>
                    <a:pt x="223" y="230"/>
                  </a:lnTo>
                  <a:lnTo>
                    <a:pt x="225" y="230"/>
                  </a:lnTo>
                  <a:lnTo>
                    <a:pt x="226" y="230"/>
                  </a:lnTo>
                  <a:lnTo>
                    <a:pt x="226" y="231"/>
                  </a:lnTo>
                  <a:lnTo>
                    <a:pt x="226" y="232"/>
                  </a:lnTo>
                  <a:lnTo>
                    <a:pt x="225" y="233"/>
                  </a:lnTo>
                  <a:lnTo>
                    <a:pt x="227" y="235"/>
                  </a:lnTo>
                  <a:lnTo>
                    <a:pt x="226" y="236"/>
                  </a:lnTo>
                  <a:lnTo>
                    <a:pt x="226" y="235"/>
                  </a:lnTo>
                  <a:lnTo>
                    <a:pt x="225" y="236"/>
                  </a:lnTo>
                  <a:lnTo>
                    <a:pt x="225" y="235"/>
                  </a:lnTo>
                  <a:lnTo>
                    <a:pt x="223" y="235"/>
                  </a:lnTo>
                  <a:lnTo>
                    <a:pt x="222" y="235"/>
                  </a:lnTo>
                  <a:lnTo>
                    <a:pt x="220" y="236"/>
                  </a:lnTo>
                  <a:lnTo>
                    <a:pt x="219" y="236"/>
                  </a:lnTo>
                  <a:lnTo>
                    <a:pt x="216" y="236"/>
                  </a:lnTo>
                  <a:lnTo>
                    <a:pt x="216" y="235"/>
                  </a:lnTo>
                  <a:lnTo>
                    <a:pt x="215" y="236"/>
                  </a:lnTo>
                  <a:lnTo>
                    <a:pt x="214" y="236"/>
                  </a:lnTo>
                  <a:lnTo>
                    <a:pt x="213" y="236"/>
                  </a:lnTo>
                  <a:lnTo>
                    <a:pt x="213" y="237"/>
                  </a:lnTo>
                  <a:lnTo>
                    <a:pt x="214" y="237"/>
                  </a:lnTo>
                  <a:lnTo>
                    <a:pt x="215" y="237"/>
                  </a:lnTo>
                  <a:lnTo>
                    <a:pt x="218" y="238"/>
                  </a:lnTo>
                  <a:lnTo>
                    <a:pt x="219" y="238"/>
                  </a:lnTo>
                  <a:lnTo>
                    <a:pt x="219" y="239"/>
                  </a:lnTo>
                  <a:lnTo>
                    <a:pt x="220" y="238"/>
                  </a:lnTo>
                  <a:lnTo>
                    <a:pt x="219" y="238"/>
                  </a:lnTo>
                  <a:lnTo>
                    <a:pt x="220" y="238"/>
                  </a:lnTo>
                  <a:lnTo>
                    <a:pt x="221" y="238"/>
                  </a:lnTo>
                  <a:lnTo>
                    <a:pt x="222" y="238"/>
                  </a:lnTo>
                  <a:lnTo>
                    <a:pt x="223" y="238"/>
                  </a:lnTo>
                  <a:lnTo>
                    <a:pt x="223" y="239"/>
                  </a:lnTo>
                  <a:lnTo>
                    <a:pt x="222" y="239"/>
                  </a:lnTo>
                  <a:lnTo>
                    <a:pt x="222" y="240"/>
                  </a:lnTo>
                  <a:lnTo>
                    <a:pt x="221" y="240"/>
                  </a:lnTo>
                  <a:lnTo>
                    <a:pt x="220" y="240"/>
                  </a:lnTo>
                  <a:lnTo>
                    <a:pt x="221" y="240"/>
                  </a:lnTo>
                  <a:lnTo>
                    <a:pt x="222" y="240"/>
                  </a:lnTo>
                  <a:lnTo>
                    <a:pt x="222" y="242"/>
                  </a:lnTo>
                  <a:lnTo>
                    <a:pt x="222" y="243"/>
                  </a:lnTo>
                  <a:lnTo>
                    <a:pt x="221" y="243"/>
                  </a:lnTo>
                  <a:lnTo>
                    <a:pt x="222" y="243"/>
                  </a:lnTo>
                  <a:lnTo>
                    <a:pt x="221" y="243"/>
                  </a:lnTo>
                  <a:lnTo>
                    <a:pt x="221" y="244"/>
                  </a:lnTo>
                  <a:lnTo>
                    <a:pt x="222" y="244"/>
                  </a:lnTo>
                  <a:lnTo>
                    <a:pt x="221" y="244"/>
                  </a:lnTo>
                  <a:lnTo>
                    <a:pt x="220" y="244"/>
                  </a:lnTo>
                  <a:lnTo>
                    <a:pt x="220" y="245"/>
                  </a:lnTo>
                  <a:lnTo>
                    <a:pt x="216" y="244"/>
                  </a:lnTo>
                  <a:lnTo>
                    <a:pt x="215" y="244"/>
                  </a:lnTo>
                  <a:lnTo>
                    <a:pt x="214" y="243"/>
                  </a:lnTo>
                  <a:lnTo>
                    <a:pt x="213" y="243"/>
                  </a:lnTo>
                  <a:lnTo>
                    <a:pt x="213" y="242"/>
                  </a:lnTo>
                  <a:lnTo>
                    <a:pt x="212" y="242"/>
                  </a:lnTo>
                  <a:lnTo>
                    <a:pt x="212" y="243"/>
                  </a:lnTo>
                  <a:lnTo>
                    <a:pt x="211" y="243"/>
                  </a:lnTo>
                  <a:lnTo>
                    <a:pt x="211" y="244"/>
                  </a:lnTo>
                  <a:lnTo>
                    <a:pt x="212" y="243"/>
                  </a:lnTo>
                  <a:lnTo>
                    <a:pt x="213" y="243"/>
                  </a:lnTo>
                  <a:lnTo>
                    <a:pt x="213" y="244"/>
                  </a:lnTo>
                  <a:lnTo>
                    <a:pt x="214" y="244"/>
                  </a:lnTo>
                  <a:lnTo>
                    <a:pt x="218" y="245"/>
                  </a:lnTo>
                  <a:lnTo>
                    <a:pt x="218" y="246"/>
                  </a:lnTo>
                  <a:lnTo>
                    <a:pt x="219" y="246"/>
                  </a:lnTo>
                  <a:lnTo>
                    <a:pt x="219" y="247"/>
                  </a:lnTo>
                  <a:lnTo>
                    <a:pt x="218" y="247"/>
                  </a:lnTo>
                  <a:lnTo>
                    <a:pt x="218" y="246"/>
                  </a:lnTo>
                  <a:lnTo>
                    <a:pt x="218" y="247"/>
                  </a:lnTo>
                  <a:lnTo>
                    <a:pt x="216" y="247"/>
                  </a:lnTo>
                  <a:lnTo>
                    <a:pt x="216" y="246"/>
                  </a:lnTo>
                  <a:lnTo>
                    <a:pt x="216" y="247"/>
                  </a:lnTo>
                  <a:lnTo>
                    <a:pt x="216" y="246"/>
                  </a:lnTo>
                  <a:lnTo>
                    <a:pt x="215" y="247"/>
                  </a:lnTo>
                  <a:lnTo>
                    <a:pt x="215" y="246"/>
                  </a:lnTo>
                  <a:lnTo>
                    <a:pt x="214" y="246"/>
                  </a:lnTo>
                  <a:lnTo>
                    <a:pt x="214" y="247"/>
                  </a:lnTo>
                  <a:lnTo>
                    <a:pt x="215" y="247"/>
                  </a:lnTo>
                  <a:lnTo>
                    <a:pt x="214" y="247"/>
                  </a:lnTo>
                  <a:lnTo>
                    <a:pt x="214" y="246"/>
                  </a:lnTo>
                  <a:lnTo>
                    <a:pt x="213" y="246"/>
                  </a:lnTo>
                  <a:lnTo>
                    <a:pt x="214" y="246"/>
                  </a:lnTo>
                  <a:lnTo>
                    <a:pt x="214" y="247"/>
                  </a:lnTo>
                  <a:lnTo>
                    <a:pt x="214" y="249"/>
                  </a:lnTo>
                  <a:lnTo>
                    <a:pt x="215" y="249"/>
                  </a:lnTo>
                  <a:lnTo>
                    <a:pt x="214" y="249"/>
                  </a:lnTo>
                  <a:lnTo>
                    <a:pt x="214" y="247"/>
                  </a:lnTo>
                  <a:lnTo>
                    <a:pt x="213" y="247"/>
                  </a:lnTo>
                  <a:lnTo>
                    <a:pt x="213" y="246"/>
                  </a:lnTo>
                  <a:lnTo>
                    <a:pt x="212" y="246"/>
                  </a:lnTo>
                  <a:lnTo>
                    <a:pt x="213" y="247"/>
                  </a:lnTo>
                  <a:lnTo>
                    <a:pt x="213" y="249"/>
                  </a:lnTo>
                  <a:lnTo>
                    <a:pt x="212" y="247"/>
                  </a:lnTo>
                  <a:lnTo>
                    <a:pt x="211" y="246"/>
                  </a:lnTo>
                  <a:lnTo>
                    <a:pt x="211" y="247"/>
                  </a:lnTo>
                  <a:lnTo>
                    <a:pt x="209" y="247"/>
                  </a:lnTo>
                  <a:lnTo>
                    <a:pt x="211" y="247"/>
                  </a:lnTo>
                  <a:lnTo>
                    <a:pt x="212" y="249"/>
                  </a:lnTo>
                  <a:lnTo>
                    <a:pt x="213" y="249"/>
                  </a:lnTo>
                  <a:lnTo>
                    <a:pt x="214" y="250"/>
                  </a:lnTo>
                  <a:lnTo>
                    <a:pt x="213" y="250"/>
                  </a:lnTo>
                  <a:lnTo>
                    <a:pt x="212" y="249"/>
                  </a:lnTo>
                  <a:lnTo>
                    <a:pt x="211" y="249"/>
                  </a:lnTo>
                  <a:lnTo>
                    <a:pt x="209" y="247"/>
                  </a:lnTo>
                  <a:lnTo>
                    <a:pt x="208" y="247"/>
                  </a:lnTo>
                  <a:lnTo>
                    <a:pt x="208" y="246"/>
                  </a:lnTo>
                  <a:lnTo>
                    <a:pt x="208" y="247"/>
                  </a:lnTo>
                  <a:lnTo>
                    <a:pt x="206" y="247"/>
                  </a:lnTo>
                  <a:lnTo>
                    <a:pt x="206" y="249"/>
                  </a:lnTo>
                  <a:lnTo>
                    <a:pt x="207" y="249"/>
                  </a:lnTo>
                  <a:lnTo>
                    <a:pt x="208" y="249"/>
                  </a:lnTo>
                  <a:lnTo>
                    <a:pt x="208" y="250"/>
                  </a:lnTo>
                  <a:lnTo>
                    <a:pt x="207" y="250"/>
                  </a:lnTo>
                  <a:lnTo>
                    <a:pt x="207" y="249"/>
                  </a:lnTo>
                  <a:lnTo>
                    <a:pt x="207" y="250"/>
                  </a:lnTo>
                  <a:lnTo>
                    <a:pt x="206" y="250"/>
                  </a:lnTo>
                  <a:lnTo>
                    <a:pt x="207" y="250"/>
                  </a:lnTo>
                  <a:lnTo>
                    <a:pt x="208" y="250"/>
                  </a:lnTo>
                  <a:lnTo>
                    <a:pt x="208" y="251"/>
                  </a:lnTo>
                  <a:lnTo>
                    <a:pt x="209" y="251"/>
                  </a:lnTo>
                  <a:lnTo>
                    <a:pt x="209" y="252"/>
                  </a:lnTo>
                  <a:lnTo>
                    <a:pt x="208" y="253"/>
                  </a:lnTo>
                  <a:lnTo>
                    <a:pt x="208" y="252"/>
                  </a:lnTo>
                  <a:lnTo>
                    <a:pt x="207" y="252"/>
                  </a:lnTo>
                  <a:lnTo>
                    <a:pt x="206" y="251"/>
                  </a:lnTo>
                  <a:lnTo>
                    <a:pt x="205" y="251"/>
                  </a:lnTo>
                  <a:lnTo>
                    <a:pt x="204" y="251"/>
                  </a:lnTo>
                  <a:lnTo>
                    <a:pt x="205" y="251"/>
                  </a:lnTo>
                  <a:lnTo>
                    <a:pt x="206" y="252"/>
                  </a:lnTo>
                  <a:lnTo>
                    <a:pt x="207" y="252"/>
                  </a:lnTo>
                  <a:lnTo>
                    <a:pt x="207" y="253"/>
                  </a:lnTo>
                  <a:lnTo>
                    <a:pt x="208" y="253"/>
                  </a:lnTo>
                  <a:lnTo>
                    <a:pt x="207" y="253"/>
                  </a:lnTo>
                  <a:lnTo>
                    <a:pt x="206" y="253"/>
                  </a:lnTo>
                  <a:lnTo>
                    <a:pt x="205" y="253"/>
                  </a:lnTo>
                  <a:lnTo>
                    <a:pt x="204" y="252"/>
                  </a:lnTo>
                  <a:lnTo>
                    <a:pt x="204" y="253"/>
                  </a:lnTo>
                  <a:lnTo>
                    <a:pt x="204" y="252"/>
                  </a:lnTo>
                  <a:lnTo>
                    <a:pt x="202" y="252"/>
                  </a:lnTo>
                  <a:lnTo>
                    <a:pt x="202" y="251"/>
                  </a:lnTo>
                  <a:lnTo>
                    <a:pt x="202" y="252"/>
                  </a:lnTo>
                  <a:lnTo>
                    <a:pt x="201" y="252"/>
                  </a:lnTo>
                  <a:lnTo>
                    <a:pt x="201" y="253"/>
                  </a:lnTo>
                  <a:lnTo>
                    <a:pt x="202" y="253"/>
                  </a:lnTo>
                  <a:lnTo>
                    <a:pt x="204" y="253"/>
                  </a:lnTo>
                  <a:lnTo>
                    <a:pt x="202" y="253"/>
                  </a:lnTo>
                  <a:lnTo>
                    <a:pt x="206" y="253"/>
                  </a:lnTo>
                  <a:lnTo>
                    <a:pt x="206" y="254"/>
                  </a:lnTo>
                  <a:lnTo>
                    <a:pt x="207" y="254"/>
                  </a:lnTo>
                  <a:lnTo>
                    <a:pt x="206" y="256"/>
                  </a:lnTo>
                  <a:lnTo>
                    <a:pt x="205" y="256"/>
                  </a:lnTo>
                  <a:lnTo>
                    <a:pt x="205" y="254"/>
                  </a:lnTo>
                  <a:lnTo>
                    <a:pt x="205" y="256"/>
                  </a:lnTo>
                  <a:lnTo>
                    <a:pt x="205" y="257"/>
                  </a:lnTo>
                  <a:lnTo>
                    <a:pt x="204" y="257"/>
                  </a:lnTo>
                  <a:lnTo>
                    <a:pt x="202" y="257"/>
                  </a:lnTo>
                  <a:lnTo>
                    <a:pt x="202" y="256"/>
                  </a:lnTo>
                  <a:lnTo>
                    <a:pt x="202" y="257"/>
                  </a:lnTo>
                  <a:lnTo>
                    <a:pt x="201" y="257"/>
                  </a:lnTo>
                  <a:lnTo>
                    <a:pt x="200" y="257"/>
                  </a:lnTo>
                  <a:lnTo>
                    <a:pt x="199" y="257"/>
                  </a:lnTo>
                  <a:lnTo>
                    <a:pt x="198" y="257"/>
                  </a:lnTo>
                  <a:lnTo>
                    <a:pt x="199" y="256"/>
                  </a:lnTo>
                  <a:lnTo>
                    <a:pt x="200" y="256"/>
                  </a:lnTo>
                  <a:lnTo>
                    <a:pt x="199" y="256"/>
                  </a:lnTo>
                  <a:lnTo>
                    <a:pt x="200" y="254"/>
                  </a:lnTo>
                  <a:lnTo>
                    <a:pt x="199" y="254"/>
                  </a:lnTo>
                  <a:lnTo>
                    <a:pt x="199" y="256"/>
                  </a:lnTo>
                  <a:lnTo>
                    <a:pt x="198" y="256"/>
                  </a:lnTo>
                  <a:lnTo>
                    <a:pt x="197" y="256"/>
                  </a:lnTo>
                  <a:lnTo>
                    <a:pt x="195" y="256"/>
                  </a:lnTo>
                  <a:lnTo>
                    <a:pt x="195" y="257"/>
                  </a:lnTo>
                  <a:lnTo>
                    <a:pt x="197" y="257"/>
                  </a:lnTo>
                  <a:lnTo>
                    <a:pt x="198" y="257"/>
                  </a:lnTo>
                  <a:lnTo>
                    <a:pt x="197" y="257"/>
                  </a:lnTo>
                  <a:lnTo>
                    <a:pt x="195" y="257"/>
                  </a:lnTo>
                  <a:lnTo>
                    <a:pt x="197" y="258"/>
                  </a:lnTo>
                  <a:lnTo>
                    <a:pt x="195" y="258"/>
                  </a:lnTo>
                  <a:lnTo>
                    <a:pt x="195" y="259"/>
                  </a:lnTo>
                  <a:lnTo>
                    <a:pt x="194" y="259"/>
                  </a:lnTo>
                  <a:lnTo>
                    <a:pt x="194" y="258"/>
                  </a:lnTo>
                  <a:lnTo>
                    <a:pt x="194" y="257"/>
                  </a:lnTo>
                  <a:lnTo>
                    <a:pt x="194" y="258"/>
                  </a:lnTo>
                  <a:lnTo>
                    <a:pt x="193" y="258"/>
                  </a:lnTo>
                  <a:lnTo>
                    <a:pt x="192" y="258"/>
                  </a:lnTo>
                  <a:lnTo>
                    <a:pt x="191" y="258"/>
                  </a:lnTo>
                  <a:lnTo>
                    <a:pt x="190" y="258"/>
                  </a:lnTo>
                  <a:lnTo>
                    <a:pt x="192" y="259"/>
                  </a:lnTo>
                  <a:lnTo>
                    <a:pt x="193" y="259"/>
                  </a:lnTo>
                  <a:lnTo>
                    <a:pt x="193" y="260"/>
                  </a:lnTo>
                  <a:lnTo>
                    <a:pt x="194" y="259"/>
                  </a:lnTo>
                  <a:lnTo>
                    <a:pt x="197" y="260"/>
                  </a:lnTo>
                  <a:lnTo>
                    <a:pt x="197" y="261"/>
                  </a:lnTo>
                  <a:lnTo>
                    <a:pt x="195" y="261"/>
                  </a:lnTo>
                  <a:lnTo>
                    <a:pt x="195" y="260"/>
                  </a:lnTo>
                  <a:lnTo>
                    <a:pt x="194" y="260"/>
                  </a:lnTo>
                  <a:lnTo>
                    <a:pt x="195" y="261"/>
                  </a:lnTo>
                  <a:lnTo>
                    <a:pt x="194" y="261"/>
                  </a:lnTo>
                  <a:lnTo>
                    <a:pt x="195" y="261"/>
                  </a:lnTo>
                  <a:lnTo>
                    <a:pt x="195" y="263"/>
                  </a:lnTo>
                  <a:lnTo>
                    <a:pt x="197" y="263"/>
                  </a:lnTo>
                  <a:lnTo>
                    <a:pt x="198" y="263"/>
                  </a:lnTo>
                  <a:lnTo>
                    <a:pt x="197" y="263"/>
                  </a:lnTo>
                  <a:lnTo>
                    <a:pt x="198" y="263"/>
                  </a:lnTo>
                  <a:lnTo>
                    <a:pt x="197" y="263"/>
                  </a:lnTo>
                  <a:lnTo>
                    <a:pt x="195" y="263"/>
                  </a:lnTo>
                  <a:lnTo>
                    <a:pt x="194" y="263"/>
                  </a:lnTo>
                  <a:lnTo>
                    <a:pt x="194" y="261"/>
                  </a:lnTo>
                  <a:lnTo>
                    <a:pt x="193" y="261"/>
                  </a:lnTo>
                  <a:lnTo>
                    <a:pt x="192" y="261"/>
                  </a:lnTo>
                  <a:lnTo>
                    <a:pt x="191" y="261"/>
                  </a:lnTo>
                  <a:lnTo>
                    <a:pt x="190" y="261"/>
                  </a:lnTo>
                  <a:lnTo>
                    <a:pt x="191" y="261"/>
                  </a:lnTo>
                  <a:lnTo>
                    <a:pt x="192" y="263"/>
                  </a:lnTo>
                  <a:lnTo>
                    <a:pt x="193" y="263"/>
                  </a:lnTo>
                  <a:lnTo>
                    <a:pt x="193" y="264"/>
                  </a:lnTo>
                  <a:lnTo>
                    <a:pt x="195" y="264"/>
                  </a:lnTo>
                  <a:lnTo>
                    <a:pt x="197" y="264"/>
                  </a:lnTo>
                  <a:lnTo>
                    <a:pt x="195" y="265"/>
                  </a:lnTo>
                  <a:lnTo>
                    <a:pt x="197" y="265"/>
                  </a:lnTo>
                  <a:lnTo>
                    <a:pt x="197" y="266"/>
                  </a:lnTo>
                  <a:lnTo>
                    <a:pt x="195" y="266"/>
                  </a:lnTo>
                  <a:lnTo>
                    <a:pt x="195" y="267"/>
                  </a:lnTo>
                  <a:lnTo>
                    <a:pt x="194" y="267"/>
                  </a:lnTo>
                  <a:lnTo>
                    <a:pt x="193" y="267"/>
                  </a:lnTo>
                  <a:lnTo>
                    <a:pt x="193" y="268"/>
                  </a:lnTo>
                  <a:lnTo>
                    <a:pt x="194" y="268"/>
                  </a:lnTo>
                  <a:lnTo>
                    <a:pt x="193" y="268"/>
                  </a:lnTo>
                  <a:lnTo>
                    <a:pt x="192" y="270"/>
                  </a:lnTo>
                  <a:lnTo>
                    <a:pt x="193" y="270"/>
                  </a:lnTo>
                  <a:lnTo>
                    <a:pt x="193" y="268"/>
                  </a:lnTo>
                  <a:lnTo>
                    <a:pt x="194" y="268"/>
                  </a:lnTo>
                  <a:lnTo>
                    <a:pt x="197" y="268"/>
                  </a:lnTo>
                  <a:lnTo>
                    <a:pt x="195" y="270"/>
                  </a:lnTo>
                  <a:lnTo>
                    <a:pt x="194" y="270"/>
                  </a:lnTo>
                  <a:lnTo>
                    <a:pt x="193" y="270"/>
                  </a:lnTo>
                  <a:lnTo>
                    <a:pt x="194" y="270"/>
                  </a:lnTo>
                  <a:lnTo>
                    <a:pt x="195" y="270"/>
                  </a:lnTo>
                  <a:lnTo>
                    <a:pt x="195" y="271"/>
                  </a:lnTo>
                  <a:lnTo>
                    <a:pt x="194" y="271"/>
                  </a:lnTo>
                  <a:lnTo>
                    <a:pt x="194" y="272"/>
                  </a:lnTo>
                  <a:lnTo>
                    <a:pt x="193" y="272"/>
                  </a:lnTo>
                  <a:lnTo>
                    <a:pt x="191" y="272"/>
                  </a:lnTo>
                  <a:lnTo>
                    <a:pt x="190" y="272"/>
                  </a:lnTo>
                  <a:lnTo>
                    <a:pt x="190" y="271"/>
                  </a:lnTo>
                  <a:lnTo>
                    <a:pt x="188" y="271"/>
                  </a:lnTo>
                  <a:lnTo>
                    <a:pt x="188" y="272"/>
                  </a:lnTo>
                  <a:lnTo>
                    <a:pt x="187" y="272"/>
                  </a:lnTo>
                  <a:lnTo>
                    <a:pt x="188" y="272"/>
                  </a:lnTo>
                  <a:lnTo>
                    <a:pt x="191" y="272"/>
                  </a:lnTo>
                  <a:lnTo>
                    <a:pt x="191" y="273"/>
                  </a:lnTo>
                  <a:lnTo>
                    <a:pt x="192" y="273"/>
                  </a:lnTo>
                  <a:lnTo>
                    <a:pt x="193" y="273"/>
                  </a:lnTo>
                  <a:lnTo>
                    <a:pt x="193" y="272"/>
                  </a:lnTo>
                  <a:lnTo>
                    <a:pt x="194" y="272"/>
                  </a:lnTo>
                  <a:lnTo>
                    <a:pt x="193" y="273"/>
                  </a:lnTo>
                  <a:lnTo>
                    <a:pt x="192" y="273"/>
                  </a:lnTo>
                  <a:lnTo>
                    <a:pt x="193" y="273"/>
                  </a:lnTo>
                  <a:lnTo>
                    <a:pt x="193" y="274"/>
                  </a:lnTo>
                  <a:lnTo>
                    <a:pt x="192" y="274"/>
                  </a:lnTo>
                  <a:lnTo>
                    <a:pt x="192" y="273"/>
                  </a:lnTo>
                  <a:lnTo>
                    <a:pt x="192" y="274"/>
                  </a:lnTo>
                  <a:lnTo>
                    <a:pt x="191" y="274"/>
                  </a:lnTo>
                  <a:lnTo>
                    <a:pt x="190" y="274"/>
                  </a:lnTo>
                  <a:lnTo>
                    <a:pt x="188" y="274"/>
                  </a:lnTo>
                  <a:lnTo>
                    <a:pt x="187" y="274"/>
                  </a:lnTo>
                  <a:lnTo>
                    <a:pt x="186" y="274"/>
                  </a:lnTo>
                  <a:lnTo>
                    <a:pt x="185" y="274"/>
                  </a:lnTo>
                  <a:lnTo>
                    <a:pt x="186" y="274"/>
                  </a:lnTo>
                  <a:lnTo>
                    <a:pt x="186" y="275"/>
                  </a:lnTo>
                  <a:lnTo>
                    <a:pt x="187" y="275"/>
                  </a:lnTo>
                  <a:lnTo>
                    <a:pt x="191" y="275"/>
                  </a:lnTo>
                  <a:lnTo>
                    <a:pt x="190" y="275"/>
                  </a:lnTo>
                  <a:lnTo>
                    <a:pt x="190" y="277"/>
                  </a:lnTo>
                  <a:lnTo>
                    <a:pt x="191" y="277"/>
                  </a:lnTo>
                  <a:lnTo>
                    <a:pt x="190" y="277"/>
                  </a:lnTo>
                  <a:lnTo>
                    <a:pt x="190" y="278"/>
                  </a:lnTo>
                  <a:lnTo>
                    <a:pt x="188" y="278"/>
                  </a:lnTo>
                  <a:lnTo>
                    <a:pt x="187" y="278"/>
                  </a:lnTo>
                  <a:lnTo>
                    <a:pt x="188" y="278"/>
                  </a:lnTo>
                  <a:lnTo>
                    <a:pt x="188" y="279"/>
                  </a:lnTo>
                  <a:lnTo>
                    <a:pt x="187" y="279"/>
                  </a:lnTo>
                  <a:lnTo>
                    <a:pt x="186" y="278"/>
                  </a:lnTo>
                  <a:lnTo>
                    <a:pt x="185" y="278"/>
                  </a:lnTo>
                  <a:lnTo>
                    <a:pt x="183" y="278"/>
                  </a:lnTo>
                  <a:lnTo>
                    <a:pt x="181" y="278"/>
                  </a:lnTo>
                  <a:lnTo>
                    <a:pt x="185" y="278"/>
                  </a:lnTo>
                  <a:lnTo>
                    <a:pt x="186" y="279"/>
                  </a:lnTo>
                  <a:lnTo>
                    <a:pt x="185" y="279"/>
                  </a:lnTo>
                  <a:lnTo>
                    <a:pt x="186" y="279"/>
                  </a:lnTo>
                  <a:lnTo>
                    <a:pt x="187" y="279"/>
                  </a:lnTo>
                  <a:lnTo>
                    <a:pt x="188" y="279"/>
                  </a:lnTo>
                  <a:lnTo>
                    <a:pt x="188" y="280"/>
                  </a:lnTo>
                  <a:lnTo>
                    <a:pt x="186" y="280"/>
                  </a:lnTo>
                  <a:lnTo>
                    <a:pt x="185" y="280"/>
                  </a:lnTo>
                  <a:lnTo>
                    <a:pt x="184" y="280"/>
                  </a:lnTo>
                  <a:lnTo>
                    <a:pt x="181" y="280"/>
                  </a:lnTo>
                  <a:lnTo>
                    <a:pt x="183" y="280"/>
                  </a:lnTo>
                  <a:lnTo>
                    <a:pt x="185" y="280"/>
                  </a:lnTo>
                  <a:lnTo>
                    <a:pt x="186" y="280"/>
                  </a:lnTo>
                  <a:lnTo>
                    <a:pt x="187" y="280"/>
                  </a:lnTo>
                  <a:lnTo>
                    <a:pt x="187" y="281"/>
                  </a:lnTo>
                  <a:lnTo>
                    <a:pt x="186" y="281"/>
                  </a:lnTo>
                  <a:lnTo>
                    <a:pt x="185" y="281"/>
                  </a:lnTo>
                  <a:lnTo>
                    <a:pt x="184" y="281"/>
                  </a:lnTo>
                  <a:lnTo>
                    <a:pt x="181" y="281"/>
                  </a:lnTo>
                  <a:lnTo>
                    <a:pt x="180" y="281"/>
                  </a:lnTo>
                  <a:lnTo>
                    <a:pt x="178" y="280"/>
                  </a:lnTo>
                  <a:lnTo>
                    <a:pt x="177" y="280"/>
                  </a:lnTo>
                  <a:lnTo>
                    <a:pt x="177" y="281"/>
                  </a:lnTo>
                  <a:lnTo>
                    <a:pt x="178" y="281"/>
                  </a:lnTo>
                  <a:lnTo>
                    <a:pt x="179" y="281"/>
                  </a:lnTo>
                  <a:lnTo>
                    <a:pt x="181" y="281"/>
                  </a:lnTo>
                  <a:lnTo>
                    <a:pt x="183" y="281"/>
                  </a:lnTo>
                  <a:lnTo>
                    <a:pt x="184" y="281"/>
                  </a:lnTo>
                  <a:lnTo>
                    <a:pt x="183" y="281"/>
                  </a:lnTo>
                  <a:lnTo>
                    <a:pt x="183" y="282"/>
                  </a:lnTo>
                  <a:lnTo>
                    <a:pt x="184" y="281"/>
                  </a:lnTo>
                  <a:lnTo>
                    <a:pt x="185" y="281"/>
                  </a:lnTo>
                  <a:lnTo>
                    <a:pt x="185" y="282"/>
                  </a:lnTo>
                  <a:lnTo>
                    <a:pt x="185" y="281"/>
                  </a:lnTo>
                  <a:lnTo>
                    <a:pt x="186" y="281"/>
                  </a:lnTo>
                  <a:lnTo>
                    <a:pt x="186" y="282"/>
                  </a:lnTo>
                  <a:lnTo>
                    <a:pt x="185" y="282"/>
                  </a:lnTo>
                  <a:lnTo>
                    <a:pt x="186" y="282"/>
                  </a:lnTo>
                  <a:lnTo>
                    <a:pt x="185" y="282"/>
                  </a:lnTo>
                  <a:lnTo>
                    <a:pt x="185" y="284"/>
                  </a:lnTo>
                  <a:lnTo>
                    <a:pt x="183" y="284"/>
                  </a:lnTo>
                  <a:lnTo>
                    <a:pt x="183" y="285"/>
                  </a:lnTo>
                  <a:lnTo>
                    <a:pt x="181" y="285"/>
                  </a:lnTo>
                  <a:lnTo>
                    <a:pt x="180" y="284"/>
                  </a:lnTo>
                  <a:lnTo>
                    <a:pt x="179" y="284"/>
                  </a:lnTo>
                  <a:lnTo>
                    <a:pt x="178" y="284"/>
                  </a:lnTo>
                  <a:lnTo>
                    <a:pt x="177" y="284"/>
                  </a:lnTo>
                  <a:lnTo>
                    <a:pt x="178" y="284"/>
                  </a:lnTo>
                  <a:lnTo>
                    <a:pt x="180" y="285"/>
                  </a:lnTo>
                  <a:lnTo>
                    <a:pt x="181" y="285"/>
                  </a:lnTo>
                  <a:lnTo>
                    <a:pt x="180" y="285"/>
                  </a:lnTo>
                  <a:lnTo>
                    <a:pt x="181" y="285"/>
                  </a:lnTo>
                  <a:lnTo>
                    <a:pt x="184" y="285"/>
                  </a:lnTo>
                  <a:lnTo>
                    <a:pt x="184" y="286"/>
                  </a:lnTo>
                  <a:lnTo>
                    <a:pt x="183" y="286"/>
                  </a:lnTo>
                  <a:lnTo>
                    <a:pt x="180" y="285"/>
                  </a:lnTo>
                  <a:lnTo>
                    <a:pt x="177" y="285"/>
                  </a:lnTo>
                  <a:lnTo>
                    <a:pt x="176" y="285"/>
                  </a:lnTo>
                  <a:lnTo>
                    <a:pt x="177" y="285"/>
                  </a:lnTo>
                  <a:lnTo>
                    <a:pt x="178" y="285"/>
                  </a:lnTo>
                  <a:lnTo>
                    <a:pt x="179" y="286"/>
                  </a:lnTo>
                  <a:lnTo>
                    <a:pt x="180" y="286"/>
                  </a:lnTo>
                  <a:lnTo>
                    <a:pt x="183" y="286"/>
                  </a:lnTo>
                  <a:lnTo>
                    <a:pt x="184" y="286"/>
                  </a:lnTo>
                  <a:lnTo>
                    <a:pt x="184" y="287"/>
                  </a:lnTo>
                  <a:lnTo>
                    <a:pt x="183" y="287"/>
                  </a:lnTo>
                  <a:lnTo>
                    <a:pt x="181" y="288"/>
                  </a:lnTo>
                  <a:lnTo>
                    <a:pt x="180" y="287"/>
                  </a:lnTo>
                  <a:lnTo>
                    <a:pt x="178" y="287"/>
                  </a:lnTo>
                  <a:lnTo>
                    <a:pt x="179" y="287"/>
                  </a:lnTo>
                  <a:lnTo>
                    <a:pt x="183" y="288"/>
                  </a:lnTo>
                  <a:lnTo>
                    <a:pt x="181" y="288"/>
                  </a:lnTo>
                  <a:lnTo>
                    <a:pt x="183" y="288"/>
                  </a:lnTo>
                  <a:lnTo>
                    <a:pt x="183" y="287"/>
                  </a:lnTo>
                  <a:lnTo>
                    <a:pt x="184" y="287"/>
                  </a:lnTo>
                  <a:lnTo>
                    <a:pt x="183" y="287"/>
                  </a:lnTo>
                  <a:lnTo>
                    <a:pt x="183" y="288"/>
                  </a:lnTo>
                  <a:lnTo>
                    <a:pt x="179" y="288"/>
                  </a:lnTo>
                  <a:lnTo>
                    <a:pt x="180" y="288"/>
                  </a:lnTo>
                  <a:lnTo>
                    <a:pt x="181" y="288"/>
                  </a:lnTo>
                  <a:lnTo>
                    <a:pt x="183" y="288"/>
                  </a:lnTo>
                  <a:lnTo>
                    <a:pt x="183" y="289"/>
                  </a:lnTo>
                  <a:lnTo>
                    <a:pt x="181" y="288"/>
                  </a:lnTo>
                  <a:lnTo>
                    <a:pt x="181" y="289"/>
                  </a:lnTo>
                  <a:lnTo>
                    <a:pt x="179" y="289"/>
                  </a:lnTo>
                  <a:lnTo>
                    <a:pt x="180" y="289"/>
                  </a:lnTo>
                  <a:lnTo>
                    <a:pt x="179" y="289"/>
                  </a:lnTo>
                  <a:lnTo>
                    <a:pt x="178" y="289"/>
                  </a:lnTo>
                  <a:lnTo>
                    <a:pt x="177" y="289"/>
                  </a:lnTo>
                  <a:lnTo>
                    <a:pt x="178" y="289"/>
                  </a:lnTo>
                  <a:lnTo>
                    <a:pt x="179" y="289"/>
                  </a:lnTo>
                  <a:lnTo>
                    <a:pt x="179" y="291"/>
                  </a:lnTo>
                  <a:lnTo>
                    <a:pt x="178" y="291"/>
                  </a:lnTo>
                  <a:lnTo>
                    <a:pt x="175" y="289"/>
                  </a:lnTo>
                  <a:lnTo>
                    <a:pt x="175" y="288"/>
                  </a:lnTo>
                  <a:lnTo>
                    <a:pt x="173" y="287"/>
                  </a:lnTo>
                  <a:lnTo>
                    <a:pt x="175" y="287"/>
                  </a:lnTo>
                  <a:lnTo>
                    <a:pt x="173" y="287"/>
                  </a:lnTo>
                  <a:lnTo>
                    <a:pt x="173" y="288"/>
                  </a:lnTo>
                  <a:lnTo>
                    <a:pt x="173" y="289"/>
                  </a:lnTo>
                  <a:lnTo>
                    <a:pt x="169" y="288"/>
                  </a:lnTo>
                  <a:lnTo>
                    <a:pt x="169" y="287"/>
                  </a:lnTo>
                  <a:lnTo>
                    <a:pt x="168" y="288"/>
                  </a:lnTo>
                  <a:lnTo>
                    <a:pt x="169" y="288"/>
                  </a:lnTo>
                  <a:lnTo>
                    <a:pt x="168" y="288"/>
                  </a:lnTo>
                  <a:lnTo>
                    <a:pt x="170" y="288"/>
                  </a:lnTo>
                  <a:lnTo>
                    <a:pt x="170" y="289"/>
                  </a:lnTo>
                  <a:lnTo>
                    <a:pt x="171" y="289"/>
                  </a:lnTo>
                  <a:lnTo>
                    <a:pt x="172" y="291"/>
                  </a:lnTo>
                  <a:lnTo>
                    <a:pt x="171" y="291"/>
                  </a:lnTo>
                  <a:lnTo>
                    <a:pt x="172" y="291"/>
                  </a:lnTo>
                  <a:lnTo>
                    <a:pt x="172" y="289"/>
                  </a:lnTo>
                  <a:lnTo>
                    <a:pt x="176" y="291"/>
                  </a:lnTo>
                  <a:lnTo>
                    <a:pt x="177" y="291"/>
                  </a:lnTo>
                  <a:lnTo>
                    <a:pt x="175" y="292"/>
                  </a:lnTo>
                  <a:lnTo>
                    <a:pt x="173" y="292"/>
                  </a:lnTo>
                  <a:lnTo>
                    <a:pt x="173" y="293"/>
                  </a:lnTo>
                  <a:lnTo>
                    <a:pt x="175" y="292"/>
                  </a:lnTo>
                  <a:lnTo>
                    <a:pt x="176" y="292"/>
                  </a:lnTo>
                  <a:lnTo>
                    <a:pt x="177" y="292"/>
                  </a:lnTo>
                  <a:lnTo>
                    <a:pt x="178" y="292"/>
                  </a:lnTo>
                  <a:lnTo>
                    <a:pt x="177" y="292"/>
                  </a:lnTo>
                  <a:lnTo>
                    <a:pt x="176" y="292"/>
                  </a:lnTo>
                  <a:lnTo>
                    <a:pt x="177" y="292"/>
                  </a:lnTo>
                  <a:lnTo>
                    <a:pt x="178" y="293"/>
                  </a:lnTo>
                  <a:lnTo>
                    <a:pt x="178" y="294"/>
                  </a:lnTo>
                  <a:lnTo>
                    <a:pt x="177" y="293"/>
                  </a:lnTo>
                  <a:lnTo>
                    <a:pt x="177" y="294"/>
                  </a:lnTo>
                  <a:lnTo>
                    <a:pt x="176" y="294"/>
                  </a:lnTo>
                  <a:lnTo>
                    <a:pt x="178" y="294"/>
                  </a:lnTo>
                  <a:lnTo>
                    <a:pt x="177" y="294"/>
                  </a:lnTo>
                  <a:lnTo>
                    <a:pt x="178" y="294"/>
                  </a:lnTo>
                  <a:lnTo>
                    <a:pt x="178" y="295"/>
                  </a:lnTo>
                  <a:lnTo>
                    <a:pt x="177" y="295"/>
                  </a:lnTo>
                  <a:lnTo>
                    <a:pt x="177" y="294"/>
                  </a:lnTo>
                  <a:lnTo>
                    <a:pt x="177" y="295"/>
                  </a:lnTo>
                  <a:lnTo>
                    <a:pt x="178" y="295"/>
                  </a:lnTo>
                  <a:lnTo>
                    <a:pt x="177" y="295"/>
                  </a:lnTo>
                  <a:lnTo>
                    <a:pt x="177" y="296"/>
                  </a:lnTo>
                  <a:lnTo>
                    <a:pt x="176" y="295"/>
                  </a:lnTo>
                  <a:lnTo>
                    <a:pt x="175" y="295"/>
                  </a:lnTo>
                  <a:lnTo>
                    <a:pt x="173" y="295"/>
                  </a:lnTo>
                  <a:lnTo>
                    <a:pt x="172" y="295"/>
                  </a:lnTo>
                  <a:lnTo>
                    <a:pt x="172" y="294"/>
                  </a:lnTo>
                  <a:lnTo>
                    <a:pt x="172" y="295"/>
                  </a:lnTo>
                  <a:lnTo>
                    <a:pt x="171" y="295"/>
                  </a:lnTo>
                  <a:lnTo>
                    <a:pt x="171" y="294"/>
                  </a:lnTo>
                  <a:lnTo>
                    <a:pt x="170" y="295"/>
                  </a:lnTo>
                  <a:lnTo>
                    <a:pt x="169" y="294"/>
                  </a:lnTo>
                  <a:lnTo>
                    <a:pt x="168" y="294"/>
                  </a:lnTo>
                  <a:lnTo>
                    <a:pt x="166" y="294"/>
                  </a:lnTo>
                  <a:lnTo>
                    <a:pt x="169" y="293"/>
                  </a:lnTo>
                  <a:lnTo>
                    <a:pt x="168" y="293"/>
                  </a:lnTo>
                  <a:lnTo>
                    <a:pt x="168" y="292"/>
                  </a:lnTo>
                  <a:lnTo>
                    <a:pt x="169" y="292"/>
                  </a:lnTo>
                  <a:lnTo>
                    <a:pt x="168" y="292"/>
                  </a:lnTo>
                  <a:lnTo>
                    <a:pt x="168" y="293"/>
                  </a:lnTo>
                  <a:lnTo>
                    <a:pt x="166" y="293"/>
                  </a:lnTo>
                  <a:lnTo>
                    <a:pt x="166" y="292"/>
                  </a:lnTo>
                  <a:lnTo>
                    <a:pt x="165" y="292"/>
                  </a:lnTo>
                  <a:lnTo>
                    <a:pt x="165" y="293"/>
                  </a:lnTo>
                  <a:lnTo>
                    <a:pt x="166" y="293"/>
                  </a:lnTo>
                  <a:lnTo>
                    <a:pt x="165" y="294"/>
                  </a:lnTo>
                  <a:lnTo>
                    <a:pt x="164" y="295"/>
                  </a:lnTo>
                  <a:lnTo>
                    <a:pt x="163" y="295"/>
                  </a:lnTo>
                  <a:lnTo>
                    <a:pt x="162" y="295"/>
                  </a:lnTo>
                  <a:lnTo>
                    <a:pt x="162" y="296"/>
                  </a:lnTo>
                  <a:lnTo>
                    <a:pt x="161" y="296"/>
                  </a:lnTo>
                  <a:lnTo>
                    <a:pt x="161" y="298"/>
                  </a:lnTo>
                  <a:lnTo>
                    <a:pt x="159" y="298"/>
                  </a:lnTo>
                  <a:lnTo>
                    <a:pt x="159" y="296"/>
                  </a:lnTo>
                  <a:lnTo>
                    <a:pt x="161" y="295"/>
                  </a:lnTo>
                  <a:lnTo>
                    <a:pt x="159" y="295"/>
                  </a:lnTo>
                  <a:lnTo>
                    <a:pt x="159" y="296"/>
                  </a:lnTo>
                  <a:lnTo>
                    <a:pt x="159" y="298"/>
                  </a:lnTo>
                  <a:lnTo>
                    <a:pt x="158" y="298"/>
                  </a:lnTo>
                  <a:lnTo>
                    <a:pt x="158" y="296"/>
                  </a:lnTo>
                  <a:lnTo>
                    <a:pt x="158" y="295"/>
                  </a:lnTo>
                  <a:lnTo>
                    <a:pt x="157" y="295"/>
                  </a:lnTo>
                  <a:lnTo>
                    <a:pt x="157" y="296"/>
                  </a:lnTo>
                  <a:lnTo>
                    <a:pt x="158" y="296"/>
                  </a:lnTo>
                  <a:lnTo>
                    <a:pt x="157" y="296"/>
                  </a:lnTo>
                  <a:lnTo>
                    <a:pt x="156" y="296"/>
                  </a:lnTo>
                  <a:lnTo>
                    <a:pt x="157" y="296"/>
                  </a:lnTo>
                  <a:lnTo>
                    <a:pt x="157" y="295"/>
                  </a:lnTo>
                  <a:lnTo>
                    <a:pt x="156" y="295"/>
                  </a:lnTo>
                  <a:lnTo>
                    <a:pt x="155" y="295"/>
                  </a:lnTo>
                  <a:lnTo>
                    <a:pt x="155" y="296"/>
                  </a:lnTo>
                  <a:lnTo>
                    <a:pt x="156" y="296"/>
                  </a:lnTo>
                  <a:lnTo>
                    <a:pt x="155" y="296"/>
                  </a:lnTo>
                  <a:lnTo>
                    <a:pt x="155" y="295"/>
                  </a:lnTo>
                  <a:lnTo>
                    <a:pt x="156" y="295"/>
                  </a:lnTo>
                  <a:lnTo>
                    <a:pt x="157" y="294"/>
                  </a:lnTo>
                  <a:lnTo>
                    <a:pt x="158" y="294"/>
                  </a:lnTo>
                  <a:lnTo>
                    <a:pt x="159" y="294"/>
                  </a:lnTo>
                  <a:lnTo>
                    <a:pt x="158" y="294"/>
                  </a:lnTo>
                  <a:lnTo>
                    <a:pt x="159" y="294"/>
                  </a:lnTo>
                  <a:lnTo>
                    <a:pt x="161" y="293"/>
                  </a:lnTo>
                  <a:lnTo>
                    <a:pt x="161" y="292"/>
                  </a:lnTo>
                  <a:lnTo>
                    <a:pt x="162" y="292"/>
                  </a:lnTo>
                  <a:lnTo>
                    <a:pt x="162" y="291"/>
                  </a:lnTo>
                  <a:lnTo>
                    <a:pt x="163" y="291"/>
                  </a:lnTo>
                  <a:lnTo>
                    <a:pt x="164" y="291"/>
                  </a:lnTo>
                  <a:lnTo>
                    <a:pt x="164" y="289"/>
                  </a:lnTo>
                  <a:lnTo>
                    <a:pt x="163" y="289"/>
                  </a:lnTo>
                  <a:lnTo>
                    <a:pt x="163" y="291"/>
                  </a:lnTo>
                  <a:lnTo>
                    <a:pt x="162" y="291"/>
                  </a:lnTo>
                  <a:lnTo>
                    <a:pt x="162" y="292"/>
                  </a:lnTo>
                  <a:lnTo>
                    <a:pt x="161" y="292"/>
                  </a:lnTo>
                  <a:lnTo>
                    <a:pt x="161" y="293"/>
                  </a:lnTo>
                  <a:lnTo>
                    <a:pt x="159" y="293"/>
                  </a:lnTo>
                  <a:lnTo>
                    <a:pt x="158" y="293"/>
                  </a:lnTo>
                  <a:lnTo>
                    <a:pt x="158" y="294"/>
                  </a:lnTo>
                  <a:lnTo>
                    <a:pt x="157" y="294"/>
                  </a:lnTo>
                  <a:lnTo>
                    <a:pt x="156" y="294"/>
                  </a:lnTo>
                  <a:lnTo>
                    <a:pt x="155" y="295"/>
                  </a:lnTo>
                  <a:lnTo>
                    <a:pt x="155" y="294"/>
                  </a:lnTo>
                  <a:lnTo>
                    <a:pt x="156" y="293"/>
                  </a:lnTo>
                  <a:lnTo>
                    <a:pt x="157" y="293"/>
                  </a:lnTo>
                  <a:lnTo>
                    <a:pt x="158" y="293"/>
                  </a:lnTo>
                  <a:lnTo>
                    <a:pt x="158" y="292"/>
                  </a:lnTo>
                  <a:lnTo>
                    <a:pt x="159" y="292"/>
                  </a:lnTo>
                  <a:lnTo>
                    <a:pt x="159" y="291"/>
                  </a:lnTo>
                  <a:lnTo>
                    <a:pt x="161" y="291"/>
                  </a:lnTo>
                  <a:lnTo>
                    <a:pt x="159" y="291"/>
                  </a:lnTo>
                  <a:lnTo>
                    <a:pt x="158" y="291"/>
                  </a:lnTo>
                  <a:lnTo>
                    <a:pt x="159" y="291"/>
                  </a:lnTo>
                  <a:lnTo>
                    <a:pt x="161" y="289"/>
                  </a:lnTo>
                  <a:lnTo>
                    <a:pt x="161" y="288"/>
                  </a:lnTo>
                  <a:lnTo>
                    <a:pt x="162" y="288"/>
                  </a:lnTo>
                  <a:lnTo>
                    <a:pt x="162" y="287"/>
                  </a:lnTo>
                  <a:lnTo>
                    <a:pt x="164" y="287"/>
                  </a:lnTo>
                  <a:lnTo>
                    <a:pt x="164" y="286"/>
                  </a:lnTo>
                  <a:lnTo>
                    <a:pt x="163" y="287"/>
                  </a:lnTo>
                  <a:lnTo>
                    <a:pt x="162" y="287"/>
                  </a:lnTo>
                  <a:lnTo>
                    <a:pt x="161" y="288"/>
                  </a:lnTo>
                  <a:lnTo>
                    <a:pt x="161" y="289"/>
                  </a:lnTo>
                  <a:lnTo>
                    <a:pt x="158" y="289"/>
                  </a:lnTo>
                  <a:lnTo>
                    <a:pt x="158" y="291"/>
                  </a:lnTo>
                  <a:lnTo>
                    <a:pt x="157" y="291"/>
                  </a:lnTo>
                  <a:lnTo>
                    <a:pt x="156" y="291"/>
                  </a:lnTo>
                  <a:lnTo>
                    <a:pt x="155" y="291"/>
                  </a:lnTo>
                  <a:lnTo>
                    <a:pt x="156" y="291"/>
                  </a:lnTo>
                  <a:lnTo>
                    <a:pt x="156" y="289"/>
                  </a:lnTo>
                  <a:lnTo>
                    <a:pt x="157" y="288"/>
                  </a:lnTo>
                  <a:lnTo>
                    <a:pt x="158" y="288"/>
                  </a:lnTo>
                  <a:lnTo>
                    <a:pt x="158" y="287"/>
                  </a:lnTo>
                  <a:lnTo>
                    <a:pt x="157" y="288"/>
                  </a:lnTo>
                  <a:lnTo>
                    <a:pt x="156" y="288"/>
                  </a:lnTo>
                  <a:lnTo>
                    <a:pt x="157" y="288"/>
                  </a:lnTo>
                  <a:lnTo>
                    <a:pt x="156" y="288"/>
                  </a:lnTo>
                  <a:lnTo>
                    <a:pt x="156" y="289"/>
                  </a:lnTo>
                  <a:lnTo>
                    <a:pt x="155" y="289"/>
                  </a:lnTo>
                  <a:lnTo>
                    <a:pt x="154" y="289"/>
                  </a:lnTo>
                  <a:lnTo>
                    <a:pt x="152" y="289"/>
                  </a:lnTo>
                  <a:lnTo>
                    <a:pt x="154" y="289"/>
                  </a:lnTo>
                  <a:lnTo>
                    <a:pt x="155" y="289"/>
                  </a:lnTo>
                  <a:lnTo>
                    <a:pt x="155" y="288"/>
                  </a:lnTo>
                  <a:lnTo>
                    <a:pt x="156" y="288"/>
                  </a:lnTo>
                  <a:lnTo>
                    <a:pt x="157" y="287"/>
                  </a:lnTo>
                  <a:lnTo>
                    <a:pt x="158" y="287"/>
                  </a:lnTo>
                  <a:lnTo>
                    <a:pt x="157" y="287"/>
                  </a:lnTo>
                  <a:lnTo>
                    <a:pt x="156" y="287"/>
                  </a:lnTo>
                  <a:lnTo>
                    <a:pt x="155" y="287"/>
                  </a:lnTo>
                  <a:lnTo>
                    <a:pt x="155" y="288"/>
                  </a:lnTo>
                  <a:lnTo>
                    <a:pt x="154" y="288"/>
                  </a:lnTo>
                  <a:lnTo>
                    <a:pt x="154" y="289"/>
                  </a:lnTo>
                  <a:lnTo>
                    <a:pt x="154" y="288"/>
                  </a:lnTo>
                  <a:lnTo>
                    <a:pt x="152" y="289"/>
                  </a:lnTo>
                  <a:lnTo>
                    <a:pt x="152" y="291"/>
                  </a:lnTo>
                  <a:lnTo>
                    <a:pt x="151" y="291"/>
                  </a:lnTo>
                  <a:lnTo>
                    <a:pt x="151" y="289"/>
                  </a:lnTo>
                  <a:lnTo>
                    <a:pt x="152" y="289"/>
                  </a:lnTo>
                  <a:lnTo>
                    <a:pt x="151" y="289"/>
                  </a:lnTo>
                  <a:lnTo>
                    <a:pt x="152" y="289"/>
                  </a:lnTo>
                  <a:lnTo>
                    <a:pt x="152" y="288"/>
                  </a:lnTo>
                  <a:lnTo>
                    <a:pt x="151" y="288"/>
                  </a:lnTo>
                  <a:lnTo>
                    <a:pt x="151" y="289"/>
                  </a:lnTo>
                  <a:lnTo>
                    <a:pt x="151" y="288"/>
                  </a:lnTo>
                  <a:lnTo>
                    <a:pt x="152" y="288"/>
                  </a:lnTo>
                  <a:lnTo>
                    <a:pt x="151" y="288"/>
                  </a:lnTo>
                  <a:lnTo>
                    <a:pt x="150" y="288"/>
                  </a:lnTo>
                  <a:lnTo>
                    <a:pt x="150" y="289"/>
                  </a:lnTo>
                  <a:lnTo>
                    <a:pt x="149" y="289"/>
                  </a:lnTo>
                  <a:lnTo>
                    <a:pt x="149" y="288"/>
                  </a:lnTo>
                  <a:lnTo>
                    <a:pt x="148" y="288"/>
                  </a:lnTo>
                  <a:lnTo>
                    <a:pt x="149" y="288"/>
                  </a:lnTo>
                  <a:lnTo>
                    <a:pt x="150" y="288"/>
                  </a:lnTo>
                  <a:lnTo>
                    <a:pt x="150" y="287"/>
                  </a:lnTo>
                  <a:lnTo>
                    <a:pt x="151" y="287"/>
                  </a:lnTo>
                  <a:lnTo>
                    <a:pt x="152" y="287"/>
                  </a:lnTo>
                  <a:lnTo>
                    <a:pt x="151" y="287"/>
                  </a:lnTo>
                  <a:lnTo>
                    <a:pt x="150" y="287"/>
                  </a:lnTo>
                  <a:lnTo>
                    <a:pt x="151" y="287"/>
                  </a:lnTo>
                  <a:lnTo>
                    <a:pt x="151" y="286"/>
                  </a:lnTo>
                  <a:lnTo>
                    <a:pt x="154" y="286"/>
                  </a:lnTo>
                  <a:lnTo>
                    <a:pt x="152" y="286"/>
                  </a:lnTo>
                  <a:lnTo>
                    <a:pt x="154" y="286"/>
                  </a:lnTo>
                  <a:lnTo>
                    <a:pt x="154" y="285"/>
                  </a:lnTo>
                  <a:lnTo>
                    <a:pt x="155" y="285"/>
                  </a:lnTo>
                  <a:lnTo>
                    <a:pt x="156" y="285"/>
                  </a:lnTo>
                  <a:lnTo>
                    <a:pt x="156" y="284"/>
                  </a:lnTo>
                  <a:lnTo>
                    <a:pt x="157" y="284"/>
                  </a:lnTo>
                  <a:lnTo>
                    <a:pt x="156" y="284"/>
                  </a:lnTo>
                  <a:lnTo>
                    <a:pt x="157" y="284"/>
                  </a:lnTo>
                  <a:lnTo>
                    <a:pt x="157" y="282"/>
                  </a:lnTo>
                  <a:lnTo>
                    <a:pt x="156" y="282"/>
                  </a:lnTo>
                  <a:lnTo>
                    <a:pt x="156" y="284"/>
                  </a:lnTo>
                  <a:lnTo>
                    <a:pt x="155" y="284"/>
                  </a:lnTo>
                  <a:lnTo>
                    <a:pt x="155" y="285"/>
                  </a:lnTo>
                  <a:lnTo>
                    <a:pt x="152" y="286"/>
                  </a:lnTo>
                  <a:lnTo>
                    <a:pt x="151" y="286"/>
                  </a:lnTo>
                  <a:lnTo>
                    <a:pt x="150" y="286"/>
                  </a:lnTo>
                  <a:lnTo>
                    <a:pt x="151" y="285"/>
                  </a:lnTo>
                  <a:lnTo>
                    <a:pt x="150" y="285"/>
                  </a:lnTo>
                  <a:lnTo>
                    <a:pt x="149" y="285"/>
                  </a:lnTo>
                  <a:lnTo>
                    <a:pt x="149" y="286"/>
                  </a:lnTo>
                  <a:lnTo>
                    <a:pt x="148" y="286"/>
                  </a:lnTo>
                  <a:lnTo>
                    <a:pt x="148" y="287"/>
                  </a:lnTo>
                  <a:lnTo>
                    <a:pt x="147" y="287"/>
                  </a:lnTo>
                  <a:lnTo>
                    <a:pt x="147" y="286"/>
                  </a:lnTo>
                  <a:lnTo>
                    <a:pt x="148" y="286"/>
                  </a:lnTo>
                  <a:lnTo>
                    <a:pt x="149" y="285"/>
                  </a:lnTo>
                  <a:lnTo>
                    <a:pt x="150" y="285"/>
                  </a:lnTo>
                  <a:lnTo>
                    <a:pt x="151" y="284"/>
                  </a:lnTo>
                  <a:lnTo>
                    <a:pt x="150" y="284"/>
                  </a:lnTo>
                  <a:lnTo>
                    <a:pt x="150" y="285"/>
                  </a:lnTo>
                  <a:lnTo>
                    <a:pt x="149" y="285"/>
                  </a:lnTo>
                  <a:lnTo>
                    <a:pt x="148" y="285"/>
                  </a:lnTo>
                  <a:lnTo>
                    <a:pt x="147" y="286"/>
                  </a:lnTo>
                  <a:lnTo>
                    <a:pt x="147" y="285"/>
                  </a:lnTo>
                  <a:lnTo>
                    <a:pt x="148" y="285"/>
                  </a:lnTo>
                  <a:lnTo>
                    <a:pt x="150" y="284"/>
                  </a:lnTo>
                  <a:lnTo>
                    <a:pt x="155" y="282"/>
                  </a:lnTo>
                  <a:lnTo>
                    <a:pt x="156" y="282"/>
                  </a:lnTo>
                  <a:lnTo>
                    <a:pt x="157" y="282"/>
                  </a:lnTo>
                  <a:lnTo>
                    <a:pt x="157" y="281"/>
                  </a:lnTo>
                  <a:lnTo>
                    <a:pt x="158" y="281"/>
                  </a:lnTo>
                  <a:lnTo>
                    <a:pt x="158" y="280"/>
                  </a:lnTo>
                  <a:lnTo>
                    <a:pt x="159" y="280"/>
                  </a:lnTo>
                  <a:lnTo>
                    <a:pt x="158" y="280"/>
                  </a:lnTo>
                  <a:lnTo>
                    <a:pt x="157" y="281"/>
                  </a:lnTo>
                  <a:lnTo>
                    <a:pt x="157" y="280"/>
                  </a:lnTo>
                  <a:lnTo>
                    <a:pt x="156" y="279"/>
                  </a:lnTo>
                  <a:lnTo>
                    <a:pt x="156" y="280"/>
                  </a:lnTo>
                  <a:lnTo>
                    <a:pt x="156" y="281"/>
                  </a:lnTo>
                  <a:lnTo>
                    <a:pt x="155" y="281"/>
                  </a:lnTo>
                  <a:lnTo>
                    <a:pt x="154" y="282"/>
                  </a:lnTo>
                  <a:lnTo>
                    <a:pt x="152" y="284"/>
                  </a:lnTo>
                  <a:lnTo>
                    <a:pt x="151" y="284"/>
                  </a:lnTo>
                  <a:lnTo>
                    <a:pt x="150" y="284"/>
                  </a:lnTo>
                  <a:lnTo>
                    <a:pt x="149" y="284"/>
                  </a:lnTo>
                  <a:lnTo>
                    <a:pt x="149" y="282"/>
                  </a:lnTo>
                  <a:lnTo>
                    <a:pt x="150" y="282"/>
                  </a:lnTo>
                  <a:lnTo>
                    <a:pt x="152" y="281"/>
                  </a:lnTo>
                  <a:lnTo>
                    <a:pt x="154" y="281"/>
                  </a:lnTo>
                  <a:lnTo>
                    <a:pt x="152" y="281"/>
                  </a:lnTo>
                  <a:lnTo>
                    <a:pt x="154" y="281"/>
                  </a:lnTo>
                  <a:lnTo>
                    <a:pt x="154" y="280"/>
                  </a:lnTo>
                  <a:lnTo>
                    <a:pt x="155" y="280"/>
                  </a:lnTo>
                  <a:lnTo>
                    <a:pt x="154" y="280"/>
                  </a:lnTo>
                  <a:lnTo>
                    <a:pt x="152" y="280"/>
                  </a:lnTo>
                  <a:lnTo>
                    <a:pt x="154" y="280"/>
                  </a:lnTo>
                  <a:lnTo>
                    <a:pt x="152" y="280"/>
                  </a:lnTo>
                  <a:lnTo>
                    <a:pt x="152" y="279"/>
                  </a:lnTo>
                  <a:lnTo>
                    <a:pt x="154" y="279"/>
                  </a:lnTo>
                  <a:lnTo>
                    <a:pt x="155" y="278"/>
                  </a:lnTo>
                  <a:lnTo>
                    <a:pt x="154" y="278"/>
                  </a:lnTo>
                  <a:lnTo>
                    <a:pt x="152" y="278"/>
                  </a:lnTo>
                  <a:lnTo>
                    <a:pt x="152" y="279"/>
                  </a:lnTo>
                  <a:lnTo>
                    <a:pt x="151" y="279"/>
                  </a:lnTo>
                  <a:lnTo>
                    <a:pt x="150" y="279"/>
                  </a:lnTo>
                  <a:lnTo>
                    <a:pt x="151" y="279"/>
                  </a:lnTo>
                  <a:lnTo>
                    <a:pt x="151" y="280"/>
                  </a:lnTo>
                  <a:lnTo>
                    <a:pt x="152" y="280"/>
                  </a:lnTo>
                  <a:lnTo>
                    <a:pt x="152" y="281"/>
                  </a:lnTo>
                  <a:lnTo>
                    <a:pt x="151" y="281"/>
                  </a:lnTo>
                  <a:lnTo>
                    <a:pt x="150" y="281"/>
                  </a:lnTo>
                  <a:lnTo>
                    <a:pt x="150" y="282"/>
                  </a:lnTo>
                  <a:lnTo>
                    <a:pt x="149" y="282"/>
                  </a:lnTo>
                  <a:lnTo>
                    <a:pt x="148" y="281"/>
                  </a:lnTo>
                  <a:lnTo>
                    <a:pt x="147" y="281"/>
                  </a:lnTo>
                  <a:lnTo>
                    <a:pt x="148" y="281"/>
                  </a:lnTo>
                  <a:lnTo>
                    <a:pt x="148" y="282"/>
                  </a:lnTo>
                  <a:lnTo>
                    <a:pt x="149" y="282"/>
                  </a:lnTo>
                  <a:lnTo>
                    <a:pt x="148" y="282"/>
                  </a:lnTo>
                  <a:lnTo>
                    <a:pt x="147" y="282"/>
                  </a:lnTo>
                  <a:lnTo>
                    <a:pt x="147" y="281"/>
                  </a:lnTo>
                  <a:lnTo>
                    <a:pt x="145" y="281"/>
                  </a:lnTo>
                  <a:lnTo>
                    <a:pt x="145" y="282"/>
                  </a:lnTo>
                  <a:lnTo>
                    <a:pt x="145" y="281"/>
                  </a:lnTo>
                  <a:lnTo>
                    <a:pt x="145" y="282"/>
                  </a:lnTo>
                  <a:lnTo>
                    <a:pt x="144" y="282"/>
                  </a:lnTo>
                  <a:lnTo>
                    <a:pt x="143" y="282"/>
                  </a:lnTo>
                  <a:lnTo>
                    <a:pt x="143" y="284"/>
                  </a:lnTo>
                  <a:lnTo>
                    <a:pt x="143" y="282"/>
                  </a:lnTo>
                  <a:lnTo>
                    <a:pt x="142" y="282"/>
                  </a:lnTo>
                  <a:lnTo>
                    <a:pt x="143" y="284"/>
                  </a:lnTo>
                  <a:lnTo>
                    <a:pt x="142" y="284"/>
                  </a:lnTo>
                  <a:lnTo>
                    <a:pt x="141" y="284"/>
                  </a:lnTo>
                  <a:lnTo>
                    <a:pt x="142" y="284"/>
                  </a:lnTo>
                  <a:lnTo>
                    <a:pt x="141" y="284"/>
                  </a:lnTo>
                  <a:lnTo>
                    <a:pt x="140" y="284"/>
                  </a:lnTo>
                  <a:lnTo>
                    <a:pt x="141" y="284"/>
                  </a:lnTo>
                  <a:lnTo>
                    <a:pt x="141" y="285"/>
                  </a:lnTo>
                  <a:lnTo>
                    <a:pt x="140" y="285"/>
                  </a:lnTo>
                  <a:lnTo>
                    <a:pt x="140" y="286"/>
                  </a:lnTo>
                  <a:lnTo>
                    <a:pt x="138" y="286"/>
                  </a:lnTo>
                  <a:lnTo>
                    <a:pt x="138" y="285"/>
                  </a:lnTo>
                  <a:lnTo>
                    <a:pt x="140" y="285"/>
                  </a:lnTo>
                  <a:lnTo>
                    <a:pt x="138" y="285"/>
                  </a:lnTo>
                  <a:lnTo>
                    <a:pt x="140" y="285"/>
                  </a:lnTo>
                  <a:lnTo>
                    <a:pt x="138" y="285"/>
                  </a:lnTo>
                  <a:lnTo>
                    <a:pt x="137" y="285"/>
                  </a:lnTo>
                  <a:lnTo>
                    <a:pt x="138" y="284"/>
                  </a:lnTo>
                  <a:lnTo>
                    <a:pt x="140" y="284"/>
                  </a:lnTo>
                  <a:lnTo>
                    <a:pt x="138" y="284"/>
                  </a:lnTo>
                  <a:lnTo>
                    <a:pt x="137" y="284"/>
                  </a:lnTo>
                  <a:lnTo>
                    <a:pt x="138" y="284"/>
                  </a:lnTo>
                  <a:lnTo>
                    <a:pt x="137" y="284"/>
                  </a:lnTo>
                  <a:lnTo>
                    <a:pt x="136" y="284"/>
                  </a:lnTo>
                  <a:lnTo>
                    <a:pt x="135" y="284"/>
                  </a:lnTo>
                  <a:lnTo>
                    <a:pt x="134" y="284"/>
                  </a:lnTo>
                  <a:lnTo>
                    <a:pt x="133" y="284"/>
                  </a:lnTo>
                  <a:lnTo>
                    <a:pt x="133" y="285"/>
                  </a:lnTo>
                  <a:lnTo>
                    <a:pt x="131" y="285"/>
                  </a:lnTo>
                  <a:lnTo>
                    <a:pt x="131" y="284"/>
                  </a:lnTo>
                  <a:lnTo>
                    <a:pt x="130" y="284"/>
                  </a:lnTo>
                  <a:lnTo>
                    <a:pt x="129" y="284"/>
                  </a:lnTo>
                  <a:lnTo>
                    <a:pt x="129" y="285"/>
                  </a:lnTo>
                  <a:lnTo>
                    <a:pt x="128" y="285"/>
                  </a:lnTo>
                  <a:lnTo>
                    <a:pt x="129" y="285"/>
                  </a:lnTo>
                  <a:lnTo>
                    <a:pt x="130" y="285"/>
                  </a:lnTo>
                  <a:lnTo>
                    <a:pt x="129" y="285"/>
                  </a:lnTo>
                  <a:lnTo>
                    <a:pt x="130" y="285"/>
                  </a:lnTo>
                  <a:lnTo>
                    <a:pt x="131" y="285"/>
                  </a:lnTo>
                  <a:lnTo>
                    <a:pt x="133" y="285"/>
                  </a:lnTo>
                  <a:lnTo>
                    <a:pt x="133" y="284"/>
                  </a:lnTo>
                  <a:lnTo>
                    <a:pt x="134" y="285"/>
                  </a:lnTo>
                  <a:lnTo>
                    <a:pt x="135" y="285"/>
                  </a:lnTo>
                  <a:lnTo>
                    <a:pt x="134" y="285"/>
                  </a:lnTo>
                  <a:lnTo>
                    <a:pt x="133" y="285"/>
                  </a:lnTo>
                  <a:lnTo>
                    <a:pt x="131" y="285"/>
                  </a:lnTo>
                  <a:lnTo>
                    <a:pt x="129" y="285"/>
                  </a:lnTo>
                  <a:lnTo>
                    <a:pt x="128" y="285"/>
                  </a:lnTo>
                  <a:lnTo>
                    <a:pt x="127" y="285"/>
                  </a:lnTo>
                  <a:lnTo>
                    <a:pt x="126" y="285"/>
                  </a:lnTo>
                  <a:lnTo>
                    <a:pt x="124" y="285"/>
                  </a:lnTo>
                  <a:lnTo>
                    <a:pt x="126" y="285"/>
                  </a:lnTo>
                  <a:lnTo>
                    <a:pt x="127" y="284"/>
                  </a:lnTo>
                  <a:lnTo>
                    <a:pt x="128" y="284"/>
                  </a:lnTo>
                  <a:lnTo>
                    <a:pt x="129" y="284"/>
                  </a:lnTo>
                  <a:lnTo>
                    <a:pt x="130" y="284"/>
                  </a:lnTo>
                  <a:lnTo>
                    <a:pt x="130" y="282"/>
                  </a:lnTo>
                  <a:lnTo>
                    <a:pt x="131" y="282"/>
                  </a:lnTo>
                  <a:lnTo>
                    <a:pt x="130" y="282"/>
                  </a:lnTo>
                  <a:lnTo>
                    <a:pt x="129" y="282"/>
                  </a:lnTo>
                  <a:lnTo>
                    <a:pt x="128" y="282"/>
                  </a:lnTo>
                  <a:lnTo>
                    <a:pt x="127" y="282"/>
                  </a:lnTo>
                  <a:lnTo>
                    <a:pt x="127" y="284"/>
                  </a:lnTo>
                  <a:lnTo>
                    <a:pt x="127" y="282"/>
                  </a:lnTo>
                  <a:lnTo>
                    <a:pt x="126" y="284"/>
                  </a:lnTo>
                  <a:lnTo>
                    <a:pt x="126" y="282"/>
                  </a:lnTo>
                  <a:lnTo>
                    <a:pt x="124" y="282"/>
                  </a:lnTo>
                  <a:lnTo>
                    <a:pt x="123" y="282"/>
                  </a:lnTo>
                  <a:lnTo>
                    <a:pt x="126" y="282"/>
                  </a:lnTo>
                  <a:lnTo>
                    <a:pt x="127" y="282"/>
                  </a:lnTo>
                  <a:lnTo>
                    <a:pt x="128" y="282"/>
                  </a:lnTo>
                  <a:lnTo>
                    <a:pt x="129" y="282"/>
                  </a:lnTo>
                  <a:lnTo>
                    <a:pt x="130" y="282"/>
                  </a:lnTo>
                  <a:lnTo>
                    <a:pt x="130" y="281"/>
                  </a:lnTo>
                  <a:lnTo>
                    <a:pt x="129" y="281"/>
                  </a:lnTo>
                  <a:lnTo>
                    <a:pt x="130" y="281"/>
                  </a:lnTo>
                  <a:lnTo>
                    <a:pt x="130" y="280"/>
                  </a:lnTo>
                  <a:lnTo>
                    <a:pt x="131" y="280"/>
                  </a:lnTo>
                  <a:lnTo>
                    <a:pt x="130" y="280"/>
                  </a:lnTo>
                  <a:lnTo>
                    <a:pt x="130" y="281"/>
                  </a:lnTo>
                  <a:lnTo>
                    <a:pt x="129" y="281"/>
                  </a:lnTo>
                  <a:lnTo>
                    <a:pt x="128" y="281"/>
                  </a:lnTo>
                  <a:lnTo>
                    <a:pt x="127" y="281"/>
                  </a:lnTo>
                  <a:lnTo>
                    <a:pt x="128" y="280"/>
                  </a:lnTo>
                  <a:lnTo>
                    <a:pt x="127" y="280"/>
                  </a:lnTo>
                  <a:lnTo>
                    <a:pt x="127" y="281"/>
                  </a:lnTo>
                  <a:lnTo>
                    <a:pt x="127" y="280"/>
                  </a:lnTo>
                  <a:lnTo>
                    <a:pt x="126" y="280"/>
                  </a:lnTo>
                  <a:lnTo>
                    <a:pt x="127" y="280"/>
                  </a:lnTo>
                  <a:lnTo>
                    <a:pt x="128" y="279"/>
                  </a:lnTo>
                  <a:lnTo>
                    <a:pt x="128" y="278"/>
                  </a:lnTo>
                  <a:lnTo>
                    <a:pt x="129" y="278"/>
                  </a:lnTo>
                  <a:lnTo>
                    <a:pt x="130" y="278"/>
                  </a:lnTo>
                  <a:lnTo>
                    <a:pt x="129" y="278"/>
                  </a:lnTo>
                  <a:lnTo>
                    <a:pt x="128" y="278"/>
                  </a:lnTo>
                  <a:lnTo>
                    <a:pt x="127" y="279"/>
                  </a:lnTo>
                  <a:lnTo>
                    <a:pt x="126" y="279"/>
                  </a:lnTo>
                  <a:lnTo>
                    <a:pt x="126" y="280"/>
                  </a:lnTo>
                  <a:lnTo>
                    <a:pt x="126" y="281"/>
                  </a:lnTo>
                  <a:lnTo>
                    <a:pt x="123" y="281"/>
                  </a:lnTo>
                  <a:lnTo>
                    <a:pt x="123" y="280"/>
                  </a:lnTo>
                  <a:lnTo>
                    <a:pt x="124" y="280"/>
                  </a:lnTo>
                  <a:lnTo>
                    <a:pt x="126" y="280"/>
                  </a:lnTo>
                  <a:lnTo>
                    <a:pt x="124" y="280"/>
                  </a:lnTo>
                  <a:lnTo>
                    <a:pt x="126" y="280"/>
                  </a:lnTo>
                  <a:lnTo>
                    <a:pt x="126" y="279"/>
                  </a:lnTo>
                  <a:lnTo>
                    <a:pt x="126" y="280"/>
                  </a:lnTo>
                  <a:lnTo>
                    <a:pt x="124" y="280"/>
                  </a:lnTo>
                  <a:lnTo>
                    <a:pt x="123" y="280"/>
                  </a:lnTo>
                  <a:lnTo>
                    <a:pt x="122" y="280"/>
                  </a:lnTo>
                  <a:lnTo>
                    <a:pt x="123" y="280"/>
                  </a:lnTo>
                  <a:lnTo>
                    <a:pt x="123" y="279"/>
                  </a:lnTo>
                  <a:lnTo>
                    <a:pt x="122" y="280"/>
                  </a:lnTo>
                  <a:lnTo>
                    <a:pt x="122" y="279"/>
                  </a:lnTo>
                  <a:lnTo>
                    <a:pt x="123" y="279"/>
                  </a:lnTo>
                  <a:lnTo>
                    <a:pt x="122" y="279"/>
                  </a:lnTo>
                  <a:lnTo>
                    <a:pt x="122" y="280"/>
                  </a:lnTo>
                  <a:lnTo>
                    <a:pt x="122" y="279"/>
                  </a:lnTo>
                  <a:lnTo>
                    <a:pt x="123" y="279"/>
                  </a:lnTo>
                  <a:lnTo>
                    <a:pt x="124" y="279"/>
                  </a:lnTo>
                  <a:lnTo>
                    <a:pt x="124" y="278"/>
                  </a:lnTo>
                  <a:lnTo>
                    <a:pt x="126" y="278"/>
                  </a:lnTo>
                  <a:lnTo>
                    <a:pt x="124" y="278"/>
                  </a:lnTo>
                  <a:lnTo>
                    <a:pt x="123" y="278"/>
                  </a:lnTo>
                  <a:lnTo>
                    <a:pt x="124" y="278"/>
                  </a:lnTo>
                  <a:lnTo>
                    <a:pt x="126" y="278"/>
                  </a:lnTo>
                  <a:lnTo>
                    <a:pt x="123" y="278"/>
                  </a:lnTo>
                  <a:lnTo>
                    <a:pt x="123" y="277"/>
                  </a:lnTo>
                  <a:lnTo>
                    <a:pt x="122" y="277"/>
                  </a:lnTo>
                  <a:lnTo>
                    <a:pt x="123" y="277"/>
                  </a:lnTo>
                  <a:lnTo>
                    <a:pt x="122" y="277"/>
                  </a:lnTo>
                  <a:lnTo>
                    <a:pt x="121" y="277"/>
                  </a:lnTo>
                  <a:lnTo>
                    <a:pt x="121" y="278"/>
                  </a:lnTo>
                  <a:lnTo>
                    <a:pt x="120" y="278"/>
                  </a:lnTo>
                  <a:lnTo>
                    <a:pt x="120" y="277"/>
                  </a:lnTo>
                  <a:lnTo>
                    <a:pt x="120" y="278"/>
                  </a:lnTo>
                  <a:lnTo>
                    <a:pt x="119" y="278"/>
                  </a:lnTo>
                  <a:lnTo>
                    <a:pt x="119" y="277"/>
                  </a:lnTo>
                  <a:lnTo>
                    <a:pt x="120" y="277"/>
                  </a:lnTo>
                  <a:lnTo>
                    <a:pt x="119" y="277"/>
                  </a:lnTo>
                  <a:lnTo>
                    <a:pt x="117" y="277"/>
                  </a:lnTo>
                  <a:lnTo>
                    <a:pt x="119" y="277"/>
                  </a:lnTo>
                  <a:lnTo>
                    <a:pt x="120" y="277"/>
                  </a:lnTo>
                  <a:lnTo>
                    <a:pt x="121" y="277"/>
                  </a:lnTo>
                  <a:lnTo>
                    <a:pt x="122" y="277"/>
                  </a:lnTo>
                  <a:lnTo>
                    <a:pt x="122" y="275"/>
                  </a:lnTo>
                  <a:lnTo>
                    <a:pt x="124" y="275"/>
                  </a:lnTo>
                  <a:lnTo>
                    <a:pt x="128" y="275"/>
                  </a:lnTo>
                  <a:lnTo>
                    <a:pt x="128" y="274"/>
                  </a:lnTo>
                  <a:lnTo>
                    <a:pt x="126" y="275"/>
                  </a:lnTo>
                  <a:lnTo>
                    <a:pt x="127" y="274"/>
                  </a:lnTo>
                  <a:lnTo>
                    <a:pt x="124" y="275"/>
                  </a:lnTo>
                  <a:lnTo>
                    <a:pt x="122" y="275"/>
                  </a:lnTo>
                  <a:lnTo>
                    <a:pt x="121" y="275"/>
                  </a:lnTo>
                  <a:lnTo>
                    <a:pt x="120" y="275"/>
                  </a:lnTo>
                  <a:lnTo>
                    <a:pt x="119" y="277"/>
                  </a:lnTo>
                  <a:lnTo>
                    <a:pt x="119" y="275"/>
                  </a:lnTo>
                  <a:lnTo>
                    <a:pt x="120" y="275"/>
                  </a:lnTo>
                  <a:lnTo>
                    <a:pt x="119" y="275"/>
                  </a:lnTo>
                  <a:lnTo>
                    <a:pt x="117" y="275"/>
                  </a:lnTo>
                  <a:lnTo>
                    <a:pt x="119" y="275"/>
                  </a:lnTo>
                  <a:lnTo>
                    <a:pt x="119" y="274"/>
                  </a:lnTo>
                  <a:lnTo>
                    <a:pt x="117" y="274"/>
                  </a:lnTo>
                  <a:lnTo>
                    <a:pt x="117" y="275"/>
                  </a:lnTo>
                  <a:lnTo>
                    <a:pt x="116" y="274"/>
                  </a:lnTo>
                  <a:lnTo>
                    <a:pt x="117" y="274"/>
                  </a:lnTo>
                  <a:lnTo>
                    <a:pt x="116" y="274"/>
                  </a:lnTo>
                  <a:lnTo>
                    <a:pt x="117" y="274"/>
                  </a:lnTo>
                  <a:lnTo>
                    <a:pt x="120" y="274"/>
                  </a:lnTo>
                  <a:lnTo>
                    <a:pt x="123" y="274"/>
                  </a:lnTo>
                  <a:lnTo>
                    <a:pt x="124" y="273"/>
                  </a:lnTo>
                  <a:lnTo>
                    <a:pt x="123" y="273"/>
                  </a:lnTo>
                  <a:lnTo>
                    <a:pt x="120" y="274"/>
                  </a:lnTo>
                  <a:lnTo>
                    <a:pt x="121" y="274"/>
                  </a:lnTo>
                  <a:lnTo>
                    <a:pt x="121" y="273"/>
                  </a:lnTo>
                  <a:lnTo>
                    <a:pt x="120" y="273"/>
                  </a:lnTo>
                  <a:lnTo>
                    <a:pt x="120" y="274"/>
                  </a:lnTo>
                  <a:lnTo>
                    <a:pt x="119" y="274"/>
                  </a:lnTo>
                  <a:lnTo>
                    <a:pt x="120" y="273"/>
                  </a:lnTo>
                  <a:lnTo>
                    <a:pt x="120" y="272"/>
                  </a:lnTo>
                  <a:lnTo>
                    <a:pt x="121" y="272"/>
                  </a:lnTo>
                  <a:lnTo>
                    <a:pt x="122" y="272"/>
                  </a:lnTo>
                  <a:lnTo>
                    <a:pt x="122" y="271"/>
                  </a:lnTo>
                  <a:lnTo>
                    <a:pt x="122" y="272"/>
                  </a:lnTo>
                  <a:lnTo>
                    <a:pt x="121" y="272"/>
                  </a:lnTo>
                  <a:lnTo>
                    <a:pt x="120" y="272"/>
                  </a:lnTo>
                  <a:lnTo>
                    <a:pt x="119" y="272"/>
                  </a:lnTo>
                  <a:lnTo>
                    <a:pt x="120" y="272"/>
                  </a:lnTo>
                  <a:lnTo>
                    <a:pt x="120" y="271"/>
                  </a:lnTo>
                  <a:lnTo>
                    <a:pt x="121" y="271"/>
                  </a:lnTo>
                  <a:lnTo>
                    <a:pt x="121" y="270"/>
                  </a:lnTo>
                  <a:lnTo>
                    <a:pt x="122" y="270"/>
                  </a:lnTo>
                  <a:lnTo>
                    <a:pt x="123" y="270"/>
                  </a:lnTo>
                  <a:lnTo>
                    <a:pt x="123" y="268"/>
                  </a:lnTo>
                  <a:lnTo>
                    <a:pt x="124" y="268"/>
                  </a:lnTo>
                  <a:lnTo>
                    <a:pt x="123" y="268"/>
                  </a:lnTo>
                  <a:lnTo>
                    <a:pt x="122" y="268"/>
                  </a:lnTo>
                  <a:lnTo>
                    <a:pt x="120" y="271"/>
                  </a:lnTo>
                  <a:lnTo>
                    <a:pt x="119" y="271"/>
                  </a:lnTo>
                  <a:lnTo>
                    <a:pt x="119" y="272"/>
                  </a:lnTo>
                  <a:lnTo>
                    <a:pt x="117" y="272"/>
                  </a:lnTo>
                  <a:lnTo>
                    <a:pt x="116" y="272"/>
                  </a:lnTo>
                  <a:lnTo>
                    <a:pt x="119" y="270"/>
                  </a:lnTo>
                  <a:lnTo>
                    <a:pt x="120" y="270"/>
                  </a:lnTo>
                  <a:lnTo>
                    <a:pt x="119" y="270"/>
                  </a:lnTo>
                  <a:lnTo>
                    <a:pt x="117" y="270"/>
                  </a:lnTo>
                  <a:lnTo>
                    <a:pt x="117" y="271"/>
                  </a:lnTo>
                  <a:lnTo>
                    <a:pt x="116" y="271"/>
                  </a:lnTo>
                  <a:lnTo>
                    <a:pt x="117" y="270"/>
                  </a:lnTo>
                  <a:lnTo>
                    <a:pt x="116" y="270"/>
                  </a:lnTo>
                  <a:lnTo>
                    <a:pt x="117" y="270"/>
                  </a:lnTo>
                  <a:lnTo>
                    <a:pt x="117" y="268"/>
                  </a:lnTo>
                  <a:lnTo>
                    <a:pt x="119" y="268"/>
                  </a:lnTo>
                  <a:lnTo>
                    <a:pt x="120" y="268"/>
                  </a:lnTo>
                  <a:lnTo>
                    <a:pt x="121" y="268"/>
                  </a:lnTo>
                  <a:lnTo>
                    <a:pt x="122" y="267"/>
                  </a:lnTo>
                  <a:lnTo>
                    <a:pt x="123" y="267"/>
                  </a:lnTo>
                  <a:lnTo>
                    <a:pt x="124" y="267"/>
                  </a:lnTo>
                  <a:lnTo>
                    <a:pt x="123" y="267"/>
                  </a:lnTo>
                  <a:lnTo>
                    <a:pt x="122" y="267"/>
                  </a:lnTo>
                  <a:lnTo>
                    <a:pt x="123" y="266"/>
                  </a:lnTo>
                  <a:lnTo>
                    <a:pt x="122" y="266"/>
                  </a:lnTo>
                  <a:lnTo>
                    <a:pt x="122" y="267"/>
                  </a:lnTo>
                  <a:lnTo>
                    <a:pt x="121" y="267"/>
                  </a:lnTo>
                  <a:lnTo>
                    <a:pt x="122" y="266"/>
                  </a:lnTo>
                  <a:lnTo>
                    <a:pt x="123" y="265"/>
                  </a:lnTo>
                  <a:lnTo>
                    <a:pt x="122" y="265"/>
                  </a:lnTo>
                  <a:lnTo>
                    <a:pt x="122" y="266"/>
                  </a:lnTo>
                  <a:lnTo>
                    <a:pt x="121" y="266"/>
                  </a:lnTo>
                  <a:lnTo>
                    <a:pt x="121" y="267"/>
                  </a:lnTo>
                  <a:lnTo>
                    <a:pt x="120" y="268"/>
                  </a:lnTo>
                  <a:lnTo>
                    <a:pt x="119" y="268"/>
                  </a:lnTo>
                  <a:lnTo>
                    <a:pt x="117" y="268"/>
                  </a:lnTo>
                  <a:lnTo>
                    <a:pt x="117" y="267"/>
                  </a:lnTo>
                  <a:lnTo>
                    <a:pt x="116" y="268"/>
                  </a:lnTo>
                  <a:lnTo>
                    <a:pt x="115" y="268"/>
                  </a:lnTo>
                  <a:lnTo>
                    <a:pt x="114" y="268"/>
                  </a:lnTo>
                  <a:lnTo>
                    <a:pt x="115" y="268"/>
                  </a:lnTo>
                  <a:lnTo>
                    <a:pt x="115" y="267"/>
                  </a:lnTo>
                  <a:lnTo>
                    <a:pt x="116" y="268"/>
                  </a:lnTo>
                  <a:lnTo>
                    <a:pt x="115" y="267"/>
                  </a:lnTo>
                  <a:lnTo>
                    <a:pt x="116" y="267"/>
                  </a:lnTo>
                  <a:lnTo>
                    <a:pt x="117" y="267"/>
                  </a:lnTo>
                  <a:lnTo>
                    <a:pt x="116" y="267"/>
                  </a:lnTo>
                  <a:lnTo>
                    <a:pt x="115" y="267"/>
                  </a:lnTo>
                  <a:lnTo>
                    <a:pt x="115" y="266"/>
                  </a:lnTo>
                  <a:lnTo>
                    <a:pt x="116" y="266"/>
                  </a:lnTo>
                  <a:lnTo>
                    <a:pt x="119" y="267"/>
                  </a:lnTo>
                  <a:lnTo>
                    <a:pt x="117" y="266"/>
                  </a:lnTo>
                  <a:lnTo>
                    <a:pt x="119" y="266"/>
                  </a:lnTo>
                  <a:lnTo>
                    <a:pt x="120" y="266"/>
                  </a:lnTo>
                  <a:lnTo>
                    <a:pt x="119" y="266"/>
                  </a:lnTo>
                  <a:lnTo>
                    <a:pt x="119" y="265"/>
                  </a:lnTo>
                  <a:lnTo>
                    <a:pt x="119" y="266"/>
                  </a:lnTo>
                  <a:lnTo>
                    <a:pt x="117" y="266"/>
                  </a:lnTo>
                  <a:lnTo>
                    <a:pt x="116" y="266"/>
                  </a:lnTo>
                  <a:lnTo>
                    <a:pt x="115" y="266"/>
                  </a:lnTo>
                  <a:lnTo>
                    <a:pt x="116" y="266"/>
                  </a:lnTo>
                  <a:lnTo>
                    <a:pt x="116" y="265"/>
                  </a:lnTo>
                  <a:lnTo>
                    <a:pt x="117" y="265"/>
                  </a:lnTo>
                  <a:lnTo>
                    <a:pt x="119" y="265"/>
                  </a:lnTo>
                  <a:lnTo>
                    <a:pt x="120" y="265"/>
                  </a:lnTo>
                  <a:lnTo>
                    <a:pt x="119" y="265"/>
                  </a:lnTo>
                  <a:lnTo>
                    <a:pt x="117" y="265"/>
                  </a:lnTo>
                  <a:lnTo>
                    <a:pt x="117" y="264"/>
                  </a:lnTo>
                  <a:lnTo>
                    <a:pt x="116" y="265"/>
                  </a:lnTo>
                  <a:lnTo>
                    <a:pt x="115" y="265"/>
                  </a:lnTo>
                  <a:lnTo>
                    <a:pt x="114" y="265"/>
                  </a:lnTo>
                  <a:lnTo>
                    <a:pt x="115" y="264"/>
                  </a:lnTo>
                  <a:lnTo>
                    <a:pt x="114" y="264"/>
                  </a:lnTo>
                  <a:lnTo>
                    <a:pt x="114" y="263"/>
                  </a:lnTo>
                  <a:lnTo>
                    <a:pt x="114" y="264"/>
                  </a:lnTo>
                  <a:lnTo>
                    <a:pt x="113" y="264"/>
                  </a:lnTo>
                  <a:lnTo>
                    <a:pt x="113" y="263"/>
                  </a:lnTo>
                  <a:lnTo>
                    <a:pt x="112" y="263"/>
                  </a:lnTo>
                  <a:lnTo>
                    <a:pt x="111" y="263"/>
                  </a:lnTo>
                  <a:lnTo>
                    <a:pt x="111" y="261"/>
                  </a:lnTo>
                  <a:lnTo>
                    <a:pt x="111" y="260"/>
                  </a:lnTo>
                  <a:lnTo>
                    <a:pt x="112" y="260"/>
                  </a:lnTo>
                  <a:lnTo>
                    <a:pt x="112" y="259"/>
                  </a:lnTo>
                  <a:lnTo>
                    <a:pt x="113" y="259"/>
                  </a:lnTo>
                  <a:lnTo>
                    <a:pt x="113" y="258"/>
                  </a:lnTo>
                  <a:lnTo>
                    <a:pt x="114" y="258"/>
                  </a:lnTo>
                  <a:lnTo>
                    <a:pt x="115" y="257"/>
                  </a:lnTo>
                  <a:lnTo>
                    <a:pt x="116" y="257"/>
                  </a:lnTo>
                  <a:lnTo>
                    <a:pt x="116" y="256"/>
                  </a:lnTo>
                  <a:lnTo>
                    <a:pt x="117" y="256"/>
                  </a:lnTo>
                  <a:lnTo>
                    <a:pt x="116" y="256"/>
                  </a:lnTo>
                  <a:lnTo>
                    <a:pt x="115" y="257"/>
                  </a:lnTo>
                  <a:lnTo>
                    <a:pt x="114" y="257"/>
                  </a:lnTo>
                  <a:lnTo>
                    <a:pt x="113" y="257"/>
                  </a:lnTo>
                  <a:lnTo>
                    <a:pt x="113" y="258"/>
                  </a:lnTo>
                  <a:lnTo>
                    <a:pt x="112" y="258"/>
                  </a:lnTo>
                  <a:lnTo>
                    <a:pt x="113" y="257"/>
                  </a:lnTo>
                  <a:lnTo>
                    <a:pt x="113" y="256"/>
                  </a:lnTo>
                  <a:lnTo>
                    <a:pt x="114" y="256"/>
                  </a:lnTo>
                  <a:lnTo>
                    <a:pt x="114" y="254"/>
                  </a:lnTo>
                  <a:lnTo>
                    <a:pt x="119" y="254"/>
                  </a:lnTo>
                  <a:lnTo>
                    <a:pt x="120" y="253"/>
                  </a:lnTo>
                  <a:lnTo>
                    <a:pt x="119" y="253"/>
                  </a:lnTo>
                  <a:lnTo>
                    <a:pt x="116" y="254"/>
                  </a:lnTo>
                  <a:lnTo>
                    <a:pt x="114" y="254"/>
                  </a:lnTo>
                  <a:lnTo>
                    <a:pt x="113" y="256"/>
                  </a:lnTo>
                  <a:lnTo>
                    <a:pt x="113" y="257"/>
                  </a:lnTo>
                  <a:lnTo>
                    <a:pt x="112" y="257"/>
                  </a:lnTo>
                  <a:lnTo>
                    <a:pt x="111" y="257"/>
                  </a:lnTo>
                  <a:lnTo>
                    <a:pt x="112" y="257"/>
                  </a:lnTo>
                  <a:lnTo>
                    <a:pt x="112" y="256"/>
                  </a:lnTo>
                  <a:lnTo>
                    <a:pt x="113" y="256"/>
                  </a:lnTo>
                  <a:lnTo>
                    <a:pt x="113" y="254"/>
                  </a:lnTo>
                  <a:lnTo>
                    <a:pt x="114" y="254"/>
                  </a:lnTo>
                  <a:lnTo>
                    <a:pt x="115" y="254"/>
                  </a:lnTo>
                  <a:lnTo>
                    <a:pt x="115" y="253"/>
                  </a:lnTo>
                  <a:lnTo>
                    <a:pt x="114" y="253"/>
                  </a:lnTo>
                  <a:lnTo>
                    <a:pt x="113" y="254"/>
                  </a:lnTo>
                  <a:lnTo>
                    <a:pt x="112" y="254"/>
                  </a:lnTo>
                  <a:lnTo>
                    <a:pt x="111" y="254"/>
                  </a:lnTo>
                  <a:lnTo>
                    <a:pt x="109" y="254"/>
                  </a:lnTo>
                  <a:lnTo>
                    <a:pt x="112" y="254"/>
                  </a:lnTo>
                  <a:lnTo>
                    <a:pt x="112" y="253"/>
                  </a:lnTo>
                  <a:lnTo>
                    <a:pt x="111" y="253"/>
                  </a:lnTo>
                  <a:lnTo>
                    <a:pt x="112" y="253"/>
                  </a:lnTo>
                  <a:lnTo>
                    <a:pt x="111" y="253"/>
                  </a:lnTo>
                  <a:lnTo>
                    <a:pt x="112" y="253"/>
                  </a:lnTo>
                  <a:lnTo>
                    <a:pt x="112" y="252"/>
                  </a:lnTo>
                  <a:lnTo>
                    <a:pt x="113" y="252"/>
                  </a:lnTo>
                  <a:lnTo>
                    <a:pt x="113" y="251"/>
                  </a:lnTo>
                  <a:lnTo>
                    <a:pt x="117" y="251"/>
                  </a:lnTo>
                  <a:lnTo>
                    <a:pt x="116" y="251"/>
                  </a:lnTo>
                  <a:lnTo>
                    <a:pt x="114" y="251"/>
                  </a:lnTo>
                  <a:lnTo>
                    <a:pt x="113" y="251"/>
                  </a:lnTo>
                  <a:lnTo>
                    <a:pt x="112" y="251"/>
                  </a:lnTo>
                  <a:lnTo>
                    <a:pt x="111" y="251"/>
                  </a:lnTo>
                  <a:lnTo>
                    <a:pt x="109" y="251"/>
                  </a:lnTo>
                  <a:lnTo>
                    <a:pt x="108" y="252"/>
                  </a:lnTo>
                  <a:lnTo>
                    <a:pt x="107" y="252"/>
                  </a:lnTo>
                  <a:lnTo>
                    <a:pt x="107" y="251"/>
                  </a:lnTo>
                  <a:lnTo>
                    <a:pt x="108" y="251"/>
                  </a:lnTo>
                  <a:lnTo>
                    <a:pt x="109" y="251"/>
                  </a:lnTo>
                  <a:lnTo>
                    <a:pt x="108" y="251"/>
                  </a:lnTo>
                  <a:lnTo>
                    <a:pt x="107" y="251"/>
                  </a:lnTo>
                  <a:lnTo>
                    <a:pt x="107" y="252"/>
                  </a:lnTo>
                  <a:lnTo>
                    <a:pt x="106" y="252"/>
                  </a:lnTo>
                  <a:lnTo>
                    <a:pt x="106" y="251"/>
                  </a:lnTo>
                  <a:lnTo>
                    <a:pt x="107" y="251"/>
                  </a:lnTo>
                  <a:lnTo>
                    <a:pt x="106" y="251"/>
                  </a:lnTo>
                  <a:lnTo>
                    <a:pt x="106" y="250"/>
                  </a:lnTo>
                  <a:lnTo>
                    <a:pt x="107" y="250"/>
                  </a:lnTo>
                  <a:lnTo>
                    <a:pt x="106" y="250"/>
                  </a:lnTo>
                  <a:lnTo>
                    <a:pt x="107" y="249"/>
                  </a:lnTo>
                  <a:lnTo>
                    <a:pt x="109" y="249"/>
                  </a:lnTo>
                  <a:lnTo>
                    <a:pt x="113" y="249"/>
                  </a:lnTo>
                  <a:lnTo>
                    <a:pt x="114" y="249"/>
                  </a:lnTo>
                  <a:lnTo>
                    <a:pt x="115" y="249"/>
                  </a:lnTo>
                  <a:lnTo>
                    <a:pt x="114" y="249"/>
                  </a:lnTo>
                  <a:lnTo>
                    <a:pt x="113" y="249"/>
                  </a:lnTo>
                  <a:lnTo>
                    <a:pt x="111" y="249"/>
                  </a:lnTo>
                  <a:lnTo>
                    <a:pt x="109" y="249"/>
                  </a:lnTo>
                  <a:lnTo>
                    <a:pt x="108" y="249"/>
                  </a:lnTo>
                  <a:lnTo>
                    <a:pt x="107" y="249"/>
                  </a:lnTo>
                  <a:lnTo>
                    <a:pt x="108" y="247"/>
                  </a:lnTo>
                  <a:lnTo>
                    <a:pt x="107" y="247"/>
                  </a:lnTo>
                  <a:lnTo>
                    <a:pt x="107" y="249"/>
                  </a:lnTo>
                  <a:lnTo>
                    <a:pt x="106" y="249"/>
                  </a:lnTo>
                  <a:lnTo>
                    <a:pt x="107" y="247"/>
                  </a:lnTo>
                  <a:lnTo>
                    <a:pt x="106" y="247"/>
                  </a:lnTo>
                  <a:lnTo>
                    <a:pt x="106" y="249"/>
                  </a:lnTo>
                  <a:lnTo>
                    <a:pt x="106" y="247"/>
                  </a:lnTo>
                  <a:lnTo>
                    <a:pt x="107" y="247"/>
                  </a:lnTo>
                  <a:lnTo>
                    <a:pt x="108" y="247"/>
                  </a:lnTo>
                  <a:lnTo>
                    <a:pt x="111" y="246"/>
                  </a:lnTo>
                  <a:lnTo>
                    <a:pt x="112" y="246"/>
                  </a:lnTo>
                  <a:lnTo>
                    <a:pt x="111" y="246"/>
                  </a:lnTo>
                  <a:lnTo>
                    <a:pt x="108" y="246"/>
                  </a:lnTo>
                  <a:lnTo>
                    <a:pt x="107" y="246"/>
                  </a:lnTo>
                  <a:lnTo>
                    <a:pt x="107" y="245"/>
                  </a:lnTo>
                  <a:lnTo>
                    <a:pt x="108" y="245"/>
                  </a:lnTo>
                  <a:lnTo>
                    <a:pt x="109" y="245"/>
                  </a:lnTo>
                  <a:lnTo>
                    <a:pt x="111" y="245"/>
                  </a:lnTo>
                  <a:lnTo>
                    <a:pt x="114" y="245"/>
                  </a:lnTo>
                  <a:lnTo>
                    <a:pt x="115" y="245"/>
                  </a:lnTo>
                  <a:lnTo>
                    <a:pt x="114" y="245"/>
                  </a:lnTo>
                  <a:lnTo>
                    <a:pt x="111" y="245"/>
                  </a:lnTo>
                  <a:lnTo>
                    <a:pt x="109" y="245"/>
                  </a:lnTo>
                  <a:lnTo>
                    <a:pt x="108" y="245"/>
                  </a:lnTo>
                  <a:lnTo>
                    <a:pt x="107" y="245"/>
                  </a:lnTo>
                  <a:lnTo>
                    <a:pt x="107" y="246"/>
                  </a:lnTo>
                  <a:lnTo>
                    <a:pt x="107" y="247"/>
                  </a:lnTo>
                  <a:lnTo>
                    <a:pt x="106" y="246"/>
                  </a:lnTo>
                  <a:lnTo>
                    <a:pt x="105" y="246"/>
                  </a:lnTo>
                  <a:lnTo>
                    <a:pt x="104" y="246"/>
                  </a:lnTo>
                  <a:lnTo>
                    <a:pt x="105" y="246"/>
                  </a:lnTo>
                  <a:lnTo>
                    <a:pt x="106" y="245"/>
                  </a:lnTo>
                  <a:lnTo>
                    <a:pt x="105" y="245"/>
                  </a:lnTo>
                  <a:lnTo>
                    <a:pt x="104" y="244"/>
                  </a:lnTo>
                  <a:lnTo>
                    <a:pt x="105" y="244"/>
                  </a:lnTo>
                  <a:lnTo>
                    <a:pt x="106" y="244"/>
                  </a:lnTo>
                  <a:lnTo>
                    <a:pt x="105" y="244"/>
                  </a:lnTo>
                  <a:lnTo>
                    <a:pt x="104" y="244"/>
                  </a:lnTo>
                  <a:lnTo>
                    <a:pt x="105" y="243"/>
                  </a:lnTo>
                  <a:lnTo>
                    <a:pt x="108" y="243"/>
                  </a:lnTo>
                  <a:lnTo>
                    <a:pt x="109" y="242"/>
                  </a:lnTo>
                  <a:lnTo>
                    <a:pt x="112" y="242"/>
                  </a:lnTo>
                  <a:lnTo>
                    <a:pt x="112" y="240"/>
                  </a:lnTo>
                  <a:lnTo>
                    <a:pt x="111" y="242"/>
                  </a:lnTo>
                  <a:lnTo>
                    <a:pt x="108" y="242"/>
                  </a:lnTo>
                  <a:lnTo>
                    <a:pt x="107" y="243"/>
                  </a:lnTo>
                  <a:lnTo>
                    <a:pt x="106" y="243"/>
                  </a:lnTo>
                  <a:lnTo>
                    <a:pt x="105" y="243"/>
                  </a:lnTo>
                  <a:lnTo>
                    <a:pt x="106" y="242"/>
                  </a:lnTo>
                  <a:lnTo>
                    <a:pt x="106" y="243"/>
                  </a:lnTo>
                  <a:lnTo>
                    <a:pt x="106" y="242"/>
                  </a:lnTo>
                  <a:lnTo>
                    <a:pt x="107" y="242"/>
                  </a:lnTo>
                  <a:lnTo>
                    <a:pt x="106" y="242"/>
                  </a:lnTo>
                  <a:lnTo>
                    <a:pt x="106" y="240"/>
                  </a:lnTo>
                  <a:lnTo>
                    <a:pt x="107" y="240"/>
                  </a:lnTo>
                  <a:lnTo>
                    <a:pt x="106" y="240"/>
                  </a:lnTo>
                  <a:lnTo>
                    <a:pt x="105" y="240"/>
                  </a:lnTo>
                  <a:lnTo>
                    <a:pt x="105" y="239"/>
                  </a:lnTo>
                  <a:lnTo>
                    <a:pt x="107" y="239"/>
                  </a:lnTo>
                  <a:lnTo>
                    <a:pt x="108" y="239"/>
                  </a:lnTo>
                  <a:lnTo>
                    <a:pt x="107" y="239"/>
                  </a:lnTo>
                  <a:lnTo>
                    <a:pt x="108" y="239"/>
                  </a:lnTo>
                  <a:lnTo>
                    <a:pt x="111" y="239"/>
                  </a:lnTo>
                  <a:lnTo>
                    <a:pt x="112" y="239"/>
                  </a:lnTo>
                  <a:lnTo>
                    <a:pt x="112" y="238"/>
                  </a:lnTo>
                  <a:lnTo>
                    <a:pt x="113" y="238"/>
                  </a:lnTo>
                  <a:lnTo>
                    <a:pt x="114" y="238"/>
                  </a:lnTo>
                  <a:lnTo>
                    <a:pt x="115" y="238"/>
                  </a:lnTo>
                  <a:lnTo>
                    <a:pt x="116" y="238"/>
                  </a:lnTo>
                  <a:lnTo>
                    <a:pt x="117" y="238"/>
                  </a:lnTo>
                  <a:lnTo>
                    <a:pt x="119" y="238"/>
                  </a:lnTo>
                  <a:lnTo>
                    <a:pt x="120" y="238"/>
                  </a:lnTo>
                  <a:lnTo>
                    <a:pt x="120" y="237"/>
                  </a:lnTo>
                  <a:lnTo>
                    <a:pt x="121" y="237"/>
                  </a:lnTo>
                  <a:lnTo>
                    <a:pt x="122" y="237"/>
                  </a:lnTo>
                  <a:lnTo>
                    <a:pt x="122" y="238"/>
                  </a:lnTo>
                  <a:lnTo>
                    <a:pt x="122" y="237"/>
                  </a:lnTo>
                  <a:lnTo>
                    <a:pt x="121" y="237"/>
                  </a:lnTo>
                  <a:lnTo>
                    <a:pt x="119" y="237"/>
                  </a:lnTo>
                  <a:lnTo>
                    <a:pt x="117" y="237"/>
                  </a:lnTo>
                  <a:lnTo>
                    <a:pt x="119" y="236"/>
                  </a:lnTo>
                  <a:lnTo>
                    <a:pt x="120" y="236"/>
                  </a:lnTo>
                  <a:lnTo>
                    <a:pt x="120" y="235"/>
                  </a:lnTo>
                  <a:lnTo>
                    <a:pt x="119" y="235"/>
                  </a:lnTo>
                  <a:lnTo>
                    <a:pt x="119" y="236"/>
                  </a:lnTo>
                  <a:lnTo>
                    <a:pt x="117" y="236"/>
                  </a:lnTo>
                  <a:lnTo>
                    <a:pt x="117" y="237"/>
                  </a:lnTo>
                  <a:lnTo>
                    <a:pt x="116" y="237"/>
                  </a:lnTo>
                  <a:lnTo>
                    <a:pt x="115" y="237"/>
                  </a:lnTo>
                  <a:lnTo>
                    <a:pt x="114" y="237"/>
                  </a:lnTo>
                  <a:lnTo>
                    <a:pt x="111" y="238"/>
                  </a:lnTo>
                  <a:lnTo>
                    <a:pt x="107" y="239"/>
                  </a:lnTo>
                  <a:lnTo>
                    <a:pt x="107" y="238"/>
                  </a:lnTo>
                  <a:lnTo>
                    <a:pt x="106" y="238"/>
                  </a:lnTo>
                  <a:lnTo>
                    <a:pt x="105" y="238"/>
                  </a:lnTo>
                  <a:lnTo>
                    <a:pt x="106" y="238"/>
                  </a:lnTo>
                  <a:lnTo>
                    <a:pt x="107" y="238"/>
                  </a:lnTo>
                  <a:lnTo>
                    <a:pt x="108" y="238"/>
                  </a:lnTo>
                  <a:lnTo>
                    <a:pt x="107" y="237"/>
                  </a:lnTo>
                  <a:lnTo>
                    <a:pt x="106" y="237"/>
                  </a:lnTo>
                  <a:lnTo>
                    <a:pt x="105" y="238"/>
                  </a:lnTo>
                  <a:lnTo>
                    <a:pt x="105" y="237"/>
                  </a:lnTo>
                  <a:lnTo>
                    <a:pt x="104" y="237"/>
                  </a:lnTo>
                  <a:lnTo>
                    <a:pt x="105" y="237"/>
                  </a:lnTo>
                  <a:lnTo>
                    <a:pt x="106" y="237"/>
                  </a:lnTo>
                  <a:lnTo>
                    <a:pt x="108" y="237"/>
                  </a:lnTo>
                  <a:lnTo>
                    <a:pt x="109" y="237"/>
                  </a:lnTo>
                  <a:lnTo>
                    <a:pt x="111" y="237"/>
                  </a:lnTo>
                  <a:lnTo>
                    <a:pt x="112" y="237"/>
                  </a:lnTo>
                  <a:lnTo>
                    <a:pt x="113" y="237"/>
                  </a:lnTo>
                  <a:lnTo>
                    <a:pt x="114" y="237"/>
                  </a:lnTo>
                  <a:lnTo>
                    <a:pt x="114" y="236"/>
                  </a:lnTo>
                  <a:lnTo>
                    <a:pt x="113" y="236"/>
                  </a:lnTo>
                  <a:lnTo>
                    <a:pt x="112" y="236"/>
                  </a:lnTo>
                  <a:lnTo>
                    <a:pt x="113" y="236"/>
                  </a:lnTo>
                  <a:lnTo>
                    <a:pt x="114" y="236"/>
                  </a:lnTo>
                  <a:lnTo>
                    <a:pt x="114" y="235"/>
                  </a:lnTo>
                  <a:lnTo>
                    <a:pt x="115" y="235"/>
                  </a:lnTo>
                  <a:lnTo>
                    <a:pt x="115" y="233"/>
                  </a:lnTo>
                  <a:lnTo>
                    <a:pt x="116" y="233"/>
                  </a:lnTo>
                  <a:lnTo>
                    <a:pt x="116" y="235"/>
                  </a:lnTo>
                  <a:lnTo>
                    <a:pt x="117" y="235"/>
                  </a:lnTo>
                  <a:lnTo>
                    <a:pt x="116" y="235"/>
                  </a:lnTo>
                  <a:lnTo>
                    <a:pt x="117" y="233"/>
                  </a:lnTo>
                  <a:lnTo>
                    <a:pt x="119" y="235"/>
                  </a:lnTo>
                  <a:lnTo>
                    <a:pt x="120" y="235"/>
                  </a:lnTo>
                  <a:lnTo>
                    <a:pt x="121" y="235"/>
                  </a:lnTo>
                  <a:lnTo>
                    <a:pt x="122" y="235"/>
                  </a:lnTo>
                  <a:lnTo>
                    <a:pt x="122" y="233"/>
                  </a:lnTo>
                  <a:lnTo>
                    <a:pt x="121" y="233"/>
                  </a:lnTo>
                  <a:lnTo>
                    <a:pt x="120" y="233"/>
                  </a:lnTo>
                  <a:lnTo>
                    <a:pt x="120" y="235"/>
                  </a:lnTo>
                  <a:lnTo>
                    <a:pt x="120" y="233"/>
                  </a:lnTo>
                  <a:lnTo>
                    <a:pt x="117" y="233"/>
                  </a:lnTo>
                  <a:lnTo>
                    <a:pt x="119" y="232"/>
                  </a:lnTo>
                  <a:lnTo>
                    <a:pt x="120" y="232"/>
                  </a:lnTo>
                  <a:lnTo>
                    <a:pt x="119" y="232"/>
                  </a:lnTo>
                  <a:lnTo>
                    <a:pt x="117" y="232"/>
                  </a:lnTo>
                  <a:lnTo>
                    <a:pt x="119" y="232"/>
                  </a:lnTo>
                  <a:lnTo>
                    <a:pt x="117" y="232"/>
                  </a:lnTo>
                  <a:lnTo>
                    <a:pt x="117" y="231"/>
                  </a:lnTo>
                  <a:lnTo>
                    <a:pt x="116" y="231"/>
                  </a:lnTo>
                  <a:lnTo>
                    <a:pt x="115" y="232"/>
                  </a:lnTo>
                  <a:lnTo>
                    <a:pt x="115" y="231"/>
                  </a:lnTo>
                  <a:lnTo>
                    <a:pt x="116" y="231"/>
                  </a:lnTo>
                  <a:lnTo>
                    <a:pt x="117" y="231"/>
                  </a:lnTo>
                  <a:lnTo>
                    <a:pt x="119" y="231"/>
                  </a:lnTo>
                  <a:lnTo>
                    <a:pt x="120" y="231"/>
                  </a:lnTo>
                  <a:lnTo>
                    <a:pt x="121" y="231"/>
                  </a:lnTo>
                  <a:lnTo>
                    <a:pt x="120" y="230"/>
                  </a:lnTo>
                  <a:lnTo>
                    <a:pt x="120" y="231"/>
                  </a:lnTo>
                  <a:lnTo>
                    <a:pt x="119" y="231"/>
                  </a:lnTo>
                  <a:lnTo>
                    <a:pt x="119" y="230"/>
                  </a:lnTo>
                  <a:lnTo>
                    <a:pt x="121" y="230"/>
                  </a:lnTo>
                  <a:lnTo>
                    <a:pt x="122" y="230"/>
                  </a:lnTo>
                  <a:lnTo>
                    <a:pt x="122" y="231"/>
                  </a:lnTo>
                  <a:lnTo>
                    <a:pt x="122" y="232"/>
                  </a:lnTo>
                  <a:lnTo>
                    <a:pt x="123" y="233"/>
                  </a:lnTo>
                  <a:lnTo>
                    <a:pt x="124" y="233"/>
                  </a:lnTo>
                  <a:lnTo>
                    <a:pt x="124" y="235"/>
                  </a:lnTo>
                  <a:lnTo>
                    <a:pt x="126" y="235"/>
                  </a:lnTo>
                  <a:lnTo>
                    <a:pt x="127" y="235"/>
                  </a:lnTo>
                  <a:lnTo>
                    <a:pt x="128" y="236"/>
                  </a:lnTo>
                  <a:lnTo>
                    <a:pt x="128" y="235"/>
                  </a:lnTo>
                  <a:lnTo>
                    <a:pt x="127" y="233"/>
                  </a:lnTo>
                  <a:lnTo>
                    <a:pt x="126" y="233"/>
                  </a:lnTo>
                  <a:lnTo>
                    <a:pt x="124" y="233"/>
                  </a:lnTo>
                  <a:lnTo>
                    <a:pt x="124" y="232"/>
                  </a:lnTo>
                  <a:lnTo>
                    <a:pt x="124" y="231"/>
                  </a:lnTo>
                  <a:lnTo>
                    <a:pt x="126" y="230"/>
                  </a:lnTo>
                  <a:lnTo>
                    <a:pt x="124" y="230"/>
                  </a:lnTo>
                  <a:lnTo>
                    <a:pt x="123" y="230"/>
                  </a:lnTo>
                  <a:lnTo>
                    <a:pt x="124" y="230"/>
                  </a:lnTo>
                  <a:lnTo>
                    <a:pt x="124" y="229"/>
                  </a:lnTo>
                  <a:lnTo>
                    <a:pt x="127" y="228"/>
                  </a:lnTo>
                  <a:lnTo>
                    <a:pt x="126" y="228"/>
                  </a:lnTo>
                  <a:lnTo>
                    <a:pt x="124" y="229"/>
                  </a:lnTo>
                  <a:lnTo>
                    <a:pt x="123" y="229"/>
                  </a:lnTo>
                  <a:lnTo>
                    <a:pt x="123" y="230"/>
                  </a:lnTo>
                  <a:lnTo>
                    <a:pt x="122" y="230"/>
                  </a:lnTo>
                  <a:lnTo>
                    <a:pt x="122" y="229"/>
                  </a:lnTo>
                  <a:lnTo>
                    <a:pt x="121" y="229"/>
                  </a:lnTo>
                  <a:lnTo>
                    <a:pt x="120" y="229"/>
                  </a:lnTo>
                  <a:lnTo>
                    <a:pt x="120" y="228"/>
                  </a:lnTo>
                  <a:lnTo>
                    <a:pt x="120" y="226"/>
                  </a:lnTo>
                  <a:lnTo>
                    <a:pt x="120" y="225"/>
                  </a:lnTo>
                  <a:lnTo>
                    <a:pt x="120" y="224"/>
                  </a:lnTo>
                  <a:lnTo>
                    <a:pt x="121" y="224"/>
                  </a:lnTo>
                  <a:lnTo>
                    <a:pt x="121" y="223"/>
                  </a:lnTo>
                  <a:lnTo>
                    <a:pt x="119" y="224"/>
                  </a:lnTo>
                  <a:lnTo>
                    <a:pt x="119" y="223"/>
                  </a:lnTo>
                  <a:lnTo>
                    <a:pt x="119" y="224"/>
                  </a:lnTo>
                  <a:lnTo>
                    <a:pt x="117" y="225"/>
                  </a:lnTo>
                  <a:lnTo>
                    <a:pt x="119" y="225"/>
                  </a:lnTo>
                  <a:lnTo>
                    <a:pt x="119" y="226"/>
                  </a:lnTo>
                  <a:lnTo>
                    <a:pt x="117" y="226"/>
                  </a:lnTo>
                  <a:lnTo>
                    <a:pt x="119" y="226"/>
                  </a:lnTo>
                  <a:lnTo>
                    <a:pt x="120" y="226"/>
                  </a:lnTo>
                  <a:lnTo>
                    <a:pt x="119" y="226"/>
                  </a:lnTo>
                  <a:lnTo>
                    <a:pt x="120" y="226"/>
                  </a:lnTo>
                  <a:lnTo>
                    <a:pt x="120" y="228"/>
                  </a:lnTo>
                  <a:lnTo>
                    <a:pt x="119" y="228"/>
                  </a:lnTo>
                  <a:lnTo>
                    <a:pt x="120" y="228"/>
                  </a:lnTo>
                  <a:lnTo>
                    <a:pt x="120" y="229"/>
                  </a:lnTo>
                  <a:lnTo>
                    <a:pt x="119" y="229"/>
                  </a:lnTo>
                  <a:lnTo>
                    <a:pt x="120" y="229"/>
                  </a:lnTo>
                  <a:lnTo>
                    <a:pt x="119" y="230"/>
                  </a:lnTo>
                  <a:lnTo>
                    <a:pt x="119" y="229"/>
                  </a:lnTo>
                  <a:lnTo>
                    <a:pt x="116" y="230"/>
                  </a:lnTo>
                  <a:lnTo>
                    <a:pt x="114" y="231"/>
                  </a:lnTo>
                  <a:lnTo>
                    <a:pt x="115" y="231"/>
                  </a:lnTo>
                  <a:lnTo>
                    <a:pt x="114" y="231"/>
                  </a:lnTo>
                  <a:lnTo>
                    <a:pt x="113" y="231"/>
                  </a:lnTo>
                  <a:lnTo>
                    <a:pt x="113" y="230"/>
                  </a:lnTo>
                  <a:lnTo>
                    <a:pt x="114" y="230"/>
                  </a:lnTo>
                  <a:lnTo>
                    <a:pt x="115" y="230"/>
                  </a:lnTo>
                  <a:lnTo>
                    <a:pt x="115" y="229"/>
                  </a:lnTo>
                  <a:lnTo>
                    <a:pt x="114" y="229"/>
                  </a:lnTo>
                  <a:lnTo>
                    <a:pt x="113" y="229"/>
                  </a:lnTo>
                  <a:lnTo>
                    <a:pt x="113" y="230"/>
                  </a:lnTo>
                  <a:lnTo>
                    <a:pt x="112" y="230"/>
                  </a:lnTo>
                  <a:lnTo>
                    <a:pt x="112" y="231"/>
                  </a:lnTo>
                  <a:lnTo>
                    <a:pt x="111" y="231"/>
                  </a:lnTo>
                  <a:lnTo>
                    <a:pt x="109" y="232"/>
                  </a:lnTo>
                  <a:lnTo>
                    <a:pt x="109" y="233"/>
                  </a:lnTo>
                  <a:lnTo>
                    <a:pt x="108" y="233"/>
                  </a:lnTo>
                  <a:lnTo>
                    <a:pt x="107" y="233"/>
                  </a:lnTo>
                  <a:lnTo>
                    <a:pt x="107" y="235"/>
                  </a:lnTo>
                  <a:lnTo>
                    <a:pt x="106" y="235"/>
                  </a:lnTo>
                  <a:lnTo>
                    <a:pt x="106" y="236"/>
                  </a:lnTo>
                  <a:lnTo>
                    <a:pt x="105" y="236"/>
                  </a:lnTo>
                  <a:lnTo>
                    <a:pt x="105" y="237"/>
                  </a:lnTo>
                  <a:lnTo>
                    <a:pt x="104" y="237"/>
                  </a:lnTo>
                  <a:lnTo>
                    <a:pt x="102" y="237"/>
                  </a:lnTo>
                  <a:lnTo>
                    <a:pt x="101" y="237"/>
                  </a:lnTo>
                  <a:lnTo>
                    <a:pt x="100" y="237"/>
                  </a:lnTo>
                  <a:lnTo>
                    <a:pt x="100" y="236"/>
                  </a:lnTo>
                  <a:lnTo>
                    <a:pt x="101" y="236"/>
                  </a:lnTo>
                  <a:lnTo>
                    <a:pt x="101" y="235"/>
                  </a:lnTo>
                  <a:lnTo>
                    <a:pt x="101" y="233"/>
                  </a:lnTo>
                  <a:lnTo>
                    <a:pt x="102" y="233"/>
                  </a:lnTo>
                  <a:lnTo>
                    <a:pt x="102" y="232"/>
                  </a:lnTo>
                  <a:lnTo>
                    <a:pt x="104" y="232"/>
                  </a:lnTo>
                  <a:lnTo>
                    <a:pt x="104" y="231"/>
                  </a:lnTo>
                  <a:lnTo>
                    <a:pt x="104" y="232"/>
                  </a:lnTo>
                  <a:lnTo>
                    <a:pt x="102" y="232"/>
                  </a:lnTo>
                  <a:lnTo>
                    <a:pt x="102" y="231"/>
                  </a:lnTo>
                  <a:lnTo>
                    <a:pt x="104" y="231"/>
                  </a:lnTo>
                  <a:lnTo>
                    <a:pt x="102" y="231"/>
                  </a:lnTo>
                  <a:lnTo>
                    <a:pt x="102" y="230"/>
                  </a:lnTo>
                  <a:lnTo>
                    <a:pt x="104" y="230"/>
                  </a:lnTo>
                  <a:lnTo>
                    <a:pt x="105" y="230"/>
                  </a:lnTo>
                  <a:lnTo>
                    <a:pt x="106" y="229"/>
                  </a:lnTo>
                  <a:lnTo>
                    <a:pt x="107" y="229"/>
                  </a:lnTo>
                  <a:lnTo>
                    <a:pt x="108" y="228"/>
                  </a:lnTo>
                  <a:lnTo>
                    <a:pt x="109" y="228"/>
                  </a:lnTo>
                  <a:lnTo>
                    <a:pt x="111" y="228"/>
                  </a:lnTo>
                  <a:lnTo>
                    <a:pt x="112" y="228"/>
                  </a:lnTo>
                  <a:lnTo>
                    <a:pt x="112" y="226"/>
                  </a:lnTo>
                  <a:lnTo>
                    <a:pt x="113" y="226"/>
                  </a:lnTo>
                  <a:lnTo>
                    <a:pt x="114" y="226"/>
                  </a:lnTo>
                  <a:lnTo>
                    <a:pt x="114" y="225"/>
                  </a:lnTo>
                  <a:lnTo>
                    <a:pt x="114" y="226"/>
                  </a:lnTo>
                  <a:lnTo>
                    <a:pt x="113" y="226"/>
                  </a:lnTo>
                  <a:lnTo>
                    <a:pt x="113" y="225"/>
                  </a:lnTo>
                  <a:lnTo>
                    <a:pt x="113" y="226"/>
                  </a:lnTo>
                  <a:lnTo>
                    <a:pt x="112" y="226"/>
                  </a:lnTo>
                  <a:lnTo>
                    <a:pt x="113" y="226"/>
                  </a:lnTo>
                  <a:lnTo>
                    <a:pt x="112" y="226"/>
                  </a:lnTo>
                  <a:lnTo>
                    <a:pt x="111" y="228"/>
                  </a:lnTo>
                  <a:lnTo>
                    <a:pt x="109" y="228"/>
                  </a:lnTo>
                  <a:lnTo>
                    <a:pt x="108" y="228"/>
                  </a:lnTo>
                  <a:lnTo>
                    <a:pt x="109" y="228"/>
                  </a:lnTo>
                  <a:lnTo>
                    <a:pt x="109" y="226"/>
                  </a:lnTo>
                  <a:lnTo>
                    <a:pt x="111" y="226"/>
                  </a:lnTo>
                  <a:lnTo>
                    <a:pt x="111" y="225"/>
                  </a:lnTo>
                  <a:lnTo>
                    <a:pt x="109" y="225"/>
                  </a:lnTo>
                  <a:lnTo>
                    <a:pt x="109" y="226"/>
                  </a:lnTo>
                  <a:lnTo>
                    <a:pt x="108" y="226"/>
                  </a:lnTo>
                  <a:lnTo>
                    <a:pt x="107" y="228"/>
                  </a:lnTo>
                  <a:lnTo>
                    <a:pt x="108" y="228"/>
                  </a:lnTo>
                  <a:lnTo>
                    <a:pt x="107" y="228"/>
                  </a:lnTo>
                  <a:lnTo>
                    <a:pt x="108" y="228"/>
                  </a:lnTo>
                  <a:lnTo>
                    <a:pt x="107" y="228"/>
                  </a:lnTo>
                  <a:lnTo>
                    <a:pt x="107" y="229"/>
                  </a:lnTo>
                  <a:lnTo>
                    <a:pt x="106" y="229"/>
                  </a:lnTo>
                  <a:lnTo>
                    <a:pt x="105" y="229"/>
                  </a:lnTo>
                  <a:lnTo>
                    <a:pt x="104" y="229"/>
                  </a:lnTo>
                  <a:lnTo>
                    <a:pt x="105" y="229"/>
                  </a:lnTo>
                  <a:lnTo>
                    <a:pt x="106" y="229"/>
                  </a:lnTo>
                  <a:lnTo>
                    <a:pt x="106" y="228"/>
                  </a:lnTo>
                  <a:lnTo>
                    <a:pt x="105" y="228"/>
                  </a:lnTo>
                  <a:lnTo>
                    <a:pt x="104" y="229"/>
                  </a:lnTo>
                  <a:lnTo>
                    <a:pt x="102" y="229"/>
                  </a:lnTo>
                  <a:lnTo>
                    <a:pt x="104" y="229"/>
                  </a:lnTo>
                  <a:lnTo>
                    <a:pt x="104" y="228"/>
                  </a:lnTo>
                  <a:lnTo>
                    <a:pt x="105" y="226"/>
                  </a:lnTo>
                  <a:lnTo>
                    <a:pt x="106" y="226"/>
                  </a:lnTo>
                  <a:lnTo>
                    <a:pt x="105" y="226"/>
                  </a:lnTo>
                  <a:lnTo>
                    <a:pt x="106" y="226"/>
                  </a:lnTo>
                  <a:lnTo>
                    <a:pt x="106" y="225"/>
                  </a:lnTo>
                  <a:lnTo>
                    <a:pt x="105" y="225"/>
                  </a:lnTo>
                  <a:lnTo>
                    <a:pt x="105" y="226"/>
                  </a:lnTo>
                  <a:lnTo>
                    <a:pt x="105" y="225"/>
                  </a:lnTo>
                  <a:lnTo>
                    <a:pt x="104" y="225"/>
                  </a:lnTo>
                  <a:lnTo>
                    <a:pt x="104" y="224"/>
                  </a:lnTo>
                  <a:lnTo>
                    <a:pt x="105" y="224"/>
                  </a:lnTo>
                  <a:lnTo>
                    <a:pt x="106" y="224"/>
                  </a:lnTo>
                  <a:lnTo>
                    <a:pt x="105" y="224"/>
                  </a:lnTo>
                  <a:lnTo>
                    <a:pt x="105" y="223"/>
                  </a:lnTo>
                  <a:lnTo>
                    <a:pt x="106" y="223"/>
                  </a:lnTo>
                  <a:lnTo>
                    <a:pt x="107" y="222"/>
                  </a:lnTo>
                  <a:lnTo>
                    <a:pt x="108" y="222"/>
                  </a:lnTo>
                  <a:lnTo>
                    <a:pt x="107" y="222"/>
                  </a:lnTo>
                  <a:lnTo>
                    <a:pt x="106" y="223"/>
                  </a:lnTo>
                  <a:lnTo>
                    <a:pt x="105" y="223"/>
                  </a:lnTo>
                  <a:lnTo>
                    <a:pt x="106" y="223"/>
                  </a:lnTo>
                  <a:lnTo>
                    <a:pt x="106" y="222"/>
                  </a:lnTo>
                  <a:lnTo>
                    <a:pt x="105" y="222"/>
                  </a:lnTo>
                  <a:lnTo>
                    <a:pt x="104" y="222"/>
                  </a:lnTo>
                  <a:lnTo>
                    <a:pt x="104" y="223"/>
                  </a:lnTo>
                  <a:lnTo>
                    <a:pt x="102" y="223"/>
                  </a:lnTo>
                  <a:lnTo>
                    <a:pt x="101" y="223"/>
                  </a:lnTo>
                  <a:lnTo>
                    <a:pt x="102" y="223"/>
                  </a:lnTo>
                  <a:lnTo>
                    <a:pt x="102" y="222"/>
                  </a:lnTo>
                  <a:lnTo>
                    <a:pt x="104" y="222"/>
                  </a:lnTo>
                  <a:lnTo>
                    <a:pt x="102" y="222"/>
                  </a:lnTo>
                  <a:lnTo>
                    <a:pt x="102" y="221"/>
                  </a:lnTo>
                  <a:lnTo>
                    <a:pt x="104" y="221"/>
                  </a:lnTo>
                  <a:lnTo>
                    <a:pt x="105" y="221"/>
                  </a:lnTo>
                  <a:lnTo>
                    <a:pt x="106" y="221"/>
                  </a:lnTo>
                  <a:lnTo>
                    <a:pt x="107" y="219"/>
                  </a:lnTo>
                  <a:lnTo>
                    <a:pt x="108" y="219"/>
                  </a:lnTo>
                  <a:lnTo>
                    <a:pt x="109" y="219"/>
                  </a:lnTo>
                  <a:lnTo>
                    <a:pt x="109" y="218"/>
                  </a:lnTo>
                  <a:lnTo>
                    <a:pt x="111" y="218"/>
                  </a:lnTo>
                  <a:lnTo>
                    <a:pt x="112" y="218"/>
                  </a:lnTo>
                  <a:lnTo>
                    <a:pt x="113" y="218"/>
                  </a:lnTo>
                  <a:lnTo>
                    <a:pt x="112" y="217"/>
                  </a:lnTo>
                  <a:lnTo>
                    <a:pt x="111" y="217"/>
                  </a:lnTo>
                  <a:lnTo>
                    <a:pt x="112" y="217"/>
                  </a:lnTo>
                  <a:lnTo>
                    <a:pt x="113" y="217"/>
                  </a:lnTo>
                  <a:lnTo>
                    <a:pt x="113" y="216"/>
                  </a:lnTo>
                  <a:lnTo>
                    <a:pt x="114" y="216"/>
                  </a:lnTo>
                  <a:lnTo>
                    <a:pt x="116" y="216"/>
                  </a:lnTo>
                  <a:lnTo>
                    <a:pt x="120" y="216"/>
                  </a:lnTo>
                  <a:lnTo>
                    <a:pt x="121" y="216"/>
                  </a:lnTo>
                  <a:lnTo>
                    <a:pt x="122" y="216"/>
                  </a:lnTo>
                  <a:lnTo>
                    <a:pt x="123" y="216"/>
                  </a:lnTo>
                  <a:lnTo>
                    <a:pt x="123" y="217"/>
                  </a:lnTo>
                  <a:lnTo>
                    <a:pt x="124" y="217"/>
                  </a:lnTo>
                  <a:lnTo>
                    <a:pt x="126" y="216"/>
                  </a:lnTo>
                  <a:lnTo>
                    <a:pt x="124" y="216"/>
                  </a:lnTo>
                  <a:lnTo>
                    <a:pt x="123" y="216"/>
                  </a:lnTo>
                  <a:lnTo>
                    <a:pt x="124" y="216"/>
                  </a:lnTo>
                  <a:lnTo>
                    <a:pt x="123" y="216"/>
                  </a:lnTo>
                  <a:lnTo>
                    <a:pt x="122" y="216"/>
                  </a:lnTo>
                  <a:lnTo>
                    <a:pt x="122" y="215"/>
                  </a:lnTo>
                  <a:lnTo>
                    <a:pt x="121" y="215"/>
                  </a:lnTo>
                  <a:lnTo>
                    <a:pt x="119" y="215"/>
                  </a:lnTo>
                  <a:lnTo>
                    <a:pt x="116" y="215"/>
                  </a:lnTo>
                  <a:lnTo>
                    <a:pt x="111" y="217"/>
                  </a:lnTo>
                  <a:lnTo>
                    <a:pt x="111" y="218"/>
                  </a:lnTo>
                  <a:lnTo>
                    <a:pt x="109" y="218"/>
                  </a:lnTo>
                  <a:lnTo>
                    <a:pt x="108" y="219"/>
                  </a:lnTo>
                  <a:lnTo>
                    <a:pt x="107" y="219"/>
                  </a:lnTo>
                  <a:lnTo>
                    <a:pt x="106" y="219"/>
                  </a:lnTo>
                  <a:lnTo>
                    <a:pt x="105" y="219"/>
                  </a:lnTo>
                  <a:lnTo>
                    <a:pt x="104" y="221"/>
                  </a:lnTo>
                  <a:lnTo>
                    <a:pt x="104" y="219"/>
                  </a:lnTo>
                  <a:lnTo>
                    <a:pt x="105" y="219"/>
                  </a:lnTo>
                  <a:lnTo>
                    <a:pt x="105" y="218"/>
                  </a:lnTo>
                  <a:lnTo>
                    <a:pt x="104" y="219"/>
                  </a:lnTo>
                  <a:lnTo>
                    <a:pt x="102" y="219"/>
                  </a:lnTo>
                  <a:lnTo>
                    <a:pt x="104" y="219"/>
                  </a:lnTo>
                  <a:lnTo>
                    <a:pt x="104" y="218"/>
                  </a:lnTo>
                  <a:lnTo>
                    <a:pt x="102" y="218"/>
                  </a:lnTo>
                  <a:lnTo>
                    <a:pt x="104" y="218"/>
                  </a:lnTo>
                  <a:lnTo>
                    <a:pt x="105" y="218"/>
                  </a:lnTo>
                  <a:lnTo>
                    <a:pt x="105" y="217"/>
                  </a:lnTo>
                  <a:lnTo>
                    <a:pt x="104" y="217"/>
                  </a:lnTo>
                  <a:lnTo>
                    <a:pt x="104" y="218"/>
                  </a:lnTo>
                  <a:lnTo>
                    <a:pt x="102" y="218"/>
                  </a:lnTo>
                  <a:lnTo>
                    <a:pt x="102" y="219"/>
                  </a:lnTo>
                  <a:lnTo>
                    <a:pt x="101" y="219"/>
                  </a:lnTo>
                  <a:lnTo>
                    <a:pt x="101" y="218"/>
                  </a:lnTo>
                  <a:lnTo>
                    <a:pt x="102" y="218"/>
                  </a:lnTo>
                  <a:lnTo>
                    <a:pt x="102" y="217"/>
                  </a:lnTo>
                  <a:lnTo>
                    <a:pt x="101" y="218"/>
                  </a:lnTo>
                  <a:lnTo>
                    <a:pt x="101" y="217"/>
                  </a:lnTo>
                  <a:lnTo>
                    <a:pt x="104" y="217"/>
                  </a:lnTo>
                  <a:lnTo>
                    <a:pt x="105" y="217"/>
                  </a:lnTo>
                  <a:lnTo>
                    <a:pt x="105" y="216"/>
                  </a:lnTo>
                  <a:lnTo>
                    <a:pt x="104" y="217"/>
                  </a:lnTo>
                  <a:lnTo>
                    <a:pt x="102" y="217"/>
                  </a:lnTo>
                  <a:lnTo>
                    <a:pt x="102" y="216"/>
                  </a:lnTo>
                  <a:lnTo>
                    <a:pt x="104" y="216"/>
                  </a:lnTo>
                  <a:lnTo>
                    <a:pt x="104" y="215"/>
                  </a:lnTo>
                  <a:lnTo>
                    <a:pt x="102" y="216"/>
                  </a:lnTo>
                  <a:lnTo>
                    <a:pt x="101" y="217"/>
                  </a:lnTo>
                  <a:lnTo>
                    <a:pt x="101" y="216"/>
                  </a:lnTo>
                  <a:lnTo>
                    <a:pt x="100" y="217"/>
                  </a:lnTo>
                  <a:lnTo>
                    <a:pt x="98" y="217"/>
                  </a:lnTo>
                  <a:lnTo>
                    <a:pt x="98" y="216"/>
                  </a:lnTo>
                  <a:lnTo>
                    <a:pt x="99" y="216"/>
                  </a:lnTo>
                  <a:lnTo>
                    <a:pt x="100" y="216"/>
                  </a:lnTo>
                  <a:lnTo>
                    <a:pt x="101" y="215"/>
                  </a:lnTo>
                  <a:lnTo>
                    <a:pt x="102" y="215"/>
                  </a:lnTo>
                  <a:lnTo>
                    <a:pt x="101" y="215"/>
                  </a:lnTo>
                  <a:lnTo>
                    <a:pt x="100" y="215"/>
                  </a:lnTo>
                  <a:lnTo>
                    <a:pt x="99" y="216"/>
                  </a:lnTo>
                  <a:lnTo>
                    <a:pt x="98" y="216"/>
                  </a:lnTo>
                  <a:lnTo>
                    <a:pt x="99" y="215"/>
                  </a:lnTo>
                  <a:lnTo>
                    <a:pt x="100" y="215"/>
                  </a:lnTo>
                  <a:lnTo>
                    <a:pt x="100" y="214"/>
                  </a:lnTo>
                  <a:lnTo>
                    <a:pt x="101" y="214"/>
                  </a:lnTo>
                  <a:lnTo>
                    <a:pt x="102" y="214"/>
                  </a:lnTo>
                  <a:lnTo>
                    <a:pt x="104" y="214"/>
                  </a:lnTo>
                  <a:lnTo>
                    <a:pt x="105" y="212"/>
                  </a:lnTo>
                  <a:lnTo>
                    <a:pt x="105" y="214"/>
                  </a:lnTo>
                  <a:lnTo>
                    <a:pt x="106" y="214"/>
                  </a:lnTo>
                  <a:lnTo>
                    <a:pt x="107" y="214"/>
                  </a:lnTo>
                  <a:lnTo>
                    <a:pt x="108" y="214"/>
                  </a:lnTo>
                  <a:lnTo>
                    <a:pt x="108" y="215"/>
                  </a:lnTo>
                  <a:lnTo>
                    <a:pt x="108" y="214"/>
                  </a:lnTo>
                  <a:lnTo>
                    <a:pt x="109" y="214"/>
                  </a:lnTo>
                  <a:lnTo>
                    <a:pt x="108" y="214"/>
                  </a:lnTo>
                  <a:lnTo>
                    <a:pt x="109" y="214"/>
                  </a:lnTo>
                  <a:lnTo>
                    <a:pt x="109" y="212"/>
                  </a:lnTo>
                  <a:lnTo>
                    <a:pt x="113" y="212"/>
                  </a:lnTo>
                  <a:lnTo>
                    <a:pt x="114" y="212"/>
                  </a:lnTo>
                  <a:lnTo>
                    <a:pt x="114" y="214"/>
                  </a:lnTo>
                  <a:lnTo>
                    <a:pt x="115" y="212"/>
                  </a:lnTo>
                  <a:lnTo>
                    <a:pt x="114" y="212"/>
                  </a:lnTo>
                  <a:lnTo>
                    <a:pt x="114" y="211"/>
                  </a:lnTo>
                  <a:lnTo>
                    <a:pt x="115" y="211"/>
                  </a:lnTo>
                  <a:lnTo>
                    <a:pt x="112" y="212"/>
                  </a:lnTo>
                  <a:lnTo>
                    <a:pt x="111" y="212"/>
                  </a:lnTo>
                  <a:lnTo>
                    <a:pt x="109" y="212"/>
                  </a:lnTo>
                  <a:lnTo>
                    <a:pt x="108" y="214"/>
                  </a:lnTo>
                  <a:lnTo>
                    <a:pt x="106" y="214"/>
                  </a:lnTo>
                  <a:lnTo>
                    <a:pt x="106" y="212"/>
                  </a:lnTo>
                  <a:lnTo>
                    <a:pt x="107" y="212"/>
                  </a:lnTo>
                  <a:lnTo>
                    <a:pt x="106" y="212"/>
                  </a:lnTo>
                  <a:lnTo>
                    <a:pt x="105" y="212"/>
                  </a:lnTo>
                  <a:lnTo>
                    <a:pt x="104" y="212"/>
                  </a:lnTo>
                  <a:lnTo>
                    <a:pt x="102" y="214"/>
                  </a:lnTo>
                  <a:lnTo>
                    <a:pt x="101" y="214"/>
                  </a:lnTo>
                  <a:lnTo>
                    <a:pt x="99" y="214"/>
                  </a:lnTo>
                  <a:lnTo>
                    <a:pt x="98" y="214"/>
                  </a:lnTo>
                  <a:lnTo>
                    <a:pt x="99" y="214"/>
                  </a:lnTo>
                  <a:lnTo>
                    <a:pt x="100" y="212"/>
                  </a:lnTo>
                  <a:lnTo>
                    <a:pt x="104" y="211"/>
                  </a:lnTo>
                  <a:lnTo>
                    <a:pt x="102" y="211"/>
                  </a:lnTo>
                  <a:lnTo>
                    <a:pt x="101" y="212"/>
                  </a:lnTo>
                  <a:lnTo>
                    <a:pt x="100" y="212"/>
                  </a:lnTo>
                  <a:lnTo>
                    <a:pt x="99" y="212"/>
                  </a:lnTo>
                  <a:lnTo>
                    <a:pt x="98" y="212"/>
                  </a:lnTo>
                  <a:lnTo>
                    <a:pt x="98" y="214"/>
                  </a:lnTo>
                  <a:lnTo>
                    <a:pt x="97" y="214"/>
                  </a:lnTo>
                  <a:lnTo>
                    <a:pt x="97" y="212"/>
                  </a:lnTo>
                  <a:lnTo>
                    <a:pt x="98" y="212"/>
                  </a:lnTo>
                  <a:lnTo>
                    <a:pt x="99" y="212"/>
                  </a:lnTo>
                  <a:lnTo>
                    <a:pt x="100" y="211"/>
                  </a:lnTo>
                  <a:lnTo>
                    <a:pt x="99" y="212"/>
                  </a:lnTo>
                  <a:lnTo>
                    <a:pt x="99" y="211"/>
                  </a:lnTo>
                  <a:lnTo>
                    <a:pt x="98" y="211"/>
                  </a:lnTo>
                  <a:lnTo>
                    <a:pt x="97" y="211"/>
                  </a:lnTo>
                  <a:lnTo>
                    <a:pt x="98" y="211"/>
                  </a:lnTo>
                  <a:lnTo>
                    <a:pt x="101" y="210"/>
                  </a:lnTo>
                  <a:lnTo>
                    <a:pt x="102" y="210"/>
                  </a:lnTo>
                  <a:lnTo>
                    <a:pt x="106" y="209"/>
                  </a:lnTo>
                  <a:lnTo>
                    <a:pt x="106" y="208"/>
                  </a:lnTo>
                  <a:lnTo>
                    <a:pt x="107" y="208"/>
                  </a:lnTo>
                  <a:lnTo>
                    <a:pt x="109" y="207"/>
                  </a:lnTo>
                  <a:lnTo>
                    <a:pt x="111" y="207"/>
                  </a:lnTo>
                  <a:lnTo>
                    <a:pt x="112" y="205"/>
                  </a:lnTo>
                  <a:lnTo>
                    <a:pt x="114" y="205"/>
                  </a:lnTo>
                  <a:lnTo>
                    <a:pt x="115" y="205"/>
                  </a:lnTo>
                  <a:lnTo>
                    <a:pt x="115" y="204"/>
                  </a:lnTo>
                  <a:lnTo>
                    <a:pt x="116" y="204"/>
                  </a:lnTo>
                  <a:lnTo>
                    <a:pt x="117" y="203"/>
                  </a:lnTo>
                  <a:lnTo>
                    <a:pt x="119" y="203"/>
                  </a:lnTo>
                  <a:lnTo>
                    <a:pt x="120" y="202"/>
                  </a:lnTo>
                  <a:lnTo>
                    <a:pt x="122" y="202"/>
                  </a:lnTo>
                  <a:lnTo>
                    <a:pt x="121" y="202"/>
                  </a:lnTo>
                  <a:lnTo>
                    <a:pt x="122" y="202"/>
                  </a:lnTo>
                  <a:lnTo>
                    <a:pt x="123" y="201"/>
                  </a:lnTo>
                  <a:lnTo>
                    <a:pt x="124" y="201"/>
                  </a:lnTo>
                  <a:lnTo>
                    <a:pt x="126" y="201"/>
                  </a:lnTo>
                  <a:lnTo>
                    <a:pt x="127" y="201"/>
                  </a:lnTo>
                  <a:lnTo>
                    <a:pt x="126" y="201"/>
                  </a:lnTo>
                  <a:lnTo>
                    <a:pt x="127" y="200"/>
                  </a:lnTo>
                  <a:lnTo>
                    <a:pt x="128" y="201"/>
                  </a:lnTo>
                  <a:lnTo>
                    <a:pt x="130" y="201"/>
                  </a:lnTo>
                  <a:lnTo>
                    <a:pt x="131" y="201"/>
                  </a:lnTo>
                  <a:lnTo>
                    <a:pt x="134" y="201"/>
                  </a:lnTo>
                  <a:lnTo>
                    <a:pt x="131" y="201"/>
                  </a:lnTo>
                  <a:lnTo>
                    <a:pt x="131" y="200"/>
                  </a:lnTo>
                  <a:lnTo>
                    <a:pt x="130" y="201"/>
                  </a:lnTo>
                  <a:lnTo>
                    <a:pt x="128" y="200"/>
                  </a:lnTo>
                  <a:lnTo>
                    <a:pt x="129" y="198"/>
                  </a:lnTo>
                  <a:lnTo>
                    <a:pt x="130" y="198"/>
                  </a:lnTo>
                  <a:lnTo>
                    <a:pt x="131" y="198"/>
                  </a:lnTo>
                  <a:lnTo>
                    <a:pt x="133" y="198"/>
                  </a:lnTo>
                  <a:lnTo>
                    <a:pt x="134" y="198"/>
                  </a:lnTo>
                  <a:lnTo>
                    <a:pt x="136" y="198"/>
                  </a:lnTo>
                  <a:lnTo>
                    <a:pt x="137" y="198"/>
                  </a:lnTo>
                  <a:lnTo>
                    <a:pt x="138" y="198"/>
                  </a:lnTo>
                  <a:lnTo>
                    <a:pt x="137" y="198"/>
                  </a:lnTo>
                  <a:lnTo>
                    <a:pt x="136" y="198"/>
                  </a:lnTo>
                  <a:lnTo>
                    <a:pt x="135" y="198"/>
                  </a:lnTo>
                  <a:lnTo>
                    <a:pt x="134" y="198"/>
                  </a:lnTo>
                  <a:lnTo>
                    <a:pt x="133" y="198"/>
                  </a:lnTo>
                  <a:lnTo>
                    <a:pt x="133" y="197"/>
                  </a:lnTo>
                  <a:lnTo>
                    <a:pt x="134" y="198"/>
                  </a:lnTo>
                  <a:lnTo>
                    <a:pt x="136" y="197"/>
                  </a:lnTo>
                  <a:lnTo>
                    <a:pt x="133" y="198"/>
                  </a:lnTo>
                  <a:lnTo>
                    <a:pt x="131" y="198"/>
                  </a:lnTo>
                  <a:lnTo>
                    <a:pt x="130" y="198"/>
                  </a:lnTo>
                  <a:lnTo>
                    <a:pt x="129" y="198"/>
                  </a:lnTo>
                  <a:lnTo>
                    <a:pt x="127" y="200"/>
                  </a:lnTo>
                  <a:lnTo>
                    <a:pt x="126" y="200"/>
                  </a:lnTo>
                  <a:lnTo>
                    <a:pt x="124" y="200"/>
                  </a:lnTo>
                  <a:lnTo>
                    <a:pt x="123" y="201"/>
                  </a:lnTo>
                  <a:lnTo>
                    <a:pt x="122" y="201"/>
                  </a:lnTo>
                  <a:lnTo>
                    <a:pt x="120" y="202"/>
                  </a:lnTo>
                  <a:lnTo>
                    <a:pt x="116" y="203"/>
                  </a:lnTo>
                  <a:lnTo>
                    <a:pt x="115" y="203"/>
                  </a:lnTo>
                  <a:lnTo>
                    <a:pt x="114" y="204"/>
                  </a:lnTo>
                  <a:lnTo>
                    <a:pt x="114" y="205"/>
                  </a:lnTo>
                  <a:lnTo>
                    <a:pt x="112" y="205"/>
                  </a:lnTo>
                  <a:lnTo>
                    <a:pt x="107" y="208"/>
                  </a:lnTo>
                  <a:lnTo>
                    <a:pt x="105" y="209"/>
                  </a:lnTo>
                  <a:lnTo>
                    <a:pt x="102" y="209"/>
                  </a:lnTo>
                  <a:lnTo>
                    <a:pt x="99" y="210"/>
                  </a:lnTo>
                  <a:lnTo>
                    <a:pt x="98" y="211"/>
                  </a:lnTo>
                  <a:lnTo>
                    <a:pt x="97" y="210"/>
                  </a:lnTo>
                  <a:lnTo>
                    <a:pt x="95" y="210"/>
                  </a:lnTo>
                  <a:lnTo>
                    <a:pt x="97" y="210"/>
                  </a:lnTo>
                  <a:lnTo>
                    <a:pt x="98" y="210"/>
                  </a:lnTo>
                  <a:lnTo>
                    <a:pt x="95" y="210"/>
                  </a:lnTo>
                  <a:lnTo>
                    <a:pt x="97" y="210"/>
                  </a:lnTo>
                  <a:lnTo>
                    <a:pt x="97" y="209"/>
                  </a:lnTo>
                  <a:lnTo>
                    <a:pt x="98" y="209"/>
                  </a:lnTo>
                  <a:lnTo>
                    <a:pt x="100" y="209"/>
                  </a:lnTo>
                  <a:lnTo>
                    <a:pt x="102" y="208"/>
                  </a:lnTo>
                  <a:lnTo>
                    <a:pt x="101" y="208"/>
                  </a:lnTo>
                  <a:lnTo>
                    <a:pt x="100" y="208"/>
                  </a:lnTo>
                  <a:lnTo>
                    <a:pt x="99" y="209"/>
                  </a:lnTo>
                  <a:lnTo>
                    <a:pt x="98" y="209"/>
                  </a:lnTo>
                  <a:lnTo>
                    <a:pt x="97" y="209"/>
                  </a:lnTo>
                  <a:lnTo>
                    <a:pt x="97" y="208"/>
                  </a:lnTo>
                  <a:lnTo>
                    <a:pt x="97" y="207"/>
                  </a:lnTo>
                  <a:lnTo>
                    <a:pt x="98" y="207"/>
                  </a:lnTo>
                  <a:lnTo>
                    <a:pt x="99" y="205"/>
                  </a:lnTo>
                  <a:lnTo>
                    <a:pt x="98" y="205"/>
                  </a:lnTo>
                  <a:lnTo>
                    <a:pt x="98" y="207"/>
                  </a:lnTo>
                  <a:lnTo>
                    <a:pt x="98" y="205"/>
                  </a:lnTo>
                  <a:lnTo>
                    <a:pt x="99" y="205"/>
                  </a:lnTo>
                  <a:lnTo>
                    <a:pt x="98" y="205"/>
                  </a:lnTo>
                  <a:lnTo>
                    <a:pt x="99" y="205"/>
                  </a:lnTo>
                  <a:lnTo>
                    <a:pt x="100" y="205"/>
                  </a:lnTo>
                  <a:lnTo>
                    <a:pt x="101" y="204"/>
                  </a:lnTo>
                  <a:lnTo>
                    <a:pt x="101" y="205"/>
                  </a:lnTo>
                  <a:lnTo>
                    <a:pt x="102" y="205"/>
                  </a:lnTo>
                  <a:lnTo>
                    <a:pt x="101" y="205"/>
                  </a:lnTo>
                  <a:lnTo>
                    <a:pt x="102" y="205"/>
                  </a:lnTo>
                  <a:lnTo>
                    <a:pt x="104" y="205"/>
                  </a:lnTo>
                  <a:lnTo>
                    <a:pt x="106" y="204"/>
                  </a:lnTo>
                  <a:lnTo>
                    <a:pt x="107" y="204"/>
                  </a:lnTo>
                  <a:lnTo>
                    <a:pt x="111" y="205"/>
                  </a:lnTo>
                  <a:lnTo>
                    <a:pt x="111" y="204"/>
                  </a:lnTo>
                  <a:lnTo>
                    <a:pt x="109" y="204"/>
                  </a:lnTo>
                  <a:lnTo>
                    <a:pt x="108" y="204"/>
                  </a:lnTo>
                  <a:lnTo>
                    <a:pt x="107" y="204"/>
                  </a:lnTo>
                  <a:lnTo>
                    <a:pt x="105" y="204"/>
                  </a:lnTo>
                  <a:lnTo>
                    <a:pt x="104" y="204"/>
                  </a:lnTo>
                  <a:lnTo>
                    <a:pt x="102" y="204"/>
                  </a:lnTo>
                  <a:lnTo>
                    <a:pt x="101" y="204"/>
                  </a:lnTo>
                  <a:lnTo>
                    <a:pt x="100" y="204"/>
                  </a:lnTo>
                  <a:lnTo>
                    <a:pt x="101" y="204"/>
                  </a:lnTo>
                  <a:lnTo>
                    <a:pt x="102" y="203"/>
                  </a:lnTo>
                  <a:lnTo>
                    <a:pt x="101" y="203"/>
                  </a:lnTo>
                  <a:lnTo>
                    <a:pt x="101" y="204"/>
                  </a:lnTo>
                  <a:lnTo>
                    <a:pt x="101" y="203"/>
                  </a:lnTo>
                  <a:lnTo>
                    <a:pt x="100" y="204"/>
                  </a:lnTo>
                  <a:lnTo>
                    <a:pt x="101" y="203"/>
                  </a:lnTo>
                  <a:lnTo>
                    <a:pt x="102" y="203"/>
                  </a:lnTo>
                  <a:lnTo>
                    <a:pt x="104" y="203"/>
                  </a:lnTo>
                  <a:lnTo>
                    <a:pt x="105" y="203"/>
                  </a:lnTo>
                  <a:lnTo>
                    <a:pt x="107" y="203"/>
                  </a:lnTo>
                  <a:lnTo>
                    <a:pt x="108" y="202"/>
                  </a:lnTo>
                  <a:lnTo>
                    <a:pt x="109" y="203"/>
                  </a:lnTo>
                  <a:lnTo>
                    <a:pt x="109" y="202"/>
                  </a:lnTo>
                  <a:lnTo>
                    <a:pt x="111" y="202"/>
                  </a:lnTo>
                  <a:lnTo>
                    <a:pt x="109" y="202"/>
                  </a:lnTo>
                  <a:lnTo>
                    <a:pt x="108" y="202"/>
                  </a:lnTo>
                  <a:lnTo>
                    <a:pt x="106" y="202"/>
                  </a:lnTo>
                  <a:lnTo>
                    <a:pt x="105" y="202"/>
                  </a:lnTo>
                  <a:lnTo>
                    <a:pt x="104" y="202"/>
                  </a:lnTo>
                  <a:lnTo>
                    <a:pt x="105" y="202"/>
                  </a:lnTo>
                  <a:lnTo>
                    <a:pt x="106" y="202"/>
                  </a:lnTo>
                  <a:lnTo>
                    <a:pt x="108" y="202"/>
                  </a:lnTo>
                  <a:lnTo>
                    <a:pt x="109" y="202"/>
                  </a:lnTo>
                  <a:lnTo>
                    <a:pt x="111" y="201"/>
                  </a:lnTo>
                  <a:lnTo>
                    <a:pt x="109" y="201"/>
                  </a:lnTo>
                  <a:lnTo>
                    <a:pt x="108" y="201"/>
                  </a:lnTo>
                  <a:lnTo>
                    <a:pt x="107" y="201"/>
                  </a:lnTo>
                  <a:lnTo>
                    <a:pt x="105" y="202"/>
                  </a:lnTo>
                  <a:lnTo>
                    <a:pt x="106" y="201"/>
                  </a:lnTo>
                  <a:lnTo>
                    <a:pt x="107" y="201"/>
                  </a:lnTo>
                  <a:lnTo>
                    <a:pt x="108" y="201"/>
                  </a:lnTo>
                  <a:lnTo>
                    <a:pt x="112" y="201"/>
                  </a:lnTo>
                  <a:lnTo>
                    <a:pt x="113" y="201"/>
                  </a:lnTo>
                  <a:lnTo>
                    <a:pt x="114" y="201"/>
                  </a:lnTo>
                  <a:lnTo>
                    <a:pt x="115" y="201"/>
                  </a:lnTo>
                  <a:lnTo>
                    <a:pt x="114" y="201"/>
                  </a:lnTo>
                  <a:lnTo>
                    <a:pt x="113" y="201"/>
                  </a:lnTo>
                  <a:lnTo>
                    <a:pt x="113" y="200"/>
                  </a:lnTo>
                  <a:lnTo>
                    <a:pt x="114" y="200"/>
                  </a:lnTo>
                  <a:lnTo>
                    <a:pt x="113" y="200"/>
                  </a:lnTo>
                  <a:lnTo>
                    <a:pt x="113" y="198"/>
                  </a:lnTo>
                  <a:lnTo>
                    <a:pt x="112" y="200"/>
                  </a:lnTo>
                  <a:lnTo>
                    <a:pt x="109" y="200"/>
                  </a:lnTo>
                  <a:lnTo>
                    <a:pt x="108" y="200"/>
                  </a:lnTo>
                  <a:lnTo>
                    <a:pt x="106" y="200"/>
                  </a:lnTo>
                  <a:lnTo>
                    <a:pt x="107" y="200"/>
                  </a:lnTo>
                  <a:lnTo>
                    <a:pt x="106" y="200"/>
                  </a:lnTo>
                  <a:lnTo>
                    <a:pt x="104" y="200"/>
                  </a:lnTo>
                  <a:lnTo>
                    <a:pt x="102" y="200"/>
                  </a:lnTo>
                  <a:lnTo>
                    <a:pt x="100" y="200"/>
                  </a:lnTo>
                  <a:lnTo>
                    <a:pt x="99" y="200"/>
                  </a:lnTo>
                  <a:lnTo>
                    <a:pt x="99" y="198"/>
                  </a:lnTo>
                  <a:lnTo>
                    <a:pt x="100" y="198"/>
                  </a:lnTo>
                  <a:lnTo>
                    <a:pt x="101" y="198"/>
                  </a:lnTo>
                  <a:lnTo>
                    <a:pt x="104" y="198"/>
                  </a:lnTo>
                  <a:lnTo>
                    <a:pt x="105" y="198"/>
                  </a:lnTo>
                  <a:lnTo>
                    <a:pt x="106" y="198"/>
                  </a:lnTo>
                  <a:lnTo>
                    <a:pt x="105" y="198"/>
                  </a:lnTo>
                  <a:lnTo>
                    <a:pt x="102" y="198"/>
                  </a:lnTo>
                  <a:lnTo>
                    <a:pt x="101" y="198"/>
                  </a:lnTo>
                  <a:lnTo>
                    <a:pt x="100" y="198"/>
                  </a:lnTo>
                  <a:lnTo>
                    <a:pt x="99" y="198"/>
                  </a:lnTo>
                  <a:lnTo>
                    <a:pt x="100" y="197"/>
                  </a:lnTo>
                  <a:lnTo>
                    <a:pt x="99" y="197"/>
                  </a:lnTo>
                  <a:lnTo>
                    <a:pt x="100" y="197"/>
                  </a:lnTo>
                  <a:lnTo>
                    <a:pt x="102" y="197"/>
                  </a:lnTo>
                  <a:lnTo>
                    <a:pt x="104" y="197"/>
                  </a:lnTo>
                  <a:lnTo>
                    <a:pt x="105" y="197"/>
                  </a:lnTo>
                  <a:lnTo>
                    <a:pt x="104" y="197"/>
                  </a:lnTo>
                  <a:lnTo>
                    <a:pt x="102" y="197"/>
                  </a:lnTo>
                  <a:lnTo>
                    <a:pt x="98" y="197"/>
                  </a:lnTo>
                  <a:lnTo>
                    <a:pt x="99" y="197"/>
                  </a:lnTo>
                  <a:lnTo>
                    <a:pt x="98" y="197"/>
                  </a:lnTo>
                  <a:lnTo>
                    <a:pt x="99" y="197"/>
                  </a:lnTo>
                  <a:lnTo>
                    <a:pt x="99" y="196"/>
                  </a:lnTo>
                  <a:lnTo>
                    <a:pt x="100" y="196"/>
                  </a:lnTo>
                  <a:lnTo>
                    <a:pt x="101" y="196"/>
                  </a:lnTo>
                  <a:lnTo>
                    <a:pt x="105" y="196"/>
                  </a:lnTo>
                  <a:lnTo>
                    <a:pt x="104" y="196"/>
                  </a:lnTo>
                  <a:lnTo>
                    <a:pt x="102" y="195"/>
                  </a:lnTo>
                  <a:lnTo>
                    <a:pt x="104" y="195"/>
                  </a:lnTo>
                  <a:lnTo>
                    <a:pt x="105" y="195"/>
                  </a:lnTo>
                  <a:lnTo>
                    <a:pt x="106" y="195"/>
                  </a:lnTo>
                  <a:lnTo>
                    <a:pt x="108" y="195"/>
                  </a:lnTo>
                  <a:lnTo>
                    <a:pt x="109" y="195"/>
                  </a:lnTo>
                  <a:lnTo>
                    <a:pt x="111" y="195"/>
                  </a:lnTo>
                  <a:lnTo>
                    <a:pt x="112" y="195"/>
                  </a:lnTo>
                  <a:lnTo>
                    <a:pt x="114" y="194"/>
                  </a:lnTo>
                  <a:lnTo>
                    <a:pt x="115" y="194"/>
                  </a:lnTo>
                  <a:lnTo>
                    <a:pt x="117" y="194"/>
                  </a:lnTo>
                  <a:lnTo>
                    <a:pt x="119" y="194"/>
                  </a:lnTo>
                  <a:lnTo>
                    <a:pt x="120" y="194"/>
                  </a:lnTo>
                  <a:lnTo>
                    <a:pt x="124" y="194"/>
                  </a:lnTo>
                  <a:lnTo>
                    <a:pt x="126" y="194"/>
                  </a:lnTo>
                  <a:lnTo>
                    <a:pt x="126" y="195"/>
                  </a:lnTo>
                  <a:lnTo>
                    <a:pt x="126" y="196"/>
                  </a:lnTo>
                  <a:lnTo>
                    <a:pt x="127" y="196"/>
                  </a:lnTo>
                  <a:lnTo>
                    <a:pt x="127" y="197"/>
                  </a:lnTo>
                  <a:lnTo>
                    <a:pt x="128" y="197"/>
                  </a:lnTo>
                  <a:lnTo>
                    <a:pt x="129" y="196"/>
                  </a:lnTo>
                  <a:lnTo>
                    <a:pt x="130" y="196"/>
                  </a:lnTo>
                  <a:lnTo>
                    <a:pt x="131" y="196"/>
                  </a:lnTo>
                  <a:lnTo>
                    <a:pt x="133" y="196"/>
                  </a:lnTo>
                  <a:lnTo>
                    <a:pt x="135" y="196"/>
                  </a:lnTo>
                  <a:lnTo>
                    <a:pt x="136" y="196"/>
                  </a:lnTo>
                  <a:lnTo>
                    <a:pt x="135" y="196"/>
                  </a:lnTo>
                  <a:lnTo>
                    <a:pt x="135" y="195"/>
                  </a:lnTo>
                  <a:lnTo>
                    <a:pt x="131" y="196"/>
                  </a:lnTo>
                  <a:lnTo>
                    <a:pt x="128" y="196"/>
                  </a:lnTo>
                  <a:lnTo>
                    <a:pt x="127" y="196"/>
                  </a:lnTo>
                  <a:lnTo>
                    <a:pt x="127" y="195"/>
                  </a:lnTo>
                  <a:lnTo>
                    <a:pt x="126" y="195"/>
                  </a:lnTo>
                  <a:lnTo>
                    <a:pt x="126" y="194"/>
                  </a:lnTo>
                  <a:lnTo>
                    <a:pt x="124" y="194"/>
                  </a:lnTo>
                  <a:lnTo>
                    <a:pt x="126" y="194"/>
                  </a:lnTo>
                  <a:lnTo>
                    <a:pt x="128" y="193"/>
                  </a:lnTo>
                  <a:lnTo>
                    <a:pt x="129" y="193"/>
                  </a:lnTo>
                  <a:lnTo>
                    <a:pt x="124" y="193"/>
                  </a:lnTo>
                  <a:lnTo>
                    <a:pt x="120" y="194"/>
                  </a:lnTo>
                  <a:lnTo>
                    <a:pt x="119" y="193"/>
                  </a:lnTo>
                  <a:lnTo>
                    <a:pt x="116" y="194"/>
                  </a:lnTo>
                  <a:lnTo>
                    <a:pt x="115" y="194"/>
                  </a:lnTo>
                  <a:lnTo>
                    <a:pt x="114" y="194"/>
                  </a:lnTo>
                  <a:lnTo>
                    <a:pt x="111" y="194"/>
                  </a:lnTo>
                  <a:lnTo>
                    <a:pt x="108" y="195"/>
                  </a:lnTo>
                  <a:lnTo>
                    <a:pt x="107" y="195"/>
                  </a:lnTo>
                  <a:lnTo>
                    <a:pt x="107" y="194"/>
                  </a:lnTo>
                  <a:lnTo>
                    <a:pt x="108" y="194"/>
                  </a:lnTo>
                  <a:lnTo>
                    <a:pt x="107" y="194"/>
                  </a:lnTo>
                  <a:lnTo>
                    <a:pt x="106" y="194"/>
                  </a:lnTo>
                  <a:lnTo>
                    <a:pt x="106" y="195"/>
                  </a:lnTo>
                  <a:lnTo>
                    <a:pt x="104" y="195"/>
                  </a:lnTo>
                  <a:lnTo>
                    <a:pt x="102" y="195"/>
                  </a:lnTo>
                  <a:lnTo>
                    <a:pt x="101" y="196"/>
                  </a:lnTo>
                  <a:lnTo>
                    <a:pt x="100" y="196"/>
                  </a:lnTo>
                  <a:lnTo>
                    <a:pt x="100" y="195"/>
                  </a:lnTo>
                  <a:lnTo>
                    <a:pt x="101" y="195"/>
                  </a:lnTo>
                  <a:lnTo>
                    <a:pt x="100" y="195"/>
                  </a:lnTo>
                  <a:lnTo>
                    <a:pt x="100" y="194"/>
                  </a:lnTo>
                  <a:lnTo>
                    <a:pt x="101" y="194"/>
                  </a:lnTo>
                  <a:lnTo>
                    <a:pt x="101" y="193"/>
                  </a:lnTo>
                  <a:lnTo>
                    <a:pt x="102" y="193"/>
                  </a:lnTo>
                  <a:lnTo>
                    <a:pt x="104" y="193"/>
                  </a:lnTo>
                  <a:lnTo>
                    <a:pt x="104" y="191"/>
                  </a:lnTo>
                  <a:lnTo>
                    <a:pt x="105" y="191"/>
                  </a:lnTo>
                  <a:lnTo>
                    <a:pt x="106" y="191"/>
                  </a:lnTo>
                  <a:lnTo>
                    <a:pt x="107" y="191"/>
                  </a:lnTo>
                  <a:lnTo>
                    <a:pt x="108" y="190"/>
                  </a:lnTo>
                  <a:lnTo>
                    <a:pt x="109" y="190"/>
                  </a:lnTo>
                  <a:lnTo>
                    <a:pt x="111" y="190"/>
                  </a:lnTo>
                  <a:lnTo>
                    <a:pt x="109" y="190"/>
                  </a:lnTo>
                  <a:lnTo>
                    <a:pt x="108" y="190"/>
                  </a:lnTo>
                  <a:lnTo>
                    <a:pt x="111" y="190"/>
                  </a:lnTo>
                  <a:lnTo>
                    <a:pt x="112" y="189"/>
                  </a:lnTo>
                  <a:lnTo>
                    <a:pt x="113" y="189"/>
                  </a:lnTo>
                  <a:lnTo>
                    <a:pt x="112" y="189"/>
                  </a:lnTo>
                  <a:lnTo>
                    <a:pt x="111" y="189"/>
                  </a:lnTo>
                  <a:lnTo>
                    <a:pt x="112" y="189"/>
                  </a:lnTo>
                  <a:lnTo>
                    <a:pt x="113" y="189"/>
                  </a:lnTo>
                  <a:lnTo>
                    <a:pt x="114" y="189"/>
                  </a:lnTo>
                  <a:lnTo>
                    <a:pt x="116" y="189"/>
                  </a:lnTo>
                  <a:lnTo>
                    <a:pt x="116" y="188"/>
                  </a:lnTo>
                  <a:lnTo>
                    <a:pt x="114" y="188"/>
                  </a:lnTo>
                  <a:lnTo>
                    <a:pt x="116" y="188"/>
                  </a:lnTo>
                  <a:lnTo>
                    <a:pt x="119" y="188"/>
                  </a:lnTo>
                  <a:lnTo>
                    <a:pt x="120" y="188"/>
                  </a:lnTo>
                  <a:lnTo>
                    <a:pt x="121" y="189"/>
                  </a:lnTo>
                  <a:lnTo>
                    <a:pt x="122" y="189"/>
                  </a:lnTo>
                  <a:lnTo>
                    <a:pt x="123" y="189"/>
                  </a:lnTo>
                  <a:lnTo>
                    <a:pt x="123" y="190"/>
                  </a:lnTo>
                  <a:lnTo>
                    <a:pt x="124" y="190"/>
                  </a:lnTo>
                  <a:lnTo>
                    <a:pt x="127" y="189"/>
                  </a:lnTo>
                  <a:lnTo>
                    <a:pt x="128" y="189"/>
                  </a:lnTo>
                  <a:lnTo>
                    <a:pt x="129" y="189"/>
                  </a:lnTo>
                  <a:lnTo>
                    <a:pt x="131" y="190"/>
                  </a:lnTo>
                  <a:lnTo>
                    <a:pt x="133" y="190"/>
                  </a:lnTo>
                  <a:lnTo>
                    <a:pt x="134" y="191"/>
                  </a:lnTo>
                  <a:lnTo>
                    <a:pt x="135" y="191"/>
                  </a:lnTo>
                  <a:lnTo>
                    <a:pt x="136" y="191"/>
                  </a:lnTo>
                  <a:lnTo>
                    <a:pt x="140" y="191"/>
                  </a:lnTo>
                  <a:lnTo>
                    <a:pt x="140" y="193"/>
                  </a:lnTo>
                  <a:lnTo>
                    <a:pt x="140" y="191"/>
                  </a:lnTo>
                  <a:lnTo>
                    <a:pt x="141" y="191"/>
                  </a:lnTo>
                  <a:lnTo>
                    <a:pt x="140" y="191"/>
                  </a:lnTo>
                  <a:lnTo>
                    <a:pt x="138" y="191"/>
                  </a:lnTo>
                  <a:lnTo>
                    <a:pt x="137" y="191"/>
                  </a:lnTo>
                  <a:lnTo>
                    <a:pt x="136" y="191"/>
                  </a:lnTo>
                  <a:lnTo>
                    <a:pt x="134" y="191"/>
                  </a:lnTo>
                  <a:lnTo>
                    <a:pt x="134" y="190"/>
                  </a:lnTo>
                  <a:lnTo>
                    <a:pt x="133" y="190"/>
                  </a:lnTo>
                  <a:lnTo>
                    <a:pt x="134" y="190"/>
                  </a:lnTo>
                  <a:lnTo>
                    <a:pt x="136" y="189"/>
                  </a:lnTo>
                  <a:lnTo>
                    <a:pt x="138" y="189"/>
                  </a:lnTo>
                  <a:lnTo>
                    <a:pt x="140" y="189"/>
                  </a:lnTo>
                  <a:lnTo>
                    <a:pt x="140" y="188"/>
                  </a:lnTo>
                  <a:lnTo>
                    <a:pt x="141" y="188"/>
                  </a:lnTo>
                  <a:lnTo>
                    <a:pt x="141" y="189"/>
                  </a:lnTo>
                  <a:lnTo>
                    <a:pt x="142" y="189"/>
                  </a:lnTo>
                  <a:lnTo>
                    <a:pt x="143" y="189"/>
                  </a:lnTo>
                  <a:lnTo>
                    <a:pt x="142" y="189"/>
                  </a:lnTo>
                  <a:lnTo>
                    <a:pt x="142" y="188"/>
                  </a:lnTo>
                  <a:lnTo>
                    <a:pt x="140" y="188"/>
                  </a:lnTo>
                  <a:lnTo>
                    <a:pt x="138" y="189"/>
                  </a:lnTo>
                  <a:lnTo>
                    <a:pt x="137" y="189"/>
                  </a:lnTo>
                  <a:lnTo>
                    <a:pt x="136" y="189"/>
                  </a:lnTo>
                  <a:lnTo>
                    <a:pt x="135" y="189"/>
                  </a:lnTo>
                  <a:lnTo>
                    <a:pt x="134" y="190"/>
                  </a:lnTo>
                  <a:lnTo>
                    <a:pt x="131" y="190"/>
                  </a:lnTo>
                  <a:lnTo>
                    <a:pt x="133" y="190"/>
                  </a:lnTo>
                  <a:lnTo>
                    <a:pt x="133" y="189"/>
                  </a:lnTo>
                  <a:lnTo>
                    <a:pt x="131" y="189"/>
                  </a:lnTo>
                  <a:lnTo>
                    <a:pt x="129" y="189"/>
                  </a:lnTo>
                  <a:lnTo>
                    <a:pt x="129" y="188"/>
                  </a:lnTo>
                  <a:lnTo>
                    <a:pt x="130" y="188"/>
                  </a:lnTo>
                  <a:lnTo>
                    <a:pt x="130" y="189"/>
                  </a:lnTo>
                  <a:lnTo>
                    <a:pt x="131" y="189"/>
                  </a:lnTo>
                  <a:lnTo>
                    <a:pt x="133" y="189"/>
                  </a:lnTo>
                  <a:lnTo>
                    <a:pt x="133" y="188"/>
                  </a:lnTo>
                  <a:lnTo>
                    <a:pt x="135" y="188"/>
                  </a:lnTo>
                  <a:lnTo>
                    <a:pt x="136" y="188"/>
                  </a:lnTo>
                  <a:lnTo>
                    <a:pt x="136" y="187"/>
                  </a:lnTo>
                  <a:lnTo>
                    <a:pt x="137" y="187"/>
                  </a:lnTo>
                  <a:lnTo>
                    <a:pt x="140" y="187"/>
                  </a:lnTo>
                  <a:lnTo>
                    <a:pt x="140" y="188"/>
                  </a:lnTo>
                  <a:lnTo>
                    <a:pt x="141" y="188"/>
                  </a:lnTo>
                  <a:lnTo>
                    <a:pt x="141" y="187"/>
                  </a:lnTo>
                  <a:lnTo>
                    <a:pt x="140" y="187"/>
                  </a:lnTo>
                  <a:lnTo>
                    <a:pt x="138" y="187"/>
                  </a:lnTo>
                  <a:lnTo>
                    <a:pt x="140" y="187"/>
                  </a:lnTo>
                  <a:lnTo>
                    <a:pt x="138" y="187"/>
                  </a:lnTo>
                  <a:lnTo>
                    <a:pt x="137" y="187"/>
                  </a:lnTo>
                  <a:lnTo>
                    <a:pt x="136" y="186"/>
                  </a:lnTo>
                  <a:lnTo>
                    <a:pt x="135" y="186"/>
                  </a:lnTo>
                  <a:lnTo>
                    <a:pt x="135" y="187"/>
                  </a:lnTo>
                  <a:lnTo>
                    <a:pt x="136" y="187"/>
                  </a:lnTo>
                  <a:lnTo>
                    <a:pt x="137" y="187"/>
                  </a:lnTo>
                  <a:lnTo>
                    <a:pt x="136" y="187"/>
                  </a:lnTo>
                  <a:lnTo>
                    <a:pt x="135" y="187"/>
                  </a:lnTo>
                  <a:lnTo>
                    <a:pt x="135" y="188"/>
                  </a:lnTo>
                  <a:lnTo>
                    <a:pt x="134" y="188"/>
                  </a:lnTo>
                  <a:lnTo>
                    <a:pt x="133" y="188"/>
                  </a:lnTo>
                  <a:lnTo>
                    <a:pt x="131" y="188"/>
                  </a:lnTo>
                  <a:lnTo>
                    <a:pt x="130" y="188"/>
                  </a:lnTo>
                  <a:lnTo>
                    <a:pt x="131" y="188"/>
                  </a:lnTo>
                  <a:lnTo>
                    <a:pt x="130" y="187"/>
                  </a:lnTo>
                  <a:lnTo>
                    <a:pt x="131" y="186"/>
                  </a:lnTo>
                  <a:lnTo>
                    <a:pt x="133" y="186"/>
                  </a:lnTo>
                  <a:lnTo>
                    <a:pt x="133" y="187"/>
                  </a:lnTo>
                  <a:lnTo>
                    <a:pt x="134" y="187"/>
                  </a:lnTo>
                  <a:lnTo>
                    <a:pt x="134" y="186"/>
                  </a:lnTo>
                  <a:lnTo>
                    <a:pt x="131" y="186"/>
                  </a:lnTo>
                  <a:lnTo>
                    <a:pt x="130" y="186"/>
                  </a:lnTo>
                  <a:lnTo>
                    <a:pt x="129" y="186"/>
                  </a:lnTo>
                  <a:lnTo>
                    <a:pt x="128" y="186"/>
                  </a:lnTo>
                  <a:lnTo>
                    <a:pt x="128" y="187"/>
                  </a:lnTo>
                  <a:lnTo>
                    <a:pt x="129" y="187"/>
                  </a:lnTo>
                  <a:lnTo>
                    <a:pt x="130" y="187"/>
                  </a:lnTo>
                  <a:lnTo>
                    <a:pt x="129" y="188"/>
                  </a:lnTo>
                  <a:lnTo>
                    <a:pt x="128" y="188"/>
                  </a:lnTo>
                  <a:lnTo>
                    <a:pt x="128" y="189"/>
                  </a:lnTo>
                  <a:lnTo>
                    <a:pt x="127" y="188"/>
                  </a:lnTo>
                  <a:lnTo>
                    <a:pt x="128" y="188"/>
                  </a:lnTo>
                  <a:lnTo>
                    <a:pt x="127" y="188"/>
                  </a:lnTo>
                  <a:lnTo>
                    <a:pt x="126" y="188"/>
                  </a:lnTo>
                  <a:lnTo>
                    <a:pt x="126" y="189"/>
                  </a:lnTo>
                  <a:lnTo>
                    <a:pt x="124" y="189"/>
                  </a:lnTo>
                  <a:lnTo>
                    <a:pt x="124" y="188"/>
                  </a:lnTo>
                  <a:lnTo>
                    <a:pt x="126" y="188"/>
                  </a:lnTo>
                  <a:lnTo>
                    <a:pt x="127" y="188"/>
                  </a:lnTo>
                  <a:lnTo>
                    <a:pt x="126" y="188"/>
                  </a:lnTo>
                  <a:lnTo>
                    <a:pt x="124" y="188"/>
                  </a:lnTo>
                  <a:lnTo>
                    <a:pt x="120" y="188"/>
                  </a:lnTo>
                  <a:lnTo>
                    <a:pt x="120" y="187"/>
                  </a:lnTo>
                  <a:lnTo>
                    <a:pt x="121" y="187"/>
                  </a:lnTo>
                  <a:lnTo>
                    <a:pt x="122" y="187"/>
                  </a:lnTo>
                  <a:lnTo>
                    <a:pt x="124" y="187"/>
                  </a:lnTo>
                  <a:lnTo>
                    <a:pt x="124" y="186"/>
                  </a:lnTo>
                  <a:lnTo>
                    <a:pt x="126" y="186"/>
                  </a:lnTo>
                  <a:lnTo>
                    <a:pt x="127" y="186"/>
                  </a:lnTo>
                  <a:lnTo>
                    <a:pt x="128" y="186"/>
                  </a:lnTo>
                  <a:lnTo>
                    <a:pt x="126" y="186"/>
                  </a:lnTo>
                  <a:lnTo>
                    <a:pt x="124" y="186"/>
                  </a:lnTo>
                  <a:lnTo>
                    <a:pt x="121" y="186"/>
                  </a:lnTo>
                  <a:lnTo>
                    <a:pt x="121" y="187"/>
                  </a:lnTo>
                  <a:lnTo>
                    <a:pt x="119" y="187"/>
                  </a:lnTo>
                  <a:lnTo>
                    <a:pt x="117" y="187"/>
                  </a:lnTo>
                  <a:lnTo>
                    <a:pt x="117" y="188"/>
                  </a:lnTo>
                  <a:lnTo>
                    <a:pt x="116" y="188"/>
                  </a:lnTo>
                  <a:lnTo>
                    <a:pt x="114" y="188"/>
                  </a:lnTo>
                  <a:lnTo>
                    <a:pt x="113" y="188"/>
                  </a:lnTo>
                  <a:lnTo>
                    <a:pt x="112" y="188"/>
                  </a:lnTo>
                  <a:lnTo>
                    <a:pt x="108" y="190"/>
                  </a:lnTo>
                  <a:lnTo>
                    <a:pt x="105" y="191"/>
                  </a:lnTo>
                  <a:lnTo>
                    <a:pt x="104" y="191"/>
                  </a:lnTo>
                  <a:lnTo>
                    <a:pt x="104" y="190"/>
                  </a:lnTo>
                  <a:lnTo>
                    <a:pt x="106" y="189"/>
                  </a:lnTo>
                  <a:lnTo>
                    <a:pt x="105" y="189"/>
                  </a:lnTo>
                  <a:lnTo>
                    <a:pt x="106" y="189"/>
                  </a:lnTo>
                  <a:lnTo>
                    <a:pt x="106" y="188"/>
                  </a:lnTo>
                  <a:lnTo>
                    <a:pt x="107" y="188"/>
                  </a:lnTo>
                  <a:lnTo>
                    <a:pt x="106" y="188"/>
                  </a:lnTo>
                  <a:lnTo>
                    <a:pt x="105" y="188"/>
                  </a:lnTo>
                  <a:lnTo>
                    <a:pt x="106" y="188"/>
                  </a:lnTo>
                  <a:lnTo>
                    <a:pt x="107" y="187"/>
                  </a:lnTo>
                  <a:lnTo>
                    <a:pt x="108" y="187"/>
                  </a:lnTo>
                  <a:lnTo>
                    <a:pt x="107" y="187"/>
                  </a:lnTo>
                  <a:lnTo>
                    <a:pt x="107" y="188"/>
                  </a:lnTo>
                  <a:lnTo>
                    <a:pt x="108" y="187"/>
                  </a:lnTo>
                  <a:lnTo>
                    <a:pt x="108" y="188"/>
                  </a:lnTo>
                  <a:lnTo>
                    <a:pt x="109" y="188"/>
                  </a:lnTo>
                  <a:lnTo>
                    <a:pt x="111" y="187"/>
                  </a:lnTo>
                  <a:lnTo>
                    <a:pt x="108" y="187"/>
                  </a:lnTo>
                  <a:lnTo>
                    <a:pt x="109" y="187"/>
                  </a:lnTo>
                  <a:lnTo>
                    <a:pt x="108" y="187"/>
                  </a:lnTo>
                  <a:lnTo>
                    <a:pt x="109" y="187"/>
                  </a:lnTo>
                  <a:lnTo>
                    <a:pt x="111" y="187"/>
                  </a:lnTo>
                  <a:lnTo>
                    <a:pt x="109" y="187"/>
                  </a:lnTo>
                  <a:lnTo>
                    <a:pt x="112" y="187"/>
                  </a:lnTo>
                  <a:lnTo>
                    <a:pt x="113" y="187"/>
                  </a:lnTo>
                  <a:lnTo>
                    <a:pt x="112" y="186"/>
                  </a:lnTo>
                  <a:lnTo>
                    <a:pt x="111" y="186"/>
                  </a:lnTo>
                  <a:lnTo>
                    <a:pt x="111" y="187"/>
                  </a:lnTo>
                  <a:lnTo>
                    <a:pt x="111" y="186"/>
                  </a:lnTo>
                  <a:lnTo>
                    <a:pt x="109" y="186"/>
                  </a:lnTo>
                  <a:lnTo>
                    <a:pt x="111" y="186"/>
                  </a:lnTo>
                  <a:lnTo>
                    <a:pt x="112" y="186"/>
                  </a:lnTo>
                  <a:lnTo>
                    <a:pt x="111" y="186"/>
                  </a:lnTo>
                  <a:lnTo>
                    <a:pt x="112" y="186"/>
                  </a:lnTo>
                  <a:lnTo>
                    <a:pt x="113" y="186"/>
                  </a:lnTo>
                  <a:lnTo>
                    <a:pt x="115" y="186"/>
                  </a:lnTo>
                  <a:lnTo>
                    <a:pt x="114" y="184"/>
                  </a:lnTo>
                  <a:lnTo>
                    <a:pt x="113" y="184"/>
                  </a:lnTo>
                  <a:lnTo>
                    <a:pt x="111" y="184"/>
                  </a:lnTo>
                  <a:lnTo>
                    <a:pt x="112" y="184"/>
                  </a:lnTo>
                  <a:lnTo>
                    <a:pt x="114" y="184"/>
                  </a:lnTo>
                  <a:lnTo>
                    <a:pt x="116" y="186"/>
                  </a:lnTo>
                  <a:lnTo>
                    <a:pt x="117" y="186"/>
                  </a:lnTo>
                  <a:lnTo>
                    <a:pt x="119" y="186"/>
                  </a:lnTo>
                  <a:lnTo>
                    <a:pt x="121" y="186"/>
                  </a:lnTo>
                  <a:lnTo>
                    <a:pt x="122" y="186"/>
                  </a:lnTo>
                  <a:lnTo>
                    <a:pt x="123" y="186"/>
                  </a:lnTo>
                  <a:lnTo>
                    <a:pt x="122" y="186"/>
                  </a:lnTo>
                  <a:lnTo>
                    <a:pt x="119" y="186"/>
                  </a:lnTo>
                  <a:lnTo>
                    <a:pt x="116" y="186"/>
                  </a:lnTo>
                  <a:lnTo>
                    <a:pt x="115" y="184"/>
                  </a:lnTo>
                  <a:lnTo>
                    <a:pt x="114" y="183"/>
                  </a:lnTo>
                  <a:lnTo>
                    <a:pt x="113" y="183"/>
                  </a:lnTo>
                  <a:lnTo>
                    <a:pt x="114" y="183"/>
                  </a:lnTo>
                  <a:lnTo>
                    <a:pt x="114" y="182"/>
                  </a:lnTo>
                  <a:lnTo>
                    <a:pt x="113" y="182"/>
                  </a:lnTo>
                  <a:lnTo>
                    <a:pt x="113" y="183"/>
                  </a:lnTo>
                  <a:lnTo>
                    <a:pt x="112" y="183"/>
                  </a:lnTo>
                  <a:lnTo>
                    <a:pt x="112" y="182"/>
                  </a:lnTo>
                  <a:lnTo>
                    <a:pt x="112" y="183"/>
                  </a:lnTo>
                  <a:lnTo>
                    <a:pt x="111" y="183"/>
                  </a:lnTo>
                  <a:lnTo>
                    <a:pt x="109" y="183"/>
                  </a:lnTo>
                  <a:lnTo>
                    <a:pt x="112" y="182"/>
                  </a:lnTo>
                  <a:lnTo>
                    <a:pt x="113" y="182"/>
                  </a:lnTo>
                  <a:lnTo>
                    <a:pt x="114" y="182"/>
                  </a:lnTo>
                  <a:lnTo>
                    <a:pt x="115" y="182"/>
                  </a:lnTo>
                  <a:lnTo>
                    <a:pt x="115" y="183"/>
                  </a:lnTo>
                  <a:lnTo>
                    <a:pt x="116" y="183"/>
                  </a:lnTo>
                  <a:lnTo>
                    <a:pt x="117" y="183"/>
                  </a:lnTo>
                  <a:lnTo>
                    <a:pt x="119" y="183"/>
                  </a:lnTo>
                  <a:lnTo>
                    <a:pt x="120" y="184"/>
                  </a:lnTo>
                  <a:lnTo>
                    <a:pt x="121" y="183"/>
                  </a:lnTo>
                  <a:lnTo>
                    <a:pt x="120" y="183"/>
                  </a:lnTo>
                  <a:lnTo>
                    <a:pt x="119" y="183"/>
                  </a:lnTo>
                  <a:lnTo>
                    <a:pt x="120" y="183"/>
                  </a:lnTo>
                  <a:lnTo>
                    <a:pt x="119" y="183"/>
                  </a:lnTo>
                  <a:lnTo>
                    <a:pt x="117" y="183"/>
                  </a:lnTo>
                  <a:lnTo>
                    <a:pt x="117" y="182"/>
                  </a:lnTo>
                  <a:lnTo>
                    <a:pt x="116" y="182"/>
                  </a:lnTo>
                  <a:lnTo>
                    <a:pt x="117" y="182"/>
                  </a:lnTo>
                  <a:lnTo>
                    <a:pt x="119" y="182"/>
                  </a:lnTo>
                  <a:lnTo>
                    <a:pt x="120" y="182"/>
                  </a:lnTo>
                  <a:lnTo>
                    <a:pt x="120" y="183"/>
                  </a:lnTo>
                  <a:lnTo>
                    <a:pt x="121" y="183"/>
                  </a:lnTo>
                  <a:lnTo>
                    <a:pt x="122" y="183"/>
                  </a:lnTo>
                  <a:lnTo>
                    <a:pt x="123" y="183"/>
                  </a:lnTo>
                  <a:lnTo>
                    <a:pt x="124" y="183"/>
                  </a:lnTo>
                  <a:lnTo>
                    <a:pt x="124" y="184"/>
                  </a:lnTo>
                  <a:lnTo>
                    <a:pt x="129" y="184"/>
                  </a:lnTo>
                  <a:lnTo>
                    <a:pt x="133" y="184"/>
                  </a:lnTo>
                  <a:lnTo>
                    <a:pt x="134" y="184"/>
                  </a:lnTo>
                  <a:lnTo>
                    <a:pt x="135" y="184"/>
                  </a:lnTo>
                  <a:lnTo>
                    <a:pt x="135" y="186"/>
                  </a:lnTo>
                  <a:lnTo>
                    <a:pt x="137" y="186"/>
                  </a:lnTo>
                  <a:lnTo>
                    <a:pt x="138" y="186"/>
                  </a:lnTo>
                  <a:lnTo>
                    <a:pt x="140" y="186"/>
                  </a:lnTo>
                  <a:lnTo>
                    <a:pt x="142" y="186"/>
                  </a:lnTo>
                  <a:lnTo>
                    <a:pt x="143" y="186"/>
                  </a:lnTo>
                  <a:lnTo>
                    <a:pt x="141" y="186"/>
                  </a:lnTo>
                  <a:lnTo>
                    <a:pt x="140" y="186"/>
                  </a:lnTo>
                  <a:lnTo>
                    <a:pt x="138" y="186"/>
                  </a:lnTo>
                  <a:lnTo>
                    <a:pt x="138" y="184"/>
                  </a:lnTo>
                  <a:lnTo>
                    <a:pt x="137" y="184"/>
                  </a:lnTo>
                  <a:lnTo>
                    <a:pt x="136" y="184"/>
                  </a:lnTo>
                  <a:lnTo>
                    <a:pt x="135" y="184"/>
                  </a:lnTo>
                  <a:lnTo>
                    <a:pt x="135" y="183"/>
                  </a:lnTo>
                  <a:lnTo>
                    <a:pt x="134" y="183"/>
                  </a:lnTo>
                  <a:lnTo>
                    <a:pt x="135" y="183"/>
                  </a:lnTo>
                  <a:lnTo>
                    <a:pt x="136" y="183"/>
                  </a:lnTo>
                  <a:lnTo>
                    <a:pt x="135" y="183"/>
                  </a:lnTo>
                  <a:lnTo>
                    <a:pt x="134" y="183"/>
                  </a:lnTo>
                  <a:lnTo>
                    <a:pt x="133" y="183"/>
                  </a:lnTo>
                  <a:lnTo>
                    <a:pt x="131" y="182"/>
                  </a:lnTo>
                  <a:lnTo>
                    <a:pt x="135" y="182"/>
                  </a:lnTo>
                  <a:lnTo>
                    <a:pt x="136" y="182"/>
                  </a:lnTo>
                  <a:lnTo>
                    <a:pt x="135" y="182"/>
                  </a:lnTo>
                  <a:lnTo>
                    <a:pt x="134" y="182"/>
                  </a:lnTo>
                  <a:lnTo>
                    <a:pt x="134" y="181"/>
                  </a:lnTo>
                  <a:lnTo>
                    <a:pt x="131" y="181"/>
                  </a:lnTo>
                  <a:lnTo>
                    <a:pt x="133" y="181"/>
                  </a:lnTo>
                  <a:lnTo>
                    <a:pt x="134" y="181"/>
                  </a:lnTo>
                  <a:lnTo>
                    <a:pt x="135" y="181"/>
                  </a:lnTo>
                  <a:lnTo>
                    <a:pt x="135" y="180"/>
                  </a:lnTo>
                  <a:lnTo>
                    <a:pt x="137" y="179"/>
                  </a:lnTo>
                  <a:lnTo>
                    <a:pt x="138" y="179"/>
                  </a:lnTo>
                  <a:lnTo>
                    <a:pt x="140" y="179"/>
                  </a:lnTo>
                  <a:lnTo>
                    <a:pt x="138" y="177"/>
                  </a:lnTo>
                  <a:lnTo>
                    <a:pt x="134" y="180"/>
                  </a:lnTo>
                  <a:lnTo>
                    <a:pt x="134" y="179"/>
                  </a:lnTo>
                  <a:lnTo>
                    <a:pt x="133" y="180"/>
                  </a:lnTo>
                  <a:lnTo>
                    <a:pt x="131" y="180"/>
                  </a:lnTo>
                  <a:lnTo>
                    <a:pt x="131" y="179"/>
                  </a:lnTo>
                  <a:lnTo>
                    <a:pt x="130" y="179"/>
                  </a:lnTo>
                  <a:lnTo>
                    <a:pt x="130" y="180"/>
                  </a:lnTo>
                  <a:lnTo>
                    <a:pt x="131" y="180"/>
                  </a:lnTo>
                  <a:lnTo>
                    <a:pt x="133" y="180"/>
                  </a:lnTo>
                  <a:lnTo>
                    <a:pt x="134" y="180"/>
                  </a:lnTo>
                  <a:lnTo>
                    <a:pt x="134" y="181"/>
                  </a:lnTo>
                  <a:lnTo>
                    <a:pt x="133" y="181"/>
                  </a:lnTo>
                  <a:lnTo>
                    <a:pt x="129" y="181"/>
                  </a:lnTo>
                  <a:lnTo>
                    <a:pt x="128" y="181"/>
                  </a:lnTo>
                  <a:lnTo>
                    <a:pt x="128" y="182"/>
                  </a:lnTo>
                  <a:lnTo>
                    <a:pt x="127" y="181"/>
                  </a:lnTo>
                  <a:lnTo>
                    <a:pt x="124" y="182"/>
                  </a:lnTo>
                  <a:lnTo>
                    <a:pt x="123" y="182"/>
                  </a:lnTo>
                  <a:lnTo>
                    <a:pt x="122" y="182"/>
                  </a:lnTo>
                  <a:lnTo>
                    <a:pt x="121" y="182"/>
                  </a:lnTo>
                  <a:lnTo>
                    <a:pt x="120" y="182"/>
                  </a:lnTo>
                  <a:lnTo>
                    <a:pt x="121" y="182"/>
                  </a:lnTo>
                  <a:lnTo>
                    <a:pt x="120" y="182"/>
                  </a:lnTo>
                  <a:lnTo>
                    <a:pt x="120" y="181"/>
                  </a:lnTo>
                  <a:lnTo>
                    <a:pt x="121" y="181"/>
                  </a:lnTo>
                  <a:lnTo>
                    <a:pt x="120" y="181"/>
                  </a:lnTo>
                  <a:lnTo>
                    <a:pt x="119" y="181"/>
                  </a:lnTo>
                  <a:lnTo>
                    <a:pt x="117" y="181"/>
                  </a:lnTo>
                  <a:lnTo>
                    <a:pt x="119" y="181"/>
                  </a:lnTo>
                  <a:lnTo>
                    <a:pt x="119" y="182"/>
                  </a:lnTo>
                  <a:lnTo>
                    <a:pt x="117" y="182"/>
                  </a:lnTo>
                  <a:lnTo>
                    <a:pt x="116" y="182"/>
                  </a:lnTo>
                  <a:lnTo>
                    <a:pt x="116" y="181"/>
                  </a:lnTo>
                  <a:lnTo>
                    <a:pt x="119" y="181"/>
                  </a:lnTo>
                  <a:lnTo>
                    <a:pt x="120" y="181"/>
                  </a:lnTo>
                  <a:lnTo>
                    <a:pt x="120" y="180"/>
                  </a:lnTo>
                  <a:lnTo>
                    <a:pt x="119" y="180"/>
                  </a:lnTo>
                  <a:lnTo>
                    <a:pt x="117" y="180"/>
                  </a:lnTo>
                  <a:lnTo>
                    <a:pt x="117" y="181"/>
                  </a:lnTo>
                  <a:lnTo>
                    <a:pt x="115" y="181"/>
                  </a:lnTo>
                  <a:lnTo>
                    <a:pt x="114" y="181"/>
                  </a:lnTo>
                  <a:lnTo>
                    <a:pt x="113" y="181"/>
                  </a:lnTo>
                  <a:lnTo>
                    <a:pt x="112" y="181"/>
                  </a:lnTo>
                  <a:lnTo>
                    <a:pt x="113" y="180"/>
                  </a:lnTo>
                  <a:lnTo>
                    <a:pt x="114" y="180"/>
                  </a:lnTo>
                  <a:lnTo>
                    <a:pt x="114" y="181"/>
                  </a:lnTo>
                  <a:lnTo>
                    <a:pt x="115" y="181"/>
                  </a:lnTo>
                  <a:lnTo>
                    <a:pt x="115" y="180"/>
                  </a:lnTo>
                  <a:lnTo>
                    <a:pt x="116" y="180"/>
                  </a:lnTo>
                  <a:lnTo>
                    <a:pt x="117" y="180"/>
                  </a:lnTo>
                  <a:lnTo>
                    <a:pt x="119" y="180"/>
                  </a:lnTo>
                  <a:lnTo>
                    <a:pt x="117" y="180"/>
                  </a:lnTo>
                  <a:lnTo>
                    <a:pt x="119" y="180"/>
                  </a:lnTo>
                  <a:lnTo>
                    <a:pt x="119" y="179"/>
                  </a:lnTo>
                  <a:lnTo>
                    <a:pt x="120" y="179"/>
                  </a:lnTo>
                  <a:lnTo>
                    <a:pt x="121" y="179"/>
                  </a:lnTo>
                  <a:lnTo>
                    <a:pt x="122" y="179"/>
                  </a:lnTo>
                  <a:lnTo>
                    <a:pt x="123" y="177"/>
                  </a:lnTo>
                  <a:lnTo>
                    <a:pt x="122" y="177"/>
                  </a:lnTo>
                  <a:lnTo>
                    <a:pt x="121" y="179"/>
                  </a:lnTo>
                  <a:lnTo>
                    <a:pt x="121" y="177"/>
                  </a:lnTo>
                  <a:lnTo>
                    <a:pt x="126" y="177"/>
                  </a:lnTo>
                  <a:lnTo>
                    <a:pt x="128" y="177"/>
                  </a:lnTo>
                  <a:lnTo>
                    <a:pt x="129" y="177"/>
                  </a:lnTo>
                  <a:lnTo>
                    <a:pt x="128" y="177"/>
                  </a:lnTo>
                  <a:lnTo>
                    <a:pt x="129" y="177"/>
                  </a:lnTo>
                  <a:lnTo>
                    <a:pt x="130" y="177"/>
                  </a:lnTo>
                  <a:lnTo>
                    <a:pt x="131" y="177"/>
                  </a:lnTo>
                  <a:lnTo>
                    <a:pt x="133" y="177"/>
                  </a:lnTo>
                  <a:lnTo>
                    <a:pt x="134" y="177"/>
                  </a:lnTo>
                  <a:lnTo>
                    <a:pt x="135" y="177"/>
                  </a:lnTo>
                  <a:lnTo>
                    <a:pt x="136" y="177"/>
                  </a:lnTo>
                  <a:lnTo>
                    <a:pt x="137" y="176"/>
                  </a:lnTo>
                  <a:lnTo>
                    <a:pt x="137" y="177"/>
                  </a:lnTo>
                  <a:lnTo>
                    <a:pt x="136" y="177"/>
                  </a:lnTo>
                  <a:lnTo>
                    <a:pt x="137" y="177"/>
                  </a:lnTo>
                  <a:lnTo>
                    <a:pt x="137" y="176"/>
                  </a:lnTo>
                  <a:lnTo>
                    <a:pt x="138" y="176"/>
                  </a:lnTo>
                  <a:lnTo>
                    <a:pt x="137" y="176"/>
                  </a:lnTo>
                  <a:lnTo>
                    <a:pt x="137" y="175"/>
                  </a:lnTo>
                  <a:lnTo>
                    <a:pt x="138" y="175"/>
                  </a:lnTo>
                  <a:lnTo>
                    <a:pt x="138" y="176"/>
                  </a:lnTo>
                  <a:lnTo>
                    <a:pt x="140" y="176"/>
                  </a:lnTo>
                  <a:lnTo>
                    <a:pt x="140" y="175"/>
                  </a:lnTo>
                  <a:lnTo>
                    <a:pt x="140" y="176"/>
                  </a:lnTo>
                  <a:lnTo>
                    <a:pt x="138" y="176"/>
                  </a:lnTo>
                  <a:lnTo>
                    <a:pt x="138" y="175"/>
                  </a:lnTo>
                  <a:lnTo>
                    <a:pt x="140" y="175"/>
                  </a:lnTo>
                  <a:lnTo>
                    <a:pt x="138" y="175"/>
                  </a:lnTo>
                  <a:lnTo>
                    <a:pt x="140" y="174"/>
                  </a:lnTo>
                  <a:lnTo>
                    <a:pt x="141" y="174"/>
                  </a:lnTo>
                  <a:lnTo>
                    <a:pt x="143" y="174"/>
                  </a:lnTo>
                  <a:lnTo>
                    <a:pt x="142" y="174"/>
                  </a:lnTo>
                  <a:lnTo>
                    <a:pt x="141" y="174"/>
                  </a:lnTo>
                  <a:lnTo>
                    <a:pt x="140" y="174"/>
                  </a:lnTo>
                  <a:lnTo>
                    <a:pt x="138" y="175"/>
                  </a:lnTo>
                  <a:lnTo>
                    <a:pt x="137" y="175"/>
                  </a:lnTo>
                  <a:lnTo>
                    <a:pt x="136" y="175"/>
                  </a:lnTo>
                  <a:lnTo>
                    <a:pt x="136" y="174"/>
                  </a:lnTo>
                  <a:lnTo>
                    <a:pt x="137" y="174"/>
                  </a:lnTo>
                  <a:lnTo>
                    <a:pt x="137" y="173"/>
                  </a:lnTo>
                  <a:lnTo>
                    <a:pt x="138" y="173"/>
                  </a:lnTo>
                  <a:lnTo>
                    <a:pt x="140" y="173"/>
                  </a:lnTo>
                  <a:lnTo>
                    <a:pt x="138" y="173"/>
                  </a:lnTo>
                  <a:lnTo>
                    <a:pt x="137" y="173"/>
                  </a:lnTo>
                  <a:lnTo>
                    <a:pt x="138" y="173"/>
                  </a:lnTo>
                  <a:lnTo>
                    <a:pt x="138" y="172"/>
                  </a:lnTo>
                  <a:lnTo>
                    <a:pt x="140" y="172"/>
                  </a:lnTo>
                  <a:lnTo>
                    <a:pt x="138" y="170"/>
                  </a:lnTo>
                  <a:lnTo>
                    <a:pt x="140" y="170"/>
                  </a:lnTo>
                  <a:lnTo>
                    <a:pt x="140" y="169"/>
                  </a:lnTo>
                  <a:lnTo>
                    <a:pt x="143" y="169"/>
                  </a:lnTo>
                  <a:lnTo>
                    <a:pt x="143" y="170"/>
                  </a:lnTo>
                  <a:lnTo>
                    <a:pt x="142" y="170"/>
                  </a:lnTo>
                  <a:lnTo>
                    <a:pt x="141" y="170"/>
                  </a:lnTo>
                  <a:lnTo>
                    <a:pt x="143" y="170"/>
                  </a:lnTo>
                  <a:lnTo>
                    <a:pt x="144" y="170"/>
                  </a:lnTo>
                  <a:lnTo>
                    <a:pt x="145" y="170"/>
                  </a:lnTo>
                  <a:lnTo>
                    <a:pt x="145" y="172"/>
                  </a:lnTo>
                  <a:lnTo>
                    <a:pt x="144" y="172"/>
                  </a:lnTo>
                  <a:lnTo>
                    <a:pt x="145" y="172"/>
                  </a:lnTo>
                  <a:lnTo>
                    <a:pt x="145" y="173"/>
                  </a:lnTo>
                  <a:lnTo>
                    <a:pt x="147" y="173"/>
                  </a:lnTo>
                  <a:lnTo>
                    <a:pt x="147" y="172"/>
                  </a:lnTo>
                  <a:lnTo>
                    <a:pt x="145" y="172"/>
                  </a:lnTo>
                  <a:lnTo>
                    <a:pt x="145" y="170"/>
                  </a:lnTo>
                  <a:lnTo>
                    <a:pt x="147" y="170"/>
                  </a:lnTo>
                  <a:lnTo>
                    <a:pt x="147" y="172"/>
                  </a:lnTo>
                  <a:lnTo>
                    <a:pt x="147" y="170"/>
                  </a:lnTo>
                  <a:lnTo>
                    <a:pt x="148" y="170"/>
                  </a:lnTo>
                  <a:lnTo>
                    <a:pt x="148" y="172"/>
                  </a:lnTo>
                  <a:lnTo>
                    <a:pt x="147" y="172"/>
                  </a:lnTo>
                  <a:lnTo>
                    <a:pt x="148" y="172"/>
                  </a:lnTo>
                  <a:lnTo>
                    <a:pt x="149" y="172"/>
                  </a:lnTo>
                  <a:lnTo>
                    <a:pt x="149" y="170"/>
                  </a:lnTo>
                  <a:lnTo>
                    <a:pt x="148" y="170"/>
                  </a:lnTo>
                  <a:lnTo>
                    <a:pt x="147" y="170"/>
                  </a:lnTo>
                  <a:lnTo>
                    <a:pt x="145" y="170"/>
                  </a:lnTo>
                  <a:lnTo>
                    <a:pt x="144" y="170"/>
                  </a:lnTo>
                  <a:lnTo>
                    <a:pt x="144" y="169"/>
                  </a:lnTo>
                  <a:lnTo>
                    <a:pt x="145" y="169"/>
                  </a:lnTo>
                  <a:lnTo>
                    <a:pt x="147" y="169"/>
                  </a:lnTo>
                  <a:lnTo>
                    <a:pt x="148" y="169"/>
                  </a:lnTo>
                  <a:lnTo>
                    <a:pt x="149" y="169"/>
                  </a:lnTo>
                  <a:lnTo>
                    <a:pt x="150" y="169"/>
                  </a:lnTo>
                  <a:lnTo>
                    <a:pt x="150" y="168"/>
                  </a:lnTo>
                  <a:lnTo>
                    <a:pt x="149" y="168"/>
                  </a:lnTo>
                  <a:lnTo>
                    <a:pt x="149" y="169"/>
                  </a:lnTo>
                  <a:lnTo>
                    <a:pt x="148" y="169"/>
                  </a:lnTo>
                  <a:lnTo>
                    <a:pt x="149" y="169"/>
                  </a:lnTo>
                  <a:lnTo>
                    <a:pt x="148" y="169"/>
                  </a:lnTo>
                  <a:lnTo>
                    <a:pt x="147" y="169"/>
                  </a:lnTo>
                  <a:lnTo>
                    <a:pt x="147" y="168"/>
                  </a:lnTo>
                  <a:lnTo>
                    <a:pt x="148" y="168"/>
                  </a:lnTo>
                  <a:lnTo>
                    <a:pt x="148" y="167"/>
                  </a:lnTo>
                  <a:lnTo>
                    <a:pt x="149" y="167"/>
                  </a:lnTo>
                  <a:lnTo>
                    <a:pt x="148" y="167"/>
                  </a:lnTo>
                  <a:lnTo>
                    <a:pt x="145" y="168"/>
                  </a:lnTo>
                  <a:lnTo>
                    <a:pt x="147" y="168"/>
                  </a:lnTo>
                  <a:lnTo>
                    <a:pt x="145" y="168"/>
                  </a:lnTo>
                  <a:lnTo>
                    <a:pt x="144" y="168"/>
                  </a:lnTo>
                  <a:lnTo>
                    <a:pt x="145" y="168"/>
                  </a:lnTo>
                  <a:lnTo>
                    <a:pt x="144" y="168"/>
                  </a:lnTo>
                  <a:lnTo>
                    <a:pt x="143" y="169"/>
                  </a:lnTo>
                  <a:lnTo>
                    <a:pt x="142" y="169"/>
                  </a:lnTo>
                  <a:lnTo>
                    <a:pt x="141" y="169"/>
                  </a:lnTo>
                  <a:lnTo>
                    <a:pt x="140" y="168"/>
                  </a:lnTo>
                  <a:lnTo>
                    <a:pt x="141" y="168"/>
                  </a:lnTo>
                  <a:lnTo>
                    <a:pt x="142" y="168"/>
                  </a:lnTo>
                  <a:lnTo>
                    <a:pt x="143" y="168"/>
                  </a:lnTo>
                  <a:lnTo>
                    <a:pt x="143" y="167"/>
                  </a:lnTo>
                  <a:lnTo>
                    <a:pt x="142" y="167"/>
                  </a:lnTo>
                  <a:lnTo>
                    <a:pt x="143" y="167"/>
                  </a:lnTo>
                  <a:lnTo>
                    <a:pt x="144" y="167"/>
                  </a:lnTo>
                  <a:lnTo>
                    <a:pt x="143" y="166"/>
                  </a:lnTo>
                  <a:lnTo>
                    <a:pt x="144" y="166"/>
                  </a:lnTo>
                  <a:lnTo>
                    <a:pt x="145" y="165"/>
                  </a:lnTo>
                  <a:lnTo>
                    <a:pt x="147" y="165"/>
                  </a:lnTo>
                  <a:lnTo>
                    <a:pt x="147" y="166"/>
                  </a:lnTo>
                  <a:lnTo>
                    <a:pt x="148" y="166"/>
                  </a:lnTo>
                  <a:lnTo>
                    <a:pt x="148" y="165"/>
                  </a:lnTo>
                  <a:lnTo>
                    <a:pt x="149" y="165"/>
                  </a:lnTo>
                  <a:lnTo>
                    <a:pt x="150" y="165"/>
                  </a:lnTo>
                  <a:lnTo>
                    <a:pt x="151" y="165"/>
                  </a:lnTo>
                  <a:lnTo>
                    <a:pt x="150" y="165"/>
                  </a:lnTo>
                  <a:lnTo>
                    <a:pt x="149" y="165"/>
                  </a:lnTo>
                  <a:lnTo>
                    <a:pt x="148" y="165"/>
                  </a:lnTo>
                  <a:lnTo>
                    <a:pt x="147" y="165"/>
                  </a:lnTo>
                  <a:lnTo>
                    <a:pt x="145" y="165"/>
                  </a:lnTo>
                  <a:lnTo>
                    <a:pt x="147" y="165"/>
                  </a:lnTo>
                  <a:lnTo>
                    <a:pt x="145" y="165"/>
                  </a:lnTo>
                  <a:lnTo>
                    <a:pt x="144" y="165"/>
                  </a:lnTo>
                  <a:lnTo>
                    <a:pt x="145" y="165"/>
                  </a:lnTo>
                  <a:lnTo>
                    <a:pt x="145" y="163"/>
                  </a:lnTo>
                  <a:lnTo>
                    <a:pt x="147" y="162"/>
                  </a:lnTo>
                  <a:lnTo>
                    <a:pt x="149" y="163"/>
                  </a:lnTo>
                  <a:lnTo>
                    <a:pt x="150" y="163"/>
                  </a:lnTo>
                  <a:lnTo>
                    <a:pt x="149" y="163"/>
                  </a:lnTo>
                  <a:lnTo>
                    <a:pt x="149" y="162"/>
                  </a:lnTo>
                  <a:lnTo>
                    <a:pt x="150" y="162"/>
                  </a:lnTo>
                  <a:lnTo>
                    <a:pt x="149" y="162"/>
                  </a:lnTo>
                  <a:lnTo>
                    <a:pt x="148" y="162"/>
                  </a:lnTo>
                  <a:lnTo>
                    <a:pt x="147" y="162"/>
                  </a:lnTo>
                  <a:lnTo>
                    <a:pt x="148" y="161"/>
                  </a:lnTo>
                  <a:lnTo>
                    <a:pt x="149" y="161"/>
                  </a:lnTo>
                  <a:lnTo>
                    <a:pt x="150" y="161"/>
                  </a:lnTo>
                  <a:lnTo>
                    <a:pt x="151" y="161"/>
                  </a:lnTo>
                  <a:lnTo>
                    <a:pt x="152" y="161"/>
                  </a:lnTo>
                  <a:lnTo>
                    <a:pt x="152" y="160"/>
                  </a:lnTo>
                  <a:lnTo>
                    <a:pt x="151" y="160"/>
                  </a:lnTo>
                  <a:lnTo>
                    <a:pt x="150" y="160"/>
                  </a:lnTo>
                  <a:lnTo>
                    <a:pt x="150" y="159"/>
                  </a:lnTo>
                  <a:lnTo>
                    <a:pt x="152" y="159"/>
                  </a:lnTo>
                  <a:lnTo>
                    <a:pt x="154" y="159"/>
                  </a:lnTo>
                  <a:lnTo>
                    <a:pt x="154" y="158"/>
                  </a:lnTo>
                  <a:lnTo>
                    <a:pt x="152" y="158"/>
                  </a:lnTo>
                  <a:lnTo>
                    <a:pt x="151" y="158"/>
                  </a:lnTo>
                  <a:lnTo>
                    <a:pt x="149" y="158"/>
                  </a:lnTo>
                  <a:lnTo>
                    <a:pt x="148" y="159"/>
                  </a:lnTo>
                  <a:lnTo>
                    <a:pt x="147" y="159"/>
                  </a:lnTo>
                  <a:lnTo>
                    <a:pt x="143" y="159"/>
                  </a:lnTo>
                  <a:lnTo>
                    <a:pt x="144" y="158"/>
                  </a:lnTo>
                  <a:lnTo>
                    <a:pt x="145" y="158"/>
                  </a:lnTo>
                  <a:lnTo>
                    <a:pt x="147" y="158"/>
                  </a:lnTo>
                  <a:lnTo>
                    <a:pt x="148" y="158"/>
                  </a:lnTo>
                  <a:lnTo>
                    <a:pt x="147" y="158"/>
                  </a:lnTo>
                  <a:lnTo>
                    <a:pt x="144" y="158"/>
                  </a:lnTo>
                  <a:lnTo>
                    <a:pt x="143" y="158"/>
                  </a:lnTo>
                  <a:lnTo>
                    <a:pt x="142" y="159"/>
                  </a:lnTo>
                  <a:lnTo>
                    <a:pt x="141" y="159"/>
                  </a:lnTo>
                  <a:lnTo>
                    <a:pt x="141" y="158"/>
                  </a:lnTo>
                  <a:lnTo>
                    <a:pt x="140" y="158"/>
                  </a:lnTo>
                  <a:lnTo>
                    <a:pt x="137" y="158"/>
                  </a:lnTo>
                  <a:lnTo>
                    <a:pt x="136" y="158"/>
                  </a:lnTo>
                  <a:lnTo>
                    <a:pt x="135" y="158"/>
                  </a:lnTo>
                  <a:lnTo>
                    <a:pt x="134" y="158"/>
                  </a:lnTo>
                  <a:lnTo>
                    <a:pt x="133" y="158"/>
                  </a:lnTo>
                  <a:lnTo>
                    <a:pt x="133" y="156"/>
                  </a:lnTo>
                  <a:lnTo>
                    <a:pt x="131" y="156"/>
                  </a:lnTo>
                  <a:lnTo>
                    <a:pt x="131" y="155"/>
                  </a:lnTo>
                  <a:lnTo>
                    <a:pt x="129" y="154"/>
                  </a:lnTo>
                  <a:lnTo>
                    <a:pt x="126" y="153"/>
                  </a:lnTo>
                  <a:lnTo>
                    <a:pt x="123" y="153"/>
                  </a:lnTo>
                  <a:lnTo>
                    <a:pt x="120" y="153"/>
                  </a:lnTo>
                  <a:lnTo>
                    <a:pt x="119" y="153"/>
                  </a:lnTo>
                  <a:lnTo>
                    <a:pt x="119" y="152"/>
                  </a:lnTo>
                  <a:lnTo>
                    <a:pt x="117" y="152"/>
                  </a:lnTo>
                  <a:lnTo>
                    <a:pt x="116" y="151"/>
                  </a:lnTo>
                  <a:lnTo>
                    <a:pt x="115" y="149"/>
                  </a:lnTo>
                  <a:lnTo>
                    <a:pt x="114" y="149"/>
                  </a:lnTo>
                  <a:lnTo>
                    <a:pt x="115" y="149"/>
                  </a:lnTo>
                  <a:lnTo>
                    <a:pt x="115" y="148"/>
                  </a:lnTo>
                  <a:lnTo>
                    <a:pt x="116" y="148"/>
                  </a:lnTo>
                  <a:lnTo>
                    <a:pt x="117" y="147"/>
                  </a:lnTo>
                  <a:lnTo>
                    <a:pt x="119" y="147"/>
                  </a:lnTo>
                  <a:lnTo>
                    <a:pt x="120" y="147"/>
                  </a:lnTo>
                  <a:lnTo>
                    <a:pt x="122" y="147"/>
                  </a:lnTo>
                  <a:lnTo>
                    <a:pt x="123" y="147"/>
                  </a:lnTo>
                  <a:lnTo>
                    <a:pt x="124" y="147"/>
                  </a:lnTo>
                  <a:lnTo>
                    <a:pt x="126" y="148"/>
                  </a:lnTo>
                  <a:lnTo>
                    <a:pt x="127" y="148"/>
                  </a:lnTo>
                  <a:lnTo>
                    <a:pt x="129" y="148"/>
                  </a:lnTo>
                  <a:lnTo>
                    <a:pt x="133" y="148"/>
                  </a:lnTo>
                  <a:lnTo>
                    <a:pt x="136" y="148"/>
                  </a:lnTo>
                  <a:lnTo>
                    <a:pt x="137" y="149"/>
                  </a:lnTo>
                  <a:lnTo>
                    <a:pt x="138" y="151"/>
                  </a:lnTo>
                  <a:lnTo>
                    <a:pt x="140" y="151"/>
                  </a:lnTo>
                  <a:lnTo>
                    <a:pt x="141" y="152"/>
                  </a:lnTo>
                  <a:lnTo>
                    <a:pt x="142" y="152"/>
                  </a:lnTo>
                  <a:lnTo>
                    <a:pt x="143" y="153"/>
                  </a:lnTo>
                  <a:lnTo>
                    <a:pt x="144" y="152"/>
                  </a:lnTo>
                  <a:lnTo>
                    <a:pt x="147" y="153"/>
                  </a:lnTo>
                  <a:lnTo>
                    <a:pt x="148" y="153"/>
                  </a:lnTo>
                  <a:lnTo>
                    <a:pt x="150" y="153"/>
                  </a:lnTo>
                  <a:lnTo>
                    <a:pt x="151" y="154"/>
                  </a:lnTo>
                  <a:lnTo>
                    <a:pt x="152" y="154"/>
                  </a:lnTo>
                  <a:lnTo>
                    <a:pt x="152" y="153"/>
                  </a:lnTo>
                  <a:lnTo>
                    <a:pt x="151" y="153"/>
                  </a:lnTo>
                  <a:lnTo>
                    <a:pt x="152" y="153"/>
                  </a:lnTo>
                  <a:lnTo>
                    <a:pt x="152" y="152"/>
                  </a:lnTo>
                  <a:lnTo>
                    <a:pt x="154" y="152"/>
                  </a:lnTo>
                  <a:lnTo>
                    <a:pt x="155" y="152"/>
                  </a:lnTo>
                  <a:lnTo>
                    <a:pt x="155" y="151"/>
                  </a:lnTo>
                  <a:lnTo>
                    <a:pt x="154" y="151"/>
                  </a:lnTo>
                  <a:lnTo>
                    <a:pt x="154" y="152"/>
                  </a:lnTo>
                  <a:lnTo>
                    <a:pt x="152" y="152"/>
                  </a:lnTo>
                  <a:lnTo>
                    <a:pt x="151" y="153"/>
                  </a:lnTo>
                  <a:lnTo>
                    <a:pt x="149" y="153"/>
                  </a:lnTo>
                  <a:lnTo>
                    <a:pt x="148" y="152"/>
                  </a:lnTo>
                  <a:lnTo>
                    <a:pt x="150" y="152"/>
                  </a:lnTo>
                  <a:lnTo>
                    <a:pt x="149" y="152"/>
                  </a:lnTo>
                  <a:lnTo>
                    <a:pt x="148" y="152"/>
                  </a:lnTo>
                  <a:lnTo>
                    <a:pt x="147" y="152"/>
                  </a:lnTo>
                  <a:lnTo>
                    <a:pt x="147" y="151"/>
                  </a:lnTo>
                  <a:lnTo>
                    <a:pt x="148" y="151"/>
                  </a:lnTo>
                  <a:lnTo>
                    <a:pt x="148" y="149"/>
                  </a:lnTo>
                  <a:lnTo>
                    <a:pt x="148" y="151"/>
                  </a:lnTo>
                  <a:lnTo>
                    <a:pt x="149" y="151"/>
                  </a:lnTo>
                  <a:lnTo>
                    <a:pt x="150" y="151"/>
                  </a:lnTo>
                  <a:lnTo>
                    <a:pt x="150" y="152"/>
                  </a:lnTo>
                  <a:lnTo>
                    <a:pt x="151" y="151"/>
                  </a:lnTo>
                  <a:lnTo>
                    <a:pt x="150" y="151"/>
                  </a:lnTo>
                  <a:lnTo>
                    <a:pt x="151" y="151"/>
                  </a:lnTo>
                  <a:lnTo>
                    <a:pt x="152" y="151"/>
                  </a:lnTo>
                  <a:lnTo>
                    <a:pt x="151" y="151"/>
                  </a:lnTo>
                  <a:lnTo>
                    <a:pt x="151" y="149"/>
                  </a:lnTo>
                  <a:lnTo>
                    <a:pt x="151" y="151"/>
                  </a:lnTo>
                  <a:lnTo>
                    <a:pt x="150" y="151"/>
                  </a:lnTo>
                  <a:lnTo>
                    <a:pt x="150" y="149"/>
                  </a:lnTo>
                  <a:lnTo>
                    <a:pt x="151" y="149"/>
                  </a:lnTo>
                  <a:lnTo>
                    <a:pt x="152" y="149"/>
                  </a:lnTo>
                  <a:lnTo>
                    <a:pt x="154" y="149"/>
                  </a:lnTo>
                  <a:lnTo>
                    <a:pt x="151" y="149"/>
                  </a:lnTo>
                  <a:lnTo>
                    <a:pt x="149" y="149"/>
                  </a:lnTo>
                  <a:lnTo>
                    <a:pt x="150" y="149"/>
                  </a:lnTo>
                  <a:lnTo>
                    <a:pt x="150" y="148"/>
                  </a:lnTo>
                  <a:lnTo>
                    <a:pt x="149" y="148"/>
                  </a:lnTo>
                  <a:lnTo>
                    <a:pt x="149" y="149"/>
                  </a:lnTo>
                  <a:lnTo>
                    <a:pt x="148" y="149"/>
                  </a:lnTo>
                  <a:lnTo>
                    <a:pt x="147" y="149"/>
                  </a:lnTo>
                  <a:lnTo>
                    <a:pt x="147" y="148"/>
                  </a:lnTo>
                  <a:lnTo>
                    <a:pt x="148" y="148"/>
                  </a:lnTo>
                  <a:lnTo>
                    <a:pt x="148" y="147"/>
                  </a:lnTo>
                  <a:lnTo>
                    <a:pt x="149" y="147"/>
                  </a:lnTo>
                  <a:lnTo>
                    <a:pt x="150" y="148"/>
                  </a:lnTo>
                  <a:lnTo>
                    <a:pt x="151" y="148"/>
                  </a:lnTo>
                  <a:lnTo>
                    <a:pt x="152" y="148"/>
                  </a:lnTo>
                  <a:lnTo>
                    <a:pt x="154" y="148"/>
                  </a:lnTo>
                  <a:lnTo>
                    <a:pt x="155" y="148"/>
                  </a:lnTo>
                  <a:lnTo>
                    <a:pt x="154" y="148"/>
                  </a:lnTo>
                  <a:lnTo>
                    <a:pt x="152" y="147"/>
                  </a:lnTo>
                  <a:lnTo>
                    <a:pt x="154" y="147"/>
                  </a:lnTo>
                  <a:lnTo>
                    <a:pt x="152" y="146"/>
                  </a:lnTo>
                  <a:lnTo>
                    <a:pt x="152" y="147"/>
                  </a:lnTo>
                  <a:lnTo>
                    <a:pt x="151" y="147"/>
                  </a:lnTo>
                  <a:lnTo>
                    <a:pt x="150" y="147"/>
                  </a:lnTo>
                  <a:lnTo>
                    <a:pt x="149" y="147"/>
                  </a:lnTo>
                  <a:lnTo>
                    <a:pt x="150" y="147"/>
                  </a:lnTo>
                  <a:lnTo>
                    <a:pt x="150" y="146"/>
                  </a:lnTo>
                  <a:lnTo>
                    <a:pt x="148" y="146"/>
                  </a:lnTo>
                  <a:lnTo>
                    <a:pt x="147" y="146"/>
                  </a:lnTo>
                  <a:lnTo>
                    <a:pt x="145" y="146"/>
                  </a:lnTo>
                  <a:lnTo>
                    <a:pt x="143" y="145"/>
                  </a:lnTo>
                  <a:lnTo>
                    <a:pt x="144" y="145"/>
                  </a:lnTo>
                  <a:lnTo>
                    <a:pt x="144" y="144"/>
                  </a:lnTo>
                  <a:lnTo>
                    <a:pt x="148" y="145"/>
                  </a:lnTo>
                  <a:lnTo>
                    <a:pt x="150" y="146"/>
                  </a:lnTo>
                  <a:lnTo>
                    <a:pt x="152" y="146"/>
                  </a:lnTo>
                  <a:lnTo>
                    <a:pt x="152" y="145"/>
                  </a:lnTo>
                  <a:lnTo>
                    <a:pt x="154" y="145"/>
                  </a:lnTo>
                  <a:lnTo>
                    <a:pt x="150" y="145"/>
                  </a:lnTo>
                  <a:lnTo>
                    <a:pt x="149" y="145"/>
                  </a:lnTo>
                  <a:lnTo>
                    <a:pt x="148" y="144"/>
                  </a:lnTo>
                  <a:lnTo>
                    <a:pt x="149" y="144"/>
                  </a:lnTo>
                  <a:lnTo>
                    <a:pt x="150" y="144"/>
                  </a:lnTo>
                  <a:lnTo>
                    <a:pt x="149" y="144"/>
                  </a:lnTo>
                  <a:lnTo>
                    <a:pt x="151" y="144"/>
                  </a:lnTo>
                  <a:lnTo>
                    <a:pt x="150" y="144"/>
                  </a:lnTo>
                  <a:lnTo>
                    <a:pt x="148" y="144"/>
                  </a:lnTo>
                  <a:lnTo>
                    <a:pt x="147" y="144"/>
                  </a:lnTo>
                  <a:lnTo>
                    <a:pt x="145" y="144"/>
                  </a:lnTo>
                  <a:lnTo>
                    <a:pt x="144" y="144"/>
                  </a:lnTo>
                  <a:lnTo>
                    <a:pt x="143" y="144"/>
                  </a:lnTo>
                  <a:lnTo>
                    <a:pt x="141" y="144"/>
                  </a:lnTo>
                  <a:lnTo>
                    <a:pt x="142" y="142"/>
                  </a:lnTo>
                  <a:lnTo>
                    <a:pt x="143" y="142"/>
                  </a:lnTo>
                  <a:lnTo>
                    <a:pt x="145" y="141"/>
                  </a:lnTo>
                  <a:lnTo>
                    <a:pt x="148" y="141"/>
                  </a:lnTo>
                  <a:lnTo>
                    <a:pt x="149" y="141"/>
                  </a:lnTo>
                  <a:lnTo>
                    <a:pt x="148" y="140"/>
                  </a:lnTo>
                  <a:lnTo>
                    <a:pt x="147" y="140"/>
                  </a:lnTo>
                  <a:lnTo>
                    <a:pt x="143" y="141"/>
                  </a:lnTo>
                  <a:lnTo>
                    <a:pt x="143" y="142"/>
                  </a:lnTo>
                  <a:lnTo>
                    <a:pt x="141" y="142"/>
                  </a:lnTo>
                  <a:lnTo>
                    <a:pt x="140" y="142"/>
                  </a:lnTo>
                  <a:lnTo>
                    <a:pt x="138" y="144"/>
                  </a:lnTo>
                  <a:lnTo>
                    <a:pt x="138" y="142"/>
                  </a:lnTo>
                  <a:lnTo>
                    <a:pt x="141" y="142"/>
                  </a:lnTo>
                  <a:lnTo>
                    <a:pt x="141" y="141"/>
                  </a:lnTo>
                  <a:lnTo>
                    <a:pt x="142" y="141"/>
                  </a:lnTo>
                  <a:lnTo>
                    <a:pt x="142" y="140"/>
                  </a:lnTo>
                  <a:lnTo>
                    <a:pt x="144" y="140"/>
                  </a:lnTo>
                  <a:lnTo>
                    <a:pt x="145" y="139"/>
                  </a:lnTo>
                  <a:lnTo>
                    <a:pt x="147" y="139"/>
                  </a:lnTo>
                  <a:lnTo>
                    <a:pt x="149" y="139"/>
                  </a:lnTo>
                  <a:lnTo>
                    <a:pt x="151" y="139"/>
                  </a:lnTo>
                  <a:lnTo>
                    <a:pt x="152" y="139"/>
                  </a:lnTo>
                  <a:lnTo>
                    <a:pt x="151" y="139"/>
                  </a:lnTo>
                  <a:lnTo>
                    <a:pt x="149" y="138"/>
                  </a:lnTo>
                  <a:lnTo>
                    <a:pt x="144" y="139"/>
                  </a:lnTo>
                  <a:lnTo>
                    <a:pt x="143" y="140"/>
                  </a:lnTo>
                  <a:lnTo>
                    <a:pt x="142" y="140"/>
                  </a:lnTo>
                  <a:lnTo>
                    <a:pt x="141" y="140"/>
                  </a:lnTo>
                  <a:lnTo>
                    <a:pt x="138" y="140"/>
                  </a:lnTo>
                  <a:lnTo>
                    <a:pt x="135" y="139"/>
                  </a:lnTo>
                  <a:lnTo>
                    <a:pt x="136" y="139"/>
                  </a:lnTo>
                  <a:lnTo>
                    <a:pt x="137" y="139"/>
                  </a:lnTo>
                  <a:lnTo>
                    <a:pt x="138" y="138"/>
                  </a:lnTo>
                  <a:lnTo>
                    <a:pt x="143" y="138"/>
                  </a:lnTo>
                  <a:lnTo>
                    <a:pt x="144" y="138"/>
                  </a:lnTo>
                  <a:lnTo>
                    <a:pt x="149" y="137"/>
                  </a:lnTo>
                  <a:lnTo>
                    <a:pt x="150" y="137"/>
                  </a:lnTo>
                  <a:lnTo>
                    <a:pt x="150" y="135"/>
                  </a:lnTo>
                  <a:lnTo>
                    <a:pt x="149" y="135"/>
                  </a:lnTo>
                  <a:lnTo>
                    <a:pt x="149" y="137"/>
                  </a:lnTo>
                  <a:lnTo>
                    <a:pt x="148" y="137"/>
                  </a:lnTo>
                  <a:lnTo>
                    <a:pt x="144" y="137"/>
                  </a:lnTo>
                  <a:lnTo>
                    <a:pt x="141" y="137"/>
                  </a:lnTo>
                  <a:lnTo>
                    <a:pt x="141" y="135"/>
                  </a:lnTo>
                  <a:lnTo>
                    <a:pt x="141" y="137"/>
                  </a:lnTo>
                  <a:lnTo>
                    <a:pt x="137" y="135"/>
                  </a:lnTo>
                  <a:lnTo>
                    <a:pt x="135" y="135"/>
                  </a:lnTo>
                  <a:lnTo>
                    <a:pt x="136" y="134"/>
                  </a:lnTo>
                  <a:lnTo>
                    <a:pt x="137" y="134"/>
                  </a:lnTo>
                  <a:lnTo>
                    <a:pt x="138" y="134"/>
                  </a:lnTo>
                  <a:lnTo>
                    <a:pt x="140" y="134"/>
                  </a:lnTo>
                  <a:lnTo>
                    <a:pt x="140" y="133"/>
                  </a:lnTo>
                  <a:lnTo>
                    <a:pt x="141" y="133"/>
                  </a:lnTo>
                  <a:lnTo>
                    <a:pt x="141" y="132"/>
                  </a:lnTo>
                  <a:lnTo>
                    <a:pt x="142" y="132"/>
                  </a:lnTo>
                  <a:lnTo>
                    <a:pt x="141" y="132"/>
                  </a:lnTo>
                  <a:lnTo>
                    <a:pt x="138" y="133"/>
                  </a:lnTo>
                  <a:lnTo>
                    <a:pt x="138" y="134"/>
                  </a:lnTo>
                  <a:lnTo>
                    <a:pt x="136" y="134"/>
                  </a:lnTo>
                  <a:lnTo>
                    <a:pt x="135" y="134"/>
                  </a:lnTo>
                  <a:lnTo>
                    <a:pt x="135" y="135"/>
                  </a:lnTo>
                  <a:lnTo>
                    <a:pt x="134" y="135"/>
                  </a:lnTo>
                  <a:lnTo>
                    <a:pt x="134" y="134"/>
                  </a:lnTo>
                  <a:lnTo>
                    <a:pt x="135" y="134"/>
                  </a:lnTo>
                  <a:lnTo>
                    <a:pt x="135" y="133"/>
                  </a:lnTo>
                  <a:lnTo>
                    <a:pt x="135" y="132"/>
                  </a:lnTo>
                  <a:lnTo>
                    <a:pt x="135" y="131"/>
                  </a:lnTo>
                  <a:lnTo>
                    <a:pt x="133" y="131"/>
                  </a:lnTo>
                  <a:lnTo>
                    <a:pt x="133" y="130"/>
                  </a:lnTo>
                  <a:lnTo>
                    <a:pt x="134" y="128"/>
                  </a:lnTo>
                  <a:lnTo>
                    <a:pt x="133" y="128"/>
                  </a:lnTo>
                  <a:lnTo>
                    <a:pt x="133" y="127"/>
                  </a:lnTo>
                  <a:lnTo>
                    <a:pt x="134" y="127"/>
                  </a:lnTo>
                  <a:lnTo>
                    <a:pt x="136" y="127"/>
                  </a:lnTo>
                  <a:lnTo>
                    <a:pt x="133" y="127"/>
                  </a:lnTo>
                  <a:lnTo>
                    <a:pt x="131" y="127"/>
                  </a:lnTo>
                  <a:lnTo>
                    <a:pt x="133" y="128"/>
                  </a:lnTo>
                  <a:lnTo>
                    <a:pt x="133" y="130"/>
                  </a:lnTo>
                  <a:lnTo>
                    <a:pt x="131" y="130"/>
                  </a:lnTo>
                  <a:lnTo>
                    <a:pt x="133" y="131"/>
                  </a:lnTo>
                  <a:lnTo>
                    <a:pt x="134" y="131"/>
                  </a:lnTo>
                  <a:lnTo>
                    <a:pt x="134" y="132"/>
                  </a:lnTo>
                  <a:lnTo>
                    <a:pt x="134" y="133"/>
                  </a:lnTo>
                  <a:lnTo>
                    <a:pt x="134" y="134"/>
                  </a:lnTo>
                  <a:lnTo>
                    <a:pt x="133" y="134"/>
                  </a:lnTo>
                  <a:lnTo>
                    <a:pt x="131" y="135"/>
                  </a:lnTo>
                  <a:lnTo>
                    <a:pt x="130" y="135"/>
                  </a:lnTo>
                  <a:lnTo>
                    <a:pt x="129" y="135"/>
                  </a:lnTo>
                  <a:lnTo>
                    <a:pt x="128" y="135"/>
                  </a:lnTo>
                  <a:lnTo>
                    <a:pt x="129" y="135"/>
                  </a:lnTo>
                  <a:lnTo>
                    <a:pt x="130" y="135"/>
                  </a:lnTo>
                  <a:lnTo>
                    <a:pt x="130" y="137"/>
                  </a:lnTo>
                  <a:lnTo>
                    <a:pt x="129" y="137"/>
                  </a:lnTo>
                  <a:lnTo>
                    <a:pt x="128" y="137"/>
                  </a:lnTo>
                  <a:lnTo>
                    <a:pt x="127" y="137"/>
                  </a:lnTo>
                  <a:lnTo>
                    <a:pt x="127" y="135"/>
                  </a:lnTo>
                  <a:lnTo>
                    <a:pt x="127" y="137"/>
                  </a:lnTo>
                  <a:lnTo>
                    <a:pt x="126" y="137"/>
                  </a:lnTo>
                  <a:lnTo>
                    <a:pt x="127" y="137"/>
                  </a:lnTo>
                  <a:lnTo>
                    <a:pt x="128" y="138"/>
                  </a:lnTo>
                  <a:lnTo>
                    <a:pt x="127" y="139"/>
                  </a:lnTo>
                  <a:lnTo>
                    <a:pt x="126" y="139"/>
                  </a:lnTo>
                  <a:lnTo>
                    <a:pt x="124" y="139"/>
                  </a:lnTo>
                  <a:lnTo>
                    <a:pt x="123" y="140"/>
                  </a:lnTo>
                  <a:lnTo>
                    <a:pt x="122" y="140"/>
                  </a:lnTo>
                  <a:lnTo>
                    <a:pt x="121" y="140"/>
                  </a:lnTo>
                  <a:lnTo>
                    <a:pt x="120" y="140"/>
                  </a:lnTo>
                  <a:lnTo>
                    <a:pt x="119" y="140"/>
                  </a:lnTo>
                  <a:lnTo>
                    <a:pt x="117" y="140"/>
                  </a:lnTo>
                  <a:lnTo>
                    <a:pt x="116" y="140"/>
                  </a:lnTo>
                  <a:lnTo>
                    <a:pt x="116" y="139"/>
                  </a:lnTo>
                  <a:lnTo>
                    <a:pt x="115" y="139"/>
                  </a:lnTo>
                  <a:lnTo>
                    <a:pt x="114" y="139"/>
                  </a:lnTo>
                  <a:lnTo>
                    <a:pt x="113" y="139"/>
                  </a:lnTo>
                  <a:lnTo>
                    <a:pt x="114" y="139"/>
                  </a:lnTo>
                  <a:lnTo>
                    <a:pt x="114" y="140"/>
                  </a:lnTo>
                  <a:lnTo>
                    <a:pt x="113" y="140"/>
                  </a:lnTo>
                  <a:lnTo>
                    <a:pt x="112" y="140"/>
                  </a:lnTo>
                  <a:lnTo>
                    <a:pt x="112" y="139"/>
                  </a:lnTo>
                  <a:lnTo>
                    <a:pt x="111" y="139"/>
                  </a:lnTo>
                  <a:lnTo>
                    <a:pt x="111" y="138"/>
                  </a:lnTo>
                  <a:lnTo>
                    <a:pt x="111" y="137"/>
                  </a:lnTo>
                  <a:lnTo>
                    <a:pt x="112" y="137"/>
                  </a:lnTo>
                  <a:lnTo>
                    <a:pt x="109" y="137"/>
                  </a:lnTo>
                  <a:lnTo>
                    <a:pt x="108" y="137"/>
                  </a:lnTo>
                  <a:lnTo>
                    <a:pt x="109" y="135"/>
                  </a:lnTo>
                  <a:lnTo>
                    <a:pt x="111" y="135"/>
                  </a:lnTo>
                  <a:lnTo>
                    <a:pt x="112" y="135"/>
                  </a:lnTo>
                  <a:lnTo>
                    <a:pt x="113" y="135"/>
                  </a:lnTo>
                  <a:lnTo>
                    <a:pt x="114" y="134"/>
                  </a:lnTo>
                  <a:lnTo>
                    <a:pt x="115" y="135"/>
                  </a:lnTo>
                  <a:lnTo>
                    <a:pt x="115" y="134"/>
                  </a:lnTo>
                  <a:lnTo>
                    <a:pt x="115" y="133"/>
                  </a:lnTo>
                  <a:lnTo>
                    <a:pt x="116" y="133"/>
                  </a:lnTo>
                  <a:lnTo>
                    <a:pt x="120" y="133"/>
                  </a:lnTo>
                  <a:lnTo>
                    <a:pt x="124" y="132"/>
                  </a:lnTo>
                  <a:lnTo>
                    <a:pt x="124" y="131"/>
                  </a:lnTo>
                  <a:lnTo>
                    <a:pt x="126" y="131"/>
                  </a:lnTo>
                  <a:lnTo>
                    <a:pt x="126" y="130"/>
                  </a:lnTo>
                  <a:lnTo>
                    <a:pt x="127" y="130"/>
                  </a:lnTo>
                  <a:lnTo>
                    <a:pt x="126" y="130"/>
                  </a:lnTo>
                  <a:lnTo>
                    <a:pt x="124" y="131"/>
                  </a:lnTo>
                  <a:lnTo>
                    <a:pt x="123" y="131"/>
                  </a:lnTo>
                  <a:lnTo>
                    <a:pt x="123" y="132"/>
                  </a:lnTo>
                  <a:lnTo>
                    <a:pt x="122" y="132"/>
                  </a:lnTo>
                  <a:lnTo>
                    <a:pt x="121" y="132"/>
                  </a:lnTo>
                  <a:lnTo>
                    <a:pt x="121" y="133"/>
                  </a:lnTo>
                  <a:lnTo>
                    <a:pt x="120" y="133"/>
                  </a:lnTo>
                  <a:lnTo>
                    <a:pt x="116" y="133"/>
                  </a:lnTo>
                  <a:lnTo>
                    <a:pt x="114" y="132"/>
                  </a:lnTo>
                  <a:lnTo>
                    <a:pt x="115" y="131"/>
                  </a:lnTo>
                  <a:lnTo>
                    <a:pt x="116" y="131"/>
                  </a:lnTo>
                  <a:lnTo>
                    <a:pt x="117" y="131"/>
                  </a:lnTo>
                  <a:lnTo>
                    <a:pt x="116" y="131"/>
                  </a:lnTo>
                  <a:lnTo>
                    <a:pt x="119" y="131"/>
                  </a:lnTo>
                  <a:lnTo>
                    <a:pt x="120" y="130"/>
                  </a:lnTo>
                  <a:lnTo>
                    <a:pt x="122" y="128"/>
                  </a:lnTo>
                  <a:lnTo>
                    <a:pt x="123" y="127"/>
                  </a:lnTo>
                  <a:lnTo>
                    <a:pt x="122" y="127"/>
                  </a:lnTo>
                  <a:lnTo>
                    <a:pt x="123" y="127"/>
                  </a:lnTo>
                  <a:lnTo>
                    <a:pt x="124" y="127"/>
                  </a:lnTo>
                  <a:lnTo>
                    <a:pt x="126" y="127"/>
                  </a:lnTo>
                  <a:lnTo>
                    <a:pt x="124" y="127"/>
                  </a:lnTo>
                  <a:lnTo>
                    <a:pt x="123" y="127"/>
                  </a:lnTo>
                  <a:lnTo>
                    <a:pt x="122" y="127"/>
                  </a:lnTo>
                  <a:lnTo>
                    <a:pt x="123" y="126"/>
                  </a:lnTo>
                  <a:lnTo>
                    <a:pt x="122" y="126"/>
                  </a:lnTo>
                  <a:lnTo>
                    <a:pt x="122" y="127"/>
                  </a:lnTo>
                  <a:lnTo>
                    <a:pt x="121" y="127"/>
                  </a:lnTo>
                  <a:lnTo>
                    <a:pt x="120" y="127"/>
                  </a:lnTo>
                  <a:lnTo>
                    <a:pt x="120" y="126"/>
                  </a:lnTo>
                  <a:lnTo>
                    <a:pt x="119" y="126"/>
                  </a:lnTo>
                  <a:lnTo>
                    <a:pt x="119" y="127"/>
                  </a:lnTo>
                  <a:lnTo>
                    <a:pt x="119" y="126"/>
                  </a:lnTo>
                  <a:lnTo>
                    <a:pt x="119" y="127"/>
                  </a:lnTo>
                  <a:lnTo>
                    <a:pt x="117" y="127"/>
                  </a:lnTo>
                  <a:lnTo>
                    <a:pt x="116" y="127"/>
                  </a:lnTo>
                  <a:lnTo>
                    <a:pt x="116" y="126"/>
                  </a:lnTo>
                  <a:lnTo>
                    <a:pt x="119" y="125"/>
                  </a:lnTo>
                  <a:lnTo>
                    <a:pt x="120" y="125"/>
                  </a:lnTo>
                  <a:lnTo>
                    <a:pt x="120" y="126"/>
                  </a:lnTo>
                  <a:lnTo>
                    <a:pt x="122" y="126"/>
                  </a:lnTo>
                  <a:lnTo>
                    <a:pt x="123" y="126"/>
                  </a:lnTo>
                  <a:lnTo>
                    <a:pt x="126" y="126"/>
                  </a:lnTo>
                  <a:lnTo>
                    <a:pt x="127" y="126"/>
                  </a:lnTo>
                  <a:lnTo>
                    <a:pt x="129" y="126"/>
                  </a:lnTo>
                  <a:lnTo>
                    <a:pt x="130" y="126"/>
                  </a:lnTo>
                  <a:lnTo>
                    <a:pt x="129" y="126"/>
                  </a:lnTo>
                  <a:lnTo>
                    <a:pt x="128" y="125"/>
                  </a:lnTo>
                  <a:lnTo>
                    <a:pt x="128" y="126"/>
                  </a:lnTo>
                  <a:lnTo>
                    <a:pt x="126" y="126"/>
                  </a:lnTo>
                  <a:lnTo>
                    <a:pt x="126" y="125"/>
                  </a:lnTo>
                  <a:lnTo>
                    <a:pt x="124" y="125"/>
                  </a:lnTo>
                  <a:lnTo>
                    <a:pt x="123" y="125"/>
                  </a:lnTo>
                  <a:lnTo>
                    <a:pt x="124" y="125"/>
                  </a:lnTo>
                  <a:lnTo>
                    <a:pt x="124" y="124"/>
                  </a:lnTo>
                  <a:lnTo>
                    <a:pt x="127" y="124"/>
                  </a:lnTo>
                  <a:lnTo>
                    <a:pt x="126" y="124"/>
                  </a:lnTo>
                  <a:lnTo>
                    <a:pt x="127" y="124"/>
                  </a:lnTo>
                  <a:lnTo>
                    <a:pt x="127" y="123"/>
                  </a:lnTo>
                  <a:lnTo>
                    <a:pt x="128" y="124"/>
                  </a:lnTo>
                  <a:lnTo>
                    <a:pt x="128" y="123"/>
                  </a:lnTo>
                  <a:lnTo>
                    <a:pt x="127" y="123"/>
                  </a:lnTo>
                  <a:lnTo>
                    <a:pt x="128" y="123"/>
                  </a:lnTo>
                  <a:lnTo>
                    <a:pt x="129" y="123"/>
                  </a:lnTo>
                  <a:lnTo>
                    <a:pt x="129" y="121"/>
                  </a:lnTo>
                  <a:lnTo>
                    <a:pt x="128" y="123"/>
                  </a:lnTo>
                  <a:lnTo>
                    <a:pt x="127" y="123"/>
                  </a:lnTo>
                  <a:lnTo>
                    <a:pt x="126" y="123"/>
                  </a:lnTo>
                  <a:lnTo>
                    <a:pt x="126" y="121"/>
                  </a:lnTo>
                  <a:lnTo>
                    <a:pt x="127" y="121"/>
                  </a:lnTo>
                  <a:lnTo>
                    <a:pt x="128" y="121"/>
                  </a:lnTo>
                  <a:lnTo>
                    <a:pt x="129" y="121"/>
                  </a:lnTo>
                  <a:lnTo>
                    <a:pt x="129" y="120"/>
                  </a:lnTo>
                  <a:lnTo>
                    <a:pt x="128" y="120"/>
                  </a:lnTo>
                  <a:lnTo>
                    <a:pt x="128" y="119"/>
                  </a:lnTo>
                  <a:lnTo>
                    <a:pt x="129" y="119"/>
                  </a:lnTo>
                  <a:lnTo>
                    <a:pt x="128" y="119"/>
                  </a:lnTo>
                  <a:lnTo>
                    <a:pt x="127" y="119"/>
                  </a:lnTo>
                  <a:lnTo>
                    <a:pt x="126" y="119"/>
                  </a:lnTo>
                  <a:lnTo>
                    <a:pt x="127" y="119"/>
                  </a:lnTo>
                  <a:lnTo>
                    <a:pt x="127" y="118"/>
                  </a:lnTo>
                  <a:lnTo>
                    <a:pt x="126" y="119"/>
                  </a:lnTo>
                  <a:lnTo>
                    <a:pt x="124" y="119"/>
                  </a:lnTo>
                  <a:lnTo>
                    <a:pt x="123" y="119"/>
                  </a:lnTo>
                  <a:lnTo>
                    <a:pt x="122" y="118"/>
                  </a:lnTo>
                  <a:lnTo>
                    <a:pt x="121" y="118"/>
                  </a:lnTo>
                  <a:lnTo>
                    <a:pt x="120" y="118"/>
                  </a:lnTo>
                  <a:lnTo>
                    <a:pt x="121" y="118"/>
                  </a:lnTo>
                  <a:lnTo>
                    <a:pt x="122" y="118"/>
                  </a:lnTo>
                  <a:lnTo>
                    <a:pt x="123" y="118"/>
                  </a:lnTo>
                  <a:lnTo>
                    <a:pt x="123" y="117"/>
                  </a:lnTo>
                  <a:lnTo>
                    <a:pt x="124" y="117"/>
                  </a:lnTo>
                  <a:lnTo>
                    <a:pt x="123" y="117"/>
                  </a:lnTo>
                  <a:lnTo>
                    <a:pt x="126" y="117"/>
                  </a:lnTo>
                  <a:lnTo>
                    <a:pt x="127" y="117"/>
                  </a:lnTo>
                  <a:lnTo>
                    <a:pt x="126" y="117"/>
                  </a:lnTo>
                  <a:lnTo>
                    <a:pt x="126" y="116"/>
                  </a:lnTo>
                  <a:lnTo>
                    <a:pt x="124" y="116"/>
                  </a:lnTo>
                  <a:lnTo>
                    <a:pt x="123" y="116"/>
                  </a:lnTo>
                  <a:lnTo>
                    <a:pt x="124" y="116"/>
                  </a:lnTo>
                  <a:lnTo>
                    <a:pt x="126" y="116"/>
                  </a:lnTo>
                  <a:lnTo>
                    <a:pt x="126" y="114"/>
                  </a:lnTo>
                  <a:lnTo>
                    <a:pt x="127" y="114"/>
                  </a:lnTo>
                  <a:lnTo>
                    <a:pt x="128" y="114"/>
                  </a:lnTo>
                  <a:lnTo>
                    <a:pt x="124" y="113"/>
                  </a:lnTo>
                  <a:lnTo>
                    <a:pt x="124" y="112"/>
                  </a:lnTo>
                  <a:lnTo>
                    <a:pt x="123" y="112"/>
                  </a:lnTo>
                  <a:lnTo>
                    <a:pt x="123" y="111"/>
                  </a:lnTo>
                  <a:lnTo>
                    <a:pt x="122" y="111"/>
                  </a:lnTo>
                  <a:lnTo>
                    <a:pt x="121" y="111"/>
                  </a:lnTo>
                  <a:lnTo>
                    <a:pt x="122" y="111"/>
                  </a:lnTo>
                  <a:lnTo>
                    <a:pt x="123" y="111"/>
                  </a:lnTo>
                  <a:lnTo>
                    <a:pt x="122" y="111"/>
                  </a:lnTo>
                  <a:lnTo>
                    <a:pt x="121" y="111"/>
                  </a:lnTo>
                  <a:lnTo>
                    <a:pt x="122" y="110"/>
                  </a:lnTo>
                  <a:lnTo>
                    <a:pt x="123" y="110"/>
                  </a:lnTo>
                  <a:lnTo>
                    <a:pt x="122" y="110"/>
                  </a:lnTo>
                  <a:lnTo>
                    <a:pt x="123" y="110"/>
                  </a:lnTo>
                  <a:lnTo>
                    <a:pt x="124" y="110"/>
                  </a:lnTo>
                  <a:lnTo>
                    <a:pt x="126" y="110"/>
                  </a:lnTo>
                  <a:lnTo>
                    <a:pt x="124" y="110"/>
                  </a:lnTo>
                  <a:lnTo>
                    <a:pt x="123" y="110"/>
                  </a:lnTo>
                  <a:lnTo>
                    <a:pt x="123" y="109"/>
                  </a:lnTo>
                  <a:lnTo>
                    <a:pt x="124" y="109"/>
                  </a:lnTo>
                  <a:lnTo>
                    <a:pt x="126" y="109"/>
                  </a:lnTo>
                  <a:lnTo>
                    <a:pt x="127" y="109"/>
                  </a:lnTo>
                  <a:lnTo>
                    <a:pt x="126" y="107"/>
                  </a:lnTo>
                  <a:lnTo>
                    <a:pt x="124" y="107"/>
                  </a:lnTo>
                  <a:lnTo>
                    <a:pt x="123" y="107"/>
                  </a:lnTo>
                  <a:lnTo>
                    <a:pt x="123" y="106"/>
                  </a:lnTo>
                  <a:lnTo>
                    <a:pt x="124" y="106"/>
                  </a:lnTo>
                  <a:lnTo>
                    <a:pt x="121" y="106"/>
                  </a:lnTo>
                  <a:lnTo>
                    <a:pt x="121" y="105"/>
                  </a:lnTo>
                  <a:lnTo>
                    <a:pt x="122" y="105"/>
                  </a:lnTo>
                  <a:lnTo>
                    <a:pt x="123" y="105"/>
                  </a:lnTo>
                  <a:lnTo>
                    <a:pt x="122" y="105"/>
                  </a:lnTo>
                  <a:lnTo>
                    <a:pt x="123" y="105"/>
                  </a:lnTo>
                  <a:lnTo>
                    <a:pt x="123" y="104"/>
                  </a:lnTo>
                  <a:lnTo>
                    <a:pt x="124" y="104"/>
                  </a:lnTo>
                  <a:lnTo>
                    <a:pt x="124" y="103"/>
                  </a:lnTo>
                  <a:lnTo>
                    <a:pt x="123" y="104"/>
                  </a:lnTo>
                  <a:lnTo>
                    <a:pt x="120" y="105"/>
                  </a:lnTo>
                  <a:lnTo>
                    <a:pt x="116" y="105"/>
                  </a:lnTo>
                  <a:lnTo>
                    <a:pt x="113" y="105"/>
                  </a:lnTo>
                  <a:lnTo>
                    <a:pt x="114" y="105"/>
                  </a:lnTo>
                  <a:lnTo>
                    <a:pt x="115" y="105"/>
                  </a:lnTo>
                  <a:lnTo>
                    <a:pt x="114" y="105"/>
                  </a:lnTo>
                  <a:lnTo>
                    <a:pt x="114" y="104"/>
                  </a:lnTo>
                  <a:lnTo>
                    <a:pt x="115" y="104"/>
                  </a:lnTo>
                  <a:lnTo>
                    <a:pt x="116" y="104"/>
                  </a:lnTo>
                  <a:lnTo>
                    <a:pt x="119" y="104"/>
                  </a:lnTo>
                  <a:lnTo>
                    <a:pt x="120" y="104"/>
                  </a:lnTo>
                  <a:lnTo>
                    <a:pt x="123" y="103"/>
                  </a:lnTo>
                  <a:lnTo>
                    <a:pt x="121" y="103"/>
                  </a:lnTo>
                  <a:lnTo>
                    <a:pt x="120" y="103"/>
                  </a:lnTo>
                  <a:lnTo>
                    <a:pt x="120" y="102"/>
                  </a:lnTo>
                  <a:lnTo>
                    <a:pt x="121" y="103"/>
                  </a:lnTo>
                  <a:lnTo>
                    <a:pt x="122" y="102"/>
                  </a:lnTo>
                  <a:lnTo>
                    <a:pt x="126" y="102"/>
                  </a:lnTo>
                  <a:lnTo>
                    <a:pt x="122" y="102"/>
                  </a:lnTo>
                  <a:lnTo>
                    <a:pt x="120" y="102"/>
                  </a:lnTo>
                  <a:lnTo>
                    <a:pt x="120" y="100"/>
                  </a:lnTo>
                  <a:lnTo>
                    <a:pt x="121" y="100"/>
                  </a:lnTo>
                  <a:lnTo>
                    <a:pt x="124" y="100"/>
                  </a:lnTo>
                  <a:lnTo>
                    <a:pt x="126" y="100"/>
                  </a:lnTo>
                  <a:lnTo>
                    <a:pt x="127" y="100"/>
                  </a:lnTo>
                  <a:lnTo>
                    <a:pt x="126" y="100"/>
                  </a:lnTo>
                  <a:lnTo>
                    <a:pt x="126" y="99"/>
                  </a:lnTo>
                  <a:lnTo>
                    <a:pt x="127" y="99"/>
                  </a:lnTo>
                  <a:lnTo>
                    <a:pt x="126" y="99"/>
                  </a:lnTo>
                  <a:lnTo>
                    <a:pt x="124" y="99"/>
                  </a:lnTo>
                  <a:lnTo>
                    <a:pt x="123" y="99"/>
                  </a:lnTo>
                  <a:lnTo>
                    <a:pt x="124" y="99"/>
                  </a:lnTo>
                  <a:lnTo>
                    <a:pt x="124" y="98"/>
                  </a:lnTo>
                  <a:lnTo>
                    <a:pt x="122" y="98"/>
                  </a:lnTo>
                  <a:lnTo>
                    <a:pt x="121" y="98"/>
                  </a:lnTo>
                  <a:lnTo>
                    <a:pt x="120" y="98"/>
                  </a:lnTo>
                  <a:lnTo>
                    <a:pt x="119" y="98"/>
                  </a:lnTo>
                  <a:lnTo>
                    <a:pt x="120" y="98"/>
                  </a:lnTo>
                  <a:lnTo>
                    <a:pt x="120" y="97"/>
                  </a:lnTo>
                  <a:lnTo>
                    <a:pt x="119" y="97"/>
                  </a:lnTo>
                  <a:lnTo>
                    <a:pt x="120" y="97"/>
                  </a:lnTo>
                  <a:lnTo>
                    <a:pt x="121" y="97"/>
                  </a:lnTo>
                  <a:lnTo>
                    <a:pt x="122" y="97"/>
                  </a:lnTo>
                  <a:lnTo>
                    <a:pt x="122" y="96"/>
                  </a:lnTo>
                  <a:lnTo>
                    <a:pt x="121" y="96"/>
                  </a:lnTo>
                  <a:lnTo>
                    <a:pt x="121" y="95"/>
                  </a:lnTo>
                  <a:lnTo>
                    <a:pt x="119" y="96"/>
                  </a:lnTo>
                  <a:lnTo>
                    <a:pt x="119" y="95"/>
                  </a:lnTo>
                  <a:lnTo>
                    <a:pt x="117" y="95"/>
                  </a:lnTo>
                  <a:lnTo>
                    <a:pt x="116" y="95"/>
                  </a:lnTo>
                  <a:lnTo>
                    <a:pt x="116" y="93"/>
                  </a:lnTo>
                  <a:lnTo>
                    <a:pt x="115" y="93"/>
                  </a:lnTo>
                  <a:lnTo>
                    <a:pt x="114" y="93"/>
                  </a:lnTo>
                  <a:lnTo>
                    <a:pt x="113" y="93"/>
                  </a:lnTo>
                  <a:lnTo>
                    <a:pt x="112" y="93"/>
                  </a:lnTo>
                  <a:lnTo>
                    <a:pt x="113" y="93"/>
                  </a:lnTo>
                  <a:lnTo>
                    <a:pt x="112" y="92"/>
                  </a:lnTo>
                  <a:lnTo>
                    <a:pt x="114" y="92"/>
                  </a:lnTo>
                  <a:lnTo>
                    <a:pt x="115" y="92"/>
                  </a:lnTo>
                  <a:lnTo>
                    <a:pt x="114" y="92"/>
                  </a:lnTo>
                  <a:lnTo>
                    <a:pt x="113" y="92"/>
                  </a:lnTo>
                  <a:lnTo>
                    <a:pt x="112" y="91"/>
                  </a:lnTo>
                  <a:lnTo>
                    <a:pt x="111" y="90"/>
                  </a:lnTo>
                  <a:lnTo>
                    <a:pt x="112" y="90"/>
                  </a:lnTo>
                  <a:lnTo>
                    <a:pt x="113" y="90"/>
                  </a:lnTo>
                  <a:lnTo>
                    <a:pt x="112" y="90"/>
                  </a:lnTo>
                  <a:lnTo>
                    <a:pt x="113" y="90"/>
                  </a:lnTo>
                  <a:lnTo>
                    <a:pt x="114" y="89"/>
                  </a:lnTo>
                  <a:lnTo>
                    <a:pt x="113" y="89"/>
                  </a:lnTo>
                  <a:lnTo>
                    <a:pt x="112" y="89"/>
                  </a:lnTo>
                  <a:lnTo>
                    <a:pt x="112" y="90"/>
                  </a:lnTo>
                  <a:lnTo>
                    <a:pt x="111" y="90"/>
                  </a:lnTo>
                  <a:lnTo>
                    <a:pt x="109" y="90"/>
                  </a:lnTo>
                  <a:lnTo>
                    <a:pt x="111" y="89"/>
                  </a:lnTo>
                  <a:lnTo>
                    <a:pt x="112" y="89"/>
                  </a:lnTo>
                  <a:lnTo>
                    <a:pt x="113" y="89"/>
                  </a:lnTo>
                  <a:lnTo>
                    <a:pt x="114" y="89"/>
                  </a:lnTo>
                  <a:lnTo>
                    <a:pt x="115" y="89"/>
                  </a:lnTo>
                  <a:lnTo>
                    <a:pt x="115" y="88"/>
                  </a:lnTo>
                  <a:lnTo>
                    <a:pt x="113" y="88"/>
                  </a:lnTo>
                  <a:lnTo>
                    <a:pt x="114" y="86"/>
                  </a:lnTo>
                  <a:lnTo>
                    <a:pt x="115" y="86"/>
                  </a:lnTo>
                  <a:lnTo>
                    <a:pt x="114" y="86"/>
                  </a:lnTo>
                  <a:lnTo>
                    <a:pt x="113" y="86"/>
                  </a:lnTo>
                  <a:lnTo>
                    <a:pt x="113" y="85"/>
                  </a:lnTo>
                  <a:lnTo>
                    <a:pt x="114" y="85"/>
                  </a:lnTo>
                  <a:lnTo>
                    <a:pt x="112" y="85"/>
                  </a:lnTo>
                  <a:lnTo>
                    <a:pt x="111" y="85"/>
                  </a:lnTo>
                  <a:lnTo>
                    <a:pt x="108" y="85"/>
                  </a:lnTo>
                  <a:lnTo>
                    <a:pt x="109" y="85"/>
                  </a:lnTo>
                  <a:lnTo>
                    <a:pt x="108" y="85"/>
                  </a:lnTo>
                  <a:lnTo>
                    <a:pt x="107" y="85"/>
                  </a:lnTo>
                  <a:lnTo>
                    <a:pt x="107" y="84"/>
                  </a:lnTo>
                  <a:lnTo>
                    <a:pt x="108" y="84"/>
                  </a:lnTo>
                  <a:lnTo>
                    <a:pt x="107" y="84"/>
                  </a:lnTo>
                  <a:lnTo>
                    <a:pt x="108" y="84"/>
                  </a:lnTo>
                  <a:lnTo>
                    <a:pt x="108" y="83"/>
                  </a:lnTo>
                  <a:lnTo>
                    <a:pt x="106" y="84"/>
                  </a:lnTo>
                  <a:lnTo>
                    <a:pt x="105" y="84"/>
                  </a:lnTo>
                  <a:lnTo>
                    <a:pt x="104" y="84"/>
                  </a:lnTo>
                  <a:lnTo>
                    <a:pt x="102" y="84"/>
                  </a:lnTo>
                  <a:lnTo>
                    <a:pt x="104" y="84"/>
                  </a:lnTo>
                  <a:lnTo>
                    <a:pt x="104" y="83"/>
                  </a:lnTo>
                  <a:lnTo>
                    <a:pt x="105" y="83"/>
                  </a:lnTo>
                  <a:lnTo>
                    <a:pt x="105" y="82"/>
                  </a:lnTo>
                  <a:lnTo>
                    <a:pt x="104" y="83"/>
                  </a:lnTo>
                  <a:lnTo>
                    <a:pt x="102" y="83"/>
                  </a:lnTo>
                  <a:lnTo>
                    <a:pt x="101" y="83"/>
                  </a:lnTo>
                  <a:lnTo>
                    <a:pt x="102" y="83"/>
                  </a:lnTo>
                  <a:lnTo>
                    <a:pt x="102" y="82"/>
                  </a:lnTo>
                  <a:lnTo>
                    <a:pt x="101" y="82"/>
                  </a:lnTo>
                  <a:lnTo>
                    <a:pt x="98" y="82"/>
                  </a:lnTo>
                  <a:lnTo>
                    <a:pt x="99" y="82"/>
                  </a:lnTo>
                  <a:lnTo>
                    <a:pt x="98" y="82"/>
                  </a:lnTo>
                  <a:lnTo>
                    <a:pt x="98" y="81"/>
                  </a:lnTo>
                  <a:lnTo>
                    <a:pt x="98" y="82"/>
                  </a:lnTo>
                  <a:lnTo>
                    <a:pt x="97" y="82"/>
                  </a:lnTo>
                  <a:lnTo>
                    <a:pt x="95" y="82"/>
                  </a:lnTo>
                  <a:lnTo>
                    <a:pt x="94" y="82"/>
                  </a:lnTo>
                  <a:lnTo>
                    <a:pt x="95" y="82"/>
                  </a:lnTo>
                  <a:lnTo>
                    <a:pt x="95" y="81"/>
                  </a:lnTo>
                  <a:lnTo>
                    <a:pt x="94" y="81"/>
                  </a:lnTo>
                  <a:lnTo>
                    <a:pt x="95" y="81"/>
                  </a:lnTo>
                  <a:lnTo>
                    <a:pt x="95" y="79"/>
                  </a:lnTo>
                  <a:lnTo>
                    <a:pt x="94" y="79"/>
                  </a:lnTo>
                  <a:lnTo>
                    <a:pt x="93" y="81"/>
                  </a:lnTo>
                  <a:lnTo>
                    <a:pt x="92" y="79"/>
                  </a:lnTo>
                  <a:lnTo>
                    <a:pt x="91" y="79"/>
                  </a:lnTo>
                  <a:lnTo>
                    <a:pt x="90" y="79"/>
                  </a:lnTo>
                  <a:lnTo>
                    <a:pt x="88" y="79"/>
                  </a:lnTo>
                  <a:lnTo>
                    <a:pt x="87" y="79"/>
                  </a:lnTo>
                  <a:lnTo>
                    <a:pt x="86" y="79"/>
                  </a:lnTo>
                  <a:lnTo>
                    <a:pt x="85" y="79"/>
                  </a:lnTo>
                  <a:lnTo>
                    <a:pt x="84" y="79"/>
                  </a:lnTo>
                  <a:lnTo>
                    <a:pt x="85" y="79"/>
                  </a:lnTo>
                  <a:lnTo>
                    <a:pt x="85" y="78"/>
                  </a:lnTo>
                  <a:lnTo>
                    <a:pt x="84" y="78"/>
                  </a:lnTo>
                  <a:lnTo>
                    <a:pt x="83" y="78"/>
                  </a:lnTo>
                  <a:lnTo>
                    <a:pt x="83" y="79"/>
                  </a:lnTo>
                  <a:lnTo>
                    <a:pt x="80" y="78"/>
                  </a:lnTo>
                  <a:lnTo>
                    <a:pt x="79" y="79"/>
                  </a:lnTo>
                  <a:lnTo>
                    <a:pt x="78" y="79"/>
                  </a:lnTo>
                  <a:lnTo>
                    <a:pt x="79" y="79"/>
                  </a:lnTo>
                  <a:lnTo>
                    <a:pt x="78" y="79"/>
                  </a:lnTo>
                  <a:lnTo>
                    <a:pt x="78" y="78"/>
                  </a:lnTo>
                  <a:lnTo>
                    <a:pt x="77" y="78"/>
                  </a:lnTo>
                  <a:lnTo>
                    <a:pt x="76" y="77"/>
                  </a:lnTo>
                  <a:lnTo>
                    <a:pt x="76" y="78"/>
                  </a:lnTo>
                  <a:lnTo>
                    <a:pt x="74" y="77"/>
                  </a:lnTo>
                  <a:lnTo>
                    <a:pt x="73" y="77"/>
                  </a:lnTo>
                  <a:lnTo>
                    <a:pt x="73" y="78"/>
                  </a:lnTo>
                  <a:lnTo>
                    <a:pt x="72" y="78"/>
                  </a:lnTo>
                  <a:lnTo>
                    <a:pt x="71" y="78"/>
                  </a:lnTo>
                  <a:lnTo>
                    <a:pt x="71" y="79"/>
                  </a:lnTo>
                  <a:lnTo>
                    <a:pt x="70" y="79"/>
                  </a:lnTo>
                  <a:lnTo>
                    <a:pt x="69" y="79"/>
                  </a:lnTo>
                  <a:lnTo>
                    <a:pt x="70" y="79"/>
                  </a:lnTo>
                  <a:lnTo>
                    <a:pt x="69" y="79"/>
                  </a:lnTo>
                  <a:lnTo>
                    <a:pt x="69" y="81"/>
                  </a:lnTo>
                  <a:lnTo>
                    <a:pt x="66" y="81"/>
                  </a:lnTo>
                  <a:lnTo>
                    <a:pt x="65" y="81"/>
                  </a:lnTo>
                  <a:lnTo>
                    <a:pt x="65" y="79"/>
                  </a:lnTo>
                  <a:lnTo>
                    <a:pt x="65" y="78"/>
                  </a:lnTo>
                  <a:lnTo>
                    <a:pt x="66" y="78"/>
                  </a:lnTo>
                  <a:lnTo>
                    <a:pt x="65" y="78"/>
                  </a:lnTo>
                  <a:lnTo>
                    <a:pt x="66" y="78"/>
                  </a:lnTo>
                  <a:lnTo>
                    <a:pt x="65" y="78"/>
                  </a:lnTo>
                  <a:lnTo>
                    <a:pt x="64" y="78"/>
                  </a:lnTo>
                  <a:lnTo>
                    <a:pt x="64" y="79"/>
                  </a:lnTo>
                  <a:lnTo>
                    <a:pt x="63" y="79"/>
                  </a:lnTo>
                  <a:lnTo>
                    <a:pt x="62" y="79"/>
                  </a:lnTo>
                  <a:lnTo>
                    <a:pt x="62" y="78"/>
                  </a:lnTo>
                  <a:lnTo>
                    <a:pt x="60" y="79"/>
                  </a:lnTo>
                  <a:lnTo>
                    <a:pt x="62" y="79"/>
                  </a:lnTo>
                  <a:lnTo>
                    <a:pt x="60" y="79"/>
                  </a:lnTo>
                  <a:lnTo>
                    <a:pt x="60" y="81"/>
                  </a:lnTo>
                  <a:lnTo>
                    <a:pt x="59" y="81"/>
                  </a:lnTo>
                  <a:lnTo>
                    <a:pt x="59" y="79"/>
                  </a:lnTo>
                  <a:lnTo>
                    <a:pt x="57" y="79"/>
                  </a:lnTo>
                  <a:lnTo>
                    <a:pt x="57" y="81"/>
                  </a:lnTo>
                  <a:lnTo>
                    <a:pt x="56" y="81"/>
                  </a:lnTo>
                  <a:lnTo>
                    <a:pt x="55" y="81"/>
                  </a:lnTo>
                  <a:lnTo>
                    <a:pt x="56" y="79"/>
                  </a:lnTo>
                  <a:lnTo>
                    <a:pt x="55" y="79"/>
                  </a:lnTo>
                  <a:lnTo>
                    <a:pt x="53" y="79"/>
                  </a:lnTo>
                  <a:lnTo>
                    <a:pt x="55" y="79"/>
                  </a:lnTo>
                  <a:lnTo>
                    <a:pt x="55" y="81"/>
                  </a:lnTo>
                  <a:lnTo>
                    <a:pt x="53" y="81"/>
                  </a:lnTo>
                  <a:lnTo>
                    <a:pt x="53" y="82"/>
                  </a:lnTo>
                  <a:lnTo>
                    <a:pt x="52" y="82"/>
                  </a:lnTo>
                  <a:lnTo>
                    <a:pt x="50" y="82"/>
                  </a:lnTo>
                  <a:lnTo>
                    <a:pt x="50" y="81"/>
                  </a:lnTo>
                  <a:lnTo>
                    <a:pt x="49" y="81"/>
                  </a:lnTo>
                  <a:lnTo>
                    <a:pt x="50" y="81"/>
                  </a:lnTo>
                  <a:lnTo>
                    <a:pt x="50" y="79"/>
                  </a:lnTo>
                  <a:lnTo>
                    <a:pt x="51" y="79"/>
                  </a:lnTo>
                  <a:lnTo>
                    <a:pt x="52" y="79"/>
                  </a:lnTo>
                  <a:lnTo>
                    <a:pt x="53" y="79"/>
                  </a:lnTo>
                  <a:lnTo>
                    <a:pt x="52" y="78"/>
                  </a:lnTo>
                  <a:lnTo>
                    <a:pt x="51" y="78"/>
                  </a:lnTo>
                  <a:lnTo>
                    <a:pt x="49" y="79"/>
                  </a:lnTo>
                  <a:lnTo>
                    <a:pt x="49" y="78"/>
                  </a:lnTo>
                  <a:lnTo>
                    <a:pt x="48" y="78"/>
                  </a:lnTo>
                  <a:lnTo>
                    <a:pt x="46" y="79"/>
                  </a:lnTo>
                  <a:lnTo>
                    <a:pt x="45" y="79"/>
                  </a:lnTo>
                  <a:lnTo>
                    <a:pt x="45" y="81"/>
                  </a:lnTo>
                  <a:lnTo>
                    <a:pt x="44" y="81"/>
                  </a:lnTo>
                  <a:lnTo>
                    <a:pt x="43" y="81"/>
                  </a:lnTo>
                  <a:lnTo>
                    <a:pt x="42" y="81"/>
                  </a:lnTo>
                  <a:lnTo>
                    <a:pt x="42" y="79"/>
                  </a:lnTo>
                  <a:lnTo>
                    <a:pt x="41" y="79"/>
                  </a:lnTo>
                  <a:lnTo>
                    <a:pt x="42" y="79"/>
                  </a:lnTo>
                  <a:lnTo>
                    <a:pt x="41" y="79"/>
                  </a:lnTo>
                  <a:lnTo>
                    <a:pt x="41" y="78"/>
                  </a:lnTo>
                  <a:lnTo>
                    <a:pt x="40" y="78"/>
                  </a:lnTo>
                  <a:lnTo>
                    <a:pt x="38" y="79"/>
                  </a:lnTo>
                  <a:lnTo>
                    <a:pt x="37" y="79"/>
                  </a:lnTo>
                  <a:lnTo>
                    <a:pt x="36" y="79"/>
                  </a:lnTo>
                  <a:lnTo>
                    <a:pt x="38" y="81"/>
                  </a:lnTo>
                  <a:lnTo>
                    <a:pt x="37" y="81"/>
                  </a:lnTo>
                  <a:lnTo>
                    <a:pt x="37" y="82"/>
                  </a:lnTo>
                  <a:lnTo>
                    <a:pt x="40" y="82"/>
                  </a:lnTo>
                  <a:lnTo>
                    <a:pt x="41" y="82"/>
                  </a:lnTo>
                  <a:lnTo>
                    <a:pt x="41" y="83"/>
                  </a:lnTo>
                  <a:lnTo>
                    <a:pt x="42" y="83"/>
                  </a:lnTo>
                  <a:lnTo>
                    <a:pt x="41" y="83"/>
                  </a:lnTo>
                  <a:lnTo>
                    <a:pt x="40" y="83"/>
                  </a:lnTo>
                  <a:lnTo>
                    <a:pt x="37" y="82"/>
                  </a:lnTo>
                  <a:lnTo>
                    <a:pt x="36" y="82"/>
                  </a:lnTo>
                  <a:lnTo>
                    <a:pt x="34" y="82"/>
                  </a:lnTo>
                  <a:lnTo>
                    <a:pt x="30" y="82"/>
                  </a:lnTo>
                  <a:lnTo>
                    <a:pt x="28" y="82"/>
                  </a:lnTo>
                  <a:lnTo>
                    <a:pt x="27" y="81"/>
                  </a:lnTo>
                  <a:lnTo>
                    <a:pt x="26" y="81"/>
                  </a:lnTo>
                  <a:lnTo>
                    <a:pt x="24" y="81"/>
                  </a:lnTo>
                  <a:lnTo>
                    <a:pt x="26" y="81"/>
                  </a:lnTo>
                  <a:lnTo>
                    <a:pt x="24" y="79"/>
                  </a:lnTo>
                  <a:lnTo>
                    <a:pt x="22" y="79"/>
                  </a:lnTo>
                  <a:lnTo>
                    <a:pt x="23" y="79"/>
                  </a:lnTo>
                  <a:lnTo>
                    <a:pt x="22" y="79"/>
                  </a:lnTo>
                  <a:lnTo>
                    <a:pt x="21" y="78"/>
                  </a:lnTo>
                  <a:lnTo>
                    <a:pt x="20" y="78"/>
                  </a:lnTo>
                  <a:lnTo>
                    <a:pt x="19" y="78"/>
                  </a:lnTo>
                  <a:lnTo>
                    <a:pt x="17" y="77"/>
                  </a:lnTo>
                  <a:lnTo>
                    <a:pt x="16" y="77"/>
                  </a:lnTo>
                  <a:lnTo>
                    <a:pt x="17" y="77"/>
                  </a:lnTo>
                  <a:lnTo>
                    <a:pt x="21" y="76"/>
                  </a:lnTo>
                  <a:lnTo>
                    <a:pt x="23" y="76"/>
                  </a:lnTo>
                  <a:lnTo>
                    <a:pt x="24" y="76"/>
                  </a:lnTo>
                  <a:lnTo>
                    <a:pt x="26" y="75"/>
                  </a:lnTo>
                  <a:lnTo>
                    <a:pt x="27" y="75"/>
                  </a:lnTo>
                  <a:lnTo>
                    <a:pt x="30" y="75"/>
                  </a:lnTo>
                  <a:lnTo>
                    <a:pt x="34" y="75"/>
                  </a:lnTo>
                  <a:lnTo>
                    <a:pt x="34" y="74"/>
                  </a:lnTo>
                  <a:lnTo>
                    <a:pt x="35" y="74"/>
                  </a:lnTo>
                  <a:lnTo>
                    <a:pt x="34" y="74"/>
                  </a:lnTo>
                  <a:lnTo>
                    <a:pt x="31" y="74"/>
                  </a:lnTo>
                  <a:lnTo>
                    <a:pt x="29" y="74"/>
                  </a:lnTo>
                  <a:lnTo>
                    <a:pt x="26" y="74"/>
                  </a:lnTo>
                  <a:lnTo>
                    <a:pt x="24" y="74"/>
                  </a:lnTo>
                  <a:lnTo>
                    <a:pt x="23" y="74"/>
                  </a:lnTo>
                  <a:lnTo>
                    <a:pt x="22" y="74"/>
                  </a:lnTo>
                  <a:lnTo>
                    <a:pt x="20" y="74"/>
                  </a:lnTo>
                  <a:lnTo>
                    <a:pt x="17" y="74"/>
                  </a:lnTo>
                  <a:lnTo>
                    <a:pt x="17" y="72"/>
                  </a:lnTo>
                  <a:lnTo>
                    <a:pt x="16" y="72"/>
                  </a:lnTo>
                  <a:lnTo>
                    <a:pt x="17" y="72"/>
                  </a:lnTo>
                  <a:lnTo>
                    <a:pt x="19" y="71"/>
                  </a:lnTo>
                  <a:lnTo>
                    <a:pt x="20" y="71"/>
                  </a:lnTo>
                  <a:lnTo>
                    <a:pt x="22" y="70"/>
                  </a:lnTo>
                  <a:lnTo>
                    <a:pt x="23" y="70"/>
                  </a:lnTo>
                  <a:lnTo>
                    <a:pt x="22" y="70"/>
                  </a:lnTo>
                  <a:lnTo>
                    <a:pt x="21" y="70"/>
                  </a:lnTo>
                  <a:lnTo>
                    <a:pt x="20" y="71"/>
                  </a:lnTo>
                  <a:lnTo>
                    <a:pt x="19" y="71"/>
                  </a:lnTo>
                  <a:lnTo>
                    <a:pt x="17" y="71"/>
                  </a:lnTo>
                  <a:lnTo>
                    <a:pt x="14" y="72"/>
                  </a:lnTo>
                  <a:lnTo>
                    <a:pt x="13" y="72"/>
                  </a:lnTo>
                  <a:lnTo>
                    <a:pt x="12" y="72"/>
                  </a:lnTo>
                  <a:lnTo>
                    <a:pt x="10" y="72"/>
                  </a:lnTo>
                  <a:lnTo>
                    <a:pt x="10" y="71"/>
                  </a:lnTo>
                  <a:lnTo>
                    <a:pt x="9" y="71"/>
                  </a:lnTo>
                  <a:lnTo>
                    <a:pt x="10" y="71"/>
                  </a:lnTo>
                  <a:lnTo>
                    <a:pt x="13" y="71"/>
                  </a:lnTo>
                  <a:lnTo>
                    <a:pt x="12" y="71"/>
                  </a:lnTo>
                  <a:lnTo>
                    <a:pt x="9" y="70"/>
                  </a:lnTo>
                  <a:lnTo>
                    <a:pt x="9" y="71"/>
                  </a:lnTo>
                  <a:lnTo>
                    <a:pt x="7" y="70"/>
                  </a:lnTo>
                  <a:lnTo>
                    <a:pt x="8" y="69"/>
                  </a:lnTo>
                  <a:lnTo>
                    <a:pt x="9" y="69"/>
                  </a:lnTo>
                  <a:lnTo>
                    <a:pt x="10" y="69"/>
                  </a:lnTo>
                  <a:lnTo>
                    <a:pt x="12" y="68"/>
                  </a:lnTo>
                  <a:lnTo>
                    <a:pt x="13" y="69"/>
                  </a:lnTo>
                  <a:lnTo>
                    <a:pt x="15" y="68"/>
                  </a:lnTo>
                  <a:lnTo>
                    <a:pt x="14" y="68"/>
                  </a:lnTo>
                  <a:lnTo>
                    <a:pt x="13" y="68"/>
                  </a:lnTo>
                  <a:lnTo>
                    <a:pt x="17" y="68"/>
                  </a:lnTo>
                  <a:lnTo>
                    <a:pt x="21" y="68"/>
                  </a:lnTo>
                  <a:lnTo>
                    <a:pt x="24" y="68"/>
                  </a:lnTo>
                  <a:lnTo>
                    <a:pt x="26" y="68"/>
                  </a:lnTo>
                  <a:lnTo>
                    <a:pt x="29" y="68"/>
                  </a:lnTo>
                  <a:lnTo>
                    <a:pt x="33" y="68"/>
                  </a:lnTo>
                  <a:lnTo>
                    <a:pt x="34" y="68"/>
                  </a:lnTo>
                  <a:lnTo>
                    <a:pt x="37" y="68"/>
                  </a:lnTo>
                  <a:lnTo>
                    <a:pt x="41" y="68"/>
                  </a:lnTo>
                  <a:lnTo>
                    <a:pt x="44" y="68"/>
                  </a:lnTo>
                  <a:lnTo>
                    <a:pt x="48" y="69"/>
                  </a:lnTo>
                  <a:lnTo>
                    <a:pt x="48" y="68"/>
                  </a:lnTo>
                  <a:lnTo>
                    <a:pt x="49" y="69"/>
                  </a:lnTo>
                  <a:lnTo>
                    <a:pt x="52" y="69"/>
                  </a:lnTo>
                  <a:lnTo>
                    <a:pt x="53" y="69"/>
                  </a:lnTo>
                  <a:lnTo>
                    <a:pt x="53" y="68"/>
                  </a:lnTo>
                  <a:lnTo>
                    <a:pt x="55" y="68"/>
                  </a:lnTo>
                  <a:lnTo>
                    <a:pt x="56" y="68"/>
                  </a:lnTo>
                  <a:lnTo>
                    <a:pt x="51" y="68"/>
                  </a:lnTo>
                  <a:lnTo>
                    <a:pt x="48" y="68"/>
                  </a:lnTo>
                  <a:lnTo>
                    <a:pt x="44" y="68"/>
                  </a:lnTo>
                  <a:lnTo>
                    <a:pt x="40" y="68"/>
                  </a:lnTo>
                  <a:lnTo>
                    <a:pt x="37" y="68"/>
                  </a:lnTo>
                  <a:lnTo>
                    <a:pt x="34" y="68"/>
                  </a:lnTo>
                  <a:lnTo>
                    <a:pt x="30" y="67"/>
                  </a:lnTo>
                  <a:lnTo>
                    <a:pt x="34" y="67"/>
                  </a:lnTo>
                  <a:lnTo>
                    <a:pt x="38" y="65"/>
                  </a:lnTo>
                  <a:lnTo>
                    <a:pt x="42" y="65"/>
                  </a:lnTo>
                  <a:lnTo>
                    <a:pt x="46" y="65"/>
                  </a:lnTo>
                  <a:lnTo>
                    <a:pt x="49" y="65"/>
                  </a:lnTo>
                  <a:lnTo>
                    <a:pt x="52" y="65"/>
                  </a:lnTo>
                  <a:lnTo>
                    <a:pt x="53" y="67"/>
                  </a:lnTo>
                  <a:lnTo>
                    <a:pt x="56" y="67"/>
                  </a:lnTo>
                  <a:lnTo>
                    <a:pt x="57" y="67"/>
                  </a:lnTo>
                  <a:lnTo>
                    <a:pt x="56" y="67"/>
                  </a:lnTo>
                  <a:lnTo>
                    <a:pt x="55" y="67"/>
                  </a:lnTo>
                  <a:lnTo>
                    <a:pt x="55" y="65"/>
                  </a:lnTo>
                  <a:lnTo>
                    <a:pt x="53" y="65"/>
                  </a:lnTo>
                  <a:lnTo>
                    <a:pt x="55" y="65"/>
                  </a:lnTo>
                  <a:lnTo>
                    <a:pt x="53" y="65"/>
                  </a:lnTo>
                  <a:lnTo>
                    <a:pt x="55" y="65"/>
                  </a:lnTo>
                  <a:lnTo>
                    <a:pt x="58" y="65"/>
                  </a:lnTo>
                  <a:lnTo>
                    <a:pt x="59" y="65"/>
                  </a:lnTo>
                  <a:lnTo>
                    <a:pt x="59" y="64"/>
                  </a:lnTo>
                  <a:lnTo>
                    <a:pt x="60" y="64"/>
                  </a:lnTo>
                  <a:lnTo>
                    <a:pt x="59" y="64"/>
                  </a:lnTo>
                  <a:lnTo>
                    <a:pt x="59" y="63"/>
                  </a:lnTo>
                  <a:lnTo>
                    <a:pt x="58" y="63"/>
                  </a:lnTo>
                  <a:lnTo>
                    <a:pt x="59" y="63"/>
                  </a:lnTo>
                  <a:lnTo>
                    <a:pt x="58" y="63"/>
                  </a:lnTo>
                  <a:lnTo>
                    <a:pt x="57" y="62"/>
                  </a:lnTo>
                  <a:lnTo>
                    <a:pt x="56" y="62"/>
                  </a:lnTo>
                  <a:lnTo>
                    <a:pt x="57" y="62"/>
                  </a:lnTo>
                  <a:lnTo>
                    <a:pt x="56" y="62"/>
                  </a:lnTo>
                  <a:lnTo>
                    <a:pt x="55" y="62"/>
                  </a:lnTo>
                  <a:lnTo>
                    <a:pt x="52" y="62"/>
                  </a:lnTo>
                  <a:lnTo>
                    <a:pt x="51" y="62"/>
                  </a:lnTo>
                  <a:lnTo>
                    <a:pt x="52" y="62"/>
                  </a:lnTo>
                  <a:lnTo>
                    <a:pt x="51" y="63"/>
                  </a:lnTo>
                  <a:lnTo>
                    <a:pt x="50" y="63"/>
                  </a:lnTo>
                  <a:lnTo>
                    <a:pt x="46" y="64"/>
                  </a:lnTo>
                  <a:lnTo>
                    <a:pt x="43" y="64"/>
                  </a:lnTo>
                  <a:lnTo>
                    <a:pt x="40" y="64"/>
                  </a:lnTo>
                  <a:lnTo>
                    <a:pt x="40" y="63"/>
                  </a:lnTo>
                  <a:lnTo>
                    <a:pt x="38" y="63"/>
                  </a:lnTo>
                  <a:lnTo>
                    <a:pt x="38" y="62"/>
                  </a:lnTo>
                  <a:lnTo>
                    <a:pt x="37" y="62"/>
                  </a:lnTo>
                  <a:lnTo>
                    <a:pt x="37" y="63"/>
                  </a:lnTo>
                  <a:lnTo>
                    <a:pt x="37" y="64"/>
                  </a:lnTo>
                  <a:lnTo>
                    <a:pt x="34" y="64"/>
                  </a:lnTo>
                  <a:lnTo>
                    <a:pt x="31" y="64"/>
                  </a:lnTo>
                  <a:lnTo>
                    <a:pt x="28" y="64"/>
                  </a:lnTo>
                  <a:lnTo>
                    <a:pt x="26" y="64"/>
                  </a:lnTo>
                  <a:lnTo>
                    <a:pt x="23" y="63"/>
                  </a:lnTo>
                  <a:lnTo>
                    <a:pt x="26" y="63"/>
                  </a:lnTo>
                  <a:lnTo>
                    <a:pt x="27" y="63"/>
                  </a:lnTo>
                  <a:lnTo>
                    <a:pt x="29" y="62"/>
                  </a:lnTo>
                  <a:lnTo>
                    <a:pt x="30" y="62"/>
                  </a:lnTo>
                  <a:lnTo>
                    <a:pt x="31" y="62"/>
                  </a:lnTo>
                  <a:lnTo>
                    <a:pt x="31" y="61"/>
                  </a:lnTo>
                  <a:lnTo>
                    <a:pt x="30" y="62"/>
                  </a:lnTo>
                  <a:lnTo>
                    <a:pt x="29" y="62"/>
                  </a:lnTo>
                  <a:lnTo>
                    <a:pt x="27" y="62"/>
                  </a:lnTo>
                  <a:lnTo>
                    <a:pt x="26" y="62"/>
                  </a:lnTo>
                  <a:lnTo>
                    <a:pt x="23" y="62"/>
                  </a:lnTo>
                  <a:lnTo>
                    <a:pt x="20" y="62"/>
                  </a:lnTo>
                  <a:lnTo>
                    <a:pt x="21" y="62"/>
                  </a:lnTo>
                  <a:lnTo>
                    <a:pt x="24" y="61"/>
                  </a:lnTo>
                  <a:lnTo>
                    <a:pt x="26" y="61"/>
                  </a:lnTo>
                  <a:lnTo>
                    <a:pt x="27" y="61"/>
                  </a:lnTo>
                  <a:lnTo>
                    <a:pt x="28" y="61"/>
                  </a:lnTo>
                  <a:lnTo>
                    <a:pt x="28" y="60"/>
                  </a:lnTo>
                  <a:lnTo>
                    <a:pt x="26" y="60"/>
                  </a:lnTo>
                  <a:lnTo>
                    <a:pt x="24" y="60"/>
                  </a:lnTo>
                  <a:lnTo>
                    <a:pt x="23" y="61"/>
                  </a:lnTo>
                  <a:lnTo>
                    <a:pt x="22" y="61"/>
                  </a:lnTo>
                  <a:lnTo>
                    <a:pt x="21" y="61"/>
                  </a:lnTo>
                  <a:lnTo>
                    <a:pt x="19" y="61"/>
                  </a:lnTo>
                  <a:lnTo>
                    <a:pt x="15" y="61"/>
                  </a:lnTo>
                  <a:lnTo>
                    <a:pt x="17" y="60"/>
                  </a:lnTo>
                  <a:lnTo>
                    <a:pt x="16" y="60"/>
                  </a:lnTo>
                  <a:lnTo>
                    <a:pt x="15" y="60"/>
                  </a:lnTo>
                  <a:lnTo>
                    <a:pt x="14" y="60"/>
                  </a:lnTo>
                  <a:lnTo>
                    <a:pt x="13" y="60"/>
                  </a:lnTo>
                  <a:lnTo>
                    <a:pt x="12" y="60"/>
                  </a:lnTo>
                  <a:lnTo>
                    <a:pt x="10" y="60"/>
                  </a:lnTo>
                  <a:lnTo>
                    <a:pt x="9" y="60"/>
                  </a:lnTo>
                  <a:lnTo>
                    <a:pt x="9" y="58"/>
                  </a:lnTo>
                  <a:lnTo>
                    <a:pt x="8" y="58"/>
                  </a:lnTo>
                  <a:lnTo>
                    <a:pt x="9" y="58"/>
                  </a:lnTo>
                  <a:lnTo>
                    <a:pt x="9" y="57"/>
                  </a:lnTo>
                  <a:lnTo>
                    <a:pt x="7" y="57"/>
                  </a:lnTo>
                  <a:lnTo>
                    <a:pt x="6" y="57"/>
                  </a:lnTo>
                  <a:lnTo>
                    <a:pt x="6" y="56"/>
                  </a:lnTo>
                  <a:lnTo>
                    <a:pt x="3" y="56"/>
                  </a:lnTo>
                  <a:lnTo>
                    <a:pt x="5" y="56"/>
                  </a:lnTo>
                  <a:lnTo>
                    <a:pt x="6" y="56"/>
                  </a:lnTo>
                  <a:lnTo>
                    <a:pt x="7" y="56"/>
                  </a:lnTo>
                  <a:lnTo>
                    <a:pt x="7" y="55"/>
                  </a:lnTo>
                  <a:lnTo>
                    <a:pt x="8" y="56"/>
                  </a:lnTo>
                  <a:lnTo>
                    <a:pt x="8" y="55"/>
                  </a:lnTo>
                  <a:lnTo>
                    <a:pt x="9" y="55"/>
                  </a:lnTo>
                  <a:lnTo>
                    <a:pt x="10" y="55"/>
                  </a:lnTo>
                  <a:lnTo>
                    <a:pt x="7" y="55"/>
                  </a:lnTo>
                  <a:lnTo>
                    <a:pt x="8" y="55"/>
                  </a:lnTo>
                  <a:lnTo>
                    <a:pt x="8" y="54"/>
                  </a:lnTo>
                  <a:lnTo>
                    <a:pt x="9" y="54"/>
                  </a:lnTo>
                  <a:lnTo>
                    <a:pt x="10" y="54"/>
                  </a:lnTo>
                  <a:lnTo>
                    <a:pt x="10" y="53"/>
                  </a:lnTo>
                  <a:lnTo>
                    <a:pt x="12" y="53"/>
                  </a:lnTo>
                  <a:lnTo>
                    <a:pt x="15" y="53"/>
                  </a:lnTo>
                  <a:lnTo>
                    <a:pt x="19" y="51"/>
                  </a:lnTo>
                  <a:lnTo>
                    <a:pt x="22" y="51"/>
                  </a:lnTo>
                  <a:lnTo>
                    <a:pt x="26" y="51"/>
                  </a:lnTo>
                  <a:lnTo>
                    <a:pt x="27" y="51"/>
                  </a:lnTo>
                  <a:lnTo>
                    <a:pt x="28" y="51"/>
                  </a:lnTo>
                  <a:lnTo>
                    <a:pt x="29" y="51"/>
                  </a:lnTo>
                  <a:lnTo>
                    <a:pt x="29" y="50"/>
                  </a:lnTo>
                  <a:lnTo>
                    <a:pt x="30" y="50"/>
                  </a:lnTo>
                  <a:lnTo>
                    <a:pt x="33" y="50"/>
                  </a:lnTo>
                  <a:lnTo>
                    <a:pt x="34" y="50"/>
                  </a:lnTo>
                  <a:lnTo>
                    <a:pt x="35" y="50"/>
                  </a:lnTo>
                  <a:lnTo>
                    <a:pt x="37" y="50"/>
                  </a:lnTo>
                  <a:lnTo>
                    <a:pt x="38" y="49"/>
                  </a:lnTo>
                  <a:lnTo>
                    <a:pt x="37" y="49"/>
                  </a:lnTo>
                  <a:lnTo>
                    <a:pt x="38" y="49"/>
                  </a:lnTo>
                  <a:lnTo>
                    <a:pt x="43" y="49"/>
                  </a:lnTo>
                  <a:lnTo>
                    <a:pt x="44" y="49"/>
                  </a:lnTo>
                  <a:lnTo>
                    <a:pt x="45" y="49"/>
                  </a:lnTo>
                  <a:lnTo>
                    <a:pt x="45" y="48"/>
                  </a:lnTo>
                  <a:lnTo>
                    <a:pt x="46" y="48"/>
                  </a:lnTo>
                  <a:lnTo>
                    <a:pt x="48" y="48"/>
                  </a:lnTo>
                  <a:lnTo>
                    <a:pt x="48" y="49"/>
                  </a:lnTo>
                  <a:lnTo>
                    <a:pt x="49" y="49"/>
                  </a:lnTo>
                  <a:lnTo>
                    <a:pt x="49" y="48"/>
                  </a:lnTo>
                  <a:lnTo>
                    <a:pt x="48" y="48"/>
                  </a:lnTo>
                  <a:lnTo>
                    <a:pt x="46" y="48"/>
                  </a:lnTo>
                  <a:lnTo>
                    <a:pt x="48" y="47"/>
                  </a:lnTo>
                  <a:lnTo>
                    <a:pt x="49" y="47"/>
                  </a:lnTo>
                  <a:lnTo>
                    <a:pt x="53" y="47"/>
                  </a:lnTo>
                  <a:lnTo>
                    <a:pt x="58" y="46"/>
                  </a:lnTo>
                  <a:lnTo>
                    <a:pt x="60" y="47"/>
                  </a:lnTo>
                  <a:lnTo>
                    <a:pt x="62" y="47"/>
                  </a:lnTo>
                  <a:lnTo>
                    <a:pt x="60" y="46"/>
                  </a:lnTo>
                  <a:lnTo>
                    <a:pt x="62" y="46"/>
                  </a:lnTo>
                  <a:lnTo>
                    <a:pt x="63" y="46"/>
                  </a:lnTo>
                  <a:lnTo>
                    <a:pt x="64" y="46"/>
                  </a:lnTo>
                  <a:lnTo>
                    <a:pt x="63" y="46"/>
                  </a:lnTo>
                  <a:lnTo>
                    <a:pt x="64" y="46"/>
                  </a:lnTo>
                  <a:lnTo>
                    <a:pt x="65" y="46"/>
                  </a:lnTo>
                  <a:lnTo>
                    <a:pt x="66" y="46"/>
                  </a:lnTo>
                  <a:lnTo>
                    <a:pt x="67" y="46"/>
                  </a:lnTo>
                  <a:lnTo>
                    <a:pt x="69" y="46"/>
                  </a:lnTo>
                  <a:lnTo>
                    <a:pt x="70" y="46"/>
                  </a:lnTo>
                  <a:lnTo>
                    <a:pt x="71" y="46"/>
                  </a:lnTo>
                  <a:lnTo>
                    <a:pt x="72" y="46"/>
                  </a:lnTo>
                  <a:lnTo>
                    <a:pt x="73" y="46"/>
                  </a:lnTo>
                  <a:lnTo>
                    <a:pt x="74" y="46"/>
                  </a:lnTo>
                  <a:lnTo>
                    <a:pt x="76" y="46"/>
                  </a:lnTo>
                  <a:lnTo>
                    <a:pt x="77" y="46"/>
                  </a:lnTo>
                  <a:lnTo>
                    <a:pt x="76" y="46"/>
                  </a:lnTo>
                  <a:lnTo>
                    <a:pt x="78" y="46"/>
                  </a:lnTo>
                  <a:lnTo>
                    <a:pt x="79" y="46"/>
                  </a:lnTo>
                  <a:lnTo>
                    <a:pt x="78" y="46"/>
                  </a:lnTo>
                  <a:lnTo>
                    <a:pt x="78" y="44"/>
                  </a:lnTo>
                  <a:lnTo>
                    <a:pt x="80" y="44"/>
                  </a:lnTo>
                  <a:lnTo>
                    <a:pt x="81" y="44"/>
                  </a:lnTo>
                  <a:lnTo>
                    <a:pt x="83" y="44"/>
                  </a:lnTo>
                  <a:lnTo>
                    <a:pt x="83" y="43"/>
                  </a:lnTo>
                  <a:lnTo>
                    <a:pt x="84" y="43"/>
                  </a:lnTo>
                  <a:lnTo>
                    <a:pt x="85" y="43"/>
                  </a:lnTo>
                  <a:lnTo>
                    <a:pt x="86" y="43"/>
                  </a:lnTo>
                  <a:lnTo>
                    <a:pt x="86" y="42"/>
                  </a:lnTo>
                  <a:lnTo>
                    <a:pt x="87" y="42"/>
                  </a:lnTo>
                  <a:lnTo>
                    <a:pt x="88" y="42"/>
                  </a:lnTo>
                  <a:lnTo>
                    <a:pt x="87" y="42"/>
                  </a:lnTo>
                  <a:lnTo>
                    <a:pt x="88" y="42"/>
                  </a:lnTo>
                  <a:lnTo>
                    <a:pt x="90" y="41"/>
                  </a:lnTo>
                  <a:lnTo>
                    <a:pt x="91" y="41"/>
                  </a:lnTo>
                  <a:lnTo>
                    <a:pt x="92" y="40"/>
                  </a:lnTo>
                  <a:lnTo>
                    <a:pt x="91" y="40"/>
                  </a:lnTo>
                  <a:lnTo>
                    <a:pt x="92" y="39"/>
                  </a:lnTo>
                  <a:lnTo>
                    <a:pt x="91" y="39"/>
                  </a:lnTo>
                  <a:lnTo>
                    <a:pt x="92" y="39"/>
                  </a:lnTo>
                  <a:lnTo>
                    <a:pt x="92" y="37"/>
                  </a:lnTo>
                  <a:lnTo>
                    <a:pt x="93" y="37"/>
                  </a:lnTo>
                  <a:lnTo>
                    <a:pt x="93" y="36"/>
                  </a:lnTo>
                  <a:lnTo>
                    <a:pt x="94" y="36"/>
                  </a:lnTo>
                  <a:lnTo>
                    <a:pt x="93" y="35"/>
                  </a:lnTo>
                  <a:lnTo>
                    <a:pt x="94" y="35"/>
                  </a:lnTo>
                  <a:lnTo>
                    <a:pt x="97" y="35"/>
                  </a:lnTo>
                  <a:lnTo>
                    <a:pt x="100" y="35"/>
                  </a:lnTo>
                  <a:lnTo>
                    <a:pt x="102" y="34"/>
                  </a:lnTo>
                  <a:lnTo>
                    <a:pt x="104" y="34"/>
                  </a:lnTo>
                  <a:lnTo>
                    <a:pt x="105" y="34"/>
                  </a:lnTo>
                  <a:lnTo>
                    <a:pt x="106" y="34"/>
                  </a:lnTo>
                  <a:lnTo>
                    <a:pt x="102" y="34"/>
                  </a:lnTo>
                  <a:lnTo>
                    <a:pt x="104" y="33"/>
                  </a:lnTo>
                  <a:lnTo>
                    <a:pt x="102" y="33"/>
                  </a:lnTo>
                  <a:lnTo>
                    <a:pt x="102" y="34"/>
                  </a:lnTo>
                  <a:lnTo>
                    <a:pt x="101" y="34"/>
                  </a:lnTo>
                  <a:lnTo>
                    <a:pt x="100" y="34"/>
                  </a:lnTo>
                  <a:lnTo>
                    <a:pt x="100" y="35"/>
                  </a:lnTo>
                  <a:lnTo>
                    <a:pt x="95" y="35"/>
                  </a:lnTo>
                  <a:lnTo>
                    <a:pt x="92" y="35"/>
                  </a:lnTo>
                  <a:lnTo>
                    <a:pt x="91" y="35"/>
                  </a:lnTo>
                  <a:lnTo>
                    <a:pt x="86" y="35"/>
                  </a:lnTo>
                  <a:lnTo>
                    <a:pt x="85" y="35"/>
                  </a:lnTo>
                  <a:lnTo>
                    <a:pt x="84" y="35"/>
                  </a:lnTo>
                  <a:lnTo>
                    <a:pt x="83" y="35"/>
                  </a:lnTo>
                  <a:lnTo>
                    <a:pt x="83" y="34"/>
                  </a:lnTo>
                  <a:lnTo>
                    <a:pt x="81" y="35"/>
                  </a:lnTo>
                  <a:lnTo>
                    <a:pt x="77" y="35"/>
                  </a:lnTo>
                  <a:lnTo>
                    <a:pt x="77" y="34"/>
                  </a:lnTo>
                  <a:lnTo>
                    <a:pt x="76" y="34"/>
                  </a:lnTo>
                  <a:lnTo>
                    <a:pt x="74" y="34"/>
                  </a:lnTo>
                  <a:lnTo>
                    <a:pt x="74" y="33"/>
                  </a:lnTo>
                  <a:lnTo>
                    <a:pt x="76" y="33"/>
                  </a:lnTo>
                  <a:lnTo>
                    <a:pt x="74" y="33"/>
                  </a:lnTo>
                  <a:lnTo>
                    <a:pt x="76" y="33"/>
                  </a:lnTo>
                  <a:lnTo>
                    <a:pt x="76" y="32"/>
                  </a:lnTo>
                  <a:lnTo>
                    <a:pt x="77" y="32"/>
                  </a:lnTo>
                  <a:lnTo>
                    <a:pt x="78" y="32"/>
                  </a:lnTo>
                  <a:lnTo>
                    <a:pt x="79" y="32"/>
                  </a:lnTo>
                  <a:lnTo>
                    <a:pt x="80" y="32"/>
                  </a:lnTo>
                  <a:lnTo>
                    <a:pt x="81" y="30"/>
                  </a:lnTo>
                  <a:lnTo>
                    <a:pt x="83" y="30"/>
                  </a:lnTo>
                  <a:lnTo>
                    <a:pt x="84" y="30"/>
                  </a:lnTo>
                  <a:lnTo>
                    <a:pt x="87" y="29"/>
                  </a:lnTo>
                  <a:lnTo>
                    <a:pt x="90" y="29"/>
                  </a:lnTo>
                  <a:lnTo>
                    <a:pt x="91" y="29"/>
                  </a:lnTo>
                  <a:lnTo>
                    <a:pt x="93" y="29"/>
                  </a:lnTo>
                  <a:lnTo>
                    <a:pt x="95" y="29"/>
                  </a:lnTo>
                  <a:lnTo>
                    <a:pt x="95" y="28"/>
                  </a:lnTo>
                  <a:lnTo>
                    <a:pt x="94" y="28"/>
                  </a:lnTo>
                  <a:lnTo>
                    <a:pt x="95" y="28"/>
                  </a:lnTo>
                  <a:lnTo>
                    <a:pt x="98" y="28"/>
                  </a:lnTo>
                  <a:lnTo>
                    <a:pt x="100" y="28"/>
                  </a:lnTo>
                  <a:lnTo>
                    <a:pt x="100" y="27"/>
                  </a:lnTo>
                  <a:lnTo>
                    <a:pt x="101" y="27"/>
                  </a:lnTo>
                  <a:lnTo>
                    <a:pt x="102" y="27"/>
                  </a:lnTo>
                  <a:lnTo>
                    <a:pt x="101" y="27"/>
                  </a:lnTo>
                  <a:lnTo>
                    <a:pt x="102" y="27"/>
                  </a:lnTo>
                  <a:lnTo>
                    <a:pt x="102" y="26"/>
                  </a:lnTo>
                  <a:lnTo>
                    <a:pt x="105" y="26"/>
                  </a:lnTo>
                  <a:lnTo>
                    <a:pt x="107" y="26"/>
                  </a:lnTo>
                  <a:lnTo>
                    <a:pt x="108" y="25"/>
                  </a:lnTo>
                  <a:lnTo>
                    <a:pt x="109" y="25"/>
                  </a:lnTo>
                  <a:lnTo>
                    <a:pt x="111" y="25"/>
                  </a:lnTo>
                  <a:lnTo>
                    <a:pt x="113" y="25"/>
                  </a:lnTo>
                  <a:lnTo>
                    <a:pt x="114" y="25"/>
                  </a:lnTo>
                  <a:lnTo>
                    <a:pt x="115" y="23"/>
                  </a:lnTo>
                  <a:lnTo>
                    <a:pt x="116" y="23"/>
                  </a:lnTo>
                  <a:lnTo>
                    <a:pt x="117" y="25"/>
                  </a:lnTo>
                  <a:lnTo>
                    <a:pt x="116" y="25"/>
                  </a:lnTo>
                  <a:lnTo>
                    <a:pt x="117" y="25"/>
                  </a:lnTo>
                  <a:lnTo>
                    <a:pt x="117" y="26"/>
                  </a:lnTo>
                  <a:lnTo>
                    <a:pt x="119" y="27"/>
                  </a:lnTo>
                  <a:lnTo>
                    <a:pt x="120" y="28"/>
                  </a:lnTo>
                  <a:lnTo>
                    <a:pt x="121" y="28"/>
                  </a:lnTo>
                  <a:lnTo>
                    <a:pt x="120" y="27"/>
                  </a:lnTo>
                  <a:lnTo>
                    <a:pt x="119" y="27"/>
                  </a:lnTo>
                  <a:lnTo>
                    <a:pt x="119" y="26"/>
                  </a:lnTo>
                  <a:lnTo>
                    <a:pt x="117" y="25"/>
                  </a:lnTo>
                  <a:lnTo>
                    <a:pt x="119" y="25"/>
                  </a:lnTo>
                  <a:lnTo>
                    <a:pt x="119" y="23"/>
                  </a:lnTo>
                  <a:lnTo>
                    <a:pt x="120" y="23"/>
                  </a:lnTo>
                  <a:lnTo>
                    <a:pt x="121" y="23"/>
                  </a:lnTo>
                  <a:lnTo>
                    <a:pt x="122" y="23"/>
                  </a:lnTo>
                  <a:lnTo>
                    <a:pt x="123" y="23"/>
                  </a:lnTo>
                  <a:lnTo>
                    <a:pt x="124" y="23"/>
                  </a:lnTo>
                  <a:lnTo>
                    <a:pt x="127" y="23"/>
                  </a:lnTo>
                  <a:lnTo>
                    <a:pt x="129" y="23"/>
                  </a:lnTo>
                  <a:lnTo>
                    <a:pt x="131" y="25"/>
                  </a:lnTo>
                  <a:lnTo>
                    <a:pt x="133" y="25"/>
                  </a:lnTo>
                  <a:lnTo>
                    <a:pt x="134" y="25"/>
                  </a:lnTo>
                  <a:lnTo>
                    <a:pt x="135" y="25"/>
                  </a:lnTo>
                  <a:lnTo>
                    <a:pt x="136" y="25"/>
                  </a:lnTo>
                  <a:lnTo>
                    <a:pt x="137" y="25"/>
                  </a:lnTo>
                  <a:lnTo>
                    <a:pt x="138" y="23"/>
                  </a:lnTo>
                  <a:lnTo>
                    <a:pt x="140" y="23"/>
                  </a:lnTo>
                  <a:lnTo>
                    <a:pt x="138" y="23"/>
                  </a:lnTo>
                  <a:lnTo>
                    <a:pt x="138" y="22"/>
                  </a:lnTo>
                  <a:lnTo>
                    <a:pt x="137" y="22"/>
                  </a:lnTo>
                  <a:lnTo>
                    <a:pt x="137" y="21"/>
                  </a:lnTo>
                  <a:lnTo>
                    <a:pt x="142" y="21"/>
                  </a:lnTo>
                  <a:lnTo>
                    <a:pt x="143" y="21"/>
                  </a:lnTo>
                  <a:lnTo>
                    <a:pt x="143" y="20"/>
                  </a:lnTo>
                  <a:lnTo>
                    <a:pt x="142" y="20"/>
                  </a:lnTo>
                  <a:lnTo>
                    <a:pt x="141" y="19"/>
                  </a:lnTo>
                  <a:lnTo>
                    <a:pt x="140" y="19"/>
                  </a:lnTo>
                  <a:lnTo>
                    <a:pt x="140" y="18"/>
                  </a:lnTo>
                  <a:lnTo>
                    <a:pt x="141" y="18"/>
                  </a:lnTo>
                  <a:lnTo>
                    <a:pt x="142" y="18"/>
                  </a:lnTo>
                  <a:lnTo>
                    <a:pt x="145" y="16"/>
                  </a:lnTo>
                  <a:lnTo>
                    <a:pt x="149" y="16"/>
                  </a:lnTo>
                  <a:lnTo>
                    <a:pt x="150" y="16"/>
                  </a:lnTo>
                  <a:lnTo>
                    <a:pt x="154" y="16"/>
                  </a:lnTo>
                  <a:lnTo>
                    <a:pt x="156" y="16"/>
                  </a:lnTo>
                  <a:lnTo>
                    <a:pt x="158" y="16"/>
                  </a:lnTo>
                  <a:lnTo>
                    <a:pt x="161" y="16"/>
                  </a:lnTo>
                  <a:lnTo>
                    <a:pt x="163" y="16"/>
                  </a:lnTo>
                  <a:lnTo>
                    <a:pt x="163" y="18"/>
                  </a:lnTo>
                  <a:lnTo>
                    <a:pt x="162" y="19"/>
                  </a:lnTo>
                  <a:lnTo>
                    <a:pt x="163" y="19"/>
                  </a:lnTo>
                  <a:lnTo>
                    <a:pt x="165" y="19"/>
                  </a:lnTo>
                  <a:lnTo>
                    <a:pt x="168" y="20"/>
                  </a:lnTo>
                  <a:lnTo>
                    <a:pt x="170" y="20"/>
                  </a:lnTo>
                  <a:lnTo>
                    <a:pt x="171" y="20"/>
                  </a:lnTo>
                  <a:lnTo>
                    <a:pt x="173" y="20"/>
                  </a:lnTo>
                  <a:lnTo>
                    <a:pt x="173" y="21"/>
                  </a:lnTo>
                  <a:lnTo>
                    <a:pt x="172" y="21"/>
                  </a:lnTo>
                  <a:lnTo>
                    <a:pt x="173" y="21"/>
                  </a:lnTo>
                  <a:lnTo>
                    <a:pt x="176" y="21"/>
                  </a:lnTo>
                  <a:lnTo>
                    <a:pt x="177" y="21"/>
                  </a:lnTo>
                  <a:lnTo>
                    <a:pt x="178" y="22"/>
                  </a:lnTo>
                  <a:lnTo>
                    <a:pt x="178" y="21"/>
                  </a:lnTo>
                  <a:lnTo>
                    <a:pt x="175" y="21"/>
                  </a:lnTo>
                  <a:lnTo>
                    <a:pt x="173" y="20"/>
                  </a:lnTo>
                  <a:lnTo>
                    <a:pt x="175" y="20"/>
                  </a:lnTo>
                  <a:lnTo>
                    <a:pt x="173" y="20"/>
                  </a:lnTo>
                  <a:lnTo>
                    <a:pt x="171" y="19"/>
                  </a:lnTo>
                  <a:lnTo>
                    <a:pt x="170" y="19"/>
                  </a:lnTo>
                  <a:lnTo>
                    <a:pt x="166" y="19"/>
                  </a:lnTo>
                  <a:lnTo>
                    <a:pt x="168" y="19"/>
                  </a:lnTo>
                  <a:lnTo>
                    <a:pt x="166" y="19"/>
                  </a:lnTo>
                  <a:lnTo>
                    <a:pt x="166" y="18"/>
                  </a:lnTo>
                  <a:lnTo>
                    <a:pt x="165" y="18"/>
                  </a:lnTo>
                  <a:lnTo>
                    <a:pt x="166" y="16"/>
                  </a:lnTo>
                  <a:lnTo>
                    <a:pt x="165" y="16"/>
                  </a:lnTo>
                  <a:lnTo>
                    <a:pt x="163" y="16"/>
                  </a:lnTo>
                  <a:lnTo>
                    <a:pt x="162" y="16"/>
                  </a:lnTo>
                  <a:lnTo>
                    <a:pt x="158" y="15"/>
                  </a:lnTo>
                  <a:lnTo>
                    <a:pt x="163" y="15"/>
                  </a:lnTo>
                  <a:lnTo>
                    <a:pt x="166" y="14"/>
                  </a:lnTo>
                  <a:lnTo>
                    <a:pt x="169" y="14"/>
                  </a:lnTo>
                  <a:lnTo>
                    <a:pt x="172" y="14"/>
                  </a:lnTo>
                  <a:lnTo>
                    <a:pt x="175" y="14"/>
                  </a:lnTo>
                  <a:lnTo>
                    <a:pt x="178" y="14"/>
                  </a:lnTo>
                  <a:lnTo>
                    <a:pt x="180" y="14"/>
                  </a:lnTo>
                  <a:lnTo>
                    <a:pt x="181" y="14"/>
                  </a:lnTo>
                  <a:lnTo>
                    <a:pt x="183" y="13"/>
                  </a:lnTo>
                  <a:lnTo>
                    <a:pt x="185" y="13"/>
                  </a:lnTo>
                  <a:lnTo>
                    <a:pt x="186" y="13"/>
                  </a:lnTo>
                  <a:lnTo>
                    <a:pt x="186" y="14"/>
                  </a:lnTo>
                  <a:lnTo>
                    <a:pt x="187" y="14"/>
                  </a:lnTo>
                  <a:lnTo>
                    <a:pt x="188" y="13"/>
                  </a:lnTo>
                  <a:lnTo>
                    <a:pt x="190" y="13"/>
                  </a:lnTo>
                  <a:lnTo>
                    <a:pt x="193" y="13"/>
                  </a:lnTo>
                  <a:lnTo>
                    <a:pt x="195" y="13"/>
                  </a:lnTo>
                  <a:lnTo>
                    <a:pt x="194" y="13"/>
                  </a:lnTo>
                  <a:lnTo>
                    <a:pt x="194" y="14"/>
                  </a:lnTo>
                  <a:lnTo>
                    <a:pt x="195" y="14"/>
                  </a:lnTo>
                  <a:lnTo>
                    <a:pt x="197" y="14"/>
                  </a:lnTo>
                  <a:lnTo>
                    <a:pt x="195" y="13"/>
                  </a:lnTo>
                  <a:lnTo>
                    <a:pt x="197" y="13"/>
                  </a:lnTo>
                  <a:lnTo>
                    <a:pt x="195" y="13"/>
                  </a:lnTo>
                  <a:lnTo>
                    <a:pt x="193" y="13"/>
                  </a:lnTo>
                  <a:lnTo>
                    <a:pt x="195" y="13"/>
                  </a:lnTo>
                  <a:lnTo>
                    <a:pt x="197" y="13"/>
                  </a:lnTo>
                  <a:lnTo>
                    <a:pt x="200" y="12"/>
                  </a:lnTo>
                  <a:lnTo>
                    <a:pt x="204" y="12"/>
                  </a:lnTo>
                  <a:lnTo>
                    <a:pt x="206" y="13"/>
                  </a:lnTo>
                  <a:lnTo>
                    <a:pt x="207" y="13"/>
                  </a:lnTo>
                  <a:lnTo>
                    <a:pt x="208" y="14"/>
                  </a:lnTo>
                  <a:lnTo>
                    <a:pt x="209" y="14"/>
                  </a:lnTo>
                  <a:lnTo>
                    <a:pt x="208" y="14"/>
                  </a:lnTo>
                  <a:lnTo>
                    <a:pt x="208" y="15"/>
                  </a:lnTo>
                  <a:lnTo>
                    <a:pt x="207" y="15"/>
                  </a:lnTo>
                  <a:lnTo>
                    <a:pt x="208" y="15"/>
                  </a:lnTo>
                  <a:lnTo>
                    <a:pt x="208" y="16"/>
                  </a:lnTo>
                  <a:lnTo>
                    <a:pt x="207" y="18"/>
                  </a:lnTo>
                  <a:lnTo>
                    <a:pt x="206" y="18"/>
                  </a:lnTo>
                  <a:lnTo>
                    <a:pt x="205" y="18"/>
                  </a:lnTo>
                  <a:lnTo>
                    <a:pt x="204" y="19"/>
                  </a:lnTo>
                  <a:lnTo>
                    <a:pt x="202" y="20"/>
                  </a:lnTo>
                  <a:lnTo>
                    <a:pt x="204" y="20"/>
                  </a:lnTo>
                  <a:lnTo>
                    <a:pt x="205" y="20"/>
                  </a:lnTo>
                  <a:lnTo>
                    <a:pt x="204" y="20"/>
                  </a:lnTo>
                  <a:lnTo>
                    <a:pt x="205" y="20"/>
                  </a:lnTo>
                  <a:lnTo>
                    <a:pt x="206" y="20"/>
                  </a:lnTo>
                  <a:lnTo>
                    <a:pt x="206" y="19"/>
                  </a:lnTo>
                  <a:lnTo>
                    <a:pt x="208" y="18"/>
                  </a:lnTo>
                  <a:lnTo>
                    <a:pt x="211" y="18"/>
                  </a:lnTo>
                  <a:lnTo>
                    <a:pt x="212" y="18"/>
                  </a:lnTo>
                  <a:lnTo>
                    <a:pt x="212" y="16"/>
                  </a:lnTo>
                  <a:lnTo>
                    <a:pt x="213" y="16"/>
                  </a:lnTo>
                  <a:lnTo>
                    <a:pt x="213" y="15"/>
                  </a:lnTo>
                  <a:lnTo>
                    <a:pt x="214" y="15"/>
                  </a:lnTo>
                  <a:lnTo>
                    <a:pt x="215" y="15"/>
                  </a:lnTo>
                  <a:lnTo>
                    <a:pt x="216" y="15"/>
                  </a:lnTo>
                  <a:lnTo>
                    <a:pt x="218" y="15"/>
                  </a:lnTo>
                  <a:lnTo>
                    <a:pt x="220" y="15"/>
                  </a:lnTo>
                  <a:lnTo>
                    <a:pt x="220" y="16"/>
                  </a:lnTo>
                  <a:lnTo>
                    <a:pt x="223" y="16"/>
                  </a:lnTo>
                  <a:lnTo>
                    <a:pt x="226" y="16"/>
                  </a:lnTo>
                  <a:lnTo>
                    <a:pt x="228" y="16"/>
                  </a:lnTo>
                  <a:lnTo>
                    <a:pt x="230" y="18"/>
                  </a:lnTo>
                  <a:lnTo>
                    <a:pt x="234" y="18"/>
                  </a:lnTo>
                  <a:lnTo>
                    <a:pt x="234" y="19"/>
                  </a:lnTo>
                  <a:lnTo>
                    <a:pt x="236" y="19"/>
                  </a:lnTo>
                  <a:lnTo>
                    <a:pt x="239" y="19"/>
                  </a:lnTo>
                  <a:lnTo>
                    <a:pt x="237" y="19"/>
                  </a:lnTo>
                  <a:lnTo>
                    <a:pt x="236" y="19"/>
                  </a:lnTo>
                  <a:lnTo>
                    <a:pt x="234" y="18"/>
                  </a:lnTo>
                  <a:lnTo>
                    <a:pt x="233" y="18"/>
                  </a:lnTo>
                  <a:lnTo>
                    <a:pt x="232" y="18"/>
                  </a:lnTo>
                  <a:lnTo>
                    <a:pt x="232" y="16"/>
                  </a:lnTo>
                  <a:lnTo>
                    <a:pt x="230" y="16"/>
                  </a:lnTo>
                  <a:lnTo>
                    <a:pt x="229" y="16"/>
                  </a:lnTo>
                  <a:lnTo>
                    <a:pt x="228" y="16"/>
                  </a:lnTo>
                  <a:lnTo>
                    <a:pt x="229" y="16"/>
                  </a:lnTo>
                  <a:lnTo>
                    <a:pt x="232" y="16"/>
                  </a:lnTo>
                  <a:lnTo>
                    <a:pt x="235" y="16"/>
                  </a:lnTo>
                  <a:lnTo>
                    <a:pt x="239" y="16"/>
                  </a:lnTo>
                  <a:lnTo>
                    <a:pt x="240" y="16"/>
                  </a:lnTo>
                  <a:lnTo>
                    <a:pt x="242" y="16"/>
                  </a:lnTo>
                  <a:lnTo>
                    <a:pt x="240" y="15"/>
                  </a:lnTo>
                  <a:lnTo>
                    <a:pt x="236" y="15"/>
                  </a:lnTo>
                  <a:lnTo>
                    <a:pt x="234" y="14"/>
                  </a:lnTo>
                  <a:lnTo>
                    <a:pt x="233" y="13"/>
                  </a:lnTo>
                  <a:lnTo>
                    <a:pt x="234" y="13"/>
                  </a:lnTo>
                  <a:lnTo>
                    <a:pt x="234" y="12"/>
                  </a:lnTo>
                  <a:lnTo>
                    <a:pt x="233" y="12"/>
                  </a:lnTo>
                  <a:lnTo>
                    <a:pt x="232" y="12"/>
                  </a:lnTo>
                  <a:lnTo>
                    <a:pt x="233" y="11"/>
                  </a:lnTo>
                  <a:lnTo>
                    <a:pt x="232" y="11"/>
                  </a:lnTo>
                  <a:lnTo>
                    <a:pt x="233" y="11"/>
                  </a:lnTo>
                  <a:lnTo>
                    <a:pt x="235" y="11"/>
                  </a:lnTo>
                  <a:lnTo>
                    <a:pt x="239" y="11"/>
                  </a:lnTo>
                  <a:lnTo>
                    <a:pt x="242" y="11"/>
                  </a:lnTo>
                  <a:lnTo>
                    <a:pt x="245" y="11"/>
                  </a:lnTo>
                  <a:lnTo>
                    <a:pt x="249" y="12"/>
                  </a:lnTo>
                  <a:lnTo>
                    <a:pt x="250" y="12"/>
                  </a:lnTo>
                  <a:lnTo>
                    <a:pt x="251" y="12"/>
                  </a:lnTo>
                  <a:lnTo>
                    <a:pt x="254" y="13"/>
                  </a:lnTo>
                  <a:lnTo>
                    <a:pt x="257" y="13"/>
                  </a:lnTo>
                  <a:lnTo>
                    <a:pt x="259" y="13"/>
                  </a:lnTo>
                  <a:lnTo>
                    <a:pt x="259" y="14"/>
                  </a:lnTo>
                  <a:lnTo>
                    <a:pt x="262" y="14"/>
                  </a:lnTo>
                  <a:lnTo>
                    <a:pt x="265" y="14"/>
                  </a:lnTo>
                  <a:lnTo>
                    <a:pt x="269" y="15"/>
                  </a:lnTo>
                  <a:lnTo>
                    <a:pt x="271" y="15"/>
                  </a:lnTo>
                  <a:lnTo>
                    <a:pt x="272" y="15"/>
                  </a:lnTo>
                  <a:lnTo>
                    <a:pt x="271" y="15"/>
                  </a:lnTo>
                  <a:lnTo>
                    <a:pt x="272" y="15"/>
                  </a:lnTo>
                  <a:lnTo>
                    <a:pt x="271" y="16"/>
                  </a:lnTo>
                  <a:lnTo>
                    <a:pt x="272" y="16"/>
                  </a:lnTo>
                  <a:lnTo>
                    <a:pt x="273" y="16"/>
                  </a:lnTo>
                  <a:lnTo>
                    <a:pt x="276" y="16"/>
                  </a:lnTo>
                  <a:lnTo>
                    <a:pt x="276" y="18"/>
                  </a:lnTo>
                  <a:lnTo>
                    <a:pt x="277" y="18"/>
                  </a:lnTo>
                  <a:lnTo>
                    <a:pt x="280" y="18"/>
                  </a:lnTo>
                  <a:lnTo>
                    <a:pt x="282" y="18"/>
                  </a:lnTo>
                  <a:lnTo>
                    <a:pt x="285" y="18"/>
                  </a:lnTo>
                  <a:lnTo>
                    <a:pt x="286" y="18"/>
                  </a:lnTo>
                  <a:lnTo>
                    <a:pt x="285" y="16"/>
                  </a:lnTo>
                  <a:lnTo>
                    <a:pt x="284" y="16"/>
                  </a:lnTo>
                  <a:lnTo>
                    <a:pt x="285" y="16"/>
                  </a:lnTo>
                  <a:lnTo>
                    <a:pt x="284" y="16"/>
                  </a:lnTo>
                  <a:lnTo>
                    <a:pt x="283" y="16"/>
                  </a:lnTo>
                  <a:lnTo>
                    <a:pt x="282" y="16"/>
                  </a:lnTo>
                  <a:lnTo>
                    <a:pt x="284" y="16"/>
                  </a:lnTo>
                  <a:lnTo>
                    <a:pt x="284" y="15"/>
                  </a:lnTo>
                  <a:lnTo>
                    <a:pt x="280" y="15"/>
                  </a:lnTo>
                  <a:lnTo>
                    <a:pt x="283" y="15"/>
                  </a:lnTo>
                  <a:lnTo>
                    <a:pt x="285" y="14"/>
                  </a:lnTo>
                  <a:lnTo>
                    <a:pt x="284" y="14"/>
                  </a:lnTo>
                  <a:lnTo>
                    <a:pt x="283" y="14"/>
                  </a:lnTo>
                  <a:lnTo>
                    <a:pt x="284" y="13"/>
                  </a:lnTo>
                  <a:lnTo>
                    <a:pt x="285" y="13"/>
                  </a:lnTo>
                  <a:lnTo>
                    <a:pt x="289" y="13"/>
                  </a:lnTo>
                  <a:lnTo>
                    <a:pt x="291" y="13"/>
                  </a:lnTo>
                  <a:lnTo>
                    <a:pt x="293" y="13"/>
                  </a:lnTo>
                  <a:lnTo>
                    <a:pt x="297" y="13"/>
                  </a:lnTo>
                  <a:lnTo>
                    <a:pt x="300" y="13"/>
                  </a:lnTo>
                  <a:lnTo>
                    <a:pt x="304" y="13"/>
                  </a:lnTo>
                  <a:lnTo>
                    <a:pt x="300" y="13"/>
                  </a:lnTo>
                  <a:lnTo>
                    <a:pt x="298" y="13"/>
                  </a:lnTo>
                  <a:lnTo>
                    <a:pt x="297" y="13"/>
                  </a:lnTo>
                  <a:lnTo>
                    <a:pt x="294" y="13"/>
                  </a:lnTo>
                  <a:lnTo>
                    <a:pt x="292" y="12"/>
                  </a:lnTo>
                  <a:lnTo>
                    <a:pt x="291" y="12"/>
                  </a:lnTo>
                  <a:lnTo>
                    <a:pt x="292" y="12"/>
                  </a:lnTo>
                  <a:lnTo>
                    <a:pt x="293" y="12"/>
                  </a:lnTo>
                  <a:lnTo>
                    <a:pt x="291" y="12"/>
                  </a:lnTo>
                  <a:lnTo>
                    <a:pt x="290" y="11"/>
                  </a:lnTo>
                  <a:lnTo>
                    <a:pt x="289" y="11"/>
                  </a:lnTo>
                  <a:lnTo>
                    <a:pt x="287" y="11"/>
                  </a:lnTo>
                  <a:lnTo>
                    <a:pt x="286" y="11"/>
                  </a:lnTo>
                  <a:lnTo>
                    <a:pt x="286" y="9"/>
                  </a:lnTo>
                  <a:lnTo>
                    <a:pt x="285" y="9"/>
                  </a:lnTo>
                  <a:lnTo>
                    <a:pt x="284" y="9"/>
                  </a:lnTo>
                  <a:lnTo>
                    <a:pt x="283" y="9"/>
                  </a:lnTo>
                  <a:lnTo>
                    <a:pt x="282" y="9"/>
                  </a:lnTo>
                  <a:lnTo>
                    <a:pt x="280" y="9"/>
                  </a:lnTo>
                  <a:lnTo>
                    <a:pt x="279" y="8"/>
                  </a:lnTo>
                  <a:lnTo>
                    <a:pt x="278" y="8"/>
                  </a:lnTo>
                  <a:lnTo>
                    <a:pt x="280" y="8"/>
                  </a:lnTo>
                  <a:lnTo>
                    <a:pt x="283" y="8"/>
                  </a:lnTo>
                  <a:lnTo>
                    <a:pt x="284" y="8"/>
                  </a:lnTo>
                  <a:lnTo>
                    <a:pt x="285" y="8"/>
                  </a:lnTo>
                  <a:lnTo>
                    <a:pt x="289" y="8"/>
                  </a:lnTo>
                  <a:lnTo>
                    <a:pt x="293" y="8"/>
                  </a:lnTo>
                  <a:lnTo>
                    <a:pt x="297" y="8"/>
                  </a:lnTo>
                  <a:lnTo>
                    <a:pt x="301" y="8"/>
                  </a:lnTo>
                  <a:lnTo>
                    <a:pt x="305" y="8"/>
                  </a:lnTo>
                  <a:lnTo>
                    <a:pt x="308" y="8"/>
                  </a:lnTo>
                  <a:lnTo>
                    <a:pt x="307" y="8"/>
                  </a:lnTo>
                  <a:lnTo>
                    <a:pt x="309" y="9"/>
                  </a:lnTo>
                  <a:lnTo>
                    <a:pt x="311" y="9"/>
                  </a:lnTo>
                  <a:lnTo>
                    <a:pt x="309" y="11"/>
                  </a:lnTo>
                  <a:lnTo>
                    <a:pt x="311" y="11"/>
                  </a:lnTo>
                  <a:lnTo>
                    <a:pt x="312" y="11"/>
                  </a:lnTo>
                  <a:lnTo>
                    <a:pt x="311" y="11"/>
                  </a:lnTo>
                  <a:lnTo>
                    <a:pt x="311" y="9"/>
                  </a:lnTo>
                  <a:lnTo>
                    <a:pt x="312" y="9"/>
                  </a:lnTo>
                  <a:lnTo>
                    <a:pt x="311" y="9"/>
                  </a:lnTo>
                  <a:lnTo>
                    <a:pt x="311" y="8"/>
                  </a:lnTo>
                  <a:lnTo>
                    <a:pt x="309" y="8"/>
                  </a:lnTo>
                  <a:lnTo>
                    <a:pt x="311" y="8"/>
                  </a:lnTo>
                  <a:lnTo>
                    <a:pt x="313" y="8"/>
                  </a:lnTo>
                  <a:lnTo>
                    <a:pt x="315" y="8"/>
                  </a:lnTo>
                  <a:lnTo>
                    <a:pt x="315" y="9"/>
                  </a:lnTo>
                  <a:lnTo>
                    <a:pt x="319" y="9"/>
                  </a:lnTo>
                  <a:lnTo>
                    <a:pt x="320" y="11"/>
                  </a:lnTo>
                  <a:lnTo>
                    <a:pt x="323" y="11"/>
                  </a:lnTo>
                  <a:lnTo>
                    <a:pt x="325" y="11"/>
                  </a:lnTo>
                  <a:lnTo>
                    <a:pt x="323" y="11"/>
                  </a:lnTo>
                  <a:lnTo>
                    <a:pt x="323" y="12"/>
                  </a:lnTo>
                  <a:lnTo>
                    <a:pt x="325" y="12"/>
                  </a:lnTo>
                  <a:lnTo>
                    <a:pt x="326" y="12"/>
                  </a:lnTo>
                  <a:lnTo>
                    <a:pt x="325" y="12"/>
                  </a:lnTo>
                  <a:lnTo>
                    <a:pt x="326" y="11"/>
                  </a:lnTo>
                  <a:lnTo>
                    <a:pt x="327" y="11"/>
                  </a:lnTo>
                  <a:lnTo>
                    <a:pt x="326" y="11"/>
                  </a:lnTo>
                  <a:lnTo>
                    <a:pt x="325" y="11"/>
                  </a:lnTo>
                  <a:lnTo>
                    <a:pt x="325" y="9"/>
                  </a:lnTo>
                  <a:lnTo>
                    <a:pt x="326" y="9"/>
                  </a:lnTo>
                  <a:lnTo>
                    <a:pt x="323" y="8"/>
                  </a:lnTo>
                  <a:lnTo>
                    <a:pt x="321" y="8"/>
                  </a:lnTo>
                  <a:lnTo>
                    <a:pt x="319" y="8"/>
                  </a:lnTo>
                  <a:lnTo>
                    <a:pt x="318" y="8"/>
                  </a:lnTo>
                  <a:lnTo>
                    <a:pt x="314" y="8"/>
                  </a:lnTo>
                  <a:lnTo>
                    <a:pt x="311" y="8"/>
                  </a:lnTo>
                  <a:lnTo>
                    <a:pt x="306" y="8"/>
                  </a:lnTo>
                  <a:lnTo>
                    <a:pt x="303" y="8"/>
                  </a:lnTo>
                  <a:lnTo>
                    <a:pt x="299" y="8"/>
                  </a:lnTo>
                  <a:lnTo>
                    <a:pt x="296" y="7"/>
                  </a:lnTo>
                  <a:lnTo>
                    <a:pt x="291" y="7"/>
                  </a:lnTo>
                  <a:lnTo>
                    <a:pt x="287" y="7"/>
                  </a:lnTo>
                  <a:lnTo>
                    <a:pt x="286" y="7"/>
                  </a:lnTo>
                  <a:lnTo>
                    <a:pt x="285" y="7"/>
                  </a:lnTo>
                  <a:lnTo>
                    <a:pt x="286" y="7"/>
                  </a:lnTo>
                  <a:lnTo>
                    <a:pt x="285" y="7"/>
                  </a:lnTo>
                  <a:lnTo>
                    <a:pt x="283" y="7"/>
                  </a:lnTo>
                  <a:lnTo>
                    <a:pt x="280" y="7"/>
                  </a:lnTo>
                  <a:lnTo>
                    <a:pt x="279" y="7"/>
                  </a:lnTo>
                  <a:lnTo>
                    <a:pt x="277" y="7"/>
                  </a:lnTo>
                  <a:lnTo>
                    <a:pt x="276" y="7"/>
                  </a:lnTo>
                  <a:lnTo>
                    <a:pt x="272" y="7"/>
                  </a:lnTo>
                  <a:lnTo>
                    <a:pt x="271" y="7"/>
                  </a:lnTo>
                  <a:lnTo>
                    <a:pt x="270" y="6"/>
                  </a:lnTo>
                  <a:lnTo>
                    <a:pt x="271" y="6"/>
                  </a:lnTo>
                  <a:lnTo>
                    <a:pt x="273" y="7"/>
                  </a:lnTo>
                  <a:lnTo>
                    <a:pt x="277" y="7"/>
                  </a:lnTo>
                  <a:lnTo>
                    <a:pt x="276" y="6"/>
                  </a:lnTo>
                  <a:lnTo>
                    <a:pt x="272" y="6"/>
                  </a:lnTo>
                  <a:lnTo>
                    <a:pt x="273" y="6"/>
                  </a:lnTo>
                  <a:lnTo>
                    <a:pt x="275" y="6"/>
                  </a:lnTo>
                  <a:lnTo>
                    <a:pt x="277" y="6"/>
                  </a:lnTo>
                  <a:lnTo>
                    <a:pt x="278" y="6"/>
                  </a:lnTo>
                  <a:lnTo>
                    <a:pt x="278" y="5"/>
                  </a:lnTo>
                  <a:lnTo>
                    <a:pt x="279" y="6"/>
                  </a:lnTo>
                  <a:lnTo>
                    <a:pt x="283" y="6"/>
                  </a:lnTo>
                  <a:lnTo>
                    <a:pt x="285" y="6"/>
                  </a:lnTo>
                  <a:lnTo>
                    <a:pt x="285" y="7"/>
                  </a:lnTo>
                  <a:lnTo>
                    <a:pt x="287" y="6"/>
                  </a:lnTo>
                  <a:lnTo>
                    <a:pt x="291" y="7"/>
                  </a:lnTo>
                  <a:lnTo>
                    <a:pt x="294" y="7"/>
                  </a:lnTo>
                  <a:lnTo>
                    <a:pt x="298" y="7"/>
                  </a:lnTo>
                  <a:lnTo>
                    <a:pt x="299" y="7"/>
                  </a:lnTo>
                  <a:lnTo>
                    <a:pt x="296" y="7"/>
                  </a:lnTo>
                  <a:lnTo>
                    <a:pt x="292" y="6"/>
                  </a:lnTo>
                  <a:lnTo>
                    <a:pt x="289" y="6"/>
                  </a:lnTo>
                  <a:lnTo>
                    <a:pt x="285" y="6"/>
                  </a:lnTo>
                  <a:lnTo>
                    <a:pt x="284" y="6"/>
                  </a:lnTo>
                  <a:lnTo>
                    <a:pt x="283" y="5"/>
                  </a:lnTo>
                  <a:lnTo>
                    <a:pt x="284" y="5"/>
                  </a:lnTo>
                  <a:lnTo>
                    <a:pt x="285" y="5"/>
                  </a:lnTo>
                  <a:lnTo>
                    <a:pt x="286" y="5"/>
                  </a:lnTo>
                  <a:lnTo>
                    <a:pt x="289" y="5"/>
                  </a:lnTo>
                  <a:lnTo>
                    <a:pt x="290" y="5"/>
                  </a:lnTo>
                  <a:lnTo>
                    <a:pt x="289" y="5"/>
                  </a:lnTo>
                  <a:lnTo>
                    <a:pt x="290" y="5"/>
                  </a:lnTo>
                  <a:lnTo>
                    <a:pt x="289" y="5"/>
                  </a:lnTo>
                  <a:lnTo>
                    <a:pt x="290" y="5"/>
                  </a:lnTo>
                  <a:lnTo>
                    <a:pt x="293" y="5"/>
                  </a:lnTo>
                  <a:lnTo>
                    <a:pt x="297" y="5"/>
                  </a:lnTo>
                  <a:lnTo>
                    <a:pt x="298" y="5"/>
                  </a:lnTo>
                  <a:lnTo>
                    <a:pt x="301" y="5"/>
                  </a:lnTo>
                  <a:lnTo>
                    <a:pt x="305" y="5"/>
                  </a:lnTo>
                  <a:lnTo>
                    <a:pt x="304" y="5"/>
                  </a:lnTo>
                  <a:lnTo>
                    <a:pt x="301" y="5"/>
                  </a:lnTo>
                  <a:lnTo>
                    <a:pt x="298" y="5"/>
                  </a:lnTo>
                  <a:lnTo>
                    <a:pt x="296" y="5"/>
                  </a:lnTo>
                  <a:lnTo>
                    <a:pt x="299" y="5"/>
                  </a:lnTo>
                  <a:lnTo>
                    <a:pt x="301" y="5"/>
                  </a:lnTo>
                  <a:lnTo>
                    <a:pt x="305" y="5"/>
                  </a:lnTo>
                  <a:lnTo>
                    <a:pt x="305" y="4"/>
                  </a:lnTo>
                  <a:lnTo>
                    <a:pt x="304" y="5"/>
                  </a:lnTo>
                  <a:lnTo>
                    <a:pt x="303" y="4"/>
                  </a:lnTo>
                  <a:lnTo>
                    <a:pt x="304" y="4"/>
                  </a:lnTo>
                  <a:lnTo>
                    <a:pt x="301" y="4"/>
                  </a:lnTo>
                  <a:lnTo>
                    <a:pt x="305" y="4"/>
                  </a:lnTo>
                  <a:lnTo>
                    <a:pt x="307" y="4"/>
                  </a:lnTo>
                  <a:lnTo>
                    <a:pt x="308" y="4"/>
                  </a:lnTo>
                  <a:lnTo>
                    <a:pt x="311" y="4"/>
                  </a:lnTo>
                  <a:lnTo>
                    <a:pt x="312" y="4"/>
                  </a:lnTo>
                  <a:lnTo>
                    <a:pt x="313" y="4"/>
                  </a:lnTo>
                  <a:lnTo>
                    <a:pt x="313" y="5"/>
                  </a:lnTo>
                  <a:lnTo>
                    <a:pt x="314" y="5"/>
                  </a:lnTo>
                  <a:lnTo>
                    <a:pt x="312" y="5"/>
                  </a:lnTo>
                  <a:lnTo>
                    <a:pt x="314" y="5"/>
                  </a:lnTo>
                  <a:lnTo>
                    <a:pt x="316" y="5"/>
                  </a:lnTo>
                  <a:lnTo>
                    <a:pt x="319" y="6"/>
                  </a:lnTo>
                  <a:lnTo>
                    <a:pt x="321" y="6"/>
                  </a:lnTo>
                  <a:lnTo>
                    <a:pt x="325" y="6"/>
                  </a:lnTo>
                  <a:lnTo>
                    <a:pt x="328" y="6"/>
                  </a:lnTo>
                  <a:lnTo>
                    <a:pt x="332" y="6"/>
                  </a:lnTo>
                  <a:lnTo>
                    <a:pt x="335" y="7"/>
                  </a:lnTo>
                  <a:lnTo>
                    <a:pt x="335" y="8"/>
                  </a:lnTo>
                  <a:lnTo>
                    <a:pt x="337" y="8"/>
                  </a:lnTo>
                  <a:lnTo>
                    <a:pt x="339" y="8"/>
                  </a:lnTo>
                  <a:lnTo>
                    <a:pt x="337" y="8"/>
                  </a:lnTo>
                  <a:lnTo>
                    <a:pt x="336" y="7"/>
                  </a:lnTo>
                  <a:lnTo>
                    <a:pt x="335" y="7"/>
                  </a:lnTo>
                  <a:lnTo>
                    <a:pt x="334" y="6"/>
                  </a:lnTo>
                  <a:lnTo>
                    <a:pt x="335" y="6"/>
                  </a:lnTo>
                  <a:lnTo>
                    <a:pt x="339" y="6"/>
                  </a:lnTo>
                  <a:lnTo>
                    <a:pt x="342" y="6"/>
                  </a:lnTo>
                  <a:lnTo>
                    <a:pt x="346" y="6"/>
                  </a:lnTo>
                  <a:lnTo>
                    <a:pt x="350" y="6"/>
                  </a:lnTo>
                  <a:lnTo>
                    <a:pt x="349" y="6"/>
                  </a:lnTo>
                  <a:lnTo>
                    <a:pt x="347" y="6"/>
                  </a:lnTo>
                  <a:lnTo>
                    <a:pt x="344" y="6"/>
                  </a:lnTo>
                  <a:lnTo>
                    <a:pt x="341" y="6"/>
                  </a:lnTo>
                  <a:lnTo>
                    <a:pt x="337" y="6"/>
                  </a:lnTo>
                  <a:lnTo>
                    <a:pt x="342" y="6"/>
                  </a:lnTo>
                  <a:lnTo>
                    <a:pt x="346" y="5"/>
                  </a:lnTo>
                  <a:lnTo>
                    <a:pt x="349" y="5"/>
                  </a:lnTo>
                  <a:lnTo>
                    <a:pt x="354" y="5"/>
                  </a:lnTo>
                  <a:lnTo>
                    <a:pt x="350" y="5"/>
                  </a:lnTo>
                  <a:lnTo>
                    <a:pt x="348" y="5"/>
                  </a:lnTo>
                  <a:lnTo>
                    <a:pt x="346" y="5"/>
                  </a:lnTo>
                  <a:lnTo>
                    <a:pt x="344" y="5"/>
                  </a:lnTo>
                  <a:lnTo>
                    <a:pt x="346" y="5"/>
                  </a:lnTo>
                  <a:lnTo>
                    <a:pt x="343" y="5"/>
                  </a:lnTo>
                  <a:lnTo>
                    <a:pt x="341" y="5"/>
                  </a:lnTo>
                  <a:lnTo>
                    <a:pt x="339" y="5"/>
                  </a:lnTo>
                  <a:lnTo>
                    <a:pt x="339" y="4"/>
                  </a:lnTo>
                  <a:lnTo>
                    <a:pt x="337" y="4"/>
                  </a:lnTo>
                  <a:lnTo>
                    <a:pt x="339" y="4"/>
                  </a:lnTo>
                  <a:lnTo>
                    <a:pt x="340" y="4"/>
                  </a:lnTo>
                  <a:lnTo>
                    <a:pt x="339" y="4"/>
                  </a:lnTo>
                  <a:lnTo>
                    <a:pt x="340" y="4"/>
                  </a:lnTo>
                  <a:lnTo>
                    <a:pt x="339" y="4"/>
                  </a:lnTo>
                  <a:lnTo>
                    <a:pt x="339" y="2"/>
                  </a:lnTo>
                  <a:lnTo>
                    <a:pt x="340" y="2"/>
                  </a:lnTo>
                  <a:lnTo>
                    <a:pt x="339" y="2"/>
                  </a:lnTo>
                  <a:lnTo>
                    <a:pt x="340" y="2"/>
                  </a:lnTo>
                  <a:lnTo>
                    <a:pt x="343" y="2"/>
                  </a:lnTo>
                  <a:lnTo>
                    <a:pt x="347" y="2"/>
                  </a:lnTo>
                  <a:lnTo>
                    <a:pt x="348" y="2"/>
                  </a:lnTo>
                  <a:lnTo>
                    <a:pt x="346" y="2"/>
                  </a:lnTo>
                  <a:lnTo>
                    <a:pt x="347" y="2"/>
                  </a:lnTo>
                  <a:lnTo>
                    <a:pt x="347" y="1"/>
                  </a:lnTo>
                  <a:lnTo>
                    <a:pt x="350" y="1"/>
                  </a:lnTo>
                  <a:lnTo>
                    <a:pt x="353" y="2"/>
                  </a:lnTo>
                  <a:lnTo>
                    <a:pt x="356" y="2"/>
                  </a:lnTo>
                  <a:lnTo>
                    <a:pt x="358" y="2"/>
                  </a:lnTo>
                  <a:lnTo>
                    <a:pt x="357" y="2"/>
                  </a:lnTo>
                  <a:lnTo>
                    <a:pt x="356" y="2"/>
                  </a:lnTo>
                  <a:lnTo>
                    <a:pt x="357" y="2"/>
                  </a:lnTo>
                  <a:lnTo>
                    <a:pt x="358" y="2"/>
                  </a:lnTo>
                  <a:lnTo>
                    <a:pt x="356" y="1"/>
                  </a:lnTo>
                  <a:lnTo>
                    <a:pt x="355" y="1"/>
                  </a:lnTo>
                  <a:lnTo>
                    <a:pt x="356" y="1"/>
                  </a:lnTo>
                  <a:lnTo>
                    <a:pt x="357" y="1"/>
                  </a:lnTo>
                  <a:lnTo>
                    <a:pt x="361" y="1"/>
                  </a:lnTo>
                  <a:lnTo>
                    <a:pt x="365" y="1"/>
                  </a:lnTo>
                  <a:lnTo>
                    <a:pt x="369" y="1"/>
                  </a:lnTo>
                  <a:lnTo>
                    <a:pt x="371" y="1"/>
                  </a:lnTo>
                  <a:lnTo>
                    <a:pt x="373" y="1"/>
                  </a:lnTo>
                  <a:lnTo>
                    <a:pt x="375" y="1"/>
                  </a:lnTo>
                  <a:lnTo>
                    <a:pt x="376" y="1"/>
                  </a:lnTo>
                  <a:lnTo>
                    <a:pt x="377" y="1"/>
                  </a:lnTo>
                  <a:lnTo>
                    <a:pt x="379" y="1"/>
                  </a:lnTo>
                  <a:lnTo>
                    <a:pt x="379" y="2"/>
                  </a:lnTo>
                  <a:lnTo>
                    <a:pt x="380" y="2"/>
                  </a:lnTo>
                  <a:lnTo>
                    <a:pt x="382" y="1"/>
                  </a:lnTo>
                  <a:lnTo>
                    <a:pt x="380" y="1"/>
                  </a:lnTo>
                  <a:lnTo>
                    <a:pt x="379" y="1"/>
                  </a:lnTo>
                  <a:lnTo>
                    <a:pt x="378" y="1"/>
                  </a:lnTo>
                  <a:lnTo>
                    <a:pt x="379" y="1"/>
                  </a:lnTo>
                  <a:lnTo>
                    <a:pt x="383" y="1"/>
                  </a:lnTo>
                  <a:lnTo>
                    <a:pt x="385" y="0"/>
                  </a:lnTo>
                  <a:lnTo>
                    <a:pt x="389" y="0"/>
                  </a:lnTo>
                  <a:lnTo>
                    <a:pt x="392" y="0"/>
                  </a:lnTo>
                  <a:lnTo>
                    <a:pt x="394"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42" name="Freeform 897">
              <a:extLst>
                <a:ext uri="{FF2B5EF4-FFF2-40B4-BE49-F238E27FC236}">
                  <a16:creationId xmlns:a16="http://schemas.microsoft.com/office/drawing/2014/main" id="{B5E0263B-3DC7-4F47-A8BE-DA6FFE548A0F}"/>
                </a:ext>
              </a:extLst>
            </p:cNvPr>
            <p:cNvSpPr>
              <a:spLocks/>
            </p:cNvSpPr>
            <p:nvPr/>
          </p:nvSpPr>
          <p:spPr bwMode="auto">
            <a:xfrm>
              <a:off x="4105016" y="2971921"/>
              <a:ext cx="76123" cy="85471"/>
            </a:xfrm>
            <a:custGeom>
              <a:avLst/>
              <a:gdLst>
                <a:gd name="T0" fmla="*/ 44 w 57"/>
                <a:gd name="T1" fmla="*/ 26 h 64"/>
                <a:gd name="T2" fmla="*/ 44 w 57"/>
                <a:gd name="T3" fmla="*/ 30 h 64"/>
                <a:gd name="T4" fmla="*/ 49 w 57"/>
                <a:gd name="T5" fmla="*/ 30 h 64"/>
                <a:gd name="T6" fmla="*/ 51 w 57"/>
                <a:gd name="T7" fmla="*/ 33 h 64"/>
                <a:gd name="T8" fmla="*/ 53 w 57"/>
                <a:gd name="T9" fmla="*/ 33 h 64"/>
                <a:gd name="T10" fmla="*/ 53 w 57"/>
                <a:gd name="T11" fmla="*/ 32 h 64"/>
                <a:gd name="T12" fmla="*/ 53 w 57"/>
                <a:gd name="T13" fmla="*/ 30 h 64"/>
                <a:gd name="T14" fmla="*/ 53 w 57"/>
                <a:gd name="T15" fmla="*/ 30 h 64"/>
                <a:gd name="T16" fmla="*/ 54 w 57"/>
                <a:gd name="T17" fmla="*/ 29 h 64"/>
                <a:gd name="T18" fmla="*/ 57 w 57"/>
                <a:gd name="T19" fmla="*/ 33 h 64"/>
                <a:gd name="T20" fmla="*/ 56 w 57"/>
                <a:gd name="T21" fmla="*/ 34 h 64"/>
                <a:gd name="T22" fmla="*/ 53 w 57"/>
                <a:gd name="T23" fmla="*/ 36 h 64"/>
                <a:gd name="T24" fmla="*/ 43 w 57"/>
                <a:gd name="T25" fmla="*/ 43 h 64"/>
                <a:gd name="T26" fmla="*/ 42 w 57"/>
                <a:gd name="T27" fmla="*/ 46 h 64"/>
                <a:gd name="T28" fmla="*/ 42 w 57"/>
                <a:gd name="T29" fmla="*/ 48 h 64"/>
                <a:gd name="T30" fmla="*/ 42 w 57"/>
                <a:gd name="T31" fmla="*/ 49 h 64"/>
                <a:gd name="T32" fmla="*/ 42 w 57"/>
                <a:gd name="T33" fmla="*/ 51 h 64"/>
                <a:gd name="T34" fmla="*/ 40 w 57"/>
                <a:gd name="T35" fmla="*/ 53 h 64"/>
                <a:gd name="T36" fmla="*/ 39 w 57"/>
                <a:gd name="T37" fmla="*/ 54 h 64"/>
                <a:gd name="T38" fmla="*/ 37 w 57"/>
                <a:gd name="T39" fmla="*/ 54 h 64"/>
                <a:gd name="T40" fmla="*/ 36 w 57"/>
                <a:gd name="T41" fmla="*/ 54 h 64"/>
                <a:gd name="T42" fmla="*/ 36 w 57"/>
                <a:gd name="T43" fmla="*/ 55 h 64"/>
                <a:gd name="T44" fmla="*/ 36 w 57"/>
                <a:gd name="T45" fmla="*/ 56 h 64"/>
                <a:gd name="T46" fmla="*/ 34 w 57"/>
                <a:gd name="T47" fmla="*/ 57 h 64"/>
                <a:gd name="T48" fmla="*/ 33 w 57"/>
                <a:gd name="T49" fmla="*/ 60 h 64"/>
                <a:gd name="T50" fmla="*/ 29 w 57"/>
                <a:gd name="T51" fmla="*/ 61 h 64"/>
                <a:gd name="T52" fmla="*/ 28 w 57"/>
                <a:gd name="T53" fmla="*/ 63 h 64"/>
                <a:gd name="T54" fmla="*/ 22 w 57"/>
                <a:gd name="T55" fmla="*/ 62 h 64"/>
                <a:gd name="T56" fmla="*/ 12 w 57"/>
                <a:gd name="T57" fmla="*/ 61 h 64"/>
                <a:gd name="T58" fmla="*/ 0 w 57"/>
                <a:gd name="T59" fmla="*/ 51 h 64"/>
                <a:gd name="T60" fmla="*/ 1 w 57"/>
                <a:gd name="T61" fmla="*/ 48 h 64"/>
                <a:gd name="T62" fmla="*/ 1 w 57"/>
                <a:gd name="T63" fmla="*/ 44 h 64"/>
                <a:gd name="T64" fmla="*/ 1 w 57"/>
                <a:gd name="T65" fmla="*/ 40 h 64"/>
                <a:gd name="T66" fmla="*/ 6 w 57"/>
                <a:gd name="T67" fmla="*/ 32 h 64"/>
                <a:gd name="T68" fmla="*/ 12 w 57"/>
                <a:gd name="T69" fmla="*/ 27 h 64"/>
                <a:gd name="T70" fmla="*/ 26 w 57"/>
                <a:gd name="T71" fmla="*/ 27 h 64"/>
                <a:gd name="T72" fmla="*/ 27 w 57"/>
                <a:gd name="T73" fmla="*/ 27 h 64"/>
                <a:gd name="T74" fmla="*/ 27 w 57"/>
                <a:gd name="T75" fmla="*/ 26 h 64"/>
                <a:gd name="T76" fmla="*/ 28 w 57"/>
                <a:gd name="T77" fmla="*/ 25 h 64"/>
                <a:gd name="T78" fmla="*/ 28 w 57"/>
                <a:gd name="T79" fmla="*/ 25 h 64"/>
                <a:gd name="T80" fmla="*/ 28 w 57"/>
                <a:gd name="T81" fmla="*/ 23 h 64"/>
                <a:gd name="T82" fmla="*/ 28 w 57"/>
                <a:gd name="T83" fmla="*/ 23 h 64"/>
                <a:gd name="T84" fmla="*/ 28 w 57"/>
                <a:gd name="T85" fmla="*/ 22 h 64"/>
                <a:gd name="T86" fmla="*/ 28 w 57"/>
                <a:gd name="T87" fmla="*/ 22 h 64"/>
                <a:gd name="T88" fmla="*/ 27 w 57"/>
                <a:gd name="T89" fmla="*/ 21 h 64"/>
                <a:gd name="T90" fmla="*/ 26 w 57"/>
                <a:gd name="T91" fmla="*/ 21 h 64"/>
                <a:gd name="T92" fmla="*/ 26 w 57"/>
                <a:gd name="T93" fmla="*/ 20 h 64"/>
                <a:gd name="T94" fmla="*/ 26 w 57"/>
                <a:gd name="T95" fmla="*/ 19 h 64"/>
                <a:gd name="T96" fmla="*/ 25 w 57"/>
                <a:gd name="T97" fmla="*/ 16 h 64"/>
                <a:gd name="T98" fmla="*/ 23 w 57"/>
                <a:gd name="T99" fmla="*/ 15 h 64"/>
                <a:gd name="T100" fmla="*/ 21 w 57"/>
                <a:gd name="T101" fmla="*/ 14 h 64"/>
                <a:gd name="T102" fmla="*/ 20 w 57"/>
                <a:gd name="T103" fmla="*/ 14 h 64"/>
                <a:gd name="T104" fmla="*/ 20 w 57"/>
                <a:gd name="T105" fmla="*/ 12 h 64"/>
                <a:gd name="T106" fmla="*/ 19 w 57"/>
                <a:gd name="T107" fmla="*/ 11 h 64"/>
                <a:gd name="T108" fmla="*/ 17 w 57"/>
                <a:gd name="T109" fmla="*/ 9 h 64"/>
                <a:gd name="T110" fmla="*/ 22 w 57"/>
                <a:gd name="T111" fmla="*/ 8 h 64"/>
                <a:gd name="T112" fmla="*/ 33 w 57"/>
                <a:gd name="T11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 h="64">
                  <a:moveTo>
                    <a:pt x="48" y="0"/>
                  </a:moveTo>
                  <a:lnTo>
                    <a:pt x="48" y="4"/>
                  </a:lnTo>
                  <a:lnTo>
                    <a:pt x="48" y="7"/>
                  </a:lnTo>
                  <a:lnTo>
                    <a:pt x="47" y="12"/>
                  </a:lnTo>
                  <a:lnTo>
                    <a:pt x="46" y="16"/>
                  </a:lnTo>
                  <a:lnTo>
                    <a:pt x="46" y="21"/>
                  </a:lnTo>
                  <a:lnTo>
                    <a:pt x="46" y="22"/>
                  </a:lnTo>
                  <a:lnTo>
                    <a:pt x="44" y="26"/>
                  </a:lnTo>
                  <a:lnTo>
                    <a:pt x="43" y="29"/>
                  </a:lnTo>
                  <a:lnTo>
                    <a:pt x="43" y="30"/>
                  </a:lnTo>
                  <a:lnTo>
                    <a:pt x="43" y="30"/>
                  </a:lnTo>
                  <a:lnTo>
                    <a:pt x="43" y="30"/>
                  </a:lnTo>
                  <a:lnTo>
                    <a:pt x="43" y="30"/>
                  </a:lnTo>
                  <a:lnTo>
                    <a:pt x="44" y="30"/>
                  </a:lnTo>
                  <a:lnTo>
                    <a:pt x="44" y="30"/>
                  </a:lnTo>
                  <a:lnTo>
                    <a:pt x="44" y="30"/>
                  </a:lnTo>
                  <a:lnTo>
                    <a:pt x="44" y="30"/>
                  </a:lnTo>
                  <a:lnTo>
                    <a:pt x="46" y="30"/>
                  </a:lnTo>
                  <a:lnTo>
                    <a:pt x="46" y="30"/>
                  </a:lnTo>
                  <a:lnTo>
                    <a:pt x="47" y="30"/>
                  </a:lnTo>
                  <a:lnTo>
                    <a:pt x="48" y="30"/>
                  </a:lnTo>
                  <a:lnTo>
                    <a:pt x="48" y="30"/>
                  </a:lnTo>
                  <a:lnTo>
                    <a:pt x="48" y="30"/>
                  </a:lnTo>
                  <a:lnTo>
                    <a:pt x="49" y="30"/>
                  </a:lnTo>
                  <a:lnTo>
                    <a:pt x="49" y="30"/>
                  </a:lnTo>
                  <a:lnTo>
                    <a:pt x="50" y="30"/>
                  </a:lnTo>
                  <a:lnTo>
                    <a:pt x="50" y="30"/>
                  </a:lnTo>
                  <a:lnTo>
                    <a:pt x="50" y="32"/>
                  </a:lnTo>
                  <a:lnTo>
                    <a:pt x="50" y="32"/>
                  </a:lnTo>
                  <a:lnTo>
                    <a:pt x="51" y="33"/>
                  </a:lnTo>
                  <a:lnTo>
                    <a:pt x="51" y="33"/>
                  </a:lnTo>
                  <a:lnTo>
                    <a:pt x="51" y="33"/>
                  </a:lnTo>
                  <a:lnTo>
                    <a:pt x="51" y="33"/>
                  </a:lnTo>
                  <a:lnTo>
                    <a:pt x="53" y="33"/>
                  </a:lnTo>
                  <a:lnTo>
                    <a:pt x="53" y="33"/>
                  </a:lnTo>
                  <a:lnTo>
                    <a:pt x="53" y="33"/>
                  </a:lnTo>
                  <a:lnTo>
                    <a:pt x="53" y="33"/>
                  </a:lnTo>
                  <a:lnTo>
                    <a:pt x="53" y="33"/>
                  </a:lnTo>
                  <a:lnTo>
                    <a:pt x="53" y="33"/>
                  </a:lnTo>
                  <a:lnTo>
                    <a:pt x="53" y="33"/>
                  </a:lnTo>
                  <a:lnTo>
                    <a:pt x="53" y="33"/>
                  </a:lnTo>
                  <a:lnTo>
                    <a:pt x="53" y="33"/>
                  </a:lnTo>
                  <a:lnTo>
                    <a:pt x="53" y="33"/>
                  </a:lnTo>
                  <a:lnTo>
                    <a:pt x="53" y="33"/>
                  </a:lnTo>
                  <a:lnTo>
                    <a:pt x="53" y="33"/>
                  </a:lnTo>
                  <a:lnTo>
                    <a:pt x="53" y="32"/>
                  </a:lnTo>
                  <a:lnTo>
                    <a:pt x="53" y="32"/>
                  </a:lnTo>
                  <a:lnTo>
                    <a:pt x="53" y="32"/>
                  </a:lnTo>
                  <a:lnTo>
                    <a:pt x="53" y="32"/>
                  </a:lnTo>
                  <a:lnTo>
                    <a:pt x="53" y="32"/>
                  </a:lnTo>
                  <a:lnTo>
                    <a:pt x="53" y="30"/>
                  </a:lnTo>
                  <a:lnTo>
                    <a:pt x="53" y="30"/>
                  </a:lnTo>
                  <a:lnTo>
                    <a:pt x="53" y="30"/>
                  </a:lnTo>
                  <a:lnTo>
                    <a:pt x="53" y="30"/>
                  </a:lnTo>
                  <a:lnTo>
                    <a:pt x="53" y="30"/>
                  </a:lnTo>
                  <a:lnTo>
                    <a:pt x="53" y="30"/>
                  </a:lnTo>
                  <a:lnTo>
                    <a:pt x="54" y="30"/>
                  </a:lnTo>
                  <a:lnTo>
                    <a:pt x="54" y="30"/>
                  </a:lnTo>
                  <a:lnTo>
                    <a:pt x="54" y="30"/>
                  </a:lnTo>
                  <a:lnTo>
                    <a:pt x="54" y="30"/>
                  </a:lnTo>
                  <a:lnTo>
                    <a:pt x="54" y="30"/>
                  </a:lnTo>
                  <a:lnTo>
                    <a:pt x="53" y="30"/>
                  </a:lnTo>
                  <a:lnTo>
                    <a:pt x="53" y="30"/>
                  </a:lnTo>
                  <a:lnTo>
                    <a:pt x="53" y="30"/>
                  </a:lnTo>
                  <a:lnTo>
                    <a:pt x="53" y="29"/>
                  </a:lnTo>
                  <a:lnTo>
                    <a:pt x="53" y="29"/>
                  </a:lnTo>
                  <a:lnTo>
                    <a:pt x="53" y="29"/>
                  </a:lnTo>
                  <a:lnTo>
                    <a:pt x="53" y="29"/>
                  </a:lnTo>
                  <a:lnTo>
                    <a:pt x="53" y="29"/>
                  </a:lnTo>
                  <a:lnTo>
                    <a:pt x="53" y="29"/>
                  </a:lnTo>
                  <a:lnTo>
                    <a:pt x="53" y="29"/>
                  </a:lnTo>
                  <a:lnTo>
                    <a:pt x="54" y="29"/>
                  </a:lnTo>
                  <a:lnTo>
                    <a:pt x="54" y="30"/>
                  </a:lnTo>
                  <a:lnTo>
                    <a:pt x="55" y="30"/>
                  </a:lnTo>
                  <a:lnTo>
                    <a:pt x="56" y="32"/>
                  </a:lnTo>
                  <a:lnTo>
                    <a:pt x="56" y="32"/>
                  </a:lnTo>
                  <a:lnTo>
                    <a:pt x="56" y="32"/>
                  </a:lnTo>
                  <a:lnTo>
                    <a:pt x="57" y="33"/>
                  </a:lnTo>
                  <a:lnTo>
                    <a:pt x="57" y="33"/>
                  </a:lnTo>
                  <a:lnTo>
                    <a:pt x="57" y="33"/>
                  </a:lnTo>
                  <a:lnTo>
                    <a:pt x="57" y="33"/>
                  </a:lnTo>
                  <a:lnTo>
                    <a:pt x="57" y="33"/>
                  </a:lnTo>
                  <a:lnTo>
                    <a:pt x="57" y="33"/>
                  </a:lnTo>
                  <a:lnTo>
                    <a:pt x="57" y="33"/>
                  </a:lnTo>
                  <a:lnTo>
                    <a:pt x="57" y="33"/>
                  </a:lnTo>
                  <a:lnTo>
                    <a:pt x="57" y="33"/>
                  </a:lnTo>
                  <a:lnTo>
                    <a:pt x="56" y="33"/>
                  </a:lnTo>
                  <a:lnTo>
                    <a:pt x="56" y="34"/>
                  </a:lnTo>
                  <a:lnTo>
                    <a:pt x="56" y="34"/>
                  </a:lnTo>
                  <a:lnTo>
                    <a:pt x="56" y="34"/>
                  </a:lnTo>
                  <a:lnTo>
                    <a:pt x="56" y="34"/>
                  </a:lnTo>
                  <a:lnTo>
                    <a:pt x="55" y="34"/>
                  </a:lnTo>
                  <a:lnTo>
                    <a:pt x="55" y="35"/>
                  </a:lnTo>
                  <a:lnTo>
                    <a:pt x="54" y="36"/>
                  </a:lnTo>
                  <a:lnTo>
                    <a:pt x="53" y="36"/>
                  </a:lnTo>
                  <a:lnTo>
                    <a:pt x="53" y="36"/>
                  </a:lnTo>
                  <a:lnTo>
                    <a:pt x="51" y="37"/>
                  </a:lnTo>
                  <a:lnTo>
                    <a:pt x="50" y="39"/>
                  </a:lnTo>
                  <a:lnTo>
                    <a:pt x="49" y="40"/>
                  </a:lnTo>
                  <a:lnTo>
                    <a:pt x="48" y="41"/>
                  </a:lnTo>
                  <a:lnTo>
                    <a:pt x="46" y="42"/>
                  </a:lnTo>
                  <a:lnTo>
                    <a:pt x="46" y="42"/>
                  </a:lnTo>
                  <a:lnTo>
                    <a:pt x="44" y="43"/>
                  </a:lnTo>
                  <a:lnTo>
                    <a:pt x="43" y="43"/>
                  </a:lnTo>
                  <a:lnTo>
                    <a:pt x="43" y="43"/>
                  </a:lnTo>
                  <a:lnTo>
                    <a:pt x="43" y="43"/>
                  </a:lnTo>
                  <a:lnTo>
                    <a:pt x="43" y="43"/>
                  </a:lnTo>
                  <a:lnTo>
                    <a:pt x="43" y="44"/>
                  </a:lnTo>
                  <a:lnTo>
                    <a:pt x="43" y="44"/>
                  </a:lnTo>
                  <a:lnTo>
                    <a:pt x="43" y="44"/>
                  </a:lnTo>
                  <a:lnTo>
                    <a:pt x="43" y="46"/>
                  </a:lnTo>
                  <a:lnTo>
                    <a:pt x="42" y="46"/>
                  </a:lnTo>
                  <a:lnTo>
                    <a:pt x="42" y="46"/>
                  </a:lnTo>
                  <a:lnTo>
                    <a:pt x="42" y="46"/>
                  </a:lnTo>
                  <a:lnTo>
                    <a:pt x="42" y="47"/>
                  </a:lnTo>
                  <a:lnTo>
                    <a:pt x="42" y="47"/>
                  </a:lnTo>
                  <a:lnTo>
                    <a:pt x="42" y="47"/>
                  </a:lnTo>
                  <a:lnTo>
                    <a:pt x="42" y="47"/>
                  </a:lnTo>
                  <a:lnTo>
                    <a:pt x="42" y="48"/>
                  </a:lnTo>
                  <a:lnTo>
                    <a:pt x="42" y="48"/>
                  </a:lnTo>
                  <a:lnTo>
                    <a:pt x="42" y="48"/>
                  </a:lnTo>
                  <a:lnTo>
                    <a:pt x="43" y="49"/>
                  </a:lnTo>
                  <a:lnTo>
                    <a:pt x="43" y="49"/>
                  </a:lnTo>
                  <a:lnTo>
                    <a:pt x="43" y="49"/>
                  </a:lnTo>
                  <a:lnTo>
                    <a:pt x="43" y="49"/>
                  </a:lnTo>
                  <a:lnTo>
                    <a:pt x="43" y="49"/>
                  </a:lnTo>
                  <a:lnTo>
                    <a:pt x="43" y="49"/>
                  </a:lnTo>
                  <a:lnTo>
                    <a:pt x="42" y="49"/>
                  </a:lnTo>
                  <a:lnTo>
                    <a:pt x="42" y="49"/>
                  </a:lnTo>
                  <a:lnTo>
                    <a:pt x="42" y="50"/>
                  </a:lnTo>
                  <a:lnTo>
                    <a:pt x="42" y="50"/>
                  </a:lnTo>
                  <a:lnTo>
                    <a:pt x="42" y="51"/>
                  </a:lnTo>
                  <a:lnTo>
                    <a:pt x="42" y="51"/>
                  </a:lnTo>
                  <a:lnTo>
                    <a:pt x="42" y="51"/>
                  </a:lnTo>
                  <a:lnTo>
                    <a:pt x="42" y="51"/>
                  </a:lnTo>
                  <a:lnTo>
                    <a:pt x="42" y="51"/>
                  </a:lnTo>
                  <a:lnTo>
                    <a:pt x="41" y="51"/>
                  </a:lnTo>
                  <a:lnTo>
                    <a:pt x="41" y="51"/>
                  </a:lnTo>
                  <a:lnTo>
                    <a:pt x="41" y="51"/>
                  </a:lnTo>
                  <a:lnTo>
                    <a:pt x="41" y="51"/>
                  </a:lnTo>
                  <a:lnTo>
                    <a:pt x="41" y="51"/>
                  </a:lnTo>
                  <a:lnTo>
                    <a:pt x="40" y="51"/>
                  </a:lnTo>
                  <a:lnTo>
                    <a:pt x="40" y="53"/>
                  </a:lnTo>
                  <a:lnTo>
                    <a:pt x="40" y="53"/>
                  </a:lnTo>
                  <a:lnTo>
                    <a:pt x="40" y="53"/>
                  </a:lnTo>
                  <a:lnTo>
                    <a:pt x="40" y="53"/>
                  </a:lnTo>
                  <a:lnTo>
                    <a:pt x="40" y="53"/>
                  </a:lnTo>
                  <a:lnTo>
                    <a:pt x="40" y="53"/>
                  </a:lnTo>
                  <a:lnTo>
                    <a:pt x="40" y="54"/>
                  </a:lnTo>
                  <a:lnTo>
                    <a:pt x="39" y="53"/>
                  </a:lnTo>
                  <a:lnTo>
                    <a:pt x="39" y="54"/>
                  </a:lnTo>
                  <a:lnTo>
                    <a:pt x="39" y="54"/>
                  </a:lnTo>
                  <a:lnTo>
                    <a:pt x="39" y="53"/>
                  </a:lnTo>
                  <a:lnTo>
                    <a:pt x="39" y="53"/>
                  </a:lnTo>
                  <a:lnTo>
                    <a:pt x="39" y="54"/>
                  </a:lnTo>
                  <a:lnTo>
                    <a:pt x="39" y="54"/>
                  </a:lnTo>
                  <a:lnTo>
                    <a:pt x="39" y="54"/>
                  </a:lnTo>
                  <a:lnTo>
                    <a:pt x="37" y="54"/>
                  </a:lnTo>
                  <a:lnTo>
                    <a:pt x="37" y="54"/>
                  </a:lnTo>
                  <a:lnTo>
                    <a:pt x="37" y="54"/>
                  </a:lnTo>
                  <a:lnTo>
                    <a:pt x="37" y="54"/>
                  </a:lnTo>
                  <a:lnTo>
                    <a:pt x="37" y="54"/>
                  </a:lnTo>
                  <a:lnTo>
                    <a:pt x="37" y="54"/>
                  </a:lnTo>
                  <a:lnTo>
                    <a:pt x="36" y="54"/>
                  </a:lnTo>
                  <a:lnTo>
                    <a:pt x="36" y="54"/>
                  </a:lnTo>
                  <a:lnTo>
                    <a:pt x="36" y="54"/>
                  </a:lnTo>
                  <a:lnTo>
                    <a:pt x="36" y="54"/>
                  </a:lnTo>
                  <a:lnTo>
                    <a:pt x="36" y="54"/>
                  </a:lnTo>
                  <a:lnTo>
                    <a:pt x="36" y="54"/>
                  </a:lnTo>
                  <a:lnTo>
                    <a:pt x="36" y="54"/>
                  </a:lnTo>
                  <a:lnTo>
                    <a:pt x="36" y="55"/>
                  </a:lnTo>
                  <a:lnTo>
                    <a:pt x="36" y="55"/>
                  </a:lnTo>
                  <a:lnTo>
                    <a:pt x="36" y="55"/>
                  </a:lnTo>
                  <a:lnTo>
                    <a:pt x="36" y="55"/>
                  </a:lnTo>
                  <a:lnTo>
                    <a:pt x="36" y="55"/>
                  </a:lnTo>
                  <a:lnTo>
                    <a:pt x="36" y="55"/>
                  </a:lnTo>
                  <a:lnTo>
                    <a:pt x="36" y="55"/>
                  </a:lnTo>
                  <a:lnTo>
                    <a:pt x="36" y="55"/>
                  </a:lnTo>
                  <a:lnTo>
                    <a:pt x="36" y="55"/>
                  </a:lnTo>
                  <a:lnTo>
                    <a:pt x="36" y="55"/>
                  </a:lnTo>
                  <a:lnTo>
                    <a:pt x="36" y="56"/>
                  </a:lnTo>
                  <a:lnTo>
                    <a:pt x="36" y="56"/>
                  </a:lnTo>
                  <a:lnTo>
                    <a:pt x="36" y="56"/>
                  </a:lnTo>
                  <a:lnTo>
                    <a:pt x="36" y="56"/>
                  </a:lnTo>
                  <a:lnTo>
                    <a:pt x="36" y="56"/>
                  </a:lnTo>
                  <a:lnTo>
                    <a:pt x="37" y="56"/>
                  </a:lnTo>
                  <a:lnTo>
                    <a:pt x="37" y="56"/>
                  </a:lnTo>
                  <a:lnTo>
                    <a:pt x="36" y="56"/>
                  </a:lnTo>
                  <a:lnTo>
                    <a:pt x="35" y="57"/>
                  </a:lnTo>
                  <a:lnTo>
                    <a:pt x="35" y="57"/>
                  </a:lnTo>
                  <a:lnTo>
                    <a:pt x="34" y="57"/>
                  </a:lnTo>
                  <a:lnTo>
                    <a:pt x="34" y="57"/>
                  </a:lnTo>
                  <a:lnTo>
                    <a:pt x="34" y="58"/>
                  </a:lnTo>
                  <a:lnTo>
                    <a:pt x="34" y="58"/>
                  </a:lnTo>
                  <a:lnTo>
                    <a:pt x="34" y="60"/>
                  </a:lnTo>
                  <a:lnTo>
                    <a:pt x="34" y="60"/>
                  </a:lnTo>
                  <a:lnTo>
                    <a:pt x="34" y="60"/>
                  </a:lnTo>
                  <a:lnTo>
                    <a:pt x="34" y="60"/>
                  </a:lnTo>
                  <a:lnTo>
                    <a:pt x="33" y="60"/>
                  </a:lnTo>
                  <a:lnTo>
                    <a:pt x="33" y="60"/>
                  </a:lnTo>
                  <a:lnTo>
                    <a:pt x="33" y="60"/>
                  </a:lnTo>
                  <a:lnTo>
                    <a:pt x="33" y="60"/>
                  </a:lnTo>
                  <a:lnTo>
                    <a:pt x="33" y="60"/>
                  </a:lnTo>
                  <a:lnTo>
                    <a:pt x="32" y="60"/>
                  </a:lnTo>
                  <a:lnTo>
                    <a:pt x="32" y="60"/>
                  </a:lnTo>
                  <a:lnTo>
                    <a:pt x="32" y="60"/>
                  </a:lnTo>
                  <a:lnTo>
                    <a:pt x="29" y="61"/>
                  </a:lnTo>
                  <a:lnTo>
                    <a:pt x="29" y="61"/>
                  </a:lnTo>
                  <a:lnTo>
                    <a:pt x="29" y="61"/>
                  </a:lnTo>
                  <a:lnTo>
                    <a:pt x="29" y="62"/>
                  </a:lnTo>
                  <a:lnTo>
                    <a:pt x="29" y="62"/>
                  </a:lnTo>
                  <a:lnTo>
                    <a:pt x="29" y="62"/>
                  </a:lnTo>
                  <a:lnTo>
                    <a:pt x="28" y="62"/>
                  </a:lnTo>
                  <a:lnTo>
                    <a:pt x="28" y="62"/>
                  </a:lnTo>
                  <a:lnTo>
                    <a:pt x="28" y="63"/>
                  </a:lnTo>
                  <a:lnTo>
                    <a:pt x="28" y="63"/>
                  </a:lnTo>
                  <a:lnTo>
                    <a:pt x="28" y="63"/>
                  </a:lnTo>
                  <a:lnTo>
                    <a:pt x="28" y="63"/>
                  </a:lnTo>
                  <a:lnTo>
                    <a:pt x="28" y="64"/>
                  </a:lnTo>
                  <a:lnTo>
                    <a:pt x="28" y="64"/>
                  </a:lnTo>
                  <a:lnTo>
                    <a:pt x="26" y="63"/>
                  </a:lnTo>
                  <a:lnTo>
                    <a:pt x="25" y="62"/>
                  </a:lnTo>
                  <a:lnTo>
                    <a:pt x="22" y="62"/>
                  </a:lnTo>
                  <a:lnTo>
                    <a:pt x="22" y="62"/>
                  </a:lnTo>
                  <a:lnTo>
                    <a:pt x="21" y="61"/>
                  </a:lnTo>
                  <a:lnTo>
                    <a:pt x="20" y="61"/>
                  </a:lnTo>
                  <a:lnTo>
                    <a:pt x="19" y="61"/>
                  </a:lnTo>
                  <a:lnTo>
                    <a:pt x="19" y="62"/>
                  </a:lnTo>
                  <a:lnTo>
                    <a:pt x="18" y="62"/>
                  </a:lnTo>
                  <a:lnTo>
                    <a:pt x="15" y="62"/>
                  </a:lnTo>
                  <a:lnTo>
                    <a:pt x="14" y="61"/>
                  </a:lnTo>
                  <a:lnTo>
                    <a:pt x="12" y="61"/>
                  </a:lnTo>
                  <a:lnTo>
                    <a:pt x="8" y="60"/>
                  </a:lnTo>
                  <a:lnTo>
                    <a:pt x="7" y="58"/>
                  </a:lnTo>
                  <a:lnTo>
                    <a:pt x="6" y="57"/>
                  </a:lnTo>
                  <a:lnTo>
                    <a:pt x="4" y="56"/>
                  </a:lnTo>
                  <a:lnTo>
                    <a:pt x="3" y="54"/>
                  </a:lnTo>
                  <a:lnTo>
                    <a:pt x="0" y="51"/>
                  </a:lnTo>
                  <a:lnTo>
                    <a:pt x="0" y="51"/>
                  </a:lnTo>
                  <a:lnTo>
                    <a:pt x="0" y="51"/>
                  </a:lnTo>
                  <a:lnTo>
                    <a:pt x="0" y="50"/>
                  </a:lnTo>
                  <a:lnTo>
                    <a:pt x="1" y="49"/>
                  </a:lnTo>
                  <a:lnTo>
                    <a:pt x="1" y="49"/>
                  </a:lnTo>
                  <a:lnTo>
                    <a:pt x="1" y="49"/>
                  </a:lnTo>
                  <a:lnTo>
                    <a:pt x="1" y="48"/>
                  </a:lnTo>
                  <a:lnTo>
                    <a:pt x="1" y="48"/>
                  </a:lnTo>
                  <a:lnTo>
                    <a:pt x="1" y="48"/>
                  </a:lnTo>
                  <a:lnTo>
                    <a:pt x="1" y="48"/>
                  </a:lnTo>
                  <a:lnTo>
                    <a:pt x="1" y="47"/>
                  </a:lnTo>
                  <a:lnTo>
                    <a:pt x="1" y="47"/>
                  </a:lnTo>
                  <a:lnTo>
                    <a:pt x="1" y="47"/>
                  </a:lnTo>
                  <a:lnTo>
                    <a:pt x="1" y="47"/>
                  </a:lnTo>
                  <a:lnTo>
                    <a:pt x="1" y="47"/>
                  </a:lnTo>
                  <a:lnTo>
                    <a:pt x="1" y="46"/>
                  </a:lnTo>
                  <a:lnTo>
                    <a:pt x="1" y="44"/>
                  </a:lnTo>
                  <a:lnTo>
                    <a:pt x="1" y="44"/>
                  </a:lnTo>
                  <a:lnTo>
                    <a:pt x="3" y="44"/>
                  </a:lnTo>
                  <a:lnTo>
                    <a:pt x="3" y="44"/>
                  </a:lnTo>
                  <a:lnTo>
                    <a:pt x="3" y="44"/>
                  </a:lnTo>
                  <a:lnTo>
                    <a:pt x="3" y="44"/>
                  </a:lnTo>
                  <a:lnTo>
                    <a:pt x="3" y="43"/>
                  </a:lnTo>
                  <a:lnTo>
                    <a:pt x="3" y="43"/>
                  </a:lnTo>
                  <a:lnTo>
                    <a:pt x="1" y="41"/>
                  </a:lnTo>
                  <a:lnTo>
                    <a:pt x="1" y="40"/>
                  </a:lnTo>
                  <a:lnTo>
                    <a:pt x="1" y="40"/>
                  </a:lnTo>
                  <a:lnTo>
                    <a:pt x="1" y="40"/>
                  </a:lnTo>
                  <a:lnTo>
                    <a:pt x="1" y="39"/>
                  </a:lnTo>
                  <a:lnTo>
                    <a:pt x="3" y="37"/>
                  </a:lnTo>
                  <a:lnTo>
                    <a:pt x="4" y="37"/>
                  </a:lnTo>
                  <a:lnTo>
                    <a:pt x="4" y="36"/>
                  </a:lnTo>
                  <a:lnTo>
                    <a:pt x="5" y="34"/>
                  </a:lnTo>
                  <a:lnTo>
                    <a:pt x="6" y="32"/>
                  </a:lnTo>
                  <a:lnTo>
                    <a:pt x="7" y="30"/>
                  </a:lnTo>
                  <a:lnTo>
                    <a:pt x="8" y="29"/>
                  </a:lnTo>
                  <a:lnTo>
                    <a:pt x="8" y="28"/>
                  </a:lnTo>
                  <a:lnTo>
                    <a:pt x="10" y="28"/>
                  </a:lnTo>
                  <a:lnTo>
                    <a:pt x="10" y="27"/>
                  </a:lnTo>
                  <a:lnTo>
                    <a:pt x="10" y="27"/>
                  </a:lnTo>
                  <a:lnTo>
                    <a:pt x="11" y="27"/>
                  </a:lnTo>
                  <a:lnTo>
                    <a:pt x="12" y="27"/>
                  </a:lnTo>
                  <a:lnTo>
                    <a:pt x="14" y="27"/>
                  </a:lnTo>
                  <a:lnTo>
                    <a:pt x="17" y="27"/>
                  </a:lnTo>
                  <a:lnTo>
                    <a:pt x="18" y="27"/>
                  </a:lnTo>
                  <a:lnTo>
                    <a:pt x="20" y="27"/>
                  </a:lnTo>
                  <a:lnTo>
                    <a:pt x="20" y="27"/>
                  </a:lnTo>
                  <a:lnTo>
                    <a:pt x="21" y="27"/>
                  </a:lnTo>
                  <a:lnTo>
                    <a:pt x="23" y="27"/>
                  </a:lnTo>
                  <a:lnTo>
                    <a:pt x="26" y="27"/>
                  </a:lnTo>
                  <a:lnTo>
                    <a:pt x="27" y="27"/>
                  </a:lnTo>
                  <a:lnTo>
                    <a:pt x="27" y="27"/>
                  </a:lnTo>
                  <a:lnTo>
                    <a:pt x="27" y="27"/>
                  </a:lnTo>
                  <a:lnTo>
                    <a:pt x="27" y="27"/>
                  </a:lnTo>
                  <a:lnTo>
                    <a:pt x="27" y="27"/>
                  </a:lnTo>
                  <a:lnTo>
                    <a:pt x="27" y="27"/>
                  </a:lnTo>
                  <a:lnTo>
                    <a:pt x="27" y="27"/>
                  </a:lnTo>
                  <a:lnTo>
                    <a:pt x="27" y="27"/>
                  </a:lnTo>
                  <a:lnTo>
                    <a:pt x="27" y="27"/>
                  </a:lnTo>
                  <a:lnTo>
                    <a:pt x="27" y="27"/>
                  </a:lnTo>
                  <a:lnTo>
                    <a:pt x="27" y="27"/>
                  </a:lnTo>
                  <a:lnTo>
                    <a:pt x="27" y="27"/>
                  </a:lnTo>
                  <a:lnTo>
                    <a:pt x="27" y="27"/>
                  </a:lnTo>
                  <a:lnTo>
                    <a:pt x="27" y="27"/>
                  </a:lnTo>
                  <a:lnTo>
                    <a:pt x="27" y="26"/>
                  </a:lnTo>
                  <a:lnTo>
                    <a:pt x="27" y="26"/>
                  </a:lnTo>
                  <a:lnTo>
                    <a:pt x="27" y="26"/>
                  </a:lnTo>
                  <a:lnTo>
                    <a:pt x="28" y="26"/>
                  </a:lnTo>
                  <a:lnTo>
                    <a:pt x="28" y="26"/>
                  </a:lnTo>
                  <a:lnTo>
                    <a:pt x="27" y="26"/>
                  </a:lnTo>
                  <a:lnTo>
                    <a:pt x="27" y="25"/>
                  </a:lnTo>
                  <a:lnTo>
                    <a:pt x="27" y="25"/>
                  </a:lnTo>
                  <a:lnTo>
                    <a:pt x="27" y="25"/>
                  </a:lnTo>
                  <a:lnTo>
                    <a:pt x="28" y="25"/>
                  </a:lnTo>
                  <a:lnTo>
                    <a:pt x="27" y="25"/>
                  </a:lnTo>
                  <a:lnTo>
                    <a:pt x="27" y="25"/>
                  </a:lnTo>
                  <a:lnTo>
                    <a:pt x="27" y="25"/>
                  </a:lnTo>
                  <a:lnTo>
                    <a:pt x="27" y="25"/>
                  </a:lnTo>
                  <a:lnTo>
                    <a:pt x="28" y="25"/>
                  </a:lnTo>
                  <a:lnTo>
                    <a:pt x="28" y="25"/>
                  </a:lnTo>
                  <a:lnTo>
                    <a:pt x="28" y="25"/>
                  </a:lnTo>
                  <a:lnTo>
                    <a:pt x="28" y="25"/>
                  </a:lnTo>
                  <a:lnTo>
                    <a:pt x="28" y="23"/>
                  </a:lnTo>
                  <a:lnTo>
                    <a:pt x="28" y="23"/>
                  </a:lnTo>
                  <a:lnTo>
                    <a:pt x="28" y="23"/>
                  </a:lnTo>
                  <a:lnTo>
                    <a:pt x="28" y="23"/>
                  </a:lnTo>
                  <a:lnTo>
                    <a:pt x="28" y="23"/>
                  </a:lnTo>
                  <a:lnTo>
                    <a:pt x="28" y="23"/>
                  </a:lnTo>
                  <a:lnTo>
                    <a:pt x="28" y="23"/>
                  </a:lnTo>
                  <a:lnTo>
                    <a:pt x="28" y="23"/>
                  </a:lnTo>
                  <a:lnTo>
                    <a:pt x="28" y="23"/>
                  </a:lnTo>
                  <a:lnTo>
                    <a:pt x="28" y="23"/>
                  </a:lnTo>
                  <a:lnTo>
                    <a:pt x="28" y="23"/>
                  </a:lnTo>
                  <a:lnTo>
                    <a:pt x="28" y="23"/>
                  </a:lnTo>
                  <a:lnTo>
                    <a:pt x="28" y="23"/>
                  </a:lnTo>
                  <a:lnTo>
                    <a:pt x="28" y="23"/>
                  </a:lnTo>
                  <a:lnTo>
                    <a:pt x="28" y="23"/>
                  </a:lnTo>
                  <a:lnTo>
                    <a:pt x="28" y="23"/>
                  </a:lnTo>
                  <a:lnTo>
                    <a:pt x="28" y="23"/>
                  </a:lnTo>
                  <a:lnTo>
                    <a:pt x="28" y="22"/>
                  </a:lnTo>
                  <a:lnTo>
                    <a:pt x="28" y="22"/>
                  </a:lnTo>
                  <a:lnTo>
                    <a:pt x="28" y="22"/>
                  </a:lnTo>
                  <a:lnTo>
                    <a:pt x="28" y="22"/>
                  </a:lnTo>
                  <a:lnTo>
                    <a:pt x="28" y="22"/>
                  </a:lnTo>
                  <a:lnTo>
                    <a:pt x="28" y="22"/>
                  </a:lnTo>
                  <a:lnTo>
                    <a:pt x="28" y="22"/>
                  </a:lnTo>
                  <a:lnTo>
                    <a:pt x="28" y="22"/>
                  </a:lnTo>
                  <a:lnTo>
                    <a:pt x="28" y="22"/>
                  </a:lnTo>
                  <a:lnTo>
                    <a:pt x="28" y="22"/>
                  </a:lnTo>
                  <a:lnTo>
                    <a:pt x="28" y="22"/>
                  </a:lnTo>
                  <a:lnTo>
                    <a:pt x="28" y="22"/>
                  </a:lnTo>
                  <a:lnTo>
                    <a:pt x="28" y="22"/>
                  </a:lnTo>
                  <a:lnTo>
                    <a:pt x="28" y="22"/>
                  </a:lnTo>
                  <a:lnTo>
                    <a:pt x="28" y="22"/>
                  </a:lnTo>
                  <a:lnTo>
                    <a:pt x="28" y="22"/>
                  </a:lnTo>
                  <a:lnTo>
                    <a:pt x="28" y="22"/>
                  </a:lnTo>
                  <a:lnTo>
                    <a:pt x="28" y="21"/>
                  </a:lnTo>
                  <a:lnTo>
                    <a:pt x="27" y="21"/>
                  </a:lnTo>
                  <a:lnTo>
                    <a:pt x="27" y="21"/>
                  </a:lnTo>
                  <a:lnTo>
                    <a:pt x="27" y="21"/>
                  </a:lnTo>
                  <a:lnTo>
                    <a:pt x="27" y="21"/>
                  </a:lnTo>
                  <a:lnTo>
                    <a:pt x="27" y="21"/>
                  </a:lnTo>
                  <a:lnTo>
                    <a:pt x="27" y="21"/>
                  </a:lnTo>
                  <a:lnTo>
                    <a:pt x="27" y="21"/>
                  </a:lnTo>
                  <a:lnTo>
                    <a:pt x="27" y="21"/>
                  </a:lnTo>
                  <a:lnTo>
                    <a:pt x="27" y="21"/>
                  </a:lnTo>
                  <a:lnTo>
                    <a:pt x="27" y="21"/>
                  </a:lnTo>
                  <a:lnTo>
                    <a:pt x="27" y="21"/>
                  </a:lnTo>
                  <a:lnTo>
                    <a:pt x="26" y="21"/>
                  </a:lnTo>
                  <a:lnTo>
                    <a:pt x="26" y="21"/>
                  </a:lnTo>
                  <a:lnTo>
                    <a:pt x="26" y="21"/>
                  </a:lnTo>
                  <a:lnTo>
                    <a:pt x="26" y="21"/>
                  </a:lnTo>
                  <a:lnTo>
                    <a:pt x="26" y="21"/>
                  </a:lnTo>
                  <a:lnTo>
                    <a:pt x="26" y="21"/>
                  </a:lnTo>
                  <a:lnTo>
                    <a:pt x="26" y="21"/>
                  </a:lnTo>
                  <a:lnTo>
                    <a:pt x="26" y="20"/>
                  </a:lnTo>
                  <a:lnTo>
                    <a:pt x="26" y="20"/>
                  </a:lnTo>
                  <a:lnTo>
                    <a:pt x="26" y="20"/>
                  </a:lnTo>
                  <a:lnTo>
                    <a:pt x="26" y="20"/>
                  </a:lnTo>
                  <a:lnTo>
                    <a:pt x="26" y="20"/>
                  </a:lnTo>
                  <a:lnTo>
                    <a:pt x="26" y="20"/>
                  </a:lnTo>
                  <a:lnTo>
                    <a:pt x="26" y="20"/>
                  </a:lnTo>
                  <a:lnTo>
                    <a:pt x="26" y="20"/>
                  </a:lnTo>
                  <a:lnTo>
                    <a:pt x="26" y="19"/>
                  </a:lnTo>
                  <a:lnTo>
                    <a:pt x="26" y="19"/>
                  </a:lnTo>
                  <a:lnTo>
                    <a:pt x="26" y="19"/>
                  </a:lnTo>
                  <a:lnTo>
                    <a:pt x="26" y="19"/>
                  </a:lnTo>
                  <a:lnTo>
                    <a:pt x="26" y="19"/>
                  </a:lnTo>
                  <a:lnTo>
                    <a:pt x="26" y="19"/>
                  </a:lnTo>
                  <a:lnTo>
                    <a:pt x="25" y="19"/>
                  </a:lnTo>
                  <a:lnTo>
                    <a:pt x="25" y="19"/>
                  </a:lnTo>
                  <a:lnTo>
                    <a:pt x="26" y="19"/>
                  </a:lnTo>
                  <a:lnTo>
                    <a:pt x="26" y="18"/>
                  </a:lnTo>
                  <a:lnTo>
                    <a:pt x="25" y="16"/>
                  </a:lnTo>
                  <a:lnTo>
                    <a:pt x="25" y="16"/>
                  </a:lnTo>
                  <a:lnTo>
                    <a:pt x="23" y="16"/>
                  </a:lnTo>
                  <a:lnTo>
                    <a:pt x="23" y="16"/>
                  </a:lnTo>
                  <a:lnTo>
                    <a:pt x="23" y="15"/>
                  </a:lnTo>
                  <a:lnTo>
                    <a:pt x="23" y="15"/>
                  </a:lnTo>
                  <a:lnTo>
                    <a:pt x="23" y="15"/>
                  </a:lnTo>
                  <a:lnTo>
                    <a:pt x="23" y="15"/>
                  </a:lnTo>
                  <a:lnTo>
                    <a:pt x="23" y="15"/>
                  </a:lnTo>
                  <a:lnTo>
                    <a:pt x="22" y="15"/>
                  </a:lnTo>
                  <a:lnTo>
                    <a:pt x="22" y="15"/>
                  </a:lnTo>
                  <a:lnTo>
                    <a:pt x="22" y="15"/>
                  </a:lnTo>
                  <a:lnTo>
                    <a:pt x="21" y="14"/>
                  </a:lnTo>
                  <a:lnTo>
                    <a:pt x="22" y="14"/>
                  </a:lnTo>
                  <a:lnTo>
                    <a:pt x="21" y="14"/>
                  </a:lnTo>
                  <a:lnTo>
                    <a:pt x="21" y="14"/>
                  </a:lnTo>
                  <a:lnTo>
                    <a:pt x="21" y="14"/>
                  </a:lnTo>
                  <a:lnTo>
                    <a:pt x="21" y="14"/>
                  </a:lnTo>
                  <a:lnTo>
                    <a:pt x="21" y="14"/>
                  </a:lnTo>
                  <a:lnTo>
                    <a:pt x="21" y="14"/>
                  </a:lnTo>
                  <a:lnTo>
                    <a:pt x="21" y="14"/>
                  </a:lnTo>
                  <a:lnTo>
                    <a:pt x="21" y="14"/>
                  </a:lnTo>
                  <a:lnTo>
                    <a:pt x="21" y="14"/>
                  </a:lnTo>
                  <a:lnTo>
                    <a:pt x="21" y="14"/>
                  </a:lnTo>
                  <a:lnTo>
                    <a:pt x="20" y="14"/>
                  </a:lnTo>
                  <a:lnTo>
                    <a:pt x="20" y="14"/>
                  </a:lnTo>
                  <a:lnTo>
                    <a:pt x="20" y="14"/>
                  </a:lnTo>
                  <a:lnTo>
                    <a:pt x="20" y="13"/>
                  </a:lnTo>
                  <a:lnTo>
                    <a:pt x="20" y="13"/>
                  </a:lnTo>
                  <a:lnTo>
                    <a:pt x="20" y="13"/>
                  </a:lnTo>
                  <a:lnTo>
                    <a:pt x="20" y="12"/>
                  </a:lnTo>
                  <a:lnTo>
                    <a:pt x="20" y="12"/>
                  </a:lnTo>
                  <a:lnTo>
                    <a:pt x="20" y="12"/>
                  </a:lnTo>
                  <a:lnTo>
                    <a:pt x="19" y="12"/>
                  </a:lnTo>
                  <a:lnTo>
                    <a:pt x="19" y="12"/>
                  </a:lnTo>
                  <a:lnTo>
                    <a:pt x="19" y="12"/>
                  </a:lnTo>
                  <a:lnTo>
                    <a:pt x="19" y="12"/>
                  </a:lnTo>
                  <a:lnTo>
                    <a:pt x="19" y="11"/>
                  </a:lnTo>
                  <a:lnTo>
                    <a:pt x="19" y="11"/>
                  </a:lnTo>
                  <a:lnTo>
                    <a:pt x="19" y="11"/>
                  </a:lnTo>
                  <a:lnTo>
                    <a:pt x="19" y="11"/>
                  </a:lnTo>
                  <a:lnTo>
                    <a:pt x="18" y="11"/>
                  </a:lnTo>
                  <a:lnTo>
                    <a:pt x="18" y="11"/>
                  </a:lnTo>
                  <a:lnTo>
                    <a:pt x="18" y="11"/>
                  </a:lnTo>
                  <a:lnTo>
                    <a:pt x="18" y="9"/>
                  </a:lnTo>
                  <a:lnTo>
                    <a:pt x="18" y="9"/>
                  </a:lnTo>
                  <a:lnTo>
                    <a:pt x="18" y="9"/>
                  </a:lnTo>
                  <a:lnTo>
                    <a:pt x="18" y="9"/>
                  </a:lnTo>
                  <a:lnTo>
                    <a:pt x="17" y="9"/>
                  </a:lnTo>
                  <a:lnTo>
                    <a:pt x="17" y="9"/>
                  </a:lnTo>
                  <a:lnTo>
                    <a:pt x="17" y="9"/>
                  </a:lnTo>
                  <a:lnTo>
                    <a:pt x="17" y="9"/>
                  </a:lnTo>
                  <a:lnTo>
                    <a:pt x="17" y="9"/>
                  </a:lnTo>
                  <a:lnTo>
                    <a:pt x="15" y="8"/>
                  </a:lnTo>
                  <a:lnTo>
                    <a:pt x="15" y="8"/>
                  </a:lnTo>
                  <a:lnTo>
                    <a:pt x="15" y="8"/>
                  </a:lnTo>
                  <a:lnTo>
                    <a:pt x="22" y="8"/>
                  </a:lnTo>
                  <a:lnTo>
                    <a:pt x="22" y="5"/>
                  </a:lnTo>
                  <a:lnTo>
                    <a:pt x="23" y="0"/>
                  </a:lnTo>
                  <a:lnTo>
                    <a:pt x="23" y="0"/>
                  </a:lnTo>
                  <a:lnTo>
                    <a:pt x="23" y="0"/>
                  </a:lnTo>
                  <a:lnTo>
                    <a:pt x="23" y="0"/>
                  </a:lnTo>
                  <a:lnTo>
                    <a:pt x="27" y="0"/>
                  </a:lnTo>
                  <a:lnTo>
                    <a:pt x="30" y="0"/>
                  </a:lnTo>
                  <a:lnTo>
                    <a:pt x="33" y="0"/>
                  </a:lnTo>
                  <a:lnTo>
                    <a:pt x="36" y="0"/>
                  </a:lnTo>
                  <a:lnTo>
                    <a:pt x="39" y="0"/>
                  </a:lnTo>
                  <a:lnTo>
                    <a:pt x="42" y="0"/>
                  </a:lnTo>
                  <a:lnTo>
                    <a:pt x="46" y="0"/>
                  </a:lnTo>
                  <a:lnTo>
                    <a:pt x="48"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43" name="Freeform 898">
              <a:extLst>
                <a:ext uri="{FF2B5EF4-FFF2-40B4-BE49-F238E27FC236}">
                  <a16:creationId xmlns:a16="http://schemas.microsoft.com/office/drawing/2014/main" id="{6A69774E-9DA0-48F5-917F-CFD4EA4FE3F5}"/>
                </a:ext>
              </a:extLst>
            </p:cNvPr>
            <p:cNvSpPr>
              <a:spLocks/>
            </p:cNvSpPr>
            <p:nvPr/>
          </p:nvSpPr>
          <p:spPr bwMode="auto">
            <a:xfrm>
              <a:off x="8478740" y="3058727"/>
              <a:ext cx="5342" cy="9349"/>
            </a:xfrm>
            <a:custGeom>
              <a:avLst/>
              <a:gdLst>
                <a:gd name="T0" fmla="*/ 2 w 4"/>
                <a:gd name="T1" fmla="*/ 4 h 7"/>
                <a:gd name="T2" fmla="*/ 2 w 4"/>
                <a:gd name="T3" fmla="*/ 4 h 7"/>
                <a:gd name="T4" fmla="*/ 2 w 4"/>
                <a:gd name="T5" fmla="*/ 5 h 7"/>
                <a:gd name="T6" fmla="*/ 2 w 4"/>
                <a:gd name="T7" fmla="*/ 6 h 7"/>
                <a:gd name="T8" fmla="*/ 2 w 4"/>
                <a:gd name="T9" fmla="*/ 7 h 7"/>
                <a:gd name="T10" fmla="*/ 2 w 4"/>
                <a:gd name="T11" fmla="*/ 7 h 7"/>
                <a:gd name="T12" fmla="*/ 1 w 4"/>
                <a:gd name="T13" fmla="*/ 7 h 7"/>
                <a:gd name="T14" fmla="*/ 1 w 4"/>
                <a:gd name="T15" fmla="*/ 7 h 7"/>
                <a:gd name="T16" fmla="*/ 1 w 4"/>
                <a:gd name="T17" fmla="*/ 6 h 7"/>
                <a:gd name="T18" fmla="*/ 1 w 4"/>
                <a:gd name="T19" fmla="*/ 6 h 7"/>
                <a:gd name="T20" fmla="*/ 1 w 4"/>
                <a:gd name="T21" fmla="*/ 6 h 7"/>
                <a:gd name="T22" fmla="*/ 1 w 4"/>
                <a:gd name="T23" fmla="*/ 6 h 7"/>
                <a:gd name="T24" fmla="*/ 1 w 4"/>
                <a:gd name="T25" fmla="*/ 5 h 7"/>
                <a:gd name="T26" fmla="*/ 1 w 4"/>
                <a:gd name="T27" fmla="*/ 5 h 7"/>
                <a:gd name="T28" fmla="*/ 0 w 4"/>
                <a:gd name="T29" fmla="*/ 5 h 7"/>
                <a:gd name="T30" fmla="*/ 0 w 4"/>
                <a:gd name="T31" fmla="*/ 5 h 7"/>
                <a:gd name="T32" fmla="*/ 0 w 4"/>
                <a:gd name="T33" fmla="*/ 5 h 7"/>
                <a:gd name="T34" fmla="*/ 1 w 4"/>
                <a:gd name="T35" fmla="*/ 5 h 7"/>
                <a:gd name="T36" fmla="*/ 1 w 4"/>
                <a:gd name="T37" fmla="*/ 5 h 7"/>
                <a:gd name="T38" fmla="*/ 0 w 4"/>
                <a:gd name="T39" fmla="*/ 5 h 7"/>
                <a:gd name="T40" fmla="*/ 0 w 4"/>
                <a:gd name="T41" fmla="*/ 4 h 7"/>
                <a:gd name="T42" fmla="*/ 0 w 4"/>
                <a:gd name="T43" fmla="*/ 4 h 7"/>
                <a:gd name="T44" fmla="*/ 0 w 4"/>
                <a:gd name="T45" fmla="*/ 4 h 7"/>
                <a:gd name="T46" fmla="*/ 0 w 4"/>
                <a:gd name="T47" fmla="*/ 4 h 7"/>
                <a:gd name="T48" fmla="*/ 0 w 4"/>
                <a:gd name="T49" fmla="*/ 4 h 7"/>
                <a:gd name="T50" fmla="*/ 0 w 4"/>
                <a:gd name="T51" fmla="*/ 4 h 7"/>
                <a:gd name="T52" fmla="*/ 0 w 4"/>
                <a:gd name="T53" fmla="*/ 4 h 7"/>
                <a:gd name="T54" fmla="*/ 0 w 4"/>
                <a:gd name="T55" fmla="*/ 4 h 7"/>
                <a:gd name="T56" fmla="*/ 1 w 4"/>
                <a:gd name="T57" fmla="*/ 4 h 7"/>
                <a:gd name="T58" fmla="*/ 1 w 4"/>
                <a:gd name="T59" fmla="*/ 3 h 7"/>
                <a:gd name="T60" fmla="*/ 2 w 4"/>
                <a:gd name="T61" fmla="*/ 3 h 7"/>
                <a:gd name="T62" fmla="*/ 2 w 4"/>
                <a:gd name="T63" fmla="*/ 3 h 7"/>
                <a:gd name="T64" fmla="*/ 2 w 4"/>
                <a:gd name="T65" fmla="*/ 3 h 7"/>
                <a:gd name="T66" fmla="*/ 2 w 4"/>
                <a:gd name="T67" fmla="*/ 2 h 7"/>
                <a:gd name="T68" fmla="*/ 2 w 4"/>
                <a:gd name="T69" fmla="*/ 2 h 7"/>
                <a:gd name="T70" fmla="*/ 2 w 4"/>
                <a:gd name="T71" fmla="*/ 0 h 7"/>
                <a:gd name="T72" fmla="*/ 2 w 4"/>
                <a:gd name="T73" fmla="*/ 0 h 7"/>
                <a:gd name="T74" fmla="*/ 3 w 4"/>
                <a:gd name="T75" fmla="*/ 0 h 7"/>
                <a:gd name="T76" fmla="*/ 3 w 4"/>
                <a:gd name="T77" fmla="*/ 0 h 7"/>
                <a:gd name="T78" fmla="*/ 3 w 4"/>
                <a:gd name="T79" fmla="*/ 0 h 7"/>
                <a:gd name="T80" fmla="*/ 3 w 4"/>
                <a:gd name="T81" fmla="*/ 2 h 7"/>
                <a:gd name="T82" fmla="*/ 3 w 4"/>
                <a:gd name="T83" fmla="*/ 2 h 7"/>
                <a:gd name="T84" fmla="*/ 3 w 4"/>
                <a:gd name="T85" fmla="*/ 2 h 7"/>
                <a:gd name="T86" fmla="*/ 4 w 4"/>
                <a:gd name="T87" fmla="*/ 2 h 7"/>
                <a:gd name="T88" fmla="*/ 4 w 4"/>
                <a:gd name="T89" fmla="*/ 2 h 7"/>
                <a:gd name="T90" fmla="*/ 4 w 4"/>
                <a:gd name="T91" fmla="*/ 2 h 7"/>
                <a:gd name="T92" fmla="*/ 3 w 4"/>
                <a:gd name="T93" fmla="*/ 3 h 7"/>
                <a:gd name="T94" fmla="*/ 3 w 4"/>
                <a:gd name="T95" fmla="*/ 3 h 7"/>
                <a:gd name="T96" fmla="*/ 2 w 4"/>
                <a:gd name="T9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 h="7">
                  <a:moveTo>
                    <a:pt x="2" y="4"/>
                  </a:moveTo>
                  <a:lnTo>
                    <a:pt x="2" y="4"/>
                  </a:lnTo>
                  <a:lnTo>
                    <a:pt x="2" y="5"/>
                  </a:lnTo>
                  <a:lnTo>
                    <a:pt x="2" y="6"/>
                  </a:lnTo>
                  <a:lnTo>
                    <a:pt x="2" y="7"/>
                  </a:lnTo>
                  <a:lnTo>
                    <a:pt x="2" y="7"/>
                  </a:lnTo>
                  <a:lnTo>
                    <a:pt x="1" y="7"/>
                  </a:lnTo>
                  <a:lnTo>
                    <a:pt x="1" y="7"/>
                  </a:lnTo>
                  <a:lnTo>
                    <a:pt x="1" y="6"/>
                  </a:lnTo>
                  <a:lnTo>
                    <a:pt x="1" y="6"/>
                  </a:lnTo>
                  <a:lnTo>
                    <a:pt x="1" y="6"/>
                  </a:lnTo>
                  <a:lnTo>
                    <a:pt x="1" y="6"/>
                  </a:lnTo>
                  <a:lnTo>
                    <a:pt x="1" y="5"/>
                  </a:lnTo>
                  <a:lnTo>
                    <a:pt x="1" y="5"/>
                  </a:lnTo>
                  <a:lnTo>
                    <a:pt x="0" y="5"/>
                  </a:lnTo>
                  <a:lnTo>
                    <a:pt x="0" y="5"/>
                  </a:lnTo>
                  <a:lnTo>
                    <a:pt x="0" y="5"/>
                  </a:lnTo>
                  <a:lnTo>
                    <a:pt x="1" y="5"/>
                  </a:lnTo>
                  <a:lnTo>
                    <a:pt x="1" y="5"/>
                  </a:lnTo>
                  <a:lnTo>
                    <a:pt x="0" y="5"/>
                  </a:lnTo>
                  <a:lnTo>
                    <a:pt x="0" y="4"/>
                  </a:lnTo>
                  <a:lnTo>
                    <a:pt x="0" y="4"/>
                  </a:lnTo>
                  <a:lnTo>
                    <a:pt x="0" y="4"/>
                  </a:lnTo>
                  <a:lnTo>
                    <a:pt x="0" y="4"/>
                  </a:lnTo>
                  <a:lnTo>
                    <a:pt x="0" y="4"/>
                  </a:lnTo>
                  <a:lnTo>
                    <a:pt x="0" y="4"/>
                  </a:lnTo>
                  <a:lnTo>
                    <a:pt x="0" y="4"/>
                  </a:lnTo>
                  <a:lnTo>
                    <a:pt x="0" y="4"/>
                  </a:lnTo>
                  <a:lnTo>
                    <a:pt x="1" y="4"/>
                  </a:lnTo>
                  <a:lnTo>
                    <a:pt x="1" y="3"/>
                  </a:lnTo>
                  <a:lnTo>
                    <a:pt x="2" y="3"/>
                  </a:lnTo>
                  <a:lnTo>
                    <a:pt x="2" y="3"/>
                  </a:lnTo>
                  <a:lnTo>
                    <a:pt x="2" y="3"/>
                  </a:lnTo>
                  <a:lnTo>
                    <a:pt x="2" y="2"/>
                  </a:lnTo>
                  <a:lnTo>
                    <a:pt x="2" y="2"/>
                  </a:lnTo>
                  <a:lnTo>
                    <a:pt x="2" y="0"/>
                  </a:lnTo>
                  <a:lnTo>
                    <a:pt x="2" y="0"/>
                  </a:lnTo>
                  <a:lnTo>
                    <a:pt x="3" y="0"/>
                  </a:lnTo>
                  <a:lnTo>
                    <a:pt x="3" y="0"/>
                  </a:lnTo>
                  <a:lnTo>
                    <a:pt x="3" y="0"/>
                  </a:lnTo>
                  <a:lnTo>
                    <a:pt x="3" y="2"/>
                  </a:lnTo>
                  <a:lnTo>
                    <a:pt x="3" y="2"/>
                  </a:lnTo>
                  <a:lnTo>
                    <a:pt x="3" y="2"/>
                  </a:lnTo>
                  <a:lnTo>
                    <a:pt x="4" y="2"/>
                  </a:lnTo>
                  <a:lnTo>
                    <a:pt x="4" y="2"/>
                  </a:lnTo>
                  <a:lnTo>
                    <a:pt x="4" y="2"/>
                  </a:lnTo>
                  <a:lnTo>
                    <a:pt x="3" y="3"/>
                  </a:lnTo>
                  <a:lnTo>
                    <a:pt x="3" y="3"/>
                  </a:lnTo>
                  <a:lnTo>
                    <a:pt x="2" y="4"/>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44" name="Freeform 899">
              <a:extLst>
                <a:ext uri="{FF2B5EF4-FFF2-40B4-BE49-F238E27FC236}">
                  <a16:creationId xmlns:a16="http://schemas.microsoft.com/office/drawing/2014/main" id="{4F247DA6-8061-4C13-8003-1146FD808B05}"/>
                </a:ext>
              </a:extLst>
            </p:cNvPr>
            <p:cNvSpPr>
              <a:spLocks noEditPoints="1"/>
            </p:cNvSpPr>
            <p:nvPr/>
          </p:nvSpPr>
          <p:spPr bwMode="auto">
            <a:xfrm>
              <a:off x="4664586" y="3166902"/>
              <a:ext cx="90813" cy="156253"/>
            </a:xfrm>
            <a:custGeom>
              <a:avLst/>
              <a:gdLst>
                <a:gd name="T0" fmla="*/ 28 w 68"/>
                <a:gd name="T1" fmla="*/ 6 h 117"/>
                <a:gd name="T2" fmla="*/ 25 w 68"/>
                <a:gd name="T3" fmla="*/ 3 h 117"/>
                <a:gd name="T4" fmla="*/ 30 w 68"/>
                <a:gd name="T5" fmla="*/ 7 h 117"/>
                <a:gd name="T6" fmla="*/ 37 w 68"/>
                <a:gd name="T7" fmla="*/ 14 h 117"/>
                <a:gd name="T8" fmla="*/ 42 w 68"/>
                <a:gd name="T9" fmla="*/ 19 h 117"/>
                <a:gd name="T10" fmla="*/ 42 w 68"/>
                <a:gd name="T11" fmla="*/ 24 h 117"/>
                <a:gd name="T12" fmla="*/ 40 w 68"/>
                <a:gd name="T13" fmla="*/ 29 h 117"/>
                <a:gd name="T14" fmla="*/ 40 w 68"/>
                <a:gd name="T15" fmla="*/ 31 h 117"/>
                <a:gd name="T16" fmla="*/ 46 w 68"/>
                <a:gd name="T17" fmla="*/ 27 h 117"/>
                <a:gd name="T18" fmla="*/ 50 w 68"/>
                <a:gd name="T19" fmla="*/ 30 h 117"/>
                <a:gd name="T20" fmla="*/ 55 w 68"/>
                <a:gd name="T21" fmla="*/ 36 h 117"/>
                <a:gd name="T22" fmla="*/ 59 w 68"/>
                <a:gd name="T23" fmla="*/ 38 h 117"/>
                <a:gd name="T24" fmla="*/ 59 w 68"/>
                <a:gd name="T25" fmla="*/ 45 h 117"/>
                <a:gd name="T26" fmla="*/ 57 w 68"/>
                <a:gd name="T27" fmla="*/ 50 h 117"/>
                <a:gd name="T28" fmla="*/ 58 w 68"/>
                <a:gd name="T29" fmla="*/ 54 h 117"/>
                <a:gd name="T30" fmla="*/ 56 w 68"/>
                <a:gd name="T31" fmla="*/ 56 h 117"/>
                <a:gd name="T32" fmla="*/ 51 w 68"/>
                <a:gd name="T33" fmla="*/ 57 h 117"/>
                <a:gd name="T34" fmla="*/ 49 w 68"/>
                <a:gd name="T35" fmla="*/ 59 h 117"/>
                <a:gd name="T36" fmla="*/ 49 w 68"/>
                <a:gd name="T37" fmla="*/ 64 h 117"/>
                <a:gd name="T38" fmla="*/ 47 w 68"/>
                <a:gd name="T39" fmla="*/ 71 h 117"/>
                <a:gd name="T40" fmla="*/ 49 w 68"/>
                <a:gd name="T41" fmla="*/ 77 h 117"/>
                <a:gd name="T42" fmla="*/ 51 w 68"/>
                <a:gd name="T43" fmla="*/ 82 h 117"/>
                <a:gd name="T44" fmla="*/ 56 w 68"/>
                <a:gd name="T45" fmla="*/ 83 h 117"/>
                <a:gd name="T46" fmla="*/ 57 w 68"/>
                <a:gd name="T47" fmla="*/ 87 h 117"/>
                <a:gd name="T48" fmla="*/ 57 w 68"/>
                <a:gd name="T49" fmla="*/ 90 h 117"/>
                <a:gd name="T50" fmla="*/ 59 w 68"/>
                <a:gd name="T51" fmla="*/ 94 h 117"/>
                <a:gd name="T52" fmla="*/ 62 w 68"/>
                <a:gd name="T53" fmla="*/ 98 h 117"/>
                <a:gd name="T54" fmla="*/ 65 w 68"/>
                <a:gd name="T55" fmla="*/ 104 h 117"/>
                <a:gd name="T56" fmla="*/ 65 w 68"/>
                <a:gd name="T57" fmla="*/ 105 h 117"/>
                <a:gd name="T58" fmla="*/ 59 w 68"/>
                <a:gd name="T59" fmla="*/ 105 h 117"/>
                <a:gd name="T60" fmla="*/ 55 w 68"/>
                <a:gd name="T61" fmla="*/ 106 h 117"/>
                <a:gd name="T62" fmla="*/ 49 w 68"/>
                <a:gd name="T63" fmla="*/ 108 h 117"/>
                <a:gd name="T64" fmla="*/ 44 w 68"/>
                <a:gd name="T65" fmla="*/ 112 h 117"/>
                <a:gd name="T66" fmla="*/ 40 w 68"/>
                <a:gd name="T67" fmla="*/ 113 h 117"/>
                <a:gd name="T68" fmla="*/ 35 w 68"/>
                <a:gd name="T69" fmla="*/ 117 h 117"/>
                <a:gd name="T70" fmla="*/ 29 w 68"/>
                <a:gd name="T71" fmla="*/ 114 h 117"/>
                <a:gd name="T72" fmla="*/ 26 w 68"/>
                <a:gd name="T73" fmla="*/ 110 h 117"/>
                <a:gd name="T74" fmla="*/ 22 w 68"/>
                <a:gd name="T75" fmla="*/ 105 h 117"/>
                <a:gd name="T76" fmla="*/ 21 w 68"/>
                <a:gd name="T77" fmla="*/ 99 h 117"/>
                <a:gd name="T78" fmla="*/ 19 w 68"/>
                <a:gd name="T79" fmla="*/ 94 h 117"/>
                <a:gd name="T80" fmla="*/ 20 w 68"/>
                <a:gd name="T81" fmla="*/ 86 h 117"/>
                <a:gd name="T82" fmla="*/ 21 w 68"/>
                <a:gd name="T83" fmla="*/ 80 h 117"/>
                <a:gd name="T84" fmla="*/ 23 w 68"/>
                <a:gd name="T85" fmla="*/ 76 h 117"/>
                <a:gd name="T86" fmla="*/ 25 w 68"/>
                <a:gd name="T87" fmla="*/ 72 h 117"/>
                <a:gd name="T88" fmla="*/ 23 w 68"/>
                <a:gd name="T89" fmla="*/ 66 h 117"/>
                <a:gd name="T90" fmla="*/ 19 w 68"/>
                <a:gd name="T91" fmla="*/ 64 h 117"/>
                <a:gd name="T92" fmla="*/ 19 w 68"/>
                <a:gd name="T93" fmla="*/ 59 h 117"/>
                <a:gd name="T94" fmla="*/ 19 w 68"/>
                <a:gd name="T95" fmla="*/ 55 h 117"/>
                <a:gd name="T96" fmla="*/ 14 w 68"/>
                <a:gd name="T97" fmla="*/ 54 h 117"/>
                <a:gd name="T98" fmla="*/ 7 w 68"/>
                <a:gd name="T99" fmla="*/ 51 h 117"/>
                <a:gd name="T100" fmla="*/ 1 w 68"/>
                <a:gd name="T101" fmla="*/ 43 h 117"/>
                <a:gd name="T102" fmla="*/ 4 w 68"/>
                <a:gd name="T103" fmla="*/ 38 h 117"/>
                <a:gd name="T104" fmla="*/ 4 w 68"/>
                <a:gd name="T105" fmla="*/ 34 h 117"/>
                <a:gd name="T106" fmla="*/ 5 w 68"/>
                <a:gd name="T107" fmla="*/ 29 h 117"/>
                <a:gd name="T108" fmla="*/ 8 w 68"/>
                <a:gd name="T109" fmla="*/ 28 h 117"/>
                <a:gd name="T110" fmla="*/ 13 w 68"/>
                <a:gd name="T111" fmla="*/ 27 h 117"/>
                <a:gd name="T112" fmla="*/ 15 w 68"/>
                <a:gd name="T113" fmla="*/ 22 h 117"/>
                <a:gd name="T114" fmla="*/ 12 w 68"/>
                <a:gd name="T115" fmla="*/ 20 h 117"/>
                <a:gd name="T116" fmla="*/ 12 w 68"/>
                <a:gd name="T117" fmla="*/ 15 h 117"/>
                <a:gd name="T118" fmla="*/ 16 w 68"/>
                <a:gd name="T119" fmla="*/ 12 h 117"/>
                <a:gd name="T120" fmla="*/ 20 w 68"/>
                <a:gd name="T121" fmla="*/ 8 h 117"/>
                <a:gd name="T122" fmla="*/ 23 w 68"/>
                <a:gd name="T123" fmla="*/ 5 h 117"/>
                <a:gd name="T124" fmla="*/ 23 w 68"/>
                <a:gd name="T125" fmla="*/ 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 h="117">
                  <a:moveTo>
                    <a:pt x="42" y="27"/>
                  </a:moveTo>
                  <a:lnTo>
                    <a:pt x="42" y="26"/>
                  </a:lnTo>
                  <a:lnTo>
                    <a:pt x="43" y="26"/>
                  </a:lnTo>
                  <a:lnTo>
                    <a:pt x="42" y="27"/>
                  </a:lnTo>
                  <a:close/>
                  <a:moveTo>
                    <a:pt x="27" y="6"/>
                  </a:moveTo>
                  <a:lnTo>
                    <a:pt x="28" y="6"/>
                  </a:lnTo>
                  <a:lnTo>
                    <a:pt x="29" y="7"/>
                  </a:lnTo>
                  <a:lnTo>
                    <a:pt x="28" y="7"/>
                  </a:lnTo>
                  <a:lnTo>
                    <a:pt x="28" y="6"/>
                  </a:lnTo>
                  <a:lnTo>
                    <a:pt x="27" y="5"/>
                  </a:lnTo>
                  <a:lnTo>
                    <a:pt x="26" y="3"/>
                  </a:lnTo>
                  <a:lnTo>
                    <a:pt x="25" y="3"/>
                  </a:lnTo>
                  <a:lnTo>
                    <a:pt x="25" y="2"/>
                  </a:lnTo>
                  <a:lnTo>
                    <a:pt x="26" y="3"/>
                  </a:lnTo>
                  <a:lnTo>
                    <a:pt x="27" y="3"/>
                  </a:lnTo>
                  <a:lnTo>
                    <a:pt x="27" y="5"/>
                  </a:lnTo>
                  <a:lnTo>
                    <a:pt x="29" y="6"/>
                  </a:lnTo>
                  <a:lnTo>
                    <a:pt x="30" y="7"/>
                  </a:lnTo>
                  <a:lnTo>
                    <a:pt x="33" y="8"/>
                  </a:lnTo>
                  <a:lnTo>
                    <a:pt x="34" y="9"/>
                  </a:lnTo>
                  <a:lnTo>
                    <a:pt x="35" y="10"/>
                  </a:lnTo>
                  <a:lnTo>
                    <a:pt x="36" y="13"/>
                  </a:lnTo>
                  <a:lnTo>
                    <a:pt x="37" y="13"/>
                  </a:lnTo>
                  <a:lnTo>
                    <a:pt x="37" y="14"/>
                  </a:lnTo>
                  <a:lnTo>
                    <a:pt x="39" y="15"/>
                  </a:lnTo>
                  <a:lnTo>
                    <a:pt x="40" y="15"/>
                  </a:lnTo>
                  <a:lnTo>
                    <a:pt x="40" y="16"/>
                  </a:lnTo>
                  <a:lnTo>
                    <a:pt x="40" y="17"/>
                  </a:lnTo>
                  <a:lnTo>
                    <a:pt x="41" y="17"/>
                  </a:lnTo>
                  <a:lnTo>
                    <a:pt x="42" y="19"/>
                  </a:lnTo>
                  <a:lnTo>
                    <a:pt x="42" y="20"/>
                  </a:lnTo>
                  <a:lnTo>
                    <a:pt x="42" y="21"/>
                  </a:lnTo>
                  <a:lnTo>
                    <a:pt x="42" y="20"/>
                  </a:lnTo>
                  <a:lnTo>
                    <a:pt x="42" y="21"/>
                  </a:lnTo>
                  <a:lnTo>
                    <a:pt x="42" y="23"/>
                  </a:lnTo>
                  <a:lnTo>
                    <a:pt x="42" y="24"/>
                  </a:lnTo>
                  <a:lnTo>
                    <a:pt x="41" y="24"/>
                  </a:lnTo>
                  <a:lnTo>
                    <a:pt x="41" y="26"/>
                  </a:lnTo>
                  <a:lnTo>
                    <a:pt x="41" y="27"/>
                  </a:lnTo>
                  <a:lnTo>
                    <a:pt x="40" y="27"/>
                  </a:lnTo>
                  <a:lnTo>
                    <a:pt x="40" y="28"/>
                  </a:lnTo>
                  <a:lnTo>
                    <a:pt x="40" y="29"/>
                  </a:lnTo>
                  <a:lnTo>
                    <a:pt x="40" y="30"/>
                  </a:lnTo>
                  <a:lnTo>
                    <a:pt x="40" y="33"/>
                  </a:lnTo>
                  <a:lnTo>
                    <a:pt x="39" y="35"/>
                  </a:lnTo>
                  <a:lnTo>
                    <a:pt x="39" y="34"/>
                  </a:lnTo>
                  <a:lnTo>
                    <a:pt x="40" y="34"/>
                  </a:lnTo>
                  <a:lnTo>
                    <a:pt x="40" y="31"/>
                  </a:lnTo>
                  <a:lnTo>
                    <a:pt x="40" y="30"/>
                  </a:lnTo>
                  <a:lnTo>
                    <a:pt x="42" y="28"/>
                  </a:lnTo>
                  <a:lnTo>
                    <a:pt x="42" y="27"/>
                  </a:lnTo>
                  <a:lnTo>
                    <a:pt x="43" y="27"/>
                  </a:lnTo>
                  <a:lnTo>
                    <a:pt x="44" y="27"/>
                  </a:lnTo>
                  <a:lnTo>
                    <a:pt x="46" y="27"/>
                  </a:lnTo>
                  <a:lnTo>
                    <a:pt x="46" y="28"/>
                  </a:lnTo>
                  <a:lnTo>
                    <a:pt x="47" y="28"/>
                  </a:lnTo>
                  <a:lnTo>
                    <a:pt x="48" y="28"/>
                  </a:lnTo>
                  <a:lnTo>
                    <a:pt x="49" y="29"/>
                  </a:lnTo>
                  <a:lnTo>
                    <a:pt x="50" y="29"/>
                  </a:lnTo>
                  <a:lnTo>
                    <a:pt x="50" y="30"/>
                  </a:lnTo>
                  <a:lnTo>
                    <a:pt x="51" y="31"/>
                  </a:lnTo>
                  <a:lnTo>
                    <a:pt x="52" y="33"/>
                  </a:lnTo>
                  <a:lnTo>
                    <a:pt x="54" y="34"/>
                  </a:lnTo>
                  <a:lnTo>
                    <a:pt x="54" y="35"/>
                  </a:lnTo>
                  <a:lnTo>
                    <a:pt x="54" y="36"/>
                  </a:lnTo>
                  <a:lnTo>
                    <a:pt x="55" y="36"/>
                  </a:lnTo>
                  <a:lnTo>
                    <a:pt x="55" y="35"/>
                  </a:lnTo>
                  <a:lnTo>
                    <a:pt x="56" y="35"/>
                  </a:lnTo>
                  <a:lnTo>
                    <a:pt x="56" y="36"/>
                  </a:lnTo>
                  <a:lnTo>
                    <a:pt x="57" y="36"/>
                  </a:lnTo>
                  <a:lnTo>
                    <a:pt x="58" y="37"/>
                  </a:lnTo>
                  <a:lnTo>
                    <a:pt x="59" y="38"/>
                  </a:lnTo>
                  <a:lnTo>
                    <a:pt x="59" y="40"/>
                  </a:lnTo>
                  <a:lnTo>
                    <a:pt x="59" y="41"/>
                  </a:lnTo>
                  <a:lnTo>
                    <a:pt x="59" y="42"/>
                  </a:lnTo>
                  <a:lnTo>
                    <a:pt x="59" y="43"/>
                  </a:lnTo>
                  <a:lnTo>
                    <a:pt x="59" y="44"/>
                  </a:lnTo>
                  <a:lnTo>
                    <a:pt x="59" y="45"/>
                  </a:lnTo>
                  <a:lnTo>
                    <a:pt x="59" y="47"/>
                  </a:lnTo>
                  <a:lnTo>
                    <a:pt x="59" y="48"/>
                  </a:lnTo>
                  <a:lnTo>
                    <a:pt x="58" y="48"/>
                  </a:lnTo>
                  <a:lnTo>
                    <a:pt x="58" y="49"/>
                  </a:lnTo>
                  <a:lnTo>
                    <a:pt x="58" y="50"/>
                  </a:lnTo>
                  <a:lnTo>
                    <a:pt x="57" y="50"/>
                  </a:lnTo>
                  <a:lnTo>
                    <a:pt x="57" y="51"/>
                  </a:lnTo>
                  <a:lnTo>
                    <a:pt x="57" y="52"/>
                  </a:lnTo>
                  <a:lnTo>
                    <a:pt x="58" y="52"/>
                  </a:lnTo>
                  <a:lnTo>
                    <a:pt x="57" y="52"/>
                  </a:lnTo>
                  <a:lnTo>
                    <a:pt x="58" y="52"/>
                  </a:lnTo>
                  <a:lnTo>
                    <a:pt x="58" y="54"/>
                  </a:lnTo>
                  <a:lnTo>
                    <a:pt x="58" y="55"/>
                  </a:lnTo>
                  <a:lnTo>
                    <a:pt x="58" y="54"/>
                  </a:lnTo>
                  <a:lnTo>
                    <a:pt x="57" y="54"/>
                  </a:lnTo>
                  <a:lnTo>
                    <a:pt x="57" y="55"/>
                  </a:lnTo>
                  <a:lnTo>
                    <a:pt x="57" y="56"/>
                  </a:lnTo>
                  <a:lnTo>
                    <a:pt x="56" y="56"/>
                  </a:lnTo>
                  <a:lnTo>
                    <a:pt x="55" y="57"/>
                  </a:lnTo>
                  <a:lnTo>
                    <a:pt x="54" y="56"/>
                  </a:lnTo>
                  <a:lnTo>
                    <a:pt x="52" y="57"/>
                  </a:lnTo>
                  <a:lnTo>
                    <a:pt x="52" y="56"/>
                  </a:lnTo>
                  <a:lnTo>
                    <a:pt x="51" y="56"/>
                  </a:lnTo>
                  <a:lnTo>
                    <a:pt x="51" y="57"/>
                  </a:lnTo>
                  <a:lnTo>
                    <a:pt x="50" y="57"/>
                  </a:lnTo>
                  <a:lnTo>
                    <a:pt x="50" y="58"/>
                  </a:lnTo>
                  <a:lnTo>
                    <a:pt x="50" y="57"/>
                  </a:lnTo>
                  <a:lnTo>
                    <a:pt x="49" y="57"/>
                  </a:lnTo>
                  <a:lnTo>
                    <a:pt x="49" y="58"/>
                  </a:lnTo>
                  <a:lnTo>
                    <a:pt x="49" y="59"/>
                  </a:lnTo>
                  <a:lnTo>
                    <a:pt x="48" y="59"/>
                  </a:lnTo>
                  <a:lnTo>
                    <a:pt x="49" y="59"/>
                  </a:lnTo>
                  <a:lnTo>
                    <a:pt x="49" y="61"/>
                  </a:lnTo>
                  <a:lnTo>
                    <a:pt x="49" y="62"/>
                  </a:lnTo>
                  <a:lnTo>
                    <a:pt x="49" y="63"/>
                  </a:lnTo>
                  <a:lnTo>
                    <a:pt x="49" y="64"/>
                  </a:lnTo>
                  <a:lnTo>
                    <a:pt x="48" y="65"/>
                  </a:lnTo>
                  <a:lnTo>
                    <a:pt x="48" y="66"/>
                  </a:lnTo>
                  <a:lnTo>
                    <a:pt x="48" y="68"/>
                  </a:lnTo>
                  <a:lnTo>
                    <a:pt x="47" y="69"/>
                  </a:lnTo>
                  <a:lnTo>
                    <a:pt x="47" y="70"/>
                  </a:lnTo>
                  <a:lnTo>
                    <a:pt x="47" y="71"/>
                  </a:lnTo>
                  <a:lnTo>
                    <a:pt x="47" y="72"/>
                  </a:lnTo>
                  <a:lnTo>
                    <a:pt x="47" y="73"/>
                  </a:lnTo>
                  <a:lnTo>
                    <a:pt x="48" y="73"/>
                  </a:lnTo>
                  <a:lnTo>
                    <a:pt x="48" y="75"/>
                  </a:lnTo>
                  <a:lnTo>
                    <a:pt x="49" y="76"/>
                  </a:lnTo>
                  <a:lnTo>
                    <a:pt x="49" y="77"/>
                  </a:lnTo>
                  <a:lnTo>
                    <a:pt x="49" y="78"/>
                  </a:lnTo>
                  <a:lnTo>
                    <a:pt x="50" y="78"/>
                  </a:lnTo>
                  <a:lnTo>
                    <a:pt x="50" y="79"/>
                  </a:lnTo>
                  <a:lnTo>
                    <a:pt x="51" y="79"/>
                  </a:lnTo>
                  <a:lnTo>
                    <a:pt x="51" y="80"/>
                  </a:lnTo>
                  <a:lnTo>
                    <a:pt x="51" y="82"/>
                  </a:lnTo>
                  <a:lnTo>
                    <a:pt x="52" y="83"/>
                  </a:lnTo>
                  <a:lnTo>
                    <a:pt x="54" y="83"/>
                  </a:lnTo>
                  <a:lnTo>
                    <a:pt x="55" y="83"/>
                  </a:lnTo>
                  <a:lnTo>
                    <a:pt x="55" y="82"/>
                  </a:lnTo>
                  <a:lnTo>
                    <a:pt x="55" y="83"/>
                  </a:lnTo>
                  <a:lnTo>
                    <a:pt x="56" y="83"/>
                  </a:lnTo>
                  <a:lnTo>
                    <a:pt x="56" y="82"/>
                  </a:lnTo>
                  <a:lnTo>
                    <a:pt x="57" y="83"/>
                  </a:lnTo>
                  <a:lnTo>
                    <a:pt x="57" y="84"/>
                  </a:lnTo>
                  <a:lnTo>
                    <a:pt x="57" y="85"/>
                  </a:lnTo>
                  <a:lnTo>
                    <a:pt x="57" y="86"/>
                  </a:lnTo>
                  <a:lnTo>
                    <a:pt x="57" y="87"/>
                  </a:lnTo>
                  <a:lnTo>
                    <a:pt x="58" y="87"/>
                  </a:lnTo>
                  <a:lnTo>
                    <a:pt x="57" y="87"/>
                  </a:lnTo>
                  <a:lnTo>
                    <a:pt x="57" y="89"/>
                  </a:lnTo>
                  <a:lnTo>
                    <a:pt x="58" y="89"/>
                  </a:lnTo>
                  <a:lnTo>
                    <a:pt x="58" y="90"/>
                  </a:lnTo>
                  <a:lnTo>
                    <a:pt x="57" y="90"/>
                  </a:lnTo>
                  <a:lnTo>
                    <a:pt x="57" y="91"/>
                  </a:lnTo>
                  <a:lnTo>
                    <a:pt x="58" y="91"/>
                  </a:lnTo>
                  <a:lnTo>
                    <a:pt x="58" y="92"/>
                  </a:lnTo>
                  <a:lnTo>
                    <a:pt x="59" y="92"/>
                  </a:lnTo>
                  <a:lnTo>
                    <a:pt x="59" y="93"/>
                  </a:lnTo>
                  <a:lnTo>
                    <a:pt x="59" y="94"/>
                  </a:lnTo>
                  <a:lnTo>
                    <a:pt x="61" y="93"/>
                  </a:lnTo>
                  <a:lnTo>
                    <a:pt x="61" y="94"/>
                  </a:lnTo>
                  <a:lnTo>
                    <a:pt x="61" y="96"/>
                  </a:lnTo>
                  <a:lnTo>
                    <a:pt x="61" y="97"/>
                  </a:lnTo>
                  <a:lnTo>
                    <a:pt x="62" y="97"/>
                  </a:lnTo>
                  <a:lnTo>
                    <a:pt x="62" y="98"/>
                  </a:lnTo>
                  <a:lnTo>
                    <a:pt x="62" y="99"/>
                  </a:lnTo>
                  <a:lnTo>
                    <a:pt x="63" y="99"/>
                  </a:lnTo>
                  <a:lnTo>
                    <a:pt x="63" y="100"/>
                  </a:lnTo>
                  <a:lnTo>
                    <a:pt x="63" y="101"/>
                  </a:lnTo>
                  <a:lnTo>
                    <a:pt x="64" y="104"/>
                  </a:lnTo>
                  <a:lnTo>
                    <a:pt x="65" y="104"/>
                  </a:lnTo>
                  <a:lnTo>
                    <a:pt x="66" y="104"/>
                  </a:lnTo>
                  <a:lnTo>
                    <a:pt x="68" y="105"/>
                  </a:lnTo>
                  <a:lnTo>
                    <a:pt x="66" y="105"/>
                  </a:lnTo>
                  <a:lnTo>
                    <a:pt x="66" y="106"/>
                  </a:lnTo>
                  <a:lnTo>
                    <a:pt x="66" y="105"/>
                  </a:lnTo>
                  <a:lnTo>
                    <a:pt x="65" y="105"/>
                  </a:lnTo>
                  <a:lnTo>
                    <a:pt x="64" y="105"/>
                  </a:lnTo>
                  <a:lnTo>
                    <a:pt x="63" y="106"/>
                  </a:lnTo>
                  <a:lnTo>
                    <a:pt x="62" y="106"/>
                  </a:lnTo>
                  <a:lnTo>
                    <a:pt x="62" y="105"/>
                  </a:lnTo>
                  <a:lnTo>
                    <a:pt x="61" y="105"/>
                  </a:lnTo>
                  <a:lnTo>
                    <a:pt x="59" y="105"/>
                  </a:lnTo>
                  <a:lnTo>
                    <a:pt x="59" y="104"/>
                  </a:lnTo>
                  <a:lnTo>
                    <a:pt x="58" y="104"/>
                  </a:lnTo>
                  <a:lnTo>
                    <a:pt x="57" y="105"/>
                  </a:lnTo>
                  <a:lnTo>
                    <a:pt x="56" y="105"/>
                  </a:lnTo>
                  <a:lnTo>
                    <a:pt x="55" y="105"/>
                  </a:lnTo>
                  <a:lnTo>
                    <a:pt x="55" y="106"/>
                  </a:lnTo>
                  <a:lnTo>
                    <a:pt x="54" y="106"/>
                  </a:lnTo>
                  <a:lnTo>
                    <a:pt x="54" y="107"/>
                  </a:lnTo>
                  <a:lnTo>
                    <a:pt x="52" y="108"/>
                  </a:lnTo>
                  <a:lnTo>
                    <a:pt x="51" y="108"/>
                  </a:lnTo>
                  <a:lnTo>
                    <a:pt x="50" y="108"/>
                  </a:lnTo>
                  <a:lnTo>
                    <a:pt x="49" y="108"/>
                  </a:lnTo>
                  <a:lnTo>
                    <a:pt x="48" y="110"/>
                  </a:lnTo>
                  <a:lnTo>
                    <a:pt x="47" y="110"/>
                  </a:lnTo>
                  <a:lnTo>
                    <a:pt x="47" y="111"/>
                  </a:lnTo>
                  <a:lnTo>
                    <a:pt x="47" y="112"/>
                  </a:lnTo>
                  <a:lnTo>
                    <a:pt x="46" y="112"/>
                  </a:lnTo>
                  <a:lnTo>
                    <a:pt x="44" y="112"/>
                  </a:lnTo>
                  <a:lnTo>
                    <a:pt x="44" y="111"/>
                  </a:lnTo>
                  <a:lnTo>
                    <a:pt x="43" y="111"/>
                  </a:lnTo>
                  <a:lnTo>
                    <a:pt x="42" y="111"/>
                  </a:lnTo>
                  <a:lnTo>
                    <a:pt x="41" y="111"/>
                  </a:lnTo>
                  <a:lnTo>
                    <a:pt x="41" y="112"/>
                  </a:lnTo>
                  <a:lnTo>
                    <a:pt x="40" y="113"/>
                  </a:lnTo>
                  <a:lnTo>
                    <a:pt x="40" y="114"/>
                  </a:lnTo>
                  <a:lnTo>
                    <a:pt x="39" y="115"/>
                  </a:lnTo>
                  <a:lnTo>
                    <a:pt x="37" y="115"/>
                  </a:lnTo>
                  <a:lnTo>
                    <a:pt x="36" y="115"/>
                  </a:lnTo>
                  <a:lnTo>
                    <a:pt x="36" y="117"/>
                  </a:lnTo>
                  <a:lnTo>
                    <a:pt x="35" y="117"/>
                  </a:lnTo>
                  <a:lnTo>
                    <a:pt x="34" y="117"/>
                  </a:lnTo>
                  <a:lnTo>
                    <a:pt x="34" y="115"/>
                  </a:lnTo>
                  <a:lnTo>
                    <a:pt x="33" y="115"/>
                  </a:lnTo>
                  <a:lnTo>
                    <a:pt x="33" y="114"/>
                  </a:lnTo>
                  <a:lnTo>
                    <a:pt x="30" y="114"/>
                  </a:lnTo>
                  <a:lnTo>
                    <a:pt x="29" y="114"/>
                  </a:lnTo>
                  <a:lnTo>
                    <a:pt x="28" y="113"/>
                  </a:lnTo>
                  <a:lnTo>
                    <a:pt x="28" y="112"/>
                  </a:lnTo>
                  <a:lnTo>
                    <a:pt x="27" y="112"/>
                  </a:lnTo>
                  <a:lnTo>
                    <a:pt x="27" y="111"/>
                  </a:lnTo>
                  <a:lnTo>
                    <a:pt x="26" y="111"/>
                  </a:lnTo>
                  <a:lnTo>
                    <a:pt x="26" y="110"/>
                  </a:lnTo>
                  <a:lnTo>
                    <a:pt x="25" y="108"/>
                  </a:lnTo>
                  <a:lnTo>
                    <a:pt x="23" y="108"/>
                  </a:lnTo>
                  <a:lnTo>
                    <a:pt x="23" y="107"/>
                  </a:lnTo>
                  <a:lnTo>
                    <a:pt x="23" y="106"/>
                  </a:lnTo>
                  <a:lnTo>
                    <a:pt x="22" y="106"/>
                  </a:lnTo>
                  <a:lnTo>
                    <a:pt x="22" y="105"/>
                  </a:lnTo>
                  <a:lnTo>
                    <a:pt x="22" y="104"/>
                  </a:lnTo>
                  <a:lnTo>
                    <a:pt x="22" y="103"/>
                  </a:lnTo>
                  <a:lnTo>
                    <a:pt x="22" y="101"/>
                  </a:lnTo>
                  <a:lnTo>
                    <a:pt x="22" y="100"/>
                  </a:lnTo>
                  <a:lnTo>
                    <a:pt x="22" y="99"/>
                  </a:lnTo>
                  <a:lnTo>
                    <a:pt x="21" y="99"/>
                  </a:lnTo>
                  <a:lnTo>
                    <a:pt x="20" y="99"/>
                  </a:lnTo>
                  <a:lnTo>
                    <a:pt x="20" y="98"/>
                  </a:lnTo>
                  <a:lnTo>
                    <a:pt x="20" y="97"/>
                  </a:lnTo>
                  <a:lnTo>
                    <a:pt x="20" y="96"/>
                  </a:lnTo>
                  <a:lnTo>
                    <a:pt x="20" y="94"/>
                  </a:lnTo>
                  <a:lnTo>
                    <a:pt x="19" y="94"/>
                  </a:lnTo>
                  <a:lnTo>
                    <a:pt x="19" y="93"/>
                  </a:lnTo>
                  <a:lnTo>
                    <a:pt x="19" y="91"/>
                  </a:lnTo>
                  <a:lnTo>
                    <a:pt x="19" y="89"/>
                  </a:lnTo>
                  <a:lnTo>
                    <a:pt x="19" y="87"/>
                  </a:lnTo>
                  <a:lnTo>
                    <a:pt x="20" y="87"/>
                  </a:lnTo>
                  <a:lnTo>
                    <a:pt x="20" y="86"/>
                  </a:lnTo>
                  <a:lnTo>
                    <a:pt x="20" y="85"/>
                  </a:lnTo>
                  <a:lnTo>
                    <a:pt x="20" y="84"/>
                  </a:lnTo>
                  <a:lnTo>
                    <a:pt x="21" y="84"/>
                  </a:lnTo>
                  <a:lnTo>
                    <a:pt x="21" y="83"/>
                  </a:lnTo>
                  <a:lnTo>
                    <a:pt x="21" y="82"/>
                  </a:lnTo>
                  <a:lnTo>
                    <a:pt x="21" y="80"/>
                  </a:lnTo>
                  <a:lnTo>
                    <a:pt x="21" y="79"/>
                  </a:lnTo>
                  <a:lnTo>
                    <a:pt x="21" y="78"/>
                  </a:lnTo>
                  <a:lnTo>
                    <a:pt x="22" y="78"/>
                  </a:lnTo>
                  <a:lnTo>
                    <a:pt x="23" y="78"/>
                  </a:lnTo>
                  <a:lnTo>
                    <a:pt x="23" y="77"/>
                  </a:lnTo>
                  <a:lnTo>
                    <a:pt x="23" y="76"/>
                  </a:lnTo>
                  <a:lnTo>
                    <a:pt x="25" y="76"/>
                  </a:lnTo>
                  <a:lnTo>
                    <a:pt x="25" y="75"/>
                  </a:lnTo>
                  <a:lnTo>
                    <a:pt x="25" y="73"/>
                  </a:lnTo>
                  <a:lnTo>
                    <a:pt x="26" y="73"/>
                  </a:lnTo>
                  <a:lnTo>
                    <a:pt x="25" y="73"/>
                  </a:lnTo>
                  <a:lnTo>
                    <a:pt x="25" y="72"/>
                  </a:lnTo>
                  <a:lnTo>
                    <a:pt x="23" y="71"/>
                  </a:lnTo>
                  <a:lnTo>
                    <a:pt x="25" y="70"/>
                  </a:lnTo>
                  <a:lnTo>
                    <a:pt x="23" y="70"/>
                  </a:lnTo>
                  <a:lnTo>
                    <a:pt x="23" y="69"/>
                  </a:lnTo>
                  <a:lnTo>
                    <a:pt x="23" y="68"/>
                  </a:lnTo>
                  <a:lnTo>
                    <a:pt x="23" y="66"/>
                  </a:lnTo>
                  <a:lnTo>
                    <a:pt x="23" y="65"/>
                  </a:lnTo>
                  <a:lnTo>
                    <a:pt x="22" y="65"/>
                  </a:lnTo>
                  <a:lnTo>
                    <a:pt x="21" y="65"/>
                  </a:lnTo>
                  <a:lnTo>
                    <a:pt x="20" y="65"/>
                  </a:lnTo>
                  <a:lnTo>
                    <a:pt x="20" y="64"/>
                  </a:lnTo>
                  <a:lnTo>
                    <a:pt x="19" y="64"/>
                  </a:lnTo>
                  <a:lnTo>
                    <a:pt x="18" y="64"/>
                  </a:lnTo>
                  <a:lnTo>
                    <a:pt x="18" y="63"/>
                  </a:lnTo>
                  <a:lnTo>
                    <a:pt x="19" y="63"/>
                  </a:lnTo>
                  <a:lnTo>
                    <a:pt x="19" y="62"/>
                  </a:lnTo>
                  <a:lnTo>
                    <a:pt x="19" y="61"/>
                  </a:lnTo>
                  <a:lnTo>
                    <a:pt x="19" y="59"/>
                  </a:lnTo>
                  <a:lnTo>
                    <a:pt x="19" y="58"/>
                  </a:lnTo>
                  <a:lnTo>
                    <a:pt x="20" y="58"/>
                  </a:lnTo>
                  <a:lnTo>
                    <a:pt x="20" y="57"/>
                  </a:lnTo>
                  <a:lnTo>
                    <a:pt x="20" y="56"/>
                  </a:lnTo>
                  <a:lnTo>
                    <a:pt x="20" y="55"/>
                  </a:lnTo>
                  <a:lnTo>
                    <a:pt x="19" y="55"/>
                  </a:lnTo>
                  <a:lnTo>
                    <a:pt x="19" y="54"/>
                  </a:lnTo>
                  <a:lnTo>
                    <a:pt x="18" y="52"/>
                  </a:lnTo>
                  <a:lnTo>
                    <a:pt x="16" y="52"/>
                  </a:lnTo>
                  <a:lnTo>
                    <a:pt x="15" y="52"/>
                  </a:lnTo>
                  <a:lnTo>
                    <a:pt x="15" y="54"/>
                  </a:lnTo>
                  <a:lnTo>
                    <a:pt x="14" y="54"/>
                  </a:lnTo>
                  <a:lnTo>
                    <a:pt x="13" y="54"/>
                  </a:lnTo>
                  <a:lnTo>
                    <a:pt x="12" y="54"/>
                  </a:lnTo>
                  <a:lnTo>
                    <a:pt x="11" y="54"/>
                  </a:lnTo>
                  <a:lnTo>
                    <a:pt x="9" y="54"/>
                  </a:lnTo>
                  <a:lnTo>
                    <a:pt x="8" y="52"/>
                  </a:lnTo>
                  <a:lnTo>
                    <a:pt x="7" y="51"/>
                  </a:lnTo>
                  <a:lnTo>
                    <a:pt x="6" y="49"/>
                  </a:lnTo>
                  <a:lnTo>
                    <a:pt x="5" y="48"/>
                  </a:lnTo>
                  <a:lnTo>
                    <a:pt x="5" y="47"/>
                  </a:lnTo>
                  <a:lnTo>
                    <a:pt x="4" y="45"/>
                  </a:lnTo>
                  <a:lnTo>
                    <a:pt x="2" y="44"/>
                  </a:lnTo>
                  <a:lnTo>
                    <a:pt x="1" y="43"/>
                  </a:lnTo>
                  <a:lnTo>
                    <a:pt x="1" y="42"/>
                  </a:lnTo>
                  <a:lnTo>
                    <a:pt x="0" y="42"/>
                  </a:lnTo>
                  <a:lnTo>
                    <a:pt x="1" y="41"/>
                  </a:lnTo>
                  <a:lnTo>
                    <a:pt x="2" y="40"/>
                  </a:lnTo>
                  <a:lnTo>
                    <a:pt x="2" y="38"/>
                  </a:lnTo>
                  <a:lnTo>
                    <a:pt x="4" y="38"/>
                  </a:lnTo>
                  <a:lnTo>
                    <a:pt x="4" y="37"/>
                  </a:lnTo>
                  <a:lnTo>
                    <a:pt x="5" y="37"/>
                  </a:lnTo>
                  <a:lnTo>
                    <a:pt x="5" y="36"/>
                  </a:lnTo>
                  <a:lnTo>
                    <a:pt x="4" y="36"/>
                  </a:lnTo>
                  <a:lnTo>
                    <a:pt x="4" y="35"/>
                  </a:lnTo>
                  <a:lnTo>
                    <a:pt x="4" y="34"/>
                  </a:lnTo>
                  <a:lnTo>
                    <a:pt x="5" y="34"/>
                  </a:lnTo>
                  <a:lnTo>
                    <a:pt x="4" y="34"/>
                  </a:lnTo>
                  <a:lnTo>
                    <a:pt x="4" y="33"/>
                  </a:lnTo>
                  <a:lnTo>
                    <a:pt x="4" y="31"/>
                  </a:lnTo>
                  <a:lnTo>
                    <a:pt x="4" y="30"/>
                  </a:lnTo>
                  <a:lnTo>
                    <a:pt x="5" y="29"/>
                  </a:lnTo>
                  <a:lnTo>
                    <a:pt x="6" y="29"/>
                  </a:lnTo>
                  <a:lnTo>
                    <a:pt x="7" y="29"/>
                  </a:lnTo>
                  <a:lnTo>
                    <a:pt x="8" y="29"/>
                  </a:lnTo>
                  <a:lnTo>
                    <a:pt x="8" y="28"/>
                  </a:lnTo>
                  <a:lnTo>
                    <a:pt x="7" y="28"/>
                  </a:lnTo>
                  <a:lnTo>
                    <a:pt x="8" y="28"/>
                  </a:lnTo>
                  <a:lnTo>
                    <a:pt x="9" y="28"/>
                  </a:lnTo>
                  <a:lnTo>
                    <a:pt x="11" y="29"/>
                  </a:lnTo>
                  <a:lnTo>
                    <a:pt x="11" y="28"/>
                  </a:lnTo>
                  <a:lnTo>
                    <a:pt x="12" y="28"/>
                  </a:lnTo>
                  <a:lnTo>
                    <a:pt x="12" y="27"/>
                  </a:lnTo>
                  <a:lnTo>
                    <a:pt x="13" y="27"/>
                  </a:lnTo>
                  <a:lnTo>
                    <a:pt x="14" y="26"/>
                  </a:lnTo>
                  <a:lnTo>
                    <a:pt x="15" y="26"/>
                  </a:lnTo>
                  <a:lnTo>
                    <a:pt x="15" y="24"/>
                  </a:lnTo>
                  <a:lnTo>
                    <a:pt x="16" y="24"/>
                  </a:lnTo>
                  <a:lnTo>
                    <a:pt x="16" y="23"/>
                  </a:lnTo>
                  <a:lnTo>
                    <a:pt x="15" y="22"/>
                  </a:lnTo>
                  <a:lnTo>
                    <a:pt x="14" y="22"/>
                  </a:lnTo>
                  <a:lnTo>
                    <a:pt x="13" y="22"/>
                  </a:lnTo>
                  <a:lnTo>
                    <a:pt x="13" y="23"/>
                  </a:lnTo>
                  <a:lnTo>
                    <a:pt x="12" y="22"/>
                  </a:lnTo>
                  <a:lnTo>
                    <a:pt x="12" y="21"/>
                  </a:lnTo>
                  <a:lnTo>
                    <a:pt x="12" y="20"/>
                  </a:lnTo>
                  <a:lnTo>
                    <a:pt x="12" y="19"/>
                  </a:lnTo>
                  <a:lnTo>
                    <a:pt x="12" y="17"/>
                  </a:lnTo>
                  <a:lnTo>
                    <a:pt x="11" y="17"/>
                  </a:lnTo>
                  <a:lnTo>
                    <a:pt x="11" y="16"/>
                  </a:lnTo>
                  <a:lnTo>
                    <a:pt x="12" y="16"/>
                  </a:lnTo>
                  <a:lnTo>
                    <a:pt x="12" y="15"/>
                  </a:lnTo>
                  <a:lnTo>
                    <a:pt x="13" y="15"/>
                  </a:lnTo>
                  <a:lnTo>
                    <a:pt x="13" y="14"/>
                  </a:lnTo>
                  <a:lnTo>
                    <a:pt x="13" y="13"/>
                  </a:lnTo>
                  <a:lnTo>
                    <a:pt x="14" y="12"/>
                  </a:lnTo>
                  <a:lnTo>
                    <a:pt x="15" y="12"/>
                  </a:lnTo>
                  <a:lnTo>
                    <a:pt x="16" y="12"/>
                  </a:lnTo>
                  <a:lnTo>
                    <a:pt x="16" y="10"/>
                  </a:lnTo>
                  <a:lnTo>
                    <a:pt x="18" y="10"/>
                  </a:lnTo>
                  <a:lnTo>
                    <a:pt x="18" y="9"/>
                  </a:lnTo>
                  <a:lnTo>
                    <a:pt x="19" y="9"/>
                  </a:lnTo>
                  <a:lnTo>
                    <a:pt x="19" y="8"/>
                  </a:lnTo>
                  <a:lnTo>
                    <a:pt x="20" y="8"/>
                  </a:lnTo>
                  <a:lnTo>
                    <a:pt x="21" y="8"/>
                  </a:lnTo>
                  <a:lnTo>
                    <a:pt x="21" y="7"/>
                  </a:lnTo>
                  <a:lnTo>
                    <a:pt x="21" y="6"/>
                  </a:lnTo>
                  <a:lnTo>
                    <a:pt x="22" y="6"/>
                  </a:lnTo>
                  <a:lnTo>
                    <a:pt x="23" y="6"/>
                  </a:lnTo>
                  <a:lnTo>
                    <a:pt x="23" y="5"/>
                  </a:lnTo>
                  <a:lnTo>
                    <a:pt x="23" y="3"/>
                  </a:lnTo>
                  <a:lnTo>
                    <a:pt x="22" y="1"/>
                  </a:lnTo>
                  <a:lnTo>
                    <a:pt x="21" y="0"/>
                  </a:lnTo>
                  <a:lnTo>
                    <a:pt x="22" y="1"/>
                  </a:lnTo>
                  <a:lnTo>
                    <a:pt x="23" y="2"/>
                  </a:lnTo>
                  <a:lnTo>
                    <a:pt x="23" y="3"/>
                  </a:lnTo>
                  <a:lnTo>
                    <a:pt x="25" y="3"/>
                  </a:lnTo>
                  <a:lnTo>
                    <a:pt x="26" y="5"/>
                  </a:lnTo>
                  <a:lnTo>
                    <a:pt x="27" y="5"/>
                  </a:lnTo>
                  <a:lnTo>
                    <a:pt x="27" y="6"/>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45" name="Freeform 900">
              <a:extLst>
                <a:ext uri="{FF2B5EF4-FFF2-40B4-BE49-F238E27FC236}">
                  <a16:creationId xmlns:a16="http://schemas.microsoft.com/office/drawing/2014/main" id="{451589CF-BBD2-4C0F-B870-99AB2116DDAB}"/>
                </a:ext>
              </a:extLst>
            </p:cNvPr>
            <p:cNvSpPr>
              <a:spLocks noEditPoints="1"/>
            </p:cNvSpPr>
            <p:nvPr/>
          </p:nvSpPr>
          <p:spPr bwMode="auto">
            <a:xfrm>
              <a:off x="7881776" y="2870423"/>
              <a:ext cx="9349" cy="8013"/>
            </a:xfrm>
            <a:custGeom>
              <a:avLst/>
              <a:gdLst>
                <a:gd name="T0" fmla="*/ 3 w 7"/>
                <a:gd name="T1" fmla="*/ 6 h 6"/>
                <a:gd name="T2" fmla="*/ 3 w 7"/>
                <a:gd name="T3" fmla="*/ 6 h 6"/>
                <a:gd name="T4" fmla="*/ 5 w 7"/>
                <a:gd name="T5" fmla="*/ 5 h 6"/>
                <a:gd name="T6" fmla="*/ 5 w 7"/>
                <a:gd name="T7" fmla="*/ 6 h 6"/>
                <a:gd name="T8" fmla="*/ 5 w 7"/>
                <a:gd name="T9" fmla="*/ 6 h 6"/>
                <a:gd name="T10" fmla="*/ 5 w 7"/>
                <a:gd name="T11" fmla="*/ 6 h 6"/>
                <a:gd name="T12" fmla="*/ 5 w 7"/>
                <a:gd name="T13" fmla="*/ 6 h 6"/>
                <a:gd name="T14" fmla="*/ 5 w 7"/>
                <a:gd name="T15" fmla="*/ 6 h 6"/>
                <a:gd name="T16" fmla="*/ 3 w 7"/>
                <a:gd name="T17" fmla="*/ 6 h 6"/>
                <a:gd name="T18" fmla="*/ 3 w 7"/>
                <a:gd name="T19" fmla="*/ 5 h 6"/>
                <a:gd name="T20" fmla="*/ 3 w 7"/>
                <a:gd name="T21" fmla="*/ 5 h 6"/>
                <a:gd name="T22" fmla="*/ 2 w 7"/>
                <a:gd name="T23" fmla="*/ 4 h 6"/>
                <a:gd name="T24" fmla="*/ 1 w 7"/>
                <a:gd name="T25" fmla="*/ 5 h 6"/>
                <a:gd name="T26" fmla="*/ 1 w 7"/>
                <a:gd name="T27" fmla="*/ 6 h 6"/>
                <a:gd name="T28" fmla="*/ 1 w 7"/>
                <a:gd name="T29" fmla="*/ 6 h 6"/>
                <a:gd name="T30" fmla="*/ 1 w 7"/>
                <a:gd name="T31" fmla="*/ 6 h 6"/>
                <a:gd name="T32" fmla="*/ 0 w 7"/>
                <a:gd name="T33" fmla="*/ 6 h 6"/>
                <a:gd name="T34" fmla="*/ 0 w 7"/>
                <a:gd name="T35" fmla="*/ 6 h 6"/>
                <a:gd name="T36" fmla="*/ 0 w 7"/>
                <a:gd name="T37" fmla="*/ 5 h 6"/>
                <a:gd name="T38" fmla="*/ 1 w 7"/>
                <a:gd name="T39" fmla="*/ 5 h 6"/>
                <a:gd name="T40" fmla="*/ 1 w 7"/>
                <a:gd name="T41" fmla="*/ 4 h 6"/>
                <a:gd name="T42" fmla="*/ 3 w 7"/>
                <a:gd name="T43" fmla="*/ 0 h 6"/>
                <a:gd name="T44" fmla="*/ 3 w 7"/>
                <a:gd name="T45" fmla="*/ 1 h 6"/>
                <a:gd name="T46" fmla="*/ 3 w 7"/>
                <a:gd name="T47" fmla="*/ 0 h 6"/>
                <a:gd name="T48" fmla="*/ 5 w 7"/>
                <a:gd name="T49" fmla="*/ 1 h 6"/>
                <a:gd name="T50" fmla="*/ 5 w 7"/>
                <a:gd name="T51" fmla="*/ 1 h 6"/>
                <a:gd name="T52" fmla="*/ 5 w 7"/>
                <a:gd name="T53" fmla="*/ 1 h 6"/>
                <a:gd name="T54" fmla="*/ 3 w 7"/>
                <a:gd name="T55" fmla="*/ 3 h 6"/>
                <a:gd name="T56" fmla="*/ 3 w 7"/>
                <a:gd name="T57" fmla="*/ 3 h 6"/>
                <a:gd name="T58" fmla="*/ 3 w 7"/>
                <a:gd name="T59" fmla="*/ 3 h 6"/>
                <a:gd name="T60" fmla="*/ 5 w 7"/>
                <a:gd name="T61" fmla="*/ 3 h 6"/>
                <a:gd name="T62" fmla="*/ 5 w 7"/>
                <a:gd name="T63" fmla="*/ 3 h 6"/>
                <a:gd name="T64" fmla="*/ 6 w 7"/>
                <a:gd name="T65" fmla="*/ 1 h 6"/>
                <a:gd name="T66" fmla="*/ 6 w 7"/>
                <a:gd name="T67" fmla="*/ 3 h 6"/>
                <a:gd name="T68" fmla="*/ 6 w 7"/>
                <a:gd name="T69" fmla="*/ 3 h 6"/>
                <a:gd name="T70" fmla="*/ 6 w 7"/>
                <a:gd name="T71" fmla="*/ 3 h 6"/>
                <a:gd name="T72" fmla="*/ 6 w 7"/>
                <a:gd name="T73" fmla="*/ 4 h 6"/>
                <a:gd name="T74" fmla="*/ 6 w 7"/>
                <a:gd name="T75" fmla="*/ 4 h 6"/>
                <a:gd name="T76" fmla="*/ 6 w 7"/>
                <a:gd name="T77" fmla="*/ 4 h 6"/>
                <a:gd name="T78" fmla="*/ 5 w 7"/>
                <a:gd name="T79" fmla="*/ 4 h 6"/>
                <a:gd name="T80" fmla="*/ 5 w 7"/>
                <a:gd name="T81" fmla="*/ 5 h 6"/>
                <a:gd name="T82" fmla="*/ 6 w 7"/>
                <a:gd name="T83" fmla="*/ 5 h 6"/>
                <a:gd name="T84" fmla="*/ 6 w 7"/>
                <a:gd name="T85" fmla="*/ 5 h 6"/>
                <a:gd name="T86" fmla="*/ 5 w 7"/>
                <a:gd name="T87" fmla="*/ 5 h 6"/>
                <a:gd name="T88" fmla="*/ 5 w 7"/>
                <a:gd name="T89" fmla="*/ 5 h 6"/>
                <a:gd name="T90" fmla="*/ 3 w 7"/>
                <a:gd name="T91" fmla="*/ 5 h 6"/>
                <a:gd name="T92" fmla="*/ 3 w 7"/>
                <a:gd name="T93" fmla="*/ 5 h 6"/>
                <a:gd name="T94" fmla="*/ 2 w 7"/>
                <a:gd name="T95" fmla="*/ 4 h 6"/>
                <a:gd name="T96" fmla="*/ 2 w 7"/>
                <a:gd name="T97" fmla="*/ 4 h 6"/>
                <a:gd name="T98" fmla="*/ 1 w 7"/>
                <a:gd name="T99" fmla="*/ 4 h 6"/>
                <a:gd name="T100" fmla="*/ 1 w 7"/>
                <a:gd name="T101" fmla="*/ 4 h 6"/>
                <a:gd name="T102" fmla="*/ 0 w 7"/>
                <a:gd name="T103" fmla="*/ 3 h 6"/>
                <a:gd name="T104" fmla="*/ 1 w 7"/>
                <a:gd name="T105" fmla="*/ 1 h 6"/>
                <a:gd name="T106" fmla="*/ 1 w 7"/>
                <a:gd name="T107" fmla="*/ 1 h 6"/>
                <a:gd name="T108" fmla="*/ 1 w 7"/>
                <a:gd name="T109" fmla="*/ 1 h 6"/>
                <a:gd name="T110" fmla="*/ 2 w 7"/>
                <a:gd name="T111" fmla="*/ 1 h 6"/>
                <a:gd name="T112" fmla="*/ 3 w 7"/>
                <a:gd name="T11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 h="6">
                  <a:moveTo>
                    <a:pt x="3" y="6"/>
                  </a:moveTo>
                  <a:lnTo>
                    <a:pt x="3" y="6"/>
                  </a:lnTo>
                  <a:lnTo>
                    <a:pt x="3" y="6"/>
                  </a:lnTo>
                  <a:lnTo>
                    <a:pt x="3" y="6"/>
                  </a:lnTo>
                  <a:lnTo>
                    <a:pt x="3" y="6"/>
                  </a:lnTo>
                  <a:lnTo>
                    <a:pt x="3" y="6"/>
                  </a:lnTo>
                  <a:lnTo>
                    <a:pt x="3" y="6"/>
                  </a:lnTo>
                  <a:lnTo>
                    <a:pt x="3" y="6"/>
                  </a:lnTo>
                  <a:lnTo>
                    <a:pt x="3" y="6"/>
                  </a:lnTo>
                  <a:lnTo>
                    <a:pt x="3" y="6"/>
                  </a:lnTo>
                  <a:lnTo>
                    <a:pt x="3" y="6"/>
                  </a:lnTo>
                  <a:lnTo>
                    <a:pt x="3" y="6"/>
                  </a:lnTo>
                  <a:lnTo>
                    <a:pt x="3" y="6"/>
                  </a:lnTo>
                  <a:lnTo>
                    <a:pt x="3" y="6"/>
                  </a:lnTo>
                  <a:lnTo>
                    <a:pt x="3" y="6"/>
                  </a:lnTo>
                  <a:lnTo>
                    <a:pt x="3" y="6"/>
                  </a:lnTo>
                  <a:lnTo>
                    <a:pt x="3" y="6"/>
                  </a:lnTo>
                  <a:lnTo>
                    <a:pt x="3" y="6"/>
                  </a:lnTo>
                  <a:lnTo>
                    <a:pt x="3" y="6"/>
                  </a:lnTo>
                  <a:lnTo>
                    <a:pt x="3" y="6"/>
                  </a:lnTo>
                  <a:close/>
                  <a:moveTo>
                    <a:pt x="5" y="5"/>
                  </a:moveTo>
                  <a:lnTo>
                    <a:pt x="5" y="5"/>
                  </a:lnTo>
                  <a:lnTo>
                    <a:pt x="5" y="5"/>
                  </a:lnTo>
                  <a:lnTo>
                    <a:pt x="5" y="5"/>
                  </a:lnTo>
                  <a:lnTo>
                    <a:pt x="5" y="5"/>
                  </a:lnTo>
                  <a:lnTo>
                    <a:pt x="5" y="5"/>
                  </a:lnTo>
                  <a:lnTo>
                    <a:pt x="5" y="5"/>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5" y="6"/>
                  </a:lnTo>
                  <a:lnTo>
                    <a:pt x="3" y="6"/>
                  </a:lnTo>
                  <a:lnTo>
                    <a:pt x="3" y="6"/>
                  </a:lnTo>
                  <a:lnTo>
                    <a:pt x="3" y="6"/>
                  </a:lnTo>
                  <a:lnTo>
                    <a:pt x="3" y="6"/>
                  </a:lnTo>
                  <a:lnTo>
                    <a:pt x="3" y="6"/>
                  </a:lnTo>
                  <a:lnTo>
                    <a:pt x="3" y="6"/>
                  </a:lnTo>
                  <a:lnTo>
                    <a:pt x="3" y="6"/>
                  </a:lnTo>
                  <a:lnTo>
                    <a:pt x="3" y="5"/>
                  </a:lnTo>
                  <a:lnTo>
                    <a:pt x="3" y="5"/>
                  </a:lnTo>
                  <a:lnTo>
                    <a:pt x="3" y="5"/>
                  </a:lnTo>
                  <a:lnTo>
                    <a:pt x="3" y="5"/>
                  </a:lnTo>
                  <a:lnTo>
                    <a:pt x="3" y="5"/>
                  </a:lnTo>
                  <a:lnTo>
                    <a:pt x="3" y="5"/>
                  </a:lnTo>
                  <a:lnTo>
                    <a:pt x="3" y="5"/>
                  </a:lnTo>
                  <a:lnTo>
                    <a:pt x="3" y="5"/>
                  </a:lnTo>
                  <a:lnTo>
                    <a:pt x="3" y="5"/>
                  </a:lnTo>
                  <a:lnTo>
                    <a:pt x="3" y="5"/>
                  </a:lnTo>
                  <a:lnTo>
                    <a:pt x="3" y="5"/>
                  </a:lnTo>
                  <a:lnTo>
                    <a:pt x="3" y="5"/>
                  </a:lnTo>
                  <a:lnTo>
                    <a:pt x="3" y="5"/>
                  </a:lnTo>
                  <a:lnTo>
                    <a:pt x="3" y="5"/>
                  </a:lnTo>
                  <a:lnTo>
                    <a:pt x="3" y="5"/>
                  </a:lnTo>
                  <a:lnTo>
                    <a:pt x="5" y="5"/>
                  </a:lnTo>
                  <a:lnTo>
                    <a:pt x="5" y="5"/>
                  </a:lnTo>
                  <a:lnTo>
                    <a:pt x="5" y="5"/>
                  </a:lnTo>
                  <a:close/>
                  <a:moveTo>
                    <a:pt x="2" y="4"/>
                  </a:moveTo>
                  <a:lnTo>
                    <a:pt x="2" y="5"/>
                  </a:lnTo>
                  <a:lnTo>
                    <a:pt x="2" y="4"/>
                  </a:lnTo>
                  <a:lnTo>
                    <a:pt x="2" y="4"/>
                  </a:lnTo>
                  <a:lnTo>
                    <a:pt x="2" y="4"/>
                  </a:lnTo>
                  <a:lnTo>
                    <a:pt x="2" y="5"/>
                  </a:lnTo>
                  <a:lnTo>
                    <a:pt x="1" y="5"/>
                  </a:lnTo>
                  <a:lnTo>
                    <a:pt x="1" y="5"/>
                  </a:lnTo>
                  <a:lnTo>
                    <a:pt x="1" y="5"/>
                  </a:lnTo>
                  <a:lnTo>
                    <a:pt x="1" y="5"/>
                  </a:lnTo>
                  <a:lnTo>
                    <a:pt x="2" y="5"/>
                  </a:lnTo>
                  <a:lnTo>
                    <a:pt x="1" y="5"/>
                  </a:lnTo>
                  <a:lnTo>
                    <a:pt x="1" y="5"/>
                  </a:lnTo>
                  <a:lnTo>
                    <a:pt x="1" y="5"/>
                  </a:lnTo>
                  <a:lnTo>
                    <a:pt x="1" y="6"/>
                  </a:lnTo>
                  <a:lnTo>
                    <a:pt x="2" y="6"/>
                  </a:lnTo>
                  <a:lnTo>
                    <a:pt x="1" y="6"/>
                  </a:lnTo>
                  <a:lnTo>
                    <a:pt x="1" y="6"/>
                  </a:lnTo>
                  <a:lnTo>
                    <a:pt x="1" y="6"/>
                  </a:lnTo>
                  <a:lnTo>
                    <a:pt x="1" y="6"/>
                  </a:lnTo>
                  <a:lnTo>
                    <a:pt x="1" y="6"/>
                  </a:lnTo>
                  <a:lnTo>
                    <a:pt x="1" y="6"/>
                  </a:lnTo>
                  <a:lnTo>
                    <a:pt x="1" y="6"/>
                  </a:lnTo>
                  <a:lnTo>
                    <a:pt x="1" y="6"/>
                  </a:lnTo>
                  <a:lnTo>
                    <a:pt x="0" y="6"/>
                  </a:lnTo>
                  <a:lnTo>
                    <a:pt x="0" y="6"/>
                  </a:lnTo>
                  <a:lnTo>
                    <a:pt x="1" y="6"/>
                  </a:lnTo>
                  <a:lnTo>
                    <a:pt x="1" y="6"/>
                  </a:lnTo>
                  <a:lnTo>
                    <a:pt x="1" y="6"/>
                  </a:lnTo>
                  <a:lnTo>
                    <a:pt x="0" y="6"/>
                  </a:lnTo>
                  <a:lnTo>
                    <a:pt x="0" y="6"/>
                  </a:lnTo>
                  <a:lnTo>
                    <a:pt x="0" y="6"/>
                  </a:lnTo>
                  <a:lnTo>
                    <a:pt x="0" y="6"/>
                  </a:lnTo>
                  <a:lnTo>
                    <a:pt x="0" y="6"/>
                  </a:lnTo>
                  <a:lnTo>
                    <a:pt x="0" y="6"/>
                  </a:lnTo>
                  <a:lnTo>
                    <a:pt x="0" y="6"/>
                  </a:lnTo>
                  <a:lnTo>
                    <a:pt x="0" y="6"/>
                  </a:lnTo>
                  <a:lnTo>
                    <a:pt x="0" y="6"/>
                  </a:lnTo>
                  <a:lnTo>
                    <a:pt x="0" y="6"/>
                  </a:lnTo>
                  <a:lnTo>
                    <a:pt x="0" y="6"/>
                  </a:lnTo>
                  <a:lnTo>
                    <a:pt x="0" y="6"/>
                  </a:lnTo>
                  <a:lnTo>
                    <a:pt x="0" y="6"/>
                  </a:lnTo>
                  <a:lnTo>
                    <a:pt x="0" y="6"/>
                  </a:lnTo>
                  <a:lnTo>
                    <a:pt x="0" y="5"/>
                  </a:lnTo>
                  <a:lnTo>
                    <a:pt x="0" y="5"/>
                  </a:lnTo>
                  <a:lnTo>
                    <a:pt x="0" y="5"/>
                  </a:lnTo>
                  <a:lnTo>
                    <a:pt x="0" y="5"/>
                  </a:lnTo>
                  <a:lnTo>
                    <a:pt x="0" y="5"/>
                  </a:lnTo>
                  <a:lnTo>
                    <a:pt x="0" y="5"/>
                  </a:lnTo>
                  <a:lnTo>
                    <a:pt x="0" y="5"/>
                  </a:lnTo>
                  <a:lnTo>
                    <a:pt x="0" y="5"/>
                  </a:lnTo>
                  <a:lnTo>
                    <a:pt x="0" y="5"/>
                  </a:lnTo>
                  <a:lnTo>
                    <a:pt x="0" y="5"/>
                  </a:lnTo>
                  <a:lnTo>
                    <a:pt x="0" y="5"/>
                  </a:lnTo>
                  <a:lnTo>
                    <a:pt x="0" y="5"/>
                  </a:lnTo>
                  <a:lnTo>
                    <a:pt x="0" y="5"/>
                  </a:lnTo>
                  <a:lnTo>
                    <a:pt x="1" y="5"/>
                  </a:lnTo>
                  <a:lnTo>
                    <a:pt x="1" y="5"/>
                  </a:lnTo>
                  <a:lnTo>
                    <a:pt x="1" y="5"/>
                  </a:lnTo>
                  <a:lnTo>
                    <a:pt x="1" y="5"/>
                  </a:lnTo>
                  <a:lnTo>
                    <a:pt x="1" y="5"/>
                  </a:lnTo>
                  <a:lnTo>
                    <a:pt x="1" y="4"/>
                  </a:lnTo>
                  <a:lnTo>
                    <a:pt x="1" y="4"/>
                  </a:lnTo>
                  <a:lnTo>
                    <a:pt x="1" y="4"/>
                  </a:lnTo>
                  <a:lnTo>
                    <a:pt x="2" y="4"/>
                  </a:lnTo>
                  <a:lnTo>
                    <a:pt x="2" y="4"/>
                  </a:lnTo>
                  <a:lnTo>
                    <a:pt x="2" y="4"/>
                  </a:lnTo>
                  <a:lnTo>
                    <a:pt x="2" y="4"/>
                  </a:lnTo>
                  <a:close/>
                  <a:moveTo>
                    <a:pt x="3" y="0"/>
                  </a:moveTo>
                  <a:lnTo>
                    <a:pt x="3" y="0"/>
                  </a:lnTo>
                  <a:lnTo>
                    <a:pt x="3" y="0"/>
                  </a:lnTo>
                  <a:lnTo>
                    <a:pt x="3" y="0"/>
                  </a:lnTo>
                  <a:lnTo>
                    <a:pt x="3" y="0"/>
                  </a:lnTo>
                  <a:lnTo>
                    <a:pt x="3" y="0"/>
                  </a:lnTo>
                  <a:lnTo>
                    <a:pt x="3" y="0"/>
                  </a:lnTo>
                  <a:lnTo>
                    <a:pt x="3" y="1"/>
                  </a:lnTo>
                  <a:lnTo>
                    <a:pt x="3" y="1"/>
                  </a:lnTo>
                  <a:lnTo>
                    <a:pt x="3" y="1"/>
                  </a:lnTo>
                  <a:lnTo>
                    <a:pt x="3" y="1"/>
                  </a:lnTo>
                  <a:lnTo>
                    <a:pt x="3" y="1"/>
                  </a:lnTo>
                  <a:lnTo>
                    <a:pt x="3" y="1"/>
                  </a:lnTo>
                  <a:lnTo>
                    <a:pt x="3" y="1"/>
                  </a:lnTo>
                  <a:lnTo>
                    <a:pt x="3" y="1"/>
                  </a:lnTo>
                  <a:lnTo>
                    <a:pt x="3" y="0"/>
                  </a:lnTo>
                  <a:lnTo>
                    <a:pt x="3" y="0"/>
                  </a:lnTo>
                  <a:lnTo>
                    <a:pt x="5" y="0"/>
                  </a:lnTo>
                  <a:lnTo>
                    <a:pt x="5" y="0"/>
                  </a:lnTo>
                  <a:lnTo>
                    <a:pt x="5" y="0"/>
                  </a:lnTo>
                  <a:lnTo>
                    <a:pt x="5" y="1"/>
                  </a:lnTo>
                  <a:lnTo>
                    <a:pt x="5" y="1"/>
                  </a:lnTo>
                  <a:lnTo>
                    <a:pt x="5" y="1"/>
                  </a:lnTo>
                  <a:lnTo>
                    <a:pt x="5" y="1"/>
                  </a:lnTo>
                  <a:lnTo>
                    <a:pt x="5" y="1"/>
                  </a:lnTo>
                  <a:lnTo>
                    <a:pt x="5" y="1"/>
                  </a:lnTo>
                  <a:lnTo>
                    <a:pt x="5" y="1"/>
                  </a:lnTo>
                  <a:lnTo>
                    <a:pt x="5" y="1"/>
                  </a:lnTo>
                  <a:lnTo>
                    <a:pt x="5" y="1"/>
                  </a:lnTo>
                  <a:lnTo>
                    <a:pt x="5" y="1"/>
                  </a:lnTo>
                  <a:lnTo>
                    <a:pt x="5" y="1"/>
                  </a:lnTo>
                  <a:lnTo>
                    <a:pt x="5" y="1"/>
                  </a:lnTo>
                  <a:lnTo>
                    <a:pt x="6" y="1"/>
                  </a:lnTo>
                  <a:lnTo>
                    <a:pt x="6" y="1"/>
                  </a:lnTo>
                  <a:lnTo>
                    <a:pt x="6" y="1"/>
                  </a:lnTo>
                  <a:lnTo>
                    <a:pt x="5" y="1"/>
                  </a:lnTo>
                  <a:lnTo>
                    <a:pt x="5" y="1"/>
                  </a:lnTo>
                  <a:lnTo>
                    <a:pt x="5" y="1"/>
                  </a:lnTo>
                  <a:lnTo>
                    <a:pt x="5" y="1"/>
                  </a:lnTo>
                  <a:lnTo>
                    <a:pt x="5" y="3"/>
                  </a:lnTo>
                  <a:lnTo>
                    <a:pt x="5" y="3"/>
                  </a:lnTo>
                  <a:lnTo>
                    <a:pt x="5" y="3"/>
                  </a:lnTo>
                  <a:lnTo>
                    <a:pt x="5" y="3"/>
                  </a:lnTo>
                  <a:lnTo>
                    <a:pt x="5" y="1"/>
                  </a:lnTo>
                  <a:lnTo>
                    <a:pt x="3" y="3"/>
                  </a:lnTo>
                  <a:lnTo>
                    <a:pt x="3" y="1"/>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5" y="3"/>
                  </a:lnTo>
                  <a:lnTo>
                    <a:pt x="5" y="3"/>
                  </a:lnTo>
                  <a:lnTo>
                    <a:pt x="5" y="3"/>
                  </a:lnTo>
                  <a:lnTo>
                    <a:pt x="5" y="3"/>
                  </a:lnTo>
                  <a:lnTo>
                    <a:pt x="5" y="3"/>
                  </a:lnTo>
                  <a:lnTo>
                    <a:pt x="5" y="3"/>
                  </a:lnTo>
                  <a:lnTo>
                    <a:pt x="5" y="3"/>
                  </a:lnTo>
                  <a:lnTo>
                    <a:pt x="5" y="3"/>
                  </a:lnTo>
                  <a:lnTo>
                    <a:pt x="5" y="3"/>
                  </a:lnTo>
                  <a:lnTo>
                    <a:pt x="5" y="3"/>
                  </a:lnTo>
                  <a:lnTo>
                    <a:pt x="5" y="3"/>
                  </a:lnTo>
                  <a:lnTo>
                    <a:pt x="5" y="3"/>
                  </a:lnTo>
                  <a:lnTo>
                    <a:pt x="5" y="3"/>
                  </a:lnTo>
                  <a:lnTo>
                    <a:pt x="5" y="3"/>
                  </a:lnTo>
                  <a:lnTo>
                    <a:pt x="5" y="3"/>
                  </a:lnTo>
                  <a:lnTo>
                    <a:pt x="5" y="3"/>
                  </a:lnTo>
                  <a:lnTo>
                    <a:pt x="6" y="1"/>
                  </a:lnTo>
                  <a:lnTo>
                    <a:pt x="6" y="1"/>
                  </a:lnTo>
                  <a:lnTo>
                    <a:pt x="6" y="1"/>
                  </a:lnTo>
                  <a:lnTo>
                    <a:pt x="6" y="3"/>
                  </a:lnTo>
                  <a:lnTo>
                    <a:pt x="6" y="3"/>
                  </a:lnTo>
                  <a:lnTo>
                    <a:pt x="6" y="3"/>
                  </a:lnTo>
                  <a:lnTo>
                    <a:pt x="6" y="3"/>
                  </a:lnTo>
                  <a:lnTo>
                    <a:pt x="6" y="3"/>
                  </a:lnTo>
                  <a:lnTo>
                    <a:pt x="6" y="3"/>
                  </a:lnTo>
                  <a:lnTo>
                    <a:pt x="6" y="3"/>
                  </a:lnTo>
                  <a:lnTo>
                    <a:pt x="6" y="3"/>
                  </a:lnTo>
                  <a:lnTo>
                    <a:pt x="6" y="3"/>
                  </a:lnTo>
                  <a:lnTo>
                    <a:pt x="6" y="3"/>
                  </a:lnTo>
                  <a:lnTo>
                    <a:pt x="6" y="3"/>
                  </a:lnTo>
                  <a:lnTo>
                    <a:pt x="6" y="3"/>
                  </a:lnTo>
                  <a:lnTo>
                    <a:pt x="6" y="3"/>
                  </a:lnTo>
                  <a:lnTo>
                    <a:pt x="6" y="3"/>
                  </a:lnTo>
                  <a:lnTo>
                    <a:pt x="7" y="3"/>
                  </a:lnTo>
                  <a:lnTo>
                    <a:pt x="7" y="3"/>
                  </a:lnTo>
                  <a:lnTo>
                    <a:pt x="7" y="3"/>
                  </a:lnTo>
                  <a:lnTo>
                    <a:pt x="6" y="3"/>
                  </a:lnTo>
                  <a:lnTo>
                    <a:pt x="6" y="3"/>
                  </a:lnTo>
                  <a:lnTo>
                    <a:pt x="6" y="3"/>
                  </a:lnTo>
                  <a:lnTo>
                    <a:pt x="6" y="3"/>
                  </a:lnTo>
                  <a:lnTo>
                    <a:pt x="7" y="4"/>
                  </a:lnTo>
                  <a:lnTo>
                    <a:pt x="7" y="4"/>
                  </a:lnTo>
                  <a:lnTo>
                    <a:pt x="7" y="4"/>
                  </a:lnTo>
                  <a:lnTo>
                    <a:pt x="7" y="4"/>
                  </a:lnTo>
                  <a:lnTo>
                    <a:pt x="6" y="4"/>
                  </a:lnTo>
                  <a:lnTo>
                    <a:pt x="7" y="4"/>
                  </a:lnTo>
                  <a:lnTo>
                    <a:pt x="6" y="4"/>
                  </a:lnTo>
                  <a:lnTo>
                    <a:pt x="6" y="4"/>
                  </a:lnTo>
                  <a:lnTo>
                    <a:pt x="6" y="4"/>
                  </a:lnTo>
                  <a:lnTo>
                    <a:pt x="6" y="4"/>
                  </a:lnTo>
                  <a:lnTo>
                    <a:pt x="6" y="4"/>
                  </a:lnTo>
                  <a:lnTo>
                    <a:pt x="6" y="4"/>
                  </a:lnTo>
                  <a:lnTo>
                    <a:pt x="6" y="4"/>
                  </a:lnTo>
                  <a:lnTo>
                    <a:pt x="6" y="4"/>
                  </a:lnTo>
                  <a:lnTo>
                    <a:pt x="6" y="4"/>
                  </a:lnTo>
                  <a:lnTo>
                    <a:pt x="6" y="4"/>
                  </a:lnTo>
                  <a:lnTo>
                    <a:pt x="6" y="4"/>
                  </a:lnTo>
                  <a:lnTo>
                    <a:pt x="6" y="4"/>
                  </a:lnTo>
                  <a:lnTo>
                    <a:pt x="6" y="4"/>
                  </a:lnTo>
                  <a:lnTo>
                    <a:pt x="6" y="4"/>
                  </a:lnTo>
                  <a:lnTo>
                    <a:pt x="5" y="4"/>
                  </a:lnTo>
                  <a:lnTo>
                    <a:pt x="5" y="4"/>
                  </a:lnTo>
                  <a:lnTo>
                    <a:pt x="5" y="4"/>
                  </a:lnTo>
                  <a:lnTo>
                    <a:pt x="5" y="4"/>
                  </a:lnTo>
                  <a:lnTo>
                    <a:pt x="5" y="4"/>
                  </a:lnTo>
                  <a:lnTo>
                    <a:pt x="5" y="4"/>
                  </a:lnTo>
                  <a:lnTo>
                    <a:pt x="5" y="4"/>
                  </a:lnTo>
                  <a:lnTo>
                    <a:pt x="5" y="4"/>
                  </a:lnTo>
                  <a:lnTo>
                    <a:pt x="5" y="4"/>
                  </a:lnTo>
                  <a:lnTo>
                    <a:pt x="5" y="4"/>
                  </a:lnTo>
                  <a:lnTo>
                    <a:pt x="5" y="4"/>
                  </a:lnTo>
                  <a:lnTo>
                    <a:pt x="5" y="5"/>
                  </a:lnTo>
                  <a:lnTo>
                    <a:pt x="5" y="5"/>
                  </a:lnTo>
                  <a:lnTo>
                    <a:pt x="6" y="5"/>
                  </a:lnTo>
                  <a:lnTo>
                    <a:pt x="6" y="5"/>
                  </a:lnTo>
                  <a:lnTo>
                    <a:pt x="6" y="5"/>
                  </a:lnTo>
                  <a:lnTo>
                    <a:pt x="6" y="5"/>
                  </a:lnTo>
                  <a:lnTo>
                    <a:pt x="6" y="5"/>
                  </a:lnTo>
                  <a:lnTo>
                    <a:pt x="6" y="5"/>
                  </a:lnTo>
                  <a:lnTo>
                    <a:pt x="6" y="5"/>
                  </a:lnTo>
                  <a:lnTo>
                    <a:pt x="6" y="5"/>
                  </a:lnTo>
                  <a:lnTo>
                    <a:pt x="6" y="5"/>
                  </a:lnTo>
                  <a:lnTo>
                    <a:pt x="6" y="5"/>
                  </a:lnTo>
                  <a:lnTo>
                    <a:pt x="6" y="5"/>
                  </a:lnTo>
                  <a:lnTo>
                    <a:pt x="6" y="5"/>
                  </a:lnTo>
                  <a:lnTo>
                    <a:pt x="6" y="5"/>
                  </a:lnTo>
                  <a:lnTo>
                    <a:pt x="6" y="5"/>
                  </a:lnTo>
                  <a:lnTo>
                    <a:pt x="6" y="5"/>
                  </a:lnTo>
                  <a:lnTo>
                    <a:pt x="6" y="5"/>
                  </a:lnTo>
                  <a:lnTo>
                    <a:pt x="6" y="5"/>
                  </a:lnTo>
                  <a:lnTo>
                    <a:pt x="6" y="5"/>
                  </a:lnTo>
                  <a:lnTo>
                    <a:pt x="5" y="5"/>
                  </a:lnTo>
                  <a:lnTo>
                    <a:pt x="5" y="5"/>
                  </a:lnTo>
                  <a:lnTo>
                    <a:pt x="5" y="5"/>
                  </a:lnTo>
                  <a:lnTo>
                    <a:pt x="5" y="5"/>
                  </a:lnTo>
                  <a:lnTo>
                    <a:pt x="5" y="4"/>
                  </a:lnTo>
                  <a:lnTo>
                    <a:pt x="5" y="5"/>
                  </a:lnTo>
                  <a:lnTo>
                    <a:pt x="5" y="5"/>
                  </a:lnTo>
                  <a:lnTo>
                    <a:pt x="5" y="5"/>
                  </a:lnTo>
                  <a:lnTo>
                    <a:pt x="5" y="5"/>
                  </a:lnTo>
                  <a:lnTo>
                    <a:pt x="5" y="5"/>
                  </a:lnTo>
                  <a:lnTo>
                    <a:pt x="5" y="5"/>
                  </a:lnTo>
                  <a:lnTo>
                    <a:pt x="5" y="5"/>
                  </a:lnTo>
                  <a:lnTo>
                    <a:pt x="3" y="5"/>
                  </a:lnTo>
                  <a:lnTo>
                    <a:pt x="3" y="5"/>
                  </a:lnTo>
                  <a:lnTo>
                    <a:pt x="3" y="5"/>
                  </a:lnTo>
                  <a:lnTo>
                    <a:pt x="3" y="5"/>
                  </a:lnTo>
                  <a:lnTo>
                    <a:pt x="3" y="5"/>
                  </a:lnTo>
                  <a:lnTo>
                    <a:pt x="3" y="5"/>
                  </a:lnTo>
                  <a:lnTo>
                    <a:pt x="3" y="5"/>
                  </a:lnTo>
                  <a:lnTo>
                    <a:pt x="3" y="5"/>
                  </a:lnTo>
                  <a:lnTo>
                    <a:pt x="3" y="5"/>
                  </a:lnTo>
                  <a:lnTo>
                    <a:pt x="3" y="5"/>
                  </a:lnTo>
                  <a:lnTo>
                    <a:pt x="3" y="5"/>
                  </a:lnTo>
                  <a:lnTo>
                    <a:pt x="3" y="5"/>
                  </a:lnTo>
                  <a:lnTo>
                    <a:pt x="3" y="5"/>
                  </a:lnTo>
                  <a:lnTo>
                    <a:pt x="3" y="4"/>
                  </a:lnTo>
                  <a:lnTo>
                    <a:pt x="3" y="4"/>
                  </a:lnTo>
                  <a:lnTo>
                    <a:pt x="3" y="4"/>
                  </a:lnTo>
                  <a:lnTo>
                    <a:pt x="3" y="4"/>
                  </a:lnTo>
                  <a:lnTo>
                    <a:pt x="3" y="4"/>
                  </a:lnTo>
                  <a:lnTo>
                    <a:pt x="2" y="4"/>
                  </a:lnTo>
                  <a:lnTo>
                    <a:pt x="2" y="4"/>
                  </a:lnTo>
                  <a:lnTo>
                    <a:pt x="2" y="4"/>
                  </a:lnTo>
                  <a:lnTo>
                    <a:pt x="2" y="4"/>
                  </a:lnTo>
                  <a:lnTo>
                    <a:pt x="2" y="4"/>
                  </a:lnTo>
                  <a:lnTo>
                    <a:pt x="2" y="4"/>
                  </a:lnTo>
                  <a:lnTo>
                    <a:pt x="2" y="4"/>
                  </a:lnTo>
                  <a:lnTo>
                    <a:pt x="2" y="4"/>
                  </a:lnTo>
                  <a:lnTo>
                    <a:pt x="2" y="4"/>
                  </a:lnTo>
                  <a:lnTo>
                    <a:pt x="2" y="4"/>
                  </a:lnTo>
                  <a:lnTo>
                    <a:pt x="2" y="4"/>
                  </a:lnTo>
                  <a:lnTo>
                    <a:pt x="1" y="4"/>
                  </a:lnTo>
                  <a:lnTo>
                    <a:pt x="1" y="4"/>
                  </a:lnTo>
                  <a:lnTo>
                    <a:pt x="1" y="4"/>
                  </a:lnTo>
                  <a:lnTo>
                    <a:pt x="1" y="4"/>
                  </a:lnTo>
                  <a:lnTo>
                    <a:pt x="1" y="4"/>
                  </a:lnTo>
                  <a:lnTo>
                    <a:pt x="1" y="4"/>
                  </a:lnTo>
                  <a:lnTo>
                    <a:pt x="1" y="4"/>
                  </a:lnTo>
                  <a:lnTo>
                    <a:pt x="1" y="4"/>
                  </a:lnTo>
                  <a:lnTo>
                    <a:pt x="1" y="4"/>
                  </a:lnTo>
                  <a:lnTo>
                    <a:pt x="1" y="4"/>
                  </a:lnTo>
                  <a:lnTo>
                    <a:pt x="1" y="4"/>
                  </a:lnTo>
                  <a:lnTo>
                    <a:pt x="1" y="4"/>
                  </a:lnTo>
                  <a:lnTo>
                    <a:pt x="0" y="4"/>
                  </a:lnTo>
                  <a:lnTo>
                    <a:pt x="0" y="4"/>
                  </a:lnTo>
                  <a:lnTo>
                    <a:pt x="0" y="4"/>
                  </a:lnTo>
                  <a:lnTo>
                    <a:pt x="0" y="4"/>
                  </a:lnTo>
                  <a:lnTo>
                    <a:pt x="0" y="4"/>
                  </a:lnTo>
                  <a:lnTo>
                    <a:pt x="0" y="3"/>
                  </a:lnTo>
                  <a:lnTo>
                    <a:pt x="0" y="3"/>
                  </a:lnTo>
                  <a:lnTo>
                    <a:pt x="0" y="3"/>
                  </a:lnTo>
                  <a:lnTo>
                    <a:pt x="0" y="3"/>
                  </a:lnTo>
                  <a:lnTo>
                    <a:pt x="0" y="3"/>
                  </a:lnTo>
                  <a:lnTo>
                    <a:pt x="0" y="3"/>
                  </a:lnTo>
                  <a:lnTo>
                    <a:pt x="1" y="3"/>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2" y="1"/>
                  </a:lnTo>
                  <a:lnTo>
                    <a:pt x="2" y="1"/>
                  </a:lnTo>
                  <a:lnTo>
                    <a:pt x="2" y="1"/>
                  </a:lnTo>
                  <a:lnTo>
                    <a:pt x="2" y="1"/>
                  </a:lnTo>
                  <a:lnTo>
                    <a:pt x="2" y="1"/>
                  </a:lnTo>
                  <a:lnTo>
                    <a:pt x="2" y="1"/>
                  </a:lnTo>
                  <a:lnTo>
                    <a:pt x="2" y="1"/>
                  </a:lnTo>
                  <a:lnTo>
                    <a:pt x="2" y="1"/>
                  </a:lnTo>
                  <a:lnTo>
                    <a:pt x="2" y="1"/>
                  </a:lnTo>
                  <a:lnTo>
                    <a:pt x="2" y="1"/>
                  </a:lnTo>
                  <a:lnTo>
                    <a:pt x="2" y="1"/>
                  </a:lnTo>
                  <a:lnTo>
                    <a:pt x="2" y="0"/>
                  </a:lnTo>
                  <a:lnTo>
                    <a:pt x="2" y="0"/>
                  </a:lnTo>
                  <a:lnTo>
                    <a:pt x="3"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46" name="Freeform 901">
              <a:extLst>
                <a:ext uri="{FF2B5EF4-FFF2-40B4-BE49-F238E27FC236}">
                  <a16:creationId xmlns:a16="http://schemas.microsoft.com/office/drawing/2014/main" id="{F4A39D69-C9DB-44F4-B289-4989DF8E3902}"/>
                </a:ext>
              </a:extLst>
            </p:cNvPr>
            <p:cNvSpPr>
              <a:spLocks/>
            </p:cNvSpPr>
            <p:nvPr/>
          </p:nvSpPr>
          <p:spPr bwMode="auto">
            <a:xfrm>
              <a:off x="6964296" y="4460989"/>
              <a:ext cx="8013" cy="5342"/>
            </a:xfrm>
            <a:custGeom>
              <a:avLst/>
              <a:gdLst>
                <a:gd name="T0" fmla="*/ 1 w 6"/>
                <a:gd name="T1" fmla="*/ 0 h 4"/>
                <a:gd name="T2" fmla="*/ 1 w 6"/>
                <a:gd name="T3" fmla="*/ 0 h 4"/>
                <a:gd name="T4" fmla="*/ 1 w 6"/>
                <a:gd name="T5" fmla="*/ 0 h 4"/>
                <a:gd name="T6" fmla="*/ 1 w 6"/>
                <a:gd name="T7" fmla="*/ 0 h 4"/>
                <a:gd name="T8" fmla="*/ 1 w 6"/>
                <a:gd name="T9" fmla="*/ 0 h 4"/>
                <a:gd name="T10" fmla="*/ 3 w 6"/>
                <a:gd name="T11" fmla="*/ 0 h 4"/>
                <a:gd name="T12" fmla="*/ 3 w 6"/>
                <a:gd name="T13" fmla="*/ 0 h 4"/>
                <a:gd name="T14" fmla="*/ 1 w 6"/>
                <a:gd name="T15" fmla="*/ 0 h 4"/>
                <a:gd name="T16" fmla="*/ 3 w 6"/>
                <a:gd name="T17" fmla="*/ 1 h 4"/>
                <a:gd name="T18" fmla="*/ 3 w 6"/>
                <a:gd name="T19" fmla="*/ 1 h 4"/>
                <a:gd name="T20" fmla="*/ 3 w 6"/>
                <a:gd name="T21" fmla="*/ 1 h 4"/>
                <a:gd name="T22" fmla="*/ 3 w 6"/>
                <a:gd name="T23" fmla="*/ 0 h 4"/>
                <a:gd name="T24" fmla="*/ 3 w 6"/>
                <a:gd name="T25" fmla="*/ 0 h 4"/>
                <a:gd name="T26" fmla="*/ 4 w 6"/>
                <a:gd name="T27" fmla="*/ 0 h 4"/>
                <a:gd name="T28" fmla="*/ 4 w 6"/>
                <a:gd name="T29" fmla="*/ 1 h 4"/>
                <a:gd name="T30" fmla="*/ 4 w 6"/>
                <a:gd name="T31" fmla="*/ 1 h 4"/>
                <a:gd name="T32" fmla="*/ 4 w 6"/>
                <a:gd name="T33" fmla="*/ 1 h 4"/>
                <a:gd name="T34" fmla="*/ 5 w 6"/>
                <a:gd name="T35" fmla="*/ 1 h 4"/>
                <a:gd name="T36" fmla="*/ 5 w 6"/>
                <a:gd name="T37" fmla="*/ 1 h 4"/>
                <a:gd name="T38" fmla="*/ 5 w 6"/>
                <a:gd name="T39" fmla="*/ 1 h 4"/>
                <a:gd name="T40" fmla="*/ 5 w 6"/>
                <a:gd name="T41" fmla="*/ 1 h 4"/>
                <a:gd name="T42" fmla="*/ 5 w 6"/>
                <a:gd name="T43" fmla="*/ 1 h 4"/>
                <a:gd name="T44" fmla="*/ 5 w 6"/>
                <a:gd name="T45" fmla="*/ 3 h 4"/>
                <a:gd name="T46" fmla="*/ 5 w 6"/>
                <a:gd name="T47" fmla="*/ 3 h 4"/>
                <a:gd name="T48" fmla="*/ 5 w 6"/>
                <a:gd name="T49" fmla="*/ 3 h 4"/>
                <a:gd name="T50" fmla="*/ 6 w 6"/>
                <a:gd name="T51" fmla="*/ 3 h 4"/>
                <a:gd name="T52" fmla="*/ 6 w 6"/>
                <a:gd name="T53" fmla="*/ 3 h 4"/>
                <a:gd name="T54" fmla="*/ 4 w 6"/>
                <a:gd name="T55" fmla="*/ 3 h 4"/>
                <a:gd name="T56" fmla="*/ 3 w 6"/>
                <a:gd name="T57" fmla="*/ 4 h 4"/>
                <a:gd name="T58" fmla="*/ 3 w 6"/>
                <a:gd name="T59" fmla="*/ 4 h 4"/>
                <a:gd name="T60" fmla="*/ 1 w 6"/>
                <a:gd name="T61" fmla="*/ 4 h 4"/>
                <a:gd name="T62" fmla="*/ 1 w 6"/>
                <a:gd name="T63" fmla="*/ 4 h 4"/>
                <a:gd name="T64" fmla="*/ 1 w 6"/>
                <a:gd name="T65" fmla="*/ 3 h 4"/>
                <a:gd name="T66" fmla="*/ 1 w 6"/>
                <a:gd name="T67" fmla="*/ 3 h 4"/>
                <a:gd name="T68" fmla="*/ 1 w 6"/>
                <a:gd name="T69" fmla="*/ 3 h 4"/>
                <a:gd name="T70" fmla="*/ 1 w 6"/>
                <a:gd name="T71" fmla="*/ 1 h 4"/>
                <a:gd name="T72" fmla="*/ 1 w 6"/>
                <a:gd name="T73" fmla="*/ 1 h 4"/>
                <a:gd name="T74" fmla="*/ 1 w 6"/>
                <a:gd name="T75" fmla="*/ 1 h 4"/>
                <a:gd name="T76" fmla="*/ 1 w 6"/>
                <a:gd name="T77" fmla="*/ 1 h 4"/>
                <a:gd name="T78" fmla="*/ 1 w 6"/>
                <a:gd name="T79" fmla="*/ 1 h 4"/>
                <a:gd name="T80" fmla="*/ 1 w 6"/>
                <a:gd name="T81" fmla="*/ 1 h 4"/>
                <a:gd name="T82" fmla="*/ 1 w 6"/>
                <a:gd name="T83" fmla="*/ 1 h 4"/>
                <a:gd name="T84" fmla="*/ 1 w 6"/>
                <a:gd name="T85" fmla="*/ 1 h 4"/>
                <a:gd name="T86" fmla="*/ 1 w 6"/>
                <a:gd name="T87" fmla="*/ 1 h 4"/>
                <a:gd name="T88" fmla="*/ 0 w 6"/>
                <a:gd name="T89" fmla="*/ 1 h 4"/>
                <a:gd name="T90" fmla="*/ 0 w 6"/>
                <a:gd name="T91" fmla="*/ 0 h 4"/>
                <a:gd name="T92" fmla="*/ 0 w 6"/>
                <a:gd name="T93" fmla="*/ 0 h 4"/>
                <a:gd name="T94" fmla="*/ 0 w 6"/>
                <a:gd name="T95" fmla="*/ 0 h 4"/>
                <a:gd name="T96" fmla="*/ 0 w 6"/>
                <a:gd name="T97" fmla="*/ 0 h 4"/>
                <a:gd name="T98" fmla="*/ 1 w 6"/>
                <a:gd name="T99" fmla="*/ 0 h 4"/>
                <a:gd name="T100" fmla="*/ 1 w 6"/>
                <a:gd name="T101" fmla="*/ 0 h 4"/>
                <a:gd name="T102" fmla="*/ 1 w 6"/>
                <a:gd name="T103" fmla="*/ 0 h 4"/>
                <a:gd name="T104" fmla="*/ 1 w 6"/>
                <a:gd name="T105" fmla="*/ 0 h 4"/>
                <a:gd name="T106" fmla="*/ 1 w 6"/>
                <a:gd name="T10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 h="4">
                  <a:moveTo>
                    <a:pt x="1" y="0"/>
                  </a:moveTo>
                  <a:lnTo>
                    <a:pt x="1" y="0"/>
                  </a:lnTo>
                  <a:lnTo>
                    <a:pt x="1" y="0"/>
                  </a:lnTo>
                  <a:lnTo>
                    <a:pt x="1" y="0"/>
                  </a:lnTo>
                  <a:lnTo>
                    <a:pt x="1" y="0"/>
                  </a:lnTo>
                  <a:lnTo>
                    <a:pt x="3" y="0"/>
                  </a:lnTo>
                  <a:lnTo>
                    <a:pt x="3" y="0"/>
                  </a:lnTo>
                  <a:lnTo>
                    <a:pt x="1" y="0"/>
                  </a:lnTo>
                  <a:lnTo>
                    <a:pt x="3" y="1"/>
                  </a:lnTo>
                  <a:lnTo>
                    <a:pt x="3" y="1"/>
                  </a:lnTo>
                  <a:lnTo>
                    <a:pt x="3" y="1"/>
                  </a:lnTo>
                  <a:lnTo>
                    <a:pt x="3" y="0"/>
                  </a:lnTo>
                  <a:lnTo>
                    <a:pt x="3" y="0"/>
                  </a:lnTo>
                  <a:lnTo>
                    <a:pt x="4" y="0"/>
                  </a:lnTo>
                  <a:lnTo>
                    <a:pt x="4" y="1"/>
                  </a:lnTo>
                  <a:lnTo>
                    <a:pt x="4" y="1"/>
                  </a:lnTo>
                  <a:lnTo>
                    <a:pt x="4" y="1"/>
                  </a:lnTo>
                  <a:lnTo>
                    <a:pt x="5" y="1"/>
                  </a:lnTo>
                  <a:lnTo>
                    <a:pt x="5" y="1"/>
                  </a:lnTo>
                  <a:lnTo>
                    <a:pt x="5" y="1"/>
                  </a:lnTo>
                  <a:lnTo>
                    <a:pt x="5" y="1"/>
                  </a:lnTo>
                  <a:lnTo>
                    <a:pt x="5" y="1"/>
                  </a:lnTo>
                  <a:lnTo>
                    <a:pt x="5" y="3"/>
                  </a:lnTo>
                  <a:lnTo>
                    <a:pt x="5" y="3"/>
                  </a:lnTo>
                  <a:lnTo>
                    <a:pt x="5" y="3"/>
                  </a:lnTo>
                  <a:lnTo>
                    <a:pt x="6" y="3"/>
                  </a:lnTo>
                  <a:lnTo>
                    <a:pt x="6" y="3"/>
                  </a:lnTo>
                  <a:lnTo>
                    <a:pt x="4" y="3"/>
                  </a:lnTo>
                  <a:lnTo>
                    <a:pt x="3" y="4"/>
                  </a:lnTo>
                  <a:lnTo>
                    <a:pt x="3" y="4"/>
                  </a:lnTo>
                  <a:lnTo>
                    <a:pt x="1" y="4"/>
                  </a:lnTo>
                  <a:lnTo>
                    <a:pt x="1" y="4"/>
                  </a:lnTo>
                  <a:lnTo>
                    <a:pt x="1" y="3"/>
                  </a:lnTo>
                  <a:lnTo>
                    <a:pt x="1" y="3"/>
                  </a:lnTo>
                  <a:lnTo>
                    <a:pt x="1" y="3"/>
                  </a:lnTo>
                  <a:lnTo>
                    <a:pt x="1" y="1"/>
                  </a:lnTo>
                  <a:lnTo>
                    <a:pt x="1" y="1"/>
                  </a:lnTo>
                  <a:lnTo>
                    <a:pt x="1" y="1"/>
                  </a:lnTo>
                  <a:lnTo>
                    <a:pt x="1" y="1"/>
                  </a:lnTo>
                  <a:lnTo>
                    <a:pt x="1" y="1"/>
                  </a:lnTo>
                  <a:lnTo>
                    <a:pt x="1" y="1"/>
                  </a:lnTo>
                  <a:lnTo>
                    <a:pt x="1" y="1"/>
                  </a:lnTo>
                  <a:lnTo>
                    <a:pt x="1" y="1"/>
                  </a:lnTo>
                  <a:lnTo>
                    <a:pt x="1" y="1"/>
                  </a:lnTo>
                  <a:lnTo>
                    <a:pt x="0" y="1"/>
                  </a:lnTo>
                  <a:lnTo>
                    <a:pt x="0" y="0"/>
                  </a:lnTo>
                  <a:lnTo>
                    <a:pt x="0" y="0"/>
                  </a:lnTo>
                  <a:lnTo>
                    <a:pt x="0" y="0"/>
                  </a:lnTo>
                  <a:lnTo>
                    <a:pt x="0"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47" name="Freeform 902">
              <a:extLst>
                <a:ext uri="{FF2B5EF4-FFF2-40B4-BE49-F238E27FC236}">
                  <a16:creationId xmlns:a16="http://schemas.microsoft.com/office/drawing/2014/main" id="{FB9DFA5A-72BC-4EAD-BBBF-92FC5A3AF7E9}"/>
                </a:ext>
              </a:extLst>
            </p:cNvPr>
            <p:cNvSpPr>
              <a:spLocks noEditPoints="1"/>
            </p:cNvSpPr>
            <p:nvPr/>
          </p:nvSpPr>
          <p:spPr bwMode="auto">
            <a:xfrm>
              <a:off x="4158435" y="2979933"/>
              <a:ext cx="114852" cy="93484"/>
            </a:xfrm>
            <a:custGeom>
              <a:avLst/>
              <a:gdLst>
                <a:gd name="T0" fmla="*/ 22 w 86"/>
                <a:gd name="T1" fmla="*/ 64 h 70"/>
                <a:gd name="T2" fmla="*/ 52 w 86"/>
                <a:gd name="T3" fmla="*/ 23 h 70"/>
                <a:gd name="T4" fmla="*/ 58 w 86"/>
                <a:gd name="T5" fmla="*/ 24 h 70"/>
                <a:gd name="T6" fmla="*/ 64 w 86"/>
                <a:gd name="T7" fmla="*/ 23 h 70"/>
                <a:gd name="T8" fmla="*/ 68 w 86"/>
                <a:gd name="T9" fmla="*/ 26 h 70"/>
                <a:gd name="T10" fmla="*/ 73 w 86"/>
                <a:gd name="T11" fmla="*/ 27 h 70"/>
                <a:gd name="T12" fmla="*/ 79 w 86"/>
                <a:gd name="T13" fmla="*/ 33 h 70"/>
                <a:gd name="T14" fmla="*/ 74 w 86"/>
                <a:gd name="T15" fmla="*/ 29 h 70"/>
                <a:gd name="T16" fmla="*/ 73 w 86"/>
                <a:gd name="T17" fmla="*/ 30 h 70"/>
                <a:gd name="T18" fmla="*/ 75 w 86"/>
                <a:gd name="T19" fmla="*/ 34 h 70"/>
                <a:gd name="T20" fmla="*/ 75 w 86"/>
                <a:gd name="T21" fmla="*/ 33 h 70"/>
                <a:gd name="T22" fmla="*/ 78 w 86"/>
                <a:gd name="T23" fmla="*/ 34 h 70"/>
                <a:gd name="T24" fmla="*/ 81 w 86"/>
                <a:gd name="T25" fmla="*/ 35 h 70"/>
                <a:gd name="T26" fmla="*/ 81 w 86"/>
                <a:gd name="T27" fmla="*/ 35 h 70"/>
                <a:gd name="T28" fmla="*/ 79 w 86"/>
                <a:gd name="T29" fmla="*/ 33 h 70"/>
                <a:gd name="T30" fmla="*/ 85 w 86"/>
                <a:gd name="T31" fmla="*/ 37 h 70"/>
                <a:gd name="T32" fmla="*/ 81 w 86"/>
                <a:gd name="T33" fmla="*/ 38 h 70"/>
                <a:gd name="T34" fmla="*/ 78 w 86"/>
                <a:gd name="T35" fmla="*/ 40 h 70"/>
                <a:gd name="T36" fmla="*/ 75 w 86"/>
                <a:gd name="T37" fmla="*/ 42 h 70"/>
                <a:gd name="T38" fmla="*/ 72 w 86"/>
                <a:gd name="T39" fmla="*/ 43 h 70"/>
                <a:gd name="T40" fmla="*/ 68 w 86"/>
                <a:gd name="T41" fmla="*/ 44 h 70"/>
                <a:gd name="T42" fmla="*/ 64 w 86"/>
                <a:gd name="T43" fmla="*/ 42 h 70"/>
                <a:gd name="T44" fmla="*/ 59 w 86"/>
                <a:gd name="T45" fmla="*/ 43 h 70"/>
                <a:gd name="T46" fmla="*/ 58 w 86"/>
                <a:gd name="T47" fmla="*/ 47 h 70"/>
                <a:gd name="T48" fmla="*/ 56 w 86"/>
                <a:gd name="T49" fmla="*/ 50 h 70"/>
                <a:gd name="T50" fmla="*/ 52 w 86"/>
                <a:gd name="T51" fmla="*/ 54 h 70"/>
                <a:gd name="T52" fmla="*/ 49 w 86"/>
                <a:gd name="T53" fmla="*/ 57 h 70"/>
                <a:gd name="T54" fmla="*/ 44 w 86"/>
                <a:gd name="T55" fmla="*/ 54 h 70"/>
                <a:gd name="T56" fmla="*/ 39 w 86"/>
                <a:gd name="T57" fmla="*/ 58 h 70"/>
                <a:gd name="T58" fmla="*/ 34 w 86"/>
                <a:gd name="T59" fmla="*/ 59 h 70"/>
                <a:gd name="T60" fmla="*/ 34 w 86"/>
                <a:gd name="T61" fmla="*/ 65 h 70"/>
                <a:gd name="T62" fmla="*/ 29 w 86"/>
                <a:gd name="T63" fmla="*/ 70 h 70"/>
                <a:gd name="T64" fmla="*/ 24 w 86"/>
                <a:gd name="T65" fmla="*/ 68 h 70"/>
                <a:gd name="T66" fmla="*/ 25 w 86"/>
                <a:gd name="T67" fmla="*/ 64 h 70"/>
                <a:gd name="T68" fmla="*/ 22 w 86"/>
                <a:gd name="T69" fmla="*/ 63 h 70"/>
                <a:gd name="T70" fmla="*/ 21 w 86"/>
                <a:gd name="T71" fmla="*/ 62 h 70"/>
                <a:gd name="T72" fmla="*/ 21 w 86"/>
                <a:gd name="T73" fmla="*/ 57 h 70"/>
                <a:gd name="T74" fmla="*/ 17 w 86"/>
                <a:gd name="T75" fmla="*/ 56 h 70"/>
                <a:gd name="T76" fmla="*/ 14 w 86"/>
                <a:gd name="T77" fmla="*/ 55 h 70"/>
                <a:gd name="T78" fmla="*/ 9 w 86"/>
                <a:gd name="T79" fmla="*/ 54 h 70"/>
                <a:gd name="T80" fmla="*/ 4 w 86"/>
                <a:gd name="T81" fmla="*/ 51 h 70"/>
                <a:gd name="T82" fmla="*/ 2 w 86"/>
                <a:gd name="T83" fmla="*/ 49 h 70"/>
                <a:gd name="T84" fmla="*/ 1 w 86"/>
                <a:gd name="T85" fmla="*/ 45 h 70"/>
                <a:gd name="T86" fmla="*/ 2 w 86"/>
                <a:gd name="T87" fmla="*/ 41 h 70"/>
                <a:gd name="T88" fmla="*/ 6 w 86"/>
                <a:gd name="T89" fmla="*/ 36 h 70"/>
                <a:gd name="T90" fmla="*/ 14 w 86"/>
                <a:gd name="T91" fmla="*/ 30 h 70"/>
                <a:gd name="T92" fmla="*/ 18 w 86"/>
                <a:gd name="T93" fmla="*/ 27 h 70"/>
                <a:gd name="T94" fmla="*/ 22 w 86"/>
                <a:gd name="T95" fmla="*/ 26 h 70"/>
                <a:gd name="T96" fmla="*/ 24 w 86"/>
                <a:gd name="T97" fmla="*/ 23 h 70"/>
                <a:gd name="T98" fmla="*/ 27 w 86"/>
                <a:gd name="T99" fmla="*/ 24 h 70"/>
                <a:gd name="T100" fmla="*/ 32 w 86"/>
                <a:gd name="T101" fmla="*/ 26 h 70"/>
                <a:gd name="T102" fmla="*/ 38 w 86"/>
                <a:gd name="T103" fmla="*/ 26 h 70"/>
                <a:gd name="T104" fmla="*/ 49 w 86"/>
                <a:gd name="T105" fmla="*/ 23 h 70"/>
                <a:gd name="T106" fmla="*/ 52 w 86"/>
                <a:gd name="T107" fmla="*/ 22 h 70"/>
                <a:gd name="T108" fmla="*/ 36 w 86"/>
                <a:gd name="T109" fmla="*/ 21 h 70"/>
                <a:gd name="T110" fmla="*/ 43 w 86"/>
                <a:gd name="T111" fmla="*/ 16 h 70"/>
                <a:gd name="T112" fmla="*/ 42 w 86"/>
                <a:gd name="T113" fmla="*/ 16 h 70"/>
                <a:gd name="T114" fmla="*/ 46 w 86"/>
                <a:gd name="T115" fmla="*/ 16 h 70"/>
                <a:gd name="T116" fmla="*/ 52 w 86"/>
                <a:gd name="T117" fmla="*/ 1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6" h="70">
                  <a:moveTo>
                    <a:pt x="22" y="66"/>
                  </a:moveTo>
                  <a:lnTo>
                    <a:pt x="21" y="66"/>
                  </a:lnTo>
                  <a:lnTo>
                    <a:pt x="21" y="65"/>
                  </a:lnTo>
                  <a:lnTo>
                    <a:pt x="22" y="65"/>
                  </a:lnTo>
                  <a:lnTo>
                    <a:pt x="22" y="66"/>
                  </a:lnTo>
                  <a:close/>
                  <a:moveTo>
                    <a:pt x="22" y="64"/>
                  </a:moveTo>
                  <a:lnTo>
                    <a:pt x="23" y="64"/>
                  </a:lnTo>
                  <a:lnTo>
                    <a:pt x="22" y="64"/>
                  </a:lnTo>
                  <a:lnTo>
                    <a:pt x="23" y="65"/>
                  </a:lnTo>
                  <a:lnTo>
                    <a:pt x="22" y="65"/>
                  </a:lnTo>
                  <a:lnTo>
                    <a:pt x="22" y="64"/>
                  </a:lnTo>
                  <a:close/>
                  <a:moveTo>
                    <a:pt x="52" y="23"/>
                  </a:moveTo>
                  <a:lnTo>
                    <a:pt x="53" y="23"/>
                  </a:lnTo>
                  <a:lnTo>
                    <a:pt x="53" y="24"/>
                  </a:lnTo>
                  <a:lnTo>
                    <a:pt x="54" y="24"/>
                  </a:lnTo>
                  <a:lnTo>
                    <a:pt x="56" y="24"/>
                  </a:lnTo>
                  <a:lnTo>
                    <a:pt x="57" y="24"/>
                  </a:lnTo>
                  <a:lnTo>
                    <a:pt x="58" y="24"/>
                  </a:lnTo>
                  <a:lnTo>
                    <a:pt x="59" y="24"/>
                  </a:lnTo>
                  <a:lnTo>
                    <a:pt x="60" y="23"/>
                  </a:lnTo>
                  <a:lnTo>
                    <a:pt x="61" y="22"/>
                  </a:lnTo>
                  <a:lnTo>
                    <a:pt x="63" y="22"/>
                  </a:lnTo>
                  <a:lnTo>
                    <a:pt x="63" y="23"/>
                  </a:lnTo>
                  <a:lnTo>
                    <a:pt x="64" y="23"/>
                  </a:lnTo>
                  <a:lnTo>
                    <a:pt x="66" y="24"/>
                  </a:lnTo>
                  <a:lnTo>
                    <a:pt x="66" y="26"/>
                  </a:lnTo>
                  <a:lnTo>
                    <a:pt x="67" y="26"/>
                  </a:lnTo>
                  <a:lnTo>
                    <a:pt x="68" y="26"/>
                  </a:lnTo>
                  <a:lnTo>
                    <a:pt x="70" y="26"/>
                  </a:lnTo>
                  <a:lnTo>
                    <a:pt x="68" y="26"/>
                  </a:lnTo>
                  <a:lnTo>
                    <a:pt x="67" y="26"/>
                  </a:lnTo>
                  <a:lnTo>
                    <a:pt x="67" y="24"/>
                  </a:lnTo>
                  <a:lnTo>
                    <a:pt x="70" y="26"/>
                  </a:lnTo>
                  <a:lnTo>
                    <a:pt x="71" y="26"/>
                  </a:lnTo>
                  <a:lnTo>
                    <a:pt x="72" y="26"/>
                  </a:lnTo>
                  <a:lnTo>
                    <a:pt x="73" y="27"/>
                  </a:lnTo>
                  <a:lnTo>
                    <a:pt x="74" y="28"/>
                  </a:lnTo>
                  <a:lnTo>
                    <a:pt x="75" y="30"/>
                  </a:lnTo>
                  <a:lnTo>
                    <a:pt x="77" y="30"/>
                  </a:lnTo>
                  <a:lnTo>
                    <a:pt x="78" y="31"/>
                  </a:lnTo>
                  <a:lnTo>
                    <a:pt x="79" y="31"/>
                  </a:lnTo>
                  <a:lnTo>
                    <a:pt x="79" y="33"/>
                  </a:lnTo>
                  <a:lnTo>
                    <a:pt x="78" y="31"/>
                  </a:lnTo>
                  <a:lnTo>
                    <a:pt x="77" y="31"/>
                  </a:lnTo>
                  <a:lnTo>
                    <a:pt x="77" y="30"/>
                  </a:lnTo>
                  <a:lnTo>
                    <a:pt x="75" y="30"/>
                  </a:lnTo>
                  <a:lnTo>
                    <a:pt x="74" y="30"/>
                  </a:lnTo>
                  <a:lnTo>
                    <a:pt x="74" y="29"/>
                  </a:lnTo>
                  <a:lnTo>
                    <a:pt x="74" y="30"/>
                  </a:lnTo>
                  <a:lnTo>
                    <a:pt x="73" y="30"/>
                  </a:lnTo>
                  <a:lnTo>
                    <a:pt x="73" y="29"/>
                  </a:lnTo>
                  <a:lnTo>
                    <a:pt x="72" y="29"/>
                  </a:lnTo>
                  <a:lnTo>
                    <a:pt x="72" y="30"/>
                  </a:lnTo>
                  <a:lnTo>
                    <a:pt x="73" y="30"/>
                  </a:lnTo>
                  <a:lnTo>
                    <a:pt x="74" y="30"/>
                  </a:lnTo>
                  <a:lnTo>
                    <a:pt x="74" y="31"/>
                  </a:lnTo>
                  <a:lnTo>
                    <a:pt x="73" y="31"/>
                  </a:lnTo>
                  <a:lnTo>
                    <a:pt x="73" y="33"/>
                  </a:lnTo>
                  <a:lnTo>
                    <a:pt x="74" y="33"/>
                  </a:lnTo>
                  <a:lnTo>
                    <a:pt x="75" y="34"/>
                  </a:lnTo>
                  <a:lnTo>
                    <a:pt x="77" y="35"/>
                  </a:lnTo>
                  <a:lnTo>
                    <a:pt x="77" y="34"/>
                  </a:lnTo>
                  <a:lnTo>
                    <a:pt x="78" y="34"/>
                  </a:lnTo>
                  <a:lnTo>
                    <a:pt x="77" y="34"/>
                  </a:lnTo>
                  <a:lnTo>
                    <a:pt x="77" y="33"/>
                  </a:lnTo>
                  <a:lnTo>
                    <a:pt x="75" y="33"/>
                  </a:lnTo>
                  <a:lnTo>
                    <a:pt x="74" y="33"/>
                  </a:lnTo>
                  <a:lnTo>
                    <a:pt x="74" y="31"/>
                  </a:lnTo>
                  <a:lnTo>
                    <a:pt x="75" y="31"/>
                  </a:lnTo>
                  <a:lnTo>
                    <a:pt x="77" y="33"/>
                  </a:lnTo>
                  <a:lnTo>
                    <a:pt x="78" y="33"/>
                  </a:lnTo>
                  <a:lnTo>
                    <a:pt x="78" y="34"/>
                  </a:lnTo>
                  <a:lnTo>
                    <a:pt x="78" y="35"/>
                  </a:lnTo>
                  <a:lnTo>
                    <a:pt x="79" y="35"/>
                  </a:lnTo>
                  <a:lnTo>
                    <a:pt x="79" y="34"/>
                  </a:lnTo>
                  <a:lnTo>
                    <a:pt x="80" y="34"/>
                  </a:lnTo>
                  <a:lnTo>
                    <a:pt x="81" y="34"/>
                  </a:lnTo>
                  <a:lnTo>
                    <a:pt x="81" y="35"/>
                  </a:lnTo>
                  <a:lnTo>
                    <a:pt x="80" y="35"/>
                  </a:lnTo>
                  <a:lnTo>
                    <a:pt x="80" y="36"/>
                  </a:lnTo>
                  <a:lnTo>
                    <a:pt x="81" y="36"/>
                  </a:lnTo>
                  <a:lnTo>
                    <a:pt x="81" y="35"/>
                  </a:lnTo>
                  <a:lnTo>
                    <a:pt x="82" y="35"/>
                  </a:lnTo>
                  <a:lnTo>
                    <a:pt x="81" y="35"/>
                  </a:lnTo>
                  <a:lnTo>
                    <a:pt x="81" y="34"/>
                  </a:lnTo>
                  <a:lnTo>
                    <a:pt x="80" y="34"/>
                  </a:lnTo>
                  <a:lnTo>
                    <a:pt x="80" y="33"/>
                  </a:lnTo>
                  <a:lnTo>
                    <a:pt x="79" y="33"/>
                  </a:lnTo>
                  <a:lnTo>
                    <a:pt x="79" y="31"/>
                  </a:lnTo>
                  <a:lnTo>
                    <a:pt x="79" y="33"/>
                  </a:lnTo>
                  <a:lnTo>
                    <a:pt x="80" y="33"/>
                  </a:lnTo>
                  <a:lnTo>
                    <a:pt x="81" y="34"/>
                  </a:lnTo>
                  <a:lnTo>
                    <a:pt x="82" y="34"/>
                  </a:lnTo>
                  <a:lnTo>
                    <a:pt x="84" y="35"/>
                  </a:lnTo>
                  <a:lnTo>
                    <a:pt x="84" y="36"/>
                  </a:lnTo>
                  <a:lnTo>
                    <a:pt x="85" y="37"/>
                  </a:lnTo>
                  <a:lnTo>
                    <a:pt x="86" y="38"/>
                  </a:lnTo>
                  <a:lnTo>
                    <a:pt x="85" y="38"/>
                  </a:lnTo>
                  <a:lnTo>
                    <a:pt x="84" y="38"/>
                  </a:lnTo>
                  <a:lnTo>
                    <a:pt x="82" y="37"/>
                  </a:lnTo>
                  <a:lnTo>
                    <a:pt x="82" y="38"/>
                  </a:lnTo>
                  <a:lnTo>
                    <a:pt x="81" y="38"/>
                  </a:lnTo>
                  <a:lnTo>
                    <a:pt x="81" y="40"/>
                  </a:lnTo>
                  <a:lnTo>
                    <a:pt x="80" y="38"/>
                  </a:lnTo>
                  <a:lnTo>
                    <a:pt x="80" y="40"/>
                  </a:lnTo>
                  <a:lnTo>
                    <a:pt x="79" y="41"/>
                  </a:lnTo>
                  <a:lnTo>
                    <a:pt x="79" y="40"/>
                  </a:lnTo>
                  <a:lnTo>
                    <a:pt x="78" y="40"/>
                  </a:lnTo>
                  <a:lnTo>
                    <a:pt x="78" y="41"/>
                  </a:lnTo>
                  <a:lnTo>
                    <a:pt x="77" y="41"/>
                  </a:lnTo>
                  <a:lnTo>
                    <a:pt x="77" y="42"/>
                  </a:lnTo>
                  <a:lnTo>
                    <a:pt x="75" y="42"/>
                  </a:lnTo>
                  <a:lnTo>
                    <a:pt x="75" y="41"/>
                  </a:lnTo>
                  <a:lnTo>
                    <a:pt x="75" y="42"/>
                  </a:lnTo>
                  <a:lnTo>
                    <a:pt x="74" y="42"/>
                  </a:lnTo>
                  <a:lnTo>
                    <a:pt x="73" y="42"/>
                  </a:lnTo>
                  <a:lnTo>
                    <a:pt x="72" y="42"/>
                  </a:lnTo>
                  <a:lnTo>
                    <a:pt x="73" y="42"/>
                  </a:lnTo>
                  <a:lnTo>
                    <a:pt x="72" y="42"/>
                  </a:lnTo>
                  <a:lnTo>
                    <a:pt x="72" y="43"/>
                  </a:lnTo>
                  <a:lnTo>
                    <a:pt x="71" y="43"/>
                  </a:lnTo>
                  <a:lnTo>
                    <a:pt x="71" y="42"/>
                  </a:lnTo>
                  <a:lnTo>
                    <a:pt x="71" y="43"/>
                  </a:lnTo>
                  <a:lnTo>
                    <a:pt x="70" y="43"/>
                  </a:lnTo>
                  <a:lnTo>
                    <a:pt x="68" y="43"/>
                  </a:lnTo>
                  <a:lnTo>
                    <a:pt x="68" y="44"/>
                  </a:lnTo>
                  <a:lnTo>
                    <a:pt x="67" y="44"/>
                  </a:lnTo>
                  <a:lnTo>
                    <a:pt x="66" y="44"/>
                  </a:lnTo>
                  <a:lnTo>
                    <a:pt x="66" y="43"/>
                  </a:lnTo>
                  <a:lnTo>
                    <a:pt x="65" y="43"/>
                  </a:lnTo>
                  <a:lnTo>
                    <a:pt x="64" y="43"/>
                  </a:lnTo>
                  <a:lnTo>
                    <a:pt x="64" y="42"/>
                  </a:lnTo>
                  <a:lnTo>
                    <a:pt x="64" y="41"/>
                  </a:lnTo>
                  <a:lnTo>
                    <a:pt x="63" y="41"/>
                  </a:lnTo>
                  <a:lnTo>
                    <a:pt x="61" y="41"/>
                  </a:lnTo>
                  <a:lnTo>
                    <a:pt x="60" y="42"/>
                  </a:lnTo>
                  <a:lnTo>
                    <a:pt x="60" y="43"/>
                  </a:lnTo>
                  <a:lnTo>
                    <a:pt x="59" y="43"/>
                  </a:lnTo>
                  <a:lnTo>
                    <a:pt x="59" y="44"/>
                  </a:lnTo>
                  <a:lnTo>
                    <a:pt x="60" y="44"/>
                  </a:lnTo>
                  <a:lnTo>
                    <a:pt x="59" y="44"/>
                  </a:lnTo>
                  <a:lnTo>
                    <a:pt x="59" y="45"/>
                  </a:lnTo>
                  <a:lnTo>
                    <a:pt x="58" y="45"/>
                  </a:lnTo>
                  <a:lnTo>
                    <a:pt x="58" y="47"/>
                  </a:lnTo>
                  <a:lnTo>
                    <a:pt x="57" y="47"/>
                  </a:lnTo>
                  <a:lnTo>
                    <a:pt x="57" y="48"/>
                  </a:lnTo>
                  <a:lnTo>
                    <a:pt x="58" y="49"/>
                  </a:lnTo>
                  <a:lnTo>
                    <a:pt x="57" y="49"/>
                  </a:lnTo>
                  <a:lnTo>
                    <a:pt x="56" y="49"/>
                  </a:lnTo>
                  <a:lnTo>
                    <a:pt x="56" y="50"/>
                  </a:lnTo>
                  <a:lnTo>
                    <a:pt x="54" y="50"/>
                  </a:lnTo>
                  <a:lnTo>
                    <a:pt x="54" y="51"/>
                  </a:lnTo>
                  <a:lnTo>
                    <a:pt x="53" y="51"/>
                  </a:lnTo>
                  <a:lnTo>
                    <a:pt x="53" y="52"/>
                  </a:lnTo>
                  <a:lnTo>
                    <a:pt x="52" y="52"/>
                  </a:lnTo>
                  <a:lnTo>
                    <a:pt x="52" y="54"/>
                  </a:lnTo>
                  <a:lnTo>
                    <a:pt x="51" y="54"/>
                  </a:lnTo>
                  <a:lnTo>
                    <a:pt x="50" y="54"/>
                  </a:lnTo>
                  <a:lnTo>
                    <a:pt x="50" y="55"/>
                  </a:lnTo>
                  <a:lnTo>
                    <a:pt x="49" y="55"/>
                  </a:lnTo>
                  <a:lnTo>
                    <a:pt x="49" y="56"/>
                  </a:lnTo>
                  <a:lnTo>
                    <a:pt x="49" y="57"/>
                  </a:lnTo>
                  <a:lnTo>
                    <a:pt x="47" y="57"/>
                  </a:lnTo>
                  <a:lnTo>
                    <a:pt x="47" y="56"/>
                  </a:lnTo>
                  <a:lnTo>
                    <a:pt x="46" y="56"/>
                  </a:lnTo>
                  <a:lnTo>
                    <a:pt x="46" y="55"/>
                  </a:lnTo>
                  <a:lnTo>
                    <a:pt x="45" y="54"/>
                  </a:lnTo>
                  <a:lnTo>
                    <a:pt x="44" y="54"/>
                  </a:lnTo>
                  <a:lnTo>
                    <a:pt x="43" y="54"/>
                  </a:lnTo>
                  <a:lnTo>
                    <a:pt x="43" y="55"/>
                  </a:lnTo>
                  <a:lnTo>
                    <a:pt x="42" y="56"/>
                  </a:lnTo>
                  <a:lnTo>
                    <a:pt x="41" y="57"/>
                  </a:lnTo>
                  <a:lnTo>
                    <a:pt x="41" y="58"/>
                  </a:lnTo>
                  <a:lnTo>
                    <a:pt x="39" y="58"/>
                  </a:lnTo>
                  <a:lnTo>
                    <a:pt x="38" y="57"/>
                  </a:lnTo>
                  <a:lnTo>
                    <a:pt x="38" y="58"/>
                  </a:lnTo>
                  <a:lnTo>
                    <a:pt x="37" y="57"/>
                  </a:lnTo>
                  <a:lnTo>
                    <a:pt x="36" y="58"/>
                  </a:lnTo>
                  <a:lnTo>
                    <a:pt x="35" y="58"/>
                  </a:lnTo>
                  <a:lnTo>
                    <a:pt x="34" y="59"/>
                  </a:lnTo>
                  <a:lnTo>
                    <a:pt x="35" y="59"/>
                  </a:lnTo>
                  <a:lnTo>
                    <a:pt x="35" y="61"/>
                  </a:lnTo>
                  <a:lnTo>
                    <a:pt x="35" y="63"/>
                  </a:lnTo>
                  <a:lnTo>
                    <a:pt x="35" y="64"/>
                  </a:lnTo>
                  <a:lnTo>
                    <a:pt x="35" y="65"/>
                  </a:lnTo>
                  <a:lnTo>
                    <a:pt x="34" y="65"/>
                  </a:lnTo>
                  <a:lnTo>
                    <a:pt x="32" y="65"/>
                  </a:lnTo>
                  <a:lnTo>
                    <a:pt x="31" y="66"/>
                  </a:lnTo>
                  <a:lnTo>
                    <a:pt x="31" y="68"/>
                  </a:lnTo>
                  <a:lnTo>
                    <a:pt x="31" y="69"/>
                  </a:lnTo>
                  <a:lnTo>
                    <a:pt x="30" y="70"/>
                  </a:lnTo>
                  <a:lnTo>
                    <a:pt x="29" y="70"/>
                  </a:lnTo>
                  <a:lnTo>
                    <a:pt x="25" y="70"/>
                  </a:lnTo>
                  <a:lnTo>
                    <a:pt x="27" y="70"/>
                  </a:lnTo>
                  <a:lnTo>
                    <a:pt x="25" y="70"/>
                  </a:lnTo>
                  <a:lnTo>
                    <a:pt x="25" y="69"/>
                  </a:lnTo>
                  <a:lnTo>
                    <a:pt x="25" y="68"/>
                  </a:lnTo>
                  <a:lnTo>
                    <a:pt x="24" y="68"/>
                  </a:lnTo>
                  <a:lnTo>
                    <a:pt x="24" y="66"/>
                  </a:lnTo>
                  <a:lnTo>
                    <a:pt x="24" y="65"/>
                  </a:lnTo>
                  <a:lnTo>
                    <a:pt x="23" y="65"/>
                  </a:lnTo>
                  <a:lnTo>
                    <a:pt x="24" y="65"/>
                  </a:lnTo>
                  <a:lnTo>
                    <a:pt x="24" y="64"/>
                  </a:lnTo>
                  <a:lnTo>
                    <a:pt x="25" y="64"/>
                  </a:lnTo>
                  <a:lnTo>
                    <a:pt x="25" y="63"/>
                  </a:lnTo>
                  <a:lnTo>
                    <a:pt x="24" y="63"/>
                  </a:lnTo>
                  <a:lnTo>
                    <a:pt x="24" y="64"/>
                  </a:lnTo>
                  <a:lnTo>
                    <a:pt x="23" y="64"/>
                  </a:lnTo>
                  <a:lnTo>
                    <a:pt x="22" y="64"/>
                  </a:lnTo>
                  <a:lnTo>
                    <a:pt x="22" y="63"/>
                  </a:lnTo>
                  <a:lnTo>
                    <a:pt x="22" y="64"/>
                  </a:lnTo>
                  <a:lnTo>
                    <a:pt x="21" y="64"/>
                  </a:lnTo>
                  <a:lnTo>
                    <a:pt x="20" y="64"/>
                  </a:lnTo>
                  <a:lnTo>
                    <a:pt x="20" y="63"/>
                  </a:lnTo>
                  <a:lnTo>
                    <a:pt x="21" y="63"/>
                  </a:lnTo>
                  <a:lnTo>
                    <a:pt x="21" y="62"/>
                  </a:lnTo>
                  <a:lnTo>
                    <a:pt x="20" y="62"/>
                  </a:lnTo>
                  <a:lnTo>
                    <a:pt x="20" y="61"/>
                  </a:lnTo>
                  <a:lnTo>
                    <a:pt x="21" y="61"/>
                  </a:lnTo>
                  <a:lnTo>
                    <a:pt x="21" y="59"/>
                  </a:lnTo>
                  <a:lnTo>
                    <a:pt x="21" y="58"/>
                  </a:lnTo>
                  <a:lnTo>
                    <a:pt x="21" y="57"/>
                  </a:lnTo>
                  <a:lnTo>
                    <a:pt x="22" y="57"/>
                  </a:lnTo>
                  <a:lnTo>
                    <a:pt x="21" y="57"/>
                  </a:lnTo>
                  <a:lnTo>
                    <a:pt x="21" y="56"/>
                  </a:lnTo>
                  <a:lnTo>
                    <a:pt x="20" y="56"/>
                  </a:lnTo>
                  <a:lnTo>
                    <a:pt x="18" y="56"/>
                  </a:lnTo>
                  <a:lnTo>
                    <a:pt x="17" y="56"/>
                  </a:lnTo>
                  <a:lnTo>
                    <a:pt x="17" y="55"/>
                  </a:lnTo>
                  <a:lnTo>
                    <a:pt x="16" y="55"/>
                  </a:lnTo>
                  <a:lnTo>
                    <a:pt x="15" y="55"/>
                  </a:lnTo>
                  <a:lnTo>
                    <a:pt x="14" y="55"/>
                  </a:lnTo>
                  <a:lnTo>
                    <a:pt x="15" y="55"/>
                  </a:lnTo>
                  <a:lnTo>
                    <a:pt x="14" y="55"/>
                  </a:lnTo>
                  <a:lnTo>
                    <a:pt x="14" y="56"/>
                  </a:lnTo>
                  <a:lnTo>
                    <a:pt x="13" y="56"/>
                  </a:lnTo>
                  <a:lnTo>
                    <a:pt x="11" y="56"/>
                  </a:lnTo>
                  <a:lnTo>
                    <a:pt x="10" y="56"/>
                  </a:lnTo>
                  <a:lnTo>
                    <a:pt x="10" y="55"/>
                  </a:lnTo>
                  <a:lnTo>
                    <a:pt x="9" y="54"/>
                  </a:lnTo>
                  <a:lnTo>
                    <a:pt x="8" y="54"/>
                  </a:lnTo>
                  <a:lnTo>
                    <a:pt x="8" y="52"/>
                  </a:lnTo>
                  <a:lnTo>
                    <a:pt x="7" y="52"/>
                  </a:lnTo>
                  <a:lnTo>
                    <a:pt x="6" y="52"/>
                  </a:lnTo>
                  <a:lnTo>
                    <a:pt x="6" y="51"/>
                  </a:lnTo>
                  <a:lnTo>
                    <a:pt x="4" y="51"/>
                  </a:lnTo>
                  <a:lnTo>
                    <a:pt x="4" y="50"/>
                  </a:lnTo>
                  <a:lnTo>
                    <a:pt x="4" y="49"/>
                  </a:lnTo>
                  <a:lnTo>
                    <a:pt x="3" y="49"/>
                  </a:lnTo>
                  <a:lnTo>
                    <a:pt x="3" y="48"/>
                  </a:lnTo>
                  <a:lnTo>
                    <a:pt x="2" y="48"/>
                  </a:lnTo>
                  <a:lnTo>
                    <a:pt x="2" y="49"/>
                  </a:lnTo>
                  <a:lnTo>
                    <a:pt x="2" y="48"/>
                  </a:lnTo>
                  <a:lnTo>
                    <a:pt x="1" y="48"/>
                  </a:lnTo>
                  <a:lnTo>
                    <a:pt x="0" y="48"/>
                  </a:lnTo>
                  <a:lnTo>
                    <a:pt x="0" y="47"/>
                  </a:lnTo>
                  <a:lnTo>
                    <a:pt x="0" y="45"/>
                  </a:lnTo>
                  <a:lnTo>
                    <a:pt x="1" y="45"/>
                  </a:lnTo>
                  <a:lnTo>
                    <a:pt x="2" y="45"/>
                  </a:lnTo>
                  <a:lnTo>
                    <a:pt x="2" y="44"/>
                  </a:lnTo>
                  <a:lnTo>
                    <a:pt x="2" y="43"/>
                  </a:lnTo>
                  <a:lnTo>
                    <a:pt x="3" y="43"/>
                  </a:lnTo>
                  <a:lnTo>
                    <a:pt x="2" y="42"/>
                  </a:lnTo>
                  <a:lnTo>
                    <a:pt x="2" y="41"/>
                  </a:lnTo>
                  <a:lnTo>
                    <a:pt x="2" y="40"/>
                  </a:lnTo>
                  <a:lnTo>
                    <a:pt x="3" y="40"/>
                  </a:lnTo>
                  <a:lnTo>
                    <a:pt x="3" y="38"/>
                  </a:lnTo>
                  <a:lnTo>
                    <a:pt x="3" y="37"/>
                  </a:lnTo>
                  <a:lnTo>
                    <a:pt x="4" y="37"/>
                  </a:lnTo>
                  <a:lnTo>
                    <a:pt x="6" y="36"/>
                  </a:lnTo>
                  <a:lnTo>
                    <a:pt x="8" y="35"/>
                  </a:lnTo>
                  <a:lnTo>
                    <a:pt x="9" y="34"/>
                  </a:lnTo>
                  <a:lnTo>
                    <a:pt x="10" y="33"/>
                  </a:lnTo>
                  <a:lnTo>
                    <a:pt x="11" y="31"/>
                  </a:lnTo>
                  <a:lnTo>
                    <a:pt x="13" y="30"/>
                  </a:lnTo>
                  <a:lnTo>
                    <a:pt x="14" y="30"/>
                  </a:lnTo>
                  <a:lnTo>
                    <a:pt x="15" y="29"/>
                  </a:lnTo>
                  <a:lnTo>
                    <a:pt x="15" y="28"/>
                  </a:lnTo>
                  <a:lnTo>
                    <a:pt x="16" y="28"/>
                  </a:lnTo>
                  <a:lnTo>
                    <a:pt x="16" y="27"/>
                  </a:lnTo>
                  <a:lnTo>
                    <a:pt x="17" y="27"/>
                  </a:lnTo>
                  <a:lnTo>
                    <a:pt x="18" y="27"/>
                  </a:lnTo>
                  <a:lnTo>
                    <a:pt x="18" y="28"/>
                  </a:lnTo>
                  <a:lnTo>
                    <a:pt x="18" y="27"/>
                  </a:lnTo>
                  <a:lnTo>
                    <a:pt x="20" y="27"/>
                  </a:lnTo>
                  <a:lnTo>
                    <a:pt x="20" y="26"/>
                  </a:lnTo>
                  <a:lnTo>
                    <a:pt x="21" y="26"/>
                  </a:lnTo>
                  <a:lnTo>
                    <a:pt x="22" y="26"/>
                  </a:lnTo>
                  <a:lnTo>
                    <a:pt x="22" y="24"/>
                  </a:lnTo>
                  <a:lnTo>
                    <a:pt x="21" y="24"/>
                  </a:lnTo>
                  <a:lnTo>
                    <a:pt x="22" y="24"/>
                  </a:lnTo>
                  <a:lnTo>
                    <a:pt x="23" y="24"/>
                  </a:lnTo>
                  <a:lnTo>
                    <a:pt x="24" y="24"/>
                  </a:lnTo>
                  <a:lnTo>
                    <a:pt x="24" y="23"/>
                  </a:lnTo>
                  <a:lnTo>
                    <a:pt x="25" y="23"/>
                  </a:lnTo>
                  <a:lnTo>
                    <a:pt x="25" y="24"/>
                  </a:lnTo>
                  <a:lnTo>
                    <a:pt x="25" y="23"/>
                  </a:lnTo>
                  <a:lnTo>
                    <a:pt x="27" y="23"/>
                  </a:lnTo>
                  <a:lnTo>
                    <a:pt x="25" y="24"/>
                  </a:lnTo>
                  <a:lnTo>
                    <a:pt x="27" y="24"/>
                  </a:lnTo>
                  <a:lnTo>
                    <a:pt x="28" y="26"/>
                  </a:lnTo>
                  <a:lnTo>
                    <a:pt x="29" y="26"/>
                  </a:lnTo>
                  <a:lnTo>
                    <a:pt x="29" y="24"/>
                  </a:lnTo>
                  <a:lnTo>
                    <a:pt x="30" y="24"/>
                  </a:lnTo>
                  <a:lnTo>
                    <a:pt x="31" y="26"/>
                  </a:lnTo>
                  <a:lnTo>
                    <a:pt x="32" y="26"/>
                  </a:lnTo>
                  <a:lnTo>
                    <a:pt x="34" y="26"/>
                  </a:lnTo>
                  <a:lnTo>
                    <a:pt x="35" y="26"/>
                  </a:lnTo>
                  <a:lnTo>
                    <a:pt x="36" y="27"/>
                  </a:lnTo>
                  <a:lnTo>
                    <a:pt x="36" y="26"/>
                  </a:lnTo>
                  <a:lnTo>
                    <a:pt x="37" y="26"/>
                  </a:lnTo>
                  <a:lnTo>
                    <a:pt x="38" y="26"/>
                  </a:lnTo>
                  <a:lnTo>
                    <a:pt x="42" y="26"/>
                  </a:lnTo>
                  <a:lnTo>
                    <a:pt x="43" y="26"/>
                  </a:lnTo>
                  <a:lnTo>
                    <a:pt x="45" y="24"/>
                  </a:lnTo>
                  <a:lnTo>
                    <a:pt x="46" y="24"/>
                  </a:lnTo>
                  <a:lnTo>
                    <a:pt x="49" y="24"/>
                  </a:lnTo>
                  <a:lnTo>
                    <a:pt x="49" y="23"/>
                  </a:lnTo>
                  <a:lnTo>
                    <a:pt x="50" y="23"/>
                  </a:lnTo>
                  <a:lnTo>
                    <a:pt x="50" y="22"/>
                  </a:lnTo>
                  <a:lnTo>
                    <a:pt x="49" y="22"/>
                  </a:lnTo>
                  <a:lnTo>
                    <a:pt x="50" y="22"/>
                  </a:lnTo>
                  <a:lnTo>
                    <a:pt x="51" y="22"/>
                  </a:lnTo>
                  <a:lnTo>
                    <a:pt x="52" y="22"/>
                  </a:lnTo>
                  <a:lnTo>
                    <a:pt x="52" y="23"/>
                  </a:lnTo>
                  <a:close/>
                  <a:moveTo>
                    <a:pt x="36" y="21"/>
                  </a:moveTo>
                  <a:lnTo>
                    <a:pt x="37" y="21"/>
                  </a:lnTo>
                  <a:lnTo>
                    <a:pt x="36" y="21"/>
                  </a:lnTo>
                  <a:lnTo>
                    <a:pt x="35" y="21"/>
                  </a:lnTo>
                  <a:lnTo>
                    <a:pt x="36" y="21"/>
                  </a:lnTo>
                  <a:lnTo>
                    <a:pt x="37" y="21"/>
                  </a:lnTo>
                  <a:lnTo>
                    <a:pt x="36" y="21"/>
                  </a:lnTo>
                  <a:close/>
                  <a:moveTo>
                    <a:pt x="46" y="16"/>
                  </a:moveTo>
                  <a:lnTo>
                    <a:pt x="45" y="16"/>
                  </a:lnTo>
                  <a:lnTo>
                    <a:pt x="44" y="16"/>
                  </a:lnTo>
                  <a:lnTo>
                    <a:pt x="43" y="16"/>
                  </a:lnTo>
                  <a:lnTo>
                    <a:pt x="42" y="17"/>
                  </a:lnTo>
                  <a:lnTo>
                    <a:pt x="41" y="17"/>
                  </a:lnTo>
                  <a:lnTo>
                    <a:pt x="41" y="19"/>
                  </a:lnTo>
                  <a:lnTo>
                    <a:pt x="41" y="17"/>
                  </a:lnTo>
                  <a:lnTo>
                    <a:pt x="42" y="17"/>
                  </a:lnTo>
                  <a:lnTo>
                    <a:pt x="42" y="16"/>
                  </a:lnTo>
                  <a:lnTo>
                    <a:pt x="43" y="16"/>
                  </a:lnTo>
                  <a:lnTo>
                    <a:pt x="44" y="16"/>
                  </a:lnTo>
                  <a:lnTo>
                    <a:pt x="44" y="15"/>
                  </a:lnTo>
                  <a:lnTo>
                    <a:pt x="45" y="15"/>
                  </a:lnTo>
                  <a:lnTo>
                    <a:pt x="46" y="15"/>
                  </a:lnTo>
                  <a:lnTo>
                    <a:pt x="46" y="16"/>
                  </a:lnTo>
                  <a:close/>
                  <a:moveTo>
                    <a:pt x="51" y="15"/>
                  </a:moveTo>
                  <a:lnTo>
                    <a:pt x="50" y="16"/>
                  </a:lnTo>
                  <a:lnTo>
                    <a:pt x="50" y="15"/>
                  </a:lnTo>
                  <a:lnTo>
                    <a:pt x="51" y="15"/>
                  </a:lnTo>
                  <a:lnTo>
                    <a:pt x="51" y="14"/>
                  </a:lnTo>
                  <a:lnTo>
                    <a:pt x="52" y="14"/>
                  </a:lnTo>
                  <a:lnTo>
                    <a:pt x="52" y="15"/>
                  </a:lnTo>
                  <a:lnTo>
                    <a:pt x="51" y="15"/>
                  </a:lnTo>
                  <a:close/>
                  <a:moveTo>
                    <a:pt x="80" y="0"/>
                  </a:moveTo>
                  <a:lnTo>
                    <a:pt x="79" y="0"/>
                  </a:lnTo>
                  <a:lnTo>
                    <a:pt x="8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48" name="Freeform 903">
              <a:extLst>
                <a:ext uri="{FF2B5EF4-FFF2-40B4-BE49-F238E27FC236}">
                  <a16:creationId xmlns:a16="http://schemas.microsoft.com/office/drawing/2014/main" id="{BF3D67F7-6045-47D4-9FF9-11A0C9580979}"/>
                </a:ext>
              </a:extLst>
            </p:cNvPr>
            <p:cNvSpPr>
              <a:spLocks noEditPoints="1"/>
            </p:cNvSpPr>
            <p:nvPr/>
          </p:nvSpPr>
          <p:spPr bwMode="auto">
            <a:xfrm>
              <a:off x="4438888" y="2923843"/>
              <a:ext cx="54755" cy="44072"/>
            </a:xfrm>
            <a:custGeom>
              <a:avLst/>
              <a:gdLst>
                <a:gd name="T0" fmla="*/ 12 w 41"/>
                <a:gd name="T1" fmla="*/ 31 h 33"/>
                <a:gd name="T2" fmla="*/ 11 w 41"/>
                <a:gd name="T3" fmla="*/ 22 h 33"/>
                <a:gd name="T4" fmla="*/ 24 w 41"/>
                <a:gd name="T5" fmla="*/ 22 h 33"/>
                <a:gd name="T6" fmla="*/ 20 w 41"/>
                <a:gd name="T7" fmla="*/ 20 h 33"/>
                <a:gd name="T8" fmla="*/ 18 w 41"/>
                <a:gd name="T9" fmla="*/ 17 h 33"/>
                <a:gd name="T10" fmla="*/ 24 w 41"/>
                <a:gd name="T11" fmla="*/ 20 h 33"/>
                <a:gd name="T12" fmla="*/ 27 w 41"/>
                <a:gd name="T13" fmla="*/ 2 h 33"/>
                <a:gd name="T14" fmla="*/ 31 w 41"/>
                <a:gd name="T15" fmla="*/ 3 h 33"/>
                <a:gd name="T16" fmla="*/ 33 w 41"/>
                <a:gd name="T17" fmla="*/ 6 h 33"/>
                <a:gd name="T18" fmla="*/ 35 w 41"/>
                <a:gd name="T19" fmla="*/ 6 h 33"/>
                <a:gd name="T20" fmla="*/ 38 w 41"/>
                <a:gd name="T21" fmla="*/ 6 h 33"/>
                <a:gd name="T22" fmla="*/ 41 w 41"/>
                <a:gd name="T23" fmla="*/ 6 h 33"/>
                <a:gd name="T24" fmla="*/ 41 w 41"/>
                <a:gd name="T25" fmla="*/ 10 h 33"/>
                <a:gd name="T26" fmla="*/ 41 w 41"/>
                <a:gd name="T27" fmla="*/ 15 h 33"/>
                <a:gd name="T28" fmla="*/ 38 w 41"/>
                <a:gd name="T29" fmla="*/ 17 h 33"/>
                <a:gd name="T30" fmla="*/ 40 w 41"/>
                <a:gd name="T31" fmla="*/ 20 h 33"/>
                <a:gd name="T32" fmla="*/ 38 w 41"/>
                <a:gd name="T33" fmla="*/ 22 h 33"/>
                <a:gd name="T34" fmla="*/ 35 w 41"/>
                <a:gd name="T35" fmla="*/ 22 h 33"/>
                <a:gd name="T36" fmla="*/ 35 w 41"/>
                <a:gd name="T37" fmla="*/ 26 h 33"/>
                <a:gd name="T38" fmla="*/ 38 w 41"/>
                <a:gd name="T39" fmla="*/ 27 h 33"/>
                <a:gd name="T40" fmla="*/ 38 w 41"/>
                <a:gd name="T41" fmla="*/ 31 h 33"/>
                <a:gd name="T42" fmla="*/ 35 w 41"/>
                <a:gd name="T43" fmla="*/ 30 h 33"/>
                <a:gd name="T44" fmla="*/ 31 w 41"/>
                <a:gd name="T45" fmla="*/ 29 h 33"/>
                <a:gd name="T46" fmla="*/ 26 w 41"/>
                <a:gd name="T47" fmla="*/ 30 h 33"/>
                <a:gd name="T48" fmla="*/ 21 w 41"/>
                <a:gd name="T49" fmla="*/ 30 h 33"/>
                <a:gd name="T50" fmla="*/ 17 w 41"/>
                <a:gd name="T51" fmla="*/ 29 h 33"/>
                <a:gd name="T52" fmla="*/ 14 w 41"/>
                <a:gd name="T53" fmla="*/ 29 h 33"/>
                <a:gd name="T54" fmla="*/ 12 w 41"/>
                <a:gd name="T55" fmla="*/ 29 h 33"/>
                <a:gd name="T56" fmla="*/ 10 w 41"/>
                <a:gd name="T57" fmla="*/ 33 h 33"/>
                <a:gd name="T58" fmla="*/ 6 w 41"/>
                <a:gd name="T59" fmla="*/ 29 h 33"/>
                <a:gd name="T60" fmla="*/ 3 w 41"/>
                <a:gd name="T61" fmla="*/ 28 h 33"/>
                <a:gd name="T62" fmla="*/ 2 w 41"/>
                <a:gd name="T63" fmla="*/ 26 h 33"/>
                <a:gd name="T64" fmla="*/ 3 w 41"/>
                <a:gd name="T65" fmla="*/ 22 h 33"/>
                <a:gd name="T66" fmla="*/ 7 w 41"/>
                <a:gd name="T67" fmla="*/ 23 h 33"/>
                <a:gd name="T68" fmla="*/ 11 w 41"/>
                <a:gd name="T69" fmla="*/ 24 h 33"/>
                <a:gd name="T70" fmla="*/ 13 w 41"/>
                <a:gd name="T71" fmla="*/ 24 h 33"/>
                <a:gd name="T72" fmla="*/ 17 w 41"/>
                <a:gd name="T73" fmla="*/ 24 h 33"/>
                <a:gd name="T74" fmla="*/ 21 w 41"/>
                <a:gd name="T75" fmla="*/ 26 h 33"/>
                <a:gd name="T76" fmla="*/ 26 w 41"/>
                <a:gd name="T77" fmla="*/ 26 h 33"/>
                <a:gd name="T78" fmla="*/ 31 w 41"/>
                <a:gd name="T79" fmla="*/ 24 h 33"/>
                <a:gd name="T80" fmla="*/ 29 w 41"/>
                <a:gd name="T81" fmla="*/ 21 h 33"/>
                <a:gd name="T82" fmla="*/ 27 w 41"/>
                <a:gd name="T83" fmla="*/ 17 h 33"/>
                <a:gd name="T84" fmla="*/ 26 w 41"/>
                <a:gd name="T85" fmla="*/ 15 h 33"/>
                <a:gd name="T86" fmla="*/ 26 w 41"/>
                <a:gd name="T87" fmla="*/ 13 h 33"/>
                <a:gd name="T88" fmla="*/ 26 w 41"/>
                <a:gd name="T89" fmla="*/ 10 h 33"/>
                <a:gd name="T90" fmla="*/ 25 w 41"/>
                <a:gd name="T91" fmla="*/ 8 h 33"/>
                <a:gd name="T92" fmla="*/ 21 w 41"/>
                <a:gd name="T93" fmla="*/ 7 h 33"/>
                <a:gd name="T94" fmla="*/ 18 w 41"/>
                <a:gd name="T95" fmla="*/ 5 h 33"/>
                <a:gd name="T96" fmla="*/ 19 w 41"/>
                <a:gd name="T97" fmla="*/ 3 h 33"/>
                <a:gd name="T98" fmla="*/ 24 w 41"/>
                <a:gd name="T99" fmla="*/ 2 h 33"/>
                <a:gd name="T100" fmla="*/ 27 w 41"/>
                <a:gd name="T101" fmla="*/ 0 h 33"/>
                <a:gd name="T102" fmla="*/ 27 w 41"/>
                <a:gd name="T103" fmla="*/ 1 h 33"/>
                <a:gd name="T104" fmla="*/ 27 w 41"/>
                <a:gd name="T10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 h="33">
                  <a:moveTo>
                    <a:pt x="11" y="31"/>
                  </a:moveTo>
                  <a:lnTo>
                    <a:pt x="12" y="31"/>
                  </a:lnTo>
                  <a:lnTo>
                    <a:pt x="13" y="31"/>
                  </a:lnTo>
                  <a:lnTo>
                    <a:pt x="12" y="31"/>
                  </a:lnTo>
                  <a:lnTo>
                    <a:pt x="11" y="31"/>
                  </a:lnTo>
                  <a:close/>
                  <a:moveTo>
                    <a:pt x="12" y="23"/>
                  </a:moveTo>
                  <a:lnTo>
                    <a:pt x="11" y="23"/>
                  </a:lnTo>
                  <a:lnTo>
                    <a:pt x="11" y="22"/>
                  </a:lnTo>
                  <a:lnTo>
                    <a:pt x="12" y="22"/>
                  </a:lnTo>
                  <a:lnTo>
                    <a:pt x="12" y="23"/>
                  </a:lnTo>
                  <a:close/>
                  <a:moveTo>
                    <a:pt x="25" y="22"/>
                  </a:moveTo>
                  <a:lnTo>
                    <a:pt x="24" y="22"/>
                  </a:lnTo>
                  <a:lnTo>
                    <a:pt x="24" y="21"/>
                  </a:lnTo>
                  <a:lnTo>
                    <a:pt x="23" y="21"/>
                  </a:lnTo>
                  <a:lnTo>
                    <a:pt x="21" y="21"/>
                  </a:lnTo>
                  <a:lnTo>
                    <a:pt x="20" y="20"/>
                  </a:lnTo>
                  <a:lnTo>
                    <a:pt x="19" y="20"/>
                  </a:lnTo>
                  <a:lnTo>
                    <a:pt x="19" y="19"/>
                  </a:lnTo>
                  <a:lnTo>
                    <a:pt x="18" y="19"/>
                  </a:lnTo>
                  <a:lnTo>
                    <a:pt x="18" y="17"/>
                  </a:lnTo>
                  <a:lnTo>
                    <a:pt x="19" y="17"/>
                  </a:lnTo>
                  <a:lnTo>
                    <a:pt x="21" y="19"/>
                  </a:lnTo>
                  <a:lnTo>
                    <a:pt x="23" y="19"/>
                  </a:lnTo>
                  <a:lnTo>
                    <a:pt x="24" y="20"/>
                  </a:lnTo>
                  <a:lnTo>
                    <a:pt x="25" y="20"/>
                  </a:lnTo>
                  <a:lnTo>
                    <a:pt x="25" y="21"/>
                  </a:lnTo>
                  <a:lnTo>
                    <a:pt x="25" y="22"/>
                  </a:lnTo>
                  <a:close/>
                  <a:moveTo>
                    <a:pt x="27" y="2"/>
                  </a:moveTo>
                  <a:lnTo>
                    <a:pt x="28" y="2"/>
                  </a:lnTo>
                  <a:lnTo>
                    <a:pt x="29" y="2"/>
                  </a:lnTo>
                  <a:lnTo>
                    <a:pt x="29" y="3"/>
                  </a:lnTo>
                  <a:lnTo>
                    <a:pt x="31" y="3"/>
                  </a:lnTo>
                  <a:lnTo>
                    <a:pt x="32" y="3"/>
                  </a:lnTo>
                  <a:lnTo>
                    <a:pt x="32" y="5"/>
                  </a:lnTo>
                  <a:lnTo>
                    <a:pt x="33" y="5"/>
                  </a:lnTo>
                  <a:lnTo>
                    <a:pt x="33" y="6"/>
                  </a:lnTo>
                  <a:lnTo>
                    <a:pt x="33" y="5"/>
                  </a:lnTo>
                  <a:lnTo>
                    <a:pt x="34" y="5"/>
                  </a:lnTo>
                  <a:lnTo>
                    <a:pt x="35" y="5"/>
                  </a:lnTo>
                  <a:lnTo>
                    <a:pt x="35" y="6"/>
                  </a:lnTo>
                  <a:lnTo>
                    <a:pt x="35" y="5"/>
                  </a:lnTo>
                  <a:lnTo>
                    <a:pt x="35" y="6"/>
                  </a:lnTo>
                  <a:lnTo>
                    <a:pt x="36" y="6"/>
                  </a:lnTo>
                  <a:lnTo>
                    <a:pt x="38" y="6"/>
                  </a:lnTo>
                  <a:lnTo>
                    <a:pt x="39" y="6"/>
                  </a:lnTo>
                  <a:lnTo>
                    <a:pt x="40" y="7"/>
                  </a:lnTo>
                  <a:lnTo>
                    <a:pt x="40" y="6"/>
                  </a:lnTo>
                  <a:lnTo>
                    <a:pt x="41" y="6"/>
                  </a:lnTo>
                  <a:lnTo>
                    <a:pt x="41" y="7"/>
                  </a:lnTo>
                  <a:lnTo>
                    <a:pt x="41" y="8"/>
                  </a:lnTo>
                  <a:lnTo>
                    <a:pt x="41" y="9"/>
                  </a:lnTo>
                  <a:lnTo>
                    <a:pt x="41" y="10"/>
                  </a:lnTo>
                  <a:lnTo>
                    <a:pt x="40" y="12"/>
                  </a:lnTo>
                  <a:lnTo>
                    <a:pt x="40" y="13"/>
                  </a:lnTo>
                  <a:lnTo>
                    <a:pt x="41" y="14"/>
                  </a:lnTo>
                  <a:lnTo>
                    <a:pt x="41" y="15"/>
                  </a:lnTo>
                  <a:lnTo>
                    <a:pt x="40" y="15"/>
                  </a:lnTo>
                  <a:lnTo>
                    <a:pt x="40" y="16"/>
                  </a:lnTo>
                  <a:lnTo>
                    <a:pt x="39" y="17"/>
                  </a:lnTo>
                  <a:lnTo>
                    <a:pt x="38" y="17"/>
                  </a:lnTo>
                  <a:lnTo>
                    <a:pt x="39" y="17"/>
                  </a:lnTo>
                  <a:lnTo>
                    <a:pt x="39" y="19"/>
                  </a:lnTo>
                  <a:lnTo>
                    <a:pt x="40" y="19"/>
                  </a:lnTo>
                  <a:lnTo>
                    <a:pt x="40" y="20"/>
                  </a:lnTo>
                  <a:lnTo>
                    <a:pt x="40" y="21"/>
                  </a:lnTo>
                  <a:lnTo>
                    <a:pt x="39" y="21"/>
                  </a:lnTo>
                  <a:lnTo>
                    <a:pt x="39" y="22"/>
                  </a:lnTo>
                  <a:lnTo>
                    <a:pt x="38" y="22"/>
                  </a:lnTo>
                  <a:lnTo>
                    <a:pt x="38" y="23"/>
                  </a:lnTo>
                  <a:lnTo>
                    <a:pt x="36" y="23"/>
                  </a:lnTo>
                  <a:lnTo>
                    <a:pt x="35" y="23"/>
                  </a:lnTo>
                  <a:lnTo>
                    <a:pt x="35" y="22"/>
                  </a:lnTo>
                  <a:lnTo>
                    <a:pt x="35" y="23"/>
                  </a:lnTo>
                  <a:lnTo>
                    <a:pt x="34" y="23"/>
                  </a:lnTo>
                  <a:lnTo>
                    <a:pt x="35" y="24"/>
                  </a:lnTo>
                  <a:lnTo>
                    <a:pt x="35" y="26"/>
                  </a:lnTo>
                  <a:lnTo>
                    <a:pt x="36" y="26"/>
                  </a:lnTo>
                  <a:lnTo>
                    <a:pt x="36" y="24"/>
                  </a:lnTo>
                  <a:lnTo>
                    <a:pt x="36" y="26"/>
                  </a:lnTo>
                  <a:lnTo>
                    <a:pt x="38" y="27"/>
                  </a:lnTo>
                  <a:lnTo>
                    <a:pt x="39" y="28"/>
                  </a:lnTo>
                  <a:lnTo>
                    <a:pt x="38" y="29"/>
                  </a:lnTo>
                  <a:lnTo>
                    <a:pt x="38" y="30"/>
                  </a:lnTo>
                  <a:lnTo>
                    <a:pt x="38" y="31"/>
                  </a:lnTo>
                  <a:lnTo>
                    <a:pt x="38" y="33"/>
                  </a:lnTo>
                  <a:lnTo>
                    <a:pt x="38" y="31"/>
                  </a:lnTo>
                  <a:lnTo>
                    <a:pt x="36" y="30"/>
                  </a:lnTo>
                  <a:lnTo>
                    <a:pt x="35" y="30"/>
                  </a:lnTo>
                  <a:lnTo>
                    <a:pt x="34" y="29"/>
                  </a:lnTo>
                  <a:lnTo>
                    <a:pt x="33" y="29"/>
                  </a:lnTo>
                  <a:lnTo>
                    <a:pt x="32" y="29"/>
                  </a:lnTo>
                  <a:lnTo>
                    <a:pt x="31" y="29"/>
                  </a:lnTo>
                  <a:lnTo>
                    <a:pt x="28" y="29"/>
                  </a:lnTo>
                  <a:lnTo>
                    <a:pt x="27" y="29"/>
                  </a:lnTo>
                  <a:lnTo>
                    <a:pt x="27" y="30"/>
                  </a:lnTo>
                  <a:lnTo>
                    <a:pt x="26" y="30"/>
                  </a:lnTo>
                  <a:lnTo>
                    <a:pt x="25" y="30"/>
                  </a:lnTo>
                  <a:lnTo>
                    <a:pt x="24" y="30"/>
                  </a:lnTo>
                  <a:lnTo>
                    <a:pt x="23" y="30"/>
                  </a:lnTo>
                  <a:lnTo>
                    <a:pt x="21" y="30"/>
                  </a:lnTo>
                  <a:lnTo>
                    <a:pt x="20" y="30"/>
                  </a:lnTo>
                  <a:lnTo>
                    <a:pt x="19" y="30"/>
                  </a:lnTo>
                  <a:lnTo>
                    <a:pt x="19" y="29"/>
                  </a:lnTo>
                  <a:lnTo>
                    <a:pt x="17" y="29"/>
                  </a:lnTo>
                  <a:lnTo>
                    <a:pt x="16" y="29"/>
                  </a:lnTo>
                  <a:lnTo>
                    <a:pt x="17" y="29"/>
                  </a:lnTo>
                  <a:lnTo>
                    <a:pt x="16" y="29"/>
                  </a:lnTo>
                  <a:lnTo>
                    <a:pt x="14" y="29"/>
                  </a:lnTo>
                  <a:lnTo>
                    <a:pt x="13" y="29"/>
                  </a:lnTo>
                  <a:lnTo>
                    <a:pt x="12" y="29"/>
                  </a:lnTo>
                  <a:lnTo>
                    <a:pt x="13" y="29"/>
                  </a:lnTo>
                  <a:lnTo>
                    <a:pt x="12" y="29"/>
                  </a:lnTo>
                  <a:lnTo>
                    <a:pt x="11" y="30"/>
                  </a:lnTo>
                  <a:lnTo>
                    <a:pt x="10" y="30"/>
                  </a:lnTo>
                  <a:lnTo>
                    <a:pt x="10" y="31"/>
                  </a:lnTo>
                  <a:lnTo>
                    <a:pt x="10" y="33"/>
                  </a:lnTo>
                  <a:lnTo>
                    <a:pt x="9" y="33"/>
                  </a:lnTo>
                  <a:lnTo>
                    <a:pt x="9" y="31"/>
                  </a:lnTo>
                  <a:lnTo>
                    <a:pt x="7" y="30"/>
                  </a:lnTo>
                  <a:lnTo>
                    <a:pt x="6" y="29"/>
                  </a:lnTo>
                  <a:lnTo>
                    <a:pt x="5" y="29"/>
                  </a:lnTo>
                  <a:lnTo>
                    <a:pt x="5" y="28"/>
                  </a:lnTo>
                  <a:lnTo>
                    <a:pt x="4" y="28"/>
                  </a:lnTo>
                  <a:lnTo>
                    <a:pt x="3" y="28"/>
                  </a:lnTo>
                  <a:lnTo>
                    <a:pt x="2" y="28"/>
                  </a:lnTo>
                  <a:lnTo>
                    <a:pt x="2" y="27"/>
                  </a:lnTo>
                  <a:lnTo>
                    <a:pt x="0" y="26"/>
                  </a:lnTo>
                  <a:lnTo>
                    <a:pt x="2" y="26"/>
                  </a:lnTo>
                  <a:lnTo>
                    <a:pt x="2" y="24"/>
                  </a:lnTo>
                  <a:lnTo>
                    <a:pt x="3" y="24"/>
                  </a:lnTo>
                  <a:lnTo>
                    <a:pt x="3" y="23"/>
                  </a:lnTo>
                  <a:lnTo>
                    <a:pt x="3" y="22"/>
                  </a:lnTo>
                  <a:lnTo>
                    <a:pt x="4" y="22"/>
                  </a:lnTo>
                  <a:lnTo>
                    <a:pt x="5" y="22"/>
                  </a:lnTo>
                  <a:lnTo>
                    <a:pt x="6" y="22"/>
                  </a:lnTo>
                  <a:lnTo>
                    <a:pt x="7" y="23"/>
                  </a:lnTo>
                  <a:lnTo>
                    <a:pt x="9" y="23"/>
                  </a:lnTo>
                  <a:lnTo>
                    <a:pt x="10" y="23"/>
                  </a:lnTo>
                  <a:lnTo>
                    <a:pt x="10" y="24"/>
                  </a:lnTo>
                  <a:lnTo>
                    <a:pt x="11" y="24"/>
                  </a:lnTo>
                  <a:lnTo>
                    <a:pt x="12" y="24"/>
                  </a:lnTo>
                  <a:lnTo>
                    <a:pt x="12" y="23"/>
                  </a:lnTo>
                  <a:lnTo>
                    <a:pt x="13" y="23"/>
                  </a:lnTo>
                  <a:lnTo>
                    <a:pt x="13" y="24"/>
                  </a:lnTo>
                  <a:lnTo>
                    <a:pt x="12" y="24"/>
                  </a:lnTo>
                  <a:lnTo>
                    <a:pt x="13" y="24"/>
                  </a:lnTo>
                  <a:lnTo>
                    <a:pt x="14" y="24"/>
                  </a:lnTo>
                  <a:lnTo>
                    <a:pt x="17" y="24"/>
                  </a:lnTo>
                  <a:lnTo>
                    <a:pt x="18" y="26"/>
                  </a:lnTo>
                  <a:lnTo>
                    <a:pt x="19" y="26"/>
                  </a:lnTo>
                  <a:lnTo>
                    <a:pt x="20" y="26"/>
                  </a:lnTo>
                  <a:lnTo>
                    <a:pt x="21" y="26"/>
                  </a:lnTo>
                  <a:lnTo>
                    <a:pt x="23" y="26"/>
                  </a:lnTo>
                  <a:lnTo>
                    <a:pt x="24" y="26"/>
                  </a:lnTo>
                  <a:lnTo>
                    <a:pt x="25" y="26"/>
                  </a:lnTo>
                  <a:lnTo>
                    <a:pt x="26" y="26"/>
                  </a:lnTo>
                  <a:lnTo>
                    <a:pt x="26" y="24"/>
                  </a:lnTo>
                  <a:lnTo>
                    <a:pt x="27" y="24"/>
                  </a:lnTo>
                  <a:lnTo>
                    <a:pt x="29" y="24"/>
                  </a:lnTo>
                  <a:lnTo>
                    <a:pt x="31" y="24"/>
                  </a:lnTo>
                  <a:lnTo>
                    <a:pt x="31" y="23"/>
                  </a:lnTo>
                  <a:lnTo>
                    <a:pt x="31" y="22"/>
                  </a:lnTo>
                  <a:lnTo>
                    <a:pt x="31" y="21"/>
                  </a:lnTo>
                  <a:lnTo>
                    <a:pt x="29" y="21"/>
                  </a:lnTo>
                  <a:lnTo>
                    <a:pt x="28" y="21"/>
                  </a:lnTo>
                  <a:lnTo>
                    <a:pt x="28" y="20"/>
                  </a:lnTo>
                  <a:lnTo>
                    <a:pt x="27" y="19"/>
                  </a:lnTo>
                  <a:lnTo>
                    <a:pt x="27" y="17"/>
                  </a:lnTo>
                  <a:lnTo>
                    <a:pt x="26" y="17"/>
                  </a:lnTo>
                  <a:lnTo>
                    <a:pt x="25" y="16"/>
                  </a:lnTo>
                  <a:lnTo>
                    <a:pt x="25" y="15"/>
                  </a:lnTo>
                  <a:lnTo>
                    <a:pt x="26" y="15"/>
                  </a:lnTo>
                  <a:lnTo>
                    <a:pt x="27" y="15"/>
                  </a:lnTo>
                  <a:lnTo>
                    <a:pt x="26" y="15"/>
                  </a:lnTo>
                  <a:lnTo>
                    <a:pt x="26" y="14"/>
                  </a:lnTo>
                  <a:lnTo>
                    <a:pt x="26" y="13"/>
                  </a:lnTo>
                  <a:lnTo>
                    <a:pt x="27" y="13"/>
                  </a:lnTo>
                  <a:lnTo>
                    <a:pt x="27" y="12"/>
                  </a:lnTo>
                  <a:lnTo>
                    <a:pt x="26" y="12"/>
                  </a:lnTo>
                  <a:lnTo>
                    <a:pt x="26" y="10"/>
                  </a:lnTo>
                  <a:lnTo>
                    <a:pt x="27" y="10"/>
                  </a:lnTo>
                  <a:lnTo>
                    <a:pt x="27" y="9"/>
                  </a:lnTo>
                  <a:lnTo>
                    <a:pt x="26" y="9"/>
                  </a:lnTo>
                  <a:lnTo>
                    <a:pt x="25" y="8"/>
                  </a:lnTo>
                  <a:lnTo>
                    <a:pt x="24" y="8"/>
                  </a:lnTo>
                  <a:lnTo>
                    <a:pt x="24" y="7"/>
                  </a:lnTo>
                  <a:lnTo>
                    <a:pt x="23" y="7"/>
                  </a:lnTo>
                  <a:lnTo>
                    <a:pt x="21" y="7"/>
                  </a:lnTo>
                  <a:lnTo>
                    <a:pt x="20" y="7"/>
                  </a:lnTo>
                  <a:lnTo>
                    <a:pt x="18" y="7"/>
                  </a:lnTo>
                  <a:lnTo>
                    <a:pt x="18" y="6"/>
                  </a:lnTo>
                  <a:lnTo>
                    <a:pt x="18" y="5"/>
                  </a:lnTo>
                  <a:lnTo>
                    <a:pt x="19" y="5"/>
                  </a:lnTo>
                  <a:lnTo>
                    <a:pt x="19" y="3"/>
                  </a:lnTo>
                  <a:lnTo>
                    <a:pt x="18" y="3"/>
                  </a:lnTo>
                  <a:lnTo>
                    <a:pt x="19" y="3"/>
                  </a:lnTo>
                  <a:lnTo>
                    <a:pt x="21" y="3"/>
                  </a:lnTo>
                  <a:lnTo>
                    <a:pt x="21" y="2"/>
                  </a:lnTo>
                  <a:lnTo>
                    <a:pt x="23" y="2"/>
                  </a:lnTo>
                  <a:lnTo>
                    <a:pt x="24" y="2"/>
                  </a:lnTo>
                  <a:lnTo>
                    <a:pt x="25" y="2"/>
                  </a:lnTo>
                  <a:lnTo>
                    <a:pt x="26" y="2"/>
                  </a:lnTo>
                  <a:lnTo>
                    <a:pt x="27" y="2"/>
                  </a:lnTo>
                  <a:close/>
                  <a:moveTo>
                    <a:pt x="27" y="0"/>
                  </a:moveTo>
                  <a:lnTo>
                    <a:pt x="28" y="1"/>
                  </a:lnTo>
                  <a:lnTo>
                    <a:pt x="29" y="1"/>
                  </a:lnTo>
                  <a:lnTo>
                    <a:pt x="28" y="1"/>
                  </a:lnTo>
                  <a:lnTo>
                    <a:pt x="27" y="1"/>
                  </a:lnTo>
                  <a:lnTo>
                    <a:pt x="26" y="1"/>
                  </a:lnTo>
                  <a:lnTo>
                    <a:pt x="25" y="0"/>
                  </a:lnTo>
                  <a:lnTo>
                    <a:pt x="26" y="0"/>
                  </a:lnTo>
                  <a:lnTo>
                    <a:pt x="27"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49" name="Freeform 904">
              <a:extLst>
                <a:ext uri="{FF2B5EF4-FFF2-40B4-BE49-F238E27FC236}">
                  <a16:creationId xmlns:a16="http://schemas.microsoft.com/office/drawing/2014/main" id="{9F5A11BA-8A47-4542-A1BB-36FDF71E7E93}"/>
                </a:ext>
              </a:extLst>
            </p:cNvPr>
            <p:cNvSpPr>
              <a:spLocks/>
            </p:cNvSpPr>
            <p:nvPr/>
          </p:nvSpPr>
          <p:spPr bwMode="auto">
            <a:xfrm>
              <a:off x="6072190" y="2324208"/>
              <a:ext cx="109510" cy="58761"/>
            </a:xfrm>
            <a:custGeom>
              <a:avLst/>
              <a:gdLst>
                <a:gd name="T0" fmla="*/ 74 w 82"/>
                <a:gd name="T1" fmla="*/ 2 h 44"/>
                <a:gd name="T2" fmla="*/ 75 w 82"/>
                <a:gd name="T3" fmla="*/ 6 h 44"/>
                <a:gd name="T4" fmla="*/ 78 w 82"/>
                <a:gd name="T5" fmla="*/ 8 h 44"/>
                <a:gd name="T6" fmla="*/ 82 w 82"/>
                <a:gd name="T7" fmla="*/ 8 h 44"/>
                <a:gd name="T8" fmla="*/ 80 w 82"/>
                <a:gd name="T9" fmla="*/ 12 h 44"/>
                <a:gd name="T10" fmla="*/ 76 w 82"/>
                <a:gd name="T11" fmla="*/ 13 h 44"/>
                <a:gd name="T12" fmla="*/ 75 w 82"/>
                <a:gd name="T13" fmla="*/ 14 h 44"/>
                <a:gd name="T14" fmla="*/ 73 w 82"/>
                <a:gd name="T15" fmla="*/ 16 h 44"/>
                <a:gd name="T16" fmla="*/ 71 w 82"/>
                <a:gd name="T17" fmla="*/ 20 h 44"/>
                <a:gd name="T18" fmla="*/ 70 w 82"/>
                <a:gd name="T19" fmla="*/ 23 h 44"/>
                <a:gd name="T20" fmla="*/ 69 w 82"/>
                <a:gd name="T21" fmla="*/ 26 h 44"/>
                <a:gd name="T22" fmla="*/ 67 w 82"/>
                <a:gd name="T23" fmla="*/ 29 h 44"/>
                <a:gd name="T24" fmla="*/ 64 w 82"/>
                <a:gd name="T25" fmla="*/ 31 h 44"/>
                <a:gd name="T26" fmla="*/ 63 w 82"/>
                <a:gd name="T27" fmla="*/ 35 h 44"/>
                <a:gd name="T28" fmla="*/ 60 w 82"/>
                <a:gd name="T29" fmla="*/ 36 h 44"/>
                <a:gd name="T30" fmla="*/ 56 w 82"/>
                <a:gd name="T31" fmla="*/ 38 h 44"/>
                <a:gd name="T32" fmla="*/ 53 w 82"/>
                <a:gd name="T33" fmla="*/ 38 h 44"/>
                <a:gd name="T34" fmla="*/ 49 w 82"/>
                <a:gd name="T35" fmla="*/ 38 h 44"/>
                <a:gd name="T36" fmla="*/ 46 w 82"/>
                <a:gd name="T37" fmla="*/ 37 h 44"/>
                <a:gd name="T38" fmla="*/ 42 w 82"/>
                <a:gd name="T39" fmla="*/ 38 h 44"/>
                <a:gd name="T40" fmla="*/ 40 w 82"/>
                <a:gd name="T41" fmla="*/ 41 h 44"/>
                <a:gd name="T42" fmla="*/ 38 w 82"/>
                <a:gd name="T43" fmla="*/ 41 h 44"/>
                <a:gd name="T44" fmla="*/ 36 w 82"/>
                <a:gd name="T45" fmla="*/ 41 h 44"/>
                <a:gd name="T46" fmla="*/ 32 w 82"/>
                <a:gd name="T47" fmla="*/ 43 h 44"/>
                <a:gd name="T48" fmla="*/ 28 w 82"/>
                <a:gd name="T49" fmla="*/ 44 h 44"/>
                <a:gd name="T50" fmla="*/ 26 w 82"/>
                <a:gd name="T51" fmla="*/ 44 h 44"/>
                <a:gd name="T52" fmla="*/ 24 w 82"/>
                <a:gd name="T53" fmla="*/ 43 h 44"/>
                <a:gd name="T54" fmla="*/ 20 w 82"/>
                <a:gd name="T55" fmla="*/ 42 h 44"/>
                <a:gd name="T56" fmla="*/ 17 w 82"/>
                <a:gd name="T57" fmla="*/ 41 h 44"/>
                <a:gd name="T58" fmla="*/ 16 w 82"/>
                <a:gd name="T59" fmla="*/ 40 h 44"/>
                <a:gd name="T60" fmla="*/ 13 w 82"/>
                <a:gd name="T61" fmla="*/ 37 h 44"/>
                <a:gd name="T62" fmla="*/ 10 w 82"/>
                <a:gd name="T63" fmla="*/ 35 h 44"/>
                <a:gd name="T64" fmla="*/ 9 w 82"/>
                <a:gd name="T65" fmla="*/ 34 h 44"/>
                <a:gd name="T66" fmla="*/ 5 w 82"/>
                <a:gd name="T67" fmla="*/ 31 h 44"/>
                <a:gd name="T68" fmla="*/ 3 w 82"/>
                <a:gd name="T69" fmla="*/ 29 h 44"/>
                <a:gd name="T70" fmla="*/ 0 w 82"/>
                <a:gd name="T71" fmla="*/ 27 h 44"/>
                <a:gd name="T72" fmla="*/ 3 w 82"/>
                <a:gd name="T73" fmla="*/ 24 h 44"/>
                <a:gd name="T74" fmla="*/ 5 w 82"/>
                <a:gd name="T75" fmla="*/ 24 h 44"/>
                <a:gd name="T76" fmla="*/ 5 w 82"/>
                <a:gd name="T77" fmla="*/ 22 h 44"/>
                <a:gd name="T78" fmla="*/ 4 w 82"/>
                <a:gd name="T79" fmla="*/ 19 h 44"/>
                <a:gd name="T80" fmla="*/ 6 w 82"/>
                <a:gd name="T81" fmla="*/ 15 h 44"/>
                <a:gd name="T82" fmla="*/ 3 w 82"/>
                <a:gd name="T83" fmla="*/ 14 h 44"/>
                <a:gd name="T84" fmla="*/ 6 w 82"/>
                <a:gd name="T85" fmla="*/ 14 h 44"/>
                <a:gd name="T86" fmla="*/ 11 w 82"/>
                <a:gd name="T87" fmla="*/ 14 h 44"/>
                <a:gd name="T88" fmla="*/ 11 w 82"/>
                <a:gd name="T89" fmla="*/ 12 h 44"/>
                <a:gd name="T90" fmla="*/ 13 w 82"/>
                <a:gd name="T91" fmla="*/ 9 h 44"/>
                <a:gd name="T92" fmla="*/ 17 w 82"/>
                <a:gd name="T93" fmla="*/ 12 h 44"/>
                <a:gd name="T94" fmla="*/ 20 w 82"/>
                <a:gd name="T95" fmla="*/ 13 h 44"/>
                <a:gd name="T96" fmla="*/ 26 w 82"/>
                <a:gd name="T97" fmla="*/ 13 h 44"/>
                <a:gd name="T98" fmla="*/ 32 w 82"/>
                <a:gd name="T99" fmla="*/ 10 h 44"/>
                <a:gd name="T100" fmla="*/ 32 w 82"/>
                <a:gd name="T101" fmla="*/ 8 h 44"/>
                <a:gd name="T102" fmla="*/ 36 w 82"/>
                <a:gd name="T103" fmla="*/ 8 h 44"/>
                <a:gd name="T104" fmla="*/ 40 w 82"/>
                <a:gd name="T105" fmla="*/ 6 h 44"/>
                <a:gd name="T106" fmla="*/ 43 w 82"/>
                <a:gd name="T107" fmla="*/ 7 h 44"/>
                <a:gd name="T108" fmla="*/ 47 w 82"/>
                <a:gd name="T109" fmla="*/ 6 h 44"/>
                <a:gd name="T110" fmla="*/ 50 w 82"/>
                <a:gd name="T111" fmla="*/ 5 h 44"/>
                <a:gd name="T112" fmla="*/ 53 w 82"/>
                <a:gd name="T113" fmla="*/ 1 h 44"/>
                <a:gd name="T114" fmla="*/ 57 w 82"/>
                <a:gd name="T115" fmla="*/ 1 h 44"/>
                <a:gd name="T116" fmla="*/ 62 w 82"/>
                <a:gd name="T117" fmla="*/ 1 h 44"/>
                <a:gd name="T118" fmla="*/ 66 w 82"/>
                <a:gd name="T119" fmla="*/ 2 h 44"/>
                <a:gd name="T120" fmla="*/ 70 w 82"/>
                <a:gd name="T121"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44">
                  <a:moveTo>
                    <a:pt x="71" y="3"/>
                  </a:moveTo>
                  <a:lnTo>
                    <a:pt x="73" y="3"/>
                  </a:lnTo>
                  <a:lnTo>
                    <a:pt x="73" y="2"/>
                  </a:lnTo>
                  <a:lnTo>
                    <a:pt x="74" y="2"/>
                  </a:lnTo>
                  <a:lnTo>
                    <a:pt x="74" y="3"/>
                  </a:lnTo>
                  <a:lnTo>
                    <a:pt x="74" y="5"/>
                  </a:lnTo>
                  <a:lnTo>
                    <a:pt x="75" y="5"/>
                  </a:lnTo>
                  <a:lnTo>
                    <a:pt x="75" y="6"/>
                  </a:lnTo>
                  <a:lnTo>
                    <a:pt x="76" y="6"/>
                  </a:lnTo>
                  <a:lnTo>
                    <a:pt x="77" y="7"/>
                  </a:lnTo>
                  <a:lnTo>
                    <a:pt x="78" y="7"/>
                  </a:lnTo>
                  <a:lnTo>
                    <a:pt x="78" y="8"/>
                  </a:lnTo>
                  <a:lnTo>
                    <a:pt x="80" y="8"/>
                  </a:lnTo>
                  <a:lnTo>
                    <a:pt x="80" y="7"/>
                  </a:lnTo>
                  <a:lnTo>
                    <a:pt x="81" y="8"/>
                  </a:lnTo>
                  <a:lnTo>
                    <a:pt x="82" y="8"/>
                  </a:lnTo>
                  <a:lnTo>
                    <a:pt x="82" y="9"/>
                  </a:lnTo>
                  <a:lnTo>
                    <a:pt x="82" y="10"/>
                  </a:lnTo>
                  <a:lnTo>
                    <a:pt x="81" y="12"/>
                  </a:lnTo>
                  <a:lnTo>
                    <a:pt x="80" y="12"/>
                  </a:lnTo>
                  <a:lnTo>
                    <a:pt x="80" y="13"/>
                  </a:lnTo>
                  <a:lnTo>
                    <a:pt x="78" y="13"/>
                  </a:lnTo>
                  <a:lnTo>
                    <a:pt x="77" y="13"/>
                  </a:lnTo>
                  <a:lnTo>
                    <a:pt x="76" y="13"/>
                  </a:lnTo>
                  <a:lnTo>
                    <a:pt x="76" y="14"/>
                  </a:lnTo>
                  <a:lnTo>
                    <a:pt x="76" y="13"/>
                  </a:lnTo>
                  <a:lnTo>
                    <a:pt x="75" y="13"/>
                  </a:lnTo>
                  <a:lnTo>
                    <a:pt x="75" y="14"/>
                  </a:lnTo>
                  <a:lnTo>
                    <a:pt x="74" y="14"/>
                  </a:lnTo>
                  <a:lnTo>
                    <a:pt x="74" y="15"/>
                  </a:lnTo>
                  <a:lnTo>
                    <a:pt x="74" y="16"/>
                  </a:lnTo>
                  <a:lnTo>
                    <a:pt x="73" y="16"/>
                  </a:lnTo>
                  <a:lnTo>
                    <a:pt x="71" y="17"/>
                  </a:lnTo>
                  <a:lnTo>
                    <a:pt x="73" y="19"/>
                  </a:lnTo>
                  <a:lnTo>
                    <a:pt x="71" y="19"/>
                  </a:lnTo>
                  <a:lnTo>
                    <a:pt x="71" y="20"/>
                  </a:lnTo>
                  <a:lnTo>
                    <a:pt x="70" y="20"/>
                  </a:lnTo>
                  <a:lnTo>
                    <a:pt x="70" y="21"/>
                  </a:lnTo>
                  <a:lnTo>
                    <a:pt x="70" y="22"/>
                  </a:lnTo>
                  <a:lnTo>
                    <a:pt x="70" y="23"/>
                  </a:lnTo>
                  <a:lnTo>
                    <a:pt x="69" y="23"/>
                  </a:lnTo>
                  <a:lnTo>
                    <a:pt x="68" y="24"/>
                  </a:lnTo>
                  <a:lnTo>
                    <a:pt x="69" y="24"/>
                  </a:lnTo>
                  <a:lnTo>
                    <a:pt x="69" y="26"/>
                  </a:lnTo>
                  <a:lnTo>
                    <a:pt x="68" y="26"/>
                  </a:lnTo>
                  <a:lnTo>
                    <a:pt x="68" y="27"/>
                  </a:lnTo>
                  <a:lnTo>
                    <a:pt x="67" y="28"/>
                  </a:lnTo>
                  <a:lnTo>
                    <a:pt x="67" y="29"/>
                  </a:lnTo>
                  <a:lnTo>
                    <a:pt x="67" y="30"/>
                  </a:lnTo>
                  <a:lnTo>
                    <a:pt x="66" y="30"/>
                  </a:lnTo>
                  <a:lnTo>
                    <a:pt x="64" y="30"/>
                  </a:lnTo>
                  <a:lnTo>
                    <a:pt x="64" y="31"/>
                  </a:lnTo>
                  <a:lnTo>
                    <a:pt x="64" y="33"/>
                  </a:lnTo>
                  <a:lnTo>
                    <a:pt x="64" y="34"/>
                  </a:lnTo>
                  <a:lnTo>
                    <a:pt x="63" y="34"/>
                  </a:lnTo>
                  <a:lnTo>
                    <a:pt x="63" y="35"/>
                  </a:lnTo>
                  <a:lnTo>
                    <a:pt x="63" y="36"/>
                  </a:lnTo>
                  <a:lnTo>
                    <a:pt x="62" y="36"/>
                  </a:lnTo>
                  <a:lnTo>
                    <a:pt x="61" y="36"/>
                  </a:lnTo>
                  <a:lnTo>
                    <a:pt x="60" y="36"/>
                  </a:lnTo>
                  <a:lnTo>
                    <a:pt x="59" y="36"/>
                  </a:lnTo>
                  <a:lnTo>
                    <a:pt x="59" y="37"/>
                  </a:lnTo>
                  <a:lnTo>
                    <a:pt x="57" y="38"/>
                  </a:lnTo>
                  <a:lnTo>
                    <a:pt x="56" y="38"/>
                  </a:lnTo>
                  <a:lnTo>
                    <a:pt x="56" y="37"/>
                  </a:lnTo>
                  <a:lnTo>
                    <a:pt x="55" y="37"/>
                  </a:lnTo>
                  <a:lnTo>
                    <a:pt x="55" y="38"/>
                  </a:lnTo>
                  <a:lnTo>
                    <a:pt x="53" y="38"/>
                  </a:lnTo>
                  <a:lnTo>
                    <a:pt x="52" y="38"/>
                  </a:lnTo>
                  <a:lnTo>
                    <a:pt x="50" y="37"/>
                  </a:lnTo>
                  <a:lnTo>
                    <a:pt x="50" y="38"/>
                  </a:lnTo>
                  <a:lnTo>
                    <a:pt x="49" y="38"/>
                  </a:lnTo>
                  <a:lnTo>
                    <a:pt x="49" y="37"/>
                  </a:lnTo>
                  <a:lnTo>
                    <a:pt x="48" y="37"/>
                  </a:lnTo>
                  <a:lnTo>
                    <a:pt x="47" y="38"/>
                  </a:lnTo>
                  <a:lnTo>
                    <a:pt x="46" y="37"/>
                  </a:lnTo>
                  <a:lnTo>
                    <a:pt x="45" y="37"/>
                  </a:lnTo>
                  <a:lnTo>
                    <a:pt x="43" y="37"/>
                  </a:lnTo>
                  <a:lnTo>
                    <a:pt x="43" y="38"/>
                  </a:lnTo>
                  <a:lnTo>
                    <a:pt x="42" y="38"/>
                  </a:lnTo>
                  <a:lnTo>
                    <a:pt x="42" y="40"/>
                  </a:lnTo>
                  <a:lnTo>
                    <a:pt x="41" y="40"/>
                  </a:lnTo>
                  <a:lnTo>
                    <a:pt x="41" y="41"/>
                  </a:lnTo>
                  <a:lnTo>
                    <a:pt x="40" y="41"/>
                  </a:lnTo>
                  <a:lnTo>
                    <a:pt x="39" y="41"/>
                  </a:lnTo>
                  <a:lnTo>
                    <a:pt x="39" y="40"/>
                  </a:lnTo>
                  <a:lnTo>
                    <a:pt x="38" y="40"/>
                  </a:lnTo>
                  <a:lnTo>
                    <a:pt x="38" y="41"/>
                  </a:lnTo>
                  <a:lnTo>
                    <a:pt x="36" y="41"/>
                  </a:lnTo>
                  <a:lnTo>
                    <a:pt x="38" y="41"/>
                  </a:lnTo>
                  <a:lnTo>
                    <a:pt x="38" y="42"/>
                  </a:lnTo>
                  <a:lnTo>
                    <a:pt x="36" y="41"/>
                  </a:lnTo>
                  <a:lnTo>
                    <a:pt x="35" y="42"/>
                  </a:lnTo>
                  <a:lnTo>
                    <a:pt x="34" y="42"/>
                  </a:lnTo>
                  <a:lnTo>
                    <a:pt x="33" y="42"/>
                  </a:lnTo>
                  <a:lnTo>
                    <a:pt x="32" y="43"/>
                  </a:lnTo>
                  <a:lnTo>
                    <a:pt x="31" y="43"/>
                  </a:lnTo>
                  <a:lnTo>
                    <a:pt x="31" y="44"/>
                  </a:lnTo>
                  <a:lnTo>
                    <a:pt x="29" y="44"/>
                  </a:lnTo>
                  <a:lnTo>
                    <a:pt x="28" y="44"/>
                  </a:lnTo>
                  <a:lnTo>
                    <a:pt x="28" y="43"/>
                  </a:lnTo>
                  <a:lnTo>
                    <a:pt x="27" y="43"/>
                  </a:lnTo>
                  <a:lnTo>
                    <a:pt x="26" y="43"/>
                  </a:lnTo>
                  <a:lnTo>
                    <a:pt x="26" y="44"/>
                  </a:lnTo>
                  <a:lnTo>
                    <a:pt x="25" y="43"/>
                  </a:lnTo>
                  <a:lnTo>
                    <a:pt x="24" y="43"/>
                  </a:lnTo>
                  <a:lnTo>
                    <a:pt x="24" y="44"/>
                  </a:lnTo>
                  <a:lnTo>
                    <a:pt x="24" y="43"/>
                  </a:lnTo>
                  <a:lnTo>
                    <a:pt x="23" y="43"/>
                  </a:lnTo>
                  <a:lnTo>
                    <a:pt x="21" y="43"/>
                  </a:lnTo>
                  <a:lnTo>
                    <a:pt x="20" y="43"/>
                  </a:lnTo>
                  <a:lnTo>
                    <a:pt x="20" y="42"/>
                  </a:lnTo>
                  <a:lnTo>
                    <a:pt x="20" y="41"/>
                  </a:lnTo>
                  <a:lnTo>
                    <a:pt x="19" y="41"/>
                  </a:lnTo>
                  <a:lnTo>
                    <a:pt x="18" y="41"/>
                  </a:lnTo>
                  <a:lnTo>
                    <a:pt x="17" y="41"/>
                  </a:lnTo>
                  <a:lnTo>
                    <a:pt x="16" y="41"/>
                  </a:lnTo>
                  <a:lnTo>
                    <a:pt x="17" y="41"/>
                  </a:lnTo>
                  <a:lnTo>
                    <a:pt x="17" y="40"/>
                  </a:lnTo>
                  <a:lnTo>
                    <a:pt x="16" y="40"/>
                  </a:lnTo>
                  <a:lnTo>
                    <a:pt x="16" y="38"/>
                  </a:lnTo>
                  <a:lnTo>
                    <a:pt x="14" y="38"/>
                  </a:lnTo>
                  <a:lnTo>
                    <a:pt x="13" y="38"/>
                  </a:lnTo>
                  <a:lnTo>
                    <a:pt x="13" y="37"/>
                  </a:lnTo>
                  <a:lnTo>
                    <a:pt x="12" y="37"/>
                  </a:lnTo>
                  <a:lnTo>
                    <a:pt x="11" y="36"/>
                  </a:lnTo>
                  <a:lnTo>
                    <a:pt x="11" y="35"/>
                  </a:lnTo>
                  <a:lnTo>
                    <a:pt x="10" y="35"/>
                  </a:lnTo>
                  <a:lnTo>
                    <a:pt x="10" y="34"/>
                  </a:lnTo>
                  <a:lnTo>
                    <a:pt x="10" y="35"/>
                  </a:lnTo>
                  <a:lnTo>
                    <a:pt x="10" y="34"/>
                  </a:lnTo>
                  <a:lnTo>
                    <a:pt x="9" y="34"/>
                  </a:lnTo>
                  <a:lnTo>
                    <a:pt x="7" y="34"/>
                  </a:lnTo>
                  <a:lnTo>
                    <a:pt x="7" y="33"/>
                  </a:lnTo>
                  <a:lnTo>
                    <a:pt x="6" y="33"/>
                  </a:lnTo>
                  <a:lnTo>
                    <a:pt x="5" y="31"/>
                  </a:lnTo>
                  <a:lnTo>
                    <a:pt x="5" y="30"/>
                  </a:lnTo>
                  <a:lnTo>
                    <a:pt x="4" y="30"/>
                  </a:lnTo>
                  <a:lnTo>
                    <a:pt x="4" y="29"/>
                  </a:lnTo>
                  <a:lnTo>
                    <a:pt x="3" y="29"/>
                  </a:lnTo>
                  <a:lnTo>
                    <a:pt x="3" y="28"/>
                  </a:lnTo>
                  <a:lnTo>
                    <a:pt x="3" y="27"/>
                  </a:lnTo>
                  <a:lnTo>
                    <a:pt x="2" y="27"/>
                  </a:lnTo>
                  <a:lnTo>
                    <a:pt x="0" y="27"/>
                  </a:lnTo>
                  <a:lnTo>
                    <a:pt x="0" y="26"/>
                  </a:lnTo>
                  <a:lnTo>
                    <a:pt x="2" y="26"/>
                  </a:lnTo>
                  <a:lnTo>
                    <a:pt x="2" y="24"/>
                  </a:lnTo>
                  <a:lnTo>
                    <a:pt x="3" y="24"/>
                  </a:lnTo>
                  <a:lnTo>
                    <a:pt x="4" y="24"/>
                  </a:lnTo>
                  <a:lnTo>
                    <a:pt x="5" y="24"/>
                  </a:lnTo>
                  <a:lnTo>
                    <a:pt x="4" y="24"/>
                  </a:lnTo>
                  <a:lnTo>
                    <a:pt x="5" y="24"/>
                  </a:lnTo>
                  <a:lnTo>
                    <a:pt x="5" y="23"/>
                  </a:lnTo>
                  <a:lnTo>
                    <a:pt x="4" y="23"/>
                  </a:lnTo>
                  <a:lnTo>
                    <a:pt x="5" y="23"/>
                  </a:lnTo>
                  <a:lnTo>
                    <a:pt x="5" y="22"/>
                  </a:lnTo>
                  <a:lnTo>
                    <a:pt x="4" y="22"/>
                  </a:lnTo>
                  <a:lnTo>
                    <a:pt x="4" y="21"/>
                  </a:lnTo>
                  <a:lnTo>
                    <a:pt x="4" y="20"/>
                  </a:lnTo>
                  <a:lnTo>
                    <a:pt x="4" y="19"/>
                  </a:lnTo>
                  <a:lnTo>
                    <a:pt x="5" y="19"/>
                  </a:lnTo>
                  <a:lnTo>
                    <a:pt x="6" y="17"/>
                  </a:lnTo>
                  <a:lnTo>
                    <a:pt x="6" y="16"/>
                  </a:lnTo>
                  <a:lnTo>
                    <a:pt x="6" y="15"/>
                  </a:lnTo>
                  <a:lnTo>
                    <a:pt x="5" y="15"/>
                  </a:lnTo>
                  <a:lnTo>
                    <a:pt x="4" y="15"/>
                  </a:lnTo>
                  <a:lnTo>
                    <a:pt x="3" y="15"/>
                  </a:lnTo>
                  <a:lnTo>
                    <a:pt x="3" y="14"/>
                  </a:lnTo>
                  <a:lnTo>
                    <a:pt x="4" y="14"/>
                  </a:lnTo>
                  <a:lnTo>
                    <a:pt x="4" y="13"/>
                  </a:lnTo>
                  <a:lnTo>
                    <a:pt x="5" y="13"/>
                  </a:lnTo>
                  <a:lnTo>
                    <a:pt x="6" y="14"/>
                  </a:lnTo>
                  <a:lnTo>
                    <a:pt x="7" y="14"/>
                  </a:lnTo>
                  <a:lnTo>
                    <a:pt x="9" y="14"/>
                  </a:lnTo>
                  <a:lnTo>
                    <a:pt x="10" y="14"/>
                  </a:lnTo>
                  <a:lnTo>
                    <a:pt x="11" y="14"/>
                  </a:lnTo>
                  <a:lnTo>
                    <a:pt x="11" y="13"/>
                  </a:lnTo>
                  <a:lnTo>
                    <a:pt x="11" y="12"/>
                  </a:lnTo>
                  <a:lnTo>
                    <a:pt x="10" y="12"/>
                  </a:lnTo>
                  <a:lnTo>
                    <a:pt x="11" y="12"/>
                  </a:lnTo>
                  <a:lnTo>
                    <a:pt x="11" y="10"/>
                  </a:lnTo>
                  <a:lnTo>
                    <a:pt x="11" y="9"/>
                  </a:lnTo>
                  <a:lnTo>
                    <a:pt x="12" y="9"/>
                  </a:lnTo>
                  <a:lnTo>
                    <a:pt x="13" y="9"/>
                  </a:lnTo>
                  <a:lnTo>
                    <a:pt x="14" y="9"/>
                  </a:lnTo>
                  <a:lnTo>
                    <a:pt x="16" y="10"/>
                  </a:lnTo>
                  <a:lnTo>
                    <a:pt x="16" y="12"/>
                  </a:lnTo>
                  <a:lnTo>
                    <a:pt x="17" y="12"/>
                  </a:lnTo>
                  <a:lnTo>
                    <a:pt x="18" y="12"/>
                  </a:lnTo>
                  <a:lnTo>
                    <a:pt x="18" y="13"/>
                  </a:lnTo>
                  <a:lnTo>
                    <a:pt x="19" y="13"/>
                  </a:lnTo>
                  <a:lnTo>
                    <a:pt x="20" y="13"/>
                  </a:lnTo>
                  <a:lnTo>
                    <a:pt x="21" y="13"/>
                  </a:lnTo>
                  <a:lnTo>
                    <a:pt x="24" y="13"/>
                  </a:lnTo>
                  <a:lnTo>
                    <a:pt x="25" y="13"/>
                  </a:lnTo>
                  <a:lnTo>
                    <a:pt x="26" y="13"/>
                  </a:lnTo>
                  <a:lnTo>
                    <a:pt x="29" y="13"/>
                  </a:lnTo>
                  <a:lnTo>
                    <a:pt x="31" y="13"/>
                  </a:lnTo>
                  <a:lnTo>
                    <a:pt x="32" y="12"/>
                  </a:lnTo>
                  <a:lnTo>
                    <a:pt x="32" y="10"/>
                  </a:lnTo>
                  <a:lnTo>
                    <a:pt x="32" y="9"/>
                  </a:lnTo>
                  <a:lnTo>
                    <a:pt x="31" y="9"/>
                  </a:lnTo>
                  <a:lnTo>
                    <a:pt x="32" y="9"/>
                  </a:lnTo>
                  <a:lnTo>
                    <a:pt x="32" y="8"/>
                  </a:lnTo>
                  <a:lnTo>
                    <a:pt x="33" y="8"/>
                  </a:lnTo>
                  <a:lnTo>
                    <a:pt x="34" y="8"/>
                  </a:lnTo>
                  <a:lnTo>
                    <a:pt x="35" y="8"/>
                  </a:lnTo>
                  <a:lnTo>
                    <a:pt x="36" y="8"/>
                  </a:lnTo>
                  <a:lnTo>
                    <a:pt x="38" y="8"/>
                  </a:lnTo>
                  <a:lnTo>
                    <a:pt x="39" y="8"/>
                  </a:lnTo>
                  <a:lnTo>
                    <a:pt x="40" y="7"/>
                  </a:lnTo>
                  <a:lnTo>
                    <a:pt x="40" y="6"/>
                  </a:lnTo>
                  <a:lnTo>
                    <a:pt x="41" y="6"/>
                  </a:lnTo>
                  <a:lnTo>
                    <a:pt x="42" y="6"/>
                  </a:lnTo>
                  <a:lnTo>
                    <a:pt x="43" y="6"/>
                  </a:lnTo>
                  <a:lnTo>
                    <a:pt x="43" y="7"/>
                  </a:lnTo>
                  <a:lnTo>
                    <a:pt x="45" y="7"/>
                  </a:lnTo>
                  <a:lnTo>
                    <a:pt x="46" y="7"/>
                  </a:lnTo>
                  <a:lnTo>
                    <a:pt x="47" y="7"/>
                  </a:lnTo>
                  <a:lnTo>
                    <a:pt x="47" y="6"/>
                  </a:lnTo>
                  <a:lnTo>
                    <a:pt x="48" y="6"/>
                  </a:lnTo>
                  <a:lnTo>
                    <a:pt x="49" y="5"/>
                  </a:lnTo>
                  <a:lnTo>
                    <a:pt x="49" y="6"/>
                  </a:lnTo>
                  <a:lnTo>
                    <a:pt x="50" y="5"/>
                  </a:lnTo>
                  <a:lnTo>
                    <a:pt x="50" y="2"/>
                  </a:lnTo>
                  <a:lnTo>
                    <a:pt x="52" y="2"/>
                  </a:lnTo>
                  <a:lnTo>
                    <a:pt x="52" y="1"/>
                  </a:lnTo>
                  <a:lnTo>
                    <a:pt x="53" y="1"/>
                  </a:lnTo>
                  <a:lnTo>
                    <a:pt x="55" y="0"/>
                  </a:lnTo>
                  <a:lnTo>
                    <a:pt x="55" y="1"/>
                  </a:lnTo>
                  <a:lnTo>
                    <a:pt x="56" y="1"/>
                  </a:lnTo>
                  <a:lnTo>
                    <a:pt x="57" y="1"/>
                  </a:lnTo>
                  <a:lnTo>
                    <a:pt x="59" y="1"/>
                  </a:lnTo>
                  <a:lnTo>
                    <a:pt x="60" y="1"/>
                  </a:lnTo>
                  <a:lnTo>
                    <a:pt x="61" y="1"/>
                  </a:lnTo>
                  <a:lnTo>
                    <a:pt x="62" y="1"/>
                  </a:lnTo>
                  <a:lnTo>
                    <a:pt x="63" y="1"/>
                  </a:lnTo>
                  <a:lnTo>
                    <a:pt x="64" y="1"/>
                  </a:lnTo>
                  <a:lnTo>
                    <a:pt x="66" y="1"/>
                  </a:lnTo>
                  <a:lnTo>
                    <a:pt x="66" y="2"/>
                  </a:lnTo>
                  <a:lnTo>
                    <a:pt x="67" y="3"/>
                  </a:lnTo>
                  <a:lnTo>
                    <a:pt x="68" y="5"/>
                  </a:lnTo>
                  <a:lnTo>
                    <a:pt x="69" y="3"/>
                  </a:lnTo>
                  <a:lnTo>
                    <a:pt x="70" y="3"/>
                  </a:lnTo>
                  <a:lnTo>
                    <a:pt x="71" y="3"/>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50" name="Freeform 905">
              <a:extLst>
                <a:ext uri="{FF2B5EF4-FFF2-40B4-BE49-F238E27FC236}">
                  <a16:creationId xmlns:a16="http://schemas.microsoft.com/office/drawing/2014/main" id="{D91546EF-CDB4-4D8D-9294-6568C7F967EF}"/>
                </a:ext>
              </a:extLst>
            </p:cNvPr>
            <p:cNvSpPr>
              <a:spLocks noEditPoints="1"/>
            </p:cNvSpPr>
            <p:nvPr/>
          </p:nvSpPr>
          <p:spPr bwMode="auto">
            <a:xfrm>
              <a:off x="7573279" y="3222992"/>
              <a:ext cx="858719" cy="356576"/>
            </a:xfrm>
            <a:custGeom>
              <a:avLst/>
              <a:gdLst>
                <a:gd name="T0" fmla="*/ 331 w 643"/>
                <a:gd name="T1" fmla="*/ 243 h 267"/>
                <a:gd name="T2" fmla="*/ 340 w 643"/>
                <a:gd name="T3" fmla="*/ 232 h 267"/>
                <a:gd name="T4" fmla="*/ 300 w 643"/>
                <a:gd name="T5" fmla="*/ 225 h 267"/>
                <a:gd name="T6" fmla="*/ 333 w 643"/>
                <a:gd name="T7" fmla="*/ 224 h 267"/>
                <a:gd name="T8" fmla="*/ 318 w 643"/>
                <a:gd name="T9" fmla="*/ 234 h 267"/>
                <a:gd name="T10" fmla="*/ 384 w 643"/>
                <a:gd name="T11" fmla="*/ 227 h 267"/>
                <a:gd name="T12" fmla="*/ 380 w 643"/>
                <a:gd name="T13" fmla="*/ 229 h 267"/>
                <a:gd name="T14" fmla="*/ 440 w 643"/>
                <a:gd name="T15" fmla="*/ 216 h 267"/>
                <a:gd name="T16" fmla="*/ 371 w 643"/>
                <a:gd name="T17" fmla="*/ 210 h 267"/>
                <a:gd name="T18" fmla="*/ 357 w 643"/>
                <a:gd name="T19" fmla="*/ 206 h 267"/>
                <a:gd name="T20" fmla="*/ 551 w 643"/>
                <a:gd name="T21" fmla="*/ 196 h 267"/>
                <a:gd name="T22" fmla="*/ 189 w 643"/>
                <a:gd name="T23" fmla="*/ 201 h 267"/>
                <a:gd name="T24" fmla="*/ 268 w 643"/>
                <a:gd name="T25" fmla="*/ 230 h 267"/>
                <a:gd name="T26" fmla="*/ 170 w 643"/>
                <a:gd name="T27" fmla="*/ 212 h 267"/>
                <a:gd name="T28" fmla="*/ 246 w 643"/>
                <a:gd name="T29" fmla="*/ 185 h 267"/>
                <a:gd name="T30" fmla="*/ 551 w 643"/>
                <a:gd name="T31" fmla="*/ 180 h 267"/>
                <a:gd name="T32" fmla="*/ 387 w 643"/>
                <a:gd name="T33" fmla="*/ 170 h 267"/>
                <a:gd name="T34" fmla="*/ 395 w 643"/>
                <a:gd name="T35" fmla="*/ 157 h 267"/>
                <a:gd name="T36" fmla="*/ 455 w 643"/>
                <a:gd name="T37" fmla="*/ 147 h 267"/>
                <a:gd name="T38" fmla="*/ 165 w 643"/>
                <a:gd name="T39" fmla="*/ 141 h 267"/>
                <a:gd name="T40" fmla="*/ 465 w 643"/>
                <a:gd name="T41" fmla="*/ 139 h 267"/>
                <a:gd name="T42" fmla="*/ 67 w 643"/>
                <a:gd name="T43" fmla="*/ 127 h 267"/>
                <a:gd name="T44" fmla="*/ 550 w 643"/>
                <a:gd name="T45" fmla="*/ 121 h 267"/>
                <a:gd name="T46" fmla="*/ 579 w 643"/>
                <a:gd name="T47" fmla="*/ 124 h 267"/>
                <a:gd name="T48" fmla="*/ 152 w 643"/>
                <a:gd name="T49" fmla="*/ 121 h 267"/>
                <a:gd name="T50" fmla="*/ 396 w 643"/>
                <a:gd name="T51" fmla="*/ 119 h 267"/>
                <a:gd name="T52" fmla="*/ 56 w 643"/>
                <a:gd name="T53" fmla="*/ 108 h 267"/>
                <a:gd name="T54" fmla="*/ 496 w 643"/>
                <a:gd name="T55" fmla="*/ 101 h 267"/>
                <a:gd name="T56" fmla="*/ 570 w 643"/>
                <a:gd name="T57" fmla="*/ 143 h 267"/>
                <a:gd name="T58" fmla="*/ 637 w 643"/>
                <a:gd name="T59" fmla="*/ 201 h 267"/>
                <a:gd name="T60" fmla="*/ 611 w 643"/>
                <a:gd name="T61" fmla="*/ 204 h 267"/>
                <a:gd name="T62" fmla="*/ 554 w 643"/>
                <a:gd name="T63" fmla="*/ 156 h 267"/>
                <a:gd name="T64" fmla="*/ 525 w 643"/>
                <a:gd name="T65" fmla="*/ 146 h 267"/>
                <a:gd name="T66" fmla="*/ 530 w 643"/>
                <a:gd name="T67" fmla="*/ 129 h 267"/>
                <a:gd name="T68" fmla="*/ 376 w 643"/>
                <a:gd name="T69" fmla="*/ 100 h 267"/>
                <a:gd name="T70" fmla="*/ 373 w 643"/>
                <a:gd name="T71" fmla="*/ 97 h 267"/>
                <a:gd name="T72" fmla="*/ 140 w 643"/>
                <a:gd name="T73" fmla="*/ 99 h 267"/>
                <a:gd name="T74" fmla="*/ 116 w 643"/>
                <a:gd name="T75" fmla="*/ 82 h 267"/>
                <a:gd name="T76" fmla="*/ 115 w 643"/>
                <a:gd name="T77" fmla="*/ 82 h 267"/>
                <a:gd name="T78" fmla="*/ 37 w 643"/>
                <a:gd name="T79" fmla="*/ 70 h 267"/>
                <a:gd name="T80" fmla="*/ 407 w 643"/>
                <a:gd name="T81" fmla="*/ 87 h 267"/>
                <a:gd name="T82" fmla="*/ 381 w 643"/>
                <a:gd name="T83" fmla="*/ 106 h 267"/>
                <a:gd name="T84" fmla="*/ 381 w 643"/>
                <a:gd name="T85" fmla="*/ 148 h 267"/>
                <a:gd name="T86" fmla="*/ 354 w 643"/>
                <a:gd name="T87" fmla="*/ 140 h 267"/>
                <a:gd name="T88" fmla="*/ 333 w 643"/>
                <a:gd name="T89" fmla="*/ 147 h 267"/>
                <a:gd name="T90" fmla="*/ 362 w 643"/>
                <a:gd name="T91" fmla="*/ 77 h 267"/>
                <a:gd name="T92" fmla="*/ 92 w 643"/>
                <a:gd name="T93" fmla="*/ 61 h 267"/>
                <a:gd name="T94" fmla="*/ 469 w 643"/>
                <a:gd name="T95" fmla="*/ 87 h 267"/>
                <a:gd name="T96" fmla="*/ 331 w 643"/>
                <a:gd name="T97" fmla="*/ 57 h 267"/>
                <a:gd name="T98" fmla="*/ 151 w 643"/>
                <a:gd name="T99" fmla="*/ 48 h 267"/>
                <a:gd name="T100" fmla="*/ 187 w 643"/>
                <a:gd name="T101" fmla="*/ 35 h 267"/>
                <a:gd name="T102" fmla="*/ 317 w 643"/>
                <a:gd name="T103" fmla="*/ 48 h 267"/>
                <a:gd name="T104" fmla="*/ 316 w 643"/>
                <a:gd name="T105" fmla="*/ 106 h 267"/>
                <a:gd name="T106" fmla="*/ 274 w 643"/>
                <a:gd name="T107" fmla="*/ 157 h 267"/>
                <a:gd name="T108" fmla="*/ 215 w 643"/>
                <a:gd name="T109" fmla="*/ 138 h 267"/>
                <a:gd name="T110" fmla="*/ 198 w 643"/>
                <a:gd name="T111" fmla="*/ 72 h 267"/>
                <a:gd name="T112" fmla="*/ 279 w 643"/>
                <a:gd name="T113" fmla="*/ 63 h 267"/>
                <a:gd name="T114" fmla="*/ 23 w 643"/>
                <a:gd name="T115" fmla="*/ 12 h 267"/>
                <a:gd name="T116" fmla="*/ 94 w 643"/>
                <a:gd name="T117" fmla="*/ 68 h 267"/>
                <a:gd name="T118" fmla="*/ 134 w 643"/>
                <a:gd name="T119" fmla="*/ 119 h 267"/>
                <a:gd name="T120" fmla="*/ 149 w 643"/>
                <a:gd name="T121" fmla="*/ 187 h 267"/>
                <a:gd name="T122" fmla="*/ 80 w 643"/>
                <a:gd name="T123" fmla="*/ 114 h 267"/>
                <a:gd name="T124" fmla="*/ 13 w 643"/>
                <a:gd name="T125" fmla="*/ 24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3" h="267">
                  <a:moveTo>
                    <a:pt x="365" y="261"/>
                  </a:moveTo>
                  <a:lnTo>
                    <a:pt x="365" y="262"/>
                  </a:lnTo>
                  <a:lnTo>
                    <a:pt x="364" y="262"/>
                  </a:lnTo>
                  <a:lnTo>
                    <a:pt x="364" y="261"/>
                  </a:lnTo>
                  <a:lnTo>
                    <a:pt x="365" y="261"/>
                  </a:lnTo>
                  <a:close/>
                  <a:moveTo>
                    <a:pt x="389" y="261"/>
                  </a:moveTo>
                  <a:lnTo>
                    <a:pt x="389" y="262"/>
                  </a:lnTo>
                  <a:lnTo>
                    <a:pt x="388" y="262"/>
                  </a:lnTo>
                  <a:lnTo>
                    <a:pt x="388" y="264"/>
                  </a:lnTo>
                  <a:lnTo>
                    <a:pt x="387" y="264"/>
                  </a:lnTo>
                  <a:lnTo>
                    <a:pt x="387" y="265"/>
                  </a:lnTo>
                  <a:lnTo>
                    <a:pt x="386" y="265"/>
                  </a:lnTo>
                  <a:lnTo>
                    <a:pt x="383" y="266"/>
                  </a:lnTo>
                  <a:lnTo>
                    <a:pt x="382" y="266"/>
                  </a:lnTo>
                  <a:lnTo>
                    <a:pt x="383" y="266"/>
                  </a:lnTo>
                  <a:lnTo>
                    <a:pt x="382" y="267"/>
                  </a:lnTo>
                  <a:lnTo>
                    <a:pt x="381" y="267"/>
                  </a:lnTo>
                  <a:lnTo>
                    <a:pt x="381" y="266"/>
                  </a:lnTo>
                  <a:lnTo>
                    <a:pt x="381" y="265"/>
                  </a:lnTo>
                  <a:lnTo>
                    <a:pt x="381" y="264"/>
                  </a:lnTo>
                  <a:lnTo>
                    <a:pt x="382" y="264"/>
                  </a:lnTo>
                  <a:lnTo>
                    <a:pt x="383" y="264"/>
                  </a:lnTo>
                  <a:lnTo>
                    <a:pt x="384" y="264"/>
                  </a:lnTo>
                  <a:lnTo>
                    <a:pt x="384" y="262"/>
                  </a:lnTo>
                  <a:lnTo>
                    <a:pt x="386" y="262"/>
                  </a:lnTo>
                  <a:lnTo>
                    <a:pt x="386" y="261"/>
                  </a:lnTo>
                  <a:lnTo>
                    <a:pt x="387" y="261"/>
                  </a:lnTo>
                  <a:lnTo>
                    <a:pt x="387" y="260"/>
                  </a:lnTo>
                  <a:lnTo>
                    <a:pt x="388" y="260"/>
                  </a:lnTo>
                  <a:lnTo>
                    <a:pt x="389" y="260"/>
                  </a:lnTo>
                  <a:lnTo>
                    <a:pt x="389" y="259"/>
                  </a:lnTo>
                  <a:lnTo>
                    <a:pt x="389" y="260"/>
                  </a:lnTo>
                  <a:lnTo>
                    <a:pt x="389" y="261"/>
                  </a:lnTo>
                  <a:close/>
                  <a:moveTo>
                    <a:pt x="369" y="259"/>
                  </a:moveTo>
                  <a:lnTo>
                    <a:pt x="371" y="259"/>
                  </a:lnTo>
                  <a:lnTo>
                    <a:pt x="371" y="260"/>
                  </a:lnTo>
                  <a:lnTo>
                    <a:pt x="369" y="260"/>
                  </a:lnTo>
                  <a:lnTo>
                    <a:pt x="369" y="261"/>
                  </a:lnTo>
                  <a:lnTo>
                    <a:pt x="368" y="261"/>
                  </a:lnTo>
                  <a:lnTo>
                    <a:pt x="367" y="261"/>
                  </a:lnTo>
                  <a:lnTo>
                    <a:pt x="366" y="261"/>
                  </a:lnTo>
                  <a:lnTo>
                    <a:pt x="368" y="260"/>
                  </a:lnTo>
                  <a:lnTo>
                    <a:pt x="368" y="259"/>
                  </a:lnTo>
                  <a:lnTo>
                    <a:pt x="369" y="259"/>
                  </a:lnTo>
                  <a:close/>
                  <a:moveTo>
                    <a:pt x="390" y="255"/>
                  </a:moveTo>
                  <a:lnTo>
                    <a:pt x="390" y="257"/>
                  </a:lnTo>
                  <a:lnTo>
                    <a:pt x="390" y="258"/>
                  </a:lnTo>
                  <a:lnTo>
                    <a:pt x="389" y="258"/>
                  </a:lnTo>
                  <a:lnTo>
                    <a:pt x="389" y="257"/>
                  </a:lnTo>
                  <a:lnTo>
                    <a:pt x="389" y="258"/>
                  </a:lnTo>
                  <a:lnTo>
                    <a:pt x="389" y="257"/>
                  </a:lnTo>
                  <a:lnTo>
                    <a:pt x="389" y="255"/>
                  </a:lnTo>
                  <a:lnTo>
                    <a:pt x="390" y="254"/>
                  </a:lnTo>
                  <a:lnTo>
                    <a:pt x="391" y="254"/>
                  </a:lnTo>
                  <a:lnTo>
                    <a:pt x="391" y="255"/>
                  </a:lnTo>
                  <a:lnTo>
                    <a:pt x="390" y="255"/>
                  </a:lnTo>
                  <a:close/>
                  <a:moveTo>
                    <a:pt x="344" y="241"/>
                  </a:moveTo>
                  <a:lnTo>
                    <a:pt x="345" y="243"/>
                  </a:lnTo>
                  <a:lnTo>
                    <a:pt x="345" y="244"/>
                  </a:lnTo>
                  <a:lnTo>
                    <a:pt x="346" y="244"/>
                  </a:lnTo>
                  <a:lnTo>
                    <a:pt x="347" y="244"/>
                  </a:lnTo>
                  <a:lnTo>
                    <a:pt x="347" y="245"/>
                  </a:lnTo>
                  <a:lnTo>
                    <a:pt x="347" y="246"/>
                  </a:lnTo>
                  <a:lnTo>
                    <a:pt x="348" y="247"/>
                  </a:lnTo>
                  <a:lnTo>
                    <a:pt x="348" y="246"/>
                  </a:lnTo>
                  <a:lnTo>
                    <a:pt x="350" y="246"/>
                  </a:lnTo>
                  <a:lnTo>
                    <a:pt x="351" y="246"/>
                  </a:lnTo>
                  <a:lnTo>
                    <a:pt x="351" y="247"/>
                  </a:lnTo>
                  <a:lnTo>
                    <a:pt x="352" y="247"/>
                  </a:lnTo>
                  <a:lnTo>
                    <a:pt x="352" y="248"/>
                  </a:lnTo>
                  <a:lnTo>
                    <a:pt x="352" y="250"/>
                  </a:lnTo>
                  <a:lnTo>
                    <a:pt x="353" y="250"/>
                  </a:lnTo>
                  <a:lnTo>
                    <a:pt x="353" y="251"/>
                  </a:lnTo>
                  <a:lnTo>
                    <a:pt x="354" y="251"/>
                  </a:lnTo>
                  <a:lnTo>
                    <a:pt x="354" y="252"/>
                  </a:lnTo>
                  <a:lnTo>
                    <a:pt x="354" y="253"/>
                  </a:lnTo>
                  <a:lnTo>
                    <a:pt x="354" y="254"/>
                  </a:lnTo>
                  <a:lnTo>
                    <a:pt x="353" y="254"/>
                  </a:lnTo>
                  <a:lnTo>
                    <a:pt x="353" y="255"/>
                  </a:lnTo>
                  <a:lnTo>
                    <a:pt x="352" y="255"/>
                  </a:lnTo>
                  <a:lnTo>
                    <a:pt x="351" y="255"/>
                  </a:lnTo>
                  <a:lnTo>
                    <a:pt x="350" y="257"/>
                  </a:lnTo>
                  <a:lnTo>
                    <a:pt x="348" y="257"/>
                  </a:lnTo>
                  <a:lnTo>
                    <a:pt x="346" y="255"/>
                  </a:lnTo>
                  <a:lnTo>
                    <a:pt x="345" y="255"/>
                  </a:lnTo>
                  <a:lnTo>
                    <a:pt x="344" y="254"/>
                  </a:lnTo>
                  <a:lnTo>
                    <a:pt x="344" y="253"/>
                  </a:lnTo>
                  <a:lnTo>
                    <a:pt x="343" y="252"/>
                  </a:lnTo>
                  <a:lnTo>
                    <a:pt x="341" y="252"/>
                  </a:lnTo>
                  <a:lnTo>
                    <a:pt x="341" y="251"/>
                  </a:lnTo>
                  <a:lnTo>
                    <a:pt x="340" y="251"/>
                  </a:lnTo>
                  <a:lnTo>
                    <a:pt x="340" y="250"/>
                  </a:lnTo>
                  <a:lnTo>
                    <a:pt x="339" y="250"/>
                  </a:lnTo>
                  <a:lnTo>
                    <a:pt x="339" y="248"/>
                  </a:lnTo>
                  <a:lnTo>
                    <a:pt x="338" y="248"/>
                  </a:lnTo>
                  <a:lnTo>
                    <a:pt x="337" y="248"/>
                  </a:lnTo>
                  <a:lnTo>
                    <a:pt x="336" y="248"/>
                  </a:lnTo>
                  <a:lnTo>
                    <a:pt x="334" y="248"/>
                  </a:lnTo>
                  <a:lnTo>
                    <a:pt x="333" y="248"/>
                  </a:lnTo>
                  <a:lnTo>
                    <a:pt x="332" y="248"/>
                  </a:lnTo>
                  <a:lnTo>
                    <a:pt x="331" y="247"/>
                  </a:lnTo>
                  <a:lnTo>
                    <a:pt x="330" y="247"/>
                  </a:lnTo>
                  <a:lnTo>
                    <a:pt x="330" y="246"/>
                  </a:lnTo>
                  <a:lnTo>
                    <a:pt x="329" y="245"/>
                  </a:lnTo>
                  <a:lnTo>
                    <a:pt x="330" y="244"/>
                  </a:lnTo>
                  <a:lnTo>
                    <a:pt x="330" y="243"/>
                  </a:lnTo>
                  <a:lnTo>
                    <a:pt x="331" y="243"/>
                  </a:lnTo>
                  <a:lnTo>
                    <a:pt x="332" y="243"/>
                  </a:lnTo>
                  <a:lnTo>
                    <a:pt x="333" y="243"/>
                  </a:lnTo>
                  <a:lnTo>
                    <a:pt x="333" y="241"/>
                  </a:lnTo>
                  <a:lnTo>
                    <a:pt x="334" y="241"/>
                  </a:lnTo>
                  <a:lnTo>
                    <a:pt x="336" y="243"/>
                  </a:lnTo>
                  <a:lnTo>
                    <a:pt x="336" y="241"/>
                  </a:lnTo>
                  <a:lnTo>
                    <a:pt x="337" y="241"/>
                  </a:lnTo>
                  <a:lnTo>
                    <a:pt x="337" y="243"/>
                  </a:lnTo>
                  <a:lnTo>
                    <a:pt x="338" y="241"/>
                  </a:lnTo>
                  <a:lnTo>
                    <a:pt x="339" y="241"/>
                  </a:lnTo>
                  <a:lnTo>
                    <a:pt x="341" y="243"/>
                  </a:lnTo>
                  <a:lnTo>
                    <a:pt x="344" y="240"/>
                  </a:lnTo>
                  <a:lnTo>
                    <a:pt x="344" y="241"/>
                  </a:lnTo>
                  <a:close/>
                  <a:moveTo>
                    <a:pt x="412" y="237"/>
                  </a:moveTo>
                  <a:lnTo>
                    <a:pt x="414" y="238"/>
                  </a:lnTo>
                  <a:lnTo>
                    <a:pt x="414" y="237"/>
                  </a:lnTo>
                  <a:lnTo>
                    <a:pt x="415" y="237"/>
                  </a:lnTo>
                  <a:lnTo>
                    <a:pt x="415" y="236"/>
                  </a:lnTo>
                  <a:lnTo>
                    <a:pt x="416" y="237"/>
                  </a:lnTo>
                  <a:lnTo>
                    <a:pt x="416" y="238"/>
                  </a:lnTo>
                  <a:lnTo>
                    <a:pt x="416" y="239"/>
                  </a:lnTo>
                  <a:lnTo>
                    <a:pt x="415" y="239"/>
                  </a:lnTo>
                  <a:lnTo>
                    <a:pt x="414" y="239"/>
                  </a:lnTo>
                  <a:lnTo>
                    <a:pt x="412" y="239"/>
                  </a:lnTo>
                  <a:lnTo>
                    <a:pt x="412" y="240"/>
                  </a:lnTo>
                  <a:lnTo>
                    <a:pt x="414" y="241"/>
                  </a:lnTo>
                  <a:lnTo>
                    <a:pt x="414" y="243"/>
                  </a:lnTo>
                  <a:lnTo>
                    <a:pt x="414" y="244"/>
                  </a:lnTo>
                  <a:lnTo>
                    <a:pt x="414" y="245"/>
                  </a:lnTo>
                  <a:lnTo>
                    <a:pt x="412" y="245"/>
                  </a:lnTo>
                  <a:lnTo>
                    <a:pt x="412" y="246"/>
                  </a:lnTo>
                  <a:lnTo>
                    <a:pt x="411" y="247"/>
                  </a:lnTo>
                  <a:lnTo>
                    <a:pt x="411" y="248"/>
                  </a:lnTo>
                  <a:lnTo>
                    <a:pt x="409" y="250"/>
                  </a:lnTo>
                  <a:lnTo>
                    <a:pt x="409" y="251"/>
                  </a:lnTo>
                  <a:lnTo>
                    <a:pt x="408" y="251"/>
                  </a:lnTo>
                  <a:lnTo>
                    <a:pt x="407" y="252"/>
                  </a:lnTo>
                  <a:lnTo>
                    <a:pt x="407" y="253"/>
                  </a:lnTo>
                  <a:lnTo>
                    <a:pt x="405" y="253"/>
                  </a:lnTo>
                  <a:lnTo>
                    <a:pt x="405" y="254"/>
                  </a:lnTo>
                  <a:lnTo>
                    <a:pt x="404" y="254"/>
                  </a:lnTo>
                  <a:lnTo>
                    <a:pt x="403" y="254"/>
                  </a:lnTo>
                  <a:lnTo>
                    <a:pt x="402" y="254"/>
                  </a:lnTo>
                  <a:lnTo>
                    <a:pt x="401" y="254"/>
                  </a:lnTo>
                  <a:lnTo>
                    <a:pt x="400" y="254"/>
                  </a:lnTo>
                  <a:lnTo>
                    <a:pt x="400" y="255"/>
                  </a:lnTo>
                  <a:lnTo>
                    <a:pt x="398" y="255"/>
                  </a:lnTo>
                  <a:lnTo>
                    <a:pt x="398" y="257"/>
                  </a:lnTo>
                  <a:lnTo>
                    <a:pt x="397" y="257"/>
                  </a:lnTo>
                  <a:lnTo>
                    <a:pt x="396" y="258"/>
                  </a:lnTo>
                  <a:lnTo>
                    <a:pt x="395" y="258"/>
                  </a:lnTo>
                  <a:lnTo>
                    <a:pt x="394" y="258"/>
                  </a:lnTo>
                  <a:lnTo>
                    <a:pt x="393" y="258"/>
                  </a:lnTo>
                  <a:lnTo>
                    <a:pt x="391" y="258"/>
                  </a:lnTo>
                  <a:lnTo>
                    <a:pt x="390" y="258"/>
                  </a:lnTo>
                  <a:lnTo>
                    <a:pt x="391" y="257"/>
                  </a:lnTo>
                  <a:lnTo>
                    <a:pt x="391" y="255"/>
                  </a:lnTo>
                  <a:lnTo>
                    <a:pt x="393" y="254"/>
                  </a:lnTo>
                  <a:lnTo>
                    <a:pt x="394" y="254"/>
                  </a:lnTo>
                  <a:lnTo>
                    <a:pt x="395" y="253"/>
                  </a:lnTo>
                  <a:lnTo>
                    <a:pt x="395" y="252"/>
                  </a:lnTo>
                  <a:lnTo>
                    <a:pt x="394" y="252"/>
                  </a:lnTo>
                  <a:lnTo>
                    <a:pt x="393" y="253"/>
                  </a:lnTo>
                  <a:lnTo>
                    <a:pt x="393" y="252"/>
                  </a:lnTo>
                  <a:lnTo>
                    <a:pt x="393" y="251"/>
                  </a:lnTo>
                  <a:lnTo>
                    <a:pt x="394" y="251"/>
                  </a:lnTo>
                  <a:lnTo>
                    <a:pt x="394" y="250"/>
                  </a:lnTo>
                  <a:lnTo>
                    <a:pt x="394" y="248"/>
                  </a:lnTo>
                  <a:lnTo>
                    <a:pt x="395" y="246"/>
                  </a:lnTo>
                  <a:lnTo>
                    <a:pt x="395" y="245"/>
                  </a:lnTo>
                  <a:lnTo>
                    <a:pt x="396" y="245"/>
                  </a:lnTo>
                  <a:lnTo>
                    <a:pt x="396" y="244"/>
                  </a:lnTo>
                  <a:lnTo>
                    <a:pt x="397" y="244"/>
                  </a:lnTo>
                  <a:lnTo>
                    <a:pt x="398" y="243"/>
                  </a:lnTo>
                  <a:lnTo>
                    <a:pt x="400" y="241"/>
                  </a:lnTo>
                  <a:lnTo>
                    <a:pt x="401" y="243"/>
                  </a:lnTo>
                  <a:lnTo>
                    <a:pt x="402" y="243"/>
                  </a:lnTo>
                  <a:lnTo>
                    <a:pt x="403" y="243"/>
                  </a:lnTo>
                  <a:lnTo>
                    <a:pt x="403" y="244"/>
                  </a:lnTo>
                  <a:lnTo>
                    <a:pt x="404" y="244"/>
                  </a:lnTo>
                  <a:lnTo>
                    <a:pt x="404" y="243"/>
                  </a:lnTo>
                  <a:lnTo>
                    <a:pt x="404" y="241"/>
                  </a:lnTo>
                  <a:lnTo>
                    <a:pt x="405" y="241"/>
                  </a:lnTo>
                  <a:lnTo>
                    <a:pt x="405" y="240"/>
                  </a:lnTo>
                  <a:lnTo>
                    <a:pt x="405" y="239"/>
                  </a:lnTo>
                  <a:lnTo>
                    <a:pt x="407" y="239"/>
                  </a:lnTo>
                  <a:lnTo>
                    <a:pt x="408" y="239"/>
                  </a:lnTo>
                  <a:lnTo>
                    <a:pt x="409" y="238"/>
                  </a:lnTo>
                  <a:lnTo>
                    <a:pt x="409" y="237"/>
                  </a:lnTo>
                  <a:lnTo>
                    <a:pt x="410" y="237"/>
                  </a:lnTo>
                  <a:lnTo>
                    <a:pt x="411" y="237"/>
                  </a:lnTo>
                  <a:lnTo>
                    <a:pt x="411" y="236"/>
                  </a:lnTo>
                  <a:lnTo>
                    <a:pt x="412" y="236"/>
                  </a:lnTo>
                  <a:lnTo>
                    <a:pt x="412" y="237"/>
                  </a:lnTo>
                  <a:close/>
                  <a:moveTo>
                    <a:pt x="283" y="231"/>
                  </a:moveTo>
                  <a:lnTo>
                    <a:pt x="283" y="232"/>
                  </a:lnTo>
                  <a:lnTo>
                    <a:pt x="284" y="232"/>
                  </a:lnTo>
                  <a:lnTo>
                    <a:pt x="283" y="233"/>
                  </a:lnTo>
                  <a:lnTo>
                    <a:pt x="282" y="232"/>
                  </a:lnTo>
                  <a:lnTo>
                    <a:pt x="282" y="231"/>
                  </a:lnTo>
                  <a:lnTo>
                    <a:pt x="283" y="231"/>
                  </a:lnTo>
                  <a:close/>
                  <a:moveTo>
                    <a:pt x="340" y="231"/>
                  </a:moveTo>
                  <a:lnTo>
                    <a:pt x="341" y="231"/>
                  </a:lnTo>
                  <a:lnTo>
                    <a:pt x="341" y="230"/>
                  </a:lnTo>
                  <a:lnTo>
                    <a:pt x="341" y="231"/>
                  </a:lnTo>
                  <a:lnTo>
                    <a:pt x="340" y="231"/>
                  </a:lnTo>
                  <a:lnTo>
                    <a:pt x="340" y="232"/>
                  </a:lnTo>
                  <a:lnTo>
                    <a:pt x="340" y="233"/>
                  </a:lnTo>
                  <a:lnTo>
                    <a:pt x="340" y="232"/>
                  </a:lnTo>
                  <a:lnTo>
                    <a:pt x="339" y="232"/>
                  </a:lnTo>
                  <a:lnTo>
                    <a:pt x="340" y="231"/>
                  </a:lnTo>
                  <a:lnTo>
                    <a:pt x="339" y="230"/>
                  </a:lnTo>
                  <a:lnTo>
                    <a:pt x="340" y="230"/>
                  </a:lnTo>
                  <a:lnTo>
                    <a:pt x="340" y="231"/>
                  </a:lnTo>
                  <a:close/>
                  <a:moveTo>
                    <a:pt x="379" y="229"/>
                  </a:moveTo>
                  <a:lnTo>
                    <a:pt x="378" y="229"/>
                  </a:lnTo>
                  <a:lnTo>
                    <a:pt x="378" y="227"/>
                  </a:lnTo>
                  <a:lnTo>
                    <a:pt x="379" y="227"/>
                  </a:lnTo>
                  <a:lnTo>
                    <a:pt x="379" y="229"/>
                  </a:lnTo>
                  <a:close/>
                  <a:moveTo>
                    <a:pt x="253" y="229"/>
                  </a:moveTo>
                  <a:lnTo>
                    <a:pt x="252" y="229"/>
                  </a:lnTo>
                  <a:lnTo>
                    <a:pt x="252" y="227"/>
                  </a:lnTo>
                  <a:lnTo>
                    <a:pt x="253" y="227"/>
                  </a:lnTo>
                  <a:lnTo>
                    <a:pt x="253" y="229"/>
                  </a:lnTo>
                  <a:close/>
                  <a:moveTo>
                    <a:pt x="338" y="227"/>
                  </a:moveTo>
                  <a:lnTo>
                    <a:pt x="338" y="229"/>
                  </a:lnTo>
                  <a:lnTo>
                    <a:pt x="338" y="227"/>
                  </a:lnTo>
                  <a:lnTo>
                    <a:pt x="339" y="227"/>
                  </a:lnTo>
                  <a:lnTo>
                    <a:pt x="339" y="229"/>
                  </a:lnTo>
                  <a:lnTo>
                    <a:pt x="339" y="230"/>
                  </a:lnTo>
                  <a:lnTo>
                    <a:pt x="338" y="230"/>
                  </a:lnTo>
                  <a:lnTo>
                    <a:pt x="337" y="230"/>
                  </a:lnTo>
                  <a:lnTo>
                    <a:pt x="338" y="230"/>
                  </a:lnTo>
                  <a:lnTo>
                    <a:pt x="338" y="231"/>
                  </a:lnTo>
                  <a:lnTo>
                    <a:pt x="337" y="231"/>
                  </a:lnTo>
                  <a:lnTo>
                    <a:pt x="337" y="232"/>
                  </a:lnTo>
                  <a:lnTo>
                    <a:pt x="336" y="232"/>
                  </a:lnTo>
                  <a:lnTo>
                    <a:pt x="337" y="231"/>
                  </a:lnTo>
                  <a:lnTo>
                    <a:pt x="337" y="230"/>
                  </a:lnTo>
                  <a:lnTo>
                    <a:pt x="337" y="229"/>
                  </a:lnTo>
                  <a:lnTo>
                    <a:pt x="337" y="227"/>
                  </a:lnTo>
                  <a:lnTo>
                    <a:pt x="338" y="227"/>
                  </a:lnTo>
                  <a:close/>
                  <a:moveTo>
                    <a:pt x="389" y="227"/>
                  </a:moveTo>
                  <a:lnTo>
                    <a:pt x="388" y="227"/>
                  </a:lnTo>
                  <a:lnTo>
                    <a:pt x="387" y="229"/>
                  </a:lnTo>
                  <a:lnTo>
                    <a:pt x="386" y="230"/>
                  </a:lnTo>
                  <a:lnTo>
                    <a:pt x="384" y="230"/>
                  </a:lnTo>
                  <a:lnTo>
                    <a:pt x="386" y="229"/>
                  </a:lnTo>
                  <a:lnTo>
                    <a:pt x="387" y="227"/>
                  </a:lnTo>
                  <a:lnTo>
                    <a:pt x="388" y="227"/>
                  </a:lnTo>
                  <a:lnTo>
                    <a:pt x="389" y="227"/>
                  </a:lnTo>
                  <a:close/>
                  <a:moveTo>
                    <a:pt x="369" y="226"/>
                  </a:moveTo>
                  <a:lnTo>
                    <a:pt x="368" y="226"/>
                  </a:lnTo>
                  <a:lnTo>
                    <a:pt x="368" y="225"/>
                  </a:lnTo>
                  <a:lnTo>
                    <a:pt x="369" y="225"/>
                  </a:lnTo>
                  <a:lnTo>
                    <a:pt x="369" y="226"/>
                  </a:lnTo>
                  <a:close/>
                  <a:moveTo>
                    <a:pt x="391" y="224"/>
                  </a:moveTo>
                  <a:lnTo>
                    <a:pt x="391" y="225"/>
                  </a:lnTo>
                  <a:lnTo>
                    <a:pt x="391" y="226"/>
                  </a:lnTo>
                  <a:lnTo>
                    <a:pt x="390" y="226"/>
                  </a:lnTo>
                  <a:lnTo>
                    <a:pt x="389" y="226"/>
                  </a:lnTo>
                  <a:lnTo>
                    <a:pt x="388" y="226"/>
                  </a:lnTo>
                  <a:lnTo>
                    <a:pt x="387" y="226"/>
                  </a:lnTo>
                  <a:lnTo>
                    <a:pt x="387" y="225"/>
                  </a:lnTo>
                  <a:lnTo>
                    <a:pt x="389" y="224"/>
                  </a:lnTo>
                  <a:lnTo>
                    <a:pt x="390" y="224"/>
                  </a:lnTo>
                  <a:lnTo>
                    <a:pt x="391" y="224"/>
                  </a:lnTo>
                  <a:close/>
                  <a:moveTo>
                    <a:pt x="300" y="226"/>
                  </a:moveTo>
                  <a:lnTo>
                    <a:pt x="300" y="227"/>
                  </a:lnTo>
                  <a:lnTo>
                    <a:pt x="298" y="227"/>
                  </a:lnTo>
                  <a:lnTo>
                    <a:pt x="298" y="229"/>
                  </a:lnTo>
                  <a:lnTo>
                    <a:pt x="298" y="230"/>
                  </a:lnTo>
                  <a:lnTo>
                    <a:pt x="298" y="231"/>
                  </a:lnTo>
                  <a:lnTo>
                    <a:pt x="297" y="231"/>
                  </a:lnTo>
                  <a:lnTo>
                    <a:pt x="297" y="232"/>
                  </a:lnTo>
                  <a:lnTo>
                    <a:pt x="296" y="232"/>
                  </a:lnTo>
                  <a:lnTo>
                    <a:pt x="296" y="233"/>
                  </a:lnTo>
                  <a:lnTo>
                    <a:pt x="296" y="234"/>
                  </a:lnTo>
                  <a:lnTo>
                    <a:pt x="296" y="233"/>
                  </a:lnTo>
                  <a:lnTo>
                    <a:pt x="297" y="233"/>
                  </a:lnTo>
                  <a:lnTo>
                    <a:pt x="297" y="234"/>
                  </a:lnTo>
                  <a:lnTo>
                    <a:pt x="296" y="234"/>
                  </a:lnTo>
                  <a:lnTo>
                    <a:pt x="295" y="234"/>
                  </a:lnTo>
                  <a:lnTo>
                    <a:pt x="296" y="233"/>
                  </a:lnTo>
                  <a:lnTo>
                    <a:pt x="295" y="233"/>
                  </a:lnTo>
                  <a:lnTo>
                    <a:pt x="295" y="234"/>
                  </a:lnTo>
                  <a:lnTo>
                    <a:pt x="295" y="236"/>
                  </a:lnTo>
                  <a:lnTo>
                    <a:pt x="294" y="236"/>
                  </a:lnTo>
                  <a:lnTo>
                    <a:pt x="294" y="234"/>
                  </a:lnTo>
                  <a:lnTo>
                    <a:pt x="293" y="234"/>
                  </a:lnTo>
                  <a:lnTo>
                    <a:pt x="291" y="234"/>
                  </a:lnTo>
                  <a:lnTo>
                    <a:pt x="290" y="234"/>
                  </a:lnTo>
                  <a:lnTo>
                    <a:pt x="289" y="234"/>
                  </a:lnTo>
                  <a:lnTo>
                    <a:pt x="289" y="233"/>
                  </a:lnTo>
                  <a:lnTo>
                    <a:pt x="288" y="233"/>
                  </a:lnTo>
                  <a:lnTo>
                    <a:pt x="288" y="234"/>
                  </a:lnTo>
                  <a:lnTo>
                    <a:pt x="287" y="233"/>
                  </a:lnTo>
                  <a:lnTo>
                    <a:pt x="287" y="232"/>
                  </a:lnTo>
                  <a:lnTo>
                    <a:pt x="288" y="232"/>
                  </a:lnTo>
                  <a:lnTo>
                    <a:pt x="289" y="232"/>
                  </a:lnTo>
                  <a:lnTo>
                    <a:pt x="290" y="232"/>
                  </a:lnTo>
                  <a:lnTo>
                    <a:pt x="290" y="231"/>
                  </a:lnTo>
                  <a:lnTo>
                    <a:pt x="290" y="230"/>
                  </a:lnTo>
                  <a:lnTo>
                    <a:pt x="290" y="229"/>
                  </a:lnTo>
                  <a:lnTo>
                    <a:pt x="290" y="227"/>
                  </a:lnTo>
                  <a:lnTo>
                    <a:pt x="290" y="226"/>
                  </a:lnTo>
                  <a:lnTo>
                    <a:pt x="291" y="226"/>
                  </a:lnTo>
                  <a:lnTo>
                    <a:pt x="293" y="225"/>
                  </a:lnTo>
                  <a:lnTo>
                    <a:pt x="294" y="224"/>
                  </a:lnTo>
                  <a:lnTo>
                    <a:pt x="295" y="224"/>
                  </a:lnTo>
                  <a:lnTo>
                    <a:pt x="296" y="224"/>
                  </a:lnTo>
                  <a:lnTo>
                    <a:pt x="297" y="224"/>
                  </a:lnTo>
                  <a:lnTo>
                    <a:pt x="298" y="225"/>
                  </a:lnTo>
                  <a:lnTo>
                    <a:pt x="300" y="225"/>
                  </a:lnTo>
                  <a:lnTo>
                    <a:pt x="300" y="226"/>
                  </a:lnTo>
                  <a:close/>
                  <a:moveTo>
                    <a:pt x="460" y="224"/>
                  </a:moveTo>
                  <a:lnTo>
                    <a:pt x="460" y="225"/>
                  </a:lnTo>
                  <a:lnTo>
                    <a:pt x="459" y="225"/>
                  </a:lnTo>
                  <a:lnTo>
                    <a:pt x="458" y="225"/>
                  </a:lnTo>
                  <a:lnTo>
                    <a:pt x="458" y="224"/>
                  </a:lnTo>
                  <a:lnTo>
                    <a:pt x="459" y="224"/>
                  </a:lnTo>
                  <a:lnTo>
                    <a:pt x="460" y="224"/>
                  </a:lnTo>
                  <a:close/>
                  <a:moveTo>
                    <a:pt x="400" y="224"/>
                  </a:moveTo>
                  <a:lnTo>
                    <a:pt x="400" y="225"/>
                  </a:lnTo>
                  <a:lnTo>
                    <a:pt x="398" y="225"/>
                  </a:lnTo>
                  <a:lnTo>
                    <a:pt x="397" y="225"/>
                  </a:lnTo>
                  <a:lnTo>
                    <a:pt x="397" y="226"/>
                  </a:lnTo>
                  <a:lnTo>
                    <a:pt x="396" y="227"/>
                  </a:lnTo>
                  <a:lnTo>
                    <a:pt x="396" y="226"/>
                  </a:lnTo>
                  <a:lnTo>
                    <a:pt x="395" y="227"/>
                  </a:lnTo>
                  <a:lnTo>
                    <a:pt x="395" y="229"/>
                  </a:lnTo>
                  <a:lnTo>
                    <a:pt x="395" y="230"/>
                  </a:lnTo>
                  <a:lnTo>
                    <a:pt x="394" y="230"/>
                  </a:lnTo>
                  <a:lnTo>
                    <a:pt x="394" y="229"/>
                  </a:lnTo>
                  <a:lnTo>
                    <a:pt x="393" y="230"/>
                  </a:lnTo>
                  <a:lnTo>
                    <a:pt x="391" y="230"/>
                  </a:lnTo>
                  <a:lnTo>
                    <a:pt x="391" y="229"/>
                  </a:lnTo>
                  <a:lnTo>
                    <a:pt x="390" y="229"/>
                  </a:lnTo>
                  <a:lnTo>
                    <a:pt x="391" y="227"/>
                  </a:lnTo>
                  <a:lnTo>
                    <a:pt x="391" y="226"/>
                  </a:lnTo>
                  <a:lnTo>
                    <a:pt x="393" y="226"/>
                  </a:lnTo>
                  <a:lnTo>
                    <a:pt x="394" y="226"/>
                  </a:lnTo>
                  <a:lnTo>
                    <a:pt x="394" y="225"/>
                  </a:lnTo>
                  <a:lnTo>
                    <a:pt x="393" y="225"/>
                  </a:lnTo>
                  <a:lnTo>
                    <a:pt x="391" y="225"/>
                  </a:lnTo>
                  <a:lnTo>
                    <a:pt x="393" y="225"/>
                  </a:lnTo>
                  <a:lnTo>
                    <a:pt x="394" y="225"/>
                  </a:lnTo>
                  <a:lnTo>
                    <a:pt x="394" y="224"/>
                  </a:lnTo>
                  <a:lnTo>
                    <a:pt x="395" y="224"/>
                  </a:lnTo>
                  <a:lnTo>
                    <a:pt x="395" y="225"/>
                  </a:lnTo>
                  <a:lnTo>
                    <a:pt x="394" y="225"/>
                  </a:lnTo>
                  <a:lnTo>
                    <a:pt x="394" y="226"/>
                  </a:lnTo>
                  <a:lnTo>
                    <a:pt x="395" y="226"/>
                  </a:lnTo>
                  <a:lnTo>
                    <a:pt x="395" y="225"/>
                  </a:lnTo>
                  <a:lnTo>
                    <a:pt x="396" y="225"/>
                  </a:lnTo>
                  <a:lnTo>
                    <a:pt x="396" y="224"/>
                  </a:lnTo>
                  <a:lnTo>
                    <a:pt x="397" y="224"/>
                  </a:lnTo>
                  <a:lnTo>
                    <a:pt x="398" y="223"/>
                  </a:lnTo>
                  <a:lnTo>
                    <a:pt x="398" y="224"/>
                  </a:lnTo>
                  <a:lnTo>
                    <a:pt x="400" y="224"/>
                  </a:lnTo>
                  <a:close/>
                  <a:moveTo>
                    <a:pt x="404" y="226"/>
                  </a:moveTo>
                  <a:lnTo>
                    <a:pt x="403" y="227"/>
                  </a:lnTo>
                  <a:lnTo>
                    <a:pt x="403" y="229"/>
                  </a:lnTo>
                  <a:lnTo>
                    <a:pt x="402" y="229"/>
                  </a:lnTo>
                  <a:lnTo>
                    <a:pt x="401" y="229"/>
                  </a:lnTo>
                  <a:lnTo>
                    <a:pt x="401" y="227"/>
                  </a:lnTo>
                  <a:lnTo>
                    <a:pt x="400" y="227"/>
                  </a:lnTo>
                  <a:lnTo>
                    <a:pt x="401" y="226"/>
                  </a:lnTo>
                  <a:lnTo>
                    <a:pt x="401" y="225"/>
                  </a:lnTo>
                  <a:lnTo>
                    <a:pt x="402" y="225"/>
                  </a:lnTo>
                  <a:lnTo>
                    <a:pt x="402" y="226"/>
                  </a:lnTo>
                  <a:lnTo>
                    <a:pt x="403" y="225"/>
                  </a:lnTo>
                  <a:lnTo>
                    <a:pt x="404" y="224"/>
                  </a:lnTo>
                  <a:lnTo>
                    <a:pt x="404" y="223"/>
                  </a:lnTo>
                  <a:lnTo>
                    <a:pt x="405" y="223"/>
                  </a:lnTo>
                  <a:lnTo>
                    <a:pt x="405" y="224"/>
                  </a:lnTo>
                  <a:lnTo>
                    <a:pt x="405" y="225"/>
                  </a:lnTo>
                  <a:lnTo>
                    <a:pt x="404" y="225"/>
                  </a:lnTo>
                  <a:lnTo>
                    <a:pt x="404" y="226"/>
                  </a:lnTo>
                  <a:close/>
                  <a:moveTo>
                    <a:pt x="471" y="224"/>
                  </a:moveTo>
                  <a:lnTo>
                    <a:pt x="469" y="224"/>
                  </a:lnTo>
                  <a:lnTo>
                    <a:pt x="468" y="224"/>
                  </a:lnTo>
                  <a:lnTo>
                    <a:pt x="468" y="223"/>
                  </a:lnTo>
                  <a:lnTo>
                    <a:pt x="469" y="223"/>
                  </a:lnTo>
                  <a:lnTo>
                    <a:pt x="471" y="223"/>
                  </a:lnTo>
                  <a:lnTo>
                    <a:pt x="471" y="224"/>
                  </a:lnTo>
                  <a:close/>
                  <a:moveTo>
                    <a:pt x="608" y="226"/>
                  </a:moveTo>
                  <a:lnTo>
                    <a:pt x="606" y="226"/>
                  </a:lnTo>
                  <a:lnTo>
                    <a:pt x="604" y="226"/>
                  </a:lnTo>
                  <a:lnTo>
                    <a:pt x="603" y="226"/>
                  </a:lnTo>
                  <a:lnTo>
                    <a:pt x="603" y="225"/>
                  </a:lnTo>
                  <a:lnTo>
                    <a:pt x="604" y="224"/>
                  </a:lnTo>
                  <a:lnTo>
                    <a:pt x="604" y="223"/>
                  </a:lnTo>
                  <a:lnTo>
                    <a:pt x="606" y="223"/>
                  </a:lnTo>
                  <a:lnTo>
                    <a:pt x="607" y="223"/>
                  </a:lnTo>
                  <a:lnTo>
                    <a:pt x="607" y="224"/>
                  </a:lnTo>
                  <a:lnTo>
                    <a:pt x="607" y="225"/>
                  </a:lnTo>
                  <a:lnTo>
                    <a:pt x="608" y="225"/>
                  </a:lnTo>
                  <a:lnTo>
                    <a:pt x="608" y="226"/>
                  </a:lnTo>
                  <a:close/>
                  <a:moveTo>
                    <a:pt x="452" y="224"/>
                  </a:moveTo>
                  <a:lnTo>
                    <a:pt x="451" y="224"/>
                  </a:lnTo>
                  <a:lnTo>
                    <a:pt x="452" y="223"/>
                  </a:lnTo>
                  <a:lnTo>
                    <a:pt x="453" y="223"/>
                  </a:lnTo>
                  <a:lnTo>
                    <a:pt x="453" y="224"/>
                  </a:lnTo>
                  <a:lnTo>
                    <a:pt x="452" y="224"/>
                  </a:lnTo>
                  <a:close/>
                  <a:moveTo>
                    <a:pt x="311" y="226"/>
                  </a:moveTo>
                  <a:lnTo>
                    <a:pt x="310" y="226"/>
                  </a:lnTo>
                  <a:lnTo>
                    <a:pt x="310" y="225"/>
                  </a:lnTo>
                  <a:lnTo>
                    <a:pt x="311" y="225"/>
                  </a:lnTo>
                  <a:lnTo>
                    <a:pt x="310" y="224"/>
                  </a:lnTo>
                  <a:lnTo>
                    <a:pt x="310" y="223"/>
                  </a:lnTo>
                  <a:lnTo>
                    <a:pt x="311" y="223"/>
                  </a:lnTo>
                  <a:lnTo>
                    <a:pt x="312" y="223"/>
                  </a:lnTo>
                  <a:lnTo>
                    <a:pt x="314" y="223"/>
                  </a:lnTo>
                  <a:lnTo>
                    <a:pt x="312" y="224"/>
                  </a:lnTo>
                  <a:lnTo>
                    <a:pt x="311" y="226"/>
                  </a:lnTo>
                  <a:close/>
                  <a:moveTo>
                    <a:pt x="333" y="224"/>
                  </a:moveTo>
                  <a:lnTo>
                    <a:pt x="332" y="224"/>
                  </a:lnTo>
                  <a:lnTo>
                    <a:pt x="332" y="223"/>
                  </a:lnTo>
                  <a:lnTo>
                    <a:pt x="333" y="223"/>
                  </a:lnTo>
                  <a:lnTo>
                    <a:pt x="333" y="224"/>
                  </a:lnTo>
                  <a:close/>
                  <a:moveTo>
                    <a:pt x="409" y="223"/>
                  </a:moveTo>
                  <a:lnTo>
                    <a:pt x="409" y="224"/>
                  </a:lnTo>
                  <a:lnTo>
                    <a:pt x="410" y="223"/>
                  </a:lnTo>
                  <a:lnTo>
                    <a:pt x="411" y="223"/>
                  </a:lnTo>
                  <a:lnTo>
                    <a:pt x="414" y="223"/>
                  </a:lnTo>
                  <a:lnTo>
                    <a:pt x="415" y="223"/>
                  </a:lnTo>
                  <a:lnTo>
                    <a:pt x="416" y="223"/>
                  </a:lnTo>
                  <a:lnTo>
                    <a:pt x="417" y="224"/>
                  </a:lnTo>
                  <a:lnTo>
                    <a:pt x="417" y="225"/>
                  </a:lnTo>
                  <a:lnTo>
                    <a:pt x="417" y="226"/>
                  </a:lnTo>
                  <a:lnTo>
                    <a:pt x="416" y="226"/>
                  </a:lnTo>
                  <a:lnTo>
                    <a:pt x="415" y="226"/>
                  </a:lnTo>
                  <a:lnTo>
                    <a:pt x="414" y="226"/>
                  </a:lnTo>
                  <a:lnTo>
                    <a:pt x="411" y="226"/>
                  </a:lnTo>
                  <a:lnTo>
                    <a:pt x="410" y="226"/>
                  </a:lnTo>
                  <a:lnTo>
                    <a:pt x="409" y="227"/>
                  </a:lnTo>
                  <a:lnTo>
                    <a:pt x="408" y="227"/>
                  </a:lnTo>
                  <a:lnTo>
                    <a:pt x="407" y="227"/>
                  </a:lnTo>
                  <a:lnTo>
                    <a:pt x="405" y="227"/>
                  </a:lnTo>
                  <a:lnTo>
                    <a:pt x="405" y="226"/>
                  </a:lnTo>
                  <a:lnTo>
                    <a:pt x="407" y="226"/>
                  </a:lnTo>
                  <a:lnTo>
                    <a:pt x="407" y="225"/>
                  </a:lnTo>
                  <a:lnTo>
                    <a:pt x="408" y="225"/>
                  </a:lnTo>
                  <a:lnTo>
                    <a:pt x="408" y="224"/>
                  </a:lnTo>
                  <a:lnTo>
                    <a:pt x="409" y="224"/>
                  </a:lnTo>
                  <a:lnTo>
                    <a:pt x="408" y="224"/>
                  </a:lnTo>
                  <a:lnTo>
                    <a:pt x="407" y="225"/>
                  </a:lnTo>
                  <a:lnTo>
                    <a:pt x="407" y="224"/>
                  </a:lnTo>
                  <a:lnTo>
                    <a:pt x="407" y="223"/>
                  </a:lnTo>
                  <a:lnTo>
                    <a:pt x="408" y="223"/>
                  </a:lnTo>
                  <a:lnTo>
                    <a:pt x="409" y="223"/>
                  </a:lnTo>
                  <a:close/>
                  <a:moveTo>
                    <a:pt x="454" y="222"/>
                  </a:moveTo>
                  <a:lnTo>
                    <a:pt x="455" y="223"/>
                  </a:lnTo>
                  <a:lnTo>
                    <a:pt x="457" y="223"/>
                  </a:lnTo>
                  <a:lnTo>
                    <a:pt x="458" y="223"/>
                  </a:lnTo>
                  <a:lnTo>
                    <a:pt x="458" y="224"/>
                  </a:lnTo>
                  <a:lnTo>
                    <a:pt x="457" y="224"/>
                  </a:lnTo>
                  <a:lnTo>
                    <a:pt x="455" y="224"/>
                  </a:lnTo>
                  <a:lnTo>
                    <a:pt x="454" y="224"/>
                  </a:lnTo>
                  <a:lnTo>
                    <a:pt x="454" y="223"/>
                  </a:lnTo>
                  <a:lnTo>
                    <a:pt x="453" y="223"/>
                  </a:lnTo>
                  <a:lnTo>
                    <a:pt x="453" y="222"/>
                  </a:lnTo>
                  <a:lnTo>
                    <a:pt x="454" y="222"/>
                  </a:lnTo>
                  <a:close/>
                  <a:moveTo>
                    <a:pt x="317" y="222"/>
                  </a:moveTo>
                  <a:lnTo>
                    <a:pt x="318" y="222"/>
                  </a:lnTo>
                  <a:lnTo>
                    <a:pt x="319" y="222"/>
                  </a:lnTo>
                  <a:lnTo>
                    <a:pt x="319" y="223"/>
                  </a:lnTo>
                  <a:lnTo>
                    <a:pt x="320" y="224"/>
                  </a:lnTo>
                  <a:lnTo>
                    <a:pt x="320" y="225"/>
                  </a:lnTo>
                  <a:lnTo>
                    <a:pt x="320" y="226"/>
                  </a:lnTo>
                  <a:lnTo>
                    <a:pt x="322" y="225"/>
                  </a:lnTo>
                  <a:lnTo>
                    <a:pt x="322" y="226"/>
                  </a:lnTo>
                  <a:lnTo>
                    <a:pt x="323" y="226"/>
                  </a:lnTo>
                  <a:lnTo>
                    <a:pt x="323" y="225"/>
                  </a:lnTo>
                  <a:lnTo>
                    <a:pt x="324" y="225"/>
                  </a:lnTo>
                  <a:lnTo>
                    <a:pt x="324" y="224"/>
                  </a:lnTo>
                  <a:lnTo>
                    <a:pt x="325" y="224"/>
                  </a:lnTo>
                  <a:lnTo>
                    <a:pt x="325" y="225"/>
                  </a:lnTo>
                  <a:lnTo>
                    <a:pt x="326" y="225"/>
                  </a:lnTo>
                  <a:lnTo>
                    <a:pt x="327" y="226"/>
                  </a:lnTo>
                  <a:lnTo>
                    <a:pt x="326" y="226"/>
                  </a:lnTo>
                  <a:lnTo>
                    <a:pt x="326" y="227"/>
                  </a:lnTo>
                  <a:lnTo>
                    <a:pt x="326" y="229"/>
                  </a:lnTo>
                  <a:lnTo>
                    <a:pt x="327" y="229"/>
                  </a:lnTo>
                  <a:lnTo>
                    <a:pt x="327" y="227"/>
                  </a:lnTo>
                  <a:lnTo>
                    <a:pt x="327" y="226"/>
                  </a:lnTo>
                  <a:lnTo>
                    <a:pt x="327" y="225"/>
                  </a:lnTo>
                  <a:lnTo>
                    <a:pt x="329" y="225"/>
                  </a:lnTo>
                  <a:lnTo>
                    <a:pt x="330" y="225"/>
                  </a:lnTo>
                  <a:lnTo>
                    <a:pt x="331" y="225"/>
                  </a:lnTo>
                  <a:lnTo>
                    <a:pt x="331" y="226"/>
                  </a:lnTo>
                  <a:lnTo>
                    <a:pt x="331" y="227"/>
                  </a:lnTo>
                  <a:lnTo>
                    <a:pt x="332" y="227"/>
                  </a:lnTo>
                  <a:lnTo>
                    <a:pt x="332" y="229"/>
                  </a:lnTo>
                  <a:lnTo>
                    <a:pt x="331" y="229"/>
                  </a:lnTo>
                  <a:lnTo>
                    <a:pt x="331" y="230"/>
                  </a:lnTo>
                  <a:lnTo>
                    <a:pt x="332" y="231"/>
                  </a:lnTo>
                  <a:lnTo>
                    <a:pt x="333" y="230"/>
                  </a:lnTo>
                  <a:lnTo>
                    <a:pt x="333" y="229"/>
                  </a:lnTo>
                  <a:lnTo>
                    <a:pt x="333" y="230"/>
                  </a:lnTo>
                  <a:lnTo>
                    <a:pt x="333" y="231"/>
                  </a:lnTo>
                  <a:lnTo>
                    <a:pt x="333" y="232"/>
                  </a:lnTo>
                  <a:lnTo>
                    <a:pt x="332" y="232"/>
                  </a:lnTo>
                  <a:lnTo>
                    <a:pt x="331" y="232"/>
                  </a:lnTo>
                  <a:lnTo>
                    <a:pt x="330" y="232"/>
                  </a:lnTo>
                  <a:lnTo>
                    <a:pt x="330" y="231"/>
                  </a:lnTo>
                  <a:lnTo>
                    <a:pt x="329" y="232"/>
                  </a:lnTo>
                  <a:lnTo>
                    <a:pt x="327" y="232"/>
                  </a:lnTo>
                  <a:lnTo>
                    <a:pt x="326" y="232"/>
                  </a:lnTo>
                  <a:lnTo>
                    <a:pt x="327" y="232"/>
                  </a:lnTo>
                  <a:lnTo>
                    <a:pt x="329" y="232"/>
                  </a:lnTo>
                  <a:lnTo>
                    <a:pt x="330" y="233"/>
                  </a:lnTo>
                  <a:lnTo>
                    <a:pt x="329" y="233"/>
                  </a:lnTo>
                  <a:lnTo>
                    <a:pt x="327" y="233"/>
                  </a:lnTo>
                  <a:lnTo>
                    <a:pt x="326" y="233"/>
                  </a:lnTo>
                  <a:lnTo>
                    <a:pt x="323" y="234"/>
                  </a:lnTo>
                  <a:lnTo>
                    <a:pt x="323" y="233"/>
                  </a:lnTo>
                  <a:lnTo>
                    <a:pt x="322" y="233"/>
                  </a:lnTo>
                  <a:lnTo>
                    <a:pt x="323" y="232"/>
                  </a:lnTo>
                  <a:lnTo>
                    <a:pt x="323" y="231"/>
                  </a:lnTo>
                  <a:lnTo>
                    <a:pt x="323" y="230"/>
                  </a:lnTo>
                  <a:lnTo>
                    <a:pt x="323" y="231"/>
                  </a:lnTo>
                  <a:lnTo>
                    <a:pt x="322" y="231"/>
                  </a:lnTo>
                  <a:lnTo>
                    <a:pt x="322" y="232"/>
                  </a:lnTo>
                  <a:lnTo>
                    <a:pt x="320" y="232"/>
                  </a:lnTo>
                  <a:lnTo>
                    <a:pt x="319" y="234"/>
                  </a:lnTo>
                  <a:lnTo>
                    <a:pt x="318" y="234"/>
                  </a:lnTo>
                  <a:lnTo>
                    <a:pt x="318" y="233"/>
                  </a:lnTo>
                  <a:lnTo>
                    <a:pt x="317" y="234"/>
                  </a:lnTo>
                  <a:lnTo>
                    <a:pt x="317" y="233"/>
                  </a:lnTo>
                  <a:lnTo>
                    <a:pt x="317" y="234"/>
                  </a:lnTo>
                  <a:lnTo>
                    <a:pt x="315" y="236"/>
                  </a:lnTo>
                  <a:lnTo>
                    <a:pt x="315" y="234"/>
                  </a:lnTo>
                  <a:lnTo>
                    <a:pt x="315" y="236"/>
                  </a:lnTo>
                  <a:lnTo>
                    <a:pt x="315" y="234"/>
                  </a:lnTo>
                  <a:lnTo>
                    <a:pt x="314" y="234"/>
                  </a:lnTo>
                  <a:lnTo>
                    <a:pt x="314" y="236"/>
                  </a:lnTo>
                  <a:lnTo>
                    <a:pt x="314" y="234"/>
                  </a:lnTo>
                  <a:lnTo>
                    <a:pt x="312" y="234"/>
                  </a:lnTo>
                  <a:lnTo>
                    <a:pt x="312" y="236"/>
                  </a:lnTo>
                  <a:lnTo>
                    <a:pt x="310" y="236"/>
                  </a:lnTo>
                  <a:lnTo>
                    <a:pt x="310" y="237"/>
                  </a:lnTo>
                  <a:lnTo>
                    <a:pt x="309" y="237"/>
                  </a:lnTo>
                  <a:lnTo>
                    <a:pt x="308" y="237"/>
                  </a:lnTo>
                  <a:lnTo>
                    <a:pt x="307" y="237"/>
                  </a:lnTo>
                  <a:lnTo>
                    <a:pt x="305" y="237"/>
                  </a:lnTo>
                  <a:lnTo>
                    <a:pt x="304" y="237"/>
                  </a:lnTo>
                  <a:lnTo>
                    <a:pt x="304" y="238"/>
                  </a:lnTo>
                  <a:lnTo>
                    <a:pt x="303" y="238"/>
                  </a:lnTo>
                  <a:lnTo>
                    <a:pt x="302" y="237"/>
                  </a:lnTo>
                  <a:lnTo>
                    <a:pt x="301" y="237"/>
                  </a:lnTo>
                  <a:lnTo>
                    <a:pt x="300" y="237"/>
                  </a:lnTo>
                  <a:lnTo>
                    <a:pt x="300" y="236"/>
                  </a:lnTo>
                  <a:lnTo>
                    <a:pt x="298" y="236"/>
                  </a:lnTo>
                  <a:lnTo>
                    <a:pt x="300" y="236"/>
                  </a:lnTo>
                  <a:lnTo>
                    <a:pt x="300" y="234"/>
                  </a:lnTo>
                  <a:lnTo>
                    <a:pt x="300" y="233"/>
                  </a:lnTo>
                  <a:lnTo>
                    <a:pt x="301" y="233"/>
                  </a:lnTo>
                  <a:lnTo>
                    <a:pt x="301" y="232"/>
                  </a:lnTo>
                  <a:lnTo>
                    <a:pt x="300" y="232"/>
                  </a:lnTo>
                  <a:lnTo>
                    <a:pt x="300" y="231"/>
                  </a:lnTo>
                  <a:lnTo>
                    <a:pt x="301" y="230"/>
                  </a:lnTo>
                  <a:lnTo>
                    <a:pt x="301" y="229"/>
                  </a:lnTo>
                  <a:lnTo>
                    <a:pt x="302" y="229"/>
                  </a:lnTo>
                  <a:lnTo>
                    <a:pt x="303" y="229"/>
                  </a:lnTo>
                  <a:lnTo>
                    <a:pt x="304" y="227"/>
                  </a:lnTo>
                  <a:lnTo>
                    <a:pt x="305" y="226"/>
                  </a:lnTo>
                  <a:lnTo>
                    <a:pt x="307" y="226"/>
                  </a:lnTo>
                  <a:lnTo>
                    <a:pt x="308" y="226"/>
                  </a:lnTo>
                  <a:lnTo>
                    <a:pt x="308" y="227"/>
                  </a:lnTo>
                  <a:lnTo>
                    <a:pt x="309" y="227"/>
                  </a:lnTo>
                  <a:lnTo>
                    <a:pt x="310" y="227"/>
                  </a:lnTo>
                  <a:lnTo>
                    <a:pt x="310" y="226"/>
                  </a:lnTo>
                  <a:lnTo>
                    <a:pt x="310" y="227"/>
                  </a:lnTo>
                  <a:lnTo>
                    <a:pt x="311" y="227"/>
                  </a:lnTo>
                  <a:lnTo>
                    <a:pt x="311" y="226"/>
                  </a:lnTo>
                  <a:lnTo>
                    <a:pt x="311" y="227"/>
                  </a:lnTo>
                  <a:lnTo>
                    <a:pt x="311" y="229"/>
                  </a:lnTo>
                  <a:lnTo>
                    <a:pt x="311" y="227"/>
                  </a:lnTo>
                  <a:lnTo>
                    <a:pt x="312" y="227"/>
                  </a:lnTo>
                  <a:lnTo>
                    <a:pt x="312" y="229"/>
                  </a:lnTo>
                  <a:lnTo>
                    <a:pt x="312" y="230"/>
                  </a:lnTo>
                  <a:lnTo>
                    <a:pt x="314" y="230"/>
                  </a:lnTo>
                  <a:lnTo>
                    <a:pt x="315" y="231"/>
                  </a:lnTo>
                  <a:lnTo>
                    <a:pt x="314" y="231"/>
                  </a:lnTo>
                  <a:lnTo>
                    <a:pt x="314" y="232"/>
                  </a:lnTo>
                  <a:lnTo>
                    <a:pt x="315" y="232"/>
                  </a:lnTo>
                  <a:lnTo>
                    <a:pt x="316" y="231"/>
                  </a:lnTo>
                  <a:lnTo>
                    <a:pt x="316" y="232"/>
                  </a:lnTo>
                  <a:lnTo>
                    <a:pt x="317" y="232"/>
                  </a:lnTo>
                  <a:lnTo>
                    <a:pt x="317" y="231"/>
                  </a:lnTo>
                  <a:lnTo>
                    <a:pt x="318" y="231"/>
                  </a:lnTo>
                  <a:lnTo>
                    <a:pt x="319" y="231"/>
                  </a:lnTo>
                  <a:lnTo>
                    <a:pt x="320" y="231"/>
                  </a:lnTo>
                  <a:lnTo>
                    <a:pt x="322" y="230"/>
                  </a:lnTo>
                  <a:lnTo>
                    <a:pt x="320" y="230"/>
                  </a:lnTo>
                  <a:lnTo>
                    <a:pt x="320" y="229"/>
                  </a:lnTo>
                  <a:lnTo>
                    <a:pt x="320" y="230"/>
                  </a:lnTo>
                  <a:lnTo>
                    <a:pt x="319" y="229"/>
                  </a:lnTo>
                  <a:lnTo>
                    <a:pt x="318" y="229"/>
                  </a:lnTo>
                  <a:lnTo>
                    <a:pt x="318" y="227"/>
                  </a:lnTo>
                  <a:lnTo>
                    <a:pt x="317" y="227"/>
                  </a:lnTo>
                  <a:lnTo>
                    <a:pt x="316" y="226"/>
                  </a:lnTo>
                  <a:lnTo>
                    <a:pt x="315" y="226"/>
                  </a:lnTo>
                  <a:lnTo>
                    <a:pt x="315" y="225"/>
                  </a:lnTo>
                  <a:lnTo>
                    <a:pt x="314" y="225"/>
                  </a:lnTo>
                  <a:lnTo>
                    <a:pt x="314" y="224"/>
                  </a:lnTo>
                  <a:lnTo>
                    <a:pt x="314" y="223"/>
                  </a:lnTo>
                  <a:lnTo>
                    <a:pt x="315" y="223"/>
                  </a:lnTo>
                  <a:lnTo>
                    <a:pt x="316" y="222"/>
                  </a:lnTo>
                  <a:lnTo>
                    <a:pt x="317" y="222"/>
                  </a:lnTo>
                  <a:close/>
                  <a:moveTo>
                    <a:pt x="500" y="223"/>
                  </a:moveTo>
                  <a:lnTo>
                    <a:pt x="501" y="223"/>
                  </a:lnTo>
                  <a:lnTo>
                    <a:pt x="500" y="223"/>
                  </a:lnTo>
                  <a:lnTo>
                    <a:pt x="499" y="224"/>
                  </a:lnTo>
                  <a:lnTo>
                    <a:pt x="497" y="224"/>
                  </a:lnTo>
                  <a:lnTo>
                    <a:pt x="496" y="224"/>
                  </a:lnTo>
                  <a:lnTo>
                    <a:pt x="496" y="225"/>
                  </a:lnTo>
                  <a:lnTo>
                    <a:pt x="495" y="226"/>
                  </a:lnTo>
                  <a:lnTo>
                    <a:pt x="495" y="225"/>
                  </a:lnTo>
                  <a:lnTo>
                    <a:pt x="496" y="225"/>
                  </a:lnTo>
                  <a:lnTo>
                    <a:pt x="496" y="224"/>
                  </a:lnTo>
                  <a:lnTo>
                    <a:pt x="497" y="224"/>
                  </a:lnTo>
                  <a:lnTo>
                    <a:pt x="497" y="223"/>
                  </a:lnTo>
                  <a:lnTo>
                    <a:pt x="499" y="223"/>
                  </a:lnTo>
                  <a:lnTo>
                    <a:pt x="499" y="222"/>
                  </a:lnTo>
                  <a:lnTo>
                    <a:pt x="500" y="223"/>
                  </a:lnTo>
                  <a:close/>
                  <a:moveTo>
                    <a:pt x="387" y="223"/>
                  </a:moveTo>
                  <a:lnTo>
                    <a:pt x="387" y="224"/>
                  </a:lnTo>
                  <a:lnTo>
                    <a:pt x="387" y="225"/>
                  </a:lnTo>
                  <a:lnTo>
                    <a:pt x="387" y="226"/>
                  </a:lnTo>
                  <a:lnTo>
                    <a:pt x="386" y="226"/>
                  </a:lnTo>
                  <a:lnTo>
                    <a:pt x="386" y="227"/>
                  </a:lnTo>
                  <a:lnTo>
                    <a:pt x="384" y="227"/>
                  </a:lnTo>
                  <a:lnTo>
                    <a:pt x="384" y="229"/>
                  </a:lnTo>
                  <a:lnTo>
                    <a:pt x="384" y="230"/>
                  </a:lnTo>
                  <a:lnTo>
                    <a:pt x="383" y="230"/>
                  </a:lnTo>
                  <a:lnTo>
                    <a:pt x="382" y="231"/>
                  </a:lnTo>
                  <a:lnTo>
                    <a:pt x="382" y="230"/>
                  </a:lnTo>
                  <a:lnTo>
                    <a:pt x="382" y="231"/>
                  </a:lnTo>
                  <a:lnTo>
                    <a:pt x="381" y="231"/>
                  </a:lnTo>
                  <a:lnTo>
                    <a:pt x="380" y="231"/>
                  </a:lnTo>
                  <a:lnTo>
                    <a:pt x="380" y="232"/>
                  </a:lnTo>
                  <a:lnTo>
                    <a:pt x="379" y="232"/>
                  </a:lnTo>
                  <a:lnTo>
                    <a:pt x="376" y="232"/>
                  </a:lnTo>
                  <a:lnTo>
                    <a:pt x="375" y="232"/>
                  </a:lnTo>
                  <a:lnTo>
                    <a:pt x="374" y="232"/>
                  </a:lnTo>
                  <a:lnTo>
                    <a:pt x="373" y="232"/>
                  </a:lnTo>
                  <a:lnTo>
                    <a:pt x="373" y="233"/>
                  </a:lnTo>
                  <a:lnTo>
                    <a:pt x="371" y="233"/>
                  </a:lnTo>
                  <a:lnTo>
                    <a:pt x="371" y="234"/>
                  </a:lnTo>
                  <a:lnTo>
                    <a:pt x="369" y="234"/>
                  </a:lnTo>
                  <a:lnTo>
                    <a:pt x="368" y="234"/>
                  </a:lnTo>
                  <a:lnTo>
                    <a:pt x="368" y="233"/>
                  </a:lnTo>
                  <a:lnTo>
                    <a:pt x="368" y="234"/>
                  </a:lnTo>
                  <a:lnTo>
                    <a:pt x="367" y="234"/>
                  </a:lnTo>
                  <a:lnTo>
                    <a:pt x="367" y="233"/>
                  </a:lnTo>
                  <a:lnTo>
                    <a:pt x="366" y="233"/>
                  </a:lnTo>
                  <a:lnTo>
                    <a:pt x="365" y="233"/>
                  </a:lnTo>
                  <a:lnTo>
                    <a:pt x="364" y="233"/>
                  </a:lnTo>
                  <a:lnTo>
                    <a:pt x="364" y="234"/>
                  </a:lnTo>
                  <a:lnTo>
                    <a:pt x="362" y="234"/>
                  </a:lnTo>
                  <a:lnTo>
                    <a:pt x="361" y="234"/>
                  </a:lnTo>
                  <a:lnTo>
                    <a:pt x="360" y="234"/>
                  </a:lnTo>
                  <a:lnTo>
                    <a:pt x="359" y="236"/>
                  </a:lnTo>
                  <a:lnTo>
                    <a:pt x="358" y="236"/>
                  </a:lnTo>
                  <a:lnTo>
                    <a:pt x="358" y="234"/>
                  </a:lnTo>
                  <a:lnTo>
                    <a:pt x="357" y="234"/>
                  </a:lnTo>
                  <a:lnTo>
                    <a:pt x="357" y="233"/>
                  </a:lnTo>
                  <a:lnTo>
                    <a:pt x="355" y="233"/>
                  </a:lnTo>
                  <a:lnTo>
                    <a:pt x="355" y="234"/>
                  </a:lnTo>
                  <a:lnTo>
                    <a:pt x="354" y="234"/>
                  </a:lnTo>
                  <a:lnTo>
                    <a:pt x="354" y="233"/>
                  </a:lnTo>
                  <a:lnTo>
                    <a:pt x="353" y="233"/>
                  </a:lnTo>
                  <a:lnTo>
                    <a:pt x="352" y="233"/>
                  </a:lnTo>
                  <a:lnTo>
                    <a:pt x="351" y="233"/>
                  </a:lnTo>
                  <a:lnTo>
                    <a:pt x="350" y="233"/>
                  </a:lnTo>
                  <a:lnTo>
                    <a:pt x="348" y="233"/>
                  </a:lnTo>
                  <a:lnTo>
                    <a:pt x="347" y="233"/>
                  </a:lnTo>
                  <a:lnTo>
                    <a:pt x="347" y="232"/>
                  </a:lnTo>
                  <a:lnTo>
                    <a:pt x="346" y="232"/>
                  </a:lnTo>
                  <a:lnTo>
                    <a:pt x="346" y="233"/>
                  </a:lnTo>
                  <a:lnTo>
                    <a:pt x="345" y="233"/>
                  </a:lnTo>
                  <a:lnTo>
                    <a:pt x="344" y="233"/>
                  </a:lnTo>
                  <a:lnTo>
                    <a:pt x="344" y="234"/>
                  </a:lnTo>
                  <a:lnTo>
                    <a:pt x="343" y="234"/>
                  </a:lnTo>
                  <a:lnTo>
                    <a:pt x="343" y="233"/>
                  </a:lnTo>
                  <a:lnTo>
                    <a:pt x="343" y="232"/>
                  </a:lnTo>
                  <a:lnTo>
                    <a:pt x="341" y="232"/>
                  </a:lnTo>
                  <a:lnTo>
                    <a:pt x="343" y="230"/>
                  </a:lnTo>
                  <a:lnTo>
                    <a:pt x="343" y="229"/>
                  </a:lnTo>
                  <a:lnTo>
                    <a:pt x="344" y="229"/>
                  </a:lnTo>
                  <a:lnTo>
                    <a:pt x="344" y="227"/>
                  </a:lnTo>
                  <a:lnTo>
                    <a:pt x="345" y="227"/>
                  </a:lnTo>
                  <a:lnTo>
                    <a:pt x="345" y="226"/>
                  </a:lnTo>
                  <a:lnTo>
                    <a:pt x="346" y="226"/>
                  </a:lnTo>
                  <a:lnTo>
                    <a:pt x="347" y="226"/>
                  </a:lnTo>
                  <a:lnTo>
                    <a:pt x="348" y="225"/>
                  </a:lnTo>
                  <a:lnTo>
                    <a:pt x="350" y="225"/>
                  </a:lnTo>
                  <a:lnTo>
                    <a:pt x="351" y="225"/>
                  </a:lnTo>
                  <a:lnTo>
                    <a:pt x="351" y="224"/>
                  </a:lnTo>
                  <a:lnTo>
                    <a:pt x="352" y="224"/>
                  </a:lnTo>
                  <a:lnTo>
                    <a:pt x="352" y="225"/>
                  </a:lnTo>
                  <a:lnTo>
                    <a:pt x="353" y="224"/>
                  </a:lnTo>
                  <a:lnTo>
                    <a:pt x="353" y="225"/>
                  </a:lnTo>
                  <a:lnTo>
                    <a:pt x="353" y="224"/>
                  </a:lnTo>
                  <a:lnTo>
                    <a:pt x="354" y="224"/>
                  </a:lnTo>
                  <a:lnTo>
                    <a:pt x="354" y="225"/>
                  </a:lnTo>
                  <a:lnTo>
                    <a:pt x="355" y="225"/>
                  </a:lnTo>
                  <a:lnTo>
                    <a:pt x="357" y="225"/>
                  </a:lnTo>
                  <a:lnTo>
                    <a:pt x="358" y="226"/>
                  </a:lnTo>
                  <a:lnTo>
                    <a:pt x="359" y="225"/>
                  </a:lnTo>
                  <a:lnTo>
                    <a:pt x="359" y="226"/>
                  </a:lnTo>
                  <a:lnTo>
                    <a:pt x="360" y="226"/>
                  </a:lnTo>
                  <a:lnTo>
                    <a:pt x="360" y="227"/>
                  </a:lnTo>
                  <a:lnTo>
                    <a:pt x="361" y="227"/>
                  </a:lnTo>
                  <a:lnTo>
                    <a:pt x="362" y="227"/>
                  </a:lnTo>
                  <a:lnTo>
                    <a:pt x="364" y="229"/>
                  </a:lnTo>
                  <a:lnTo>
                    <a:pt x="364" y="230"/>
                  </a:lnTo>
                  <a:lnTo>
                    <a:pt x="365" y="230"/>
                  </a:lnTo>
                  <a:lnTo>
                    <a:pt x="366" y="230"/>
                  </a:lnTo>
                  <a:lnTo>
                    <a:pt x="367" y="230"/>
                  </a:lnTo>
                  <a:lnTo>
                    <a:pt x="367" y="229"/>
                  </a:lnTo>
                  <a:lnTo>
                    <a:pt x="367" y="227"/>
                  </a:lnTo>
                  <a:lnTo>
                    <a:pt x="368" y="227"/>
                  </a:lnTo>
                  <a:lnTo>
                    <a:pt x="368" y="229"/>
                  </a:lnTo>
                  <a:lnTo>
                    <a:pt x="369" y="229"/>
                  </a:lnTo>
                  <a:lnTo>
                    <a:pt x="371" y="229"/>
                  </a:lnTo>
                  <a:lnTo>
                    <a:pt x="371" y="227"/>
                  </a:lnTo>
                  <a:lnTo>
                    <a:pt x="371" y="229"/>
                  </a:lnTo>
                  <a:lnTo>
                    <a:pt x="372" y="229"/>
                  </a:lnTo>
                  <a:lnTo>
                    <a:pt x="372" y="227"/>
                  </a:lnTo>
                  <a:lnTo>
                    <a:pt x="373" y="227"/>
                  </a:lnTo>
                  <a:lnTo>
                    <a:pt x="373" y="229"/>
                  </a:lnTo>
                  <a:lnTo>
                    <a:pt x="374" y="229"/>
                  </a:lnTo>
                  <a:lnTo>
                    <a:pt x="375" y="229"/>
                  </a:lnTo>
                  <a:lnTo>
                    <a:pt x="376" y="230"/>
                  </a:lnTo>
                  <a:lnTo>
                    <a:pt x="376" y="231"/>
                  </a:lnTo>
                  <a:lnTo>
                    <a:pt x="379" y="230"/>
                  </a:lnTo>
                  <a:lnTo>
                    <a:pt x="380" y="230"/>
                  </a:lnTo>
                  <a:lnTo>
                    <a:pt x="380" y="229"/>
                  </a:lnTo>
                  <a:lnTo>
                    <a:pt x="380" y="227"/>
                  </a:lnTo>
                  <a:lnTo>
                    <a:pt x="381" y="227"/>
                  </a:lnTo>
                  <a:lnTo>
                    <a:pt x="381" y="226"/>
                  </a:lnTo>
                  <a:lnTo>
                    <a:pt x="382" y="226"/>
                  </a:lnTo>
                  <a:lnTo>
                    <a:pt x="383" y="226"/>
                  </a:lnTo>
                  <a:lnTo>
                    <a:pt x="384" y="225"/>
                  </a:lnTo>
                  <a:lnTo>
                    <a:pt x="386" y="225"/>
                  </a:lnTo>
                  <a:lnTo>
                    <a:pt x="387" y="224"/>
                  </a:lnTo>
                  <a:lnTo>
                    <a:pt x="386" y="224"/>
                  </a:lnTo>
                  <a:lnTo>
                    <a:pt x="386" y="223"/>
                  </a:lnTo>
                  <a:lnTo>
                    <a:pt x="384" y="223"/>
                  </a:lnTo>
                  <a:lnTo>
                    <a:pt x="384" y="224"/>
                  </a:lnTo>
                  <a:lnTo>
                    <a:pt x="383" y="224"/>
                  </a:lnTo>
                  <a:lnTo>
                    <a:pt x="384" y="223"/>
                  </a:lnTo>
                  <a:lnTo>
                    <a:pt x="384" y="222"/>
                  </a:lnTo>
                  <a:lnTo>
                    <a:pt x="386" y="222"/>
                  </a:lnTo>
                  <a:lnTo>
                    <a:pt x="387" y="222"/>
                  </a:lnTo>
                  <a:lnTo>
                    <a:pt x="387" y="223"/>
                  </a:lnTo>
                  <a:close/>
                  <a:moveTo>
                    <a:pt x="283" y="223"/>
                  </a:moveTo>
                  <a:lnTo>
                    <a:pt x="283" y="224"/>
                  </a:lnTo>
                  <a:lnTo>
                    <a:pt x="284" y="225"/>
                  </a:lnTo>
                  <a:lnTo>
                    <a:pt x="286" y="226"/>
                  </a:lnTo>
                  <a:lnTo>
                    <a:pt x="286" y="227"/>
                  </a:lnTo>
                  <a:lnTo>
                    <a:pt x="284" y="227"/>
                  </a:lnTo>
                  <a:lnTo>
                    <a:pt x="284" y="229"/>
                  </a:lnTo>
                  <a:lnTo>
                    <a:pt x="283" y="229"/>
                  </a:lnTo>
                  <a:lnTo>
                    <a:pt x="282" y="229"/>
                  </a:lnTo>
                  <a:lnTo>
                    <a:pt x="281" y="230"/>
                  </a:lnTo>
                  <a:lnTo>
                    <a:pt x="280" y="230"/>
                  </a:lnTo>
                  <a:lnTo>
                    <a:pt x="280" y="231"/>
                  </a:lnTo>
                  <a:lnTo>
                    <a:pt x="279" y="231"/>
                  </a:lnTo>
                  <a:lnTo>
                    <a:pt x="279" y="232"/>
                  </a:lnTo>
                  <a:lnTo>
                    <a:pt x="279" y="233"/>
                  </a:lnTo>
                  <a:lnTo>
                    <a:pt x="279" y="232"/>
                  </a:lnTo>
                  <a:lnTo>
                    <a:pt x="279" y="233"/>
                  </a:lnTo>
                  <a:lnTo>
                    <a:pt x="277" y="233"/>
                  </a:lnTo>
                  <a:lnTo>
                    <a:pt x="276" y="233"/>
                  </a:lnTo>
                  <a:lnTo>
                    <a:pt x="277" y="233"/>
                  </a:lnTo>
                  <a:lnTo>
                    <a:pt x="277" y="232"/>
                  </a:lnTo>
                  <a:lnTo>
                    <a:pt x="277" y="231"/>
                  </a:lnTo>
                  <a:lnTo>
                    <a:pt x="276" y="230"/>
                  </a:lnTo>
                  <a:lnTo>
                    <a:pt x="276" y="229"/>
                  </a:lnTo>
                  <a:lnTo>
                    <a:pt x="275" y="227"/>
                  </a:lnTo>
                  <a:lnTo>
                    <a:pt x="274" y="227"/>
                  </a:lnTo>
                  <a:lnTo>
                    <a:pt x="273" y="226"/>
                  </a:lnTo>
                  <a:lnTo>
                    <a:pt x="270" y="226"/>
                  </a:lnTo>
                  <a:lnTo>
                    <a:pt x="269" y="226"/>
                  </a:lnTo>
                  <a:lnTo>
                    <a:pt x="269" y="225"/>
                  </a:lnTo>
                  <a:lnTo>
                    <a:pt x="268" y="224"/>
                  </a:lnTo>
                  <a:lnTo>
                    <a:pt x="268" y="223"/>
                  </a:lnTo>
                  <a:lnTo>
                    <a:pt x="268" y="222"/>
                  </a:lnTo>
                  <a:lnTo>
                    <a:pt x="269" y="222"/>
                  </a:lnTo>
                  <a:lnTo>
                    <a:pt x="269" y="223"/>
                  </a:lnTo>
                  <a:lnTo>
                    <a:pt x="270" y="223"/>
                  </a:lnTo>
                  <a:lnTo>
                    <a:pt x="270" y="222"/>
                  </a:lnTo>
                  <a:lnTo>
                    <a:pt x="270" y="223"/>
                  </a:lnTo>
                  <a:lnTo>
                    <a:pt x="272" y="223"/>
                  </a:lnTo>
                  <a:lnTo>
                    <a:pt x="274" y="224"/>
                  </a:lnTo>
                  <a:lnTo>
                    <a:pt x="274" y="223"/>
                  </a:lnTo>
                  <a:lnTo>
                    <a:pt x="275" y="223"/>
                  </a:lnTo>
                  <a:lnTo>
                    <a:pt x="276" y="223"/>
                  </a:lnTo>
                  <a:lnTo>
                    <a:pt x="277" y="222"/>
                  </a:lnTo>
                  <a:lnTo>
                    <a:pt x="279" y="222"/>
                  </a:lnTo>
                  <a:lnTo>
                    <a:pt x="280" y="222"/>
                  </a:lnTo>
                  <a:lnTo>
                    <a:pt x="281" y="222"/>
                  </a:lnTo>
                  <a:lnTo>
                    <a:pt x="283" y="223"/>
                  </a:lnTo>
                  <a:close/>
                  <a:moveTo>
                    <a:pt x="446" y="222"/>
                  </a:moveTo>
                  <a:lnTo>
                    <a:pt x="445" y="222"/>
                  </a:lnTo>
                  <a:lnTo>
                    <a:pt x="445" y="220"/>
                  </a:lnTo>
                  <a:lnTo>
                    <a:pt x="446" y="220"/>
                  </a:lnTo>
                  <a:lnTo>
                    <a:pt x="446" y="222"/>
                  </a:lnTo>
                  <a:close/>
                  <a:moveTo>
                    <a:pt x="481" y="217"/>
                  </a:moveTo>
                  <a:lnTo>
                    <a:pt x="482" y="217"/>
                  </a:lnTo>
                  <a:lnTo>
                    <a:pt x="482" y="218"/>
                  </a:lnTo>
                  <a:lnTo>
                    <a:pt x="482" y="219"/>
                  </a:lnTo>
                  <a:lnTo>
                    <a:pt x="482" y="220"/>
                  </a:lnTo>
                  <a:lnTo>
                    <a:pt x="481" y="222"/>
                  </a:lnTo>
                  <a:lnTo>
                    <a:pt x="480" y="220"/>
                  </a:lnTo>
                  <a:lnTo>
                    <a:pt x="479" y="219"/>
                  </a:lnTo>
                  <a:lnTo>
                    <a:pt x="479" y="218"/>
                  </a:lnTo>
                  <a:lnTo>
                    <a:pt x="479" y="217"/>
                  </a:lnTo>
                  <a:lnTo>
                    <a:pt x="480" y="217"/>
                  </a:lnTo>
                  <a:lnTo>
                    <a:pt x="481" y="217"/>
                  </a:lnTo>
                  <a:close/>
                  <a:moveTo>
                    <a:pt x="485" y="216"/>
                  </a:moveTo>
                  <a:lnTo>
                    <a:pt x="485" y="217"/>
                  </a:lnTo>
                  <a:lnTo>
                    <a:pt x="485" y="216"/>
                  </a:lnTo>
                  <a:close/>
                  <a:moveTo>
                    <a:pt x="192" y="216"/>
                  </a:moveTo>
                  <a:lnTo>
                    <a:pt x="192" y="217"/>
                  </a:lnTo>
                  <a:lnTo>
                    <a:pt x="194" y="217"/>
                  </a:lnTo>
                  <a:lnTo>
                    <a:pt x="192" y="217"/>
                  </a:lnTo>
                  <a:lnTo>
                    <a:pt x="191" y="216"/>
                  </a:lnTo>
                  <a:lnTo>
                    <a:pt x="190" y="216"/>
                  </a:lnTo>
                  <a:lnTo>
                    <a:pt x="191" y="216"/>
                  </a:lnTo>
                  <a:lnTo>
                    <a:pt x="192" y="216"/>
                  </a:lnTo>
                  <a:close/>
                  <a:moveTo>
                    <a:pt x="501" y="215"/>
                  </a:moveTo>
                  <a:lnTo>
                    <a:pt x="501" y="216"/>
                  </a:lnTo>
                  <a:lnTo>
                    <a:pt x="500" y="216"/>
                  </a:lnTo>
                  <a:lnTo>
                    <a:pt x="499" y="216"/>
                  </a:lnTo>
                  <a:lnTo>
                    <a:pt x="499" y="215"/>
                  </a:lnTo>
                  <a:lnTo>
                    <a:pt x="500" y="215"/>
                  </a:lnTo>
                  <a:lnTo>
                    <a:pt x="501" y="215"/>
                  </a:lnTo>
                  <a:close/>
                  <a:moveTo>
                    <a:pt x="439" y="215"/>
                  </a:moveTo>
                  <a:lnTo>
                    <a:pt x="440" y="215"/>
                  </a:lnTo>
                  <a:lnTo>
                    <a:pt x="440" y="216"/>
                  </a:lnTo>
                  <a:lnTo>
                    <a:pt x="442" y="216"/>
                  </a:lnTo>
                  <a:lnTo>
                    <a:pt x="440" y="217"/>
                  </a:lnTo>
                  <a:lnTo>
                    <a:pt x="440" y="216"/>
                  </a:lnTo>
                  <a:lnTo>
                    <a:pt x="439" y="217"/>
                  </a:lnTo>
                  <a:lnTo>
                    <a:pt x="439" y="216"/>
                  </a:lnTo>
                  <a:lnTo>
                    <a:pt x="438" y="217"/>
                  </a:lnTo>
                  <a:lnTo>
                    <a:pt x="437" y="217"/>
                  </a:lnTo>
                  <a:lnTo>
                    <a:pt x="436" y="218"/>
                  </a:lnTo>
                  <a:lnTo>
                    <a:pt x="436" y="219"/>
                  </a:lnTo>
                  <a:lnTo>
                    <a:pt x="435" y="219"/>
                  </a:lnTo>
                  <a:lnTo>
                    <a:pt x="433" y="219"/>
                  </a:lnTo>
                  <a:lnTo>
                    <a:pt x="432" y="219"/>
                  </a:lnTo>
                  <a:lnTo>
                    <a:pt x="431" y="219"/>
                  </a:lnTo>
                  <a:lnTo>
                    <a:pt x="431" y="218"/>
                  </a:lnTo>
                  <a:lnTo>
                    <a:pt x="430" y="218"/>
                  </a:lnTo>
                  <a:lnTo>
                    <a:pt x="429" y="218"/>
                  </a:lnTo>
                  <a:lnTo>
                    <a:pt x="429" y="219"/>
                  </a:lnTo>
                  <a:lnTo>
                    <a:pt x="428" y="219"/>
                  </a:lnTo>
                  <a:lnTo>
                    <a:pt x="426" y="220"/>
                  </a:lnTo>
                  <a:lnTo>
                    <a:pt x="426" y="219"/>
                  </a:lnTo>
                  <a:lnTo>
                    <a:pt x="426" y="218"/>
                  </a:lnTo>
                  <a:lnTo>
                    <a:pt x="428" y="218"/>
                  </a:lnTo>
                  <a:lnTo>
                    <a:pt x="428" y="217"/>
                  </a:lnTo>
                  <a:lnTo>
                    <a:pt x="428" y="216"/>
                  </a:lnTo>
                  <a:lnTo>
                    <a:pt x="429" y="216"/>
                  </a:lnTo>
                  <a:lnTo>
                    <a:pt x="429" y="215"/>
                  </a:lnTo>
                  <a:lnTo>
                    <a:pt x="430" y="216"/>
                  </a:lnTo>
                  <a:lnTo>
                    <a:pt x="432" y="216"/>
                  </a:lnTo>
                  <a:lnTo>
                    <a:pt x="433" y="216"/>
                  </a:lnTo>
                  <a:lnTo>
                    <a:pt x="435" y="216"/>
                  </a:lnTo>
                  <a:lnTo>
                    <a:pt x="435" y="215"/>
                  </a:lnTo>
                  <a:lnTo>
                    <a:pt x="436" y="215"/>
                  </a:lnTo>
                  <a:lnTo>
                    <a:pt x="436" y="213"/>
                  </a:lnTo>
                  <a:lnTo>
                    <a:pt x="437" y="213"/>
                  </a:lnTo>
                  <a:lnTo>
                    <a:pt x="438" y="213"/>
                  </a:lnTo>
                  <a:lnTo>
                    <a:pt x="438" y="215"/>
                  </a:lnTo>
                  <a:lnTo>
                    <a:pt x="439" y="215"/>
                  </a:lnTo>
                  <a:close/>
                  <a:moveTo>
                    <a:pt x="481" y="213"/>
                  </a:moveTo>
                  <a:lnTo>
                    <a:pt x="480" y="213"/>
                  </a:lnTo>
                  <a:lnTo>
                    <a:pt x="481" y="213"/>
                  </a:lnTo>
                  <a:close/>
                  <a:moveTo>
                    <a:pt x="448" y="215"/>
                  </a:moveTo>
                  <a:lnTo>
                    <a:pt x="448" y="213"/>
                  </a:lnTo>
                  <a:lnTo>
                    <a:pt x="448" y="212"/>
                  </a:lnTo>
                  <a:lnTo>
                    <a:pt x="450" y="212"/>
                  </a:lnTo>
                  <a:lnTo>
                    <a:pt x="450" y="213"/>
                  </a:lnTo>
                  <a:lnTo>
                    <a:pt x="450" y="215"/>
                  </a:lnTo>
                  <a:lnTo>
                    <a:pt x="448" y="215"/>
                  </a:lnTo>
                  <a:close/>
                  <a:moveTo>
                    <a:pt x="497" y="212"/>
                  </a:moveTo>
                  <a:lnTo>
                    <a:pt x="499" y="212"/>
                  </a:lnTo>
                  <a:lnTo>
                    <a:pt x="499" y="213"/>
                  </a:lnTo>
                  <a:lnTo>
                    <a:pt x="497" y="213"/>
                  </a:lnTo>
                  <a:lnTo>
                    <a:pt x="497" y="212"/>
                  </a:lnTo>
                  <a:close/>
                  <a:moveTo>
                    <a:pt x="502" y="211"/>
                  </a:moveTo>
                  <a:lnTo>
                    <a:pt x="501" y="212"/>
                  </a:lnTo>
                  <a:lnTo>
                    <a:pt x="500" y="212"/>
                  </a:lnTo>
                  <a:lnTo>
                    <a:pt x="499" y="212"/>
                  </a:lnTo>
                  <a:lnTo>
                    <a:pt x="499" y="211"/>
                  </a:lnTo>
                  <a:lnTo>
                    <a:pt x="500" y="211"/>
                  </a:lnTo>
                  <a:lnTo>
                    <a:pt x="501" y="211"/>
                  </a:lnTo>
                  <a:lnTo>
                    <a:pt x="502" y="211"/>
                  </a:lnTo>
                  <a:close/>
                  <a:moveTo>
                    <a:pt x="608" y="220"/>
                  </a:moveTo>
                  <a:lnTo>
                    <a:pt x="608" y="222"/>
                  </a:lnTo>
                  <a:lnTo>
                    <a:pt x="607" y="222"/>
                  </a:lnTo>
                  <a:lnTo>
                    <a:pt x="607" y="223"/>
                  </a:lnTo>
                  <a:lnTo>
                    <a:pt x="606" y="223"/>
                  </a:lnTo>
                  <a:lnTo>
                    <a:pt x="604" y="223"/>
                  </a:lnTo>
                  <a:lnTo>
                    <a:pt x="604" y="224"/>
                  </a:lnTo>
                  <a:lnTo>
                    <a:pt x="603" y="225"/>
                  </a:lnTo>
                  <a:lnTo>
                    <a:pt x="602" y="225"/>
                  </a:lnTo>
                  <a:lnTo>
                    <a:pt x="602" y="226"/>
                  </a:lnTo>
                  <a:lnTo>
                    <a:pt x="601" y="226"/>
                  </a:lnTo>
                  <a:lnTo>
                    <a:pt x="600" y="227"/>
                  </a:lnTo>
                  <a:lnTo>
                    <a:pt x="599" y="226"/>
                  </a:lnTo>
                  <a:lnTo>
                    <a:pt x="597" y="226"/>
                  </a:lnTo>
                  <a:lnTo>
                    <a:pt x="596" y="226"/>
                  </a:lnTo>
                  <a:lnTo>
                    <a:pt x="593" y="226"/>
                  </a:lnTo>
                  <a:lnTo>
                    <a:pt x="592" y="226"/>
                  </a:lnTo>
                  <a:lnTo>
                    <a:pt x="590" y="227"/>
                  </a:lnTo>
                  <a:lnTo>
                    <a:pt x="590" y="226"/>
                  </a:lnTo>
                  <a:lnTo>
                    <a:pt x="592" y="223"/>
                  </a:lnTo>
                  <a:lnTo>
                    <a:pt x="593" y="222"/>
                  </a:lnTo>
                  <a:lnTo>
                    <a:pt x="593" y="220"/>
                  </a:lnTo>
                  <a:lnTo>
                    <a:pt x="594" y="219"/>
                  </a:lnTo>
                  <a:lnTo>
                    <a:pt x="595" y="217"/>
                  </a:lnTo>
                  <a:lnTo>
                    <a:pt x="595" y="216"/>
                  </a:lnTo>
                  <a:lnTo>
                    <a:pt x="596" y="216"/>
                  </a:lnTo>
                  <a:lnTo>
                    <a:pt x="596" y="215"/>
                  </a:lnTo>
                  <a:lnTo>
                    <a:pt x="597" y="213"/>
                  </a:lnTo>
                  <a:lnTo>
                    <a:pt x="600" y="212"/>
                  </a:lnTo>
                  <a:lnTo>
                    <a:pt x="602" y="211"/>
                  </a:lnTo>
                  <a:lnTo>
                    <a:pt x="604" y="211"/>
                  </a:lnTo>
                  <a:lnTo>
                    <a:pt x="604" y="210"/>
                  </a:lnTo>
                  <a:lnTo>
                    <a:pt x="606" y="210"/>
                  </a:lnTo>
                  <a:lnTo>
                    <a:pt x="607" y="210"/>
                  </a:lnTo>
                  <a:lnTo>
                    <a:pt x="608" y="210"/>
                  </a:lnTo>
                  <a:lnTo>
                    <a:pt x="608" y="211"/>
                  </a:lnTo>
                  <a:lnTo>
                    <a:pt x="609" y="212"/>
                  </a:lnTo>
                  <a:lnTo>
                    <a:pt x="609" y="213"/>
                  </a:lnTo>
                  <a:lnTo>
                    <a:pt x="610" y="213"/>
                  </a:lnTo>
                  <a:lnTo>
                    <a:pt x="611" y="213"/>
                  </a:lnTo>
                  <a:lnTo>
                    <a:pt x="611" y="215"/>
                  </a:lnTo>
                  <a:lnTo>
                    <a:pt x="610" y="215"/>
                  </a:lnTo>
                  <a:lnTo>
                    <a:pt x="610" y="216"/>
                  </a:lnTo>
                  <a:lnTo>
                    <a:pt x="610" y="218"/>
                  </a:lnTo>
                  <a:lnTo>
                    <a:pt x="609" y="218"/>
                  </a:lnTo>
                  <a:lnTo>
                    <a:pt x="608" y="219"/>
                  </a:lnTo>
                  <a:lnTo>
                    <a:pt x="608" y="220"/>
                  </a:lnTo>
                  <a:close/>
                  <a:moveTo>
                    <a:pt x="372" y="211"/>
                  </a:moveTo>
                  <a:lnTo>
                    <a:pt x="371" y="211"/>
                  </a:lnTo>
                  <a:lnTo>
                    <a:pt x="371" y="210"/>
                  </a:lnTo>
                  <a:lnTo>
                    <a:pt x="372" y="210"/>
                  </a:lnTo>
                  <a:lnTo>
                    <a:pt x="372" y="211"/>
                  </a:lnTo>
                  <a:close/>
                  <a:moveTo>
                    <a:pt x="503" y="210"/>
                  </a:moveTo>
                  <a:lnTo>
                    <a:pt x="502" y="210"/>
                  </a:lnTo>
                  <a:lnTo>
                    <a:pt x="503" y="210"/>
                  </a:lnTo>
                  <a:lnTo>
                    <a:pt x="503" y="209"/>
                  </a:lnTo>
                  <a:lnTo>
                    <a:pt x="503" y="210"/>
                  </a:lnTo>
                  <a:close/>
                  <a:moveTo>
                    <a:pt x="359" y="209"/>
                  </a:moveTo>
                  <a:lnTo>
                    <a:pt x="360" y="209"/>
                  </a:lnTo>
                  <a:lnTo>
                    <a:pt x="361" y="209"/>
                  </a:lnTo>
                  <a:lnTo>
                    <a:pt x="361" y="210"/>
                  </a:lnTo>
                  <a:lnTo>
                    <a:pt x="360" y="210"/>
                  </a:lnTo>
                  <a:lnTo>
                    <a:pt x="359" y="209"/>
                  </a:lnTo>
                  <a:lnTo>
                    <a:pt x="358" y="209"/>
                  </a:lnTo>
                  <a:lnTo>
                    <a:pt x="359" y="209"/>
                  </a:lnTo>
                  <a:close/>
                  <a:moveTo>
                    <a:pt x="272" y="206"/>
                  </a:moveTo>
                  <a:lnTo>
                    <a:pt x="272" y="208"/>
                  </a:lnTo>
                  <a:lnTo>
                    <a:pt x="270" y="206"/>
                  </a:lnTo>
                  <a:lnTo>
                    <a:pt x="272" y="206"/>
                  </a:lnTo>
                  <a:close/>
                  <a:moveTo>
                    <a:pt x="509" y="208"/>
                  </a:moveTo>
                  <a:lnTo>
                    <a:pt x="509" y="206"/>
                  </a:lnTo>
                  <a:lnTo>
                    <a:pt x="510" y="208"/>
                  </a:lnTo>
                  <a:lnTo>
                    <a:pt x="509" y="208"/>
                  </a:lnTo>
                  <a:lnTo>
                    <a:pt x="509" y="209"/>
                  </a:lnTo>
                  <a:lnTo>
                    <a:pt x="508" y="209"/>
                  </a:lnTo>
                  <a:lnTo>
                    <a:pt x="508" y="210"/>
                  </a:lnTo>
                  <a:lnTo>
                    <a:pt x="509" y="210"/>
                  </a:lnTo>
                  <a:lnTo>
                    <a:pt x="509" y="211"/>
                  </a:lnTo>
                  <a:lnTo>
                    <a:pt x="509" y="212"/>
                  </a:lnTo>
                  <a:lnTo>
                    <a:pt x="508" y="212"/>
                  </a:lnTo>
                  <a:lnTo>
                    <a:pt x="508" y="213"/>
                  </a:lnTo>
                  <a:lnTo>
                    <a:pt x="508" y="215"/>
                  </a:lnTo>
                  <a:lnTo>
                    <a:pt x="507" y="215"/>
                  </a:lnTo>
                  <a:lnTo>
                    <a:pt x="507" y="216"/>
                  </a:lnTo>
                  <a:lnTo>
                    <a:pt x="506" y="216"/>
                  </a:lnTo>
                  <a:lnTo>
                    <a:pt x="506" y="217"/>
                  </a:lnTo>
                  <a:lnTo>
                    <a:pt x="504" y="217"/>
                  </a:lnTo>
                  <a:lnTo>
                    <a:pt x="504" y="218"/>
                  </a:lnTo>
                  <a:lnTo>
                    <a:pt x="503" y="219"/>
                  </a:lnTo>
                  <a:lnTo>
                    <a:pt x="503" y="220"/>
                  </a:lnTo>
                  <a:lnTo>
                    <a:pt x="502" y="220"/>
                  </a:lnTo>
                  <a:lnTo>
                    <a:pt x="503" y="220"/>
                  </a:lnTo>
                  <a:lnTo>
                    <a:pt x="503" y="219"/>
                  </a:lnTo>
                  <a:lnTo>
                    <a:pt x="502" y="219"/>
                  </a:lnTo>
                  <a:lnTo>
                    <a:pt x="502" y="220"/>
                  </a:lnTo>
                  <a:lnTo>
                    <a:pt x="501" y="220"/>
                  </a:lnTo>
                  <a:lnTo>
                    <a:pt x="500" y="220"/>
                  </a:lnTo>
                  <a:lnTo>
                    <a:pt x="500" y="219"/>
                  </a:lnTo>
                  <a:lnTo>
                    <a:pt x="501" y="219"/>
                  </a:lnTo>
                  <a:lnTo>
                    <a:pt x="500" y="219"/>
                  </a:lnTo>
                  <a:lnTo>
                    <a:pt x="500" y="218"/>
                  </a:lnTo>
                  <a:lnTo>
                    <a:pt x="501" y="217"/>
                  </a:lnTo>
                  <a:lnTo>
                    <a:pt x="501" y="216"/>
                  </a:lnTo>
                  <a:lnTo>
                    <a:pt x="502" y="216"/>
                  </a:lnTo>
                  <a:lnTo>
                    <a:pt x="502" y="215"/>
                  </a:lnTo>
                  <a:lnTo>
                    <a:pt x="502" y="213"/>
                  </a:lnTo>
                  <a:lnTo>
                    <a:pt x="502" y="212"/>
                  </a:lnTo>
                  <a:lnTo>
                    <a:pt x="503" y="212"/>
                  </a:lnTo>
                  <a:lnTo>
                    <a:pt x="503" y="211"/>
                  </a:lnTo>
                  <a:lnTo>
                    <a:pt x="504" y="211"/>
                  </a:lnTo>
                  <a:lnTo>
                    <a:pt x="504" y="210"/>
                  </a:lnTo>
                  <a:lnTo>
                    <a:pt x="506" y="210"/>
                  </a:lnTo>
                  <a:lnTo>
                    <a:pt x="506" y="209"/>
                  </a:lnTo>
                  <a:lnTo>
                    <a:pt x="507" y="209"/>
                  </a:lnTo>
                  <a:lnTo>
                    <a:pt x="507" y="208"/>
                  </a:lnTo>
                  <a:lnTo>
                    <a:pt x="507" y="206"/>
                  </a:lnTo>
                  <a:lnTo>
                    <a:pt x="508" y="206"/>
                  </a:lnTo>
                  <a:lnTo>
                    <a:pt x="509" y="206"/>
                  </a:lnTo>
                  <a:lnTo>
                    <a:pt x="509" y="208"/>
                  </a:lnTo>
                  <a:close/>
                  <a:moveTo>
                    <a:pt x="289" y="206"/>
                  </a:moveTo>
                  <a:lnTo>
                    <a:pt x="289" y="208"/>
                  </a:lnTo>
                  <a:lnTo>
                    <a:pt x="288" y="208"/>
                  </a:lnTo>
                  <a:lnTo>
                    <a:pt x="287" y="206"/>
                  </a:lnTo>
                  <a:lnTo>
                    <a:pt x="288" y="206"/>
                  </a:lnTo>
                  <a:lnTo>
                    <a:pt x="289" y="206"/>
                  </a:lnTo>
                  <a:lnTo>
                    <a:pt x="289" y="208"/>
                  </a:lnTo>
                  <a:lnTo>
                    <a:pt x="289" y="206"/>
                  </a:lnTo>
                  <a:close/>
                  <a:moveTo>
                    <a:pt x="512" y="206"/>
                  </a:moveTo>
                  <a:lnTo>
                    <a:pt x="512" y="208"/>
                  </a:lnTo>
                  <a:lnTo>
                    <a:pt x="514" y="208"/>
                  </a:lnTo>
                  <a:lnTo>
                    <a:pt x="512" y="209"/>
                  </a:lnTo>
                  <a:lnTo>
                    <a:pt x="512" y="208"/>
                  </a:lnTo>
                  <a:lnTo>
                    <a:pt x="511" y="208"/>
                  </a:lnTo>
                  <a:lnTo>
                    <a:pt x="510" y="208"/>
                  </a:lnTo>
                  <a:lnTo>
                    <a:pt x="510" y="206"/>
                  </a:lnTo>
                  <a:lnTo>
                    <a:pt x="511" y="206"/>
                  </a:lnTo>
                  <a:lnTo>
                    <a:pt x="512" y="206"/>
                  </a:lnTo>
                  <a:close/>
                  <a:moveTo>
                    <a:pt x="467" y="208"/>
                  </a:moveTo>
                  <a:lnTo>
                    <a:pt x="466" y="208"/>
                  </a:lnTo>
                  <a:lnTo>
                    <a:pt x="465" y="208"/>
                  </a:lnTo>
                  <a:lnTo>
                    <a:pt x="465" y="206"/>
                  </a:lnTo>
                  <a:lnTo>
                    <a:pt x="466" y="206"/>
                  </a:lnTo>
                  <a:lnTo>
                    <a:pt x="466" y="205"/>
                  </a:lnTo>
                  <a:lnTo>
                    <a:pt x="467" y="205"/>
                  </a:lnTo>
                  <a:lnTo>
                    <a:pt x="467" y="206"/>
                  </a:lnTo>
                  <a:lnTo>
                    <a:pt x="467" y="208"/>
                  </a:lnTo>
                  <a:close/>
                  <a:moveTo>
                    <a:pt x="268" y="206"/>
                  </a:moveTo>
                  <a:lnTo>
                    <a:pt x="268" y="208"/>
                  </a:lnTo>
                  <a:lnTo>
                    <a:pt x="268" y="206"/>
                  </a:lnTo>
                  <a:lnTo>
                    <a:pt x="267" y="206"/>
                  </a:lnTo>
                  <a:lnTo>
                    <a:pt x="267" y="205"/>
                  </a:lnTo>
                  <a:lnTo>
                    <a:pt x="268" y="205"/>
                  </a:lnTo>
                  <a:lnTo>
                    <a:pt x="268" y="206"/>
                  </a:lnTo>
                  <a:close/>
                  <a:moveTo>
                    <a:pt x="357" y="205"/>
                  </a:moveTo>
                  <a:lnTo>
                    <a:pt x="358" y="205"/>
                  </a:lnTo>
                  <a:lnTo>
                    <a:pt x="358" y="206"/>
                  </a:lnTo>
                  <a:lnTo>
                    <a:pt x="357" y="206"/>
                  </a:lnTo>
                  <a:lnTo>
                    <a:pt x="355" y="206"/>
                  </a:lnTo>
                  <a:lnTo>
                    <a:pt x="354" y="206"/>
                  </a:lnTo>
                  <a:lnTo>
                    <a:pt x="354" y="205"/>
                  </a:lnTo>
                  <a:lnTo>
                    <a:pt x="355" y="205"/>
                  </a:lnTo>
                  <a:lnTo>
                    <a:pt x="355" y="204"/>
                  </a:lnTo>
                  <a:lnTo>
                    <a:pt x="357" y="205"/>
                  </a:lnTo>
                  <a:close/>
                  <a:moveTo>
                    <a:pt x="474" y="204"/>
                  </a:moveTo>
                  <a:lnTo>
                    <a:pt x="473" y="204"/>
                  </a:lnTo>
                  <a:lnTo>
                    <a:pt x="474" y="204"/>
                  </a:lnTo>
                  <a:close/>
                  <a:moveTo>
                    <a:pt x="263" y="203"/>
                  </a:moveTo>
                  <a:lnTo>
                    <a:pt x="265" y="203"/>
                  </a:lnTo>
                  <a:lnTo>
                    <a:pt x="265" y="204"/>
                  </a:lnTo>
                  <a:lnTo>
                    <a:pt x="263" y="204"/>
                  </a:lnTo>
                  <a:lnTo>
                    <a:pt x="262" y="205"/>
                  </a:lnTo>
                  <a:lnTo>
                    <a:pt x="261" y="205"/>
                  </a:lnTo>
                  <a:lnTo>
                    <a:pt x="261" y="206"/>
                  </a:lnTo>
                  <a:lnTo>
                    <a:pt x="260" y="206"/>
                  </a:lnTo>
                  <a:lnTo>
                    <a:pt x="259" y="206"/>
                  </a:lnTo>
                  <a:lnTo>
                    <a:pt x="258" y="206"/>
                  </a:lnTo>
                  <a:lnTo>
                    <a:pt x="258" y="208"/>
                  </a:lnTo>
                  <a:lnTo>
                    <a:pt x="256" y="208"/>
                  </a:lnTo>
                  <a:lnTo>
                    <a:pt x="256" y="209"/>
                  </a:lnTo>
                  <a:lnTo>
                    <a:pt x="256" y="208"/>
                  </a:lnTo>
                  <a:lnTo>
                    <a:pt x="255" y="208"/>
                  </a:lnTo>
                  <a:lnTo>
                    <a:pt x="253" y="208"/>
                  </a:lnTo>
                  <a:lnTo>
                    <a:pt x="252" y="208"/>
                  </a:lnTo>
                  <a:lnTo>
                    <a:pt x="251" y="208"/>
                  </a:lnTo>
                  <a:lnTo>
                    <a:pt x="252" y="206"/>
                  </a:lnTo>
                  <a:lnTo>
                    <a:pt x="251" y="206"/>
                  </a:lnTo>
                  <a:lnTo>
                    <a:pt x="251" y="208"/>
                  </a:lnTo>
                  <a:lnTo>
                    <a:pt x="246" y="208"/>
                  </a:lnTo>
                  <a:lnTo>
                    <a:pt x="246" y="206"/>
                  </a:lnTo>
                  <a:lnTo>
                    <a:pt x="246" y="208"/>
                  </a:lnTo>
                  <a:lnTo>
                    <a:pt x="245" y="206"/>
                  </a:lnTo>
                  <a:lnTo>
                    <a:pt x="245" y="205"/>
                  </a:lnTo>
                  <a:lnTo>
                    <a:pt x="245" y="206"/>
                  </a:lnTo>
                  <a:lnTo>
                    <a:pt x="245" y="205"/>
                  </a:lnTo>
                  <a:lnTo>
                    <a:pt x="246" y="205"/>
                  </a:lnTo>
                  <a:lnTo>
                    <a:pt x="246" y="204"/>
                  </a:lnTo>
                  <a:lnTo>
                    <a:pt x="247" y="203"/>
                  </a:lnTo>
                  <a:lnTo>
                    <a:pt x="248" y="203"/>
                  </a:lnTo>
                  <a:lnTo>
                    <a:pt x="249" y="203"/>
                  </a:lnTo>
                  <a:lnTo>
                    <a:pt x="251" y="203"/>
                  </a:lnTo>
                  <a:lnTo>
                    <a:pt x="252" y="203"/>
                  </a:lnTo>
                  <a:lnTo>
                    <a:pt x="253" y="203"/>
                  </a:lnTo>
                  <a:lnTo>
                    <a:pt x="255" y="203"/>
                  </a:lnTo>
                  <a:lnTo>
                    <a:pt x="256" y="203"/>
                  </a:lnTo>
                  <a:lnTo>
                    <a:pt x="259" y="203"/>
                  </a:lnTo>
                  <a:lnTo>
                    <a:pt x="260" y="203"/>
                  </a:lnTo>
                  <a:lnTo>
                    <a:pt x="262" y="202"/>
                  </a:lnTo>
                  <a:lnTo>
                    <a:pt x="262" y="203"/>
                  </a:lnTo>
                  <a:lnTo>
                    <a:pt x="263" y="203"/>
                  </a:lnTo>
                  <a:close/>
                  <a:moveTo>
                    <a:pt x="282" y="202"/>
                  </a:moveTo>
                  <a:lnTo>
                    <a:pt x="283" y="202"/>
                  </a:lnTo>
                  <a:lnTo>
                    <a:pt x="284" y="202"/>
                  </a:lnTo>
                  <a:lnTo>
                    <a:pt x="284" y="203"/>
                  </a:lnTo>
                  <a:lnTo>
                    <a:pt x="286" y="203"/>
                  </a:lnTo>
                  <a:lnTo>
                    <a:pt x="284" y="204"/>
                  </a:lnTo>
                  <a:lnTo>
                    <a:pt x="284" y="203"/>
                  </a:lnTo>
                  <a:lnTo>
                    <a:pt x="283" y="203"/>
                  </a:lnTo>
                  <a:lnTo>
                    <a:pt x="282" y="203"/>
                  </a:lnTo>
                  <a:lnTo>
                    <a:pt x="282" y="204"/>
                  </a:lnTo>
                  <a:lnTo>
                    <a:pt x="281" y="204"/>
                  </a:lnTo>
                  <a:lnTo>
                    <a:pt x="280" y="204"/>
                  </a:lnTo>
                  <a:lnTo>
                    <a:pt x="280" y="203"/>
                  </a:lnTo>
                  <a:lnTo>
                    <a:pt x="281" y="203"/>
                  </a:lnTo>
                  <a:lnTo>
                    <a:pt x="281" y="202"/>
                  </a:lnTo>
                  <a:lnTo>
                    <a:pt x="282" y="202"/>
                  </a:lnTo>
                  <a:close/>
                  <a:moveTo>
                    <a:pt x="480" y="201"/>
                  </a:moveTo>
                  <a:lnTo>
                    <a:pt x="479" y="201"/>
                  </a:lnTo>
                  <a:lnTo>
                    <a:pt x="480" y="201"/>
                  </a:lnTo>
                  <a:close/>
                  <a:moveTo>
                    <a:pt x="608" y="202"/>
                  </a:moveTo>
                  <a:lnTo>
                    <a:pt x="608" y="203"/>
                  </a:lnTo>
                  <a:lnTo>
                    <a:pt x="607" y="202"/>
                  </a:lnTo>
                  <a:lnTo>
                    <a:pt x="607" y="201"/>
                  </a:lnTo>
                  <a:lnTo>
                    <a:pt x="606" y="201"/>
                  </a:lnTo>
                  <a:lnTo>
                    <a:pt x="607" y="201"/>
                  </a:lnTo>
                  <a:lnTo>
                    <a:pt x="608" y="201"/>
                  </a:lnTo>
                  <a:lnTo>
                    <a:pt x="608" y="202"/>
                  </a:lnTo>
                  <a:close/>
                  <a:moveTo>
                    <a:pt x="509" y="199"/>
                  </a:moveTo>
                  <a:lnTo>
                    <a:pt x="508" y="201"/>
                  </a:lnTo>
                  <a:lnTo>
                    <a:pt x="508" y="202"/>
                  </a:lnTo>
                  <a:lnTo>
                    <a:pt x="507" y="201"/>
                  </a:lnTo>
                  <a:lnTo>
                    <a:pt x="508" y="201"/>
                  </a:lnTo>
                  <a:lnTo>
                    <a:pt x="508" y="199"/>
                  </a:lnTo>
                  <a:lnTo>
                    <a:pt x="509" y="199"/>
                  </a:lnTo>
                  <a:close/>
                  <a:moveTo>
                    <a:pt x="551" y="201"/>
                  </a:moveTo>
                  <a:lnTo>
                    <a:pt x="551" y="199"/>
                  </a:lnTo>
                  <a:lnTo>
                    <a:pt x="551" y="198"/>
                  </a:lnTo>
                  <a:lnTo>
                    <a:pt x="552" y="198"/>
                  </a:lnTo>
                  <a:lnTo>
                    <a:pt x="552" y="199"/>
                  </a:lnTo>
                  <a:lnTo>
                    <a:pt x="551" y="201"/>
                  </a:lnTo>
                  <a:close/>
                  <a:moveTo>
                    <a:pt x="142" y="197"/>
                  </a:moveTo>
                  <a:lnTo>
                    <a:pt x="142" y="198"/>
                  </a:lnTo>
                  <a:lnTo>
                    <a:pt x="141" y="198"/>
                  </a:lnTo>
                  <a:lnTo>
                    <a:pt x="141" y="199"/>
                  </a:lnTo>
                  <a:lnTo>
                    <a:pt x="141" y="198"/>
                  </a:lnTo>
                  <a:lnTo>
                    <a:pt x="140" y="198"/>
                  </a:lnTo>
                  <a:lnTo>
                    <a:pt x="141" y="197"/>
                  </a:lnTo>
                  <a:lnTo>
                    <a:pt x="142" y="197"/>
                  </a:lnTo>
                  <a:close/>
                  <a:moveTo>
                    <a:pt x="552" y="197"/>
                  </a:moveTo>
                  <a:lnTo>
                    <a:pt x="551" y="197"/>
                  </a:lnTo>
                  <a:lnTo>
                    <a:pt x="551" y="196"/>
                  </a:lnTo>
                  <a:lnTo>
                    <a:pt x="552" y="196"/>
                  </a:lnTo>
                  <a:lnTo>
                    <a:pt x="552" y="197"/>
                  </a:lnTo>
                  <a:close/>
                  <a:moveTo>
                    <a:pt x="551" y="195"/>
                  </a:moveTo>
                  <a:lnTo>
                    <a:pt x="551" y="196"/>
                  </a:lnTo>
                  <a:lnTo>
                    <a:pt x="550" y="196"/>
                  </a:lnTo>
                  <a:lnTo>
                    <a:pt x="550" y="197"/>
                  </a:lnTo>
                  <a:lnTo>
                    <a:pt x="549" y="197"/>
                  </a:lnTo>
                  <a:lnTo>
                    <a:pt x="549" y="196"/>
                  </a:lnTo>
                  <a:lnTo>
                    <a:pt x="547" y="196"/>
                  </a:lnTo>
                  <a:lnTo>
                    <a:pt x="547" y="195"/>
                  </a:lnTo>
                  <a:lnTo>
                    <a:pt x="547" y="194"/>
                  </a:lnTo>
                  <a:lnTo>
                    <a:pt x="549" y="194"/>
                  </a:lnTo>
                  <a:lnTo>
                    <a:pt x="550" y="194"/>
                  </a:lnTo>
                  <a:lnTo>
                    <a:pt x="550" y="195"/>
                  </a:lnTo>
                  <a:lnTo>
                    <a:pt x="551" y="195"/>
                  </a:lnTo>
                  <a:close/>
                  <a:moveTo>
                    <a:pt x="553" y="196"/>
                  </a:moveTo>
                  <a:lnTo>
                    <a:pt x="553" y="195"/>
                  </a:lnTo>
                  <a:lnTo>
                    <a:pt x="553" y="194"/>
                  </a:lnTo>
                  <a:lnTo>
                    <a:pt x="554" y="194"/>
                  </a:lnTo>
                  <a:lnTo>
                    <a:pt x="554" y="195"/>
                  </a:lnTo>
                  <a:lnTo>
                    <a:pt x="553" y="196"/>
                  </a:lnTo>
                  <a:close/>
                  <a:moveTo>
                    <a:pt x="549" y="196"/>
                  </a:moveTo>
                  <a:lnTo>
                    <a:pt x="549" y="197"/>
                  </a:lnTo>
                  <a:lnTo>
                    <a:pt x="549" y="198"/>
                  </a:lnTo>
                  <a:lnTo>
                    <a:pt x="549" y="199"/>
                  </a:lnTo>
                  <a:lnTo>
                    <a:pt x="547" y="199"/>
                  </a:lnTo>
                  <a:lnTo>
                    <a:pt x="547" y="201"/>
                  </a:lnTo>
                  <a:lnTo>
                    <a:pt x="546" y="202"/>
                  </a:lnTo>
                  <a:lnTo>
                    <a:pt x="545" y="203"/>
                  </a:lnTo>
                  <a:lnTo>
                    <a:pt x="544" y="203"/>
                  </a:lnTo>
                  <a:lnTo>
                    <a:pt x="544" y="202"/>
                  </a:lnTo>
                  <a:lnTo>
                    <a:pt x="543" y="202"/>
                  </a:lnTo>
                  <a:lnTo>
                    <a:pt x="543" y="201"/>
                  </a:lnTo>
                  <a:lnTo>
                    <a:pt x="543" y="198"/>
                  </a:lnTo>
                  <a:lnTo>
                    <a:pt x="544" y="196"/>
                  </a:lnTo>
                  <a:lnTo>
                    <a:pt x="545" y="196"/>
                  </a:lnTo>
                  <a:lnTo>
                    <a:pt x="545" y="197"/>
                  </a:lnTo>
                  <a:lnTo>
                    <a:pt x="545" y="196"/>
                  </a:lnTo>
                  <a:lnTo>
                    <a:pt x="544" y="196"/>
                  </a:lnTo>
                  <a:lnTo>
                    <a:pt x="544" y="195"/>
                  </a:lnTo>
                  <a:lnTo>
                    <a:pt x="544" y="194"/>
                  </a:lnTo>
                  <a:lnTo>
                    <a:pt x="544" y="192"/>
                  </a:lnTo>
                  <a:lnTo>
                    <a:pt x="544" y="191"/>
                  </a:lnTo>
                  <a:lnTo>
                    <a:pt x="544" y="192"/>
                  </a:lnTo>
                  <a:lnTo>
                    <a:pt x="545" y="192"/>
                  </a:lnTo>
                  <a:lnTo>
                    <a:pt x="546" y="194"/>
                  </a:lnTo>
                  <a:lnTo>
                    <a:pt x="546" y="195"/>
                  </a:lnTo>
                  <a:lnTo>
                    <a:pt x="547" y="195"/>
                  </a:lnTo>
                  <a:lnTo>
                    <a:pt x="547" y="196"/>
                  </a:lnTo>
                  <a:lnTo>
                    <a:pt x="549" y="196"/>
                  </a:lnTo>
                  <a:close/>
                  <a:moveTo>
                    <a:pt x="545" y="189"/>
                  </a:moveTo>
                  <a:lnTo>
                    <a:pt x="546" y="190"/>
                  </a:lnTo>
                  <a:lnTo>
                    <a:pt x="545" y="190"/>
                  </a:lnTo>
                  <a:lnTo>
                    <a:pt x="545" y="191"/>
                  </a:lnTo>
                  <a:lnTo>
                    <a:pt x="546" y="191"/>
                  </a:lnTo>
                  <a:lnTo>
                    <a:pt x="547" y="192"/>
                  </a:lnTo>
                  <a:lnTo>
                    <a:pt x="549" y="192"/>
                  </a:lnTo>
                  <a:lnTo>
                    <a:pt x="549" y="194"/>
                  </a:lnTo>
                  <a:lnTo>
                    <a:pt x="547" y="194"/>
                  </a:lnTo>
                  <a:lnTo>
                    <a:pt x="546" y="194"/>
                  </a:lnTo>
                  <a:lnTo>
                    <a:pt x="546" y="192"/>
                  </a:lnTo>
                  <a:lnTo>
                    <a:pt x="545" y="192"/>
                  </a:lnTo>
                  <a:lnTo>
                    <a:pt x="545" y="191"/>
                  </a:lnTo>
                  <a:lnTo>
                    <a:pt x="545" y="192"/>
                  </a:lnTo>
                  <a:lnTo>
                    <a:pt x="545" y="191"/>
                  </a:lnTo>
                  <a:lnTo>
                    <a:pt x="544" y="191"/>
                  </a:lnTo>
                  <a:lnTo>
                    <a:pt x="544" y="190"/>
                  </a:lnTo>
                  <a:lnTo>
                    <a:pt x="544" y="189"/>
                  </a:lnTo>
                  <a:lnTo>
                    <a:pt x="545" y="189"/>
                  </a:lnTo>
                  <a:close/>
                  <a:moveTo>
                    <a:pt x="155" y="189"/>
                  </a:moveTo>
                  <a:lnTo>
                    <a:pt x="156" y="188"/>
                  </a:lnTo>
                  <a:lnTo>
                    <a:pt x="158" y="189"/>
                  </a:lnTo>
                  <a:lnTo>
                    <a:pt x="159" y="189"/>
                  </a:lnTo>
                  <a:lnTo>
                    <a:pt x="160" y="189"/>
                  </a:lnTo>
                  <a:lnTo>
                    <a:pt x="162" y="189"/>
                  </a:lnTo>
                  <a:lnTo>
                    <a:pt x="163" y="190"/>
                  </a:lnTo>
                  <a:lnTo>
                    <a:pt x="165" y="190"/>
                  </a:lnTo>
                  <a:lnTo>
                    <a:pt x="167" y="190"/>
                  </a:lnTo>
                  <a:lnTo>
                    <a:pt x="167" y="189"/>
                  </a:lnTo>
                  <a:lnTo>
                    <a:pt x="167" y="188"/>
                  </a:lnTo>
                  <a:lnTo>
                    <a:pt x="168" y="188"/>
                  </a:lnTo>
                  <a:lnTo>
                    <a:pt x="169" y="188"/>
                  </a:lnTo>
                  <a:lnTo>
                    <a:pt x="170" y="188"/>
                  </a:lnTo>
                  <a:lnTo>
                    <a:pt x="172" y="188"/>
                  </a:lnTo>
                  <a:lnTo>
                    <a:pt x="172" y="189"/>
                  </a:lnTo>
                  <a:lnTo>
                    <a:pt x="173" y="190"/>
                  </a:lnTo>
                  <a:lnTo>
                    <a:pt x="173" y="191"/>
                  </a:lnTo>
                  <a:lnTo>
                    <a:pt x="174" y="191"/>
                  </a:lnTo>
                  <a:lnTo>
                    <a:pt x="175" y="191"/>
                  </a:lnTo>
                  <a:lnTo>
                    <a:pt x="175" y="192"/>
                  </a:lnTo>
                  <a:lnTo>
                    <a:pt x="176" y="192"/>
                  </a:lnTo>
                  <a:lnTo>
                    <a:pt x="177" y="192"/>
                  </a:lnTo>
                  <a:lnTo>
                    <a:pt x="177" y="191"/>
                  </a:lnTo>
                  <a:lnTo>
                    <a:pt x="179" y="191"/>
                  </a:lnTo>
                  <a:lnTo>
                    <a:pt x="179" y="192"/>
                  </a:lnTo>
                  <a:lnTo>
                    <a:pt x="179" y="191"/>
                  </a:lnTo>
                  <a:lnTo>
                    <a:pt x="179" y="192"/>
                  </a:lnTo>
                  <a:lnTo>
                    <a:pt x="180" y="192"/>
                  </a:lnTo>
                  <a:lnTo>
                    <a:pt x="180" y="194"/>
                  </a:lnTo>
                  <a:lnTo>
                    <a:pt x="181" y="194"/>
                  </a:lnTo>
                  <a:lnTo>
                    <a:pt x="182" y="194"/>
                  </a:lnTo>
                  <a:lnTo>
                    <a:pt x="183" y="194"/>
                  </a:lnTo>
                  <a:lnTo>
                    <a:pt x="183" y="192"/>
                  </a:lnTo>
                  <a:lnTo>
                    <a:pt x="184" y="192"/>
                  </a:lnTo>
                  <a:lnTo>
                    <a:pt x="185" y="192"/>
                  </a:lnTo>
                  <a:lnTo>
                    <a:pt x="185" y="194"/>
                  </a:lnTo>
                  <a:lnTo>
                    <a:pt x="187" y="196"/>
                  </a:lnTo>
                  <a:lnTo>
                    <a:pt x="188" y="196"/>
                  </a:lnTo>
                  <a:lnTo>
                    <a:pt x="188" y="199"/>
                  </a:lnTo>
                  <a:lnTo>
                    <a:pt x="188" y="201"/>
                  </a:lnTo>
                  <a:lnTo>
                    <a:pt x="189" y="201"/>
                  </a:lnTo>
                  <a:lnTo>
                    <a:pt x="190" y="202"/>
                  </a:lnTo>
                  <a:lnTo>
                    <a:pt x="191" y="202"/>
                  </a:lnTo>
                  <a:lnTo>
                    <a:pt x="191" y="201"/>
                  </a:lnTo>
                  <a:lnTo>
                    <a:pt x="191" y="202"/>
                  </a:lnTo>
                  <a:lnTo>
                    <a:pt x="192" y="202"/>
                  </a:lnTo>
                  <a:lnTo>
                    <a:pt x="194" y="202"/>
                  </a:lnTo>
                  <a:lnTo>
                    <a:pt x="194" y="201"/>
                  </a:lnTo>
                  <a:lnTo>
                    <a:pt x="195" y="202"/>
                  </a:lnTo>
                  <a:lnTo>
                    <a:pt x="196" y="202"/>
                  </a:lnTo>
                  <a:lnTo>
                    <a:pt x="198" y="203"/>
                  </a:lnTo>
                  <a:lnTo>
                    <a:pt x="199" y="202"/>
                  </a:lnTo>
                  <a:lnTo>
                    <a:pt x="201" y="202"/>
                  </a:lnTo>
                  <a:lnTo>
                    <a:pt x="204" y="202"/>
                  </a:lnTo>
                  <a:lnTo>
                    <a:pt x="206" y="203"/>
                  </a:lnTo>
                  <a:lnTo>
                    <a:pt x="208" y="203"/>
                  </a:lnTo>
                  <a:lnTo>
                    <a:pt x="209" y="203"/>
                  </a:lnTo>
                  <a:lnTo>
                    <a:pt x="210" y="203"/>
                  </a:lnTo>
                  <a:lnTo>
                    <a:pt x="210" y="202"/>
                  </a:lnTo>
                  <a:lnTo>
                    <a:pt x="210" y="203"/>
                  </a:lnTo>
                  <a:lnTo>
                    <a:pt x="211" y="203"/>
                  </a:lnTo>
                  <a:lnTo>
                    <a:pt x="212" y="204"/>
                  </a:lnTo>
                  <a:lnTo>
                    <a:pt x="213" y="204"/>
                  </a:lnTo>
                  <a:lnTo>
                    <a:pt x="215" y="204"/>
                  </a:lnTo>
                  <a:lnTo>
                    <a:pt x="215" y="203"/>
                  </a:lnTo>
                  <a:lnTo>
                    <a:pt x="216" y="202"/>
                  </a:lnTo>
                  <a:lnTo>
                    <a:pt x="217" y="199"/>
                  </a:lnTo>
                  <a:lnTo>
                    <a:pt x="217" y="198"/>
                  </a:lnTo>
                  <a:lnTo>
                    <a:pt x="217" y="197"/>
                  </a:lnTo>
                  <a:lnTo>
                    <a:pt x="218" y="196"/>
                  </a:lnTo>
                  <a:lnTo>
                    <a:pt x="219" y="196"/>
                  </a:lnTo>
                  <a:lnTo>
                    <a:pt x="219" y="195"/>
                  </a:lnTo>
                  <a:lnTo>
                    <a:pt x="220" y="195"/>
                  </a:lnTo>
                  <a:lnTo>
                    <a:pt x="222" y="195"/>
                  </a:lnTo>
                  <a:lnTo>
                    <a:pt x="222" y="196"/>
                  </a:lnTo>
                  <a:lnTo>
                    <a:pt x="222" y="195"/>
                  </a:lnTo>
                  <a:lnTo>
                    <a:pt x="223" y="196"/>
                  </a:lnTo>
                  <a:lnTo>
                    <a:pt x="223" y="197"/>
                  </a:lnTo>
                  <a:lnTo>
                    <a:pt x="224" y="199"/>
                  </a:lnTo>
                  <a:lnTo>
                    <a:pt x="226" y="199"/>
                  </a:lnTo>
                  <a:lnTo>
                    <a:pt x="227" y="199"/>
                  </a:lnTo>
                  <a:lnTo>
                    <a:pt x="229" y="198"/>
                  </a:lnTo>
                  <a:lnTo>
                    <a:pt x="230" y="199"/>
                  </a:lnTo>
                  <a:lnTo>
                    <a:pt x="231" y="199"/>
                  </a:lnTo>
                  <a:lnTo>
                    <a:pt x="231" y="201"/>
                  </a:lnTo>
                  <a:lnTo>
                    <a:pt x="232" y="201"/>
                  </a:lnTo>
                  <a:lnTo>
                    <a:pt x="233" y="202"/>
                  </a:lnTo>
                  <a:lnTo>
                    <a:pt x="234" y="202"/>
                  </a:lnTo>
                  <a:lnTo>
                    <a:pt x="234" y="201"/>
                  </a:lnTo>
                  <a:lnTo>
                    <a:pt x="236" y="201"/>
                  </a:lnTo>
                  <a:lnTo>
                    <a:pt x="236" y="202"/>
                  </a:lnTo>
                  <a:lnTo>
                    <a:pt x="237" y="203"/>
                  </a:lnTo>
                  <a:lnTo>
                    <a:pt x="238" y="203"/>
                  </a:lnTo>
                  <a:lnTo>
                    <a:pt x="239" y="203"/>
                  </a:lnTo>
                  <a:lnTo>
                    <a:pt x="240" y="203"/>
                  </a:lnTo>
                  <a:lnTo>
                    <a:pt x="241" y="203"/>
                  </a:lnTo>
                  <a:lnTo>
                    <a:pt x="243" y="203"/>
                  </a:lnTo>
                  <a:lnTo>
                    <a:pt x="244" y="203"/>
                  </a:lnTo>
                  <a:lnTo>
                    <a:pt x="244" y="204"/>
                  </a:lnTo>
                  <a:lnTo>
                    <a:pt x="244" y="205"/>
                  </a:lnTo>
                  <a:lnTo>
                    <a:pt x="245" y="205"/>
                  </a:lnTo>
                  <a:lnTo>
                    <a:pt x="244" y="205"/>
                  </a:lnTo>
                  <a:lnTo>
                    <a:pt x="244" y="206"/>
                  </a:lnTo>
                  <a:lnTo>
                    <a:pt x="245" y="206"/>
                  </a:lnTo>
                  <a:lnTo>
                    <a:pt x="245" y="208"/>
                  </a:lnTo>
                  <a:lnTo>
                    <a:pt x="244" y="208"/>
                  </a:lnTo>
                  <a:lnTo>
                    <a:pt x="245" y="209"/>
                  </a:lnTo>
                  <a:lnTo>
                    <a:pt x="245" y="208"/>
                  </a:lnTo>
                  <a:lnTo>
                    <a:pt x="246" y="208"/>
                  </a:lnTo>
                  <a:lnTo>
                    <a:pt x="246" y="209"/>
                  </a:lnTo>
                  <a:lnTo>
                    <a:pt x="246" y="210"/>
                  </a:lnTo>
                  <a:lnTo>
                    <a:pt x="246" y="211"/>
                  </a:lnTo>
                  <a:lnTo>
                    <a:pt x="245" y="213"/>
                  </a:lnTo>
                  <a:lnTo>
                    <a:pt x="246" y="213"/>
                  </a:lnTo>
                  <a:lnTo>
                    <a:pt x="248" y="215"/>
                  </a:lnTo>
                  <a:lnTo>
                    <a:pt x="249" y="215"/>
                  </a:lnTo>
                  <a:lnTo>
                    <a:pt x="249" y="216"/>
                  </a:lnTo>
                  <a:lnTo>
                    <a:pt x="251" y="216"/>
                  </a:lnTo>
                  <a:lnTo>
                    <a:pt x="252" y="216"/>
                  </a:lnTo>
                  <a:lnTo>
                    <a:pt x="252" y="217"/>
                  </a:lnTo>
                  <a:lnTo>
                    <a:pt x="253" y="217"/>
                  </a:lnTo>
                  <a:lnTo>
                    <a:pt x="254" y="217"/>
                  </a:lnTo>
                  <a:lnTo>
                    <a:pt x="254" y="216"/>
                  </a:lnTo>
                  <a:lnTo>
                    <a:pt x="255" y="216"/>
                  </a:lnTo>
                  <a:lnTo>
                    <a:pt x="258" y="216"/>
                  </a:lnTo>
                  <a:lnTo>
                    <a:pt x="259" y="216"/>
                  </a:lnTo>
                  <a:lnTo>
                    <a:pt x="260" y="216"/>
                  </a:lnTo>
                  <a:lnTo>
                    <a:pt x="261" y="216"/>
                  </a:lnTo>
                  <a:lnTo>
                    <a:pt x="262" y="215"/>
                  </a:lnTo>
                  <a:lnTo>
                    <a:pt x="263" y="215"/>
                  </a:lnTo>
                  <a:lnTo>
                    <a:pt x="265" y="216"/>
                  </a:lnTo>
                  <a:lnTo>
                    <a:pt x="266" y="216"/>
                  </a:lnTo>
                  <a:lnTo>
                    <a:pt x="267" y="216"/>
                  </a:lnTo>
                  <a:lnTo>
                    <a:pt x="267" y="217"/>
                  </a:lnTo>
                  <a:lnTo>
                    <a:pt x="268" y="217"/>
                  </a:lnTo>
                  <a:lnTo>
                    <a:pt x="269" y="217"/>
                  </a:lnTo>
                  <a:lnTo>
                    <a:pt x="269" y="218"/>
                  </a:lnTo>
                  <a:lnTo>
                    <a:pt x="268" y="218"/>
                  </a:lnTo>
                  <a:lnTo>
                    <a:pt x="268" y="219"/>
                  </a:lnTo>
                  <a:lnTo>
                    <a:pt x="268" y="220"/>
                  </a:lnTo>
                  <a:lnTo>
                    <a:pt x="268" y="223"/>
                  </a:lnTo>
                  <a:lnTo>
                    <a:pt x="267" y="226"/>
                  </a:lnTo>
                  <a:lnTo>
                    <a:pt x="267" y="227"/>
                  </a:lnTo>
                  <a:lnTo>
                    <a:pt x="267" y="229"/>
                  </a:lnTo>
                  <a:lnTo>
                    <a:pt x="267" y="227"/>
                  </a:lnTo>
                  <a:lnTo>
                    <a:pt x="267" y="229"/>
                  </a:lnTo>
                  <a:lnTo>
                    <a:pt x="267" y="230"/>
                  </a:lnTo>
                  <a:lnTo>
                    <a:pt x="268" y="230"/>
                  </a:lnTo>
                  <a:lnTo>
                    <a:pt x="269" y="231"/>
                  </a:lnTo>
                  <a:lnTo>
                    <a:pt x="270" y="231"/>
                  </a:lnTo>
                  <a:lnTo>
                    <a:pt x="270" y="232"/>
                  </a:lnTo>
                  <a:lnTo>
                    <a:pt x="269" y="232"/>
                  </a:lnTo>
                  <a:lnTo>
                    <a:pt x="268" y="232"/>
                  </a:lnTo>
                  <a:lnTo>
                    <a:pt x="267" y="232"/>
                  </a:lnTo>
                  <a:lnTo>
                    <a:pt x="267" y="231"/>
                  </a:lnTo>
                  <a:lnTo>
                    <a:pt x="266" y="230"/>
                  </a:lnTo>
                  <a:lnTo>
                    <a:pt x="265" y="230"/>
                  </a:lnTo>
                  <a:lnTo>
                    <a:pt x="265" y="231"/>
                  </a:lnTo>
                  <a:lnTo>
                    <a:pt x="263" y="231"/>
                  </a:lnTo>
                  <a:lnTo>
                    <a:pt x="263" y="230"/>
                  </a:lnTo>
                  <a:lnTo>
                    <a:pt x="262" y="231"/>
                  </a:lnTo>
                  <a:lnTo>
                    <a:pt x="262" y="230"/>
                  </a:lnTo>
                  <a:lnTo>
                    <a:pt x="261" y="230"/>
                  </a:lnTo>
                  <a:lnTo>
                    <a:pt x="260" y="230"/>
                  </a:lnTo>
                  <a:lnTo>
                    <a:pt x="260" y="229"/>
                  </a:lnTo>
                  <a:lnTo>
                    <a:pt x="259" y="229"/>
                  </a:lnTo>
                  <a:lnTo>
                    <a:pt x="258" y="229"/>
                  </a:lnTo>
                  <a:lnTo>
                    <a:pt x="256" y="229"/>
                  </a:lnTo>
                  <a:lnTo>
                    <a:pt x="256" y="227"/>
                  </a:lnTo>
                  <a:lnTo>
                    <a:pt x="255" y="227"/>
                  </a:lnTo>
                  <a:lnTo>
                    <a:pt x="254" y="226"/>
                  </a:lnTo>
                  <a:lnTo>
                    <a:pt x="253" y="226"/>
                  </a:lnTo>
                  <a:lnTo>
                    <a:pt x="253" y="225"/>
                  </a:lnTo>
                  <a:lnTo>
                    <a:pt x="252" y="225"/>
                  </a:lnTo>
                  <a:lnTo>
                    <a:pt x="251" y="225"/>
                  </a:lnTo>
                  <a:lnTo>
                    <a:pt x="248" y="225"/>
                  </a:lnTo>
                  <a:lnTo>
                    <a:pt x="247" y="225"/>
                  </a:lnTo>
                  <a:lnTo>
                    <a:pt x="247" y="226"/>
                  </a:lnTo>
                  <a:lnTo>
                    <a:pt x="246" y="226"/>
                  </a:lnTo>
                  <a:lnTo>
                    <a:pt x="245" y="226"/>
                  </a:lnTo>
                  <a:lnTo>
                    <a:pt x="245" y="227"/>
                  </a:lnTo>
                  <a:lnTo>
                    <a:pt x="244" y="227"/>
                  </a:lnTo>
                  <a:lnTo>
                    <a:pt x="243" y="227"/>
                  </a:lnTo>
                  <a:lnTo>
                    <a:pt x="241" y="226"/>
                  </a:lnTo>
                  <a:lnTo>
                    <a:pt x="240" y="226"/>
                  </a:lnTo>
                  <a:lnTo>
                    <a:pt x="239" y="226"/>
                  </a:lnTo>
                  <a:lnTo>
                    <a:pt x="239" y="225"/>
                  </a:lnTo>
                  <a:lnTo>
                    <a:pt x="238" y="225"/>
                  </a:lnTo>
                  <a:lnTo>
                    <a:pt x="238" y="226"/>
                  </a:lnTo>
                  <a:lnTo>
                    <a:pt x="237" y="225"/>
                  </a:lnTo>
                  <a:lnTo>
                    <a:pt x="234" y="225"/>
                  </a:lnTo>
                  <a:lnTo>
                    <a:pt x="233" y="225"/>
                  </a:lnTo>
                  <a:lnTo>
                    <a:pt x="232" y="225"/>
                  </a:lnTo>
                  <a:lnTo>
                    <a:pt x="231" y="224"/>
                  </a:lnTo>
                  <a:lnTo>
                    <a:pt x="231" y="225"/>
                  </a:lnTo>
                  <a:lnTo>
                    <a:pt x="230" y="225"/>
                  </a:lnTo>
                  <a:lnTo>
                    <a:pt x="230" y="226"/>
                  </a:lnTo>
                  <a:lnTo>
                    <a:pt x="229" y="226"/>
                  </a:lnTo>
                  <a:lnTo>
                    <a:pt x="229" y="225"/>
                  </a:lnTo>
                  <a:lnTo>
                    <a:pt x="227" y="225"/>
                  </a:lnTo>
                  <a:lnTo>
                    <a:pt x="226" y="225"/>
                  </a:lnTo>
                  <a:lnTo>
                    <a:pt x="225" y="225"/>
                  </a:lnTo>
                  <a:lnTo>
                    <a:pt x="225" y="224"/>
                  </a:lnTo>
                  <a:lnTo>
                    <a:pt x="224" y="224"/>
                  </a:lnTo>
                  <a:lnTo>
                    <a:pt x="223" y="225"/>
                  </a:lnTo>
                  <a:lnTo>
                    <a:pt x="223" y="224"/>
                  </a:lnTo>
                  <a:lnTo>
                    <a:pt x="222" y="224"/>
                  </a:lnTo>
                  <a:lnTo>
                    <a:pt x="220" y="224"/>
                  </a:lnTo>
                  <a:lnTo>
                    <a:pt x="219" y="224"/>
                  </a:lnTo>
                  <a:lnTo>
                    <a:pt x="218" y="224"/>
                  </a:lnTo>
                  <a:lnTo>
                    <a:pt x="216" y="224"/>
                  </a:lnTo>
                  <a:lnTo>
                    <a:pt x="216" y="223"/>
                  </a:lnTo>
                  <a:lnTo>
                    <a:pt x="215" y="223"/>
                  </a:lnTo>
                  <a:lnTo>
                    <a:pt x="213" y="223"/>
                  </a:lnTo>
                  <a:lnTo>
                    <a:pt x="213" y="222"/>
                  </a:lnTo>
                  <a:lnTo>
                    <a:pt x="212" y="222"/>
                  </a:lnTo>
                  <a:lnTo>
                    <a:pt x="211" y="220"/>
                  </a:lnTo>
                  <a:lnTo>
                    <a:pt x="210" y="220"/>
                  </a:lnTo>
                  <a:lnTo>
                    <a:pt x="208" y="218"/>
                  </a:lnTo>
                  <a:lnTo>
                    <a:pt x="205" y="218"/>
                  </a:lnTo>
                  <a:lnTo>
                    <a:pt x="204" y="218"/>
                  </a:lnTo>
                  <a:lnTo>
                    <a:pt x="203" y="217"/>
                  </a:lnTo>
                  <a:lnTo>
                    <a:pt x="202" y="217"/>
                  </a:lnTo>
                  <a:lnTo>
                    <a:pt x="199" y="217"/>
                  </a:lnTo>
                  <a:lnTo>
                    <a:pt x="198" y="217"/>
                  </a:lnTo>
                  <a:lnTo>
                    <a:pt x="198" y="216"/>
                  </a:lnTo>
                  <a:lnTo>
                    <a:pt x="196" y="216"/>
                  </a:lnTo>
                  <a:lnTo>
                    <a:pt x="195" y="216"/>
                  </a:lnTo>
                  <a:lnTo>
                    <a:pt x="194" y="216"/>
                  </a:lnTo>
                  <a:lnTo>
                    <a:pt x="192" y="216"/>
                  </a:lnTo>
                  <a:lnTo>
                    <a:pt x="191" y="216"/>
                  </a:lnTo>
                  <a:lnTo>
                    <a:pt x="191" y="215"/>
                  </a:lnTo>
                  <a:lnTo>
                    <a:pt x="190" y="215"/>
                  </a:lnTo>
                  <a:lnTo>
                    <a:pt x="190" y="216"/>
                  </a:lnTo>
                  <a:lnTo>
                    <a:pt x="189" y="216"/>
                  </a:lnTo>
                  <a:lnTo>
                    <a:pt x="189" y="215"/>
                  </a:lnTo>
                  <a:lnTo>
                    <a:pt x="189" y="216"/>
                  </a:lnTo>
                  <a:lnTo>
                    <a:pt x="188" y="216"/>
                  </a:lnTo>
                  <a:lnTo>
                    <a:pt x="189" y="216"/>
                  </a:lnTo>
                  <a:lnTo>
                    <a:pt x="188" y="216"/>
                  </a:lnTo>
                  <a:lnTo>
                    <a:pt x="187" y="216"/>
                  </a:lnTo>
                  <a:lnTo>
                    <a:pt x="185" y="216"/>
                  </a:lnTo>
                  <a:lnTo>
                    <a:pt x="185" y="217"/>
                  </a:lnTo>
                  <a:lnTo>
                    <a:pt x="183" y="217"/>
                  </a:lnTo>
                  <a:lnTo>
                    <a:pt x="181" y="217"/>
                  </a:lnTo>
                  <a:lnTo>
                    <a:pt x="179" y="216"/>
                  </a:lnTo>
                  <a:lnTo>
                    <a:pt x="177" y="216"/>
                  </a:lnTo>
                  <a:lnTo>
                    <a:pt x="176" y="216"/>
                  </a:lnTo>
                  <a:lnTo>
                    <a:pt x="175" y="215"/>
                  </a:lnTo>
                  <a:lnTo>
                    <a:pt x="174" y="215"/>
                  </a:lnTo>
                  <a:lnTo>
                    <a:pt x="174" y="213"/>
                  </a:lnTo>
                  <a:lnTo>
                    <a:pt x="173" y="213"/>
                  </a:lnTo>
                  <a:lnTo>
                    <a:pt x="172" y="213"/>
                  </a:lnTo>
                  <a:lnTo>
                    <a:pt x="172" y="212"/>
                  </a:lnTo>
                  <a:lnTo>
                    <a:pt x="170" y="212"/>
                  </a:lnTo>
                  <a:lnTo>
                    <a:pt x="169" y="212"/>
                  </a:lnTo>
                  <a:lnTo>
                    <a:pt x="168" y="212"/>
                  </a:lnTo>
                  <a:lnTo>
                    <a:pt x="167" y="212"/>
                  </a:lnTo>
                  <a:lnTo>
                    <a:pt x="163" y="211"/>
                  </a:lnTo>
                  <a:lnTo>
                    <a:pt x="162" y="211"/>
                  </a:lnTo>
                  <a:lnTo>
                    <a:pt x="160" y="211"/>
                  </a:lnTo>
                  <a:lnTo>
                    <a:pt x="159" y="211"/>
                  </a:lnTo>
                  <a:lnTo>
                    <a:pt x="159" y="210"/>
                  </a:lnTo>
                  <a:lnTo>
                    <a:pt x="158" y="210"/>
                  </a:lnTo>
                  <a:lnTo>
                    <a:pt x="156" y="210"/>
                  </a:lnTo>
                  <a:lnTo>
                    <a:pt x="156" y="209"/>
                  </a:lnTo>
                  <a:lnTo>
                    <a:pt x="158" y="208"/>
                  </a:lnTo>
                  <a:lnTo>
                    <a:pt x="159" y="208"/>
                  </a:lnTo>
                  <a:lnTo>
                    <a:pt x="158" y="206"/>
                  </a:lnTo>
                  <a:lnTo>
                    <a:pt x="159" y="206"/>
                  </a:lnTo>
                  <a:lnTo>
                    <a:pt x="159" y="205"/>
                  </a:lnTo>
                  <a:lnTo>
                    <a:pt x="160" y="205"/>
                  </a:lnTo>
                  <a:lnTo>
                    <a:pt x="160" y="204"/>
                  </a:lnTo>
                  <a:lnTo>
                    <a:pt x="159" y="204"/>
                  </a:lnTo>
                  <a:lnTo>
                    <a:pt x="158" y="204"/>
                  </a:lnTo>
                  <a:lnTo>
                    <a:pt x="156" y="204"/>
                  </a:lnTo>
                  <a:lnTo>
                    <a:pt x="155" y="204"/>
                  </a:lnTo>
                  <a:lnTo>
                    <a:pt x="155" y="203"/>
                  </a:lnTo>
                  <a:lnTo>
                    <a:pt x="154" y="203"/>
                  </a:lnTo>
                  <a:lnTo>
                    <a:pt x="153" y="202"/>
                  </a:lnTo>
                  <a:lnTo>
                    <a:pt x="152" y="202"/>
                  </a:lnTo>
                  <a:lnTo>
                    <a:pt x="151" y="202"/>
                  </a:lnTo>
                  <a:lnTo>
                    <a:pt x="149" y="202"/>
                  </a:lnTo>
                  <a:lnTo>
                    <a:pt x="148" y="202"/>
                  </a:lnTo>
                  <a:lnTo>
                    <a:pt x="146" y="202"/>
                  </a:lnTo>
                  <a:lnTo>
                    <a:pt x="146" y="203"/>
                  </a:lnTo>
                  <a:lnTo>
                    <a:pt x="145" y="202"/>
                  </a:lnTo>
                  <a:lnTo>
                    <a:pt x="145" y="203"/>
                  </a:lnTo>
                  <a:lnTo>
                    <a:pt x="145" y="202"/>
                  </a:lnTo>
                  <a:lnTo>
                    <a:pt x="144" y="202"/>
                  </a:lnTo>
                  <a:lnTo>
                    <a:pt x="142" y="202"/>
                  </a:lnTo>
                  <a:lnTo>
                    <a:pt x="141" y="202"/>
                  </a:lnTo>
                  <a:lnTo>
                    <a:pt x="141" y="201"/>
                  </a:lnTo>
                  <a:lnTo>
                    <a:pt x="142" y="201"/>
                  </a:lnTo>
                  <a:lnTo>
                    <a:pt x="142" y="199"/>
                  </a:lnTo>
                  <a:lnTo>
                    <a:pt x="144" y="199"/>
                  </a:lnTo>
                  <a:lnTo>
                    <a:pt x="144" y="201"/>
                  </a:lnTo>
                  <a:lnTo>
                    <a:pt x="145" y="201"/>
                  </a:lnTo>
                  <a:lnTo>
                    <a:pt x="145" y="202"/>
                  </a:lnTo>
                  <a:lnTo>
                    <a:pt x="145" y="201"/>
                  </a:lnTo>
                  <a:lnTo>
                    <a:pt x="146" y="201"/>
                  </a:lnTo>
                  <a:lnTo>
                    <a:pt x="147" y="199"/>
                  </a:lnTo>
                  <a:lnTo>
                    <a:pt x="147" y="198"/>
                  </a:lnTo>
                  <a:lnTo>
                    <a:pt x="147" y="197"/>
                  </a:lnTo>
                  <a:lnTo>
                    <a:pt x="147" y="196"/>
                  </a:lnTo>
                  <a:lnTo>
                    <a:pt x="148" y="196"/>
                  </a:lnTo>
                  <a:lnTo>
                    <a:pt x="148" y="197"/>
                  </a:lnTo>
                  <a:lnTo>
                    <a:pt x="149" y="197"/>
                  </a:lnTo>
                  <a:lnTo>
                    <a:pt x="149" y="196"/>
                  </a:lnTo>
                  <a:lnTo>
                    <a:pt x="149" y="195"/>
                  </a:lnTo>
                  <a:lnTo>
                    <a:pt x="151" y="192"/>
                  </a:lnTo>
                  <a:lnTo>
                    <a:pt x="151" y="191"/>
                  </a:lnTo>
                  <a:lnTo>
                    <a:pt x="151" y="190"/>
                  </a:lnTo>
                  <a:lnTo>
                    <a:pt x="152" y="189"/>
                  </a:lnTo>
                  <a:lnTo>
                    <a:pt x="153" y="189"/>
                  </a:lnTo>
                  <a:lnTo>
                    <a:pt x="153" y="188"/>
                  </a:lnTo>
                  <a:lnTo>
                    <a:pt x="153" y="187"/>
                  </a:lnTo>
                  <a:lnTo>
                    <a:pt x="154" y="187"/>
                  </a:lnTo>
                  <a:lnTo>
                    <a:pt x="154" y="188"/>
                  </a:lnTo>
                  <a:lnTo>
                    <a:pt x="154" y="189"/>
                  </a:lnTo>
                  <a:lnTo>
                    <a:pt x="155" y="189"/>
                  </a:lnTo>
                  <a:close/>
                  <a:moveTo>
                    <a:pt x="404" y="189"/>
                  </a:moveTo>
                  <a:lnTo>
                    <a:pt x="404" y="188"/>
                  </a:lnTo>
                  <a:lnTo>
                    <a:pt x="403" y="188"/>
                  </a:lnTo>
                  <a:lnTo>
                    <a:pt x="403" y="187"/>
                  </a:lnTo>
                  <a:lnTo>
                    <a:pt x="404" y="188"/>
                  </a:lnTo>
                  <a:lnTo>
                    <a:pt x="404" y="189"/>
                  </a:lnTo>
                  <a:close/>
                  <a:moveTo>
                    <a:pt x="215" y="187"/>
                  </a:moveTo>
                  <a:lnTo>
                    <a:pt x="215" y="185"/>
                  </a:lnTo>
                  <a:lnTo>
                    <a:pt x="215" y="187"/>
                  </a:lnTo>
                  <a:close/>
                  <a:moveTo>
                    <a:pt x="354" y="196"/>
                  </a:moveTo>
                  <a:lnTo>
                    <a:pt x="354" y="195"/>
                  </a:lnTo>
                  <a:lnTo>
                    <a:pt x="354" y="192"/>
                  </a:lnTo>
                  <a:lnTo>
                    <a:pt x="353" y="192"/>
                  </a:lnTo>
                  <a:lnTo>
                    <a:pt x="353" y="191"/>
                  </a:lnTo>
                  <a:lnTo>
                    <a:pt x="354" y="191"/>
                  </a:lnTo>
                  <a:lnTo>
                    <a:pt x="354" y="190"/>
                  </a:lnTo>
                  <a:lnTo>
                    <a:pt x="354" y="188"/>
                  </a:lnTo>
                  <a:lnTo>
                    <a:pt x="354" y="187"/>
                  </a:lnTo>
                  <a:lnTo>
                    <a:pt x="354" y="185"/>
                  </a:lnTo>
                  <a:lnTo>
                    <a:pt x="355" y="187"/>
                  </a:lnTo>
                  <a:lnTo>
                    <a:pt x="355" y="188"/>
                  </a:lnTo>
                  <a:lnTo>
                    <a:pt x="355" y="189"/>
                  </a:lnTo>
                  <a:lnTo>
                    <a:pt x="355" y="190"/>
                  </a:lnTo>
                  <a:lnTo>
                    <a:pt x="354" y="191"/>
                  </a:lnTo>
                  <a:lnTo>
                    <a:pt x="354" y="192"/>
                  </a:lnTo>
                  <a:lnTo>
                    <a:pt x="354" y="194"/>
                  </a:lnTo>
                  <a:lnTo>
                    <a:pt x="354" y="195"/>
                  </a:lnTo>
                  <a:lnTo>
                    <a:pt x="354" y="196"/>
                  </a:lnTo>
                  <a:close/>
                  <a:moveTo>
                    <a:pt x="545" y="185"/>
                  </a:moveTo>
                  <a:lnTo>
                    <a:pt x="545" y="184"/>
                  </a:lnTo>
                  <a:lnTo>
                    <a:pt x="546" y="184"/>
                  </a:lnTo>
                  <a:lnTo>
                    <a:pt x="546" y="185"/>
                  </a:lnTo>
                  <a:lnTo>
                    <a:pt x="545" y="185"/>
                  </a:lnTo>
                  <a:close/>
                  <a:moveTo>
                    <a:pt x="137" y="185"/>
                  </a:moveTo>
                  <a:lnTo>
                    <a:pt x="135" y="185"/>
                  </a:lnTo>
                  <a:lnTo>
                    <a:pt x="135" y="184"/>
                  </a:lnTo>
                  <a:lnTo>
                    <a:pt x="137" y="184"/>
                  </a:lnTo>
                  <a:lnTo>
                    <a:pt x="137" y="185"/>
                  </a:lnTo>
                  <a:close/>
                  <a:moveTo>
                    <a:pt x="246" y="184"/>
                  </a:moveTo>
                  <a:lnTo>
                    <a:pt x="247" y="185"/>
                  </a:lnTo>
                  <a:lnTo>
                    <a:pt x="246" y="185"/>
                  </a:lnTo>
                  <a:lnTo>
                    <a:pt x="246" y="187"/>
                  </a:lnTo>
                  <a:lnTo>
                    <a:pt x="245" y="187"/>
                  </a:lnTo>
                  <a:lnTo>
                    <a:pt x="245" y="185"/>
                  </a:lnTo>
                  <a:lnTo>
                    <a:pt x="245" y="184"/>
                  </a:lnTo>
                  <a:lnTo>
                    <a:pt x="246" y="184"/>
                  </a:lnTo>
                  <a:close/>
                  <a:moveTo>
                    <a:pt x="525" y="183"/>
                  </a:moveTo>
                  <a:lnTo>
                    <a:pt x="524" y="183"/>
                  </a:lnTo>
                  <a:lnTo>
                    <a:pt x="525" y="183"/>
                  </a:lnTo>
                  <a:lnTo>
                    <a:pt x="525" y="184"/>
                  </a:lnTo>
                  <a:lnTo>
                    <a:pt x="525" y="185"/>
                  </a:lnTo>
                  <a:lnTo>
                    <a:pt x="526" y="185"/>
                  </a:lnTo>
                  <a:lnTo>
                    <a:pt x="526" y="187"/>
                  </a:lnTo>
                  <a:lnTo>
                    <a:pt x="525" y="187"/>
                  </a:lnTo>
                  <a:lnTo>
                    <a:pt x="525" y="188"/>
                  </a:lnTo>
                  <a:lnTo>
                    <a:pt x="524" y="187"/>
                  </a:lnTo>
                  <a:lnTo>
                    <a:pt x="524" y="188"/>
                  </a:lnTo>
                  <a:lnTo>
                    <a:pt x="524" y="187"/>
                  </a:lnTo>
                  <a:lnTo>
                    <a:pt x="524" y="188"/>
                  </a:lnTo>
                  <a:lnTo>
                    <a:pt x="524" y="187"/>
                  </a:lnTo>
                  <a:lnTo>
                    <a:pt x="524" y="185"/>
                  </a:lnTo>
                  <a:lnTo>
                    <a:pt x="524" y="184"/>
                  </a:lnTo>
                  <a:lnTo>
                    <a:pt x="524" y="183"/>
                  </a:lnTo>
                  <a:lnTo>
                    <a:pt x="524" y="182"/>
                  </a:lnTo>
                  <a:lnTo>
                    <a:pt x="524" y="183"/>
                  </a:lnTo>
                  <a:lnTo>
                    <a:pt x="524" y="182"/>
                  </a:lnTo>
                  <a:lnTo>
                    <a:pt x="525" y="182"/>
                  </a:lnTo>
                  <a:lnTo>
                    <a:pt x="525" y="183"/>
                  </a:lnTo>
                  <a:close/>
                  <a:moveTo>
                    <a:pt x="526" y="182"/>
                  </a:moveTo>
                  <a:lnTo>
                    <a:pt x="526" y="183"/>
                  </a:lnTo>
                  <a:lnTo>
                    <a:pt x="525" y="183"/>
                  </a:lnTo>
                  <a:lnTo>
                    <a:pt x="525" y="182"/>
                  </a:lnTo>
                  <a:lnTo>
                    <a:pt x="526" y="181"/>
                  </a:lnTo>
                  <a:lnTo>
                    <a:pt x="526" y="182"/>
                  </a:lnTo>
                  <a:close/>
                  <a:moveTo>
                    <a:pt x="519" y="181"/>
                  </a:moveTo>
                  <a:lnTo>
                    <a:pt x="521" y="182"/>
                  </a:lnTo>
                  <a:lnTo>
                    <a:pt x="521" y="181"/>
                  </a:lnTo>
                  <a:lnTo>
                    <a:pt x="521" y="182"/>
                  </a:lnTo>
                  <a:lnTo>
                    <a:pt x="519" y="182"/>
                  </a:lnTo>
                  <a:lnTo>
                    <a:pt x="519" y="181"/>
                  </a:lnTo>
                  <a:close/>
                  <a:moveTo>
                    <a:pt x="401" y="182"/>
                  </a:moveTo>
                  <a:lnTo>
                    <a:pt x="401" y="181"/>
                  </a:lnTo>
                  <a:lnTo>
                    <a:pt x="400" y="181"/>
                  </a:lnTo>
                  <a:lnTo>
                    <a:pt x="401" y="181"/>
                  </a:lnTo>
                  <a:lnTo>
                    <a:pt x="401" y="182"/>
                  </a:lnTo>
                  <a:close/>
                  <a:moveTo>
                    <a:pt x="551" y="180"/>
                  </a:moveTo>
                  <a:lnTo>
                    <a:pt x="552" y="180"/>
                  </a:lnTo>
                  <a:lnTo>
                    <a:pt x="552" y="181"/>
                  </a:lnTo>
                  <a:lnTo>
                    <a:pt x="552" y="182"/>
                  </a:lnTo>
                  <a:lnTo>
                    <a:pt x="553" y="182"/>
                  </a:lnTo>
                  <a:lnTo>
                    <a:pt x="553" y="183"/>
                  </a:lnTo>
                  <a:lnTo>
                    <a:pt x="553" y="184"/>
                  </a:lnTo>
                  <a:lnTo>
                    <a:pt x="553" y="185"/>
                  </a:lnTo>
                  <a:lnTo>
                    <a:pt x="552" y="185"/>
                  </a:lnTo>
                  <a:lnTo>
                    <a:pt x="552" y="187"/>
                  </a:lnTo>
                  <a:lnTo>
                    <a:pt x="553" y="187"/>
                  </a:lnTo>
                  <a:lnTo>
                    <a:pt x="553" y="188"/>
                  </a:lnTo>
                  <a:lnTo>
                    <a:pt x="552" y="188"/>
                  </a:lnTo>
                  <a:lnTo>
                    <a:pt x="552" y="187"/>
                  </a:lnTo>
                  <a:lnTo>
                    <a:pt x="552" y="188"/>
                  </a:lnTo>
                  <a:lnTo>
                    <a:pt x="553" y="188"/>
                  </a:lnTo>
                  <a:lnTo>
                    <a:pt x="552" y="188"/>
                  </a:lnTo>
                  <a:lnTo>
                    <a:pt x="553" y="188"/>
                  </a:lnTo>
                  <a:lnTo>
                    <a:pt x="552" y="188"/>
                  </a:lnTo>
                  <a:lnTo>
                    <a:pt x="551" y="188"/>
                  </a:lnTo>
                  <a:lnTo>
                    <a:pt x="552" y="188"/>
                  </a:lnTo>
                  <a:lnTo>
                    <a:pt x="552" y="189"/>
                  </a:lnTo>
                  <a:lnTo>
                    <a:pt x="553" y="190"/>
                  </a:lnTo>
                  <a:lnTo>
                    <a:pt x="553" y="191"/>
                  </a:lnTo>
                  <a:lnTo>
                    <a:pt x="552" y="191"/>
                  </a:lnTo>
                  <a:lnTo>
                    <a:pt x="553" y="191"/>
                  </a:lnTo>
                  <a:lnTo>
                    <a:pt x="552" y="191"/>
                  </a:lnTo>
                  <a:lnTo>
                    <a:pt x="553" y="192"/>
                  </a:lnTo>
                  <a:lnTo>
                    <a:pt x="552" y="192"/>
                  </a:lnTo>
                  <a:lnTo>
                    <a:pt x="552" y="194"/>
                  </a:lnTo>
                  <a:lnTo>
                    <a:pt x="551" y="195"/>
                  </a:lnTo>
                  <a:lnTo>
                    <a:pt x="550" y="195"/>
                  </a:lnTo>
                  <a:lnTo>
                    <a:pt x="550" y="194"/>
                  </a:lnTo>
                  <a:lnTo>
                    <a:pt x="550" y="195"/>
                  </a:lnTo>
                  <a:lnTo>
                    <a:pt x="550" y="194"/>
                  </a:lnTo>
                  <a:lnTo>
                    <a:pt x="549" y="194"/>
                  </a:lnTo>
                  <a:lnTo>
                    <a:pt x="549" y="192"/>
                  </a:lnTo>
                  <a:lnTo>
                    <a:pt x="547" y="192"/>
                  </a:lnTo>
                  <a:lnTo>
                    <a:pt x="546" y="192"/>
                  </a:lnTo>
                  <a:lnTo>
                    <a:pt x="546" y="191"/>
                  </a:lnTo>
                  <a:lnTo>
                    <a:pt x="546" y="190"/>
                  </a:lnTo>
                  <a:lnTo>
                    <a:pt x="546" y="189"/>
                  </a:lnTo>
                  <a:lnTo>
                    <a:pt x="547" y="189"/>
                  </a:lnTo>
                  <a:lnTo>
                    <a:pt x="546" y="189"/>
                  </a:lnTo>
                  <a:lnTo>
                    <a:pt x="547" y="189"/>
                  </a:lnTo>
                  <a:lnTo>
                    <a:pt x="547" y="188"/>
                  </a:lnTo>
                  <a:lnTo>
                    <a:pt x="546" y="188"/>
                  </a:lnTo>
                  <a:lnTo>
                    <a:pt x="547" y="187"/>
                  </a:lnTo>
                  <a:lnTo>
                    <a:pt x="547" y="185"/>
                  </a:lnTo>
                  <a:lnTo>
                    <a:pt x="546" y="185"/>
                  </a:lnTo>
                  <a:lnTo>
                    <a:pt x="546" y="184"/>
                  </a:lnTo>
                  <a:lnTo>
                    <a:pt x="545" y="184"/>
                  </a:lnTo>
                  <a:lnTo>
                    <a:pt x="546" y="184"/>
                  </a:lnTo>
                  <a:lnTo>
                    <a:pt x="546" y="183"/>
                  </a:lnTo>
                  <a:lnTo>
                    <a:pt x="546" y="184"/>
                  </a:lnTo>
                  <a:lnTo>
                    <a:pt x="547" y="184"/>
                  </a:lnTo>
                  <a:lnTo>
                    <a:pt x="547" y="183"/>
                  </a:lnTo>
                  <a:lnTo>
                    <a:pt x="549" y="183"/>
                  </a:lnTo>
                  <a:lnTo>
                    <a:pt x="550" y="181"/>
                  </a:lnTo>
                  <a:lnTo>
                    <a:pt x="550" y="182"/>
                  </a:lnTo>
                  <a:lnTo>
                    <a:pt x="550" y="181"/>
                  </a:lnTo>
                  <a:lnTo>
                    <a:pt x="550" y="180"/>
                  </a:lnTo>
                  <a:lnTo>
                    <a:pt x="551" y="180"/>
                  </a:lnTo>
                  <a:close/>
                  <a:moveTo>
                    <a:pt x="515" y="178"/>
                  </a:moveTo>
                  <a:lnTo>
                    <a:pt x="515" y="177"/>
                  </a:lnTo>
                  <a:lnTo>
                    <a:pt x="516" y="178"/>
                  </a:lnTo>
                  <a:lnTo>
                    <a:pt x="515" y="178"/>
                  </a:lnTo>
                  <a:close/>
                  <a:moveTo>
                    <a:pt x="530" y="183"/>
                  </a:moveTo>
                  <a:lnTo>
                    <a:pt x="529" y="183"/>
                  </a:lnTo>
                  <a:lnTo>
                    <a:pt x="529" y="184"/>
                  </a:lnTo>
                  <a:lnTo>
                    <a:pt x="528" y="185"/>
                  </a:lnTo>
                  <a:lnTo>
                    <a:pt x="528" y="187"/>
                  </a:lnTo>
                  <a:lnTo>
                    <a:pt x="526" y="189"/>
                  </a:lnTo>
                  <a:lnTo>
                    <a:pt x="528" y="185"/>
                  </a:lnTo>
                  <a:lnTo>
                    <a:pt x="528" y="184"/>
                  </a:lnTo>
                  <a:lnTo>
                    <a:pt x="529" y="183"/>
                  </a:lnTo>
                  <a:lnTo>
                    <a:pt x="529" y="182"/>
                  </a:lnTo>
                  <a:lnTo>
                    <a:pt x="530" y="181"/>
                  </a:lnTo>
                  <a:lnTo>
                    <a:pt x="530" y="180"/>
                  </a:lnTo>
                  <a:lnTo>
                    <a:pt x="530" y="178"/>
                  </a:lnTo>
                  <a:lnTo>
                    <a:pt x="531" y="178"/>
                  </a:lnTo>
                  <a:lnTo>
                    <a:pt x="531" y="177"/>
                  </a:lnTo>
                  <a:lnTo>
                    <a:pt x="532" y="177"/>
                  </a:lnTo>
                  <a:lnTo>
                    <a:pt x="532" y="178"/>
                  </a:lnTo>
                  <a:lnTo>
                    <a:pt x="531" y="178"/>
                  </a:lnTo>
                  <a:lnTo>
                    <a:pt x="531" y="181"/>
                  </a:lnTo>
                  <a:lnTo>
                    <a:pt x="530" y="182"/>
                  </a:lnTo>
                  <a:lnTo>
                    <a:pt x="530" y="183"/>
                  </a:lnTo>
                  <a:close/>
                  <a:moveTo>
                    <a:pt x="103" y="181"/>
                  </a:moveTo>
                  <a:lnTo>
                    <a:pt x="102" y="181"/>
                  </a:lnTo>
                  <a:lnTo>
                    <a:pt x="101" y="180"/>
                  </a:lnTo>
                  <a:lnTo>
                    <a:pt x="99" y="178"/>
                  </a:lnTo>
                  <a:lnTo>
                    <a:pt x="99" y="177"/>
                  </a:lnTo>
                  <a:lnTo>
                    <a:pt x="101" y="177"/>
                  </a:lnTo>
                  <a:lnTo>
                    <a:pt x="102" y="177"/>
                  </a:lnTo>
                  <a:lnTo>
                    <a:pt x="102" y="178"/>
                  </a:lnTo>
                  <a:lnTo>
                    <a:pt x="103" y="178"/>
                  </a:lnTo>
                  <a:lnTo>
                    <a:pt x="103" y="180"/>
                  </a:lnTo>
                  <a:lnTo>
                    <a:pt x="103" y="181"/>
                  </a:lnTo>
                  <a:close/>
                  <a:moveTo>
                    <a:pt x="398" y="178"/>
                  </a:moveTo>
                  <a:lnTo>
                    <a:pt x="397" y="178"/>
                  </a:lnTo>
                  <a:lnTo>
                    <a:pt x="397" y="177"/>
                  </a:lnTo>
                  <a:lnTo>
                    <a:pt x="398" y="177"/>
                  </a:lnTo>
                  <a:lnTo>
                    <a:pt x="398" y="178"/>
                  </a:lnTo>
                  <a:close/>
                  <a:moveTo>
                    <a:pt x="375" y="174"/>
                  </a:moveTo>
                  <a:lnTo>
                    <a:pt x="376" y="174"/>
                  </a:lnTo>
                  <a:lnTo>
                    <a:pt x="376" y="175"/>
                  </a:lnTo>
                  <a:lnTo>
                    <a:pt x="376" y="176"/>
                  </a:lnTo>
                  <a:lnTo>
                    <a:pt x="378" y="176"/>
                  </a:lnTo>
                  <a:lnTo>
                    <a:pt x="376" y="176"/>
                  </a:lnTo>
                  <a:lnTo>
                    <a:pt x="376" y="177"/>
                  </a:lnTo>
                  <a:lnTo>
                    <a:pt x="376" y="180"/>
                  </a:lnTo>
                  <a:lnTo>
                    <a:pt x="376" y="181"/>
                  </a:lnTo>
                  <a:lnTo>
                    <a:pt x="376" y="180"/>
                  </a:lnTo>
                  <a:lnTo>
                    <a:pt x="375" y="181"/>
                  </a:lnTo>
                  <a:lnTo>
                    <a:pt x="375" y="180"/>
                  </a:lnTo>
                  <a:lnTo>
                    <a:pt x="374" y="180"/>
                  </a:lnTo>
                  <a:lnTo>
                    <a:pt x="374" y="178"/>
                  </a:lnTo>
                  <a:lnTo>
                    <a:pt x="374" y="177"/>
                  </a:lnTo>
                  <a:lnTo>
                    <a:pt x="373" y="177"/>
                  </a:lnTo>
                  <a:lnTo>
                    <a:pt x="374" y="177"/>
                  </a:lnTo>
                  <a:lnTo>
                    <a:pt x="374" y="176"/>
                  </a:lnTo>
                  <a:lnTo>
                    <a:pt x="374" y="175"/>
                  </a:lnTo>
                  <a:lnTo>
                    <a:pt x="374" y="174"/>
                  </a:lnTo>
                  <a:lnTo>
                    <a:pt x="375" y="174"/>
                  </a:lnTo>
                  <a:close/>
                  <a:moveTo>
                    <a:pt x="290" y="170"/>
                  </a:moveTo>
                  <a:lnTo>
                    <a:pt x="290" y="169"/>
                  </a:lnTo>
                  <a:lnTo>
                    <a:pt x="291" y="169"/>
                  </a:lnTo>
                  <a:lnTo>
                    <a:pt x="290" y="169"/>
                  </a:lnTo>
                  <a:lnTo>
                    <a:pt x="291" y="169"/>
                  </a:lnTo>
                  <a:lnTo>
                    <a:pt x="290" y="170"/>
                  </a:lnTo>
                  <a:close/>
                  <a:moveTo>
                    <a:pt x="512" y="169"/>
                  </a:moveTo>
                  <a:lnTo>
                    <a:pt x="512" y="168"/>
                  </a:lnTo>
                  <a:lnTo>
                    <a:pt x="512" y="169"/>
                  </a:lnTo>
                  <a:close/>
                  <a:moveTo>
                    <a:pt x="387" y="173"/>
                  </a:moveTo>
                  <a:lnTo>
                    <a:pt x="386" y="174"/>
                  </a:lnTo>
                  <a:lnTo>
                    <a:pt x="384" y="175"/>
                  </a:lnTo>
                  <a:lnTo>
                    <a:pt x="384" y="176"/>
                  </a:lnTo>
                  <a:lnTo>
                    <a:pt x="384" y="177"/>
                  </a:lnTo>
                  <a:lnTo>
                    <a:pt x="386" y="177"/>
                  </a:lnTo>
                  <a:lnTo>
                    <a:pt x="386" y="178"/>
                  </a:lnTo>
                  <a:lnTo>
                    <a:pt x="384" y="178"/>
                  </a:lnTo>
                  <a:lnTo>
                    <a:pt x="384" y="180"/>
                  </a:lnTo>
                  <a:lnTo>
                    <a:pt x="383" y="180"/>
                  </a:lnTo>
                  <a:lnTo>
                    <a:pt x="383" y="178"/>
                  </a:lnTo>
                  <a:lnTo>
                    <a:pt x="383" y="177"/>
                  </a:lnTo>
                  <a:lnTo>
                    <a:pt x="383" y="178"/>
                  </a:lnTo>
                  <a:lnTo>
                    <a:pt x="382" y="178"/>
                  </a:lnTo>
                  <a:lnTo>
                    <a:pt x="382" y="180"/>
                  </a:lnTo>
                  <a:lnTo>
                    <a:pt x="382" y="178"/>
                  </a:lnTo>
                  <a:lnTo>
                    <a:pt x="382" y="177"/>
                  </a:lnTo>
                  <a:lnTo>
                    <a:pt x="381" y="178"/>
                  </a:lnTo>
                  <a:lnTo>
                    <a:pt x="380" y="178"/>
                  </a:lnTo>
                  <a:lnTo>
                    <a:pt x="380" y="177"/>
                  </a:lnTo>
                  <a:lnTo>
                    <a:pt x="381" y="176"/>
                  </a:lnTo>
                  <a:lnTo>
                    <a:pt x="381" y="175"/>
                  </a:lnTo>
                  <a:lnTo>
                    <a:pt x="381" y="174"/>
                  </a:lnTo>
                  <a:lnTo>
                    <a:pt x="382" y="174"/>
                  </a:lnTo>
                  <a:lnTo>
                    <a:pt x="382" y="173"/>
                  </a:lnTo>
                  <a:lnTo>
                    <a:pt x="381" y="173"/>
                  </a:lnTo>
                  <a:lnTo>
                    <a:pt x="381" y="171"/>
                  </a:lnTo>
                  <a:lnTo>
                    <a:pt x="381" y="170"/>
                  </a:lnTo>
                  <a:lnTo>
                    <a:pt x="382" y="169"/>
                  </a:lnTo>
                  <a:lnTo>
                    <a:pt x="383" y="169"/>
                  </a:lnTo>
                  <a:lnTo>
                    <a:pt x="383" y="168"/>
                  </a:lnTo>
                  <a:lnTo>
                    <a:pt x="384" y="168"/>
                  </a:lnTo>
                  <a:lnTo>
                    <a:pt x="386" y="167"/>
                  </a:lnTo>
                  <a:lnTo>
                    <a:pt x="387" y="167"/>
                  </a:lnTo>
                  <a:lnTo>
                    <a:pt x="387" y="169"/>
                  </a:lnTo>
                  <a:lnTo>
                    <a:pt x="387" y="170"/>
                  </a:lnTo>
                  <a:lnTo>
                    <a:pt x="387" y="171"/>
                  </a:lnTo>
                  <a:lnTo>
                    <a:pt x="387" y="173"/>
                  </a:lnTo>
                  <a:close/>
                  <a:moveTo>
                    <a:pt x="487" y="166"/>
                  </a:moveTo>
                  <a:lnTo>
                    <a:pt x="486" y="166"/>
                  </a:lnTo>
                  <a:lnTo>
                    <a:pt x="487" y="166"/>
                  </a:lnTo>
                  <a:close/>
                  <a:moveTo>
                    <a:pt x="511" y="166"/>
                  </a:moveTo>
                  <a:lnTo>
                    <a:pt x="510" y="164"/>
                  </a:lnTo>
                  <a:lnTo>
                    <a:pt x="510" y="163"/>
                  </a:lnTo>
                  <a:lnTo>
                    <a:pt x="511" y="163"/>
                  </a:lnTo>
                  <a:lnTo>
                    <a:pt x="511" y="164"/>
                  </a:lnTo>
                  <a:lnTo>
                    <a:pt x="511" y="166"/>
                  </a:lnTo>
                  <a:close/>
                  <a:moveTo>
                    <a:pt x="394" y="168"/>
                  </a:moveTo>
                  <a:lnTo>
                    <a:pt x="394" y="170"/>
                  </a:lnTo>
                  <a:lnTo>
                    <a:pt x="393" y="170"/>
                  </a:lnTo>
                  <a:lnTo>
                    <a:pt x="393" y="169"/>
                  </a:lnTo>
                  <a:lnTo>
                    <a:pt x="393" y="168"/>
                  </a:lnTo>
                  <a:lnTo>
                    <a:pt x="391" y="169"/>
                  </a:lnTo>
                  <a:lnTo>
                    <a:pt x="391" y="170"/>
                  </a:lnTo>
                  <a:lnTo>
                    <a:pt x="390" y="170"/>
                  </a:lnTo>
                  <a:lnTo>
                    <a:pt x="390" y="171"/>
                  </a:lnTo>
                  <a:lnTo>
                    <a:pt x="390" y="173"/>
                  </a:lnTo>
                  <a:lnTo>
                    <a:pt x="389" y="173"/>
                  </a:lnTo>
                  <a:lnTo>
                    <a:pt x="390" y="173"/>
                  </a:lnTo>
                  <a:lnTo>
                    <a:pt x="390" y="174"/>
                  </a:lnTo>
                  <a:lnTo>
                    <a:pt x="390" y="175"/>
                  </a:lnTo>
                  <a:lnTo>
                    <a:pt x="389" y="175"/>
                  </a:lnTo>
                  <a:lnTo>
                    <a:pt x="389" y="176"/>
                  </a:lnTo>
                  <a:lnTo>
                    <a:pt x="390" y="176"/>
                  </a:lnTo>
                  <a:lnTo>
                    <a:pt x="390" y="175"/>
                  </a:lnTo>
                  <a:lnTo>
                    <a:pt x="391" y="175"/>
                  </a:lnTo>
                  <a:lnTo>
                    <a:pt x="391" y="176"/>
                  </a:lnTo>
                  <a:lnTo>
                    <a:pt x="393" y="176"/>
                  </a:lnTo>
                  <a:lnTo>
                    <a:pt x="393" y="177"/>
                  </a:lnTo>
                  <a:lnTo>
                    <a:pt x="393" y="178"/>
                  </a:lnTo>
                  <a:lnTo>
                    <a:pt x="391" y="178"/>
                  </a:lnTo>
                  <a:lnTo>
                    <a:pt x="391" y="180"/>
                  </a:lnTo>
                  <a:lnTo>
                    <a:pt x="390" y="180"/>
                  </a:lnTo>
                  <a:lnTo>
                    <a:pt x="390" y="178"/>
                  </a:lnTo>
                  <a:lnTo>
                    <a:pt x="389" y="180"/>
                  </a:lnTo>
                  <a:lnTo>
                    <a:pt x="388" y="180"/>
                  </a:lnTo>
                  <a:lnTo>
                    <a:pt x="388" y="181"/>
                  </a:lnTo>
                  <a:lnTo>
                    <a:pt x="389" y="181"/>
                  </a:lnTo>
                  <a:lnTo>
                    <a:pt x="388" y="182"/>
                  </a:lnTo>
                  <a:lnTo>
                    <a:pt x="388" y="183"/>
                  </a:lnTo>
                  <a:lnTo>
                    <a:pt x="387" y="183"/>
                  </a:lnTo>
                  <a:lnTo>
                    <a:pt x="387" y="184"/>
                  </a:lnTo>
                  <a:lnTo>
                    <a:pt x="387" y="183"/>
                  </a:lnTo>
                  <a:lnTo>
                    <a:pt x="386" y="183"/>
                  </a:lnTo>
                  <a:lnTo>
                    <a:pt x="384" y="183"/>
                  </a:lnTo>
                  <a:lnTo>
                    <a:pt x="383" y="181"/>
                  </a:lnTo>
                  <a:lnTo>
                    <a:pt x="384" y="180"/>
                  </a:lnTo>
                  <a:lnTo>
                    <a:pt x="386" y="178"/>
                  </a:lnTo>
                  <a:lnTo>
                    <a:pt x="386" y="177"/>
                  </a:lnTo>
                  <a:lnTo>
                    <a:pt x="387" y="177"/>
                  </a:lnTo>
                  <a:lnTo>
                    <a:pt x="387" y="176"/>
                  </a:lnTo>
                  <a:lnTo>
                    <a:pt x="388" y="176"/>
                  </a:lnTo>
                  <a:lnTo>
                    <a:pt x="387" y="176"/>
                  </a:lnTo>
                  <a:lnTo>
                    <a:pt x="387" y="175"/>
                  </a:lnTo>
                  <a:lnTo>
                    <a:pt x="387" y="174"/>
                  </a:lnTo>
                  <a:lnTo>
                    <a:pt x="388" y="174"/>
                  </a:lnTo>
                  <a:lnTo>
                    <a:pt x="387" y="174"/>
                  </a:lnTo>
                  <a:lnTo>
                    <a:pt x="387" y="173"/>
                  </a:lnTo>
                  <a:lnTo>
                    <a:pt x="387" y="174"/>
                  </a:lnTo>
                  <a:lnTo>
                    <a:pt x="387" y="173"/>
                  </a:lnTo>
                  <a:lnTo>
                    <a:pt x="388" y="173"/>
                  </a:lnTo>
                  <a:lnTo>
                    <a:pt x="388" y="171"/>
                  </a:lnTo>
                  <a:lnTo>
                    <a:pt x="388" y="170"/>
                  </a:lnTo>
                  <a:lnTo>
                    <a:pt x="388" y="167"/>
                  </a:lnTo>
                  <a:lnTo>
                    <a:pt x="389" y="166"/>
                  </a:lnTo>
                  <a:lnTo>
                    <a:pt x="389" y="164"/>
                  </a:lnTo>
                  <a:lnTo>
                    <a:pt x="391" y="163"/>
                  </a:lnTo>
                  <a:lnTo>
                    <a:pt x="391" y="164"/>
                  </a:lnTo>
                  <a:lnTo>
                    <a:pt x="393" y="166"/>
                  </a:lnTo>
                  <a:lnTo>
                    <a:pt x="394" y="166"/>
                  </a:lnTo>
                  <a:lnTo>
                    <a:pt x="394" y="167"/>
                  </a:lnTo>
                  <a:lnTo>
                    <a:pt x="393" y="167"/>
                  </a:lnTo>
                  <a:lnTo>
                    <a:pt x="393" y="168"/>
                  </a:lnTo>
                  <a:lnTo>
                    <a:pt x="394" y="168"/>
                  </a:lnTo>
                  <a:close/>
                  <a:moveTo>
                    <a:pt x="538" y="161"/>
                  </a:moveTo>
                  <a:lnTo>
                    <a:pt x="538" y="162"/>
                  </a:lnTo>
                  <a:lnTo>
                    <a:pt x="539" y="162"/>
                  </a:lnTo>
                  <a:lnTo>
                    <a:pt x="538" y="162"/>
                  </a:lnTo>
                  <a:lnTo>
                    <a:pt x="538" y="161"/>
                  </a:lnTo>
                  <a:lnTo>
                    <a:pt x="537" y="161"/>
                  </a:lnTo>
                  <a:lnTo>
                    <a:pt x="536" y="161"/>
                  </a:lnTo>
                  <a:lnTo>
                    <a:pt x="536" y="160"/>
                  </a:lnTo>
                  <a:lnTo>
                    <a:pt x="535" y="160"/>
                  </a:lnTo>
                  <a:lnTo>
                    <a:pt x="535" y="159"/>
                  </a:lnTo>
                  <a:lnTo>
                    <a:pt x="536" y="160"/>
                  </a:lnTo>
                  <a:lnTo>
                    <a:pt x="537" y="160"/>
                  </a:lnTo>
                  <a:lnTo>
                    <a:pt x="537" y="161"/>
                  </a:lnTo>
                  <a:lnTo>
                    <a:pt x="538" y="161"/>
                  </a:lnTo>
                  <a:close/>
                  <a:moveTo>
                    <a:pt x="508" y="160"/>
                  </a:moveTo>
                  <a:lnTo>
                    <a:pt x="508" y="159"/>
                  </a:lnTo>
                  <a:lnTo>
                    <a:pt x="507" y="159"/>
                  </a:lnTo>
                  <a:lnTo>
                    <a:pt x="507" y="157"/>
                  </a:lnTo>
                  <a:lnTo>
                    <a:pt x="507" y="159"/>
                  </a:lnTo>
                  <a:lnTo>
                    <a:pt x="508" y="159"/>
                  </a:lnTo>
                  <a:lnTo>
                    <a:pt x="508" y="160"/>
                  </a:lnTo>
                  <a:close/>
                  <a:moveTo>
                    <a:pt x="506" y="157"/>
                  </a:moveTo>
                  <a:lnTo>
                    <a:pt x="506" y="156"/>
                  </a:lnTo>
                  <a:lnTo>
                    <a:pt x="506" y="157"/>
                  </a:lnTo>
                  <a:close/>
                  <a:moveTo>
                    <a:pt x="393" y="157"/>
                  </a:moveTo>
                  <a:lnTo>
                    <a:pt x="394" y="157"/>
                  </a:lnTo>
                  <a:lnTo>
                    <a:pt x="394" y="156"/>
                  </a:lnTo>
                  <a:lnTo>
                    <a:pt x="394" y="157"/>
                  </a:lnTo>
                  <a:lnTo>
                    <a:pt x="395" y="157"/>
                  </a:lnTo>
                  <a:lnTo>
                    <a:pt x="395" y="159"/>
                  </a:lnTo>
                  <a:lnTo>
                    <a:pt x="394" y="159"/>
                  </a:lnTo>
                  <a:lnTo>
                    <a:pt x="394" y="160"/>
                  </a:lnTo>
                  <a:lnTo>
                    <a:pt x="394" y="161"/>
                  </a:lnTo>
                  <a:lnTo>
                    <a:pt x="393" y="161"/>
                  </a:lnTo>
                  <a:lnTo>
                    <a:pt x="391" y="160"/>
                  </a:lnTo>
                  <a:lnTo>
                    <a:pt x="390" y="159"/>
                  </a:lnTo>
                  <a:lnTo>
                    <a:pt x="390" y="157"/>
                  </a:lnTo>
                  <a:lnTo>
                    <a:pt x="391" y="157"/>
                  </a:lnTo>
                  <a:lnTo>
                    <a:pt x="391" y="156"/>
                  </a:lnTo>
                  <a:lnTo>
                    <a:pt x="393" y="157"/>
                  </a:lnTo>
                  <a:close/>
                  <a:moveTo>
                    <a:pt x="509" y="157"/>
                  </a:moveTo>
                  <a:lnTo>
                    <a:pt x="509" y="159"/>
                  </a:lnTo>
                  <a:lnTo>
                    <a:pt x="508" y="157"/>
                  </a:lnTo>
                  <a:lnTo>
                    <a:pt x="508" y="156"/>
                  </a:lnTo>
                  <a:lnTo>
                    <a:pt x="509" y="156"/>
                  </a:lnTo>
                  <a:lnTo>
                    <a:pt x="509" y="157"/>
                  </a:lnTo>
                  <a:close/>
                  <a:moveTo>
                    <a:pt x="450" y="155"/>
                  </a:moveTo>
                  <a:lnTo>
                    <a:pt x="450" y="156"/>
                  </a:lnTo>
                  <a:lnTo>
                    <a:pt x="450" y="155"/>
                  </a:lnTo>
                  <a:lnTo>
                    <a:pt x="448" y="155"/>
                  </a:lnTo>
                  <a:lnTo>
                    <a:pt x="450" y="154"/>
                  </a:lnTo>
                  <a:lnTo>
                    <a:pt x="451" y="154"/>
                  </a:lnTo>
                  <a:lnTo>
                    <a:pt x="451" y="155"/>
                  </a:lnTo>
                  <a:lnTo>
                    <a:pt x="450" y="155"/>
                  </a:lnTo>
                  <a:close/>
                  <a:moveTo>
                    <a:pt x="472" y="152"/>
                  </a:moveTo>
                  <a:lnTo>
                    <a:pt x="472" y="153"/>
                  </a:lnTo>
                  <a:lnTo>
                    <a:pt x="472" y="152"/>
                  </a:lnTo>
                  <a:close/>
                  <a:moveTo>
                    <a:pt x="394" y="150"/>
                  </a:moveTo>
                  <a:lnTo>
                    <a:pt x="393" y="150"/>
                  </a:lnTo>
                  <a:lnTo>
                    <a:pt x="393" y="152"/>
                  </a:lnTo>
                  <a:lnTo>
                    <a:pt x="393" y="150"/>
                  </a:lnTo>
                  <a:lnTo>
                    <a:pt x="394" y="149"/>
                  </a:lnTo>
                  <a:lnTo>
                    <a:pt x="394" y="150"/>
                  </a:lnTo>
                  <a:close/>
                  <a:moveTo>
                    <a:pt x="467" y="152"/>
                  </a:moveTo>
                  <a:lnTo>
                    <a:pt x="466" y="152"/>
                  </a:lnTo>
                  <a:lnTo>
                    <a:pt x="466" y="150"/>
                  </a:lnTo>
                  <a:lnTo>
                    <a:pt x="467" y="150"/>
                  </a:lnTo>
                  <a:lnTo>
                    <a:pt x="467" y="149"/>
                  </a:lnTo>
                  <a:lnTo>
                    <a:pt x="468" y="149"/>
                  </a:lnTo>
                  <a:lnTo>
                    <a:pt x="468" y="150"/>
                  </a:lnTo>
                  <a:lnTo>
                    <a:pt x="469" y="150"/>
                  </a:lnTo>
                  <a:lnTo>
                    <a:pt x="468" y="150"/>
                  </a:lnTo>
                  <a:lnTo>
                    <a:pt x="467" y="152"/>
                  </a:lnTo>
                  <a:close/>
                  <a:moveTo>
                    <a:pt x="382" y="150"/>
                  </a:moveTo>
                  <a:lnTo>
                    <a:pt x="381" y="150"/>
                  </a:lnTo>
                  <a:lnTo>
                    <a:pt x="381" y="149"/>
                  </a:lnTo>
                  <a:lnTo>
                    <a:pt x="382" y="149"/>
                  </a:lnTo>
                  <a:lnTo>
                    <a:pt x="382" y="150"/>
                  </a:lnTo>
                  <a:close/>
                  <a:moveTo>
                    <a:pt x="466" y="150"/>
                  </a:moveTo>
                  <a:lnTo>
                    <a:pt x="466" y="152"/>
                  </a:lnTo>
                  <a:lnTo>
                    <a:pt x="465" y="152"/>
                  </a:lnTo>
                  <a:lnTo>
                    <a:pt x="465" y="150"/>
                  </a:lnTo>
                  <a:lnTo>
                    <a:pt x="465" y="152"/>
                  </a:lnTo>
                  <a:lnTo>
                    <a:pt x="465" y="153"/>
                  </a:lnTo>
                  <a:lnTo>
                    <a:pt x="464" y="153"/>
                  </a:lnTo>
                  <a:lnTo>
                    <a:pt x="462" y="153"/>
                  </a:lnTo>
                  <a:lnTo>
                    <a:pt x="462" y="154"/>
                  </a:lnTo>
                  <a:lnTo>
                    <a:pt x="462" y="153"/>
                  </a:lnTo>
                  <a:lnTo>
                    <a:pt x="464" y="153"/>
                  </a:lnTo>
                  <a:lnTo>
                    <a:pt x="464" y="152"/>
                  </a:lnTo>
                  <a:lnTo>
                    <a:pt x="462" y="152"/>
                  </a:lnTo>
                  <a:lnTo>
                    <a:pt x="462" y="153"/>
                  </a:lnTo>
                  <a:lnTo>
                    <a:pt x="461" y="153"/>
                  </a:lnTo>
                  <a:lnTo>
                    <a:pt x="460" y="154"/>
                  </a:lnTo>
                  <a:lnTo>
                    <a:pt x="460" y="153"/>
                  </a:lnTo>
                  <a:lnTo>
                    <a:pt x="460" y="152"/>
                  </a:lnTo>
                  <a:lnTo>
                    <a:pt x="461" y="150"/>
                  </a:lnTo>
                  <a:lnTo>
                    <a:pt x="462" y="150"/>
                  </a:lnTo>
                  <a:lnTo>
                    <a:pt x="464" y="150"/>
                  </a:lnTo>
                  <a:lnTo>
                    <a:pt x="465" y="149"/>
                  </a:lnTo>
                  <a:lnTo>
                    <a:pt x="466" y="149"/>
                  </a:lnTo>
                  <a:lnTo>
                    <a:pt x="466" y="150"/>
                  </a:lnTo>
                  <a:close/>
                  <a:moveTo>
                    <a:pt x="471" y="149"/>
                  </a:moveTo>
                  <a:lnTo>
                    <a:pt x="472" y="149"/>
                  </a:lnTo>
                  <a:lnTo>
                    <a:pt x="471" y="150"/>
                  </a:lnTo>
                  <a:lnTo>
                    <a:pt x="469" y="150"/>
                  </a:lnTo>
                  <a:lnTo>
                    <a:pt x="469" y="152"/>
                  </a:lnTo>
                  <a:lnTo>
                    <a:pt x="469" y="150"/>
                  </a:lnTo>
                  <a:lnTo>
                    <a:pt x="469" y="149"/>
                  </a:lnTo>
                  <a:lnTo>
                    <a:pt x="471" y="149"/>
                  </a:lnTo>
                  <a:close/>
                  <a:moveTo>
                    <a:pt x="526" y="148"/>
                  </a:moveTo>
                  <a:lnTo>
                    <a:pt x="526" y="149"/>
                  </a:lnTo>
                  <a:lnTo>
                    <a:pt x="526" y="148"/>
                  </a:lnTo>
                  <a:lnTo>
                    <a:pt x="525" y="148"/>
                  </a:lnTo>
                  <a:lnTo>
                    <a:pt x="526" y="148"/>
                  </a:lnTo>
                  <a:close/>
                  <a:moveTo>
                    <a:pt x="383" y="149"/>
                  </a:moveTo>
                  <a:lnTo>
                    <a:pt x="383" y="148"/>
                  </a:lnTo>
                  <a:lnTo>
                    <a:pt x="383" y="147"/>
                  </a:lnTo>
                  <a:lnTo>
                    <a:pt x="383" y="148"/>
                  </a:lnTo>
                  <a:lnTo>
                    <a:pt x="384" y="148"/>
                  </a:lnTo>
                  <a:lnTo>
                    <a:pt x="383" y="148"/>
                  </a:lnTo>
                  <a:lnTo>
                    <a:pt x="383" y="149"/>
                  </a:lnTo>
                  <a:close/>
                  <a:moveTo>
                    <a:pt x="300" y="152"/>
                  </a:moveTo>
                  <a:lnTo>
                    <a:pt x="298" y="150"/>
                  </a:lnTo>
                  <a:lnTo>
                    <a:pt x="298" y="149"/>
                  </a:lnTo>
                  <a:lnTo>
                    <a:pt x="298" y="148"/>
                  </a:lnTo>
                  <a:lnTo>
                    <a:pt x="300" y="148"/>
                  </a:lnTo>
                  <a:lnTo>
                    <a:pt x="300" y="147"/>
                  </a:lnTo>
                  <a:lnTo>
                    <a:pt x="300" y="148"/>
                  </a:lnTo>
                  <a:lnTo>
                    <a:pt x="300" y="149"/>
                  </a:lnTo>
                  <a:lnTo>
                    <a:pt x="300" y="150"/>
                  </a:lnTo>
                  <a:lnTo>
                    <a:pt x="300" y="152"/>
                  </a:lnTo>
                  <a:close/>
                  <a:moveTo>
                    <a:pt x="454" y="146"/>
                  </a:moveTo>
                  <a:lnTo>
                    <a:pt x="455" y="146"/>
                  </a:lnTo>
                  <a:lnTo>
                    <a:pt x="457" y="147"/>
                  </a:lnTo>
                  <a:lnTo>
                    <a:pt x="455" y="147"/>
                  </a:lnTo>
                  <a:lnTo>
                    <a:pt x="454" y="147"/>
                  </a:lnTo>
                  <a:lnTo>
                    <a:pt x="454" y="146"/>
                  </a:lnTo>
                  <a:lnTo>
                    <a:pt x="454" y="145"/>
                  </a:lnTo>
                  <a:lnTo>
                    <a:pt x="454" y="146"/>
                  </a:lnTo>
                  <a:close/>
                  <a:moveTo>
                    <a:pt x="295" y="157"/>
                  </a:moveTo>
                  <a:lnTo>
                    <a:pt x="295" y="159"/>
                  </a:lnTo>
                  <a:lnTo>
                    <a:pt x="295" y="157"/>
                  </a:lnTo>
                  <a:lnTo>
                    <a:pt x="294" y="157"/>
                  </a:lnTo>
                  <a:lnTo>
                    <a:pt x="295" y="156"/>
                  </a:lnTo>
                  <a:lnTo>
                    <a:pt x="295" y="155"/>
                  </a:lnTo>
                  <a:lnTo>
                    <a:pt x="295" y="154"/>
                  </a:lnTo>
                  <a:lnTo>
                    <a:pt x="294" y="153"/>
                  </a:lnTo>
                  <a:lnTo>
                    <a:pt x="294" y="152"/>
                  </a:lnTo>
                  <a:lnTo>
                    <a:pt x="295" y="150"/>
                  </a:lnTo>
                  <a:lnTo>
                    <a:pt x="295" y="149"/>
                  </a:lnTo>
                  <a:lnTo>
                    <a:pt x="295" y="147"/>
                  </a:lnTo>
                  <a:lnTo>
                    <a:pt x="296" y="147"/>
                  </a:lnTo>
                  <a:lnTo>
                    <a:pt x="296" y="146"/>
                  </a:lnTo>
                  <a:lnTo>
                    <a:pt x="297" y="145"/>
                  </a:lnTo>
                  <a:lnTo>
                    <a:pt x="298" y="145"/>
                  </a:lnTo>
                  <a:lnTo>
                    <a:pt x="298" y="146"/>
                  </a:lnTo>
                  <a:lnTo>
                    <a:pt x="297" y="146"/>
                  </a:lnTo>
                  <a:lnTo>
                    <a:pt x="297" y="147"/>
                  </a:lnTo>
                  <a:lnTo>
                    <a:pt x="297" y="148"/>
                  </a:lnTo>
                  <a:lnTo>
                    <a:pt x="298" y="148"/>
                  </a:lnTo>
                  <a:lnTo>
                    <a:pt x="298" y="149"/>
                  </a:lnTo>
                  <a:lnTo>
                    <a:pt x="297" y="149"/>
                  </a:lnTo>
                  <a:lnTo>
                    <a:pt x="297" y="150"/>
                  </a:lnTo>
                  <a:lnTo>
                    <a:pt x="298" y="150"/>
                  </a:lnTo>
                  <a:lnTo>
                    <a:pt x="298" y="152"/>
                  </a:lnTo>
                  <a:lnTo>
                    <a:pt x="298" y="153"/>
                  </a:lnTo>
                  <a:lnTo>
                    <a:pt x="298" y="154"/>
                  </a:lnTo>
                  <a:lnTo>
                    <a:pt x="297" y="154"/>
                  </a:lnTo>
                  <a:lnTo>
                    <a:pt x="297" y="155"/>
                  </a:lnTo>
                  <a:lnTo>
                    <a:pt x="298" y="155"/>
                  </a:lnTo>
                  <a:lnTo>
                    <a:pt x="297" y="155"/>
                  </a:lnTo>
                  <a:lnTo>
                    <a:pt x="297" y="156"/>
                  </a:lnTo>
                  <a:lnTo>
                    <a:pt x="296" y="156"/>
                  </a:lnTo>
                  <a:lnTo>
                    <a:pt x="296" y="157"/>
                  </a:lnTo>
                  <a:lnTo>
                    <a:pt x="295" y="157"/>
                  </a:lnTo>
                  <a:close/>
                  <a:moveTo>
                    <a:pt x="458" y="145"/>
                  </a:moveTo>
                  <a:lnTo>
                    <a:pt x="457" y="145"/>
                  </a:lnTo>
                  <a:lnTo>
                    <a:pt x="457" y="143"/>
                  </a:lnTo>
                  <a:lnTo>
                    <a:pt x="458" y="143"/>
                  </a:lnTo>
                  <a:lnTo>
                    <a:pt x="458" y="145"/>
                  </a:lnTo>
                  <a:lnTo>
                    <a:pt x="459" y="145"/>
                  </a:lnTo>
                  <a:lnTo>
                    <a:pt x="458" y="145"/>
                  </a:lnTo>
                  <a:close/>
                  <a:moveTo>
                    <a:pt x="78" y="143"/>
                  </a:moveTo>
                  <a:lnTo>
                    <a:pt x="78" y="145"/>
                  </a:lnTo>
                  <a:lnTo>
                    <a:pt x="78" y="143"/>
                  </a:lnTo>
                  <a:close/>
                  <a:moveTo>
                    <a:pt x="446" y="143"/>
                  </a:moveTo>
                  <a:lnTo>
                    <a:pt x="447" y="143"/>
                  </a:lnTo>
                  <a:lnTo>
                    <a:pt x="448" y="143"/>
                  </a:lnTo>
                  <a:lnTo>
                    <a:pt x="448" y="145"/>
                  </a:lnTo>
                  <a:lnTo>
                    <a:pt x="448" y="146"/>
                  </a:lnTo>
                  <a:lnTo>
                    <a:pt x="447" y="146"/>
                  </a:lnTo>
                  <a:lnTo>
                    <a:pt x="448" y="146"/>
                  </a:lnTo>
                  <a:lnTo>
                    <a:pt x="448" y="147"/>
                  </a:lnTo>
                  <a:lnTo>
                    <a:pt x="450" y="147"/>
                  </a:lnTo>
                  <a:lnTo>
                    <a:pt x="451" y="147"/>
                  </a:lnTo>
                  <a:lnTo>
                    <a:pt x="451" y="148"/>
                  </a:lnTo>
                  <a:lnTo>
                    <a:pt x="451" y="150"/>
                  </a:lnTo>
                  <a:lnTo>
                    <a:pt x="450" y="152"/>
                  </a:lnTo>
                  <a:lnTo>
                    <a:pt x="448" y="152"/>
                  </a:lnTo>
                  <a:lnTo>
                    <a:pt x="447" y="153"/>
                  </a:lnTo>
                  <a:lnTo>
                    <a:pt x="446" y="153"/>
                  </a:lnTo>
                  <a:lnTo>
                    <a:pt x="446" y="154"/>
                  </a:lnTo>
                  <a:lnTo>
                    <a:pt x="445" y="154"/>
                  </a:lnTo>
                  <a:lnTo>
                    <a:pt x="444" y="154"/>
                  </a:lnTo>
                  <a:lnTo>
                    <a:pt x="444" y="155"/>
                  </a:lnTo>
                  <a:lnTo>
                    <a:pt x="443" y="155"/>
                  </a:lnTo>
                  <a:lnTo>
                    <a:pt x="443" y="154"/>
                  </a:lnTo>
                  <a:lnTo>
                    <a:pt x="442" y="154"/>
                  </a:lnTo>
                  <a:lnTo>
                    <a:pt x="440" y="154"/>
                  </a:lnTo>
                  <a:lnTo>
                    <a:pt x="439" y="153"/>
                  </a:lnTo>
                  <a:lnTo>
                    <a:pt x="438" y="153"/>
                  </a:lnTo>
                  <a:lnTo>
                    <a:pt x="438" y="152"/>
                  </a:lnTo>
                  <a:lnTo>
                    <a:pt x="437" y="152"/>
                  </a:lnTo>
                  <a:lnTo>
                    <a:pt x="436" y="152"/>
                  </a:lnTo>
                  <a:lnTo>
                    <a:pt x="436" y="150"/>
                  </a:lnTo>
                  <a:lnTo>
                    <a:pt x="436" y="149"/>
                  </a:lnTo>
                  <a:lnTo>
                    <a:pt x="435" y="149"/>
                  </a:lnTo>
                  <a:lnTo>
                    <a:pt x="435" y="148"/>
                  </a:lnTo>
                  <a:lnTo>
                    <a:pt x="433" y="148"/>
                  </a:lnTo>
                  <a:lnTo>
                    <a:pt x="433" y="147"/>
                  </a:lnTo>
                  <a:lnTo>
                    <a:pt x="433" y="145"/>
                  </a:lnTo>
                  <a:lnTo>
                    <a:pt x="433" y="143"/>
                  </a:lnTo>
                  <a:lnTo>
                    <a:pt x="435" y="143"/>
                  </a:lnTo>
                  <a:lnTo>
                    <a:pt x="436" y="143"/>
                  </a:lnTo>
                  <a:lnTo>
                    <a:pt x="436" y="145"/>
                  </a:lnTo>
                  <a:lnTo>
                    <a:pt x="437" y="143"/>
                  </a:lnTo>
                  <a:lnTo>
                    <a:pt x="438" y="142"/>
                  </a:lnTo>
                  <a:lnTo>
                    <a:pt x="439" y="142"/>
                  </a:lnTo>
                  <a:lnTo>
                    <a:pt x="444" y="142"/>
                  </a:lnTo>
                  <a:lnTo>
                    <a:pt x="445" y="142"/>
                  </a:lnTo>
                  <a:lnTo>
                    <a:pt x="446" y="143"/>
                  </a:lnTo>
                  <a:close/>
                  <a:moveTo>
                    <a:pt x="461" y="140"/>
                  </a:moveTo>
                  <a:lnTo>
                    <a:pt x="461" y="141"/>
                  </a:lnTo>
                  <a:lnTo>
                    <a:pt x="460" y="141"/>
                  </a:lnTo>
                  <a:lnTo>
                    <a:pt x="459" y="142"/>
                  </a:lnTo>
                  <a:lnTo>
                    <a:pt x="459" y="141"/>
                  </a:lnTo>
                  <a:lnTo>
                    <a:pt x="460" y="141"/>
                  </a:lnTo>
                  <a:lnTo>
                    <a:pt x="460" y="140"/>
                  </a:lnTo>
                  <a:lnTo>
                    <a:pt x="461" y="140"/>
                  </a:lnTo>
                  <a:close/>
                  <a:moveTo>
                    <a:pt x="167" y="141"/>
                  </a:moveTo>
                  <a:lnTo>
                    <a:pt x="166" y="141"/>
                  </a:lnTo>
                  <a:lnTo>
                    <a:pt x="165" y="141"/>
                  </a:lnTo>
                  <a:lnTo>
                    <a:pt x="165" y="140"/>
                  </a:lnTo>
                  <a:lnTo>
                    <a:pt x="166" y="140"/>
                  </a:lnTo>
                  <a:lnTo>
                    <a:pt x="167" y="140"/>
                  </a:lnTo>
                  <a:lnTo>
                    <a:pt x="168" y="140"/>
                  </a:lnTo>
                  <a:lnTo>
                    <a:pt x="167" y="141"/>
                  </a:lnTo>
                  <a:close/>
                  <a:moveTo>
                    <a:pt x="170" y="140"/>
                  </a:moveTo>
                  <a:lnTo>
                    <a:pt x="169" y="140"/>
                  </a:lnTo>
                  <a:lnTo>
                    <a:pt x="169" y="139"/>
                  </a:lnTo>
                  <a:lnTo>
                    <a:pt x="170" y="139"/>
                  </a:lnTo>
                  <a:lnTo>
                    <a:pt x="170" y="140"/>
                  </a:lnTo>
                  <a:close/>
                  <a:moveTo>
                    <a:pt x="176" y="139"/>
                  </a:moveTo>
                  <a:lnTo>
                    <a:pt x="175" y="140"/>
                  </a:lnTo>
                  <a:lnTo>
                    <a:pt x="174" y="140"/>
                  </a:lnTo>
                  <a:lnTo>
                    <a:pt x="174" y="139"/>
                  </a:lnTo>
                  <a:lnTo>
                    <a:pt x="175" y="139"/>
                  </a:lnTo>
                  <a:lnTo>
                    <a:pt x="176" y="139"/>
                  </a:lnTo>
                  <a:close/>
                  <a:moveTo>
                    <a:pt x="483" y="138"/>
                  </a:moveTo>
                  <a:lnTo>
                    <a:pt x="485" y="138"/>
                  </a:lnTo>
                  <a:lnTo>
                    <a:pt x="486" y="139"/>
                  </a:lnTo>
                  <a:lnTo>
                    <a:pt x="487" y="140"/>
                  </a:lnTo>
                  <a:lnTo>
                    <a:pt x="488" y="140"/>
                  </a:lnTo>
                  <a:lnTo>
                    <a:pt x="488" y="141"/>
                  </a:lnTo>
                  <a:lnTo>
                    <a:pt x="489" y="141"/>
                  </a:lnTo>
                  <a:lnTo>
                    <a:pt x="490" y="141"/>
                  </a:lnTo>
                  <a:lnTo>
                    <a:pt x="493" y="141"/>
                  </a:lnTo>
                  <a:lnTo>
                    <a:pt x="494" y="141"/>
                  </a:lnTo>
                  <a:lnTo>
                    <a:pt x="495" y="141"/>
                  </a:lnTo>
                  <a:lnTo>
                    <a:pt x="496" y="142"/>
                  </a:lnTo>
                  <a:lnTo>
                    <a:pt x="497" y="143"/>
                  </a:lnTo>
                  <a:lnTo>
                    <a:pt x="497" y="145"/>
                  </a:lnTo>
                  <a:lnTo>
                    <a:pt x="497" y="147"/>
                  </a:lnTo>
                  <a:lnTo>
                    <a:pt x="499" y="147"/>
                  </a:lnTo>
                  <a:lnTo>
                    <a:pt x="499" y="148"/>
                  </a:lnTo>
                  <a:lnTo>
                    <a:pt x="500" y="148"/>
                  </a:lnTo>
                  <a:lnTo>
                    <a:pt x="501" y="148"/>
                  </a:lnTo>
                  <a:lnTo>
                    <a:pt x="501" y="149"/>
                  </a:lnTo>
                  <a:lnTo>
                    <a:pt x="501" y="150"/>
                  </a:lnTo>
                  <a:lnTo>
                    <a:pt x="501" y="152"/>
                  </a:lnTo>
                  <a:lnTo>
                    <a:pt x="500" y="154"/>
                  </a:lnTo>
                  <a:lnTo>
                    <a:pt x="501" y="154"/>
                  </a:lnTo>
                  <a:lnTo>
                    <a:pt x="501" y="155"/>
                  </a:lnTo>
                  <a:lnTo>
                    <a:pt x="500" y="155"/>
                  </a:lnTo>
                  <a:lnTo>
                    <a:pt x="500" y="154"/>
                  </a:lnTo>
                  <a:lnTo>
                    <a:pt x="499" y="154"/>
                  </a:lnTo>
                  <a:lnTo>
                    <a:pt x="497" y="154"/>
                  </a:lnTo>
                  <a:lnTo>
                    <a:pt x="496" y="153"/>
                  </a:lnTo>
                  <a:lnTo>
                    <a:pt x="495" y="153"/>
                  </a:lnTo>
                  <a:lnTo>
                    <a:pt x="495" y="152"/>
                  </a:lnTo>
                  <a:lnTo>
                    <a:pt x="494" y="152"/>
                  </a:lnTo>
                  <a:lnTo>
                    <a:pt x="493" y="150"/>
                  </a:lnTo>
                  <a:lnTo>
                    <a:pt x="490" y="149"/>
                  </a:lnTo>
                  <a:lnTo>
                    <a:pt x="489" y="149"/>
                  </a:lnTo>
                  <a:lnTo>
                    <a:pt x="489" y="148"/>
                  </a:lnTo>
                  <a:lnTo>
                    <a:pt x="488" y="148"/>
                  </a:lnTo>
                  <a:lnTo>
                    <a:pt x="488" y="147"/>
                  </a:lnTo>
                  <a:lnTo>
                    <a:pt x="482" y="146"/>
                  </a:lnTo>
                  <a:lnTo>
                    <a:pt x="482" y="147"/>
                  </a:lnTo>
                  <a:lnTo>
                    <a:pt x="482" y="148"/>
                  </a:lnTo>
                  <a:lnTo>
                    <a:pt x="483" y="148"/>
                  </a:lnTo>
                  <a:lnTo>
                    <a:pt x="482" y="148"/>
                  </a:lnTo>
                  <a:lnTo>
                    <a:pt x="481" y="148"/>
                  </a:lnTo>
                  <a:lnTo>
                    <a:pt x="480" y="148"/>
                  </a:lnTo>
                  <a:lnTo>
                    <a:pt x="479" y="148"/>
                  </a:lnTo>
                  <a:lnTo>
                    <a:pt x="478" y="147"/>
                  </a:lnTo>
                  <a:lnTo>
                    <a:pt x="476" y="147"/>
                  </a:lnTo>
                  <a:lnTo>
                    <a:pt x="475" y="147"/>
                  </a:lnTo>
                  <a:lnTo>
                    <a:pt x="474" y="147"/>
                  </a:lnTo>
                  <a:lnTo>
                    <a:pt x="474" y="146"/>
                  </a:lnTo>
                  <a:lnTo>
                    <a:pt x="475" y="145"/>
                  </a:lnTo>
                  <a:lnTo>
                    <a:pt x="474" y="145"/>
                  </a:lnTo>
                  <a:lnTo>
                    <a:pt x="473" y="145"/>
                  </a:lnTo>
                  <a:lnTo>
                    <a:pt x="472" y="146"/>
                  </a:lnTo>
                  <a:lnTo>
                    <a:pt x="471" y="147"/>
                  </a:lnTo>
                  <a:lnTo>
                    <a:pt x="471" y="148"/>
                  </a:lnTo>
                  <a:lnTo>
                    <a:pt x="469" y="148"/>
                  </a:lnTo>
                  <a:lnTo>
                    <a:pt x="468" y="148"/>
                  </a:lnTo>
                  <a:lnTo>
                    <a:pt x="467" y="148"/>
                  </a:lnTo>
                  <a:lnTo>
                    <a:pt x="465" y="145"/>
                  </a:lnTo>
                  <a:lnTo>
                    <a:pt x="464" y="145"/>
                  </a:lnTo>
                  <a:lnTo>
                    <a:pt x="464" y="143"/>
                  </a:lnTo>
                  <a:lnTo>
                    <a:pt x="464" y="142"/>
                  </a:lnTo>
                  <a:lnTo>
                    <a:pt x="462" y="142"/>
                  </a:lnTo>
                  <a:lnTo>
                    <a:pt x="462" y="143"/>
                  </a:lnTo>
                  <a:lnTo>
                    <a:pt x="462" y="145"/>
                  </a:lnTo>
                  <a:lnTo>
                    <a:pt x="462" y="146"/>
                  </a:lnTo>
                  <a:lnTo>
                    <a:pt x="461" y="146"/>
                  </a:lnTo>
                  <a:lnTo>
                    <a:pt x="461" y="147"/>
                  </a:lnTo>
                  <a:lnTo>
                    <a:pt x="461" y="148"/>
                  </a:lnTo>
                  <a:lnTo>
                    <a:pt x="460" y="148"/>
                  </a:lnTo>
                  <a:lnTo>
                    <a:pt x="460" y="149"/>
                  </a:lnTo>
                  <a:lnTo>
                    <a:pt x="460" y="150"/>
                  </a:lnTo>
                  <a:lnTo>
                    <a:pt x="460" y="149"/>
                  </a:lnTo>
                  <a:lnTo>
                    <a:pt x="460" y="147"/>
                  </a:lnTo>
                  <a:lnTo>
                    <a:pt x="460" y="146"/>
                  </a:lnTo>
                  <a:lnTo>
                    <a:pt x="460" y="145"/>
                  </a:lnTo>
                  <a:lnTo>
                    <a:pt x="459" y="145"/>
                  </a:lnTo>
                  <a:lnTo>
                    <a:pt x="459" y="143"/>
                  </a:lnTo>
                  <a:lnTo>
                    <a:pt x="460" y="143"/>
                  </a:lnTo>
                  <a:lnTo>
                    <a:pt x="461" y="142"/>
                  </a:lnTo>
                  <a:lnTo>
                    <a:pt x="462" y="142"/>
                  </a:lnTo>
                  <a:lnTo>
                    <a:pt x="462" y="141"/>
                  </a:lnTo>
                  <a:lnTo>
                    <a:pt x="464" y="141"/>
                  </a:lnTo>
                  <a:lnTo>
                    <a:pt x="462" y="141"/>
                  </a:lnTo>
                  <a:lnTo>
                    <a:pt x="462" y="140"/>
                  </a:lnTo>
                  <a:lnTo>
                    <a:pt x="464" y="140"/>
                  </a:lnTo>
                  <a:lnTo>
                    <a:pt x="464" y="139"/>
                  </a:lnTo>
                  <a:lnTo>
                    <a:pt x="465" y="139"/>
                  </a:lnTo>
                  <a:lnTo>
                    <a:pt x="467" y="139"/>
                  </a:lnTo>
                  <a:lnTo>
                    <a:pt x="468" y="139"/>
                  </a:lnTo>
                  <a:lnTo>
                    <a:pt x="469" y="139"/>
                  </a:lnTo>
                  <a:lnTo>
                    <a:pt x="473" y="139"/>
                  </a:lnTo>
                  <a:lnTo>
                    <a:pt x="474" y="139"/>
                  </a:lnTo>
                  <a:lnTo>
                    <a:pt x="475" y="139"/>
                  </a:lnTo>
                  <a:lnTo>
                    <a:pt x="476" y="138"/>
                  </a:lnTo>
                  <a:lnTo>
                    <a:pt x="476" y="139"/>
                  </a:lnTo>
                  <a:lnTo>
                    <a:pt x="476" y="140"/>
                  </a:lnTo>
                  <a:lnTo>
                    <a:pt x="478" y="140"/>
                  </a:lnTo>
                  <a:lnTo>
                    <a:pt x="479" y="140"/>
                  </a:lnTo>
                  <a:lnTo>
                    <a:pt x="480" y="139"/>
                  </a:lnTo>
                  <a:lnTo>
                    <a:pt x="481" y="139"/>
                  </a:lnTo>
                  <a:lnTo>
                    <a:pt x="481" y="138"/>
                  </a:lnTo>
                  <a:lnTo>
                    <a:pt x="482" y="138"/>
                  </a:lnTo>
                  <a:lnTo>
                    <a:pt x="483" y="138"/>
                  </a:lnTo>
                  <a:close/>
                  <a:moveTo>
                    <a:pt x="77" y="142"/>
                  </a:moveTo>
                  <a:lnTo>
                    <a:pt x="77" y="143"/>
                  </a:lnTo>
                  <a:lnTo>
                    <a:pt x="76" y="143"/>
                  </a:lnTo>
                  <a:lnTo>
                    <a:pt x="76" y="145"/>
                  </a:lnTo>
                  <a:lnTo>
                    <a:pt x="77" y="145"/>
                  </a:lnTo>
                  <a:lnTo>
                    <a:pt x="77" y="146"/>
                  </a:lnTo>
                  <a:lnTo>
                    <a:pt x="77" y="147"/>
                  </a:lnTo>
                  <a:lnTo>
                    <a:pt x="77" y="146"/>
                  </a:lnTo>
                  <a:lnTo>
                    <a:pt x="76" y="146"/>
                  </a:lnTo>
                  <a:lnTo>
                    <a:pt x="76" y="145"/>
                  </a:lnTo>
                  <a:lnTo>
                    <a:pt x="76" y="143"/>
                  </a:lnTo>
                  <a:lnTo>
                    <a:pt x="75" y="142"/>
                  </a:lnTo>
                  <a:lnTo>
                    <a:pt x="74" y="141"/>
                  </a:lnTo>
                  <a:lnTo>
                    <a:pt x="74" y="140"/>
                  </a:lnTo>
                  <a:lnTo>
                    <a:pt x="74" y="139"/>
                  </a:lnTo>
                  <a:lnTo>
                    <a:pt x="74" y="138"/>
                  </a:lnTo>
                  <a:lnTo>
                    <a:pt x="75" y="138"/>
                  </a:lnTo>
                  <a:lnTo>
                    <a:pt x="75" y="139"/>
                  </a:lnTo>
                  <a:lnTo>
                    <a:pt x="76" y="140"/>
                  </a:lnTo>
                  <a:lnTo>
                    <a:pt x="77" y="141"/>
                  </a:lnTo>
                  <a:lnTo>
                    <a:pt x="77" y="142"/>
                  </a:lnTo>
                  <a:close/>
                  <a:moveTo>
                    <a:pt x="511" y="135"/>
                  </a:moveTo>
                  <a:lnTo>
                    <a:pt x="512" y="135"/>
                  </a:lnTo>
                  <a:lnTo>
                    <a:pt x="511" y="135"/>
                  </a:lnTo>
                  <a:close/>
                  <a:moveTo>
                    <a:pt x="181" y="134"/>
                  </a:moveTo>
                  <a:lnTo>
                    <a:pt x="182" y="134"/>
                  </a:lnTo>
                  <a:lnTo>
                    <a:pt x="183" y="134"/>
                  </a:lnTo>
                  <a:lnTo>
                    <a:pt x="183" y="135"/>
                  </a:lnTo>
                  <a:lnTo>
                    <a:pt x="184" y="135"/>
                  </a:lnTo>
                  <a:lnTo>
                    <a:pt x="185" y="136"/>
                  </a:lnTo>
                  <a:lnTo>
                    <a:pt x="187" y="138"/>
                  </a:lnTo>
                  <a:lnTo>
                    <a:pt x="187" y="139"/>
                  </a:lnTo>
                  <a:lnTo>
                    <a:pt x="187" y="140"/>
                  </a:lnTo>
                  <a:lnTo>
                    <a:pt x="185" y="141"/>
                  </a:lnTo>
                  <a:lnTo>
                    <a:pt x="185" y="142"/>
                  </a:lnTo>
                  <a:lnTo>
                    <a:pt x="185" y="143"/>
                  </a:lnTo>
                  <a:lnTo>
                    <a:pt x="184" y="143"/>
                  </a:lnTo>
                  <a:lnTo>
                    <a:pt x="183" y="143"/>
                  </a:lnTo>
                  <a:lnTo>
                    <a:pt x="183" y="145"/>
                  </a:lnTo>
                  <a:lnTo>
                    <a:pt x="182" y="145"/>
                  </a:lnTo>
                  <a:lnTo>
                    <a:pt x="182" y="143"/>
                  </a:lnTo>
                  <a:lnTo>
                    <a:pt x="181" y="142"/>
                  </a:lnTo>
                  <a:lnTo>
                    <a:pt x="180" y="142"/>
                  </a:lnTo>
                  <a:lnTo>
                    <a:pt x="181" y="143"/>
                  </a:lnTo>
                  <a:lnTo>
                    <a:pt x="180" y="143"/>
                  </a:lnTo>
                  <a:lnTo>
                    <a:pt x="179" y="145"/>
                  </a:lnTo>
                  <a:lnTo>
                    <a:pt x="177" y="145"/>
                  </a:lnTo>
                  <a:lnTo>
                    <a:pt x="177" y="143"/>
                  </a:lnTo>
                  <a:lnTo>
                    <a:pt x="177" y="142"/>
                  </a:lnTo>
                  <a:lnTo>
                    <a:pt x="177" y="141"/>
                  </a:lnTo>
                  <a:lnTo>
                    <a:pt x="177" y="140"/>
                  </a:lnTo>
                  <a:lnTo>
                    <a:pt x="176" y="140"/>
                  </a:lnTo>
                  <a:lnTo>
                    <a:pt x="177" y="139"/>
                  </a:lnTo>
                  <a:lnTo>
                    <a:pt x="177" y="138"/>
                  </a:lnTo>
                  <a:lnTo>
                    <a:pt x="177" y="136"/>
                  </a:lnTo>
                  <a:lnTo>
                    <a:pt x="179" y="134"/>
                  </a:lnTo>
                  <a:lnTo>
                    <a:pt x="180" y="134"/>
                  </a:lnTo>
                  <a:lnTo>
                    <a:pt x="181" y="134"/>
                  </a:lnTo>
                  <a:close/>
                  <a:moveTo>
                    <a:pt x="74" y="138"/>
                  </a:moveTo>
                  <a:lnTo>
                    <a:pt x="73" y="139"/>
                  </a:lnTo>
                  <a:lnTo>
                    <a:pt x="71" y="138"/>
                  </a:lnTo>
                  <a:lnTo>
                    <a:pt x="71" y="139"/>
                  </a:lnTo>
                  <a:lnTo>
                    <a:pt x="71" y="138"/>
                  </a:lnTo>
                  <a:lnTo>
                    <a:pt x="71" y="136"/>
                  </a:lnTo>
                  <a:lnTo>
                    <a:pt x="71" y="135"/>
                  </a:lnTo>
                  <a:lnTo>
                    <a:pt x="70" y="135"/>
                  </a:lnTo>
                  <a:lnTo>
                    <a:pt x="71" y="135"/>
                  </a:lnTo>
                  <a:lnTo>
                    <a:pt x="70" y="134"/>
                  </a:lnTo>
                  <a:lnTo>
                    <a:pt x="70" y="133"/>
                  </a:lnTo>
                  <a:lnTo>
                    <a:pt x="71" y="133"/>
                  </a:lnTo>
                  <a:lnTo>
                    <a:pt x="71" y="134"/>
                  </a:lnTo>
                  <a:lnTo>
                    <a:pt x="73" y="134"/>
                  </a:lnTo>
                  <a:lnTo>
                    <a:pt x="73" y="135"/>
                  </a:lnTo>
                  <a:lnTo>
                    <a:pt x="74" y="135"/>
                  </a:lnTo>
                  <a:lnTo>
                    <a:pt x="74" y="136"/>
                  </a:lnTo>
                  <a:lnTo>
                    <a:pt x="74" y="138"/>
                  </a:lnTo>
                  <a:close/>
                  <a:moveTo>
                    <a:pt x="539" y="132"/>
                  </a:moveTo>
                  <a:lnTo>
                    <a:pt x="539" y="133"/>
                  </a:lnTo>
                  <a:lnTo>
                    <a:pt x="540" y="133"/>
                  </a:lnTo>
                  <a:lnTo>
                    <a:pt x="539" y="133"/>
                  </a:lnTo>
                  <a:lnTo>
                    <a:pt x="538" y="133"/>
                  </a:lnTo>
                  <a:lnTo>
                    <a:pt x="538" y="132"/>
                  </a:lnTo>
                  <a:lnTo>
                    <a:pt x="539" y="132"/>
                  </a:lnTo>
                  <a:close/>
                  <a:moveTo>
                    <a:pt x="553" y="133"/>
                  </a:moveTo>
                  <a:lnTo>
                    <a:pt x="553" y="132"/>
                  </a:lnTo>
                  <a:lnTo>
                    <a:pt x="553" y="131"/>
                  </a:lnTo>
                  <a:lnTo>
                    <a:pt x="553" y="129"/>
                  </a:lnTo>
                  <a:lnTo>
                    <a:pt x="553" y="131"/>
                  </a:lnTo>
                  <a:lnTo>
                    <a:pt x="553" y="132"/>
                  </a:lnTo>
                  <a:lnTo>
                    <a:pt x="553" y="133"/>
                  </a:lnTo>
                  <a:close/>
                  <a:moveTo>
                    <a:pt x="67" y="127"/>
                  </a:moveTo>
                  <a:lnTo>
                    <a:pt x="68" y="128"/>
                  </a:lnTo>
                  <a:lnTo>
                    <a:pt x="68" y="129"/>
                  </a:lnTo>
                  <a:lnTo>
                    <a:pt x="69" y="129"/>
                  </a:lnTo>
                  <a:lnTo>
                    <a:pt x="69" y="131"/>
                  </a:lnTo>
                  <a:lnTo>
                    <a:pt x="69" y="132"/>
                  </a:lnTo>
                  <a:lnTo>
                    <a:pt x="69" y="131"/>
                  </a:lnTo>
                  <a:lnTo>
                    <a:pt x="69" y="132"/>
                  </a:lnTo>
                  <a:lnTo>
                    <a:pt x="69" y="131"/>
                  </a:lnTo>
                  <a:lnTo>
                    <a:pt x="68" y="131"/>
                  </a:lnTo>
                  <a:lnTo>
                    <a:pt x="67" y="131"/>
                  </a:lnTo>
                  <a:lnTo>
                    <a:pt x="67" y="129"/>
                  </a:lnTo>
                  <a:lnTo>
                    <a:pt x="66" y="129"/>
                  </a:lnTo>
                  <a:lnTo>
                    <a:pt x="66" y="128"/>
                  </a:lnTo>
                  <a:lnTo>
                    <a:pt x="66" y="129"/>
                  </a:lnTo>
                  <a:lnTo>
                    <a:pt x="66" y="128"/>
                  </a:lnTo>
                  <a:lnTo>
                    <a:pt x="64" y="128"/>
                  </a:lnTo>
                  <a:lnTo>
                    <a:pt x="64" y="127"/>
                  </a:lnTo>
                  <a:lnTo>
                    <a:pt x="66" y="127"/>
                  </a:lnTo>
                  <a:lnTo>
                    <a:pt x="66" y="126"/>
                  </a:lnTo>
                  <a:lnTo>
                    <a:pt x="67" y="126"/>
                  </a:lnTo>
                  <a:lnTo>
                    <a:pt x="67" y="127"/>
                  </a:lnTo>
                  <a:close/>
                  <a:moveTo>
                    <a:pt x="551" y="128"/>
                  </a:moveTo>
                  <a:lnTo>
                    <a:pt x="550" y="127"/>
                  </a:lnTo>
                  <a:lnTo>
                    <a:pt x="550" y="126"/>
                  </a:lnTo>
                  <a:lnTo>
                    <a:pt x="551" y="126"/>
                  </a:lnTo>
                  <a:lnTo>
                    <a:pt x="552" y="126"/>
                  </a:lnTo>
                  <a:lnTo>
                    <a:pt x="551" y="127"/>
                  </a:lnTo>
                  <a:lnTo>
                    <a:pt x="551" y="128"/>
                  </a:lnTo>
                  <a:close/>
                  <a:moveTo>
                    <a:pt x="435" y="133"/>
                  </a:moveTo>
                  <a:lnTo>
                    <a:pt x="433" y="132"/>
                  </a:lnTo>
                  <a:lnTo>
                    <a:pt x="433" y="131"/>
                  </a:lnTo>
                  <a:lnTo>
                    <a:pt x="433" y="129"/>
                  </a:lnTo>
                  <a:lnTo>
                    <a:pt x="432" y="129"/>
                  </a:lnTo>
                  <a:lnTo>
                    <a:pt x="432" y="128"/>
                  </a:lnTo>
                  <a:lnTo>
                    <a:pt x="432" y="127"/>
                  </a:lnTo>
                  <a:lnTo>
                    <a:pt x="432" y="126"/>
                  </a:lnTo>
                  <a:lnTo>
                    <a:pt x="432" y="125"/>
                  </a:lnTo>
                  <a:lnTo>
                    <a:pt x="433" y="125"/>
                  </a:lnTo>
                  <a:lnTo>
                    <a:pt x="433" y="126"/>
                  </a:lnTo>
                  <a:lnTo>
                    <a:pt x="435" y="126"/>
                  </a:lnTo>
                  <a:lnTo>
                    <a:pt x="433" y="127"/>
                  </a:lnTo>
                  <a:lnTo>
                    <a:pt x="433" y="128"/>
                  </a:lnTo>
                  <a:lnTo>
                    <a:pt x="435" y="131"/>
                  </a:lnTo>
                  <a:lnTo>
                    <a:pt x="435" y="132"/>
                  </a:lnTo>
                  <a:lnTo>
                    <a:pt x="435" y="133"/>
                  </a:lnTo>
                  <a:close/>
                  <a:moveTo>
                    <a:pt x="411" y="125"/>
                  </a:moveTo>
                  <a:lnTo>
                    <a:pt x="411" y="126"/>
                  </a:lnTo>
                  <a:lnTo>
                    <a:pt x="410" y="125"/>
                  </a:lnTo>
                  <a:lnTo>
                    <a:pt x="411" y="125"/>
                  </a:lnTo>
                  <a:close/>
                  <a:moveTo>
                    <a:pt x="402" y="125"/>
                  </a:moveTo>
                  <a:lnTo>
                    <a:pt x="401" y="125"/>
                  </a:lnTo>
                  <a:lnTo>
                    <a:pt x="401" y="124"/>
                  </a:lnTo>
                  <a:lnTo>
                    <a:pt x="402" y="124"/>
                  </a:lnTo>
                  <a:lnTo>
                    <a:pt x="402" y="125"/>
                  </a:lnTo>
                  <a:close/>
                  <a:moveTo>
                    <a:pt x="403" y="125"/>
                  </a:moveTo>
                  <a:lnTo>
                    <a:pt x="402" y="125"/>
                  </a:lnTo>
                  <a:lnTo>
                    <a:pt x="402" y="124"/>
                  </a:lnTo>
                  <a:lnTo>
                    <a:pt x="403" y="124"/>
                  </a:lnTo>
                  <a:lnTo>
                    <a:pt x="403" y="125"/>
                  </a:lnTo>
                  <a:close/>
                  <a:moveTo>
                    <a:pt x="404" y="125"/>
                  </a:moveTo>
                  <a:lnTo>
                    <a:pt x="404" y="126"/>
                  </a:lnTo>
                  <a:lnTo>
                    <a:pt x="403" y="125"/>
                  </a:lnTo>
                  <a:lnTo>
                    <a:pt x="403" y="124"/>
                  </a:lnTo>
                  <a:lnTo>
                    <a:pt x="404" y="125"/>
                  </a:lnTo>
                  <a:close/>
                  <a:moveTo>
                    <a:pt x="426" y="122"/>
                  </a:moveTo>
                  <a:lnTo>
                    <a:pt x="426" y="121"/>
                  </a:lnTo>
                  <a:lnTo>
                    <a:pt x="428" y="122"/>
                  </a:lnTo>
                  <a:lnTo>
                    <a:pt x="429" y="122"/>
                  </a:lnTo>
                  <a:lnTo>
                    <a:pt x="430" y="122"/>
                  </a:lnTo>
                  <a:lnTo>
                    <a:pt x="431" y="122"/>
                  </a:lnTo>
                  <a:lnTo>
                    <a:pt x="432" y="122"/>
                  </a:lnTo>
                  <a:lnTo>
                    <a:pt x="433" y="122"/>
                  </a:lnTo>
                  <a:lnTo>
                    <a:pt x="435" y="122"/>
                  </a:lnTo>
                  <a:lnTo>
                    <a:pt x="436" y="122"/>
                  </a:lnTo>
                  <a:lnTo>
                    <a:pt x="438" y="122"/>
                  </a:lnTo>
                  <a:lnTo>
                    <a:pt x="439" y="122"/>
                  </a:lnTo>
                  <a:lnTo>
                    <a:pt x="438" y="124"/>
                  </a:lnTo>
                  <a:lnTo>
                    <a:pt x="437" y="124"/>
                  </a:lnTo>
                  <a:lnTo>
                    <a:pt x="436" y="124"/>
                  </a:lnTo>
                  <a:lnTo>
                    <a:pt x="435" y="124"/>
                  </a:lnTo>
                  <a:lnTo>
                    <a:pt x="433" y="124"/>
                  </a:lnTo>
                  <a:lnTo>
                    <a:pt x="433" y="125"/>
                  </a:lnTo>
                  <a:lnTo>
                    <a:pt x="433" y="124"/>
                  </a:lnTo>
                  <a:lnTo>
                    <a:pt x="432" y="124"/>
                  </a:lnTo>
                  <a:lnTo>
                    <a:pt x="431" y="124"/>
                  </a:lnTo>
                  <a:lnTo>
                    <a:pt x="429" y="124"/>
                  </a:lnTo>
                  <a:lnTo>
                    <a:pt x="428" y="125"/>
                  </a:lnTo>
                  <a:lnTo>
                    <a:pt x="426" y="125"/>
                  </a:lnTo>
                  <a:lnTo>
                    <a:pt x="426" y="124"/>
                  </a:lnTo>
                  <a:lnTo>
                    <a:pt x="425" y="124"/>
                  </a:lnTo>
                  <a:lnTo>
                    <a:pt x="425" y="122"/>
                  </a:lnTo>
                  <a:lnTo>
                    <a:pt x="425" y="121"/>
                  </a:lnTo>
                  <a:lnTo>
                    <a:pt x="426" y="121"/>
                  </a:lnTo>
                  <a:lnTo>
                    <a:pt x="426" y="122"/>
                  </a:lnTo>
                  <a:close/>
                  <a:moveTo>
                    <a:pt x="394" y="124"/>
                  </a:moveTo>
                  <a:lnTo>
                    <a:pt x="393" y="124"/>
                  </a:lnTo>
                  <a:lnTo>
                    <a:pt x="394" y="122"/>
                  </a:lnTo>
                  <a:lnTo>
                    <a:pt x="394" y="121"/>
                  </a:lnTo>
                  <a:lnTo>
                    <a:pt x="395" y="122"/>
                  </a:lnTo>
                  <a:lnTo>
                    <a:pt x="394" y="122"/>
                  </a:lnTo>
                  <a:lnTo>
                    <a:pt x="394" y="124"/>
                  </a:lnTo>
                  <a:close/>
                  <a:moveTo>
                    <a:pt x="549" y="124"/>
                  </a:moveTo>
                  <a:lnTo>
                    <a:pt x="549" y="125"/>
                  </a:lnTo>
                  <a:lnTo>
                    <a:pt x="547" y="124"/>
                  </a:lnTo>
                  <a:lnTo>
                    <a:pt x="549" y="122"/>
                  </a:lnTo>
                  <a:lnTo>
                    <a:pt x="549" y="121"/>
                  </a:lnTo>
                  <a:lnTo>
                    <a:pt x="550" y="121"/>
                  </a:lnTo>
                  <a:lnTo>
                    <a:pt x="549" y="122"/>
                  </a:lnTo>
                  <a:lnTo>
                    <a:pt x="549" y="124"/>
                  </a:lnTo>
                  <a:close/>
                  <a:moveTo>
                    <a:pt x="194" y="121"/>
                  </a:moveTo>
                  <a:lnTo>
                    <a:pt x="192" y="121"/>
                  </a:lnTo>
                  <a:lnTo>
                    <a:pt x="192" y="120"/>
                  </a:lnTo>
                  <a:lnTo>
                    <a:pt x="194" y="120"/>
                  </a:lnTo>
                  <a:lnTo>
                    <a:pt x="194" y="121"/>
                  </a:lnTo>
                  <a:close/>
                  <a:moveTo>
                    <a:pt x="495" y="120"/>
                  </a:moveTo>
                  <a:lnTo>
                    <a:pt x="495" y="121"/>
                  </a:lnTo>
                  <a:lnTo>
                    <a:pt x="496" y="122"/>
                  </a:lnTo>
                  <a:lnTo>
                    <a:pt x="496" y="124"/>
                  </a:lnTo>
                  <a:lnTo>
                    <a:pt x="495" y="124"/>
                  </a:lnTo>
                  <a:lnTo>
                    <a:pt x="495" y="125"/>
                  </a:lnTo>
                  <a:lnTo>
                    <a:pt x="496" y="125"/>
                  </a:lnTo>
                  <a:lnTo>
                    <a:pt x="495" y="125"/>
                  </a:lnTo>
                  <a:lnTo>
                    <a:pt x="495" y="126"/>
                  </a:lnTo>
                  <a:lnTo>
                    <a:pt x="495" y="125"/>
                  </a:lnTo>
                  <a:lnTo>
                    <a:pt x="494" y="125"/>
                  </a:lnTo>
                  <a:lnTo>
                    <a:pt x="494" y="126"/>
                  </a:lnTo>
                  <a:lnTo>
                    <a:pt x="493" y="126"/>
                  </a:lnTo>
                  <a:lnTo>
                    <a:pt x="492" y="126"/>
                  </a:lnTo>
                  <a:lnTo>
                    <a:pt x="490" y="126"/>
                  </a:lnTo>
                  <a:lnTo>
                    <a:pt x="489" y="126"/>
                  </a:lnTo>
                  <a:lnTo>
                    <a:pt x="488" y="125"/>
                  </a:lnTo>
                  <a:lnTo>
                    <a:pt x="487" y="125"/>
                  </a:lnTo>
                  <a:lnTo>
                    <a:pt x="487" y="124"/>
                  </a:lnTo>
                  <a:lnTo>
                    <a:pt x="486" y="124"/>
                  </a:lnTo>
                  <a:lnTo>
                    <a:pt x="487" y="124"/>
                  </a:lnTo>
                  <a:lnTo>
                    <a:pt x="488" y="122"/>
                  </a:lnTo>
                  <a:lnTo>
                    <a:pt x="489" y="122"/>
                  </a:lnTo>
                  <a:lnTo>
                    <a:pt x="490" y="121"/>
                  </a:lnTo>
                  <a:lnTo>
                    <a:pt x="492" y="121"/>
                  </a:lnTo>
                  <a:lnTo>
                    <a:pt x="493" y="121"/>
                  </a:lnTo>
                  <a:lnTo>
                    <a:pt x="494" y="121"/>
                  </a:lnTo>
                  <a:lnTo>
                    <a:pt x="494" y="120"/>
                  </a:lnTo>
                  <a:lnTo>
                    <a:pt x="495" y="120"/>
                  </a:lnTo>
                  <a:close/>
                  <a:moveTo>
                    <a:pt x="397" y="121"/>
                  </a:moveTo>
                  <a:lnTo>
                    <a:pt x="396" y="122"/>
                  </a:lnTo>
                  <a:lnTo>
                    <a:pt x="396" y="121"/>
                  </a:lnTo>
                  <a:lnTo>
                    <a:pt x="397" y="120"/>
                  </a:lnTo>
                  <a:lnTo>
                    <a:pt x="397" y="121"/>
                  </a:lnTo>
                  <a:close/>
                  <a:moveTo>
                    <a:pt x="414" y="120"/>
                  </a:moveTo>
                  <a:lnTo>
                    <a:pt x="415" y="120"/>
                  </a:lnTo>
                  <a:lnTo>
                    <a:pt x="415" y="119"/>
                  </a:lnTo>
                  <a:lnTo>
                    <a:pt x="416" y="120"/>
                  </a:lnTo>
                  <a:lnTo>
                    <a:pt x="417" y="120"/>
                  </a:lnTo>
                  <a:lnTo>
                    <a:pt x="418" y="120"/>
                  </a:lnTo>
                  <a:lnTo>
                    <a:pt x="419" y="120"/>
                  </a:lnTo>
                  <a:lnTo>
                    <a:pt x="419" y="121"/>
                  </a:lnTo>
                  <a:lnTo>
                    <a:pt x="421" y="121"/>
                  </a:lnTo>
                  <a:lnTo>
                    <a:pt x="422" y="121"/>
                  </a:lnTo>
                  <a:lnTo>
                    <a:pt x="422" y="120"/>
                  </a:lnTo>
                  <a:lnTo>
                    <a:pt x="423" y="120"/>
                  </a:lnTo>
                  <a:lnTo>
                    <a:pt x="423" y="121"/>
                  </a:lnTo>
                  <a:lnTo>
                    <a:pt x="423" y="122"/>
                  </a:lnTo>
                  <a:lnTo>
                    <a:pt x="423" y="121"/>
                  </a:lnTo>
                  <a:lnTo>
                    <a:pt x="424" y="121"/>
                  </a:lnTo>
                  <a:lnTo>
                    <a:pt x="424" y="122"/>
                  </a:lnTo>
                  <a:lnTo>
                    <a:pt x="424" y="121"/>
                  </a:lnTo>
                  <a:lnTo>
                    <a:pt x="424" y="122"/>
                  </a:lnTo>
                  <a:lnTo>
                    <a:pt x="424" y="124"/>
                  </a:lnTo>
                  <a:lnTo>
                    <a:pt x="423" y="124"/>
                  </a:lnTo>
                  <a:lnTo>
                    <a:pt x="422" y="124"/>
                  </a:lnTo>
                  <a:lnTo>
                    <a:pt x="421" y="124"/>
                  </a:lnTo>
                  <a:lnTo>
                    <a:pt x="421" y="125"/>
                  </a:lnTo>
                  <a:lnTo>
                    <a:pt x="419" y="125"/>
                  </a:lnTo>
                  <a:lnTo>
                    <a:pt x="419" y="124"/>
                  </a:lnTo>
                  <a:lnTo>
                    <a:pt x="418" y="124"/>
                  </a:lnTo>
                  <a:lnTo>
                    <a:pt x="417" y="124"/>
                  </a:lnTo>
                  <a:lnTo>
                    <a:pt x="416" y="125"/>
                  </a:lnTo>
                  <a:lnTo>
                    <a:pt x="415" y="125"/>
                  </a:lnTo>
                  <a:lnTo>
                    <a:pt x="414" y="126"/>
                  </a:lnTo>
                  <a:lnTo>
                    <a:pt x="412" y="126"/>
                  </a:lnTo>
                  <a:lnTo>
                    <a:pt x="411" y="126"/>
                  </a:lnTo>
                  <a:lnTo>
                    <a:pt x="411" y="125"/>
                  </a:lnTo>
                  <a:lnTo>
                    <a:pt x="411" y="124"/>
                  </a:lnTo>
                  <a:lnTo>
                    <a:pt x="411" y="122"/>
                  </a:lnTo>
                  <a:lnTo>
                    <a:pt x="411" y="121"/>
                  </a:lnTo>
                  <a:lnTo>
                    <a:pt x="411" y="120"/>
                  </a:lnTo>
                  <a:lnTo>
                    <a:pt x="412" y="120"/>
                  </a:lnTo>
                  <a:lnTo>
                    <a:pt x="414" y="120"/>
                  </a:lnTo>
                  <a:lnTo>
                    <a:pt x="414" y="119"/>
                  </a:lnTo>
                  <a:lnTo>
                    <a:pt x="414" y="120"/>
                  </a:lnTo>
                  <a:close/>
                  <a:moveTo>
                    <a:pt x="566" y="119"/>
                  </a:moveTo>
                  <a:lnTo>
                    <a:pt x="568" y="119"/>
                  </a:lnTo>
                  <a:lnTo>
                    <a:pt x="571" y="119"/>
                  </a:lnTo>
                  <a:lnTo>
                    <a:pt x="572" y="120"/>
                  </a:lnTo>
                  <a:lnTo>
                    <a:pt x="573" y="119"/>
                  </a:lnTo>
                  <a:lnTo>
                    <a:pt x="574" y="120"/>
                  </a:lnTo>
                  <a:lnTo>
                    <a:pt x="575" y="120"/>
                  </a:lnTo>
                  <a:lnTo>
                    <a:pt x="576" y="120"/>
                  </a:lnTo>
                  <a:lnTo>
                    <a:pt x="578" y="120"/>
                  </a:lnTo>
                  <a:lnTo>
                    <a:pt x="578" y="121"/>
                  </a:lnTo>
                  <a:lnTo>
                    <a:pt x="579" y="121"/>
                  </a:lnTo>
                  <a:lnTo>
                    <a:pt x="580" y="121"/>
                  </a:lnTo>
                  <a:lnTo>
                    <a:pt x="582" y="121"/>
                  </a:lnTo>
                  <a:lnTo>
                    <a:pt x="583" y="121"/>
                  </a:lnTo>
                  <a:lnTo>
                    <a:pt x="585" y="121"/>
                  </a:lnTo>
                  <a:lnTo>
                    <a:pt x="586" y="121"/>
                  </a:lnTo>
                  <a:lnTo>
                    <a:pt x="586" y="122"/>
                  </a:lnTo>
                  <a:lnTo>
                    <a:pt x="585" y="122"/>
                  </a:lnTo>
                  <a:lnTo>
                    <a:pt x="583" y="122"/>
                  </a:lnTo>
                  <a:lnTo>
                    <a:pt x="583" y="124"/>
                  </a:lnTo>
                  <a:lnTo>
                    <a:pt x="582" y="124"/>
                  </a:lnTo>
                  <a:lnTo>
                    <a:pt x="581" y="124"/>
                  </a:lnTo>
                  <a:lnTo>
                    <a:pt x="580" y="124"/>
                  </a:lnTo>
                  <a:lnTo>
                    <a:pt x="579" y="124"/>
                  </a:lnTo>
                  <a:lnTo>
                    <a:pt x="578" y="124"/>
                  </a:lnTo>
                  <a:lnTo>
                    <a:pt x="576" y="124"/>
                  </a:lnTo>
                  <a:lnTo>
                    <a:pt x="575" y="122"/>
                  </a:lnTo>
                  <a:lnTo>
                    <a:pt x="574" y="122"/>
                  </a:lnTo>
                  <a:lnTo>
                    <a:pt x="573" y="122"/>
                  </a:lnTo>
                  <a:lnTo>
                    <a:pt x="572" y="121"/>
                  </a:lnTo>
                  <a:lnTo>
                    <a:pt x="571" y="121"/>
                  </a:lnTo>
                  <a:lnTo>
                    <a:pt x="570" y="121"/>
                  </a:lnTo>
                  <a:lnTo>
                    <a:pt x="570" y="120"/>
                  </a:lnTo>
                  <a:lnTo>
                    <a:pt x="570" y="121"/>
                  </a:lnTo>
                  <a:lnTo>
                    <a:pt x="570" y="120"/>
                  </a:lnTo>
                  <a:lnTo>
                    <a:pt x="568" y="120"/>
                  </a:lnTo>
                  <a:lnTo>
                    <a:pt x="567" y="120"/>
                  </a:lnTo>
                  <a:lnTo>
                    <a:pt x="566" y="120"/>
                  </a:lnTo>
                  <a:lnTo>
                    <a:pt x="566" y="119"/>
                  </a:lnTo>
                  <a:close/>
                  <a:moveTo>
                    <a:pt x="197" y="119"/>
                  </a:moveTo>
                  <a:lnTo>
                    <a:pt x="196" y="119"/>
                  </a:lnTo>
                  <a:lnTo>
                    <a:pt x="196" y="120"/>
                  </a:lnTo>
                  <a:lnTo>
                    <a:pt x="195" y="120"/>
                  </a:lnTo>
                  <a:lnTo>
                    <a:pt x="195" y="119"/>
                  </a:lnTo>
                  <a:lnTo>
                    <a:pt x="195" y="118"/>
                  </a:lnTo>
                  <a:lnTo>
                    <a:pt x="196" y="118"/>
                  </a:lnTo>
                  <a:lnTo>
                    <a:pt x="196" y="119"/>
                  </a:lnTo>
                  <a:lnTo>
                    <a:pt x="197" y="119"/>
                  </a:lnTo>
                  <a:close/>
                  <a:moveTo>
                    <a:pt x="154" y="118"/>
                  </a:moveTo>
                  <a:lnTo>
                    <a:pt x="155" y="118"/>
                  </a:lnTo>
                  <a:lnTo>
                    <a:pt x="155" y="119"/>
                  </a:lnTo>
                  <a:lnTo>
                    <a:pt x="156" y="119"/>
                  </a:lnTo>
                  <a:lnTo>
                    <a:pt x="155" y="119"/>
                  </a:lnTo>
                  <a:lnTo>
                    <a:pt x="155" y="120"/>
                  </a:lnTo>
                  <a:lnTo>
                    <a:pt x="156" y="120"/>
                  </a:lnTo>
                  <a:lnTo>
                    <a:pt x="156" y="121"/>
                  </a:lnTo>
                  <a:lnTo>
                    <a:pt x="156" y="122"/>
                  </a:lnTo>
                  <a:lnTo>
                    <a:pt x="158" y="122"/>
                  </a:lnTo>
                  <a:lnTo>
                    <a:pt x="156" y="122"/>
                  </a:lnTo>
                  <a:lnTo>
                    <a:pt x="158" y="124"/>
                  </a:lnTo>
                  <a:lnTo>
                    <a:pt x="158" y="125"/>
                  </a:lnTo>
                  <a:lnTo>
                    <a:pt x="158" y="126"/>
                  </a:lnTo>
                  <a:lnTo>
                    <a:pt x="158" y="128"/>
                  </a:lnTo>
                  <a:lnTo>
                    <a:pt x="159" y="131"/>
                  </a:lnTo>
                  <a:lnTo>
                    <a:pt x="159" y="132"/>
                  </a:lnTo>
                  <a:lnTo>
                    <a:pt x="160" y="132"/>
                  </a:lnTo>
                  <a:lnTo>
                    <a:pt x="160" y="133"/>
                  </a:lnTo>
                  <a:lnTo>
                    <a:pt x="161" y="133"/>
                  </a:lnTo>
                  <a:lnTo>
                    <a:pt x="162" y="133"/>
                  </a:lnTo>
                  <a:lnTo>
                    <a:pt x="165" y="134"/>
                  </a:lnTo>
                  <a:lnTo>
                    <a:pt x="166" y="134"/>
                  </a:lnTo>
                  <a:lnTo>
                    <a:pt x="167" y="134"/>
                  </a:lnTo>
                  <a:lnTo>
                    <a:pt x="166" y="134"/>
                  </a:lnTo>
                  <a:lnTo>
                    <a:pt x="166" y="135"/>
                  </a:lnTo>
                  <a:lnTo>
                    <a:pt x="165" y="135"/>
                  </a:lnTo>
                  <a:lnTo>
                    <a:pt x="165" y="136"/>
                  </a:lnTo>
                  <a:lnTo>
                    <a:pt x="163" y="139"/>
                  </a:lnTo>
                  <a:lnTo>
                    <a:pt x="163" y="140"/>
                  </a:lnTo>
                  <a:lnTo>
                    <a:pt x="163" y="141"/>
                  </a:lnTo>
                  <a:lnTo>
                    <a:pt x="165" y="141"/>
                  </a:lnTo>
                  <a:lnTo>
                    <a:pt x="165" y="142"/>
                  </a:lnTo>
                  <a:lnTo>
                    <a:pt x="166" y="142"/>
                  </a:lnTo>
                  <a:lnTo>
                    <a:pt x="165" y="142"/>
                  </a:lnTo>
                  <a:lnTo>
                    <a:pt x="163" y="142"/>
                  </a:lnTo>
                  <a:lnTo>
                    <a:pt x="162" y="142"/>
                  </a:lnTo>
                  <a:lnTo>
                    <a:pt x="161" y="141"/>
                  </a:lnTo>
                  <a:lnTo>
                    <a:pt x="160" y="141"/>
                  </a:lnTo>
                  <a:lnTo>
                    <a:pt x="159" y="140"/>
                  </a:lnTo>
                  <a:lnTo>
                    <a:pt x="156" y="139"/>
                  </a:lnTo>
                  <a:lnTo>
                    <a:pt x="155" y="139"/>
                  </a:lnTo>
                  <a:lnTo>
                    <a:pt x="154" y="139"/>
                  </a:lnTo>
                  <a:lnTo>
                    <a:pt x="154" y="136"/>
                  </a:lnTo>
                  <a:lnTo>
                    <a:pt x="154" y="135"/>
                  </a:lnTo>
                  <a:lnTo>
                    <a:pt x="154" y="134"/>
                  </a:lnTo>
                  <a:lnTo>
                    <a:pt x="154" y="133"/>
                  </a:lnTo>
                  <a:lnTo>
                    <a:pt x="154" y="132"/>
                  </a:lnTo>
                  <a:lnTo>
                    <a:pt x="153" y="132"/>
                  </a:lnTo>
                  <a:lnTo>
                    <a:pt x="153" y="131"/>
                  </a:lnTo>
                  <a:lnTo>
                    <a:pt x="153" y="129"/>
                  </a:lnTo>
                  <a:lnTo>
                    <a:pt x="152" y="129"/>
                  </a:lnTo>
                  <a:lnTo>
                    <a:pt x="152" y="128"/>
                  </a:lnTo>
                  <a:lnTo>
                    <a:pt x="152" y="127"/>
                  </a:lnTo>
                  <a:lnTo>
                    <a:pt x="151" y="127"/>
                  </a:lnTo>
                  <a:lnTo>
                    <a:pt x="149" y="127"/>
                  </a:lnTo>
                  <a:lnTo>
                    <a:pt x="149" y="126"/>
                  </a:lnTo>
                  <a:lnTo>
                    <a:pt x="148" y="127"/>
                  </a:lnTo>
                  <a:lnTo>
                    <a:pt x="147" y="127"/>
                  </a:lnTo>
                  <a:lnTo>
                    <a:pt x="146" y="127"/>
                  </a:lnTo>
                  <a:lnTo>
                    <a:pt x="145" y="127"/>
                  </a:lnTo>
                  <a:lnTo>
                    <a:pt x="145" y="126"/>
                  </a:lnTo>
                  <a:lnTo>
                    <a:pt x="144" y="126"/>
                  </a:lnTo>
                  <a:lnTo>
                    <a:pt x="144" y="127"/>
                  </a:lnTo>
                  <a:lnTo>
                    <a:pt x="142" y="126"/>
                  </a:lnTo>
                  <a:lnTo>
                    <a:pt x="144" y="125"/>
                  </a:lnTo>
                  <a:lnTo>
                    <a:pt x="144" y="124"/>
                  </a:lnTo>
                  <a:lnTo>
                    <a:pt x="146" y="124"/>
                  </a:lnTo>
                  <a:lnTo>
                    <a:pt x="146" y="122"/>
                  </a:lnTo>
                  <a:lnTo>
                    <a:pt x="147" y="122"/>
                  </a:lnTo>
                  <a:lnTo>
                    <a:pt x="147" y="121"/>
                  </a:lnTo>
                  <a:lnTo>
                    <a:pt x="146" y="121"/>
                  </a:lnTo>
                  <a:lnTo>
                    <a:pt x="146" y="120"/>
                  </a:lnTo>
                  <a:lnTo>
                    <a:pt x="147" y="120"/>
                  </a:lnTo>
                  <a:lnTo>
                    <a:pt x="147" y="119"/>
                  </a:lnTo>
                  <a:lnTo>
                    <a:pt x="148" y="119"/>
                  </a:lnTo>
                  <a:lnTo>
                    <a:pt x="148" y="118"/>
                  </a:lnTo>
                  <a:lnTo>
                    <a:pt x="149" y="118"/>
                  </a:lnTo>
                  <a:lnTo>
                    <a:pt x="149" y="119"/>
                  </a:lnTo>
                  <a:lnTo>
                    <a:pt x="151" y="119"/>
                  </a:lnTo>
                  <a:lnTo>
                    <a:pt x="151" y="120"/>
                  </a:lnTo>
                  <a:lnTo>
                    <a:pt x="151" y="121"/>
                  </a:lnTo>
                  <a:lnTo>
                    <a:pt x="152" y="121"/>
                  </a:lnTo>
                  <a:lnTo>
                    <a:pt x="152" y="122"/>
                  </a:lnTo>
                  <a:lnTo>
                    <a:pt x="153" y="122"/>
                  </a:lnTo>
                  <a:lnTo>
                    <a:pt x="153" y="121"/>
                  </a:lnTo>
                  <a:lnTo>
                    <a:pt x="152" y="121"/>
                  </a:lnTo>
                  <a:lnTo>
                    <a:pt x="152" y="120"/>
                  </a:lnTo>
                  <a:lnTo>
                    <a:pt x="152" y="119"/>
                  </a:lnTo>
                  <a:lnTo>
                    <a:pt x="152" y="118"/>
                  </a:lnTo>
                  <a:lnTo>
                    <a:pt x="151" y="118"/>
                  </a:lnTo>
                  <a:lnTo>
                    <a:pt x="152" y="118"/>
                  </a:lnTo>
                  <a:lnTo>
                    <a:pt x="153" y="118"/>
                  </a:lnTo>
                  <a:lnTo>
                    <a:pt x="154" y="118"/>
                  </a:lnTo>
                  <a:close/>
                  <a:moveTo>
                    <a:pt x="401" y="119"/>
                  </a:moveTo>
                  <a:lnTo>
                    <a:pt x="401" y="120"/>
                  </a:lnTo>
                  <a:lnTo>
                    <a:pt x="401" y="121"/>
                  </a:lnTo>
                  <a:lnTo>
                    <a:pt x="400" y="121"/>
                  </a:lnTo>
                  <a:lnTo>
                    <a:pt x="400" y="120"/>
                  </a:lnTo>
                  <a:lnTo>
                    <a:pt x="400" y="121"/>
                  </a:lnTo>
                  <a:lnTo>
                    <a:pt x="400" y="120"/>
                  </a:lnTo>
                  <a:lnTo>
                    <a:pt x="398" y="120"/>
                  </a:lnTo>
                  <a:lnTo>
                    <a:pt x="398" y="119"/>
                  </a:lnTo>
                  <a:lnTo>
                    <a:pt x="400" y="119"/>
                  </a:lnTo>
                  <a:lnTo>
                    <a:pt x="398" y="119"/>
                  </a:lnTo>
                  <a:lnTo>
                    <a:pt x="398" y="118"/>
                  </a:lnTo>
                  <a:lnTo>
                    <a:pt x="400" y="118"/>
                  </a:lnTo>
                  <a:lnTo>
                    <a:pt x="400" y="117"/>
                  </a:lnTo>
                  <a:lnTo>
                    <a:pt x="400" y="118"/>
                  </a:lnTo>
                  <a:lnTo>
                    <a:pt x="400" y="119"/>
                  </a:lnTo>
                  <a:lnTo>
                    <a:pt x="401" y="119"/>
                  </a:lnTo>
                  <a:close/>
                  <a:moveTo>
                    <a:pt x="561" y="117"/>
                  </a:moveTo>
                  <a:lnTo>
                    <a:pt x="563" y="117"/>
                  </a:lnTo>
                  <a:lnTo>
                    <a:pt x="563" y="118"/>
                  </a:lnTo>
                  <a:lnTo>
                    <a:pt x="564" y="117"/>
                  </a:lnTo>
                  <a:lnTo>
                    <a:pt x="564" y="118"/>
                  </a:lnTo>
                  <a:lnTo>
                    <a:pt x="565" y="117"/>
                  </a:lnTo>
                  <a:lnTo>
                    <a:pt x="564" y="118"/>
                  </a:lnTo>
                  <a:lnTo>
                    <a:pt x="563" y="118"/>
                  </a:lnTo>
                  <a:lnTo>
                    <a:pt x="561" y="118"/>
                  </a:lnTo>
                  <a:lnTo>
                    <a:pt x="561" y="117"/>
                  </a:lnTo>
                  <a:close/>
                  <a:moveTo>
                    <a:pt x="453" y="115"/>
                  </a:moveTo>
                  <a:lnTo>
                    <a:pt x="453" y="117"/>
                  </a:lnTo>
                  <a:lnTo>
                    <a:pt x="452" y="117"/>
                  </a:lnTo>
                  <a:lnTo>
                    <a:pt x="452" y="115"/>
                  </a:lnTo>
                  <a:lnTo>
                    <a:pt x="453" y="115"/>
                  </a:lnTo>
                  <a:close/>
                  <a:moveTo>
                    <a:pt x="460" y="117"/>
                  </a:moveTo>
                  <a:lnTo>
                    <a:pt x="461" y="117"/>
                  </a:lnTo>
                  <a:lnTo>
                    <a:pt x="462" y="118"/>
                  </a:lnTo>
                  <a:lnTo>
                    <a:pt x="464" y="118"/>
                  </a:lnTo>
                  <a:lnTo>
                    <a:pt x="464" y="119"/>
                  </a:lnTo>
                  <a:lnTo>
                    <a:pt x="465" y="120"/>
                  </a:lnTo>
                  <a:lnTo>
                    <a:pt x="464" y="120"/>
                  </a:lnTo>
                  <a:lnTo>
                    <a:pt x="464" y="121"/>
                  </a:lnTo>
                  <a:lnTo>
                    <a:pt x="462" y="121"/>
                  </a:lnTo>
                  <a:lnTo>
                    <a:pt x="461" y="120"/>
                  </a:lnTo>
                  <a:lnTo>
                    <a:pt x="460" y="120"/>
                  </a:lnTo>
                  <a:lnTo>
                    <a:pt x="458" y="120"/>
                  </a:lnTo>
                  <a:lnTo>
                    <a:pt x="458" y="121"/>
                  </a:lnTo>
                  <a:lnTo>
                    <a:pt x="457" y="121"/>
                  </a:lnTo>
                  <a:lnTo>
                    <a:pt x="455" y="121"/>
                  </a:lnTo>
                  <a:lnTo>
                    <a:pt x="454" y="120"/>
                  </a:lnTo>
                  <a:lnTo>
                    <a:pt x="453" y="120"/>
                  </a:lnTo>
                  <a:lnTo>
                    <a:pt x="453" y="119"/>
                  </a:lnTo>
                  <a:lnTo>
                    <a:pt x="453" y="118"/>
                  </a:lnTo>
                  <a:lnTo>
                    <a:pt x="454" y="118"/>
                  </a:lnTo>
                  <a:lnTo>
                    <a:pt x="454" y="117"/>
                  </a:lnTo>
                  <a:lnTo>
                    <a:pt x="455" y="117"/>
                  </a:lnTo>
                  <a:lnTo>
                    <a:pt x="455" y="115"/>
                  </a:lnTo>
                  <a:lnTo>
                    <a:pt x="457" y="114"/>
                  </a:lnTo>
                  <a:lnTo>
                    <a:pt x="458" y="115"/>
                  </a:lnTo>
                  <a:lnTo>
                    <a:pt x="459" y="115"/>
                  </a:lnTo>
                  <a:lnTo>
                    <a:pt x="459" y="117"/>
                  </a:lnTo>
                  <a:lnTo>
                    <a:pt x="460" y="117"/>
                  </a:lnTo>
                  <a:close/>
                  <a:moveTo>
                    <a:pt x="199" y="114"/>
                  </a:moveTo>
                  <a:lnTo>
                    <a:pt x="198" y="114"/>
                  </a:lnTo>
                  <a:lnTo>
                    <a:pt x="199" y="114"/>
                  </a:lnTo>
                  <a:lnTo>
                    <a:pt x="199" y="113"/>
                  </a:lnTo>
                  <a:lnTo>
                    <a:pt x="199" y="114"/>
                  </a:lnTo>
                  <a:close/>
                  <a:moveTo>
                    <a:pt x="458" y="113"/>
                  </a:moveTo>
                  <a:lnTo>
                    <a:pt x="458" y="114"/>
                  </a:lnTo>
                  <a:lnTo>
                    <a:pt x="457" y="113"/>
                  </a:lnTo>
                  <a:lnTo>
                    <a:pt x="455" y="113"/>
                  </a:lnTo>
                  <a:lnTo>
                    <a:pt x="454" y="113"/>
                  </a:lnTo>
                  <a:lnTo>
                    <a:pt x="455" y="112"/>
                  </a:lnTo>
                  <a:lnTo>
                    <a:pt x="457" y="113"/>
                  </a:lnTo>
                  <a:lnTo>
                    <a:pt x="458" y="113"/>
                  </a:lnTo>
                  <a:close/>
                  <a:moveTo>
                    <a:pt x="201" y="113"/>
                  </a:moveTo>
                  <a:lnTo>
                    <a:pt x="201" y="112"/>
                  </a:lnTo>
                  <a:lnTo>
                    <a:pt x="201" y="113"/>
                  </a:lnTo>
                  <a:close/>
                  <a:moveTo>
                    <a:pt x="395" y="112"/>
                  </a:moveTo>
                  <a:lnTo>
                    <a:pt x="396" y="113"/>
                  </a:lnTo>
                  <a:lnTo>
                    <a:pt x="395" y="113"/>
                  </a:lnTo>
                  <a:lnTo>
                    <a:pt x="395" y="114"/>
                  </a:lnTo>
                  <a:lnTo>
                    <a:pt x="396" y="114"/>
                  </a:lnTo>
                  <a:lnTo>
                    <a:pt x="396" y="115"/>
                  </a:lnTo>
                  <a:lnTo>
                    <a:pt x="396" y="114"/>
                  </a:lnTo>
                  <a:lnTo>
                    <a:pt x="397" y="114"/>
                  </a:lnTo>
                  <a:lnTo>
                    <a:pt x="397" y="113"/>
                  </a:lnTo>
                  <a:lnTo>
                    <a:pt x="398" y="113"/>
                  </a:lnTo>
                  <a:lnTo>
                    <a:pt x="400" y="113"/>
                  </a:lnTo>
                  <a:lnTo>
                    <a:pt x="400" y="114"/>
                  </a:lnTo>
                  <a:lnTo>
                    <a:pt x="400" y="115"/>
                  </a:lnTo>
                  <a:lnTo>
                    <a:pt x="400" y="117"/>
                  </a:lnTo>
                  <a:lnTo>
                    <a:pt x="398" y="118"/>
                  </a:lnTo>
                  <a:lnTo>
                    <a:pt x="397" y="118"/>
                  </a:lnTo>
                  <a:lnTo>
                    <a:pt x="397" y="117"/>
                  </a:lnTo>
                  <a:lnTo>
                    <a:pt x="396" y="117"/>
                  </a:lnTo>
                  <a:lnTo>
                    <a:pt x="396" y="118"/>
                  </a:lnTo>
                  <a:lnTo>
                    <a:pt x="396" y="119"/>
                  </a:lnTo>
                  <a:lnTo>
                    <a:pt x="396" y="120"/>
                  </a:lnTo>
                  <a:lnTo>
                    <a:pt x="396" y="119"/>
                  </a:lnTo>
                  <a:lnTo>
                    <a:pt x="395" y="119"/>
                  </a:lnTo>
                  <a:lnTo>
                    <a:pt x="394" y="119"/>
                  </a:lnTo>
                  <a:lnTo>
                    <a:pt x="394" y="118"/>
                  </a:lnTo>
                  <a:lnTo>
                    <a:pt x="395" y="118"/>
                  </a:lnTo>
                  <a:lnTo>
                    <a:pt x="395" y="115"/>
                  </a:lnTo>
                  <a:lnTo>
                    <a:pt x="395" y="114"/>
                  </a:lnTo>
                  <a:lnTo>
                    <a:pt x="394" y="114"/>
                  </a:lnTo>
                  <a:lnTo>
                    <a:pt x="394" y="115"/>
                  </a:lnTo>
                  <a:lnTo>
                    <a:pt x="393" y="115"/>
                  </a:lnTo>
                  <a:lnTo>
                    <a:pt x="393" y="117"/>
                  </a:lnTo>
                  <a:lnTo>
                    <a:pt x="393" y="118"/>
                  </a:lnTo>
                  <a:lnTo>
                    <a:pt x="391" y="119"/>
                  </a:lnTo>
                  <a:lnTo>
                    <a:pt x="390" y="119"/>
                  </a:lnTo>
                  <a:lnTo>
                    <a:pt x="390" y="117"/>
                  </a:lnTo>
                  <a:lnTo>
                    <a:pt x="389" y="115"/>
                  </a:lnTo>
                  <a:lnTo>
                    <a:pt x="390" y="115"/>
                  </a:lnTo>
                  <a:lnTo>
                    <a:pt x="390" y="114"/>
                  </a:lnTo>
                  <a:lnTo>
                    <a:pt x="391" y="112"/>
                  </a:lnTo>
                  <a:lnTo>
                    <a:pt x="393" y="113"/>
                  </a:lnTo>
                  <a:lnTo>
                    <a:pt x="393" y="112"/>
                  </a:lnTo>
                  <a:lnTo>
                    <a:pt x="394" y="112"/>
                  </a:lnTo>
                  <a:lnTo>
                    <a:pt x="395" y="112"/>
                  </a:lnTo>
                  <a:close/>
                  <a:moveTo>
                    <a:pt x="489" y="112"/>
                  </a:moveTo>
                  <a:lnTo>
                    <a:pt x="489" y="113"/>
                  </a:lnTo>
                  <a:lnTo>
                    <a:pt x="489" y="112"/>
                  </a:lnTo>
                  <a:lnTo>
                    <a:pt x="488" y="113"/>
                  </a:lnTo>
                  <a:lnTo>
                    <a:pt x="487" y="113"/>
                  </a:lnTo>
                  <a:lnTo>
                    <a:pt x="487" y="112"/>
                  </a:lnTo>
                  <a:lnTo>
                    <a:pt x="488" y="112"/>
                  </a:lnTo>
                  <a:lnTo>
                    <a:pt x="489" y="112"/>
                  </a:lnTo>
                  <a:close/>
                  <a:moveTo>
                    <a:pt x="205" y="110"/>
                  </a:moveTo>
                  <a:lnTo>
                    <a:pt x="206" y="110"/>
                  </a:lnTo>
                  <a:lnTo>
                    <a:pt x="208" y="110"/>
                  </a:lnTo>
                  <a:lnTo>
                    <a:pt x="208" y="111"/>
                  </a:lnTo>
                  <a:lnTo>
                    <a:pt x="208" y="112"/>
                  </a:lnTo>
                  <a:lnTo>
                    <a:pt x="206" y="113"/>
                  </a:lnTo>
                  <a:lnTo>
                    <a:pt x="205" y="113"/>
                  </a:lnTo>
                  <a:lnTo>
                    <a:pt x="204" y="113"/>
                  </a:lnTo>
                  <a:lnTo>
                    <a:pt x="204" y="114"/>
                  </a:lnTo>
                  <a:lnTo>
                    <a:pt x="203" y="114"/>
                  </a:lnTo>
                  <a:lnTo>
                    <a:pt x="203" y="113"/>
                  </a:lnTo>
                  <a:lnTo>
                    <a:pt x="203" y="112"/>
                  </a:lnTo>
                  <a:lnTo>
                    <a:pt x="204" y="110"/>
                  </a:lnTo>
                  <a:lnTo>
                    <a:pt x="205" y="110"/>
                  </a:lnTo>
                  <a:close/>
                  <a:moveTo>
                    <a:pt x="468" y="110"/>
                  </a:moveTo>
                  <a:lnTo>
                    <a:pt x="467" y="110"/>
                  </a:lnTo>
                  <a:lnTo>
                    <a:pt x="466" y="108"/>
                  </a:lnTo>
                  <a:lnTo>
                    <a:pt x="467" y="108"/>
                  </a:lnTo>
                  <a:lnTo>
                    <a:pt x="467" y="110"/>
                  </a:lnTo>
                  <a:lnTo>
                    <a:pt x="468" y="110"/>
                  </a:lnTo>
                  <a:close/>
                  <a:moveTo>
                    <a:pt x="559" y="111"/>
                  </a:moveTo>
                  <a:lnTo>
                    <a:pt x="559" y="110"/>
                  </a:lnTo>
                  <a:lnTo>
                    <a:pt x="560" y="110"/>
                  </a:lnTo>
                  <a:lnTo>
                    <a:pt x="560" y="111"/>
                  </a:lnTo>
                  <a:lnTo>
                    <a:pt x="559" y="112"/>
                  </a:lnTo>
                  <a:lnTo>
                    <a:pt x="558" y="112"/>
                  </a:lnTo>
                  <a:lnTo>
                    <a:pt x="558" y="111"/>
                  </a:lnTo>
                  <a:lnTo>
                    <a:pt x="557" y="111"/>
                  </a:lnTo>
                  <a:lnTo>
                    <a:pt x="557" y="110"/>
                  </a:lnTo>
                  <a:lnTo>
                    <a:pt x="558" y="110"/>
                  </a:lnTo>
                  <a:lnTo>
                    <a:pt x="558" y="108"/>
                  </a:lnTo>
                  <a:lnTo>
                    <a:pt x="559" y="108"/>
                  </a:lnTo>
                  <a:lnTo>
                    <a:pt x="559" y="110"/>
                  </a:lnTo>
                  <a:lnTo>
                    <a:pt x="559" y="111"/>
                  </a:lnTo>
                  <a:close/>
                  <a:moveTo>
                    <a:pt x="56" y="108"/>
                  </a:moveTo>
                  <a:lnTo>
                    <a:pt x="57" y="108"/>
                  </a:lnTo>
                  <a:lnTo>
                    <a:pt x="57" y="110"/>
                  </a:lnTo>
                  <a:lnTo>
                    <a:pt x="56" y="110"/>
                  </a:lnTo>
                  <a:lnTo>
                    <a:pt x="56" y="111"/>
                  </a:lnTo>
                  <a:lnTo>
                    <a:pt x="57" y="111"/>
                  </a:lnTo>
                  <a:lnTo>
                    <a:pt x="57" y="112"/>
                  </a:lnTo>
                  <a:lnTo>
                    <a:pt x="59" y="112"/>
                  </a:lnTo>
                  <a:lnTo>
                    <a:pt x="59" y="113"/>
                  </a:lnTo>
                  <a:lnTo>
                    <a:pt x="59" y="114"/>
                  </a:lnTo>
                  <a:lnTo>
                    <a:pt x="60" y="115"/>
                  </a:lnTo>
                  <a:lnTo>
                    <a:pt x="60" y="117"/>
                  </a:lnTo>
                  <a:lnTo>
                    <a:pt x="60" y="118"/>
                  </a:lnTo>
                  <a:lnTo>
                    <a:pt x="61" y="118"/>
                  </a:lnTo>
                  <a:lnTo>
                    <a:pt x="61" y="119"/>
                  </a:lnTo>
                  <a:lnTo>
                    <a:pt x="61" y="120"/>
                  </a:lnTo>
                  <a:lnTo>
                    <a:pt x="62" y="120"/>
                  </a:lnTo>
                  <a:lnTo>
                    <a:pt x="62" y="121"/>
                  </a:lnTo>
                  <a:lnTo>
                    <a:pt x="61" y="121"/>
                  </a:lnTo>
                  <a:lnTo>
                    <a:pt x="61" y="120"/>
                  </a:lnTo>
                  <a:lnTo>
                    <a:pt x="61" y="119"/>
                  </a:lnTo>
                  <a:lnTo>
                    <a:pt x="61" y="120"/>
                  </a:lnTo>
                  <a:lnTo>
                    <a:pt x="61" y="121"/>
                  </a:lnTo>
                  <a:lnTo>
                    <a:pt x="60" y="121"/>
                  </a:lnTo>
                  <a:lnTo>
                    <a:pt x="60" y="122"/>
                  </a:lnTo>
                  <a:lnTo>
                    <a:pt x="59" y="122"/>
                  </a:lnTo>
                  <a:lnTo>
                    <a:pt x="57" y="121"/>
                  </a:lnTo>
                  <a:lnTo>
                    <a:pt x="56" y="120"/>
                  </a:lnTo>
                  <a:lnTo>
                    <a:pt x="55" y="119"/>
                  </a:lnTo>
                  <a:lnTo>
                    <a:pt x="55" y="118"/>
                  </a:lnTo>
                  <a:lnTo>
                    <a:pt x="53" y="114"/>
                  </a:lnTo>
                  <a:lnTo>
                    <a:pt x="53" y="113"/>
                  </a:lnTo>
                  <a:lnTo>
                    <a:pt x="52" y="113"/>
                  </a:lnTo>
                  <a:lnTo>
                    <a:pt x="52" y="112"/>
                  </a:lnTo>
                  <a:lnTo>
                    <a:pt x="53" y="112"/>
                  </a:lnTo>
                  <a:lnTo>
                    <a:pt x="53" y="111"/>
                  </a:lnTo>
                  <a:lnTo>
                    <a:pt x="53" y="110"/>
                  </a:lnTo>
                  <a:lnTo>
                    <a:pt x="53" y="108"/>
                  </a:lnTo>
                  <a:lnTo>
                    <a:pt x="54" y="108"/>
                  </a:lnTo>
                  <a:lnTo>
                    <a:pt x="55" y="108"/>
                  </a:lnTo>
                  <a:lnTo>
                    <a:pt x="56" y="108"/>
                  </a:lnTo>
                  <a:close/>
                  <a:moveTo>
                    <a:pt x="503" y="108"/>
                  </a:moveTo>
                  <a:lnTo>
                    <a:pt x="504" y="108"/>
                  </a:lnTo>
                  <a:lnTo>
                    <a:pt x="506" y="108"/>
                  </a:lnTo>
                  <a:lnTo>
                    <a:pt x="506" y="110"/>
                  </a:lnTo>
                  <a:lnTo>
                    <a:pt x="504" y="110"/>
                  </a:lnTo>
                  <a:lnTo>
                    <a:pt x="506" y="110"/>
                  </a:lnTo>
                  <a:lnTo>
                    <a:pt x="506" y="111"/>
                  </a:lnTo>
                  <a:lnTo>
                    <a:pt x="504" y="113"/>
                  </a:lnTo>
                  <a:lnTo>
                    <a:pt x="504" y="114"/>
                  </a:lnTo>
                  <a:lnTo>
                    <a:pt x="503" y="115"/>
                  </a:lnTo>
                  <a:lnTo>
                    <a:pt x="503" y="114"/>
                  </a:lnTo>
                  <a:lnTo>
                    <a:pt x="502" y="114"/>
                  </a:lnTo>
                  <a:lnTo>
                    <a:pt x="502" y="115"/>
                  </a:lnTo>
                  <a:lnTo>
                    <a:pt x="502" y="114"/>
                  </a:lnTo>
                  <a:lnTo>
                    <a:pt x="501" y="114"/>
                  </a:lnTo>
                  <a:lnTo>
                    <a:pt x="501" y="113"/>
                  </a:lnTo>
                  <a:lnTo>
                    <a:pt x="501" y="112"/>
                  </a:lnTo>
                  <a:lnTo>
                    <a:pt x="500" y="112"/>
                  </a:lnTo>
                  <a:lnTo>
                    <a:pt x="500" y="111"/>
                  </a:lnTo>
                  <a:lnTo>
                    <a:pt x="500" y="110"/>
                  </a:lnTo>
                  <a:lnTo>
                    <a:pt x="500" y="108"/>
                  </a:lnTo>
                  <a:lnTo>
                    <a:pt x="501" y="108"/>
                  </a:lnTo>
                  <a:lnTo>
                    <a:pt x="502" y="108"/>
                  </a:lnTo>
                  <a:lnTo>
                    <a:pt x="502" y="107"/>
                  </a:lnTo>
                  <a:lnTo>
                    <a:pt x="503" y="107"/>
                  </a:lnTo>
                  <a:lnTo>
                    <a:pt x="503" y="108"/>
                  </a:lnTo>
                  <a:close/>
                  <a:moveTo>
                    <a:pt x="502" y="106"/>
                  </a:moveTo>
                  <a:lnTo>
                    <a:pt x="503" y="106"/>
                  </a:lnTo>
                  <a:lnTo>
                    <a:pt x="502" y="106"/>
                  </a:lnTo>
                  <a:lnTo>
                    <a:pt x="503" y="107"/>
                  </a:lnTo>
                  <a:lnTo>
                    <a:pt x="502" y="107"/>
                  </a:lnTo>
                  <a:lnTo>
                    <a:pt x="501" y="107"/>
                  </a:lnTo>
                  <a:lnTo>
                    <a:pt x="499" y="108"/>
                  </a:lnTo>
                  <a:lnTo>
                    <a:pt x="497" y="108"/>
                  </a:lnTo>
                  <a:lnTo>
                    <a:pt x="496" y="108"/>
                  </a:lnTo>
                  <a:lnTo>
                    <a:pt x="496" y="107"/>
                  </a:lnTo>
                  <a:lnTo>
                    <a:pt x="496" y="106"/>
                  </a:lnTo>
                  <a:lnTo>
                    <a:pt x="497" y="106"/>
                  </a:lnTo>
                  <a:lnTo>
                    <a:pt x="497" y="107"/>
                  </a:lnTo>
                  <a:lnTo>
                    <a:pt x="499" y="106"/>
                  </a:lnTo>
                  <a:lnTo>
                    <a:pt x="499" y="107"/>
                  </a:lnTo>
                  <a:lnTo>
                    <a:pt x="499" y="106"/>
                  </a:lnTo>
                  <a:lnTo>
                    <a:pt x="500" y="106"/>
                  </a:lnTo>
                  <a:lnTo>
                    <a:pt x="499" y="106"/>
                  </a:lnTo>
                  <a:lnTo>
                    <a:pt x="500" y="107"/>
                  </a:lnTo>
                  <a:lnTo>
                    <a:pt x="500" y="106"/>
                  </a:lnTo>
                  <a:lnTo>
                    <a:pt x="500" y="107"/>
                  </a:lnTo>
                  <a:lnTo>
                    <a:pt x="501" y="107"/>
                  </a:lnTo>
                  <a:lnTo>
                    <a:pt x="501" y="106"/>
                  </a:lnTo>
                  <a:lnTo>
                    <a:pt x="502" y="106"/>
                  </a:lnTo>
                  <a:lnTo>
                    <a:pt x="501" y="106"/>
                  </a:lnTo>
                  <a:lnTo>
                    <a:pt x="502" y="106"/>
                  </a:lnTo>
                  <a:close/>
                  <a:moveTo>
                    <a:pt x="566" y="104"/>
                  </a:moveTo>
                  <a:lnTo>
                    <a:pt x="567" y="104"/>
                  </a:lnTo>
                  <a:lnTo>
                    <a:pt x="567" y="105"/>
                  </a:lnTo>
                  <a:lnTo>
                    <a:pt x="568" y="104"/>
                  </a:lnTo>
                  <a:lnTo>
                    <a:pt x="568" y="105"/>
                  </a:lnTo>
                  <a:lnTo>
                    <a:pt x="570" y="105"/>
                  </a:lnTo>
                  <a:lnTo>
                    <a:pt x="571" y="105"/>
                  </a:lnTo>
                  <a:lnTo>
                    <a:pt x="571" y="106"/>
                  </a:lnTo>
                  <a:lnTo>
                    <a:pt x="571" y="105"/>
                  </a:lnTo>
                  <a:lnTo>
                    <a:pt x="572" y="105"/>
                  </a:lnTo>
                  <a:lnTo>
                    <a:pt x="573" y="106"/>
                  </a:lnTo>
                  <a:lnTo>
                    <a:pt x="574" y="107"/>
                  </a:lnTo>
                  <a:lnTo>
                    <a:pt x="575" y="108"/>
                  </a:lnTo>
                  <a:lnTo>
                    <a:pt x="575" y="110"/>
                  </a:lnTo>
                  <a:lnTo>
                    <a:pt x="576" y="110"/>
                  </a:lnTo>
                  <a:lnTo>
                    <a:pt x="576" y="111"/>
                  </a:lnTo>
                  <a:lnTo>
                    <a:pt x="578" y="111"/>
                  </a:lnTo>
                  <a:lnTo>
                    <a:pt x="579" y="111"/>
                  </a:lnTo>
                  <a:lnTo>
                    <a:pt x="579" y="112"/>
                  </a:lnTo>
                  <a:lnTo>
                    <a:pt x="578" y="112"/>
                  </a:lnTo>
                  <a:lnTo>
                    <a:pt x="576" y="113"/>
                  </a:lnTo>
                  <a:lnTo>
                    <a:pt x="575" y="113"/>
                  </a:lnTo>
                  <a:lnTo>
                    <a:pt x="574" y="112"/>
                  </a:lnTo>
                  <a:lnTo>
                    <a:pt x="573" y="112"/>
                  </a:lnTo>
                  <a:lnTo>
                    <a:pt x="572" y="112"/>
                  </a:lnTo>
                  <a:lnTo>
                    <a:pt x="572" y="111"/>
                  </a:lnTo>
                  <a:lnTo>
                    <a:pt x="572" y="110"/>
                  </a:lnTo>
                  <a:lnTo>
                    <a:pt x="571" y="110"/>
                  </a:lnTo>
                  <a:lnTo>
                    <a:pt x="571" y="107"/>
                  </a:lnTo>
                  <a:lnTo>
                    <a:pt x="571" y="106"/>
                  </a:lnTo>
                  <a:lnTo>
                    <a:pt x="570" y="107"/>
                  </a:lnTo>
                  <a:lnTo>
                    <a:pt x="568" y="107"/>
                  </a:lnTo>
                  <a:lnTo>
                    <a:pt x="567" y="106"/>
                  </a:lnTo>
                  <a:lnTo>
                    <a:pt x="566" y="106"/>
                  </a:lnTo>
                  <a:lnTo>
                    <a:pt x="567" y="106"/>
                  </a:lnTo>
                  <a:lnTo>
                    <a:pt x="566" y="106"/>
                  </a:lnTo>
                  <a:lnTo>
                    <a:pt x="565" y="105"/>
                  </a:lnTo>
                  <a:lnTo>
                    <a:pt x="565" y="104"/>
                  </a:lnTo>
                  <a:lnTo>
                    <a:pt x="566" y="104"/>
                  </a:lnTo>
                  <a:close/>
                  <a:moveTo>
                    <a:pt x="453" y="106"/>
                  </a:moveTo>
                  <a:lnTo>
                    <a:pt x="452" y="106"/>
                  </a:lnTo>
                  <a:lnTo>
                    <a:pt x="451" y="106"/>
                  </a:lnTo>
                  <a:lnTo>
                    <a:pt x="451" y="105"/>
                  </a:lnTo>
                  <a:lnTo>
                    <a:pt x="451" y="104"/>
                  </a:lnTo>
                  <a:lnTo>
                    <a:pt x="452" y="104"/>
                  </a:lnTo>
                  <a:lnTo>
                    <a:pt x="452" y="105"/>
                  </a:lnTo>
                  <a:lnTo>
                    <a:pt x="453" y="106"/>
                  </a:lnTo>
                  <a:close/>
                  <a:moveTo>
                    <a:pt x="500" y="101"/>
                  </a:moveTo>
                  <a:lnTo>
                    <a:pt x="500" y="103"/>
                  </a:lnTo>
                  <a:lnTo>
                    <a:pt x="499" y="103"/>
                  </a:lnTo>
                  <a:lnTo>
                    <a:pt x="499" y="101"/>
                  </a:lnTo>
                  <a:lnTo>
                    <a:pt x="497" y="101"/>
                  </a:lnTo>
                  <a:lnTo>
                    <a:pt x="496" y="101"/>
                  </a:lnTo>
                  <a:lnTo>
                    <a:pt x="497" y="101"/>
                  </a:lnTo>
                  <a:lnTo>
                    <a:pt x="496" y="101"/>
                  </a:lnTo>
                  <a:lnTo>
                    <a:pt x="497" y="101"/>
                  </a:lnTo>
                  <a:lnTo>
                    <a:pt x="497" y="100"/>
                  </a:lnTo>
                  <a:lnTo>
                    <a:pt x="497" y="101"/>
                  </a:lnTo>
                  <a:lnTo>
                    <a:pt x="499" y="101"/>
                  </a:lnTo>
                  <a:lnTo>
                    <a:pt x="499" y="100"/>
                  </a:lnTo>
                  <a:lnTo>
                    <a:pt x="500" y="100"/>
                  </a:lnTo>
                  <a:lnTo>
                    <a:pt x="500" y="101"/>
                  </a:lnTo>
                  <a:close/>
                  <a:moveTo>
                    <a:pt x="488" y="101"/>
                  </a:moveTo>
                  <a:lnTo>
                    <a:pt x="488" y="100"/>
                  </a:lnTo>
                  <a:lnTo>
                    <a:pt x="489" y="100"/>
                  </a:lnTo>
                  <a:lnTo>
                    <a:pt x="489" y="101"/>
                  </a:lnTo>
                  <a:lnTo>
                    <a:pt x="488" y="101"/>
                  </a:lnTo>
                  <a:close/>
                  <a:moveTo>
                    <a:pt x="376" y="100"/>
                  </a:moveTo>
                  <a:lnTo>
                    <a:pt x="378" y="100"/>
                  </a:lnTo>
                  <a:lnTo>
                    <a:pt x="378" y="101"/>
                  </a:lnTo>
                  <a:lnTo>
                    <a:pt x="376" y="101"/>
                  </a:lnTo>
                  <a:lnTo>
                    <a:pt x="375" y="101"/>
                  </a:lnTo>
                  <a:lnTo>
                    <a:pt x="374" y="103"/>
                  </a:lnTo>
                  <a:lnTo>
                    <a:pt x="374" y="101"/>
                  </a:lnTo>
                  <a:lnTo>
                    <a:pt x="374" y="100"/>
                  </a:lnTo>
                  <a:lnTo>
                    <a:pt x="375" y="100"/>
                  </a:lnTo>
                  <a:lnTo>
                    <a:pt x="376" y="100"/>
                  </a:lnTo>
                  <a:close/>
                  <a:moveTo>
                    <a:pt x="524" y="99"/>
                  </a:moveTo>
                  <a:lnTo>
                    <a:pt x="528" y="99"/>
                  </a:lnTo>
                  <a:lnTo>
                    <a:pt x="531" y="101"/>
                  </a:lnTo>
                  <a:lnTo>
                    <a:pt x="531" y="100"/>
                  </a:lnTo>
                  <a:lnTo>
                    <a:pt x="532" y="100"/>
                  </a:lnTo>
                  <a:lnTo>
                    <a:pt x="532" y="101"/>
                  </a:lnTo>
                  <a:lnTo>
                    <a:pt x="533" y="101"/>
                  </a:lnTo>
                  <a:lnTo>
                    <a:pt x="533" y="103"/>
                  </a:lnTo>
                  <a:lnTo>
                    <a:pt x="535" y="103"/>
                  </a:lnTo>
                  <a:lnTo>
                    <a:pt x="536" y="104"/>
                  </a:lnTo>
                  <a:lnTo>
                    <a:pt x="537" y="104"/>
                  </a:lnTo>
                  <a:lnTo>
                    <a:pt x="537" y="105"/>
                  </a:lnTo>
                  <a:lnTo>
                    <a:pt x="539" y="105"/>
                  </a:lnTo>
                  <a:lnTo>
                    <a:pt x="540" y="105"/>
                  </a:lnTo>
                  <a:lnTo>
                    <a:pt x="540" y="106"/>
                  </a:lnTo>
                  <a:lnTo>
                    <a:pt x="540" y="105"/>
                  </a:lnTo>
                  <a:lnTo>
                    <a:pt x="542" y="105"/>
                  </a:lnTo>
                  <a:lnTo>
                    <a:pt x="543" y="106"/>
                  </a:lnTo>
                  <a:lnTo>
                    <a:pt x="543" y="105"/>
                  </a:lnTo>
                  <a:lnTo>
                    <a:pt x="544" y="105"/>
                  </a:lnTo>
                  <a:lnTo>
                    <a:pt x="545" y="105"/>
                  </a:lnTo>
                  <a:lnTo>
                    <a:pt x="546" y="105"/>
                  </a:lnTo>
                  <a:lnTo>
                    <a:pt x="546" y="106"/>
                  </a:lnTo>
                  <a:lnTo>
                    <a:pt x="547" y="106"/>
                  </a:lnTo>
                  <a:lnTo>
                    <a:pt x="547" y="107"/>
                  </a:lnTo>
                  <a:lnTo>
                    <a:pt x="549" y="107"/>
                  </a:lnTo>
                  <a:lnTo>
                    <a:pt x="547" y="107"/>
                  </a:lnTo>
                  <a:lnTo>
                    <a:pt x="547" y="108"/>
                  </a:lnTo>
                  <a:lnTo>
                    <a:pt x="546" y="108"/>
                  </a:lnTo>
                  <a:lnTo>
                    <a:pt x="547" y="111"/>
                  </a:lnTo>
                  <a:lnTo>
                    <a:pt x="547" y="112"/>
                  </a:lnTo>
                  <a:lnTo>
                    <a:pt x="549" y="112"/>
                  </a:lnTo>
                  <a:lnTo>
                    <a:pt x="549" y="113"/>
                  </a:lnTo>
                  <a:lnTo>
                    <a:pt x="550" y="114"/>
                  </a:lnTo>
                  <a:lnTo>
                    <a:pt x="550" y="115"/>
                  </a:lnTo>
                  <a:lnTo>
                    <a:pt x="549" y="117"/>
                  </a:lnTo>
                  <a:lnTo>
                    <a:pt x="549" y="118"/>
                  </a:lnTo>
                  <a:lnTo>
                    <a:pt x="549" y="119"/>
                  </a:lnTo>
                  <a:lnTo>
                    <a:pt x="547" y="119"/>
                  </a:lnTo>
                  <a:lnTo>
                    <a:pt x="547" y="120"/>
                  </a:lnTo>
                  <a:lnTo>
                    <a:pt x="547" y="121"/>
                  </a:lnTo>
                  <a:lnTo>
                    <a:pt x="547" y="125"/>
                  </a:lnTo>
                  <a:lnTo>
                    <a:pt x="547" y="126"/>
                  </a:lnTo>
                  <a:lnTo>
                    <a:pt x="547" y="127"/>
                  </a:lnTo>
                  <a:lnTo>
                    <a:pt x="547" y="128"/>
                  </a:lnTo>
                  <a:lnTo>
                    <a:pt x="547" y="129"/>
                  </a:lnTo>
                  <a:lnTo>
                    <a:pt x="547" y="131"/>
                  </a:lnTo>
                  <a:lnTo>
                    <a:pt x="549" y="131"/>
                  </a:lnTo>
                  <a:lnTo>
                    <a:pt x="549" y="132"/>
                  </a:lnTo>
                  <a:lnTo>
                    <a:pt x="549" y="133"/>
                  </a:lnTo>
                  <a:lnTo>
                    <a:pt x="550" y="133"/>
                  </a:lnTo>
                  <a:lnTo>
                    <a:pt x="550" y="134"/>
                  </a:lnTo>
                  <a:lnTo>
                    <a:pt x="551" y="135"/>
                  </a:lnTo>
                  <a:lnTo>
                    <a:pt x="551" y="136"/>
                  </a:lnTo>
                  <a:lnTo>
                    <a:pt x="551" y="138"/>
                  </a:lnTo>
                  <a:lnTo>
                    <a:pt x="552" y="139"/>
                  </a:lnTo>
                  <a:lnTo>
                    <a:pt x="552" y="138"/>
                  </a:lnTo>
                  <a:lnTo>
                    <a:pt x="552" y="136"/>
                  </a:lnTo>
                  <a:lnTo>
                    <a:pt x="552" y="135"/>
                  </a:lnTo>
                  <a:lnTo>
                    <a:pt x="552" y="134"/>
                  </a:lnTo>
                  <a:lnTo>
                    <a:pt x="552" y="133"/>
                  </a:lnTo>
                  <a:lnTo>
                    <a:pt x="553" y="133"/>
                  </a:lnTo>
                  <a:lnTo>
                    <a:pt x="554" y="133"/>
                  </a:lnTo>
                  <a:lnTo>
                    <a:pt x="554" y="134"/>
                  </a:lnTo>
                  <a:lnTo>
                    <a:pt x="554" y="139"/>
                  </a:lnTo>
                  <a:lnTo>
                    <a:pt x="554" y="140"/>
                  </a:lnTo>
                  <a:lnTo>
                    <a:pt x="556" y="141"/>
                  </a:lnTo>
                  <a:lnTo>
                    <a:pt x="557" y="140"/>
                  </a:lnTo>
                  <a:lnTo>
                    <a:pt x="557" y="141"/>
                  </a:lnTo>
                  <a:lnTo>
                    <a:pt x="557" y="142"/>
                  </a:lnTo>
                  <a:lnTo>
                    <a:pt x="557" y="143"/>
                  </a:lnTo>
                  <a:lnTo>
                    <a:pt x="557" y="145"/>
                  </a:lnTo>
                  <a:lnTo>
                    <a:pt x="558" y="146"/>
                  </a:lnTo>
                  <a:lnTo>
                    <a:pt x="558" y="145"/>
                  </a:lnTo>
                  <a:lnTo>
                    <a:pt x="558" y="146"/>
                  </a:lnTo>
                  <a:lnTo>
                    <a:pt x="559" y="147"/>
                  </a:lnTo>
                  <a:lnTo>
                    <a:pt x="560" y="147"/>
                  </a:lnTo>
                  <a:lnTo>
                    <a:pt x="563" y="147"/>
                  </a:lnTo>
                  <a:lnTo>
                    <a:pt x="564" y="147"/>
                  </a:lnTo>
                  <a:lnTo>
                    <a:pt x="565" y="147"/>
                  </a:lnTo>
                  <a:lnTo>
                    <a:pt x="566" y="147"/>
                  </a:lnTo>
                  <a:lnTo>
                    <a:pt x="567" y="146"/>
                  </a:lnTo>
                  <a:lnTo>
                    <a:pt x="567" y="145"/>
                  </a:lnTo>
                  <a:lnTo>
                    <a:pt x="568" y="143"/>
                  </a:lnTo>
                  <a:lnTo>
                    <a:pt x="570" y="143"/>
                  </a:lnTo>
                  <a:lnTo>
                    <a:pt x="570" y="142"/>
                  </a:lnTo>
                  <a:lnTo>
                    <a:pt x="571" y="142"/>
                  </a:lnTo>
                  <a:lnTo>
                    <a:pt x="571" y="141"/>
                  </a:lnTo>
                  <a:lnTo>
                    <a:pt x="572" y="141"/>
                  </a:lnTo>
                  <a:lnTo>
                    <a:pt x="572" y="140"/>
                  </a:lnTo>
                  <a:lnTo>
                    <a:pt x="572" y="139"/>
                  </a:lnTo>
                  <a:lnTo>
                    <a:pt x="573" y="139"/>
                  </a:lnTo>
                  <a:lnTo>
                    <a:pt x="573" y="138"/>
                  </a:lnTo>
                  <a:lnTo>
                    <a:pt x="573" y="136"/>
                  </a:lnTo>
                  <a:lnTo>
                    <a:pt x="574" y="136"/>
                  </a:lnTo>
                  <a:lnTo>
                    <a:pt x="574" y="135"/>
                  </a:lnTo>
                  <a:lnTo>
                    <a:pt x="576" y="135"/>
                  </a:lnTo>
                  <a:lnTo>
                    <a:pt x="576" y="134"/>
                  </a:lnTo>
                  <a:lnTo>
                    <a:pt x="578" y="134"/>
                  </a:lnTo>
                  <a:lnTo>
                    <a:pt x="578" y="133"/>
                  </a:lnTo>
                  <a:lnTo>
                    <a:pt x="578" y="132"/>
                  </a:lnTo>
                  <a:lnTo>
                    <a:pt x="578" y="131"/>
                  </a:lnTo>
                  <a:lnTo>
                    <a:pt x="578" y="129"/>
                  </a:lnTo>
                  <a:lnTo>
                    <a:pt x="579" y="129"/>
                  </a:lnTo>
                  <a:lnTo>
                    <a:pt x="579" y="128"/>
                  </a:lnTo>
                  <a:lnTo>
                    <a:pt x="580" y="128"/>
                  </a:lnTo>
                  <a:lnTo>
                    <a:pt x="581" y="128"/>
                  </a:lnTo>
                  <a:lnTo>
                    <a:pt x="581" y="129"/>
                  </a:lnTo>
                  <a:lnTo>
                    <a:pt x="582" y="129"/>
                  </a:lnTo>
                  <a:lnTo>
                    <a:pt x="583" y="129"/>
                  </a:lnTo>
                  <a:lnTo>
                    <a:pt x="585" y="129"/>
                  </a:lnTo>
                  <a:lnTo>
                    <a:pt x="586" y="128"/>
                  </a:lnTo>
                  <a:lnTo>
                    <a:pt x="587" y="128"/>
                  </a:lnTo>
                  <a:lnTo>
                    <a:pt x="587" y="127"/>
                  </a:lnTo>
                  <a:lnTo>
                    <a:pt x="588" y="127"/>
                  </a:lnTo>
                  <a:lnTo>
                    <a:pt x="589" y="127"/>
                  </a:lnTo>
                  <a:lnTo>
                    <a:pt x="590" y="127"/>
                  </a:lnTo>
                  <a:lnTo>
                    <a:pt x="590" y="126"/>
                  </a:lnTo>
                  <a:lnTo>
                    <a:pt x="590" y="125"/>
                  </a:lnTo>
                  <a:lnTo>
                    <a:pt x="589" y="125"/>
                  </a:lnTo>
                  <a:lnTo>
                    <a:pt x="589" y="124"/>
                  </a:lnTo>
                  <a:lnTo>
                    <a:pt x="589" y="122"/>
                  </a:lnTo>
                  <a:lnTo>
                    <a:pt x="593" y="121"/>
                  </a:lnTo>
                  <a:lnTo>
                    <a:pt x="594" y="120"/>
                  </a:lnTo>
                  <a:lnTo>
                    <a:pt x="594" y="119"/>
                  </a:lnTo>
                  <a:lnTo>
                    <a:pt x="595" y="119"/>
                  </a:lnTo>
                  <a:lnTo>
                    <a:pt x="599" y="117"/>
                  </a:lnTo>
                  <a:lnTo>
                    <a:pt x="600" y="117"/>
                  </a:lnTo>
                  <a:lnTo>
                    <a:pt x="601" y="117"/>
                  </a:lnTo>
                  <a:lnTo>
                    <a:pt x="601" y="118"/>
                  </a:lnTo>
                  <a:lnTo>
                    <a:pt x="602" y="118"/>
                  </a:lnTo>
                  <a:lnTo>
                    <a:pt x="602" y="119"/>
                  </a:lnTo>
                  <a:lnTo>
                    <a:pt x="603" y="119"/>
                  </a:lnTo>
                  <a:lnTo>
                    <a:pt x="604" y="120"/>
                  </a:lnTo>
                  <a:lnTo>
                    <a:pt x="607" y="121"/>
                  </a:lnTo>
                  <a:lnTo>
                    <a:pt x="609" y="121"/>
                  </a:lnTo>
                  <a:lnTo>
                    <a:pt x="610" y="121"/>
                  </a:lnTo>
                  <a:lnTo>
                    <a:pt x="610" y="122"/>
                  </a:lnTo>
                  <a:lnTo>
                    <a:pt x="611" y="122"/>
                  </a:lnTo>
                  <a:lnTo>
                    <a:pt x="613" y="124"/>
                  </a:lnTo>
                  <a:lnTo>
                    <a:pt x="613" y="125"/>
                  </a:lnTo>
                  <a:lnTo>
                    <a:pt x="614" y="125"/>
                  </a:lnTo>
                  <a:lnTo>
                    <a:pt x="615" y="125"/>
                  </a:lnTo>
                  <a:lnTo>
                    <a:pt x="617" y="126"/>
                  </a:lnTo>
                  <a:lnTo>
                    <a:pt x="620" y="127"/>
                  </a:lnTo>
                  <a:lnTo>
                    <a:pt x="621" y="128"/>
                  </a:lnTo>
                  <a:lnTo>
                    <a:pt x="622" y="128"/>
                  </a:lnTo>
                  <a:lnTo>
                    <a:pt x="622" y="129"/>
                  </a:lnTo>
                  <a:lnTo>
                    <a:pt x="624" y="129"/>
                  </a:lnTo>
                  <a:lnTo>
                    <a:pt x="627" y="131"/>
                  </a:lnTo>
                  <a:lnTo>
                    <a:pt x="628" y="132"/>
                  </a:lnTo>
                  <a:lnTo>
                    <a:pt x="630" y="131"/>
                  </a:lnTo>
                  <a:lnTo>
                    <a:pt x="631" y="131"/>
                  </a:lnTo>
                  <a:lnTo>
                    <a:pt x="632" y="132"/>
                  </a:lnTo>
                  <a:lnTo>
                    <a:pt x="634" y="132"/>
                  </a:lnTo>
                  <a:lnTo>
                    <a:pt x="634" y="133"/>
                  </a:lnTo>
                  <a:lnTo>
                    <a:pt x="635" y="133"/>
                  </a:lnTo>
                  <a:lnTo>
                    <a:pt x="635" y="132"/>
                  </a:lnTo>
                  <a:lnTo>
                    <a:pt x="636" y="132"/>
                  </a:lnTo>
                  <a:lnTo>
                    <a:pt x="637" y="132"/>
                  </a:lnTo>
                  <a:lnTo>
                    <a:pt x="639" y="133"/>
                  </a:lnTo>
                  <a:lnTo>
                    <a:pt x="639" y="134"/>
                  </a:lnTo>
                  <a:lnTo>
                    <a:pt x="638" y="135"/>
                  </a:lnTo>
                  <a:lnTo>
                    <a:pt x="639" y="135"/>
                  </a:lnTo>
                  <a:lnTo>
                    <a:pt x="640" y="135"/>
                  </a:lnTo>
                  <a:lnTo>
                    <a:pt x="642" y="135"/>
                  </a:lnTo>
                  <a:lnTo>
                    <a:pt x="643" y="135"/>
                  </a:lnTo>
                  <a:lnTo>
                    <a:pt x="643" y="138"/>
                  </a:lnTo>
                  <a:lnTo>
                    <a:pt x="643" y="141"/>
                  </a:lnTo>
                  <a:lnTo>
                    <a:pt x="642" y="145"/>
                  </a:lnTo>
                  <a:lnTo>
                    <a:pt x="642" y="150"/>
                  </a:lnTo>
                  <a:lnTo>
                    <a:pt x="642" y="154"/>
                  </a:lnTo>
                  <a:lnTo>
                    <a:pt x="642" y="157"/>
                  </a:lnTo>
                  <a:lnTo>
                    <a:pt x="642" y="160"/>
                  </a:lnTo>
                  <a:lnTo>
                    <a:pt x="640" y="167"/>
                  </a:lnTo>
                  <a:lnTo>
                    <a:pt x="640" y="169"/>
                  </a:lnTo>
                  <a:lnTo>
                    <a:pt x="640" y="173"/>
                  </a:lnTo>
                  <a:lnTo>
                    <a:pt x="640" y="176"/>
                  </a:lnTo>
                  <a:lnTo>
                    <a:pt x="640" y="178"/>
                  </a:lnTo>
                  <a:lnTo>
                    <a:pt x="640" y="183"/>
                  </a:lnTo>
                  <a:lnTo>
                    <a:pt x="639" y="185"/>
                  </a:lnTo>
                  <a:lnTo>
                    <a:pt x="639" y="189"/>
                  </a:lnTo>
                  <a:lnTo>
                    <a:pt x="639" y="192"/>
                  </a:lnTo>
                  <a:lnTo>
                    <a:pt x="639" y="194"/>
                  </a:lnTo>
                  <a:lnTo>
                    <a:pt x="639" y="195"/>
                  </a:lnTo>
                  <a:lnTo>
                    <a:pt x="639" y="196"/>
                  </a:lnTo>
                  <a:lnTo>
                    <a:pt x="638" y="196"/>
                  </a:lnTo>
                  <a:lnTo>
                    <a:pt x="638" y="197"/>
                  </a:lnTo>
                  <a:lnTo>
                    <a:pt x="638" y="198"/>
                  </a:lnTo>
                  <a:lnTo>
                    <a:pt x="637" y="198"/>
                  </a:lnTo>
                  <a:lnTo>
                    <a:pt x="637" y="199"/>
                  </a:lnTo>
                  <a:lnTo>
                    <a:pt x="637" y="201"/>
                  </a:lnTo>
                  <a:lnTo>
                    <a:pt x="637" y="202"/>
                  </a:lnTo>
                  <a:lnTo>
                    <a:pt x="638" y="202"/>
                  </a:lnTo>
                  <a:lnTo>
                    <a:pt x="638" y="203"/>
                  </a:lnTo>
                  <a:lnTo>
                    <a:pt x="638" y="204"/>
                  </a:lnTo>
                  <a:lnTo>
                    <a:pt x="638" y="206"/>
                  </a:lnTo>
                  <a:lnTo>
                    <a:pt x="638" y="209"/>
                  </a:lnTo>
                  <a:lnTo>
                    <a:pt x="638" y="210"/>
                  </a:lnTo>
                  <a:lnTo>
                    <a:pt x="638" y="213"/>
                  </a:lnTo>
                  <a:lnTo>
                    <a:pt x="637" y="217"/>
                  </a:lnTo>
                  <a:lnTo>
                    <a:pt x="637" y="219"/>
                  </a:lnTo>
                  <a:lnTo>
                    <a:pt x="637" y="220"/>
                  </a:lnTo>
                  <a:lnTo>
                    <a:pt x="637" y="223"/>
                  </a:lnTo>
                  <a:lnTo>
                    <a:pt x="637" y="227"/>
                  </a:lnTo>
                  <a:lnTo>
                    <a:pt x="636" y="230"/>
                  </a:lnTo>
                  <a:lnTo>
                    <a:pt x="636" y="233"/>
                  </a:lnTo>
                  <a:lnTo>
                    <a:pt x="636" y="236"/>
                  </a:lnTo>
                  <a:lnTo>
                    <a:pt x="636" y="238"/>
                  </a:lnTo>
                  <a:lnTo>
                    <a:pt x="635" y="238"/>
                  </a:lnTo>
                  <a:lnTo>
                    <a:pt x="634" y="237"/>
                  </a:lnTo>
                  <a:lnTo>
                    <a:pt x="631" y="233"/>
                  </a:lnTo>
                  <a:lnTo>
                    <a:pt x="630" y="231"/>
                  </a:lnTo>
                  <a:lnTo>
                    <a:pt x="629" y="230"/>
                  </a:lnTo>
                  <a:lnTo>
                    <a:pt x="628" y="229"/>
                  </a:lnTo>
                  <a:lnTo>
                    <a:pt x="628" y="227"/>
                  </a:lnTo>
                  <a:lnTo>
                    <a:pt x="627" y="227"/>
                  </a:lnTo>
                  <a:lnTo>
                    <a:pt x="627" y="226"/>
                  </a:lnTo>
                  <a:lnTo>
                    <a:pt x="624" y="224"/>
                  </a:lnTo>
                  <a:lnTo>
                    <a:pt x="623" y="224"/>
                  </a:lnTo>
                  <a:lnTo>
                    <a:pt x="623" y="223"/>
                  </a:lnTo>
                  <a:lnTo>
                    <a:pt x="623" y="222"/>
                  </a:lnTo>
                  <a:lnTo>
                    <a:pt x="624" y="222"/>
                  </a:lnTo>
                  <a:lnTo>
                    <a:pt x="624" y="220"/>
                  </a:lnTo>
                  <a:lnTo>
                    <a:pt x="624" y="219"/>
                  </a:lnTo>
                  <a:lnTo>
                    <a:pt x="625" y="219"/>
                  </a:lnTo>
                  <a:lnTo>
                    <a:pt x="625" y="218"/>
                  </a:lnTo>
                  <a:lnTo>
                    <a:pt x="625" y="219"/>
                  </a:lnTo>
                  <a:lnTo>
                    <a:pt x="624" y="219"/>
                  </a:lnTo>
                  <a:lnTo>
                    <a:pt x="624" y="220"/>
                  </a:lnTo>
                  <a:lnTo>
                    <a:pt x="624" y="222"/>
                  </a:lnTo>
                  <a:lnTo>
                    <a:pt x="623" y="222"/>
                  </a:lnTo>
                  <a:lnTo>
                    <a:pt x="621" y="222"/>
                  </a:lnTo>
                  <a:lnTo>
                    <a:pt x="618" y="223"/>
                  </a:lnTo>
                  <a:lnTo>
                    <a:pt x="617" y="223"/>
                  </a:lnTo>
                  <a:lnTo>
                    <a:pt x="616" y="224"/>
                  </a:lnTo>
                  <a:lnTo>
                    <a:pt x="615" y="224"/>
                  </a:lnTo>
                  <a:lnTo>
                    <a:pt x="614" y="223"/>
                  </a:lnTo>
                  <a:lnTo>
                    <a:pt x="613" y="223"/>
                  </a:lnTo>
                  <a:lnTo>
                    <a:pt x="613" y="222"/>
                  </a:lnTo>
                  <a:lnTo>
                    <a:pt x="613" y="220"/>
                  </a:lnTo>
                  <a:lnTo>
                    <a:pt x="614" y="220"/>
                  </a:lnTo>
                  <a:lnTo>
                    <a:pt x="614" y="219"/>
                  </a:lnTo>
                  <a:lnTo>
                    <a:pt x="613" y="219"/>
                  </a:lnTo>
                  <a:lnTo>
                    <a:pt x="613" y="220"/>
                  </a:lnTo>
                  <a:lnTo>
                    <a:pt x="613" y="222"/>
                  </a:lnTo>
                  <a:lnTo>
                    <a:pt x="611" y="222"/>
                  </a:lnTo>
                  <a:lnTo>
                    <a:pt x="610" y="223"/>
                  </a:lnTo>
                  <a:lnTo>
                    <a:pt x="609" y="224"/>
                  </a:lnTo>
                  <a:lnTo>
                    <a:pt x="609" y="225"/>
                  </a:lnTo>
                  <a:lnTo>
                    <a:pt x="608" y="225"/>
                  </a:lnTo>
                  <a:lnTo>
                    <a:pt x="608" y="224"/>
                  </a:lnTo>
                  <a:lnTo>
                    <a:pt x="608" y="223"/>
                  </a:lnTo>
                  <a:lnTo>
                    <a:pt x="607" y="223"/>
                  </a:lnTo>
                  <a:lnTo>
                    <a:pt x="608" y="222"/>
                  </a:lnTo>
                  <a:lnTo>
                    <a:pt x="609" y="222"/>
                  </a:lnTo>
                  <a:lnTo>
                    <a:pt x="608" y="220"/>
                  </a:lnTo>
                  <a:lnTo>
                    <a:pt x="609" y="219"/>
                  </a:lnTo>
                  <a:lnTo>
                    <a:pt x="609" y="218"/>
                  </a:lnTo>
                  <a:lnTo>
                    <a:pt x="610" y="218"/>
                  </a:lnTo>
                  <a:lnTo>
                    <a:pt x="610" y="217"/>
                  </a:lnTo>
                  <a:lnTo>
                    <a:pt x="610" y="216"/>
                  </a:lnTo>
                  <a:lnTo>
                    <a:pt x="610" y="215"/>
                  </a:lnTo>
                  <a:lnTo>
                    <a:pt x="611" y="215"/>
                  </a:lnTo>
                  <a:lnTo>
                    <a:pt x="611" y="213"/>
                  </a:lnTo>
                  <a:lnTo>
                    <a:pt x="611" y="212"/>
                  </a:lnTo>
                  <a:lnTo>
                    <a:pt x="610" y="212"/>
                  </a:lnTo>
                  <a:lnTo>
                    <a:pt x="609" y="212"/>
                  </a:lnTo>
                  <a:lnTo>
                    <a:pt x="609" y="211"/>
                  </a:lnTo>
                  <a:lnTo>
                    <a:pt x="609" y="210"/>
                  </a:lnTo>
                  <a:lnTo>
                    <a:pt x="608" y="210"/>
                  </a:lnTo>
                  <a:lnTo>
                    <a:pt x="608" y="209"/>
                  </a:lnTo>
                  <a:lnTo>
                    <a:pt x="607" y="209"/>
                  </a:lnTo>
                  <a:lnTo>
                    <a:pt x="607" y="208"/>
                  </a:lnTo>
                  <a:lnTo>
                    <a:pt x="606" y="208"/>
                  </a:lnTo>
                  <a:lnTo>
                    <a:pt x="607" y="208"/>
                  </a:lnTo>
                  <a:lnTo>
                    <a:pt x="609" y="208"/>
                  </a:lnTo>
                  <a:lnTo>
                    <a:pt x="610" y="208"/>
                  </a:lnTo>
                  <a:lnTo>
                    <a:pt x="610" y="209"/>
                  </a:lnTo>
                  <a:lnTo>
                    <a:pt x="613" y="209"/>
                  </a:lnTo>
                  <a:lnTo>
                    <a:pt x="614" y="208"/>
                  </a:lnTo>
                  <a:lnTo>
                    <a:pt x="614" y="206"/>
                  </a:lnTo>
                  <a:lnTo>
                    <a:pt x="614" y="208"/>
                  </a:lnTo>
                  <a:lnTo>
                    <a:pt x="613" y="208"/>
                  </a:lnTo>
                  <a:lnTo>
                    <a:pt x="611" y="208"/>
                  </a:lnTo>
                  <a:lnTo>
                    <a:pt x="610" y="208"/>
                  </a:lnTo>
                  <a:lnTo>
                    <a:pt x="610" y="206"/>
                  </a:lnTo>
                  <a:lnTo>
                    <a:pt x="609" y="206"/>
                  </a:lnTo>
                  <a:lnTo>
                    <a:pt x="608" y="206"/>
                  </a:lnTo>
                  <a:lnTo>
                    <a:pt x="606" y="204"/>
                  </a:lnTo>
                  <a:lnTo>
                    <a:pt x="604" y="203"/>
                  </a:lnTo>
                  <a:lnTo>
                    <a:pt x="606" y="203"/>
                  </a:lnTo>
                  <a:lnTo>
                    <a:pt x="607" y="203"/>
                  </a:lnTo>
                  <a:lnTo>
                    <a:pt x="608" y="203"/>
                  </a:lnTo>
                  <a:lnTo>
                    <a:pt x="608" y="202"/>
                  </a:lnTo>
                  <a:lnTo>
                    <a:pt x="609" y="202"/>
                  </a:lnTo>
                  <a:lnTo>
                    <a:pt x="610" y="202"/>
                  </a:lnTo>
                  <a:lnTo>
                    <a:pt x="611" y="203"/>
                  </a:lnTo>
                  <a:lnTo>
                    <a:pt x="611" y="204"/>
                  </a:lnTo>
                  <a:lnTo>
                    <a:pt x="613" y="204"/>
                  </a:lnTo>
                  <a:lnTo>
                    <a:pt x="614" y="204"/>
                  </a:lnTo>
                  <a:lnTo>
                    <a:pt x="613" y="204"/>
                  </a:lnTo>
                  <a:lnTo>
                    <a:pt x="613" y="203"/>
                  </a:lnTo>
                  <a:lnTo>
                    <a:pt x="611" y="202"/>
                  </a:lnTo>
                  <a:lnTo>
                    <a:pt x="610" y="202"/>
                  </a:lnTo>
                  <a:lnTo>
                    <a:pt x="609" y="202"/>
                  </a:lnTo>
                  <a:lnTo>
                    <a:pt x="608" y="201"/>
                  </a:lnTo>
                  <a:lnTo>
                    <a:pt x="607" y="201"/>
                  </a:lnTo>
                  <a:lnTo>
                    <a:pt x="607" y="199"/>
                  </a:lnTo>
                  <a:lnTo>
                    <a:pt x="608" y="199"/>
                  </a:lnTo>
                  <a:lnTo>
                    <a:pt x="609" y="199"/>
                  </a:lnTo>
                  <a:lnTo>
                    <a:pt x="608" y="198"/>
                  </a:lnTo>
                  <a:lnTo>
                    <a:pt x="607" y="198"/>
                  </a:lnTo>
                  <a:lnTo>
                    <a:pt x="607" y="197"/>
                  </a:lnTo>
                  <a:lnTo>
                    <a:pt x="606" y="197"/>
                  </a:lnTo>
                  <a:lnTo>
                    <a:pt x="604" y="195"/>
                  </a:lnTo>
                  <a:lnTo>
                    <a:pt x="603" y="194"/>
                  </a:lnTo>
                  <a:lnTo>
                    <a:pt x="603" y="192"/>
                  </a:lnTo>
                  <a:lnTo>
                    <a:pt x="603" y="191"/>
                  </a:lnTo>
                  <a:lnTo>
                    <a:pt x="603" y="190"/>
                  </a:lnTo>
                  <a:lnTo>
                    <a:pt x="603" y="189"/>
                  </a:lnTo>
                  <a:lnTo>
                    <a:pt x="602" y="188"/>
                  </a:lnTo>
                  <a:lnTo>
                    <a:pt x="602" y="187"/>
                  </a:lnTo>
                  <a:lnTo>
                    <a:pt x="603" y="187"/>
                  </a:lnTo>
                  <a:lnTo>
                    <a:pt x="604" y="187"/>
                  </a:lnTo>
                  <a:lnTo>
                    <a:pt x="603" y="187"/>
                  </a:lnTo>
                  <a:lnTo>
                    <a:pt x="601" y="185"/>
                  </a:lnTo>
                  <a:lnTo>
                    <a:pt x="602" y="184"/>
                  </a:lnTo>
                  <a:lnTo>
                    <a:pt x="603" y="184"/>
                  </a:lnTo>
                  <a:lnTo>
                    <a:pt x="603" y="183"/>
                  </a:lnTo>
                  <a:lnTo>
                    <a:pt x="602" y="183"/>
                  </a:lnTo>
                  <a:lnTo>
                    <a:pt x="601" y="184"/>
                  </a:lnTo>
                  <a:lnTo>
                    <a:pt x="600" y="184"/>
                  </a:lnTo>
                  <a:lnTo>
                    <a:pt x="600" y="183"/>
                  </a:lnTo>
                  <a:lnTo>
                    <a:pt x="600" y="182"/>
                  </a:lnTo>
                  <a:lnTo>
                    <a:pt x="600" y="181"/>
                  </a:lnTo>
                  <a:lnTo>
                    <a:pt x="600" y="180"/>
                  </a:lnTo>
                  <a:lnTo>
                    <a:pt x="599" y="180"/>
                  </a:lnTo>
                  <a:lnTo>
                    <a:pt x="599" y="181"/>
                  </a:lnTo>
                  <a:lnTo>
                    <a:pt x="599" y="180"/>
                  </a:lnTo>
                  <a:lnTo>
                    <a:pt x="597" y="178"/>
                  </a:lnTo>
                  <a:lnTo>
                    <a:pt x="596" y="178"/>
                  </a:lnTo>
                  <a:lnTo>
                    <a:pt x="596" y="177"/>
                  </a:lnTo>
                  <a:lnTo>
                    <a:pt x="595" y="177"/>
                  </a:lnTo>
                  <a:lnTo>
                    <a:pt x="595" y="176"/>
                  </a:lnTo>
                  <a:lnTo>
                    <a:pt x="594" y="176"/>
                  </a:lnTo>
                  <a:lnTo>
                    <a:pt x="593" y="176"/>
                  </a:lnTo>
                  <a:lnTo>
                    <a:pt x="593" y="175"/>
                  </a:lnTo>
                  <a:lnTo>
                    <a:pt x="592" y="175"/>
                  </a:lnTo>
                  <a:lnTo>
                    <a:pt x="592" y="174"/>
                  </a:lnTo>
                  <a:lnTo>
                    <a:pt x="592" y="175"/>
                  </a:lnTo>
                  <a:lnTo>
                    <a:pt x="590" y="175"/>
                  </a:lnTo>
                  <a:lnTo>
                    <a:pt x="590" y="174"/>
                  </a:lnTo>
                  <a:lnTo>
                    <a:pt x="589" y="174"/>
                  </a:lnTo>
                  <a:lnTo>
                    <a:pt x="589" y="173"/>
                  </a:lnTo>
                  <a:lnTo>
                    <a:pt x="589" y="174"/>
                  </a:lnTo>
                  <a:lnTo>
                    <a:pt x="589" y="173"/>
                  </a:lnTo>
                  <a:lnTo>
                    <a:pt x="589" y="171"/>
                  </a:lnTo>
                  <a:lnTo>
                    <a:pt x="588" y="173"/>
                  </a:lnTo>
                  <a:lnTo>
                    <a:pt x="587" y="173"/>
                  </a:lnTo>
                  <a:lnTo>
                    <a:pt x="587" y="171"/>
                  </a:lnTo>
                  <a:lnTo>
                    <a:pt x="587" y="173"/>
                  </a:lnTo>
                  <a:lnTo>
                    <a:pt x="587" y="171"/>
                  </a:lnTo>
                  <a:lnTo>
                    <a:pt x="586" y="171"/>
                  </a:lnTo>
                  <a:lnTo>
                    <a:pt x="585" y="171"/>
                  </a:lnTo>
                  <a:lnTo>
                    <a:pt x="585" y="170"/>
                  </a:lnTo>
                  <a:lnTo>
                    <a:pt x="585" y="171"/>
                  </a:lnTo>
                  <a:lnTo>
                    <a:pt x="583" y="171"/>
                  </a:lnTo>
                  <a:lnTo>
                    <a:pt x="582" y="171"/>
                  </a:lnTo>
                  <a:lnTo>
                    <a:pt x="582" y="170"/>
                  </a:lnTo>
                  <a:lnTo>
                    <a:pt x="582" y="171"/>
                  </a:lnTo>
                  <a:lnTo>
                    <a:pt x="581" y="171"/>
                  </a:lnTo>
                  <a:lnTo>
                    <a:pt x="581" y="170"/>
                  </a:lnTo>
                  <a:lnTo>
                    <a:pt x="580" y="170"/>
                  </a:lnTo>
                  <a:lnTo>
                    <a:pt x="579" y="169"/>
                  </a:lnTo>
                  <a:lnTo>
                    <a:pt x="578" y="169"/>
                  </a:lnTo>
                  <a:lnTo>
                    <a:pt x="578" y="168"/>
                  </a:lnTo>
                  <a:lnTo>
                    <a:pt x="576" y="168"/>
                  </a:lnTo>
                  <a:lnTo>
                    <a:pt x="575" y="168"/>
                  </a:lnTo>
                  <a:lnTo>
                    <a:pt x="574" y="167"/>
                  </a:lnTo>
                  <a:lnTo>
                    <a:pt x="573" y="167"/>
                  </a:lnTo>
                  <a:lnTo>
                    <a:pt x="572" y="167"/>
                  </a:lnTo>
                  <a:lnTo>
                    <a:pt x="572" y="166"/>
                  </a:lnTo>
                  <a:lnTo>
                    <a:pt x="571" y="164"/>
                  </a:lnTo>
                  <a:lnTo>
                    <a:pt x="570" y="164"/>
                  </a:lnTo>
                  <a:lnTo>
                    <a:pt x="568" y="164"/>
                  </a:lnTo>
                  <a:lnTo>
                    <a:pt x="567" y="164"/>
                  </a:lnTo>
                  <a:lnTo>
                    <a:pt x="566" y="164"/>
                  </a:lnTo>
                  <a:lnTo>
                    <a:pt x="565" y="164"/>
                  </a:lnTo>
                  <a:lnTo>
                    <a:pt x="564" y="164"/>
                  </a:lnTo>
                  <a:lnTo>
                    <a:pt x="564" y="163"/>
                  </a:lnTo>
                  <a:lnTo>
                    <a:pt x="564" y="164"/>
                  </a:lnTo>
                  <a:lnTo>
                    <a:pt x="563" y="164"/>
                  </a:lnTo>
                  <a:lnTo>
                    <a:pt x="561" y="164"/>
                  </a:lnTo>
                  <a:lnTo>
                    <a:pt x="560" y="164"/>
                  </a:lnTo>
                  <a:lnTo>
                    <a:pt x="558" y="162"/>
                  </a:lnTo>
                  <a:lnTo>
                    <a:pt x="557" y="162"/>
                  </a:lnTo>
                  <a:lnTo>
                    <a:pt x="557" y="161"/>
                  </a:lnTo>
                  <a:lnTo>
                    <a:pt x="556" y="161"/>
                  </a:lnTo>
                  <a:lnTo>
                    <a:pt x="554" y="160"/>
                  </a:lnTo>
                  <a:lnTo>
                    <a:pt x="554" y="159"/>
                  </a:lnTo>
                  <a:lnTo>
                    <a:pt x="553" y="159"/>
                  </a:lnTo>
                  <a:lnTo>
                    <a:pt x="554" y="159"/>
                  </a:lnTo>
                  <a:lnTo>
                    <a:pt x="554" y="157"/>
                  </a:lnTo>
                  <a:lnTo>
                    <a:pt x="553" y="157"/>
                  </a:lnTo>
                  <a:lnTo>
                    <a:pt x="554" y="156"/>
                  </a:lnTo>
                  <a:lnTo>
                    <a:pt x="556" y="156"/>
                  </a:lnTo>
                  <a:lnTo>
                    <a:pt x="557" y="156"/>
                  </a:lnTo>
                  <a:lnTo>
                    <a:pt x="558" y="156"/>
                  </a:lnTo>
                  <a:lnTo>
                    <a:pt x="557" y="156"/>
                  </a:lnTo>
                  <a:lnTo>
                    <a:pt x="556" y="156"/>
                  </a:lnTo>
                  <a:lnTo>
                    <a:pt x="554" y="155"/>
                  </a:lnTo>
                  <a:lnTo>
                    <a:pt x="553" y="155"/>
                  </a:lnTo>
                  <a:lnTo>
                    <a:pt x="553" y="156"/>
                  </a:lnTo>
                  <a:lnTo>
                    <a:pt x="553" y="157"/>
                  </a:lnTo>
                  <a:lnTo>
                    <a:pt x="552" y="157"/>
                  </a:lnTo>
                  <a:lnTo>
                    <a:pt x="551" y="157"/>
                  </a:lnTo>
                  <a:lnTo>
                    <a:pt x="551" y="156"/>
                  </a:lnTo>
                  <a:lnTo>
                    <a:pt x="551" y="155"/>
                  </a:lnTo>
                  <a:lnTo>
                    <a:pt x="550" y="155"/>
                  </a:lnTo>
                  <a:lnTo>
                    <a:pt x="549" y="155"/>
                  </a:lnTo>
                  <a:lnTo>
                    <a:pt x="550" y="155"/>
                  </a:lnTo>
                  <a:lnTo>
                    <a:pt x="550" y="156"/>
                  </a:lnTo>
                  <a:lnTo>
                    <a:pt x="549" y="156"/>
                  </a:lnTo>
                  <a:lnTo>
                    <a:pt x="549" y="157"/>
                  </a:lnTo>
                  <a:lnTo>
                    <a:pt x="549" y="156"/>
                  </a:lnTo>
                  <a:lnTo>
                    <a:pt x="547" y="156"/>
                  </a:lnTo>
                  <a:lnTo>
                    <a:pt x="547" y="155"/>
                  </a:lnTo>
                  <a:lnTo>
                    <a:pt x="546" y="155"/>
                  </a:lnTo>
                  <a:lnTo>
                    <a:pt x="547" y="154"/>
                  </a:lnTo>
                  <a:lnTo>
                    <a:pt x="546" y="154"/>
                  </a:lnTo>
                  <a:lnTo>
                    <a:pt x="546" y="153"/>
                  </a:lnTo>
                  <a:lnTo>
                    <a:pt x="546" y="154"/>
                  </a:lnTo>
                  <a:lnTo>
                    <a:pt x="545" y="154"/>
                  </a:lnTo>
                  <a:lnTo>
                    <a:pt x="544" y="155"/>
                  </a:lnTo>
                  <a:lnTo>
                    <a:pt x="544" y="154"/>
                  </a:lnTo>
                  <a:lnTo>
                    <a:pt x="544" y="153"/>
                  </a:lnTo>
                  <a:lnTo>
                    <a:pt x="543" y="153"/>
                  </a:lnTo>
                  <a:lnTo>
                    <a:pt x="543" y="152"/>
                  </a:lnTo>
                  <a:lnTo>
                    <a:pt x="543" y="150"/>
                  </a:lnTo>
                  <a:lnTo>
                    <a:pt x="542" y="150"/>
                  </a:lnTo>
                  <a:lnTo>
                    <a:pt x="542" y="152"/>
                  </a:lnTo>
                  <a:lnTo>
                    <a:pt x="542" y="153"/>
                  </a:lnTo>
                  <a:lnTo>
                    <a:pt x="543" y="153"/>
                  </a:lnTo>
                  <a:lnTo>
                    <a:pt x="542" y="153"/>
                  </a:lnTo>
                  <a:lnTo>
                    <a:pt x="542" y="152"/>
                  </a:lnTo>
                  <a:lnTo>
                    <a:pt x="540" y="152"/>
                  </a:lnTo>
                  <a:lnTo>
                    <a:pt x="540" y="150"/>
                  </a:lnTo>
                  <a:lnTo>
                    <a:pt x="539" y="149"/>
                  </a:lnTo>
                  <a:lnTo>
                    <a:pt x="539" y="148"/>
                  </a:lnTo>
                  <a:lnTo>
                    <a:pt x="540" y="148"/>
                  </a:lnTo>
                  <a:lnTo>
                    <a:pt x="540" y="147"/>
                  </a:lnTo>
                  <a:lnTo>
                    <a:pt x="540" y="146"/>
                  </a:lnTo>
                  <a:lnTo>
                    <a:pt x="540" y="145"/>
                  </a:lnTo>
                  <a:lnTo>
                    <a:pt x="542" y="145"/>
                  </a:lnTo>
                  <a:lnTo>
                    <a:pt x="542" y="143"/>
                  </a:lnTo>
                  <a:lnTo>
                    <a:pt x="543" y="143"/>
                  </a:lnTo>
                  <a:lnTo>
                    <a:pt x="543" y="142"/>
                  </a:lnTo>
                  <a:lnTo>
                    <a:pt x="544" y="142"/>
                  </a:lnTo>
                  <a:lnTo>
                    <a:pt x="544" y="143"/>
                  </a:lnTo>
                  <a:lnTo>
                    <a:pt x="544" y="142"/>
                  </a:lnTo>
                  <a:lnTo>
                    <a:pt x="543" y="142"/>
                  </a:lnTo>
                  <a:lnTo>
                    <a:pt x="543" y="141"/>
                  </a:lnTo>
                  <a:lnTo>
                    <a:pt x="544" y="141"/>
                  </a:lnTo>
                  <a:lnTo>
                    <a:pt x="544" y="140"/>
                  </a:lnTo>
                  <a:lnTo>
                    <a:pt x="543" y="140"/>
                  </a:lnTo>
                  <a:lnTo>
                    <a:pt x="543" y="141"/>
                  </a:lnTo>
                  <a:lnTo>
                    <a:pt x="542" y="142"/>
                  </a:lnTo>
                  <a:lnTo>
                    <a:pt x="540" y="142"/>
                  </a:lnTo>
                  <a:lnTo>
                    <a:pt x="540" y="143"/>
                  </a:lnTo>
                  <a:lnTo>
                    <a:pt x="540" y="145"/>
                  </a:lnTo>
                  <a:lnTo>
                    <a:pt x="540" y="147"/>
                  </a:lnTo>
                  <a:lnTo>
                    <a:pt x="539" y="148"/>
                  </a:lnTo>
                  <a:lnTo>
                    <a:pt x="538" y="148"/>
                  </a:lnTo>
                  <a:lnTo>
                    <a:pt x="538" y="147"/>
                  </a:lnTo>
                  <a:lnTo>
                    <a:pt x="538" y="148"/>
                  </a:lnTo>
                  <a:lnTo>
                    <a:pt x="539" y="149"/>
                  </a:lnTo>
                  <a:lnTo>
                    <a:pt x="539" y="150"/>
                  </a:lnTo>
                  <a:lnTo>
                    <a:pt x="538" y="150"/>
                  </a:lnTo>
                  <a:lnTo>
                    <a:pt x="538" y="152"/>
                  </a:lnTo>
                  <a:lnTo>
                    <a:pt x="536" y="153"/>
                  </a:lnTo>
                  <a:lnTo>
                    <a:pt x="536" y="154"/>
                  </a:lnTo>
                  <a:lnTo>
                    <a:pt x="537" y="154"/>
                  </a:lnTo>
                  <a:lnTo>
                    <a:pt x="537" y="155"/>
                  </a:lnTo>
                  <a:lnTo>
                    <a:pt x="536" y="155"/>
                  </a:lnTo>
                  <a:lnTo>
                    <a:pt x="536" y="156"/>
                  </a:lnTo>
                  <a:lnTo>
                    <a:pt x="535" y="157"/>
                  </a:lnTo>
                  <a:lnTo>
                    <a:pt x="533" y="159"/>
                  </a:lnTo>
                  <a:lnTo>
                    <a:pt x="532" y="159"/>
                  </a:lnTo>
                  <a:lnTo>
                    <a:pt x="531" y="157"/>
                  </a:lnTo>
                  <a:lnTo>
                    <a:pt x="531" y="159"/>
                  </a:lnTo>
                  <a:lnTo>
                    <a:pt x="530" y="159"/>
                  </a:lnTo>
                  <a:lnTo>
                    <a:pt x="529" y="159"/>
                  </a:lnTo>
                  <a:lnTo>
                    <a:pt x="529" y="157"/>
                  </a:lnTo>
                  <a:lnTo>
                    <a:pt x="528" y="157"/>
                  </a:lnTo>
                  <a:lnTo>
                    <a:pt x="528" y="156"/>
                  </a:lnTo>
                  <a:lnTo>
                    <a:pt x="528" y="155"/>
                  </a:lnTo>
                  <a:lnTo>
                    <a:pt x="528" y="154"/>
                  </a:lnTo>
                  <a:lnTo>
                    <a:pt x="526" y="152"/>
                  </a:lnTo>
                  <a:lnTo>
                    <a:pt x="528" y="152"/>
                  </a:lnTo>
                  <a:lnTo>
                    <a:pt x="529" y="152"/>
                  </a:lnTo>
                  <a:lnTo>
                    <a:pt x="529" y="150"/>
                  </a:lnTo>
                  <a:lnTo>
                    <a:pt x="530" y="150"/>
                  </a:lnTo>
                  <a:lnTo>
                    <a:pt x="530" y="149"/>
                  </a:lnTo>
                  <a:lnTo>
                    <a:pt x="529" y="149"/>
                  </a:lnTo>
                  <a:lnTo>
                    <a:pt x="529" y="148"/>
                  </a:lnTo>
                  <a:lnTo>
                    <a:pt x="529" y="147"/>
                  </a:lnTo>
                  <a:lnTo>
                    <a:pt x="529" y="146"/>
                  </a:lnTo>
                  <a:lnTo>
                    <a:pt x="528" y="146"/>
                  </a:lnTo>
                  <a:lnTo>
                    <a:pt x="528" y="147"/>
                  </a:lnTo>
                  <a:lnTo>
                    <a:pt x="526" y="147"/>
                  </a:lnTo>
                  <a:lnTo>
                    <a:pt x="526" y="146"/>
                  </a:lnTo>
                  <a:lnTo>
                    <a:pt x="525" y="146"/>
                  </a:lnTo>
                  <a:lnTo>
                    <a:pt x="525" y="145"/>
                  </a:lnTo>
                  <a:lnTo>
                    <a:pt x="525" y="143"/>
                  </a:lnTo>
                  <a:lnTo>
                    <a:pt x="524" y="142"/>
                  </a:lnTo>
                  <a:lnTo>
                    <a:pt x="522" y="141"/>
                  </a:lnTo>
                  <a:lnTo>
                    <a:pt x="522" y="140"/>
                  </a:lnTo>
                  <a:lnTo>
                    <a:pt x="521" y="140"/>
                  </a:lnTo>
                  <a:lnTo>
                    <a:pt x="519" y="140"/>
                  </a:lnTo>
                  <a:lnTo>
                    <a:pt x="518" y="140"/>
                  </a:lnTo>
                  <a:lnTo>
                    <a:pt x="518" y="141"/>
                  </a:lnTo>
                  <a:lnTo>
                    <a:pt x="518" y="140"/>
                  </a:lnTo>
                  <a:lnTo>
                    <a:pt x="517" y="140"/>
                  </a:lnTo>
                  <a:lnTo>
                    <a:pt x="517" y="139"/>
                  </a:lnTo>
                  <a:lnTo>
                    <a:pt x="518" y="139"/>
                  </a:lnTo>
                  <a:lnTo>
                    <a:pt x="518" y="138"/>
                  </a:lnTo>
                  <a:lnTo>
                    <a:pt x="517" y="138"/>
                  </a:lnTo>
                  <a:lnTo>
                    <a:pt x="518" y="138"/>
                  </a:lnTo>
                  <a:lnTo>
                    <a:pt x="518" y="136"/>
                  </a:lnTo>
                  <a:lnTo>
                    <a:pt x="519" y="138"/>
                  </a:lnTo>
                  <a:lnTo>
                    <a:pt x="519" y="136"/>
                  </a:lnTo>
                  <a:lnTo>
                    <a:pt x="521" y="136"/>
                  </a:lnTo>
                  <a:lnTo>
                    <a:pt x="522" y="136"/>
                  </a:lnTo>
                  <a:lnTo>
                    <a:pt x="523" y="136"/>
                  </a:lnTo>
                  <a:lnTo>
                    <a:pt x="523" y="138"/>
                  </a:lnTo>
                  <a:lnTo>
                    <a:pt x="524" y="136"/>
                  </a:lnTo>
                  <a:lnTo>
                    <a:pt x="525" y="136"/>
                  </a:lnTo>
                  <a:lnTo>
                    <a:pt x="526" y="138"/>
                  </a:lnTo>
                  <a:lnTo>
                    <a:pt x="528" y="139"/>
                  </a:lnTo>
                  <a:lnTo>
                    <a:pt x="528" y="138"/>
                  </a:lnTo>
                  <a:lnTo>
                    <a:pt x="529" y="136"/>
                  </a:lnTo>
                  <a:lnTo>
                    <a:pt x="530" y="135"/>
                  </a:lnTo>
                  <a:lnTo>
                    <a:pt x="531" y="134"/>
                  </a:lnTo>
                  <a:lnTo>
                    <a:pt x="531" y="133"/>
                  </a:lnTo>
                  <a:lnTo>
                    <a:pt x="532" y="133"/>
                  </a:lnTo>
                  <a:lnTo>
                    <a:pt x="533" y="133"/>
                  </a:lnTo>
                  <a:lnTo>
                    <a:pt x="533" y="132"/>
                  </a:lnTo>
                  <a:lnTo>
                    <a:pt x="535" y="132"/>
                  </a:lnTo>
                  <a:lnTo>
                    <a:pt x="536" y="133"/>
                  </a:lnTo>
                  <a:lnTo>
                    <a:pt x="537" y="133"/>
                  </a:lnTo>
                  <a:lnTo>
                    <a:pt x="537" y="134"/>
                  </a:lnTo>
                  <a:lnTo>
                    <a:pt x="537" y="135"/>
                  </a:lnTo>
                  <a:lnTo>
                    <a:pt x="537" y="136"/>
                  </a:lnTo>
                  <a:lnTo>
                    <a:pt x="537" y="135"/>
                  </a:lnTo>
                  <a:lnTo>
                    <a:pt x="537" y="134"/>
                  </a:lnTo>
                  <a:lnTo>
                    <a:pt x="538" y="133"/>
                  </a:lnTo>
                  <a:lnTo>
                    <a:pt x="538" y="134"/>
                  </a:lnTo>
                  <a:lnTo>
                    <a:pt x="538" y="135"/>
                  </a:lnTo>
                  <a:lnTo>
                    <a:pt x="538" y="134"/>
                  </a:lnTo>
                  <a:lnTo>
                    <a:pt x="539" y="134"/>
                  </a:lnTo>
                  <a:lnTo>
                    <a:pt x="540" y="134"/>
                  </a:lnTo>
                  <a:lnTo>
                    <a:pt x="540" y="135"/>
                  </a:lnTo>
                  <a:lnTo>
                    <a:pt x="540" y="136"/>
                  </a:lnTo>
                  <a:lnTo>
                    <a:pt x="540" y="135"/>
                  </a:lnTo>
                  <a:lnTo>
                    <a:pt x="542" y="135"/>
                  </a:lnTo>
                  <a:lnTo>
                    <a:pt x="542" y="134"/>
                  </a:lnTo>
                  <a:lnTo>
                    <a:pt x="542" y="133"/>
                  </a:lnTo>
                  <a:lnTo>
                    <a:pt x="542" y="134"/>
                  </a:lnTo>
                  <a:lnTo>
                    <a:pt x="543" y="135"/>
                  </a:lnTo>
                  <a:lnTo>
                    <a:pt x="543" y="134"/>
                  </a:lnTo>
                  <a:lnTo>
                    <a:pt x="543" y="133"/>
                  </a:lnTo>
                  <a:lnTo>
                    <a:pt x="542" y="133"/>
                  </a:lnTo>
                  <a:lnTo>
                    <a:pt x="542" y="132"/>
                  </a:lnTo>
                  <a:lnTo>
                    <a:pt x="543" y="132"/>
                  </a:lnTo>
                  <a:lnTo>
                    <a:pt x="544" y="132"/>
                  </a:lnTo>
                  <a:lnTo>
                    <a:pt x="544" y="133"/>
                  </a:lnTo>
                  <a:lnTo>
                    <a:pt x="544" y="132"/>
                  </a:lnTo>
                  <a:lnTo>
                    <a:pt x="545" y="132"/>
                  </a:lnTo>
                  <a:lnTo>
                    <a:pt x="544" y="132"/>
                  </a:lnTo>
                  <a:lnTo>
                    <a:pt x="544" y="131"/>
                  </a:lnTo>
                  <a:lnTo>
                    <a:pt x="545" y="131"/>
                  </a:lnTo>
                  <a:lnTo>
                    <a:pt x="544" y="131"/>
                  </a:lnTo>
                  <a:lnTo>
                    <a:pt x="545" y="131"/>
                  </a:lnTo>
                  <a:lnTo>
                    <a:pt x="545" y="129"/>
                  </a:lnTo>
                  <a:lnTo>
                    <a:pt x="545" y="128"/>
                  </a:lnTo>
                  <a:lnTo>
                    <a:pt x="545" y="129"/>
                  </a:lnTo>
                  <a:lnTo>
                    <a:pt x="544" y="129"/>
                  </a:lnTo>
                  <a:lnTo>
                    <a:pt x="543" y="131"/>
                  </a:lnTo>
                  <a:lnTo>
                    <a:pt x="543" y="129"/>
                  </a:lnTo>
                  <a:lnTo>
                    <a:pt x="544" y="129"/>
                  </a:lnTo>
                  <a:lnTo>
                    <a:pt x="544" y="128"/>
                  </a:lnTo>
                  <a:lnTo>
                    <a:pt x="545" y="128"/>
                  </a:lnTo>
                  <a:lnTo>
                    <a:pt x="544" y="128"/>
                  </a:lnTo>
                  <a:lnTo>
                    <a:pt x="545" y="128"/>
                  </a:lnTo>
                  <a:lnTo>
                    <a:pt x="545" y="127"/>
                  </a:lnTo>
                  <a:lnTo>
                    <a:pt x="544" y="127"/>
                  </a:lnTo>
                  <a:lnTo>
                    <a:pt x="543" y="127"/>
                  </a:lnTo>
                  <a:lnTo>
                    <a:pt x="543" y="128"/>
                  </a:lnTo>
                  <a:lnTo>
                    <a:pt x="542" y="128"/>
                  </a:lnTo>
                  <a:lnTo>
                    <a:pt x="540" y="128"/>
                  </a:lnTo>
                  <a:lnTo>
                    <a:pt x="540" y="129"/>
                  </a:lnTo>
                  <a:lnTo>
                    <a:pt x="539" y="129"/>
                  </a:lnTo>
                  <a:lnTo>
                    <a:pt x="540" y="128"/>
                  </a:lnTo>
                  <a:lnTo>
                    <a:pt x="539" y="128"/>
                  </a:lnTo>
                  <a:lnTo>
                    <a:pt x="539" y="129"/>
                  </a:lnTo>
                  <a:lnTo>
                    <a:pt x="539" y="128"/>
                  </a:lnTo>
                  <a:lnTo>
                    <a:pt x="538" y="128"/>
                  </a:lnTo>
                  <a:lnTo>
                    <a:pt x="539" y="129"/>
                  </a:lnTo>
                  <a:lnTo>
                    <a:pt x="538" y="129"/>
                  </a:lnTo>
                  <a:lnTo>
                    <a:pt x="537" y="129"/>
                  </a:lnTo>
                  <a:lnTo>
                    <a:pt x="537" y="128"/>
                  </a:lnTo>
                  <a:lnTo>
                    <a:pt x="536" y="129"/>
                  </a:lnTo>
                  <a:lnTo>
                    <a:pt x="536" y="128"/>
                  </a:lnTo>
                  <a:lnTo>
                    <a:pt x="535" y="128"/>
                  </a:lnTo>
                  <a:lnTo>
                    <a:pt x="533" y="128"/>
                  </a:lnTo>
                  <a:lnTo>
                    <a:pt x="533" y="129"/>
                  </a:lnTo>
                  <a:lnTo>
                    <a:pt x="532" y="129"/>
                  </a:lnTo>
                  <a:lnTo>
                    <a:pt x="531" y="129"/>
                  </a:lnTo>
                  <a:lnTo>
                    <a:pt x="530" y="129"/>
                  </a:lnTo>
                  <a:lnTo>
                    <a:pt x="529" y="129"/>
                  </a:lnTo>
                  <a:lnTo>
                    <a:pt x="528" y="131"/>
                  </a:lnTo>
                  <a:lnTo>
                    <a:pt x="526" y="131"/>
                  </a:lnTo>
                  <a:lnTo>
                    <a:pt x="526" y="129"/>
                  </a:lnTo>
                  <a:lnTo>
                    <a:pt x="526" y="128"/>
                  </a:lnTo>
                  <a:lnTo>
                    <a:pt x="525" y="128"/>
                  </a:lnTo>
                  <a:lnTo>
                    <a:pt x="524" y="128"/>
                  </a:lnTo>
                  <a:lnTo>
                    <a:pt x="523" y="129"/>
                  </a:lnTo>
                  <a:lnTo>
                    <a:pt x="522" y="129"/>
                  </a:lnTo>
                  <a:lnTo>
                    <a:pt x="521" y="128"/>
                  </a:lnTo>
                  <a:lnTo>
                    <a:pt x="518" y="127"/>
                  </a:lnTo>
                  <a:lnTo>
                    <a:pt x="518" y="126"/>
                  </a:lnTo>
                  <a:lnTo>
                    <a:pt x="519" y="126"/>
                  </a:lnTo>
                  <a:lnTo>
                    <a:pt x="519" y="125"/>
                  </a:lnTo>
                  <a:lnTo>
                    <a:pt x="519" y="126"/>
                  </a:lnTo>
                  <a:lnTo>
                    <a:pt x="518" y="126"/>
                  </a:lnTo>
                  <a:lnTo>
                    <a:pt x="518" y="125"/>
                  </a:lnTo>
                  <a:lnTo>
                    <a:pt x="517" y="125"/>
                  </a:lnTo>
                  <a:lnTo>
                    <a:pt x="517" y="124"/>
                  </a:lnTo>
                  <a:lnTo>
                    <a:pt x="517" y="122"/>
                  </a:lnTo>
                  <a:lnTo>
                    <a:pt x="517" y="121"/>
                  </a:lnTo>
                  <a:lnTo>
                    <a:pt x="518" y="121"/>
                  </a:lnTo>
                  <a:lnTo>
                    <a:pt x="518" y="120"/>
                  </a:lnTo>
                  <a:lnTo>
                    <a:pt x="517" y="120"/>
                  </a:lnTo>
                  <a:lnTo>
                    <a:pt x="517" y="121"/>
                  </a:lnTo>
                  <a:lnTo>
                    <a:pt x="516" y="120"/>
                  </a:lnTo>
                  <a:lnTo>
                    <a:pt x="516" y="119"/>
                  </a:lnTo>
                  <a:lnTo>
                    <a:pt x="517" y="119"/>
                  </a:lnTo>
                  <a:lnTo>
                    <a:pt x="517" y="118"/>
                  </a:lnTo>
                  <a:lnTo>
                    <a:pt x="516" y="119"/>
                  </a:lnTo>
                  <a:lnTo>
                    <a:pt x="516" y="118"/>
                  </a:lnTo>
                  <a:lnTo>
                    <a:pt x="516" y="119"/>
                  </a:lnTo>
                  <a:lnTo>
                    <a:pt x="515" y="119"/>
                  </a:lnTo>
                  <a:lnTo>
                    <a:pt x="515" y="118"/>
                  </a:lnTo>
                  <a:lnTo>
                    <a:pt x="515" y="119"/>
                  </a:lnTo>
                  <a:lnTo>
                    <a:pt x="514" y="119"/>
                  </a:lnTo>
                  <a:lnTo>
                    <a:pt x="514" y="118"/>
                  </a:lnTo>
                  <a:lnTo>
                    <a:pt x="512" y="118"/>
                  </a:lnTo>
                  <a:lnTo>
                    <a:pt x="512" y="117"/>
                  </a:lnTo>
                  <a:lnTo>
                    <a:pt x="511" y="117"/>
                  </a:lnTo>
                  <a:lnTo>
                    <a:pt x="510" y="117"/>
                  </a:lnTo>
                  <a:lnTo>
                    <a:pt x="510" y="118"/>
                  </a:lnTo>
                  <a:lnTo>
                    <a:pt x="510" y="117"/>
                  </a:lnTo>
                  <a:lnTo>
                    <a:pt x="509" y="117"/>
                  </a:lnTo>
                  <a:lnTo>
                    <a:pt x="509" y="115"/>
                  </a:lnTo>
                  <a:lnTo>
                    <a:pt x="508" y="115"/>
                  </a:lnTo>
                  <a:lnTo>
                    <a:pt x="509" y="117"/>
                  </a:lnTo>
                  <a:lnTo>
                    <a:pt x="508" y="117"/>
                  </a:lnTo>
                  <a:lnTo>
                    <a:pt x="508" y="118"/>
                  </a:lnTo>
                  <a:lnTo>
                    <a:pt x="507" y="118"/>
                  </a:lnTo>
                  <a:lnTo>
                    <a:pt x="507" y="117"/>
                  </a:lnTo>
                  <a:lnTo>
                    <a:pt x="506" y="117"/>
                  </a:lnTo>
                  <a:lnTo>
                    <a:pt x="504" y="117"/>
                  </a:lnTo>
                  <a:lnTo>
                    <a:pt x="503" y="117"/>
                  </a:lnTo>
                  <a:lnTo>
                    <a:pt x="503" y="115"/>
                  </a:lnTo>
                  <a:lnTo>
                    <a:pt x="504" y="115"/>
                  </a:lnTo>
                  <a:lnTo>
                    <a:pt x="504" y="114"/>
                  </a:lnTo>
                  <a:lnTo>
                    <a:pt x="504" y="113"/>
                  </a:lnTo>
                  <a:lnTo>
                    <a:pt x="506" y="113"/>
                  </a:lnTo>
                  <a:lnTo>
                    <a:pt x="507" y="113"/>
                  </a:lnTo>
                  <a:lnTo>
                    <a:pt x="507" y="112"/>
                  </a:lnTo>
                  <a:lnTo>
                    <a:pt x="508" y="112"/>
                  </a:lnTo>
                  <a:lnTo>
                    <a:pt x="508" y="111"/>
                  </a:lnTo>
                  <a:lnTo>
                    <a:pt x="508" y="110"/>
                  </a:lnTo>
                  <a:lnTo>
                    <a:pt x="508" y="108"/>
                  </a:lnTo>
                  <a:lnTo>
                    <a:pt x="508" y="107"/>
                  </a:lnTo>
                  <a:lnTo>
                    <a:pt x="508" y="106"/>
                  </a:lnTo>
                  <a:lnTo>
                    <a:pt x="509" y="106"/>
                  </a:lnTo>
                  <a:lnTo>
                    <a:pt x="510" y="106"/>
                  </a:lnTo>
                  <a:lnTo>
                    <a:pt x="511" y="105"/>
                  </a:lnTo>
                  <a:lnTo>
                    <a:pt x="511" y="106"/>
                  </a:lnTo>
                  <a:lnTo>
                    <a:pt x="512" y="106"/>
                  </a:lnTo>
                  <a:lnTo>
                    <a:pt x="515" y="105"/>
                  </a:lnTo>
                  <a:lnTo>
                    <a:pt x="516" y="105"/>
                  </a:lnTo>
                  <a:lnTo>
                    <a:pt x="517" y="104"/>
                  </a:lnTo>
                  <a:lnTo>
                    <a:pt x="517" y="103"/>
                  </a:lnTo>
                  <a:lnTo>
                    <a:pt x="518" y="103"/>
                  </a:lnTo>
                  <a:lnTo>
                    <a:pt x="519" y="103"/>
                  </a:lnTo>
                  <a:lnTo>
                    <a:pt x="519" y="101"/>
                  </a:lnTo>
                  <a:lnTo>
                    <a:pt x="521" y="100"/>
                  </a:lnTo>
                  <a:lnTo>
                    <a:pt x="522" y="100"/>
                  </a:lnTo>
                  <a:lnTo>
                    <a:pt x="523" y="100"/>
                  </a:lnTo>
                  <a:lnTo>
                    <a:pt x="524" y="99"/>
                  </a:lnTo>
                  <a:close/>
                  <a:moveTo>
                    <a:pt x="135" y="100"/>
                  </a:moveTo>
                  <a:lnTo>
                    <a:pt x="135" y="101"/>
                  </a:lnTo>
                  <a:lnTo>
                    <a:pt x="135" y="103"/>
                  </a:lnTo>
                  <a:lnTo>
                    <a:pt x="134" y="103"/>
                  </a:lnTo>
                  <a:lnTo>
                    <a:pt x="134" y="104"/>
                  </a:lnTo>
                  <a:lnTo>
                    <a:pt x="134" y="103"/>
                  </a:lnTo>
                  <a:lnTo>
                    <a:pt x="133" y="103"/>
                  </a:lnTo>
                  <a:lnTo>
                    <a:pt x="133" y="104"/>
                  </a:lnTo>
                  <a:lnTo>
                    <a:pt x="132" y="104"/>
                  </a:lnTo>
                  <a:lnTo>
                    <a:pt x="132" y="103"/>
                  </a:lnTo>
                  <a:lnTo>
                    <a:pt x="131" y="101"/>
                  </a:lnTo>
                  <a:lnTo>
                    <a:pt x="131" y="100"/>
                  </a:lnTo>
                  <a:lnTo>
                    <a:pt x="132" y="100"/>
                  </a:lnTo>
                  <a:lnTo>
                    <a:pt x="132" y="99"/>
                  </a:lnTo>
                  <a:lnTo>
                    <a:pt x="132" y="100"/>
                  </a:lnTo>
                  <a:lnTo>
                    <a:pt x="133" y="100"/>
                  </a:lnTo>
                  <a:lnTo>
                    <a:pt x="134" y="99"/>
                  </a:lnTo>
                  <a:lnTo>
                    <a:pt x="135" y="99"/>
                  </a:lnTo>
                  <a:lnTo>
                    <a:pt x="135" y="100"/>
                  </a:lnTo>
                  <a:close/>
                  <a:moveTo>
                    <a:pt x="379" y="99"/>
                  </a:moveTo>
                  <a:lnTo>
                    <a:pt x="380" y="99"/>
                  </a:lnTo>
                  <a:lnTo>
                    <a:pt x="379" y="100"/>
                  </a:lnTo>
                  <a:lnTo>
                    <a:pt x="378" y="100"/>
                  </a:lnTo>
                  <a:lnTo>
                    <a:pt x="376" y="100"/>
                  </a:lnTo>
                  <a:lnTo>
                    <a:pt x="376" y="99"/>
                  </a:lnTo>
                  <a:lnTo>
                    <a:pt x="378" y="99"/>
                  </a:lnTo>
                  <a:lnTo>
                    <a:pt x="379" y="99"/>
                  </a:lnTo>
                  <a:close/>
                  <a:moveTo>
                    <a:pt x="457" y="100"/>
                  </a:moveTo>
                  <a:lnTo>
                    <a:pt x="458" y="100"/>
                  </a:lnTo>
                  <a:lnTo>
                    <a:pt x="458" y="101"/>
                  </a:lnTo>
                  <a:lnTo>
                    <a:pt x="457" y="103"/>
                  </a:lnTo>
                  <a:lnTo>
                    <a:pt x="457" y="104"/>
                  </a:lnTo>
                  <a:lnTo>
                    <a:pt x="458" y="104"/>
                  </a:lnTo>
                  <a:lnTo>
                    <a:pt x="458" y="105"/>
                  </a:lnTo>
                  <a:lnTo>
                    <a:pt x="459" y="105"/>
                  </a:lnTo>
                  <a:lnTo>
                    <a:pt x="460" y="105"/>
                  </a:lnTo>
                  <a:lnTo>
                    <a:pt x="460" y="106"/>
                  </a:lnTo>
                  <a:lnTo>
                    <a:pt x="461" y="106"/>
                  </a:lnTo>
                  <a:lnTo>
                    <a:pt x="460" y="106"/>
                  </a:lnTo>
                  <a:lnTo>
                    <a:pt x="460" y="107"/>
                  </a:lnTo>
                  <a:lnTo>
                    <a:pt x="459" y="107"/>
                  </a:lnTo>
                  <a:lnTo>
                    <a:pt x="458" y="107"/>
                  </a:lnTo>
                  <a:lnTo>
                    <a:pt x="458" y="106"/>
                  </a:lnTo>
                  <a:lnTo>
                    <a:pt x="457" y="106"/>
                  </a:lnTo>
                  <a:lnTo>
                    <a:pt x="455" y="106"/>
                  </a:lnTo>
                  <a:lnTo>
                    <a:pt x="454" y="106"/>
                  </a:lnTo>
                  <a:lnTo>
                    <a:pt x="454" y="105"/>
                  </a:lnTo>
                  <a:lnTo>
                    <a:pt x="455" y="104"/>
                  </a:lnTo>
                  <a:lnTo>
                    <a:pt x="454" y="104"/>
                  </a:lnTo>
                  <a:lnTo>
                    <a:pt x="454" y="103"/>
                  </a:lnTo>
                  <a:lnTo>
                    <a:pt x="453" y="103"/>
                  </a:lnTo>
                  <a:lnTo>
                    <a:pt x="453" y="101"/>
                  </a:lnTo>
                  <a:lnTo>
                    <a:pt x="452" y="101"/>
                  </a:lnTo>
                  <a:lnTo>
                    <a:pt x="452" y="100"/>
                  </a:lnTo>
                  <a:lnTo>
                    <a:pt x="453" y="100"/>
                  </a:lnTo>
                  <a:lnTo>
                    <a:pt x="453" y="99"/>
                  </a:lnTo>
                  <a:lnTo>
                    <a:pt x="454" y="99"/>
                  </a:lnTo>
                  <a:lnTo>
                    <a:pt x="454" y="100"/>
                  </a:lnTo>
                  <a:lnTo>
                    <a:pt x="455" y="100"/>
                  </a:lnTo>
                  <a:lnTo>
                    <a:pt x="455" y="99"/>
                  </a:lnTo>
                  <a:lnTo>
                    <a:pt x="455" y="98"/>
                  </a:lnTo>
                  <a:lnTo>
                    <a:pt x="457" y="99"/>
                  </a:lnTo>
                  <a:lnTo>
                    <a:pt x="457" y="100"/>
                  </a:lnTo>
                  <a:close/>
                  <a:moveTo>
                    <a:pt x="134" y="99"/>
                  </a:moveTo>
                  <a:lnTo>
                    <a:pt x="133" y="99"/>
                  </a:lnTo>
                  <a:lnTo>
                    <a:pt x="133" y="98"/>
                  </a:lnTo>
                  <a:lnTo>
                    <a:pt x="134" y="98"/>
                  </a:lnTo>
                  <a:lnTo>
                    <a:pt x="134" y="99"/>
                  </a:lnTo>
                  <a:close/>
                  <a:moveTo>
                    <a:pt x="381" y="99"/>
                  </a:moveTo>
                  <a:lnTo>
                    <a:pt x="381" y="100"/>
                  </a:lnTo>
                  <a:lnTo>
                    <a:pt x="380" y="100"/>
                  </a:lnTo>
                  <a:lnTo>
                    <a:pt x="380" y="99"/>
                  </a:lnTo>
                  <a:lnTo>
                    <a:pt x="380" y="98"/>
                  </a:lnTo>
                  <a:lnTo>
                    <a:pt x="380" y="99"/>
                  </a:lnTo>
                  <a:lnTo>
                    <a:pt x="381" y="99"/>
                  </a:lnTo>
                  <a:close/>
                  <a:moveTo>
                    <a:pt x="451" y="98"/>
                  </a:moveTo>
                  <a:lnTo>
                    <a:pt x="452" y="98"/>
                  </a:lnTo>
                  <a:lnTo>
                    <a:pt x="452" y="99"/>
                  </a:lnTo>
                  <a:lnTo>
                    <a:pt x="452" y="100"/>
                  </a:lnTo>
                  <a:lnTo>
                    <a:pt x="452" y="101"/>
                  </a:lnTo>
                  <a:lnTo>
                    <a:pt x="451" y="101"/>
                  </a:lnTo>
                  <a:lnTo>
                    <a:pt x="450" y="101"/>
                  </a:lnTo>
                  <a:lnTo>
                    <a:pt x="450" y="100"/>
                  </a:lnTo>
                  <a:lnTo>
                    <a:pt x="450" y="99"/>
                  </a:lnTo>
                  <a:lnTo>
                    <a:pt x="450" y="98"/>
                  </a:lnTo>
                  <a:lnTo>
                    <a:pt x="451" y="98"/>
                  </a:lnTo>
                  <a:close/>
                  <a:moveTo>
                    <a:pt x="51" y="101"/>
                  </a:moveTo>
                  <a:lnTo>
                    <a:pt x="51" y="103"/>
                  </a:lnTo>
                  <a:lnTo>
                    <a:pt x="51" y="101"/>
                  </a:lnTo>
                  <a:lnTo>
                    <a:pt x="49" y="103"/>
                  </a:lnTo>
                  <a:lnTo>
                    <a:pt x="48" y="103"/>
                  </a:lnTo>
                  <a:lnTo>
                    <a:pt x="48" y="101"/>
                  </a:lnTo>
                  <a:lnTo>
                    <a:pt x="49" y="100"/>
                  </a:lnTo>
                  <a:lnTo>
                    <a:pt x="49" y="99"/>
                  </a:lnTo>
                  <a:lnTo>
                    <a:pt x="49" y="98"/>
                  </a:lnTo>
                  <a:lnTo>
                    <a:pt x="51" y="98"/>
                  </a:lnTo>
                  <a:lnTo>
                    <a:pt x="51" y="99"/>
                  </a:lnTo>
                  <a:lnTo>
                    <a:pt x="51" y="100"/>
                  </a:lnTo>
                  <a:lnTo>
                    <a:pt x="51" y="101"/>
                  </a:lnTo>
                  <a:close/>
                  <a:moveTo>
                    <a:pt x="124" y="99"/>
                  </a:moveTo>
                  <a:lnTo>
                    <a:pt x="123" y="99"/>
                  </a:lnTo>
                  <a:lnTo>
                    <a:pt x="123" y="100"/>
                  </a:lnTo>
                  <a:lnTo>
                    <a:pt x="121" y="100"/>
                  </a:lnTo>
                  <a:lnTo>
                    <a:pt x="121" y="99"/>
                  </a:lnTo>
                  <a:lnTo>
                    <a:pt x="121" y="100"/>
                  </a:lnTo>
                  <a:lnTo>
                    <a:pt x="120" y="99"/>
                  </a:lnTo>
                  <a:lnTo>
                    <a:pt x="120" y="98"/>
                  </a:lnTo>
                  <a:lnTo>
                    <a:pt x="121" y="98"/>
                  </a:lnTo>
                  <a:lnTo>
                    <a:pt x="121" y="97"/>
                  </a:lnTo>
                  <a:lnTo>
                    <a:pt x="123" y="98"/>
                  </a:lnTo>
                  <a:lnTo>
                    <a:pt x="124" y="98"/>
                  </a:lnTo>
                  <a:lnTo>
                    <a:pt x="124" y="99"/>
                  </a:lnTo>
                  <a:close/>
                  <a:moveTo>
                    <a:pt x="381" y="97"/>
                  </a:moveTo>
                  <a:lnTo>
                    <a:pt x="381" y="98"/>
                  </a:lnTo>
                  <a:lnTo>
                    <a:pt x="382" y="98"/>
                  </a:lnTo>
                  <a:lnTo>
                    <a:pt x="381" y="98"/>
                  </a:lnTo>
                  <a:lnTo>
                    <a:pt x="381" y="97"/>
                  </a:lnTo>
                  <a:close/>
                  <a:moveTo>
                    <a:pt x="383" y="97"/>
                  </a:moveTo>
                  <a:lnTo>
                    <a:pt x="383" y="98"/>
                  </a:lnTo>
                  <a:lnTo>
                    <a:pt x="383" y="99"/>
                  </a:lnTo>
                  <a:lnTo>
                    <a:pt x="384" y="99"/>
                  </a:lnTo>
                  <a:lnTo>
                    <a:pt x="383" y="99"/>
                  </a:lnTo>
                  <a:lnTo>
                    <a:pt x="383" y="98"/>
                  </a:lnTo>
                  <a:lnTo>
                    <a:pt x="382" y="98"/>
                  </a:lnTo>
                  <a:lnTo>
                    <a:pt x="382" y="97"/>
                  </a:lnTo>
                  <a:lnTo>
                    <a:pt x="383" y="97"/>
                  </a:lnTo>
                  <a:close/>
                  <a:moveTo>
                    <a:pt x="373" y="97"/>
                  </a:moveTo>
                  <a:lnTo>
                    <a:pt x="373" y="96"/>
                  </a:lnTo>
                  <a:lnTo>
                    <a:pt x="374" y="96"/>
                  </a:lnTo>
                  <a:lnTo>
                    <a:pt x="374" y="97"/>
                  </a:lnTo>
                  <a:lnTo>
                    <a:pt x="373" y="97"/>
                  </a:lnTo>
                  <a:close/>
                  <a:moveTo>
                    <a:pt x="502" y="93"/>
                  </a:moveTo>
                  <a:lnTo>
                    <a:pt x="503" y="94"/>
                  </a:lnTo>
                  <a:lnTo>
                    <a:pt x="504" y="94"/>
                  </a:lnTo>
                  <a:lnTo>
                    <a:pt x="506" y="94"/>
                  </a:lnTo>
                  <a:lnTo>
                    <a:pt x="504" y="94"/>
                  </a:lnTo>
                  <a:lnTo>
                    <a:pt x="506" y="94"/>
                  </a:lnTo>
                  <a:lnTo>
                    <a:pt x="507" y="96"/>
                  </a:lnTo>
                  <a:lnTo>
                    <a:pt x="508" y="96"/>
                  </a:lnTo>
                  <a:lnTo>
                    <a:pt x="508" y="97"/>
                  </a:lnTo>
                  <a:lnTo>
                    <a:pt x="509" y="97"/>
                  </a:lnTo>
                  <a:lnTo>
                    <a:pt x="508" y="97"/>
                  </a:lnTo>
                  <a:lnTo>
                    <a:pt x="508" y="98"/>
                  </a:lnTo>
                  <a:lnTo>
                    <a:pt x="509" y="98"/>
                  </a:lnTo>
                  <a:lnTo>
                    <a:pt x="509" y="99"/>
                  </a:lnTo>
                  <a:lnTo>
                    <a:pt x="508" y="99"/>
                  </a:lnTo>
                  <a:lnTo>
                    <a:pt x="508" y="100"/>
                  </a:lnTo>
                  <a:lnTo>
                    <a:pt x="507" y="99"/>
                  </a:lnTo>
                  <a:lnTo>
                    <a:pt x="506" y="99"/>
                  </a:lnTo>
                  <a:lnTo>
                    <a:pt x="504" y="99"/>
                  </a:lnTo>
                  <a:lnTo>
                    <a:pt x="503" y="99"/>
                  </a:lnTo>
                  <a:lnTo>
                    <a:pt x="503" y="98"/>
                  </a:lnTo>
                  <a:lnTo>
                    <a:pt x="502" y="98"/>
                  </a:lnTo>
                  <a:lnTo>
                    <a:pt x="501" y="98"/>
                  </a:lnTo>
                  <a:lnTo>
                    <a:pt x="501" y="97"/>
                  </a:lnTo>
                  <a:lnTo>
                    <a:pt x="501" y="96"/>
                  </a:lnTo>
                  <a:lnTo>
                    <a:pt x="500" y="96"/>
                  </a:lnTo>
                  <a:lnTo>
                    <a:pt x="500" y="94"/>
                  </a:lnTo>
                  <a:lnTo>
                    <a:pt x="499" y="96"/>
                  </a:lnTo>
                  <a:lnTo>
                    <a:pt x="500" y="96"/>
                  </a:lnTo>
                  <a:lnTo>
                    <a:pt x="499" y="96"/>
                  </a:lnTo>
                  <a:lnTo>
                    <a:pt x="500" y="96"/>
                  </a:lnTo>
                  <a:lnTo>
                    <a:pt x="500" y="97"/>
                  </a:lnTo>
                  <a:lnTo>
                    <a:pt x="501" y="98"/>
                  </a:lnTo>
                  <a:lnTo>
                    <a:pt x="501" y="99"/>
                  </a:lnTo>
                  <a:lnTo>
                    <a:pt x="502" y="99"/>
                  </a:lnTo>
                  <a:lnTo>
                    <a:pt x="502" y="98"/>
                  </a:lnTo>
                  <a:lnTo>
                    <a:pt x="503" y="98"/>
                  </a:lnTo>
                  <a:lnTo>
                    <a:pt x="503" y="99"/>
                  </a:lnTo>
                  <a:lnTo>
                    <a:pt x="503" y="100"/>
                  </a:lnTo>
                  <a:lnTo>
                    <a:pt x="502" y="100"/>
                  </a:lnTo>
                  <a:lnTo>
                    <a:pt x="501" y="100"/>
                  </a:lnTo>
                  <a:lnTo>
                    <a:pt x="500" y="100"/>
                  </a:lnTo>
                  <a:lnTo>
                    <a:pt x="500" y="99"/>
                  </a:lnTo>
                  <a:lnTo>
                    <a:pt x="500" y="98"/>
                  </a:lnTo>
                  <a:lnTo>
                    <a:pt x="499" y="99"/>
                  </a:lnTo>
                  <a:lnTo>
                    <a:pt x="499" y="100"/>
                  </a:lnTo>
                  <a:lnTo>
                    <a:pt x="497" y="100"/>
                  </a:lnTo>
                  <a:lnTo>
                    <a:pt x="499" y="100"/>
                  </a:lnTo>
                  <a:lnTo>
                    <a:pt x="497" y="100"/>
                  </a:lnTo>
                  <a:lnTo>
                    <a:pt x="497" y="99"/>
                  </a:lnTo>
                  <a:lnTo>
                    <a:pt x="497" y="98"/>
                  </a:lnTo>
                  <a:lnTo>
                    <a:pt x="496" y="98"/>
                  </a:lnTo>
                  <a:lnTo>
                    <a:pt x="495" y="98"/>
                  </a:lnTo>
                  <a:lnTo>
                    <a:pt x="494" y="98"/>
                  </a:lnTo>
                  <a:lnTo>
                    <a:pt x="494" y="97"/>
                  </a:lnTo>
                  <a:lnTo>
                    <a:pt x="493" y="97"/>
                  </a:lnTo>
                  <a:lnTo>
                    <a:pt x="494" y="97"/>
                  </a:lnTo>
                  <a:lnTo>
                    <a:pt x="495" y="97"/>
                  </a:lnTo>
                  <a:lnTo>
                    <a:pt x="496" y="97"/>
                  </a:lnTo>
                  <a:lnTo>
                    <a:pt x="495" y="97"/>
                  </a:lnTo>
                  <a:lnTo>
                    <a:pt x="496" y="97"/>
                  </a:lnTo>
                  <a:lnTo>
                    <a:pt x="496" y="96"/>
                  </a:lnTo>
                  <a:lnTo>
                    <a:pt x="495" y="96"/>
                  </a:lnTo>
                  <a:lnTo>
                    <a:pt x="495" y="97"/>
                  </a:lnTo>
                  <a:lnTo>
                    <a:pt x="494" y="97"/>
                  </a:lnTo>
                  <a:lnTo>
                    <a:pt x="494" y="96"/>
                  </a:lnTo>
                  <a:lnTo>
                    <a:pt x="495" y="96"/>
                  </a:lnTo>
                  <a:lnTo>
                    <a:pt x="495" y="94"/>
                  </a:lnTo>
                  <a:lnTo>
                    <a:pt x="495" y="96"/>
                  </a:lnTo>
                  <a:lnTo>
                    <a:pt x="495" y="94"/>
                  </a:lnTo>
                  <a:lnTo>
                    <a:pt x="496" y="94"/>
                  </a:lnTo>
                  <a:lnTo>
                    <a:pt x="496" y="96"/>
                  </a:lnTo>
                  <a:lnTo>
                    <a:pt x="496" y="94"/>
                  </a:lnTo>
                  <a:lnTo>
                    <a:pt x="496" y="96"/>
                  </a:lnTo>
                  <a:lnTo>
                    <a:pt x="497" y="94"/>
                  </a:lnTo>
                  <a:lnTo>
                    <a:pt x="499" y="94"/>
                  </a:lnTo>
                  <a:lnTo>
                    <a:pt x="500" y="94"/>
                  </a:lnTo>
                  <a:lnTo>
                    <a:pt x="501" y="94"/>
                  </a:lnTo>
                  <a:lnTo>
                    <a:pt x="501" y="93"/>
                  </a:lnTo>
                  <a:lnTo>
                    <a:pt x="502" y="93"/>
                  </a:lnTo>
                  <a:close/>
                  <a:moveTo>
                    <a:pt x="52" y="98"/>
                  </a:moveTo>
                  <a:lnTo>
                    <a:pt x="52" y="99"/>
                  </a:lnTo>
                  <a:lnTo>
                    <a:pt x="52" y="100"/>
                  </a:lnTo>
                  <a:lnTo>
                    <a:pt x="51" y="99"/>
                  </a:lnTo>
                  <a:lnTo>
                    <a:pt x="49" y="97"/>
                  </a:lnTo>
                  <a:lnTo>
                    <a:pt x="49" y="96"/>
                  </a:lnTo>
                  <a:lnTo>
                    <a:pt x="49" y="94"/>
                  </a:lnTo>
                  <a:lnTo>
                    <a:pt x="48" y="94"/>
                  </a:lnTo>
                  <a:lnTo>
                    <a:pt x="48" y="93"/>
                  </a:lnTo>
                  <a:lnTo>
                    <a:pt x="49" y="93"/>
                  </a:lnTo>
                  <a:lnTo>
                    <a:pt x="51" y="94"/>
                  </a:lnTo>
                  <a:lnTo>
                    <a:pt x="51" y="96"/>
                  </a:lnTo>
                  <a:lnTo>
                    <a:pt x="51" y="97"/>
                  </a:lnTo>
                  <a:lnTo>
                    <a:pt x="52" y="98"/>
                  </a:lnTo>
                  <a:close/>
                  <a:moveTo>
                    <a:pt x="135" y="93"/>
                  </a:moveTo>
                  <a:lnTo>
                    <a:pt x="137" y="93"/>
                  </a:lnTo>
                  <a:lnTo>
                    <a:pt x="137" y="94"/>
                  </a:lnTo>
                  <a:lnTo>
                    <a:pt x="137" y="96"/>
                  </a:lnTo>
                  <a:lnTo>
                    <a:pt x="138" y="96"/>
                  </a:lnTo>
                  <a:lnTo>
                    <a:pt x="138" y="97"/>
                  </a:lnTo>
                  <a:lnTo>
                    <a:pt x="139" y="97"/>
                  </a:lnTo>
                  <a:lnTo>
                    <a:pt x="139" y="96"/>
                  </a:lnTo>
                  <a:lnTo>
                    <a:pt x="140" y="97"/>
                  </a:lnTo>
                  <a:lnTo>
                    <a:pt x="140" y="98"/>
                  </a:lnTo>
                  <a:lnTo>
                    <a:pt x="141" y="98"/>
                  </a:lnTo>
                  <a:lnTo>
                    <a:pt x="140" y="98"/>
                  </a:lnTo>
                  <a:lnTo>
                    <a:pt x="140" y="99"/>
                  </a:lnTo>
                  <a:lnTo>
                    <a:pt x="139" y="98"/>
                  </a:lnTo>
                  <a:lnTo>
                    <a:pt x="138" y="98"/>
                  </a:lnTo>
                  <a:lnTo>
                    <a:pt x="138" y="97"/>
                  </a:lnTo>
                  <a:lnTo>
                    <a:pt x="137" y="97"/>
                  </a:lnTo>
                  <a:lnTo>
                    <a:pt x="137" y="98"/>
                  </a:lnTo>
                  <a:lnTo>
                    <a:pt x="135" y="98"/>
                  </a:lnTo>
                  <a:lnTo>
                    <a:pt x="134" y="98"/>
                  </a:lnTo>
                  <a:lnTo>
                    <a:pt x="134" y="97"/>
                  </a:lnTo>
                  <a:lnTo>
                    <a:pt x="133" y="97"/>
                  </a:lnTo>
                  <a:lnTo>
                    <a:pt x="134" y="97"/>
                  </a:lnTo>
                  <a:lnTo>
                    <a:pt x="134" y="96"/>
                  </a:lnTo>
                  <a:lnTo>
                    <a:pt x="135" y="93"/>
                  </a:lnTo>
                  <a:close/>
                  <a:moveTo>
                    <a:pt x="483" y="97"/>
                  </a:moveTo>
                  <a:lnTo>
                    <a:pt x="482" y="96"/>
                  </a:lnTo>
                  <a:lnTo>
                    <a:pt x="481" y="94"/>
                  </a:lnTo>
                  <a:lnTo>
                    <a:pt x="481" y="93"/>
                  </a:lnTo>
                  <a:lnTo>
                    <a:pt x="480" y="93"/>
                  </a:lnTo>
                  <a:lnTo>
                    <a:pt x="481" y="93"/>
                  </a:lnTo>
                  <a:lnTo>
                    <a:pt x="482" y="94"/>
                  </a:lnTo>
                  <a:lnTo>
                    <a:pt x="483" y="96"/>
                  </a:lnTo>
                  <a:lnTo>
                    <a:pt x="485" y="97"/>
                  </a:lnTo>
                  <a:lnTo>
                    <a:pt x="483" y="97"/>
                  </a:lnTo>
                  <a:close/>
                  <a:moveTo>
                    <a:pt x="454" y="91"/>
                  </a:moveTo>
                  <a:lnTo>
                    <a:pt x="454" y="92"/>
                  </a:lnTo>
                  <a:lnTo>
                    <a:pt x="454" y="93"/>
                  </a:lnTo>
                  <a:lnTo>
                    <a:pt x="454" y="94"/>
                  </a:lnTo>
                  <a:lnTo>
                    <a:pt x="454" y="93"/>
                  </a:lnTo>
                  <a:lnTo>
                    <a:pt x="454" y="92"/>
                  </a:lnTo>
                  <a:lnTo>
                    <a:pt x="454" y="91"/>
                  </a:lnTo>
                  <a:close/>
                  <a:moveTo>
                    <a:pt x="53" y="91"/>
                  </a:moveTo>
                  <a:lnTo>
                    <a:pt x="54" y="91"/>
                  </a:lnTo>
                  <a:lnTo>
                    <a:pt x="55" y="91"/>
                  </a:lnTo>
                  <a:lnTo>
                    <a:pt x="56" y="92"/>
                  </a:lnTo>
                  <a:lnTo>
                    <a:pt x="55" y="92"/>
                  </a:lnTo>
                  <a:lnTo>
                    <a:pt x="54" y="92"/>
                  </a:lnTo>
                  <a:lnTo>
                    <a:pt x="53" y="92"/>
                  </a:lnTo>
                  <a:lnTo>
                    <a:pt x="52" y="92"/>
                  </a:lnTo>
                  <a:lnTo>
                    <a:pt x="52" y="91"/>
                  </a:lnTo>
                  <a:lnTo>
                    <a:pt x="53" y="91"/>
                  </a:lnTo>
                  <a:close/>
                  <a:moveTo>
                    <a:pt x="134" y="91"/>
                  </a:moveTo>
                  <a:lnTo>
                    <a:pt x="134" y="92"/>
                  </a:lnTo>
                  <a:lnTo>
                    <a:pt x="134" y="93"/>
                  </a:lnTo>
                  <a:lnTo>
                    <a:pt x="133" y="92"/>
                  </a:lnTo>
                  <a:lnTo>
                    <a:pt x="133" y="91"/>
                  </a:lnTo>
                  <a:lnTo>
                    <a:pt x="134" y="91"/>
                  </a:lnTo>
                  <a:close/>
                  <a:moveTo>
                    <a:pt x="134" y="90"/>
                  </a:moveTo>
                  <a:lnTo>
                    <a:pt x="135" y="90"/>
                  </a:lnTo>
                  <a:lnTo>
                    <a:pt x="137" y="92"/>
                  </a:lnTo>
                  <a:lnTo>
                    <a:pt x="138" y="93"/>
                  </a:lnTo>
                  <a:lnTo>
                    <a:pt x="137" y="93"/>
                  </a:lnTo>
                  <a:lnTo>
                    <a:pt x="137" y="92"/>
                  </a:lnTo>
                  <a:lnTo>
                    <a:pt x="135" y="92"/>
                  </a:lnTo>
                  <a:lnTo>
                    <a:pt x="135" y="91"/>
                  </a:lnTo>
                  <a:lnTo>
                    <a:pt x="134" y="90"/>
                  </a:lnTo>
                  <a:close/>
                  <a:moveTo>
                    <a:pt x="112" y="90"/>
                  </a:moveTo>
                  <a:lnTo>
                    <a:pt x="111" y="90"/>
                  </a:lnTo>
                  <a:lnTo>
                    <a:pt x="111" y="89"/>
                  </a:lnTo>
                  <a:lnTo>
                    <a:pt x="112" y="89"/>
                  </a:lnTo>
                  <a:lnTo>
                    <a:pt x="112" y="90"/>
                  </a:lnTo>
                  <a:close/>
                  <a:moveTo>
                    <a:pt x="133" y="89"/>
                  </a:moveTo>
                  <a:lnTo>
                    <a:pt x="132" y="87"/>
                  </a:lnTo>
                  <a:lnTo>
                    <a:pt x="133" y="87"/>
                  </a:lnTo>
                  <a:lnTo>
                    <a:pt x="133" y="89"/>
                  </a:lnTo>
                  <a:close/>
                  <a:moveTo>
                    <a:pt x="454" y="89"/>
                  </a:moveTo>
                  <a:lnTo>
                    <a:pt x="454" y="90"/>
                  </a:lnTo>
                  <a:lnTo>
                    <a:pt x="453" y="90"/>
                  </a:lnTo>
                  <a:lnTo>
                    <a:pt x="453" y="89"/>
                  </a:lnTo>
                  <a:lnTo>
                    <a:pt x="453" y="87"/>
                  </a:lnTo>
                  <a:lnTo>
                    <a:pt x="454" y="87"/>
                  </a:lnTo>
                  <a:lnTo>
                    <a:pt x="454" y="89"/>
                  </a:lnTo>
                  <a:close/>
                  <a:moveTo>
                    <a:pt x="115" y="84"/>
                  </a:moveTo>
                  <a:lnTo>
                    <a:pt x="115" y="85"/>
                  </a:lnTo>
                  <a:lnTo>
                    <a:pt x="115" y="84"/>
                  </a:lnTo>
                  <a:lnTo>
                    <a:pt x="115" y="83"/>
                  </a:lnTo>
                  <a:lnTo>
                    <a:pt x="115" y="84"/>
                  </a:lnTo>
                  <a:close/>
                  <a:moveTo>
                    <a:pt x="120" y="84"/>
                  </a:moveTo>
                  <a:lnTo>
                    <a:pt x="120" y="83"/>
                  </a:lnTo>
                  <a:lnTo>
                    <a:pt x="120" y="84"/>
                  </a:lnTo>
                  <a:close/>
                  <a:moveTo>
                    <a:pt x="116" y="85"/>
                  </a:moveTo>
                  <a:lnTo>
                    <a:pt x="116" y="83"/>
                  </a:lnTo>
                  <a:lnTo>
                    <a:pt x="117" y="83"/>
                  </a:lnTo>
                  <a:lnTo>
                    <a:pt x="118" y="83"/>
                  </a:lnTo>
                  <a:lnTo>
                    <a:pt x="118" y="84"/>
                  </a:lnTo>
                  <a:lnTo>
                    <a:pt x="118" y="85"/>
                  </a:lnTo>
                  <a:lnTo>
                    <a:pt x="117" y="85"/>
                  </a:lnTo>
                  <a:lnTo>
                    <a:pt x="116" y="85"/>
                  </a:lnTo>
                  <a:close/>
                  <a:moveTo>
                    <a:pt x="132" y="84"/>
                  </a:moveTo>
                  <a:lnTo>
                    <a:pt x="131" y="84"/>
                  </a:lnTo>
                  <a:lnTo>
                    <a:pt x="131" y="83"/>
                  </a:lnTo>
                  <a:lnTo>
                    <a:pt x="132" y="84"/>
                  </a:lnTo>
                  <a:close/>
                  <a:moveTo>
                    <a:pt x="138" y="83"/>
                  </a:moveTo>
                  <a:lnTo>
                    <a:pt x="138" y="82"/>
                  </a:lnTo>
                  <a:lnTo>
                    <a:pt x="138" y="83"/>
                  </a:lnTo>
                  <a:close/>
                  <a:moveTo>
                    <a:pt x="454" y="82"/>
                  </a:moveTo>
                  <a:lnTo>
                    <a:pt x="454" y="83"/>
                  </a:lnTo>
                  <a:lnTo>
                    <a:pt x="454" y="84"/>
                  </a:lnTo>
                  <a:lnTo>
                    <a:pt x="453" y="84"/>
                  </a:lnTo>
                  <a:lnTo>
                    <a:pt x="453" y="83"/>
                  </a:lnTo>
                  <a:lnTo>
                    <a:pt x="453" y="82"/>
                  </a:lnTo>
                  <a:lnTo>
                    <a:pt x="454" y="82"/>
                  </a:lnTo>
                  <a:close/>
                  <a:moveTo>
                    <a:pt x="551" y="82"/>
                  </a:moveTo>
                  <a:lnTo>
                    <a:pt x="550" y="82"/>
                  </a:lnTo>
                  <a:lnTo>
                    <a:pt x="551" y="82"/>
                  </a:lnTo>
                  <a:close/>
                  <a:moveTo>
                    <a:pt x="115" y="82"/>
                  </a:moveTo>
                  <a:lnTo>
                    <a:pt x="115" y="83"/>
                  </a:lnTo>
                  <a:lnTo>
                    <a:pt x="115" y="82"/>
                  </a:lnTo>
                  <a:lnTo>
                    <a:pt x="116" y="82"/>
                  </a:lnTo>
                  <a:lnTo>
                    <a:pt x="115" y="82"/>
                  </a:lnTo>
                  <a:close/>
                  <a:moveTo>
                    <a:pt x="137" y="82"/>
                  </a:moveTo>
                  <a:lnTo>
                    <a:pt x="135" y="82"/>
                  </a:lnTo>
                  <a:lnTo>
                    <a:pt x="134" y="82"/>
                  </a:lnTo>
                  <a:lnTo>
                    <a:pt x="135" y="82"/>
                  </a:lnTo>
                  <a:lnTo>
                    <a:pt x="137" y="82"/>
                  </a:lnTo>
                  <a:close/>
                  <a:moveTo>
                    <a:pt x="132" y="82"/>
                  </a:moveTo>
                  <a:lnTo>
                    <a:pt x="132" y="83"/>
                  </a:lnTo>
                  <a:lnTo>
                    <a:pt x="131" y="83"/>
                  </a:lnTo>
                  <a:lnTo>
                    <a:pt x="131" y="82"/>
                  </a:lnTo>
                  <a:lnTo>
                    <a:pt x="130" y="82"/>
                  </a:lnTo>
                  <a:lnTo>
                    <a:pt x="131" y="82"/>
                  </a:lnTo>
                  <a:lnTo>
                    <a:pt x="132" y="82"/>
                  </a:lnTo>
                  <a:close/>
                  <a:moveTo>
                    <a:pt x="124" y="82"/>
                  </a:moveTo>
                  <a:lnTo>
                    <a:pt x="123" y="82"/>
                  </a:lnTo>
                  <a:lnTo>
                    <a:pt x="123" y="80"/>
                  </a:lnTo>
                  <a:lnTo>
                    <a:pt x="124" y="80"/>
                  </a:lnTo>
                  <a:lnTo>
                    <a:pt x="124" y="82"/>
                  </a:lnTo>
                  <a:close/>
                  <a:moveTo>
                    <a:pt x="453" y="82"/>
                  </a:moveTo>
                  <a:lnTo>
                    <a:pt x="452" y="82"/>
                  </a:lnTo>
                  <a:lnTo>
                    <a:pt x="452" y="80"/>
                  </a:lnTo>
                  <a:lnTo>
                    <a:pt x="453" y="80"/>
                  </a:lnTo>
                  <a:lnTo>
                    <a:pt x="453" y="82"/>
                  </a:lnTo>
                  <a:close/>
                  <a:moveTo>
                    <a:pt x="120" y="82"/>
                  </a:moveTo>
                  <a:lnTo>
                    <a:pt x="120" y="80"/>
                  </a:lnTo>
                  <a:lnTo>
                    <a:pt x="119" y="80"/>
                  </a:lnTo>
                  <a:lnTo>
                    <a:pt x="120" y="80"/>
                  </a:lnTo>
                  <a:lnTo>
                    <a:pt x="120" y="82"/>
                  </a:lnTo>
                  <a:close/>
                  <a:moveTo>
                    <a:pt x="126" y="82"/>
                  </a:moveTo>
                  <a:lnTo>
                    <a:pt x="126" y="80"/>
                  </a:lnTo>
                  <a:lnTo>
                    <a:pt x="125" y="80"/>
                  </a:lnTo>
                  <a:lnTo>
                    <a:pt x="125" y="79"/>
                  </a:lnTo>
                  <a:lnTo>
                    <a:pt x="126" y="79"/>
                  </a:lnTo>
                  <a:lnTo>
                    <a:pt x="126" y="80"/>
                  </a:lnTo>
                  <a:lnTo>
                    <a:pt x="127" y="82"/>
                  </a:lnTo>
                  <a:lnTo>
                    <a:pt x="126" y="82"/>
                  </a:lnTo>
                  <a:close/>
                  <a:moveTo>
                    <a:pt x="120" y="83"/>
                  </a:moveTo>
                  <a:lnTo>
                    <a:pt x="119" y="84"/>
                  </a:lnTo>
                  <a:lnTo>
                    <a:pt x="119" y="83"/>
                  </a:lnTo>
                  <a:lnTo>
                    <a:pt x="118" y="82"/>
                  </a:lnTo>
                  <a:lnTo>
                    <a:pt x="118" y="80"/>
                  </a:lnTo>
                  <a:lnTo>
                    <a:pt x="119" y="79"/>
                  </a:lnTo>
                  <a:lnTo>
                    <a:pt x="119" y="80"/>
                  </a:lnTo>
                  <a:lnTo>
                    <a:pt x="120" y="80"/>
                  </a:lnTo>
                  <a:lnTo>
                    <a:pt x="120" y="82"/>
                  </a:lnTo>
                  <a:lnTo>
                    <a:pt x="120" y="83"/>
                  </a:lnTo>
                  <a:close/>
                  <a:moveTo>
                    <a:pt x="125" y="82"/>
                  </a:moveTo>
                  <a:lnTo>
                    <a:pt x="124" y="80"/>
                  </a:lnTo>
                  <a:lnTo>
                    <a:pt x="124" y="79"/>
                  </a:lnTo>
                  <a:lnTo>
                    <a:pt x="125" y="79"/>
                  </a:lnTo>
                  <a:lnTo>
                    <a:pt x="125" y="80"/>
                  </a:lnTo>
                  <a:lnTo>
                    <a:pt x="125" y="82"/>
                  </a:lnTo>
                  <a:close/>
                  <a:moveTo>
                    <a:pt x="120" y="79"/>
                  </a:moveTo>
                  <a:lnTo>
                    <a:pt x="120" y="80"/>
                  </a:lnTo>
                  <a:lnTo>
                    <a:pt x="119" y="79"/>
                  </a:lnTo>
                  <a:lnTo>
                    <a:pt x="120" y="79"/>
                  </a:lnTo>
                  <a:close/>
                  <a:moveTo>
                    <a:pt x="130" y="79"/>
                  </a:moveTo>
                  <a:lnTo>
                    <a:pt x="131" y="79"/>
                  </a:lnTo>
                  <a:lnTo>
                    <a:pt x="131" y="80"/>
                  </a:lnTo>
                  <a:lnTo>
                    <a:pt x="130" y="82"/>
                  </a:lnTo>
                  <a:lnTo>
                    <a:pt x="130" y="80"/>
                  </a:lnTo>
                  <a:lnTo>
                    <a:pt x="128" y="80"/>
                  </a:lnTo>
                  <a:lnTo>
                    <a:pt x="128" y="79"/>
                  </a:lnTo>
                  <a:lnTo>
                    <a:pt x="128" y="78"/>
                  </a:lnTo>
                  <a:lnTo>
                    <a:pt x="130" y="78"/>
                  </a:lnTo>
                  <a:lnTo>
                    <a:pt x="130" y="79"/>
                  </a:lnTo>
                  <a:close/>
                  <a:moveTo>
                    <a:pt x="126" y="78"/>
                  </a:moveTo>
                  <a:lnTo>
                    <a:pt x="127" y="78"/>
                  </a:lnTo>
                  <a:lnTo>
                    <a:pt x="127" y="79"/>
                  </a:lnTo>
                  <a:lnTo>
                    <a:pt x="126" y="79"/>
                  </a:lnTo>
                  <a:lnTo>
                    <a:pt x="125" y="78"/>
                  </a:lnTo>
                  <a:lnTo>
                    <a:pt x="126" y="78"/>
                  </a:lnTo>
                  <a:lnTo>
                    <a:pt x="126" y="77"/>
                  </a:lnTo>
                  <a:lnTo>
                    <a:pt x="126" y="78"/>
                  </a:lnTo>
                  <a:close/>
                  <a:moveTo>
                    <a:pt x="139" y="78"/>
                  </a:moveTo>
                  <a:lnTo>
                    <a:pt x="139" y="77"/>
                  </a:lnTo>
                  <a:lnTo>
                    <a:pt x="139" y="78"/>
                  </a:lnTo>
                  <a:close/>
                  <a:moveTo>
                    <a:pt x="508" y="77"/>
                  </a:moveTo>
                  <a:lnTo>
                    <a:pt x="508" y="78"/>
                  </a:lnTo>
                  <a:lnTo>
                    <a:pt x="508" y="77"/>
                  </a:lnTo>
                  <a:close/>
                  <a:moveTo>
                    <a:pt x="177" y="78"/>
                  </a:moveTo>
                  <a:lnTo>
                    <a:pt x="176" y="78"/>
                  </a:lnTo>
                  <a:lnTo>
                    <a:pt x="176" y="77"/>
                  </a:lnTo>
                  <a:lnTo>
                    <a:pt x="177" y="77"/>
                  </a:lnTo>
                  <a:lnTo>
                    <a:pt x="177" y="78"/>
                  </a:lnTo>
                  <a:close/>
                  <a:moveTo>
                    <a:pt x="360" y="77"/>
                  </a:moveTo>
                  <a:lnTo>
                    <a:pt x="359" y="77"/>
                  </a:lnTo>
                  <a:lnTo>
                    <a:pt x="360" y="77"/>
                  </a:lnTo>
                  <a:close/>
                  <a:moveTo>
                    <a:pt x="357" y="77"/>
                  </a:moveTo>
                  <a:lnTo>
                    <a:pt x="355" y="77"/>
                  </a:lnTo>
                  <a:lnTo>
                    <a:pt x="357" y="77"/>
                  </a:lnTo>
                  <a:close/>
                  <a:moveTo>
                    <a:pt x="119" y="78"/>
                  </a:moveTo>
                  <a:lnTo>
                    <a:pt x="120" y="78"/>
                  </a:lnTo>
                  <a:lnTo>
                    <a:pt x="119" y="78"/>
                  </a:lnTo>
                  <a:lnTo>
                    <a:pt x="118" y="78"/>
                  </a:lnTo>
                  <a:lnTo>
                    <a:pt x="118" y="77"/>
                  </a:lnTo>
                  <a:lnTo>
                    <a:pt x="118" y="76"/>
                  </a:lnTo>
                  <a:lnTo>
                    <a:pt x="119" y="76"/>
                  </a:lnTo>
                  <a:lnTo>
                    <a:pt x="119" y="77"/>
                  </a:lnTo>
                  <a:lnTo>
                    <a:pt x="119" y="78"/>
                  </a:lnTo>
                  <a:close/>
                  <a:moveTo>
                    <a:pt x="109" y="78"/>
                  </a:moveTo>
                  <a:lnTo>
                    <a:pt x="110" y="78"/>
                  </a:lnTo>
                  <a:lnTo>
                    <a:pt x="111" y="78"/>
                  </a:lnTo>
                  <a:lnTo>
                    <a:pt x="112" y="79"/>
                  </a:lnTo>
                  <a:lnTo>
                    <a:pt x="113" y="80"/>
                  </a:lnTo>
                  <a:lnTo>
                    <a:pt x="115" y="80"/>
                  </a:lnTo>
                  <a:lnTo>
                    <a:pt x="115" y="82"/>
                  </a:lnTo>
                  <a:lnTo>
                    <a:pt x="115" y="83"/>
                  </a:lnTo>
                  <a:lnTo>
                    <a:pt x="113" y="83"/>
                  </a:lnTo>
                  <a:lnTo>
                    <a:pt x="112" y="82"/>
                  </a:lnTo>
                  <a:lnTo>
                    <a:pt x="111" y="82"/>
                  </a:lnTo>
                  <a:lnTo>
                    <a:pt x="110" y="82"/>
                  </a:lnTo>
                  <a:lnTo>
                    <a:pt x="110" y="80"/>
                  </a:lnTo>
                  <a:lnTo>
                    <a:pt x="109" y="80"/>
                  </a:lnTo>
                  <a:lnTo>
                    <a:pt x="108" y="82"/>
                  </a:lnTo>
                  <a:lnTo>
                    <a:pt x="106" y="82"/>
                  </a:lnTo>
                  <a:lnTo>
                    <a:pt x="106" y="80"/>
                  </a:lnTo>
                  <a:lnTo>
                    <a:pt x="105" y="80"/>
                  </a:lnTo>
                  <a:lnTo>
                    <a:pt x="105" y="79"/>
                  </a:lnTo>
                  <a:lnTo>
                    <a:pt x="106" y="79"/>
                  </a:lnTo>
                  <a:lnTo>
                    <a:pt x="106" y="78"/>
                  </a:lnTo>
                  <a:lnTo>
                    <a:pt x="106" y="77"/>
                  </a:lnTo>
                  <a:lnTo>
                    <a:pt x="106" y="76"/>
                  </a:lnTo>
                  <a:lnTo>
                    <a:pt x="108" y="76"/>
                  </a:lnTo>
                  <a:lnTo>
                    <a:pt x="108" y="77"/>
                  </a:lnTo>
                  <a:lnTo>
                    <a:pt x="109" y="77"/>
                  </a:lnTo>
                  <a:lnTo>
                    <a:pt x="108" y="77"/>
                  </a:lnTo>
                  <a:lnTo>
                    <a:pt x="108" y="78"/>
                  </a:lnTo>
                  <a:lnTo>
                    <a:pt x="109" y="78"/>
                  </a:lnTo>
                  <a:close/>
                  <a:moveTo>
                    <a:pt x="115" y="77"/>
                  </a:moveTo>
                  <a:lnTo>
                    <a:pt x="115" y="78"/>
                  </a:lnTo>
                  <a:lnTo>
                    <a:pt x="116" y="79"/>
                  </a:lnTo>
                  <a:lnTo>
                    <a:pt x="116" y="80"/>
                  </a:lnTo>
                  <a:lnTo>
                    <a:pt x="115" y="80"/>
                  </a:lnTo>
                  <a:lnTo>
                    <a:pt x="113" y="79"/>
                  </a:lnTo>
                  <a:lnTo>
                    <a:pt x="112" y="78"/>
                  </a:lnTo>
                  <a:lnTo>
                    <a:pt x="111" y="78"/>
                  </a:lnTo>
                  <a:lnTo>
                    <a:pt x="111" y="77"/>
                  </a:lnTo>
                  <a:lnTo>
                    <a:pt x="110" y="77"/>
                  </a:lnTo>
                  <a:lnTo>
                    <a:pt x="109" y="78"/>
                  </a:lnTo>
                  <a:lnTo>
                    <a:pt x="109" y="77"/>
                  </a:lnTo>
                  <a:lnTo>
                    <a:pt x="109" y="76"/>
                  </a:lnTo>
                  <a:lnTo>
                    <a:pt x="110" y="76"/>
                  </a:lnTo>
                  <a:lnTo>
                    <a:pt x="111" y="76"/>
                  </a:lnTo>
                  <a:lnTo>
                    <a:pt x="112" y="76"/>
                  </a:lnTo>
                  <a:lnTo>
                    <a:pt x="113" y="77"/>
                  </a:lnTo>
                  <a:lnTo>
                    <a:pt x="115" y="77"/>
                  </a:lnTo>
                  <a:close/>
                  <a:moveTo>
                    <a:pt x="130" y="76"/>
                  </a:moveTo>
                  <a:lnTo>
                    <a:pt x="130" y="77"/>
                  </a:lnTo>
                  <a:lnTo>
                    <a:pt x="128" y="77"/>
                  </a:lnTo>
                  <a:lnTo>
                    <a:pt x="130" y="77"/>
                  </a:lnTo>
                  <a:lnTo>
                    <a:pt x="128" y="77"/>
                  </a:lnTo>
                  <a:lnTo>
                    <a:pt x="128" y="78"/>
                  </a:lnTo>
                  <a:lnTo>
                    <a:pt x="127" y="78"/>
                  </a:lnTo>
                  <a:lnTo>
                    <a:pt x="126" y="77"/>
                  </a:lnTo>
                  <a:lnTo>
                    <a:pt x="126" y="76"/>
                  </a:lnTo>
                  <a:lnTo>
                    <a:pt x="126" y="77"/>
                  </a:lnTo>
                  <a:lnTo>
                    <a:pt x="127" y="77"/>
                  </a:lnTo>
                  <a:lnTo>
                    <a:pt x="127" y="76"/>
                  </a:lnTo>
                  <a:lnTo>
                    <a:pt x="126" y="76"/>
                  </a:lnTo>
                  <a:lnTo>
                    <a:pt x="127" y="76"/>
                  </a:lnTo>
                  <a:lnTo>
                    <a:pt x="127" y="75"/>
                  </a:lnTo>
                  <a:lnTo>
                    <a:pt x="128" y="75"/>
                  </a:lnTo>
                  <a:lnTo>
                    <a:pt x="128" y="76"/>
                  </a:lnTo>
                  <a:lnTo>
                    <a:pt x="128" y="75"/>
                  </a:lnTo>
                  <a:lnTo>
                    <a:pt x="130" y="75"/>
                  </a:lnTo>
                  <a:lnTo>
                    <a:pt x="130" y="76"/>
                  </a:lnTo>
                  <a:close/>
                  <a:moveTo>
                    <a:pt x="135" y="75"/>
                  </a:moveTo>
                  <a:lnTo>
                    <a:pt x="135" y="76"/>
                  </a:lnTo>
                  <a:lnTo>
                    <a:pt x="137" y="76"/>
                  </a:lnTo>
                  <a:lnTo>
                    <a:pt x="137" y="77"/>
                  </a:lnTo>
                  <a:lnTo>
                    <a:pt x="137" y="78"/>
                  </a:lnTo>
                  <a:lnTo>
                    <a:pt x="137" y="79"/>
                  </a:lnTo>
                  <a:lnTo>
                    <a:pt x="135" y="80"/>
                  </a:lnTo>
                  <a:lnTo>
                    <a:pt x="134" y="80"/>
                  </a:lnTo>
                  <a:lnTo>
                    <a:pt x="134" y="79"/>
                  </a:lnTo>
                  <a:lnTo>
                    <a:pt x="133" y="78"/>
                  </a:lnTo>
                  <a:lnTo>
                    <a:pt x="134" y="78"/>
                  </a:lnTo>
                  <a:lnTo>
                    <a:pt x="134" y="77"/>
                  </a:lnTo>
                  <a:lnTo>
                    <a:pt x="133" y="77"/>
                  </a:lnTo>
                  <a:lnTo>
                    <a:pt x="132" y="77"/>
                  </a:lnTo>
                  <a:lnTo>
                    <a:pt x="132" y="78"/>
                  </a:lnTo>
                  <a:lnTo>
                    <a:pt x="131" y="78"/>
                  </a:lnTo>
                  <a:lnTo>
                    <a:pt x="131" y="77"/>
                  </a:lnTo>
                  <a:lnTo>
                    <a:pt x="131" y="76"/>
                  </a:lnTo>
                  <a:lnTo>
                    <a:pt x="132" y="76"/>
                  </a:lnTo>
                  <a:lnTo>
                    <a:pt x="132" y="75"/>
                  </a:lnTo>
                  <a:lnTo>
                    <a:pt x="133" y="75"/>
                  </a:lnTo>
                  <a:lnTo>
                    <a:pt x="134" y="75"/>
                  </a:lnTo>
                  <a:lnTo>
                    <a:pt x="135" y="75"/>
                  </a:lnTo>
                  <a:close/>
                  <a:moveTo>
                    <a:pt x="439" y="73"/>
                  </a:moveTo>
                  <a:lnTo>
                    <a:pt x="439" y="72"/>
                  </a:lnTo>
                  <a:lnTo>
                    <a:pt x="440" y="72"/>
                  </a:lnTo>
                  <a:lnTo>
                    <a:pt x="439" y="73"/>
                  </a:lnTo>
                  <a:close/>
                  <a:moveTo>
                    <a:pt x="106" y="78"/>
                  </a:moveTo>
                  <a:lnTo>
                    <a:pt x="105" y="78"/>
                  </a:lnTo>
                  <a:lnTo>
                    <a:pt x="105" y="79"/>
                  </a:lnTo>
                  <a:lnTo>
                    <a:pt x="104" y="78"/>
                  </a:lnTo>
                  <a:lnTo>
                    <a:pt x="103" y="77"/>
                  </a:lnTo>
                  <a:lnTo>
                    <a:pt x="103" y="76"/>
                  </a:lnTo>
                  <a:lnTo>
                    <a:pt x="103" y="75"/>
                  </a:lnTo>
                  <a:lnTo>
                    <a:pt x="103" y="73"/>
                  </a:lnTo>
                  <a:lnTo>
                    <a:pt x="103" y="72"/>
                  </a:lnTo>
                  <a:lnTo>
                    <a:pt x="103" y="71"/>
                  </a:lnTo>
                  <a:lnTo>
                    <a:pt x="104" y="71"/>
                  </a:lnTo>
                  <a:lnTo>
                    <a:pt x="104" y="72"/>
                  </a:lnTo>
                  <a:lnTo>
                    <a:pt x="105" y="72"/>
                  </a:lnTo>
                  <a:lnTo>
                    <a:pt x="106" y="73"/>
                  </a:lnTo>
                  <a:lnTo>
                    <a:pt x="106" y="75"/>
                  </a:lnTo>
                  <a:lnTo>
                    <a:pt x="106" y="76"/>
                  </a:lnTo>
                  <a:lnTo>
                    <a:pt x="106" y="77"/>
                  </a:lnTo>
                  <a:lnTo>
                    <a:pt x="106" y="78"/>
                  </a:lnTo>
                  <a:close/>
                  <a:moveTo>
                    <a:pt x="35" y="70"/>
                  </a:moveTo>
                  <a:lnTo>
                    <a:pt x="37" y="70"/>
                  </a:lnTo>
                  <a:lnTo>
                    <a:pt x="37" y="71"/>
                  </a:lnTo>
                  <a:lnTo>
                    <a:pt x="38" y="71"/>
                  </a:lnTo>
                  <a:lnTo>
                    <a:pt x="38" y="72"/>
                  </a:lnTo>
                  <a:lnTo>
                    <a:pt x="39" y="73"/>
                  </a:lnTo>
                  <a:lnTo>
                    <a:pt x="40" y="75"/>
                  </a:lnTo>
                  <a:lnTo>
                    <a:pt x="40" y="76"/>
                  </a:lnTo>
                  <a:lnTo>
                    <a:pt x="41" y="76"/>
                  </a:lnTo>
                  <a:lnTo>
                    <a:pt x="41" y="77"/>
                  </a:lnTo>
                  <a:lnTo>
                    <a:pt x="42" y="77"/>
                  </a:lnTo>
                  <a:lnTo>
                    <a:pt x="42" y="78"/>
                  </a:lnTo>
                  <a:lnTo>
                    <a:pt x="44" y="78"/>
                  </a:lnTo>
                  <a:lnTo>
                    <a:pt x="42" y="78"/>
                  </a:lnTo>
                  <a:lnTo>
                    <a:pt x="42" y="79"/>
                  </a:lnTo>
                  <a:lnTo>
                    <a:pt x="42" y="80"/>
                  </a:lnTo>
                  <a:lnTo>
                    <a:pt x="42" y="82"/>
                  </a:lnTo>
                  <a:lnTo>
                    <a:pt x="42" y="83"/>
                  </a:lnTo>
                  <a:lnTo>
                    <a:pt x="42" y="84"/>
                  </a:lnTo>
                  <a:lnTo>
                    <a:pt x="41" y="85"/>
                  </a:lnTo>
                  <a:lnTo>
                    <a:pt x="41" y="84"/>
                  </a:lnTo>
                  <a:lnTo>
                    <a:pt x="40" y="85"/>
                  </a:lnTo>
                  <a:lnTo>
                    <a:pt x="40" y="84"/>
                  </a:lnTo>
                  <a:lnTo>
                    <a:pt x="40" y="85"/>
                  </a:lnTo>
                  <a:lnTo>
                    <a:pt x="40" y="84"/>
                  </a:lnTo>
                  <a:lnTo>
                    <a:pt x="39" y="84"/>
                  </a:lnTo>
                  <a:lnTo>
                    <a:pt x="40" y="84"/>
                  </a:lnTo>
                  <a:lnTo>
                    <a:pt x="39" y="83"/>
                  </a:lnTo>
                  <a:lnTo>
                    <a:pt x="39" y="82"/>
                  </a:lnTo>
                  <a:lnTo>
                    <a:pt x="39" y="80"/>
                  </a:lnTo>
                  <a:lnTo>
                    <a:pt x="38" y="80"/>
                  </a:lnTo>
                  <a:lnTo>
                    <a:pt x="37" y="79"/>
                  </a:lnTo>
                  <a:lnTo>
                    <a:pt x="37" y="78"/>
                  </a:lnTo>
                  <a:lnTo>
                    <a:pt x="35" y="79"/>
                  </a:lnTo>
                  <a:lnTo>
                    <a:pt x="35" y="78"/>
                  </a:lnTo>
                  <a:lnTo>
                    <a:pt x="35" y="77"/>
                  </a:lnTo>
                  <a:lnTo>
                    <a:pt x="34" y="76"/>
                  </a:lnTo>
                  <a:lnTo>
                    <a:pt x="34" y="75"/>
                  </a:lnTo>
                  <a:lnTo>
                    <a:pt x="33" y="75"/>
                  </a:lnTo>
                  <a:lnTo>
                    <a:pt x="33" y="73"/>
                  </a:lnTo>
                  <a:lnTo>
                    <a:pt x="32" y="73"/>
                  </a:lnTo>
                  <a:lnTo>
                    <a:pt x="32" y="72"/>
                  </a:lnTo>
                  <a:lnTo>
                    <a:pt x="32" y="71"/>
                  </a:lnTo>
                  <a:lnTo>
                    <a:pt x="31" y="71"/>
                  </a:lnTo>
                  <a:lnTo>
                    <a:pt x="32" y="71"/>
                  </a:lnTo>
                  <a:lnTo>
                    <a:pt x="33" y="71"/>
                  </a:lnTo>
                  <a:lnTo>
                    <a:pt x="34" y="71"/>
                  </a:lnTo>
                  <a:lnTo>
                    <a:pt x="34" y="70"/>
                  </a:lnTo>
                  <a:lnTo>
                    <a:pt x="34" y="69"/>
                  </a:lnTo>
                  <a:lnTo>
                    <a:pt x="35" y="70"/>
                  </a:lnTo>
                  <a:close/>
                  <a:moveTo>
                    <a:pt x="423" y="71"/>
                  </a:moveTo>
                  <a:lnTo>
                    <a:pt x="424" y="71"/>
                  </a:lnTo>
                  <a:lnTo>
                    <a:pt x="424" y="69"/>
                  </a:lnTo>
                  <a:lnTo>
                    <a:pt x="424" y="70"/>
                  </a:lnTo>
                  <a:lnTo>
                    <a:pt x="424" y="71"/>
                  </a:lnTo>
                  <a:lnTo>
                    <a:pt x="423" y="71"/>
                  </a:lnTo>
                  <a:close/>
                  <a:moveTo>
                    <a:pt x="103" y="69"/>
                  </a:moveTo>
                  <a:lnTo>
                    <a:pt x="104" y="69"/>
                  </a:lnTo>
                  <a:lnTo>
                    <a:pt x="105" y="69"/>
                  </a:lnTo>
                  <a:lnTo>
                    <a:pt x="106" y="70"/>
                  </a:lnTo>
                  <a:lnTo>
                    <a:pt x="106" y="71"/>
                  </a:lnTo>
                  <a:lnTo>
                    <a:pt x="106" y="72"/>
                  </a:lnTo>
                  <a:lnTo>
                    <a:pt x="106" y="73"/>
                  </a:lnTo>
                  <a:lnTo>
                    <a:pt x="105" y="73"/>
                  </a:lnTo>
                  <a:lnTo>
                    <a:pt x="105" y="72"/>
                  </a:lnTo>
                  <a:lnTo>
                    <a:pt x="104" y="71"/>
                  </a:lnTo>
                  <a:lnTo>
                    <a:pt x="102" y="71"/>
                  </a:lnTo>
                  <a:lnTo>
                    <a:pt x="101" y="70"/>
                  </a:lnTo>
                  <a:lnTo>
                    <a:pt x="99" y="69"/>
                  </a:lnTo>
                  <a:lnTo>
                    <a:pt x="99" y="68"/>
                  </a:lnTo>
                  <a:lnTo>
                    <a:pt x="101" y="68"/>
                  </a:lnTo>
                  <a:lnTo>
                    <a:pt x="102" y="69"/>
                  </a:lnTo>
                  <a:lnTo>
                    <a:pt x="103" y="69"/>
                  </a:lnTo>
                  <a:close/>
                  <a:moveTo>
                    <a:pt x="51" y="68"/>
                  </a:moveTo>
                  <a:lnTo>
                    <a:pt x="52" y="68"/>
                  </a:lnTo>
                  <a:lnTo>
                    <a:pt x="51" y="68"/>
                  </a:lnTo>
                  <a:lnTo>
                    <a:pt x="49" y="68"/>
                  </a:lnTo>
                  <a:lnTo>
                    <a:pt x="49" y="66"/>
                  </a:lnTo>
                  <a:lnTo>
                    <a:pt x="51" y="66"/>
                  </a:lnTo>
                  <a:lnTo>
                    <a:pt x="51" y="68"/>
                  </a:lnTo>
                  <a:close/>
                  <a:moveTo>
                    <a:pt x="421" y="68"/>
                  </a:moveTo>
                  <a:lnTo>
                    <a:pt x="422" y="68"/>
                  </a:lnTo>
                  <a:lnTo>
                    <a:pt x="423" y="68"/>
                  </a:lnTo>
                  <a:lnTo>
                    <a:pt x="423" y="69"/>
                  </a:lnTo>
                  <a:lnTo>
                    <a:pt x="424" y="70"/>
                  </a:lnTo>
                  <a:lnTo>
                    <a:pt x="423" y="71"/>
                  </a:lnTo>
                  <a:lnTo>
                    <a:pt x="422" y="71"/>
                  </a:lnTo>
                  <a:lnTo>
                    <a:pt x="422" y="72"/>
                  </a:lnTo>
                  <a:lnTo>
                    <a:pt x="421" y="75"/>
                  </a:lnTo>
                  <a:lnTo>
                    <a:pt x="421" y="77"/>
                  </a:lnTo>
                  <a:lnTo>
                    <a:pt x="419" y="77"/>
                  </a:lnTo>
                  <a:lnTo>
                    <a:pt x="419" y="78"/>
                  </a:lnTo>
                  <a:lnTo>
                    <a:pt x="418" y="78"/>
                  </a:lnTo>
                  <a:lnTo>
                    <a:pt x="418" y="79"/>
                  </a:lnTo>
                  <a:lnTo>
                    <a:pt x="417" y="79"/>
                  </a:lnTo>
                  <a:lnTo>
                    <a:pt x="416" y="80"/>
                  </a:lnTo>
                  <a:lnTo>
                    <a:pt x="416" y="82"/>
                  </a:lnTo>
                  <a:lnTo>
                    <a:pt x="416" y="83"/>
                  </a:lnTo>
                  <a:lnTo>
                    <a:pt x="415" y="83"/>
                  </a:lnTo>
                  <a:lnTo>
                    <a:pt x="415" y="84"/>
                  </a:lnTo>
                  <a:lnTo>
                    <a:pt x="414" y="84"/>
                  </a:lnTo>
                  <a:lnTo>
                    <a:pt x="414" y="85"/>
                  </a:lnTo>
                  <a:lnTo>
                    <a:pt x="414" y="86"/>
                  </a:lnTo>
                  <a:lnTo>
                    <a:pt x="412" y="86"/>
                  </a:lnTo>
                  <a:lnTo>
                    <a:pt x="411" y="87"/>
                  </a:lnTo>
                  <a:lnTo>
                    <a:pt x="409" y="87"/>
                  </a:lnTo>
                  <a:lnTo>
                    <a:pt x="408" y="87"/>
                  </a:lnTo>
                  <a:lnTo>
                    <a:pt x="408" y="89"/>
                  </a:lnTo>
                  <a:lnTo>
                    <a:pt x="407" y="87"/>
                  </a:lnTo>
                  <a:lnTo>
                    <a:pt x="407" y="89"/>
                  </a:lnTo>
                  <a:lnTo>
                    <a:pt x="405" y="89"/>
                  </a:lnTo>
                  <a:lnTo>
                    <a:pt x="404" y="89"/>
                  </a:lnTo>
                  <a:lnTo>
                    <a:pt x="403" y="89"/>
                  </a:lnTo>
                  <a:lnTo>
                    <a:pt x="402" y="89"/>
                  </a:lnTo>
                  <a:lnTo>
                    <a:pt x="402" y="90"/>
                  </a:lnTo>
                  <a:lnTo>
                    <a:pt x="401" y="90"/>
                  </a:lnTo>
                  <a:lnTo>
                    <a:pt x="401" y="89"/>
                  </a:lnTo>
                  <a:lnTo>
                    <a:pt x="400" y="89"/>
                  </a:lnTo>
                  <a:lnTo>
                    <a:pt x="398" y="89"/>
                  </a:lnTo>
                  <a:lnTo>
                    <a:pt x="396" y="89"/>
                  </a:lnTo>
                  <a:lnTo>
                    <a:pt x="395" y="87"/>
                  </a:lnTo>
                  <a:lnTo>
                    <a:pt x="395" y="86"/>
                  </a:lnTo>
                  <a:lnTo>
                    <a:pt x="394" y="86"/>
                  </a:lnTo>
                  <a:lnTo>
                    <a:pt x="394" y="85"/>
                  </a:lnTo>
                  <a:lnTo>
                    <a:pt x="394" y="86"/>
                  </a:lnTo>
                  <a:lnTo>
                    <a:pt x="393" y="86"/>
                  </a:lnTo>
                  <a:lnTo>
                    <a:pt x="390" y="86"/>
                  </a:lnTo>
                  <a:lnTo>
                    <a:pt x="389" y="86"/>
                  </a:lnTo>
                  <a:lnTo>
                    <a:pt x="388" y="86"/>
                  </a:lnTo>
                  <a:lnTo>
                    <a:pt x="388" y="85"/>
                  </a:lnTo>
                  <a:lnTo>
                    <a:pt x="388" y="86"/>
                  </a:lnTo>
                  <a:lnTo>
                    <a:pt x="387" y="86"/>
                  </a:lnTo>
                  <a:lnTo>
                    <a:pt x="383" y="86"/>
                  </a:lnTo>
                  <a:lnTo>
                    <a:pt x="382" y="86"/>
                  </a:lnTo>
                  <a:lnTo>
                    <a:pt x="381" y="86"/>
                  </a:lnTo>
                  <a:lnTo>
                    <a:pt x="380" y="86"/>
                  </a:lnTo>
                  <a:lnTo>
                    <a:pt x="379" y="86"/>
                  </a:lnTo>
                  <a:lnTo>
                    <a:pt x="378" y="86"/>
                  </a:lnTo>
                  <a:lnTo>
                    <a:pt x="376" y="86"/>
                  </a:lnTo>
                  <a:lnTo>
                    <a:pt x="376" y="87"/>
                  </a:lnTo>
                  <a:lnTo>
                    <a:pt x="375" y="87"/>
                  </a:lnTo>
                  <a:lnTo>
                    <a:pt x="375" y="86"/>
                  </a:lnTo>
                  <a:lnTo>
                    <a:pt x="375" y="85"/>
                  </a:lnTo>
                  <a:lnTo>
                    <a:pt x="374" y="85"/>
                  </a:lnTo>
                  <a:lnTo>
                    <a:pt x="373" y="85"/>
                  </a:lnTo>
                  <a:lnTo>
                    <a:pt x="372" y="85"/>
                  </a:lnTo>
                  <a:lnTo>
                    <a:pt x="372" y="86"/>
                  </a:lnTo>
                  <a:lnTo>
                    <a:pt x="371" y="86"/>
                  </a:lnTo>
                  <a:lnTo>
                    <a:pt x="369" y="86"/>
                  </a:lnTo>
                  <a:lnTo>
                    <a:pt x="368" y="86"/>
                  </a:lnTo>
                  <a:lnTo>
                    <a:pt x="367" y="86"/>
                  </a:lnTo>
                  <a:lnTo>
                    <a:pt x="366" y="87"/>
                  </a:lnTo>
                  <a:lnTo>
                    <a:pt x="365" y="86"/>
                  </a:lnTo>
                  <a:lnTo>
                    <a:pt x="364" y="86"/>
                  </a:lnTo>
                  <a:lnTo>
                    <a:pt x="364" y="87"/>
                  </a:lnTo>
                  <a:lnTo>
                    <a:pt x="362" y="87"/>
                  </a:lnTo>
                  <a:lnTo>
                    <a:pt x="362" y="86"/>
                  </a:lnTo>
                  <a:lnTo>
                    <a:pt x="361" y="86"/>
                  </a:lnTo>
                  <a:lnTo>
                    <a:pt x="360" y="85"/>
                  </a:lnTo>
                  <a:lnTo>
                    <a:pt x="358" y="85"/>
                  </a:lnTo>
                  <a:lnTo>
                    <a:pt x="357" y="86"/>
                  </a:lnTo>
                  <a:lnTo>
                    <a:pt x="355" y="86"/>
                  </a:lnTo>
                  <a:lnTo>
                    <a:pt x="355" y="87"/>
                  </a:lnTo>
                  <a:lnTo>
                    <a:pt x="354" y="87"/>
                  </a:lnTo>
                  <a:lnTo>
                    <a:pt x="354" y="89"/>
                  </a:lnTo>
                  <a:lnTo>
                    <a:pt x="353" y="90"/>
                  </a:lnTo>
                  <a:lnTo>
                    <a:pt x="353" y="91"/>
                  </a:lnTo>
                  <a:lnTo>
                    <a:pt x="352" y="91"/>
                  </a:lnTo>
                  <a:lnTo>
                    <a:pt x="352" y="92"/>
                  </a:lnTo>
                  <a:lnTo>
                    <a:pt x="352" y="93"/>
                  </a:lnTo>
                  <a:lnTo>
                    <a:pt x="352" y="94"/>
                  </a:lnTo>
                  <a:lnTo>
                    <a:pt x="351" y="94"/>
                  </a:lnTo>
                  <a:lnTo>
                    <a:pt x="351" y="96"/>
                  </a:lnTo>
                  <a:lnTo>
                    <a:pt x="351" y="97"/>
                  </a:lnTo>
                  <a:lnTo>
                    <a:pt x="351" y="98"/>
                  </a:lnTo>
                  <a:lnTo>
                    <a:pt x="351" y="99"/>
                  </a:lnTo>
                  <a:lnTo>
                    <a:pt x="351" y="100"/>
                  </a:lnTo>
                  <a:lnTo>
                    <a:pt x="352" y="100"/>
                  </a:lnTo>
                  <a:lnTo>
                    <a:pt x="352" y="101"/>
                  </a:lnTo>
                  <a:lnTo>
                    <a:pt x="352" y="104"/>
                  </a:lnTo>
                  <a:lnTo>
                    <a:pt x="354" y="107"/>
                  </a:lnTo>
                  <a:lnTo>
                    <a:pt x="354" y="108"/>
                  </a:lnTo>
                  <a:lnTo>
                    <a:pt x="355" y="108"/>
                  </a:lnTo>
                  <a:lnTo>
                    <a:pt x="357" y="108"/>
                  </a:lnTo>
                  <a:lnTo>
                    <a:pt x="358" y="110"/>
                  </a:lnTo>
                  <a:lnTo>
                    <a:pt x="359" y="111"/>
                  </a:lnTo>
                  <a:lnTo>
                    <a:pt x="359" y="112"/>
                  </a:lnTo>
                  <a:lnTo>
                    <a:pt x="359" y="113"/>
                  </a:lnTo>
                  <a:lnTo>
                    <a:pt x="359" y="114"/>
                  </a:lnTo>
                  <a:lnTo>
                    <a:pt x="360" y="115"/>
                  </a:lnTo>
                  <a:lnTo>
                    <a:pt x="361" y="115"/>
                  </a:lnTo>
                  <a:lnTo>
                    <a:pt x="362" y="115"/>
                  </a:lnTo>
                  <a:lnTo>
                    <a:pt x="364" y="115"/>
                  </a:lnTo>
                  <a:lnTo>
                    <a:pt x="365" y="115"/>
                  </a:lnTo>
                  <a:lnTo>
                    <a:pt x="365" y="117"/>
                  </a:lnTo>
                  <a:lnTo>
                    <a:pt x="366" y="117"/>
                  </a:lnTo>
                  <a:lnTo>
                    <a:pt x="366" y="115"/>
                  </a:lnTo>
                  <a:lnTo>
                    <a:pt x="367" y="114"/>
                  </a:lnTo>
                  <a:lnTo>
                    <a:pt x="367" y="113"/>
                  </a:lnTo>
                  <a:lnTo>
                    <a:pt x="368" y="112"/>
                  </a:lnTo>
                  <a:lnTo>
                    <a:pt x="368" y="111"/>
                  </a:lnTo>
                  <a:lnTo>
                    <a:pt x="369" y="111"/>
                  </a:lnTo>
                  <a:lnTo>
                    <a:pt x="369" y="110"/>
                  </a:lnTo>
                  <a:lnTo>
                    <a:pt x="371" y="108"/>
                  </a:lnTo>
                  <a:lnTo>
                    <a:pt x="372" y="107"/>
                  </a:lnTo>
                  <a:lnTo>
                    <a:pt x="373" y="107"/>
                  </a:lnTo>
                  <a:lnTo>
                    <a:pt x="373" y="106"/>
                  </a:lnTo>
                  <a:lnTo>
                    <a:pt x="374" y="106"/>
                  </a:lnTo>
                  <a:lnTo>
                    <a:pt x="374" y="107"/>
                  </a:lnTo>
                  <a:lnTo>
                    <a:pt x="374" y="108"/>
                  </a:lnTo>
                  <a:lnTo>
                    <a:pt x="376" y="108"/>
                  </a:lnTo>
                  <a:lnTo>
                    <a:pt x="378" y="108"/>
                  </a:lnTo>
                  <a:lnTo>
                    <a:pt x="379" y="108"/>
                  </a:lnTo>
                  <a:lnTo>
                    <a:pt x="380" y="108"/>
                  </a:lnTo>
                  <a:lnTo>
                    <a:pt x="381" y="107"/>
                  </a:lnTo>
                  <a:lnTo>
                    <a:pt x="381" y="106"/>
                  </a:lnTo>
                  <a:lnTo>
                    <a:pt x="384" y="106"/>
                  </a:lnTo>
                  <a:lnTo>
                    <a:pt x="386" y="106"/>
                  </a:lnTo>
                  <a:lnTo>
                    <a:pt x="387" y="106"/>
                  </a:lnTo>
                  <a:lnTo>
                    <a:pt x="388" y="106"/>
                  </a:lnTo>
                  <a:lnTo>
                    <a:pt x="389" y="106"/>
                  </a:lnTo>
                  <a:lnTo>
                    <a:pt x="391" y="106"/>
                  </a:lnTo>
                  <a:lnTo>
                    <a:pt x="391" y="105"/>
                  </a:lnTo>
                  <a:lnTo>
                    <a:pt x="390" y="105"/>
                  </a:lnTo>
                  <a:lnTo>
                    <a:pt x="389" y="105"/>
                  </a:lnTo>
                  <a:lnTo>
                    <a:pt x="389" y="104"/>
                  </a:lnTo>
                  <a:lnTo>
                    <a:pt x="390" y="104"/>
                  </a:lnTo>
                  <a:lnTo>
                    <a:pt x="391" y="104"/>
                  </a:lnTo>
                  <a:lnTo>
                    <a:pt x="393" y="103"/>
                  </a:lnTo>
                  <a:lnTo>
                    <a:pt x="393" y="104"/>
                  </a:lnTo>
                  <a:lnTo>
                    <a:pt x="393" y="103"/>
                  </a:lnTo>
                  <a:lnTo>
                    <a:pt x="394" y="103"/>
                  </a:lnTo>
                  <a:lnTo>
                    <a:pt x="396" y="103"/>
                  </a:lnTo>
                  <a:lnTo>
                    <a:pt x="397" y="104"/>
                  </a:lnTo>
                  <a:lnTo>
                    <a:pt x="398" y="104"/>
                  </a:lnTo>
                  <a:lnTo>
                    <a:pt x="398" y="105"/>
                  </a:lnTo>
                  <a:lnTo>
                    <a:pt x="398" y="106"/>
                  </a:lnTo>
                  <a:lnTo>
                    <a:pt x="398" y="107"/>
                  </a:lnTo>
                  <a:lnTo>
                    <a:pt x="398" y="110"/>
                  </a:lnTo>
                  <a:lnTo>
                    <a:pt x="397" y="110"/>
                  </a:lnTo>
                  <a:lnTo>
                    <a:pt x="397" y="111"/>
                  </a:lnTo>
                  <a:lnTo>
                    <a:pt x="396" y="111"/>
                  </a:lnTo>
                  <a:lnTo>
                    <a:pt x="396" y="110"/>
                  </a:lnTo>
                  <a:lnTo>
                    <a:pt x="395" y="110"/>
                  </a:lnTo>
                  <a:lnTo>
                    <a:pt x="395" y="108"/>
                  </a:lnTo>
                  <a:lnTo>
                    <a:pt x="395" y="107"/>
                  </a:lnTo>
                  <a:lnTo>
                    <a:pt x="394" y="107"/>
                  </a:lnTo>
                  <a:lnTo>
                    <a:pt x="393" y="107"/>
                  </a:lnTo>
                  <a:lnTo>
                    <a:pt x="391" y="108"/>
                  </a:lnTo>
                  <a:lnTo>
                    <a:pt x="390" y="108"/>
                  </a:lnTo>
                  <a:lnTo>
                    <a:pt x="389" y="110"/>
                  </a:lnTo>
                  <a:lnTo>
                    <a:pt x="389" y="111"/>
                  </a:lnTo>
                  <a:lnTo>
                    <a:pt x="388" y="111"/>
                  </a:lnTo>
                  <a:lnTo>
                    <a:pt x="388" y="112"/>
                  </a:lnTo>
                  <a:lnTo>
                    <a:pt x="388" y="113"/>
                  </a:lnTo>
                  <a:lnTo>
                    <a:pt x="387" y="113"/>
                  </a:lnTo>
                  <a:lnTo>
                    <a:pt x="386" y="114"/>
                  </a:lnTo>
                  <a:lnTo>
                    <a:pt x="386" y="115"/>
                  </a:lnTo>
                  <a:lnTo>
                    <a:pt x="384" y="117"/>
                  </a:lnTo>
                  <a:lnTo>
                    <a:pt x="383" y="117"/>
                  </a:lnTo>
                  <a:lnTo>
                    <a:pt x="383" y="118"/>
                  </a:lnTo>
                  <a:lnTo>
                    <a:pt x="382" y="118"/>
                  </a:lnTo>
                  <a:lnTo>
                    <a:pt x="382" y="119"/>
                  </a:lnTo>
                  <a:lnTo>
                    <a:pt x="381" y="119"/>
                  </a:lnTo>
                  <a:lnTo>
                    <a:pt x="380" y="119"/>
                  </a:lnTo>
                  <a:lnTo>
                    <a:pt x="379" y="119"/>
                  </a:lnTo>
                  <a:lnTo>
                    <a:pt x="379" y="120"/>
                  </a:lnTo>
                  <a:lnTo>
                    <a:pt x="378" y="120"/>
                  </a:lnTo>
                  <a:lnTo>
                    <a:pt x="376" y="120"/>
                  </a:lnTo>
                  <a:lnTo>
                    <a:pt x="376" y="121"/>
                  </a:lnTo>
                  <a:lnTo>
                    <a:pt x="375" y="121"/>
                  </a:lnTo>
                  <a:lnTo>
                    <a:pt x="375" y="122"/>
                  </a:lnTo>
                  <a:lnTo>
                    <a:pt x="375" y="124"/>
                  </a:lnTo>
                  <a:lnTo>
                    <a:pt x="374" y="124"/>
                  </a:lnTo>
                  <a:lnTo>
                    <a:pt x="373" y="125"/>
                  </a:lnTo>
                  <a:lnTo>
                    <a:pt x="372" y="125"/>
                  </a:lnTo>
                  <a:lnTo>
                    <a:pt x="372" y="124"/>
                  </a:lnTo>
                  <a:lnTo>
                    <a:pt x="371" y="124"/>
                  </a:lnTo>
                  <a:lnTo>
                    <a:pt x="371" y="122"/>
                  </a:lnTo>
                  <a:lnTo>
                    <a:pt x="369" y="122"/>
                  </a:lnTo>
                  <a:lnTo>
                    <a:pt x="369" y="121"/>
                  </a:lnTo>
                  <a:lnTo>
                    <a:pt x="368" y="122"/>
                  </a:lnTo>
                  <a:lnTo>
                    <a:pt x="369" y="122"/>
                  </a:lnTo>
                  <a:lnTo>
                    <a:pt x="369" y="124"/>
                  </a:lnTo>
                  <a:lnTo>
                    <a:pt x="369" y="125"/>
                  </a:lnTo>
                  <a:lnTo>
                    <a:pt x="369" y="124"/>
                  </a:lnTo>
                  <a:lnTo>
                    <a:pt x="371" y="124"/>
                  </a:lnTo>
                  <a:lnTo>
                    <a:pt x="371" y="125"/>
                  </a:lnTo>
                  <a:lnTo>
                    <a:pt x="371" y="126"/>
                  </a:lnTo>
                  <a:lnTo>
                    <a:pt x="372" y="126"/>
                  </a:lnTo>
                  <a:lnTo>
                    <a:pt x="372" y="127"/>
                  </a:lnTo>
                  <a:lnTo>
                    <a:pt x="372" y="128"/>
                  </a:lnTo>
                  <a:lnTo>
                    <a:pt x="373" y="128"/>
                  </a:lnTo>
                  <a:lnTo>
                    <a:pt x="374" y="128"/>
                  </a:lnTo>
                  <a:lnTo>
                    <a:pt x="375" y="129"/>
                  </a:lnTo>
                  <a:lnTo>
                    <a:pt x="376" y="131"/>
                  </a:lnTo>
                  <a:lnTo>
                    <a:pt x="376" y="132"/>
                  </a:lnTo>
                  <a:lnTo>
                    <a:pt x="378" y="133"/>
                  </a:lnTo>
                  <a:lnTo>
                    <a:pt x="378" y="134"/>
                  </a:lnTo>
                  <a:lnTo>
                    <a:pt x="379" y="135"/>
                  </a:lnTo>
                  <a:lnTo>
                    <a:pt x="379" y="136"/>
                  </a:lnTo>
                  <a:lnTo>
                    <a:pt x="379" y="138"/>
                  </a:lnTo>
                  <a:lnTo>
                    <a:pt x="380" y="138"/>
                  </a:lnTo>
                  <a:lnTo>
                    <a:pt x="381" y="139"/>
                  </a:lnTo>
                  <a:lnTo>
                    <a:pt x="382" y="140"/>
                  </a:lnTo>
                  <a:lnTo>
                    <a:pt x="382" y="141"/>
                  </a:lnTo>
                  <a:lnTo>
                    <a:pt x="381" y="141"/>
                  </a:lnTo>
                  <a:lnTo>
                    <a:pt x="382" y="142"/>
                  </a:lnTo>
                  <a:lnTo>
                    <a:pt x="383" y="143"/>
                  </a:lnTo>
                  <a:lnTo>
                    <a:pt x="384" y="143"/>
                  </a:lnTo>
                  <a:lnTo>
                    <a:pt x="384" y="145"/>
                  </a:lnTo>
                  <a:lnTo>
                    <a:pt x="383" y="145"/>
                  </a:lnTo>
                  <a:lnTo>
                    <a:pt x="382" y="145"/>
                  </a:lnTo>
                  <a:lnTo>
                    <a:pt x="382" y="146"/>
                  </a:lnTo>
                  <a:lnTo>
                    <a:pt x="382" y="147"/>
                  </a:lnTo>
                  <a:lnTo>
                    <a:pt x="383" y="147"/>
                  </a:lnTo>
                  <a:lnTo>
                    <a:pt x="383" y="148"/>
                  </a:lnTo>
                  <a:lnTo>
                    <a:pt x="382" y="148"/>
                  </a:lnTo>
                  <a:lnTo>
                    <a:pt x="382" y="147"/>
                  </a:lnTo>
                  <a:lnTo>
                    <a:pt x="381" y="147"/>
                  </a:lnTo>
                  <a:lnTo>
                    <a:pt x="381" y="148"/>
                  </a:lnTo>
                  <a:lnTo>
                    <a:pt x="382" y="148"/>
                  </a:lnTo>
                  <a:lnTo>
                    <a:pt x="381" y="148"/>
                  </a:lnTo>
                  <a:lnTo>
                    <a:pt x="381" y="149"/>
                  </a:lnTo>
                  <a:lnTo>
                    <a:pt x="380" y="150"/>
                  </a:lnTo>
                  <a:lnTo>
                    <a:pt x="381" y="152"/>
                  </a:lnTo>
                  <a:lnTo>
                    <a:pt x="382" y="152"/>
                  </a:lnTo>
                  <a:lnTo>
                    <a:pt x="382" y="153"/>
                  </a:lnTo>
                  <a:lnTo>
                    <a:pt x="383" y="153"/>
                  </a:lnTo>
                  <a:lnTo>
                    <a:pt x="383" y="154"/>
                  </a:lnTo>
                  <a:lnTo>
                    <a:pt x="384" y="155"/>
                  </a:lnTo>
                  <a:lnTo>
                    <a:pt x="386" y="155"/>
                  </a:lnTo>
                  <a:lnTo>
                    <a:pt x="387" y="155"/>
                  </a:lnTo>
                  <a:lnTo>
                    <a:pt x="387" y="156"/>
                  </a:lnTo>
                  <a:lnTo>
                    <a:pt x="386" y="156"/>
                  </a:lnTo>
                  <a:lnTo>
                    <a:pt x="384" y="156"/>
                  </a:lnTo>
                  <a:lnTo>
                    <a:pt x="386" y="156"/>
                  </a:lnTo>
                  <a:lnTo>
                    <a:pt x="386" y="157"/>
                  </a:lnTo>
                  <a:lnTo>
                    <a:pt x="387" y="157"/>
                  </a:lnTo>
                  <a:lnTo>
                    <a:pt x="387" y="159"/>
                  </a:lnTo>
                  <a:lnTo>
                    <a:pt x="387" y="160"/>
                  </a:lnTo>
                  <a:lnTo>
                    <a:pt x="387" y="159"/>
                  </a:lnTo>
                  <a:lnTo>
                    <a:pt x="388" y="159"/>
                  </a:lnTo>
                  <a:lnTo>
                    <a:pt x="389" y="159"/>
                  </a:lnTo>
                  <a:lnTo>
                    <a:pt x="388" y="159"/>
                  </a:lnTo>
                  <a:lnTo>
                    <a:pt x="388" y="157"/>
                  </a:lnTo>
                  <a:lnTo>
                    <a:pt x="389" y="157"/>
                  </a:lnTo>
                  <a:lnTo>
                    <a:pt x="389" y="159"/>
                  </a:lnTo>
                  <a:lnTo>
                    <a:pt x="389" y="160"/>
                  </a:lnTo>
                  <a:lnTo>
                    <a:pt x="389" y="161"/>
                  </a:lnTo>
                  <a:lnTo>
                    <a:pt x="389" y="162"/>
                  </a:lnTo>
                  <a:lnTo>
                    <a:pt x="389" y="163"/>
                  </a:lnTo>
                  <a:lnTo>
                    <a:pt x="388" y="164"/>
                  </a:lnTo>
                  <a:lnTo>
                    <a:pt x="388" y="163"/>
                  </a:lnTo>
                  <a:lnTo>
                    <a:pt x="387" y="163"/>
                  </a:lnTo>
                  <a:lnTo>
                    <a:pt x="387" y="162"/>
                  </a:lnTo>
                  <a:lnTo>
                    <a:pt x="386" y="162"/>
                  </a:lnTo>
                  <a:lnTo>
                    <a:pt x="387" y="162"/>
                  </a:lnTo>
                  <a:lnTo>
                    <a:pt x="387" y="163"/>
                  </a:lnTo>
                  <a:lnTo>
                    <a:pt x="388" y="163"/>
                  </a:lnTo>
                  <a:lnTo>
                    <a:pt x="388" y="164"/>
                  </a:lnTo>
                  <a:lnTo>
                    <a:pt x="387" y="164"/>
                  </a:lnTo>
                  <a:lnTo>
                    <a:pt x="386" y="164"/>
                  </a:lnTo>
                  <a:lnTo>
                    <a:pt x="386" y="163"/>
                  </a:lnTo>
                  <a:lnTo>
                    <a:pt x="384" y="163"/>
                  </a:lnTo>
                  <a:lnTo>
                    <a:pt x="383" y="164"/>
                  </a:lnTo>
                  <a:lnTo>
                    <a:pt x="383" y="163"/>
                  </a:lnTo>
                  <a:lnTo>
                    <a:pt x="382" y="164"/>
                  </a:lnTo>
                  <a:lnTo>
                    <a:pt x="381" y="164"/>
                  </a:lnTo>
                  <a:lnTo>
                    <a:pt x="380" y="164"/>
                  </a:lnTo>
                  <a:lnTo>
                    <a:pt x="379" y="164"/>
                  </a:lnTo>
                  <a:lnTo>
                    <a:pt x="379" y="166"/>
                  </a:lnTo>
                  <a:lnTo>
                    <a:pt x="378" y="166"/>
                  </a:lnTo>
                  <a:lnTo>
                    <a:pt x="378" y="167"/>
                  </a:lnTo>
                  <a:lnTo>
                    <a:pt x="378" y="168"/>
                  </a:lnTo>
                  <a:lnTo>
                    <a:pt x="378" y="169"/>
                  </a:lnTo>
                  <a:lnTo>
                    <a:pt x="379" y="169"/>
                  </a:lnTo>
                  <a:lnTo>
                    <a:pt x="379" y="170"/>
                  </a:lnTo>
                  <a:lnTo>
                    <a:pt x="378" y="170"/>
                  </a:lnTo>
                  <a:lnTo>
                    <a:pt x="376" y="170"/>
                  </a:lnTo>
                  <a:lnTo>
                    <a:pt x="375" y="170"/>
                  </a:lnTo>
                  <a:lnTo>
                    <a:pt x="374" y="170"/>
                  </a:lnTo>
                  <a:lnTo>
                    <a:pt x="373" y="170"/>
                  </a:lnTo>
                  <a:lnTo>
                    <a:pt x="372" y="170"/>
                  </a:lnTo>
                  <a:lnTo>
                    <a:pt x="372" y="169"/>
                  </a:lnTo>
                  <a:lnTo>
                    <a:pt x="371" y="169"/>
                  </a:lnTo>
                  <a:lnTo>
                    <a:pt x="369" y="168"/>
                  </a:lnTo>
                  <a:lnTo>
                    <a:pt x="369" y="167"/>
                  </a:lnTo>
                  <a:lnTo>
                    <a:pt x="369" y="164"/>
                  </a:lnTo>
                  <a:lnTo>
                    <a:pt x="371" y="164"/>
                  </a:lnTo>
                  <a:lnTo>
                    <a:pt x="371" y="163"/>
                  </a:lnTo>
                  <a:lnTo>
                    <a:pt x="371" y="162"/>
                  </a:lnTo>
                  <a:lnTo>
                    <a:pt x="371" y="161"/>
                  </a:lnTo>
                  <a:lnTo>
                    <a:pt x="372" y="161"/>
                  </a:lnTo>
                  <a:lnTo>
                    <a:pt x="372" y="160"/>
                  </a:lnTo>
                  <a:lnTo>
                    <a:pt x="372" y="159"/>
                  </a:lnTo>
                  <a:lnTo>
                    <a:pt x="372" y="157"/>
                  </a:lnTo>
                  <a:lnTo>
                    <a:pt x="371" y="157"/>
                  </a:lnTo>
                  <a:lnTo>
                    <a:pt x="369" y="157"/>
                  </a:lnTo>
                  <a:lnTo>
                    <a:pt x="368" y="156"/>
                  </a:lnTo>
                  <a:lnTo>
                    <a:pt x="368" y="155"/>
                  </a:lnTo>
                  <a:lnTo>
                    <a:pt x="367" y="155"/>
                  </a:lnTo>
                  <a:lnTo>
                    <a:pt x="367" y="154"/>
                  </a:lnTo>
                  <a:lnTo>
                    <a:pt x="366" y="154"/>
                  </a:lnTo>
                  <a:lnTo>
                    <a:pt x="365" y="153"/>
                  </a:lnTo>
                  <a:lnTo>
                    <a:pt x="362" y="149"/>
                  </a:lnTo>
                  <a:lnTo>
                    <a:pt x="361" y="149"/>
                  </a:lnTo>
                  <a:lnTo>
                    <a:pt x="361" y="148"/>
                  </a:lnTo>
                  <a:lnTo>
                    <a:pt x="362" y="148"/>
                  </a:lnTo>
                  <a:lnTo>
                    <a:pt x="362" y="147"/>
                  </a:lnTo>
                  <a:lnTo>
                    <a:pt x="364" y="146"/>
                  </a:lnTo>
                  <a:lnTo>
                    <a:pt x="364" y="145"/>
                  </a:lnTo>
                  <a:lnTo>
                    <a:pt x="365" y="145"/>
                  </a:lnTo>
                  <a:lnTo>
                    <a:pt x="365" y="143"/>
                  </a:lnTo>
                  <a:lnTo>
                    <a:pt x="365" y="142"/>
                  </a:lnTo>
                  <a:lnTo>
                    <a:pt x="365" y="141"/>
                  </a:lnTo>
                  <a:lnTo>
                    <a:pt x="365" y="140"/>
                  </a:lnTo>
                  <a:lnTo>
                    <a:pt x="365" y="139"/>
                  </a:lnTo>
                  <a:lnTo>
                    <a:pt x="364" y="139"/>
                  </a:lnTo>
                  <a:lnTo>
                    <a:pt x="364" y="138"/>
                  </a:lnTo>
                  <a:lnTo>
                    <a:pt x="365" y="138"/>
                  </a:lnTo>
                  <a:lnTo>
                    <a:pt x="365" y="136"/>
                  </a:lnTo>
                  <a:lnTo>
                    <a:pt x="364" y="135"/>
                  </a:lnTo>
                  <a:lnTo>
                    <a:pt x="362" y="135"/>
                  </a:lnTo>
                  <a:lnTo>
                    <a:pt x="361" y="135"/>
                  </a:lnTo>
                  <a:lnTo>
                    <a:pt x="360" y="135"/>
                  </a:lnTo>
                  <a:lnTo>
                    <a:pt x="359" y="136"/>
                  </a:lnTo>
                  <a:lnTo>
                    <a:pt x="358" y="136"/>
                  </a:lnTo>
                  <a:lnTo>
                    <a:pt x="358" y="138"/>
                  </a:lnTo>
                  <a:lnTo>
                    <a:pt x="354" y="140"/>
                  </a:lnTo>
                  <a:lnTo>
                    <a:pt x="353" y="140"/>
                  </a:lnTo>
                  <a:lnTo>
                    <a:pt x="353" y="141"/>
                  </a:lnTo>
                  <a:lnTo>
                    <a:pt x="353" y="142"/>
                  </a:lnTo>
                  <a:lnTo>
                    <a:pt x="354" y="142"/>
                  </a:lnTo>
                  <a:lnTo>
                    <a:pt x="354" y="143"/>
                  </a:lnTo>
                  <a:lnTo>
                    <a:pt x="353" y="143"/>
                  </a:lnTo>
                  <a:lnTo>
                    <a:pt x="354" y="143"/>
                  </a:lnTo>
                  <a:lnTo>
                    <a:pt x="354" y="145"/>
                  </a:lnTo>
                  <a:lnTo>
                    <a:pt x="355" y="145"/>
                  </a:lnTo>
                  <a:lnTo>
                    <a:pt x="355" y="146"/>
                  </a:lnTo>
                  <a:lnTo>
                    <a:pt x="355" y="147"/>
                  </a:lnTo>
                  <a:lnTo>
                    <a:pt x="355" y="148"/>
                  </a:lnTo>
                  <a:lnTo>
                    <a:pt x="355" y="149"/>
                  </a:lnTo>
                  <a:lnTo>
                    <a:pt x="355" y="150"/>
                  </a:lnTo>
                  <a:lnTo>
                    <a:pt x="355" y="152"/>
                  </a:lnTo>
                  <a:lnTo>
                    <a:pt x="355" y="153"/>
                  </a:lnTo>
                  <a:lnTo>
                    <a:pt x="354" y="154"/>
                  </a:lnTo>
                  <a:lnTo>
                    <a:pt x="354" y="155"/>
                  </a:lnTo>
                  <a:lnTo>
                    <a:pt x="354" y="156"/>
                  </a:lnTo>
                  <a:lnTo>
                    <a:pt x="354" y="159"/>
                  </a:lnTo>
                  <a:lnTo>
                    <a:pt x="354" y="160"/>
                  </a:lnTo>
                  <a:lnTo>
                    <a:pt x="354" y="161"/>
                  </a:lnTo>
                  <a:lnTo>
                    <a:pt x="354" y="162"/>
                  </a:lnTo>
                  <a:lnTo>
                    <a:pt x="354" y="163"/>
                  </a:lnTo>
                  <a:lnTo>
                    <a:pt x="354" y="164"/>
                  </a:lnTo>
                  <a:lnTo>
                    <a:pt x="354" y="166"/>
                  </a:lnTo>
                  <a:lnTo>
                    <a:pt x="354" y="167"/>
                  </a:lnTo>
                  <a:lnTo>
                    <a:pt x="355" y="167"/>
                  </a:lnTo>
                  <a:lnTo>
                    <a:pt x="355" y="168"/>
                  </a:lnTo>
                  <a:lnTo>
                    <a:pt x="354" y="168"/>
                  </a:lnTo>
                  <a:lnTo>
                    <a:pt x="354" y="169"/>
                  </a:lnTo>
                  <a:lnTo>
                    <a:pt x="354" y="170"/>
                  </a:lnTo>
                  <a:lnTo>
                    <a:pt x="353" y="170"/>
                  </a:lnTo>
                  <a:lnTo>
                    <a:pt x="353" y="173"/>
                  </a:lnTo>
                  <a:lnTo>
                    <a:pt x="352" y="175"/>
                  </a:lnTo>
                  <a:lnTo>
                    <a:pt x="353" y="176"/>
                  </a:lnTo>
                  <a:lnTo>
                    <a:pt x="353" y="177"/>
                  </a:lnTo>
                  <a:lnTo>
                    <a:pt x="353" y="178"/>
                  </a:lnTo>
                  <a:lnTo>
                    <a:pt x="354" y="181"/>
                  </a:lnTo>
                  <a:lnTo>
                    <a:pt x="354" y="182"/>
                  </a:lnTo>
                  <a:lnTo>
                    <a:pt x="354" y="183"/>
                  </a:lnTo>
                  <a:lnTo>
                    <a:pt x="353" y="182"/>
                  </a:lnTo>
                  <a:lnTo>
                    <a:pt x="353" y="181"/>
                  </a:lnTo>
                  <a:lnTo>
                    <a:pt x="352" y="181"/>
                  </a:lnTo>
                  <a:lnTo>
                    <a:pt x="352" y="182"/>
                  </a:lnTo>
                  <a:lnTo>
                    <a:pt x="351" y="182"/>
                  </a:lnTo>
                  <a:lnTo>
                    <a:pt x="350" y="182"/>
                  </a:lnTo>
                  <a:lnTo>
                    <a:pt x="348" y="182"/>
                  </a:lnTo>
                  <a:lnTo>
                    <a:pt x="347" y="182"/>
                  </a:lnTo>
                  <a:lnTo>
                    <a:pt x="346" y="182"/>
                  </a:lnTo>
                  <a:lnTo>
                    <a:pt x="346" y="183"/>
                  </a:lnTo>
                  <a:lnTo>
                    <a:pt x="345" y="183"/>
                  </a:lnTo>
                  <a:lnTo>
                    <a:pt x="345" y="184"/>
                  </a:lnTo>
                  <a:lnTo>
                    <a:pt x="344" y="184"/>
                  </a:lnTo>
                  <a:lnTo>
                    <a:pt x="343" y="183"/>
                  </a:lnTo>
                  <a:lnTo>
                    <a:pt x="343" y="182"/>
                  </a:lnTo>
                  <a:lnTo>
                    <a:pt x="343" y="183"/>
                  </a:lnTo>
                  <a:lnTo>
                    <a:pt x="341" y="183"/>
                  </a:lnTo>
                  <a:lnTo>
                    <a:pt x="341" y="182"/>
                  </a:lnTo>
                  <a:lnTo>
                    <a:pt x="340" y="182"/>
                  </a:lnTo>
                  <a:lnTo>
                    <a:pt x="340" y="181"/>
                  </a:lnTo>
                  <a:lnTo>
                    <a:pt x="339" y="180"/>
                  </a:lnTo>
                  <a:lnTo>
                    <a:pt x="339" y="178"/>
                  </a:lnTo>
                  <a:lnTo>
                    <a:pt x="339" y="177"/>
                  </a:lnTo>
                  <a:lnTo>
                    <a:pt x="339" y="176"/>
                  </a:lnTo>
                  <a:lnTo>
                    <a:pt x="340" y="175"/>
                  </a:lnTo>
                  <a:lnTo>
                    <a:pt x="340" y="174"/>
                  </a:lnTo>
                  <a:lnTo>
                    <a:pt x="341" y="174"/>
                  </a:lnTo>
                  <a:lnTo>
                    <a:pt x="341" y="173"/>
                  </a:lnTo>
                  <a:lnTo>
                    <a:pt x="341" y="171"/>
                  </a:lnTo>
                  <a:lnTo>
                    <a:pt x="341" y="169"/>
                  </a:lnTo>
                  <a:lnTo>
                    <a:pt x="341" y="168"/>
                  </a:lnTo>
                  <a:lnTo>
                    <a:pt x="343" y="168"/>
                  </a:lnTo>
                  <a:lnTo>
                    <a:pt x="343" y="167"/>
                  </a:lnTo>
                  <a:lnTo>
                    <a:pt x="343" y="166"/>
                  </a:lnTo>
                  <a:lnTo>
                    <a:pt x="344" y="163"/>
                  </a:lnTo>
                  <a:lnTo>
                    <a:pt x="344" y="162"/>
                  </a:lnTo>
                  <a:lnTo>
                    <a:pt x="344" y="161"/>
                  </a:lnTo>
                  <a:lnTo>
                    <a:pt x="344" y="160"/>
                  </a:lnTo>
                  <a:lnTo>
                    <a:pt x="344" y="159"/>
                  </a:lnTo>
                  <a:lnTo>
                    <a:pt x="344" y="157"/>
                  </a:lnTo>
                  <a:lnTo>
                    <a:pt x="345" y="156"/>
                  </a:lnTo>
                  <a:lnTo>
                    <a:pt x="344" y="156"/>
                  </a:lnTo>
                  <a:lnTo>
                    <a:pt x="344" y="157"/>
                  </a:lnTo>
                  <a:lnTo>
                    <a:pt x="344" y="156"/>
                  </a:lnTo>
                  <a:lnTo>
                    <a:pt x="343" y="154"/>
                  </a:lnTo>
                  <a:lnTo>
                    <a:pt x="343" y="153"/>
                  </a:lnTo>
                  <a:lnTo>
                    <a:pt x="341" y="153"/>
                  </a:lnTo>
                  <a:lnTo>
                    <a:pt x="343" y="152"/>
                  </a:lnTo>
                  <a:lnTo>
                    <a:pt x="343" y="150"/>
                  </a:lnTo>
                  <a:lnTo>
                    <a:pt x="343" y="149"/>
                  </a:lnTo>
                  <a:lnTo>
                    <a:pt x="343" y="148"/>
                  </a:lnTo>
                  <a:lnTo>
                    <a:pt x="341" y="149"/>
                  </a:lnTo>
                  <a:lnTo>
                    <a:pt x="341" y="148"/>
                  </a:lnTo>
                  <a:lnTo>
                    <a:pt x="340" y="148"/>
                  </a:lnTo>
                  <a:lnTo>
                    <a:pt x="339" y="148"/>
                  </a:lnTo>
                  <a:lnTo>
                    <a:pt x="339" y="149"/>
                  </a:lnTo>
                  <a:lnTo>
                    <a:pt x="338" y="149"/>
                  </a:lnTo>
                  <a:lnTo>
                    <a:pt x="337" y="149"/>
                  </a:lnTo>
                  <a:lnTo>
                    <a:pt x="336" y="149"/>
                  </a:lnTo>
                  <a:lnTo>
                    <a:pt x="336" y="150"/>
                  </a:lnTo>
                  <a:lnTo>
                    <a:pt x="336" y="149"/>
                  </a:lnTo>
                  <a:lnTo>
                    <a:pt x="334" y="150"/>
                  </a:lnTo>
                  <a:lnTo>
                    <a:pt x="334" y="149"/>
                  </a:lnTo>
                  <a:lnTo>
                    <a:pt x="334" y="148"/>
                  </a:lnTo>
                  <a:lnTo>
                    <a:pt x="333" y="148"/>
                  </a:lnTo>
                  <a:lnTo>
                    <a:pt x="333" y="147"/>
                  </a:lnTo>
                  <a:lnTo>
                    <a:pt x="333" y="146"/>
                  </a:lnTo>
                  <a:lnTo>
                    <a:pt x="333" y="145"/>
                  </a:lnTo>
                  <a:lnTo>
                    <a:pt x="333" y="143"/>
                  </a:lnTo>
                  <a:lnTo>
                    <a:pt x="332" y="142"/>
                  </a:lnTo>
                  <a:lnTo>
                    <a:pt x="333" y="142"/>
                  </a:lnTo>
                  <a:lnTo>
                    <a:pt x="334" y="142"/>
                  </a:lnTo>
                  <a:lnTo>
                    <a:pt x="334" y="141"/>
                  </a:lnTo>
                  <a:lnTo>
                    <a:pt x="334" y="140"/>
                  </a:lnTo>
                  <a:lnTo>
                    <a:pt x="334" y="139"/>
                  </a:lnTo>
                  <a:lnTo>
                    <a:pt x="333" y="139"/>
                  </a:lnTo>
                  <a:lnTo>
                    <a:pt x="333" y="138"/>
                  </a:lnTo>
                  <a:lnTo>
                    <a:pt x="332" y="138"/>
                  </a:lnTo>
                  <a:lnTo>
                    <a:pt x="333" y="138"/>
                  </a:lnTo>
                  <a:lnTo>
                    <a:pt x="333" y="136"/>
                  </a:lnTo>
                  <a:lnTo>
                    <a:pt x="333" y="135"/>
                  </a:lnTo>
                  <a:lnTo>
                    <a:pt x="334" y="135"/>
                  </a:lnTo>
                  <a:lnTo>
                    <a:pt x="336" y="135"/>
                  </a:lnTo>
                  <a:lnTo>
                    <a:pt x="337" y="134"/>
                  </a:lnTo>
                  <a:lnTo>
                    <a:pt x="337" y="133"/>
                  </a:lnTo>
                  <a:lnTo>
                    <a:pt x="338" y="133"/>
                  </a:lnTo>
                  <a:lnTo>
                    <a:pt x="338" y="132"/>
                  </a:lnTo>
                  <a:lnTo>
                    <a:pt x="338" y="131"/>
                  </a:lnTo>
                  <a:lnTo>
                    <a:pt x="338" y="129"/>
                  </a:lnTo>
                  <a:lnTo>
                    <a:pt x="338" y="128"/>
                  </a:lnTo>
                  <a:lnTo>
                    <a:pt x="339" y="128"/>
                  </a:lnTo>
                  <a:lnTo>
                    <a:pt x="339" y="127"/>
                  </a:lnTo>
                  <a:lnTo>
                    <a:pt x="339" y="126"/>
                  </a:lnTo>
                  <a:lnTo>
                    <a:pt x="340" y="125"/>
                  </a:lnTo>
                  <a:lnTo>
                    <a:pt x="341" y="125"/>
                  </a:lnTo>
                  <a:lnTo>
                    <a:pt x="341" y="122"/>
                  </a:lnTo>
                  <a:lnTo>
                    <a:pt x="340" y="120"/>
                  </a:lnTo>
                  <a:lnTo>
                    <a:pt x="341" y="119"/>
                  </a:lnTo>
                  <a:lnTo>
                    <a:pt x="341" y="118"/>
                  </a:lnTo>
                  <a:lnTo>
                    <a:pt x="340" y="118"/>
                  </a:lnTo>
                  <a:lnTo>
                    <a:pt x="340" y="117"/>
                  </a:lnTo>
                  <a:lnTo>
                    <a:pt x="340" y="115"/>
                  </a:lnTo>
                  <a:lnTo>
                    <a:pt x="341" y="115"/>
                  </a:lnTo>
                  <a:lnTo>
                    <a:pt x="341" y="114"/>
                  </a:lnTo>
                  <a:lnTo>
                    <a:pt x="341" y="113"/>
                  </a:lnTo>
                  <a:lnTo>
                    <a:pt x="341" y="112"/>
                  </a:lnTo>
                  <a:lnTo>
                    <a:pt x="343" y="112"/>
                  </a:lnTo>
                  <a:lnTo>
                    <a:pt x="343" y="111"/>
                  </a:lnTo>
                  <a:lnTo>
                    <a:pt x="344" y="110"/>
                  </a:lnTo>
                  <a:lnTo>
                    <a:pt x="344" y="108"/>
                  </a:lnTo>
                  <a:lnTo>
                    <a:pt x="344" y="107"/>
                  </a:lnTo>
                  <a:lnTo>
                    <a:pt x="345" y="107"/>
                  </a:lnTo>
                  <a:lnTo>
                    <a:pt x="345" y="106"/>
                  </a:lnTo>
                  <a:lnTo>
                    <a:pt x="346" y="106"/>
                  </a:lnTo>
                  <a:lnTo>
                    <a:pt x="346" y="105"/>
                  </a:lnTo>
                  <a:lnTo>
                    <a:pt x="346" y="104"/>
                  </a:lnTo>
                  <a:lnTo>
                    <a:pt x="347" y="104"/>
                  </a:lnTo>
                  <a:lnTo>
                    <a:pt x="347" y="105"/>
                  </a:lnTo>
                  <a:lnTo>
                    <a:pt x="347" y="106"/>
                  </a:lnTo>
                  <a:lnTo>
                    <a:pt x="348" y="107"/>
                  </a:lnTo>
                  <a:lnTo>
                    <a:pt x="348" y="106"/>
                  </a:lnTo>
                  <a:lnTo>
                    <a:pt x="348" y="105"/>
                  </a:lnTo>
                  <a:lnTo>
                    <a:pt x="348" y="104"/>
                  </a:lnTo>
                  <a:lnTo>
                    <a:pt x="347" y="104"/>
                  </a:lnTo>
                  <a:lnTo>
                    <a:pt x="347" y="103"/>
                  </a:lnTo>
                  <a:lnTo>
                    <a:pt x="347" y="101"/>
                  </a:lnTo>
                  <a:lnTo>
                    <a:pt x="347" y="98"/>
                  </a:lnTo>
                  <a:lnTo>
                    <a:pt x="347" y="97"/>
                  </a:lnTo>
                  <a:lnTo>
                    <a:pt x="348" y="97"/>
                  </a:lnTo>
                  <a:lnTo>
                    <a:pt x="348" y="96"/>
                  </a:lnTo>
                  <a:lnTo>
                    <a:pt x="347" y="96"/>
                  </a:lnTo>
                  <a:lnTo>
                    <a:pt x="346" y="96"/>
                  </a:lnTo>
                  <a:lnTo>
                    <a:pt x="346" y="94"/>
                  </a:lnTo>
                  <a:lnTo>
                    <a:pt x="346" y="93"/>
                  </a:lnTo>
                  <a:lnTo>
                    <a:pt x="347" y="93"/>
                  </a:lnTo>
                  <a:lnTo>
                    <a:pt x="347" y="94"/>
                  </a:lnTo>
                  <a:lnTo>
                    <a:pt x="348" y="96"/>
                  </a:lnTo>
                  <a:lnTo>
                    <a:pt x="348" y="94"/>
                  </a:lnTo>
                  <a:lnTo>
                    <a:pt x="350" y="93"/>
                  </a:lnTo>
                  <a:lnTo>
                    <a:pt x="350" y="92"/>
                  </a:lnTo>
                  <a:lnTo>
                    <a:pt x="348" y="92"/>
                  </a:lnTo>
                  <a:lnTo>
                    <a:pt x="348" y="91"/>
                  </a:lnTo>
                  <a:lnTo>
                    <a:pt x="347" y="91"/>
                  </a:lnTo>
                  <a:lnTo>
                    <a:pt x="347" y="90"/>
                  </a:lnTo>
                  <a:lnTo>
                    <a:pt x="348" y="90"/>
                  </a:lnTo>
                  <a:lnTo>
                    <a:pt x="348" y="89"/>
                  </a:lnTo>
                  <a:lnTo>
                    <a:pt x="348" y="87"/>
                  </a:lnTo>
                  <a:lnTo>
                    <a:pt x="350" y="87"/>
                  </a:lnTo>
                  <a:lnTo>
                    <a:pt x="350" y="86"/>
                  </a:lnTo>
                  <a:lnTo>
                    <a:pt x="351" y="86"/>
                  </a:lnTo>
                  <a:lnTo>
                    <a:pt x="351" y="85"/>
                  </a:lnTo>
                  <a:lnTo>
                    <a:pt x="352" y="85"/>
                  </a:lnTo>
                  <a:lnTo>
                    <a:pt x="351" y="84"/>
                  </a:lnTo>
                  <a:lnTo>
                    <a:pt x="351" y="83"/>
                  </a:lnTo>
                  <a:lnTo>
                    <a:pt x="352" y="82"/>
                  </a:lnTo>
                  <a:lnTo>
                    <a:pt x="353" y="82"/>
                  </a:lnTo>
                  <a:lnTo>
                    <a:pt x="354" y="80"/>
                  </a:lnTo>
                  <a:lnTo>
                    <a:pt x="354" y="79"/>
                  </a:lnTo>
                  <a:lnTo>
                    <a:pt x="354" y="78"/>
                  </a:lnTo>
                  <a:lnTo>
                    <a:pt x="355" y="78"/>
                  </a:lnTo>
                  <a:lnTo>
                    <a:pt x="355" y="79"/>
                  </a:lnTo>
                  <a:lnTo>
                    <a:pt x="355" y="80"/>
                  </a:lnTo>
                  <a:lnTo>
                    <a:pt x="357" y="80"/>
                  </a:lnTo>
                  <a:lnTo>
                    <a:pt x="358" y="82"/>
                  </a:lnTo>
                  <a:lnTo>
                    <a:pt x="358" y="80"/>
                  </a:lnTo>
                  <a:lnTo>
                    <a:pt x="358" y="82"/>
                  </a:lnTo>
                  <a:lnTo>
                    <a:pt x="359" y="82"/>
                  </a:lnTo>
                  <a:lnTo>
                    <a:pt x="359" y="80"/>
                  </a:lnTo>
                  <a:lnTo>
                    <a:pt x="359" y="79"/>
                  </a:lnTo>
                  <a:lnTo>
                    <a:pt x="360" y="78"/>
                  </a:lnTo>
                  <a:lnTo>
                    <a:pt x="361" y="78"/>
                  </a:lnTo>
                  <a:lnTo>
                    <a:pt x="361" y="77"/>
                  </a:lnTo>
                  <a:lnTo>
                    <a:pt x="362" y="77"/>
                  </a:lnTo>
                  <a:lnTo>
                    <a:pt x="361" y="76"/>
                  </a:lnTo>
                  <a:lnTo>
                    <a:pt x="362" y="76"/>
                  </a:lnTo>
                  <a:lnTo>
                    <a:pt x="362" y="75"/>
                  </a:lnTo>
                  <a:lnTo>
                    <a:pt x="362" y="73"/>
                  </a:lnTo>
                  <a:lnTo>
                    <a:pt x="362" y="72"/>
                  </a:lnTo>
                  <a:lnTo>
                    <a:pt x="364" y="72"/>
                  </a:lnTo>
                  <a:lnTo>
                    <a:pt x="364" y="73"/>
                  </a:lnTo>
                  <a:lnTo>
                    <a:pt x="364" y="72"/>
                  </a:lnTo>
                  <a:lnTo>
                    <a:pt x="366" y="72"/>
                  </a:lnTo>
                  <a:lnTo>
                    <a:pt x="366" y="73"/>
                  </a:lnTo>
                  <a:lnTo>
                    <a:pt x="367" y="73"/>
                  </a:lnTo>
                  <a:lnTo>
                    <a:pt x="368" y="75"/>
                  </a:lnTo>
                  <a:lnTo>
                    <a:pt x="369" y="73"/>
                  </a:lnTo>
                  <a:lnTo>
                    <a:pt x="371" y="73"/>
                  </a:lnTo>
                  <a:lnTo>
                    <a:pt x="372" y="73"/>
                  </a:lnTo>
                  <a:lnTo>
                    <a:pt x="371" y="73"/>
                  </a:lnTo>
                  <a:lnTo>
                    <a:pt x="371" y="75"/>
                  </a:lnTo>
                  <a:lnTo>
                    <a:pt x="371" y="76"/>
                  </a:lnTo>
                  <a:lnTo>
                    <a:pt x="372" y="76"/>
                  </a:lnTo>
                  <a:lnTo>
                    <a:pt x="372" y="77"/>
                  </a:lnTo>
                  <a:lnTo>
                    <a:pt x="373" y="77"/>
                  </a:lnTo>
                  <a:lnTo>
                    <a:pt x="378" y="76"/>
                  </a:lnTo>
                  <a:lnTo>
                    <a:pt x="378" y="77"/>
                  </a:lnTo>
                  <a:lnTo>
                    <a:pt x="379" y="77"/>
                  </a:lnTo>
                  <a:lnTo>
                    <a:pt x="380" y="77"/>
                  </a:lnTo>
                  <a:lnTo>
                    <a:pt x="381" y="77"/>
                  </a:lnTo>
                  <a:lnTo>
                    <a:pt x="382" y="78"/>
                  </a:lnTo>
                  <a:lnTo>
                    <a:pt x="383" y="78"/>
                  </a:lnTo>
                  <a:lnTo>
                    <a:pt x="383" y="77"/>
                  </a:lnTo>
                  <a:lnTo>
                    <a:pt x="383" y="78"/>
                  </a:lnTo>
                  <a:lnTo>
                    <a:pt x="384" y="78"/>
                  </a:lnTo>
                  <a:lnTo>
                    <a:pt x="384" y="77"/>
                  </a:lnTo>
                  <a:lnTo>
                    <a:pt x="384" y="78"/>
                  </a:lnTo>
                  <a:lnTo>
                    <a:pt x="386" y="78"/>
                  </a:lnTo>
                  <a:lnTo>
                    <a:pt x="387" y="78"/>
                  </a:lnTo>
                  <a:lnTo>
                    <a:pt x="388" y="78"/>
                  </a:lnTo>
                  <a:lnTo>
                    <a:pt x="388" y="79"/>
                  </a:lnTo>
                  <a:lnTo>
                    <a:pt x="389" y="79"/>
                  </a:lnTo>
                  <a:lnTo>
                    <a:pt x="389" y="80"/>
                  </a:lnTo>
                  <a:lnTo>
                    <a:pt x="390" y="80"/>
                  </a:lnTo>
                  <a:lnTo>
                    <a:pt x="391" y="80"/>
                  </a:lnTo>
                  <a:lnTo>
                    <a:pt x="391" y="79"/>
                  </a:lnTo>
                  <a:lnTo>
                    <a:pt x="391" y="78"/>
                  </a:lnTo>
                  <a:lnTo>
                    <a:pt x="393" y="78"/>
                  </a:lnTo>
                  <a:lnTo>
                    <a:pt x="394" y="79"/>
                  </a:lnTo>
                  <a:lnTo>
                    <a:pt x="395" y="79"/>
                  </a:lnTo>
                  <a:lnTo>
                    <a:pt x="395" y="78"/>
                  </a:lnTo>
                  <a:lnTo>
                    <a:pt x="396" y="78"/>
                  </a:lnTo>
                  <a:lnTo>
                    <a:pt x="396" y="79"/>
                  </a:lnTo>
                  <a:lnTo>
                    <a:pt x="397" y="79"/>
                  </a:lnTo>
                  <a:lnTo>
                    <a:pt x="398" y="79"/>
                  </a:lnTo>
                  <a:lnTo>
                    <a:pt x="400" y="79"/>
                  </a:lnTo>
                  <a:lnTo>
                    <a:pt x="400" y="80"/>
                  </a:lnTo>
                  <a:lnTo>
                    <a:pt x="401" y="80"/>
                  </a:lnTo>
                  <a:lnTo>
                    <a:pt x="401" y="79"/>
                  </a:lnTo>
                  <a:lnTo>
                    <a:pt x="402" y="80"/>
                  </a:lnTo>
                  <a:lnTo>
                    <a:pt x="404" y="80"/>
                  </a:lnTo>
                  <a:lnTo>
                    <a:pt x="405" y="80"/>
                  </a:lnTo>
                  <a:lnTo>
                    <a:pt x="407" y="79"/>
                  </a:lnTo>
                  <a:lnTo>
                    <a:pt x="408" y="79"/>
                  </a:lnTo>
                  <a:lnTo>
                    <a:pt x="409" y="79"/>
                  </a:lnTo>
                  <a:lnTo>
                    <a:pt x="409" y="78"/>
                  </a:lnTo>
                  <a:lnTo>
                    <a:pt x="410" y="78"/>
                  </a:lnTo>
                  <a:lnTo>
                    <a:pt x="411" y="77"/>
                  </a:lnTo>
                  <a:lnTo>
                    <a:pt x="411" y="76"/>
                  </a:lnTo>
                  <a:lnTo>
                    <a:pt x="411" y="75"/>
                  </a:lnTo>
                  <a:lnTo>
                    <a:pt x="412" y="75"/>
                  </a:lnTo>
                  <a:lnTo>
                    <a:pt x="414" y="75"/>
                  </a:lnTo>
                  <a:lnTo>
                    <a:pt x="415" y="75"/>
                  </a:lnTo>
                  <a:lnTo>
                    <a:pt x="415" y="73"/>
                  </a:lnTo>
                  <a:lnTo>
                    <a:pt x="414" y="73"/>
                  </a:lnTo>
                  <a:lnTo>
                    <a:pt x="414" y="72"/>
                  </a:lnTo>
                  <a:lnTo>
                    <a:pt x="415" y="71"/>
                  </a:lnTo>
                  <a:lnTo>
                    <a:pt x="416" y="71"/>
                  </a:lnTo>
                  <a:lnTo>
                    <a:pt x="417" y="71"/>
                  </a:lnTo>
                  <a:lnTo>
                    <a:pt x="418" y="71"/>
                  </a:lnTo>
                  <a:lnTo>
                    <a:pt x="418" y="70"/>
                  </a:lnTo>
                  <a:lnTo>
                    <a:pt x="418" y="69"/>
                  </a:lnTo>
                  <a:lnTo>
                    <a:pt x="419" y="68"/>
                  </a:lnTo>
                  <a:lnTo>
                    <a:pt x="419" y="66"/>
                  </a:lnTo>
                  <a:lnTo>
                    <a:pt x="421" y="66"/>
                  </a:lnTo>
                  <a:lnTo>
                    <a:pt x="421" y="68"/>
                  </a:lnTo>
                  <a:close/>
                  <a:moveTo>
                    <a:pt x="422" y="66"/>
                  </a:moveTo>
                  <a:lnTo>
                    <a:pt x="422" y="65"/>
                  </a:lnTo>
                  <a:lnTo>
                    <a:pt x="423" y="65"/>
                  </a:lnTo>
                  <a:lnTo>
                    <a:pt x="423" y="66"/>
                  </a:lnTo>
                  <a:lnTo>
                    <a:pt x="422" y="66"/>
                  </a:lnTo>
                  <a:close/>
                  <a:moveTo>
                    <a:pt x="32" y="61"/>
                  </a:moveTo>
                  <a:lnTo>
                    <a:pt x="32" y="62"/>
                  </a:lnTo>
                  <a:lnTo>
                    <a:pt x="31" y="62"/>
                  </a:lnTo>
                  <a:lnTo>
                    <a:pt x="31" y="61"/>
                  </a:lnTo>
                  <a:lnTo>
                    <a:pt x="32" y="61"/>
                  </a:lnTo>
                  <a:close/>
                  <a:moveTo>
                    <a:pt x="96" y="61"/>
                  </a:moveTo>
                  <a:lnTo>
                    <a:pt x="96" y="62"/>
                  </a:lnTo>
                  <a:lnTo>
                    <a:pt x="96" y="63"/>
                  </a:lnTo>
                  <a:lnTo>
                    <a:pt x="96" y="64"/>
                  </a:lnTo>
                  <a:lnTo>
                    <a:pt x="96" y="65"/>
                  </a:lnTo>
                  <a:lnTo>
                    <a:pt x="95" y="66"/>
                  </a:lnTo>
                  <a:lnTo>
                    <a:pt x="94" y="66"/>
                  </a:lnTo>
                  <a:lnTo>
                    <a:pt x="92" y="66"/>
                  </a:lnTo>
                  <a:lnTo>
                    <a:pt x="92" y="65"/>
                  </a:lnTo>
                  <a:lnTo>
                    <a:pt x="91" y="65"/>
                  </a:lnTo>
                  <a:lnTo>
                    <a:pt x="91" y="64"/>
                  </a:lnTo>
                  <a:lnTo>
                    <a:pt x="91" y="63"/>
                  </a:lnTo>
                  <a:lnTo>
                    <a:pt x="91" y="62"/>
                  </a:lnTo>
                  <a:lnTo>
                    <a:pt x="91" y="61"/>
                  </a:lnTo>
                  <a:lnTo>
                    <a:pt x="92" y="61"/>
                  </a:lnTo>
                  <a:lnTo>
                    <a:pt x="94" y="61"/>
                  </a:lnTo>
                  <a:lnTo>
                    <a:pt x="95" y="59"/>
                  </a:lnTo>
                  <a:lnTo>
                    <a:pt x="95" y="61"/>
                  </a:lnTo>
                  <a:lnTo>
                    <a:pt x="96" y="61"/>
                  </a:lnTo>
                  <a:close/>
                  <a:moveTo>
                    <a:pt x="25" y="61"/>
                  </a:moveTo>
                  <a:lnTo>
                    <a:pt x="24" y="61"/>
                  </a:lnTo>
                  <a:lnTo>
                    <a:pt x="24" y="59"/>
                  </a:lnTo>
                  <a:lnTo>
                    <a:pt x="25" y="59"/>
                  </a:lnTo>
                  <a:lnTo>
                    <a:pt x="25" y="61"/>
                  </a:lnTo>
                  <a:close/>
                  <a:moveTo>
                    <a:pt x="425" y="61"/>
                  </a:moveTo>
                  <a:lnTo>
                    <a:pt x="425" y="59"/>
                  </a:lnTo>
                  <a:lnTo>
                    <a:pt x="425" y="61"/>
                  </a:lnTo>
                  <a:lnTo>
                    <a:pt x="425" y="59"/>
                  </a:lnTo>
                  <a:lnTo>
                    <a:pt x="425" y="61"/>
                  </a:lnTo>
                  <a:close/>
                  <a:moveTo>
                    <a:pt x="462" y="59"/>
                  </a:moveTo>
                  <a:lnTo>
                    <a:pt x="462" y="61"/>
                  </a:lnTo>
                  <a:lnTo>
                    <a:pt x="461" y="61"/>
                  </a:lnTo>
                  <a:lnTo>
                    <a:pt x="461" y="62"/>
                  </a:lnTo>
                  <a:lnTo>
                    <a:pt x="461" y="63"/>
                  </a:lnTo>
                  <a:lnTo>
                    <a:pt x="460" y="63"/>
                  </a:lnTo>
                  <a:lnTo>
                    <a:pt x="460" y="64"/>
                  </a:lnTo>
                  <a:lnTo>
                    <a:pt x="460" y="65"/>
                  </a:lnTo>
                  <a:lnTo>
                    <a:pt x="461" y="65"/>
                  </a:lnTo>
                  <a:lnTo>
                    <a:pt x="462" y="66"/>
                  </a:lnTo>
                  <a:lnTo>
                    <a:pt x="462" y="68"/>
                  </a:lnTo>
                  <a:lnTo>
                    <a:pt x="462" y="69"/>
                  </a:lnTo>
                  <a:lnTo>
                    <a:pt x="462" y="70"/>
                  </a:lnTo>
                  <a:lnTo>
                    <a:pt x="462" y="71"/>
                  </a:lnTo>
                  <a:lnTo>
                    <a:pt x="462" y="72"/>
                  </a:lnTo>
                  <a:lnTo>
                    <a:pt x="462" y="73"/>
                  </a:lnTo>
                  <a:lnTo>
                    <a:pt x="461" y="73"/>
                  </a:lnTo>
                  <a:lnTo>
                    <a:pt x="461" y="75"/>
                  </a:lnTo>
                  <a:lnTo>
                    <a:pt x="461" y="76"/>
                  </a:lnTo>
                  <a:lnTo>
                    <a:pt x="460" y="76"/>
                  </a:lnTo>
                  <a:lnTo>
                    <a:pt x="459" y="77"/>
                  </a:lnTo>
                  <a:lnTo>
                    <a:pt x="458" y="77"/>
                  </a:lnTo>
                  <a:lnTo>
                    <a:pt x="457" y="78"/>
                  </a:lnTo>
                  <a:lnTo>
                    <a:pt x="457" y="79"/>
                  </a:lnTo>
                  <a:lnTo>
                    <a:pt x="458" y="79"/>
                  </a:lnTo>
                  <a:lnTo>
                    <a:pt x="458" y="80"/>
                  </a:lnTo>
                  <a:lnTo>
                    <a:pt x="459" y="80"/>
                  </a:lnTo>
                  <a:lnTo>
                    <a:pt x="459" y="82"/>
                  </a:lnTo>
                  <a:lnTo>
                    <a:pt x="460" y="82"/>
                  </a:lnTo>
                  <a:lnTo>
                    <a:pt x="460" y="80"/>
                  </a:lnTo>
                  <a:lnTo>
                    <a:pt x="461" y="80"/>
                  </a:lnTo>
                  <a:lnTo>
                    <a:pt x="461" y="79"/>
                  </a:lnTo>
                  <a:lnTo>
                    <a:pt x="461" y="78"/>
                  </a:lnTo>
                  <a:lnTo>
                    <a:pt x="462" y="77"/>
                  </a:lnTo>
                  <a:lnTo>
                    <a:pt x="462" y="76"/>
                  </a:lnTo>
                  <a:lnTo>
                    <a:pt x="464" y="76"/>
                  </a:lnTo>
                  <a:lnTo>
                    <a:pt x="465" y="76"/>
                  </a:lnTo>
                  <a:lnTo>
                    <a:pt x="465" y="75"/>
                  </a:lnTo>
                  <a:lnTo>
                    <a:pt x="464" y="75"/>
                  </a:lnTo>
                  <a:lnTo>
                    <a:pt x="464" y="73"/>
                  </a:lnTo>
                  <a:lnTo>
                    <a:pt x="465" y="72"/>
                  </a:lnTo>
                  <a:lnTo>
                    <a:pt x="465" y="71"/>
                  </a:lnTo>
                  <a:lnTo>
                    <a:pt x="466" y="71"/>
                  </a:lnTo>
                  <a:lnTo>
                    <a:pt x="467" y="71"/>
                  </a:lnTo>
                  <a:lnTo>
                    <a:pt x="467" y="70"/>
                  </a:lnTo>
                  <a:lnTo>
                    <a:pt x="468" y="70"/>
                  </a:lnTo>
                  <a:lnTo>
                    <a:pt x="468" y="69"/>
                  </a:lnTo>
                  <a:lnTo>
                    <a:pt x="469" y="69"/>
                  </a:lnTo>
                  <a:lnTo>
                    <a:pt x="469" y="70"/>
                  </a:lnTo>
                  <a:lnTo>
                    <a:pt x="469" y="69"/>
                  </a:lnTo>
                  <a:lnTo>
                    <a:pt x="471" y="69"/>
                  </a:lnTo>
                  <a:lnTo>
                    <a:pt x="472" y="69"/>
                  </a:lnTo>
                  <a:lnTo>
                    <a:pt x="472" y="70"/>
                  </a:lnTo>
                  <a:lnTo>
                    <a:pt x="472" y="71"/>
                  </a:lnTo>
                  <a:lnTo>
                    <a:pt x="473" y="71"/>
                  </a:lnTo>
                  <a:lnTo>
                    <a:pt x="473" y="72"/>
                  </a:lnTo>
                  <a:lnTo>
                    <a:pt x="473" y="73"/>
                  </a:lnTo>
                  <a:lnTo>
                    <a:pt x="472" y="73"/>
                  </a:lnTo>
                  <a:lnTo>
                    <a:pt x="472" y="75"/>
                  </a:lnTo>
                  <a:lnTo>
                    <a:pt x="472" y="76"/>
                  </a:lnTo>
                  <a:lnTo>
                    <a:pt x="472" y="77"/>
                  </a:lnTo>
                  <a:lnTo>
                    <a:pt x="471" y="78"/>
                  </a:lnTo>
                  <a:lnTo>
                    <a:pt x="469" y="78"/>
                  </a:lnTo>
                  <a:lnTo>
                    <a:pt x="468" y="78"/>
                  </a:lnTo>
                  <a:lnTo>
                    <a:pt x="468" y="79"/>
                  </a:lnTo>
                  <a:lnTo>
                    <a:pt x="467" y="79"/>
                  </a:lnTo>
                  <a:lnTo>
                    <a:pt x="466" y="79"/>
                  </a:lnTo>
                  <a:lnTo>
                    <a:pt x="466" y="80"/>
                  </a:lnTo>
                  <a:lnTo>
                    <a:pt x="465" y="80"/>
                  </a:lnTo>
                  <a:lnTo>
                    <a:pt x="465" y="82"/>
                  </a:lnTo>
                  <a:lnTo>
                    <a:pt x="466" y="82"/>
                  </a:lnTo>
                  <a:lnTo>
                    <a:pt x="466" y="83"/>
                  </a:lnTo>
                  <a:lnTo>
                    <a:pt x="467" y="83"/>
                  </a:lnTo>
                  <a:lnTo>
                    <a:pt x="467" y="84"/>
                  </a:lnTo>
                  <a:lnTo>
                    <a:pt x="468" y="84"/>
                  </a:lnTo>
                  <a:lnTo>
                    <a:pt x="469" y="84"/>
                  </a:lnTo>
                  <a:lnTo>
                    <a:pt x="471" y="85"/>
                  </a:lnTo>
                  <a:lnTo>
                    <a:pt x="472" y="85"/>
                  </a:lnTo>
                  <a:lnTo>
                    <a:pt x="472" y="86"/>
                  </a:lnTo>
                  <a:lnTo>
                    <a:pt x="472" y="87"/>
                  </a:lnTo>
                  <a:lnTo>
                    <a:pt x="472" y="89"/>
                  </a:lnTo>
                  <a:lnTo>
                    <a:pt x="473" y="89"/>
                  </a:lnTo>
                  <a:lnTo>
                    <a:pt x="474" y="89"/>
                  </a:lnTo>
                  <a:lnTo>
                    <a:pt x="474" y="90"/>
                  </a:lnTo>
                  <a:lnTo>
                    <a:pt x="475" y="90"/>
                  </a:lnTo>
                  <a:lnTo>
                    <a:pt x="475" y="91"/>
                  </a:lnTo>
                  <a:lnTo>
                    <a:pt x="474" y="90"/>
                  </a:lnTo>
                  <a:lnTo>
                    <a:pt x="472" y="89"/>
                  </a:lnTo>
                  <a:lnTo>
                    <a:pt x="472" y="90"/>
                  </a:lnTo>
                  <a:lnTo>
                    <a:pt x="472" y="89"/>
                  </a:lnTo>
                  <a:lnTo>
                    <a:pt x="471" y="89"/>
                  </a:lnTo>
                  <a:lnTo>
                    <a:pt x="469" y="89"/>
                  </a:lnTo>
                  <a:lnTo>
                    <a:pt x="469" y="87"/>
                  </a:lnTo>
                  <a:lnTo>
                    <a:pt x="468" y="87"/>
                  </a:lnTo>
                  <a:lnTo>
                    <a:pt x="467" y="87"/>
                  </a:lnTo>
                  <a:lnTo>
                    <a:pt x="466" y="87"/>
                  </a:lnTo>
                  <a:lnTo>
                    <a:pt x="465" y="87"/>
                  </a:lnTo>
                  <a:lnTo>
                    <a:pt x="465" y="86"/>
                  </a:lnTo>
                  <a:lnTo>
                    <a:pt x="464" y="86"/>
                  </a:lnTo>
                  <a:lnTo>
                    <a:pt x="462" y="86"/>
                  </a:lnTo>
                  <a:lnTo>
                    <a:pt x="461" y="86"/>
                  </a:lnTo>
                  <a:lnTo>
                    <a:pt x="461" y="89"/>
                  </a:lnTo>
                  <a:lnTo>
                    <a:pt x="460" y="89"/>
                  </a:lnTo>
                  <a:lnTo>
                    <a:pt x="461" y="90"/>
                  </a:lnTo>
                  <a:lnTo>
                    <a:pt x="461" y="91"/>
                  </a:lnTo>
                  <a:lnTo>
                    <a:pt x="461" y="92"/>
                  </a:lnTo>
                  <a:lnTo>
                    <a:pt x="461" y="93"/>
                  </a:lnTo>
                  <a:lnTo>
                    <a:pt x="461" y="94"/>
                  </a:lnTo>
                  <a:lnTo>
                    <a:pt x="461" y="96"/>
                  </a:lnTo>
                  <a:lnTo>
                    <a:pt x="461" y="97"/>
                  </a:lnTo>
                  <a:lnTo>
                    <a:pt x="462" y="97"/>
                  </a:lnTo>
                  <a:lnTo>
                    <a:pt x="462" y="98"/>
                  </a:lnTo>
                  <a:lnTo>
                    <a:pt x="462" y="99"/>
                  </a:lnTo>
                  <a:lnTo>
                    <a:pt x="462" y="100"/>
                  </a:lnTo>
                  <a:lnTo>
                    <a:pt x="464" y="101"/>
                  </a:lnTo>
                  <a:lnTo>
                    <a:pt x="464" y="103"/>
                  </a:lnTo>
                  <a:lnTo>
                    <a:pt x="465" y="103"/>
                  </a:lnTo>
                  <a:lnTo>
                    <a:pt x="466" y="105"/>
                  </a:lnTo>
                  <a:lnTo>
                    <a:pt x="466" y="106"/>
                  </a:lnTo>
                  <a:lnTo>
                    <a:pt x="467" y="106"/>
                  </a:lnTo>
                  <a:lnTo>
                    <a:pt x="467" y="107"/>
                  </a:lnTo>
                  <a:lnTo>
                    <a:pt x="468" y="107"/>
                  </a:lnTo>
                  <a:lnTo>
                    <a:pt x="468" y="108"/>
                  </a:lnTo>
                  <a:lnTo>
                    <a:pt x="468" y="107"/>
                  </a:lnTo>
                  <a:lnTo>
                    <a:pt x="467" y="107"/>
                  </a:lnTo>
                  <a:lnTo>
                    <a:pt x="466" y="107"/>
                  </a:lnTo>
                  <a:lnTo>
                    <a:pt x="466" y="106"/>
                  </a:lnTo>
                  <a:lnTo>
                    <a:pt x="465" y="106"/>
                  </a:lnTo>
                  <a:lnTo>
                    <a:pt x="462" y="105"/>
                  </a:lnTo>
                  <a:lnTo>
                    <a:pt x="461" y="103"/>
                  </a:lnTo>
                  <a:lnTo>
                    <a:pt x="461" y="101"/>
                  </a:lnTo>
                  <a:lnTo>
                    <a:pt x="461" y="100"/>
                  </a:lnTo>
                  <a:lnTo>
                    <a:pt x="460" y="100"/>
                  </a:lnTo>
                  <a:lnTo>
                    <a:pt x="460" y="99"/>
                  </a:lnTo>
                  <a:lnTo>
                    <a:pt x="459" y="99"/>
                  </a:lnTo>
                  <a:lnTo>
                    <a:pt x="459" y="98"/>
                  </a:lnTo>
                  <a:lnTo>
                    <a:pt x="458" y="98"/>
                  </a:lnTo>
                  <a:lnTo>
                    <a:pt x="458" y="97"/>
                  </a:lnTo>
                  <a:lnTo>
                    <a:pt x="458" y="96"/>
                  </a:lnTo>
                  <a:lnTo>
                    <a:pt x="458" y="93"/>
                  </a:lnTo>
                  <a:lnTo>
                    <a:pt x="458" y="92"/>
                  </a:lnTo>
                  <a:lnTo>
                    <a:pt x="458" y="91"/>
                  </a:lnTo>
                  <a:lnTo>
                    <a:pt x="458" y="90"/>
                  </a:lnTo>
                  <a:lnTo>
                    <a:pt x="458" y="89"/>
                  </a:lnTo>
                  <a:lnTo>
                    <a:pt x="457" y="87"/>
                  </a:lnTo>
                  <a:lnTo>
                    <a:pt x="457" y="86"/>
                  </a:lnTo>
                  <a:lnTo>
                    <a:pt x="457" y="85"/>
                  </a:lnTo>
                  <a:lnTo>
                    <a:pt x="455" y="85"/>
                  </a:lnTo>
                  <a:lnTo>
                    <a:pt x="455" y="84"/>
                  </a:lnTo>
                  <a:lnTo>
                    <a:pt x="455" y="83"/>
                  </a:lnTo>
                  <a:lnTo>
                    <a:pt x="457" y="82"/>
                  </a:lnTo>
                  <a:lnTo>
                    <a:pt x="457" y="80"/>
                  </a:lnTo>
                  <a:lnTo>
                    <a:pt x="455" y="79"/>
                  </a:lnTo>
                  <a:lnTo>
                    <a:pt x="455" y="78"/>
                  </a:lnTo>
                  <a:lnTo>
                    <a:pt x="455" y="77"/>
                  </a:lnTo>
                  <a:lnTo>
                    <a:pt x="454" y="77"/>
                  </a:lnTo>
                  <a:lnTo>
                    <a:pt x="454" y="76"/>
                  </a:lnTo>
                  <a:lnTo>
                    <a:pt x="454" y="75"/>
                  </a:lnTo>
                  <a:lnTo>
                    <a:pt x="454" y="73"/>
                  </a:lnTo>
                  <a:lnTo>
                    <a:pt x="455" y="72"/>
                  </a:lnTo>
                  <a:lnTo>
                    <a:pt x="455" y="71"/>
                  </a:lnTo>
                  <a:lnTo>
                    <a:pt x="455" y="70"/>
                  </a:lnTo>
                  <a:lnTo>
                    <a:pt x="455" y="69"/>
                  </a:lnTo>
                  <a:lnTo>
                    <a:pt x="455" y="68"/>
                  </a:lnTo>
                  <a:lnTo>
                    <a:pt x="457" y="68"/>
                  </a:lnTo>
                  <a:lnTo>
                    <a:pt x="457" y="66"/>
                  </a:lnTo>
                  <a:lnTo>
                    <a:pt x="455" y="66"/>
                  </a:lnTo>
                  <a:lnTo>
                    <a:pt x="457" y="66"/>
                  </a:lnTo>
                  <a:lnTo>
                    <a:pt x="457" y="64"/>
                  </a:lnTo>
                  <a:lnTo>
                    <a:pt x="458" y="63"/>
                  </a:lnTo>
                  <a:lnTo>
                    <a:pt x="459" y="63"/>
                  </a:lnTo>
                  <a:lnTo>
                    <a:pt x="459" y="62"/>
                  </a:lnTo>
                  <a:lnTo>
                    <a:pt x="460" y="61"/>
                  </a:lnTo>
                  <a:lnTo>
                    <a:pt x="460" y="59"/>
                  </a:lnTo>
                  <a:lnTo>
                    <a:pt x="461" y="59"/>
                  </a:lnTo>
                  <a:lnTo>
                    <a:pt x="462" y="59"/>
                  </a:lnTo>
                  <a:lnTo>
                    <a:pt x="462" y="58"/>
                  </a:lnTo>
                  <a:lnTo>
                    <a:pt x="462" y="59"/>
                  </a:lnTo>
                  <a:close/>
                  <a:moveTo>
                    <a:pt x="32" y="58"/>
                  </a:moveTo>
                  <a:lnTo>
                    <a:pt x="33" y="58"/>
                  </a:lnTo>
                  <a:lnTo>
                    <a:pt x="34" y="59"/>
                  </a:lnTo>
                  <a:lnTo>
                    <a:pt x="34" y="61"/>
                  </a:lnTo>
                  <a:lnTo>
                    <a:pt x="34" y="62"/>
                  </a:lnTo>
                  <a:lnTo>
                    <a:pt x="34" y="61"/>
                  </a:lnTo>
                  <a:lnTo>
                    <a:pt x="33" y="61"/>
                  </a:lnTo>
                  <a:lnTo>
                    <a:pt x="33" y="59"/>
                  </a:lnTo>
                  <a:lnTo>
                    <a:pt x="31" y="58"/>
                  </a:lnTo>
                  <a:lnTo>
                    <a:pt x="32" y="58"/>
                  </a:lnTo>
                  <a:close/>
                  <a:moveTo>
                    <a:pt x="459" y="58"/>
                  </a:moveTo>
                  <a:lnTo>
                    <a:pt x="458" y="58"/>
                  </a:lnTo>
                  <a:lnTo>
                    <a:pt x="459" y="58"/>
                  </a:lnTo>
                  <a:close/>
                  <a:moveTo>
                    <a:pt x="331" y="57"/>
                  </a:moveTo>
                  <a:lnTo>
                    <a:pt x="331" y="58"/>
                  </a:lnTo>
                  <a:lnTo>
                    <a:pt x="331" y="57"/>
                  </a:lnTo>
                  <a:lnTo>
                    <a:pt x="331" y="58"/>
                  </a:lnTo>
                  <a:lnTo>
                    <a:pt x="331" y="59"/>
                  </a:lnTo>
                  <a:lnTo>
                    <a:pt x="331" y="58"/>
                  </a:lnTo>
                  <a:lnTo>
                    <a:pt x="330" y="58"/>
                  </a:lnTo>
                  <a:lnTo>
                    <a:pt x="330" y="57"/>
                  </a:lnTo>
                  <a:lnTo>
                    <a:pt x="331" y="57"/>
                  </a:lnTo>
                  <a:close/>
                  <a:moveTo>
                    <a:pt x="426" y="57"/>
                  </a:moveTo>
                  <a:lnTo>
                    <a:pt x="425" y="57"/>
                  </a:lnTo>
                  <a:lnTo>
                    <a:pt x="425" y="56"/>
                  </a:lnTo>
                  <a:lnTo>
                    <a:pt x="426" y="56"/>
                  </a:lnTo>
                  <a:lnTo>
                    <a:pt x="426" y="57"/>
                  </a:lnTo>
                  <a:close/>
                  <a:moveTo>
                    <a:pt x="464" y="57"/>
                  </a:moveTo>
                  <a:lnTo>
                    <a:pt x="464" y="56"/>
                  </a:lnTo>
                  <a:lnTo>
                    <a:pt x="465" y="56"/>
                  </a:lnTo>
                  <a:lnTo>
                    <a:pt x="464" y="57"/>
                  </a:lnTo>
                  <a:close/>
                  <a:moveTo>
                    <a:pt x="197" y="54"/>
                  </a:moveTo>
                  <a:lnTo>
                    <a:pt x="198" y="54"/>
                  </a:lnTo>
                  <a:lnTo>
                    <a:pt x="197" y="55"/>
                  </a:lnTo>
                  <a:lnTo>
                    <a:pt x="197" y="54"/>
                  </a:lnTo>
                  <a:lnTo>
                    <a:pt x="196" y="54"/>
                  </a:lnTo>
                  <a:lnTo>
                    <a:pt x="197" y="54"/>
                  </a:lnTo>
                  <a:close/>
                  <a:moveTo>
                    <a:pt x="469" y="52"/>
                  </a:moveTo>
                  <a:lnTo>
                    <a:pt x="471" y="54"/>
                  </a:lnTo>
                  <a:lnTo>
                    <a:pt x="472" y="55"/>
                  </a:lnTo>
                  <a:lnTo>
                    <a:pt x="472" y="56"/>
                  </a:lnTo>
                  <a:lnTo>
                    <a:pt x="471" y="56"/>
                  </a:lnTo>
                  <a:lnTo>
                    <a:pt x="471" y="57"/>
                  </a:lnTo>
                  <a:lnTo>
                    <a:pt x="471" y="58"/>
                  </a:lnTo>
                  <a:lnTo>
                    <a:pt x="471" y="59"/>
                  </a:lnTo>
                  <a:lnTo>
                    <a:pt x="469" y="61"/>
                  </a:lnTo>
                  <a:lnTo>
                    <a:pt x="468" y="61"/>
                  </a:lnTo>
                  <a:lnTo>
                    <a:pt x="467" y="62"/>
                  </a:lnTo>
                  <a:lnTo>
                    <a:pt x="466" y="62"/>
                  </a:lnTo>
                  <a:lnTo>
                    <a:pt x="466" y="61"/>
                  </a:lnTo>
                  <a:lnTo>
                    <a:pt x="465" y="61"/>
                  </a:lnTo>
                  <a:lnTo>
                    <a:pt x="465" y="59"/>
                  </a:lnTo>
                  <a:lnTo>
                    <a:pt x="465" y="58"/>
                  </a:lnTo>
                  <a:lnTo>
                    <a:pt x="465" y="57"/>
                  </a:lnTo>
                  <a:lnTo>
                    <a:pt x="466" y="56"/>
                  </a:lnTo>
                  <a:lnTo>
                    <a:pt x="466" y="55"/>
                  </a:lnTo>
                  <a:lnTo>
                    <a:pt x="467" y="54"/>
                  </a:lnTo>
                  <a:lnTo>
                    <a:pt x="468" y="52"/>
                  </a:lnTo>
                  <a:lnTo>
                    <a:pt x="469" y="52"/>
                  </a:lnTo>
                  <a:close/>
                  <a:moveTo>
                    <a:pt x="425" y="52"/>
                  </a:moveTo>
                  <a:lnTo>
                    <a:pt x="425" y="51"/>
                  </a:lnTo>
                  <a:lnTo>
                    <a:pt x="425" y="50"/>
                  </a:lnTo>
                  <a:lnTo>
                    <a:pt x="425" y="49"/>
                  </a:lnTo>
                  <a:lnTo>
                    <a:pt x="426" y="49"/>
                  </a:lnTo>
                  <a:lnTo>
                    <a:pt x="426" y="50"/>
                  </a:lnTo>
                  <a:lnTo>
                    <a:pt x="425" y="50"/>
                  </a:lnTo>
                  <a:lnTo>
                    <a:pt x="425" y="51"/>
                  </a:lnTo>
                  <a:lnTo>
                    <a:pt x="425" y="52"/>
                  </a:lnTo>
                  <a:close/>
                  <a:moveTo>
                    <a:pt x="159" y="50"/>
                  </a:moveTo>
                  <a:lnTo>
                    <a:pt x="158" y="50"/>
                  </a:lnTo>
                  <a:lnTo>
                    <a:pt x="158" y="49"/>
                  </a:lnTo>
                  <a:lnTo>
                    <a:pt x="159" y="49"/>
                  </a:lnTo>
                  <a:lnTo>
                    <a:pt x="159" y="50"/>
                  </a:lnTo>
                  <a:close/>
                  <a:moveTo>
                    <a:pt x="14" y="48"/>
                  </a:moveTo>
                  <a:lnTo>
                    <a:pt x="13" y="48"/>
                  </a:lnTo>
                  <a:lnTo>
                    <a:pt x="13" y="49"/>
                  </a:lnTo>
                  <a:lnTo>
                    <a:pt x="14" y="49"/>
                  </a:lnTo>
                  <a:lnTo>
                    <a:pt x="16" y="49"/>
                  </a:lnTo>
                  <a:lnTo>
                    <a:pt x="16" y="50"/>
                  </a:lnTo>
                  <a:lnTo>
                    <a:pt x="17" y="50"/>
                  </a:lnTo>
                  <a:lnTo>
                    <a:pt x="17" y="51"/>
                  </a:lnTo>
                  <a:lnTo>
                    <a:pt x="18" y="51"/>
                  </a:lnTo>
                  <a:lnTo>
                    <a:pt x="19" y="52"/>
                  </a:lnTo>
                  <a:lnTo>
                    <a:pt x="20" y="52"/>
                  </a:lnTo>
                  <a:lnTo>
                    <a:pt x="20" y="54"/>
                  </a:lnTo>
                  <a:lnTo>
                    <a:pt x="20" y="55"/>
                  </a:lnTo>
                  <a:lnTo>
                    <a:pt x="21" y="55"/>
                  </a:lnTo>
                  <a:lnTo>
                    <a:pt x="21" y="54"/>
                  </a:lnTo>
                  <a:lnTo>
                    <a:pt x="21" y="55"/>
                  </a:lnTo>
                  <a:lnTo>
                    <a:pt x="23" y="55"/>
                  </a:lnTo>
                  <a:lnTo>
                    <a:pt x="23" y="56"/>
                  </a:lnTo>
                  <a:lnTo>
                    <a:pt x="21" y="56"/>
                  </a:lnTo>
                  <a:lnTo>
                    <a:pt x="23" y="56"/>
                  </a:lnTo>
                  <a:lnTo>
                    <a:pt x="21" y="56"/>
                  </a:lnTo>
                  <a:lnTo>
                    <a:pt x="21" y="57"/>
                  </a:lnTo>
                  <a:lnTo>
                    <a:pt x="20" y="56"/>
                  </a:lnTo>
                  <a:lnTo>
                    <a:pt x="19" y="55"/>
                  </a:lnTo>
                  <a:lnTo>
                    <a:pt x="17" y="52"/>
                  </a:lnTo>
                  <a:lnTo>
                    <a:pt x="16" y="52"/>
                  </a:lnTo>
                  <a:lnTo>
                    <a:pt x="14" y="52"/>
                  </a:lnTo>
                  <a:lnTo>
                    <a:pt x="13" y="52"/>
                  </a:lnTo>
                  <a:lnTo>
                    <a:pt x="13" y="51"/>
                  </a:lnTo>
                  <a:lnTo>
                    <a:pt x="12" y="51"/>
                  </a:lnTo>
                  <a:lnTo>
                    <a:pt x="12" y="50"/>
                  </a:lnTo>
                  <a:lnTo>
                    <a:pt x="11" y="50"/>
                  </a:lnTo>
                  <a:lnTo>
                    <a:pt x="11" y="49"/>
                  </a:lnTo>
                  <a:lnTo>
                    <a:pt x="12" y="49"/>
                  </a:lnTo>
                  <a:lnTo>
                    <a:pt x="12" y="48"/>
                  </a:lnTo>
                  <a:lnTo>
                    <a:pt x="12" y="47"/>
                  </a:lnTo>
                  <a:lnTo>
                    <a:pt x="13" y="48"/>
                  </a:lnTo>
                  <a:lnTo>
                    <a:pt x="14" y="48"/>
                  </a:lnTo>
                  <a:close/>
                  <a:moveTo>
                    <a:pt x="195" y="49"/>
                  </a:moveTo>
                  <a:lnTo>
                    <a:pt x="194" y="49"/>
                  </a:lnTo>
                  <a:lnTo>
                    <a:pt x="194" y="48"/>
                  </a:lnTo>
                  <a:lnTo>
                    <a:pt x="195" y="47"/>
                  </a:lnTo>
                  <a:lnTo>
                    <a:pt x="195" y="48"/>
                  </a:lnTo>
                  <a:lnTo>
                    <a:pt x="195" y="49"/>
                  </a:lnTo>
                  <a:close/>
                  <a:moveTo>
                    <a:pt x="180" y="47"/>
                  </a:moveTo>
                  <a:lnTo>
                    <a:pt x="179" y="47"/>
                  </a:lnTo>
                  <a:lnTo>
                    <a:pt x="180" y="45"/>
                  </a:lnTo>
                  <a:lnTo>
                    <a:pt x="180" y="47"/>
                  </a:lnTo>
                  <a:close/>
                  <a:moveTo>
                    <a:pt x="152" y="47"/>
                  </a:moveTo>
                  <a:lnTo>
                    <a:pt x="153" y="47"/>
                  </a:lnTo>
                  <a:lnTo>
                    <a:pt x="152" y="48"/>
                  </a:lnTo>
                  <a:lnTo>
                    <a:pt x="151" y="48"/>
                  </a:lnTo>
                  <a:lnTo>
                    <a:pt x="152" y="48"/>
                  </a:lnTo>
                  <a:lnTo>
                    <a:pt x="152" y="49"/>
                  </a:lnTo>
                  <a:lnTo>
                    <a:pt x="151" y="49"/>
                  </a:lnTo>
                  <a:lnTo>
                    <a:pt x="151" y="48"/>
                  </a:lnTo>
                  <a:lnTo>
                    <a:pt x="151" y="47"/>
                  </a:lnTo>
                  <a:lnTo>
                    <a:pt x="151" y="45"/>
                  </a:lnTo>
                  <a:lnTo>
                    <a:pt x="151" y="47"/>
                  </a:lnTo>
                  <a:lnTo>
                    <a:pt x="152" y="47"/>
                  </a:lnTo>
                  <a:close/>
                  <a:moveTo>
                    <a:pt x="158" y="43"/>
                  </a:moveTo>
                  <a:lnTo>
                    <a:pt x="159" y="43"/>
                  </a:lnTo>
                  <a:lnTo>
                    <a:pt x="159" y="44"/>
                  </a:lnTo>
                  <a:lnTo>
                    <a:pt x="158" y="44"/>
                  </a:lnTo>
                  <a:lnTo>
                    <a:pt x="158" y="43"/>
                  </a:lnTo>
                  <a:close/>
                  <a:moveTo>
                    <a:pt x="316" y="42"/>
                  </a:moveTo>
                  <a:lnTo>
                    <a:pt x="315" y="42"/>
                  </a:lnTo>
                  <a:lnTo>
                    <a:pt x="314" y="42"/>
                  </a:lnTo>
                  <a:lnTo>
                    <a:pt x="314" y="41"/>
                  </a:lnTo>
                  <a:lnTo>
                    <a:pt x="315" y="41"/>
                  </a:lnTo>
                  <a:lnTo>
                    <a:pt x="316" y="41"/>
                  </a:lnTo>
                  <a:lnTo>
                    <a:pt x="316" y="42"/>
                  </a:lnTo>
                  <a:close/>
                  <a:moveTo>
                    <a:pt x="159" y="41"/>
                  </a:moveTo>
                  <a:lnTo>
                    <a:pt x="159" y="42"/>
                  </a:lnTo>
                  <a:lnTo>
                    <a:pt x="159" y="43"/>
                  </a:lnTo>
                  <a:lnTo>
                    <a:pt x="158" y="42"/>
                  </a:lnTo>
                  <a:lnTo>
                    <a:pt x="158" y="41"/>
                  </a:lnTo>
                  <a:lnTo>
                    <a:pt x="159" y="41"/>
                  </a:lnTo>
                  <a:close/>
                  <a:moveTo>
                    <a:pt x="317" y="42"/>
                  </a:moveTo>
                  <a:lnTo>
                    <a:pt x="316" y="41"/>
                  </a:lnTo>
                  <a:lnTo>
                    <a:pt x="316" y="40"/>
                  </a:lnTo>
                  <a:lnTo>
                    <a:pt x="317" y="40"/>
                  </a:lnTo>
                  <a:lnTo>
                    <a:pt x="317" y="41"/>
                  </a:lnTo>
                  <a:lnTo>
                    <a:pt x="317" y="42"/>
                  </a:lnTo>
                  <a:close/>
                  <a:moveTo>
                    <a:pt x="320" y="38"/>
                  </a:moveTo>
                  <a:lnTo>
                    <a:pt x="319" y="38"/>
                  </a:lnTo>
                  <a:lnTo>
                    <a:pt x="318" y="37"/>
                  </a:lnTo>
                  <a:lnTo>
                    <a:pt x="319" y="37"/>
                  </a:lnTo>
                  <a:lnTo>
                    <a:pt x="320" y="37"/>
                  </a:lnTo>
                  <a:lnTo>
                    <a:pt x="320" y="38"/>
                  </a:lnTo>
                  <a:close/>
                  <a:moveTo>
                    <a:pt x="315" y="38"/>
                  </a:moveTo>
                  <a:lnTo>
                    <a:pt x="314" y="38"/>
                  </a:lnTo>
                  <a:lnTo>
                    <a:pt x="312" y="38"/>
                  </a:lnTo>
                  <a:lnTo>
                    <a:pt x="311" y="38"/>
                  </a:lnTo>
                  <a:lnTo>
                    <a:pt x="311" y="37"/>
                  </a:lnTo>
                  <a:lnTo>
                    <a:pt x="312" y="37"/>
                  </a:lnTo>
                  <a:lnTo>
                    <a:pt x="314" y="37"/>
                  </a:lnTo>
                  <a:lnTo>
                    <a:pt x="314" y="38"/>
                  </a:lnTo>
                  <a:lnTo>
                    <a:pt x="315" y="38"/>
                  </a:lnTo>
                  <a:close/>
                  <a:moveTo>
                    <a:pt x="428" y="38"/>
                  </a:moveTo>
                  <a:lnTo>
                    <a:pt x="429" y="38"/>
                  </a:lnTo>
                  <a:lnTo>
                    <a:pt x="429" y="40"/>
                  </a:lnTo>
                  <a:lnTo>
                    <a:pt x="428" y="40"/>
                  </a:lnTo>
                  <a:lnTo>
                    <a:pt x="426" y="40"/>
                  </a:lnTo>
                  <a:lnTo>
                    <a:pt x="426" y="38"/>
                  </a:lnTo>
                  <a:lnTo>
                    <a:pt x="426" y="37"/>
                  </a:lnTo>
                  <a:lnTo>
                    <a:pt x="425" y="36"/>
                  </a:lnTo>
                  <a:lnTo>
                    <a:pt x="425" y="35"/>
                  </a:lnTo>
                  <a:lnTo>
                    <a:pt x="426" y="35"/>
                  </a:lnTo>
                  <a:lnTo>
                    <a:pt x="428" y="36"/>
                  </a:lnTo>
                  <a:lnTo>
                    <a:pt x="428" y="37"/>
                  </a:lnTo>
                  <a:lnTo>
                    <a:pt x="428" y="38"/>
                  </a:lnTo>
                  <a:close/>
                  <a:moveTo>
                    <a:pt x="445" y="35"/>
                  </a:moveTo>
                  <a:lnTo>
                    <a:pt x="444" y="35"/>
                  </a:lnTo>
                  <a:lnTo>
                    <a:pt x="444" y="34"/>
                  </a:lnTo>
                  <a:lnTo>
                    <a:pt x="444" y="33"/>
                  </a:lnTo>
                  <a:lnTo>
                    <a:pt x="445" y="34"/>
                  </a:lnTo>
                  <a:lnTo>
                    <a:pt x="445" y="35"/>
                  </a:lnTo>
                  <a:close/>
                  <a:moveTo>
                    <a:pt x="318" y="33"/>
                  </a:moveTo>
                  <a:lnTo>
                    <a:pt x="319" y="33"/>
                  </a:lnTo>
                  <a:lnTo>
                    <a:pt x="319" y="34"/>
                  </a:lnTo>
                  <a:lnTo>
                    <a:pt x="318" y="34"/>
                  </a:lnTo>
                  <a:lnTo>
                    <a:pt x="318" y="33"/>
                  </a:lnTo>
                  <a:close/>
                  <a:moveTo>
                    <a:pt x="443" y="34"/>
                  </a:moveTo>
                  <a:lnTo>
                    <a:pt x="443" y="33"/>
                  </a:lnTo>
                  <a:lnTo>
                    <a:pt x="443" y="31"/>
                  </a:lnTo>
                  <a:lnTo>
                    <a:pt x="442" y="31"/>
                  </a:lnTo>
                  <a:lnTo>
                    <a:pt x="442" y="30"/>
                  </a:lnTo>
                  <a:lnTo>
                    <a:pt x="442" y="29"/>
                  </a:lnTo>
                  <a:lnTo>
                    <a:pt x="442" y="30"/>
                  </a:lnTo>
                  <a:lnTo>
                    <a:pt x="443" y="31"/>
                  </a:lnTo>
                  <a:lnTo>
                    <a:pt x="443" y="33"/>
                  </a:lnTo>
                  <a:lnTo>
                    <a:pt x="443" y="34"/>
                  </a:lnTo>
                  <a:close/>
                  <a:moveTo>
                    <a:pt x="317" y="30"/>
                  </a:moveTo>
                  <a:lnTo>
                    <a:pt x="316" y="30"/>
                  </a:lnTo>
                  <a:lnTo>
                    <a:pt x="316" y="29"/>
                  </a:lnTo>
                  <a:lnTo>
                    <a:pt x="316" y="28"/>
                  </a:lnTo>
                  <a:lnTo>
                    <a:pt x="317" y="28"/>
                  </a:lnTo>
                  <a:lnTo>
                    <a:pt x="317" y="29"/>
                  </a:lnTo>
                  <a:lnTo>
                    <a:pt x="318" y="29"/>
                  </a:lnTo>
                  <a:lnTo>
                    <a:pt x="318" y="30"/>
                  </a:lnTo>
                  <a:lnTo>
                    <a:pt x="317" y="30"/>
                  </a:lnTo>
                  <a:close/>
                  <a:moveTo>
                    <a:pt x="317" y="28"/>
                  </a:moveTo>
                  <a:lnTo>
                    <a:pt x="318" y="28"/>
                  </a:lnTo>
                  <a:lnTo>
                    <a:pt x="319" y="28"/>
                  </a:lnTo>
                  <a:lnTo>
                    <a:pt x="320" y="28"/>
                  </a:lnTo>
                  <a:lnTo>
                    <a:pt x="320" y="29"/>
                  </a:lnTo>
                  <a:lnTo>
                    <a:pt x="320" y="30"/>
                  </a:lnTo>
                  <a:lnTo>
                    <a:pt x="319" y="30"/>
                  </a:lnTo>
                  <a:lnTo>
                    <a:pt x="319" y="29"/>
                  </a:lnTo>
                  <a:lnTo>
                    <a:pt x="318" y="29"/>
                  </a:lnTo>
                  <a:lnTo>
                    <a:pt x="318" y="28"/>
                  </a:lnTo>
                  <a:lnTo>
                    <a:pt x="317" y="28"/>
                  </a:lnTo>
                  <a:close/>
                  <a:moveTo>
                    <a:pt x="187" y="29"/>
                  </a:moveTo>
                  <a:lnTo>
                    <a:pt x="187" y="30"/>
                  </a:lnTo>
                  <a:lnTo>
                    <a:pt x="188" y="30"/>
                  </a:lnTo>
                  <a:lnTo>
                    <a:pt x="188" y="31"/>
                  </a:lnTo>
                  <a:lnTo>
                    <a:pt x="187" y="31"/>
                  </a:lnTo>
                  <a:lnTo>
                    <a:pt x="187" y="33"/>
                  </a:lnTo>
                  <a:lnTo>
                    <a:pt x="188" y="33"/>
                  </a:lnTo>
                  <a:lnTo>
                    <a:pt x="188" y="34"/>
                  </a:lnTo>
                  <a:lnTo>
                    <a:pt x="187" y="34"/>
                  </a:lnTo>
                  <a:lnTo>
                    <a:pt x="187" y="35"/>
                  </a:lnTo>
                  <a:lnTo>
                    <a:pt x="187" y="36"/>
                  </a:lnTo>
                  <a:lnTo>
                    <a:pt x="185" y="35"/>
                  </a:lnTo>
                  <a:lnTo>
                    <a:pt x="185" y="36"/>
                  </a:lnTo>
                  <a:lnTo>
                    <a:pt x="184" y="36"/>
                  </a:lnTo>
                  <a:lnTo>
                    <a:pt x="184" y="35"/>
                  </a:lnTo>
                  <a:lnTo>
                    <a:pt x="183" y="35"/>
                  </a:lnTo>
                  <a:lnTo>
                    <a:pt x="184" y="35"/>
                  </a:lnTo>
                  <a:lnTo>
                    <a:pt x="184" y="34"/>
                  </a:lnTo>
                  <a:lnTo>
                    <a:pt x="185" y="34"/>
                  </a:lnTo>
                  <a:lnTo>
                    <a:pt x="185" y="35"/>
                  </a:lnTo>
                  <a:lnTo>
                    <a:pt x="187" y="35"/>
                  </a:lnTo>
                  <a:lnTo>
                    <a:pt x="185" y="35"/>
                  </a:lnTo>
                  <a:lnTo>
                    <a:pt x="185" y="34"/>
                  </a:lnTo>
                  <a:lnTo>
                    <a:pt x="184" y="34"/>
                  </a:lnTo>
                  <a:lnTo>
                    <a:pt x="183" y="33"/>
                  </a:lnTo>
                  <a:lnTo>
                    <a:pt x="182" y="31"/>
                  </a:lnTo>
                  <a:lnTo>
                    <a:pt x="182" y="30"/>
                  </a:lnTo>
                  <a:lnTo>
                    <a:pt x="182" y="29"/>
                  </a:lnTo>
                  <a:lnTo>
                    <a:pt x="183" y="29"/>
                  </a:lnTo>
                  <a:lnTo>
                    <a:pt x="184" y="28"/>
                  </a:lnTo>
                  <a:lnTo>
                    <a:pt x="184" y="27"/>
                  </a:lnTo>
                  <a:lnTo>
                    <a:pt x="185" y="27"/>
                  </a:lnTo>
                  <a:lnTo>
                    <a:pt x="185" y="28"/>
                  </a:lnTo>
                  <a:lnTo>
                    <a:pt x="185" y="29"/>
                  </a:lnTo>
                  <a:lnTo>
                    <a:pt x="187" y="29"/>
                  </a:lnTo>
                  <a:close/>
                  <a:moveTo>
                    <a:pt x="302" y="26"/>
                  </a:moveTo>
                  <a:lnTo>
                    <a:pt x="302" y="24"/>
                  </a:lnTo>
                  <a:lnTo>
                    <a:pt x="302" y="26"/>
                  </a:lnTo>
                  <a:lnTo>
                    <a:pt x="303" y="26"/>
                  </a:lnTo>
                  <a:lnTo>
                    <a:pt x="303" y="24"/>
                  </a:lnTo>
                  <a:lnTo>
                    <a:pt x="304" y="24"/>
                  </a:lnTo>
                  <a:lnTo>
                    <a:pt x="304" y="26"/>
                  </a:lnTo>
                  <a:lnTo>
                    <a:pt x="305" y="24"/>
                  </a:lnTo>
                  <a:lnTo>
                    <a:pt x="307" y="24"/>
                  </a:lnTo>
                  <a:lnTo>
                    <a:pt x="307" y="26"/>
                  </a:lnTo>
                  <a:lnTo>
                    <a:pt x="310" y="26"/>
                  </a:lnTo>
                  <a:lnTo>
                    <a:pt x="310" y="24"/>
                  </a:lnTo>
                  <a:lnTo>
                    <a:pt x="310" y="26"/>
                  </a:lnTo>
                  <a:lnTo>
                    <a:pt x="311" y="26"/>
                  </a:lnTo>
                  <a:lnTo>
                    <a:pt x="312" y="27"/>
                  </a:lnTo>
                  <a:lnTo>
                    <a:pt x="314" y="27"/>
                  </a:lnTo>
                  <a:lnTo>
                    <a:pt x="314" y="28"/>
                  </a:lnTo>
                  <a:lnTo>
                    <a:pt x="315" y="28"/>
                  </a:lnTo>
                  <a:lnTo>
                    <a:pt x="312" y="28"/>
                  </a:lnTo>
                  <a:lnTo>
                    <a:pt x="314" y="28"/>
                  </a:lnTo>
                  <a:lnTo>
                    <a:pt x="312" y="29"/>
                  </a:lnTo>
                  <a:lnTo>
                    <a:pt x="314" y="29"/>
                  </a:lnTo>
                  <a:lnTo>
                    <a:pt x="315" y="30"/>
                  </a:lnTo>
                  <a:lnTo>
                    <a:pt x="315" y="29"/>
                  </a:lnTo>
                  <a:lnTo>
                    <a:pt x="316" y="31"/>
                  </a:lnTo>
                  <a:lnTo>
                    <a:pt x="317" y="31"/>
                  </a:lnTo>
                  <a:lnTo>
                    <a:pt x="317" y="33"/>
                  </a:lnTo>
                  <a:lnTo>
                    <a:pt x="316" y="31"/>
                  </a:lnTo>
                  <a:lnTo>
                    <a:pt x="315" y="31"/>
                  </a:lnTo>
                  <a:lnTo>
                    <a:pt x="316" y="31"/>
                  </a:lnTo>
                  <a:lnTo>
                    <a:pt x="316" y="33"/>
                  </a:lnTo>
                  <a:lnTo>
                    <a:pt x="317" y="33"/>
                  </a:lnTo>
                  <a:lnTo>
                    <a:pt x="318" y="33"/>
                  </a:lnTo>
                  <a:lnTo>
                    <a:pt x="318" y="34"/>
                  </a:lnTo>
                  <a:lnTo>
                    <a:pt x="317" y="34"/>
                  </a:lnTo>
                  <a:lnTo>
                    <a:pt x="318" y="34"/>
                  </a:lnTo>
                  <a:lnTo>
                    <a:pt x="318" y="35"/>
                  </a:lnTo>
                  <a:lnTo>
                    <a:pt x="319" y="35"/>
                  </a:lnTo>
                  <a:lnTo>
                    <a:pt x="318" y="35"/>
                  </a:lnTo>
                  <a:lnTo>
                    <a:pt x="318" y="36"/>
                  </a:lnTo>
                  <a:lnTo>
                    <a:pt x="317" y="36"/>
                  </a:lnTo>
                  <a:lnTo>
                    <a:pt x="316" y="36"/>
                  </a:lnTo>
                  <a:lnTo>
                    <a:pt x="315" y="35"/>
                  </a:lnTo>
                  <a:lnTo>
                    <a:pt x="315" y="34"/>
                  </a:lnTo>
                  <a:lnTo>
                    <a:pt x="315" y="35"/>
                  </a:lnTo>
                  <a:lnTo>
                    <a:pt x="315" y="36"/>
                  </a:lnTo>
                  <a:lnTo>
                    <a:pt x="314" y="36"/>
                  </a:lnTo>
                  <a:lnTo>
                    <a:pt x="312" y="36"/>
                  </a:lnTo>
                  <a:lnTo>
                    <a:pt x="311" y="36"/>
                  </a:lnTo>
                  <a:lnTo>
                    <a:pt x="309" y="36"/>
                  </a:lnTo>
                  <a:lnTo>
                    <a:pt x="308" y="37"/>
                  </a:lnTo>
                  <a:lnTo>
                    <a:pt x="309" y="36"/>
                  </a:lnTo>
                  <a:lnTo>
                    <a:pt x="310" y="36"/>
                  </a:lnTo>
                  <a:lnTo>
                    <a:pt x="311" y="36"/>
                  </a:lnTo>
                  <a:lnTo>
                    <a:pt x="311" y="37"/>
                  </a:lnTo>
                  <a:lnTo>
                    <a:pt x="310" y="37"/>
                  </a:lnTo>
                  <a:lnTo>
                    <a:pt x="311" y="37"/>
                  </a:lnTo>
                  <a:lnTo>
                    <a:pt x="311" y="38"/>
                  </a:lnTo>
                  <a:lnTo>
                    <a:pt x="312" y="38"/>
                  </a:lnTo>
                  <a:lnTo>
                    <a:pt x="312" y="40"/>
                  </a:lnTo>
                  <a:lnTo>
                    <a:pt x="314" y="40"/>
                  </a:lnTo>
                  <a:lnTo>
                    <a:pt x="315" y="40"/>
                  </a:lnTo>
                  <a:lnTo>
                    <a:pt x="314" y="40"/>
                  </a:lnTo>
                  <a:lnTo>
                    <a:pt x="314" y="41"/>
                  </a:lnTo>
                  <a:lnTo>
                    <a:pt x="314" y="42"/>
                  </a:lnTo>
                  <a:lnTo>
                    <a:pt x="312" y="43"/>
                  </a:lnTo>
                  <a:lnTo>
                    <a:pt x="312" y="42"/>
                  </a:lnTo>
                  <a:lnTo>
                    <a:pt x="311" y="42"/>
                  </a:lnTo>
                  <a:lnTo>
                    <a:pt x="312" y="43"/>
                  </a:lnTo>
                  <a:lnTo>
                    <a:pt x="314" y="43"/>
                  </a:lnTo>
                  <a:lnTo>
                    <a:pt x="315" y="43"/>
                  </a:lnTo>
                  <a:lnTo>
                    <a:pt x="315" y="44"/>
                  </a:lnTo>
                  <a:lnTo>
                    <a:pt x="316" y="44"/>
                  </a:lnTo>
                  <a:lnTo>
                    <a:pt x="317" y="44"/>
                  </a:lnTo>
                  <a:lnTo>
                    <a:pt x="317" y="45"/>
                  </a:lnTo>
                  <a:lnTo>
                    <a:pt x="316" y="47"/>
                  </a:lnTo>
                  <a:lnTo>
                    <a:pt x="317" y="47"/>
                  </a:lnTo>
                  <a:lnTo>
                    <a:pt x="318" y="47"/>
                  </a:lnTo>
                  <a:lnTo>
                    <a:pt x="317" y="47"/>
                  </a:lnTo>
                  <a:lnTo>
                    <a:pt x="317" y="48"/>
                  </a:lnTo>
                  <a:lnTo>
                    <a:pt x="316" y="48"/>
                  </a:lnTo>
                  <a:lnTo>
                    <a:pt x="317" y="48"/>
                  </a:lnTo>
                  <a:lnTo>
                    <a:pt x="318" y="48"/>
                  </a:lnTo>
                  <a:lnTo>
                    <a:pt x="317" y="48"/>
                  </a:lnTo>
                  <a:lnTo>
                    <a:pt x="317" y="49"/>
                  </a:lnTo>
                  <a:lnTo>
                    <a:pt x="318" y="49"/>
                  </a:lnTo>
                  <a:lnTo>
                    <a:pt x="318" y="50"/>
                  </a:lnTo>
                  <a:lnTo>
                    <a:pt x="319" y="50"/>
                  </a:lnTo>
                  <a:lnTo>
                    <a:pt x="319" y="51"/>
                  </a:lnTo>
                  <a:lnTo>
                    <a:pt x="319" y="52"/>
                  </a:lnTo>
                  <a:lnTo>
                    <a:pt x="320" y="52"/>
                  </a:lnTo>
                  <a:lnTo>
                    <a:pt x="320" y="54"/>
                  </a:lnTo>
                  <a:lnTo>
                    <a:pt x="322" y="55"/>
                  </a:lnTo>
                  <a:lnTo>
                    <a:pt x="323" y="55"/>
                  </a:lnTo>
                  <a:lnTo>
                    <a:pt x="323" y="56"/>
                  </a:lnTo>
                  <a:lnTo>
                    <a:pt x="324" y="57"/>
                  </a:lnTo>
                  <a:lnTo>
                    <a:pt x="324" y="58"/>
                  </a:lnTo>
                  <a:lnTo>
                    <a:pt x="323" y="58"/>
                  </a:lnTo>
                  <a:lnTo>
                    <a:pt x="322" y="59"/>
                  </a:lnTo>
                  <a:lnTo>
                    <a:pt x="322" y="61"/>
                  </a:lnTo>
                  <a:lnTo>
                    <a:pt x="320" y="61"/>
                  </a:lnTo>
                  <a:lnTo>
                    <a:pt x="322" y="62"/>
                  </a:lnTo>
                  <a:lnTo>
                    <a:pt x="320" y="62"/>
                  </a:lnTo>
                  <a:lnTo>
                    <a:pt x="319" y="62"/>
                  </a:lnTo>
                  <a:lnTo>
                    <a:pt x="320" y="62"/>
                  </a:lnTo>
                  <a:lnTo>
                    <a:pt x="320" y="63"/>
                  </a:lnTo>
                  <a:lnTo>
                    <a:pt x="320" y="64"/>
                  </a:lnTo>
                  <a:lnTo>
                    <a:pt x="322" y="64"/>
                  </a:lnTo>
                  <a:lnTo>
                    <a:pt x="322" y="65"/>
                  </a:lnTo>
                  <a:lnTo>
                    <a:pt x="323" y="65"/>
                  </a:lnTo>
                  <a:lnTo>
                    <a:pt x="323" y="66"/>
                  </a:lnTo>
                  <a:lnTo>
                    <a:pt x="324" y="68"/>
                  </a:lnTo>
                  <a:lnTo>
                    <a:pt x="325" y="68"/>
                  </a:lnTo>
                  <a:lnTo>
                    <a:pt x="326" y="69"/>
                  </a:lnTo>
                  <a:lnTo>
                    <a:pt x="327" y="69"/>
                  </a:lnTo>
                  <a:lnTo>
                    <a:pt x="327" y="70"/>
                  </a:lnTo>
                  <a:lnTo>
                    <a:pt x="329" y="70"/>
                  </a:lnTo>
                  <a:lnTo>
                    <a:pt x="329" y="71"/>
                  </a:lnTo>
                  <a:lnTo>
                    <a:pt x="330" y="71"/>
                  </a:lnTo>
                  <a:lnTo>
                    <a:pt x="330" y="72"/>
                  </a:lnTo>
                  <a:lnTo>
                    <a:pt x="331" y="72"/>
                  </a:lnTo>
                  <a:lnTo>
                    <a:pt x="332" y="73"/>
                  </a:lnTo>
                  <a:lnTo>
                    <a:pt x="333" y="73"/>
                  </a:lnTo>
                  <a:lnTo>
                    <a:pt x="333" y="75"/>
                  </a:lnTo>
                  <a:lnTo>
                    <a:pt x="333" y="76"/>
                  </a:lnTo>
                  <a:lnTo>
                    <a:pt x="334" y="76"/>
                  </a:lnTo>
                  <a:lnTo>
                    <a:pt x="334" y="77"/>
                  </a:lnTo>
                  <a:lnTo>
                    <a:pt x="336" y="77"/>
                  </a:lnTo>
                  <a:lnTo>
                    <a:pt x="337" y="77"/>
                  </a:lnTo>
                  <a:lnTo>
                    <a:pt x="337" y="78"/>
                  </a:lnTo>
                  <a:lnTo>
                    <a:pt x="337" y="79"/>
                  </a:lnTo>
                  <a:lnTo>
                    <a:pt x="336" y="79"/>
                  </a:lnTo>
                  <a:lnTo>
                    <a:pt x="334" y="80"/>
                  </a:lnTo>
                  <a:lnTo>
                    <a:pt x="333" y="80"/>
                  </a:lnTo>
                  <a:lnTo>
                    <a:pt x="332" y="80"/>
                  </a:lnTo>
                  <a:lnTo>
                    <a:pt x="331" y="80"/>
                  </a:lnTo>
                  <a:lnTo>
                    <a:pt x="330" y="80"/>
                  </a:lnTo>
                  <a:lnTo>
                    <a:pt x="329" y="80"/>
                  </a:lnTo>
                  <a:lnTo>
                    <a:pt x="327" y="80"/>
                  </a:lnTo>
                  <a:lnTo>
                    <a:pt x="325" y="79"/>
                  </a:lnTo>
                  <a:lnTo>
                    <a:pt x="324" y="79"/>
                  </a:lnTo>
                  <a:lnTo>
                    <a:pt x="323" y="78"/>
                  </a:lnTo>
                  <a:lnTo>
                    <a:pt x="323" y="77"/>
                  </a:lnTo>
                  <a:lnTo>
                    <a:pt x="322" y="76"/>
                  </a:lnTo>
                  <a:lnTo>
                    <a:pt x="322" y="77"/>
                  </a:lnTo>
                  <a:lnTo>
                    <a:pt x="323" y="78"/>
                  </a:lnTo>
                  <a:lnTo>
                    <a:pt x="323" y="79"/>
                  </a:lnTo>
                  <a:lnTo>
                    <a:pt x="323" y="80"/>
                  </a:lnTo>
                  <a:lnTo>
                    <a:pt x="323" y="82"/>
                  </a:lnTo>
                  <a:lnTo>
                    <a:pt x="323" y="80"/>
                  </a:lnTo>
                  <a:lnTo>
                    <a:pt x="322" y="80"/>
                  </a:lnTo>
                  <a:lnTo>
                    <a:pt x="320" y="80"/>
                  </a:lnTo>
                  <a:lnTo>
                    <a:pt x="319" y="82"/>
                  </a:lnTo>
                  <a:lnTo>
                    <a:pt x="319" y="83"/>
                  </a:lnTo>
                  <a:lnTo>
                    <a:pt x="319" y="84"/>
                  </a:lnTo>
                  <a:lnTo>
                    <a:pt x="318" y="84"/>
                  </a:lnTo>
                  <a:lnTo>
                    <a:pt x="318" y="85"/>
                  </a:lnTo>
                  <a:lnTo>
                    <a:pt x="317" y="86"/>
                  </a:lnTo>
                  <a:lnTo>
                    <a:pt x="318" y="86"/>
                  </a:lnTo>
                  <a:lnTo>
                    <a:pt x="317" y="87"/>
                  </a:lnTo>
                  <a:lnTo>
                    <a:pt x="317" y="89"/>
                  </a:lnTo>
                  <a:lnTo>
                    <a:pt x="316" y="89"/>
                  </a:lnTo>
                  <a:lnTo>
                    <a:pt x="316" y="90"/>
                  </a:lnTo>
                  <a:lnTo>
                    <a:pt x="316" y="91"/>
                  </a:lnTo>
                  <a:lnTo>
                    <a:pt x="316" y="92"/>
                  </a:lnTo>
                  <a:lnTo>
                    <a:pt x="316" y="93"/>
                  </a:lnTo>
                  <a:lnTo>
                    <a:pt x="316" y="94"/>
                  </a:lnTo>
                  <a:lnTo>
                    <a:pt x="316" y="96"/>
                  </a:lnTo>
                  <a:lnTo>
                    <a:pt x="316" y="97"/>
                  </a:lnTo>
                  <a:lnTo>
                    <a:pt x="315" y="98"/>
                  </a:lnTo>
                  <a:lnTo>
                    <a:pt x="316" y="99"/>
                  </a:lnTo>
                  <a:lnTo>
                    <a:pt x="316" y="100"/>
                  </a:lnTo>
                  <a:lnTo>
                    <a:pt x="316" y="101"/>
                  </a:lnTo>
                  <a:lnTo>
                    <a:pt x="315" y="101"/>
                  </a:lnTo>
                  <a:lnTo>
                    <a:pt x="316" y="101"/>
                  </a:lnTo>
                  <a:lnTo>
                    <a:pt x="317" y="100"/>
                  </a:lnTo>
                  <a:lnTo>
                    <a:pt x="318" y="100"/>
                  </a:lnTo>
                  <a:lnTo>
                    <a:pt x="317" y="101"/>
                  </a:lnTo>
                  <a:lnTo>
                    <a:pt x="317" y="103"/>
                  </a:lnTo>
                  <a:lnTo>
                    <a:pt x="317" y="104"/>
                  </a:lnTo>
                  <a:lnTo>
                    <a:pt x="316" y="104"/>
                  </a:lnTo>
                  <a:lnTo>
                    <a:pt x="317" y="104"/>
                  </a:lnTo>
                  <a:lnTo>
                    <a:pt x="316" y="105"/>
                  </a:lnTo>
                  <a:lnTo>
                    <a:pt x="317" y="105"/>
                  </a:lnTo>
                  <a:lnTo>
                    <a:pt x="316" y="105"/>
                  </a:lnTo>
                  <a:lnTo>
                    <a:pt x="317" y="105"/>
                  </a:lnTo>
                  <a:lnTo>
                    <a:pt x="318" y="106"/>
                  </a:lnTo>
                  <a:lnTo>
                    <a:pt x="317" y="106"/>
                  </a:lnTo>
                  <a:lnTo>
                    <a:pt x="316" y="106"/>
                  </a:lnTo>
                  <a:lnTo>
                    <a:pt x="316" y="107"/>
                  </a:lnTo>
                  <a:lnTo>
                    <a:pt x="315" y="106"/>
                  </a:lnTo>
                  <a:lnTo>
                    <a:pt x="315" y="107"/>
                  </a:lnTo>
                  <a:lnTo>
                    <a:pt x="314" y="107"/>
                  </a:lnTo>
                  <a:lnTo>
                    <a:pt x="314" y="108"/>
                  </a:lnTo>
                  <a:lnTo>
                    <a:pt x="314" y="107"/>
                  </a:lnTo>
                  <a:lnTo>
                    <a:pt x="314" y="106"/>
                  </a:lnTo>
                  <a:lnTo>
                    <a:pt x="312" y="106"/>
                  </a:lnTo>
                  <a:lnTo>
                    <a:pt x="312" y="107"/>
                  </a:lnTo>
                  <a:lnTo>
                    <a:pt x="312" y="108"/>
                  </a:lnTo>
                  <a:lnTo>
                    <a:pt x="311" y="108"/>
                  </a:lnTo>
                  <a:lnTo>
                    <a:pt x="311" y="110"/>
                  </a:lnTo>
                  <a:lnTo>
                    <a:pt x="310" y="112"/>
                  </a:lnTo>
                  <a:lnTo>
                    <a:pt x="309" y="112"/>
                  </a:lnTo>
                  <a:lnTo>
                    <a:pt x="309" y="113"/>
                  </a:lnTo>
                  <a:lnTo>
                    <a:pt x="308" y="113"/>
                  </a:lnTo>
                  <a:lnTo>
                    <a:pt x="307" y="114"/>
                  </a:lnTo>
                  <a:lnTo>
                    <a:pt x="307" y="113"/>
                  </a:lnTo>
                  <a:lnTo>
                    <a:pt x="307" y="112"/>
                  </a:lnTo>
                  <a:lnTo>
                    <a:pt x="307" y="113"/>
                  </a:lnTo>
                  <a:lnTo>
                    <a:pt x="305" y="113"/>
                  </a:lnTo>
                  <a:lnTo>
                    <a:pt x="305" y="112"/>
                  </a:lnTo>
                  <a:lnTo>
                    <a:pt x="305" y="111"/>
                  </a:lnTo>
                  <a:lnTo>
                    <a:pt x="305" y="110"/>
                  </a:lnTo>
                  <a:lnTo>
                    <a:pt x="305" y="111"/>
                  </a:lnTo>
                  <a:lnTo>
                    <a:pt x="305" y="112"/>
                  </a:lnTo>
                  <a:lnTo>
                    <a:pt x="305" y="113"/>
                  </a:lnTo>
                  <a:lnTo>
                    <a:pt x="305" y="114"/>
                  </a:lnTo>
                  <a:lnTo>
                    <a:pt x="305" y="115"/>
                  </a:lnTo>
                  <a:lnTo>
                    <a:pt x="303" y="117"/>
                  </a:lnTo>
                  <a:lnTo>
                    <a:pt x="302" y="117"/>
                  </a:lnTo>
                  <a:lnTo>
                    <a:pt x="302" y="118"/>
                  </a:lnTo>
                  <a:lnTo>
                    <a:pt x="303" y="118"/>
                  </a:lnTo>
                  <a:lnTo>
                    <a:pt x="303" y="119"/>
                  </a:lnTo>
                  <a:lnTo>
                    <a:pt x="302" y="119"/>
                  </a:lnTo>
                  <a:lnTo>
                    <a:pt x="302" y="120"/>
                  </a:lnTo>
                  <a:lnTo>
                    <a:pt x="301" y="120"/>
                  </a:lnTo>
                  <a:lnTo>
                    <a:pt x="300" y="120"/>
                  </a:lnTo>
                  <a:lnTo>
                    <a:pt x="298" y="121"/>
                  </a:lnTo>
                  <a:lnTo>
                    <a:pt x="297" y="122"/>
                  </a:lnTo>
                  <a:lnTo>
                    <a:pt x="298" y="122"/>
                  </a:lnTo>
                  <a:lnTo>
                    <a:pt x="300" y="122"/>
                  </a:lnTo>
                  <a:lnTo>
                    <a:pt x="300" y="121"/>
                  </a:lnTo>
                  <a:lnTo>
                    <a:pt x="301" y="121"/>
                  </a:lnTo>
                  <a:lnTo>
                    <a:pt x="301" y="122"/>
                  </a:lnTo>
                  <a:lnTo>
                    <a:pt x="301" y="124"/>
                  </a:lnTo>
                  <a:lnTo>
                    <a:pt x="301" y="125"/>
                  </a:lnTo>
                  <a:lnTo>
                    <a:pt x="301" y="126"/>
                  </a:lnTo>
                  <a:lnTo>
                    <a:pt x="301" y="127"/>
                  </a:lnTo>
                  <a:lnTo>
                    <a:pt x="300" y="127"/>
                  </a:lnTo>
                  <a:lnTo>
                    <a:pt x="298" y="127"/>
                  </a:lnTo>
                  <a:lnTo>
                    <a:pt x="298" y="128"/>
                  </a:lnTo>
                  <a:lnTo>
                    <a:pt x="300" y="127"/>
                  </a:lnTo>
                  <a:lnTo>
                    <a:pt x="300" y="128"/>
                  </a:lnTo>
                  <a:lnTo>
                    <a:pt x="301" y="128"/>
                  </a:lnTo>
                  <a:lnTo>
                    <a:pt x="302" y="128"/>
                  </a:lnTo>
                  <a:lnTo>
                    <a:pt x="303" y="128"/>
                  </a:lnTo>
                  <a:lnTo>
                    <a:pt x="303" y="129"/>
                  </a:lnTo>
                  <a:lnTo>
                    <a:pt x="302" y="131"/>
                  </a:lnTo>
                  <a:lnTo>
                    <a:pt x="302" y="133"/>
                  </a:lnTo>
                  <a:lnTo>
                    <a:pt x="302" y="134"/>
                  </a:lnTo>
                  <a:lnTo>
                    <a:pt x="301" y="134"/>
                  </a:lnTo>
                  <a:lnTo>
                    <a:pt x="301" y="133"/>
                  </a:lnTo>
                  <a:lnTo>
                    <a:pt x="300" y="133"/>
                  </a:lnTo>
                  <a:lnTo>
                    <a:pt x="298" y="133"/>
                  </a:lnTo>
                  <a:lnTo>
                    <a:pt x="298" y="134"/>
                  </a:lnTo>
                  <a:lnTo>
                    <a:pt x="298" y="135"/>
                  </a:lnTo>
                  <a:lnTo>
                    <a:pt x="300" y="134"/>
                  </a:lnTo>
                  <a:lnTo>
                    <a:pt x="300" y="135"/>
                  </a:lnTo>
                  <a:lnTo>
                    <a:pt x="300" y="139"/>
                  </a:lnTo>
                  <a:lnTo>
                    <a:pt x="300" y="140"/>
                  </a:lnTo>
                  <a:lnTo>
                    <a:pt x="298" y="140"/>
                  </a:lnTo>
                  <a:lnTo>
                    <a:pt x="298" y="141"/>
                  </a:lnTo>
                  <a:lnTo>
                    <a:pt x="297" y="141"/>
                  </a:lnTo>
                  <a:lnTo>
                    <a:pt x="297" y="140"/>
                  </a:lnTo>
                  <a:lnTo>
                    <a:pt x="296" y="140"/>
                  </a:lnTo>
                  <a:lnTo>
                    <a:pt x="296" y="139"/>
                  </a:lnTo>
                  <a:lnTo>
                    <a:pt x="296" y="140"/>
                  </a:lnTo>
                  <a:lnTo>
                    <a:pt x="296" y="141"/>
                  </a:lnTo>
                  <a:lnTo>
                    <a:pt x="296" y="142"/>
                  </a:lnTo>
                  <a:lnTo>
                    <a:pt x="297" y="142"/>
                  </a:lnTo>
                  <a:lnTo>
                    <a:pt x="297" y="143"/>
                  </a:lnTo>
                  <a:lnTo>
                    <a:pt x="298" y="143"/>
                  </a:lnTo>
                  <a:lnTo>
                    <a:pt x="297" y="143"/>
                  </a:lnTo>
                  <a:lnTo>
                    <a:pt x="296" y="143"/>
                  </a:lnTo>
                  <a:lnTo>
                    <a:pt x="296" y="145"/>
                  </a:lnTo>
                  <a:lnTo>
                    <a:pt x="297" y="145"/>
                  </a:lnTo>
                  <a:lnTo>
                    <a:pt x="296" y="146"/>
                  </a:lnTo>
                  <a:lnTo>
                    <a:pt x="296" y="145"/>
                  </a:lnTo>
                  <a:lnTo>
                    <a:pt x="296" y="146"/>
                  </a:lnTo>
                  <a:lnTo>
                    <a:pt x="296" y="145"/>
                  </a:lnTo>
                  <a:lnTo>
                    <a:pt x="295" y="146"/>
                  </a:lnTo>
                  <a:lnTo>
                    <a:pt x="294" y="148"/>
                  </a:lnTo>
                  <a:lnTo>
                    <a:pt x="294" y="149"/>
                  </a:lnTo>
                  <a:lnTo>
                    <a:pt x="294" y="150"/>
                  </a:lnTo>
                  <a:lnTo>
                    <a:pt x="293" y="150"/>
                  </a:lnTo>
                  <a:lnTo>
                    <a:pt x="291" y="150"/>
                  </a:lnTo>
                  <a:lnTo>
                    <a:pt x="291" y="152"/>
                  </a:lnTo>
                  <a:lnTo>
                    <a:pt x="290" y="153"/>
                  </a:lnTo>
                  <a:lnTo>
                    <a:pt x="288" y="154"/>
                  </a:lnTo>
                  <a:lnTo>
                    <a:pt x="284" y="155"/>
                  </a:lnTo>
                  <a:lnTo>
                    <a:pt x="281" y="156"/>
                  </a:lnTo>
                  <a:lnTo>
                    <a:pt x="277" y="159"/>
                  </a:lnTo>
                  <a:lnTo>
                    <a:pt x="275" y="160"/>
                  </a:lnTo>
                  <a:lnTo>
                    <a:pt x="274" y="160"/>
                  </a:lnTo>
                  <a:lnTo>
                    <a:pt x="274" y="159"/>
                  </a:lnTo>
                  <a:lnTo>
                    <a:pt x="274" y="157"/>
                  </a:lnTo>
                  <a:lnTo>
                    <a:pt x="274" y="156"/>
                  </a:lnTo>
                  <a:lnTo>
                    <a:pt x="274" y="155"/>
                  </a:lnTo>
                  <a:lnTo>
                    <a:pt x="274" y="152"/>
                  </a:lnTo>
                  <a:lnTo>
                    <a:pt x="274" y="150"/>
                  </a:lnTo>
                  <a:lnTo>
                    <a:pt x="273" y="149"/>
                  </a:lnTo>
                  <a:lnTo>
                    <a:pt x="274" y="147"/>
                  </a:lnTo>
                  <a:lnTo>
                    <a:pt x="273" y="147"/>
                  </a:lnTo>
                  <a:lnTo>
                    <a:pt x="273" y="149"/>
                  </a:lnTo>
                  <a:lnTo>
                    <a:pt x="272" y="149"/>
                  </a:lnTo>
                  <a:lnTo>
                    <a:pt x="272" y="148"/>
                  </a:lnTo>
                  <a:lnTo>
                    <a:pt x="270" y="148"/>
                  </a:lnTo>
                  <a:lnTo>
                    <a:pt x="269" y="148"/>
                  </a:lnTo>
                  <a:lnTo>
                    <a:pt x="269" y="147"/>
                  </a:lnTo>
                  <a:lnTo>
                    <a:pt x="270" y="147"/>
                  </a:lnTo>
                  <a:lnTo>
                    <a:pt x="270" y="146"/>
                  </a:lnTo>
                  <a:lnTo>
                    <a:pt x="270" y="145"/>
                  </a:lnTo>
                  <a:lnTo>
                    <a:pt x="272" y="145"/>
                  </a:lnTo>
                  <a:lnTo>
                    <a:pt x="270" y="145"/>
                  </a:lnTo>
                  <a:lnTo>
                    <a:pt x="270" y="146"/>
                  </a:lnTo>
                  <a:lnTo>
                    <a:pt x="269" y="147"/>
                  </a:lnTo>
                  <a:lnTo>
                    <a:pt x="268" y="147"/>
                  </a:lnTo>
                  <a:lnTo>
                    <a:pt x="268" y="146"/>
                  </a:lnTo>
                  <a:lnTo>
                    <a:pt x="268" y="145"/>
                  </a:lnTo>
                  <a:lnTo>
                    <a:pt x="267" y="145"/>
                  </a:lnTo>
                  <a:lnTo>
                    <a:pt x="267" y="146"/>
                  </a:lnTo>
                  <a:lnTo>
                    <a:pt x="267" y="147"/>
                  </a:lnTo>
                  <a:lnTo>
                    <a:pt x="266" y="147"/>
                  </a:lnTo>
                  <a:lnTo>
                    <a:pt x="265" y="148"/>
                  </a:lnTo>
                  <a:lnTo>
                    <a:pt x="263" y="148"/>
                  </a:lnTo>
                  <a:lnTo>
                    <a:pt x="262" y="148"/>
                  </a:lnTo>
                  <a:lnTo>
                    <a:pt x="261" y="148"/>
                  </a:lnTo>
                  <a:lnTo>
                    <a:pt x="261" y="147"/>
                  </a:lnTo>
                  <a:lnTo>
                    <a:pt x="261" y="146"/>
                  </a:lnTo>
                  <a:lnTo>
                    <a:pt x="261" y="145"/>
                  </a:lnTo>
                  <a:lnTo>
                    <a:pt x="261" y="143"/>
                  </a:lnTo>
                  <a:lnTo>
                    <a:pt x="260" y="143"/>
                  </a:lnTo>
                  <a:lnTo>
                    <a:pt x="259" y="143"/>
                  </a:lnTo>
                  <a:lnTo>
                    <a:pt x="259" y="145"/>
                  </a:lnTo>
                  <a:lnTo>
                    <a:pt x="258" y="145"/>
                  </a:lnTo>
                  <a:lnTo>
                    <a:pt x="256" y="145"/>
                  </a:lnTo>
                  <a:lnTo>
                    <a:pt x="256" y="143"/>
                  </a:lnTo>
                  <a:lnTo>
                    <a:pt x="256" y="145"/>
                  </a:lnTo>
                  <a:lnTo>
                    <a:pt x="258" y="146"/>
                  </a:lnTo>
                  <a:lnTo>
                    <a:pt x="256" y="145"/>
                  </a:lnTo>
                  <a:lnTo>
                    <a:pt x="255" y="145"/>
                  </a:lnTo>
                  <a:lnTo>
                    <a:pt x="255" y="143"/>
                  </a:lnTo>
                  <a:lnTo>
                    <a:pt x="255" y="142"/>
                  </a:lnTo>
                  <a:lnTo>
                    <a:pt x="254" y="142"/>
                  </a:lnTo>
                  <a:lnTo>
                    <a:pt x="253" y="140"/>
                  </a:lnTo>
                  <a:lnTo>
                    <a:pt x="253" y="141"/>
                  </a:lnTo>
                  <a:lnTo>
                    <a:pt x="253" y="142"/>
                  </a:lnTo>
                  <a:lnTo>
                    <a:pt x="252" y="142"/>
                  </a:lnTo>
                  <a:lnTo>
                    <a:pt x="252" y="143"/>
                  </a:lnTo>
                  <a:lnTo>
                    <a:pt x="253" y="143"/>
                  </a:lnTo>
                  <a:lnTo>
                    <a:pt x="247" y="147"/>
                  </a:lnTo>
                  <a:lnTo>
                    <a:pt x="247" y="148"/>
                  </a:lnTo>
                  <a:lnTo>
                    <a:pt x="246" y="148"/>
                  </a:lnTo>
                  <a:lnTo>
                    <a:pt x="244" y="147"/>
                  </a:lnTo>
                  <a:lnTo>
                    <a:pt x="243" y="146"/>
                  </a:lnTo>
                  <a:lnTo>
                    <a:pt x="241" y="147"/>
                  </a:lnTo>
                  <a:lnTo>
                    <a:pt x="240" y="147"/>
                  </a:lnTo>
                  <a:lnTo>
                    <a:pt x="238" y="149"/>
                  </a:lnTo>
                  <a:lnTo>
                    <a:pt x="237" y="150"/>
                  </a:lnTo>
                  <a:lnTo>
                    <a:pt x="236" y="149"/>
                  </a:lnTo>
                  <a:lnTo>
                    <a:pt x="236" y="148"/>
                  </a:lnTo>
                  <a:lnTo>
                    <a:pt x="236" y="147"/>
                  </a:lnTo>
                  <a:lnTo>
                    <a:pt x="236" y="145"/>
                  </a:lnTo>
                  <a:lnTo>
                    <a:pt x="236" y="143"/>
                  </a:lnTo>
                  <a:lnTo>
                    <a:pt x="236" y="142"/>
                  </a:lnTo>
                  <a:lnTo>
                    <a:pt x="236" y="141"/>
                  </a:lnTo>
                  <a:lnTo>
                    <a:pt x="236" y="140"/>
                  </a:lnTo>
                  <a:lnTo>
                    <a:pt x="236" y="139"/>
                  </a:lnTo>
                  <a:lnTo>
                    <a:pt x="234" y="139"/>
                  </a:lnTo>
                  <a:lnTo>
                    <a:pt x="234" y="138"/>
                  </a:lnTo>
                  <a:lnTo>
                    <a:pt x="236" y="138"/>
                  </a:lnTo>
                  <a:lnTo>
                    <a:pt x="234" y="138"/>
                  </a:lnTo>
                  <a:lnTo>
                    <a:pt x="234" y="139"/>
                  </a:lnTo>
                  <a:lnTo>
                    <a:pt x="234" y="140"/>
                  </a:lnTo>
                  <a:lnTo>
                    <a:pt x="233" y="141"/>
                  </a:lnTo>
                  <a:lnTo>
                    <a:pt x="232" y="141"/>
                  </a:lnTo>
                  <a:lnTo>
                    <a:pt x="231" y="140"/>
                  </a:lnTo>
                  <a:lnTo>
                    <a:pt x="230" y="140"/>
                  </a:lnTo>
                  <a:lnTo>
                    <a:pt x="229" y="140"/>
                  </a:lnTo>
                  <a:lnTo>
                    <a:pt x="225" y="142"/>
                  </a:lnTo>
                  <a:lnTo>
                    <a:pt x="224" y="142"/>
                  </a:lnTo>
                  <a:lnTo>
                    <a:pt x="223" y="142"/>
                  </a:lnTo>
                  <a:lnTo>
                    <a:pt x="222" y="142"/>
                  </a:lnTo>
                  <a:lnTo>
                    <a:pt x="222" y="141"/>
                  </a:lnTo>
                  <a:lnTo>
                    <a:pt x="223" y="140"/>
                  </a:lnTo>
                  <a:lnTo>
                    <a:pt x="224" y="140"/>
                  </a:lnTo>
                  <a:lnTo>
                    <a:pt x="224" y="139"/>
                  </a:lnTo>
                  <a:lnTo>
                    <a:pt x="223" y="140"/>
                  </a:lnTo>
                  <a:lnTo>
                    <a:pt x="222" y="140"/>
                  </a:lnTo>
                  <a:lnTo>
                    <a:pt x="222" y="141"/>
                  </a:lnTo>
                  <a:lnTo>
                    <a:pt x="220" y="142"/>
                  </a:lnTo>
                  <a:lnTo>
                    <a:pt x="219" y="142"/>
                  </a:lnTo>
                  <a:lnTo>
                    <a:pt x="219" y="141"/>
                  </a:lnTo>
                  <a:lnTo>
                    <a:pt x="219" y="140"/>
                  </a:lnTo>
                  <a:lnTo>
                    <a:pt x="219" y="139"/>
                  </a:lnTo>
                  <a:lnTo>
                    <a:pt x="218" y="139"/>
                  </a:lnTo>
                  <a:lnTo>
                    <a:pt x="216" y="140"/>
                  </a:lnTo>
                  <a:lnTo>
                    <a:pt x="215" y="141"/>
                  </a:lnTo>
                  <a:lnTo>
                    <a:pt x="213" y="141"/>
                  </a:lnTo>
                  <a:lnTo>
                    <a:pt x="213" y="140"/>
                  </a:lnTo>
                  <a:lnTo>
                    <a:pt x="213" y="139"/>
                  </a:lnTo>
                  <a:lnTo>
                    <a:pt x="215" y="139"/>
                  </a:lnTo>
                  <a:lnTo>
                    <a:pt x="215" y="138"/>
                  </a:lnTo>
                  <a:lnTo>
                    <a:pt x="213" y="138"/>
                  </a:lnTo>
                  <a:lnTo>
                    <a:pt x="213" y="136"/>
                  </a:lnTo>
                  <a:lnTo>
                    <a:pt x="213" y="135"/>
                  </a:lnTo>
                  <a:lnTo>
                    <a:pt x="213" y="134"/>
                  </a:lnTo>
                  <a:lnTo>
                    <a:pt x="215" y="134"/>
                  </a:lnTo>
                  <a:lnTo>
                    <a:pt x="213" y="134"/>
                  </a:lnTo>
                  <a:lnTo>
                    <a:pt x="213" y="133"/>
                  </a:lnTo>
                  <a:lnTo>
                    <a:pt x="213" y="132"/>
                  </a:lnTo>
                  <a:lnTo>
                    <a:pt x="212" y="129"/>
                  </a:lnTo>
                  <a:lnTo>
                    <a:pt x="212" y="128"/>
                  </a:lnTo>
                  <a:lnTo>
                    <a:pt x="212" y="127"/>
                  </a:lnTo>
                  <a:lnTo>
                    <a:pt x="212" y="126"/>
                  </a:lnTo>
                  <a:lnTo>
                    <a:pt x="212" y="125"/>
                  </a:lnTo>
                  <a:lnTo>
                    <a:pt x="212" y="124"/>
                  </a:lnTo>
                  <a:lnTo>
                    <a:pt x="211" y="124"/>
                  </a:lnTo>
                  <a:lnTo>
                    <a:pt x="210" y="124"/>
                  </a:lnTo>
                  <a:lnTo>
                    <a:pt x="210" y="122"/>
                  </a:lnTo>
                  <a:lnTo>
                    <a:pt x="210" y="121"/>
                  </a:lnTo>
                  <a:lnTo>
                    <a:pt x="211" y="121"/>
                  </a:lnTo>
                  <a:lnTo>
                    <a:pt x="211" y="120"/>
                  </a:lnTo>
                  <a:lnTo>
                    <a:pt x="211" y="119"/>
                  </a:lnTo>
                  <a:lnTo>
                    <a:pt x="212" y="117"/>
                  </a:lnTo>
                  <a:lnTo>
                    <a:pt x="212" y="115"/>
                  </a:lnTo>
                  <a:lnTo>
                    <a:pt x="212" y="114"/>
                  </a:lnTo>
                  <a:lnTo>
                    <a:pt x="211" y="114"/>
                  </a:lnTo>
                  <a:lnTo>
                    <a:pt x="210" y="113"/>
                  </a:lnTo>
                  <a:lnTo>
                    <a:pt x="210" y="112"/>
                  </a:lnTo>
                  <a:lnTo>
                    <a:pt x="210" y="111"/>
                  </a:lnTo>
                  <a:lnTo>
                    <a:pt x="209" y="111"/>
                  </a:lnTo>
                  <a:lnTo>
                    <a:pt x="209" y="110"/>
                  </a:lnTo>
                  <a:lnTo>
                    <a:pt x="208" y="110"/>
                  </a:lnTo>
                  <a:lnTo>
                    <a:pt x="208" y="108"/>
                  </a:lnTo>
                  <a:lnTo>
                    <a:pt x="208" y="107"/>
                  </a:lnTo>
                  <a:lnTo>
                    <a:pt x="208" y="108"/>
                  </a:lnTo>
                  <a:lnTo>
                    <a:pt x="206" y="110"/>
                  </a:lnTo>
                  <a:lnTo>
                    <a:pt x="206" y="108"/>
                  </a:lnTo>
                  <a:lnTo>
                    <a:pt x="205" y="108"/>
                  </a:lnTo>
                  <a:lnTo>
                    <a:pt x="205" y="107"/>
                  </a:lnTo>
                  <a:lnTo>
                    <a:pt x="204" y="107"/>
                  </a:lnTo>
                  <a:lnTo>
                    <a:pt x="203" y="107"/>
                  </a:lnTo>
                  <a:lnTo>
                    <a:pt x="203" y="108"/>
                  </a:lnTo>
                  <a:lnTo>
                    <a:pt x="202" y="107"/>
                  </a:lnTo>
                  <a:lnTo>
                    <a:pt x="201" y="107"/>
                  </a:lnTo>
                  <a:lnTo>
                    <a:pt x="201" y="105"/>
                  </a:lnTo>
                  <a:lnTo>
                    <a:pt x="201" y="104"/>
                  </a:lnTo>
                  <a:lnTo>
                    <a:pt x="202" y="105"/>
                  </a:lnTo>
                  <a:lnTo>
                    <a:pt x="203" y="105"/>
                  </a:lnTo>
                  <a:lnTo>
                    <a:pt x="204" y="105"/>
                  </a:lnTo>
                  <a:lnTo>
                    <a:pt x="203" y="105"/>
                  </a:lnTo>
                  <a:lnTo>
                    <a:pt x="203" y="104"/>
                  </a:lnTo>
                  <a:lnTo>
                    <a:pt x="202" y="104"/>
                  </a:lnTo>
                  <a:lnTo>
                    <a:pt x="203" y="104"/>
                  </a:lnTo>
                  <a:lnTo>
                    <a:pt x="202" y="104"/>
                  </a:lnTo>
                  <a:lnTo>
                    <a:pt x="203" y="104"/>
                  </a:lnTo>
                  <a:lnTo>
                    <a:pt x="203" y="103"/>
                  </a:lnTo>
                  <a:lnTo>
                    <a:pt x="202" y="103"/>
                  </a:lnTo>
                  <a:lnTo>
                    <a:pt x="201" y="103"/>
                  </a:lnTo>
                  <a:lnTo>
                    <a:pt x="199" y="103"/>
                  </a:lnTo>
                  <a:lnTo>
                    <a:pt x="199" y="101"/>
                  </a:lnTo>
                  <a:lnTo>
                    <a:pt x="198" y="100"/>
                  </a:lnTo>
                  <a:lnTo>
                    <a:pt x="198" y="99"/>
                  </a:lnTo>
                  <a:lnTo>
                    <a:pt x="199" y="99"/>
                  </a:lnTo>
                  <a:lnTo>
                    <a:pt x="198" y="99"/>
                  </a:lnTo>
                  <a:lnTo>
                    <a:pt x="198" y="98"/>
                  </a:lnTo>
                  <a:lnTo>
                    <a:pt x="198" y="97"/>
                  </a:lnTo>
                  <a:lnTo>
                    <a:pt x="199" y="97"/>
                  </a:lnTo>
                  <a:lnTo>
                    <a:pt x="201" y="97"/>
                  </a:lnTo>
                  <a:lnTo>
                    <a:pt x="201" y="98"/>
                  </a:lnTo>
                  <a:lnTo>
                    <a:pt x="201" y="97"/>
                  </a:lnTo>
                  <a:lnTo>
                    <a:pt x="199" y="97"/>
                  </a:lnTo>
                  <a:lnTo>
                    <a:pt x="199" y="96"/>
                  </a:lnTo>
                  <a:lnTo>
                    <a:pt x="199" y="94"/>
                  </a:lnTo>
                  <a:lnTo>
                    <a:pt x="199" y="93"/>
                  </a:lnTo>
                  <a:lnTo>
                    <a:pt x="201" y="93"/>
                  </a:lnTo>
                  <a:lnTo>
                    <a:pt x="202" y="93"/>
                  </a:lnTo>
                  <a:lnTo>
                    <a:pt x="201" y="93"/>
                  </a:lnTo>
                  <a:lnTo>
                    <a:pt x="199" y="92"/>
                  </a:lnTo>
                  <a:lnTo>
                    <a:pt x="198" y="90"/>
                  </a:lnTo>
                  <a:lnTo>
                    <a:pt x="198" y="89"/>
                  </a:lnTo>
                  <a:lnTo>
                    <a:pt x="197" y="89"/>
                  </a:lnTo>
                  <a:lnTo>
                    <a:pt x="196" y="89"/>
                  </a:lnTo>
                  <a:lnTo>
                    <a:pt x="196" y="87"/>
                  </a:lnTo>
                  <a:lnTo>
                    <a:pt x="196" y="86"/>
                  </a:lnTo>
                  <a:lnTo>
                    <a:pt x="196" y="85"/>
                  </a:lnTo>
                  <a:lnTo>
                    <a:pt x="196" y="84"/>
                  </a:lnTo>
                  <a:lnTo>
                    <a:pt x="196" y="83"/>
                  </a:lnTo>
                  <a:lnTo>
                    <a:pt x="196" y="82"/>
                  </a:lnTo>
                  <a:lnTo>
                    <a:pt x="195" y="80"/>
                  </a:lnTo>
                  <a:lnTo>
                    <a:pt x="196" y="80"/>
                  </a:lnTo>
                  <a:lnTo>
                    <a:pt x="196" y="79"/>
                  </a:lnTo>
                  <a:lnTo>
                    <a:pt x="197" y="79"/>
                  </a:lnTo>
                  <a:lnTo>
                    <a:pt x="197" y="78"/>
                  </a:lnTo>
                  <a:lnTo>
                    <a:pt x="196" y="76"/>
                  </a:lnTo>
                  <a:lnTo>
                    <a:pt x="196" y="75"/>
                  </a:lnTo>
                  <a:lnTo>
                    <a:pt x="197" y="75"/>
                  </a:lnTo>
                  <a:lnTo>
                    <a:pt x="198" y="75"/>
                  </a:lnTo>
                  <a:lnTo>
                    <a:pt x="199" y="73"/>
                  </a:lnTo>
                  <a:lnTo>
                    <a:pt x="201" y="72"/>
                  </a:lnTo>
                  <a:lnTo>
                    <a:pt x="201" y="71"/>
                  </a:lnTo>
                  <a:lnTo>
                    <a:pt x="201" y="72"/>
                  </a:lnTo>
                  <a:lnTo>
                    <a:pt x="199" y="72"/>
                  </a:lnTo>
                  <a:lnTo>
                    <a:pt x="199" y="73"/>
                  </a:lnTo>
                  <a:lnTo>
                    <a:pt x="198" y="73"/>
                  </a:lnTo>
                  <a:lnTo>
                    <a:pt x="198" y="75"/>
                  </a:lnTo>
                  <a:lnTo>
                    <a:pt x="197" y="75"/>
                  </a:lnTo>
                  <a:lnTo>
                    <a:pt x="197" y="73"/>
                  </a:lnTo>
                  <a:lnTo>
                    <a:pt x="198" y="72"/>
                  </a:lnTo>
                  <a:lnTo>
                    <a:pt x="198" y="70"/>
                  </a:lnTo>
                  <a:lnTo>
                    <a:pt x="198" y="69"/>
                  </a:lnTo>
                  <a:lnTo>
                    <a:pt x="201" y="68"/>
                  </a:lnTo>
                  <a:lnTo>
                    <a:pt x="201" y="66"/>
                  </a:lnTo>
                  <a:lnTo>
                    <a:pt x="202" y="66"/>
                  </a:lnTo>
                  <a:lnTo>
                    <a:pt x="202" y="65"/>
                  </a:lnTo>
                  <a:lnTo>
                    <a:pt x="201" y="65"/>
                  </a:lnTo>
                  <a:lnTo>
                    <a:pt x="202" y="65"/>
                  </a:lnTo>
                  <a:lnTo>
                    <a:pt x="202" y="64"/>
                  </a:lnTo>
                  <a:lnTo>
                    <a:pt x="202" y="63"/>
                  </a:lnTo>
                  <a:lnTo>
                    <a:pt x="203" y="63"/>
                  </a:lnTo>
                  <a:lnTo>
                    <a:pt x="205" y="62"/>
                  </a:lnTo>
                  <a:lnTo>
                    <a:pt x="205" y="61"/>
                  </a:lnTo>
                  <a:lnTo>
                    <a:pt x="206" y="61"/>
                  </a:lnTo>
                  <a:lnTo>
                    <a:pt x="205" y="62"/>
                  </a:lnTo>
                  <a:lnTo>
                    <a:pt x="205" y="63"/>
                  </a:lnTo>
                  <a:lnTo>
                    <a:pt x="204" y="63"/>
                  </a:lnTo>
                  <a:lnTo>
                    <a:pt x="204" y="64"/>
                  </a:lnTo>
                  <a:lnTo>
                    <a:pt x="204" y="65"/>
                  </a:lnTo>
                  <a:lnTo>
                    <a:pt x="205" y="65"/>
                  </a:lnTo>
                  <a:lnTo>
                    <a:pt x="206" y="65"/>
                  </a:lnTo>
                  <a:lnTo>
                    <a:pt x="206" y="68"/>
                  </a:lnTo>
                  <a:lnTo>
                    <a:pt x="206" y="69"/>
                  </a:lnTo>
                  <a:lnTo>
                    <a:pt x="208" y="70"/>
                  </a:lnTo>
                  <a:lnTo>
                    <a:pt x="208" y="71"/>
                  </a:lnTo>
                  <a:lnTo>
                    <a:pt x="209" y="70"/>
                  </a:lnTo>
                  <a:lnTo>
                    <a:pt x="209" y="71"/>
                  </a:lnTo>
                  <a:lnTo>
                    <a:pt x="210" y="71"/>
                  </a:lnTo>
                  <a:lnTo>
                    <a:pt x="210" y="72"/>
                  </a:lnTo>
                  <a:lnTo>
                    <a:pt x="211" y="73"/>
                  </a:lnTo>
                  <a:lnTo>
                    <a:pt x="212" y="75"/>
                  </a:lnTo>
                  <a:lnTo>
                    <a:pt x="213" y="75"/>
                  </a:lnTo>
                  <a:lnTo>
                    <a:pt x="213" y="76"/>
                  </a:lnTo>
                  <a:lnTo>
                    <a:pt x="215" y="76"/>
                  </a:lnTo>
                  <a:lnTo>
                    <a:pt x="215" y="77"/>
                  </a:lnTo>
                  <a:lnTo>
                    <a:pt x="215" y="78"/>
                  </a:lnTo>
                  <a:lnTo>
                    <a:pt x="216" y="78"/>
                  </a:lnTo>
                  <a:lnTo>
                    <a:pt x="217" y="78"/>
                  </a:lnTo>
                  <a:lnTo>
                    <a:pt x="217" y="79"/>
                  </a:lnTo>
                  <a:lnTo>
                    <a:pt x="218" y="79"/>
                  </a:lnTo>
                  <a:lnTo>
                    <a:pt x="218" y="80"/>
                  </a:lnTo>
                  <a:lnTo>
                    <a:pt x="219" y="80"/>
                  </a:lnTo>
                  <a:lnTo>
                    <a:pt x="219" y="79"/>
                  </a:lnTo>
                  <a:lnTo>
                    <a:pt x="220" y="79"/>
                  </a:lnTo>
                  <a:lnTo>
                    <a:pt x="220" y="80"/>
                  </a:lnTo>
                  <a:lnTo>
                    <a:pt x="220" y="79"/>
                  </a:lnTo>
                  <a:lnTo>
                    <a:pt x="222" y="79"/>
                  </a:lnTo>
                  <a:lnTo>
                    <a:pt x="223" y="79"/>
                  </a:lnTo>
                  <a:lnTo>
                    <a:pt x="223" y="78"/>
                  </a:lnTo>
                  <a:lnTo>
                    <a:pt x="224" y="78"/>
                  </a:lnTo>
                  <a:lnTo>
                    <a:pt x="225" y="78"/>
                  </a:lnTo>
                  <a:lnTo>
                    <a:pt x="227" y="77"/>
                  </a:lnTo>
                  <a:lnTo>
                    <a:pt x="229" y="77"/>
                  </a:lnTo>
                  <a:lnTo>
                    <a:pt x="230" y="78"/>
                  </a:lnTo>
                  <a:lnTo>
                    <a:pt x="231" y="78"/>
                  </a:lnTo>
                  <a:lnTo>
                    <a:pt x="232" y="77"/>
                  </a:lnTo>
                  <a:lnTo>
                    <a:pt x="232" y="78"/>
                  </a:lnTo>
                  <a:lnTo>
                    <a:pt x="233" y="78"/>
                  </a:lnTo>
                  <a:lnTo>
                    <a:pt x="234" y="77"/>
                  </a:lnTo>
                  <a:lnTo>
                    <a:pt x="236" y="78"/>
                  </a:lnTo>
                  <a:lnTo>
                    <a:pt x="237" y="78"/>
                  </a:lnTo>
                  <a:lnTo>
                    <a:pt x="238" y="76"/>
                  </a:lnTo>
                  <a:lnTo>
                    <a:pt x="239" y="76"/>
                  </a:lnTo>
                  <a:lnTo>
                    <a:pt x="240" y="76"/>
                  </a:lnTo>
                  <a:lnTo>
                    <a:pt x="241" y="73"/>
                  </a:lnTo>
                  <a:lnTo>
                    <a:pt x="241" y="72"/>
                  </a:lnTo>
                  <a:lnTo>
                    <a:pt x="241" y="71"/>
                  </a:lnTo>
                  <a:lnTo>
                    <a:pt x="243" y="70"/>
                  </a:lnTo>
                  <a:lnTo>
                    <a:pt x="244" y="70"/>
                  </a:lnTo>
                  <a:lnTo>
                    <a:pt x="245" y="70"/>
                  </a:lnTo>
                  <a:lnTo>
                    <a:pt x="245" y="69"/>
                  </a:lnTo>
                  <a:lnTo>
                    <a:pt x="246" y="69"/>
                  </a:lnTo>
                  <a:lnTo>
                    <a:pt x="249" y="69"/>
                  </a:lnTo>
                  <a:lnTo>
                    <a:pt x="251" y="69"/>
                  </a:lnTo>
                  <a:lnTo>
                    <a:pt x="252" y="69"/>
                  </a:lnTo>
                  <a:lnTo>
                    <a:pt x="253" y="69"/>
                  </a:lnTo>
                  <a:lnTo>
                    <a:pt x="253" y="70"/>
                  </a:lnTo>
                  <a:lnTo>
                    <a:pt x="253" y="71"/>
                  </a:lnTo>
                  <a:lnTo>
                    <a:pt x="252" y="71"/>
                  </a:lnTo>
                  <a:lnTo>
                    <a:pt x="253" y="71"/>
                  </a:lnTo>
                  <a:lnTo>
                    <a:pt x="254" y="71"/>
                  </a:lnTo>
                  <a:lnTo>
                    <a:pt x="255" y="72"/>
                  </a:lnTo>
                  <a:lnTo>
                    <a:pt x="256" y="72"/>
                  </a:lnTo>
                  <a:lnTo>
                    <a:pt x="258" y="72"/>
                  </a:lnTo>
                  <a:lnTo>
                    <a:pt x="259" y="73"/>
                  </a:lnTo>
                  <a:lnTo>
                    <a:pt x="260" y="73"/>
                  </a:lnTo>
                  <a:lnTo>
                    <a:pt x="261" y="73"/>
                  </a:lnTo>
                  <a:lnTo>
                    <a:pt x="261" y="75"/>
                  </a:lnTo>
                  <a:lnTo>
                    <a:pt x="262" y="75"/>
                  </a:lnTo>
                  <a:lnTo>
                    <a:pt x="265" y="72"/>
                  </a:lnTo>
                  <a:lnTo>
                    <a:pt x="265" y="71"/>
                  </a:lnTo>
                  <a:lnTo>
                    <a:pt x="266" y="71"/>
                  </a:lnTo>
                  <a:lnTo>
                    <a:pt x="268" y="70"/>
                  </a:lnTo>
                  <a:lnTo>
                    <a:pt x="269" y="71"/>
                  </a:lnTo>
                  <a:lnTo>
                    <a:pt x="272" y="70"/>
                  </a:lnTo>
                  <a:lnTo>
                    <a:pt x="273" y="70"/>
                  </a:lnTo>
                  <a:lnTo>
                    <a:pt x="274" y="71"/>
                  </a:lnTo>
                  <a:lnTo>
                    <a:pt x="275" y="71"/>
                  </a:lnTo>
                  <a:lnTo>
                    <a:pt x="275" y="70"/>
                  </a:lnTo>
                  <a:lnTo>
                    <a:pt x="275" y="69"/>
                  </a:lnTo>
                  <a:lnTo>
                    <a:pt x="276" y="68"/>
                  </a:lnTo>
                  <a:lnTo>
                    <a:pt x="276" y="66"/>
                  </a:lnTo>
                  <a:lnTo>
                    <a:pt x="276" y="65"/>
                  </a:lnTo>
                  <a:lnTo>
                    <a:pt x="276" y="64"/>
                  </a:lnTo>
                  <a:lnTo>
                    <a:pt x="277" y="64"/>
                  </a:lnTo>
                  <a:lnTo>
                    <a:pt x="279" y="64"/>
                  </a:lnTo>
                  <a:lnTo>
                    <a:pt x="279" y="63"/>
                  </a:lnTo>
                  <a:lnTo>
                    <a:pt x="279" y="62"/>
                  </a:lnTo>
                  <a:lnTo>
                    <a:pt x="277" y="62"/>
                  </a:lnTo>
                  <a:lnTo>
                    <a:pt x="277" y="61"/>
                  </a:lnTo>
                  <a:lnTo>
                    <a:pt x="277" y="59"/>
                  </a:lnTo>
                  <a:lnTo>
                    <a:pt x="277" y="58"/>
                  </a:lnTo>
                  <a:lnTo>
                    <a:pt x="279" y="57"/>
                  </a:lnTo>
                  <a:lnTo>
                    <a:pt x="280" y="57"/>
                  </a:lnTo>
                  <a:lnTo>
                    <a:pt x="280" y="56"/>
                  </a:lnTo>
                  <a:lnTo>
                    <a:pt x="281" y="56"/>
                  </a:lnTo>
                  <a:lnTo>
                    <a:pt x="281" y="55"/>
                  </a:lnTo>
                  <a:lnTo>
                    <a:pt x="282" y="55"/>
                  </a:lnTo>
                  <a:lnTo>
                    <a:pt x="283" y="55"/>
                  </a:lnTo>
                  <a:lnTo>
                    <a:pt x="283" y="54"/>
                  </a:lnTo>
                  <a:lnTo>
                    <a:pt x="283" y="52"/>
                  </a:lnTo>
                  <a:lnTo>
                    <a:pt x="282" y="52"/>
                  </a:lnTo>
                  <a:lnTo>
                    <a:pt x="281" y="52"/>
                  </a:lnTo>
                  <a:lnTo>
                    <a:pt x="281" y="51"/>
                  </a:lnTo>
                  <a:lnTo>
                    <a:pt x="281" y="50"/>
                  </a:lnTo>
                  <a:lnTo>
                    <a:pt x="282" y="50"/>
                  </a:lnTo>
                  <a:lnTo>
                    <a:pt x="281" y="49"/>
                  </a:lnTo>
                  <a:lnTo>
                    <a:pt x="282" y="49"/>
                  </a:lnTo>
                  <a:lnTo>
                    <a:pt x="282" y="48"/>
                  </a:lnTo>
                  <a:lnTo>
                    <a:pt x="283" y="47"/>
                  </a:lnTo>
                  <a:lnTo>
                    <a:pt x="283" y="45"/>
                  </a:lnTo>
                  <a:lnTo>
                    <a:pt x="284" y="47"/>
                  </a:lnTo>
                  <a:lnTo>
                    <a:pt x="286" y="45"/>
                  </a:lnTo>
                  <a:lnTo>
                    <a:pt x="287" y="45"/>
                  </a:lnTo>
                  <a:lnTo>
                    <a:pt x="287" y="44"/>
                  </a:lnTo>
                  <a:lnTo>
                    <a:pt x="288" y="44"/>
                  </a:lnTo>
                  <a:lnTo>
                    <a:pt x="287" y="43"/>
                  </a:lnTo>
                  <a:lnTo>
                    <a:pt x="287" y="41"/>
                  </a:lnTo>
                  <a:lnTo>
                    <a:pt x="288" y="40"/>
                  </a:lnTo>
                  <a:lnTo>
                    <a:pt x="288" y="38"/>
                  </a:lnTo>
                  <a:lnTo>
                    <a:pt x="288" y="37"/>
                  </a:lnTo>
                  <a:lnTo>
                    <a:pt x="288" y="36"/>
                  </a:lnTo>
                  <a:lnTo>
                    <a:pt x="288" y="35"/>
                  </a:lnTo>
                  <a:lnTo>
                    <a:pt x="288" y="33"/>
                  </a:lnTo>
                  <a:lnTo>
                    <a:pt x="287" y="31"/>
                  </a:lnTo>
                  <a:lnTo>
                    <a:pt x="288" y="31"/>
                  </a:lnTo>
                  <a:lnTo>
                    <a:pt x="288" y="30"/>
                  </a:lnTo>
                  <a:lnTo>
                    <a:pt x="288" y="28"/>
                  </a:lnTo>
                  <a:lnTo>
                    <a:pt x="289" y="28"/>
                  </a:lnTo>
                  <a:lnTo>
                    <a:pt x="289" y="27"/>
                  </a:lnTo>
                  <a:lnTo>
                    <a:pt x="290" y="27"/>
                  </a:lnTo>
                  <a:lnTo>
                    <a:pt x="290" y="26"/>
                  </a:lnTo>
                  <a:lnTo>
                    <a:pt x="290" y="24"/>
                  </a:lnTo>
                  <a:lnTo>
                    <a:pt x="291" y="24"/>
                  </a:lnTo>
                  <a:lnTo>
                    <a:pt x="293" y="24"/>
                  </a:lnTo>
                  <a:lnTo>
                    <a:pt x="293" y="26"/>
                  </a:lnTo>
                  <a:lnTo>
                    <a:pt x="294" y="26"/>
                  </a:lnTo>
                  <a:lnTo>
                    <a:pt x="295" y="26"/>
                  </a:lnTo>
                  <a:lnTo>
                    <a:pt x="295" y="24"/>
                  </a:lnTo>
                  <a:lnTo>
                    <a:pt x="296" y="24"/>
                  </a:lnTo>
                  <a:lnTo>
                    <a:pt x="297" y="24"/>
                  </a:lnTo>
                  <a:lnTo>
                    <a:pt x="298" y="24"/>
                  </a:lnTo>
                  <a:lnTo>
                    <a:pt x="298" y="26"/>
                  </a:lnTo>
                  <a:lnTo>
                    <a:pt x="300" y="26"/>
                  </a:lnTo>
                  <a:lnTo>
                    <a:pt x="301" y="26"/>
                  </a:lnTo>
                  <a:lnTo>
                    <a:pt x="300" y="26"/>
                  </a:lnTo>
                  <a:lnTo>
                    <a:pt x="300" y="24"/>
                  </a:lnTo>
                  <a:lnTo>
                    <a:pt x="301" y="24"/>
                  </a:lnTo>
                  <a:lnTo>
                    <a:pt x="302" y="26"/>
                  </a:lnTo>
                  <a:close/>
                  <a:moveTo>
                    <a:pt x="445" y="22"/>
                  </a:moveTo>
                  <a:lnTo>
                    <a:pt x="445" y="23"/>
                  </a:lnTo>
                  <a:lnTo>
                    <a:pt x="445" y="24"/>
                  </a:lnTo>
                  <a:lnTo>
                    <a:pt x="445" y="26"/>
                  </a:lnTo>
                  <a:lnTo>
                    <a:pt x="445" y="27"/>
                  </a:lnTo>
                  <a:lnTo>
                    <a:pt x="444" y="28"/>
                  </a:lnTo>
                  <a:lnTo>
                    <a:pt x="444" y="29"/>
                  </a:lnTo>
                  <a:lnTo>
                    <a:pt x="444" y="30"/>
                  </a:lnTo>
                  <a:lnTo>
                    <a:pt x="443" y="30"/>
                  </a:lnTo>
                  <a:lnTo>
                    <a:pt x="443" y="29"/>
                  </a:lnTo>
                  <a:lnTo>
                    <a:pt x="444" y="28"/>
                  </a:lnTo>
                  <a:lnTo>
                    <a:pt x="444" y="27"/>
                  </a:lnTo>
                  <a:lnTo>
                    <a:pt x="443" y="27"/>
                  </a:lnTo>
                  <a:lnTo>
                    <a:pt x="443" y="26"/>
                  </a:lnTo>
                  <a:lnTo>
                    <a:pt x="443" y="24"/>
                  </a:lnTo>
                  <a:lnTo>
                    <a:pt x="443" y="23"/>
                  </a:lnTo>
                  <a:lnTo>
                    <a:pt x="443" y="22"/>
                  </a:lnTo>
                  <a:lnTo>
                    <a:pt x="444" y="22"/>
                  </a:lnTo>
                  <a:lnTo>
                    <a:pt x="445" y="22"/>
                  </a:lnTo>
                  <a:close/>
                  <a:moveTo>
                    <a:pt x="182" y="20"/>
                  </a:moveTo>
                  <a:lnTo>
                    <a:pt x="181" y="20"/>
                  </a:lnTo>
                  <a:lnTo>
                    <a:pt x="181" y="19"/>
                  </a:lnTo>
                  <a:lnTo>
                    <a:pt x="182" y="19"/>
                  </a:lnTo>
                  <a:lnTo>
                    <a:pt x="182" y="20"/>
                  </a:lnTo>
                  <a:close/>
                  <a:moveTo>
                    <a:pt x="448" y="19"/>
                  </a:moveTo>
                  <a:lnTo>
                    <a:pt x="447" y="19"/>
                  </a:lnTo>
                  <a:lnTo>
                    <a:pt x="448" y="19"/>
                  </a:lnTo>
                  <a:close/>
                  <a:moveTo>
                    <a:pt x="440" y="6"/>
                  </a:moveTo>
                  <a:lnTo>
                    <a:pt x="439" y="6"/>
                  </a:lnTo>
                  <a:lnTo>
                    <a:pt x="440" y="6"/>
                  </a:lnTo>
                  <a:close/>
                  <a:moveTo>
                    <a:pt x="6" y="5"/>
                  </a:moveTo>
                  <a:lnTo>
                    <a:pt x="7" y="5"/>
                  </a:lnTo>
                  <a:lnTo>
                    <a:pt x="9" y="5"/>
                  </a:lnTo>
                  <a:lnTo>
                    <a:pt x="11" y="6"/>
                  </a:lnTo>
                  <a:lnTo>
                    <a:pt x="12" y="6"/>
                  </a:lnTo>
                  <a:lnTo>
                    <a:pt x="12" y="7"/>
                  </a:lnTo>
                  <a:lnTo>
                    <a:pt x="13" y="8"/>
                  </a:lnTo>
                  <a:lnTo>
                    <a:pt x="14" y="9"/>
                  </a:lnTo>
                  <a:lnTo>
                    <a:pt x="16" y="10"/>
                  </a:lnTo>
                  <a:lnTo>
                    <a:pt x="18" y="10"/>
                  </a:lnTo>
                  <a:lnTo>
                    <a:pt x="19" y="10"/>
                  </a:lnTo>
                  <a:lnTo>
                    <a:pt x="20" y="12"/>
                  </a:lnTo>
                  <a:lnTo>
                    <a:pt x="20" y="10"/>
                  </a:lnTo>
                  <a:lnTo>
                    <a:pt x="21" y="12"/>
                  </a:lnTo>
                  <a:lnTo>
                    <a:pt x="23" y="12"/>
                  </a:lnTo>
                  <a:lnTo>
                    <a:pt x="24" y="10"/>
                  </a:lnTo>
                  <a:lnTo>
                    <a:pt x="25" y="10"/>
                  </a:lnTo>
                  <a:lnTo>
                    <a:pt x="26" y="10"/>
                  </a:lnTo>
                  <a:lnTo>
                    <a:pt x="27" y="10"/>
                  </a:lnTo>
                  <a:lnTo>
                    <a:pt x="28" y="10"/>
                  </a:lnTo>
                  <a:lnTo>
                    <a:pt x="30" y="12"/>
                  </a:lnTo>
                  <a:lnTo>
                    <a:pt x="31" y="12"/>
                  </a:lnTo>
                  <a:lnTo>
                    <a:pt x="31" y="13"/>
                  </a:lnTo>
                  <a:lnTo>
                    <a:pt x="32" y="12"/>
                  </a:lnTo>
                  <a:lnTo>
                    <a:pt x="35" y="10"/>
                  </a:lnTo>
                  <a:lnTo>
                    <a:pt x="38" y="14"/>
                  </a:lnTo>
                  <a:lnTo>
                    <a:pt x="40" y="15"/>
                  </a:lnTo>
                  <a:lnTo>
                    <a:pt x="40" y="16"/>
                  </a:lnTo>
                  <a:lnTo>
                    <a:pt x="41" y="16"/>
                  </a:lnTo>
                  <a:lnTo>
                    <a:pt x="41" y="17"/>
                  </a:lnTo>
                  <a:lnTo>
                    <a:pt x="42" y="20"/>
                  </a:lnTo>
                  <a:lnTo>
                    <a:pt x="42" y="21"/>
                  </a:lnTo>
                  <a:lnTo>
                    <a:pt x="42" y="22"/>
                  </a:lnTo>
                  <a:lnTo>
                    <a:pt x="44" y="22"/>
                  </a:lnTo>
                  <a:lnTo>
                    <a:pt x="45" y="22"/>
                  </a:lnTo>
                  <a:lnTo>
                    <a:pt x="45" y="23"/>
                  </a:lnTo>
                  <a:lnTo>
                    <a:pt x="45" y="22"/>
                  </a:lnTo>
                  <a:lnTo>
                    <a:pt x="46" y="23"/>
                  </a:lnTo>
                  <a:lnTo>
                    <a:pt x="46" y="24"/>
                  </a:lnTo>
                  <a:lnTo>
                    <a:pt x="46" y="26"/>
                  </a:lnTo>
                  <a:lnTo>
                    <a:pt x="46" y="27"/>
                  </a:lnTo>
                  <a:lnTo>
                    <a:pt x="46" y="28"/>
                  </a:lnTo>
                  <a:lnTo>
                    <a:pt x="45" y="28"/>
                  </a:lnTo>
                  <a:lnTo>
                    <a:pt x="45" y="29"/>
                  </a:lnTo>
                  <a:lnTo>
                    <a:pt x="46" y="28"/>
                  </a:lnTo>
                  <a:lnTo>
                    <a:pt x="47" y="29"/>
                  </a:lnTo>
                  <a:lnTo>
                    <a:pt x="48" y="29"/>
                  </a:lnTo>
                  <a:lnTo>
                    <a:pt x="49" y="29"/>
                  </a:lnTo>
                  <a:lnTo>
                    <a:pt x="49" y="30"/>
                  </a:lnTo>
                  <a:lnTo>
                    <a:pt x="51" y="30"/>
                  </a:lnTo>
                  <a:lnTo>
                    <a:pt x="51" y="31"/>
                  </a:lnTo>
                  <a:lnTo>
                    <a:pt x="52" y="31"/>
                  </a:lnTo>
                  <a:lnTo>
                    <a:pt x="53" y="33"/>
                  </a:lnTo>
                  <a:lnTo>
                    <a:pt x="53" y="34"/>
                  </a:lnTo>
                  <a:lnTo>
                    <a:pt x="54" y="35"/>
                  </a:lnTo>
                  <a:lnTo>
                    <a:pt x="55" y="35"/>
                  </a:lnTo>
                  <a:lnTo>
                    <a:pt x="56" y="36"/>
                  </a:lnTo>
                  <a:lnTo>
                    <a:pt x="57" y="36"/>
                  </a:lnTo>
                  <a:lnTo>
                    <a:pt x="59" y="37"/>
                  </a:lnTo>
                  <a:lnTo>
                    <a:pt x="60" y="37"/>
                  </a:lnTo>
                  <a:lnTo>
                    <a:pt x="61" y="38"/>
                  </a:lnTo>
                  <a:lnTo>
                    <a:pt x="62" y="40"/>
                  </a:lnTo>
                  <a:lnTo>
                    <a:pt x="63" y="40"/>
                  </a:lnTo>
                  <a:lnTo>
                    <a:pt x="63" y="41"/>
                  </a:lnTo>
                  <a:lnTo>
                    <a:pt x="64" y="41"/>
                  </a:lnTo>
                  <a:lnTo>
                    <a:pt x="64" y="42"/>
                  </a:lnTo>
                  <a:lnTo>
                    <a:pt x="66" y="43"/>
                  </a:lnTo>
                  <a:lnTo>
                    <a:pt x="67" y="43"/>
                  </a:lnTo>
                  <a:lnTo>
                    <a:pt x="68" y="43"/>
                  </a:lnTo>
                  <a:lnTo>
                    <a:pt x="68" y="44"/>
                  </a:lnTo>
                  <a:lnTo>
                    <a:pt x="69" y="45"/>
                  </a:lnTo>
                  <a:lnTo>
                    <a:pt x="70" y="47"/>
                  </a:lnTo>
                  <a:lnTo>
                    <a:pt x="71" y="48"/>
                  </a:lnTo>
                  <a:lnTo>
                    <a:pt x="71" y="49"/>
                  </a:lnTo>
                  <a:lnTo>
                    <a:pt x="71" y="50"/>
                  </a:lnTo>
                  <a:lnTo>
                    <a:pt x="70" y="50"/>
                  </a:lnTo>
                  <a:lnTo>
                    <a:pt x="70" y="51"/>
                  </a:lnTo>
                  <a:lnTo>
                    <a:pt x="71" y="51"/>
                  </a:lnTo>
                  <a:lnTo>
                    <a:pt x="71" y="52"/>
                  </a:lnTo>
                  <a:lnTo>
                    <a:pt x="71" y="51"/>
                  </a:lnTo>
                  <a:lnTo>
                    <a:pt x="71" y="50"/>
                  </a:lnTo>
                  <a:lnTo>
                    <a:pt x="73" y="51"/>
                  </a:lnTo>
                  <a:lnTo>
                    <a:pt x="73" y="52"/>
                  </a:lnTo>
                  <a:lnTo>
                    <a:pt x="73" y="54"/>
                  </a:lnTo>
                  <a:lnTo>
                    <a:pt x="74" y="54"/>
                  </a:lnTo>
                  <a:lnTo>
                    <a:pt x="73" y="52"/>
                  </a:lnTo>
                  <a:lnTo>
                    <a:pt x="73" y="51"/>
                  </a:lnTo>
                  <a:lnTo>
                    <a:pt x="74" y="51"/>
                  </a:lnTo>
                  <a:lnTo>
                    <a:pt x="75" y="51"/>
                  </a:lnTo>
                  <a:lnTo>
                    <a:pt x="75" y="52"/>
                  </a:lnTo>
                  <a:lnTo>
                    <a:pt x="76" y="52"/>
                  </a:lnTo>
                  <a:lnTo>
                    <a:pt x="76" y="54"/>
                  </a:lnTo>
                  <a:lnTo>
                    <a:pt x="77" y="56"/>
                  </a:lnTo>
                  <a:lnTo>
                    <a:pt x="77" y="57"/>
                  </a:lnTo>
                  <a:lnTo>
                    <a:pt x="77" y="58"/>
                  </a:lnTo>
                  <a:lnTo>
                    <a:pt x="78" y="59"/>
                  </a:lnTo>
                  <a:lnTo>
                    <a:pt x="80" y="59"/>
                  </a:lnTo>
                  <a:lnTo>
                    <a:pt x="81" y="59"/>
                  </a:lnTo>
                  <a:lnTo>
                    <a:pt x="82" y="62"/>
                  </a:lnTo>
                  <a:lnTo>
                    <a:pt x="83" y="62"/>
                  </a:lnTo>
                  <a:lnTo>
                    <a:pt x="83" y="63"/>
                  </a:lnTo>
                  <a:lnTo>
                    <a:pt x="84" y="63"/>
                  </a:lnTo>
                  <a:lnTo>
                    <a:pt x="84" y="64"/>
                  </a:lnTo>
                  <a:lnTo>
                    <a:pt x="84" y="65"/>
                  </a:lnTo>
                  <a:lnTo>
                    <a:pt x="84" y="64"/>
                  </a:lnTo>
                  <a:lnTo>
                    <a:pt x="84" y="63"/>
                  </a:lnTo>
                  <a:lnTo>
                    <a:pt x="84" y="62"/>
                  </a:lnTo>
                  <a:lnTo>
                    <a:pt x="83" y="61"/>
                  </a:lnTo>
                  <a:lnTo>
                    <a:pt x="83" y="59"/>
                  </a:lnTo>
                  <a:lnTo>
                    <a:pt x="83" y="58"/>
                  </a:lnTo>
                  <a:lnTo>
                    <a:pt x="83" y="57"/>
                  </a:lnTo>
                  <a:lnTo>
                    <a:pt x="84" y="57"/>
                  </a:lnTo>
                  <a:lnTo>
                    <a:pt x="87" y="57"/>
                  </a:lnTo>
                  <a:lnTo>
                    <a:pt x="87" y="58"/>
                  </a:lnTo>
                  <a:lnTo>
                    <a:pt x="88" y="59"/>
                  </a:lnTo>
                  <a:lnTo>
                    <a:pt x="90" y="62"/>
                  </a:lnTo>
                  <a:lnTo>
                    <a:pt x="90" y="63"/>
                  </a:lnTo>
                  <a:lnTo>
                    <a:pt x="90" y="64"/>
                  </a:lnTo>
                  <a:lnTo>
                    <a:pt x="91" y="65"/>
                  </a:lnTo>
                  <a:lnTo>
                    <a:pt x="91" y="66"/>
                  </a:lnTo>
                  <a:lnTo>
                    <a:pt x="92" y="68"/>
                  </a:lnTo>
                  <a:lnTo>
                    <a:pt x="94" y="68"/>
                  </a:lnTo>
                  <a:lnTo>
                    <a:pt x="95" y="68"/>
                  </a:lnTo>
                  <a:lnTo>
                    <a:pt x="96" y="68"/>
                  </a:lnTo>
                  <a:lnTo>
                    <a:pt x="99" y="71"/>
                  </a:lnTo>
                  <a:lnTo>
                    <a:pt x="102" y="72"/>
                  </a:lnTo>
                  <a:lnTo>
                    <a:pt x="102" y="73"/>
                  </a:lnTo>
                  <a:lnTo>
                    <a:pt x="102" y="75"/>
                  </a:lnTo>
                  <a:lnTo>
                    <a:pt x="103" y="75"/>
                  </a:lnTo>
                  <a:lnTo>
                    <a:pt x="103" y="76"/>
                  </a:lnTo>
                  <a:lnTo>
                    <a:pt x="103" y="77"/>
                  </a:lnTo>
                  <a:lnTo>
                    <a:pt x="103" y="78"/>
                  </a:lnTo>
                  <a:lnTo>
                    <a:pt x="104" y="79"/>
                  </a:lnTo>
                  <a:lnTo>
                    <a:pt x="105" y="80"/>
                  </a:lnTo>
                  <a:lnTo>
                    <a:pt x="106" y="82"/>
                  </a:lnTo>
                  <a:lnTo>
                    <a:pt x="108" y="82"/>
                  </a:lnTo>
                  <a:lnTo>
                    <a:pt x="109" y="82"/>
                  </a:lnTo>
                  <a:lnTo>
                    <a:pt x="111" y="82"/>
                  </a:lnTo>
                  <a:lnTo>
                    <a:pt x="112" y="83"/>
                  </a:lnTo>
                  <a:lnTo>
                    <a:pt x="113" y="83"/>
                  </a:lnTo>
                  <a:lnTo>
                    <a:pt x="115" y="85"/>
                  </a:lnTo>
                  <a:lnTo>
                    <a:pt x="115" y="86"/>
                  </a:lnTo>
                  <a:lnTo>
                    <a:pt x="115" y="87"/>
                  </a:lnTo>
                  <a:lnTo>
                    <a:pt x="113" y="87"/>
                  </a:lnTo>
                  <a:lnTo>
                    <a:pt x="112" y="89"/>
                  </a:lnTo>
                  <a:lnTo>
                    <a:pt x="110" y="90"/>
                  </a:lnTo>
                  <a:lnTo>
                    <a:pt x="109" y="90"/>
                  </a:lnTo>
                  <a:lnTo>
                    <a:pt x="108" y="91"/>
                  </a:lnTo>
                  <a:lnTo>
                    <a:pt x="106" y="90"/>
                  </a:lnTo>
                  <a:lnTo>
                    <a:pt x="105" y="90"/>
                  </a:lnTo>
                  <a:lnTo>
                    <a:pt x="106" y="90"/>
                  </a:lnTo>
                  <a:lnTo>
                    <a:pt x="106" y="91"/>
                  </a:lnTo>
                  <a:lnTo>
                    <a:pt x="108" y="91"/>
                  </a:lnTo>
                  <a:lnTo>
                    <a:pt x="109" y="91"/>
                  </a:lnTo>
                  <a:lnTo>
                    <a:pt x="109" y="90"/>
                  </a:lnTo>
                  <a:lnTo>
                    <a:pt x="110" y="90"/>
                  </a:lnTo>
                  <a:lnTo>
                    <a:pt x="111" y="90"/>
                  </a:lnTo>
                  <a:lnTo>
                    <a:pt x="112" y="90"/>
                  </a:lnTo>
                  <a:lnTo>
                    <a:pt x="113" y="89"/>
                  </a:lnTo>
                  <a:lnTo>
                    <a:pt x="115" y="87"/>
                  </a:lnTo>
                  <a:lnTo>
                    <a:pt x="116" y="87"/>
                  </a:lnTo>
                  <a:lnTo>
                    <a:pt x="117" y="86"/>
                  </a:lnTo>
                  <a:lnTo>
                    <a:pt x="118" y="86"/>
                  </a:lnTo>
                  <a:lnTo>
                    <a:pt x="118" y="85"/>
                  </a:lnTo>
                  <a:lnTo>
                    <a:pt x="119" y="85"/>
                  </a:lnTo>
                  <a:lnTo>
                    <a:pt x="120" y="86"/>
                  </a:lnTo>
                  <a:lnTo>
                    <a:pt x="121" y="86"/>
                  </a:lnTo>
                  <a:lnTo>
                    <a:pt x="121" y="87"/>
                  </a:lnTo>
                  <a:lnTo>
                    <a:pt x="123" y="89"/>
                  </a:lnTo>
                  <a:lnTo>
                    <a:pt x="124" y="89"/>
                  </a:lnTo>
                  <a:lnTo>
                    <a:pt x="124" y="90"/>
                  </a:lnTo>
                  <a:lnTo>
                    <a:pt x="125" y="93"/>
                  </a:lnTo>
                  <a:lnTo>
                    <a:pt x="125" y="94"/>
                  </a:lnTo>
                  <a:lnTo>
                    <a:pt x="124" y="94"/>
                  </a:lnTo>
                  <a:lnTo>
                    <a:pt x="123" y="94"/>
                  </a:lnTo>
                  <a:lnTo>
                    <a:pt x="121" y="94"/>
                  </a:lnTo>
                  <a:lnTo>
                    <a:pt x="121" y="96"/>
                  </a:lnTo>
                  <a:lnTo>
                    <a:pt x="120" y="96"/>
                  </a:lnTo>
                  <a:lnTo>
                    <a:pt x="120" y="97"/>
                  </a:lnTo>
                  <a:lnTo>
                    <a:pt x="119" y="97"/>
                  </a:lnTo>
                  <a:lnTo>
                    <a:pt x="118" y="98"/>
                  </a:lnTo>
                  <a:lnTo>
                    <a:pt x="117" y="98"/>
                  </a:lnTo>
                  <a:lnTo>
                    <a:pt x="118" y="98"/>
                  </a:lnTo>
                  <a:lnTo>
                    <a:pt x="119" y="98"/>
                  </a:lnTo>
                  <a:lnTo>
                    <a:pt x="120" y="97"/>
                  </a:lnTo>
                  <a:lnTo>
                    <a:pt x="120" y="98"/>
                  </a:lnTo>
                  <a:lnTo>
                    <a:pt x="120" y="99"/>
                  </a:lnTo>
                  <a:lnTo>
                    <a:pt x="119" y="99"/>
                  </a:lnTo>
                  <a:lnTo>
                    <a:pt x="118" y="99"/>
                  </a:lnTo>
                  <a:lnTo>
                    <a:pt x="119" y="100"/>
                  </a:lnTo>
                  <a:lnTo>
                    <a:pt x="119" y="99"/>
                  </a:lnTo>
                  <a:lnTo>
                    <a:pt x="120" y="99"/>
                  </a:lnTo>
                  <a:lnTo>
                    <a:pt x="120" y="100"/>
                  </a:lnTo>
                  <a:lnTo>
                    <a:pt x="121" y="100"/>
                  </a:lnTo>
                  <a:lnTo>
                    <a:pt x="121" y="101"/>
                  </a:lnTo>
                  <a:lnTo>
                    <a:pt x="120" y="101"/>
                  </a:lnTo>
                  <a:lnTo>
                    <a:pt x="119" y="101"/>
                  </a:lnTo>
                  <a:lnTo>
                    <a:pt x="119" y="100"/>
                  </a:lnTo>
                  <a:lnTo>
                    <a:pt x="119" y="101"/>
                  </a:lnTo>
                  <a:lnTo>
                    <a:pt x="119" y="103"/>
                  </a:lnTo>
                  <a:lnTo>
                    <a:pt x="119" y="104"/>
                  </a:lnTo>
                  <a:lnTo>
                    <a:pt x="119" y="105"/>
                  </a:lnTo>
                  <a:lnTo>
                    <a:pt x="118" y="105"/>
                  </a:lnTo>
                  <a:lnTo>
                    <a:pt x="119" y="105"/>
                  </a:lnTo>
                  <a:lnTo>
                    <a:pt x="120" y="106"/>
                  </a:lnTo>
                  <a:lnTo>
                    <a:pt x="121" y="106"/>
                  </a:lnTo>
                  <a:lnTo>
                    <a:pt x="121" y="107"/>
                  </a:lnTo>
                  <a:lnTo>
                    <a:pt x="121" y="108"/>
                  </a:lnTo>
                  <a:lnTo>
                    <a:pt x="123" y="108"/>
                  </a:lnTo>
                  <a:lnTo>
                    <a:pt x="124" y="108"/>
                  </a:lnTo>
                  <a:lnTo>
                    <a:pt x="124" y="110"/>
                  </a:lnTo>
                  <a:lnTo>
                    <a:pt x="125" y="110"/>
                  </a:lnTo>
                  <a:lnTo>
                    <a:pt x="125" y="111"/>
                  </a:lnTo>
                  <a:lnTo>
                    <a:pt x="125" y="110"/>
                  </a:lnTo>
                  <a:lnTo>
                    <a:pt x="126" y="110"/>
                  </a:lnTo>
                  <a:lnTo>
                    <a:pt x="127" y="110"/>
                  </a:lnTo>
                  <a:lnTo>
                    <a:pt x="128" y="110"/>
                  </a:lnTo>
                  <a:lnTo>
                    <a:pt x="130" y="110"/>
                  </a:lnTo>
                  <a:lnTo>
                    <a:pt x="130" y="111"/>
                  </a:lnTo>
                  <a:lnTo>
                    <a:pt x="131" y="111"/>
                  </a:lnTo>
                  <a:lnTo>
                    <a:pt x="132" y="110"/>
                  </a:lnTo>
                  <a:lnTo>
                    <a:pt x="133" y="110"/>
                  </a:lnTo>
                  <a:lnTo>
                    <a:pt x="133" y="112"/>
                  </a:lnTo>
                  <a:lnTo>
                    <a:pt x="133" y="113"/>
                  </a:lnTo>
                  <a:lnTo>
                    <a:pt x="133" y="114"/>
                  </a:lnTo>
                  <a:lnTo>
                    <a:pt x="134" y="114"/>
                  </a:lnTo>
                  <a:lnTo>
                    <a:pt x="134" y="115"/>
                  </a:lnTo>
                  <a:lnTo>
                    <a:pt x="134" y="118"/>
                  </a:lnTo>
                  <a:lnTo>
                    <a:pt x="134" y="119"/>
                  </a:lnTo>
                  <a:lnTo>
                    <a:pt x="134" y="120"/>
                  </a:lnTo>
                  <a:lnTo>
                    <a:pt x="134" y="121"/>
                  </a:lnTo>
                  <a:lnTo>
                    <a:pt x="134" y="122"/>
                  </a:lnTo>
                  <a:lnTo>
                    <a:pt x="134" y="124"/>
                  </a:lnTo>
                  <a:lnTo>
                    <a:pt x="134" y="125"/>
                  </a:lnTo>
                  <a:lnTo>
                    <a:pt x="134" y="124"/>
                  </a:lnTo>
                  <a:lnTo>
                    <a:pt x="135" y="124"/>
                  </a:lnTo>
                  <a:lnTo>
                    <a:pt x="137" y="124"/>
                  </a:lnTo>
                  <a:lnTo>
                    <a:pt x="137" y="125"/>
                  </a:lnTo>
                  <a:lnTo>
                    <a:pt x="135" y="125"/>
                  </a:lnTo>
                  <a:lnTo>
                    <a:pt x="135" y="126"/>
                  </a:lnTo>
                  <a:lnTo>
                    <a:pt x="137" y="125"/>
                  </a:lnTo>
                  <a:lnTo>
                    <a:pt x="137" y="126"/>
                  </a:lnTo>
                  <a:lnTo>
                    <a:pt x="138" y="126"/>
                  </a:lnTo>
                  <a:lnTo>
                    <a:pt x="138" y="125"/>
                  </a:lnTo>
                  <a:lnTo>
                    <a:pt x="139" y="126"/>
                  </a:lnTo>
                  <a:lnTo>
                    <a:pt x="139" y="127"/>
                  </a:lnTo>
                  <a:lnTo>
                    <a:pt x="140" y="127"/>
                  </a:lnTo>
                  <a:lnTo>
                    <a:pt x="139" y="128"/>
                  </a:lnTo>
                  <a:lnTo>
                    <a:pt x="139" y="129"/>
                  </a:lnTo>
                  <a:lnTo>
                    <a:pt x="138" y="131"/>
                  </a:lnTo>
                  <a:lnTo>
                    <a:pt x="137" y="131"/>
                  </a:lnTo>
                  <a:lnTo>
                    <a:pt x="135" y="132"/>
                  </a:lnTo>
                  <a:lnTo>
                    <a:pt x="137" y="132"/>
                  </a:lnTo>
                  <a:lnTo>
                    <a:pt x="138" y="132"/>
                  </a:lnTo>
                  <a:lnTo>
                    <a:pt x="138" y="133"/>
                  </a:lnTo>
                  <a:lnTo>
                    <a:pt x="137" y="133"/>
                  </a:lnTo>
                  <a:lnTo>
                    <a:pt x="137" y="134"/>
                  </a:lnTo>
                  <a:lnTo>
                    <a:pt x="137" y="135"/>
                  </a:lnTo>
                  <a:lnTo>
                    <a:pt x="135" y="135"/>
                  </a:lnTo>
                  <a:lnTo>
                    <a:pt x="134" y="136"/>
                  </a:lnTo>
                  <a:lnTo>
                    <a:pt x="134" y="138"/>
                  </a:lnTo>
                  <a:lnTo>
                    <a:pt x="135" y="136"/>
                  </a:lnTo>
                  <a:lnTo>
                    <a:pt x="135" y="135"/>
                  </a:lnTo>
                  <a:lnTo>
                    <a:pt x="137" y="135"/>
                  </a:lnTo>
                  <a:lnTo>
                    <a:pt x="138" y="135"/>
                  </a:lnTo>
                  <a:lnTo>
                    <a:pt x="138" y="134"/>
                  </a:lnTo>
                  <a:lnTo>
                    <a:pt x="138" y="133"/>
                  </a:lnTo>
                  <a:lnTo>
                    <a:pt x="138" y="132"/>
                  </a:lnTo>
                  <a:lnTo>
                    <a:pt x="139" y="131"/>
                  </a:lnTo>
                  <a:lnTo>
                    <a:pt x="139" y="129"/>
                  </a:lnTo>
                  <a:lnTo>
                    <a:pt x="140" y="129"/>
                  </a:lnTo>
                  <a:lnTo>
                    <a:pt x="140" y="131"/>
                  </a:lnTo>
                  <a:lnTo>
                    <a:pt x="140" y="132"/>
                  </a:lnTo>
                  <a:lnTo>
                    <a:pt x="140" y="131"/>
                  </a:lnTo>
                  <a:lnTo>
                    <a:pt x="141" y="131"/>
                  </a:lnTo>
                  <a:lnTo>
                    <a:pt x="142" y="131"/>
                  </a:lnTo>
                  <a:lnTo>
                    <a:pt x="142" y="132"/>
                  </a:lnTo>
                  <a:lnTo>
                    <a:pt x="144" y="131"/>
                  </a:lnTo>
                  <a:lnTo>
                    <a:pt x="145" y="131"/>
                  </a:lnTo>
                  <a:lnTo>
                    <a:pt x="146" y="131"/>
                  </a:lnTo>
                  <a:lnTo>
                    <a:pt x="146" y="132"/>
                  </a:lnTo>
                  <a:lnTo>
                    <a:pt x="147" y="132"/>
                  </a:lnTo>
                  <a:lnTo>
                    <a:pt x="148" y="132"/>
                  </a:lnTo>
                  <a:lnTo>
                    <a:pt x="149" y="132"/>
                  </a:lnTo>
                  <a:lnTo>
                    <a:pt x="149" y="133"/>
                  </a:lnTo>
                  <a:lnTo>
                    <a:pt x="149" y="134"/>
                  </a:lnTo>
                  <a:lnTo>
                    <a:pt x="149" y="135"/>
                  </a:lnTo>
                  <a:lnTo>
                    <a:pt x="151" y="135"/>
                  </a:lnTo>
                  <a:lnTo>
                    <a:pt x="151" y="136"/>
                  </a:lnTo>
                  <a:lnTo>
                    <a:pt x="152" y="136"/>
                  </a:lnTo>
                  <a:lnTo>
                    <a:pt x="152" y="139"/>
                  </a:lnTo>
                  <a:lnTo>
                    <a:pt x="152" y="140"/>
                  </a:lnTo>
                  <a:lnTo>
                    <a:pt x="153" y="140"/>
                  </a:lnTo>
                  <a:lnTo>
                    <a:pt x="154" y="140"/>
                  </a:lnTo>
                  <a:lnTo>
                    <a:pt x="154" y="141"/>
                  </a:lnTo>
                  <a:lnTo>
                    <a:pt x="155" y="141"/>
                  </a:lnTo>
                  <a:lnTo>
                    <a:pt x="155" y="142"/>
                  </a:lnTo>
                  <a:lnTo>
                    <a:pt x="155" y="143"/>
                  </a:lnTo>
                  <a:lnTo>
                    <a:pt x="155" y="145"/>
                  </a:lnTo>
                  <a:lnTo>
                    <a:pt x="155" y="146"/>
                  </a:lnTo>
                  <a:lnTo>
                    <a:pt x="154" y="146"/>
                  </a:lnTo>
                  <a:lnTo>
                    <a:pt x="154" y="147"/>
                  </a:lnTo>
                  <a:lnTo>
                    <a:pt x="153" y="148"/>
                  </a:lnTo>
                  <a:lnTo>
                    <a:pt x="152" y="152"/>
                  </a:lnTo>
                  <a:lnTo>
                    <a:pt x="152" y="153"/>
                  </a:lnTo>
                  <a:lnTo>
                    <a:pt x="153" y="154"/>
                  </a:lnTo>
                  <a:lnTo>
                    <a:pt x="154" y="154"/>
                  </a:lnTo>
                  <a:lnTo>
                    <a:pt x="154" y="155"/>
                  </a:lnTo>
                  <a:lnTo>
                    <a:pt x="153" y="155"/>
                  </a:lnTo>
                  <a:lnTo>
                    <a:pt x="153" y="157"/>
                  </a:lnTo>
                  <a:lnTo>
                    <a:pt x="152" y="157"/>
                  </a:lnTo>
                  <a:lnTo>
                    <a:pt x="152" y="159"/>
                  </a:lnTo>
                  <a:lnTo>
                    <a:pt x="152" y="160"/>
                  </a:lnTo>
                  <a:lnTo>
                    <a:pt x="152" y="161"/>
                  </a:lnTo>
                  <a:lnTo>
                    <a:pt x="152" y="162"/>
                  </a:lnTo>
                  <a:lnTo>
                    <a:pt x="152" y="163"/>
                  </a:lnTo>
                  <a:lnTo>
                    <a:pt x="153" y="164"/>
                  </a:lnTo>
                  <a:lnTo>
                    <a:pt x="153" y="166"/>
                  </a:lnTo>
                  <a:lnTo>
                    <a:pt x="152" y="167"/>
                  </a:lnTo>
                  <a:lnTo>
                    <a:pt x="153" y="168"/>
                  </a:lnTo>
                  <a:lnTo>
                    <a:pt x="152" y="168"/>
                  </a:lnTo>
                  <a:lnTo>
                    <a:pt x="152" y="169"/>
                  </a:lnTo>
                  <a:lnTo>
                    <a:pt x="152" y="170"/>
                  </a:lnTo>
                  <a:lnTo>
                    <a:pt x="152" y="171"/>
                  </a:lnTo>
                  <a:lnTo>
                    <a:pt x="152" y="173"/>
                  </a:lnTo>
                  <a:lnTo>
                    <a:pt x="152" y="174"/>
                  </a:lnTo>
                  <a:lnTo>
                    <a:pt x="152" y="175"/>
                  </a:lnTo>
                  <a:lnTo>
                    <a:pt x="152" y="176"/>
                  </a:lnTo>
                  <a:lnTo>
                    <a:pt x="152" y="177"/>
                  </a:lnTo>
                  <a:lnTo>
                    <a:pt x="151" y="178"/>
                  </a:lnTo>
                  <a:lnTo>
                    <a:pt x="151" y="181"/>
                  </a:lnTo>
                  <a:lnTo>
                    <a:pt x="151" y="182"/>
                  </a:lnTo>
                  <a:lnTo>
                    <a:pt x="151" y="183"/>
                  </a:lnTo>
                  <a:lnTo>
                    <a:pt x="151" y="184"/>
                  </a:lnTo>
                  <a:lnTo>
                    <a:pt x="149" y="185"/>
                  </a:lnTo>
                  <a:lnTo>
                    <a:pt x="149" y="187"/>
                  </a:lnTo>
                  <a:lnTo>
                    <a:pt x="148" y="185"/>
                  </a:lnTo>
                  <a:lnTo>
                    <a:pt x="147" y="185"/>
                  </a:lnTo>
                  <a:lnTo>
                    <a:pt x="147" y="184"/>
                  </a:lnTo>
                  <a:lnTo>
                    <a:pt x="147" y="183"/>
                  </a:lnTo>
                  <a:lnTo>
                    <a:pt x="146" y="183"/>
                  </a:lnTo>
                  <a:lnTo>
                    <a:pt x="145" y="183"/>
                  </a:lnTo>
                  <a:lnTo>
                    <a:pt x="145" y="182"/>
                  </a:lnTo>
                  <a:lnTo>
                    <a:pt x="144" y="181"/>
                  </a:lnTo>
                  <a:lnTo>
                    <a:pt x="144" y="180"/>
                  </a:lnTo>
                  <a:lnTo>
                    <a:pt x="142" y="180"/>
                  </a:lnTo>
                  <a:lnTo>
                    <a:pt x="142" y="181"/>
                  </a:lnTo>
                  <a:lnTo>
                    <a:pt x="142" y="182"/>
                  </a:lnTo>
                  <a:lnTo>
                    <a:pt x="141" y="182"/>
                  </a:lnTo>
                  <a:lnTo>
                    <a:pt x="141" y="183"/>
                  </a:lnTo>
                  <a:lnTo>
                    <a:pt x="142" y="184"/>
                  </a:lnTo>
                  <a:lnTo>
                    <a:pt x="141" y="184"/>
                  </a:lnTo>
                  <a:lnTo>
                    <a:pt x="142" y="184"/>
                  </a:lnTo>
                  <a:lnTo>
                    <a:pt x="141" y="185"/>
                  </a:lnTo>
                  <a:lnTo>
                    <a:pt x="140" y="185"/>
                  </a:lnTo>
                  <a:lnTo>
                    <a:pt x="140" y="184"/>
                  </a:lnTo>
                  <a:lnTo>
                    <a:pt x="138" y="183"/>
                  </a:lnTo>
                  <a:lnTo>
                    <a:pt x="137" y="183"/>
                  </a:lnTo>
                  <a:lnTo>
                    <a:pt x="137" y="182"/>
                  </a:lnTo>
                  <a:lnTo>
                    <a:pt x="135" y="182"/>
                  </a:lnTo>
                  <a:lnTo>
                    <a:pt x="135" y="181"/>
                  </a:lnTo>
                  <a:lnTo>
                    <a:pt x="134" y="181"/>
                  </a:lnTo>
                  <a:lnTo>
                    <a:pt x="133" y="181"/>
                  </a:lnTo>
                  <a:lnTo>
                    <a:pt x="134" y="181"/>
                  </a:lnTo>
                  <a:lnTo>
                    <a:pt x="133" y="181"/>
                  </a:lnTo>
                  <a:lnTo>
                    <a:pt x="132" y="182"/>
                  </a:lnTo>
                  <a:lnTo>
                    <a:pt x="133" y="182"/>
                  </a:lnTo>
                  <a:lnTo>
                    <a:pt x="134" y="185"/>
                  </a:lnTo>
                  <a:lnTo>
                    <a:pt x="134" y="187"/>
                  </a:lnTo>
                  <a:lnTo>
                    <a:pt x="134" y="188"/>
                  </a:lnTo>
                  <a:lnTo>
                    <a:pt x="133" y="188"/>
                  </a:lnTo>
                  <a:lnTo>
                    <a:pt x="133" y="187"/>
                  </a:lnTo>
                  <a:lnTo>
                    <a:pt x="132" y="187"/>
                  </a:lnTo>
                  <a:lnTo>
                    <a:pt x="132" y="185"/>
                  </a:lnTo>
                  <a:lnTo>
                    <a:pt x="131" y="185"/>
                  </a:lnTo>
                  <a:lnTo>
                    <a:pt x="131" y="184"/>
                  </a:lnTo>
                  <a:lnTo>
                    <a:pt x="130" y="184"/>
                  </a:lnTo>
                  <a:lnTo>
                    <a:pt x="130" y="183"/>
                  </a:lnTo>
                  <a:lnTo>
                    <a:pt x="130" y="182"/>
                  </a:lnTo>
                  <a:lnTo>
                    <a:pt x="128" y="182"/>
                  </a:lnTo>
                  <a:lnTo>
                    <a:pt x="128" y="181"/>
                  </a:lnTo>
                  <a:lnTo>
                    <a:pt x="127" y="181"/>
                  </a:lnTo>
                  <a:lnTo>
                    <a:pt x="127" y="180"/>
                  </a:lnTo>
                  <a:lnTo>
                    <a:pt x="126" y="178"/>
                  </a:lnTo>
                  <a:lnTo>
                    <a:pt x="125" y="177"/>
                  </a:lnTo>
                  <a:lnTo>
                    <a:pt x="125" y="176"/>
                  </a:lnTo>
                  <a:lnTo>
                    <a:pt x="124" y="176"/>
                  </a:lnTo>
                  <a:lnTo>
                    <a:pt x="124" y="175"/>
                  </a:lnTo>
                  <a:lnTo>
                    <a:pt x="123" y="174"/>
                  </a:lnTo>
                  <a:lnTo>
                    <a:pt x="121" y="174"/>
                  </a:lnTo>
                  <a:lnTo>
                    <a:pt x="121" y="173"/>
                  </a:lnTo>
                  <a:lnTo>
                    <a:pt x="120" y="173"/>
                  </a:lnTo>
                  <a:lnTo>
                    <a:pt x="120" y="171"/>
                  </a:lnTo>
                  <a:lnTo>
                    <a:pt x="119" y="171"/>
                  </a:lnTo>
                  <a:lnTo>
                    <a:pt x="119" y="170"/>
                  </a:lnTo>
                  <a:lnTo>
                    <a:pt x="118" y="170"/>
                  </a:lnTo>
                  <a:lnTo>
                    <a:pt x="117" y="170"/>
                  </a:lnTo>
                  <a:lnTo>
                    <a:pt x="117" y="169"/>
                  </a:lnTo>
                  <a:lnTo>
                    <a:pt x="116" y="169"/>
                  </a:lnTo>
                  <a:lnTo>
                    <a:pt x="116" y="168"/>
                  </a:lnTo>
                  <a:lnTo>
                    <a:pt x="115" y="167"/>
                  </a:lnTo>
                  <a:lnTo>
                    <a:pt x="112" y="166"/>
                  </a:lnTo>
                  <a:lnTo>
                    <a:pt x="111" y="164"/>
                  </a:lnTo>
                  <a:lnTo>
                    <a:pt x="110" y="163"/>
                  </a:lnTo>
                  <a:lnTo>
                    <a:pt x="108" y="161"/>
                  </a:lnTo>
                  <a:lnTo>
                    <a:pt x="105" y="160"/>
                  </a:lnTo>
                  <a:lnTo>
                    <a:pt x="104" y="157"/>
                  </a:lnTo>
                  <a:lnTo>
                    <a:pt x="103" y="157"/>
                  </a:lnTo>
                  <a:lnTo>
                    <a:pt x="103" y="156"/>
                  </a:lnTo>
                  <a:lnTo>
                    <a:pt x="103" y="155"/>
                  </a:lnTo>
                  <a:lnTo>
                    <a:pt x="103" y="154"/>
                  </a:lnTo>
                  <a:lnTo>
                    <a:pt x="102" y="154"/>
                  </a:lnTo>
                  <a:lnTo>
                    <a:pt x="102" y="153"/>
                  </a:lnTo>
                  <a:lnTo>
                    <a:pt x="102" y="152"/>
                  </a:lnTo>
                  <a:lnTo>
                    <a:pt x="99" y="150"/>
                  </a:lnTo>
                  <a:lnTo>
                    <a:pt x="97" y="148"/>
                  </a:lnTo>
                  <a:lnTo>
                    <a:pt x="94" y="145"/>
                  </a:lnTo>
                  <a:lnTo>
                    <a:pt x="94" y="143"/>
                  </a:lnTo>
                  <a:lnTo>
                    <a:pt x="92" y="143"/>
                  </a:lnTo>
                  <a:lnTo>
                    <a:pt x="91" y="140"/>
                  </a:lnTo>
                  <a:lnTo>
                    <a:pt x="90" y="138"/>
                  </a:lnTo>
                  <a:lnTo>
                    <a:pt x="89" y="136"/>
                  </a:lnTo>
                  <a:lnTo>
                    <a:pt x="88" y="135"/>
                  </a:lnTo>
                  <a:lnTo>
                    <a:pt x="87" y="135"/>
                  </a:lnTo>
                  <a:lnTo>
                    <a:pt x="87" y="134"/>
                  </a:lnTo>
                  <a:lnTo>
                    <a:pt x="85" y="133"/>
                  </a:lnTo>
                  <a:lnTo>
                    <a:pt x="84" y="131"/>
                  </a:lnTo>
                  <a:lnTo>
                    <a:pt x="83" y="128"/>
                  </a:lnTo>
                  <a:lnTo>
                    <a:pt x="83" y="127"/>
                  </a:lnTo>
                  <a:lnTo>
                    <a:pt x="84" y="127"/>
                  </a:lnTo>
                  <a:lnTo>
                    <a:pt x="84" y="126"/>
                  </a:lnTo>
                  <a:lnTo>
                    <a:pt x="84" y="125"/>
                  </a:lnTo>
                  <a:lnTo>
                    <a:pt x="83" y="125"/>
                  </a:lnTo>
                  <a:lnTo>
                    <a:pt x="83" y="124"/>
                  </a:lnTo>
                  <a:lnTo>
                    <a:pt x="82" y="122"/>
                  </a:lnTo>
                  <a:lnTo>
                    <a:pt x="82" y="121"/>
                  </a:lnTo>
                  <a:lnTo>
                    <a:pt x="82" y="120"/>
                  </a:lnTo>
                  <a:lnTo>
                    <a:pt x="81" y="120"/>
                  </a:lnTo>
                  <a:lnTo>
                    <a:pt x="81" y="119"/>
                  </a:lnTo>
                  <a:lnTo>
                    <a:pt x="81" y="118"/>
                  </a:lnTo>
                  <a:lnTo>
                    <a:pt x="80" y="117"/>
                  </a:lnTo>
                  <a:lnTo>
                    <a:pt x="80" y="115"/>
                  </a:lnTo>
                  <a:lnTo>
                    <a:pt x="80" y="114"/>
                  </a:lnTo>
                  <a:lnTo>
                    <a:pt x="78" y="114"/>
                  </a:lnTo>
                  <a:lnTo>
                    <a:pt x="77" y="114"/>
                  </a:lnTo>
                  <a:lnTo>
                    <a:pt x="77" y="113"/>
                  </a:lnTo>
                  <a:lnTo>
                    <a:pt x="77" y="112"/>
                  </a:lnTo>
                  <a:lnTo>
                    <a:pt x="77" y="111"/>
                  </a:lnTo>
                  <a:lnTo>
                    <a:pt x="77" y="110"/>
                  </a:lnTo>
                  <a:lnTo>
                    <a:pt x="76" y="110"/>
                  </a:lnTo>
                  <a:lnTo>
                    <a:pt x="76" y="108"/>
                  </a:lnTo>
                  <a:lnTo>
                    <a:pt x="76" y="107"/>
                  </a:lnTo>
                  <a:lnTo>
                    <a:pt x="76" y="106"/>
                  </a:lnTo>
                  <a:lnTo>
                    <a:pt x="74" y="104"/>
                  </a:lnTo>
                  <a:lnTo>
                    <a:pt x="73" y="103"/>
                  </a:lnTo>
                  <a:lnTo>
                    <a:pt x="73" y="101"/>
                  </a:lnTo>
                  <a:lnTo>
                    <a:pt x="71" y="101"/>
                  </a:lnTo>
                  <a:lnTo>
                    <a:pt x="70" y="100"/>
                  </a:lnTo>
                  <a:lnTo>
                    <a:pt x="70" y="99"/>
                  </a:lnTo>
                  <a:lnTo>
                    <a:pt x="69" y="99"/>
                  </a:lnTo>
                  <a:lnTo>
                    <a:pt x="69" y="98"/>
                  </a:lnTo>
                  <a:lnTo>
                    <a:pt x="69" y="97"/>
                  </a:lnTo>
                  <a:lnTo>
                    <a:pt x="68" y="97"/>
                  </a:lnTo>
                  <a:lnTo>
                    <a:pt x="68" y="96"/>
                  </a:lnTo>
                  <a:lnTo>
                    <a:pt x="69" y="94"/>
                  </a:lnTo>
                  <a:lnTo>
                    <a:pt x="68" y="94"/>
                  </a:lnTo>
                  <a:lnTo>
                    <a:pt x="68" y="93"/>
                  </a:lnTo>
                  <a:lnTo>
                    <a:pt x="67" y="92"/>
                  </a:lnTo>
                  <a:lnTo>
                    <a:pt x="66" y="91"/>
                  </a:lnTo>
                  <a:lnTo>
                    <a:pt x="64" y="91"/>
                  </a:lnTo>
                  <a:lnTo>
                    <a:pt x="63" y="91"/>
                  </a:lnTo>
                  <a:lnTo>
                    <a:pt x="63" y="90"/>
                  </a:lnTo>
                  <a:lnTo>
                    <a:pt x="62" y="90"/>
                  </a:lnTo>
                  <a:lnTo>
                    <a:pt x="61" y="90"/>
                  </a:lnTo>
                  <a:lnTo>
                    <a:pt x="60" y="90"/>
                  </a:lnTo>
                  <a:lnTo>
                    <a:pt x="60" y="89"/>
                  </a:lnTo>
                  <a:lnTo>
                    <a:pt x="60" y="87"/>
                  </a:lnTo>
                  <a:lnTo>
                    <a:pt x="60" y="86"/>
                  </a:lnTo>
                  <a:lnTo>
                    <a:pt x="60" y="85"/>
                  </a:lnTo>
                  <a:lnTo>
                    <a:pt x="59" y="85"/>
                  </a:lnTo>
                  <a:lnTo>
                    <a:pt x="60" y="85"/>
                  </a:lnTo>
                  <a:lnTo>
                    <a:pt x="59" y="84"/>
                  </a:lnTo>
                  <a:lnTo>
                    <a:pt x="59" y="82"/>
                  </a:lnTo>
                  <a:lnTo>
                    <a:pt x="57" y="80"/>
                  </a:lnTo>
                  <a:lnTo>
                    <a:pt x="57" y="79"/>
                  </a:lnTo>
                  <a:lnTo>
                    <a:pt x="56" y="76"/>
                  </a:lnTo>
                  <a:lnTo>
                    <a:pt x="55" y="73"/>
                  </a:lnTo>
                  <a:lnTo>
                    <a:pt x="55" y="72"/>
                  </a:lnTo>
                  <a:lnTo>
                    <a:pt x="55" y="71"/>
                  </a:lnTo>
                  <a:lnTo>
                    <a:pt x="54" y="71"/>
                  </a:lnTo>
                  <a:lnTo>
                    <a:pt x="54" y="70"/>
                  </a:lnTo>
                  <a:lnTo>
                    <a:pt x="54" y="69"/>
                  </a:lnTo>
                  <a:lnTo>
                    <a:pt x="54" y="70"/>
                  </a:lnTo>
                  <a:lnTo>
                    <a:pt x="54" y="69"/>
                  </a:lnTo>
                  <a:lnTo>
                    <a:pt x="55" y="69"/>
                  </a:lnTo>
                  <a:lnTo>
                    <a:pt x="55" y="68"/>
                  </a:lnTo>
                  <a:lnTo>
                    <a:pt x="55" y="66"/>
                  </a:lnTo>
                  <a:lnTo>
                    <a:pt x="54" y="66"/>
                  </a:lnTo>
                  <a:lnTo>
                    <a:pt x="54" y="65"/>
                  </a:lnTo>
                  <a:lnTo>
                    <a:pt x="54" y="66"/>
                  </a:lnTo>
                  <a:lnTo>
                    <a:pt x="53" y="66"/>
                  </a:lnTo>
                  <a:lnTo>
                    <a:pt x="53" y="65"/>
                  </a:lnTo>
                  <a:lnTo>
                    <a:pt x="52" y="64"/>
                  </a:lnTo>
                  <a:lnTo>
                    <a:pt x="51" y="63"/>
                  </a:lnTo>
                  <a:lnTo>
                    <a:pt x="49" y="62"/>
                  </a:lnTo>
                  <a:lnTo>
                    <a:pt x="48" y="62"/>
                  </a:lnTo>
                  <a:lnTo>
                    <a:pt x="47" y="62"/>
                  </a:lnTo>
                  <a:lnTo>
                    <a:pt x="47" y="61"/>
                  </a:lnTo>
                  <a:lnTo>
                    <a:pt x="46" y="59"/>
                  </a:lnTo>
                  <a:lnTo>
                    <a:pt x="45" y="59"/>
                  </a:lnTo>
                  <a:lnTo>
                    <a:pt x="44" y="58"/>
                  </a:lnTo>
                  <a:lnTo>
                    <a:pt x="42" y="58"/>
                  </a:lnTo>
                  <a:lnTo>
                    <a:pt x="41" y="58"/>
                  </a:lnTo>
                  <a:lnTo>
                    <a:pt x="41" y="57"/>
                  </a:lnTo>
                  <a:lnTo>
                    <a:pt x="40" y="57"/>
                  </a:lnTo>
                  <a:lnTo>
                    <a:pt x="40" y="58"/>
                  </a:lnTo>
                  <a:lnTo>
                    <a:pt x="40" y="57"/>
                  </a:lnTo>
                  <a:lnTo>
                    <a:pt x="39" y="57"/>
                  </a:lnTo>
                  <a:lnTo>
                    <a:pt x="39" y="56"/>
                  </a:lnTo>
                  <a:lnTo>
                    <a:pt x="39" y="54"/>
                  </a:lnTo>
                  <a:lnTo>
                    <a:pt x="39" y="51"/>
                  </a:lnTo>
                  <a:lnTo>
                    <a:pt x="38" y="49"/>
                  </a:lnTo>
                  <a:lnTo>
                    <a:pt x="38" y="48"/>
                  </a:lnTo>
                  <a:lnTo>
                    <a:pt x="37" y="48"/>
                  </a:lnTo>
                  <a:lnTo>
                    <a:pt x="35" y="48"/>
                  </a:lnTo>
                  <a:lnTo>
                    <a:pt x="35" y="47"/>
                  </a:lnTo>
                  <a:lnTo>
                    <a:pt x="34" y="45"/>
                  </a:lnTo>
                  <a:lnTo>
                    <a:pt x="33" y="45"/>
                  </a:lnTo>
                  <a:lnTo>
                    <a:pt x="33" y="44"/>
                  </a:lnTo>
                  <a:lnTo>
                    <a:pt x="33" y="43"/>
                  </a:lnTo>
                  <a:lnTo>
                    <a:pt x="33" y="42"/>
                  </a:lnTo>
                  <a:lnTo>
                    <a:pt x="32" y="42"/>
                  </a:lnTo>
                  <a:lnTo>
                    <a:pt x="30" y="38"/>
                  </a:lnTo>
                  <a:lnTo>
                    <a:pt x="30" y="37"/>
                  </a:lnTo>
                  <a:lnTo>
                    <a:pt x="28" y="36"/>
                  </a:lnTo>
                  <a:lnTo>
                    <a:pt x="27" y="36"/>
                  </a:lnTo>
                  <a:lnTo>
                    <a:pt x="27" y="35"/>
                  </a:lnTo>
                  <a:lnTo>
                    <a:pt x="26" y="35"/>
                  </a:lnTo>
                  <a:lnTo>
                    <a:pt x="26" y="34"/>
                  </a:lnTo>
                  <a:lnTo>
                    <a:pt x="23" y="35"/>
                  </a:lnTo>
                  <a:lnTo>
                    <a:pt x="23" y="34"/>
                  </a:lnTo>
                  <a:lnTo>
                    <a:pt x="21" y="34"/>
                  </a:lnTo>
                  <a:lnTo>
                    <a:pt x="21" y="33"/>
                  </a:lnTo>
                  <a:lnTo>
                    <a:pt x="19" y="30"/>
                  </a:lnTo>
                  <a:lnTo>
                    <a:pt x="18" y="29"/>
                  </a:lnTo>
                  <a:lnTo>
                    <a:pt x="18" y="28"/>
                  </a:lnTo>
                  <a:lnTo>
                    <a:pt x="17" y="28"/>
                  </a:lnTo>
                  <a:lnTo>
                    <a:pt x="16" y="27"/>
                  </a:lnTo>
                  <a:lnTo>
                    <a:pt x="14" y="27"/>
                  </a:lnTo>
                  <a:lnTo>
                    <a:pt x="13" y="24"/>
                  </a:lnTo>
                  <a:lnTo>
                    <a:pt x="12" y="23"/>
                  </a:lnTo>
                  <a:lnTo>
                    <a:pt x="11" y="23"/>
                  </a:lnTo>
                  <a:lnTo>
                    <a:pt x="11" y="22"/>
                  </a:lnTo>
                  <a:lnTo>
                    <a:pt x="10" y="21"/>
                  </a:lnTo>
                  <a:lnTo>
                    <a:pt x="9" y="21"/>
                  </a:lnTo>
                  <a:lnTo>
                    <a:pt x="9" y="20"/>
                  </a:lnTo>
                  <a:lnTo>
                    <a:pt x="7" y="20"/>
                  </a:lnTo>
                  <a:lnTo>
                    <a:pt x="7" y="19"/>
                  </a:lnTo>
                  <a:lnTo>
                    <a:pt x="7" y="17"/>
                  </a:lnTo>
                  <a:lnTo>
                    <a:pt x="6" y="17"/>
                  </a:lnTo>
                  <a:lnTo>
                    <a:pt x="6" y="16"/>
                  </a:lnTo>
                  <a:lnTo>
                    <a:pt x="5" y="15"/>
                  </a:lnTo>
                  <a:lnTo>
                    <a:pt x="5" y="14"/>
                  </a:lnTo>
                  <a:lnTo>
                    <a:pt x="4" y="13"/>
                  </a:lnTo>
                  <a:lnTo>
                    <a:pt x="4" y="12"/>
                  </a:lnTo>
                  <a:lnTo>
                    <a:pt x="4" y="10"/>
                  </a:lnTo>
                  <a:lnTo>
                    <a:pt x="3" y="10"/>
                  </a:lnTo>
                  <a:lnTo>
                    <a:pt x="3" y="9"/>
                  </a:lnTo>
                  <a:lnTo>
                    <a:pt x="4" y="8"/>
                  </a:lnTo>
                  <a:lnTo>
                    <a:pt x="3" y="7"/>
                  </a:lnTo>
                  <a:lnTo>
                    <a:pt x="3" y="6"/>
                  </a:lnTo>
                  <a:lnTo>
                    <a:pt x="4" y="6"/>
                  </a:lnTo>
                  <a:lnTo>
                    <a:pt x="4" y="5"/>
                  </a:lnTo>
                  <a:lnTo>
                    <a:pt x="5" y="5"/>
                  </a:lnTo>
                  <a:lnTo>
                    <a:pt x="6" y="5"/>
                  </a:lnTo>
                  <a:close/>
                  <a:moveTo>
                    <a:pt x="3" y="5"/>
                  </a:moveTo>
                  <a:lnTo>
                    <a:pt x="2" y="5"/>
                  </a:lnTo>
                  <a:lnTo>
                    <a:pt x="3" y="5"/>
                  </a:lnTo>
                  <a:close/>
                  <a:moveTo>
                    <a:pt x="0" y="2"/>
                  </a:moveTo>
                  <a:lnTo>
                    <a:pt x="2" y="3"/>
                  </a:lnTo>
                  <a:lnTo>
                    <a:pt x="0" y="5"/>
                  </a:lnTo>
                  <a:lnTo>
                    <a:pt x="0" y="3"/>
                  </a:lnTo>
                  <a:lnTo>
                    <a:pt x="0" y="2"/>
                  </a:lnTo>
                  <a:close/>
                  <a:moveTo>
                    <a:pt x="4" y="1"/>
                  </a:moveTo>
                  <a:lnTo>
                    <a:pt x="4" y="0"/>
                  </a:lnTo>
                  <a:lnTo>
                    <a:pt x="5" y="1"/>
                  </a:lnTo>
                  <a:lnTo>
                    <a:pt x="5" y="2"/>
                  </a:lnTo>
                  <a:lnTo>
                    <a:pt x="5" y="1"/>
                  </a:lnTo>
                  <a:lnTo>
                    <a:pt x="5" y="2"/>
                  </a:lnTo>
                  <a:lnTo>
                    <a:pt x="4" y="2"/>
                  </a:lnTo>
                  <a:lnTo>
                    <a:pt x="4" y="1"/>
                  </a:lnTo>
                  <a:lnTo>
                    <a:pt x="3" y="1"/>
                  </a:lnTo>
                  <a:lnTo>
                    <a:pt x="3" y="0"/>
                  </a:lnTo>
                  <a:lnTo>
                    <a:pt x="4" y="1"/>
                  </a:lnTo>
                  <a:close/>
                </a:path>
              </a:pathLst>
            </a:custGeom>
            <a:solidFill>
              <a:srgbClr val="0053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51" name="Freeform 906">
              <a:extLst>
                <a:ext uri="{FF2B5EF4-FFF2-40B4-BE49-F238E27FC236}">
                  <a16:creationId xmlns:a16="http://schemas.microsoft.com/office/drawing/2014/main" id="{43C0BDD3-3E90-4A89-9B10-65D199CB4BAC}"/>
                </a:ext>
              </a:extLst>
            </p:cNvPr>
            <p:cNvSpPr>
              <a:spLocks/>
            </p:cNvSpPr>
            <p:nvPr/>
          </p:nvSpPr>
          <p:spPr bwMode="auto">
            <a:xfrm>
              <a:off x="5730305" y="2205350"/>
              <a:ext cx="8013" cy="8013"/>
            </a:xfrm>
            <a:custGeom>
              <a:avLst/>
              <a:gdLst>
                <a:gd name="T0" fmla="*/ 3 w 6"/>
                <a:gd name="T1" fmla="*/ 5 h 6"/>
                <a:gd name="T2" fmla="*/ 3 w 6"/>
                <a:gd name="T3" fmla="*/ 6 h 6"/>
                <a:gd name="T4" fmla="*/ 3 w 6"/>
                <a:gd name="T5" fmla="*/ 6 h 6"/>
                <a:gd name="T6" fmla="*/ 3 w 6"/>
                <a:gd name="T7" fmla="*/ 6 h 6"/>
                <a:gd name="T8" fmla="*/ 2 w 6"/>
                <a:gd name="T9" fmla="*/ 5 h 6"/>
                <a:gd name="T10" fmla="*/ 2 w 6"/>
                <a:gd name="T11" fmla="*/ 6 h 6"/>
                <a:gd name="T12" fmla="*/ 0 w 6"/>
                <a:gd name="T13" fmla="*/ 6 h 6"/>
                <a:gd name="T14" fmla="*/ 2 w 6"/>
                <a:gd name="T15" fmla="*/ 6 h 6"/>
                <a:gd name="T16" fmla="*/ 2 w 6"/>
                <a:gd name="T17" fmla="*/ 6 h 6"/>
                <a:gd name="T18" fmla="*/ 2 w 6"/>
                <a:gd name="T19" fmla="*/ 5 h 6"/>
                <a:gd name="T20" fmla="*/ 2 w 6"/>
                <a:gd name="T21" fmla="*/ 5 h 6"/>
                <a:gd name="T22" fmla="*/ 2 w 6"/>
                <a:gd name="T23" fmla="*/ 4 h 6"/>
                <a:gd name="T24" fmla="*/ 2 w 6"/>
                <a:gd name="T25" fmla="*/ 4 h 6"/>
                <a:gd name="T26" fmla="*/ 2 w 6"/>
                <a:gd name="T27" fmla="*/ 4 h 6"/>
                <a:gd name="T28" fmla="*/ 3 w 6"/>
                <a:gd name="T29" fmla="*/ 4 h 6"/>
                <a:gd name="T30" fmla="*/ 3 w 6"/>
                <a:gd name="T31" fmla="*/ 3 h 6"/>
                <a:gd name="T32" fmla="*/ 4 w 6"/>
                <a:gd name="T33" fmla="*/ 1 h 6"/>
                <a:gd name="T34" fmla="*/ 5 w 6"/>
                <a:gd name="T35" fmla="*/ 1 h 6"/>
                <a:gd name="T36" fmla="*/ 5 w 6"/>
                <a:gd name="T37" fmla="*/ 0 h 6"/>
                <a:gd name="T38" fmla="*/ 6 w 6"/>
                <a:gd name="T39" fmla="*/ 0 h 6"/>
                <a:gd name="T40" fmla="*/ 6 w 6"/>
                <a:gd name="T41" fmla="*/ 0 h 6"/>
                <a:gd name="T42" fmla="*/ 6 w 6"/>
                <a:gd name="T43" fmla="*/ 1 h 6"/>
                <a:gd name="T44" fmla="*/ 6 w 6"/>
                <a:gd name="T45" fmla="*/ 1 h 6"/>
                <a:gd name="T46" fmla="*/ 6 w 6"/>
                <a:gd name="T47" fmla="*/ 3 h 6"/>
                <a:gd name="T48" fmla="*/ 6 w 6"/>
                <a:gd name="T49" fmla="*/ 3 h 6"/>
                <a:gd name="T50" fmla="*/ 6 w 6"/>
                <a:gd name="T51" fmla="*/ 3 h 6"/>
                <a:gd name="T52" fmla="*/ 6 w 6"/>
                <a:gd name="T53" fmla="*/ 3 h 6"/>
                <a:gd name="T54" fmla="*/ 6 w 6"/>
                <a:gd name="T55" fmla="*/ 3 h 6"/>
                <a:gd name="T56" fmla="*/ 6 w 6"/>
                <a:gd name="T57" fmla="*/ 3 h 6"/>
                <a:gd name="T58" fmla="*/ 6 w 6"/>
                <a:gd name="T59" fmla="*/ 4 h 6"/>
                <a:gd name="T60" fmla="*/ 5 w 6"/>
                <a:gd name="T61" fmla="*/ 4 h 6"/>
                <a:gd name="T62" fmla="*/ 5 w 6"/>
                <a:gd name="T63" fmla="*/ 4 h 6"/>
                <a:gd name="T64" fmla="*/ 5 w 6"/>
                <a:gd name="T65" fmla="*/ 5 h 6"/>
                <a:gd name="T66" fmla="*/ 4 w 6"/>
                <a:gd name="T67" fmla="*/ 5 h 6"/>
                <a:gd name="T68" fmla="*/ 4 w 6"/>
                <a:gd name="T69" fmla="*/ 5 h 6"/>
                <a:gd name="T70" fmla="*/ 4 w 6"/>
                <a:gd name="T71"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 h="6">
                  <a:moveTo>
                    <a:pt x="3" y="5"/>
                  </a:moveTo>
                  <a:lnTo>
                    <a:pt x="3" y="5"/>
                  </a:lnTo>
                  <a:lnTo>
                    <a:pt x="3" y="6"/>
                  </a:lnTo>
                  <a:lnTo>
                    <a:pt x="3" y="6"/>
                  </a:lnTo>
                  <a:lnTo>
                    <a:pt x="3" y="6"/>
                  </a:lnTo>
                  <a:lnTo>
                    <a:pt x="3" y="6"/>
                  </a:lnTo>
                  <a:lnTo>
                    <a:pt x="3" y="6"/>
                  </a:lnTo>
                  <a:lnTo>
                    <a:pt x="3" y="6"/>
                  </a:lnTo>
                  <a:lnTo>
                    <a:pt x="2" y="6"/>
                  </a:lnTo>
                  <a:lnTo>
                    <a:pt x="2" y="5"/>
                  </a:lnTo>
                  <a:lnTo>
                    <a:pt x="2" y="6"/>
                  </a:lnTo>
                  <a:lnTo>
                    <a:pt x="2" y="6"/>
                  </a:lnTo>
                  <a:lnTo>
                    <a:pt x="2" y="6"/>
                  </a:lnTo>
                  <a:lnTo>
                    <a:pt x="0" y="6"/>
                  </a:lnTo>
                  <a:lnTo>
                    <a:pt x="0" y="6"/>
                  </a:lnTo>
                  <a:lnTo>
                    <a:pt x="2" y="6"/>
                  </a:lnTo>
                  <a:lnTo>
                    <a:pt x="2" y="6"/>
                  </a:lnTo>
                  <a:lnTo>
                    <a:pt x="2" y="6"/>
                  </a:lnTo>
                  <a:lnTo>
                    <a:pt x="2" y="6"/>
                  </a:lnTo>
                  <a:lnTo>
                    <a:pt x="2" y="5"/>
                  </a:lnTo>
                  <a:lnTo>
                    <a:pt x="2" y="5"/>
                  </a:lnTo>
                  <a:lnTo>
                    <a:pt x="2" y="5"/>
                  </a:lnTo>
                  <a:lnTo>
                    <a:pt x="2" y="4"/>
                  </a:lnTo>
                  <a:lnTo>
                    <a:pt x="2" y="4"/>
                  </a:lnTo>
                  <a:lnTo>
                    <a:pt x="2" y="4"/>
                  </a:lnTo>
                  <a:lnTo>
                    <a:pt x="2" y="4"/>
                  </a:lnTo>
                  <a:lnTo>
                    <a:pt x="2" y="4"/>
                  </a:lnTo>
                  <a:lnTo>
                    <a:pt x="2" y="4"/>
                  </a:lnTo>
                  <a:lnTo>
                    <a:pt x="3" y="4"/>
                  </a:lnTo>
                  <a:lnTo>
                    <a:pt x="3" y="4"/>
                  </a:lnTo>
                  <a:lnTo>
                    <a:pt x="3" y="3"/>
                  </a:lnTo>
                  <a:lnTo>
                    <a:pt x="3" y="3"/>
                  </a:lnTo>
                  <a:lnTo>
                    <a:pt x="3" y="3"/>
                  </a:lnTo>
                  <a:lnTo>
                    <a:pt x="4" y="1"/>
                  </a:lnTo>
                  <a:lnTo>
                    <a:pt x="4" y="1"/>
                  </a:lnTo>
                  <a:lnTo>
                    <a:pt x="5" y="1"/>
                  </a:lnTo>
                  <a:lnTo>
                    <a:pt x="5" y="0"/>
                  </a:lnTo>
                  <a:lnTo>
                    <a:pt x="5" y="0"/>
                  </a:lnTo>
                  <a:lnTo>
                    <a:pt x="6" y="0"/>
                  </a:lnTo>
                  <a:lnTo>
                    <a:pt x="6" y="0"/>
                  </a:lnTo>
                  <a:lnTo>
                    <a:pt x="6" y="0"/>
                  </a:lnTo>
                  <a:lnTo>
                    <a:pt x="6" y="0"/>
                  </a:lnTo>
                  <a:lnTo>
                    <a:pt x="6" y="1"/>
                  </a:lnTo>
                  <a:lnTo>
                    <a:pt x="6" y="1"/>
                  </a:lnTo>
                  <a:lnTo>
                    <a:pt x="6" y="1"/>
                  </a:lnTo>
                  <a:lnTo>
                    <a:pt x="6" y="1"/>
                  </a:lnTo>
                  <a:lnTo>
                    <a:pt x="6" y="1"/>
                  </a:lnTo>
                  <a:lnTo>
                    <a:pt x="6" y="3"/>
                  </a:lnTo>
                  <a:lnTo>
                    <a:pt x="6" y="3"/>
                  </a:lnTo>
                  <a:lnTo>
                    <a:pt x="6" y="3"/>
                  </a:lnTo>
                  <a:lnTo>
                    <a:pt x="6" y="3"/>
                  </a:lnTo>
                  <a:lnTo>
                    <a:pt x="6" y="3"/>
                  </a:lnTo>
                  <a:lnTo>
                    <a:pt x="6" y="3"/>
                  </a:lnTo>
                  <a:lnTo>
                    <a:pt x="6" y="3"/>
                  </a:lnTo>
                  <a:lnTo>
                    <a:pt x="6" y="3"/>
                  </a:lnTo>
                  <a:lnTo>
                    <a:pt x="6" y="3"/>
                  </a:lnTo>
                  <a:lnTo>
                    <a:pt x="6" y="3"/>
                  </a:lnTo>
                  <a:lnTo>
                    <a:pt x="6" y="3"/>
                  </a:lnTo>
                  <a:lnTo>
                    <a:pt x="6" y="3"/>
                  </a:lnTo>
                  <a:lnTo>
                    <a:pt x="6" y="4"/>
                  </a:lnTo>
                  <a:lnTo>
                    <a:pt x="6" y="4"/>
                  </a:lnTo>
                  <a:lnTo>
                    <a:pt x="5" y="4"/>
                  </a:lnTo>
                  <a:lnTo>
                    <a:pt x="6" y="4"/>
                  </a:lnTo>
                  <a:lnTo>
                    <a:pt x="5" y="4"/>
                  </a:lnTo>
                  <a:lnTo>
                    <a:pt x="5" y="4"/>
                  </a:lnTo>
                  <a:lnTo>
                    <a:pt x="5" y="5"/>
                  </a:lnTo>
                  <a:lnTo>
                    <a:pt x="5" y="5"/>
                  </a:lnTo>
                  <a:lnTo>
                    <a:pt x="4" y="5"/>
                  </a:lnTo>
                  <a:lnTo>
                    <a:pt x="4" y="5"/>
                  </a:lnTo>
                  <a:lnTo>
                    <a:pt x="4" y="5"/>
                  </a:lnTo>
                  <a:lnTo>
                    <a:pt x="4" y="5"/>
                  </a:lnTo>
                  <a:lnTo>
                    <a:pt x="4" y="5"/>
                  </a:lnTo>
                  <a:lnTo>
                    <a:pt x="3" y="5"/>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52" name="Freeform 907">
              <a:extLst>
                <a:ext uri="{FF2B5EF4-FFF2-40B4-BE49-F238E27FC236}">
                  <a16:creationId xmlns:a16="http://schemas.microsoft.com/office/drawing/2014/main" id="{7284F6DB-47B8-41C2-B4E8-C9E662A88B31}"/>
                </a:ext>
              </a:extLst>
            </p:cNvPr>
            <p:cNvSpPr>
              <a:spLocks noEditPoints="1"/>
            </p:cNvSpPr>
            <p:nvPr/>
          </p:nvSpPr>
          <p:spPr bwMode="auto">
            <a:xfrm>
              <a:off x="7045761" y="2597984"/>
              <a:ext cx="512827" cy="607647"/>
            </a:xfrm>
            <a:custGeom>
              <a:avLst/>
              <a:gdLst>
                <a:gd name="T0" fmla="*/ 373 w 384"/>
                <a:gd name="T1" fmla="*/ 436 h 455"/>
                <a:gd name="T2" fmla="*/ 357 w 384"/>
                <a:gd name="T3" fmla="*/ 392 h 455"/>
                <a:gd name="T4" fmla="*/ 361 w 384"/>
                <a:gd name="T5" fmla="*/ 371 h 455"/>
                <a:gd name="T6" fmla="*/ 359 w 384"/>
                <a:gd name="T7" fmla="*/ 363 h 455"/>
                <a:gd name="T8" fmla="*/ 355 w 384"/>
                <a:gd name="T9" fmla="*/ 373 h 455"/>
                <a:gd name="T10" fmla="*/ 286 w 384"/>
                <a:gd name="T11" fmla="*/ 221 h 455"/>
                <a:gd name="T12" fmla="*/ 110 w 384"/>
                <a:gd name="T13" fmla="*/ 17 h 455"/>
                <a:gd name="T14" fmla="*/ 117 w 384"/>
                <a:gd name="T15" fmla="*/ 47 h 455"/>
                <a:gd name="T16" fmla="*/ 134 w 384"/>
                <a:gd name="T17" fmla="*/ 71 h 455"/>
                <a:gd name="T18" fmla="*/ 149 w 384"/>
                <a:gd name="T19" fmla="*/ 92 h 455"/>
                <a:gd name="T20" fmla="*/ 167 w 384"/>
                <a:gd name="T21" fmla="*/ 117 h 455"/>
                <a:gd name="T22" fmla="*/ 206 w 384"/>
                <a:gd name="T23" fmla="*/ 127 h 455"/>
                <a:gd name="T24" fmla="*/ 240 w 384"/>
                <a:gd name="T25" fmla="*/ 141 h 455"/>
                <a:gd name="T26" fmla="*/ 262 w 384"/>
                <a:gd name="T27" fmla="*/ 134 h 455"/>
                <a:gd name="T28" fmla="*/ 272 w 384"/>
                <a:gd name="T29" fmla="*/ 134 h 455"/>
                <a:gd name="T30" fmla="*/ 313 w 384"/>
                <a:gd name="T31" fmla="*/ 137 h 455"/>
                <a:gd name="T32" fmla="*/ 320 w 384"/>
                <a:gd name="T33" fmla="*/ 117 h 455"/>
                <a:gd name="T34" fmla="*/ 350 w 384"/>
                <a:gd name="T35" fmla="*/ 102 h 455"/>
                <a:gd name="T36" fmla="*/ 370 w 384"/>
                <a:gd name="T37" fmla="*/ 110 h 455"/>
                <a:gd name="T38" fmla="*/ 379 w 384"/>
                <a:gd name="T39" fmla="*/ 130 h 455"/>
                <a:gd name="T40" fmla="*/ 357 w 384"/>
                <a:gd name="T41" fmla="*/ 158 h 455"/>
                <a:gd name="T42" fmla="*/ 342 w 384"/>
                <a:gd name="T43" fmla="*/ 186 h 455"/>
                <a:gd name="T44" fmla="*/ 335 w 384"/>
                <a:gd name="T45" fmla="*/ 212 h 455"/>
                <a:gd name="T46" fmla="*/ 319 w 384"/>
                <a:gd name="T47" fmla="*/ 197 h 455"/>
                <a:gd name="T48" fmla="*/ 323 w 384"/>
                <a:gd name="T49" fmla="*/ 175 h 455"/>
                <a:gd name="T50" fmla="*/ 292 w 384"/>
                <a:gd name="T51" fmla="*/ 161 h 455"/>
                <a:gd name="T52" fmla="*/ 274 w 384"/>
                <a:gd name="T53" fmla="*/ 145 h 455"/>
                <a:gd name="T54" fmla="*/ 267 w 384"/>
                <a:gd name="T55" fmla="*/ 153 h 455"/>
                <a:gd name="T56" fmla="*/ 269 w 384"/>
                <a:gd name="T57" fmla="*/ 174 h 455"/>
                <a:gd name="T58" fmla="*/ 286 w 384"/>
                <a:gd name="T59" fmla="*/ 205 h 455"/>
                <a:gd name="T60" fmla="*/ 283 w 384"/>
                <a:gd name="T61" fmla="*/ 214 h 455"/>
                <a:gd name="T62" fmla="*/ 278 w 384"/>
                <a:gd name="T63" fmla="*/ 219 h 455"/>
                <a:gd name="T64" fmla="*/ 260 w 384"/>
                <a:gd name="T65" fmla="*/ 224 h 455"/>
                <a:gd name="T66" fmla="*/ 244 w 384"/>
                <a:gd name="T67" fmla="*/ 250 h 455"/>
                <a:gd name="T68" fmla="*/ 235 w 384"/>
                <a:gd name="T69" fmla="*/ 259 h 455"/>
                <a:gd name="T70" fmla="*/ 205 w 384"/>
                <a:gd name="T71" fmla="*/ 292 h 455"/>
                <a:gd name="T72" fmla="*/ 187 w 384"/>
                <a:gd name="T73" fmla="*/ 309 h 455"/>
                <a:gd name="T74" fmla="*/ 181 w 384"/>
                <a:gd name="T75" fmla="*/ 344 h 455"/>
                <a:gd name="T76" fmla="*/ 178 w 384"/>
                <a:gd name="T77" fmla="*/ 373 h 455"/>
                <a:gd name="T78" fmla="*/ 171 w 384"/>
                <a:gd name="T79" fmla="*/ 405 h 455"/>
                <a:gd name="T80" fmla="*/ 151 w 384"/>
                <a:gd name="T81" fmla="*/ 433 h 455"/>
                <a:gd name="T82" fmla="*/ 130 w 384"/>
                <a:gd name="T83" fmla="*/ 404 h 455"/>
                <a:gd name="T84" fmla="*/ 128 w 384"/>
                <a:gd name="T85" fmla="*/ 396 h 455"/>
                <a:gd name="T86" fmla="*/ 108 w 384"/>
                <a:gd name="T87" fmla="*/ 359 h 455"/>
                <a:gd name="T88" fmla="*/ 98 w 384"/>
                <a:gd name="T89" fmla="*/ 328 h 455"/>
                <a:gd name="T90" fmla="*/ 85 w 384"/>
                <a:gd name="T91" fmla="*/ 307 h 455"/>
                <a:gd name="T92" fmla="*/ 77 w 384"/>
                <a:gd name="T93" fmla="*/ 277 h 455"/>
                <a:gd name="T94" fmla="*/ 74 w 384"/>
                <a:gd name="T95" fmla="*/ 260 h 455"/>
                <a:gd name="T96" fmla="*/ 68 w 384"/>
                <a:gd name="T97" fmla="*/ 250 h 455"/>
                <a:gd name="T98" fmla="*/ 64 w 384"/>
                <a:gd name="T99" fmla="*/ 223 h 455"/>
                <a:gd name="T100" fmla="*/ 62 w 384"/>
                <a:gd name="T101" fmla="*/ 210 h 455"/>
                <a:gd name="T102" fmla="*/ 58 w 384"/>
                <a:gd name="T103" fmla="*/ 223 h 455"/>
                <a:gd name="T104" fmla="*/ 17 w 384"/>
                <a:gd name="T105" fmla="*/ 214 h 455"/>
                <a:gd name="T106" fmla="*/ 31 w 384"/>
                <a:gd name="T107" fmla="*/ 196 h 455"/>
                <a:gd name="T108" fmla="*/ 3 w 384"/>
                <a:gd name="T109" fmla="*/ 190 h 455"/>
                <a:gd name="T110" fmla="*/ 7 w 384"/>
                <a:gd name="T111" fmla="*/ 177 h 455"/>
                <a:gd name="T112" fmla="*/ 35 w 384"/>
                <a:gd name="T113" fmla="*/ 167 h 455"/>
                <a:gd name="T114" fmla="*/ 14 w 384"/>
                <a:gd name="T115" fmla="*/ 127 h 455"/>
                <a:gd name="T116" fmla="*/ 55 w 384"/>
                <a:gd name="T117" fmla="*/ 95 h 455"/>
                <a:gd name="T118" fmla="*/ 67 w 384"/>
                <a:gd name="T119" fmla="*/ 55 h 455"/>
                <a:gd name="T120" fmla="*/ 53 w 384"/>
                <a:gd name="T121" fmla="*/ 33 h 455"/>
                <a:gd name="T122" fmla="*/ 64 w 384"/>
                <a:gd name="T123" fmla="*/ 14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4" h="455">
                  <a:moveTo>
                    <a:pt x="378" y="447"/>
                  </a:moveTo>
                  <a:lnTo>
                    <a:pt x="378" y="448"/>
                  </a:lnTo>
                  <a:lnTo>
                    <a:pt x="378" y="449"/>
                  </a:lnTo>
                  <a:lnTo>
                    <a:pt x="378" y="450"/>
                  </a:lnTo>
                  <a:lnTo>
                    <a:pt x="379" y="450"/>
                  </a:lnTo>
                  <a:lnTo>
                    <a:pt x="379" y="452"/>
                  </a:lnTo>
                  <a:lnTo>
                    <a:pt x="378" y="453"/>
                  </a:lnTo>
                  <a:lnTo>
                    <a:pt x="378" y="454"/>
                  </a:lnTo>
                  <a:lnTo>
                    <a:pt x="379" y="454"/>
                  </a:lnTo>
                  <a:lnTo>
                    <a:pt x="378" y="454"/>
                  </a:lnTo>
                  <a:lnTo>
                    <a:pt x="378" y="455"/>
                  </a:lnTo>
                  <a:lnTo>
                    <a:pt x="377" y="455"/>
                  </a:lnTo>
                  <a:lnTo>
                    <a:pt x="378" y="454"/>
                  </a:lnTo>
                  <a:lnTo>
                    <a:pt x="377" y="454"/>
                  </a:lnTo>
                  <a:lnTo>
                    <a:pt x="377" y="453"/>
                  </a:lnTo>
                  <a:lnTo>
                    <a:pt x="377" y="452"/>
                  </a:lnTo>
                  <a:lnTo>
                    <a:pt x="376" y="452"/>
                  </a:lnTo>
                  <a:lnTo>
                    <a:pt x="376" y="450"/>
                  </a:lnTo>
                  <a:lnTo>
                    <a:pt x="375" y="450"/>
                  </a:lnTo>
                  <a:lnTo>
                    <a:pt x="375" y="449"/>
                  </a:lnTo>
                  <a:lnTo>
                    <a:pt x="376" y="448"/>
                  </a:lnTo>
                  <a:lnTo>
                    <a:pt x="377" y="447"/>
                  </a:lnTo>
                  <a:lnTo>
                    <a:pt x="377" y="448"/>
                  </a:lnTo>
                  <a:lnTo>
                    <a:pt x="377" y="447"/>
                  </a:lnTo>
                  <a:lnTo>
                    <a:pt x="378" y="447"/>
                  </a:lnTo>
                  <a:close/>
                  <a:moveTo>
                    <a:pt x="375" y="447"/>
                  </a:moveTo>
                  <a:lnTo>
                    <a:pt x="375" y="446"/>
                  </a:lnTo>
                  <a:lnTo>
                    <a:pt x="375" y="445"/>
                  </a:lnTo>
                  <a:lnTo>
                    <a:pt x="376" y="445"/>
                  </a:lnTo>
                  <a:lnTo>
                    <a:pt x="376" y="443"/>
                  </a:lnTo>
                  <a:lnTo>
                    <a:pt x="376" y="445"/>
                  </a:lnTo>
                  <a:lnTo>
                    <a:pt x="376" y="446"/>
                  </a:lnTo>
                  <a:lnTo>
                    <a:pt x="375" y="447"/>
                  </a:lnTo>
                  <a:close/>
                  <a:moveTo>
                    <a:pt x="371" y="435"/>
                  </a:moveTo>
                  <a:lnTo>
                    <a:pt x="372" y="436"/>
                  </a:lnTo>
                  <a:lnTo>
                    <a:pt x="371" y="438"/>
                  </a:lnTo>
                  <a:lnTo>
                    <a:pt x="371" y="436"/>
                  </a:lnTo>
                  <a:lnTo>
                    <a:pt x="370" y="436"/>
                  </a:lnTo>
                  <a:lnTo>
                    <a:pt x="370" y="435"/>
                  </a:lnTo>
                  <a:lnTo>
                    <a:pt x="371" y="435"/>
                  </a:lnTo>
                  <a:close/>
                  <a:moveTo>
                    <a:pt x="373" y="435"/>
                  </a:moveTo>
                  <a:lnTo>
                    <a:pt x="373" y="436"/>
                  </a:lnTo>
                  <a:lnTo>
                    <a:pt x="372" y="435"/>
                  </a:lnTo>
                  <a:lnTo>
                    <a:pt x="373" y="435"/>
                  </a:lnTo>
                  <a:close/>
                  <a:moveTo>
                    <a:pt x="372" y="434"/>
                  </a:moveTo>
                  <a:lnTo>
                    <a:pt x="372" y="435"/>
                  </a:lnTo>
                  <a:lnTo>
                    <a:pt x="372" y="434"/>
                  </a:lnTo>
                  <a:lnTo>
                    <a:pt x="371" y="434"/>
                  </a:lnTo>
                  <a:lnTo>
                    <a:pt x="371" y="433"/>
                  </a:lnTo>
                  <a:lnTo>
                    <a:pt x="371" y="432"/>
                  </a:lnTo>
                  <a:lnTo>
                    <a:pt x="372" y="432"/>
                  </a:lnTo>
                  <a:lnTo>
                    <a:pt x="372" y="433"/>
                  </a:lnTo>
                  <a:lnTo>
                    <a:pt x="372" y="434"/>
                  </a:lnTo>
                  <a:close/>
                  <a:moveTo>
                    <a:pt x="88" y="431"/>
                  </a:moveTo>
                  <a:lnTo>
                    <a:pt x="87" y="431"/>
                  </a:lnTo>
                  <a:lnTo>
                    <a:pt x="88" y="431"/>
                  </a:lnTo>
                  <a:close/>
                  <a:moveTo>
                    <a:pt x="368" y="432"/>
                  </a:moveTo>
                  <a:lnTo>
                    <a:pt x="366" y="432"/>
                  </a:lnTo>
                  <a:lnTo>
                    <a:pt x="366" y="431"/>
                  </a:lnTo>
                  <a:lnTo>
                    <a:pt x="365" y="431"/>
                  </a:lnTo>
                  <a:lnTo>
                    <a:pt x="365" y="429"/>
                  </a:lnTo>
                  <a:lnTo>
                    <a:pt x="366" y="429"/>
                  </a:lnTo>
                  <a:lnTo>
                    <a:pt x="366" y="431"/>
                  </a:lnTo>
                  <a:lnTo>
                    <a:pt x="366" y="432"/>
                  </a:lnTo>
                  <a:lnTo>
                    <a:pt x="368" y="432"/>
                  </a:lnTo>
                  <a:close/>
                  <a:moveTo>
                    <a:pt x="373" y="428"/>
                  </a:moveTo>
                  <a:lnTo>
                    <a:pt x="373" y="427"/>
                  </a:lnTo>
                  <a:lnTo>
                    <a:pt x="373" y="426"/>
                  </a:lnTo>
                  <a:lnTo>
                    <a:pt x="373" y="427"/>
                  </a:lnTo>
                  <a:lnTo>
                    <a:pt x="373" y="428"/>
                  </a:lnTo>
                  <a:close/>
                  <a:moveTo>
                    <a:pt x="362" y="417"/>
                  </a:moveTo>
                  <a:lnTo>
                    <a:pt x="362" y="418"/>
                  </a:lnTo>
                  <a:lnTo>
                    <a:pt x="361" y="417"/>
                  </a:lnTo>
                  <a:lnTo>
                    <a:pt x="361" y="415"/>
                  </a:lnTo>
                  <a:lnTo>
                    <a:pt x="362" y="415"/>
                  </a:lnTo>
                  <a:lnTo>
                    <a:pt x="362" y="417"/>
                  </a:lnTo>
                  <a:close/>
                  <a:moveTo>
                    <a:pt x="94" y="403"/>
                  </a:moveTo>
                  <a:lnTo>
                    <a:pt x="94" y="401"/>
                  </a:lnTo>
                  <a:lnTo>
                    <a:pt x="94" y="403"/>
                  </a:lnTo>
                  <a:close/>
                  <a:moveTo>
                    <a:pt x="73" y="390"/>
                  </a:moveTo>
                  <a:lnTo>
                    <a:pt x="73" y="391"/>
                  </a:lnTo>
                  <a:lnTo>
                    <a:pt x="73" y="390"/>
                  </a:lnTo>
                  <a:close/>
                  <a:moveTo>
                    <a:pt x="357" y="391"/>
                  </a:moveTo>
                  <a:lnTo>
                    <a:pt x="357" y="392"/>
                  </a:lnTo>
                  <a:lnTo>
                    <a:pt x="357" y="393"/>
                  </a:lnTo>
                  <a:lnTo>
                    <a:pt x="356" y="393"/>
                  </a:lnTo>
                  <a:lnTo>
                    <a:pt x="356" y="394"/>
                  </a:lnTo>
                  <a:lnTo>
                    <a:pt x="357" y="394"/>
                  </a:lnTo>
                  <a:lnTo>
                    <a:pt x="356" y="394"/>
                  </a:lnTo>
                  <a:lnTo>
                    <a:pt x="356" y="396"/>
                  </a:lnTo>
                  <a:lnTo>
                    <a:pt x="355" y="394"/>
                  </a:lnTo>
                  <a:lnTo>
                    <a:pt x="354" y="394"/>
                  </a:lnTo>
                  <a:lnTo>
                    <a:pt x="355" y="394"/>
                  </a:lnTo>
                  <a:lnTo>
                    <a:pt x="355" y="393"/>
                  </a:lnTo>
                  <a:lnTo>
                    <a:pt x="354" y="393"/>
                  </a:lnTo>
                  <a:lnTo>
                    <a:pt x="354" y="392"/>
                  </a:lnTo>
                  <a:lnTo>
                    <a:pt x="354" y="391"/>
                  </a:lnTo>
                  <a:lnTo>
                    <a:pt x="355" y="391"/>
                  </a:lnTo>
                  <a:lnTo>
                    <a:pt x="355" y="390"/>
                  </a:lnTo>
                  <a:lnTo>
                    <a:pt x="356" y="390"/>
                  </a:lnTo>
                  <a:lnTo>
                    <a:pt x="356" y="391"/>
                  </a:lnTo>
                  <a:lnTo>
                    <a:pt x="357" y="391"/>
                  </a:lnTo>
                  <a:close/>
                  <a:moveTo>
                    <a:pt x="81" y="386"/>
                  </a:moveTo>
                  <a:lnTo>
                    <a:pt x="81" y="385"/>
                  </a:lnTo>
                  <a:lnTo>
                    <a:pt x="81" y="386"/>
                  </a:lnTo>
                  <a:close/>
                  <a:moveTo>
                    <a:pt x="81" y="385"/>
                  </a:moveTo>
                  <a:lnTo>
                    <a:pt x="81" y="384"/>
                  </a:lnTo>
                  <a:lnTo>
                    <a:pt x="81" y="385"/>
                  </a:lnTo>
                  <a:close/>
                  <a:moveTo>
                    <a:pt x="85" y="380"/>
                  </a:moveTo>
                  <a:lnTo>
                    <a:pt x="85" y="379"/>
                  </a:lnTo>
                  <a:lnTo>
                    <a:pt x="85" y="380"/>
                  </a:lnTo>
                  <a:close/>
                  <a:moveTo>
                    <a:pt x="357" y="382"/>
                  </a:moveTo>
                  <a:lnTo>
                    <a:pt x="356" y="382"/>
                  </a:lnTo>
                  <a:lnTo>
                    <a:pt x="356" y="380"/>
                  </a:lnTo>
                  <a:lnTo>
                    <a:pt x="356" y="379"/>
                  </a:lnTo>
                  <a:lnTo>
                    <a:pt x="357" y="379"/>
                  </a:lnTo>
                  <a:lnTo>
                    <a:pt x="357" y="380"/>
                  </a:lnTo>
                  <a:lnTo>
                    <a:pt x="357" y="382"/>
                  </a:lnTo>
                  <a:close/>
                  <a:moveTo>
                    <a:pt x="351" y="379"/>
                  </a:moveTo>
                  <a:lnTo>
                    <a:pt x="350" y="378"/>
                  </a:lnTo>
                  <a:lnTo>
                    <a:pt x="351" y="378"/>
                  </a:lnTo>
                  <a:lnTo>
                    <a:pt x="351" y="379"/>
                  </a:lnTo>
                  <a:close/>
                  <a:moveTo>
                    <a:pt x="362" y="373"/>
                  </a:moveTo>
                  <a:lnTo>
                    <a:pt x="362" y="372"/>
                  </a:lnTo>
                  <a:lnTo>
                    <a:pt x="361" y="372"/>
                  </a:lnTo>
                  <a:lnTo>
                    <a:pt x="361" y="371"/>
                  </a:lnTo>
                  <a:lnTo>
                    <a:pt x="362" y="372"/>
                  </a:lnTo>
                  <a:lnTo>
                    <a:pt x="362" y="373"/>
                  </a:lnTo>
                  <a:close/>
                  <a:moveTo>
                    <a:pt x="362" y="370"/>
                  </a:moveTo>
                  <a:lnTo>
                    <a:pt x="362" y="369"/>
                  </a:lnTo>
                  <a:lnTo>
                    <a:pt x="362" y="370"/>
                  </a:lnTo>
                  <a:close/>
                  <a:moveTo>
                    <a:pt x="356" y="359"/>
                  </a:moveTo>
                  <a:lnTo>
                    <a:pt x="355" y="359"/>
                  </a:lnTo>
                  <a:lnTo>
                    <a:pt x="355" y="358"/>
                  </a:lnTo>
                  <a:lnTo>
                    <a:pt x="355" y="357"/>
                  </a:lnTo>
                  <a:lnTo>
                    <a:pt x="355" y="356"/>
                  </a:lnTo>
                  <a:lnTo>
                    <a:pt x="356" y="356"/>
                  </a:lnTo>
                  <a:lnTo>
                    <a:pt x="356" y="357"/>
                  </a:lnTo>
                  <a:lnTo>
                    <a:pt x="356" y="358"/>
                  </a:lnTo>
                  <a:lnTo>
                    <a:pt x="356" y="359"/>
                  </a:lnTo>
                  <a:close/>
                  <a:moveTo>
                    <a:pt x="377" y="349"/>
                  </a:moveTo>
                  <a:lnTo>
                    <a:pt x="376" y="349"/>
                  </a:lnTo>
                  <a:lnTo>
                    <a:pt x="377" y="349"/>
                  </a:lnTo>
                  <a:close/>
                  <a:moveTo>
                    <a:pt x="358" y="347"/>
                  </a:moveTo>
                  <a:lnTo>
                    <a:pt x="359" y="347"/>
                  </a:lnTo>
                  <a:lnTo>
                    <a:pt x="359" y="348"/>
                  </a:lnTo>
                  <a:lnTo>
                    <a:pt x="359" y="349"/>
                  </a:lnTo>
                  <a:lnTo>
                    <a:pt x="359" y="350"/>
                  </a:lnTo>
                  <a:lnTo>
                    <a:pt x="358" y="350"/>
                  </a:lnTo>
                  <a:lnTo>
                    <a:pt x="358" y="351"/>
                  </a:lnTo>
                  <a:lnTo>
                    <a:pt x="359" y="351"/>
                  </a:lnTo>
                  <a:lnTo>
                    <a:pt x="361" y="351"/>
                  </a:lnTo>
                  <a:lnTo>
                    <a:pt x="359" y="352"/>
                  </a:lnTo>
                  <a:lnTo>
                    <a:pt x="359" y="354"/>
                  </a:lnTo>
                  <a:lnTo>
                    <a:pt x="359" y="355"/>
                  </a:lnTo>
                  <a:lnTo>
                    <a:pt x="359" y="356"/>
                  </a:lnTo>
                  <a:lnTo>
                    <a:pt x="359" y="355"/>
                  </a:lnTo>
                  <a:lnTo>
                    <a:pt x="359" y="356"/>
                  </a:lnTo>
                  <a:lnTo>
                    <a:pt x="358" y="355"/>
                  </a:lnTo>
                  <a:lnTo>
                    <a:pt x="358" y="356"/>
                  </a:lnTo>
                  <a:lnTo>
                    <a:pt x="358" y="357"/>
                  </a:lnTo>
                  <a:lnTo>
                    <a:pt x="358" y="356"/>
                  </a:lnTo>
                  <a:lnTo>
                    <a:pt x="358" y="357"/>
                  </a:lnTo>
                  <a:lnTo>
                    <a:pt x="359" y="358"/>
                  </a:lnTo>
                  <a:lnTo>
                    <a:pt x="359" y="359"/>
                  </a:lnTo>
                  <a:lnTo>
                    <a:pt x="359" y="361"/>
                  </a:lnTo>
                  <a:lnTo>
                    <a:pt x="359" y="362"/>
                  </a:lnTo>
                  <a:lnTo>
                    <a:pt x="359" y="363"/>
                  </a:lnTo>
                  <a:lnTo>
                    <a:pt x="359" y="364"/>
                  </a:lnTo>
                  <a:lnTo>
                    <a:pt x="359" y="365"/>
                  </a:lnTo>
                  <a:lnTo>
                    <a:pt x="359" y="364"/>
                  </a:lnTo>
                  <a:lnTo>
                    <a:pt x="358" y="364"/>
                  </a:lnTo>
                  <a:lnTo>
                    <a:pt x="358" y="365"/>
                  </a:lnTo>
                  <a:lnTo>
                    <a:pt x="358" y="366"/>
                  </a:lnTo>
                  <a:lnTo>
                    <a:pt x="359" y="366"/>
                  </a:lnTo>
                  <a:lnTo>
                    <a:pt x="358" y="366"/>
                  </a:lnTo>
                  <a:lnTo>
                    <a:pt x="358" y="368"/>
                  </a:lnTo>
                  <a:lnTo>
                    <a:pt x="359" y="368"/>
                  </a:lnTo>
                  <a:lnTo>
                    <a:pt x="358" y="368"/>
                  </a:lnTo>
                  <a:lnTo>
                    <a:pt x="359" y="368"/>
                  </a:lnTo>
                  <a:lnTo>
                    <a:pt x="359" y="369"/>
                  </a:lnTo>
                  <a:lnTo>
                    <a:pt x="358" y="369"/>
                  </a:lnTo>
                  <a:lnTo>
                    <a:pt x="358" y="370"/>
                  </a:lnTo>
                  <a:lnTo>
                    <a:pt x="357" y="370"/>
                  </a:lnTo>
                  <a:lnTo>
                    <a:pt x="357" y="371"/>
                  </a:lnTo>
                  <a:lnTo>
                    <a:pt x="358" y="371"/>
                  </a:lnTo>
                  <a:lnTo>
                    <a:pt x="357" y="371"/>
                  </a:lnTo>
                  <a:lnTo>
                    <a:pt x="357" y="372"/>
                  </a:lnTo>
                  <a:lnTo>
                    <a:pt x="357" y="373"/>
                  </a:lnTo>
                  <a:lnTo>
                    <a:pt x="357" y="372"/>
                  </a:lnTo>
                  <a:lnTo>
                    <a:pt x="358" y="372"/>
                  </a:lnTo>
                  <a:lnTo>
                    <a:pt x="358" y="373"/>
                  </a:lnTo>
                  <a:lnTo>
                    <a:pt x="358" y="376"/>
                  </a:lnTo>
                  <a:lnTo>
                    <a:pt x="358" y="377"/>
                  </a:lnTo>
                  <a:lnTo>
                    <a:pt x="357" y="377"/>
                  </a:lnTo>
                  <a:lnTo>
                    <a:pt x="357" y="378"/>
                  </a:lnTo>
                  <a:lnTo>
                    <a:pt x="357" y="377"/>
                  </a:lnTo>
                  <a:lnTo>
                    <a:pt x="358" y="377"/>
                  </a:lnTo>
                  <a:lnTo>
                    <a:pt x="358" y="378"/>
                  </a:lnTo>
                  <a:lnTo>
                    <a:pt x="358" y="379"/>
                  </a:lnTo>
                  <a:lnTo>
                    <a:pt x="357" y="379"/>
                  </a:lnTo>
                  <a:lnTo>
                    <a:pt x="357" y="378"/>
                  </a:lnTo>
                  <a:lnTo>
                    <a:pt x="356" y="378"/>
                  </a:lnTo>
                  <a:lnTo>
                    <a:pt x="356" y="377"/>
                  </a:lnTo>
                  <a:lnTo>
                    <a:pt x="356" y="376"/>
                  </a:lnTo>
                  <a:lnTo>
                    <a:pt x="355" y="376"/>
                  </a:lnTo>
                  <a:lnTo>
                    <a:pt x="355" y="375"/>
                  </a:lnTo>
                  <a:lnTo>
                    <a:pt x="355" y="373"/>
                  </a:lnTo>
                  <a:lnTo>
                    <a:pt x="355" y="372"/>
                  </a:lnTo>
                  <a:lnTo>
                    <a:pt x="355" y="373"/>
                  </a:lnTo>
                  <a:lnTo>
                    <a:pt x="356" y="373"/>
                  </a:lnTo>
                  <a:lnTo>
                    <a:pt x="356" y="372"/>
                  </a:lnTo>
                  <a:lnTo>
                    <a:pt x="356" y="371"/>
                  </a:lnTo>
                  <a:lnTo>
                    <a:pt x="356" y="370"/>
                  </a:lnTo>
                  <a:lnTo>
                    <a:pt x="356" y="369"/>
                  </a:lnTo>
                  <a:lnTo>
                    <a:pt x="356" y="368"/>
                  </a:lnTo>
                  <a:lnTo>
                    <a:pt x="357" y="368"/>
                  </a:lnTo>
                  <a:lnTo>
                    <a:pt x="357" y="369"/>
                  </a:lnTo>
                  <a:lnTo>
                    <a:pt x="357" y="368"/>
                  </a:lnTo>
                  <a:lnTo>
                    <a:pt x="357" y="366"/>
                  </a:lnTo>
                  <a:lnTo>
                    <a:pt x="356" y="366"/>
                  </a:lnTo>
                  <a:lnTo>
                    <a:pt x="356" y="362"/>
                  </a:lnTo>
                  <a:lnTo>
                    <a:pt x="357" y="362"/>
                  </a:lnTo>
                  <a:lnTo>
                    <a:pt x="357" y="361"/>
                  </a:lnTo>
                  <a:lnTo>
                    <a:pt x="356" y="361"/>
                  </a:lnTo>
                  <a:lnTo>
                    <a:pt x="356" y="359"/>
                  </a:lnTo>
                  <a:lnTo>
                    <a:pt x="356" y="358"/>
                  </a:lnTo>
                  <a:lnTo>
                    <a:pt x="357" y="358"/>
                  </a:lnTo>
                  <a:lnTo>
                    <a:pt x="357" y="357"/>
                  </a:lnTo>
                  <a:lnTo>
                    <a:pt x="357" y="356"/>
                  </a:lnTo>
                  <a:lnTo>
                    <a:pt x="357" y="355"/>
                  </a:lnTo>
                  <a:lnTo>
                    <a:pt x="357" y="354"/>
                  </a:lnTo>
                  <a:lnTo>
                    <a:pt x="357" y="352"/>
                  </a:lnTo>
                  <a:lnTo>
                    <a:pt x="357" y="351"/>
                  </a:lnTo>
                  <a:lnTo>
                    <a:pt x="357" y="350"/>
                  </a:lnTo>
                  <a:lnTo>
                    <a:pt x="357" y="349"/>
                  </a:lnTo>
                  <a:lnTo>
                    <a:pt x="358" y="348"/>
                  </a:lnTo>
                  <a:lnTo>
                    <a:pt x="358" y="347"/>
                  </a:lnTo>
                  <a:lnTo>
                    <a:pt x="358" y="348"/>
                  </a:lnTo>
                  <a:lnTo>
                    <a:pt x="358" y="347"/>
                  </a:lnTo>
                  <a:close/>
                  <a:moveTo>
                    <a:pt x="359" y="345"/>
                  </a:moveTo>
                  <a:lnTo>
                    <a:pt x="358" y="345"/>
                  </a:lnTo>
                  <a:lnTo>
                    <a:pt x="359" y="345"/>
                  </a:lnTo>
                  <a:close/>
                  <a:moveTo>
                    <a:pt x="190" y="313"/>
                  </a:moveTo>
                  <a:lnTo>
                    <a:pt x="188" y="313"/>
                  </a:lnTo>
                  <a:lnTo>
                    <a:pt x="187" y="312"/>
                  </a:lnTo>
                  <a:lnTo>
                    <a:pt x="187" y="310"/>
                  </a:lnTo>
                  <a:lnTo>
                    <a:pt x="188" y="312"/>
                  </a:lnTo>
                  <a:lnTo>
                    <a:pt x="190" y="312"/>
                  </a:lnTo>
                  <a:lnTo>
                    <a:pt x="190" y="313"/>
                  </a:lnTo>
                  <a:close/>
                  <a:moveTo>
                    <a:pt x="287" y="221"/>
                  </a:moveTo>
                  <a:lnTo>
                    <a:pt x="286" y="221"/>
                  </a:lnTo>
                  <a:lnTo>
                    <a:pt x="286" y="219"/>
                  </a:lnTo>
                  <a:lnTo>
                    <a:pt x="286" y="221"/>
                  </a:lnTo>
                  <a:lnTo>
                    <a:pt x="287" y="221"/>
                  </a:lnTo>
                  <a:close/>
                  <a:moveTo>
                    <a:pt x="276" y="219"/>
                  </a:moveTo>
                  <a:lnTo>
                    <a:pt x="274" y="219"/>
                  </a:lnTo>
                  <a:lnTo>
                    <a:pt x="274" y="218"/>
                  </a:lnTo>
                  <a:lnTo>
                    <a:pt x="274" y="216"/>
                  </a:lnTo>
                  <a:lnTo>
                    <a:pt x="276" y="216"/>
                  </a:lnTo>
                  <a:lnTo>
                    <a:pt x="276" y="217"/>
                  </a:lnTo>
                  <a:lnTo>
                    <a:pt x="276" y="218"/>
                  </a:lnTo>
                  <a:lnTo>
                    <a:pt x="276" y="219"/>
                  </a:lnTo>
                  <a:close/>
                  <a:moveTo>
                    <a:pt x="283" y="216"/>
                  </a:moveTo>
                  <a:lnTo>
                    <a:pt x="283" y="217"/>
                  </a:lnTo>
                  <a:lnTo>
                    <a:pt x="281" y="217"/>
                  </a:lnTo>
                  <a:lnTo>
                    <a:pt x="281" y="216"/>
                  </a:lnTo>
                  <a:lnTo>
                    <a:pt x="281" y="215"/>
                  </a:lnTo>
                  <a:lnTo>
                    <a:pt x="283" y="215"/>
                  </a:lnTo>
                  <a:lnTo>
                    <a:pt x="283" y="216"/>
                  </a:lnTo>
                  <a:close/>
                  <a:moveTo>
                    <a:pt x="276" y="216"/>
                  </a:moveTo>
                  <a:lnTo>
                    <a:pt x="274" y="216"/>
                  </a:lnTo>
                  <a:lnTo>
                    <a:pt x="274" y="215"/>
                  </a:lnTo>
                  <a:lnTo>
                    <a:pt x="276" y="215"/>
                  </a:lnTo>
                  <a:lnTo>
                    <a:pt x="276" y="216"/>
                  </a:lnTo>
                  <a:close/>
                  <a:moveTo>
                    <a:pt x="94" y="1"/>
                  </a:moveTo>
                  <a:lnTo>
                    <a:pt x="95" y="0"/>
                  </a:lnTo>
                  <a:lnTo>
                    <a:pt x="96" y="0"/>
                  </a:lnTo>
                  <a:lnTo>
                    <a:pt x="96" y="1"/>
                  </a:lnTo>
                  <a:lnTo>
                    <a:pt x="96" y="3"/>
                  </a:lnTo>
                  <a:lnTo>
                    <a:pt x="96" y="4"/>
                  </a:lnTo>
                  <a:lnTo>
                    <a:pt x="98" y="5"/>
                  </a:lnTo>
                  <a:lnTo>
                    <a:pt x="99" y="7"/>
                  </a:lnTo>
                  <a:lnTo>
                    <a:pt x="100" y="7"/>
                  </a:lnTo>
                  <a:lnTo>
                    <a:pt x="100" y="8"/>
                  </a:lnTo>
                  <a:lnTo>
                    <a:pt x="100" y="10"/>
                  </a:lnTo>
                  <a:lnTo>
                    <a:pt x="101" y="10"/>
                  </a:lnTo>
                  <a:lnTo>
                    <a:pt x="101" y="11"/>
                  </a:lnTo>
                  <a:lnTo>
                    <a:pt x="102" y="13"/>
                  </a:lnTo>
                  <a:lnTo>
                    <a:pt x="103" y="14"/>
                  </a:lnTo>
                  <a:lnTo>
                    <a:pt x="105" y="14"/>
                  </a:lnTo>
                  <a:lnTo>
                    <a:pt x="108" y="15"/>
                  </a:lnTo>
                  <a:lnTo>
                    <a:pt x="109" y="17"/>
                  </a:lnTo>
                  <a:lnTo>
                    <a:pt x="110" y="17"/>
                  </a:lnTo>
                  <a:lnTo>
                    <a:pt x="112" y="18"/>
                  </a:lnTo>
                  <a:lnTo>
                    <a:pt x="113" y="18"/>
                  </a:lnTo>
                  <a:lnTo>
                    <a:pt x="114" y="19"/>
                  </a:lnTo>
                  <a:lnTo>
                    <a:pt x="114" y="20"/>
                  </a:lnTo>
                  <a:lnTo>
                    <a:pt x="113" y="21"/>
                  </a:lnTo>
                  <a:lnTo>
                    <a:pt x="112" y="21"/>
                  </a:lnTo>
                  <a:lnTo>
                    <a:pt x="112" y="22"/>
                  </a:lnTo>
                  <a:lnTo>
                    <a:pt x="112" y="24"/>
                  </a:lnTo>
                  <a:lnTo>
                    <a:pt x="113" y="26"/>
                  </a:lnTo>
                  <a:lnTo>
                    <a:pt x="113" y="27"/>
                  </a:lnTo>
                  <a:lnTo>
                    <a:pt x="114" y="28"/>
                  </a:lnTo>
                  <a:lnTo>
                    <a:pt x="114" y="31"/>
                  </a:lnTo>
                  <a:lnTo>
                    <a:pt x="114" y="32"/>
                  </a:lnTo>
                  <a:lnTo>
                    <a:pt x="115" y="32"/>
                  </a:lnTo>
                  <a:lnTo>
                    <a:pt x="116" y="33"/>
                  </a:lnTo>
                  <a:lnTo>
                    <a:pt x="117" y="34"/>
                  </a:lnTo>
                  <a:lnTo>
                    <a:pt x="117" y="35"/>
                  </a:lnTo>
                  <a:lnTo>
                    <a:pt x="119" y="35"/>
                  </a:lnTo>
                  <a:lnTo>
                    <a:pt x="120" y="36"/>
                  </a:lnTo>
                  <a:lnTo>
                    <a:pt x="121" y="36"/>
                  </a:lnTo>
                  <a:lnTo>
                    <a:pt x="122" y="36"/>
                  </a:lnTo>
                  <a:lnTo>
                    <a:pt x="123" y="36"/>
                  </a:lnTo>
                  <a:lnTo>
                    <a:pt x="123" y="38"/>
                  </a:lnTo>
                  <a:lnTo>
                    <a:pt x="123" y="39"/>
                  </a:lnTo>
                  <a:lnTo>
                    <a:pt x="123" y="40"/>
                  </a:lnTo>
                  <a:lnTo>
                    <a:pt x="124" y="41"/>
                  </a:lnTo>
                  <a:lnTo>
                    <a:pt x="126" y="42"/>
                  </a:lnTo>
                  <a:lnTo>
                    <a:pt x="127" y="43"/>
                  </a:lnTo>
                  <a:lnTo>
                    <a:pt x="127" y="45"/>
                  </a:lnTo>
                  <a:lnTo>
                    <a:pt x="127" y="46"/>
                  </a:lnTo>
                  <a:lnTo>
                    <a:pt x="126" y="47"/>
                  </a:lnTo>
                  <a:lnTo>
                    <a:pt x="124" y="47"/>
                  </a:lnTo>
                  <a:lnTo>
                    <a:pt x="124" y="48"/>
                  </a:lnTo>
                  <a:lnTo>
                    <a:pt x="124" y="47"/>
                  </a:lnTo>
                  <a:lnTo>
                    <a:pt x="123" y="47"/>
                  </a:lnTo>
                  <a:lnTo>
                    <a:pt x="123" y="48"/>
                  </a:lnTo>
                  <a:lnTo>
                    <a:pt x="122" y="48"/>
                  </a:lnTo>
                  <a:lnTo>
                    <a:pt x="122" y="49"/>
                  </a:lnTo>
                  <a:lnTo>
                    <a:pt x="121" y="49"/>
                  </a:lnTo>
                  <a:lnTo>
                    <a:pt x="120" y="49"/>
                  </a:lnTo>
                  <a:lnTo>
                    <a:pt x="119" y="48"/>
                  </a:lnTo>
                  <a:lnTo>
                    <a:pt x="117" y="47"/>
                  </a:lnTo>
                  <a:lnTo>
                    <a:pt x="117" y="46"/>
                  </a:lnTo>
                  <a:lnTo>
                    <a:pt x="116" y="46"/>
                  </a:lnTo>
                  <a:lnTo>
                    <a:pt x="115" y="46"/>
                  </a:lnTo>
                  <a:lnTo>
                    <a:pt x="114" y="46"/>
                  </a:lnTo>
                  <a:lnTo>
                    <a:pt x="113" y="47"/>
                  </a:lnTo>
                  <a:lnTo>
                    <a:pt x="113" y="48"/>
                  </a:lnTo>
                  <a:lnTo>
                    <a:pt x="114" y="48"/>
                  </a:lnTo>
                  <a:lnTo>
                    <a:pt x="114" y="49"/>
                  </a:lnTo>
                  <a:lnTo>
                    <a:pt x="115" y="50"/>
                  </a:lnTo>
                  <a:lnTo>
                    <a:pt x="115" y="52"/>
                  </a:lnTo>
                  <a:lnTo>
                    <a:pt x="116" y="53"/>
                  </a:lnTo>
                  <a:lnTo>
                    <a:pt x="119" y="55"/>
                  </a:lnTo>
                  <a:lnTo>
                    <a:pt x="120" y="55"/>
                  </a:lnTo>
                  <a:lnTo>
                    <a:pt x="120" y="56"/>
                  </a:lnTo>
                  <a:lnTo>
                    <a:pt x="120" y="57"/>
                  </a:lnTo>
                  <a:lnTo>
                    <a:pt x="120" y="59"/>
                  </a:lnTo>
                  <a:lnTo>
                    <a:pt x="120" y="60"/>
                  </a:lnTo>
                  <a:lnTo>
                    <a:pt x="120" y="61"/>
                  </a:lnTo>
                  <a:lnTo>
                    <a:pt x="121" y="61"/>
                  </a:lnTo>
                  <a:lnTo>
                    <a:pt x="122" y="62"/>
                  </a:lnTo>
                  <a:lnTo>
                    <a:pt x="121" y="63"/>
                  </a:lnTo>
                  <a:lnTo>
                    <a:pt x="122" y="64"/>
                  </a:lnTo>
                  <a:lnTo>
                    <a:pt x="122" y="65"/>
                  </a:lnTo>
                  <a:lnTo>
                    <a:pt x="122" y="67"/>
                  </a:lnTo>
                  <a:lnTo>
                    <a:pt x="123" y="67"/>
                  </a:lnTo>
                  <a:lnTo>
                    <a:pt x="124" y="67"/>
                  </a:lnTo>
                  <a:lnTo>
                    <a:pt x="124" y="65"/>
                  </a:lnTo>
                  <a:lnTo>
                    <a:pt x="126" y="65"/>
                  </a:lnTo>
                  <a:lnTo>
                    <a:pt x="126" y="64"/>
                  </a:lnTo>
                  <a:lnTo>
                    <a:pt x="127" y="64"/>
                  </a:lnTo>
                  <a:lnTo>
                    <a:pt x="127" y="65"/>
                  </a:lnTo>
                  <a:lnTo>
                    <a:pt x="128" y="65"/>
                  </a:lnTo>
                  <a:lnTo>
                    <a:pt x="128" y="67"/>
                  </a:lnTo>
                  <a:lnTo>
                    <a:pt x="129" y="67"/>
                  </a:lnTo>
                  <a:lnTo>
                    <a:pt x="129" y="68"/>
                  </a:lnTo>
                  <a:lnTo>
                    <a:pt x="129" y="69"/>
                  </a:lnTo>
                  <a:lnTo>
                    <a:pt x="130" y="69"/>
                  </a:lnTo>
                  <a:lnTo>
                    <a:pt x="131" y="69"/>
                  </a:lnTo>
                  <a:lnTo>
                    <a:pt x="131" y="70"/>
                  </a:lnTo>
                  <a:lnTo>
                    <a:pt x="132" y="70"/>
                  </a:lnTo>
                  <a:lnTo>
                    <a:pt x="132" y="71"/>
                  </a:lnTo>
                  <a:lnTo>
                    <a:pt x="134" y="71"/>
                  </a:lnTo>
                  <a:lnTo>
                    <a:pt x="134" y="72"/>
                  </a:lnTo>
                  <a:lnTo>
                    <a:pt x="135" y="72"/>
                  </a:lnTo>
                  <a:lnTo>
                    <a:pt x="135" y="71"/>
                  </a:lnTo>
                  <a:lnTo>
                    <a:pt x="136" y="71"/>
                  </a:lnTo>
                  <a:lnTo>
                    <a:pt x="137" y="71"/>
                  </a:lnTo>
                  <a:lnTo>
                    <a:pt x="138" y="71"/>
                  </a:lnTo>
                  <a:lnTo>
                    <a:pt x="138" y="72"/>
                  </a:lnTo>
                  <a:lnTo>
                    <a:pt x="139" y="72"/>
                  </a:lnTo>
                  <a:lnTo>
                    <a:pt x="141" y="74"/>
                  </a:lnTo>
                  <a:lnTo>
                    <a:pt x="142" y="75"/>
                  </a:lnTo>
                  <a:lnTo>
                    <a:pt x="143" y="75"/>
                  </a:lnTo>
                  <a:lnTo>
                    <a:pt x="144" y="75"/>
                  </a:lnTo>
                  <a:lnTo>
                    <a:pt x="144" y="76"/>
                  </a:lnTo>
                  <a:lnTo>
                    <a:pt x="143" y="76"/>
                  </a:lnTo>
                  <a:lnTo>
                    <a:pt x="144" y="77"/>
                  </a:lnTo>
                  <a:lnTo>
                    <a:pt x="144" y="78"/>
                  </a:lnTo>
                  <a:lnTo>
                    <a:pt x="145" y="78"/>
                  </a:lnTo>
                  <a:lnTo>
                    <a:pt x="148" y="79"/>
                  </a:lnTo>
                  <a:lnTo>
                    <a:pt x="149" y="79"/>
                  </a:lnTo>
                  <a:lnTo>
                    <a:pt x="150" y="79"/>
                  </a:lnTo>
                  <a:lnTo>
                    <a:pt x="151" y="81"/>
                  </a:lnTo>
                  <a:lnTo>
                    <a:pt x="152" y="81"/>
                  </a:lnTo>
                  <a:lnTo>
                    <a:pt x="152" y="82"/>
                  </a:lnTo>
                  <a:lnTo>
                    <a:pt x="153" y="82"/>
                  </a:lnTo>
                  <a:lnTo>
                    <a:pt x="155" y="83"/>
                  </a:lnTo>
                  <a:lnTo>
                    <a:pt x="156" y="83"/>
                  </a:lnTo>
                  <a:lnTo>
                    <a:pt x="156" y="84"/>
                  </a:lnTo>
                  <a:lnTo>
                    <a:pt x="155" y="84"/>
                  </a:lnTo>
                  <a:lnTo>
                    <a:pt x="155" y="83"/>
                  </a:lnTo>
                  <a:lnTo>
                    <a:pt x="155" y="84"/>
                  </a:lnTo>
                  <a:lnTo>
                    <a:pt x="153" y="84"/>
                  </a:lnTo>
                  <a:lnTo>
                    <a:pt x="155" y="84"/>
                  </a:lnTo>
                  <a:lnTo>
                    <a:pt x="153" y="85"/>
                  </a:lnTo>
                  <a:lnTo>
                    <a:pt x="153" y="86"/>
                  </a:lnTo>
                  <a:lnTo>
                    <a:pt x="152" y="86"/>
                  </a:lnTo>
                  <a:lnTo>
                    <a:pt x="152" y="88"/>
                  </a:lnTo>
                  <a:lnTo>
                    <a:pt x="151" y="88"/>
                  </a:lnTo>
                  <a:lnTo>
                    <a:pt x="151" y="89"/>
                  </a:lnTo>
                  <a:lnTo>
                    <a:pt x="150" y="90"/>
                  </a:lnTo>
                  <a:lnTo>
                    <a:pt x="149" y="90"/>
                  </a:lnTo>
                  <a:lnTo>
                    <a:pt x="149" y="91"/>
                  </a:lnTo>
                  <a:lnTo>
                    <a:pt x="149" y="92"/>
                  </a:lnTo>
                  <a:lnTo>
                    <a:pt x="150" y="92"/>
                  </a:lnTo>
                  <a:lnTo>
                    <a:pt x="150" y="93"/>
                  </a:lnTo>
                  <a:lnTo>
                    <a:pt x="149" y="93"/>
                  </a:lnTo>
                  <a:lnTo>
                    <a:pt x="149" y="95"/>
                  </a:lnTo>
                  <a:lnTo>
                    <a:pt x="149" y="96"/>
                  </a:lnTo>
                  <a:lnTo>
                    <a:pt x="148" y="96"/>
                  </a:lnTo>
                  <a:lnTo>
                    <a:pt x="149" y="97"/>
                  </a:lnTo>
                  <a:lnTo>
                    <a:pt x="149" y="98"/>
                  </a:lnTo>
                  <a:lnTo>
                    <a:pt x="150" y="98"/>
                  </a:lnTo>
                  <a:lnTo>
                    <a:pt x="149" y="99"/>
                  </a:lnTo>
                  <a:lnTo>
                    <a:pt x="149" y="100"/>
                  </a:lnTo>
                  <a:lnTo>
                    <a:pt x="148" y="100"/>
                  </a:lnTo>
                  <a:lnTo>
                    <a:pt x="148" y="102"/>
                  </a:lnTo>
                  <a:lnTo>
                    <a:pt x="148" y="103"/>
                  </a:lnTo>
                  <a:lnTo>
                    <a:pt x="148" y="104"/>
                  </a:lnTo>
                  <a:lnTo>
                    <a:pt x="148" y="105"/>
                  </a:lnTo>
                  <a:lnTo>
                    <a:pt x="149" y="106"/>
                  </a:lnTo>
                  <a:lnTo>
                    <a:pt x="150" y="106"/>
                  </a:lnTo>
                  <a:lnTo>
                    <a:pt x="150" y="107"/>
                  </a:lnTo>
                  <a:lnTo>
                    <a:pt x="151" y="107"/>
                  </a:lnTo>
                  <a:lnTo>
                    <a:pt x="152" y="109"/>
                  </a:lnTo>
                  <a:lnTo>
                    <a:pt x="153" y="109"/>
                  </a:lnTo>
                  <a:lnTo>
                    <a:pt x="155" y="110"/>
                  </a:lnTo>
                  <a:lnTo>
                    <a:pt x="155" y="109"/>
                  </a:lnTo>
                  <a:lnTo>
                    <a:pt x="155" y="107"/>
                  </a:lnTo>
                  <a:lnTo>
                    <a:pt x="155" y="109"/>
                  </a:lnTo>
                  <a:lnTo>
                    <a:pt x="156" y="109"/>
                  </a:lnTo>
                  <a:lnTo>
                    <a:pt x="157" y="109"/>
                  </a:lnTo>
                  <a:lnTo>
                    <a:pt x="157" y="110"/>
                  </a:lnTo>
                  <a:lnTo>
                    <a:pt x="158" y="110"/>
                  </a:lnTo>
                  <a:lnTo>
                    <a:pt x="159" y="111"/>
                  </a:lnTo>
                  <a:lnTo>
                    <a:pt x="160" y="111"/>
                  </a:lnTo>
                  <a:lnTo>
                    <a:pt x="160" y="112"/>
                  </a:lnTo>
                  <a:lnTo>
                    <a:pt x="162" y="112"/>
                  </a:lnTo>
                  <a:lnTo>
                    <a:pt x="163" y="112"/>
                  </a:lnTo>
                  <a:lnTo>
                    <a:pt x="164" y="112"/>
                  </a:lnTo>
                  <a:lnTo>
                    <a:pt x="164" y="113"/>
                  </a:lnTo>
                  <a:lnTo>
                    <a:pt x="165" y="113"/>
                  </a:lnTo>
                  <a:lnTo>
                    <a:pt x="165" y="114"/>
                  </a:lnTo>
                  <a:lnTo>
                    <a:pt x="166" y="116"/>
                  </a:lnTo>
                  <a:lnTo>
                    <a:pt x="166" y="117"/>
                  </a:lnTo>
                  <a:lnTo>
                    <a:pt x="167" y="117"/>
                  </a:lnTo>
                  <a:lnTo>
                    <a:pt x="167" y="116"/>
                  </a:lnTo>
                  <a:lnTo>
                    <a:pt x="169" y="116"/>
                  </a:lnTo>
                  <a:lnTo>
                    <a:pt x="169" y="117"/>
                  </a:lnTo>
                  <a:lnTo>
                    <a:pt x="170" y="118"/>
                  </a:lnTo>
                  <a:lnTo>
                    <a:pt x="171" y="118"/>
                  </a:lnTo>
                  <a:lnTo>
                    <a:pt x="171" y="119"/>
                  </a:lnTo>
                  <a:lnTo>
                    <a:pt x="172" y="119"/>
                  </a:lnTo>
                  <a:lnTo>
                    <a:pt x="173" y="119"/>
                  </a:lnTo>
                  <a:lnTo>
                    <a:pt x="173" y="120"/>
                  </a:lnTo>
                  <a:lnTo>
                    <a:pt x="174" y="120"/>
                  </a:lnTo>
                  <a:lnTo>
                    <a:pt x="176" y="120"/>
                  </a:lnTo>
                  <a:lnTo>
                    <a:pt x="177" y="120"/>
                  </a:lnTo>
                  <a:lnTo>
                    <a:pt x="178" y="120"/>
                  </a:lnTo>
                  <a:lnTo>
                    <a:pt x="179" y="121"/>
                  </a:lnTo>
                  <a:lnTo>
                    <a:pt x="181" y="123"/>
                  </a:lnTo>
                  <a:lnTo>
                    <a:pt x="183" y="123"/>
                  </a:lnTo>
                  <a:lnTo>
                    <a:pt x="183" y="124"/>
                  </a:lnTo>
                  <a:lnTo>
                    <a:pt x="184" y="124"/>
                  </a:lnTo>
                  <a:lnTo>
                    <a:pt x="185" y="124"/>
                  </a:lnTo>
                  <a:lnTo>
                    <a:pt x="186" y="123"/>
                  </a:lnTo>
                  <a:lnTo>
                    <a:pt x="186" y="124"/>
                  </a:lnTo>
                  <a:lnTo>
                    <a:pt x="187" y="124"/>
                  </a:lnTo>
                  <a:lnTo>
                    <a:pt x="187" y="125"/>
                  </a:lnTo>
                  <a:lnTo>
                    <a:pt x="188" y="126"/>
                  </a:lnTo>
                  <a:lnTo>
                    <a:pt x="190" y="126"/>
                  </a:lnTo>
                  <a:lnTo>
                    <a:pt x="191" y="127"/>
                  </a:lnTo>
                  <a:lnTo>
                    <a:pt x="192" y="127"/>
                  </a:lnTo>
                  <a:lnTo>
                    <a:pt x="193" y="127"/>
                  </a:lnTo>
                  <a:lnTo>
                    <a:pt x="194" y="127"/>
                  </a:lnTo>
                  <a:lnTo>
                    <a:pt x="195" y="128"/>
                  </a:lnTo>
                  <a:lnTo>
                    <a:pt x="195" y="130"/>
                  </a:lnTo>
                  <a:lnTo>
                    <a:pt x="196" y="130"/>
                  </a:lnTo>
                  <a:lnTo>
                    <a:pt x="196" y="128"/>
                  </a:lnTo>
                  <a:lnTo>
                    <a:pt x="196" y="127"/>
                  </a:lnTo>
                  <a:lnTo>
                    <a:pt x="198" y="127"/>
                  </a:lnTo>
                  <a:lnTo>
                    <a:pt x="200" y="127"/>
                  </a:lnTo>
                  <a:lnTo>
                    <a:pt x="201" y="127"/>
                  </a:lnTo>
                  <a:lnTo>
                    <a:pt x="202" y="128"/>
                  </a:lnTo>
                  <a:lnTo>
                    <a:pt x="203" y="128"/>
                  </a:lnTo>
                  <a:lnTo>
                    <a:pt x="203" y="127"/>
                  </a:lnTo>
                  <a:lnTo>
                    <a:pt x="205" y="127"/>
                  </a:lnTo>
                  <a:lnTo>
                    <a:pt x="206" y="127"/>
                  </a:lnTo>
                  <a:lnTo>
                    <a:pt x="206" y="126"/>
                  </a:lnTo>
                  <a:lnTo>
                    <a:pt x="207" y="126"/>
                  </a:lnTo>
                  <a:lnTo>
                    <a:pt x="207" y="127"/>
                  </a:lnTo>
                  <a:lnTo>
                    <a:pt x="208" y="127"/>
                  </a:lnTo>
                  <a:lnTo>
                    <a:pt x="209" y="128"/>
                  </a:lnTo>
                  <a:lnTo>
                    <a:pt x="213" y="130"/>
                  </a:lnTo>
                  <a:lnTo>
                    <a:pt x="214" y="130"/>
                  </a:lnTo>
                  <a:lnTo>
                    <a:pt x="214" y="131"/>
                  </a:lnTo>
                  <a:lnTo>
                    <a:pt x="215" y="131"/>
                  </a:lnTo>
                  <a:lnTo>
                    <a:pt x="215" y="132"/>
                  </a:lnTo>
                  <a:lnTo>
                    <a:pt x="215" y="133"/>
                  </a:lnTo>
                  <a:lnTo>
                    <a:pt x="215" y="134"/>
                  </a:lnTo>
                  <a:lnTo>
                    <a:pt x="216" y="134"/>
                  </a:lnTo>
                  <a:lnTo>
                    <a:pt x="217" y="134"/>
                  </a:lnTo>
                  <a:lnTo>
                    <a:pt x="219" y="134"/>
                  </a:lnTo>
                  <a:lnTo>
                    <a:pt x="219" y="135"/>
                  </a:lnTo>
                  <a:lnTo>
                    <a:pt x="220" y="135"/>
                  </a:lnTo>
                  <a:lnTo>
                    <a:pt x="220" y="137"/>
                  </a:lnTo>
                  <a:lnTo>
                    <a:pt x="221" y="137"/>
                  </a:lnTo>
                  <a:lnTo>
                    <a:pt x="222" y="137"/>
                  </a:lnTo>
                  <a:lnTo>
                    <a:pt x="223" y="137"/>
                  </a:lnTo>
                  <a:lnTo>
                    <a:pt x="223" y="138"/>
                  </a:lnTo>
                  <a:lnTo>
                    <a:pt x="224" y="139"/>
                  </a:lnTo>
                  <a:lnTo>
                    <a:pt x="226" y="138"/>
                  </a:lnTo>
                  <a:lnTo>
                    <a:pt x="227" y="138"/>
                  </a:lnTo>
                  <a:lnTo>
                    <a:pt x="228" y="137"/>
                  </a:lnTo>
                  <a:lnTo>
                    <a:pt x="229" y="137"/>
                  </a:lnTo>
                  <a:lnTo>
                    <a:pt x="230" y="138"/>
                  </a:lnTo>
                  <a:lnTo>
                    <a:pt x="230" y="139"/>
                  </a:lnTo>
                  <a:lnTo>
                    <a:pt x="230" y="140"/>
                  </a:lnTo>
                  <a:lnTo>
                    <a:pt x="231" y="140"/>
                  </a:lnTo>
                  <a:lnTo>
                    <a:pt x="233" y="140"/>
                  </a:lnTo>
                  <a:lnTo>
                    <a:pt x="233" y="141"/>
                  </a:lnTo>
                  <a:lnTo>
                    <a:pt x="234" y="140"/>
                  </a:lnTo>
                  <a:lnTo>
                    <a:pt x="235" y="140"/>
                  </a:lnTo>
                  <a:lnTo>
                    <a:pt x="236" y="140"/>
                  </a:lnTo>
                  <a:lnTo>
                    <a:pt x="237" y="140"/>
                  </a:lnTo>
                  <a:lnTo>
                    <a:pt x="237" y="141"/>
                  </a:lnTo>
                  <a:lnTo>
                    <a:pt x="237" y="140"/>
                  </a:lnTo>
                  <a:lnTo>
                    <a:pt x="238" y="140"/>
                  </a:lnTo>
                  <a:lnTo>
                    <a:pt x="238" y="141"/>
                  </a:lnTo>
                  <a:lnTo>
                    <a:pt x="240" y="141"/>
                  </a:lnTo>
                  <a:lnTo>
                    <a:pt x="241" y="141"/>
                  </a:lnTo>
                  <a:lnTo>
                    <a:pt x="242" y="141"/>
                  </a:lnTo>
                  <a:lnTo>
                    <a:pt x="242" y="142"/>
                  </a:lnTo>
                  <a:lnTo>
                    <a:pt x="243" y="142"/>
                  </a:lnTo>
                  <a:lnTo>
                    <a:pt x="244" y="144"/>
                  </a:lnTo>
                  <a:lnTo>
                    <a:pt x="245" y="144"/>
                  </a:lnTo>
                  <a:lnTo>
                    <a:pt x="247" y="144"/>
                  </a:lnTo>
                  <a:lnTo>
                    <a:pt x="247" y="142"/>
                  </a:lnTo>
                  <a:lnTo>
                    <a:pt x="248" y="142"/>
                  </a:lnTo>
                  <a:lnTo>
                    <a:pt x="248" y="141"/>
                  </a:lnTo>
                  <a:lnTo>
                    <a:pt x="249" y="141"/>
                  </a:lnTo>
                  <a:lnTo>
                    <a:pt x="249" y="142"/>
                  </a:lnTo>
                  <a:lnTo>
                    <a:pt x="250" y="142"/>
                  </a:lnTo>
                  <a:lnTo>
                    <a:pt x="250" y="144"/>
                  </a:lnTo>
                  <a:lnTo>
                    <a:pt x="251" y="144"/>
                  </a:lnTo>
                  <a:lnTo>
                    <a:pt x="252" y="144"/>
                  </a:lnTo>
                  <a:lnTo>
                    <a:pt x="252" y="145"/>
                  </a:lnTo>
                  <a:lnTo>
                    <a:pt x="254" y="145"/>
                  </a:lnTo>
                  <a:lnTo>
                    <a:pt x="254" y="144"/>
                  </a:lnTo>
                  <a:lnTo>
                    <a:pt x="255" y="144"/>
                  </a:lnTo>
                  <a:lnTo>
                    <a:pt x="256" y="144"/>
                  </a:lnTo>
                  <a:lnTo>
                    <a:pt x="257" y="144"/>
                  </a:lnTo>
                  <a:lnTo>
                    <a:pt x="258" y="144"/>
                  </a:lnTo>
                  <a:lnTo>
                    <a:pt x="259" y="144"/>
                  </a:lnTo>
                  <a:lnTo>
                    <a:pt x="259" y="142"/>
                  </a:lnTo>
                  <a:lnTo>
                    <a:pt x="259" y="144"/>
                  </a:lnTo>
                  <a:lnTo>
                    <a:pt x="260" y="142"/>
                  </a:lnTo>
                  <a:lnTo>
                    <a:pt x="260" y="144"/>
                  </a:lnTo>
                  <a:lnTo>
                    <a:pt x="262" y="144"/>
                  </a:lnTo>
                  <a:lnTo>
                    <a:pt x="262" y="145"/>
                  </a:lnTo>
                  <a:lnTo>
                    <a:pt x="263" y="145"/>
                  </a:lnTo>
                  <a:lnTo>
                    <a:pt x="263" y="144"/>
                  </a:lnTo>
                  <a:lnTo>
                    <a:pt x="263" y="142"/>
                  </a:lnTo>
                  <a:lnTo>
                    <a:pt x="263" y="141"/>
                  </a:lnTo>
                  <a:lnTo>
                    <a:pt x="264" y="140"/>
                  </a:lnTo>
                  <a:lnTo>
                    <a:pt x="264" y="139"/>
                  </a:lnTo>
                  <a:lnTo>
                    <a:pt x="264" y="138"/>
                  </a:lnTo>
                  <a:lnTo>
                    <a:pt x="263" y="138"/>
                  </a:lnTo>
                  <a:lnTo>
                    <a:pt x="263" y="137"/>
                  </a:lnTo>
                  <a:lnTo>
                    <a:pt x="263" y="135"/>
                  </a:lnTo>
                  <a:lnTo>
                    <a:pt x="262" y="135"/>
                  </a:lnTo>
                  <a:lnTo>
                    <a:pt x="262" y="134"/>
                  </a:lnTo>
                  <a:lnTo>
                    <a:pt x="260" y="134"/>
                  </a:lnTo>
                  <a:lnTo>
                    <a:pt x="260" y="133"/>
                  </a:lnTo>
                  <a:lnTo>
                    <a:pt x="259" y="133"/>
                  </a:lnTo>
                  <a:lnTo>
                    <a:pt x="259" y="132"/>
                  </a:lnTo>
                  <a:lnTo>
                    <a:pt x="259" y="131"/>
                  </a:lnTo>
                  <a:lnTo>
                    <a:pt x="260" y="130"/>
                  </a:lnTo>
                  <a:lnTo>
                    <a:pt x="259" y="128"/>
                  </a:lnTo>
                  <a:lnTo>
                    <a:pt x="259" y="127"/>
                  </a:lnTo>
                  <a:lnTo>
                    <a:pt x="259" y="126"/>
                  </a:lnTo>
                  <a:lnTo>
                    <a:pt x="260" y="124"/>
                  </a:lnTo>
                  <a:lnTo>
                    <a:pt x="260" y="123"/>
                  </a:lnTo>
                  <a:lnTo>
                    <a:pt x="260" y="121"/>
                  </a:lnTo>
                  <a:lnTo>
                    <a:pt x="259" y="120"/>
                  </a:lnTo>
                  <a:lnTo>
                    <a:pt x="259" y="119"/>
                  </a:lnTo>
                  <a:lnTo>
                    <a:pt x="260" y="119"/>
                  </a:lnTo>
                  <a:lnTo>
                    <a:pt x="263" y="119"/>
                  </a:lnTo>
                  <a:lnTo>
                    <a:pt x="263" y="118"/>
                  </a:lnTo>
                  <a:lnTo>
                    <a:pt x="264" y="118"/>
                  </a:lnTo>
                  <a:lnTo>
                    <a:pt x="264" y="117"/>
                  </a:lnTo>
                  <a:lnTo>
                    <a:pt x="265" y="117"/>
                  </a:lnTo>
                  <a:lnTo>
                    <a:pt x="266" y="118"/>
                  </a:lnTo>
                  <a:lnTo>
                    <a:pt x="267" y="118"/>
                  </a:lnTo>
                  <a:lnTo>
                    <a:pt x="269" y="118"/>
                  </a:lnTo>
                  <a:lnTo>
                    <a:pt x="269" y="119"/>
                  </a:lnTo>
                  <a:lnTo>
                    <a:pt x="269" y="120"/>
                  </a:lnTo>
                  <a:lnTo>
                    <a:pt x="270" y="120"/>
                  </a:lnTo>
                  <a:lnTo>
                    <a:pt x="270" y="121"/>
                  </a:lnTo>
                  <a:lnTo>
                    <a:pt x="270" y="124"/>
                  </a:lnTo>
                  <a:lnTo>
                    <a:pt x="269" y="125"/>
                  </a:lnTo>
                  <a:lnTo>
                    <a:pt x="269" y="126"/>
                  </a:lnTo>
                  <a:lnTo>
                    <a:pt x="269" y="127"/>
                  </a:lnTo>
                  <a:lnTo>
                    <a:pt x="270" y="127"/>
                  </a:lnTo>
                  <a:lnTo>
                    <a:pt x="270" y="128"/>
                  </a:lnTo>
                  <a:lnTo>
                    <a:pt x="271" y="128"/>
                  </a:lnTo>
                  <a:lnTo>
                    <a:pt x="271" y="130"/>
                  </a:lnTo>
                  <a:lnTo>
                    <a:pt x="271" y="131"/>
                  </a:lnTo>
                  <a:lnTo>
                    <a:pt x="270" y="131"/>
                  </a:lnTo>
                  <a:lnTo>
                    <a:pt x="270" y="132"/>
                  </a:lnTo>
                  <a:lnTo>
                    <a:pt x="271" y="132"/>
                  </a:lnTo>
                  <a:lnTo>
                    <a:pt x="271" y="133"/>
                  </a:lnTo>
                  <a:lnTo>
                    <a:pt x="272" y="133"/>
                  </a:lnTo>
                  <a:lnTo>
                    <a:pt x="272" y="134"/>
                  </a:lnTo>
                  <a:lnTo>
                    <a:pt x="272" y="135"/>
                  </a:lnTo>
                  <a:lnTo>
                    <a:pt x="272" y="134"/>
                  </a:lnTo>
                  <a:lnTo>
                    <a:pt x="273" y="134"/>
                  </a:lnTo>
                  <a:lnTo>
                    <a:pt x="273" y="135"/>
                  </a:lnTo>
                  <a:lnTo>
                    <a:pt x="274" y="135"/>
                  </a:lnTo>
                  <a:lnTo>
                    <a:pt x="276" y="137"/>
                  </a:lnTo>
                  <a:lnTo>
                    <a:pt x="277" y="138"/>
                  </a:lnTo>
                  <a:lnTo>
                    <a:pt x="278" y="138"/>
                  </a:lnTo>
                  <a:lnTo>
                    <a:pt x="278" y="137"/>
                  </a:lnTo>
                  <a:lnTo>
                    <a:pt x="279" y="137"/>
                  </a:lnTo>
                  <a:lnTo>
                    <a:pt x="280" y="138"/>
                  </a:lnTo>
                  <a:lnTo>
                    <a:pt x="281" y="138"/>
                  </a:lnTo>
                  <a:lnTo>
                    <a:pt x="283" y="138"/>
                  </a:lnTo>
                  <a:lnTo>
                    <a:pt x="283" y="139"/>
                  </a:lnTo>
                  <a:lnTo>
                    <a:pt x="284" y="139"/>
                  </a:lnTo>
                  <a:lnTo>
                    <a:pt x="285" y="139"/>
                  </a:lnTo>
                  <a:lnTo>
                    <a:pt x="286" y="139"/>
                  </a:lnTo>
                  <a:lnTo>
                    <a:pt x="287" y="139"/>
                  </a:lnTo>
                  <a:lnTo>
                    <a:pt x="288" y="139"/>
                  </a:lnTo>
                  <a:lnTo>
                    <a:pt x="290" y="139"/>
                  </a:lnTo>
                  <a:lnTo>
                    <a:pt x="290" y="138"/>
                  </a:lnTo>
                  <a:lnTo>
                    <a:pt x="291" y="138"/>
                  </a:lnTo>
                  <a:lnTo>
                    <a:pt x="291" y="137"/>
                  </a:lnTo>
                  <a:lnTo>
                    <a:pt x="292" y="137"/>
                  </a:lnTo>
                  <a:lnTo>
                    <a:pt x="293" y="135"/>
                  </a:lnTo>
                  <a:lnTo>
                    <a:pt x="294" y="137"/>
                  </a:lnTo>
                  <a:lnTo>
                    <a:pt x="297" y="138"/>
                  </a:lnTo>
                  <a:lnTo>
                    <a:pt x="298" y="138"/>
                  </a:lnTo>
                  <a:lnTo>
                    <a:pt x="301" y="138"/>
                  </a:lnTo>
                  <a:lnTo>
                    <a:pt x="302" y="138"/>
                  </a:lnTo>
                  <a:lnTo>
                    <a:pt x="304" y="138"/>
                  </a:lnTo>
                  <a:lnTo>
                    <a:pt x="305" y="138"/>
                  </a:lnTo>
                  <a:lnTo>
                    <a:pt x="306" y="138"/>
                  </a:lnTo>
                  <a:lnTo>
                    <a:pt x="307" y="138"/>
                  </a:lnTo>
                  <a:lnTo>
                    <a:pt x="307" y="137"/>
                  </a:lnTo>
                  <a:lnTo>
                    <a:pt x="308" y="137"/>
                  </a:lnTo>
                  <a:lnTo>
                    <a:pt x="308" y="138"/>
                  </a:lnTo>
                  <a:lnTo>
                    <a:pt x="309" y="138"/>
                  </a:lnTo>
                  <a:lnTo>
                    <a:pt x="311" y="138"/>
                  </a:lnTo>
                  <a:lnTo>
                    <a:pt x="312" y="138"/>
                  </a:lnTo>
                  <a:lnTo>
                    <a:pt x="312" y="137"/>
                  </a:lnTo>
                  <a:lnTo>
                    <a:pt x="313" y="137"/>
                  </a:lnTo>
                  <a:lnTo>
                    <a:pt x="313" y="138"/>
                  </a:lnTo>
                  <a:lnTo>
                    <a:pt x="314" y="138"/>
                  </a:lnTo>
                  <a:lnTo>
                    <a:pt x="314" y="137"/>
                  </a:lnTo>
                  <a:lnTo>
                    <a:pt x="313" y="137"/>
                  </a:lnTo>
                  <a:lnTo>
                    <a:pt x="314" y="137"/>
                  </a:lnTo>
                  <a:lnTo>
                    <a:pt x="315" y="137"/>
                  </a:lnTo>
                  <a:lnTo>
                    <a:pt x="316" y="137"/>
                  </a:lnTo>
                  <a:lnTo>
                    <a:pt x="316" y="135"/>
                  </a:lnTo>
                  <a:lnTo>
                    <a:pt x="315" y="134"/>
                  </a:lnTo>
                  <a:lnTo>
                    <a:pt x="314" y="133"/>
                  </a:lnTo>
                  <a:lnTo>
                    <a:pt x="314" y="132"/>
                  </a:lnTo>
                  <a:lnTo>
                    <a:pt x="314" y="131"/>
                  </a:lnTo>
                  <a:lnTo>
                    <a:pt x="315" y="130"/>
                  </a:lnTo>
                  <a:lnTo>
                    <a:pt x="313" y="127"/>
                  </a:lnTo>
                  <a:lnTo>
                    <a:pt x="312" y="127"/>
                  </a:lnTo>
                  <a:lnTo>
                    <a:pt x="311" y="127"/>
                  </a:lnTo>
                  <a:lnTo>
                    <a:pt x="309" y="127"/>
                  </a:lnTo>
                  <a:lnTo>
                    <a:pt x="308" y="127"/>
                  </a:lnTo>
                  <a:lnTo>
                    <a:pt x="308" y="126"/>
                  </a:lnTo>
                  <a:lnTo>
                    <a:pt x="307" y="126"/>
                  </a:lnTo>
                  <a:lnTo>
                    <a:pt x="307" y="125"/>
                  </a:lnTo>
                  <a:lnTo>
                    <a:pt x="307" y="124"/>
                  </a:lnTo>
                  <a:lnTo>
                    <a:pt x="307" y="123"/>
                  </a:lnTo>
                  <a:lnTo>
                    <a:pt x="309" y="123"/>
                  </a:lnTo>
                  <a:lnTo>
                    <a:pt x="311" y="123"/>
                  </a:lnTo>
                  <a:lnTo>
                    <a:pt x="312" y="123"/>
                  </a:lnTo>
                  <a:lnTo>
                    <a:pt x="313" y="121"/>
                  </a:lnTo>
                  <a:lnTo>
                    <a:pt x="314" y="121"/>
                  </a:lnTo>
                  <a:lnTo>
                    <a:pt x="315" y="121"/>
                  </a:lnTo>
                  <a:lnTo>
                    <a:pt x="315" y="120"/>
                  </a:lnTo>
                  <a:lnTo>
                    <a:pt x="315" y="121"/>
                  </a:lnTo>
                  <a:lnTo>
                    <a:pt x="316" y="121"/>
                  </a:lnTo>
                  <a:lnTo>
                    <a:pt x="318" y="120"/>
                  </a:lnTo>
                  <a:lnTo>
                    <a:pt x="318" y="121"/>
                  </a:lnTo>
                  <a:lnTo>
                    <a:pt x="319" y="121"/>
                  </a:lnTo>
                  <a:lnTo>
                    <a:pt x="319" y="120"/>
                  </a:lnTo>
                  <a:lnTo>
                    <a:pt x="320" y="120"/>
                  </a:lnTo>
                  <a:lnTo>
                    <a:pt x="320" y="119"/>
                  </a:lnTo>
                  <a:lnTo>
                    <a:pt x="321" y="119"/>
                  </a:lnTo>
                  <a:lnTo>
                    <a:pt x="321" y="118"/>
                  </a:lnTo>
                  <a:lnTo>
                    <a:pt x="320" y="118"/>
                  </a:lnTo>
                  <a:lnTo>
                    <a:pt x="320" y="117"/>
                  </a:lnTo>
                  <a:lnTo>
                    <a:pt x="320" y="116"/>
                  </a:lnTo>
                  <a:lnTo>
                    <a:pt x="321" y="116"/>
                  </a:lnTo>
                  <a:lnTo>
                    <a:pt x="322" y="116"/>
                  </a:lnTo>
                  <a:lnTo>
                    <a:pt x="322" y="114"/>
                  </a:lnTo>
                  <a:lnTo>
                    <a:pt x="323" y="114"/>
                  </a:lnTo>
                  <a:lnTo>
                    <a:pt x="323" y="113"/>
                  </a:lnTo>
                  <a:lnTo>
                    <a:pt x="324" y="112"/>
                  </a:lnTo>
                  <a:lnTo>
                    <a:pt x="324" y="111"/>
                  </a:lnTo>
                  <a:lnTo>
                    <a:pt x="326" y="110"/>
                  </a:lnTo>
                  <a:lnTo>
                    <a:pt x="327" y="109"/>
                  </a:lnTo>
                  <a:lnTo>
                    <a:pt x="328" y="107"/>
                  </a:lnTo>
                  <a:lnTo>
                    <a:pt x="329" y="107"/>
                  </a:lnTo>
                  <a:lnTo>
                    <a:pt x="330" y="107"/>
                  </a:lnTo>
                  <a:lnTo>
                    <a:pt x="331" y="107"/>
                  </a:lnTo>
                  <a:lnTo>
                    <a:pt x="333" y="106"/>
                  </a:lnTo>
                  <a:lnTo>
                    <a:pt x="334" y="106"/>
                  </a:lnTo>
                  <a:lnTo>
                    <a:pt x="334" y="105"/>
                  </a:lnTo>
                  <a:lnTo>
                    <a:pt x="335" y="105"/>
                  </a:lnTo>
                  <a:lnTo>
                    <a:pt x="336" y="104"/>
                  </a:lnTo>
                  <a:lnTo>
                    <a:pt x="337" y="104"/>
                  </a:lnTo>
                  <a:lnTo>
                    <a:pt x="338" y="104"/>
                  </a:lnTo>
                  <a:lnTo>
                    <a:pt x="338" y="103"/>
                  </a:lnTo>
                  <a:lnTo>
                    <a:pt x="340" y="103"/>
                  </a:lnTo>
                  <a:lnTo>
                    <a:pt x="338" y="102"/>
                  </a:lnTo>
                  <a:lnTo>
                    <a:pt x="337" y="102"/>
                  </a:lnTo>
                  <a:lnTo>
                    <a:pt x="337" y="100"/>
                  </a:lnTo>
                  <a:lnTo>
                    <a:pt x="338" y="100"/>
                  </a:lnTo>
                  <a:lnTo>
                    <a:pt x="338" y="99"/>
                  </a:lnTo>
                  <a:lnTo>
                    <a:pt x="340" y="99"/>
                  </a:lnTo>
                  <a:lnTo>
                    <a:pt x="341" y="99"/>
                  </a:lnTo>
                  <a:lnTo>
                    <a:pt x="341" y="98"/>
                  </a:lnTo>
                  <a:lnTo>
                    <a:pt x="342" y="98"/>
                  </a:lnTo>
                  <a:lnTo>
                    <a:pt x="343" y="98"/>
                  </a:lnTo>
                  <a:lnTo>
                    <a:pt x="344" y="99"/>
                  </a:lnTo>
                  <a:lnTo>
                    <a:pt x="344" y="100"/>
                  </a:lnTo>
                  <a:lnTo>
                    <a:pt x="345" y="100"/>
                  </a:lnTo>
                  <a:lnTo>
                    <a:pt x="347" y="100"/>
                  </a:lnTo>
                  <a:lnTo>
                    <a:pt x="348" y="100"/>
                  </a:lnTo>
                  <a:lnTo>
                    <a:pt x="347" y="100"/>
                  </a:lnTo>
                  <a:lnTo>
                    <a:pt x="348" y="100"/>
                  </a:lnTo>
                  <a:lnTo>
                    <a:pt x="349" y="100"/>
                  </a:lnTo>
                  <a:lnTo>
                    <a:pt x="350" y="102"/>
                  </a:lnTo>
                  <a:lnTo>
                    <a:pt x="351" y="102"/>
                  </a:lnTo>
                  <a:lnTo>
                    <a:pt x="351" y="100"/>
                  </a:lnTo>
                  <a:lnTo>
                    <a:pt x="352" y="100"/>
                  </a:lnTo>
                  <a:lnTo>
                    <a:pt x="352" y="99"/>
                  </a:lnTo>
                  <a:lnTo>
                    <a:pt x="354" y="99"/>
                  </a:lnTo>
                  <a:lnTo>
                    <a:pt x="354" y="100"/>
                  </a:lnTo>
                  <a:lnTo>
                    <a:pt x="355" y="100"/>
                  </a:lnTo>
                  <a:lnTo>
                    <a:pt x="354" y="99"/>
                  </a:lnTo>
                  <a:lnTo>
                    <a:pt x="355" y="99"/>
                  </a:lnTo>
                  <a:lnTo>
                    <a:pt x="355" y="98"/>
                  </a:lnTo>
                  <a:lnTo>
                    <a:pt x="356" y="99"/>
                  </a:lnTo>
                  <a:lnTo>
                    <a:pt x="357" y="99"/>
                  </a:lnTo>
                  <a:lnTo>
                    <a:pt x="357" y="98"/>
                  </a:lnTo>
                  <a:lnTo>
                    <a:pt x="357" y="97"/>
                  </a:lnTo>
                  <a:lnTo>
                    <a:pt x="358" y="97"/>
                  </a:lnTo>
                  <a:lnTo>
                    <a:pt x="359" y="97"/>
                  </a:lnTo>
                  <a:lnTo>
                    <a:pt x="361" y="97"/>
                  </a:lnTo>
                  <a:lnTo>
                    <a:pt x="362" y="97"/>
                  </a:lnTo>
                  <a:lnTo>
                    <a:pt x="363" y="98"/>
                  </a:lnTo>
                  <a:lnTo>
                    <a:pt x="364" y="99"/>
                  </a:lnTo>
                  <a:lnTo>
                    <a:pt x="364" y="98"/>
                  </a:lnTo>
                  <a:lnTo>
                    <a:pt x="365" y="98"/>
                  </a:lnTo>
                  <a:lnTo>
                    <a:pt x="365" y="99"/>
                  </a:lnTo>
                  <a:lnTo>
                    <a:pt x="365" y="100"/>
                  </a:lnTo>
                  <a:lnTo>
                    <a:pt x="364" y="100"/>
                  </a:lnTo>
                  <a:lnTo>
                    <a:pt x="363" y="100"/>
                  </a:lnTo>
                  <a:lnTo>
                    <a:pt x="364" y="103"/>
                  </a:lnTo>
                  <a:lnTo>
                    <a:pt x="365" y="102"/>
                  </a:lnTo>
                  <a:lnTo>
                    <a:pt x="366" y="102"/>
                  </a:lnTo>
                  <a:lnTo>
                    <a:pt x="368" y="103"/>
                  </a:lnTo>
                  <a:lnTo>
                    <a:pt x="369" y="104"/>
                  </a:lnTo>
                  <a:lnTo>
                    <a:pt x="369" y="105"/>
                  </a:lnTo>
                  <a:lnTo>
                    <a:pt x="370" y="105"/>
                  </a:lnTo>
                  <a:lnTo>
                    <a:pt x="370" y="106"/>
                  </a:lnTo>
                  <a:lnTo>
                    <a:pt x="371" y="107"/>
                  </a:lnTo>
                  <a:lnTo>
                    <a:pt x="370" y="109"/>
                  </a:lnTo>
                  <a:lnTo>
                    <a:pt x="369" y="109"/>
                  </a:lnTo>
                  <a:lnTo>
                    <a:pt x="369" y="110"/>
                  </a:lnTo>
                  <a:lnTo>
                    <a:pt x="370" y="111"/>
                  </a:lnTo>
                  <a:lnTo>
                    <a:pt x="370" y="112"/>
                  </a:lnTo>
                  <a:lnTo>
                    <a:pt x="370" y="111"/>
                  </a:lnTo>
                  <a:lnTo>
                    <a:pt x="370" y="110"/>
                  </a:lnTo>
                  <a:lnTo>
                    <a:pt x="371" y="109"/>
                  </a:lnTo>
                  <a:lnTo>
                    <a:pt x="372" y="109"/>
                  </a:lnTo>
                  <a:lnTo>
                    <a:pt x="373" y="110"/>
                  </a:lnTo>
                  <a:lnTo>
                    <a:pt x="375" y="111"/>
                  </a:lnTo>
                  <a:lnTo>
                    <a:pt x="376" y="112"/>
                  </a:lnTo>
                  <a:lnTo>
                    <a:pt x="376" y="113"/>
                  </a:lnTo>
                  <a:lnTo>
                    <a:pt x="377" y="113"/>
                  </a:lnTo>
                  <a:lnTo>
                    <a:pt x="378" y="113"/>
                  </a:lnTo>
                  <a:lnTo>
                    <a:pt x="378" y="112"/>
                  </a:lnTo>
                  <a:lnTo>
                    <a:pt x="379" y="112"/>
                  </a:lnTo>
                  <a:lnTo>
                    <a:pt x="380" y="113"/>
                  </a:lnTo>
                  <a:lnTo>
                    <a:pt x="380" y="114"/>
                  </a:lnTo>
                  <a:lnTo>
                    <a:pt x="382" y="114"/>
                  </a:lnTo>
                  <a:lnTo>
                    <a:pt x="382" y="116"/>
                  </a:lnTo>
                  <a:lnTo>
                    <a:pt x="383" y="116"/>
                  </a:lnTo>
                  <a:lnTo>
                    <a:pt x="382" y="117"/>
                  </a:lnTo>
                  <a:lnTo>
                    <a:pt x="383" y="117"/>
                  </a:lnTo>
                  <a:lnTo>
                    <a:pt x="383" y="118"/>
                  </a:lnTo>
                  <a:lnTo>
                    <a:pt x="384" y="119"/>
                  </a:lnTo>
                  <a:lnTo>
                    <a:pt x="384" y="120"/>
                  </a:lnTo>
                  <a:lnTo>
                    <a:pt x="383" y="120"/>
                  </a:lnTo>
                  <a:lnTo>
                    <a:pt x="382" y="120"/>
                  </a:lnTo>
                  <a:lnTo>
                    <a:pt x="382" y="121"/>
                  </a:lnTo>
                  <a:lnTo>
                    <a:pt x="380" y="121"/>
                  </a:lnTo>
                  <a:lnTo>
                    <a:pt x="380" y="123"/>
                  </a:lnTo>
                  <a:lnTo>
                    <a:pt x="379" y="123"/>
                  </a:lnTo>
                  <a:lnTo>
                    <a:pt x="379" y="124"/>
                  </a:lnTo>
                  <a:lnTo>
                    <a:pt x="378" y="124"/>
                  </a:lnTo>
                  <a:lnTo>
                    <a:pt x="378" y="125"/>
                  </a:lnTo>
                  <a:lnTo>
                    <a:pt x="378" y="126"/>
                  </a:lnTo>
                  <a:lnTo>
                    <a:pt x="379" y="126"/>
                  </a:lnTo>
                  <a:lnTo>
                    <a:pt x="379" y="127"/>
                  </a:lnTo>
                  <a:lnTo>
                    <a:pt x="383" y="131"/>
                  </a:lnTo>
                  <a:lnTo>
                    <a:pt x="383" y="132"/>
                  </a:lnTo>
                  <a:lnTo>
                    <a:pt x="384" y="132"/>
                  </a:lnTo>
                  <a:lnTo>
                    <a:pt x="384" y="133"/>
                  </a:lnTo>
                  <a:lnTo>
                    <a:pt x="383" y="133"/>
                  </a:lnTo>
                  <a:lnTo>
                    <a:pt x="382" y="133"/>
                  </a:lnTo>
                  <a:lnTo>
                    <a:pt x="382" y="132"/>
                  </a:lnTo>
                  <a:lnTo>
                    <a:pt x="379" y="132"/>
                  </a:lnTo>
                  <a:lnTo>
                    <a:pt x="379" y="131"/>
                  </a:lnTo>
                  <a:lnTo>
                    <a:pt x="379" y="130"/>
                  </a:lnTo>
                  <a:lnTo>
                    <a:pt x="378" y="130"/>
                  </a:lnTo>
                  <a:lnTo>
                    <a:pt x="378" y="128"/>
                  </a:lnTo>
                  <a:lnTo>
                    <a:pt x="377" y="128"/>
                  </a:lnTo>
                  <a:lnTo>
                    <a:pt x="376" y="128"/>
                  </a:lnTo>
                  <a:lnTo>
                    <a:pt x="375" y="130"/>
                  </a:lnTo>
                  <a:lnTo>
                    <a:pt x="373" y="130"/>
                  </a:lnTo>
                  <a:lnTo>
                    <a:pt x="370" y="131"/>
                  </a:lnTo>
                  <a:lnTo>
                    <a:pt x="369" y="131"/>
                  </a:lnTo>
                  <a:lnTo>
                    <a:pt x="368" y="131"/>
                  </a:lnTo>
                  <a:lnTo>
                    <a:pt x="368" y="132"/>
                  </a:lnTo>
                  <a:lnTo>
                    <a:pt x="368" y="133"/>
                  </a:lnTo>
                  <a:lnTo>
                    <a:pt x="366" y="134"/>
                  </a:lnTo>
                  <a:lnTo>
                    <a:pt x="365" y="134"/>
                  </a:lnTo>
                  <a:lnTo>
                    <a:pt x="365" y="135"/>
                  </a:lnTo>
                  <a:lnTo>
                    <a:pt x="364" y="137"/>
                  </a:lnTo>
                  <a:lnTo>
                    <a:pt x="363" y="138"/>
                  </a:lnTo>
                  <a:lnTo>
                    <a:pt x="363" y="137"/>
                  </a:lnTo>
                  <a:lnTo>
                    <a:pt x="362" y="138"/>
                  </a:lnTo>
                  <a:lnTo>
                    <a:pt x="362" y="139"/>
                  </a:lnTo>
                  <a:lnTo>
                    <a:pt x="361" y="140"/>
                  </a:lnTo>
                  <a:lnTo>
                    <a:pt x="359" y="140"/>
                  </a:lnTo>
                  <a:lnTo>
                    <a:pt x="359" y="139"/>
                  </a:lnTo>
                  <a:lnTo>
                    <a:pt x="359" y="140"/>
                  </a:lnTo>
                  <a:lnTo>
                    <a:pt x="358" y="140"/>
                  </a:lnTo>
                  <a:lnTo>
                    <a:pt x="358" y="141"/>
                  </a:lnTo>
                  <a:lnTo>
                    <a:pt x="357" y="142"/>
                  </a:lnTo>
                  <a:lnTo>
                    <a:pt x="358" y="144"/>
                  </a:lnTo>
                  <a:lnTo>
                    <a:pt x="358" y="145"/>
                  </a:lnTo>
                  <a:lnTo>
                    <a:pt x="358" y="146"/>
                  </a:lnTo>
                  <a:lnTo>
                    <a:pt x="358" y="147"/>
                  </a:lnTo>
                  <a:lnTo>
                    <a:pt x="359" y="147"/>
                  </a:lnTo>
                  <a:lnTo>
                    <a:pt x="358" y="147"/>
                  </a:lnTo>
                  <a:lnTo>
                    <a:pt x="359" y="148"/>
                  </a:lnTo>
                  <a:lnTo>
                    <a:pt x="361" y="149"/>
                  </a:lnTo>
                  <a:lnTo>
                    <a:pt x="359" y="151"/>
                  </a:lnTo>
                  <a:lnTo>
                    <a:pt x="358" y="152"/>
                  </a:lnTo>
                  <a:lnTo>
                    <a:pt x="359" y="154"/>
                  </a:lnTo>
                  <a:lnTo>
                    <a:pt x="358" y="154"/>
                  </a:lnTo>
                  <a:lnTo>
                    <a:pt x="358" y="156"/>
                  </a:lnTo>
                  <a:lnTo>
                    <a:pt x="357" y="156"/>
                  </a:lnTo>
                  <a:lnTo>
                    <a:pt x="358" y="156"/>
                  </a:lnTo>
                  <a:lnTo>
                    <a:pt x="357" y="158"/>
                  </a:lnTo>
                  <a:lnTo>
                    <a:pt x="356" y="159"/>
                  </a:lnTo>
                  <a:lnTo>
                    <a:pt x="355" y="159"/>
                  </a:lnTo>
                  <a:lnTo>
                    <a:pt x="355" y="160"/>
                  </a:lnTo>
                  <a:lnTo>
                    <a:pt x="355" y="162"/>
                  </a:lnTo>
                  <a:lnTo>
                    <a:pt x="355" y="163"/>
                  </a:lnTo>
                  <a:lnTo>
                    <a:pt x="356" y="163"/>
                  </a:lnTo>
                  <a:lnTo>
                    <a:pt x="357" y="163"/>
                  </a:lnTo>
                  <a:lnTo>
                    <a:pt x="357" y="165"/>
                  </a:lnTo>
                  <a:lnTo>
                    <a:pt x="357" y="166"/>
                  </a:lnTo>
                  <a:lnTo>
                    <a:pt x="357" y="168"/>
                  </a:lnTo>
                  <a:lnTo>
                    <a:pt x="356" y="169"/>
                  </a:lnTo>
                  <a:lnTo>
                    <a:pt x="356" y="170"/>
                  </a:lnTo>
                  <a:lnTo>
                    <a:pt x="356" y="172"/>
                  </a:lnTo>
                  <a:lnTo>
                    <a:pt x="355" y="173"/>
                  </a:lnTo>
                  <a:lnTo>
                    <a:pt x="355" y="174"/>
                  </a:lnTo>
                  <a:lnTo>
                    <a:pt x="354" y="174"/>
                  </a:lnTo>
                  <a:lnTo>
                    <a:pt x="354" y="175"/>
                  </a:lnTo>
                  <a:lnTo>
                    <a:pt x="354" y="176"/>
                  </a:lnTo>
                  <a:lnTo>
                    <a:pt x="354" y="177"/>
                  </a:lnTo>
                  <a:lnTo>
                    <a:pt x="354" y="180"/>
                  </a:lnTo>
                  <a:lnTo>
                    <a:pt x="354" y="181"/>
                  </a:lnTo>
                  <a:lnTo>
                    <a:pt x="352" y="181"/>
                  </a:lnTo>
                  <a:lnTo>
                    <a:pt x="352" y="182"/>
                  </a:lnTo>
                  <a:lnTo>
                    <a:pt x="352" y="183"/>
                  </a:lnTo>
                  <a:lnTo>
                    <a:pt x="352" y="184"/>
                  </a:lnTo>
                  <a:lnTo>
                    <a:pt x="351" y="184"/>
                  </a:lnTo>
                  <a:lnTo>
                    <a:pt x="351" y="183"/>
                  </a:lnTo>
                  <a:lnTo>
                    <a:pt x="350" y="183"/>
                  </a:lnTo>
                  <a:lnTo>
                    <a:pt x="349" y="183"/>
                  </a:lnTo>
                  <a:lnTo>
                    <a:pt x="349" y="182"/>
                  </a:lnTo>
                  <a:lnTo>
                    <a:pt x="348" y="183"/>
                  </a:lnTo>
                  <a:lnTo>
                    <a:pt x="348" y="182"/>
                  </a:lnTo>
                  <a:lnTo>
                    <a:pt x="347" y="182"/>
                  </a:lnTo>
                  <a:lnTo>
                    <a:pt x="345" y="182"/>
                  </a:lnTo>
                  <a:lnTo>
                    <a:pt x="344" y="182"/>
                  </a:lnTo>
                  <a:lnTo>
                    <a:pt x="343" y="182"/>
                  </a:lnTo>
                  <a:lnTo>
                    <a:pt x="342" y="181"/>
                  </a:lnTo>
                  <a:lnTo>
                    <a:pt x="341" y="181"/>
                  </a:lnTo>
                  <a:lnTo>
                    <a:pt x="341" y="182"/>
                  </a:lnTo>
                  <a:lnTo>
                    <a:pt x="342" y="183"/>
                  </a:lnTo>
                  <a:lnTo>
                    <a:pt x="342" y="184"/>
                  </a:lnTo>
                  <a:lnTo>
                    <a:pt x="342" y="186"/>
                  </a:lnTo>
                  <a:lnTo>
                    <a:pt x="343" y="187"/>
                  </a:lnTo>
                  <a:lnTo>
                    <a:pt x="343" y="188"/>
                  </a:lnTo>
                  <a:lnTo>
                    <a:pt x="343" y="190"/>
                  </a:lnTo>
                  <a:lnTo>
                    <a:pt x="343" y="191"/>
                  </a:lnTo>
                  <a:lnTo>
                    <a:pt x="344" y="191"/>
                  </a:lnTo>
                  <a:lnTo>
                    <a:pt x="344" y="193"/>
                  </a:lnTo>
                  <a:lnTo>
                    <a:pt x="343" y="193"/>
                  </a:lnTo>
                  <a:lnTo>
                    <a:pt x="344" y="194"/>
                  </a:lnTo>
                  <a:lnTo>
                    <a:pt x="344" y="195"/>
                  </a:lnTo>
                  <a:lnTo>
                    <a:pt x="344" y="196"/>
                  </a:lnTo>
                  <a:lnTo>
                    <a:pt x="343" y="197"/>
                  </a:lnTo>
                  <a:lnTo>
                    <a:pt x="342" y="197"/>
                  </a:lnTo>
                  <a:lnTo>
                    <a:pt x="342" y="196"/>
                  </a:lnTo>
                  <a:lnTo>
                    <a:pt x="341" y="197"/>
                  </a:lnTo>
                  <a:lnTo>
                    <a:pt x="341" y="198"/>
                  </a:lnTo>
                  <a:lnTo>
                    <a:pt x="342" y="198"/>
                  </a:lnTo>
                  <a:lnTo>
                    <a:pt x="342" y="200"/>
                  </a:lnTo>
                  <a:lnTo>
                    <a:pt x="341" y="201"/>
                  </a:lnTo>
                  <a:lnTo>
                    <a:pt x="341" y="202"/>
                  </a:lnTo>
                  <a:lnTo>
                    <a:pt x="341" y="203"/>
                  </a:lnTo>
                  <a:lnTo>
                    <a:pt x="342" y="204"/>
                  </a:lnTo>
                  <a:lnTo>
                    <a:pt x="342" y="205"/>
                  </a:lnTo>
                  <a:lnTo>
                    <a:pt x="342" y="207"/>
                  </a:lnTo>
                  <a:lnTo>
                    <a:pt x="343" y="207"/>
                  </a:lnTo>
                  <a:lnTo>
                    <a:pt x="343" y="208"/>
                  </a:lnTo>
                  <a:lnTo>
                    <a:pt x="343" y="209"/>
                  </a:lnTo>
                  <a:lnTo>
                    <a:pt x="343" y="210"/>
                  </a:lnTo>
                  <a:lnTo>
                    <a:pt x="342" y="210"/>
                  </a:lnTo>
                  <a:lnTo>
                    <a:pt x="342" y="211"/>
                  </a:lnTo>
                  <a:lnTo>
                    <a:pt x="341" y="211"/>
                  </a:lnTo>
                  <a:lnTo>
                    <a:pt x="341" y="212"/>
                  </a:lnTo>
                  <a:lnTo>
                    <a:pt x="341" y="214"/>
                  </a:lnTo>
                  <a:lnTo>
                    <a:pt x="340" y="214"/>
                  </a:lnTo>
                  <a:lnTo>
                    <a:pt x="340" y="212"/>
                  </a:lnTo>
                  <a:lnTo>
                    <a:pt x="338" y="211"/>
                  </a:lnTo>
                  <a:lnTo>
                    <a:pt x="337" y="211"/>
                  </a:lnTo>
                  <a:lnTo>
                    <a:pt x="337" y="212"/>
                  </a:lnTo>
                  <a:lnTo>
                    <a:pt x="336" y="212"/>
                  </a:lnTo>
                  <a:lnTo>
                    <a:pt x="337" y="212"/>
                  </a:lnTo>
                  <a:lnTo>
                    <a:pt x="337" y="214"/>
                  </a:lnTo>
                  <a:lnTo>
                    <a:pt x="336" y="214"/>
                  </a:lnTo>
                  <a:lnTo>
                    <a:pt x="335" y="212"/>
                  </a:lnTo>
                  <a:lnTo>
                    <a:pt x="335" y="211"/>
                  </a:lnTo>
                  <a:lnTo>
                    <a:pt x="334" y="205"/>
                  </a:lnTo>
                  <a:lnTo>
                    <a:pt x="334" y="204"/>
                  </a:lnTo>
                  <a:lnTo>
                    <a:pt x="334" y="203"/>
                  </a:lnTo>
                  <a:lnTo>
                    <a:pt x="333" y="202"/>
                  </a:lnTo>
                  <a:lnTo>
                    <a:pt x="331" y="201"/>
                  </a:lnTo>
                  <a:lnTo>
                    <a:pt x="331" y="200"/>
                  </a:lnTo>
                  <a:lnTo>
                    <a:pt x="330" y="198"/>
                  </a:lnTo>
                  <a:lnTo>
                    <a:pt x="330" y="197"/>
                  </a:lnTo>
                  <a:lnTo>
                    <a:pt x="329" y="195"/>
                  </a:lnTo>
                  <a:lnTo>
                    <a:pt x="329" y="194"/>
                  </a:lnTo>
                  <a:lnTo>
                    <a:pt x="330" y="194"/>
                  </a:lnTo>
                  <a:lnTo>
                    <a:pt x="329" y="193"/>
                  </a:lnTo>
                  <a:lnTo>
                    <a:pt x="329" y="191"/>
                  </a:lnTo>
                  <a:lnTo>
                    <a:pt x="329" y="190"/>
                  </a:lnTo>
                  <a:lnTo>
                    <a:pt x="328" y="190"/>
                  </a:lnTo>
                  <a:lnTo>
                    <a:pt x="328" y="188"/>
                  </a:lnTo>
                  <a:lnTo>
                    <a:pt x="327" y="188"/>
                  </a:lnTo>
                  <a:lnTo>
                    <a:pt x="328" y="187"/>
                  </a:lnTo>
                  <a:lnTo>
                    <a:pt x="327" y="187"/>
                  </a:lnTo>
                  <a:lnTo>
                    <a:pt x="326" y="187"/>
                  </a:lnTo>
                  <a:lnTo>
                    <a:pt x="326" y="186"/>
                  </a:lnTo>
                  <a:lnTo>
                    <a:pt x="326" y="187"/>
                  </a:lnTo>
                  <a:lnTo>
                    <a:pt x="324" y="187"/>
                  </a:lnTo>
                  <a:lnTo>
                    <a:pt x="324" y="188"/>
                  </a:lnTo>
                  <a:lnTo>
                    <a:pt x="323" y="187"/>
                  </a:lnTo>
                  <a:lnTo>
                    <a:pt x="323" y="186"/>
                  </a:lnTo>
                  <a:lnTo>
                    <a:pt x="322" y="186"/>
                  </a:lnTo>
                  <a:lnTo>
                    <a:pt x="322" y="187"/>
                  </a:lnTo>
                  <a:lnTo>
                    <a:pt x="323" y="187"/>
                  </a:lnTo>
                  <a:lnTo>
                    <a:pt x="323" y="189"/>
                  </a:lnTo>
                  <a:lnTo>
                    <a:pt x="323" y="190"/>
                  </a:lnTo>
                  <a:lnTo>
                    <a:pt x="322" y="191"/>
                  </a:lnTo>
                  <a:lnTo>
                    <a:pt x="321" y="193"/>
                  </a:lnTo>
                  <a:lnTo>
                    <a:pt x="321" y="194"/>
                  </a:lnTo>
                  <a:lnTo>
                    <a:pt x="322" y="195"/>
                  </a:lnTo>
                  <a:lnTo>
                    <a:pt x="322" y="196"/>
                  </a:lnTo>
                  <a:lnTo>
                    <a:pt x="322" y="197"/>
                  </a:lnTo>
                  <a:lnTo>
                    <a:pt x="321" y="197"/>
                  </a:lnTo>
                  <a:lnTo>
                    <a:pt x="321" y="198"/>
                  </a:lnTo>
                  <a:lnTo>
                    <a:pt x="320" y="198"/>
                  </a:lnTo>
                  <a:lnTo>
                    <a:pt x="319" y="197"/>
                  </a:lnTo>
                  <a:lnTo>
                    <a:pt x="319" y="196"/>
                  </a:lnTo>
                  <a:lnTo>
                    <a:pt x="318" y="195"/>
                  </a:lnTo>
                  <a:lnTo>
                    <a:pt x="318" y="194"/>
                  </a:lnTo>
                  <a:lnTo>
                    <a:pt x="316" y="194"/>
                  </a:lnTo>
                  <a:lnTo>
                    <a:pt x="316" y="195"/>
                  </a:lnTo>
                  <a:lnTo>
                    <a:pt x="316" y="196"/>
                  </a:lnTo>
                  <a:lnTo>
                    <a:pt x="315" y="195"/>
                  </a:lnTo>
                  <a:lnTo>
                    <a:pt x="315" y="193"/>
                  </a:lnTo>
                  <a:lnTo>
                    <a:pt x="315" y="191"/>
                  </a:lnTo>
                  <a:lnTo>
                    <a:pt x="314" y="191"/>
                  </a:lnTo>
                  <a:lnTo>
                    <a:pt x="314" y="190"/>
                  </a:lnTo>
                  <a:lnTo>
                    <a:pt x="313" y="190"/>
                  </a:lnTo>
                  <a:lnTo>
                    <a:pt x="313" y="189"/>
                  </a:lnTo>
                  <a:lnTo>
                    <a:pt x="313" y="188"/>
                  </a:lnTo>
                  <a:lnTo>
                    <a:pt x="312" y="188"/>
                  </a:lnTo>
                  <a:lnTo>
                    <a:pt x="312" y="187"/>
                  </a:lnTo>
                  <a:lnTo>
                    <a:pt x="313" y="187"/>
                  </a:lnTo>
                  <a:lnTo>
                    <a:pt x="312" y="187"/>
                  </a:lnTo>
                  <a:lnTo>
                    <a:pt x="312" y="186"/>
                  </a:lnTo>
                  <a:lnTo>
                    <a:pt x="313" y="186"/>
                  </a:lnTo>
                  <a:lnTo>
                    <a:pt x="313" y="184"/>
                  </a:lnTo>
                  <a:lnTo>
                    <a:pt x="313" y="183"/>
                  </a:lnTo>
                  <a:lnTo>
                    <a:pt x="313" y="182"/>
                  </a:lnTo>
                  <a:lnTo>
                    <a:pt x="314" y="182"/>
                  </a:lnTo>
                  <a:lnTo>
                    <a:pt x="314" y="181"/>
                  </a:lnTo>
                  <a:lnTo>
                    <a:pt x="314" y="180"/>
                  </a:lnTo>
                  <a:lnTo>
                    <a:pt x="315" y="180"/>
                  </a:lnTo>
                  <a:lnTo>
                    <a:pt x="316" y="181"/>
                  </a:lnTo>
                  <a:lnTo>
                    <a:pt x="318" y="180"/>
                  </a:lnTo>
                  <a:lnTo>
                    <a:pt x="318" y="179"/>
                  </a:lnTo>
                  <a:lnTo>
                    <a:pt x="319" y="180"/>
                  </a:lnTo>
                  <a:lnTo>
                    <a:pt x="319" y="179"/>
                  </a:lnTo>
                  <a:lnTo>
                    <a:pt x="320" y="179"/>
                  </a:lnTo>
                  <a:lnTo>
                    <a:pt x="321" y="180"/>
                  </a:lnTo>
                  <a:lnTo>
                    <a:pt x="321" y="179"/>
                  </a:lnTo>
                  <a:lnTo>
                    <a:pt x="321" y="177"/>
                  </a:lnTo>
                  <a:lnTo>
                    <a:pt x="321" y="176"/>
                  </a:lnTo>
                  <a:lnTo>
                    <a:pt x="322" y="176"/>
                  </a:lnTo>
                  <a:lnTo>
                    <a:pt x="321" y="176"/>
                  </a:lnTo>
                  <a:lnTo>
                    <a:pt x="322" y="176"/>
                  </a:lnTo>
                  <a:lnTo>
                    <a:pt x="323" y="176"/>
                  </a:lnTo>
                  <a:lnTo>
                    <a:pt x="323" y="175"/>
                  </a:lnTo>
                  <a:lnTo>
                    <a:pt x="323" y="174"/>
                  </a:lnTo>
                  <a:lnTo>
                    <a:pt x="323" y="173"/>
                  </a:lnTo>
                  <a:lnTo>
                    <a:pt x="324" y="173"/>
                  </a:lnTo>
                  <a:lnTo>
                    <a:pt x="324" y="172"/>
                  </a:lnTo>
                  <a:lnTo>
                    <a:pt x="324" y="169"/>
                  </a:lnTo>
                  <a:lnTo>
                    <a:pt x="324" y="168"/>
                  </a:lnTo>
                  <a:lnTo>
                    <a:pt x="323" y="168"/>
                  </a:lnTo>
                  <a:lnTo>
                    <a:pt x="324" y="167"/>
                  </a:lnTo>
                  <a:lnTo>
                    <a:pt x="324" y="168"/>
                  </a:lnTo>
                  <a:lnTo>
                    <a:pt x="326" y="168"/>
                  </a:lnTo>
                  <a:lnTo>
                    <a:pt x="327" y="168"/>
                  </a:lnTo>
                  <a:lnTo>
                    <a:pt x="328" y="168"/>
                  </a:lnTo>
                  <a:lnTo>
                    <a:pt x="328" y="167"/>
                  </a:lnTo>
                  <a:lnTo>
                    <a:pt x="327" y="167"/>
                  </a:lnTo>
                  <a:lnTo>
                    <a:pt x="326" y="166"/>
                  </a:lnTo>
                  <a:lnTo>
                    <a:pt x="324" y="166"/>
                  </a:lnTo>
                  <a:lnTo>
                    <a:pt x="324" y="165"/>
                  </a:lnTo>
                  <a:lnTo>
                    <a:pt x="323" y="165"/>
                  </a:lnTo>
                  <a:lnTo>
                    <a:pt x="322" y="163"/>
                  </a:lnTo>
                  <a:lnTo>
                    <a:pt x="321" y="163"/>
                  </a:lnTo>
                  <a:lnTo>
                    <a:pt x="320" y="163"/>
                  </a:lnTo>
                  <a:lnTo>
                    <a:pt x="319" y="163"/>
                  </a:lnTo>
                  <a:lnTo>
                    <a:pt x="318" y="163"/>
                  </a:lnTo>
                  <a:lnTo>
                    <a:pt x="316" y="163"/>
                  </a:lnTo>
                  <a:lnTo>
                    <a:pt x="315" y="163"/>
                  </a:lnTo>
                  <a:lnTo>
                    <a:pt x="314" y="163"/>
                  </a:lnTo>
                  <a:lnTo>
                    <a:pt x="313" y="163"/>
                  </a:lnTo>
                  <a:lnTo>
                    <a:pt x="311" y="163"/>
                  </a:lnTo>
                  <a:lnTo>
                    <a:pt x="309" y="162"/>
                  </a:lnTo>
                  <a:lnTo>
                    <a:pt x="309" y="163"/>
                  </a:lnTo>
                  <a:lnTo>
                    <a:pt x="308" y="163"/>
                  </a:lnTo>
                  <a:lnTo>
                    <a:pt x="306" y="163"/>
                  </a:lnTo>
                  <a:lnTo>
                    <a:pt x="305" y="163"/>
                  </a:lnTo>
                  <a:lnTo>
                    <a:pt x="304" y="163"/>
                  </a:lnTo>
                  <a:lnTo>
                    <a:pt x="302" y="163"/>
                  </a:lnTo>
                  <a:lnTo>
                    <a:pt x="301" y="163"/>
                  </a:lnTo>
                  <a:lnTo>
                    <a:pt x="300" y="163"/>
                  </a:lnTo>
                  <a:lnTo>
                    <a:pt x="299" y="163"/>
                  </a:lnTo>
                  <a:lnTo>
                    <a:pt x="298" y="163"/>
                  </a:lnTo>
                  <a:lnTo>
                    <a:pt x="297" y="163"/>
                  </a:lnTo>
                  <a:lnTo>
                    <a:pt x="294" y="162"/>
                  </a:lnTo>
                  <a:lnTo>
                    <a:pt x="292" y="161"/>
                  </a:lnTo>
                  <a:lnTo>
                    <a:pt x="291" y="161"/>
                  </a:lnTo>
                  <a:lnTo>
                    <a:pt x="290" y="161"/>
                  </a:lnTo>
                  <a:lnTo>
                    <a:pt x="290" y="160"/>
                  </a:lnTo>
                  <a:lnTo>
                    <a:pt x="290" y="159"/>
                  </a:lnTo>
                  <a:lnTo>
                    <a:pt x="290" y="156"/>
                  </a:lnTo>
                  <a:lnTo>
                    <a:pt x="290" y="155"/>
                  </a:lnTo>
                  <a:lnTo>
                    <a:pt x="288" y="154"/>
                  </a:lnTo>
                  <a:lnTo>
                    <a:pt x="288" y="153"/>
                  </a:lnTo>
                  <a:lnTo>
                    <a:pt x="288" y="152"/>
                  </a:lnTo>
                  <a:lnTo>
                    <a:pt x="288" y="151"/>
                  </a:lnTo>
                  <a:lnTo>
                    <a:pt x="287" y="151"/>
                  </a:lnTo>
                  <a:lnTo>
                    <a:pt x="287" y="149"/>
                  </a:lnTo>
                  <a:lnTo>
                    <a:pt x="287" y="148"/>
                  </a:lnTo>
                  <a:lnTo>
                    <a:pt x="286" y="148"/>
                  </a:lnTo>
                  <a:lnTo>
                    <a:pt x="286" y="147"/>
                  </a:lnTo>
                  <a:lnTo>
                    <a:pt x="286" y="148"/>
                  </a:lnTo>
                  <a:lnTo>
                    <a:pt x="286" y="147"/>
                  </a:lnTo>
                  <a:lnTo>
                    <a:pt x="285" y="147"/>
                  </a:lnTo>
                  <a:lnTo>
                    <a:pt x="284" y="147"/>
                  </a:lnTo>
                  <a:lnTo>
                    <a:pt x="284" y="148"/>
                  </a:lnTo>
                  <a:lnTo>
                    <a:pt x="285" y="148"/>
                  </a:lnTo>
                  <a:lnTo>
                    <a:pt x="285" y="149"/>
                  </a:lnTo>
                  <a:lnTo>
                    <a:pt x="285" y="151"/>
                  </a:lnTo>
                  <a:lnTo>
                    <a:pt x="284" y="151"/>
                  </a:lnTo>
                  <a:lnTo>
                    <a:pt x="283" y="151"/>
                  </a:lnTo>
                  <a:lnTo>
                    <a:pt x="283" y="149"/>
                  </a:lnTo>
                  <a:lnTo>
                    <a:pt x="281" y="151"/>
                  </a:lnTo>
                  <a:lnTo>
                    <a:pt x="281" y="149"/>
                  </a:lnTo>
                  <a:lnTo>
                    <a:pt x="280" y="149"/>
                  </a:lnTo>
                  <a:lnTo>
                    <a:pt x="280" y="148"/>
                  </a:lnTo>
                  <a:lnTo>
                    <a:pt x="279" y="148"/>
                  </a:lnTo>
                  <a:lnTo>
                    <a:pt x="278" y="148"/>
                  </a:lnTo>
                  <a:lnTo>
                    <a:pt x="278" y="147"/>
                  </a:lnTo>
                  <a:lnTo>
                    <a:pt x="278" y="146"/>
                  </a:lnTo>
                  <a:lnTo>
                    <a:pt x="277" y="146"/>
                  </a:lnTo>
                  <a:lnTo>
                    <a:pt x="277" y="145"/>
                  </a:lnTo>
                  <a:lnTo>
                    <a:pt x="278" y="145"/>
                  </a:lnTo>
                  <a:lnTo>
                    <a:pt x="277" y="145"/>
                  </a:lnTo>
                  <a:lnTo>
                    <a:pt x="277" y="144"/>
                  </a:lnTo>
                  <a:lnTo>
                    <a:pt x="276" y="144"/>
                  </a:lnTo>
                  <a:lnTo>
                    <a:pt x="274" y="144"/>
                  </a:lnTo>
                  <a:lnTo>
                    <a:pt x="274" y="145"/>
                  </a:lnTo>
                  <a:lnTo>
                    <a:pt x="276" y="145"/>
                  </a:lnTo>
                  <a:lnTo>
                    <a:pt x="276" y="146"/>
                  </a:lnTo>
                  <a:lnTo>
                    <a:pt x="277" y="146"/>
                  </a:lnTo>
                  <a:lnTo>
                    <a:pt x="276" y="147"/>
                  </a:lnTo>
                  <a:lnTo>
                    <a:pt x="276" y="146"/>
                  </a:lnTo>
                  <a:lnTo>
                    <a:pt x="274" y="146"/>
                  </a:lnTo>
                  <a:lnTo>
                    <a:pt x="274" y="147"/>
                  </a:lnTo>
                  <a:lnTo>
                    <a:pt x="273" y="146"/>
                  </a:lnTo>
                  <a:lnTo>
                    <a:pt x="272" y="146"/>
                  </a:lnTo>
                  <a:lnTo>
                    <a:pt x="271" y="146"/>
                  </a:lnTo>
                  <a:lnTo>
                    <a:pt x="272" y="146"/>
                  </a:lnTo>
                  <a:lnTo>
                    <a:pt x="272" y="145"/>
                  </a:lnTo>
                  <a:lnTo>
                    <a:pt x="271" y="145"/>
                  </a:lnTo>
                  <a:lnTo>
                    <a:pt x="271" y="144"/>
                  </a:lnTo>
                  <a:lnTo>
                    <a:pt x="270" y="144"/>
                  </a:lnTo>
                  <a:lnTo>
                    <a:pt x="270" y="142"/>
                  </a:lnTo>
                  <a:lnTo>
                    <a:pt x="269" y="142"/>
                  </a:lnTo>
                  <a:lnTo>
                    <a:pt x="269" y="141"/>
                  </a:lnTo>
                  <a:lnTo>
                    <a:pt x="267" y="141"/>
                  </a:lnTo>
                  <a:lnTo>
                    <a:pt x="267" y="140"/>
                  </a:lnTo>
                  <a:lnTo>
                    <a:pt x="266" y="140"/>
                  </a:lnTo>
                  <a:lnTo>
                    <a:pt x="266" y="141"/>
                  </a:lnTo>
                  <a:lnTo>
                    <a:pt x="266" y="142"/>
                  </a:lnTo>
                  <a:lnTo>
                    <a:pt x="266" y="144"/>
                  </a:lnTo>
                  <a:lnTo>
                    <a:pt x="266" y="142"/>
                  </a:lnTo>
                  <a:lnTo>
                    <a:pt x="267" y="142"/>
                  </a:lnTo>
                  <a:lnTo>
                    <a:pt x="269" y="142"/>
                  </a:lnTo>
                  <a:lnTo>
                    <a:pt x="269" y="144"/>
                  </a:lnTo>
                  <a:lnTo>
                    <a:pt x="269" y="145"/>
                  </a:lnTo>
                  <a:lnTo>
                    <a:pt x="267" y="145"/>
                  </a:lnTo>
                  <a:lnTo>
                    <a:pt x="267" y="146"/>
                  </a:lnTo>
                  <a:lnTo>
                    <a:pt x="267" y="147"/>
                  </a:lnTo>
                  <a:lnTo>
                    <a:pt x="266" y="147"/>
                  </a:lnTo>
                  <a:lnTo>
                    <a:pt x="265" y="147"/>
                  </a:lnTo>
                  <a:lnTo>
                    <a:pt x="265" y="148"/>
                  </a:lnTo>
                  <a:lnTo>
                    <a:pt x="265" y="149"/>
                  </a:lnTo>
                  <a:lnTo>
                    <a:pt x="265" y="151"/>
                  </a:lnTo>
                  <a:lnTo>
                    <a:pt x="265" y="152"/>
                  </a:lnTo>
                  <a:lnTo>
                    <a:pt x="265" y="153"/>
                  </a:lnTo>
                  <a:lnTo>
                    <a:pt x="266" y="154"/>
                  </a:lnTo>
                  <a:lnTo>
                    <a:pt x="266" y="153"/>
                  </a:lnTo>
                  <a:lnTo>
                    <a:pt x="267" y="153"/>
                  </a:lnTo>
                  <a:lnTo>
                    <a:pt x="269" y="154"/>
                  </a:lnTo>
                  <a:lnTo>
                    <a:pt x="270" y="155"/>
                  </a:lnTo>
                  <a:lnTo>
                    <a:pt x="271" y="156"/>
                  </a:lnTo>
                  <a:lnTo>
                    <a:pt x="271" y="158"/>
                  </a:lnTo>
                  <a:lnTo>
                    <a:pt x="272" y="158"/>
                  </a:lnTo>
                  <a:lnTo>
                    <a:pt x="273" y="158"/>
                  </a:lnTo>
                  <a:lnTo>
                    <a:pt x="273" y="159"/>
                  </a:lnTo>
                  <a:lnTo>
                    <a:pt x="274" y="159"/>
                  </a:lnTo>
                  <a:lnTo>
                    <a:pt x="274" y="158"/>
                  </a:lnTo>
                  <a:lnTo>
                    <a:pt x="276" y="158"/>
                  </a:lnTo>
                  <a:lnTo>
                    <a:pt x="276" y="159"/>
                  </a:lnTo>
                  <a:lnTo>
                    <a:pt x="276" y="160"/>
                  </a:lnTo>
                  <a:lnTo>
                    <a:pt x="277" y="160"/>
                  </a:lnTo>
                  <a:lnTo>
                    <a:pt x="277" y="161"/>
                  </a:lnTo>
                  <a:lnTo>
                    <a:pt x="278" y="161"/>
                  </a:lnTo>
                  <a:lnTo>
                    <a:pt x="279" y="161"/>
                  </a:lnTo>
                  <a:lnTo>
                    <a:pt x="279" y="162"/>
                  </a:lnTo>
                  <a:lnTo>
                    <a:pt x="278" y="162"/>
                  </a:lnTo>
                  <a:lnTo>
                    <a:pt x="278" y="163"/>
                  </a:lnTo>
                  <a:lnTo>
                    <a:pt x="277" y="163"/>
                  </a:lnTo>
                  <a:lnTo>
                    <a:pt x="277" y="162"/>
                  </a:lnTo>
                  <a:lnTo>
                    <a:pt x="277" y="163"/>
                  </a:lnTo>
                  <a:lnTo>
                    <a:pt x="276" y="163"/>
                  </a:lnTo>
                  <a:lnTo>
                    <a:pt x="274" y="163"/>
                  </a:lnTo>
                  <a:lnTo>
                    <a:pt x="273" y="163"/>
                  </a:lnTo>
                  <a:lnTo>
                    <a:pt x="272" y="163"/>
                  </a:lnTo>
                  <a:lnTo>
                    <a:pt x="272" y="165"/>
                  </a:lnTo>
                  <a:lnTo>
                    <a:pt x="272" y="166"/>
                  </a:lnTo>
                  <a:lnTo>
                    <a:pt x="272" y="167"/>
                  </a:lnTo>
                  <a:lnTo>
                    <a:pt x="271" y="167"/>
                  </a:lnTo>
                  <a:lnTo>
                    <a:pt x="271" y="168"/>
                  </a:lnTo>
                  <a:lnTo>
                    <a:pt x="270" y="168"/>
                  </a:lnTo>
                  <a:lnTo>
                    <a:pt x="270" y="167"/>
                  </a:lnTo>
                  <a:lnTo>
                    <a:pt x="269" y="167"/>
                  </a:lnTo>
                  <a:lnTo>
                    <a:pt x="269" y="168"/>
                  </a:lnTo>
                  <a:lnTo>
                    <a:pt x="269" y="169"/>
                  </a:lnTo>
                  <a:lnTo>
                    <a:pt x="267" y="169"/>
                  </a:lnTo>
                  <a:lnTo>
                    <a:pt x="267" y="170"/>
                  </a:lnTo>
                  <a:lnTo>
                    <a:pt x="267" y="172"/>
                  </a:lnTo>
                  <a:lnTo>
                    <a:pt x="269" y="172"/>
                  </a:lnTo>
                  <a:lnTo>
                    <a:pt x="269" y="173"/>
                  </a:lnTo>
                  <a:lnTo>
                    <a:pt x="269" y="174"/>
                  </a:lnTo>
                  <a:lnTo>
                    <a:pt x="270" y="174"/>
                  </a:lnTo>
                  <a:lnTo>
                    <a:pt x="273" y="176"/>
                  </a:lnTo>
                  <a:lnTo>
                    <a:pt x="274" y="176"/>
                  </a:lnTo>
                  <a:lnTo>
                    <a:pt x="274" y="177"/>
                  </a:lnTo>
                  <a:lnTo>
                    <a:pt x="276" y="177"/>
                  </a:lnTo>
                  <a:lnTo>
                    <a:pt x="277" y="177"/>
                  </a:lnTo>
                  <a:lnTo>
                    <a:pt x="277" y="176"/>
                  </a:lnTo>
                  <a:lnTo>
                    <a:pt x="278" y="176"/>
                  </a:lnTo>
                  <a:lnTo>
                    <a:pt x="278" y="177"/>
                  </a:lnTo>
                  <a:lnTo>
                    <a:pt x="278" y="179"/>
                  </a:lnTo>
                  <a:lnTo>
                    <a:pt x="278" y="180"/>
                  </a:lnTo>
                  <a:lnTo>
                    <a:pt x="278" y="181"/>
                  </a:lnTo>
                  <a:lnTo>
                    <a:pt x="278" y="182"/>
                  </a:lnTo>
                  <a:lnTo>
                    <a:pt x="279" y="182"/>
                  </a:lnTo>
                  <a:lnTo>
                    <a:pt x="279" y="183"/>
                  </a:lnTo>
                  <a:lnTo>
                    <a:pt x="278" y="183"/>
                  </a:lnTo>
                  <a:lnTo>
                    <a:pt x="278" y="184"/>
                  </a:lnTo>
                  <a:lnTo>
                    <a:pt x="277" y="184"/>
                  </a:lnTo>
                  <a:lnTo>
                    <a:pt x="277" y="186"/>
                  </a:lnTo>
                  <a:lnTo>
                    <a:pt x="277" y="187"/>
                  </a:lnTo>
                  <a:lnTo>
                    <a:pt x="277" y="188"/>
                  </a:lnTo>
                  <a:lnTo>
                    <a:pt x="278" y="188"/>
                  </a:lnTo>
                  <a:lnTo>
                    <a:pt x="278" y="189"/>
                  </a:lnTo>
                  <a:lnTo>
                    <a:pt x="279" y="189"/>
                  </a:lnTo>
                  <a:lnTo>
                    <a:pt x="279" y="190"/>
                  </a:lnTo>
                  <a:lnTo>
                    <a:pt x="280" y="190"/>
                  </a:lnTo>
                  <a:lnTo>
                    <a:pt x="280" y="193"/>
                  </a:lnTo>
                  <a:lnTo>
                    <a:pt x="280" y="194"/>
                  </a:lnTo>
                  <a:lnTo>
                    <a:pt x="281" y="194"/>
                  </a:lnTo>
                  <a:lnTo>
                    <a:pt x="283" y="194"/>
                  </a:lnTo>
                  <a:lnTo>
                    <a:pt x="284" y="194"/>
                  </a:lnTo>
                  <a:lnTo>
                    <a:pt x="284" y="195"/>
                  </a:lnTo>
                  <a:lnTo>
                    <a:pt x="283" y="196"/>
                  </a:lnTo>
                  <a:lnTo>
                    <a:pt x="283" y="197"/>
                  </a:lnTo>
                  <a:lnTo>
                    <a:pt x="283" y="198"/>
                  </a:lnTo>
                  <a:lnTo>
                    <a:pt x="284" y="200"/>
                  </a:lnTo>
                  <a:lnTo>
                    <a:pt x="284" y="201"/>
                  </a:lnTo>
                  <a:lnTo>
                    <a:pt x="284" y="202"/>
                  </a:lnTo>
                  <a:lnTo>
                    <a:pt x="285" y="203"/>
                  </a:lnTo>
                  <a:lnTo>
                    <a:pt x="285" y="204"/>
                  </a:lnTo>
                  <a:lnTo>
                    <a:pt x="285" y="205"/>
                  </a:lnTo>
                  <a:lnTo>
                    <a:pt x="286" y="205"/>
                  </a:lnTo>
                  <a:lnTo>
                    <a:pt x="286" y="207"/>
                  </a:lnTo>
                  <a:lnTo>
                    <a:pt x="286" y="208"/>
                  </a:lnTo>
                  <a:lnTo>
                    <a:pt x="286" y="209"/>
                  </a:lnTo>
                  <a:lnTo>
                    <a:pt x="287" y="210"/>
                  </a:lnTo>
                  <a:lnTo>
                    <a:pt x="287" y="211"/>
                  </a:lnTo>
                  <a:lnTo>
                    <a:pt x="287" y="212"/>
                  </a:lnTo>
                  <a:lnTo>
                    <a:pt x="288" y="214"/>
                  </a:lnTo>
                  <a:lnTo>
                    <a:pt x="288" y="215"/>
                  </a:lnTo>
                  <a:lnTo>
                    <a:pt x="287" y="215"/>
                  </a:lnTo>
                  <a:lnTo>
                    <a:pt x="286" y="215"/>
                  </a:lnTo>
                  <a:lnTo>
                    <a:pt x="286" y="214"/>
                  </a:lnTo>
                  <a:lnTo>
                    <a:pt x="286" y="215"/>
                  </a:lnTo>
                  <a:lnTo>
                    <a:pt x="287" y="215"/>
                  </a:lnTo>
                  <a:lnTo>
                    <a:pt x="287" y="216"/>
                  </a:lnTo>
                  <a:lnTo>
                    <a:pt x="288" y="217"/>
                  </a:lnTo>
                  <a:lnTo>
                    <a:pt x="288" y="218"/>
                  </a:lnTo>
                  <a:lnTo>
                    <a:pt x="288" y="219"/>
                  </a:lnTo>
                  <a:lnTo>
                    <a:pt x="287" y="219"/>
                  </a:lnTo>
                  <a:lnTo>
                    <a:pt x="286" y="219"/>
                  </a:lnTo>
                  <a:lnTo>
                    <a:pt x="286" y="218"/>
                  </a:lnTo>
                  <a:lnTo>
                    <a:pt x="286" y="217"/>
                  </a:lnTo>
                  <a:lnTo>
                    <a:pt x="285" y="218"/>
                  </a:lnTo>
                  <a:lnTo>
                    <a:pt x="286" y="219"/>
                  </a:lnTo>
                  <a:lnTo>
                    <a:pt x="285" y="219"/>
                  </a:lnTo>
                  <a:lnTo>
                    <a:pt x="285" y="218"/>
                  </a:lnTo>
                  <a:lnTo>
                    <a:pt x="285" y="219"/>
                  </a:lnTo>
                  <a:lnTo>
                    <a:pt x="285" y="221"/>
                  </a:lnTo>
                  <a:lnTo>
                    <a:pt x="284" y="221"/>
                  </a:lnTo>
                  <a:lnTo>
                    <a:pt x="284" y="219"/>
                  </a:lnTo>
                  <a:lnTo>
                    <a:pt x="284" y="218"/>
                  </a:lnTo>
                  <a:lnTo>
                    <a:pt x="284" y="216"/>
                  </a:lnTo>
                  <a:lnTo>
                    <a:pt x="283" y="216"/>
                  </a:lnTo>
                  <a:lnTo>
                    <a:pt x="284" y="215"/>
                  </a:lnTo>
                  <a:lnTo>
                    <a:pt x="284" y="214"/>
                  </a:lnTo>
                  <a:lnTo>
                    <a:pt x="284" y="212"/>
                  </a:lnTo>
                  <a:lnTo>
                    <a:pt x="283" y="212"/>
                  </a:lnTo>
                  <a:lnTo>
                    <a:pt x="283" y="211"/>
                  </a:lnTo>
                  <a:lnTo>
                    <a:pt x="284" y="211"/>
                  </a:lnTo>
                  <a:lnTo>
                    <a:pt x="283" y="211"/>
                  </a:lnTo>
                  <a:lnTo>
                    <a:pt x="283" y="212"/>
                  </a:lnTo>
                  <a:lnTo>
                    <a:pt x="284" y="212"/>
                  </a:lnTo>
                  <a:lnTo>
                    <a:pt x="283" y="214"/>
                  </a:lnTo>
                  <a:lnTo>
                    <a:pt x="283" y="215"/>
                  </a:lnTo>
                  <a:lnTo>
                    <a:pt x="281" y="214"/>
                  </a:lnTo>
                  <a:lnTo>
                    <a:pt x="283" y="214"/>
                  </a:lnTo>
                  <a:lnTo>
                    <a:pt x="283" y="212"/>
                  </a:lnTo>
                  <a:lnTo>
                    <a:pt x="281" y="212"/>
                  </a:lnTo>
                  <a:lnTo>
                    <a:pt x="281" y="211"/>
                  </a:lnTo>
                  <a:lnTo>
                    <a:pt x="283" y="211"/>
                  </a:lnTo>
                  <a:lnTo>
                    <a:pt x="283" y="210"/>
                  </a:lnTo>
                  <a:lnTo>
                    <a:pt x="281" y="210"/>
                  </a:lnTo>
                  <a:lnTo>
                    <a:pt x="281" y="211"/>
                  </a:lnTo>
                  <a:lnTo>
                    <a:pt x="281" y="212"/>
                  </a:lnTo>
                  <a:lnTo>
                    <a:pt x="281" y="214"/>
                  </a:lnTo>
                  <a:lnTo>
                    <a:pt x="281" y="215"/>
                  </a:lnTo>
                  <a:lnTo>
                    <a:pt x="281" y="216"/>
                  </a:lnTo>
                  <a:lnTo>
                    <a:pt x="281" y="217"/>
                  </a:lnTo>
                  <a:lnTo>
                    <a:pt x="283" y="217"/>
                  </a:lnTo>
                  <a:lnTo>
                    <a:pt x="283" y="218"/>
                  </a:lnTo>
                  <a:lnTo>
                    <a:pt x="283" y="219"/>
                  </a:lnTo>
                  <a:lnTo>
                    <a:pt x="283" y="221"/>
                  </a:lnTo>
                  <a:lnTo>
                    <a:pt x="281" y="221"/>
                  </a:lnTo>
                  <a:lnTo>
                    <a:pt x="281" y="219"/>
                  </a:lnTo>
                  <a:lnTo>
                    <a:pt x="281" y="218"/>
                  </a:lnTo>
                  <a:lnTo>
                    <a:pt x="280" y="217"/>
                  </a:lnTo>
                  <a:lnTo>
                    <a:pt x="281" y="217"/>
                  </a:lnTo>
                  <a:lnTo>
                    <a:pt x="281" y="216"/>
                  </a:lnTo>
                  <a:lnTo>
                    <a:pt x="280" y="216"/>
                  </a:lnTo>
                  <a:lnTo>
                    <a:pt x="280" y="215"/>
                  </a:lnTo>
                  <a:lnTo>
                    <a:pt x="280" y="216"/>
                  </a:lnTo>
                  <a:lnTo>
                    <a:pt x="280" y="217"/>
                  </a:lnTo>
                  <a:lnTo>
                    <a:pt x="280" y="218"/>
                  </a:lnTo>
                  <a:lnTo>
                    <a:pt x="280" y="219"/>
                  </a:lnTo>
                  <a:lnTo>
                    <a:pt x="279" y="219"/>
                  </a:lnTo>
                  <a:lnTo>
                    <a:pt x="279" y="218"/>
                  </a:lnTo>
                  <a:lnTo>
                    <a:pt x="278" y="218"/>
                  </a:lnTo>
                  <a:lnTo>
                    <a:pt x="279" y="218"/>
                  </a:lnTo>
                  <a:lnTo>
                    <a:pt x="279" y="219"/>
                  </a:lnTo>
                  <a:lnTo>
                    <a:pt x="278" y="219"/>
                  </a:lnTo>
                  <a:lnTo>
                    <a:pt x="278" y="217"/>
                  </a:lnTo>
                  <a:lnTo>
                    <a:pt x="277" y="217"/>
                  </a:lnTo>
                  <a:lnTo>
                    <a:pt x="278" y="217"/>
                  </a:lnTo>
                  <a:lnTo>
                    <a:pt x="278" y="218"/>
                  </a:lnTo>
                  <a:lnTo>
                    <a:pt x="278" y="219"/>
                  </a:lnTo>
                  <a:lnTo>
                    <a:pt x="278" y="221"/>
                  </a:lnTo>
                  <a:lnTo>
                    <a:pt x="278" y="219"/>
                  </a:lnTo>
                  <a:lnTo>
                    <a:pt x="277" y="219"/>
                  </a:lnTo>
                  <a:lnTo>
                    <a:pt x="277" y="218"/>
                  </a:lnTo>
                  <a:lnTo>
                    <a:pt x="277" y="217"/>
                  </a:lnTo>
                  <a:lnTo>
                    <a:pt x="276" y="215"/>
                  </a:lnTo>
                  <a:lnTo>
                    <a:pt x="276" y="214"/>
                  </a:lnTo>
                  <a:lnTo>
                    <a:pt x="276" y="212"/>
                  </a:lnTo>
                  <a:lnTo>
                    <a:pt x="276" y="211"/>
                  </a:lnTo>
                  <a:lnTo>
                    <a:pt x="276" y="210"/>
                  </a:lnTo>
                  <a:lnTo>
                    <a:pt x="274" y="210"/>
                  </a:lnTo>
                  <a:lnTo>
                    <a:pt x="273" y="210"/>
                  </a:lnTo>
                  <a:lnTo>
                    <a:pt x="272" y="209"/>
                  </a:lnTo>
                  <a:lnTo>
                    <a:pt x="272" y="208"/>
                  </a:lnTo>
                  <a:lnTo>
                    <a:pt x="272" y="207"/>
                  </a:lnTo>
                  <a:lnTo>
                    <a:pt x="271" y="207"/>
                  </a:lnTo>
                  <a:lnTo>
                    <a:pt x="272" y="208"/>
                  </a:lnTo>
                  <a:lnTo>
                    <a:pt x="272" y="209"/>
                  </a:lnTo>
                  <a:lnTo>
                    <a:pt x="272" y="210"/>
                  </a:lnTo>
                  <a:lnTo>
                    <a:pt x="273" y="210"/>
                  </a:lnTo>
                  <a:lnTo>
                    <a:pt x="274" y="210"/>
                  </a:lnTo>
                  <a:lnTo>
                    <a:pt x="276" y="211"/>
                  </a:lnTo>
                  <a:lnTo>
                    <a:pt x="276" y="212"/>
                  </a:lnTo>
                  <a:lnTo>
                    <a:pt x="274" y="212"/>
                  </a:lnTo>
                  <a:lnTo>
                    <a:pt x="274" y="214"/>
                  </a:lnTo>
                  <a:lnTo>
                    <a:pt x="273" y="214"/>
                  </a:lnTo>
                  <a:lnTo>
                    <a:pt x="274" y="214"/>
                  </a:lnTo>
                  <a:lnTo>
                    <a:pt x="273" y="214"/>
                  </a:lnTo>
                  <a:lnTo>
                    <a:pt x="273" y="216"/>
                  </a:lnTo>
                  <a:lnTo>
                    <a:pt x="272" y="217"/>
                  </a:lnTo>
                  <a:lnTo>
                    <a:pt x="272" y="218"/>
                  </a:lnTo>
                  <a:lnTo>
                    <a:pt x="271" y="218"/>
                  </a:lnTo>
                  <a:lnTo>
                    <a:pt x="270" y="219"/>
                  </a:lnTo>
                  <a:lnTo>
                    <a:pt x="269" y="219"/>
                  </a:lnTo>
                  <a:lnTo>
                    <a:pt x="267" y="219"/>
                  </a:lnTo>
                  <a:lnTo>
                    <a:pt x="266" y="219"/>
                  </a:lnTo>
                  <a:lnTo>
                    <a:pt x="265" y="221"/>
                  </a:lnTo>
                  <a:lnTo>
                    <a:pt x="264" y="221"/>
                  </a:lnTo>
                  <a:lnTo>
                    <a:pt x="263" y="221"/>
                  </a:lnTo>
                  <a:lnTo>
                    <a:pt x="263" y="222"/>
                  </a:lnTo>
                  <a:lnTo>
                    <a:pt x="262" y="222"/>
                  </a:lnTo>
                  <a:lnTo>
                    <a:pt x="260" y="224"/>
                  </a:lnTo>
                  <a:lnTo>
                    <a:pt x="259" y="225"/>
                  </a:lnTo>
                  <a:lnTo>
                    <a:pt x="259" y="226"/>
                  </a:lnTo>
                  <a:lnTo>
                    <a:pt x="259" y="228"/>
                  </a:lnTo>
                  <a:lnTo>
                    <a:pt x="262" y="231"/>
                  </a:lnTo>
                  <a:lnTo>
                    <a:pt x="262" y="232"/>
                  </a:lnTo>
                  <a:lnTo>
                    <a:pt x="260" y="232"/>
                  </a:lnTo>
                  <a:lnTo>
                    <a:pt x="260" y="233"/>
                  </a:lnTo>
                  <a:lnTo>
                    <a:pt x="262" y="233"/>
                  </a:lnTo>
                  <a:lnTo>
                    <a:pt x="263" y="233"/>
                  </a:lnTo>
                  <a:lnTo>
                    <a:pt x="262" y="233"/>
                  </a:lnTo>
                  <a:lnTo>
                    <a:pt x="262" y="235"/>
                  </a:lnTo>
                  <a:lnTo>
                    <a:pt x="263" y="235"/>
                  </a:lnTo>
                  <a:lnTo>
                    <a:pt x="262" y="236"/>
                  </a:lnTo>
                  <a:lnTo>
                    <a:pt x="259" y="237"/>
                  </a:lnTo>
                  <a:lnTo>
                    <a:pt x="259" y="238"/>
                  </a:lnTo>
                  <a:lnTo>
                    <a:pt x="259" y="239"/>
                  </a:lnTo>
                  <a:lnTo>
                    <a:pt x="260" y="239"/>
                  </a:lnTo>
                  <a:lnTo>
                    <a:pt x="260" y="238"/>
                  </a:lnTo>
                  <a:lnTo>
                    <a:pt x="260" y="239"/>
                  </a:lnTo>
                  <a:lnTo>
                    <a:pt x="259" y="240"/>
                  </a:lnTo>
                  <a:lnTo>
                    <a:pt x="258" y="242"/>
                  </a:lnTo>
                  <a:lnTo>
                    <a:pt x="257" y="242"/>
                  </a:lnTo>
                  <a:lnTo>
                    <a:pt x="257" y="243"/>
                  </a:lnTo>
                  <a:lnTo>
                    <a:pt x="256" y="244"/>
                  </a:lnTo>
                  <a:lnTo>
                    <a:pt x="256" y="245"/>
                  </a:lnTo>
                  <a:lnTo>
                    <a:pt x="255" y="245"/>
                  </a:lnTo>
                  <a:lnTo>
                    <a:pt x="254" y="244"/>
                  </a:lnTo>
                  <a:lnTo>
                    <a:pt x="252" y="244"/>
                  </a:lnTo>
                  <a:lnTo>
                    <a:pt x="252" y="243"/>
                  </a:lnTo>
                  <a:lnTo>
                    <a:pt x="252" y="244"/>
                  </a:lnTo>
                  <a:lnTo>
                    <a:pt x="254" y="244"/>
                  </a:lnTo>
                  <a:lnTo>
                    <a:pt x="254" y="245"/>
                  </a:lnTo>
                  <a:lnTo>
                    <a:pt x="255" y="245"/>
                  </a:lnTo>
                  <a:lnTo>
                    <a:pt x="256" y="245"/>
                  </a:lnTo>
                  <a:lnTo>
                    <a:pt x="254" y="246"/>
                  </a:lnTo>
                  <a:lnTo>
                    <a:pt x="252" y="247"/>
                  </a:lnTo>
                  <a:lnTo>
                    <a:pt x="251" y="247"/>
                  </a:lnTo>
                  <a:lnTo>
                    <a:pt x="249" y="249"/>
                  </a:lnTo>
                  <a:lnTo>
                    <a:pt x="248" y="249"/>
                  </a:lnTo>
                  <a:lnTo>
                    <a:pt x="247" y="249"/>
                  </a:lnTo>
                  <a:lnTo>
                    <a:pt x="245" y="250"/>
                  </a:lnTo>
                  <a:lnTo>
                    <a:pt x="244" y="250"/>
                  </a:lnTo>
                  <a:lnTo>
                    <a:pt x="244" y="251"/>
                  </a:lnTo>
                  <a:lnTo>
                    <a:pt x="243" y="251"/>
                  </a:lnTo>
                  <a:lnTo>
                    <a:pt x="243" y="250"/>
                  </a:lnTo>
                  <a:lnTo>
                    <a:pt x="244" y="250"/>
                  </a:lnTo>
                  <a:lnTo>
                    <a:pt x="245" y="249"/>
                  </a:lnTo>
                  <a:lnTo>
                    <a:pt x="244" y="249"/>
                  </a:lnTo>
                  <a:lnTo>
                    <a:pt x="245" y="249"/>
                  </a:lnTo>
                  <a:lnTo>
                    <a:pt x="244" y="249"/>
                  </a:lnTo>
                  <a:lnTo>
                    <a:pt x="244" y="247"/>
                  </a:lnTo>
                  <a:lnTo>
                    <a:pt x="244" y="246"/>
                  </a:lnTo>
                  <a:lnTo>
                    <a:pt x="243" y="246"/>
                  </a:lnTo>
                  <a:lnTo>
                    <a:pt x="243" y="247"/>
                  </a:lnTo>
                  <a:lnTo>
                    <a:pt x="242" y="247"/>
                  </a:lnTo>
                  <a:lnTo>
                    <a:pt x="242" y="249"/>
                  </a:lnTo>
                  <a:lnTo>
                    <a:pt x="241" y="249"/>
                  </a:lnTo>
                  <a:lnTo>
                    <a:pt x="240" y="250"/>
                  </a:lnTo>
                  <a:lnTo>
                    <a:pt x="240" y="251"/>
                  </a:lnTo>
                  <a:lnTo>
                    <a:pt x="240" y="252"/>
                  </a:lnTo>
                  <a:lnTo>
                    <a:pt x="238" y="252"/>
                  </a:lnTo>
                  <a:lnTo>
                    <a:pt x="240" y="253"/>
                  </a:lnTo>
                  <a:lnTo>
                    <a:pt x="241" y="253"/>
                  </a:lnTo>
                  <a:lnTo>
                    <a:pt x="241" y="252"/>
                  </a:lnTo>
                  <a:lnTo>
                    <a:pt x="240" y="252"/>
                  </a:lnTo>
                  <a:lnTo>
                    <a:pt x="241" y="252"/>
                  </a:lnTo>
                  <a:lnTo>
                    <a:pt x="241" y="251"/>
                  </a:lnTo>
                  <a:lnTo>
                    <a:pt x="242" y="251"/>
                  </a:lnTo>
                  <a:lnTo>
                    <a:pt x="242" y="250"/>
                  </a:lnTo>
                  <a:lnTo>
                    <a:pt x="243" y="250"/>
                  </a:lnTo>
                  <a:lnTo>
                    <a:pt x="243" y="251"/>
                  </a:lnTo>
                  <a:lnTo>
                    <a:pt x="242" y="251"/>
                  </a:lnTo>
                  <a:lnTo>
                    <a:pt x="242" y="252"/>
                  </a:lnTo>
                  <a:lnTo>
                    <a:pt x="245" y="250"/>
                  </a:lnTo>
                  <a:lnTo>
                    <a:pt x="244" y="250"/>
                  </a:lnTo>
                  <a:lnTo>
                    <a:pt x="244" y="251"/>
                  </a:lnTo>
                  <a:lnTo>
                    <a:pt x="243" y="252"/>
                  </a:lnTo>
                  <a:lnTo>
                    <a:pt x="242" y="252"/>
                  </a:lnTo>
                  <a:lnTo>
                    <a:pt x="241" y="253"/>
                  </a:lnTo>
                  <a:lnTo>
                    <a:pt x="240" y="253"/>
                  </a:lnTo>
                  <a:lnTo>
                    <a:pt x="238" y="256"/>
                  </a:lnTo>
                  <a:lnTo>
                    <a:pt x="236" y="258"/>
                  </a:lnTo>
                  <a:lnTo>
                    <a:pt x="236" y="259"/>
                  </a:lnTo>
                  <a:lnTo>
                    <a:pt x="235" y="259"/>
                  </a:lnTo>
                  <a:lnTo>
                    <a:pt x="235" y="260"/>
                  </a:lnTo>
                  <a:lnTo>
                    <a:pt x="235" y="259"/>
                  </a:lnTo>
                  <a:lnTo>
                    <a:pt x="235" y="260"/>
                  </a:lnTo>
                  <a:lnTo>
                    <a:pt x="235" y="261"/>
                  </a:lnTo>
                  <a:lnTo>
                    <a:pt x="234" y="261"/>
                  </a:lnTo>
                  <a:lnTo>
                    <a:pt x="234" y="263"/>
                  </a:lnTo>
                  <a:lnTo>
                    <a:pt x="233" y="264"/>
                  </a:lnTo>
                  <a:lnTo>
                    <a:pt x="233" y="265"/>
                  </a:lnTo>
                  <a:lnTo>
                    <a:pt x="231" y="266"/>
                  </a:lnTo>
                  <a:lnTo>
                    <a:pt x="230" y="267"/>
                  </a:lnTo>
                  <a:lnTo>
                    <a:pt x="230" y="268"/>
                  </a:lnTo>
                  <a:lnTo>
                    <a:pt x="229" y="268"/>
                  </a:lnTo>
                  <a:lnTo>
                    <a:pt x="230" y="268"/>
                  </a:lnTo>
                  <a:lnTo>
                    <a:pt x="229" y="270"/>
                  </a:lnTo>
                  <a:lnTo>
                    <a:pt x="228" y="271"/>
                  </a:lnTo>
                  <a:lnTo>
                    <a:pt x="228" y="272"/>
                  </a:lnTo>
                  <a:lnTo>
                    <a:pt x="223" y="274"/>
                  </a:lnTo>
                  <a:lnTo>
                    <a:pt x="221" y="277"/>
                  </a:lnTo>
                  <a:lnTo>
                    <a:pt x="221" y="278"/>
                  </a:lnTo>
                  <a:lnTo>
                    <a:pt x="220" y="278"/>
                  </a:lnTo>
                  <a:lnTo>
                    <a:pt x="220" y="279"/>
                  </a:lnTo>
                  <a:lnTo>
                    <a:pt x="219" y="280"/>
                  </a:lnTo>
                  <a:lnTo>
                    <a:pt x="219" y="281"/>
                  </a:lnTo>
                  <a:lnTo>
                    <a:pt x="217" y="281"/>
                  </a:lnTo>
                  <a:lnTo>
                    <a:pt x="217" y="282"/>
                  </a:lnTo>
                  <a:lnTo>
                    <a:pt x="216" y="282"/>
                  </a:lnTo>
                  <a:lnTo>
                    <a:pt x="217" y="282"/>
                  </a:lnTo>
                  <a:lnTo>
                    <a:pt x="217" y="284"/>
                  </a:lnTo>
                  <a:lnTo>
                    <a:pt x="216" y="284"/>
                  </a:lnTo>
                  <a:lnTo>
                    <a:pt x="215" y="284"/>
                  </a:lnTo>
                  <a:lnTo>
                    <a:pt x="215" y="285"/>
                  </a:lnTo>
                  <a:lnTo>
                    <a:pt x="214" y="285"/>
                  </a:lnTo>
                  <a:lnTo>
                    <a:pt x="214" y="286"/>
                  </a:lnTo>
                  <a:lnTo>
                    <a:pt x="213" y="286"/>
                  </a:lnTo>
                  <a:lnTo>
                    <a:pt x="212" y="286"/>
                  </a:lnTo>
                  <a:lnTo>
                    <a:pt x="212" y="287"/>
                  </a:lnTo>
                  <a:lnTo>
                    <a:pt x="210" y="287"/>
                  </a:lnTo>
                  <a:lnTo>
                    <a:pt x="207" y="289"/>
                  </a:lnTo>
                  <a:lnTo>
                    <a:pt x="207" y="291"/>
                  </a:lnTo>
                  <a:lnTo>
                    <a:pt x="206" y="291"/>
                  </a:lnTo>
                  <a:lnTo>
                    <a:pt x="206" y="292"/>
                  </a:lnTo>
                  <a:lnTo>
                    <a:pt x="205" y="292"/>
                  </a:lnTo>
                  <a:lnTo>
                    <a:pt x="205" y="293"/>
                  </a:lnTo>
                  <a:lnTo>
                    <a:pt x="205" y="294"/>
                  </a:lnTo>
                  <a:lnTo>
                    <a:pt x="206" y="295"/>
                  </a:lnTo>
                  <a:lnTo>
                    <a:pt x="206" y="294"/>
                  </a:lnTo>
                  <a:lnTo>
                    <a:pt x="206" y="293"/>
                  </a:lnTo>
                  <a:lnTo>
                    <a:pt x="206" y="294"/>
                  </a:lnTo>
                  <a:lnTo>
                    <a:pt x="207" y="295"/>
                  </a:lnTo>
                  <a:lnTo>
                    <a:pt x="206" y="296"/>
                  </a:lnTo>
                  <a:lnTo>
                    <a:pt x="206" y="298"/>
                  </a:lnTo>
                  <a:lnTo>
                    <a:pt x="206" y="299"/>
                  </a:lnTo>
                  <a:lnTo>
                    <a:pt x="206" y="300"/>
                  </a:lnTo>
                  <a:lnTo>
                    <a:pt x="205" y="300"/>
                  </a:lnTo>
                  <a:lnTo>
                    <a:pt x="203" y="301"/>
                  </a:lnTo>
                  <a:lnTo>
                    <a:pt x="202" y="301"/>
                  </a:lnTo>
                  <a:lnTo>
                    <a:pt x="202" y="302"/>
                  </a:lnTo>
                  <a:lnTo>
                    <a:pt x="201" y="302"/>
                  </a:lnTo>
                  <a:lnTo>
                    <a:pt x="200" y="302"/>
                  </a:lnTo>
                  <a:lnTo>
                    <a:pt x="199" y="303"/>
                  </a:lnTo>
                  <a:lnTo>
                    <a:pt x="198" y="303"/>
                  </a:lnTo>
                  <a:lnTo>
                    <a:pt x="196" y="303"/>
                  </a:lnTo>
                  <a:lnTo>
                    <a:pt x="196" y="302"/>
                  </a:lnTo>
                  <a:lnTo>
                    <a:pt x="195" y="302"/>
                  </a:lnTo>
                  <a:lnTo>
                    <a:pt x="196" y="302"/>
                  </a:lnTo>
                  <a:lnTo>
                    <a:pt x="195" y="303"/>
                  </a:lnTo>
                  <a:lnTo>
                    <a:pt x="195" y="302"/>
                  </a:lnTo>
                  <a:lnTo>
                    <a:pt x="194" y="303"/>
                  </a:lnTo>
                  <a:lnTo>
                    <a:pt x="194" y="302"/>
                  </a:lnTo>
                  <a:lnTo>
                    <a:pt x="193" y="302"/>
                  </a:lnTo>
                  <a:lnTo>
                    <a:pt x="192" y="303"/>
                  </a:lnTo>
                  <a:lnTo>
                    <a:pt x="192" y="305"/>
                  </a:lnTo>
                  <a:lnTo>
                    <a:pt x="192" y="306"/>
                  </a:lnTo>
                  <a:lnTo>
                    <a:pt x="192" y="307"/>
                  </a:lnTo>
                  <a:lnTo>
                    <a:pt x="191" y="307"/>
                  </a:lnTo>
                  <a:lnTo>
                    <a:pt x="191" y="308"/>
                  </a:lnTo>
                  <a:lnTo>
                    <a:pt x="191" y="309"/>
                  </a:lnTo>
                  <a:lnTo>
                    <a:pt x="190" y="310"/>
                  </a:lnTo>
                  <a:lnTo>
                    <a:pt x="190" y="312"/>
                  </a:lnTo>
                  <a:lnTo>
                    <a:pt x="188" y="312"/>
                  </a:lnTo>
                  <a:lnTo>
                    <a:pt x="188" y="310"/>
                  </a:lnTo>
                  <a:lnTo>
                    <a:pt x="188" y="309"/>
                  </a:lnTo>
                  <a:lnTo>
                    <a:pt x="187" y="308"/>
                  </a:lnTo>
                  <a:lnTo>
                    <a:pt x="187" y="309"/>
                  </a:lnTo>
                  <a:lnTo>
                    <a:pt x="187" y="310"/>
                  </a:lnTo>
                  <a:lnTo>
                    <a:pt x="187" y="312"/>
                  </a:lnTo>
                  <a:lnTo>
                    <a:pt x="187" y="313"/>
                  </a:lnTo>
                  <a:lnTo>
                    <a:pt x="187" y="312"/>
                  </a:lnTo>
                  <a:lnTo>
                    <a:pt x="186" y="310"/>
                  </a:lnTo>
                  <a:lnTo>
                    <a:pt x="185" y="310"/>
                  </a:lnTo>
                  <a:lnTo>
                    <a:pt x="184" y="310"/>
                  </a:lnTo>
                  <a:lnTo>
                    <a:pt x="183" y="310"/>
                  </a:lnTo>
                  <a:lnTo>
                    <a:pt x="181" y="312"/>
                  </a:lnTo>
                  <a:lnTo>
                    <a:pt x="180" y="312"/>
                  </a:lnTo>
                  <a:lnTo>
                    <a:pt x="179" y="313"/>
                  </a:lnTo>
                  <a:lnTo>
                    <a:pt x="179" y="314"/>
                  </a:lnTo>
                  <a:lnTo>
                    <a:pt x="179" y="315"/>
                  </a:lnTo>
                  <a:lnTo>
                    <a:pt x="179" y="316"/>
                  </a:lnTo>
                  <a:lnTo>
                    <a:pt x="179" y="317"/>
                  </a:lnTo>
                  <a:lnTo>
                    <a:pt x="178" y="317"/>
                  </a:lnTo>
                  <a:lnTo>
                    <a:pt x="178" y="319"/>
                  </a:lnTo>
                  <a:lnTo>
                    <a:pt x="178" y="320"/>
                  </a:lnTo>
                  <a:lnTo>
                    <a:pt x="178" y="321"/>
                  </a:lnTo>
                  <a:lnTo>
                    <a:pt x="178" y="323"/>
                  </a:lnTo>
                  <a:lnTo>
                    <a:pt x="178" y="324"/>
                  </a:lnTo>
                  <a:lnTo>
                    <a:pt x="178" y="326"/>
                  </a:lnTo>
                  <a:lnTo>
                    <a:pt x="179" y="328"/>
                  </a:lnTo>
                  <a:lnTo>
                    <a:pt x="179" y="329"/>
                  </a:lnTo>
                  <a:lnTo>
                    <a:pt x="179" y="330"/>
                  </a:lnTo>
                  <a:lnTo>
                    <a:pt x="180" y="330"/>
                  </a:lnTo>
                  <a:lnTo>
                    <a:pt x="179" y="331"/>
                  </a:lnTo>
                  <a:lnTo>
                    <a:pt x="180" y="331"/>
                  </a:lnTo>
                  <a:lnTo>
                    <a:pt x="180" y="333"/>
                  </a:lnTo>
                  <a:lnTo>
                    <a:pt x="180" y="334"/>
                  </a:lnTo>
                  <a:lnTo>
                    <a:pt x="180" y="335"/>
                  </a:lnTo>
                  <a:lnTo>
                    <a:pt x="180" y="336"/>
                  </a:lnTo>
                  <a:lnTo>
                    <a:pt x="179" y="336"/>
                  </a:lnTo>
                  <a:lnTo>
                    <a:pt x="179" y="337"/>
                  </a:lnTo>
                  <a:lnTo>
                    <a:pt x="179" y="336"/>
                  </a:lnTo>
                  <a:lnTo>
                    <a:pt x="180" y="336"/>
                  </a:lnTo>
                  <a:lnTo>
                    <a:pt x="179" y="337"/>
                  </a:lnTo>
                  <a:lnTo>
                    <a:pt x="180" y="337"/>
                  </a:lnTo>
                  <a:lnTo>
                    <a:pt x="180" y="340"/>
                  </a:lnTo>
                  <a:lnTo>
                    <a:pt x="180" y="341"/>
                  </a:lnTo>
                  <a:lnTo>
                    <a:pt x="181" y="343"/>
                  </a:lnTo>
                  <a:lnTo>
                    <a:pt x="181" y="344"/>
                  </a:lnTo>
                  <a:lnTo>
                    <a:pt x="181" y="345"/>
                  </a:lnTo>
                  <a:lnTo>
                    <a:pt x="183" y="347"/>
                  </a:lnTo>
                  <a:lnTo>
                    <a:pt x="183" y="348"/>
                  </a:lnTo>
                  <a:lnTo>
                    <a:pt x="184" y="349"/>
                  </a:lnTo>
                  <a:lnTo>
                    <a:pt x="183" y="348"/>
                  </a:lnTo>
                  <a:lnTo>
                    <a:pt x="183" y="347"/>
                  </a:lnTo>
                  <a:lnTo>
                    <a:pt x="181" y="345"/>
                  </a:lnTo>
                  <a:lnTo>
                    <a:pt x="180" y="344"/>
                  </a:lnTo>
                  <a:lnTo>
                    <a:pt x="180" y="345"/>
                  </a:lnTo>
                  <a:lnTo>
                    <a:pt x="180" y="347"/>
                  </a:lnTo>
                  <a:lnTo>
                    <a:pt x="180" y="345"/>
                  </a:lnTo>
                  <a:lnTo>
                    <a:pt x="179" y="347"/>
                  </a:lnTo>
                  <a:lnTo>
                    <a:pt x="180" y="347"/>
                  </a:lnTo>
                  <a:lnTo>
                    <a:pt x="180" y="348"/>
                  </a:lnTo>
                  <a:lnTo>
                    <a:pt x="181" y="348"/>
                  </a:lnTo>
                  <a:lnTo>
                    <a:pt x="183" y="348"/>
                  </a:lnTo>
                  <a:lnTo>
                    <a:pt x="183" y="349"/>
                  </a:lnTo>
                  <a:lnTo>
                    <a:pt x="184" y="349"/>
                  </a:lnTo>
                  <a:lnTo>
                    <a:pt x="184" y="350"/>
                  </a:lnTo>
                  <a:lnTo>
                    <a:pt x="184" y="351"/>
                  </a:lnTo>
                  <a:lnTo>
                    <a:pt x="184" y="352"/>
                  </a:lnTo>
                  <a:lnTo>
                    <a:pt x="184" y="354"/>
                  </a:lnTo>
                  <a:lnTo>
                    <a:pt x="184" y="355"/>
                  </a:lnTo>
                  <a:lnTo>
                    <a:pt x="184" y="356"/>
                  </a:lnTo>
                  <a:lnTo>
                    <a:pt x="184" y="357"/>
                  </a:lnTo>
                  <a:lnTo>
                    <a:pt x="184" y="358"/>
                  </a:lnTo>
                  <a:lnTo>
                    <a:pt x="184" y="359"/>
                  </a:lnTo>
                  <a:lnTo>
                    <a:pt x="183" y="361"/>
                  </a:lnTo>
                  <a:lnTo>
                    <a:pt x="183" y="362"/>
                  </a:lnTo>
                  <a:lnTo>
                    <a:pt x="183" y="363"/>
                  </a:lnTo>
                  <a:lnTo>
                    <a:pt x="183" y="364"/>
                  </a:lnTo>
                  <a:lnTo>
                    <a:pt x="181" y="365"/>
                  </a:lnTo>
                  <a:lnTo>
                    <a:pt x="181" y="366"/>
                  </a:lnTo>
                  <a:lnTo>
                    <a:pt x="180" y="368"/>
                  </a:lnTo>
                  <a:lnTo>
                    <a:pt x="179" y="369"/>
                  </a:lnTo>
                  <a:lnTo>
                    <a:pt x="180" y="369"/>
                  </a:lnTo>
                  <a:lnTo>
                    <a:pt x="180" y="368"/>
                  </a:lnTo>
                  <a:lnTo>
                    <a:pt x="180" y="369"/>
                  </a:lnTo>
                  <a:lnTo>
                    <a:pt x="179" y="370"/>
                  </a:lnTo>
                  <a:lnTo>
                    <a:pt x="179" y="371"/>
                  </a:lnTo>
                  <a:lnTo>
                    <a:pt x="179" y="372"/>
                  </a:lnTo>
                  <a:lnTo>
                    <a:pt x="178" y="373"/>
                  </a:lnTo>
                  <a:lnTo>
                    <a:pt x="178" y="375"/>
                  </a:lnTo>
                  <a:lnTo>
                    <a:pt x="178" y="376"/>
                  </a:lnTo>
                  <a:lnTo>
                    <a:pt x="178" y="377"/>
                  </a:lnTo>
                  <a:lnTo>
                    <a:pt x="178" y="378"/>
                  </a:lnTo>
                  <a:lnTo>
                    <a:pt x="178" y="379"/>
                  </a:lnTo>
                  <a:lnTo>
                    <a:pt x="178" y="380"/>
                  </a:lnTo>
                  <a:lnTo>
                    <a:pt x="179" y="380"/>
                  </a:lnTo>
                  <a:lnTo>
                    <a:pt x="178" y="380"/>
                  </a:lnTo>
                  <a:lnTo>
                    <a:pt x="179" y="380"/>
                  </a:lnTo>
                  <a:lnTo>
                    <a:pt x="179" y="382"/>
                  </a:lnTo>
                  <a:lnTo>
                    <a:pt x="178" y="382"/>
                  </a:lnTo>
                  <a:lnTo>
                    <a:pt x="177" y="383"/>
                  </a:lnTo>
                  <a:lnTo>
                    <a:pt x="178" y="383"/>
                  </a:lnTo>
                  <a:lnTo>
                    <a:pt x="178" y="382"/>
                  </a:lnTo>
                  <a:lnTo>
                    <a:pt x="179" y="382"/>
                  </a:lnTo>
                  <a:lnTo>
                    <a:pt x="179" y="384"/>
                  </a:lnTo>
                  <a:lnTo>
                    <a:pt x="179" y="385"/>
                  </a:lnTo>
                  <a:lnTo>
                    <a:pt x="180" y="387"/>
                  </a:lnTo>
                  <a:lnTo>
                    <a:pt x="179" y="389"/>
                  </a:lnTo>
                  <a:lnTo>
                    <a:pt x="180" y="391"/>
                  </a:lnTo>
                  <a:lnTo>
                    <a:pt x="180" y="394"/>
                  </a:lnTo>
                  <a:lnTo>
                    <a:pt x="180" y="398"/>
                  </a:lnTo>
                  <a:lnTo>
                    <a:pt x="180" y="399"/>
                  </a:lnTo>
                  <a:lnTo>
                    <a:pt x="179" y="399"/>
                  </a:lnTo>
                  <a:lnTo>
                    <a:pt x="179" y="398"/>
                  </a:lnTo>
                  <a:lnTo>
                    <a:pt x="178" y="398"/>
                  </a:lnTo>
                  <a:lnTo>
                    <a:pt x="177" y="398"/>
                  </a:lnTo>
                  <a:lnTo>
                    <a:pt x="178" y="398"/>
                  </a:lnTo>
                  <a:lnTo>
                    <a:pt x="178" y="399"/>
                  </a:lnTo>
                  <a:lnTo>
                    <a:pt x="179" y="399"/>
                  </a:lnTo>
                  <a:lnTo>
                    <a:pt x="177" y="399"/>
                  </a:lnTo>
                  <a:lnTo>
                    <a:pt x="177" y="398"/>
                  </a:lnTo>
                  <a:lnTo>
                    <a:pt x="176" y="398"/>
                  </a:lnTo>
                  <a:lnTo>
                    <a:pt x="174" y="398"/>
                  </a:lnTo>
                  <a:lnTo>
                    <a:pt x="173" y="399"/>
                  </a:lnTo>
                  <a:lnTo>
                    <a:pt x="172" y="399"/>
                  </a:lnTo>
                  <a:lnTo>
                    <a:pt x="172" y="400"/>
                  </a:lnTo>
                  <a:lnTo>
                    <a:pt x="172" y="401"/>
                  </a:lnTo>
                  <a:lnTo>
                    <a:pt x="172" y="403"/>
                  </a:lnTo>
                  <a:lnTo>
                    <a:pt x="173" y="403"/>
                  </a:lnTo>
                  <a:lnTo>
                    <a:pt x="172" y="404"/>
                  </a:lnTo>
                  <a:lnTo>
                    <a:pt x="171" y="405"/>
                  </a:lnTo>
                  <a:lnTo>
                    <a:pt x="171" y="406"/>
                  </a:lnTo>
                  <a:lnTo>
                    <a:pt x="170" y="407"/>
                  </a:lnTo>
                  <a:lnTo>
                    <a:pt x="169" y="408"/>
                  </a:lnTo>
                  <a:lnTo>
                    <a:pt x="169" y="410"/>
                  </a:lnTo>
                  <a:lnTo>
                    <a:pt x="169" y="411"/>
                  </a:lnTo>
                  <a:lnTo>
                    <a:pt x="169" y="412"/>
                  </a:lnTo>
                  <a:lnTo>
                    <a:pt x="169" y="413"/>
                  </a:lnTo>
                  <a:lnTo>
                    <a:pt x="170" y="414"/>
                  </a:lnTo>
                  <a:lnTo>
                    <a:pt x="171" y="414"/>
                  </a:lnTo>
                  <a:lnTo>
                    <a:pt x="173" y="414"/>
                  </a:lnTo>
                  <a:lnTo>
                    <a:pt x="174" y="414"/>
                  </a:lnTo>
                  <a:lnTo>
                    <a:pt x="174" y="415"/>
                  </a:lnTo>
                  <a:lnTo>
                    <a:pt x="176" y="417"/>
                  </a:lnTo>
                  <a:lnTo>
                    <a:pt x="174" y="415"/>
                  </a:lnTo>
                  <a:lnTo>
                    <a:pt x="173" y="415"/>
                  </a:lnTo>
                  <a:lnTo>
                    <a:pt x="172" y="415"/>
                  </a:lnTo>
                  <a:lnTo>
                    <a:pt x="171" y="415"/>
                  </a:lnTo>
                  <a:lnTo>
                    <a:pt x="170" y="415"/>
                  </a:lnTo>
                  <a:lnTo>
                    <a:pt x="170" y="414"/>
                  </a:lnTo>
                  <a:lnTo>
                    <a:pt x="169" y="415"/>
                  </a:lnTo>
                  <a:lnTo>
                    <a:pt x="167" y="415"/>
                  </a:lnTo>
                  <a:lnTo>
                    <a:pt x="166" y="415"/>
                  </a:lnTo>
                  <a:lnTo>
                    <a:pt x="166" y="417"/>
                  </a:lnTo>
                  <a:lnTo>
                    <a:pt x="165" y="417"/>
                  </a:lnTo>
                  <a:lnTo>
                    <a:pt x="164" y="417"/>
                  </a:lnTo>
                  <a:lnTo>
                    <a:pt x="163" y="418"/>
                  </a:lnTo>
                  <a:lnTo>
                    <a:pt x="162" y="418"/>
                  </a:lnTo>
                  <a:lnTo>
                    <a:pt x="159" y="420"/>
                  </a:lnTo>
                  <a:lnTo>
                    <a:pt x="158" y="421"/>
                  </a:lnTo>
                  <a:lnTo>
                    <a:pt x="158" y="422"/>
                  </a:lnTo>
                  <a:lnTo>
                    <a:pt x="158" y="424"/>
                  </a:lnTo>
                  <a:lnTo>
                    <a:pt x="158" y="422"/>
                  </a:lnTo>
                  <a:lnTo>
                    <a:pt x="159" y="422"/>
                  </a:lnTo>
                  <a:lnTo>
                    <a:pt x="159" y="424"/>
                  </a:lnTo>
                  <a:lnTo>
                    <a:pt x="158" y="424"/>
                  </a:lnTo>
                  <a:lnTo>
                    <a:pt x="158" y="425"/>
                  </a:lnTo>
                  <a:lnTo>
                    <a:pt x="158" y="426"/>
                  </a:lnTo>
                  <a:lnTo>
                    <a:pt x="158" y="427"/>
                  </a:lnTo>
                  <a:lnTo>
                    <a:pt x="157" y="428"/>
                  </a:lnTo>
                  <a:lnTo>
                    <a:pt x="157" y="429"/>
                  </a:lnTo>
                  <a:lnTo>
                    <a:pt x="153" y="432"/>
                  </a:lnTo>
                  <a:lnTo>
                    <a:pt x="151" y="433"/>
                  </a:lnTo>
                  <a:lnTo>
                    <a:pt x="150" y="433"/>
                  </a:lnTo>
                  <a:lnTo>
                    <a:pt x="150" y="434"/>
                  </a:lnTo>
                  <a:lnTo>
                    <a:pt x="149" y="434"/>
                  </a:lnTo>
                  <a:lnTo>
                    <a:pt x="146" y="433"/>
                  </a:lnTo>
                  <a:lnTo>
                    <a:pt x="146" y="432"/>
                  </a:lnTo>
                  <a:lnTo>
                    <a:pt x="145" y="432"/>
                  </a:lnTo>
                  <a:lnTo>
                    <a:pt x="144" y="431"/>
                  </a:lnTo>
                  <a:lnTo>
                    <a:pt x="142" y="429"/>
                  </a:lnTo>
                  <a:lnTo>
                    <a:pt x="142" y="428"/>
                  </a:lnTo>
                  <a:lnTo>
                    <a:pt x="141" y="427"/>
                  </a:lnTo>
                  <a:lnTo>
                    <a:pt x="139" y="426"/>
                  </a:lnTo>
                  <a:lnTo>
                    <a:pt x="138" y="425"/>
                  </a:lnTo>
                  <a:lnTo>
                    <a:pt x="138" y="424"/>
                  </a:lnTo>
                  <a:lnTo>
                    <a:pt x="137" y="422"/>
                  </a:lnTo>
                  <a:lnTo>
                    <a:pt x="136" y="421"/>
                  </a:lnTo>
                  <a:lnTo>
                    <a:pt x="136" y="420"/>
                  </a:lnTo>
                  <a:lnTo>
                    <a:pt x="136" y="421"/>
                  </a:lnTo>
                  <a:lnTo>
                    <a:pt x="136" y="420"/>
                  </a:lnTo>
                  <a:lnTo>
                    <a:pt x="137" y="420"/>
                  </a:lnTo>
                  <a:lnTo>
                    <a:pt x="136" y="420"/>
                  </a:lnTo>
                  <a:lnTo>
                    <a:pt x="137" y="420"/>
                  </a:lnTo>
                  <a:lnTo>
                    <a:pt x="137" y="419"/>
                  </a:lnTo>
                  <a:lnTo>
                    <a:pt x="136" y="419"/>
                  </a:lnTo>
                  <a:lnTo>
                    <a:pt x="136" y="420"/>
                  </a:lnTo>
                  <a:lnTo>
                    <a:pt x="136" y="419"/>
                  </a:lnTo>
                  <a:lnTo>
                    <a:pt x="136" y="420"/>
                  </a:lnTo>
                  <a:lnTo>
                    <a:pt x="135" y="420"/>
                  </a:lnTo>
                  <a:lnTo>
                    <a:pt x="135" y="419"/>
                  </a:lnTo>
                  <a:lnTo>
                    <a:pt x="135" y="418"/>
                  </a:lnTo>
                  <a:lnTo>
                    <a:pt x="135" y="417"/>
                  </a:lnTo>
                  <a:lnTo>
                    <a:pt x="135" y="418"/>
                  </a:lnTo>
                  <a:lnTo>
                    <a:pt x="135" y="417"/>
                  </a:lnTo>
                  <a:lnTo>
                    <a:pt x="134" y="415"/>
                  </a:lnTo>
                  <a:lnTo>
                    <a:pt x="134" y="417"/>
                  </a:lnTo>
                  <a:lnTo>
                    <a:pt x="132" y="414"/>
                  </a:lnTo>
                  <a:lnTo>
                    <a:pt x="132" y="412"/>
                  </a:lnTo>
                  <a:lnTo>
                    <a:pt x="131" y="410"/>
                  </a:lnTo>
                  <a:lnTo>
                    <a:pt x="131" y="408"/>
                  </a:lnTo>
                  <a:lnTo>
                    <a:pt x="131" y="406"/>
                  </a:lnTo>
                  <a:lnTo>
                    <a:pt x="131" y="405"/>
                  </a:lnTo>
                  <a:lnTo>
                    <a:pt x="130" y="405"/>
                  </a:lnTo>
                  <a:lnTo>
                    <a:pt x="130" y="404"/>
                  </a:lnTo>
                  <a:lnTo>
                    <a:pt x="131" y="404"/>
                  </a:lnTo>
                  <a:lnTo>
                    <a:pt x="131" y="405"/>
                  </a:lnTo>
                  <a:lnTo>
                    <a:pt x="131" y="406"/>
                  </a:lnTo>
                  <a:lnTo>
                    <a:pt x="131" y="405"/>
                  </a:lnTo>
                  <a:lnTo>
                    <a:pt x="131" y="406"/>
                  </a:lnTo>
                  <a:lnTo>
                    <a:pt x="132" y="408"/>
                  </a:lnTo>
                  <a:lnTo>
                    <a:pt x="132" y="407"/>
                  </a:lnTo>
                  <a:lnTo>
                    <a:pt x="132" y="406"/>
                  </a:lnTo>
                  <a:lnTo>
                    <a:pt x="131" y="406"/>
                  </a:lnTo>
                  <a:lnTo>
                    <a:pt x="132" y="405"/>
                  </a:lnTo>
                  <a:lnTo>
                    <a:pt x="132" y="406"/>
                  </a:lnTo>
                  <a:lnTo>
                    <a:pt x="132" y="407"/>
                  </a:lnTo>
                  <a:lnTo>
                    <a:pt x="132" y="408"/>
                  </a:lnTo>
                  <a:lnTo>
                    <a:pt x="132" y="410"/>
                  </a:lnTo>
                  <a:lnTo>
                    <a:pt x="132" y="411"/>
                  </a:lnTo>
                  <a:lnTo>
                    <a:pt x="134" y="411"/>
                  </a:lnTo>
                  <a:lnTo>
                    <a:pt x="135" y="411"/>
                  </a:lnTo>
                  <a:lnTo>
                    <a:pt x="134" y="411"/>
                  </a:lnTo>
                  <a:lnTo>
                    <a:pt x="134" y="410"/>
                  </a:lnTo>
                  <a:lnTo>
                    <a:pt x="134" y="408"/>
                  </a:lnTo>
                  <a:lnTo>
                    <a:pt x="132" y="408"/>
                  </a:lnTo>
                  <a:lnTo>
                    <a:pt x="132" y="407"/>
                  </a:lnTo>
                  <a:lnTo>
                    <a:pt x="132" y="406"/>
                  </a:lnTo>
                  <a:lnTo>
                    <a:pt x="132" y="405"/>
                  </a:lnTo>
                  <a:lnTo>
                    <a:pt x="131" y="404"/>
                  </a:lnTo>
                  <a:lnTo>
                    <a:pt x="131" y="403"/>
                  </a:lnTo>
                  <a:lnTo>
                    <a:pt x="130" y="403"/>
                  </a:lnTo>
                  <a:lnTo>
                    <a:pt x="130" y="401"/>
                  </a:lnTo>
                  <a:lnTo>
                    <a:pt x="130" y="403"/>
                  </a:lnTo>
                  <a:lnTo>
                    <a:pt x="130" y="404"/>
                  </a:lnTo>
                  <a:lnTo>
                    <a:pt x="130" y="403"/>
                  </a:lnTo>
                  <a:lnTo>
                    <a:pt x="130" y="401"/>
                  </a:lnTo>
                  <a:lnTo>
                    <a:pt x="129" y="401"/>
                  </a:lnTo>
                  <a:lnTo>
                    <a:pt x="129" y="400"/>
                  </a:lnTo>
                  <a:lnTo>
                    <a:pt x="130" y="400"/>
                  </a:lnTo>
                  <a:lnTo>
                    <a:pt x="130" y="399"/>
                  </a:lnTo>
                  <a:lnTo>
                    <a:pt x="130" y="400"/>
                  </a:lnTo>
                  <a:lnTo>
                    <a:pt x="129" y="400"/>
                  </a:lnTo>
                  <a:lnTo>
                    <a:pt x="129" y="399"/>
                  </a:lnTo>
                  <a:lnTo>
                    <a:pt x="129" y="398"/>
                  </a:lnTo>
                  <a:lnTo>
                    <a:pt x="128" y="397"/>
                  </a:lnTo>
                  <a:lnTo>
                    <a:pt x="128" y="396"/>
                  </a:lnTo>
                  <a:lnTo>
                    <a:pt x="128" y="394"/>
                  </a:lnTo>
                  <a:lnTo>
                    <a:pt x="127" y="394"/>
                  </a:lnTo>
                  <a:lnTo>
                    <a:pt x="127" y="393"/>
                  </a:lnTo>
                  <a:lnTo>
                    <a:pt x="126" y="392"/>
                  </a:lnTo>
                  <a:lnTo>
                    <a:pt x="126" y="391"/>
                  </a:lnTo>
                  <a:lnTo>
                    <a:pt x="126" y="390"/>
                  </a:lnTo>
                  <a:lnTo>
                    <a:pt x="124" y="389"/>
                  </a:lnTo>
                  <a:lnTo>
                    <a:pt x="124" y="386"/>
                  </a:lnTo>
                  <a:lnTo>
                    <a:pt x="122" y="383"/>
                  </a:lnTo>
                  <a:lnTo>
                    <a:pt x="122" y="382"/>
                  </a:lnTo>
                  <a:lnTo>
                    <a:pt x="122" y="380"/>
                  </a:lnTo>
                  <a:lnTo>
                    <a:pt x="121" y="380"/>
                  </a:lnTo>
                  <a:lnTo>
                    <a:pt x="121" y="379"/>
                  </a:lnTo>
                  <a:lnTo>
                    <a:pt x="120" y="379"/>
                  </a:lnTo>
                  <a:lnTo>
                    <a:pt x="120" y="378"/>
                  </a:lnTo>
                  <a:lnTo>
                    <a:pt x="119" y="377"/>
                  </a:lnTo>
                  <a:lnTo>
                    <a:pt x="119" y="376"/>
                  </a:lnTo>
                  <a:lnTo>
                    <a:pt x="116" y="373"/>
                  </a:lnTo>
                  <a:lnTo>
                    <a:pt x="116" y="372"/>
                  </a:lnTo>
                  <a:lnTo>
                    <a:pt x="117" y="373"/>
                  </a:lnTo>
                  <a:lnTo>
                    <a:pt x="116" y="372"/>
                  </a:lnTo>
                  <a:lnTo>
                    <a:pt x="117" y="372"/>
                  </a:lnTo>
                  <a:lnTo>
                    <a:pt x="116" y="372"/>
                  </a:lnTo>
                  <a:lnTo>
                    <a:pt x="115" y="372"/>
                  </a:lnTo>
                  <a:lnTo>
                    <a:pt x="115" y="371"/>
                  </a:lnTo>
                  <a:lnTo>
                    <a:pt x="116" y="371"/>
                  </a:lnTo>
                  <a:lnTo>
                    <a:pt x="115" y="371"/>
                  </a:lnTo>
                  <a:lnTo>
                    <a:pt x="115" y="372"/>
                  </a:lnTo>
                  <a:lnTo>
                    <a:pt x="115" y="371"/>
                  </a:lnTo>
                  <a:lnTo>
                    <a:pt x="114" y="371"/>
                  </a:lnTo>
                  <a:lnTo>
                    <a:pt x="114" y="370"/>
                  </a:lnTo>
                  <a:lnTo>
                    <a:pt x="113" y="369"/>
                  </a:lnTo>
                  <a:lnTo>
                    <a:pt x="113" y="368"/>
                  </a:lnTo>
                  <a:lnTo>
                    <a:pt x="113" y="369"/>
                  </a:lnTo>
                  <a:lnTo>
                    <a:pt x="113" y="368"/>
                  </a:lnTo>
                  <a:lnTo>
                    <a:pt x="113" y="366"/>
                  </a:lnTo>
                  <a:lnTo>
                    <a:pt x="112" y="365"/>
                  </a:lnTo>
                  <a:lnTo>
                    <a:pt x="110" y="364"/>
                  </a:lnTo>
                  <a:lnTo>
                    <a:pt x="110" y="363"/>
                  </a:lnTo>
                  <a:lnTo>
                    <a:pt x="109" y="361"/>
                  </a:lnTo>
                  <a:lnTo>
                    <a:pt x="109" y="359"/>
                  </a:lnTo>
                  <a:lnTo>
                    <a:pt x="108" y="359"/>
                  </a:lnTo>
                  <a:lnTo>
                    <a:pt x="108" y="358"/>
                  </a:lnTo>
                  <a:lnTo>
                    <a:pt x="109" y="358"/>
                  </a:lnTo>
                  <a:lnTo>
                    <a:pt x="108" y="358"/>
                  </a:lnTo>
                  <a:lnTo>
                    <a:pt x="107" y="355"/>
                  </a:lnTo>
                  <a:lnTo>
                    <a:pt x="107" y="354"/>
                  </a:lnTo>
                  <a:lnTo>
                    <a:pt x="107" y="352"/>
                  </a:lnTo>
                  <a:lnTo>
                    <a:pt x="106" y="351"/>
                  </a:lnTo>
                  <a:lnTo>
                    <a:pt x="106" y="350"/>
                  </a:lnTo>
                  <a:lnTo>
                    <a:pt x="106" y="349"/>
                  </a:lnTo>
                  <a:lnTo>
                    <a:pt x="105" y="348"/>
                  </a:lnTo>
                  <a:lnTo>
                    <a:pt x="105" y="347"/>
                  </a:lnTo>
                  <a:lnTo>
                    <a:pt x="105" y="345"/>
                  </a:lnTo>
                  <a:lnTo>
                    <a:pt x="106" y="345"/>
                  </a:lnTo>
                  <a:lnTo>
                    <a:pt x="105" y="345"/>
                  </a:lnTo>
                  <a:lnTo>
                    <a:pt x="106" y="345"/>
                  </a:lnTo>
                  <a:lnTo>
                    <a:pt x="105" y="344"/>
                  </a:lnTo>
                  <a:lnTo>
                    <a:pt x="105" y="345"/>
                  </a:lnTo>
                  <a:lnTo>
                    <a:pt x="105" y="343"/>
                  </a:lnTo>
                  <a:lnTo>
                    <a:pt x="103" y="343"/>
                  </a:lnTo>
                  <a:lnTo>
                    <a:pt x="103" y="342"/>
                  </a:lnTo>
                  <a:lnTo>
                    <a:pt x="103" y="341"/>
                  </a:lnTo>
                  <a:lnTo>
                    <a:pt x="102" y="341"/>
                  </a:lnTo>
                  <a:lnTo>
                    <a:pt x="102" y="340"/>
                  </a:lnTo>
                  <a:lnTo>
                    <a:pt x="102" y="338"/>
                  </a:lnTo>
                  <a:lnTo>
                    <a:pt x="101" y="338"/>
                  </a:lnTo>
                  <a:lnTo>
                    <a:pt x="101" y="337"/>
                  </a:lnTo>
                  <a:lnTo>
                    <a:pt x="101" y="336"/>
                  </a:lnTo>
                  <a:lnTo>
                    <a:pt x="102" y="336"/>
                  </a:lnTo>
                  <a:lnTo>
                    <a:pt x="101" y="336"/>
                  </a:lnTo>
                  <a:lnTo>
                    <a:pt x="101" y="335"/>
                  </a:lnTo>
                  <a:lnTo>
                    <a:pt x="100" y="335"/>
                  </a:lnTo>
                  <a:lnTo>
                    <a:pt x="100" y="334"/>
                  </a:lnTo>
                  <a:lnTo>
                    <a:pt x="100" y="333"/>
                  </a:lnTo>
                  <a:lnTo>
                    <a:pt x="100" y="331"/>
                  </a:lnTo>
                  <a:lnTo>
                    <a:pt x="100" y="333"/>
                  </a:lnTo>
                  <a:lnTo>
                    <a:pt x="100" y="331"/>
                  </a:lnTo>
                  <a:lnTo>
                    <a:pt x="99" y="331"/>
                  </a:lnTo>
                  <a:lnTo>
                    <a:pt x="99" y="330"/>
                  </a:lnTo>
                  <a:lnTo>
                    <a:pt x="98" y="330"/>
                  </a:lnTo>
                  <a:lnTo>
                    <a:pt x="99" y="330"/>
                  </a:lnTo>
                  <a:lnTo>
                    <a:pt x="98" y="329"/>
                  </a:lnTo>
                  <a:lnTo>
                    <a:pt x="98" y="328"/>
                  </a:lnTo>
                  <a:lnTo>
                    <a:pt x="96" y="329"/>
                  </a:lnTo>
                  <a:lnTo>
                    <a:pt x="96" y="328"/>
                  </a:lnTo>
                  <a:lnTo>
                    <a:pt x="95" y="328"/>
                  </a:lnTo>
                  <a:lnTo>
                    <a:pt x="95" y="327"/>
                  </a:lnTo>
                  <a:lnTo>
                    <a:pt x="95" y="328"/>
                  </a:lnTo>
                  <a:lnTo>
                    <a:pt x="95" y="327"/>
                  </a:lnTo>
                  <a:lnTo>
                    <a:pt x="96" y="327"/>
                  </a:lnTo>
                  <a:lnTo>
                    <a:pt x="98" y="327"/>
                  </a:lnTo>
                  <a:lnTo>
                    <a:pt x="98" y="326"/>
                  </a:lnTo>
                  <a:lnTo>
                    <a:pt x="96" y="326"/>
                  </a:lnTo>
                  <a:lnTo>
                    <a:pt x="96" y="327"/>
                  </a:lnTo>
                  <a:lnTo>
                    <a:pt x="95" y="327"/>
                  </a:lnTo>
                  <a:lnTo>
                    <a:pt x="95" y="326"/>
                  </a:lnTo>
                  <a:lnTo>
                    <a:pt x="94" y="326"/>
                  </a:lnTo>
                  <a:lnTo>
                    <a:pt x="94" y="324"/>
                  </a:lnTo>
                  <a:lnTo>
                    <a:pt x="93" y="323"/>
                  </a:lnTo>
                  <a:lnTo>
                    <a:pt x="93" y="322"/>
                  </a:lnTo>
                  <a:lnTo>
                    <a:pt x="92" y="319"/>
                  </a:lnTo>
                  <a:lnTo>
                    <a:pt x="91" y="319"/>
                  </a:lnTo>
                  <a:lnTo>
                    <a:pt x="91" y="317"/>
                  </a:lnTo>
                  <a:lnTo>
                    <a:pt x="92" y="317"/>
                  </a:lnTo>
                  <a:lnTo>
                    <a:pt x="93" y="317"/>
                  </a:lnTo>
                  <a:lnTo>
                    <a:pt x="93" y="319"/>
                  </a:lnTo>
                  <a:lnTo>
                    <a:pt x="93" y="317"/>
                  </a:lnTo>
                  <a:lnTo>
                    <a:pt x="92" y="317"/>
                  </a:lnTo>
                  <a:lnTo>
                    <a:pt x="91" y="317"/>
                  </a:lnTo>
                  <a:lnTo>
                    <a:pt x="91" y="316"/>
                  </a:lnTo>
                  <a:lnTo>
                    <a:pt x="92" y="316"/>
                  </a:lnTo>
                  <a:lnTo>
                    <a:pt x="91" y="316"/>
                  </a:lnTo>
                  <a:lnTo>
                    <a:pt x="89" y="316"/>
                  </a:lnTo>
                  <a:lnTo>
                    <a:pt x="89" y="315"/>
                  </a:lnTo>
                  <a:lnTo>
                    <a:pt x="89" y="314"/>
                  </a:lnTo>
                  <a:lnTo>
                    <a:pt x="91" y="314"/>
                  </a:lnTo>
                  <a:lnTo>
                    <a:pt x="89" y="314"/>
                  </a:lnTo>
                  <a:lnTo>
                    <a:pt x="88" y="314"/>
                  </a:lnTo>
                  <a:lnTo>
                    <a:pt x="88" y="313"/>
                  </a:lnTo>
                  <a:lnTo>
                    <a:pt x="88" y="312"/>
                  </a:lnTo>
                  <a:lnTo>
                    <a:pt x="87" y="310"/>
                  </a:lnTo>
                  <a:lnTo>
                    <a:pt x="86" y="309"/>
                  </a:lnTo>
                  <a:lnTo>
                    <a:pt x="86" y="308"/>
                  </a:lnTo>
                  <a:lnTo>
                    <a:pt x="85" y="308"/>
                  </a:lnTo>
                  <a:lnTo>
                    <a:pt x="85" y="307"/>
                  </a:lnTo>
                  <a:lnTo>
                    <a:pt x="85" y="306"/>
                  </a:lnTo>
                  <a:lnTo>
                    <a:pt x="85" y="307"/>
                  </a:lnTo>
                  <a:lnTo>
                    <a:pt x="85" y="306"/>
                  </a:lnTo>
                  <a:lnTo>
                    <a:pt x="85" y="305"/>
                  </a:lnTo>
                  <a:lnTo>
                    <a:pt x="84" y="305"/>
                  </a:lnTo>
                  <a:lnTo>
                    <a:pt x="84" y="303"/>
                  </a:lnTo>
                  <a:lnTo>
                    <a:pt x="84" y="302"/>
                  </a:lnTo>
                  <a:lnTo>
                    <a:pt x="82" y="302"/>
                  </a:lnTo>
                  <a:lnTo>
                    <a:pt x="82" y="301"/>
                  </a:lnTo>
                  <a:lnTo>
                    <a:pt x="82" y="300"/>
                  </a:lnTo>
                  <a:lnTo>
                    <a:pt x="84" y="300"/>
                  </a:lnTo>
                  <a:lnTo>
                    <a:pt x="82" y="300"/>
                  </a:lnTo>
                  <a:lnTo>
                    <a:pt x="82" y="299"/>
                  </a:lnTo>
                  <a:lnTo>
                    <a:pt x="82" y="298"/>
                  </a:lnTo>
                  <a:lnTo>
                    <a:pt x="81" y="298"/>
                  </a:lnTo>
                  <a:lnTo>
                    <a:pt x="81" y="296"/>
                  </a:lnTo>
                  <a:lnTo>
                    <a:pt x="81" y="295"/>
                  </a:lnTo>
                  <a:lnTo>
                    <a:pt x="81" y="294"/>
                  </a:lnTo>
                  <a:lnTo>
                    <a:pt x="81" y="293"/>
                  </a:lnTo>
                  <a:lnTo>
                    <a:pt x="80" y="293"/>
                  </a:lnTo>
                  <a:lnTo>
                    <a:pt x="81" y="292"/>
                  </a:lnTo>
                  <a:lnTo>
                    <a:pt x="80" y="292"/>
                  </a:lnTo>
                  <a:lnTo>
                    <a:pt x="81" y="292"/>
                  </a:lnTo>
                  <a:lnTo>
                    <a:pt x="81" y="291"/>
                  </a:lnTo>
                  <a:lnTo>
                    <a:pt x="80" y="291"/>
                  </a:lnTo>
                  <a:lnTo>
                    <a:pt x="80" y="289"/>
                  </a:lnTo>
                  <a:lnTo>
                    <a:pt x="80" y="288"/>
                  </a:lnTo>
                  <a:lnTo>
                    <a:pt x="79" y="288"/>
                  </a:lnTo>
                  <a:lnTo>
                    <a:pt x="80" y="288"/>
                  </a:lnTo>
                  <a:lnTo>
                    <a:pt x="79" y="287"/>
                  </a:lnTo>
                  <a:lnTo>
                    <a:pt x="79" y="286"/>
                  </a:lnTo>
                  <a:lnTo>
                    <a:pt x="79" y="285"/>
                  </a:lnTo>
                  <a:lnTo>
                    <a:pt x="78" y="284"/>
                  </a:lnTo>
                  <a:lnTo>
                    <a:pt x="79" y="284"/>
                  </a:lnTo>
                  <a:lnTo>
                    <a:pt x="78" y="284"/>
                  </a:lnTo>
                  <a:lnTo>
                    <a:pt x="78" y="282"/>
                  </a:lnTo>
                  <a:lnTo>
                    <a:pt x="78" y="281"/>
                  </a:lnTo>
                  <a:lnTo>
                    <a:pt x="78" y="280"/>
                  </a:lnTo>
                  <a:lnTo>
                    <a:pt x="77" y="280"/>
                  </a:lnTo>
                  <a:lnTo>
                    <a:pt x="77" y="279"/>
                  </a:lnTo>
                  <a:lnTo>
                    <a:pt x="75" y="278"/>
                  </a:lnTo>
                  <a:lnTo>
                    <a:pt x="77" y="277"/>
                  </a:lnTo>
                  <a:lnTo>
                    <a:pt x="75" y="277"/>
                  </a:lnTo>
                  <a:lnTo>
                    <a:pt x="77" y="275"/>
                  </a:lnTo>
                  <a:lnTo>
                    <a:pt x="75" y="275"/>
                  </a:lnTo>
                  <a:lnTo>
                    <a:pt x="75" y="277"/>
                  </a:lnTo>
                  <a:lnTo>
                    <a:pt x="75" y="275"/>
                  </a:lnTo>
                  <a:lnTo>
                    <a:pt x="74" y="273"/>
                  </a:lnTo>
                  <a:lnTo>
                    <a:pt x="74" y="272"/>
                  </a:lnTo>
                  <a:lnTo>
                    <a:pt x="74" y="273"/>
                  </a:lnTo>
                  <a:lnTo>
                    <a:pt x="75" y="273"/>
                  </a:lnTo>
                  <a:lnTo>
                    <a:pt x="77" y="273"/>
                  </a:lnTo>
                  <a:lnTo>
                    <a:pt x="75" y="273"/>
                  </a:lnTo>
                  <a:lnTo>
                    <a:pt x="75" y="274"/>
                  </a:lnTo>
                  <a:lnTo>
                    <a:pt x="77" y="274"/>
                  </a:lnTo>
                  <a:lnTo>
                    <a:pt x="77" y="273"/>
                  </a:lnTo>
                  <a:lnTo>
                    <a:pt x="77" y="272"/>
                  </a:lnTo>
                  <a:lnTo>
                    <a:pt x="75" y="272"/>
                  </a:lnTo>
                  <a:lnTo>
                    <a:pt x="74" y="272"/>
                  </a:lnTo>
                  <a:lnTo>
                    <a:pt x="74" y="271"/>
                  </a:lnTo>
                  <a:lnTo>
                    <a:pt x="73" y="271"/>
                  </a:lnTo>
                  <a:lnTo>
                    <a:pt x="73" y="270"/>
                  </a:lnTo>
                  <a:lnTo>
                    <a:pt x="73" y="268"/>
                  </a:lnTo>
                  <a:lnTo>
                    <a:pt x="74" y="268"/>
                  </a:lnTo>
                  <a:lnTo>
                    <a:pt x="74" y="270"/>
                  </a:lnTo>
                  <a:lnTo>
                    <a:pt x="75" y="270"/>
                  </a:lnTo>
                  <a:lnTo>
                    <a:pt x="74" y="270"/>
                  </a:lnTo>
                  <a:lnTo>
                    <a:pt x="74" y="268"/>
                  </a:lnTo>
                  <a:lnTo>
                    <a:pt x="73" y="268"/>
                  </a:lnTo>
                  <a:lnTo>
                    <a:pt x="73" y="267"/>
                  </a:lnTo>
                  <a:lnTo>
                    <a:pt x="73" y="266"/>
                  </a:lnTo>
                  <a:lnTo>
                    <a:pt x="72" y="266"/>
                  </a:lnTo>
                  <a:lnTo>
                    <a:pt x="72" y="265"/>
                  </a:lnTo>
                  <a:lnTo>
                    <a:pt x="72" y="264"/>
                  </a:lnTo>
                  <a:lnTo>
                    <a:pt x="73" y="264"/>
                  </a:lnTo>
                  <a:lnTo>
                    <a:pt x="74" y="265"/>
                  </a:lnTo>
                  <a:lnTo>
                    <a:pt x="74" y="264"/>
                  </a:lnTo>
                  <a:lnTo>
                    <a:pt x="74" y="263"/>
                  </a:lnTo>
                  <a:lnTo>
                    <a:pt x="73" y="263"/>
                  </a:lnTo>
                  <a:lnTo>
                    <a:pt x="73" y="261"/>
                  </a:lnTo>
                  <a:lnTo>
                    <a:pt x="74" y="261"/>
                  </a:lnTo>
                  <a:lnTo>
                    <a:pt x="73" y="261"/>
                  </a:lnTo>
                  <a:lnTo>
                    <a:pt x="74" y="261"/>
                  </a:lnTo>
                  <a:lnTo>
                    <a:pt x="74" y="260"/>
                  </a:lnTo>
                  <a:lnTo>
                    <a:pt x="74" y="261"/>
                  </a:lnTo>
                  <a:lnTo>
                    <a:pt x="73" y="260"/>
                  </a:lnTo>
                  <a:lnTo>
                    <a:pt x="73" y="259"/>
                  </a:lnTo>
                  <a:lnTo>
                    <a:pt x="73" y="258"/>
                  </a:lnTo>
                  <a:lnTo>
                    <a:pt x="73" y="259"/>
                  </a:lnTo>
                  <a:lnTo>
                    <a:pt x="73" y="260"/>
                  </a:lnTo>
                  <a:lnTo>
                    <a:pt x="72" y="261"/>
                  </a:lnTo>
                  <a:lnTo>
                    <a:pt x="72" y="260"/>
                  </a:lnTo>
                  <a:lnTo>
                    <a:pt x="72" y="261"/>
                  </a:lnTo>
                  <a:lnTo>
                    <a:pt x="72" y="263"/>
                  </a:lnTo>
                  <a:lnTo>
                    <a:pt x="71" y="263"/>
                  </a:lnTo>
                  <a:lnTo>
                    <a:pt x="71" y="261"/>
                  </a:lnTo>
                  <a:lnTo>
                    <a:pt x="71" y="260"/>
                  </a:lnTo>
                  <a:lnTo>
                    <a:pt x="72" y="260"/>
                  </a:lnTo>
                  <a:lnTo>
                    <a:pt x="71" y="260"/>
                  </a:lnTo>
                  <a:lnTo>
                    <a:pt x="71" y="259"/>
                  </a:lnTo>
                  <a:lnTo>
                    <a:pt x="71" y="258"/>
                  </a:lnTo>
                  <a:lnTo>
                    <a:pt x="71" y="259"/>
                  </a:lnTo>
                  <a:lnTo>
                    <a:pt x="71" y="258"/>
                  </a:lnTo>
                  <a:lnTo>
                    <a:pt x="71" y="257"/>
                  </a:lnTo>
                  <a:lnTo>
                    <a:pt x="71" y="258"/>
                  </a:lnTo>
                  <a:lnTo>
                    <a:pt x="71" y="257"/>
                  </a:lnTo>
                  <a:lnTo>
                    <a:pt x="71" y="256"/>
                  </a:lnTo>
                  <a:lnTo>
                    <a:pt x="72" y="256"/>
                  </a:lnTo>
                  <a:lnTo>
                    <a:pt x="72" y="257"/>
                  </a:lnTo>
                  <a:lnTo>
                    <a:pt x="73" y="257"/>
                  </a:lnTo>
                  <a:lnTo>
                    <a:pt x="73" y="258"/>
                  </a:lnTo>
                  <a:lnTo>
                    <a:pt x="74" y="258"/>
                  </a:lnTo>
                  <a:lnTo>
                    <a:pt x="74" y="257"/>
                  </a:lnTo>
                  <a:lnTo>
                    <a:pt x="73" y="257"/>
                  </a:lnTo>
                  <a:lnTo>
                    <a:pt x="73" y="256"/>
                  </a:lnTo>
                  <a:lnTo>
                    <a:pt x="72" y="256"/>
                  </a:lnTo>
                  <a:lnTo>
                    <a:pt x="71" y="256"/>
                  </a:lnTo>
                  <a:lnTo>
                    <a:pt x="70" y="254"/>
                  </a:lnTo>
                  <a:lnTo>
                    <a:pt x="70" y="253"/>
                  </a:lnTo>
                  <a:lnTo>
                    <a:pt x="71" y="252"/>
                  </a:lnTo>
                  <a:lnTo>
                    <a:pt x="70" y="252"/>
                  </a:lnTo>
                  <a:lnTo>
                    <a:pt x="70" y="253"/>
                  </a:lnTo>
                  <a:lnTo>
                    <a:pt x="70" y="252"/>
                  </a:lnTo>
                  <a:lnTo>
                    <a:pt x="68" y="252"/>
                  </a:lnTo>
                  <a:lnTo>
                    <a:pt x="68" y="251"/>
                  </a:lnTo>
                  <a:lnTo>
                    <a:pt x="68" y="250"/>
                  </a:lnTo>
                  <a:lnTo>
                    <a:pt x="68" y="249"/>
                  </a:lnTo>
                  <a:lnTo>
                    <a:pt x="67" y="247"/>
                  </a:lnTo>
                  <a:lnTo>
                    <a:pt x="67" y="246"/>
                  </a:lnTo>
                  <a:lnTo>
                    <a:pt x="67" y="245"/>
                  </a:lnTo>
                  <a:lnTo>
                    <a:pt x="68" y="245"/>
                  </a:lnTo>
                  <a:lnTo>
                    <a:pt x="68" y="244"/>
                  </a:lnTo>
                  <a:lnTo>
                    <a:pt x="68" y="243"/>
                  </a:lnTo>
                  <a:lnTo>
                    <a:pt x="68" y="242"/>
                  </a:lnTo>
                  <a:lnTo>
                    <a:pt x="68" y="240"/>
                  </a:lnTo>
                  <a:lnTo>
                    <a:pt x="68" y="239"/>
                  </a:lnTo>
                  <a:lnTo>
                    <a:pt x="68" y="238"/>
                  </a:lnTo>
                  <a:lnTo>
                    <a:pt x="70" y="238"/>
                  </a:lnTo>
                  <a:lnTo>
                    <a:pt x="70" y="237"/>
                  </a:lnTo>
                  <a:lnTo>
                    <a:pt x="70" y="236"/>
                  </a:lnTo>
                  <a:lnTo>
                    <a:pt x="70" y="235"/>
                  </a:lnTo>
                  <a:lnTo>
                    <a:pt x="70" y="233"/>
                  </a:lnTo>
                  <a:lnTo>
                    <a:pt x="70" y="232"/>
                  </a:lnTo>
                  <a:lnTo>
                    <a:pt x="68" y="232"/>
                  </a:lnTo>
                  <a:lnTo>
                    <a:pt x="70" y="231"/>
                  </a:lnTo>
                  <a:lnTo>
                    <a:pt x="68" y="231"/>
                  </a:lnTo>
                  <a:lnTo>
                    <a:pt x="68" y="232"/>
                  </a:lnTo>
                  <a:lnTo>
                    <a:pt x="68" y="231"/>
                  </a:lnTo>
                  <a:lnTo>
                    <a:pt x="68" y="230"/>
                  </a:lnTo>
                  <a:lnTo>
                    <a:pt x="67" y="229"/>
                  </a:lnTo>
                  <a:lnTo>
                    <a:pt x="68" y="229"/>
                  </a:lnTo>
                  <a:lnTo>
                    <a:pt x="67" y="228"/>
                  </a:lnTo>
                  <a:lnTo>
                    <a:pt x="66" y="228"/>
                  </a:lnTo>
                  <a:lnTo>
                    <a:pt x="66" y="226"/>
                  </a:lnTo>
                  <a:lnTo>
                    <a:pt x="66" y="228"/>
                  </a:lnTo>
                  <a:lnTo>
                    <a:pt x="65" y="228"/>
                  </a:lnTo>
                  <a:lnTo>
                    <a:pt x="66" y="226"/>
                  </a:lnTo>
                  <a:lnTo>
                    <a:pt x="66" y="225"/>
                  </a:lnTo>
                  <a:lnTo>
                    <a:pt x="65" y="225"/>
                  </a:lnTo>
                  <a:lnTo>
                    <a:pt x="64" y="224"/>
                  </a:lnTo>
                  <a:lnTo>
                    <a:pt x="65" y="224"/>
                  </a:lnTo>
                  <a:lnTo>
                    <a:pt x="65" y="223"/>
                  </a:lnTo>
                  <a:lnTo>
                    <a:pt x="64" y="224"/>
                  </a:lnTo>
                  <a:lnTo>
                    <a:pt x="64" y="223"/>
                  </a:lnTo>
                  <a:lnTo>
                    <a:pt x="65" y="223"/>
                  </a:lnTo>
                  <a:lnTo>
                    <a:pt x="66" y="222"/>
                  </a:lnTo>
                  <a:lnTo>
                    <a:pt x="65" y="222"/>
                  </a:lnTo>
                  <a:lnTo>
                    <a:pt x="64" y="223"/>
                  </a:lnTo>
                  <a:lnTo>
                    <a:pt x="64" y="222"/>
                  </a:lnTo>
                  <a:lnTo>
                    <a:pt x="65" y="222"/>
                  </a:lnTo>
                  <a:lnTo>
                    <a:pt x="65" y="221"/>
                  </a:lnTo>
                  <a:lnTo>
                    <a:pt x="66" y="221"/>
                  </a:lnTo>
                  <a:lnTo>
                    <a:pt x="66" y="219"/>
                  </a:lnTo>
                  <a:lnTo>
                    <a:pt x="67" y="219"/>
                  </a:lnTo>
                  <a:lnTo>
                    <a:pt x="68" y="218"/>
                  </a:lnTo>
                  <a:lnTo>
                    <a:pt x="70" y="218"/>
                  </a:lnTo>
                  <a:lnTo>
                    <a:pt x="71" y="217"/>
                  </a:lnTo>
                  <a:lnTo>
                    <a:pt x="70" y="217"/>
                  </a:lnTo>
                  <a:lnTo>
                    <a:pt x="70" y="218"/>
                  </a:lnTo>
                  <a:lnTo>
                    <a:pt x="68" y="218"/>
                  </a:lnTo>
                  <a:lnTo>
                    <a:pt x="67" y="218"/>
                  </a:lnTo>
                  <a:lnTo>
                    <a:pt x="66" y="218"/>
                  </a:lnTo>
                  <a:lnTo>
                    <a:pt x="65" y="218"/>
                  </a:lnTo>
                  <a:lnTo>
                    <a:pt x="64" y="218"/>
                  </a:lnTo>
                  <a:lnTo>
                    <a:pt x="63" y="218"/>
                  </a:lnTo>
                  <a:lnTo>
                    <a:pt x="63" y="217"/>
                  </a:lnTo>
                  <a:lnTo>
                    <a:pt x="63" y="216"/>
                  </a:lnTo>
                  <a:lnTo>
                    <a:pt x="64" y="215"/>
                  </a:lnTo>
                  <a:lnTo>
                    <a:pt x="65" y="215"/>
                  </a:lnTo>
                  <a:lnTo>
                    <a:pt x="65" y="214"/>
                  </a:lnTo>
                  <a:lnTo>
                    <a:pt x="64" y="214"/>
                  </a:lnTo>
                  <a:lnTo>
                    <a:pt x="63" y="215"/>
                  </a:lnTo>
                  <a:lnTo>
                    <a:pt x="62" y="214"/>
                  </a:lnTo>
                  <a:lnTo>
                    <a:pt x="62" y="212"/>
                  </a:lnTo>
                  <a:lnTo>
                    <a:pt x="62" y="211"/>
                  </a:lnTo>
                  <a:lnTo>
                    <a:pt x="63" y="210"/>
                  </a:lnTo>
                  <a:lnTo>
                    <a:pt x="64" y="210"/>
                  </a:lnTo>
                  <a:lnTo>
                    <a:pt x="65" y="210"/>
                  </a:lnTo>
                  <a:lnTo>
                    <a:pt x="65" y="211"/>
                  </a:lnTo>
                  <a:lnTo>
                    <a:pt x="65" y="210"/>
                  </a:lnTo>
                  <a:lnTo>
                    <a:pt x="66" y="210"/>
                  </a:lnTo>
                  <a:lnTo>
                    <a:pt x="67" y="210"/>
                  </a:lnTo>
                  <a:lnTo>
                    <a:pt x="67" y="209"/>
                  </a:lnTo>
                  <a:lnTo>
                    <a:pt x="66" y="209"/>
                  </a:lnTo>
                  <a:lnTo>
                    <a:pt x="65" y="209"/>
                  </a:lnTo>
                  <a:lnTo>
                    <a:pt x="65" y="210"/>
                  </a:lnTo>
                  <a:lnTo>
                    <a:pt x="64" y="209"/>
                  </a:lnTo>
                  <a:lnTo>
                    <a:pt x="63" y="209"/>
                  </a:lnTo>
                  <a:lnTo>
                    <a:pt x="62" y="209"/>
                  </a:lnTo>
                  <a:lnTo>
                    <a:pt x="62" y="210"/>
                  </a:lnTo>
                  <a:lnTo>
                    <a:pt x="60" y="210"/>
                  </a:lnTo>
                  <a:lnTo>
                    <a:pt x="60" y="209"/>
                  </a:lnTo>
                  <a:lnTo>
                    <a:pt x="60" y="210"/>
                  </a:lnTo>
                  <a:lnTo>
                    <a:pt x="60" y="209"/>
                  </a:lnTo>
                  <a:lnTo>
                    <a:pt x="59" y="209"/>
                  </a:lnTo>
                  <a:lnTo>
                    <a:pt x="59" y="208"/>
                  </a:lnTo>
                  <a:lnTo>
                    <a:pt x="60" y="208"/>
                  </a:lnTo>
                  <a:lnTo>
                    <a:pt x="59" y="208"/>
                  </a:lnTo>
                  <a:lnTo>
                    <a:pt x="59" y="209"/>
                  </a:lnTo>
                  <a:lnTo>
                    <a:pt x="58" y="209"/>
                  </a:lnTo>
                  <a:lnTo>
                    <a:pt x="57" y="209"/>
                  </a:lnTo>
                  <a:lnTo>
                    <a:pt x="58" y="209"/>
                  </a:lnTo>
                  <a:lnTo>
                    <a:pt x="58" y="210"/>
                  </a:lnTo>
                  <a:lnTo>
                    <a:pt x="59" y="210"/>
                  </a:lnTo>
                  <a:lnTo>
                    <a:pt x="59" y="212"/>
                  </a:lnTo>
                  <a:lnTo>
                    <a:pt x="58" y="214"/>
                  </a:lnTo>
                  <a:lnTo>
                    <a:pt x="57" y="214"/>
                  </a:lnTo>
                  <a:lnTo>
                    <a:pt x="56" y="214"/>
                  </a:lnTo>
                  <a:lnTo>
                    <a:pt x="57" y="214"/>
                  </a:lnTo>
                  <a:lnTo>
                    <a:pt x="56" y="214"/>
                  </a:lnTo>
                  <a:lnTo>
                    <a:pt x="57" y="214"/>
                  </a:lnTo>
                  <a:lnTo>
                    <a:pt x="57" y="215"/>
                  </a:lnTo>
                  <a:lnTo>
                    <a:pt x="56" y="215"/>
                  </a:lnTo>
                  <a:lnTo>
                    <a:pt x="56" y="214"/>
                  </a:lnTo>
                  <a:lnTo>
                    <a:pt x="56" y="215"/>
                  </a:lnTo>
                  <a:lnTo>
                    <a:pt x="57" y="215"/>
                  </a:lnTo>
                  <a:lnTo>
                    <a:pt x="57" y="216"/>
                  </a:lnTo>
                  <a:lnTo>
                    <a:pt x="58" y="216"/>
                  </a:lnTo>
                  <a:lnTo>
                    <a:pt x="57" y="216"/>
                  </a:lnTo>
                  <a:lnTo>
                    <a:pt x="57" y="215"/>
                  </a:lnTo>
                  <a:lnTo>
                    <a:pt x="56" y="215"/>
                  </a:lnTo>
                  <a:lnTo>
                    <a:pt x="56" y="216"/>
                  </a:lnTo>
                  <a:lnTo>
                    <a:pt x="57" y="216"/>
                  </a:lnTo>
                  <a:lnTo>
                    <a:pt x="56" y="216"/>
                  </a:lnTo>
                  <a:lnTo>
                    <a:pt x="56" y="217"/>
                  </a:lnTo>
                  <a:lnTo>
                    <a:pt x="57" y="217"/>
                  </a:lnTo>
                  <a:lnTo>
                    <a:pt x="58" y="217"/>
                  </a:lnTo>
                  <a:lnTo>
                    <a:pt x="58" y="218"/>
                  </a:lnTo>
                  <a:lnTo>
                    <a:pt x="59" y="218"/>
                  </a:lnTo>
                  <a:lnTo>
                    <a:pt x="59" y="219"/>
                  </a:lnTo>
                  <a:lnTo>
                    <a:pt x="59" y="222"/>
                  </a:lnTo>
                  <a:lnTo>
                    <a:pt x="58" y="223"/>
                  </a:lnTo>
                  <a:lnTo>
                    <a:pt x="58" y="224"/>
                  </a:lnTo>
                  <a:lnTo>
                    <a:pt x="58" y="225"/>
                  </a:lnTo>
                  <a:lnTo>
                    <a:pt x="58" y="226"/>
                  </a:lnTo>
                  <a:lnTo>
                    <a:pt x="57" y="226"/>
                  </a:lnTo>
                  <a:lnTo>
                    <a:pt x="57" y="228"/>
                  </a:lnTo>
                  <a:lnTo>
                    <a:pt x="56" y="228"/>
                  </a:lnTo>
                  <a:lnTo>
                    <a:pt x="53" y="229"/>
                  </a:lnTo>
                  <a:lnTo>
                    <a:pt x="52" y="229"/>
                  </a:lnTo>
                  <a:lnTo>
                    <a:pt x="51" y="230"/>
                  </a:lnTo>
                  <a:lnTo>
                    <a:pt x="50" y="230"/>
                  </a:lnTo>
                  <a:lnTo>
                    <a:pt x="50" y="231"/>
                  </a:lnTo>
                  <a:lnTo>
                    <a:pt x="49" y="231"/>
                  </a:lnTo>
                  <a:lnTo>
                    <a:pt x="48" y="231"/>
                  </a:lnTo>
                  <a:lnTo>
                    <a:pt x="45" y="233"/>
                  </a:lnTo>
                  <a:lnTo>
                    <a:pt x="44" y="233"/>
                  </a:lnTo>
                  <a:lnTo>
                    <a:pt x="43" y="233"/>
                  </a:lnTo>
                  <a:lnTo>
                    <a:pt x="42" y="233"/>
                  </a:lnTo>
                  <a:lnTo>
                    <a:pt x="41" y="233"/>
                  </a:lnTo>
                  <a:lnTo>
                    <a:pt x="39" y="233"/>
                  </a:lnTo>
                  <a:lnTo>
                    <a:pt x="37" y="232"/>
                  </a:lnTo>
                  <a:lnTo>
                    <a:pt x="36" y="232"/>
                  </a:lnTo>
                  <a:lnTo>
                    <a:pt x="36" y="231"/>
                  </a:lnTo>
                  <a:lnTo>
                    <a:pt x="35" y="231"/>
                  </a:lnTo>
                  <a:lnTo>
                    <a:pt x="34" y="230"/>
                  </a:lnTo>
                  <a:lnTo>
                    <a:pt x="32" y="230"/>
                  </a:lnTo>
                  <a:lnTo>
                    <a:pt x="31" y="228"/>
                  </a:lnTo>
                  <a:lnTo>
                    <a:pt x="30" y="226"/>
                  </a:lnTo>
                  <a:lnTo>
                    <a:pt x="29" y="225"/>
                  </a:lnTo>
                  <a:lnTo>
                    <a:pt x="28" y="225"/>
                  </a:lnTo>
                  <a:lnTo>
                    <a:pt x="28" y="224"/>
                  </a:lnTo>
                  <a:lnTo>
                    <a:pt x="27" y="223"/>
                  </a:lnTo>
                  <a:lnTo>
                    <a:pt x="25" y="222"/>
                  </a:lnTo>
                  <a:lnTo>
                    <a:pt x="23" y="219"/>
                  </a:lnTo>
                  <a:lnTo>
                    <a:pt x="22" y="219"/>
                  </a:lnTo>
                  <a:lnTo>
                    <a:pt x="22" y="218"/>
                  </a:lnTo>
                  <a:lnTo>
                    <a:pt x="21" y="218"/>
                  </a:lnTo>
                  <a:lnTo>
                    <a:pt x="21" y="217"/>
                  </a:lnTo>
                  <a:lnTo>
                    <a:pt x="20" y="217"/>
                  </a:lnTo>
                  <a:lnTo>
                    <a:pt x="20" y="216"/>
                  </a:lnTo>
                  <a:lnTo>
                    <a:pt x="18" y="216"/>
                  </a:lnTo>
                  <a:lnTo>
                    <a:pt x="17" y="215"/>
                  </a:lnTo>
                  <a:lnTo>
                    <a:pt x="17" y="214"/>
                  </a:lnTo>
                  <a:lnTo>
                    <a:pt x="16" y="214"/>
                  </a:lnTo>
                  <a:lnTo>
                    <a:pt x="16" y="212"/>
                  </a:lnTo>
                  <a:lnTo>
                    <a:pt x="15" y="212"/>
                  </a:lnTo>
                  <a:lnTo>
                    <a:pt x="14" y="211"/>
                  </a:lnTo>
                  <a:lnTo>
                    <a:pt x="14" y="210"/>
                  </a:lnTo>
                  <a:lnTo>
                    <a:pt x="13" y="209"/>
                  </a:lnTo>
                  <a:lnTo>
                    <a:pt x="13" y="208"/>
                  </a:lnTo>
                  <a:lnTo>
                    <a:pt x="13" y="207"/>
                  </a:lnTo>
                  <a:lnTo>
                    <a:pt x="14" y="207"/>
                  </a:lnTo>
                  <a:lnTo>
                    <a:pt x="14" y="205"/>
                  </a:lnTo>
                  <a:lnTo>
                    <a:pt x="14" y="207"/>
                  </a:lnTo>
                  <a:lnTo>
                    <a:pt x="15" y="207"/>
                  </a:lnTo>
                  <a:lnTo>
                    <a:pt x="16" y="207"/>
                  </a:lnTo>
                  <a:lnTo>
                    <a:pt x="16" y="208"/>
                  </a:lnTo>
                  <a:lnTo>
                    <a:pt x="16" y="209"/>
                  </a:lnTo>
                  <a:lnTo>
                    <a:pt x="17" y="209"/>
                  </a:lnTo>
                  <a:lnTo>
                    <a:pt x="18" y="209"/>
                  </a:lnTo>
                  <a:lnTo>
                    <a:pt x="18" y="208"/>
                  </a:lnTo>
                  <a:lnTo>
                    <a:pt x="20" y="208"/>
                  </a:lnTo>
                  <a:lnTo>
                    <a:pt x="21" y="208"/>
                  </a:lnTo>
                  <a:lnTo>
                    <a:pt x="21" y="207"/>
                  </a:lnTo>
                  <a:lnTo>
                    <a:pt x="21" y="208"/>
                  </a:lnTo>
                  <a:lnTo>
                    <a:pt x="22" y="208"/>
                  </a:lnTo>
                  <a:lnTo>
                    <a:pt x="22" y="207"/>
                  </a:lnTo>
                  <a:lnTo>
                    <a:pt x="23" y="207"/>
                  </a:lnTo>
                  <a:lnTo>
                    <a:pt x="23" y="205"/>
                  </a:lnTo>
                  <a:lnTo>
                    <a:pt x="24" y="207"/>
                  </a:lnTo>
                  <a:lnTo>
                    <a:pt x="25" y="207"/>
                  </a:lnTo>
                  <a:lnTo>
                    <a:pt x="25" y="205"/>
                  </a:lnTo>
                  <a:lnTo>
                    <a:pt x="27" y="205"/>
                  </a:lnTo>
                  <a:lnTo>
                    <a:pt x="27" y="204"/>
                  </a:lnTo>
                  <a:lnTo>
                    <a:pt x="28" y="204"/>
                  </a:lnTo>
                  <a:lnTo>
                    <a:pt x="29" y="204"/>
                  </a:lnTo>
                  <a:lnTo>
                    <a:pt x="30" y="203"/>
                  </a:lnTo>
                  <a:lnTo>
                    <a:pt x="30" y="202"/>
                  </a:lnTo>
                  <a:lnTo>
                    <a:pt x="30" y="201"/>
                  </a:lnTo>
                  <a:lnTo>
                    <a:pt x="31" y="200"/>
                  </a:lnTo>
                  <a:lnTo>
                    <a:pt x="31" y="198"/>
                  </a:lnTo>
                  <a:lnTo>
                    <a:pt x="32" y="198"/>
                  </a:lnTo>
                  <a:lnTo>
                    <a:pt x="32" y="197"/>
                  </a:lnTo>
                  <a:lnTo>
                    <a:pt x="32" y="196"/>
                  </a:lnTo>
                  <a:lnTo>
                    <a:pt x="31" y="196"/>
                  </a:lnTo>
                  <a:lnTo>
                    <a:pt x="31" y="197"/>
                  </a:lnTo>
                  <a:lnTo>
                    <a:pt x="31" y="198"/>
                  </a:lnTo>
                  <a:lnTo>
                    <a:pt x="30" y="198"/>
                  </a:lnTo>
                  <a:lnTo>
                    <a:pt x="29" y="198"/>
                  </a:lnTo>
                  <a:lnTo>
                    <a:pt x="29" y="197"/>
                  </a:lnTo>
                  <a:lnTo>
                    <a:pt x="29" y="198"/>
                  </a:lnTo>
                  <a:lnTo>
                    <a:pt x="28" y="198"/>
                  </a:lnTo>
                  <a:lnTo>
                    <a:pt x="28" y="197"/>
                  </a:lnTo>
                  <a:lnTo>
                    <a:pt x="28" y="198"/>
                  </a:lnTo>
                  <a:lnTo>
                    <a:pt x="27" y="198"/>
                  </a:lnTo>
                  <a:lnTo>
                    <a:pt x="25" y="200"/>
                  </a:lnTo>
                  <a:lnTo>
                    <a:pt x="24" y="200"/>
                  </a:lnTo>
                  <a:lnTo>
                    <a:pt x="23" y="200"/>
                  </a:lnTo>
                  <a:lnTo>
                    <a:pt x="23" y="201"/>
                  </a:lnTo>
                  <a:lnTo>
                    <a:pt x="23" y="202"/>
                  </a:lnTo>
                  <a:lnTo>
                    <a:pt x="22" y="202"/>
                  </a:lnTo>
                  <a:lnTo>
                    <a:pt x="21" y="202"/>
                  </a:lnTo>
                  <a:lnTo>
                    <a:pt x="21" y="201"/>
                  </a:lnTo>
                  <a:lnTo>
                    <a:pt x="20" y="201"/>
                  </a:lnTo>
                  <a:lnTo>
                    <a:pt x="18" y="201"/>
                  </a:lnTo>
                  <a:lnTo>
                    <a:pt x="17" y="201"/>
                  </a:lnTo>
                  <a:lnTo>
                    <a:pt x="16" y="200"/>
                  </a:lnTo>
                  <a:lnTo>
                    <a:pt x="15" y="200"/>
                  </a:lnTo>
                  <a:lnTo>
                    <a:pt x="14" y="200"/>
                  </a:lnTo>
                  <a:lnTo>
                    <a:pt x="13" y="198"/>
                  </a:lnTo>
                  <a:lnTo>
                    <a:pt x="10" y="197"/>
                  </a:lnTo>
                  <a:lnTo>
                    <a:pt x="8" y="196"/>
                  </a:lnTo>
                  <a:lnTo>
                    <a:pt x="7" y="195"/>
                  </a:lnTo>
                  <a:lnTo>
                    <a:pt x="7" y="194"/>
                  </a:lnTo>
                  <a:lnTo>
                    <a:pt x="6" y="194"/>
                  </a:lnTo>
                  <a:lnTo>
                    <a:pt x="6" y="193"/>
                  </a:lnTo>
                  <a:lnTo>
                    <a:pt x="7" y="193"/>
                  </a:lnTo>
                  <a:lnTo>
                    <a:pt x="6" y="193"/>
                  </a:lnTo>
                  <a:lnTo>
                    <a:pt x="6" y="191"/>
                  </a:lnTo>
                  <a:lnTo>
                    <a:pt x="4" y="191"/>
                  </a:lnTo>
                  <a:lnTo>
                    <a:pt x="6" y="191"/>
                  </a:lnTo>
                  <a:lnTo>
                    <a:pt x="4" y="191"/>
                  </a:lnTo>
                  <a:lnTo>
                    <a:pt x="4" y="190"/>
                  </a:lnTo>
                  <a:lnTo>
                    <a:pt x="3" y="190"/>
                  </a:lnTo>
                  <a:lnTo>
                    <a:pt x="4" y="189"/>
                  </a:lnTo>
                  <a:lnTo>
                    <a:pt x="3" y="189"/>
                  </a:lnTo>
                  <a:lnTo>
                    <a:pt x="3" y="190"/>
                  </a:lnTo>
                  <a:lnTo>
                    <a:pt x="3" y="189"/>
                  </a:lnTo>
                  <a:lnTo>
                    <a:pt x="3" y="188"/>
                  </a:lnTo>
                  <a:lnTo>
                    <a:pt x="4" y="188"/>
                  </a:lnTo>
                  <a:lnTo>
                    <a:pt x="3" y="188"/>
                  </a:lnTo>
                  <a:lnTo>
                    <a:pt x="3" y="187"/>
                  </a:lnTo>
                  <a:lnTo>
                    <a:pt x="4" y="187"/>
                  </a:lnTo>
                  <a:lnTo>
                    <a:pt x="6" y="186"/>
                  </a:lnTo>
                  <a:lnTo>
                    <a:pt x="6" y="184"/>
                  </a:lnTo>
                  <a:lnTo>
                    <a:pt x="7" y="184"/>
                  </a:lnTo>
                  <a:lnTo>
                    <a:pt x="8" y="184"/>
                  </a:lnTo>
                  <a:lnTo>
                    <a:pt x="8" y="183"/>
                  </a:lnTo>
                  <a:lnTo>
                    <a:pt x="7" y="184"/>
                  </a:lnTo>
                  <a:lnTo>
                    <a:pt x="6" y="184"/>
                  </a:lnTo>
                  <a:lnTo>
                    <a:pt x="6" y="186"/>
                  </a:lnTo>
                  <a:lnTo>
                    <a:pt x="4" y="186"/>
                  </a:lnTo>
                  <a:lnTo>
                    <a:pt x="3" y="186"/>
                  </a:lnTo>
                  <a:lnTo>
                    <a:pt x="3" y="187"/>
                  </a:lnTo>
                  <a:lnTo>
                    <a:pt x="2" y="188"/>
                  </a:lnTo>
                  <a:lnTo>
                    <a:pt x="1" y="188"/>
                  </a:lnTo>
                  <a:lnTo>
                    <a:pt x="0" y="188"/>
                  </a:lnTo>
                  <a:lnTo>
                    <a:pt x="0" y="187"/>
                  </a:lnTo>
                  <a:lnTo>
                    <a:pt x="1" y="188"/>
                  </a:lnTo>
                  <a:lnTo>
                    <a:pt x="1" y="187"/>
                  </a:lnTo>
                  <a:lnTo>
                    <a:pt x="0" y="187"/>
                  </a:lnTo>
                  <a:lnTo>
                    <a:pt x="0" y="186"/>
                  </a:lnTo>
                  <a:lnTo>
                    <a:pt x="0" y="184"/>
                  </a:lnTo>
                  <a:lnTo>
                    <a:pt x="0" y="183"/>
                  </a:lnTo>
                  <a:lnTo>
                    <a:pt x="1" y="183"/>
                  </a:lnTo>
                  <a:lnTo>
                    <a:pt x="0" y="183"/>
                  </a:lnTo>
                  <a:lnTo>
                    <a:pt x="1" y="183"/>
                  </a:lnTo>
                  <a:lnTo>
                    <a:pt x="1" y="182"/>
                  </a:lnTo>
                  <a:lnTo>
                    <a:pt x="2" y="182"/>
                  </a:lnTo>
                  <a:lnTo>
                    <a:pt x="2" y="183"/>
                  </a:lnTo>
                  <a:lnTo>
                    <a:pt x="2" y="182"/>
                  </a:lnTo>
                  <a:lnTo>
                    <a:pt x="4" y="182"/>
                  </a:lnTo>
                  <a:lnTo>
                    <a:pt x="6" y="182"/>
                  </a:lnTo>
                  <a:lnTo>
                    <a:pt x="7" y="182"/>
                  </a:lnTo>
                  <a:lnTo>
                    <a:pt x="7" y="180"/>
                  </a:lnTo>
                  <a:lnTo>
                    <a:pt x="7" y="179"/>
                  </a:lnTo>
                  <a:lnTo>
                    <a:pt x="6" y="177"/>
                  </a:lnTo>
                  <a:lnTo>
                    <a:pt x="7" y="176"/>
                  </a:lnTo>
                  <a:lnTo>
                    <a:pt x="7" y="177"/>
                  </a:lnTo>
                  <a:lnTo>
                    <a:pt x="8" y="177"/>
                  </a:lnTo>
                  <a:lnTo>
                    <a:pt x="8" y="179"/>
                  </a:lnTo>
                  <a:lnTo>
                    <a:pt x="8" y="177"/>
                  </a:lnTo>
                  <a:lnTo>
                    <a:pt x="8" y="176"/>
                  </a:lnTo>
                  <a:lnTo>
                    <a:pt x="9" y="176"/>
                  </a:lnTo>
                  <a:lnTo>
                    <a:pt x="9" y="177"/>
                  </a:lnTo>
                  <a:lnTo>
                    <a:pt x="10" y="177"/>
                  </a:lnTo>
                  <a:lnTo>
                    <a:pt x="11" y="177"/>
                  </a:lnTo>
                  <a:lnTo>
                    <a:pt x="13" y="177"/>
                  </a:lnTo>
                  <a:lnTo>
                    <a:pt x="14" y="177"/>
                  </a:lnTo>
                  <a:lnTo>
                    <a:pt x="17" y="177"/>
                  </a:lnTo>
                  <a:lnTo>
                    <a:pt x="18" y="177"/>
                  </a:lnTo>
                  <a:lnTo>
                    <a:pt x="20" y="179"/>
                  </a:lnTo>
                  <a:lnTo>
                    <a:pt x="21" y="180"/>
                  </a:lnTo>
                  <a:lnTo>
                    <a:pt x="23" y="179"/>
                  </a:lnTo>
                  <a:lnTo>
                    <a:pt x="24" y="179"/>
                  </a:lnTo>
                  <a:lnTo>
                    <a:pt x="24" y="177"/>
                  </a:lnTo>
                  <a:lnTo>
                    <a:pt x="25" y="177"/>
                  </a:lnTo>
                  <a:lnTo>
                    <a:pt x="27" y="176"/>
                  </a:lnTo>
                  <a:lnTo>
                    <a:pt x="28" y="176"/>
                  </a:lnTo>
                  <a:lnTo>
                    <a:pt x="29" y="175"/>
                  </a:lnTo>
                  <a:lnTo>
                    <a:pt x="30" y="175"/>
                  </a:lnTo>
                  <a:lnTo>
                    <a:pt x="31" y="175"/>
                  </a:lnTo>
                  <a:lnTo>
                    <a:pt x="31" y="176"/>
                  </a:lnTo>
                  <a:lnTo>
                    <a:pt x="31" y="177"/>
                  </a:lnTo>
                  <a:lnTo>
                    <a:pt x="32" y="177"/>
                  </a:lnTo>
                  <a:lnTo>
                    <a:pt x="34" y="179"/>
                  </a:lnTo>
                  <a:lnTo>
                    <a:pt x="35" y="177"/>
                  </a:lnTo>
                  <a:lnTo>
                    <a:pt x="35" y="176"/>
                  </a:lnTo>
                  <a:lnTo>
                    <a:pt x="36" y="176"/>
                  </a:lnTo>
                  <a:lnTo>
                    <a:pt x="37" y="176"/>
                  </a:lnTo>
                  <a:lnTo>
                    <a:pt x="37" y="175"/>
                  </a:lnTo>
                  <a:lnTo>
                    <a:pt x="38" y="175"/>
                  </a:lnTo>
                  <a:lnTo>
                    <a:pt x="37" y="175"/>
                  </a:lnTo>
                  <a:lnTo>
                    <a:pt x="36" y="174"/>
                  </a:lnTo>
                  <a:lnTo>
                    <a:pt x="36" y="173"/>
                  </a:lnTo>
                  <a:lnTo>
                    <a:pt x="36" y="172"/>
                  </a:lnTo>
                  <a:lnTo>
                    <a:pt x="37" y="172"/>
                  </a:lnTo>
                  <a:lnTo>
                    <a:pt x="37" y="170"/>
                  </a:lnTo>
                  <a:lnTo>
                    <a:pt x="36" y="169"/>
                  </a:lnTo>
                  <a:lnTo>
                    <a:pt x="35" y="168"/>
                  </a:lnTo>
                  <a:lnTo>
                    <a:pt x="35" y="167"/>
                  </a:lnTo>
                  <a:lnTo>
                    <a:pt x="35" y="166"/>
                  </a:lnTo>
                  <a:lnTo>
                    <a:pt x="34" y="163"/>
                  </a:lnTo>
                  <a:lnTo>
                    <a:pt x="32" y="163"/>
                  </a:lnTo>
                  <a:lnTo>
                    <a:pt x="32" y="162"/>
                  </a:lnTo>
                  <a:lnTo>
                    <a:pt x="31" y="162"/>
                  </a:lnTo>
                  <a:lnTo>
                    <a:pt x="31" y="161"/>
                  </a:lnTo>
                  <a:lnTo>
                    <a:pt x="30" y="160"/>
                  </a:lnTo>
                  <a:lnTo>
                    <a:pt x="30" y="159"/>
                  </a:lnTo>
                  <a:lnTo>
                    <a:pt x="30" y="158"/>
                  </a:lnTo>
                  <a:lnTo>
                    <a:pt x="30" y="156"/>
                  </a:lnTo>
                  <a:lnTo>
                    <a:pt x="29" y="155"/>
                  </a:lnTo>
                  <a:lnTo>
                    <a:pt x="28" y="155"/>
                  </a:lnTo>
                  <a:lnTo>
                    <a:pt x="27" y="155"/>
                  </a:lnTo>
                  <a:lnTo>
                    <a:pt x="25" y="155"/>
                  </a:lnTo>
                  <a:lnTo>
                    <a:pt x="24" y="155"/>
                  </a:lnTo>
                  <a:lnTo>
                    <a:pt x="23" y="154"/>
                  </a:lnTo>
                  <a:lnTo>
                    <a:pt x="23" y="153"/>
                  </a:lnTo>
                  <a:lnTo>
                    <a:pt x="22" y="153"/>
                  </a:lnTo>
                  <a:lnTo>
                    <a:pt x="22" y="152"/>
                  </a:lnTo>
                  <a:lnTo>
                    <a:pt x="21" y="152"/>
                  </a:lnTo>
                  <a:lnTo>
                    <a:pt x="21" y="151"/>
                  </a:lnTo>
                  <a:lnTo>
                    <a:pt x="21" y="149"/>
                  </a:lnTo>
                  <a:lnTo>
                    <a:pt x="21" y="148"/>
                  </a:lnTo>
                  <a:lnTo>
                    <a:pt x="21" y="147"/>
                  </a:lnTo>
                  <a:lnTo>
                    <a:pt x="21" y="146"/>
                  </a:lnTo>
                  <a:lnTo>
                    <a:pt x="21" y="145"/>
                  </a:lnTo>
                  <a:lnTo>
                    <a:pt x="21" y="144"/>
                  </a:lnTo>
                  <a:lnTo>
                    <a:pt x="21" y="142"/>
                  </a:lnTo>
                  <a:lnTo>
                    <a:pt x="21" y="141"/>
                  </a:lnTo>
                  <a:lnTo>
                    <a:pt x="20" y="141"/>
                  </a:lnTo>
                  <a:lnTo>
                    <a:pt x="16" y="141"/>
                  </a:lnTo>
                  <a:lnTo>
                    <a:pt x="15" y="141"/>
                  </a:lnTo>
                  <a:lnTo>
                    <a:pt x="14" y="140"/>
                  </a:lnTo>
                  <a:lnTo>
                    <a:pt x="14" y="139"/>
                  </a:lnTo>
                  <a:lnTo>
                    <a:pt x="11" y="139"/>
                  </a:lnTo>
                  <a:lnTo>
                    <a:pt x="10" y="138"/>
                  </a:lnTo>
                  <a:lnTo>
                    <a:pt x="10" y="135"/>
                  </a:lnTo>
                  <a:lnTo>
                    <a:pt x="10" y="133"/>
                  </a:lnTo>
                  <a:lnTo>
                    <a:pt x="10" y="132"/>
                  </a:lnTo>
                  <a:lnTo>
                    <a:pt x="11" y="131"/>
                  </a:lnTo>
                  <a:lnTo>
                    <a:pt x="13" y="130"/>
                  </a:lnTo>
                  <a:lnTo>
                    <a:pt x="14" y="127"/>
                  </a:lnTo>
                  <a:lnTo>
                    <a:pt x="15" y="126"/>
                  </a:lnTo>
                  <a:lnTo>
                    <a:pt x="16" y="125"/>
                  </a:lnTo>
                  <a:lnTo>
                    <a:pt x="16" y="121"/>
                  </a:lnTo>
                  <a:lnTo>
                    <a:pt x="17" y="121"/>
                  </a:lnTo>
                  <a:lnTo>
                    <a:pt x="17" y="120"/>
                  </a:lnTo>
                  <a:lnTo>
                    <a:pt x="18" y="119"/>
                  </a:lnTo>
                  <a:lnTo>
                    <a:pt x="20" y="118"/>
                  </a:lnTo>
                  <a:lnTo>
                    <a:pt x="21" y="118"/>
                  </a:lnTo>
                  <a:lnTo>
                    <a:pt x="22" y="118"/>
                  </a:lnTo>
                  <a:lnTo>
                    <a:pt x="23" y="119"/>
                  </a:lnTo>
                  <a:lnTo>
                    <a:pt x="24" y="120"/>
                  </a:lnTo>
                  <a:lnTo>
                    <a:pt x="24" y="121"/>
                  </a:lnTo>
                  <a:lnTo>
                    <a:pt x="25" y="123"/>
                  </a:lnTo>
                  <a:lnTo>
                    <a:pt x="27" y="124"/>
                  </a:lnTo>
                  <a:lnTo>
                    <a:pt x="28" y="123"/>
                  </a:lnTo>
                  <a:lnTo>
                    <a:pt x="29" y="123"/>
                  </a:lnTo>
                  <a:lnTo>
                    <a:pt x="31" y="121"/>
                  </a:lnTo>
                  <a:lnTo>
                    <a:pt x="32" y="120"/>
                  </a:lnTo>
                  <a:lnTo>
                    <a:pt x="34" y="120"/>
                  </a:lnTo>
                  <a:lnTo>
                    <a:pt x="35" y="120"/>
                  </a:lnTo>
                  <a:lnTo>
                    <a:pt x="36" y="120"/>
                  </a:lnTo>
                  <a:lnTo>
                    <a:pt x="38" y="120"/>
                  </a:lnTo>
                  <a:lnTo>
                    <a:pt x="41" y="119"/>
                  </a:lnTo>
                  <a:lnTo>
                    <a:pt x="41" y="117"/>
                  </a:lnTo>
                  <a:lnTo>
                    <a:pt x="41" y="114"/>
                  </a:lnTo>
                  <a:lnTo>
                    <a:pt x="43" y="113"/>
                  </a:lnTo>
                  <a:lnTo>
                    <a:pt x="43" y="112"/>
                  </a:lnTo>
                  <a:lnTo>
                    <a:pt x="43" y="111"/>
                  </a:lnTo>
                  <a:lnTo>
                    <a:pt x="44" y="109"/>
                  </a:lnTo>
                  <a:lnTo>
                    <a:pt x="44" y="107"/>
                  </a:lnTo>
                  <a:lnTo>
                    <a:pt x="44" y="106"/>
                  </a:lnTo>
                  <a:lnTo>
                    <a:pt x="45" y="106"/>
                  </a:lnTo>
                  <a:lnTo>
                    <a:pt x="46" y="105"/>
                  </a:lnTo>
                  <a:lnTo>
                    <a:pt x="49" y="104"/>
                  </a:lnTo>
                  <a:lnTo>
                    <a:pt x="50" y="103"/>
                  </a:lnTo>
                  <a:lnTo>
                    <a:pt x="51" y="103"/>
                  </a:lnTo>
                  <a:lnTo>
                    <a:pt x="51" y="102"/>
                  </a:lnTo>
                  <a:lnTo>
                    <a:pt x="52" y="100"/>
                  </a:lnTo>
                  <a:lnTo>
                    <a:pt x="52" y="99"/>
                  </a:lnTo>
                  <a:lnTo>
                    <a:pt x="53" y="97"/>
                  </a:lnTo>
                  <a:lnTo>
                    <a:pt x="53" y="96"/>
                  </a:lnTo>
                  <a:lnTo>
                    <a:pt x="55" y="95"/>
                  </a:lnTo>
                  <a:lnTo>
                    <a:pt x="55" y="92"/>
                  </a:lnTo>
                  <a:lnTo>
                    <a:pt x="55" y="90"/>
                  </a:lnTo>
                  <a:lnTo>
                    <a:pt x="55" y="88"/>
                  </a:lnTo>
                  <a:lnTo>
                    <a:pt x="57" y="86"/>
                  </a:lnTo>
                  <a:lnTo>
                    <a:pt x="59" y="86"/>
                  </a:lnTo>
                  <a:lnTo>
                    <a:pt x="59" y="85"/>
                  </a:lnTo>
                  <a:lnTo>
                    <a:pt x="62" y="84"/>
                  </a:lnTo>
                  <a:lnTo>
                    <a:pt x="62" y="83"/>
                  </a:lnTo>
                  <a:lnTo>
                    <a:pt x="60" y="82"/>
                  </a:lnTo>
                  <a:lnTo>
                    <a:pt x="59" y="82"/>
                  </a:lnTo>
                  <a:lnTo>
                    <a:pt x="59" y="81"/>
                  </a:lnTo>
                  <a:lnTo>
                    <a:pt x="60" y="81"/>
                  </a:lnTo>
                  <a:lnTo>
                    <a:pt x="62" y="79"/>
                  </a:lnTo>
                  <a:lnTo>
                    <a:pt x="62" y="78"/>
                  </a:lnTo>
                  <a:lnTo>
                    <a:pt x="62" y="77"/>
                  </a:lnTo>
                  <a:lnTo>
                    <a:pt x="63" y="77"/>
                  </a:lnTo>
                  <a:lnTo>
                    <a:pt x="63" y="76"/>
                  </a:lnTo>
                  <a:lnTo>
                    <a:pt x="64" y="75"/>
                  </a:lnTo>
                  <a:lnTo>
                    <a:pt x="64" y="74"/>
                  </a:lnTo>
                  <a:lnTo>
                    <a:pt x="64" y="72"/>
                  </a:lnTo>
                  <a:lnTo>
                    <a:pt x="65" y="72"/>
                  </a:lnTo>
                  <a:lnTo>
                    <a:pt x="66" y="72"/>
                  </a:lnTo>
                  <a:lnTo>
                    <a:pt x="66" y="71"/>
                  </a:lnTo>
                  <a:lnTo>
                    <a:pt x="67" y="71"/>
                  </a:lnTo>
                  <a:lnTo>
                    <a:pt x="67" y="70"/>
                  </a:lnTo>
                  <a:lnTo>
                    <a:pt x="68" y="70"/>
                  </a:lnTo>
                  <a:lnTo>
                    <a:pt x="68" y="69"/>
                  </a:lnTo>
                  <a:lnTo>
                    <a:pt x="67" y="69"/>
                  </a:lnTo>
                  <a:lnTo>
                    <a:pt x="66" y="69"/>
                  </a:lnTo>
                  <a:lnTo>
                    <a:pt x="66" y="68"/>
                  </a:lnTo>
                  <a:lnTo>
                    <a:pt x="66" y="67"/>
                  </a:lnTo>
                  <a:lnTo>
                    <a:pt x="66" y="64"/>
                  </a:lnTo>
                  <a:lnTo>
                    <a:pt x="66" y="63"/>
                  </a:lnTo>
                  <a:lnTo>
                    <a:pt x="65" y="61"/>
                  </a:lnTo>
                  <a:lnTo>
                    <a:pt x="64" y="60"/>
                  </a:lnTo>
                  <a:lnTo>
                    <a:pt x="64" y="59"/>
                  </a:lnTo>
                  <a:lnTo>
                    <a:pt x="64" y="57"/>
                  </a:lnTo>
                  <a:lnTo>
                    <a:pt x="65" y="57"/>
                  </a:lnTo>
                  <a:lnTo>
                    <a:pt x="65" y="56"/>
                  </a:lnTo>
                  <a:lnTo>
                    <a:pt x="66" y="56"/>
                  </a:lnTo>
                  <a:lnTo>
                    <a:pt x="67" y="56"/>
                  </a:lnTo>
                  <a:lnTo>
                    <a:pt x="67" y="55"/>
                  </a:lnTo>
                  <a:lnTo>
                    <a:pt x="68" y="55"/>
                  </a:lnTo>
                  <a:lnTo>
                    <a:pt x="70" y="55"/>
                  </a:lnTo>
                  <a:lnTo>
                    <a:pt x="70" y="54"/>
                  </a:lnTo>
                  <a:lnTo>
                    <a:pt x="71" y="54"/>
                  </a:lnTo>
                  <a:lnTo>
                    <a:pt x="72" y="54"/>
                  </a:lnTo>
                  <a:lnTo>
                    <a:pt x="72" y="53"/>
                  </a:lnTo>
                  <a:lnTo>
                    <a:pt x="73" y="53"/>
                  </a:lnTo>
                  <a:lnTo>
                    <a:pt x="73" y="52"/>
                  </a:lnTo>
                  <a:lnTo>
                    <a:pt x="73" y="50"/>
                  </a:lnTo>
                  <a:lnTo>
                    <a:pt x="72" y="50"/>
                  </a:lnTo>
                  <a:lnTo>
                    <a:pt x="71" y="49"/>
                  </a:lnTo>
                  <a:lnTo>
                    <a:pt x="70" y="49"/>
                  </a:lnTo>
                  <a:lnTo>
                    <a:pt x="70" y="48"/>
                  </a:lnTo>
                  <a:lnTo>
                    <a:pt x="68" y="48"/>
                  </a:lnTo>
                  <a:lnTo>
                    <a:pt x="67" y="48"/>
                  </a:lnTo>
                  <a:lnTo>
                    <a:pt x="66" y="48"/>
                  </a:lnTo>
                  <a:lnTo>
                    <a:pt x="65" y="48"/>
                  </a:lnTo>
                  <a:lnTo>
                    <a:pt x="64" y="48"/>
                  </a:lnTo>
                  <a:lnTo>
                    <a:pt x="64" y="47"/>
                  </a:lnTo>
                  <a:lnTo>
                    <a:pt x="63" y="46"/>
                  </a:lnTo>
                  <a:lnTo>
                    <a:pt x="63" y="45"/>
                  </a:lnTo>
                  <a:lnTo>
                    <a:pt x="63" y="43"/>
                  </a:lnTo>
                  <a:lnTo>
                    <a:pt x="63" y="42"/>
                  </a:lnTo>
                  <a:lnTo>
                    <a:pt x="62" y="42"/>
                  </a:lnTo>
                  <a:lnTo>
                    <a:pt x="62" y="43"/>
                  </a:lnTo>
                  <a:lnTo>
                    <a:pt x="60" y="43"/>
                  </a:lnTo>
                  <a:lnTo>
                    <a:pt x="59" y="43"/>
                  </a:lnTo>
                  <a:lnTo>
                    <a:pt x="58" y="43"/>
                  </a:lnTo>
                  <a:lnTo>
                    <a:pt x="58" y="42"/>
                  </a:lnTo>
                  <a:lnTo>
                    <a:pt x="58" y="41"/>
                  </a:lnTo>
                  <a:lnTo>
                    <a:pt x="57" y="41"/>
                  </a:lnTo>
                  <a:lnTo>
                    <a:pt x="57" y="40"/>
                  </a:lnTo>
                  <a:lnTo>
                    <a:pt x="57" y="39"/>
                  </a:lnTo>
                  <a:lnTo>
                    <a:pt x="56" y="39"/>
                  </a:lnTo>
                  <a:lnTo>
                    <a:pt x="55" y="39"/>
                  </a:lnTo>
                  <a:lnTo>
                    <a:pt x="53" y="38"/>
                  </a:lnTo>
                  <a:lnTo>
                    <a:pt x="52" y="38"/>
                  </a:lnTo>
                  <a:lnTo>
                    <a:pt x="52" y="36"/>
                  </a:lnTo>
                  <a:lnTo>
                    <a:pt x="52" y="35"/>
                  </a:lnTo>
                  <a:lnTo>
                    <a:pt x="52" y="34"/>
                  </a:lnTo>
                  <a:lnTo>
                    <a:pt x="53" y="34"/>
                  </a:lnTo>
                  <a:lnTo>
                    <a:pt x="53" y="33"/>
                  </a:lnTo>
                  <a:lnTo>
                    <a:pt x="53" y="32"/>
                  </a:lnTo>
                  <a:lnTo>
                    <a:pt x="52" y="31"/>
                  </a:lnTo>
                  <a:lnTo>
                    <a:pt x="51" y="29"/>
                  </a:lnTo>
                  <a:lnTo>
                    <a:pt x="50" y="29"/>
                  </a:lnTo>
                  <a:lnTo>
                    <a:pt x="50" y="28"/>
                  </a:lnTo>
                  <a:lnTo>
                    <a:pt x="50" y="27"/>
                  </a:lnTo>
                  <a:lnTo>
                    <a:pt x="50" y="26"/>
                  </a:lnTo>
                  <a:lnTo>
                    <a:pt x="51" y="26"/>
                  </a:lnTo>
                  <a:lnTo>
                    <a:pt x="52" y="26"/>
                  </a:lnTo>
                  <a:lnTo>
                    <a:pt x="52" y="25"/>
                  </a:lnTo>
                  <a:lnTo>
                    <a:pt x="52" y="24"/>
                  </a:lnTo>
                  <a:lnTo>
                    <a:pt x="51" y="24"/>
                  </a:lnTo>
                  <a:lnTo>
                    <a:pt x="50" y="24"/>
                  </a:lnTo>
                  <a:lnTo>
                    <a:pt x="49" y="24"/>
                  </a:lnTo>
                  <a:lnTo>
                    <a:pt x="48" y="24"/>
                  </a:lnTo>
                  <a:lnTo>
                    <a:pt x="48" y="22"/>
                  </a:lnTo>
                  <a:lnTo>
                    <a:pt x="48" y="21"/>
                  </a:lnTo>
                  <a:lnTo>
                    <a:pt x="49" y="21"/>
                  </a:lnTo>
                  <a:lnTo>
                    <a:pt x="49" y="20"/>
                  </a:lnTo>
                  <a:lnTo>
                    <a:pt x="48" y="20"/>
                  </a:lnTo>
                  <a:lnTo>
                    <a:pt x="48" y="19"/>
                  </a:lnTo>
                  <a:lnTo>
                    <a:pt x="46" y="19"/>
                  </a:lnTo>
                  <a:lnTo>
                    <a:pt x="45" y="19"/>
                  </a:lnTo>
                  <a:lnTo>
                    <a:pt x="45" y="18"/>
                  </a:lnTo>
                  <a:lnTo>
                    <a:pt x="44" y="18"/>
                  </a:lnTo>
                  <a:lnTo>
                    <a:pt x="45" y="17"/>
                  </a:lnTo>
                  <a:lnTo>
                    <a:pt x="45" y="15"/>
                  </a:lnTo>
                  <a:lnTo>
                    <a:pt x="46" y="14"/>
                  </a:lnTo>
                  <a:lnTo>
                    <a:pt x="45" y="14"/>
                  </a:lnTo>
                  <a:lnTo>
                    <a:pt x="45" y="13"/>
                  </a:lnTo>
                  <a:lnTo>
                    <a:pt x="46" y="13"/>
                  </a:lnTo>
                  <a:lnTo>
                    <a:pt x="48" y="13"/>
                  </a:lnTo>
                  <a:lnTo>
                    <a:pt x="49" y="13"/>
                  </a:lnTo>
                  <a:lnTo>
                    <a:pt x="49" y="12"/>
                  </a:lnTo>
                  <a:lnTo>
                    <a:pt x="50" y="12"/>
                  </a:lnTo>
                  <a:lnTo>
                    <a:pt x="51" y="12"/>
                  </a:lnTo>
                  <a:lnTo>
                    <a:pt x="55" y="13"/>
                  </a:lnTo>
                  <a:lnTo>
                    <a:pt x="60" y="13"/>
                  </a:lnTo>
                  <a:lnTo>
                    <a:pt x="62" y="13"/>
                  </a:lnTo>
                  <a:lnTo>
                    <a:pt x="63" y="13"/>
                  </a:lnTo>
                  <a:lnTo>
                    <a:pt x="63" y="14"/>
                  </a:lnTo>
                  <a:lnTo>
                    <a:pt x="64" y="14"/>
                  </a:lnTo>
                  <a:lnTo>
                    <a:pt x="65" y="14"/>
                  </a:lnTo>
                  <a:lnTo>
                    <a:pt x="68" y="15"/>
                  </a:lnTo>
                  <a:lnTo>
                    <a:pt x="70" y="15"/>
                  </a:lnTo>
                  <a:lnTo>
                    <a:pt x="71" y="15"/>
                  </a:lnTo>
                  <a:lnTo>
                    <a:pt x="72" y="14"/>
                  </a:lnTo>
                  <a:lnTo>
                    <a:pt x="73" y="13"/>
                  </a:lnTo>
                  <a:lnTo>
                    <a:pt x="74" y="13"/>
                  </a:lnTo>
                  <a:lnTo>
                    <a:pt x="77" y="13"/>
                  </a:lnTo>
                  <a:lnTo>
                    <a:pt x="78" y="12"/>
                  </a:lnTo>
                  <a:lnTo>
                    <a:pt x="79" y="12"/>
                  </a:lnTo>
                  <a:lnTo>
                    <a:pt x="80" y="12"/>
                  </a:lnTo>
                  <a:lnTo>
                    <a:pt x="81" y="12"/>
                  </a:lnTo>
                  <a:lnTo>
                    <a:pt x="82" y="11"/>
                  </a:lnTo>
                  <a:lnTo>
                    <a:pt x="81" y="10"/>
                  </a:lnTo>
                  <a:lnTo>
                    <a:pt x="82" y="8"/>
                  </a:lnTo>
                  <a:lnTo>
                    <a:pt x="84" y="8"/>
                  </a:lnTo>
                  <a:lnTo>
                    <a:pt x="84" y="10"/>
                  </a:lnTo>
                  <a:lnTo>
                    <a:pt x="84" y="8"/>
                  </a:lnTo>
                  <a:lnTo>
                    <a:pt x="85" y="8"/>
                  </a:lnTo>
                  <a:lnTo>
                    <a:pt x="85" y="7"/>
                  </a:lnTo>
                  <a:lnTo>
                    <a:pt x="85" y="6"/>
                  </a:lnTo>
                  <a:lnTo>
                    <a:pt x="88" y="3"/>
                  </a:lnTo>
                  <a:lnTo>
                    <a:pt x="93" y="0"/>
                  </a:lnTo>
                  <a:lnTo>
                    <a:pt x="94" y="0"/>
                  </a:lnTo>
                  <a:lnTo>
                    <a:pt x="94" y="1"/>
                  </a:lnTo>
                  <a:close/>
                </a:path>
              </a:pathLst>
            </a:custGeom>
            <a:solidFill>
              <a:srgbClr val="0053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53" name="Freeform 908">
              <a:extLst>
                <a:ext uri="{FF2B5EF4-FFF2-40B4-BE49-F238E27FC236}">
                  <a16:creationId xmlns:a16="http://schemas.microsoft.com/office/drawing/2014/main" id="{2E607F23-498D-44C9-9D38-6ADECD6F989B}"/>
                </a:ext>
              </a:extLst>
            </p:cNvPr>
            <p:cNvSpPr>
              <a:spLocks noEditPoints="1"/>
            </p:cNvSpPr>
            <p:nvPr/>
          </p:nvSpPr>
          <p:spPr bwMode="auto">
            <a:xfrm>
              <a:off x="7598653" y="3568883"/>
              <a:ext cx="166936" cy="37394"/>
            </a:xfrm>
            <a:custGeom>
              <a:avLst/>
              <a:gdLst>
                <a:gd name="T0" fmla="*/ 1 w 125"/>
                <a:gd name="T1" fmla="*/ 28 h 28"/>
                <a:gd name="T2" fmla="*/ 0 w 125"/>
                <a:gd name="T3" fmla="*/ 28 h 28"/>
                <a:gd name="T4" fmla="*/ 0 w 125"/>
                <a:gd name="T5" fmla="*/ 28 h 28"/>
                <a:gd name="T6" fmla="*/ 0 w 125"/>
                <a:gd name="T7" fmla="*/ 28 h 28"/>
                <a:gd name="T8" fmla="*/ 0 w 125"/>
                <a:gd name="T9" fmla="*/ 28 h 28"/>
                <a:gd name="T10" fmla="*/ 0 w 125"/>
                <a:gd name="T11" fmla="*/ 28 h 28"/>
                <a:gd name="T12" fmla="*/ 0 w 125"/>
                <a:gd name="T13" fmla="*/ 28 h 28"/>
                <a:gd name="T14" fmla="*/ 1 w 125"/>
                <a:gd name="T15" fmla="*/ 28 h 28"/>
                <a:gd name="T16" fmla="*/ 1 w 125"/>
                <a:gd name="T17" fmla="*/ 27 h 28"/>
                <a:gd name="T18" fmla="*/ 1 w 125"/>
                <a:gd name="T19" fmla="*/ 28 h 28"/>
                <a:gd name="T20" fmla="*/ 1 w 125"/>
                <a:gd name="T21" fmla="*/ 28 h 28"/>
                <a:gd name="T22" fmla="*/ 1 w 125"/>
                <a:gd name="T23" fmla="*/ 28 h 28"/>
                <a:gd name="T24" fmla="*/ 0 w 125"/>
                <a:gd name="T25" fmla="*/ 28 h 28"/>
                <a:gd name="T26" fmla="*/ 0 w 125"/>
                <a:gd name="T27" fmla="*/ 28 h 28"/>
                <a:gd name="T28" fmla="*/ 0 w 125"/>
                <a:gd name="T29" fmla="*/ 28 h 28"/>
                <a:gd name="T30" fmla="*/ 0 w 125"/>
                <a:gd name="T31" fmla="*/ 28 h 28"/>
                <a:gd name="T32" fmla="*/ 0 w 125"/>
                <a:gd name="T33" fmla="*/ 28 h 28"/>
                <a:gd name="T34" fmla="*/ 0 w 125"/>
                <a:gd name="T35" fmla="*/ 28 h 28"/>
                <a:gd name="T36" fmla="*/ 0 w 125"/>
                <a:gd name="T37" fmla="*/ 27 h 28"/>
                <a:gd name="T38" fmla="*/ 0 w 125"/>
                <a:gd name="T39" fmla="*/ 27 h 28"/>
                <a:gd name="T40" fmla="*/ 0 w 125"/>
                <a:gd name="T41" fmla="*/ 27 h 28"/>
                <a:gd name="T42" fmla="*/ 0 w 125"/>
                <a:gd name="T43" fmla="*/ 27 h 28"/>
                <a:gd name="T44" fmla="*/ 0 w 125"/>
                <a:gd name="T45" fmla="*/ 27 h 28"/>
                <a:gd name="T46" fmla="*/ 0 w 125"/>
                <a:gd name="T47" fmla="*/ 27 h 28"/>
                <a:gd name="T48" fmla="*/ 0 w 125"/>
                <a:gd name="T49" fmla="*/ 27 h 28"/>
                <a:gd name="T50" fmla="*/ 0 w 125"/>
                <a:gd name="T51" fmla="*/ 28 h 28"/>
                <a:gd name="T52" fmla="*/ 125 w 125"/>
                <a:gd name="T53" fmla="*/ 0 h 28"/>
                <a:gd name="T54" fmla="*/ 125 w 125"/>
                <a:gd name="T55" fmla="*/ 1 h 28"/>
                <a:gd name="T56" fmla="*/ 125 w 125"/>
                <a:gd name="T57" fmla="*/ 1 h 28"/>
                <a:gd name="T58" fmla="*/ 125 w 125"/>
                <a:gd name="T59" fmla="*/ 1 h 28"/>
                <a:gd name="T60" fmla="*/ 125 w 125"/>
                <a:gd name="T61" fmla="*/ 2 h 28"/>
                <a:gd name="T62" fmla="*/ 125 w 125"/>
                <a:gd name="T63" fmla="*/ 2 h 28"/>
                <a:gd name="T64" fmla="*/ 125 w 125"/>
                <a:gd name="T65" fmla="*/ 2 h 28"/>
                <a:gd name="T66" fmla="*/ 125 w 125"/>
                <a:gd name="T67" fmla="*/ 1 h 28"/>
                <a:gd name="T68" fmla="*/ 125 w 125"/>
                <a:gd name="T69" fmla="*/ 1 h 28"/>
                <a:gd name="T70" fmla="*/ 125 w 125"/>
                <a:gd name="T71" fmla="*/ 1 h 28"/>
                <a:gd name="T72" fmla="*/ 125 w 125"/>
                <a:gd name="T73" fmla="*/ 1 h 28"/>
                <a:gd name="T74" fmla="*/ 123 w 125"/>
                <a:gd name="T75" fmla="*/ 1 h 28"/>
                <a:gd name="T76" fmla="*/ 123 w 125"/>
                <a:gd name="T77" fmla="*/ 1 h 28"/>
                <a:gd name="T78" fmla="*/ 123 w 125"/>
                <a:gd name="T79" fmla="*/ 1 h 28"/>
                <a:gd name="T80" fmla="*/ 123 w 125"/>
                <a:gd name="T81" fmla="*/ 1 h 28"/>
                <a:gd name="T82" fmla="*/ 123 w 125"/>
                <a:gd name="T83" fmla="*/ 1 h 28"/>
                <a:gd name="T84" fmla="*/ 123 w 125"/>
                <a:gd name="T85" fmla="*/ 1 h 28"/>
                <a:gd name="T86" fmla="*/ 123 w 125"/>
                <a:gd name="T87" fmla="*/ 0 h 28"/>
                <a:gd name="T88" fmla="*/ 123 w 125"/>
                <a:gd name="T89" fmla="*/ 0 h 28"/>
                <a:gd name="T90" fmla="*/ 123 w 125"/>
                <a:gd name="T91" fmla="*/ 0 h 28"/>
                <a:gd name="T92" fmla="*/ 123 w 125"/>
                <a:gd name="T93" fmla="*/ 0 h 28"/>
                <a:gd name="T94" fmla="*/ 125 w 125"/>
                <a:gd name="T95" fmla="*/ 0 h 28"/>
                <a:gd name="T96" fmla="*/ 125 w 125"/>
                <a:gd name="T97" fmla="*/ 0 h 28"/>
                <a:gd name="T98" fmla="*/ 125 w 125"/>
                <a:gd name="T99" fmla="*/ 0 h 28"/>
                <a:gd name="T100" fmla="*/ 125 w 125"/>
                <a:gd name="T101" fmla="*/ 0 h 28"/>
                <a:gd name="T102" fmla="*/ 125 w 125"/>
                <a:gd name="T103" fmla="*/ 0 h 28"/>
                <a:gd name="T104" fmla="*/ 125 w 125"/>
                <a:gd name="T105" fmla="*/ 0 h 28"/>
                <a:gd name="T106" fmla="*/ 125 w 125"/>
                <a:gd name="T10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5" h="28">
                  <a:moveTo>
                    <a:pt x="1" y="28"/>
                  </a:moveTo>
                  <a:lnTo>
                    <a:pt x="0" y="28"/>
                  </a:lnTo>
                  <a:lnTo>
                    <a:pt x="0" y="28"/>
                  </a:lnTo>
                  <a:lnTo>
                    <a:pt x="0" y="28"/>
                  </a:lnTo>
                  <a:lnTo>
                    <a:pt x="0" y="28"/>
                  </a:lnTo>
                  <a:lnTo>
                    <a:pt x="0" y="28"/>
                  </a:lnTo>
                  <a:lnTo>
                    <a:pt x="0" y="28"/>
                  </a:lnTo>
                  <a:lnTo>
                    <a:pt x="1" y="28"/>
                  </a:lnTo>
                  <a:lnTo>
                    <a:pt x="1" y="27"/>
                  </a:lnTo>
                  <a:lnTo>
                    <a:pt x="1" y="28"/>
                  </a:lnTo>
                  <a:lnTo>
                    <a:pt x="1" y="28"/>
                  </a:lnTo>
                  <a:lnTo>
                    <a:pt x="1" y="28"/>
                  </a:lnTo>
                  <a:close/>
                  <a:moveTo>
                    <a:pt x="0" y="28"/>
                  </a:moveTo>
                  <a:lnTo>
                    <a:pt x="0" y="28"/>
                  </a:lnTo>
                  <a:lnTo>
                    <a:pt x="0" y="28"/>
                  </a:lnTo>
                  <a:lnTo>
                    <a:pt x="0" y="28"/>
                  </a:lnTo>
                  <a:lnTo>
                    <a:pt x="0" y="28"/>
                  </a:lnTo>
                  <a:lnTo>
                    <a:pt x="0" y="28"/>
                  </a:lnTo>
                  <a:lnTo>
                    <a:pt x="0" y="27"/>
                  </a:lnTo>
                  <a:lnTo>
                    <a:pt x="0" y="27"/>
                  </a:lnTo>
                  <a:lnTo>
                    <a:pt x="0" y="27"/>
                  </a:lnTo>
                  <a:lnTo>
                    <a:pt x="0" y="27"/>
                  </a:lnTo>
                  <a:lnTo>
                    <a:pt x="0" y="27"/>
                  </a:lnTo>
                  <a:lnTo>
                    <a:pt x="0" y="27"/>
                  </a:lnTo>
                  <a:lnTo>
                    <a:pt x="0" y="27"/>
                  </a:lnTo>
                  <a:lnTo>
                    <a:pt x="0" y="28"/>
                  </a:lnTo>
                  <a:close/>
                  <a:moveTo>
                    <a:pt x="125" y="0"/>
                  </a:moveTo>
                  <a:lnTo>
                    <a:pt x="125" y="1"/>
                  </a:lnTo>
                  <a:lnTo>
                    <a:pt x="125" y="1"/>
                  </a:lnTo>
                  <a:lnTo>
                    <a:pt x="125" y="1"/>
                  </a:lnTo>
                  <a:lnTo>
                    <a:pt x="125" y="2"/>
                  </a:lnTo>
                  <a:lnTo>
                    <a:pt x="125" y="2"/>
                  </a:lnTo>
                  <a:lnTo>
                    <a:pt x="125" y="2"/>
                  </a:lnTo>
                  <a:lnTo>
                    <a:pt x="125" y="1"/>
                  </a:lnTo>
                  <a:lnTo>
                    <a:pt x="125" y="1"/>
                  </a:lnTo>
                  <a:lnTo>
                    <a:pt x="125" y="1"/>
                  </a:lnTo>
                  <a:lnTo>
                    <a:pt x="125" y="1"/>
                  </a:lnTo>
                  <a:lnTo>
                    <a:pt x="123" y="1"/>
                  </a:lnTo>
                  <a:lnTo>
                    <a:pt x="123" y="1"/>
                  </a:lnTo>
                  <a:lnTo>
                    <a:pt x="123" y="1"/>
                  </a:lnTo>
                  <a:lnTo>
                    <a:pt x="123" y="1"/>
                  </a:lnTo>
                  <a:lnTo>
                    <a:pt x="123" y="1"/>
                  </a:lnTo>
                  <a:lnTo>
                    <a:pt x="123" y="1"/>
                  </a:lnTo>
                  <a:lnTo>
                    <a:pt x="123" y="0"/>
                  </a:lnTo>
                  <a:lnTo>
                    <a:pt x="123" y="0"/>
                  </a:lnTo>
                  <a:lnTo>
                    <a:pt x="123" y="0"/>
                  </a:lnTo>
                  <a:lnTo>
                    <a:pt x="123" y="0"/>
                  </a:lnTo>
                  <a:lnTo>
                    <a:pt x="125" y="0"/>
                  </a:lnTo>
                  <a:lnTo>
                    <a:pt x="125" y="0"/>
                  </a:lnTo>
                  <a:lnTo>
                    <a:pt x="125" y="0"/>
                  </a:lnTo>
                  <a:lnTo>
                    <a:pt x="125" y="0"/>
                  </a:lnTo>
                  <a:lnTo>
                    <a:pt x="125" y="0"/>
                  </a:lnTo>
                  <a:lnTo>
                    <a:pt x="125" y="0"/>
                  </a:lnTo>
                  <a:lnTo>
                    <a:pt x="125"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54" name="Freeform 909">
              <a:extLst>
                <a:ext uri="{FF2B5EF4-FFF2-40B4-BE49-F238E27FC236}">
                  <a16:creationId xmlns:a16="http://schemas.microsoft.com/office/drawing/2014/main" id="{85CA8AF7-4E9D-44D8-BDAF-96545B2A05CC}"/>
                </a:ext>
              </a:extLst>
            </p:cNvPr>
            <p:cNvSpPr>
              <a:spLocks noEditPoints="1"/>
            </p:cNvSpPr>
            <p:nvPr/>
          </p:nvSpPr>
          <p:spPr bwMode="auto">
            <a:xfrm>
              <a:off x="7131232" y="3458038"/>
              <a:ext cx="21368" cy="46743"/>
            </a:xfrm>
            <a:custGeom>
              <a:avLst/>
              <a:gdLst>
                <a:gd name="T0" fmla="*/ 16 w 16"/>
                <a:gd name="T1" fmla="*/ 35 h 35"/>
                <a:gd name="T2" fmla="*/ 16 w 16"/>
                <a:gd name="T3" fmla="*/ 35 h 35"/>
                <a:gd name="T4" fmla="*/ 16 w 16"/>
                <a:gd name="T5" fmla="*/ 34 h 35"/>
                <a:gd name="T6" fmla="*/ 16 w 16"/>
                <a:gd name="T7" fmla="*/ 34 h 35"/>
                <a:gd name="T8" fmla="*/ 16 w 16"/>
                <a:gd name="T9" fmla="*/ 34 h 35"/>
                <a:gd name="T10" fmla="*/ 16 w 16"/>
                <a:gd name="T11" fmla="*/ 35 h 35"/>
                <a:gd name="T12" fmla="*/ 16 w 16"/>
                <a:gd name="T13" fmla="*/ 35 h 35"/>
                <a:gd name="T14" fmla="*/ 15 w 16"/>
                <a:gd name="T15" fmla="*/ 35 h 35"/>
                <a:gd name="T16" fmla="*/ 16 w 16"/>
                <a:gd name="T17" fmla="*/ 34 h 35"/>
                <a:gd name="T18" fmla="*/ 15 w 16"/>
                <a:gd name="T19" fmla="*/ 33 h 35"/>
                <a:gd name="T20" fmla="*/ 15 w 16"/>
                <a:gd name="T21" fmla="*/ 33 h 35"/>
                <a:gd name="T22" fmla="*/ 15 w 16"/>
                <a:gd name="T23" fmla="*/ 33 h 35"/>
                <a:gd name="T24" fmla="*/ 16 w 16"/>
                <a:gd name="T25" fmla="*/ 34 h 35"/>
                <a:gd name="T26" fmla="*/ 16 w 16"/>
                <a:gd name="T27" fmla="*/ 34 h 35"/>
                <a:gd name="T28" fmla="*/ 16 w 16"/>
                <a:gd name="T29" fmla="*/ 34 h 35"/>
                <a:gd name="T30" fmla="*/ 16 w 16"/>
                <a:gd name="T31" fmla="*/ 34 h 35"/>
                <a:gd name="T32" fmla="*/ 16 w 16"/>
                <a:gd name="T33" fmla="*/ 33 h 35"/>
                <a:gd name="T34" fmla="*/ 16 w 16"/>
                <a:gd name="T35" fmla="*/ 33 h 35"/>
                <a:gd name="T36" fmla="*/ 16 w 16"/>
                <a:gd name="T37" fmla="*/ 33 h 35"/>
                <a:gd name="T38" fmla="*/ 16 w 16"/>
                <a:gd name="T39" fmla="*/ 33 h 35"/>
                <a:gd name="T40" fmla="*/ 16 w 16"/>
                <a:gd name="T41" fmla="*/ 34 h 35"/>
                <a:gd name="T42" fmla="*/ 16 w 16"/>
                <a:gd name="T43" fmla="*/ 34 h 35"/>
                <a:gd name="T44" fmla="*/ 1 w 16"/>
                <a:gd name="T45" fmla="*/ 23 h 35"/>
                <a:gd name="T46" fmla="*/ 1 w 16"/>
                <a:gd name="T47" fmla="*/ 23 h 35"/>
                <a:gd name="T48" fmla="*/ 1 w 16"/>
                <a:gd name="T49" fmla="*/ 23 h 35"/>
                <a:gd name="T50" fmla="*/ 0 w 16"/>
                <a:gd name="T51" fmla="*/ 19 h 35"/>
                <a:gd name="T52" fmla="*/ 0 w 16"/>
                <a:gd name="T53" fmla="*/ 19 h 35"/>
                <a:gd name="T54" fmla="*/ 0 w 16"/>
                <a:gd name="T55" fmla="*/ 19 h 35"/>
                <a:gd name="T56" fmla="*/ 0 w 16"/>
                <a:gd name="T57" fmla="*/ 19 h 35"/>
                <a:gd name="T58" fmla="*/ 1 w 16"/>
                <a:gd name="T59" fmla="*/ 15 h 35"/>
                <a:gd name="T60" fmla="*/ 1 w 16"/>
                <a:gd name="T61" fmla="*/ 15 h 35"/>
                <a:gd name="T62" fmla="*/ 1 w 16"/>
                <a:gd name="T63" fmla="*/ 15 h 35"/>
                <a:gd name="T64" fmla="*/ 1 w 16"/>
                <a:gd name="T65" fmla="*/ 15 h 35"/>
                <a:gd name="T66" fmla="*/ 1 w 16"/>
                <a:gd name="T67" fmla="*/ 15 h 35"/>
                <a:gd name="T68" fmla="*/ 8 w 16"/>
                <a:gd name="T69" fmla="*/ 4 h 35"/>
                <a:gd name="T70" fmla="*/ 7 w 16"/>
                <a:gd name="T71" fmla="*/ 4 h 35"/>
                <a:gd name="T72" fmla="*/ 8 w 16"/>
                <a:gd name="T73" fmla="*/ 4 h 35"/>
                <a:gd name="T74" fmla="*/ 14 w 16"/>
                <a:gd name="T75" fmla="*/ 2 h 35"/>
                <a:gd name="T76" fmla="*/ 14 w 16"/>
                <a:gd name="T77" fmla="*/ 2 h 35"/>
                <a:gd name="T78" fmla="*/ 14 w 16"/>
                <a:gd name="T79" fmla="*/ 2 h 35"/>
                <a:gd name="T80" fmla="*/ 7 w 16"/>
                <a:gd name="T81" fmla="*/ 1 h 35"/>
                <a:gd name="T82" fmla="*/ 7 w 16"/>
                <a:gd name="T83" fmla="*/ 1 h 35"/>
                <a:gd name="T84" fmla="*/ 7 w 16"/>
                <a:gd name="T85" fmla="*/ 1 h 35"/>
                <a:gd name="T86" fmla="*/ 8 w 16"/>
                <a:gd name="T87" fmla="*/ 0 h 35"/>
                <a:gd name="T88" fmla="*/ 8 w 16"/>
                <a:gd name="T89" fmla="*/ 0 h 35"/>
                <a:gd name="T90" fmla="*/ 8 w 16"/>
                <a:gd name="T91" fmla="*/ 0 h 35"/>
                <a:gd name="T92" fmla="*/ 10 w 16"/>
                <a:gd name="T93" fmla="*/ 0 h 35"/>
                <a:gd name="T94" fmla="*/ 10 w 16"/>
                <a:gd name="T95" fmla="*/ 0 h 35"/>
                <a:gd name="T96" fmla="*/ 10 w 16"/>
                <a:gd name="T97" fmla="*/ 0 h 35"/>
                <a:gd name="T98" fmla="*/ 10 w 16"/>
                <a:gd name="T99" fmla="*/ 0 h 35"/>
                <a:gd name="T100" fmla="*/ 10 w 16"/>
                <a:gd name="T10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 h="35">
                  <a:moveTo>
                    <a:pt x="16" y="34"/>
                  </a:moveTo>
                  <a:lnTo>
                    <a:pt x="16" y="35"/>
                  </a:lnTo>
                  <a:lnTo>
                    <a:pt x="16" y="35"/>
                  </a:lnTo>
                  <a:lnTo>
                    <a:pt x="16" y="35"/>
                  </a:lnTo>
                  <a:lnTo>
                    <a:pt x="16" y="34"/>
                  </a:lnTo>
                  <a:lnTo>
                    <a:pt x="16" y="34"/>
                  </a:lnTo>
                  <a:lnTo>
                    <a:pt x="16" y="34"/>
                  </a:lnTo>
                  <a:lnTo>
                    <a:pt x="16" y="34"/>
                  </a:lnTo>
                  <a:lnTo>
                    <a:pt x="16" y="34"/>
                  </a:lnTo>
                  <a:lnTo>
                    <a:pt x="16" y="34"/>
                  </a:lnTo>
                  <a:lnTo>
                    <a:pt x="16" y="35"/>
                  </a:lnTo>
                  <a:lnTo>
                    <a:pt x="16" y="35"/>
                  </a:lnTo>
                  <a:lnTo>
                    <a:pt x="16" y="35"/>
                  </a:lnTo>
                  <a:lnTo>
                    <a:pt x="16" y="35"/>
                  </a:lnTo>
                  <a:lnTo>
                    <a:pt x="16" y="35"/>
                  </a:lnTo>
                  <a:lnTo>
                    <a:pt x="15" y="35"/>
                  </a:lnTo>
                  <a:lnTo>
                    <a:pt x="16" y="34"/>
                  </a:lnTo>
                  <a:lnTo>
                    <a:pt x="16" y="34"/>
                  </a:lnTo>
                  <a:lnTo>
                    <a:pt x="15" y="34"/>
                  </a:lnTo>
                  <a:lnTo>
                    <a:pt x="15" y="33"/>
                  </a:lnTo>
                  <a:lnTo>
                    <a:pt x="15" y="33"/>
                  </a:lnTo>
                  <a:lnTo>
                    <a:pt x="15" y="33"/>
                  </a:lnTo>
                  <a:lnTo>
                    <a:pt x="15" y="33"/>
                  </a:lnTo>
                  <a:lnTo>
                    <a:pt x="15" y="33"/>
                  </a:lnTo>
                  <a:lnTo>
                    <a:pt x="15" y="33"/>
                  </a:lnTo>
                  <a:lnTo>
                    <a:pt x="16" y="34"/>
                  </a:lnTo>
                  <a:lnTo>
                    <a:pt x="16" y="34"/>
                  </a:lnTo>
                  <a:close/>
                  <a:moveTo>
                    <a:pt x="16" y="34"/>
                  </a:moveTo>
                  <a:lnTo>
                    <a:pt x="16" y="34"/>
                  </a:lnTo>
                  <a:lnTo>
                    <a:pt x="16" y="34"/>
                  </a:lnTo>
                  <a:lnTo>
                    <a:pt x="16" y="34"/>
                  </a:lnTo>
                  <a:lnTo>
                    <a:pt x="16" y="34"/>
                  </a:lnTo>
                  <a:lnTo>
                    <a:pt x="16" y="34"/>
                  </a:lnTo>
                  <a:lnTo>
                    <a:pt x="16" y="33"/>
                  </a:lnTo>
                  <a:lnTo>
                    <a:pt x="16" y="33"/>
                  </a:lnTo>
                  <a:lnTo>
                    <a:pt x="16" y="33"/>
                  </a:lnTo>
                  <a:lnTo>
                    <a:pt x="16" y="32"/>
                  </a:lnTo>
                  <a:lnTo>
                    <a:pt x="16" y="33"/>
                  </a:lnTo>
                  <a:lnTo>
                    <a:pt x="16" y="33"/>
                  </a:lnTo>
                  <a:lnTo>
                    <a:pt x="16" y="33"/>
                  </a:lnTo>
                  <a:lnTo>
                    <a:pt x="16" y="34"/>
                  </a:lnTo>
                  <a:lnTo>
                    <a:pt x="16" y="34"/>
                  </a:lnTo>
                  <a:lnTo>
                    <a:pt x="16" y="34"/>
                  </a:lnTo>
                  <a:lnTo>
                    <a:pt x="16" y="34"/>
                  </a:lnTo>
                  <a:lnTo>
                    <a:pt x="16" y="34"/>
                  </a:lnTo>
                  <a:close/>
                  <a:moveTo>
                    <a:pt x="1" y="23"/>
                  </a:moveTo>
                  <a:lnTo>
                    <a:pt x="1" y="23"/>
                  </a:lnTo>
                  <a:lnTo>
                    <a:pt x="1" y="23"/>
                  </a:lnTo>
                  <a:lnTo>
                    <a:pt x="1" y="23"/>
                  </a:lnTo>
                  <a:lnTo>
                    <a:pt x="1" y="23"/>
                  </a:lnTo>
                  <a:lnTo>
                    <a:pt x="1" y="23"/>
                  </a:lnTo>
                  <a:close/>
                  <a:moveTo>
                    <a:pt x="0" y="19"/>
                  </a:moveTo>
                  <a:lnTo>
                    <a:pt x="0" y="19"/>
                  </a:lnTo>
                  <a:lnTo>
                    <a:pt x="0" y="19"/>
                  </a:lnTo>
                  <a:lnTo>
                    <a:pt x="0" y="19"/>
                  </a:lnTo>
                  <a:lnTo>
                    <a:pt x="0" y="19"/>
                  </a:lnTo>
                  <a:lnTo>
                    <a:pt x="0" y="19"/>
                  </a:lnTo>
                  <a:lnTo>
                    <a:pt x="0" y="19"/>
                  </a:lnTo>
                  <a:lnTo>
                    <a:pt x="0" y="19"/>
                  </a:lnTo>
                  <a:close/>
                  <a:moveTo>
                    <a:pt x="1" y="15"/>
                  </a:moveTo>
                  <a:lnTo>
                    <a:pt x="1" y="16"/>
                  </a:lnTo>
                  <a:lnTo>
                    <a:pt x="1" y="15"/>
                  </a:lnTo>
                  <a:lnTo>
                    <a:pt x="1" y="15"/>
                  </a:lnTo>
                  <a:lnTo>
                    <a:pt x="1" y="15"/>
                  </a:lnTo>
                  <a:lnTo>
                    <a:pt x="1" y="15"/>
                  </a:lnTo>
                  <a:lnTo>
                    <a:pt x="1" y="15"/>
                  </a:lnTo>
                  <a:lnTo>
                    <a:pt x="1" y="15"/>
                  </a:lnTo>
                  <a:lnTo>
                    <a:pt x="1" y="15"/>
                  </a:lnTo>
                  <a:close/>
                  <a:moveTo>
                    <a:pt x="8" y="4"/>
                  </a:moveTo>
                  <a:lnTo>
                    <a:pt x="8" y="4"/>
                  </a:lnTo>
                  <a:lnTo>
                    <a:pt x="8" y="4"/>
                  </a:lnTo>
                  <a:lnTo>
                    <a:pt x="7" y="4"/>
                  </a:lnTo>
                  <a:lnTo>
                    <a:pt x="8" y="4"/>
                  </a:lnTo>
                  <a:lnTo>
                    <a:pt x="8" y="4"/>
                  </a:lnTo>
                  <a:lnTo>
                    <a:pt x="8" y="4"/>
                  </a:lnTo>
                  <a:close/>
                  <a:moveTo>
                    <a:pt x="14" y="2"/>
                  </a:moveTo>
                  <a:lnTo>
                    <a:pt x="14" y="2"/>
                  </a:lnTo>
                  <a:lnTo>
                    <a:pt x="14" y="2"/>
                  </a:lnTo>
                  <a:lnTo>
                    <a:pt x="14" y="2"/>
                  </a:lnTo>
                  <a:lnTo>
                    <a:pt x="14" y="2"/>
                  </a:lnTo>
                  <a:lnTo>
                    <a:pt x="14" y="2"/>
                  </a:lnTo>
                  <a:close/>
                  <a:moveTo>
                    <a:pt x="7" y="1"/>
                  </a:moveTo>
                  <a:lnTo>
                    <a:pt x="7" y="1"/>
                  </a:lnTo>
                  <a:lnTo>
                    <a:pt x="7" y="1"/>
                  </a:lnTo>
                  <a:lnTo>
                    <a:pt x="7" y="1"/>
                  </a:lnTo>
                  <a:lnTo>
                    <a:pt x="7" y="1"/>
                  </a:lnTo>
                  <a:lnTo>
                    <a:pt x="7" y="1"/>
                  </a:lnTo>
                  <a:close/>
                  <a:moveTo>
                    <a:pt x="8" y="0"/>
                  </a:moveTo>
                  <a:lnTo>
                    <a:pt x="8" y="0"/>
                  </a:lnTo>
                  <a:lnTo>
                    <a:pt x="8" y="0"/>
                  </a:lnTo>
                  <a:lnTo>
                    <a:pt x="8" y="0"/>
                  </a:lnTo>
                  <a:lnTo>
                    <a:pt x="8" y="0"/>
                  </a:lnTo>
                  <a:lnTo>
                    <a:pt x="8" y="0"/>
                  </a:lnTo>
                  <a:close/>
                  <a:moveTo>
                    <a:pt x="10" y="0"/>
                  </a:moveTo>
                  <a:lnTo>
                    <a:pt x="10" y="0"/>
                  </a:lnTo>
                  <a:lnTo>
                    <a:pt x="10" y="0"/>
                  </a:lnTo>
                  <a:lnTo>
                    <a:pt x="10" y="0"/>
                  </a:lnTo>
                  <a:lnTo>
                    <a:pt x="10" y="0"/>
                  </a:lnTo>
                  <a:lnTo>
                    <a:pt x="10" y="0"/>
                  </a:lnTo>
                  <a:lnTo>
                    <a:pt x="10" y="0"/>
                  </a:lnTo>
                  <a:lnTo>
                    <a:pt x="10" y="0"/>
                  </a:lnTo>
                  <a:lnTo>
                    <a:pt x="1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55" name="Freeform 910">
              <a:extLst>
                <a:ext uri="{FF2B5EF4-FFF2-40B4-BE49-F238E27FC236}">
                  <a16:creationId xmlns:a16="http://schemas.microsoft.com/office/drawing/2014/main" id="{0DCD4414-4CC5-4847-97FA-54D3B7471612}"/>
                </a:ext>
              </a:extLst>
            </p:cNvPr>
            <p:cNvSpPr>
              <a:spLocks noEditPoints="1"/>
            </p:cNvSpPr>
            <p:nvPr/>
          </p:nvSpPr>
          <p:spPr bwMode="auto">
            <a:xfrm>
              <a:off x="6563650" y="2508506"/>
              <a:ext cx="384621" cy="309833"/>
            </a:xfrm>
            <a:custGeom>
              <a:avLst/>
              <a:gdLst>
                <a:gd name="T0" fmla="*/ 162 w 288"/>
                <a:gd name="T1" fmla="*/ 208 h 232"/>
                <a:gd name="T2" fmla="*/ 151 w 288"/>
                <a:gd name="T3" fmla="*/ 204 h 232"/>
                <a:gd name="T4" fmla="*/ 186 w 288"/>
                <a:gd name="T5" fmla="*/ 206 h 232"/>
                <a:gd name="T6" fmla="*/ 189 w 288"/>
                <a:gd name="T7" fmla="*/ 202 h 232"/>
                <a:gd name="T8" fmla="*/ 19 w 288"/>
                <a:gd name="T9" fmla="*/ 9 h 232"/>
                <a:gd name="T10" fmla="*/ 35 w 288"/>
                <a:gd name="T11" fmla="*/ 12 h 232"/>
                <a:gd name="T12" fmla="*/ 48 w 288"/>
                <a:gd name="T13" fmla="*/ 2 h 232"/>
                <a:gd name="T14" fmla="*/ 54 w 288"/>
                <a:gd name="T15" fmla="*/ 12 h 232"/>
                <a:gd name="T16" fmla="*/ 66 w 288"/>
                <a:gd name="T17" fmla="*/ 21 h 232"/>
                <a:gd name="T18" fmla="*/ 82 w 288"/>
                <a:gd name="T19" fmla="*/ 36 h 232"/>
                <a:gd name="T20" fmla="*/ 99 w 288"/>
                <a:gd name="T21" fmla="*/ 47 h 232"/>
                <a:gd name="T22" fmla="*/ 137 w 288"/>
                <a:gd name="T23" fmla="*/ 44 h 232"/>
                <a:gd name="T24" fmla="*/ 135 w 288"/>
                <a:gd name="T25" fmla="*/ 38 h 232"/>
                <a:gd name="T26" fmla="*/ 149 w 288"/>
                <a:gd name="T27" fmla="*/ 28 h 232"/>
                <a:gd name="T28" fmla="*/ 163 w 288"/>
                <a:gd name="T29" fmla="*/ 25 h 232"/>
                <a:gd name="T30" fmla="*/ 176 w 288"/>
                <a:gd name="T31" fmla="*/ 24 h 232"/>
                <a:gd name="T32" fmla="*/ 193 w 288"/>
                <a:gd name="T33" fmla="*/ 33 h 232"/>
                <a:gd name="T34" fmla="*/ 205 w 288"/>
                <a:gd name="T35" fmla="*/ 37 h 232"/>
                <a:gd name="T36" fmla="*/ 218 w 288"/>
                <a:gd name="T37" fmla="*/ 45 h 232"/>
                <a:gd name="T38" fmla="*/ 233 w 288"/>
                <a:gd name="T39" fmla="*/ 52 h 232"/>
                <a:gd name="T40" fmla="*/ 236 w 288"/>
                <a:gd name="T41" fmla="*/ 67 h 232"/>
                <a:gd name="T42" fmla="*/ 235 w 288"/>
                <a:gd name="T43" fmla="*/ 80 h 232"/>
                <a:gd name="T44" fmla="*/ 233 w 288"/>
                <a:gd name="T45" fmla="*/ 93 h 232"/>
                <a:gd name="T46" fmla="*/ 235 w 288"/>
                <a:gd name="T47" fmla="*/ 105 h 232"/>
                <a:gd name="T48" fmla="*/ 242 w 288"/>
                <a:gd name="T49" fmla="*/ 126 h 232"/>
                <a:gd name="T50" fmla="*/ 257 w 288"/>
                <a:gd name="T51" fmla="*/ 136 h 232"/>
                <a:gd name="T52" fmla="*/ 249 w 288"/>
                <a:gd name="T53" fmla="*/ 157 h 232"/>
                <a:gd name="T54" fmla="*/ 261 w 288"/>
                <a:gd name="T55" fmla="*/ 172 h 232"/>
                <a:gd name="T56" fmla="*/ 278 w 288"/>
                <a:gd name="T57" fmla="*/ 183 h 232"/>
                <a:gd name="T58" fmla="*/ 286 w 288"/>
                <a:gd name="T59" fmla="*/ 198 h 232"/>
                <a:gd name="T60" fmla="*/ 279 w 288"/>
                <a:gd name="T61" fmla="*/ 208 h 232"/>
                <a:gd name="T62" fmla="*/ 270 w 288"/>
                <a:gd name="T63" fmla="*/ 218 h 232"/>
                <a:gd name="T64" fmla="*/ 267 w 288"/>
                <a:gd name="T65" fmla="*/ 232 h 232"/>
                <a:gd name="T66" fmla="*/ 249 w 288"/>
                <a:gd name="T67" fmla="*/ 227 h 232"/>
                <a:gd name="T68" fmla="*/ 235 w 288"/>
                <a:gd name="T69" fmla="*/ 226 h 232"/>
                <a:gd name="T70" fmla="*/ 220 w 288"/>
                <a:gd name="T71" fmla="*/ 225 h 232"/>
                <a:gd name="T72" fmla="*/ 210 w 288"/>
                <a:gd name="T73" fmla="*/ 220 h 232"/>
                <a:gd name="T74" fmla="*/ 203 w 288"/>
                <a:gd name="T75" fmla="*/ 202 h 232"/>
                <a:gd name="T76" fmla="*/ 191 w 288"/>
                <a:gd name="T77" fmla="*/ 199 h 232"/>
                <a:gd name="T78" fmla="*/ 179 w 288"/>
                <a:gd name="T79" fmla="*/ 206 h 232"/>
                <a:gd name="T80" fmla="*/ 164 w 288"/>
                <a:gd name="T81" fmla="*/ 206 h 232"/>
                <a:gd name="T82" fmla="*/ 147 w 288"/>
                <a:gd name="T83" fmla="*/ 198 h 232"/>
                <a:gd name="T84" fmla="*/ 129 w 288"/>
                <a:gd name="T85" fmla="*/ 188 h 232"/>
                <a:gd name="T86" fmla="*/ 116 w 288"/>
                <a:gd name="T87" fmla="*/ 172 h 232"/>
                <a:gd name="T88" fmla="*/ 113 w 288"/>
                <a:gd name="T89" fmla="*/ 165 h 232"/>
                <a:gd name="T90" fmla="*/ 105 w 288"/>
                <a:gd name="T91" fmla="*/ 155 h 232"/>
                <a:gd name="T92" fmla="*/ 91 w 288"/>
                <a:gd name="T93" fmla="*/ 150 h 232"/>
                <a:gd name="T94" fmla="*/ 90 w 288"/>
                <a:gd name="T95" fmla="*/ 145 h 232"/>
                <a:gd name="T96" fmla="*/ 89 w 288"/>
                <a:gd name="T97" fmla="*/ 152 h 232"/>
                <a:gd name="T98" fmla="*/ 78 w 288"/>
                <a:gd name="T99" fmla="*/ 149 h 232"/>
                <a:gd name="T100" fmla="*/ 65 w 288"/>
                <a:gd name="T101" fmla="*/ 120 h 232"/>
                <a:gd name="T102" fmla="*/ 47 w 288"/>
                <a:gd name="T103" fmla="*/ 107 h 232"/>
                <a:gd name="T104" fmla="*/ 40 w 288"/>
                <a:gd name="T105" fmla="*/ 99 h 232"/>
                <a:gd name="T106" fmla="*/ 34 w 288"/>
                <a:gd name="T107" fmla="*/ 88 h 232"/>
                <a:gd name="T108" fmla="*/ 34 w 288"/>
                <a:gd name="T109" fmla="*/ 79 h 232"/>
                <a:gd name="T110" fmla="*/ 39 w 288"/>
                <a:gd name="T111" fmla="*/ 70 h 232"/>
                <a:gd name="T112" fmla="*/ 34 w 288"/>
                <a:gd name="T113" fmla="*/ 61 h 232"/>
                <a:gd name="T114" fmla="*/ 25 w 288"/>
                <a:gd name="T115" fmla="*/ 54 h 232"/>
                <a:gd name="T116" fmla="*/ 19 w 288"/>
                <a:gd name="T117" fmla="*/ 43 h 232"/>
                <a:gd name="T118" fmla="*/ 13 w 288"/>
                <a:gd name="T119" fmla="*/ 32 h 232"/>
                <a:gd name="T120" fmla="*/ 8 w 288"/>
                <a:gd name="T121" fmla="*/ 22 h 232"/>
                <a:gd name="T122" fmla="*/ 2 w 288"/>
                <a:gd name="T123" fmla="*/ 8 h 232"/>
                <a:gd name="T124" fmla="*/ 9 w 288"/>
                <a:gd name="T125" fmla="*/ 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8" h="232">
                  <a:moveTo>
                    <a:pt x="179" y="219"/>
                  </a:moveTo>
                  <a:lnTo>
                    <a:pt x="178" y="220"/>
                  </a:lnTo>
                  <a:lnTo>
                    <a:pt x="178" y="219"/>
                  </a:lnTo>
                  <a:lnTo>
                    <a:pt x="179" y="219"/>
                  </a:lnTo>
                  <a:close/>
                  <a:moveTo>
                    <a:pt x="172" y="219"/>
                  </a:moveTo>
                  <a:lnTo>
                    <a:pt x="171" y="219"/>
                  </a:lnTo>
                  <a:lnTo>
                    <a:pt x="172" y="219"/>
                  </a:lnTo>
                  <a:close/>
                  <a:moveTo>
                    <a:pt x="171" y="213"/>
                  </a:moveTo>
                  <a:lnTo>
                    <a:pt x="170" y="213"/>
                  </a:lnTo>
                  <a:lnTo>
                    <a:pt x="170" y="212"/>
                  </a:lnTo>
                  <a:lnTo>
                    <a:pt x="171" y="212"/>
                  </a:lnTo>
                  <a:lnTo>
                    <a:pt x="171" y="213"/>
                  </a:lnTo>
                  <a:close/>
                  <a:moveTo>
                    <a:pt x="164" y="209"/>
                  </a:moveTo>
                  <a:lnTo>
                    <a:pt x="163" y="209"/>
                  </a:lnTo>
                  <a:lnTo>
                    <a:pt x="162" y="209"/>
                  </a:lnTo>
                  <a:lnTo>
                    <a:pt x="162" y="208"/>
                  </a:lnTo>
                  <a:lnTo>
                    <a:pt x="163" y="208"/>
                  </a:lnTo>
                  <a:lnTo>
                    <a:pt x="164" y="208"/>
                  </a:lnTo>
                  <a:lnTo>
                    <a:pt x="164" y="209"/>
                  </a:lnTo>
                  <a:close/>
                  <a:moveTo>
                    <a:pt x="189" y="207"/>
                  </a:moveTo>
                  <a:lnTo>
                    <a:pt x="189" y="206"/>
                  </a:lnTo>
                  <a:lnTo>
                    <a:pt x="189" y="207"/>
                  </a:lnTo>
                  <a:close/>
                  <a:moveTo>
                    <a:pt x="158" y="207"/>
                  </a:moveTo>
                  <a:lnTo>
                    <a:pt x="157" y="207"/>
                  </a:lnTo>
                  <a:lnTo>
                    <a:pt x="157" y="206"/>
                  </a:lnTo>
                  <a:lnTo>
                    <a:pt x="158" y="206"/>
                  </a:lnTo>
                  <a:lnTo>
                    <a:pt x="158" y="207"/>
                  </a:lnTo>
                  <a:close/>
                  <a:moveTo>
                    <a:pt x="155" y="205"/>
                  </a:moveTo>
                  <a:lnTo>
                    <a:pt x="154" y="205"/>
                  </a:lnTo>
                  <a:lnTo>
                    <a:pt x="153" y="205"/>
                  </a:lnTo>
                  <a:lnTo>
                    <a:pt x="151" y="205"/>
                  </a:lnTo>
                  <a:lnTo>
                    <a:pt x="151" y="204"/>
                  </a:lnTo>
                  <a:lnTo>
                    <a:pt x="153" y="204"/>
                  </a:lnTo>
                  <a:lnTo>
                    <a:pt x="154" y="204"/>
                  </a:lnTo>
                  <a:lnTo>
                    <a:pt x="154" y="205"/>
                  </a:lnTo>
                  <a:lnTo>
                    <a:pt x="155" y="205"/>
                  </a:lnTo>
                  <a:close/>
                  <a:moveTo>
                    <a:pt x="194" y="204"/>
                  </a:moveTo>
                  <a:lnTo>
                    <a:pt x="196" y="202"/>
                  </a:lnTo>
                  <a:lnTo>
                    <a:pt x="196" y="204"/>
                  </a:lnTo>
                  <a:lnTo>
                    <a:pt x="194" y="204"/>
                  </a:lnTo>
                  <a:close/>
                  <a:moveTo>
                    <a:pt x="192" y="202"/>
                  </a:moveTo>
                  <a:lnTo>
                    <a:pt x="192" y="204"/>
                  </a:lnTo>
                  <a:lnTo>
                    <a:pt x="191" y="205"/>
                  </a:lnTo>
                  <a:lnTo>
                    <a:pt x="190" y="205"/>
                  </a:lnTo>
                  <a:lnTo>
                    <a:pt x="190" y="206"/>
                  </a:lnTo>
                  <a:lnTo>
                    <a:pt x="189" y="206"/>
                  </a:lnTo>
                  <a:lnTo>
                    <a:pt x="187" y="206"/>
                  </a:lnTo>
                  <a:lnTo>
                    <a:pt x="186" y="206"/>
                  </a:lnTo>
                  <a:lnTo>
                    <a:pt x="185" y="206"/>
                  </a:lnTo>
                  <a:lnTo>
                    <a:pt x="185" y="207"/>
                  </a:lnTo>
                  <a:lnTo>
                    <a:pt x="184" y="207"/>
                  </a:lnTo>
                  <a:lnTo>
                    <a:pt x="184" y="208"/>
                  </a:lnTo>
                  <a:lnTo>
                    <a:pt x="183" y="208"/>
                  </a:lnTo>
                  <a:lnTo>
                    <a:pt x="182" y="208"/>
                  </a:lnTo>
                  <a:lnTo>
                    <a:pt x="180" y="208"/>
                  </a:lnTo>
                  <a:lnTo>
                    <a:pt x="180" y="207"/>
                  </a:lnTo>
                  <a:lnTo>
                    <a:pt x="182" y="207"/>
                  </a:lnTo>
                  <a:lnTo>
                    <a:pt x="182" y="206"/>
                  </a:lnTo>
                  <a:lnTo>
                    <a:pt x="184" y="206"/>
                  </a:lnTo>
                  <a:lnTo>
                    <a:pt x="185" y="205"/>
                  </a:lnTo>
                  <a:lnTo>
                    <a:pt x="186" y="205"/>
                  </a:lnTo>
                  <a:lnTo>
                    <a:pt x="186" y="204"/>
                  </a:lnTo>
                  <a:lnTo>
                    <a:pt x="186" y="202"/>
                  </a:lnTo>
                  <a:lnTo>
                    <a:pt x="189" y="202"/>
                  </a:lnTo>
                  <a:lnTo>
                    <a:pt x="190" y="201"/>
                  </a:lnTo>
                  <a:lnTo>
                    <a:pt x="192" y="201"/>
                  </a:lnTo>
                  <a:lnTo>
                    <a:pt x="193" y="201"/>
                  </a:lnTo>
                  <a:lnTo>
                    <a:pt x="193" y="202"/>
                  </a:lnTo>
                  <a:lnTo>
                    <a:pt x="192" y="202"/>
                  </a:lnTo>
                  <a:close/>
                  <a:moveTo>
                    <a:pt x="108" y="166"/>
                  </a:moveTo>
                  <a:lnTo>
                    <a:pt x="108" y="165"/>
                  </a:lnTo>
                  <a:lnTo>
                    <a:pt x="108" y="166"/>
                  </a:lnTo>
                  <a:close/>
                  <a:moveTo>
                    <a:pt x="13" y="5"/>
                  </a:moveTo>
                  <a:lnTo>
                    <a:pt x="14" y="5"/>
                  </a:lnTo>
                  <a:lnTo>
                    <a:pt x="14" y="7"/>
                  </a:lnTo>
                  <a:lnTo>
                    <a:pt x="15" y="7"/>
                  </a:lnTo>
                  <a:lnTo>
                    <a:pt x="15" y="8"/>
                  </a:lnTo>
                  <a:lnTo>
                    <a:pt x="16" y="8"/>
                  </a:lnTo>
                  <a:lnTo>
                    <a:pt x="18" y="9"/>
                  </a:lnTo>
                  <a:lnTo>
                    <a:pt x="19" y="9"/>
                  </a:lnTo>
                  <a:lnTo>
                    <a:pt x="19" y="10"/>
                  </a:lnTo>
                  <a:lnTo>
                    <a:pt x="20" y="10"/>
                  </a:lnTo>
                  <a:lnTo>
                    <a:pt x="20" y="11"/>
                  </a:lnTo>
                  <a:lnTo>
                    <a:pt x="21" y="12"/>
                  </a:lnTo>
                  <a:lnTo>
                    <a:pt x="22" y="12"/>
                  </a:lnTo>
                  <a:lnTo>
                    <a:pt x="23" y="12"/>
                  </a:lnTo>
                  <a:lnTo>
                    <a:pt x="25" y="12"/>
                  </a:lnTo>
                  <a:lnTo>
                    <a:pt x="28" y="14"/>
                  </a:lnTo>
                  <a:lnTo>
                    <a:pt x="29" y="14"/>
                  </a:lnTo>
                  <a:lnTo>
                    <a:pt x="30" y="14"/>
                  </a:lnTo>
                  <a:lnTo>
                    <a:pt x="32" y="14"/>
                  </a:lnTo>
                  <a:lnTo>
                    <a:pt x="32" y="12"/>
                  </a:lnTo>
                  <a:lnTo>
                    <a:pt x="33" y="12"/>
                  </a:lnTo>
                  <a:lnTo>
                    <a:pt x="34" y="14"/>
                  </a:lnTo>
                  <a:lnTo>
                    <a:pt x="35" y="14"/>
                  </a:lnTo>
                  <a:lnTo>
                    <a:pt x="35" y="12"/>
                  </a:lnTo>
                  <a:lnTo>
                    <a:pt x="36" y="12"/>
                  </a:lnTo>
                  <a:lnTo>
                    <a:pt x="36" y="11"/>
                  </a:lnTo>
                  <a:lnTo>
                    <a:pt x="37" y="11"/>
                  </a:lnTo>
                  <a:lnTo>
                    <a:pt x="37" y="10"/>
                  </a:lnTo>
                  <a:lnTo>
                    <a:pt x="37" y="9"/>
                  </a:lnTo>
                  <a:lnTo>
                    <a:pt x="39" y="9"/>
                  </a:lnTo>
                  <a:lnTo>
                    <a:pt x="40" y="9"/>
                  </a:lnTo>
                  <a:lnTo>
                    <a:pt x="40" y="8"/>
                  </a:lnTo>
                  <a:lnTo>
                    <a:pt x="41" y="7"/>
                  </a:lnTo>
                  <a:lnTo>
                    <a:pt x="42" y="5"/>
                  </a:lnTo>
                  <a:lnTo>
                    <a:pt x="43" y="5"/>
                  </a:lnTo>
                  <a:lnTo>
                    <a:pt x="43" y="4"/>
                  </a:lnTo>
                  <a:lnTo>
                    <a:pt x="44" y="4"/>
                  </a:lnTo>
                  <a:lnTo>
                    <a:pt x="45" y="3"/>
                  </a:lnTo>
                  <a:lnTo>
                    <a:pt x="47" y="3"/>
                  </a:lnTo>
                  <a:lnTo>
                    <a:pt x="48" y="2"/>
                  </a:lnTo>
                  <a:lnTo>
                    <a:pt x="49" y="1"/>
                  </a:lnTo>
                  <a:lnTo>
                    <a:pt x="50" y="1"/>
                  </a:lnTo>
                  <a:lnTo>
                    <a:pt x="51" y="1"/>
                  </a:lnTo>
                  <a:lnTo>
                    <a:pt x="51" y="2"/>
                  </a:lnTo>
                  <a:lnTo>
                    <a:pt x="55" y="4"/>
                  </a:lnTo>
                  <a:lnTo>
                    <a:pt x="56" y="4"/>
                  </a:lnTo>
                  <a:lnTo>
                    <a:pt x="56" y="5"/>
                  </a:lnTo>
                  <a:lnTo>
                    <a:pt x="55" y="7"/>
                  </a:lnTo>
                  <a:lnTo>
                    <a:pt x="54" y="7"/>
                  </a:lnTo>
                  <a:lnTo>
                    <a:pt x="54" y="8"/>
                  </a:lnTo>
                  <a:lnTo>
                    <a:pt x="54" y="9"/>
                  </a:lnTo>
                  <a:lnTo>
                    <a:pt x="55" y="9"/>
                  </a:lnTo>
                  <a:lnTo>
                    <a:pt x="56" y="10"/>
                  </a:lnTo>
                  <a:lnTo>
                    <a:pt x="57" y="11"/>
                  </a:lnTo>
                  <a:lnTo>
                    <a:pt x="56" y="12"/>
                  </a:lnTo>
                  <a:lnTo>
                    <a:pt x="54" y="12"/>
                  </a:lnTo>
                  <a:lnTo>
                    <a:pt x="54" y="14"/>
                  </a:lnTo>
                  <a:lnTo>
                    <a:pt x="54" y="15"/>
                  </a:lnTo>
                  <a:lnTo>
                    <a:pt x="55" y="15"/>
                  </a:lnTo>
                  <a:lnTo>
                    <a:pt x="57" y="16"/>
                  </a:lnTo>
                  <a:lnTo>
                    <a:pt x="57" y="17"/>
                  </a:lnTo>
                  <a:lnTo>
                    <a:pt x="58" y="17"/>
                  </a:lnTo>
                  <a:lnTo>
                    <a:pt x="58" y="18"/>
                  </a:lnTo>
                  <a:lnTo>
                    <a:pt x="59" y="18"/>
                  </a:lnTo>
                  <a:lnTo>
                    <a:pt x="61" y="18"/>
                  </a:lnTo>
                  <a:lnTo>
                    <a:pt x="61" y="19"/>
                  </a:lnTo>
                  <a:lnTo>
                    <a:pt x="62" y="19"/>
                  </a:lnTo>
                  <a:lnTo>
                    <a:pt x="62" y="21"/>
                  </a:lnTo>
                  <a:lnTo>
                    <a:pt x="63" y="22"/>
                  </a:lnTo>
                  <a:lnTo>
                    <a:pt x="64" y="21"/>
                  </a:lnTo>
                  <a:lnTo>
                    <a:pt x="65" y="21"/>
                  </a:lnTo>
                  <a:lnTo>
                    <a:pt x="66" y="21"/>
                  </a:lnTo>
                  <a:lnTo>
                    <a:pt x="66" y="22"/>
                  </a:lnTo>
                  <a:lnTo>
                    <a:pt x="66" y="23"/>
                  </a:lnTo>
                  <a:lnTo>
                    <a:pt x="66" y="24"/>
                  </a:lnTo>
                  <a:lnTo>
                    <a:pt x="68" y="24"/>
                  </a:lnTo>
                  <a:lnTo>
                    <a:pt x="68" y="26"/>
                  </a:lnTo>
                  <a:lnTo>
                    <a:pt x="69" y="28"/>
                  </a:lnTo>
                  <a:lnTo>
                    <a:pt x="69" y="29"/>
                  </a:lnTo>
                  <a:lnTo>
                    <a:pt x="69" y="30"/>
                  </a:lnTo>
                  <a:lnTo>
                    <a:pt x="70" y="30"/>
                  </a:lnTo>
                  <a:lnTo>
                    <a:pt x="70" y="31"/>
                  </a:lnTo>
                  <a:lnTo>
                    <a:pt x="71" y="32"/>
                  </a:lnTo>
                  <a:lnTo>
                    <a:pt x="72" y="33"/>
                  </a:lnTo>
                  <a:lnTo>
                    <a:pt x="73" y="35"/>
                  </a:lnTo>
                  <a:lnTo>
                    <a:pt x="76" y="35"/>
                  </a:lnTo>
                  <a:lnTo>
                    <a:pt x="76" y="36"/>
                  </a:lnTo>
                  <a:lnTo>
                    <a:pt x="82" y="36"/>
                  </a:lnTo>
                  <a:lnTo>
                    <a:pt x="83" y="36"/>
                  </a:lnTo>
                  <a:lnTo>
                    <a:pt x="84" y="37"/>
                  </a:lnTo>
                  <a:lnTo>
                    <a:pt x="86" y="37"/>
                  </a:lnTo>
                  <a:lnTo>
                    <a:pt x="87" y="37"/>
                  </a:lnTo>
                  <a:lnTo>
                    <a:pt x="87" y="38"/>
                  </a:lnTo>
                  <a:lnTo>
                    <a:pt x="87" y="39"/>
                  </a:lnTo>
                  <a:lnTo>
                    <a:pt x="89" y="40"/>
                  </a:lnTo>
                  <a:lnTo>
                    <a:pt x="90" y="42"/>
                  </a:lnTo>
                  <a:lnTo>
                    <a:pt x="91" y="42"/>
                  </a:lnTo>
                  <a:lnTo>
                    <a:pt x="91" y="43"/>
                  </a:lnTo>
                  <a:lnTo>
                    <a:pt x="92" y="43"/>
                  </a:lnTo>
                  <a:lnTo>
                    <a:pt x="93" y="44"/>
                  </a:lnTo>
                  <a:lnTo>
                    <a:pt x="94" y="44"/>
                  </a:lnTo>
                  <a:lnTo>
                    <a:pt x="94" y="45"/>
                  </a:lnTo>
                  <a:lnTo>
                    <a:pt x="97" y="45"/>
                  </a:lnTo>
                  <a:lnTo>
                    <a:pt x="99" y="47"/>
                  </a:lnTo>
                  <a:lnTo>
                    <a:pt x="100" y="47"/>
                  </a:lnTo>
                  <a:lnTo>
                    <a:pt x="104" y="49"/>
                  </a:lnTo>
                  <a:lnTo>
                    <a:pt x="106" y="49"/>
                  </a:lnTo>
                  <a:lnTo>
                    <a:pt x="108" y="49"/>
                  </a:lnTo>
                  <a:lnTo>
                    <a:pt x="111" y="50"/>
                  </a:lnTo>
                  <a:lnTo>
                    <a:pt x="113" y="50"/>
                  </a:lnTo>
                  <a:lnTo>
                    <a:pt x="115" y="49"/>
                  </a:lnTo>
                  <a:lnTo>
                    <a:pt x="118" y="49"/>
                  </a:lnTo>
                  <a:lnTo>
                    <a:pt x="120" y="47"/>
                  </a:lnTo>
                  <a:lnTo>
                    <a:pt x="122" y="47"/>
                  </a:lnTo>
                  <a:lnTo>
                    <a:pt x="125" y="46"/>
                  </a:lnTo>
                  <a:lnTo>
                    <a:pt x="126" y="46"/>
                  </a:lnTo>
                  <a:lnTo>
                    <a:pt x="130" y="45"/>
                  </a:lnTo>
                  <a:lnTo>
                    <a:pt x="136" y="45"/>
                  </a:lnTo>
                  <a:lnTo>
                    <a:pt x="136" y="44"/>
                  </a:lnTo>
                  <a:lnTo>
                    <a:pt x="137" y="44"/>
                  </a:lnTo>
                  <a:lnTo>
                    <a:pt x="137" y="45"/>
                  </a:lnTo>
                  <a:lnTo>
                    <a:pt x="136" y="45"/>
                  </a:lnTo>
                  <a:lnTo>
                    <a:pt x="135" y="45"/>
                  </a:lnTo>
                  <a:lnTo>
                    <a:pt x="134" y="45"/>
                  </a:lnTo>
                  <a:lnTo>
                    <a:pt x="133" y="45"/>
                  </a:lnTo>
                  <a:lnTo>
                    <a:pt x="133" y="46"/>
                  </a:lnTo>
                  <a:lnTo>
                    <a:pt x="134" y="46"/>
                  </a:lnTo>
                  <a:lnTo>
                    <a:pt x="136" y="46"/>
                  </a:lnTo>
                  <a:lnTo>
                    <a:pt x="137" y="46"/>
                  </a:lnTo>
                  <a:lnTo>
                    <a:pt x="139" y="45"/>
                  </a:lnTo>
                  <a:lnTo>
                    <a:pt x="137" y="44"/>
                  </a:lnTo>
                  <a:lnTo>
                    <a:pt x="137" y="43"/>
                  </a:lnTo>
                  <a:lnTo>
                    <a:pt x="136" y="42"/>
                  </a:lnTo>
                  <a:lnTo>
                    <a:pt x="136" y="40"/>
                  </a:lnTo>
                  <a:lnTo>
                    <a:pt x="135" y="39"/>
                  </a:lnTo>
                  <a:lnTo>
                    <a:pt x="135" y="38"/>
                  </a:lnTo>
                  <a:lnTo>
                    <a:pt x="139" y="38"/>
                  </a:lnTo>
                  <a:lnTo>
                    <a:pt x="140" y="38"/>
                  </a:lnTo>
                  <a:lnTo>
                    <a:pt x="141" y="37"/>
                  </a:lnTo>
                  <a:lnTo>
                    <a:pt x="143" y="36"/>
                  </a:lnTo>
                  <a:lnTo>
                    <a:pt x="143" y="37"/>
                  </a:lnTo>
                  <a:lnTo>
                    <a:pt x="144" y="37"/>
                  </a:lnTo>
                  <a:lnTo>
                    <a:pt x="144" y="36"/>
                  </a:lnTo>
                  <a:lnTo>
                    <a:pt x="146" y="36"/>
                  </a:lnTo>
                  <a:lnTo>
                    <a:pt x="146" y="35"/>
                  </a:lnTo>
                  <a:lnTo>
                    <a:pt x="146" y="33"/>
                  </a:lnTo>
                  <a:lnTo>
                    <a:pt x="146" y="32"/>
                  </a:lnTo>
                  <a:lnTo>
                    <a:pt x="146" y="31"/>
                  </a:lnTo>
                  <a:lnTo>
                    <a:pt x="148" y="30"/>
                  </a:lnTo>
                  <a:lnTo>
                    <a:pt x="148" y="29"/>
                  </a:lnTo>
                  <a:lnTo>
                    <a:pt x="149" y="29"/>
                  </a:lnTo>
                  <a:lnTo>
                    <a:pt x="149" y="28"/>
                  </a:lnTo>
                  <a:lnTo>
                    <a:pt x="150" y="28"/>
                  </a:lnTo>
                  <a:lnTo>
                    <a:pt x="151" y="28"/>
                  </a:lnTo>
                  <a:lnTo>
                    <a:pt x="151" y="26"/>
                  </a:lnTo>
                  <a:lnTo>
                    <a:pt x="153" y="26"/>
                  </a:lnTo>
                  <a:lnTo>
                    <a:pt x="154" y="26"/>
                  </a:lnTo>
                  <a:lnTo>
                    <a:pt x="156" y="25"/>
                  </a:lnTo>
                  <a:lnTo>
                    <a:pt x="157" y="25"/>
                  </a:lnTo>
                  <a:lnTo>
                    <a:pt x="157" y="26"/>
                  </a:lnTo>
                  <a:lnTo>
                    <a:pt x="158" y="26"/>
                  </a:lnTo>
                  <a:lnTo>
                    <a:pt x="160" y="26"/>
                  </a:lnTo>
                  <a:lnTo>
                    <a:pt x="161" y="26"/>
                  </a:lnTo>
                  <a:lnTo>
                    <a:pt x="162" y="26"/>
                  </a:lnTo>
                  <a:lnTo>
                    <a:pt x="163" y="26"/>
                  </a:lnTo>
                  <a:lnTo>
                    <a:pt x="164" y="26"/>
                  </a:lnTo>
                  <a:lnTo>
                    <a:pt x="164" y="25"/>
                  </a:lnTo>
                  <a:lnTo>
                    <a:pt x="163" y="25"/>
                  </a:lnTo>
                  <a:lnTo>
                    <a:pt x="163" y="24"/>
                  </a:lnTo>
                  <a:lnTo>
                    <a:pt x="164" y="24"/>
                  </a:lnTo>
                  <a:lnTo>
                    <a:pt x="164" y="23"/>
                  </a:lnTo>
                  <a:lnTo>
                    <a:pt x="165" y="23"/>
                  </a:lnTo>
                  <a:lnTo>
                    <a:pt x="167" y="23"/>
                  </a:lnTo>
                  <a:lnTo>
                    <a:pt x="167" y="24"/>
                  </a:lnTo>
                  <a:lnTo>
                    <a:pt x="168" y="23"/>
                  </a:lnTo>
                  <a:lnTo>
                    <a:pt x="169" y="23"/>
                  </a:lnTo>
                  <a:lnTo>
                    <a:pt x="169" y="24"/>
                  </a:lnTo>
                  <a:lnTo>
                    <a:pt x="170" y="24"/>
                  </a:lnTo>
                  <a:lnTo>
                    <a:pt x="172" y="24"/>
                  </a:lnTo>
                  <a:lnTo>
                    <a:pt x="173" y="24"/>
                  </a:lnTo>
                  <a:lnTo>
                    <a:pt x="173" y="23"/>
                  </a:lnTo>
                  <a:lnTo>
                    <a:pt x="175" y="23"/>
                  </a:lnTo>
                  <a:lnTo>
                    <a:pt x="175" y="24"/>
                  </a:lnTo>
                  <a:lnTo>
                    <a:pt x="176" y="24"/>
                  </a:lnTo>
                  <a:lnTo>
                    <a:pt x="176" y="25"/>
                  </a:lnTo>
                  <a:lnTo>
                    <a:pt x="177" y="25"/>
                  </a:lnTo>
                  <a:lnTo>
                    <a:pt x="177" y="26"/>
                  </a:lnTo>
                  <a:lnTo>
                    <a:pt x="177" y="28"/>
                  </a:lnTo>
                  <a:lnTo>
                    <a:pt x="179" y="29"/>
                  </a:lnTo>
                  <a:lnTo>
                    <a:pt x="180" y="29"/>
                  </a:lnTo>
                  <a:lnTo>
                    <a:pt x="182" y="29"/>
                  </a:lnTo>
                  <a:lnTo>
                    <a:pt x="183" y="29"/>
                  </a:lnTo>
                  <a:lnTo>
                    <a:pt x="184" y="30"/>
                  </a:lnTo>
                  <a:lnTo>
                    <a:pt x="185" y="30"/>
                  </a:lnTo>
                  <a:lnTo>
                    <a:pt x="187" y="31"/>
                  </a:lnTo>
                  <a:lnTo>
                    <a:pt x="189" y="31"/>
                  </a:lnTo>
                  <a:lnTo>
                    <a:pt x="190" y="32"/>
                  </a:lnTo>
                  <a:lnTo>
                    <a:pt x="191" y="33"/>
                  </a:lnTo>
                  <a:lnTo>
                    <a:pt x="192" y="33"/>
                  </a:lnTo>
                  <a:lnTo>
                    <a:pt x="193" y="33"/>
                  </a:lnTo>
                  <a:lnTo>
                    <a:pt x="193" y="32"/>
                  </a:lnTo>
                  <a:lnTo>
                    <a:pt x="194" y="32"/>
                  </a:lnTo>
                  <a:lnTo>
                    <a:pt x="196" y="32"/>
                  </a:lnTo>
                  <a:lnTo>
                    <a:pt x="196" y="33"/>
                  </a:lnTo>
                  <a:lnTo>
                    <a:pt x="197" y="33"/>
                  </a:lnTo>
                  <a:lnTo>
                    <a:pt x="197" y="32"/>
                  </a:lnTo>
                  <a:lnTo>
                    <a:pt x="197" y="33"/>
                  </a:lnTo>
                  <a:lnTo>
                    <a:pt x="197" y="32"/>
                  </a:lnTo>
                  <a:lnTo>
                    <a:pt x="198" y="32"/>
                  </a:lnTo>
                  <a:lnTo>
                    <a:pt x="199" y="33"/>
                  </a:lnTo>
                  <a:lnTo>
                    <a:pt x="200" y="33"/>
                  </a:lnTo>
                  <a:lnTo>
                    <a:pt x="201" y="33"/>
                  </a:lnTo>
                  <a:lnTo>
                    <a:pt x="204" y="35"/>
                  </a:lnTo>
                  <a:lnTo>
                    <a:pt x="205" y="35"/>
                  </a:lnTo>
                  <a:lnTo>
                    <a:pt x="205" y="36"/>
                  </a:lnTo>
                  <a:lnTo>
                    <a:pt x="205" y="37"/>
                  </a:lnTo>
                  <a:lnTo>
                    <a:pt x="206" y="37"/>
                  </a:lnTo>
                  <a:lnTo>
                    <a:pt x="206" y="38"/>
                  </a:lnTo>
                  <a:lnTo>
                    <a:pt x="207" y="39"/>
                  </a:lnTo>
                  <a:lnTo>
                    <a:pt x="207" y="40"/>
                  </a:lnTo>
                  <a:lnTo>
                    <a:pt x="208" y="40"/>
                  </a:lnTo>
                  <a:lnTo>
                    <a:pt x="210" y="40"/>
                  </a:lnTo>
                  <a:lnTo>
                    <a:pt x="210" y="42"/>
                  </a:lnTo>
                  <a:lnTo>
                    <a:pt x="210" y="40"/>
                  </a:lnTo>
                  <a:lnTo>
                    <a:pt x="211" y="40"/>
                  </a:lnTo>
                  <a:lnTo>
                    <a:pt x="212" y="42"/>
                  </a:lnTo>
                  <a:lnTo>
                    <a:pt x="213" y="42"/>
                  </a:lnTo>
                  <a:lnTo>
                    <a:pt x="214" y="43"/>
                  </a:lnTo>
                  <a:lnTo>
                    <a:pt x="215" y="43"/>
                  </a:lnTo>
                  <a:lnTo>
                    <a:pt x="217" y="43"/>
                  </a:lnTo>
                  <a:lnTo>
                    <a:pt x="217" y="44"/>
                  </a:lnTo>
                  <a:lnTo>
                    <a:pt x="218" y="45"/>
                  </a:lnTo>
                  <a:lnTo>
                    <a:pt x="219" y="47"/>
                  </a:lnTo>
                  <a:lnTo>
                    <a:pt x="220" y="47"/>
                  </a:lnTo>
                  <a:lnTo>
                    <a:pt x="220" y="49"/>
                  </a:lnTo>
                  <a:lnTo>
                    <a:pt x="221" y="49"/>
                  </a:lnTo>
                  <a:lnTo>
                    <a:pt x="224" y="49"/>
                  </a:lnTo>
                  <a:lnTo>
                    <a:pt x="225" y="49"/>
                  </a:lnTo>
                  <a:lnTo>
                    <a:pt x="228" y="49"/>
                  </a:lnTo>
                  <a:lnTo>
                    <a:pt x="229" y="49"/>
                  </a:lnTo>
                  <a:lnTo>
                    <a:pt x="231" y="49"/>
                  </a:lnTo>
                  <a:lnTo>
                    <a:pt x="232" y="49"/>
                  </a:lnTo>
                  <a:lnTo>
                    <a:pt x="232" y="50"/>
                  </a:lnTo>
                  <a:lnTo>
                    <a:pt x="233" y="50"/>
                  </a:lnTo>
                  <a:lnTo>
                    <a:pt x="233" y="51"/>
                  </a:lnTo>
                  <a:lnTo>
                    <a:pt x="232" y="51"/>
                  </a:lnTo>
                  <a:lnTo>
                    <a:pt x="233" y="51"/>
                  </a:lnTo>
                  <a:lnTo>
                    <a:pt x="233" y="52"/>
                  </a:lnTo>
                  <a:lnTo>
                    <a:pt x="233" y="53"/>
                  </a:lnTo>
                  <a:lnTo>
                    <a:pt x="233" y="54"/>
                  </a:lnTo>
                  <a:lnTo>
                    <a:pt x="234" y="56"/>
                  </a:lnTo>
                  <a:lnTo>
                    <a:pt x="234" y="57"/>
                  </a:lnTo>
                  <a:lnTo>
                    <a:pt x="234" y="58"/>
                  </a:lnTo>
                  <a:lnTo>
                    <a:pt x="234" y="59"/>
                  </a:lnTo>
                  <a:lnTo>
                    <a:pt x="234" y="60"/>
                  </a:lnTo>
                  <a:lnTo>
                    <a:pt x="235" y="60"/>
                  </a:lnTo>
                  <a:lnTo>
                    <a:pt x="235" y="61"/>
                  </a:lnTo>
                  <a:lnTo>
                    <a:pt x="236" y="61"/>
                  </a:lnTo>
                  <a:lnTo>
                    <a:pt x="236" y="63"/>
                  </a:lnTo>
                  <a:lnTo>
                    <a:pt x="236" y="64"/>
                  </a:lnTo>
                  <a:lnTo>
                    <a:pt x="236" y="65"/>
                  </a:lnTo>
                  <a:lnTo>
                    <a:pt x="237" y="66"/>
                  </a:lnTo>
                  <a:lnTo>
                    <a:pt x="237" y="67"/>
                  </a:lnTo>
                  <a:lnTo>
                    <a:pt x="236" y="67"/>
                  </a:lnTo>
                  <a:lnTo>
                    <a:pt x="236" y="68"/>
                  </a:lnTo>
                  <a:lnTo>
                    <a:pt x="236" y="70"/>
                  </a:lnTo>
                  <a:lnTo>
                    <a:pt x="236" y="71"/>
                  </a:lnTo>
                  <a:lnTo>
                    <a:pt x="235" y="71"/>
                  </a:lnTo>
                  <a:lnTo>
                    <a:pt x="236" y="71"/>
                  </a:lnTo>
                  <a:lnTo>
                    <a:pt x="236" y="72"/>
                  </a:lnTo>
                  <a:lnTo>
                    <a:pt x="236" y="73"/>
                  </a:lnTo>
                  <a:lnTo>
                    <a:pt x="236" y="74"/>
                  </a:lnTo>
                  <a:lnTo>
                    <a:pt x="236" y="75"/>
                  </a:lnTo>
                  <a:lnTo>
                    <a:pt x="236" y="77"/>
                  </a:lnTo>
                  <a:lnTo>
                    <a:pt x="236" y="78"/>
                  </a:lnTo>
                  <a:lnTo>
                    <a:pt x="236" y="79"/>
                  </a:lnTo>
                  <a:lnTo>
                    <a:pt x="235" y="79"/>
                  </a:lnTo>
                  <a:lnTo>
                    <a:pt x="235" y="80"/>
                  </a:lnTo>
                  <a:lnTo>
                    <a:pt x="236" y="80"/>
                  </a:lnTo>
                  <a:lnTo>
                    <a:pt x="235" y="80"/>
                  </a:lnTo>
                  <a:lnTo>
                    <a:pt x="235" y="81"/>
                  </a:lnTo>
                  <a:lnTo>
                    <a:pt x="234" y="81"/>
                  </a:lnTo>
                  <a:lnTo>
                    <a:pt x="234" y="82"/>
                  </a:lnTo>
                  <a:lnTo>
                    <a:pt x="233" y="82"/>
                  </a:lnTo>
                  <a:lnTo>
                    <a:pt x="233" y="84"/>
                  </a:lnTo>
                  <a:lnTo>
                    <a:pt x="234" y="84"/>
                  </a:lnTo>
                  <a:lnTo>
                    <a:pt x="235" y="85"/>
                  </a:lnTo>
                  <a:lnTo>
                    <a:pt x="236" y="86"/>
                  </a:lnTo>
                  <a:lnTo>
                    <a:pt x="235" y="86"/>
                  </a:lnTo>
                  <a:lnTo>
                    <a:pt x="234" y="86"/>
                  </a:lnTo>
                  <a:lnTo>
                    <a:pt x="233" y="86"/>
                  </a:lnTo>
                  <a:lnTo>
                    <a:pt x="232" y="87"/>
                  </a:lnTo>
                  <a:lnTo>
                    <a:pt x="232" y="88"/>
                  </a:lnTo>
                  <a:lnTo>
                    <a:pt x="232" y="89"/>
                  </a:lnTo>
                  <a:lnTo>
                    <a:pt x="232" y="91"/>
                  </a:lnTo>
                  <a:lnTo>
                    <a:pt x="233" y="93"/>
                  </a:lnTo>
                  <a:lnTo>
                    <a:pt x="233" y="94"/>
                  </a:lnTo>
                  <a:lnTo>
                    <a:pt x="233" y="95"/>
                  </a:lnTo>
                  <a:lnTo>
                    <a:pt x="233" y="96"/>
                  </a:lnTo>
                  <a:lnTo>
                    <a:pt x="234" y="98"/>
                  </a:lnTo>
                  <a:lnTo>
                    <a:pt x="235" y="98"/>
                  </a:lnTo>
                  <a:lnTo>
                    <a:pt x="236" y="98"/>
                  </a:lnTo>
                  <a:lnTo>
                    <a:pt x="237" y="98"/>
                  </a:lnTo>
                  <a:lnTo>
                    <a:pt x="239" y="98"/>
                  </a:lnTo>
                  <a:lnTo>
                    <a:pt x="239" y="99"/>
                  </a:lnTo>
                  <a:lnTo>
                    <a:pt x="237" y="99"/>
                  </a:lnTo>
                  <a:lnTo>
                    <a:pt x="237" y="100"/>
                  </a:lnTo>
                  <a:lnTo>
                    <a:pt x="237" y="101"/>
                  </a:lnTo>
                  <a:lnTo>
                    <a:pt x="236" y="101"/>
                  </a:lnTo>
                  <a:lnTo>
                    <a:pt x="236" y="102"/>
                  </a:lnTo>
                  <a:lnTo>
                    <a:pt x="236" y="103"/>
                  </a:lnTo>
                  <a:lnTo>
                    <a:pt x="235" y="105"/>
                  </a:lnTo>
                  <a:lnTo>
                    <a:pt x="235" y="106"/>
                  </a:lnTo>
                  <a:lnTo>
                    <a:pt x="236" y="107"/>
                  </a:lnTo>
                  <a:lnTo>
                    <a:pt x="236" y="108"/>
                  </a:lnTo>
                  <a:lnTo>
                    <a:pt x="237" y="109"/>
                  </a:lnTo>
                  <a:lnTo>
                    <a:pt x="237" y="110"/>
                  </a:lnTo>
                  <a:lnTo>
                    <a:pt x="239" y="113"/>
                  </a:lnTo>
                  <a:lnTo>
                    <a:pt x="240" y="114"/>
                  </a:lnTo>
                  <a:lnTo>
                    <a:pt x="241" y="116"/>
                  </a:lnTo>
                  <a:lnTo>
                    <a:pt x="241" y="119"/>
                  </a:lnTo>
                  <a:lnTo>
                    <a:pt x="242" y="120"/>
                  </a:lnTo>
                  <a:lnTo>
                    <a:pt x="242" y="121"/>
                  </a:lnTo>
                  <a:lnTo>
                    <a:pt x="241" y="122"/>
                  </a:lnTo>
                  <a:lnTo>
                    <a:pt x="242" y="122"/>
                  </a:lnTo>
                  <a:lnTo>
                    <a:pt x="242" y="123"/>
                  </a:lnTo>
                  <a:lnTo>
                    <a:pt x="242" y="124"/>
                  </a:lnTo>
                  <a:lnTo>
                    <a:pt x="242" y="126"/>
                  </a:lnTo>
                  <a:lnTo>
                    <a:pt x="242" y="127"/>
                  </a:lnTo>
                  <a:lnTo>
                    <a:pt x="242" y="128"/>
                  </a:lnTo>
                  <a:lnTo>
                    <a:pt x="243" y="129"/>
                  </a:lnTo>
                  <a:lnTo>
                    <a:pt x="243" y="130"/>
                  </a:lnTo>
                  <a:lnTo>
                    <a:pt x="244" y="130"/>
                  </a:lnTo>
                  <a:lnTo>
                    <a:pt x="246" y="130"/>
                  </a:lnTo>
                  <a:lnTo>
                    <a:pt x="248" y="131"/>
                  </a:lnTo>
                  <a:lnTo>
                    <a:pt x="250" y="131"/>
                  </a:lnTo>
                  <a:lnTo>
                    <a:pt x="253" y="131"/>
                  </a:lnTo>
                  <a:lnTo>
                    <a:pt x="254" y="131"/>
                  </a:lnTo>
                  <a:lnTo>
                    <a:pt x="255" y="132"/>
                  </a:lnTo>
                  <a:lnTo>
                    <a:pt x="256" y="132"/>
                  </a:lnTo>
                  <a:lnTo>
                    <a:pt x="256" y="134"/>
                  </a:lnTo>
                  <a:lnTo>
                    <a:pt x="256" y="135"/>
                  </a:lnTo>
                  <a:lnTo>
                    <a:pt x="257" y="135"/>
                  </a:lnTo>
                  <a:lnTo>
                    <a:pt x="257" y="136"/>
                  </a:lnTo>
                  <a:lnTo>
                    <a:pt x="257" y="137"/>
                  </a:lnTo>
                  <a:lnTo>
                    <a:pt x="258" y="137"/>
                  </a:lnTo>
                  <a:lnTo>
                    <a:pt x="258" y="138"/>
                  </a:lnTo>
                  <a:lnTo>
                    <a:pt x="258" y="139"/>
                  </a:lnTo>
                  <a:lnTo>
                    <a:pt x="258" y="141"/>
                  </a:lnTo>
                  <a:lnTo>
                    <a:pt x="257" y="142"/>
                  </a:lnTo>
                  <a:lnTo>
                    <a:pt x="256" y="144"/>
                  </a:lnTo>
                  <a:lnTo>
                    <a:pt x="255" y="146"/>
                  </a:lnTo>
                  <a:lnTo>
                    <a:pt x="254" y="148"/>
                  </a:lnTo>
                  <a:lnTo>
                    <a:pt x="253" y="149"/>
                  </a:lnTo>
                  <a:lnTo>
                    <a:pt x="253" y="150"/>
                  </a:lnTo>
                  <a:lnTo>
                    <a:pt x="251" y="151"/>
                  </a:lnTo>
                  <a:lnTo>
                    <a:pt x="249" y="153"/>
                  </a:lnTo>
                  <a:lnTo>
                    <a:pt x="249" y="155"/>
                  </a:lnTo>
                  <a:lnTo>
                    <a:pt x="248" y="156"/>
                  </a:lnTo>
                  <a:lnTo>
                    <a:pt x="249" y="157"/>
                  </a:lnTo>
                  <a:lnTo>
                    <a:pt x="250" y="158"/>
                  </a:lnTo>
                  <a:lnTo>
                    <a:pt x="251" y="159"/>
                  </a:lnTo>
                  <a:lnTo>
                    <a:pt x="253" y="160"/>
                  </a:lnTo>
                  <a:lnTo>
                    <a:pt x="254" y="162"/>
                  </a:lnTo>
                  <a:lnTo>
                    <a:pt x="255" y="163"/>
                  </a:lnTo>
                  <a:lnTo>
                    <a:pt x="255" y="164"/>
                  </a:lnTo>
                  <a:lnTo>
                    <a:pt x="256" y="164"/>
                  </a:lnTo>
                  <a:lnTo>
                    <a:pt x="256" y="165"/>
                  </a:lnTo>
                  <a:lnTo>
                    <a:pt x="257" y="166"/>
                  </a:lnTo>
                  <a:lnTo>
                    <a:pt x="257" y="167"/>
                  </a:lnTo>
                  <a:lnTo>
                    <a:pt x="258" y="167"/>
                  </a:lnTo>
                  <a:lnTo>
                    <a:pt x="258" y="169"/>
                  </a:lnTo>
                  <a:lnTo>
                    <a:pt x="258" y="170"/>
                  </a:lnTo>
                  <a:lnTo>
                    <a:pt x="260" y="170"/>
                  </a:lnTo>
                  <a:lnTo>
                    <a:pt x="260" y="171"/>
                  </a:lnTo>
                  <a:lnTo>
                    <a:pt x="261" y="172"/>
                  </a:lnTo>
                  <a:lnTo>
                    <a:pt x="261" y="173"/>
                  </a:lnTo>
                  <a:lnTo>
                    <a:pt x="262" y="173"/>
                  </a:lnTo>
                  <a:lnTo>
                    <a:pt x="263" y="174"/>
                  </a:lnTo>
                  <a:lnTo>
                    <a:pt x="264" y="176"/>
                  </a:lnTo>
                  <a:lnTo>
                    <a:pt x="265" y="177"/>
                  </a:lnTo>
                  <a:lnTo>
                    <a:pt x="267" y="177"/>
                  </a:lnTo>
                  <a:lnTo>
                    <a:pt x="268" y="178"/>
                  </a:lnTo>
                  <a:lnTo>
                    <a:pt x="269" y="178"/>
                  </a:lnTo>
                  <a:lnTo>
                    <a:pt x="270" y="178"/>
                  </a:lnTo>
                  <a:lnTo>
                    <a:pt x="272" y="179"/>
                  </a:lnTo>
                  <a:lnTo>
                    <a:pt x="274" y="180"/>
                  </a:lnTo>
                  <a:lnTo>
                    <a:pt x="275" y="181"/>
                  </a:lnTo>
                  <a:lnTo>
                    <a:pt x="276" y="181"/>
                  </a:lnTo>
                  <a:lnTo>
                    <a:pt x="277" y="181"/>
                  </a:lnTo>
                  <a:lnTo>
                    <a:pt x="278" y="181"/>
                  </a:lnTo>
                  <a:lnTo>
                    <a:pt x="278" y="183"/>
                  </a:lnTo>
                  <a:lnTo>
                    <a:pt x="278" y="184"/>
                  </a:lnTo>
                  <a:lnTo>
                    <a:pt x="278" y="186"/>
                  </a:lnTo>
                  <a:lnTo>
                    <a:pt x="279" y="188"/>
                  </a:lnTo>
                  <a:lnTo>
                    <a:pt x="279" y="190"/>
                  </a:lnTo>
                  <a:lnTo>
                    <a:pt x="279" y="191"/>
                  </a:lnTo>
                  <a:lnTo>
                    <a:pt x="281" y="193"/>
                  </a:lnTo>
                  <a:lnTo>
                    <a:pt x="281" y="194"/>
                  </a:lnTo>
                  <a:lnTo>
                    <a:pt x="279" y="195"/>
                  </a:lnTo>
                  <a:lnTo>
                    <a:pt x="281" y="197"/>
                  </a:lnTo>
                  <a:lnTo>
                    <a:pt x="279" y="197"/>
                  </a:lnTo>
                  <a:lnTo>
                    <a:pt x="281" y="198"/>
                  </a:lnTo>
                  <a:lnTo>
                    <a:pt x="282" y="198"/>
                  </a:lnTo>
                  <a:lnTo>
                    <a:pt x="283" y="198"/>
                  </a:lnTo>
                  <a:lnTo>
                    <a:pt x="284" y="198"/>
                  </a:lnTo>
                  <a:lnTo>
                    <a:pt x="285" y="198"/>
                  </a:lnTo>
                  <a:lnTo>
                    <a:pt x="286" y="198"/>
                  </a:lnTo>
                  <a:lnTo>
                    <a:pt x="288" y="198"/>
                  </a:lnTo>
                  <a:lnTo>
                    <a:pt x="288" y="199"/>
                  </a:lnTo>
                  <a:lnTo>
                    <a:pt x="288" y="200"/>
                  </a:lnTo>
                  <a:lnTo>
                    <a:pt x="286" y="200"/>
                  </a:lnTo>
                  <a:lnTo>
                    <a:pt x="288" y="202"/>
                  </a:lnTo>
                  <a:lnTo>
                    <a:pt x="288" y="204"/>
                  </a:lnTo>
                  <a:lnTo>
                    <a:pt x="286" y="204"/>
                  </a:lnTo>
                  <a:lnTo>
                    <a:pt x="288" y="206"/>
                  </a:lnTo>
                  <a:lnTo>
                    <a:pt x="286" y="207"/>
                  </a:lnTo>
                  <a:lnTo>
                    <a:pt x="285" y="207"/>
                  </a:lnTo>
                  <a:lnTo>
                    <a:pt x="284" y="207"/>
                  </a:lnTo>
                  <a:lnTo>
                    <a:pt x="283" y="207"/>
                  </a:lnTo>
                  <a:lnTo>
                    <a:pt x="282" y="207"/>
                  </a:lnTo>
                  <a:lnTo>
                    <a:pt x="281" y="207"/>
                  </a:lnTo>
                  <a:lnTo>
                    <a:pt x="279" y="207"/>
                  </a:lnTo>
                  <a:lnTo>
                    <a:pt x="279" y="208"/>
                  </a:lnTo>
                  <a:lnTo>
                    <a:pt x="277" y="208"/>
                  </a:lnTo>
                  <a:lnTo>
                    <a:pt x="276" y="208"/>
                  </a:lnTo>
                  <a:lnTo>
                    <a:pt x="276" y="209"/>
                  </a:lnTo>
                  <a:lnTo>
                    <a:pt x="275" y="211"/>
                  </a:lnTo>
                  <a:lnTo>
                    <a:pt x="276" y="211"/>
                  </a:lnTo>
                  <a:lnTo>
                    <a:pt x="276" y="212"/>
                  </a:lnTo>
                  <a:lnTo>
                    <a:pt x="275" y="212"/>
                  </a:lnTo>
                  <a:lnTo>
                    <a:pt x="274" y="212"/>
                  </a:lnTo>
                  <a:lnTo>
                    <a:pt x="272" y="212"/>
                  </a:lnTo>
                  <a:lnTo>
                    <a:pt x="272" y="213"/>
                  </a:lnTo>
                  <a:lnTo>
                    <a:pt x="271" y="213"/>
                  </a:lnTo>
                  <a:lnTo>
                    <a:pt x="270" y="213"/>
                  </a:lnTo>
                  <a:lnTo>
                    <a:pt x="270" y="214"/>
                  </a:lnTo>
                  <a:lnTo>
                    <a:pt x="270" y="215"/>
                  </a:lnTo>
                  <a:lnTo>
                    <a:pt x="270" y="216"/>
                  </a:lnTo>
                  <a:lnTo>
                    <a:pt x="270" y="218"/>
                  </a:lnTo>
                  <a:lnTo>
                    <a:pt x="270" y="219"/>
                  </a:lnTo>
                  <a:lnTo>
                    <a:pt x="270" y="220"/>
                  </a:lnTo>
                  <a:lnTo>
                    <a:pt x="269" y="220"/>
                  </a:lnTo>
                  <a:lnTo>
                    <a:pt x="269" y="221"/>
                  </a:lnTo>
                  <a:lnTo>
                    <a:pt x="269" y="222"/>
                  </a:lnTo>
                  <a:lnTo>
                    <a:pt x="269" y="223"/>
                  </a:lnTo>
                  <a:lnTo>
                    <a:pt x="269" y="225"/>
                  </a:lnTo>
                  <a:lnTo>
                    <a:pt x="269" y="226"/>
                  </a:lnTo>
                  <a:lnTo>
                    <a:pt x="269" y="227"/>
                  </a:lnTo>
                  <a:lnTo>
                    <a:pt x="269" y="228"/>
                  </a:lnTo>
                  <a:lnTo>
                    <a:pt x="269" y="229"/>
                  </a:lnTo>
                  <a:lnTo>
                    <a:pt x="268" y="229"/>
                  </a:lnTo>
                  <a:lnTo>
                    <a:pt x="267" y="230"/>
                  </a:lnTo>
                  <a:lnTo>
                    <a:pt x="268" y="230"/>
                  </a:lnTo>
                  <a:lnTo>
                    <a:pt x="268" y="232"/>
                  </a:lnTo>
                  <a:lnTo>
                    <a:pt x="267" y="232"/>
                  </a:lnTo>
                  <a:lnTo>
                    <a:pt x="264" y="232"/>
                  </a:lnTo>
                  <a:lnTo>
                    <a:pt x="263" y="230"/>
                  </a:lnTo>
                  <a:lnTo>
                    <a:pt x="261" y="229"/>
                  </a:lnTo>
                  <a:lnTo>
                    <a:pt x="258" y="229"/>
                  </a:lnTo>
                  <a:lnTo>
                    <a:pt x="257" y="229"/>
                  </a:lnTo>
                  <a:lnTo>
                    <a:pt x="255" y="228"/>
                  </a:lnTo>
                  <a:lnTo>
                    <a:pt x="255" y="227"/>
                  </a:lnTo>
                  <a:lnTo>
                    <a:pt x="254" y="226"/>
                  </a:lnTo>
                  <a:lnTo>
                    <a:pt x="253" y="226"/>
                  </a:lnTo>
                  <a:lnTo>
                    <a:pt x="253" y="227"/>
                  </a:lnTo>
                  <a:lnTo>
                    <a:pt x="251" y="227"/>
                  </a:lnTo>
                  <a:lnTo>
                    <a:pt x="253" y="227"/>
                  </a:lnTo>
                  <a:lnTo>
                    <a:pt x="253" y="228"/>
                  </a:lnTo>
                  <a:lnTo>
                    <a:pt x="251" y="228"/>
                  </a:lnTo>
                  <a:lnTo>
                    <a:pt x="250" y="227"/>
                  </a:lnTo>
                  <a:lnTo>
                    <a:pt x="249" y="227"/>
                  </a:lnTo>
                  <a:lnTo>
                    <a:pt x="249" y="228"/>
                  </a:lnTo>
                  <a:lnTo>
                    <a:pt x="248" y="228"/>
                  </a:lnTo>
                  <a:lnTo>
                    <a:pt x="248" y="227"/>
                  </a:lnTo>
                  <a:lnTo>
                    <a:pt x="247" y="227"/>
                  </a:lnTo>
                  <a:lnTo>
                    <a:pt x="246" y="227"/>
                  </a:lnTo>
                  <a:lnTo>
                    <a:pt x="246" y="228"/>
                  </a:lnTo>
                  <a:lnTo>
                    <a:pt x="244" y="228"/>
                  </a:lnTo>
                  <a:lnTo>
                    <a:pt x="244" y="227"/>
                  </a:lnTo>
                  <a:lnTo>
                    <a:pt x="243" y="227"/>
                  </a:lnTo>
                  <a:lnTo>
                    <a:pt x="242" y="227"/>
                  </a:lnTo>
                  <a:lnTo>
                    <a:pt x="241" y="227"/>
                  </a:lnTo>
                  <a:lnTo>
                    <a:pt x="240" y="227"/>
                  </a:lnTo>
                  <a:lnTo>
                    <a:pt x="240" y="226"/>
                  </a:lnTo>
                  <a:lnTo>
                    <a:pt x="239" y="226"/>
                  </a:lnTo>
                  <a:lnTo>
                    <a:pt x="236" y="226"/>
                  </a:lnTo>
                  <a:lnTo>
                    <a:pt x="235" y="226"/>
                  </a:lnTo>
                  <a:lnTo>
                    <a:pt x="235" y="227"/>
                  </a:lnTo>
                  <a:lnTo>
                    <a:pt x="234" y="227"/>
                  </a:lnTo>
                  <a:lnTo>
                    <a:pt x="233" y="227"/>
                  </a:lnTo>
                  <a:lnTo>
                    <a:pt x="233" y="226"/>
                  </a:lnTo>
                  <a:lnTo>
                    <a:pt x="232" y="226"/>
                  </a:lnTo>
                  <a:lnTo>
                    <a:pt x="232" y="225"/>
                  </a:lnTo>
                  <a:lnTo>
                    <a:pt x="231" y="225"/>
                  </a:lnTo>
                  <a:lnTo>
                    <a:pt x="229" y="225"/>
                  </a:lnTo>
                  <a:lnTo>
                    <a:pt x="227" y="223"/>
                  </a:lnTo>
                  <a:lnTo>
                    <a:pt x="226" y="223"/>
                  </a:lnTo>
                  <a:lnTo>
                    <a:pt x="225" y="223"/>
                  </a:lnTo>
                  <a:lnTo>
                    <a:pt x="224" y="223"/>
                  </a:lnTo>
                  <a:lnTo>
                    <a:pt x="222" y="223"/>
                  </a:lnTo>
                  <a:lnTo>
                    <a:pt x="222" y="225"/>
                  </a:lnTo>
                  <a:lnTo>
                    <a:pt x="221" y="225"/>
                  </a:lnTo>
                  <a:lnTo>
                    <a:pt x="220" y="225"/>
                  </a:lnTo>
                  <a:lnTo>
                    <a:pt x="220" y="223"/>
                  </a:lnTo>
                  <a:lnTo>
                    <a:pt x="219" y="223"/>
                  </a:lnTo>
                  <a:lnTo>
                    <a:pt x="219" y="222"/>
                  </a:lnTo>
                  <a:lnTo>
                    <a:pt x="218" y="222"/>
                  </a:lnTo>
                  <a:lnTo>
                    <a:pt x="217" y="222"/>
                  </a:lnTo>
                  <a:lnTo>
                    <a:pt x="217" y="223"/>
                  </a:lnTo>
                  <a:lnTo>
                    <a:pt x="215" y="223"/>
                  </a:lnTo>
                  <a:lnTo>
                    <a:pt x="215" y="222"/>
                  </a:lnTo>
                  <a:lnTo>
                    <a:pt x="217" y="222"/>
                  </a:lnTo>
                  <a:lnTo>
                    <a:pt x="215" y="222"/>
                  </a:lnTo>
                  <a:lnTo>
                    <a:pt x="215" y="221"/>
                  </a:lnTo>
                  <a:lnTo>
                    <a:pt x="214" y="221"/>
                  </a:lnTo>
                  <a:lnTo>
                    <a:pt x="213" y="221"/>
                  </a:lnTo>
                  <a:lnTo>
                    <a:pt x="212" y="221"/>
                  </a:lnTo>
                  <a:lnTo>
                    <a:pt x="210" y="221"/>
                  </a:lnTo>
                  <a:lnTo>
                    <a:pt x="210" y="220"/>
                  </a:lnTo>
                  <a:lnTo>
                    <a:pt x="208" y="219"/>
                  </a:lnTo>
                  <a:lnTo>
                    <a:pt x="208" y="218"/>
                  </a:lnTo>
                  <a:lnTo>
                    <a:pt x="207" y="218"/>
                  </a:lnTo>
                  <a:lnTo>
                    <a:pt x="207" y="216"/>
                  </a:lnTo>
                  <a:lnTo>
                    <a:pt x="207" y="215"/>
                  </a:lnTo>
                  <a:lnTo>
                    <a:pt x="207" y="214"/>
                  </a:lnTo>
                  <a:lnTo>
                    <a:pt x="206" y="213"/>
                  </a:lnTo>
                  <a:lnTo>
                    <a:pt x="206" y="212"/>
                  </a:lnTo>
                  <a:lnTo>
                    <a:pt x="206" y="211"/>
                  </a:lnTo>
                  <a:lnTo>
                    <a:pt x="205" y="211"/>
                  </a:lnTo>
                  <a:lnTo>
                    <a:pt x="205" y="208"/>
                  </a:lnTo>
                  <a:lnTo>
                    <a:pt x="205" y="207"/>
                  </a:lnTo>
                  <a:lnTo>
                    <a:pt x="204" y="204"/>
                  </a:lnTo>
                  <a:lnTo>
                    <a:pt x="203" y="202"/>
                  </a:lnTo>
                  <a:lnTo>
                    <a:pt x="201" y="202"/>
                  </a:lnTo>
                  <a:lnTo>
                    <a:pt x="203" y="202"/>
                  </a:lnTo>
                  <a:lnTo>
                    <a:pt x="203" y="201"/>
                  </a:lnTo>
                  <a:lnTo>
                    <a:pt x="201" y="201"/>
                  </a:lnTo>
                  <a:lnTo>
                    <a:pt x="200" y="201"/>
                  </a:lnTo>
                  <a:lnTo>
                    <a:pt x="200" y="200"/>
                  </a:lnTo>
                  <a:lnTo>
                    <a:pt x="201" y="200"/>
                  </a:lnTo>
                  <a:lnTo>
                    <a:pt x="200" y="200"/>
                  </a:lnTo>
                  <a:lnTo>
                    <a:pt x="200" y="199"/>
                  </a:lnTo>
                  <a:lnTo>
                    <a:pt x="199" y="199"/>
                  </a:lnTo>
                  <a:lnTo>
                    <a:pt x="197" y="199"/>
                  </a:lnTo>
                  <a:lnTo>
                    <a:pt x="196" y="199"/>
                  </a:lnTo>
                  <a:lnTo>
                    <a:pt x="194" y="199"/>
                  </a:lnTo>
                  <a:lnTo>
                    <a:pt x="194" y="198"/>
                  </a:lnTo>
                  <a:lnTo>
                    <a:pt x="193" y="198"/>
                  </a:lnTo>
                  <a:lnTo>
                    <a:pt x="192" y="198"/>
                  </a:lnTo>
                  <a:lnTo>
                    <a:pt x="192" y="199"/>
                  </a:lnTo>
                  <a:lnTo>
                    <a:pt x="191" y="199"/>
                  </a:lnTo>
                  <a:lnTo>
                    <a:pt x="190" y="199"/>
                  </a:lnTo>
                  <a:lnTo>
                    <a:pt x="190" y="200"/>
                  </a:lnTo>
                  <a:lnTo>
                    <a:pt x="189" y="200"/>
                  </a:lnTo>
                  <a:lnTo>
                    <a:pt x="189" y="201"/>
                  </a:lnTo>
                  <a:lnTo>
                    <a:pt x="187" y="201"/>
                  </a:lnTo>
                  <a:lnTo>
                    <a:pt x="186" y="201"/>
                  </a:lnTo>
                  <a:lnTo>
                    <a:pt x="185" y="201"/>
                  </a:lnTo>
                  <a:lnTo>
                    <a:pt x="184" y="201"/>
                  </a:lnTo>
                  <a:lnTo>
                    <a:pt x="184" y="202"/>
                  </a:lnTo>
                  <a:lnTo>
                    <a:pt x="184" y="204"/>
                  </a:lnTo>
                  <a:lnTo>
                    <a:pt x="184" y="205"/>
                  </a:lnTo>
                  <a:lnTo>
                    <a:pt x="183" y="205"/>
                  </a:lnTo>
                  <a:lnTo>
                    <a:pt x="182" y="205"/>
                  </a:lnTo>
                  <a:lnTo>
                    <a:pt x="180" y="205"/>
                  </a:lnTo>
                  <a:lnTo>
                    <a:pt x="179" y="205"/>
                  </a:lnTo>
                  <a:lnTo>
                    <a:pt x="179" y="206"/>
                  </a:lnTo>
                  <a:lnTo>
                    <a:pt x="178" y="206"/>
                  </a:lnTo>
                  <a:lnTo>
                    <a:pt x="177" y="207"/>
                  </a:lnTo>
                  <a:lnTo>
                    <a:pt x="176" y="208"/>
                  </a:lnTo>
                  <a:lnTo>
                    <a:pt x="175" y="209"/>
                  </a:lnTo>
                  <a:lnTo>
                    <a:pt x="173" y="209"/>
                  </a:lnTo>
                  <a:lnTo>
                    <a:pt x="172" y="209"/>
                  </a:lnTo>
                  <a:lnTo>
                    <a:pt x="171" y="209"/>
                  </a:lnTo>
                  <a:lnTo>
                    <a:pt x="171" y="208"/>
                  </a:lnTo>
                  <a:lnTo>
                    <a:pt x="170" y="208"/>
                  </a:lnTo>
                  <a:lnTo>
                    <a:pt x="169" y="208"/>
                  </a:lnTo>
                  <a:lnTo>
                    <a:pt x="169" y="207"/>
                  </a:lnTo>
                  <a:lnTo>
                    <a:pt x="168" y="207"/>
                  </a:lnTo>
                  <a:lnTo>
                    <a:pt x="168" y="206"/>
                  </a:lnTo>
                  <a:lnTo>
                    <a:pt x="167" y="206"/>
                  </a:lnTo>
                  <a:lnTo>
                    <a:pt x="165" y="206"/>
                  </a:lnTo>
                  <a:lnTo>
                    <a:pt x="164" y="206"/>
                  </a:lnTo>
                  <a:lnTo>
                    <a:pt x="163" y="205"/>
                  </a:lnTo>
                  <a:lnTo>
                    <a:pt x="162" y="206"/>
                  </a:lnTo>
                  <a:lnTo>
                    <a:pt x="161" y="206"/>
                  </a:lnTo>
                  <a:lnTo>
                    <a:pt x="160" y="206"/>
                  </a:lnTo>
                  <a:lnTo>
                    <a:pt x="158" y="205"/>
                  </a:lnTo>
                  <a:lnTo>
                    <a:pt x="157" y="205"/>
                  </a:lnTo>
                  <a:lnTo>
                    <a:pt x="156" y="204"/>
                  </a:lnTo>
                  <a:lnTo>
                    <a:pt x="155" y="204"/>
                  </a:lnTo>
                  <a:lnTo>
                    <a:pt x="155" y="202"/>
                  </a:lnTo>
                  <a:lnTo>
                    <a:pt x="155" y="201"/>
                  </a:lnTo>
                  <a:lnTo>
                    <a:pt x="150" y="200"/>
                  </a:lnTo>
                  <a:lnTo>
                    <a:pt x="149" y="200"/>
                  </a:lnTo>
                  <a:lnTo>
                    <a:pt x="149" y="199"/>
                  </a:lnTo>
                  <a:lnTo>
                    <a:pt x="148" y="199"/>
                  </a:lnTo>
                  <a:lnTo>
                    <a:pt x="148" y="198"/>
                  </a:lnTo>
                  <a:lnTo>
                    <a:pt x="147" y="198"/>
                  </a:lnTo>
                  <a:lnTo>
                    <a:pt x="146" y="197"/>
                  </a:lnTo>
                  <a:lnTo>
                    <a:pt x="144" y="197"/>
                  </a:lnTo>
                  <a:lnTo>
                    <a:pt x="143" y="195"/>
                  </a:lnTo>
                  <a:lnTo>
                    <a:pt x="142" y="195"/>
                  </a:lnTo>
                  <a:lnTo>
                    <a:pt x="143" y="194"/>
                  </a:lnTo>
                  <a:lnTo>
                    <a:pt x="142" y="193"/>
                  </a:lnTo>
                  <a:lnTo>
                    <a:pt x="141" y="192"/>
                  </a:lnTo>
                  <a:lnTo>
                    <a:pt x="141" y="191"/>
                  </a:lnTo>
                  <a:lnTo>
                    <a:pt x="140" y="191"/>
                  </a:lnTo>
                  <a:lnTo>
                    <a:pt x="137" y="191"/>
                  </a:lnTo>
                  <a:lnTo>
                    <a:pt x="135" y="188"/>
                  </a:lnTo>
                  <a:lnTo>
                    <a:pt x="134" y="188"/>
                  </a:lnTo>
                  <a:lnTo>
                    <a:pt x="133" y="188"/>
                  </a:lnTo>
                  <a:lnTo>
                    <a:pt x="132" y="188"/>
                  </a:lnTo>
                  <a:lnTo>
                    <a:pt x="130" y="188"/>
                  </a:lnTo>
                  <a:lnTo>
                    <a:pt x="129" y="188"/>
                  </a:lnTo>
                  <a:lnTo>
                    <a:pt x="128" y="188"/>
                  </a:lnTo>
                  <a:lnTo>
                    <a:pt x="128" y="187"/>
                  </a:lnTo>
                  <a:lnTo>
                    <a:pt x="127" y="187"/>
                  </a:lnTo>
                  <a:lnTo>
                    <a:pt x="126" y="186"/>
                  </a:lnTo>
                  <a:lnTo>
                    <a:pt x="125" y="186"/>
                  </a:lnTo>
                  <a:lnTo>
                    <a:pt x="125" y="185"/>
                  </a:lnTo>
                  <a:lnTo>
                    <a:pt x="123" y="184"/>
                  </a:lnTo>
                  <a:lnTo>
                    <a:pt x="123" y="183"/>
                  </a:lnTo>
                  <a:lnTo>
                    <a:pt x="123" y="181"/>
                  </a:lnTo>
                  <a:lnTo>
                    <a:pt x="122" y="180"/>
                  </a:lnTo>
                  <a:lnTo>
                    <a:pt x="121" y="179"/>
                  </a:lnTo>
                  <a:lnTo>
                    <a:pt x="120" y="177"/>
                  </a:lnTo>
                  <a:lnTo>
                    <a:pt x="120" y="174"/>
                  </a:lnTo>
                  <a:lnTo>
                    <a:pt x="119" y="173"/>
                  </a:lnTo>
                  <a:lnTo>
                    <a:pt x="118" y="172"/>
                  </a:lnTo>
                  <a:lnTo>
                    <a:pt x="116" y="172"/>
                  </a:lnTo>
                  <a:lnTo>
                    <a:pt x="115" y="171"/>
                  </a:lnTo>
                  <a:lnTo>
                    <a:pt x="115" y="170"/>
                  </a:lnTo>
                  <a:lnTo>
                    <a:pt x="116" y="170"/>
                  </a:lnTo>
                  <a:lnTo>
                    <a:pt x="116" y="171"/>
                  </a:lnTo>
                  <a:lnTo>
                    <a:pt x="116" y="170"/>
                  </a:lnTo>
                  <a:lnTo>
                    <a:pt x="118" y="170"/>
                  </a:lnTo>
                  <a:lnTo>
                    <a:pt x="118" y="169"/>
                  </a:lnTo>
                  <a:lnTo>
                    <a:pt x="116" y="169"/>
                  </a:lnTo>
                  <a:lnTo>
                    <a:pt x="116" y="167"/>
                  </a:lnTo>
                  <a:lnTo>
                    <a:pt x="115" y="167"/>
                  </a:lnTo>
                  <a:lnTo>
                    <a:pt x="114" y="167"/>
                  </a:lnTo>
                  <a:lnTo>
                    <a:pt x="113" y="167"/>
                  </a:lnTo>
                  <a:lnTo>
                    <a:pt x="113" y="166"/>
                  </a:lnTo>
                  <a:lnTo>
                    <a:pt x="113" y="165"/>
                  </a:lnTo>
                  <a:lnTo>
                    <a:pt x="113" y="166"/>
                  </a:lnTo>
                  <a:lnTo>
                    <a:pt x="113" y="165"/>
                  </a:lnTo>
                  <a:lnTo>
                    <a:pt x="113" y="164"/>
                  </a:lnTo>
                  <a:lnTo>
                    <a:pt x="113" y="163"/>
                  </a:lnTo>
                  <a:lnTo>
                    <a:pt x="112" y="163"/>
                  </a:lnTo>
                  <a:lnTo>
                    <a:pt x="112" y="162"/>
                  </a:lnTo>
                  <a:lnTo>
                    <a:pt x="112" y="163"/>
                  </a:lnTo>
                  <a:lnTo>
                    <a:pt x="112" y="162"/>
                  </a:lnTo>
                  <a:lnTo>
                    <a:pt x="111" y="160"/>
                  </a:lnTo>
                  <a:lnTo>
                    <a:pt x="109" y="160"/>
                  </a:lnTo>
                  <a:lnTo>
                    <a:pt x="109" y="159"/>
                  </a:lnTo>
                  <a:lnTo>
                    <a:pt x="108" y="159"/>
                  </a:lnTo>
                  <a:lnTo>
                    <a:pt x="108" y="158"/>
                  </a:lnTo>
                  <a:lnTo>
                    <a:pt x="107" y="158"/>
                  </a:lnTo>
                  <a:lnTo>
                    <a:pt x="106" y="157"/>
                  </a:lnTo>
                  <a:lnTo>
                    <a:pt x="106" y="156"/>
                  </a:lnTo>
                  <a:lnTo>
                    <a:pt x="105" y="156"/>
                  </a:lnTo>
                  <a:lnTo>
                    <a:pt x="105" y="155"/>
                  </a:lnTo>
                  <a:lnTo>
                    <a:pt x="105" y="153"/>
                  </a:lnTo>
                  <a:lnTo>
                    <a:pt x="104" y="152"/>
                  </a:lnTo>
                  <a:lnTo>
                    <a:pt x="104" y="151"/>
                  </a:lnTo>
                  <a:lnTo>
                    <a:pt x="103" y="151"/>
                  </a:lnTo>
                  <a:lnTo>
                    <a:pt x="103" y="150"/>
                  </a:lnTo>
                  <a:lnTo>
                    <a:pt x="101" y="150"/>
                  </a:lnTo>
                  <a:lnTo>
                    <a:pt x="101" y="151"/>
                  </a:lnTo>
                  <a:lnTo>
                    <a:pt x="97" y="153"/>
                  </a:lnTo>
                  <a:lnTo>
                    <a:pt x="96" y="153"/>
                  </a:lnTo>
                  <a:lnTo>
                    <a:pt x="96" y="152"/>
                  </a:lnTo>
                  <a:lnTo>
                    <a:pt x="96" y="151"/>
                  </a:lnTo>
                  <a:lnTo>
                    <a:pt x="94" y="151"/>
                  </a:lnTo>
                  <a:lnTo>
                    <a:pt x="93" y="151"/>
                  </a:lnTo>
                  <a:lnTo>
                    <a:pt x="92" y="151"/>
                  </a:lnTo>
                  <a:lnTo>
                    <a:pt x="92" y="150"/>
                  </a:lnTo>
                  <a:lnTo>
                    <a:pt x="91" y="150"/>
                  </a:lnTo>
                  <a:lnTo>
                    <a:pt x="90" y="150"/>
                  </a:lnTo>
                  <a:lnTo>
                    <a:pt x="89" y="149"/>
                  </a:lnTo>
                  <a:lnTo>
                    <a:pt x="89" y="148"/>
                  </a:lnTo>
                  <a:lnTo>
                    <a:pt x="87" y="148"/>
                  </a:lnTo>
                  <a:lnTo>
                    <a:pt x="89" y="148"/>
                  </a:lnTo>
                  <a:lnTo>
                    <a:pt x="90" y="148"/>
                  </a:lnTo>
                  <a:lnTo>
                    <a:pt x="91" y="148"/>
                  </a:lnTo>
                  <a:lnTo>
                    <a:pt x="91" y="149"/>
                  </a:lnTo>
                  <a:lnTo>
                    <a:pt x="91" y="148"/>
                  </a:lnTo>
                  <a:lnTo>
                    <a:pt x="92" y="148"/>
                  </a:lnTo>
                  <a:lnTo>
                    <a:pt x="92" y="146"/>
                  </a:lnTo>
                  <a:lnTo>
                    <a:pt x="91" y="146"/>
                  </a:lnTo>
                  <a:lnTo>
                    <a:pt x="91" y="145"/>
                  </a:lnTo>
                  <a:lnTo>
                    <a:pt x="91" y="146"/>
                  </a:lnTo>
                  <a:lnTo>
                    <a:pt x="91" y="145"/>
                  </a:lnTo>
                  <a:lnTo>
                    <a:pt x="90" y="145"/>
                  </a:lnTo>
                  <a:lnTo>
                    <a:pt x="90" y="146"/>
                  </a:lnTo>
                  <a:lnTo>
                    <a:pt x="90" y="145"/>
                  </a:lnTo>
                  <a:lnTo>
                    <a:pt x="89" y="145"/>
                  </a:lnTo>
                  <a:lnTo>
                    <a:pt x="87" y="145"/>
                  </a:lnTo>
                  <a:lnTo>
                    <a:pt x="87" y="146"/>
                  </a:lnTo>
                  <a:lnTo>
                    <a:pt x="89" y="146"/>
                  </a:lnTo>
                  <a:lnTo>
                    <a:pt x="89" y="148"/>
                  </a:lnTo>
                  <a:lnTo>
                    <a:pt x="87" y="148"/>
                  </a:lnTo>
                  <a:lnTo>
                    <a:pt x="86" y="148"/>
                  </a:lnTo>
                  <a:lnTo>
                    <a:pt x="86" y="149"/>
                  </a:lnTo>
                  <a:lnTo>
                    <a:pt x="87" y="149"/>
                  </a:lnTo>
                  <a:lnTo>
                    <a:pt x="86" y="149"/>
                  </a:lnTo>
                  <a:lnTo>
                    <a:pt x="87" y="149"/>
                  </a:lnTo>
                  <a:lnTo>
                    <a:pt x="87" y="150"/>
                  </a:lnTo>
                  <a:lnTo>
                    <a:pt x="89" y="151"/>
                  </a:lnTo>
                  <a:lnTo>
                    <a:pt x="89" y="152"/>
                  </a:lnTo>
                  <a:lnTo>
                    <a:pt x="89" y="153"/>
                  </a:lnTo>
                  <a:lnTo>
                    <a:pt x="87" y="153"/>
                  </a:lnTo>
                  <a:lnTo>
                    <a:pt x="86" y="153"/>
                  </a:lnTo>
                  <a:lnTo>
                    <a:pt x="85" y="153"/>
                  </a:lnTo>
                  <a:lnTo>
                    <a:pt x="84" y="153"/>
                  </a:lnTo>
                  <a:lnTo>
                    <a:pt x="85" y="153"/>
                  </a:lnTo>
                  <a:lnTo>
                    <a:pt x="85" y="155"/>
                  </a:lnTo>
                  <a:lnTo>
                    <a:pt x="84" y="155"/>
                  </a:lnTo>
                  <a:lnTo>
                    <a:pt x="83" y="155"/>
                  </a:lnTo>
                  <a:lnTo>
                    <a:pt x="82" y="153"/>
                  </a:lnTo>
                  <a:lnTo>
                    <a:pt x="82" y="152"/>
                  </a:lnTo>
                  <a:lnTo>
                    <a:pt x="80" y="152"/>
                  </a:lnTo>
                  <a:lnTo>
                    <a:pt x="80" y="151"/>
                  </a:lnTo>
                  <a:lnTo>
                    <a:pt x="80" y="150"/>
                  </a:lnTo>
                  <a:lnTo>
                    <a:pt x="79" y="149"/>
                  </a:lnTo>
                  <a:lnTo>
                    <a:pt x="78" y="149"/>
                  </a:lnTo>
                  <a:lnTo>
                    <a:pt x="77" y="148"/>
                  </a:lnTo>
                  <a:lnTo>
                    <a:pt x="77" y="146"/>
                  </a:lnTo>
                  <a:lnTo>
                    <a:pt x="75" y="146"/>
                  </a:lnTo>
                  <a:lnTo>
                    <a:pt x="73" y="138"/>
                  </a:lnTo>
                  <a:lnTo>
                    <a:pt x="70" y="138"/>
                  </a:lnTo>
                  <a:lnTo>
                    <a:pt x="69" y="135"/>
                  </a:lnTo>
                  <a:lnTo>
                    <a:pt x="69" y="131"/>
                  </a:lnTo>
                  <a:lnTo>
                    <a:pt x="70" y="126"/>
                  </a:lnTo>
                  <a:lnTo>
                    <a:pt x="69" y="124"/>
                  </a:lnTo>
                  <a:lnTo>
                    <a:pt x="69" y="123"/>
                  </a:lnTo>
                  <a:lnTo>
                    <a:pt x="68" y="123"/>
                  </a:lnTo>
                  <a:lnTo>
                    <a:pt x="68" y="122"/>
                  </a:lnTo>
                  <a:lnTo>
                    <a:pt x="66" y="122"/>
                  </a:lnTo>
                  <a:lnTo>
                    <a:pt x="66" y="121"/>
                  </a:lnTo>
                  <a:lnTo>
                    <a:pt x="65" y="121"/>
                  </a:lnTo>
                  <a:lnTo>
                    <a:pt x="65" y="120"/>
                  </a:lnTo>
                  <a:lnTo>
                    <a:pt x="64" y="120"/>
                  </a:lnTo>
                  <a:lnTo>
                    <a:pt x="64" y="119"/>
                  </a:lnTo>
                  <a:lnTo>
                    <a:pt x="63" y="117"/>
                  </a:lnTo>
                  <a:lnTo>
                    <a:pt x="63" y="116"/>
                  </a:lnTo>
                  <a:lnTo>
                    <a:pt x="62" y="115"/>
                  </a:lnTo>
                  <a:lnTo>
                    <a:pt x="61" y="115"/>
                  </a:lnTo>
                  <a:lnTo>
                    <a:pt x="59" y="115"/>
                  </a:lnTo>
                  <a:lnTo>
                    <a:pt x="58" y="115"/>
                  </a:lnTo>
                  <a:lnTo>
                    <a:pt x="58" y="114"/>
                  </a:lnTo>
                  <a:lnTo>
                    <a:pt x="54" y="110"/>
                  </a:lnTo>
                  <a:lnTo>
                    <a:pt x="52" y="110"/>
                  </a:lnTo>
                  <a:lnTo>
                    <a:pt x="51" y="109"/>
                  </a:lnTo>
                  <a:lnTo>
                    <a:pt x="50" y="108"/>
                  </a:lnTo>
                  <a:lnTo>
                    <a:pt x="49" y="108"/>
                  </a:lnTo>
                  <a:lnTo>
                    <a:pt x="48" y="108"/>
                  </a:lnTo>
                  <a:lnTo>
                    <a:pt x="47" y="107"/>
                  </a:lnTo>
                  <a:lnTo>
                    <a:pt x="44" y="107"/>
                  </a:lnTo>
                  <a:lnTo>
                    <a:pt x="43" y="107"/>
                  </a:lnTo>
                  <a:lnTo>
                    <a:pt x="44" y="107"/>
                  </a:lnTo>
                  <a:lnTo>
                    <a:pt x="44" y="106"/>
                  </a:lnTo>
                  <a:lnTo>
                    <a:pt x="43" y="106"/>
                  </a:lnTo>
                  <a:lnTo>
                    <a:pt x="43" y="105"/>
                  </a:lnTo>
                  <a:lnTo>
                    <a:pt x="44" y="105"/>
                  </a:lnTo>
                  <a:lnTo>
                    <a:pt x="44" y="103"/>
                  </a:lnTo>
                  <a:lnTo>
                    <a:pt x="44" y="102"/>
                  </a:lnTo>
                  <a:lnTo>
                    <a:pt x="43" y="102"/>
                  </a:lnTo>
                  <a:lnTo>
                    <a:pt x="43" y="101"/>
                  </a:lnTo>
                  <a:lnTo>
                    <a:pt x="42" y="101"/>
                  </a:lnTo>
                  <a:lnTo>
                    <a:pt x="42" y="100"/>
                  </a:lnTo>
                  <a:lnTo>
                    <a:pt x="42" y="99"/>
                  </a:lnTo>
                  <a:lnTo>
                    <a:pt x="41" y="99"/>
                  </a:lnTo>
                  <a:lnTo>
                    <a:pt x="40" y="99"/>
                  </a:lnTo>
                  <a:lnTo>
                    <a:pt x="41" y="98"/>
                  </a:lnTo>
                  <a:lnTo>
                    <a:pt x="40" y="98"/>
                  </a:lnTo>
                  <a:lnTo>
                    <a:pt x="40" y="96"/>
                  </a:lnTo>
                  <a:lnTo>
                    <a:pt x="39" y="96"/>
                  </a:lnTo>
                  <a:lnTo>
                    <a:pt x="39" y="98"/>
                  </a:lnTo>
                  <a:lnTo>
                    <a:pt x="37" y="98"/>
                  </a:lnTo>
                  <a:lnTo>
                    <a:pt x="37" y="96"/>
                  </a:lnTo>
                  <a:lnTo>
                    <a:pt x="36" y="95"/>
                  </a:lnTo>
                  <a:lnTo>
                    <a:pt x="36" y="94"/>
                  </a:lnTo>
                  <a:lnTo>
                    <a:pt x="35" y="94"/>
                  </a:lnTo>
                  <a:lnTo>
                    <a:pt x="34" y="92"/>
                  </a:lnTo>
                  <a:lnTo>
                    <a:pt x="33" y="92"/>
                  </a:lnTo>
                  <a:lnTo>
                    <a:pt x="33" y="91"/>
                  </a:lnTo>
                  <a:lnTo>
                    <a:pt x="33" y="89"/>
                  </a:lnTo>
                  <a:lnTo>
                    <a:pt x="34" y="89"/>
                  </a:lnTo>
                  <a:lnTo>
                    <a:pt x="34" y="88"/>
                  </a:lnTo>
                  <a:lnTo>
                    <a:pt x="34" y="87"/>
                  </a:lnTo>
                  <a:lnTo>
                    <a:pt x="34" y="86"/>
                  </a:lnTo>
                  <a:lnTo>
                    <a:pt x="33" y="85"/>
                  </a:lnTo>
                  <a:lnTo>
                    <a:pt x="33" y="86"/>
                  </a:lnTo>
                  <a:lnTo>
                    <a:pt x="33" y="85"/>
                  </a:lnTo>
                  <a:lnTo>
                    <a:pt x="32" y="84"/>
                  </a:lnTo>
                  <a:lnTo>
                    <a:pt x="33" y="84"/>
                  </a:lnTo>
                  <a:lnTo>
                    <a:pt x="33" y="82"/>
                  </a:lnTo>
                  <a:lnTo>
                    <a:pt x="33" y="81"/>
                  </a:lnTo>
                  <a:lnTo>
                    <a:pt x="34" y="81"/>
                  </a:lnTo>
                  <a:lnTo>
                    <a:pt x="35" y="81"/>
                  </a:lnTo>
                  <a:lnTo>
                    <a:pt x="35" y="82"/>
                  </a:lnTo>
                  <a:lnTo>
                    <a:pt x="35" y="81"/>
                  </a:lnTo>
                  <a:lnTo>
                    <a:pt x="35" y="80"/>
                  </a:lnTo>
                  <a:lnTo>
                    <a:pt x="34" y="80"/>
                  </a:lnTo>
                  <a:lnTo>
                    <a:pt x="34" y="79"/>
                  </a:lnTo>
                  <a:lnTo>
                    <a:pt x="34" y="78"/>
                  </a:lnTo>
                  <a:lnTo>
                    <a:pt x="35" y="78"/>
                  </a:lnTo>
                  <a:lnTo>
                    <a:pt x="35" y="77"/>
                  </a:lnTo>
                  <a:lnTo>
                    <a:pt x="36" y="77"/>
                  </a:lnTo>
                  <a:lnTo>
                    <a:pt x="36" y="75"/>
                  </a:lnTo>
                  <a:lnTo>
                    <a:pt x="36" y="74"/>
                  </a:lnTo>
                  <a:lnTo>
                    <a:pt x="36" y="73"/>
                  </a:lnTo>
                  <a:lnTo>
                    <a:pt x="37" y="73"/>
                  </a:lnTo>
                  <a:lnTo>
                    <a:pt x="37" y="74"/>
                  </a:lnTo>
                  <a:lnTo>
                    <a:pt x="39" y="74"/>
                  </a:lnTo>
                  <a:lnTo>
                    <a:pt x="39" y="73"/>
                  </a:lnTo>
                  <a:lnTo>
                    <a:pt x="40" y="73"/>
                  </a:lnTo>
                  <a:lnTo>
                    <a:pt x="40" y="72"/>
                  </a:lnTo>
                  <a:lnTo>
                    <a:pt x="40" y="71"/>
                  </a:lnTo>
                  <a:lnTo>
                    <a:pt x="39" y="71"/>
                  </a:lnTo>
                  <a:lnTo>
                    <a:pt x="39" y="70"/>
                  </a:lnTo>
                  <a:lnTo>
                    <a:pt x="37" y="68"/>
                  </a:lnTo>
                  <a:lnTo>
                    <a:pt x="36" y="67"/>
                  </a:lnTo>
                  <a:lnTo>
                    <a:pt x="36" y="66"/>
                  </a:lnTo>
                  <a:lnTo>
                    <a:pt x="36" y="65"/>
                  </a:lnTo>
                  <a:lnTo>
                    <a:pt x="36" y="64"/>
                  </a:lnTo>
                  <a:lnTo>
                    <a:pt x="37" y="64"/>
                  </a:lnTo>
                  <a:lnTo>
                    <a:pt x="39" y="64"/>
                  </a:lnTo>
                  <a:lnTo>
                    <a:pt x="40" y="64"/>
                  </a:lnTo>
                  <a:lnTo>
                    <a:pt x="40" y="63"/>
                  </a:lnTo>
                  <a:lnTo>
                    <a:pt x="40" y="61"/>
                  </a:lnTo>
                  <a:lnTo>
                    <a:pt x="39" y="63"/>
                  </a:lnTo>
                  <a:lnTo>
                    <a:pt x="37" y="63"/>
                  </a:lnTo>
                  <a:lnTo>
                    <a:pt x="37" y="61"/>
                  </a:lnTo>
                  <a:lnTo>
                    <a:pt x="36" y="61"/>
                  </a:lnTo>
                  <a:lnTo>
                    <a:pt x="35" y="61"/>
                  </a:lnTo>
                  <a:lnTo>
                    <a:pt x="34" y="61"/>
                  </a:lnTo>
                  <a:lnTo>
                    <a:pt x="34" y="63"/>
                  </a:lnTo>
                  <a:lnTo>
                    <a:pt x="33" y="61"/>
                  </a:lnTo>
                  <a:lnTo>
                    <a:pt x="32" y="61"/>
                  </a:lnTo>
                  <a:lnTo>
                    <a:pt x="32" y="60"/>
                  </a:lnTo>
                  <a:lnTo>
                    <a:pt x="30" y="60"/>
                  </a:lnTo>
                  <a:lnTo>
                    <a:pt x="30" y="59"/>
                  </a:lnTo>
                  <a:lnTo>
                    <a:pt x="29" y="59"/>
                  </a:lnTo>
                  <a:lnTo>
                    <a:pt x="28" y="59"/>
                  </a:lnTo>
                  <a:lnTo>
                    <a:pt x="27" y="59"/>
                  </a:lnTo>
                  <a:lnTo>
                    <a:pt x="27" y="58"/>
                  </a:lnTo>
                  <a:lnTo>
                    <a:pt x="27" y="57"/>
                  </a:lnTo>
                  <a:lnTo>
                    <a:pt x="26" y="57"/>
                  </a:lnTo>
                  <a:lnTo>
                    <a:pt x="26" y="56"/>
                  </a:lnTo>
                  <a:lnTo>
                    <a:pt x="25" y="54"/>
                  </a:lnTo>
                  <a:lnTo>
                    <a:pt x="26" y="54"/>
                  </a:lnTo>
                  <a:lnTo>
                    <a:pt x="25" y="54"/>
                  </a:lnTo>
                  <a:lnTo>
                    <a:pt x="25" y="53"/>
                  </a:lnTo>
                  <a:lnTo>
                    <a:pt x="25" y="52"/>
                  </a:lnTo>
                  <a:lnTo>
                    <a:pt x="23" y="52"/>
                  </a:lnTo>
                  <a:lnTo>
                    <a:pt x="22" y="52"/>
                  </a:lnTo>
                  <a:lnTo>
                    <a:pt x="22" y="51"/>
                  </a:lnTo>
                  <a:lnTo>
                    <a:pt x="21" y="51"/>
                  </a:lnTo>
                  <a:lnTo>
                    <a:pt x="21" y="50"/>
                  </a:lnTo>
                  <a:lnTo>
                    <a:pt x="21" y="49"/>
                  </a:lnTo>
                  <a:lnTo>
                    <a:pt x="21" y="47"/>
                  </a:lnTo>
                  <a:lnTo>
                    <a:pt x="20" y="47"/>
                  </a:lnTo>
                  <a:lnTo>
                    <a:pt x="20" y="46"/>
                  </a:lnTo>
                  <a:lnTo>
                    <a:pt x="19" y="46"/>
                  </a:lnTo>
                  <a:lnTo>
                    <a:pt x="18" y="46"/>
                  </a:lnTo>
                  <a:lnTo>
                    <a:pt x="19" y="45"/>
                  </a:lnTo>
                  <a:lnTo>
                    <a:pt x="19" y="44"/>
                  </a:lnTo>
                  <a:lnTo>
                    <a:pt x="19" y="43"/>
                  </a:lnTo>
                  <a:lnTo>
                    <a:pt x="18" y="43"/>
                  </a:lnTo>
                  <a:lnTo>
                    <a:pt x="16" y="43"/>
                  </a:lnTo>
                  <a:lnTo>
                    <a:pt x="16" y="42"/>
                  </a:lnTo>
                  <a:lnTo>
                    <a:pt x="16" y="40"/>
                  </a:lnTo>
                  <a:lnTo>
                    <a:pt x="16" y="39"/>
                  </a:lnTo>
                  <a:lnTo>
                    <a:pt x="16" y="38"/>
                  </a:lnTo>
                  <a:lnTo>
                    <a:pt x="15" y="38"/>
                  </a:lnTo>
                  <a:lnTo>
                    <a:pt x="15" y="37"/>
                  </a:lnTo>
                  <a:lnTo>
                    <a:pt x="14" y="37"/>
                  </a:lnTo>
                  <a:lnTo>
                    <a:pt x="13" y="37"/>
                  </a:lnTo>
                  <a:lnTo>
                    <a:pt x="13" y="36"/>
                  </a:lnTo>
                  <a:lnTo>
                    <a:pt x="13" y="35"/>
                  </a:lnTo>
                  <a:lnTo>
                    <a:pt x="13" y="33"/>
                  </a:lnTo>
                  <a:lnTo>
                    <a:pt x="12" y="33"/>
                  </a:lnTo>
                  <a:lnTo>
                    <a:pt x="12" y="32"/>
                  </a:lnTo>
                  <a:lnTo>
                    <a:pt x="13" y="32"/>
                  </a:lnTo>
                  <a:lnTo>
                    <a:pt x="12" y="31"/>
                  </a:lnTo>
                  <a:lnTo>
                    <a:pt x="11" y="31"/>
                  </a:lnTo>
                  <a:lnTo>
                    <a:pt x="11" y="30"/>
                  </a:lnTo>
                  <a:lnTo>
                    <a:pt x="9" y="30"/>
                  </a:lnTo>
                  <a:lnTo>
                    <a:pt x="8" y="30"/>
                  </a:lnTo>
                  <a:lnTo>
                    <a:pt x="7" y="30"/>
                  </a:lnTo>
                  <a:lnTo>
                    <a:pt x="7" y="29"/>
                  </a:lnTo>
                  <a:lnTo>
                    <a:pt x="7" y="28"/>
                  </a:lnTo>
                  <a:lnTo>
                    <a:pt x="7" y="26"/>
                  </a:lnTo>
                  <a:lnTo>
                    <a:pt x="8" y="26"/>
                  </a:lnTo>
                  <a:lnTo>
                    <a:pt x="8" y="25"/>
                  </a:lnTo>
                  <a:lnTo>
                    <a:pt x="8" y="24"/>
                  </a:lnTo>
                  <a:lnTo>
                    <a:pt x="8" y="23"/>
                  </a:lnTo>
                  <a:lnTo>
                    <a:pt x="9" y="23"/>
                  </a:lnTo>
                  <a:lnTo>
                    <a:pt x="9" y="22"/>
                  </a:lnTo>
                  <a:lnTo>
                    <a:pt x="8" y="22"/>
                  </a:lnTo>
                  <a:lnTo>
                    <a:pt x="7" y="22"/>
                  </a:lnTo>
                  <a:lnTo>
                    <a:pt x="7" y="21"/>
                  </a:lnTo>
                  <a:lnTo>
                    <a:pt x="7" y="19"/>
                  </a:lnTo>
                  <a:lnTo>
                    <a:pt x="6" y="18"/>
                  </a:lnTo>
                  <a:lnTo>
                    <a:pt x="6" y="17"/>
                  </a:lnTo>
                  <a:lnTo>
                    <a:pt x="6" y="16"/>
                  </a:lnTo>
                  <a:lnTo>
                    <a:pt x="6" y="15"/>
                  </a:lnTo>
                  <a:lnTo>
                    <a:pt x="6" y="14"/>
                  </a:lnTo>
                  <a:lnTo>
                    <a:pt x="5" y="14"/>
                  </a:lnTo>
                  <a:lnTo>
                    <a:pt x="4" y="14"/>
                  </a:lnTo>
                  <a:lnTo>
                    <a:pt x="4" y="12"/>
                  </a:lnTo>
                  <a:lnTo>
                    <a:pt x="4" y="11"/>
                  </a:lnTo>
                  <a:lnTo>
                    <a:pt x="4" y="10"/>
                  </a:lnTo>
                  <a:lnTo>
                    <a:pt x="4" y="9"/>
                  </a:lnTo>
                  <a:lnTo>
                    <a:pt x="2" y="9"/>
                  </a:lnTo>
                  <a:lnTo>
                    <a:pt x="2" y="8"/>
                  </a:lnTo>
                  <a:lnTo>
                    <a:pt x="1" y="8"/>
                  </a:lnTo>
                  <a:lnTo>
                    <a:pt x="1" y="7"/>
                  </a:lnTo>
                  <a:lnTo>
                    <a:pt x="1" y="5"/>
                  </a:lnTo>
                  <a:lnTo>
                    <a:pt x="0" y="5"/>
                  </a:lnTo>
                  <a:lnTo>
                    <a:pt x="1" y="5"/>
                  </a:lnTo>
                  <a:lnTo>
                    <a:pt x="2" y="5"/>
                  </a:lnTo>
                  <a:lnTo>
                    <a:pt x="4" y="5"/>
                  </a:lnTo>
                  <a:lnTo>
                    <a:pt x="5" y="5"/>
                  </a:lnTo>
                  <a:lnTo>
                    <a:pt x="6" y="4"/>
                  </a:lnTo>
                  <a:lnTo>
                    <a:pt x="6" y="3"/>
                  </a:lnTo>
                  <a:lnTo>
                    <a:pt x="5" y="3"/>
                  </a:lnTo>
                  <a:lnTo>
                    <a:pt x="6" y="2"/>
                  </a:lnTo>
                  <a:lnTo>
                    <a:pt x="6" y="1"/>
                  </a:lnTo>
                  <a:lnTo>
                    <a:pt x="7" y="0"/>
                  </a:lnTo>
                  <a:lnTo>
                    <a:pt x="8" y="1"/>
                  </a:lnTo>
                  <a:lnTo>
                    <a:pt x="9" y="1"/>
                  </a:lnTo>
                  <a:lnTo>
                    <a:pt x="11" y="2"/>
                  </a:lnTo>
                  <a:lnTo>
                    <a:pt x="12" y="2"/>
                  </a:lnTo>
                  <a:lnTo>
                    <a:pt x="12" y="4"/>
                  </a:lnTo>
                  <a:lnTo>
                    <a:pt x="13" y="4"/>
                  </a:lnTo>
                  <a:lnTo>
                    <a:pt x="13" y="5"/>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56" name="Freeform 911">
              <a:extLst>
                <a:ext uri="{FF2B5EF4-FFF2-40B4-BE49-F238E27FC236}">
                  <a16:creationId xmlns:a16="http://schemas.microsoft.com/office/drawing/2014/main" id="{58FD4C84-7D18-4E1A-ACBB-405DC0EE3CEE}"/>
                </a:ext>
              </a:extLst>
            </p:cNvPr>
            <p:cNvSpPr>
              <a:spLocks/>
            </p:cNvSpPr>
            <p:nvPr/>
          </p:nvSpPr>
          <p:spPr bwMode="auto">
            <a:xfrm>
              <a:off x="6492869" y="2557919"/>
              <a:ext cx="182962" cy="176284"/>
            </a:xfrm>
            <a:custGeom>
              <a:avLst/>
              <a:gdLst>
                <a:gd name="T0" fmla="*/ 72 w 137"/>
                <a:gd name="T1" fmla="*/ 7 h 132"/>
                <a:gd name="T2" fmla="*/ 74 w 137"/>
                <a:gd name="T3" fmla="*/ 10 h 132"/>
                <a:gd name="T4" fmla="*/ 76 w 137"/>
                <a:gd name="T5" fmla="*/ 15 h 132"/>
                <a:gd name="T6" fmla="*/ 79 w 137"/>
                <a:gd name="T7" fmla="*/ 19 h 132"/>
                <a:gd name="T8" fmla="*/ 82 w 137"/>
                <a:gd name="T9" fmla="*/ 22 h 132"/>
                <a:gd name="T10" fmla="*/ 87 w 137"/>
                <a:gd name="T11" fmla="*/ 26 h 132"/>
                <a:gd name="T12" fmla="*/ 92 w 137"/>
                <a:gd name="T13" fmla="*/ 26 h 132"/>
                <a:gd name="T14" fmla="*/ 89 w 137"/>
                <a:gd name="T15" fmla="*/ 27 h 132"/>
                <a:gd name="T16" fmla="*/ 92 w 137"/>
                <a:gd name="T17" fmla="*/ 34 h 132"/>
                <a:gd name="T18" fmla="*/ 90 w 137"/>
                <a:gd name="T19" fmla="*/ 37 h 132"/>
                <a:gd name="T20" fmla="*/ 88 w 137"/>
                <a:gd name="T21" fmla="*/ 40 h 132"/>
                <a:gd name="T22" fmla="*/ 88 w 137"/>
                <a:gd name="T23" fmla="*/ 44 h 132"/>
                <a:gd name="T24" fmla="*/ 86 w 137"/>
                <a:gd name="T25" fmla="*/ 47 h 132"/>
                <a:gd name="T26" fmla="*/ 87 w 137"/>
                <a:gd name="T27" fmla="*/ 50 h 132"/>
                <a:gd name="T28" fmla="*/ 87 w 137"/>
                <a:gd name="T29" fmla="*/ 55 h 132"/>
                <a:gd name="T30" fmla="*/ 92 w 137"/>
                <a:gd name="T31" fmla="*/ 61 h 132"/>
                <a:gd name="T32" fmla="*/ 94 w 137"/>
                <a:gd name="T33" fmla="*/ 62 h 132"/>
                <a:gd name="T34" fmla="*/ 97 w 137"/>
                <a:gd name="T35" fmla="*/ 65 h 132"/>
                <a:gd name="T36" fmla="*/ 97 w 137"/>
                <a:gd name="T37" fmla="*/ 70 h 132"/>
                <a:gd name="T38" fmla="*/ 103 w 137"/>
                <a:gd name="T39" fmla="*/ 71 h 132"/>
                <a:gd name="T40" fmla="*/ 112 w 137"/>
                <a:gd name="T41" fmla="*/ 78 h 132"/>
                <a:gd name="T42" fmla="*/ 117 w 137"/>
                <a:gd name="T43" fmla="*/ 83 h 132"/>
                <a:gd name="T44" fmla="*/ 121 w 137"/>
                <a:gd name="T45" fmla="*/ 86 h 132"/>
                <a:gd name="T46" fmla="*/ 123 w 137"/>
                <a:gd name="T47" fmla="*/ 101 h 132"/>
                <a:gd name="T48" fmla="*/ 132 w 137"/>
                <a:gd name="T49" fmla="*/ 112 h 132"/>
                <a:gd name="T50" fmla="*/ 136 w 137"/>
                <a:gd name="T51" fmla="*/ 118 h 132"/>
                <a:gd name="T52" fmla="*/ 131 w 137"/>
                <a:gd name="T53" fmla="*/ 116 h 132"/>
                <a:gd name="T54" fmla="*/ 124 w 137"/>
                <a:gd name="T55" fmla="*/ 115 h 132"/>
                <a:gd name="T56" fmla="*/ 116 w 137"/>
                <a:gd name="T57" fmla="*/ 121 h 132"/>
                <a:gd name="T58" fmla="*/ 111 w 137"/>
                <a:gd name="T59" fmla="*/ 130 h 132"/>
                <a:gd name="T60" fmla="*/ 104 w 137"/>
                <a:gd name="T61" fmla="*/ 132 h 132"/>
                <a:gd name="T62" fmla="*/ 96 w 137"/>
                <a:gd name="T63" fmla="*/ 130 h 132"/>
                <a:gd name="T64" fmla="*/ 89 w 137"/>
                <a:gd name="T65" fmla="*/ 129 h 132"/>
                <a:gd name="T66" fmla="*/ 82 w 137"/>
                <a:gd name="T67" fmla="*/ 127 h 132"/>
                <a:gd name="T68" fmla="*/ 73 w 137"/>
                <a:gd name="T69" fmla="*/ 120 h 132"/>
                <a:gd name="T70" fmla="*/ 65 w 137"/>
                <a:gd name="T71" fmla="*/ 113 h 132"/>
                <a:gd name="T72" fmla="*/ 57 w 137"/>
                <a:gd name="T73" fmla="*/ 107 h 132"/>
                <a:gd name="T74" fmla="*/ 48 w 137"/>
                <a:gd name="T75" fmla="*/ 100 h 132"/>
                <a:gd name="T76" fmla="*/ 41 w 137"/>
                <a:gd name="T77" fmla="*/ 97 h 132"/>
                <a:gd name="T78" fmla="*/ 33 w 137"/>
                <a:gd name="T79" fmla="*/ 92 h 132"/>
                <a:gd name="T80" fmla="*/ 26 w 137"/>
                <a:gd name="T81" fmla="*/ 87 h 132"/>
                <a:gd name="T82" fmla="*/ 15 w 137"/>
                <a:gd name="T83" fmla="*/ 85 h 132"/>
                <a:gd name="T84" fmla="*/ 8 w 137"/>
                <a:gd name="T85" fmla="*/ 80 h 132"/>
                <a:gd name="T86" fmla="*/ 3 w 137"/>
                <a:gd name="T87" fmla="*/ 75 h 132"/>
                <a:gd name="T88" fmla="*/ 1 w 137"/>
                <a:gd name="T89" fmla="*/ 63 h 132"/>
                <a:gd name="T90" fmla="*/ 9 w 137"/>
                <a:gd name="T91" fmla="*/ 57 h 132"/>
                <a:gd name="T92" fmla="*/ 16 w 137"/>
                <a:gd name="T93" fmla="*/ 52 h 132"/>
                <a:gd name="T94" fmla="*/ 25 w 137"/>
                <a:gd name="T95" fmla="*/ 48 h 132"/>
                <a:gd name="T96" fmla="*/ 28 w 137"/>
                <a:gd name="T97" fmla="*/ 38 h 132"/>
                <a:gd name="T98" fmla="*/ 29 w 137"/>
                <a:gd name="T99" fmla="*/ 28 h 132"/>
                <a:gd name="T100" fmla="*/ 26 w 137"/>
                <a:gd name="T101" fmla="*/ 16 h 132"/>
                <a:gd name="T102" fmla="*/ 37 w 137"/>
                <a:gd name="T103" fmla="*/ 6 h 132"/>
                <a:gd name="T104" fmla="*/ 43 w 137"/>
                <a:gd name="T105" fmla="*/ 1 h 132"/>
                <a:gd name="T106" fmla="*/ 50 w 137"/>
                <a:gd name="T107" fmla="*/ 1 h 132"/>
                <a:gd name="T108" fmla="*/ 57 w 137"/>
                <a:gd name="T109" fmla="*/ 2 h 132"/>
                <a:gd name="T110" fmla="*/ 60 w 137"/>
                <a:gd name="T111" fmla="*/ 1 h 132"/>
                <a:gd name="T112" fmla="*/ 62 w 137"/>
                <a:gd name="T113" fmla="*/ 5 h 132"/>
                <a:gd name="T114" fmla="*/ 66 w 137"/>
                <a:gd name="T115" fmla="*/ 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7" h="132">
                  <a:moveTo>
                    <a:pt x="69" y="3"/>
                  </a:moveTo>
                  <a:lnTo>
                    <a:pt x="69" y="5"/>
                  </a:lnTo>
                  <a:lnTo>
                    <a:pt x="69" y="6"/>
                  </a:lnTo>
                  <a:lnTo>
                    <a:pt x="71" y="6"/>
                  </a:lnTo>
                  <a:lnTo>
                    <a:pt x="72" y="6"/>
                  </a:lnTo>
                  <a:lnTo>
                    <a:pt x="72" y="7"/>
                  </a:lnTo>
                  <a:lnTo>
                    <a:pt x="72" y="8"/>
                  </a:lnTo>
                  <a:lnTo>
                    <a:pt x="71" y="9"/>
                  </a:lnTo>
                  <a:lnTo>
                    <a:pt x="72" y="9"/>
                  </a:lnTo>
                  <a:lnTo>
                    <a:pt x="73" y="9"/>
                  </a:lnTo>
                  <a:lnTo>
                    <a:pt x="73" y="10"/>
                  </a:lnTo>
                  <a:lnTo>
                    <a:pt x="74" y="10"/>
                  </a:lnTo>
                  <a:lnTo>
                    <a:pt x="74" y="12"/>
                  </a:lnTo>
                  <a:lnTo>
                    <a:pt x="74" y="13"/>
                  </a:lnTo>
                  <a:lnTo>
                    <a:pt x="74" y="14"/>
                  </a:lnTo>
                  <a:lnTo>
                    <a:pt x="75" y="14"/>
                  </a:lnTo>
                  <a:lnTo>
                    <a:pt x="75" y="15"/>
                  </a:lnTo>
                  <a:lnTo>
                    <a:pt x="76" y="15"/>
                  </a:lnTo>
                  <a:lnTo>
                    <a:pt x="78" y="15"/>
                  </a:lnTo>
                  <a:lnTo>
                    <a:pt x="78" y="16"/>
                  </a:lnTo>
                  <a:lnTo>
                    <a:pt x="78" y="17"/>
                  </a:lnTo>
                  <a:lnTo>
                    <a:pt x="79" y="17"/>
                  </a:lnTo>
                  <a:lnTo>
                    <a:pt x="78" y="17"/>
                  </a:lnTo>
                  <a:lnTo>
                    <a:pt x="79" y="19"/>
                  </a:lnTo>
                  <a:lnTo>
                    <a:pt x="79" y="20"/>
                  </a:lnTo>
                  <a:lnTo>
                    <a:pt x="80" y="20"/>
                  </a:lnTo>
                  <a:lnTo>
                    <a:pt x="80" y="21"/>
                  </a:lnTo>
                  <a:lnTo>
                    <a:pt x="80" y="22"/>
                  </a:lnTo>
                  <a:lnTo>
                    <a:pt x="81" y="22"/>
                  </a:lnTo>
                  <a:lnTo>
                    <a:pt x="82" y="22"/>
                  </a:lnTo>
                  <a:lnTo>
                    <a:pt x="83" y="22"/>
                  </a:lnTo>
                  <a:lnTo>
                    <a:pt x="83" y="23"/>
                  </a:lnTo>
                  <a:lnTo>
                    <a:pt x="85" y="23"/>
                  </a:lnTo>
                  <a:lnTo>
                    <a:pt x="85" y="24"/>
                  </a:lnTo>
                  <a:lnTo>
                    <a:pt x="86" y="24"/>
                  </a:lnTo>
                  <a:lnTo>
                    <a:pt x="87" y="26"/>
                  </a:lnTo>
                  <a:lnTo>
                    <a:pt x="87" y="24"/>
                  </a:lnTo>
                  <a:lnTo>
                    <a:pt x="88" y="24"/>
                  </a:lnTo>
                  <a:lnTo>
                    <a:pt x="89" y="24"/>
                  </a:lnTo>
                  <a:lnTo>
                    <a:pt x="90" y="24"/>
                  </a:lnTo>
                  <a:lnTo>
                    <a:pt x="90" y="26"/>
                  </a:lnTo>
                  <a:lnTo>
                    <a:pt x="92" y="26"/>
                  </a:lnTo>
                  <a:lnTo>
                    <a:pt x="93" y="24"/>
                  </a:lnTo>
                  <a:lnTo>
                    <a:pt x="93" y="26"/>
                  </a:lnTo>
                  <a:lnTo>
                    <a:pt x="93" y="27"/>
                  </a:lnTo>
                  <a:lnTo>
                    <a:pt x="92" y="27"/>
                  </a:lnTo>
                  <a:lnTo>
                    <a:pt x="90" y="27"/>
                  </a:lnTo>
                  <a:lnTo>
                    <a:pt x="89" y="27"/>
                  </a:lnTo>
                  <a:lnTo>
                    <a:pt x="89" y="28"/>
                  </a:lnTo>
                  <a:lnTo>
                    <a:pt x="89" y="29"/>
                  </a:lnTo>
                  <a:lnTo>
                    <a:pt x="89" y="30"/>
                  </a:lnTo>
                  <a:lnTo>
                    <a:pt x="90" y="31"/>
                  </a:lnTo>
                  <a:lnTo>
                    <a:pt x="92" y="33"/>
                  </a:lnTo>
                  <a:lnTo>
                    <a:pt x="92" y="34"/>
                  </a:lnTo>
                  <a:lnTo>
                    <a:pt x="93" y="34"/>
                  </a:lnTo>
                  <a:lnTo>
                    <a:pt x="93" y="35"/>
                  </a:lnTo>
                  <a:lnTo>
                    <a:pt x="93" y="36"/>
                  </a:lnTo>
                  <a:lnTo>
                    <a:pt x="92" y="36"/>
                  </a:lnTo>
                  <a:lnTo>
                    <a:pt x="92" y="37"/>
                  </a:lnTo>
                  <a:lnTo>
                    <a:pt x="90" y="37"/>
                  </a:lnTo>
                  <a:lnTo>
                    <a:pt x="90" y="36"/>
                  </a:lnTo>
                  <a:lnTo>
                    <a:pt x="89" y="36"/>
                  </a:lnTo>
                  <a:lnTo>
                    <a:pt x="89" y="37"/>
                  </a:lnTo>
                  <a:lnTo>
                    <a:pt x="89" y="38"/>
                  </a:lnTo>
                  <a:lnTo>
                    <a:pt x="89" y="40"/>
                  </a:lnTo>
                  <a:lnTo>
                    <a:pt x="88" y="40"/>
                  </a:lnTo>
                  <a:lnTo>
                    <a:pt x="88" y="41"/>
                  </a:lnTo>
                  <a:lnTo>
                    <a:pt x="87" y="41"/>
                  </a:lnTo>
                  <a:lnTo>
                    <a:pt x="87" y="42"/>
                  </a:lnTo>
                  <a:lnTo>
                    <a:pt x="87" y="43"/>
                  </a:lnTo>
                  <a:lnTo>
                    <a:pt x="88" y="43"/>
                  </a:lnTo>
                  <a:lnTo>
                    <a:pt x="88" y="44"/>
                  </a:lnTo>
                  <a:lnTo>
                    <a:pt x="88" y="45"/>
                  </a:lnTo>
                  <a:lnTo>
                    <a:pt x="88" y="44"/>
                  </a:lnTo>
                  <a:lnTo>
                    <a:pt x="87" y="44"/>
                  </a:lnTo>
                  <a:lnTo>
                    <a:pt x="86" y="44"/>
                  </a:lnTo>
                  <a:lnTo>
                    <a:pt x="86" y="45"/>
                  </a:lnTo>
                  <a:lnTo>
                    <a:pt x="86" y="47"/>
                  </a:lnTo>
                  <a:lnTo>
                    <a:pt x="85" y="47"/>
                  </a:lnTo>
                  <a:lnTo>
                    <a:pt x="86" y="48"/>
                  </a:lnTo>
                  <a:lnTo>
                    <a:pt x="86" y="49"/>
                  </a:lnTo>
                  <a:lnTo>
                    <a:pt x="86" y="48"/>
                  </a:lnTo>
                  <a:lnTo>
                    <a:pt x="87" y="49"/>
                  </a:lnTo>
                  <a:lnTo>
                    <a:pt x="87" y="50"/>
                  </a:lnTo>
                  <a:lnTo>
                    <a:pt x="87" y="51"/>
                  </a:lnTo>
                  <a:lnTo>
                    <a:pt x="87" y="52"/>
                  </a:lnTo>
                  <a:lnTo>
                    <a:pt x="86" y="52"/>
                  </a:lnTo>
                  <a:lnTo>
                    <a:pt x="86" y="54"/>
                  </a:lnTo>
                  <a:lnTo>
                    <a:pt x="86" y="55"/>
                  </a:lnTo>
                  <a:lnTo>
                    <a:pt x="87" y="55"/>
                  </a:lnTo>
                  <a:lnTo>
                    <a:pt x="88" y="57"/>
                  </a:lnTo>
                  <a:lnTo>
                    <a:pt x="89" y="57"/>
                  </a:lnTo>
                  <a:lnTo>
                    <a:pt x="89" y="58"/>
                  </a:lnTo>
                  <a:lnTo>
                    <a:pt x="90" y="59"/>
                  </a:lnTo>
                  <a:lnTo>
                    <a:pt x="90" y="61"/>
                  </a:lnTo>
                  <a:lnTo>
                    <a:pt x="92" y="61"/>
                  </a:lnTo>
                  <a:lnTo>
                    <a:pt x="92" y="59"/>
                  </a:lnTo>
                  <a:lnTo>
                    <a:pt x="93" y="59"/>
                  </a:lnTo>
                  <a:lnTo>
                    <a:pt x="93" y="61"/>
                  </a:lnTo>
                  <a:lnTo>
                    <a:pt x="94" y="61"/>
                  </a:lnTo>
                  <a:lnTo>
                    <a:pt x="93" y="62"/>
                  </a:lnTo>
                  <a:lnTo>
                    <a:pt x="94" y="62"/>
                  </a:lnTo>
                  <a:lnTo>
                    <a:pt x="95" y="62"/>
                  </a:lnTo>
                  <a:lnTo>
                    <a:pt x="95" y="63"/>
                  </a:lnTo>
                  <a:lnTo>
                    <a:pt x="95" y="64"/>
                  </a:lnTo>
                  <a:lnTo>
                    <a:pt x="96" y="64"/>
                  </a:lnTo>
                  <a:lnTo>
                    <a:pt x="96" y="65"/>
                  </a:lnTo>
                  <a:lnTo>
                    <a:pt x="97" y="65"/>
                  </a:lnTo>
                  <a:lnTo>
                    <a:pt x="97" y="66"/>
                  </a:lnTo>
                  <a:lnTo>
                    <a:pt x="97" y="68"/>
                  </a:lnTo>
                  <a:lnTo>
                    <a:pt x="96" y="68"/>
                  </a:lnTo>
                  <a:lnTo>
                    <a:pt x="96" y="69"/>
                  </a:lnTo>
                  <a:lnTo>
                    <a:pt x="97" y="69"/>
                  </a:lnTo>
                  <a:lnTo>
                    <a:pt x="97" y="70"/>
                  </a:lnTo>
                  <a:lnTo>
                    <a:pt x="96" y="70"/>
                  </a:lnTo>
                  <a:lnTo>
                    <a:pt x="97" y="70"/>
                  </a:lnTo>
                  <a:lnTo>
                    <a:pt x="100" y="70"/>
                  </a:lnTo>
                  <a:lnTo>
                    <a:pt x="101" y="71"/>
                  </a:lnTo>
                  <a:lnTo>
                    <a:pt x="102" y="71"/>
                  </a:lnTo>
                  <a:lnTo>
                    <a:pt x="103" y="71"/>
                  </a:lnTo>
                  <a:lnTo>
                    <a:pt x="104" y="72"/>
                  </a:lnTo>
                  <a:lnTo>
                    <a:pt x="105" y="73"/>
                  </a:lnTo>
                  <a:lnTo>
                    <a:pt x="107" y="73"/>
                  </a:lnTo>
                  <a:lnTo>
                    <a:pt x="111" y="77"/>
                  </a:lnTo>
                  <a:lnTo>
                    <a:pt x="111" y="78"/>
                  </a:lnTo>
                  <a:lnTo>
                    <a:pt x="112" y="78"/>
                  </a:lnTo>
                  <a:lnTo>
                    <a:pt x="114" y="78"/>
                  </a:lnTo>
                  <a:lnTo>
                    <a:pt x="115" y="78"/>
                  </a:lnTo>
                  <a:lnTo>
                    <a:pt x="116" y="79"/>
                  </a:lnTo>
                  <a:lnTo>
                    <a:pt x="116" y="80"/>
                  </a:lnTo>
                  <a:lnTo>
                    <a:pt x="117" y="82"/>
                  </a:lnTo>
                  <a:lnTo>
                    <a:pt x="117" y="83"/>
                  </a:lnTo>
                  <a:lnTo>
                    <a:pt x="118" y="83"/>
                  </a:lnTo>
                  <a:lnTo>
                    <a:pt x="118" y="84"/>
                  </a:lnTo>
                  <a:lnTo>
                    <a:pt x="119" y="84"/>
                  </a:lnTo>
                  <a:lnTo>
                    <a:pt x="119" y="85"/>
                  </a:lnTo>
                  <a:lnTo>
                    <a:pt x="121" y="85"/>
                  </a:lnTo>
                  <a:lnTo>
                    <a:pt x="121" y="86"/>
                  </a:lnTo>
                  <a:lnTo>
                    <a:pt x="122" y="86"/>
                  </a:lnTo>
                  <a:lnTo>
                    <a:pt x="122" y="87"/>
                  </a:lnTo>
                  <a:lnTo>
                    <a:pt x="123" y="89"/>
                  </a:lnTo>
                  <a:lnTo>
                    <a:pt x="122" y="94"/>
                  </a:lnTo>
                  <a:lnTo>
                    <a:pt x="122" y="98"/>
                  </a:lnTo>
                  <a:lnTo>
                    <a:pt x="123" y="101"/>
                  </a:lnTo>
                  <a:lnTo>
                    <a:pt x="126" y="101"/>
                  </a:lnTo>
                  <a:lnTo>
                    <a:pt x="128" y="109"/>
                  </a:lnTo>
                  <a:lnTo>
                    <a:pt x="130" y="109"/>
                  </a:lnTo>
                  <a:lnTo>
                    <a:pt x="130" y="111"/>
                  </a:lnTo>
                  <a:lnTo>
                    <a:pt x="131" y="112"/>
                  </a:lnTo>
                  <a:lnTo>
                    <a:pt x="132" y="112"/>
                  </a:lnTo>
                  <a:lnTo>
                    <a:pt x="133" y="113"/>
                  </a:lnTo>
                  <a:lnTo>
                    <a:pt x="133" y="114"/>
                  </a:lnTo>
                  <a:lnTo>
                    <a:pt x="133" y="115"/>
                  </a:lnTo>
                  <a:lnTo>
                    <a:pt x="135" y="115"/>
                  </a:lnTo>
                  <a:lnTo>
                    <a:pt x="135" y="116"/>
                  </a:lnTo>
                  <a:lnTo>
                    <a:pt x="136" y="118"/>
                  </a:lnTo>
                  <a:lnTo>
                    <a:pt x="137" y="118"/>
                  </a:lnTo>
                  <a:lnTo>
                    <a:pt x="136" y="118"/>
                  </a:lnTo>
                  <a:lnTo>
                    <a:pt x="135" y="118"/>
                  </a:lnTo>
                  <a:lnTo>
                    <a:pt x="133" y="118"/>
                  </a:lnTo>
                  <a:lnTo>
                    <a:pt x="132" y="116"/>
                  </a:lnTo>
                  <a:lnTo>
                    <a:pt x="131" y="116"/>
                  </a:lnTo>
                  <a:lnTo>
                    <a:pt x="130" y="116"/>
                  </a:lnTo>
                  <a:lnTo>
                    <a:pt x="129" y="116"/>
                  </a:lnTo>
                  <a:lnTo>
                    <a:pt x="128" y="115"/>
                  </a:lnTo>
                  <a:lnTo>
                    <a:pt x="128" y="116"/>
                  </a:lnTo>
                  <a:lnTo>
                    <a:pt x="125" y="115"/>
                  </a:lnTo>
                  <a:lnTo>
                    <a:pt x="124" y="115"/>
                  </a:lnTo>
                  <a:lnTo>
                    <a:pt x="121" y="115"/>
                  </a:lnTo>
                  <a:lnTo>
                    <a:pt x="118" y="116"/>
                  </a:lnTo>
                  <a:lnTo>
                    <a:pt x="117" y="116"/>
                  </a:lnTo>
                  <a:lnTo>
                    <a:pt x="117" y="118"/>
                  </a:lnTo>
                  <a:lnTo>
                    <a:pt x="116" y="120"/>
                  </a:lnTo>
                  <a:lnTo>
                    <a:pt x="116" y="121"/>
                  </a:lnTo>
                  <a:lnTo>
                    <a:pt x="116" y="122"/>
                  </a:lnTo>
                  <a:lnTo>
                    <a:pt x="115" y="125"/>
                  </a:lnTo>
                  <a:lnTo>
                    <a:pt x="115" y="126"/>
                  </a:lnTo>
                  <a:lnTo>
                    <a:pt x="114" y="127"/>
                  </a:lnTo>
                  <a:lnTo>
                    <a:pt x="112" y="128"/>
                  </a:lnTo>
                  <a:lnTo>
                    <a:pt x="111" y="130"/>
                  </a:lnTo>
                  <a:lnTo>
                    <a:pt x="111" y="132"/>
                  </a:lnTo>
                  <a:lnTo>
                    <a:pt x="110" y="132"/>
                  </a:lnTo>
                  <a:lnTo>
                    <a:pt x="109" y="132"/>
                  </a:lnTo>
                  <a:lnTo>
                    <a:pt x="107" y="132"/>
                  </a:lnTo>
                  <a:lnTo>
                    <a:pt x="105" y="132"/>
                  </a:lnTo>
                  <a:lnTo>
                    <a:pt x="104" y="132"/>
                  </a:lnTo>
                  <a:lnTo>
                    <a:pt x="103" y="132"/>
                  </a:lnTo>
                  <a:lnTo>
                    <a:pt x="102" y="130"/>
                  </a:lnTo>
                  <a:lnTo>
                    <a:pt x="101" y="130"/>
                  </a:lnTo>
                  <a:lnTo>
                    <a:pt x="98" y="130"/>
                  </a:lnTo>
                  <a:lnTo>
                    <a:pt x="97" y="130"/>
                  </a:lnTo>
                  <a:lnTo>
                    <a:pt x="96" y="130"/>
                  </a:lnTo>
                  <a:lnTo>
                    <a:pt x="95" y="130"/>
                  </a:lnTo>
                  <a:lnTo>
                    <a:pt x="94" y="130"/>
                  </a:lnTo>
                  <a:lnTo>
                    <a:pt x="92" y="130"/>
                  </a:lnTo>
                  <a:lnTo>
                    <a:pt x="90" y="130"/>
                  </a:lnTo>
                  <a:lnTo>
                    <a:pt x="89" y="130"/>
                  </a:lnTo>
                  <a:lnTo>
                    <a:pt x="89" y="129"/>
                  </a:lnTo>
                  <a:lnTo>
                    <a:pt x="88" y="129"/>
                  </a:lnTo>
                  <a:lnTo>
                    <a:pt x="87" y="129"/>
                  </a:lnTo>
                  <a:lnTo>
                    <a:pt x="86" y="129"/>
                  </a:lnTo>
                  <a:lnTo>
                    <a:pt x="85" y="128"/>
                  </a:lnTo>
                  <a:lnTo>
                    <a:pt x="83" y="127"/>
                  </a:lnTo>
                  <a:lnTo>
                    <a:pt x="82" y="127"/>
                  </a:lnTo>
                  <a:lnTo>
                    <a:pt x="81" y="126"/>
                  </a:lnTo>
                  <a:lnTo>
                    <a:pt x="79" y="125"/>
                  </a:lnTo>
                  <a:lnTo>
                    <a:pt x="78" y="123"/>
                  </a:lnTo>
                  <a:lnTo>
                    <a:pt x="76" y="122"/>
                  </a:lnTo>
                  <a:lnTo>
                    <a:pt x="74" y="120"/>
                  </a:lnTo>
                  <a:lnTo>
                    <a:pt x="73" y="120"/>
                  </a:lnTo>
                  <a:lnTo>
                    <a:pt x="73" y="119"/>
                  </a:lnTo>
                  <a:lnTo>
                    <a:pt x="71" y="118"/>
                  </a:lnTo>
                  <a:lnTo>
                    <a:pt x="69" y="116"/>
                  </a:lnTo>
                  <a:lnTo>
                    <a:pt x="67" y="115"/>
                  </a:lnTo>
                  <a:lnTo>
                    <a:pt x="66" y="114"/>
                  </a:lnTo>
                  <a:lnTo>
                    <a:pt x="65" y="113"/>
                  </a:lnTo>
                  <a:lnTo>
                    <a:pt x="64" y="112"/>
                  </a:lnTo>
                  <a:lnTo>
                    <a:pt x="62" y="111"/>
                  </a:lnTo>
                  <a:lnTo>
                    <a:pt x="60" y="111"/>
                  </a:lnTo>
                  <a:lnTo>
                    <a:pt x="59" y="109"/>
                  </a:lnTo>
                  <a:lnTo>
                    <a:pt x="58" y="108"/>
                  </a:lnTo>
                  <a:lnTo>
                    <a:pt x="57" y="107"/>
                  </a:lnTo>
                  <a:lnTo>
                    <a:pt x="55" y="106"/>
                  </a:lnTo>
                  <a:lnTo>
                    <a:pt x="53" y="105"/>
                  </a:lnTo>
                  <a:lnTo>
                    <a:pt x="52" y="104"/>
                  </a:lnTo>
                  <a:lnTo>
                    <a:pt x="51" y="102"/>
                  </a:lnTo>
                  <a:lnTo>
                    <a:pt x="50" y="101"/>
                  </a:lnTo>
                  <a:lnTo>
                    <a:pt x="48" y="100"/>
                  </a:lnTo>
                  <a:lnTo>
                    <a:pt x="47" y="100"/>
                  </a:lnTo>
                  <a:lnTo>
                    <a:pt x="46" y="99"/>
                  </a:lnTo>
                  <a:lnTo>
                    <a:pt x="45" y="98"/>
                  </a:lnTo>
                  <a:lnTo>
                    <a:pt x="44" y="98"/>
                  </a:lnTo>
                  <a:lnTo>
                    <a:pt x="43" y="97"/>
                  </a:lnTo>
                  <a:lnTo>
                    <a:pt x="41" y="97"/>
                  </a:lnTo>
                  <a:lnTo>
                    <a:pt x="40" y="95"/>
                  </a:lnTo>
                  <a:lnTo>
                    <a:pt x="39" y="94"/>
                  </a:lnTo>
                  <a:lnTo>
                    <a:pt x="38" y="94"/>
                  </a:lnTo>
                  <a:lnTo>
                    <a:pt x="36" y="93"/>
                  </a:lnTo>
                  <a:lnTo>
                    <a:pt x="34" y="93"/>
                  </a:lnTo>
                  <a:lnTo>
                    <a:pt x="33" y="92"/>
                  </a:lnTo>
                  <a:lnTo>
                    <a:pt x="32" y="91"/>
                  </a:lnTo>
                  <a:lnTo>
                    <a:pt x="31" y="91"/>
                  </a:lnTo>
                  <a:lnTo>
                    <a:pt x="30" y="90"/>
                  </a:lnTo>
                  <a:lnTo>
                    <a:pt x="29" y="90"/>
                  </a:lnTo>
                  <a:lnTo>
                    <a:pt x="28" y="89"/>
                  </a:lnTo>
                  <a:lnTo>
                    <a:pt x="26" y="87"/>
                  </a:lnTo>
                  <a:lnTo>
                    <a:pt x="25" y="87"/>
                  </a:lnTo>
                  <a:lnTo>
                    <a:pt x="24" y="86"/>
                  </a:lnTo>
                  <a:lnTo>
                    <a:pt x="23" y="86"/>
                  </a:lnTo>
                  <a:lnTo>
                    <a:pt x="18" y="85"/>
                  </a:lnTo>
                  <a:lnTo>
                    <a:pt x="17" y="85"/>
                  </a:lnTo>
                  <a:lnTo>
                    <a:pt x="15" y="85"/>
                  </a:lnTo>
                  <a:lnTo>
                    <a:pt x="12" y="84"/>
                  </a:lnTo>
                  <a:lnTo>
                    <a:pt x="9" y="84"/>
                  </a:lnTo>
                  <a:lnTo>
                    <a:pt x="7" y="84"/>
                  </a:lnTo>
                  <a:lnTo>
                    <a:pt x="7" y="83"/>
                  </a:lnTo>
                  <a:lnTo>
                    <a:pt x="8" y="82"/>
                  </a:lnTo>
                  <a:lnTo>
                    <a:pt x="8" y="80"/>
                  </a:lnTo>
                  <a:lnTo>
                    <a:pt x="8" y="79"/>
                  </a:lnTo>
                  <a:lnTo>
                    <a:pt x="5" y="80"/>
                  </a:lnTo>
                  <a:lnTo>
                    <a:pt x="4" y="80"/>
                  </a:lnTo>
                  <a:lnTo>
                    <a:pt x="4" y="78"/>
                  </a:lnTo>
                  <a:lnTo>
                    <a:pt x="4" y="77"/>
                  </a:lnTo>
                  <a:lnTo>
                    <a:pt x="3" y="75"/>
                  </a:lnTo>
                  <a:lnTo>
                    <a:pt x="2" y="72"/>
                  </a:lnTo>
                  <a:lnTo>
                    <a:pt x="2" y="70"/>
                  </a:lnTo>
                  <a:lnTo>
                    <a:pt x="1" y="68"/>
                  </a:lnTo>
                  <a:lnTo>
                    <a:pt x="0" y="66"/>
                  </a:lnTo>
                  <a:lnTo>
                    <a:pt x="0" y="64"/>
                  </a:lnTo>
                  <a:lnTo>
                    <a:pt x="1" y="63"/>
                  </a:lnTo>
                  <a:lnTo>
                    <a:pt x="2" y="62"/>
                  </a:lnTo>
                  <a:lnTo>
                    <a:pt x="3" y="61"/>
                  </a:lnTo>
                  <a:lnTo>
                    <a:pt x="4" y="61"/>
                  </a:lnTo>
                  <a:lnTo>
                    <a:pt x="7" y="59"/>
                  </a:lnTo>
                  <a:lnTo>
                    <a:pt x="8" y="58"/>
                  </a:lnTo>
                  <a:lnTo>
                    <a:pt x="9" y="57"/>
                  </a:lnTo>
                  <a:lnTo>
                    <a:pt x="10" y="57"/>
                  </a:lnTo>
                  <a:lnTo>
                    <a:pt x="11" y="56"/>
                  </a:lnTo>
                  <a:lnTo>
                    <a:pt x="12" y="55"/>
                  </a:lnTo>
                  <a:lnTo>
                    <a:pt x="14" y="54"/>
                  </a:lnTo>
                  <a:lnTo>
                    <a:pt x="16" y="54"/>
                  </a:lnTo>
                  <a:lnTo>
                    <a:pt x="16" y="52"/>
                  </a:lnTo>
                  <a:lnTo>
                    <a:pt x="17" y="52"/>
                  </a:lnTo>
                  <a:lnTo>
                    <a:pt x="18" y="51"/>
                  </a:lnTo>
                  <a:lnTo>
                    <a:pt x="19" y="50"/>
                  </a:lnTo>
                  <a:lnTo>
                    <a:pt x="21" y="50"/>
                  </a:lnTo>
                  <a:lnTo>
                    <a:pt x="23" y="49"/>
                  </a:lnTo>
                  <a:lnTo>
                    <a:pt x="25" y="48"/>
                  </a:lnTo>
                  <a:lnTo>
                    <a:pt x="26" y="48"/>
                  </a:lnTo>
                  <a:lnTo>
                    <a:pt x="26" y="47"/>
                  </a:lnTo>
                  <a:lnTo>
                    <a:pt x="26" y="45"/>
                  </a:lnTo>
                  <a:lnTo>
                    <a:pt x="29" y="42"/>
                  </a:lnTo>
                  <a:lnTo>
                    <a:pt x="29" y="41"/>
                  </a:lnTo>
                  <a:lnTo>
                    <a:pt x="28" y="38"/>
                  </a:lnTo>
                  <a:lnTo>
                    <a:pt x="28" y="35"/>
                  </a:lnTo>
                  <a:lnTo>
                    <a:pt x="28" y="34"/>
                  </a:lnTo>
                  <a:lnTo>
                    <a:pt x="28" y="33"/>
                  </a:lnTo>
                  <a:lnTo>
                    <a:pt x="28" y="30"/>
                  </a:lnTo>
                  <a:lnTo>
                    <a:pt x="28" y="29"/>
                  </a:lnTo>
                  <a:lnTo>
                    <a:pt x="29" y="28"/>
                  </a:lnTo>
                  <a:lnTo>
                    <a:pt x="29" y="26"/>
                  </a:lnTo>
                  <a:lnTo>
                    <a:pt x="28" y="24"/>
                  </a:lnTo>
                  <a:lnTo>
                    <a:pt x="26" y="22"/>
                  </a:lnTo>
                  <a:lnTo>
                    <a:pt x="26" y="21"/>
                  </a:lnTo>
                  <a:lnTo>
                    <a:pt x="25" y="16"/>
                  </a:lnTo>
                  <a:lnTo>
                    <a:pt x="26" y="16"/>
                  </a:lnTo>
                  <a:lnTo>
                    <a:pt x="26" y="14"/>
                  </a:lnTo>
                  <a:lnTo>
                    <a:pt x="28" y="14"/>
                  </a:lnTo>
                  <a:lnTo>
                    <a:pt x="32" y="13"/>
                  </a:lnTo>
                  <a:lnTo>
                    <a:pt x="34" y="10"/>
                  </a:lnTo>
                  <a:lnTo>
                    <a:pt x="36" y="8"/>
                  </a:lnTo>
                  <a:lnTo>
                    <a:pt x="37" y="6"/>
                  </a:lnTo>
                  <a:lnTo>
                    <a:pt x="38" y="6"/>
                  </a:lnTo>
                  <a:lnTo>
                    <a:pt x="38" y="5"/>
                  </a:lnTo>
                  <a:lnTo>
                    <a:pt x="39" y="5"/>
                  </a:lnTo>
                  <a:lnTo>
                    <a:pt x="40" y="3"/>
                  </a:lnTo>
                  <a:lnTo>
                    <a:pt x="41" y="1"/>
                  </a:lnTo>
                  <a:lnTo>
                    <a:pt x="43" y="1"/>
                  </a:lnTo>
                  <a:lnTo>
                    <a:pt x="43" y="0"/>
                  </a:lnTo>
                  <a:lnTo>
                    <a:pt x="44" y="1"/>
                  </a:lnTo>
                  <a:lnTo>
                    <a:pt x="45" y="1"/>
                  </a:lnTo>
                  <a:lnTo>
                    <a:pt x="46" y="1"/>
                  </a:lnTo>
                  <a:lnTo>
                    <a:pt x="47" y="0"/>
                  </a:lnTo>
                  <a:lnTo>
                    <a:pt x="50" y="1"/>
                  </a:lnTo>
                  <a:lnTo>
                    <a:pt x="51" y="1"/>
                  </a:lnTo>
                  <a:lnTo>
                    <a:pt x="52" y="2"/>
                  </a:lnTo>
                  <a:lnTo>
                    <a:pt x="53" y="2"/>
                  </a:lnTo>
                  <a:lnTo>
                    <a:pt x="54" y="2"/>
                  </a:lnTo>
                  <a:lnTo>
                    <a:pt x="55" y="2"/>
                  </a:lnTo>
                  <a:lnTo>
                    <a:pt x="57" y="2"/>
                  </a:lnTo>
                  <a:lnTo>
                    <a:pt x="57" y="3"/>
                  </a:lnTo>
                  <a:lnTo>
                    <a:pt x="57" y="2"/>
                  </a:lnTo>
                  <a:lnTo>
                    <a:pt x="58" y="2"/>
                  </a:lnTo>
                  <a:lnTo>
                    <a:pt x="59" y="2"/>
                  </a:lnTo>
                  <a:lnTo>
                    <a:pt x="59" y="1"/>
                  </a:lnTo>
                  <a:lnTo>
                    <a:pt x="60" y="1"/>
                  </a:lnTo>
                  <a:lnTo>
                    <a:pt x="61" y="2"/>
                  </a:lnTo>
                  <a:lnTo>
                    <a:pt x="62" y="2"/>
                  </a:lnTo>
                  <a:lnTo>
                    <a:pt x="62" y="3"/>
                  </a:lnTo>
                  <a:lnTo>
                    <a:pt x="62" y="5"/>
                  </a:lnTo>
                  <a:lnTo>
                    <a:pt x="61" y="5"/>
                  </a:lnTo>
                  <a:lnTo>
                    <a:pt x="62" y="5"/>
                  </a:lnTo>
                  <a:lnTo>
                    <a:pt x="62" y="6"/>
                  </a:lnTo>
                  <a:lnTo>
                    <a:pt x="62" y="7"/>
                  </a:lnTo>
                  <a:lnTo>
                    <a:pt x="64" y="7"/>
                  </a:lnTo>
                  <a:lnTo>
                    <a:pt x="64" y="6"/>
                  </a:lnTo>
                  <a:lnTo>
                    <a:pt x="65" y="6"/>
                  </a:lnTo>
                  <a:lnTo>
                    <a:pt x="66" y="5"/>
                  </a:lnTo>
                  <a:lnTo>
                    <a:pt x="66" y="3"/>
                  </a:lnTo>
                  <a:lnTo>
                    <a:pt x="67" y="3"/>
                  </a:lnTo>
                  <a:lnTo>
                    <a:pt x="69" y="3"/>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57" name="Freeform 912">
              <a:extLst>
                <a:ext uri="{FF2B5EF4-FFF2-40B4-BE49-F238E27FC236}">
                  <a16:creationId xmlns:a16="http://schemas.microsoft.com/office/drawing/2014/main" id="{4BC77C04-3E5E-49E7-AEE7-E94AB65916F5}"/>
                </a:ext>
              </a:extLst>
            </p:cNvPr>
            <p:cNvSpPr>
              <a:spLocks/>
            </p:cNvSpPr>
            <p:nvPr/>
          </p:nvSpPr>
          <p:spPr bwMode="auto">
            <a:xfrm>
              <a:off x="6416746" y="2642055"/>
              <a:ext cx="25375" cy="82800"/>
            </a:xfrm>
            <a:custGeom>
              <a:avLst/>
              <a:gdLst>
                <a:gd name="T0" fmla="*/ 16 w 19"/>
                <a:gd name="T1" fmla="*/ 12 h 62"/>
                <a:gd name="T2" fmla="*/ 15 w 19"/>
                <a:gd name="T3" fmla="*/ 13 h 62"/>
                <a:gd name="T4" fmla="*/ 16 w 19"/>
                <a:gd name="T5" fmla="*/ 13 h 62"/>
                <a:gd name="T6" fmla="*/ 15 w 19"/>
                <a:gd name="T7" fmla="*/ 14 h 62"/>
                <a:gd name="T8" fmla="*/ 15 w 19"/>
                <a:gd name="T9" fmla="*/ 14 h 62"/>
                <a:gd name="T10" fmla="*/ 16 w 19"/>
                <a:gd name="T11" fmla="*/ 15 h 62"/>
                <a:gd name="T12" fmla="*/ 16 w 19"/>
                <a:gd name="T13" fmla="*/ 15 h 62"/>
                <a:gd name="T14" fmla="*/ 16 w 19"/>
                <a:gd name="T15" fmla="*/ 15 h 62"/>
                <a:gd name="T16" fmla="*/ 16 w 19"/>
                <a:gd name="T17" fmla="*/ 16 h 62"/>
                <a:gd name="T18" fmla="*/ 14 w 19"/>
                <a:gd name="T19" fmla="*/ 16 h 62"/>
                <a:gd name="T20" fmla="*/ 11 w 19"/>
                <a:gd name="T21" fmla="*/ 14 h 62"/>
                <a:gd name="T22" fmla="*/ 9 w 19"/>
                <a:gd name="T23" fmla="*/ 15 h 62"/>
                <a:gd name="T24" fmla="*/ 9 w 19"/>
                <a:gd name="T25" fmla="*/ 17 h 62"/>
                <a:gd name="T26" fmla="*/ 9 w 19"/>
                <a:gd name="T27" fmla="*/ 19 h 62"/>
                <a:gd name="T28" fmla="*/ 8 w 19"/>
                <a:gd name="T29" fmla="*/ 20 h 62"/>
                <a:gd name="T30" fmla="*/ 9 w 19"/>
                <a:gd name="T31" fmla="*/ 22 h 62"/>
                <a:gd name="T32" fmla="*/ 9 w 19"/>
                <a:gd name="T33" fmla="*/ 23 h 62"/>
                <a:gd name="T34" fmla="*/ 9 w 19"/>
                <a:gd name="T35" fmla="*/ 26 h 62"/>
                <a:gd name="T36" fmla="*/ 10 w 19"/>
                <a:gd name="T37" fmla="*/ 26 h 62"/>
                <a:gd name="T38" fmla="*/ 11 w 19"/>
                <a:gd name="T39" fmla="*/ 27 h 62"/>
                <a:gd name="T40" fmla="*/ 9 w 19"/>
                <a:gd name="T41" fmla="*/ 28 h 62"/>
                <a:gd name="T42" fmla="*/ 8 w 19"/>
                <a:gd name="T43" fmla="*/ 31 h 62"/>
                <a:gd name="T44" fmla="*/ 10 w 19"/>
                <a:gd name="T45" fmla="*/ 32 h 62"/>
                <a:gd name="T46" fmla="*/ 15 w 19"/>
                <a:gd name="T47" fmla="*/ 31 h 62"/>
                <a:gd name="T48" fmla="*/ 15 w 19"/>
                <a:gd name="T49" fmla="*/ 34 h 62"/>
                <a:gd name="T50" fmla="*/ 15 w 19"/>
                <a:gd name="T51" fmla="*/ 36 h 62"/>
                <a:gd name="T52" fmla="*/ 16 w 19"/>
                <a:gd name="T53" fmla="*/ 38 h 62"/>
                <a:gd name="T54" fmla="*/ 15 w 19"/>
                <a:gd name="T55" fmla="*/ 41 h 62"/>
                <a:gd name="T56" fmla="*/ 15 w 19"/>
                <a:gd name="T57" fmla="*/ 43 h 62"/>
                <a:gd name="T58" fmla="*/ 14 w 19"/>
                <a:gd name="T59" fmla="*/ 48 h 62"/>
                <a:gd name="T60" fmla="*/ 14 w 19"/>
                <a:gd name="T61" fmla="*/ 50 h 62"/>
                <a:gd name="T62" fmla="*/ 12 w 19"/>
                <a:gd name="T63" fmla="*/ 53 h 62"/>
                <a:gd name="T64" fmla="*/ 12 w 19"/>
                <a:gd name="T65" fmla="*/ 56 h 62"/>
                <a:gd name="T66" fmla="*/ 12 w 19"/>
                <a:gd name="T67" fmla="*/ 60 h 62"/>
                <a:gd name="T68" fmla="*/ 11 w 19"/>
                <a:gd name="T69" fmla="*/ 62 h 62"/>
                <a:gd name="T70" fmla="*/ 10 w 19"/>
                <a:gd name="T71" fmla="*/ 60 h 62"/>
                <a:gd name="T72" fmla="*/ 8 w 19"/>
                <a:gd name="T73" fmla="*/ 53 h 62"/>
                <a:gd name="T74" fmla="*/ 5 w 19"/>
                <a:gd name="T75" fmla="*/ 48 h 62"/>
                <a:gd name="T76" fmla="*/ 4 w 19"/>
                <a:gd name="T77" fmla="*/ 46 h 62"/>
                <a:gd name="T78" fmla="*/ 2 w 19"/>
                <a:gd name="T79" fmla="*/ 38 h 62"/>
                <a:gd name="T80" fmla="*/ 1 w 19"/>
                <a:gd name="T81" fmla="*/ 34 h 62"/>
                <a:gd name="T82" fmla="*/ 3 w 19"/>
                <a:gd name="T83" fmla="*/ 30 h 62"/>
                <a:gd name="T84" fmla="*/ 4 w 19"/>
                <a:gd name="T85" fmla="*/ 26 h 62"/>
                <a:gd name="T86" fmla="*/ 5 w 19"/>
                <a:gd name="T87" fmla="*/ 21 h 62"/>
                <a:gd name="T88" fmla="*/ 7 w 19"/>
                <a:gd name="T89" fmla="*/ 13 h 62"/>
                <a:gd name="T90" fmla="*/ 7 w 19"/>
                <a:gd name="T91" fmla="*/ 9 h 62"/>
                <a:gd name="T92" fmla="*/ 8 w 19"/>
                <a:gd name="T93" fmla="*/ 8 h 62"/>
                <a:gd name="T94" fmla="*/ 8 w 19"/>
                <a:gd name="T95" fmla="*/ 6 h 62"/>
                <a:gd name="T96" fmla="*/ 9 w 19"/>
                <a:gd name="T97" fmla="*/ 5 h 62"/>
                <a:gd name="T98" fmla="*/ 10 w 19"/>
                <a:gd name="T99" fmla="*/ 5 h 62"/>
                <a:gd name="T100" fmla="*/ 11 w 19"/>
                <a:gd name="T101" fmla="*/ 6 h 62"/>
                <a:gd name="T102" fmla="*/ 14 w 19"/>
                <a:gd name="T103" fmla="*/ 5 h 62"/>
                <a:gd name="T104" fmla="*/ 14 w 19"/>
                <a:gd name="T105" fmla="*/ 2 h 62"/>
                <a:gd name="T106" fmla="*/ 15 w 19"/>
                <a:gd name="T107" fmla="*/ 2 h 62"/>
                <a:gd name="T108" fmla="*/ 15 w 19"/>
                <a:gd name="T109" fmla="*/ 2 h 62"/>
                <a:gd name="T110" fmla="*/ 17 w 19"/>
                <a:gd name="T111" fmla="*/ 1 h 62"/>
                <a:gd name="T112" fmla="*/ 17 w 19"/>
                <a:gd name="T113" fmla="*/ 1 h 62"/>
                <a:gd name="T114" fmla="*/ 17 w 19"/>
                <a:gd name="T115" fmla="*/ 2 h 62"/>
                <a:gd name="T116" fmla="*/ 17 w 19"/>
                <a:gd name="T117" fmla="*/ 5 h 62"/>
                <a:gd name="T118" fmla="*/ 18 w 19"/>
                <a:gd name="T119" fmla="*/ 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 h="62">
                  <a:moveTo>
                    <a:pt x="17" y="10"/>
                  </a:moveTo>
                  <a:lnTo>
                    <a:pt x="17" y="10"/>
                  </a:lnTo>
                  <a:lnTo>
                    <a:pt x="17" y="10"/>
                  </a:lnTo>
                  <a:lnTo>
                    <a:pt x="17" y="12"/>
                  </a:lnTo>
                  <a:lnTo>
                    <a:pt x="16" y="12"/>
                  </a:lnTo>
                  <a:lnTo>
                    <a:pt x="16" y="12"/>
                  </a:lnTo>
                  <a:lnTo>
                    <a:pt x="16" y="12"/>
                  </a:lnTo>
                  <a:lnTo>
                    <a:pt x="16" y="12"/>
                  </a:lnTo>
                  <a:lnTo>
                    <a:pt x="16" y="12"/>
                  </a:lnTo>
                  <a:lnTo>
                    <a:pt x="15" y="12"/>
                  </a:lnTo>
                  <a:lnTo>
                    <a:pt x="15" y="12"/>
                  </a:lnTo>
                  <a:lnTo>
                    <a:pt x="15" y="12"/>
                  </a:lnTo>
                  <a:lnTo>
                    <a:pt x="15" y="12"/>
                  </a:lnTo>
                  <a:lnTo>
                    <a:pt x="15" y="13"/>
                  </a:lnTo>
                  <a:lnTo>
                    <a:pt x="15" y="13"/>
                  </a:lnTo>
                  <a:lnTo>
                    <a:pt x="15" y="13"/>
                  </a:lnTo>
                  <a:lnTo>
                    <a:pt x="15" y="13"/>
                  </a:lnTo>
                  <a:lnTo>
                    <a:pt x="15" y="13"/>
                  </a:lnTo>
                  <a:lnTo>
                    <a:pt x="15" y="13"/>
                  </a:lnTo>
                  <a:lnTo>
                    <a:pt x="15" y="13"/>
                  </a:lnTo>
                  <a:lnTo>
                    <a:pt x="16" y="13"/>
                  </a:lnTo>
                  <a:lnTo>
                    <a:pt x="16" y="14"/>
                  </a:lnTo>
                  <a:lnTo>
                    <a:pt x="16" y="14"/>
                  </a:lnTo>
                  <a:lnTo>
                    <a:pt x="16" y="14"/>
                  </a:lnTo>
                  <a:lnTo>
                    <a:pt x="16" y="14"/>
                  </a:lnTo>
                  <a:lnTo>
                    <a:pt x="16" y="14"/>
                  </a:lnTo>
                  <a:lnTo>
                    <a:pt x="16" y="14"/>
                  </a:lnTo>
                  <a:lnTo>
                    <a:pt x="15" y="14"/>
                  </a:lnTo>
                  <a:lnTo>
                    <a:pt x="15" y="14"/>
                  </a:lnTo>
                  <a:lnTo>
                    <a:pt x="15" y="14"/>
                  </a:lnTo>
                  <a:lnTo>
                    <a:pt x="16" y="14"/>
                  </a:lnTo>
                  <a:lnTo>
                    <a:pt x="15" y="14"/>
                  </a:lnTo>
                  <a:lnTo>
                    <a:pt x="15" y="14"/>
                  </a:lnTo>
                  <a:lnTo>
                    <a:pt x="15" y="14"/>
                  </a:lnTo>
                  <a:lnTo>
                    <a:pt x="15" y="14"/>
                  </a:lnTo>
                  <a:lnTo>
                    <a:pt x="16" y="14"/>
                  </a:lnTo>
                  <a:lnTo>
                    <a:pt x="16" y="14"/>
                  </a:lnTo>
                  <a:lnTo>
                    <a:pt x="16" y="14"/>
                  </a:lnTo>
                  <a:lnTo>
                    <a:pt x="16" y="15"/>
                  </a:lnTo>
                  <a:lnTo>
                    <a:pt x="16" y="15"/>
                  </a:lnTo>
                  <a:lnTo>
                    <a:pt x="16" y="15"/>
                  </a:lnTo>
                  <a:lnTo>
                    <a:pt x="16" y="15"/>
                  </a:lnTo>
                  <a:lnTo>
                    <a:pt x="16" y="15"/>
                  </a:lnTo>
                  <a:lnTo>
                    <a:pt x="16" y="15"/>
                  </a:lnTo>
                  <a:lnTo>
                    <a:pt x="16" y="15"/>
                  </a:lnTo>
                  <a:lnTo>
                    <a:pt x="16" y="15"/>
                  </a:lnTo>
                  <a:lnTo>
                    <a:pt x="16" y="15"/>
                  </a:lnTo>
                  <a:lnTo>
                    <a:pt x="16" y="15"/>
                  </a:lnTo>
                  <a:lnTo>
                    <a:pt x="16" y="15"/>
                  </a:lnTo>
                  <a:lnTo>
                    <a:pt x="16" y="15"/>
                  </a:lnTo>
                  <a:lnTo>
                    <a:pt x="16" y="15"/>
                  </a:lnTo>
                  <a:lnTo>
                    <a:pt x="15" y="15"/>
                  </a:lnTo>
                  <a:lnTo>
                    <a:pt x="16" y="15"/>
                  </a:lnTo>
                  <a:lnTo>
                    <a:pt x="16" y="15"/>
                  </a:lnTo>
                  <a:lnTo>
                    <a:pt x="16" y="15"/>
                  </a:lnTo>
                  <a:lnTo>
                    <a:pt x="16" y="15"/>
                  </a:lnTo>
                  <a:lnTo>
                    <a:pt x="15" y="15"/>
                  </a:lnTo>
                  <a:lnTo>
                    <a:pt x="15" y="15"/>
                  </a:lnTo>
                  <a:lnTo>
                    <a:pt x="16" y="16"/>
                  </a:lnTo>
                  <a:lnTo>
                    <a:pt x="16" y="16"/>
                  </a:lnTo>
                  <a:lnTo>
                    <a:pt x="16" y="16"/>
                  </a:lnTo>
                  <a:lnTo>
                    <a:pt x="15" y="16"/>
                  </a:lnTo>
                  <a:lnTo>
                    <a:pt x="16" y="16"/>
                  </a:lnTo>
                  <a:lnTo>
                    <a:pt x="16" y="16"/>
                  </a:lnTo>
                  <a:lnTo>
                    <a:pt x="16" y="16"/>
                  </a:lnTo>
                  <a:lnTo>
                    <a:pt x="16" y="16"/>
                  </a:lnTo>
                  <a:lnTo>
                    <a:pt x="15" y="16"/>
                  </a:lnTo>
                  <a:lnTo>
                    <a:pt x="14" y="16"/>
                  </a:lnTo>
                  <a:lnTo>
                    <a:pt x="14" y="16"/>
                  </a:lnTo>
                  <a:lnTo>
                    <a:pt x="14" y="16"/>
                  </a:lnTo>
                  <a:lnTo>
                    <a:pt x="14" y="15"/>
                  </a:lnTo>
                  <a:lnTo>
                    <a:pt x="14" y="15"/>
                  </a:lnTo>
                  <a:lnTo>
                    <a:pt x="14" y="14"/>
                  </a:lnTo>
                  <a:lnTo>
                    <a:pt x="12" y="14"/>
                  </a:lnTo>
                  <a:lnTo>
                    <a:pt x="12" y="14"/>
                  </a:lnTo>
                  <a:lnTo>
                    <a:pt x="11" y="14"/>
                  </a:lnTo>
                  <a:lnTo>
                    <a:pt x="11" y="14"/>
                  </a:lnTo>
                  <a:lnTo>
                    <a:pt x="11" y="14"/>
                  </a:lnTo>
                  <a:lnTo>
                    <a:pt x="10" y="14"/>
                  </a:lnTo>
                  <a:lnTo>
                    <a:pt x="10" y="14"/>
                  </a:lnTo>
                  <a:lnTo>
                    <a:pt x="10" y="14"/>
                  </a:lnTo>
                  <a:lnTo>
                    <a:pt x="10" y="14"/>
                  </a:lnTo>
                  <a:lnTo>
                    <a:pt x="10" y="14"/>
                  </a:lnTo>
                  <a:lnTo>
                    <a:pt x="9" y="15"/>
                  </a:lnTo>
                  <a:lnTo>
                    <a:pt x="9" y="15"/>
                  </a:lnTo>
                  <a:lnTo>
                    <a:pt x="9" y="15"/>
                  </a:lnTo>
                  <a:lnTo>
                    <a:pt x="9" y="15"/>
                  </a:lnTo>
                  <a:lnTo>
                    <a:pt x="9" y="16"/>
                  </a:lnTo>
                  <a:lnTo>
                    <a:pt x="9" y="16"/>
                  </a:lnTo>
                  <a:lnTo>
                    <a:pt x="9" y="17"/>
                  </a:lnTo>
                  <a:lnTo>
                    <a:pt x="9" y="17"/>
                  </a:lnTo>
                  <a:lnTo>
                    <a:pt x="8" y="17"/>
                  </a:lnTo>
                  <a:lnTo>
                    <a:pt x="8" y="17"/>
                  </a:lnTo>
                  <a:lnTo>
                    <a:pt x="8" y="17"/>
                  </a:lnTo>
                  <a:lnTo>
                    <a:pt x="8" y="17"/>
                  </a:lnTo>
                  <a:lnTo>
                    <a:pt x="8" y="17"/>
                  </a:lnTo>
                  <a:lnTo>
                    <a:pt x="8" y="17"/>
                  </a:lnTo>
                  <a:lnTo>
                    <a:pt x="9" y="19"/>
                  </a:lnTo>
                  <a:lnTo>
                    <a:pt x="9" y="19"/>
                  </a:lnTo>
                  <a:lnTo>
                    <a:pt x="9" y="19"/>
                  </a:lnTo>
                  <a:lnTo>
                    <a:pt x="8" y="19"/>
                  </a:lnTo>
                  <a:lnTo>
                    <a:pt x="8" y="19"/>
                  </a:lnTo>
                  <a:lnTo>
                    <a:pt x="8" y="20"/>
                  </a:lnTo>
                  <a:lnTo>
                    <a:pt x="8" y="20"/>
                  </a:lnTo>
                  <a:lnTo>
                    <a:pt x="8" y="20"/>
                  </a:lnTo>
                  <a:lnTo>
                    <a:pt x="8" y="20"/>
                  </a:lnTo>
                  <a:lnTo>
                    <a:pt x="9" y="22"/>
                  </a:lnTo>
                  <a:lnTo>
                    <a:pt x="9" y="22"/>
                  </a:lnTo>
                  <a:lnTo>
                    <a:pt x="9" y="22"/>
                  </a:lnTo>
                  <a:lnTo>
                    <a:pt x="9" y="22"/>
                  </a:lnTo>
                  <a:lnTo>
                    <a:pt x="9" y="22"/>
                  </a:lnTo>
                  <a:lnTo>
                    <a:pt x="9" y="22"/>
                  </a:lnTo>
                  <a:lnTo>
                    <a:pt x="9" y="22"/>
                  </a:lnTo>
                  <a:lnTo>
                    <a:pt x="9" y="22"/>
                  </a:lnTo>
                  <a:lnTo>
                    <a:pt x="9" y="22"/>
                  </a:lnTo>
                  <a:lnTo>
                    <a:pt x="9" y="22"/>
                  </a:lnTo>
                  <a:lnTo>
                    <a:pt x="9" y="22"/>
                  </a:lnTo>
                  <a:lnTo>
                    <a:pt x="9" y="23"/>
                  </a:lnTo>
                  <a:lnTo>
                    <a:pt x="9" y="23"/>
                  </a:lnTo>
                  <a:lnTo>
                    <a:pt x="9" y="24"/>
                  </a:lnTo>
                  <a:lnTo>
                    <a:pt x="9" y="24"/>
                  </a:lnTo>
                  <a:lnTo>
                    <a:pt x="8" y="24"/>
                  </a:lnTo>
                  <a:lnTo>
                    <a:pt x="8" y="24"/>
                  </a:lnTo>
                  <a:lnTo>
                    <a:pt x="8" y="24"/>
                  </a:lnTo>
                  <a:lnTo>
                    <a:pt x="9" y="26"/>
                  </a:lnTo>
                  <a:lnTo>
                    <a:pt x="9" y="26"/>
                  </a:lnTo>
                  <a:lnTo>
                    <a:pt x="9" y="26"/>
                  </a:lnTo>
                  <a:lnTo>
                    <a:pt x="9" y="26"/>
                  </a:lnTo>
                  <a:lnTo>
                    <a:pt x="9" y="26"/>
                  </a:lnTo>
                  <a:lnTo>
                    <a:pt x="9" y="24"/>
                  </a:lnTo>
                  <a:lnTo>
                    <a:pt x="10" y="24"/>
                  </a:lnTo>
                  <a:lnTo>
                    <a:pt x="10" y="24"/>
                  </a:lnTo>
                  <a:lnTo>
                    <a:pt x="10" y="26"/>
                  </a:lnTo>
                  <a:lnTo>
                    <a:pt x="11" y="26"/>
                  </a:lnTo>
                  <a:lnTo>
                    <a:pt x="11" y="26"/>
                  </a:lnTo>
                  <a:lnTo>
                    <a:pt x="11" y="26"/>
                  </a:lnTo>
                  <a:lnTo>
                    <a:pt x="12" y="26"/>
                  </a:lnTo>
                  <a:lnTo>
                    <a:pt x="12" y="27"/>
                  </a:lnTo>
                  <a:lnTo>
                    <a:pt x="11" y="27"/>
                  </a:lnTo>
                  <a:lnTo>
                    <a:pt x="11" y="27"/>
                  </a:lnTo>
                  <a:lnTo>
                    <a:pt x="11" y="27"/>
                  </a:lnTo>
                  <a:lnTo>
                    <a:pt x="11" y="27"/>
                  </a:lnTo>
                  <a:lnTo>
                    <a:pt x="11" y="27"/>
                  </a:lnTo>
                  <a:lnTo>
                    <a:pt x="10" y="27"/>
                  </a:lnTo>
                  <a:lnTo>
                    <a:pt x="10" y="27"/>
                  </a:lnTo>
                  <a:lnTo>
                    <a:pt x="10" y="27"/>
                  </a:lnTo>
                  <a:lnTo>
                    <a:pt x="9" y="28"/>
                  </a:lnTo>
                  <a:lnTo>
                    <a:pt x="9" y="28"/>
                  </a:lnTo>
                  <a:lnTo>
                    <a:pt x="9" y="28"/>
                  </a:lnTo>
                  <a:lnTo>
                    <a:pt x="9" y="29"/>
                  </a:lnTo>
                  <a:lnTo>
                    <a:pt x="9" y="29"/>
                  </a:lnTo>
                  <a:lnTo>
                    <a:pt x="9" y="30"/>
                  </a:lnTo>
                  <a:lnTo>
                    <a:pt x="9" y="30"/>
                  </a:lnTo>
                  <a:lnTo>
                    <a:pt x="8" y="31"/>
                  </a:lnTo>
                  <a:lnTo>
                    <a:pt x="8" y="31"/>
                  </a:lnTo>
                  <a:lnTo>
                    <a:pt x="8" y="32"/>
                  </a:lnTo>
                  <a:lnTo>
                    <a:pt x="9" y="32"/>
                  </a:lnTo>
                  <a:lnTo>
                    <a:pt x="9" y="32"/>
                  </a:lnTo>
                  <a:lnTo>
                    <a:pt x="9" y="32"/>
                  </a:lnTo>
                  <a:lnTo>
                    <a:pt x="9" y="32"/>
                  </a:lnTo>
                  <a:lnTo>
                    <a:pt x="10" y="32"/>
                  </a:lnTo>
                  <a:lnTo>
                    <a:pt x="12" y="32"/>
                  </a:lnTo>
                  <a:lnTo>
                    <a:pt x="12" y="32"/>
                  </a:lnTo>
                  <a:lnTo>
                    <a:pt x="14" y="31"/>
                  </a:lnTo>
                  <a:lnTo>
                    <a:pt x="15" y="30"/>
                  </a:lnTo>
                  <a:lnTo>
                    <a:pt x="15" y="30"/>
                  </a:lnTo>
                  <a:lnTo>
                    <a:pt x="15" y="30"/>
                  </a:lnTo>
                  <a:lnTo>
                    <a:pt x="15" y="31"/>
                  </a:lnTo>
                  <a:lnTo>
                    <a:pt x="15" y="31"/>
                  </a:lnTo>
                  <a:lnTo>
                    <a:pt x="15" y="32"/>
                  </a:lnTo>
                  <a:lnTo>
                    <a:pt x="15" y="32"/>
                  </a:lnTo>
                  <a:lnTo>
                    <a:pt x="16" y="32"/>
                  </a:lnTo>
                  <a:lnTo>
                    <a:pt x="16" y="32"/>
                  </a:lnTo>
                  <a:lnTo>
                    <a:pt x="16" y="34"/>
                  </a:lnTo>
                  <a:lnTo>
                    <a:pt x="15" y="34"/>
                  </a:lnTo>
                  <a:lnTo>
                    <a:pt x="15" y="34"/>
                  </a:lnTo>
                  <a:lnTo>
                    <a:pt x="15" y="35"/>
                  </a:lnTo>
                  <a:lnTo>
                    <a:pt x="15" y="35"/>
                  </a:lnTo>
                  <a:lnTo>
                    <a:pt x="15" y="35"/>
                  </a:lnTo>
                  <a:lnTo>
                    <a:pt x="15" y="35"/>
                  </a:lnTo>
                  <a:lnTo>
                    <a:pt x="15" y="35"/>
                  </a:lnTo>
                  <a:lnTo>
                    <a:pt x="15" y="36"/>
                  </a:lnTo>
                  <a:lnTo>
                    <a:pt x="16" y="36"/>
                  </a:lnTo>
                  <a:lnTo>
                    <a:pt x="16" y="36"/>
                  </a:lnTo>
                  <a:lnTo>
                    <a:pt x="16" y="36"/>
                  </a:lnTo>
                  <a:lnTo>
                    <a:pt x="16" y="37"/>
                  </a:lnTo>
                  <a:lnTo>
                    <a:pt x="16" y="37"/>
                  </a:lnTo>
                  <a:lnTo>
                    <a:pt x="16" y="38"/>
                  </a:lnTo>
                  <a:lnTo>
                    <a:pt x="16" y="38"/>
                  </a:lnTo>
                  <a:lnTo>
                    <a:pt x="16" y="38"/>
                  </a:lnTo>
                  <a:lnTo>
                    <a:pt x="15" y="39"/>
                  </a:lnTo>
                  <a:lnTo>
                    <a:pt x="15" y="39"/>
                  </a:lnTo>
                  <a:lnTo>
                    <a:pt x="15" y="39"/>
                  </a:lnTo>
                  <a:lnTo>
                    <a:pt x="15" y="41"/>
                  </a:lnTo>
                  <a:lnTo>
                    <a:pt x="15" y="41"/>
                  </a:lnTo>
                  <a:lnTo>
                    <a:pt x="15" y="41"/>
                  </a:lnTo>
                  <a:lnTo>
                    <a:pt x="15" y="41"/>
                  </a:lnTo>
                  <a:lnTo>
                    <a:pt x="15" y="41"/>
                  </a:lnTo>
                  <a:lnTo>
                    <a:pt x="15" y="42"/>
                  </a:lnTo>
                  <a:lnTo>
                    <a:pt x="15" y="42"/>
                  </a:lnTo>
                  <a:lnTo>
                    <a:pt x="15" y="42"/>
                  </a:lnTo>
                  <a:lnTo>
                    <a:pt x="15" y="42"/>
                  </a:lnTo>
                  <a:lnTo>
                    <a:pt x="15" y="43"/>
                  </a:lnTo>
                  <a:lnTo>
                    <a:pt x="15" y="43"/>
                  </a:lnTo>
                  <a:lnTo>
                    <a:pt x="14" y="44"/>
                  </a:lnTo>
                  <a:lnTo>
                    <a:pt x="14" y="46"/>
                  </a:lnTo>
                  <a:lnTo>
                    <a:pt x="14" y="46"/>
                  </a:lnTo>
                  <a:lnTo>
                    <a:pt x="14" y="46"/>
                  </a:lnTo>
                  <a:lnTo>
                    <a:pt x="14" y="48"/>
                  </a:lnTo>
                  <a:lnTo>
                    <a:pt x="14" y="48"/>
                  </a:lnTo>
                  <a:lnTo>
                    <a:pt x="14" y="48"/>
                  </a:lnTo>
                  <a:lnTo>
                    <a:pt x="14" y="48"/>
                  </a:lnTo>
                  <a:lnTo>
                    <a:pt x="14" y="49"/>
                  </a:lnTo>
                  <a:lnTo>
                    <a:pt x="14" y="49"/>
                  </a:lnTo>
                  <a:lnTo>
                    <a:pt x="14" y="49"/>
                  </a:lnTo>
                  <a:lnTo>
                    <a:pt x="14" y="49"/>
                  </a:lnTo>
                  <a:lnTo>
                    <a:pt x="14" y="50"/>
                  </a:lnTo>
                  <a:lnTo>
                    <a:pt x="14" y="50"/>
                  </a:lnTo>
                  <a:lnTo>
                    <a:pt x="14" y="50"/>
                  </a:lnTo>
                  <a:lnTo>
                    <a:pt x="14" y="51"/>
                  </a:lnTo>
                  <a:lnTo>
                    <a:pt x="14" y="52"/>
                  </a:lnTo>
                  <a:lnTo>
                    <a:pt x="14" y="52"/>
                  </a:lnTo>
                  <a:lnTo>
                    <a:pt x="12" y="53"/>
                  </a:lnTo>
                  <a:lnTo>
                    <a:pt x="12" y="53"/>
                  </a:lnTo>
                  <a:lnTo>
                    <a:pt x="12" y="55"/>
                  </a:lnTo>
                  <a:lnTo>
                    <a:pt x="12" y="55"/>
                  </a:lnTo>
                  <a:lnTo>
                    <a:pt x="12" y="55"/>
                  </a:lnTo>
                  <a:lnTo>
                    <a:pt x="12" y="55"/>
                  </a:lnTo>
                  <a:lnTo>
                    <a:pt x="12" y="55"/>
                  </a:lnTo>
                  <a:lnTo>
                    <a:pt x="12" y="56"/>
                  </a:lnTo>
                  <a:lnTo>
                    <a:pt x="12" y="56"/>
                  </a:lnTo>
                  <a:lnTo>
                    <a:pt x="12" y="58"/>
                  </a:lnTo>
                  <a:lnTo>
                    <a:pt x="12" y="58"/>
                  </a:lnTo>
                  <a:lnTo>
                    <a:pt x="12" y="59"/>
                  </a:lnTo>
                  <a:lnTo>
                    <a:pt x="12" y="59"/>
                  </a:lnTo>
                  <a:lnTo>
                    <a:pt x="12" y="60"/>
                  </a:lnTo>
                  <a:lnTo>
                    <a:pt x="12" y="60"/>
                  </a:lnTo>
                  <a:lnTo>
                    <a:pt x="12" y="60"/>
                  </a:lnTo>
                  <a:lnTo>
                    <a:pt x="12" y="60"/>
                  </a:lnTo>
                  <a:lnTo>
                    <a:pt x="11" y="60"/>
                  </a:lnTo>
                  <a:lnTo>
                    <a:pt x="11" y="62"/>
                  </a:lnTo>
                  <a:lnTo>
                    <a:pt x="11" y="62"/>
                  </a:lnTo>
                  <a:lnTo>
                    <a:pt x="11" y="62"/>
                  </a:lnTo>
                  <a:lnTo>
                    <a:pt x="11" y="62"/>
                  </a:lnTo>
                  <a:lnTo>
                    <a:pt x="11" y="62"/>
                  </a:lnTo>
                  <a:lnTo>
                    <a:pt x="11" y="62"/>
                  </a:lnTo>
                  <a:lnTo>
                    <a:pt x="11" y="62"/>
                  </a:lnTo>
                  <a:lnTo>
                    <a:pt x="11" y="62"/>
                  </a:lnTo>
                  <a:lnTo>
                    <a:pt x="11" y="62"/>
                  </a:lnTo>
                  <a:lnTo>
                    <a:pt x="11" y="62"/>
                  </a:lnTo>
                  <a:lnTo>
                    <a:pt x="10" y="60"/>
                  </a:lnTo>
                  <a:lnTo>
                    <a:pt x="10" y="60"/>
                  </a:lnTo>
                  <a:lnTo>
                    <a:pt x="10" y="59"/>
                  </a:lnTo>
                  <a:lnTo>
                    <a:pt x="10" y="58"/>
                  </a:lnTo>
                  <a:lnTo>
                    <a:pt x="9" y="57"/>
                  </a:lnTo>
                  <a:lnTo>
                    <a:pt x="9" y="55"/>
                  </a:lnTo>
                  <a:lnTo>
                    <a:pt x="8" y="53"/>
                  </a:lnTo>
                  <a:lnTo>
                    <a:pt x="8" y="53"/>
                  </a:lnTo>
                  <a:lnTo>
                    <a:pt x="8" y="53"/>
                  </a:lnTo>
                  <a:lnTo>
                    <a:pt x="8" y="53"/>
                  </a:lnTo>
                  <a:lnTo>
                    <a:pt x="8" y="53"/>
                  </a:lnTo>
                  <a:lnTo>
                    <a:pt x="8" y="52"/>
                  </a:lnTo>
                  <a:lnTo>
                    <a:pt x="7" y="50"/>
                  </a:lnTo>
                  <a:lnTo>
                    <a:pt x="5" y="49"/>
                  </a:lnTo>
                  <a:lnTo>
                    <a:pt x="5" y="48"/>
                  </a:lnTo>
                  <a:lnTo>
                    <a:pt x="5" y="48"/>
                  </a:lnTo>
                  <a:lnTo>
                    <a:pt x="5" y="48"/>
                  </a:lnTo>
                  <a:lnTo>
                    <a:pt x="4" y="48"/>
                  </a:lnTo>
                  <a:lnTo>
                    <a:pt x="4" y="46"/>
                  </a:lnTo>
                  <a:lnTo>
                    <a:pt x="5" y="46"/>
                  </a:lnTo>
                  <a:lnTo>
                    <a:pt x="5" y="46"/>
                  </a:lnTo>
                  <a:lnTo>
                    <a:pt x="4" y="46"/>
                  </a:lnTo>
                  <a:lnTo>
                    <a:pt x="4" y="46"/>
                  </a:lnTo>
                  <a:lnTo>
                    <a:pt x="4" y="45"/>
                  </a:lnTo>
                  <a:lnTo>
                    <a:pt x="4" y="45"/>
                  </a:lnTo>
                  <a:lnTo>
                    <a:pt x="4" y="45"/>
                  </a:lnTo>
                  <a:lnTo>
                    <a:pt x="4" y="43"/>
                  </a:lnTo>
                  <a:lnTo>
                    <a:pt x="3" y="42"/>
                  </a:lnTo>
                  <a:lnTo>
                    <a:pt x="2" y="39"/>
                  </a:lnTo>
                  <a:lnTo>
                    <a:pt x="2" y="38"/>
                  </a:lnTo>
                  <a:lnTo>
                    <a:pt x="1" y="37"/>
                  </a:lnTo>
                  <a:lnTo>
                    <a:pt x="0" y="35"/>
                  </a:lnTo>
                  <a:lnTo>
                    <a:pt x="0" y="35"/>
                  </a:lnTo>
                  <a:lnTo>
                    <a:pt x="0" y="35"/>
                  </a:lnTo>
                  <a:lnTo>
                    <a:pt x="1" y="34"/>
                  </a:lnTo>
                  <a:lnTo>
                    <a:pt x="1" y="34"/>
                  </a:lnTo>
                  <a:lnTo>
                    <a:pt x="1" y="34"/>
                  </a:lnTo>
                  <a:lnTo>
                    <a:pt x="1" y="32"/>
                  </a:lnTo>
                  <a:lnTo>
                    <a:pt x="1" y="32"/>
                  </a:lnTo>
                  <a:lnTo>
                    <a:pt x="1" y="31"/>
                  </a:lnTo>
                  <a:lnTo>
                    <a:pt x="3" y="30"/>
                  </a:lnTo>
                  <a:lnTo>
                    <a:pt x="3" y="30"/>
                  </a:lnTo>
                  <a:lnTo>
                    <a:pt x="3" y="30"/>
                  </a:lnTo>
                  <a:lnTo>
                    <a:pt x="3" y="30"/>
                  </a:lnTo>
                  <a:lnTo>
                    <a:pt x="3" y="29"/>
                  </a:lnTo>
                  <a:lnTo>
                    <a:pt x="3" y="29"/>
                  </a:lnTo>
                  <a:lnTo>
                    <a:pt x="2" y="29"/>
                  </a:lnTo>
                  <a:lnTo>
                    <a:pt x="2" y="29"/>
                  </a:lnTo>
                  <a:lnTo>
                    <a:pt x="3" y="29"/>
                  </a:lnTo>
                  <a:lnTo>
                    <a:pt x="3" y="28"/>
                  </a:lnTo>
                  <a:lnTo>
                    <a:pt x="4" y="26"/>
                  </a:lnTo>
                  <a:lnTo>
                    <a:pt x="4" y="26"/>
                  </a:lnTo>
                  <a:lnTo>
                    <a:pt x="4" y="24"/>
                  </a:lnTo>
                  <a:lnTo>
                    <a:pt x="4" y="23"/>
                  </a:lnTo>
                  <a:lnTo>
                    <a:pt x="5" y="23"/>
                  </a:lnTo>
                  <a:lnTo>
                    <a:pt x="5" y="22"/>
                  </a:lnTo>
                  <a:lnTo>
                    <a:pt x="5" y="22"/>
                  </a:lnTo>
                  <a:lnTo>
                    <a:pt x="5" y="21"/>
                  </a:lnTo>
                  <a:lnTo>
                    <a:pt x="5" y="21"/>
                  </a:lnTo>
                  <a:lnTo>
                    <a:pt x="5" y="21"/>
                  </a:lnTo>
                  <a:lnTo>
                    <a:pt x="7" y="17"/>
                  </a:lnTo>
                  <a:lnTo>
                    <a:pt x="7" y="15"/>
                  </a:lnTo>
                  <a:lnTo>
                    <a:pt x="7" y="14"/>
                  </a:lnTo>
                  <a:lnTo>
                    <a:pt x="7" y="13"/>
                  </a:lnTo>
                  <a:lnTo>
                    <a:pt x="7" y="13"/>
                  </a:lnTo>
                  <a:lnTo>
                    <a:pt x="7" y="13"/>
                  </a:lnTo>
                  <a:lnTo>
                    <a:pt x="7" y="12"/>
                  </a:lnTo>
                  <a:lnTo>
                    <a:pt x="7" y="10"/>
                  </a:lnTo>
                  <a:lnTo>
                    <a:pt x="7" y="9"/>
                  </a:lnTo>
                  <a:lnTo>
                    <a:pt x="7" y="9"/>
                  </a:lnTo>
                  <a:lnTo>
                    <a:pt x="7" y="9"/>
                  </a:lnTo>
                  <a:lnTo>
                    <a:pt x="7" y="9"/>
                  </a:lnTo>
                  <a:lnTo>
                    <a:pt x="8" y="9"/>
                  </a:lnTo>
                  <a:lnTo>
                    <a:pt x="8" y="9"/>
                  </a:lnTo>
                  <a:lnTo>
                    <a:pt x="8" y="9"/>
                  </a:lnTo>
                  <a:lnTo>
                    <a:pt x="8" y="9"/>
                  </a:lnTo>
                  <a:lnTo>
                    <a:pt x="8" y="8"/>
                  </a:lnTo>
                  <a:lnTo>
                    <a:pt x="8" y="8"/>
                  </a:lnTo>
                  <a:lnTo>
                    <a:pt x="8" y="8"/>
                  </a:lnTo>
                  <a:lnTo>
                    <a:pt x="8" y="8"/>
                  </a:lnTo>
                  <a:lnTo>
                    <a:pt x="8" y="8"/>
                  </a:lnTo>
                  <a:lnTo>
                    <a:pt x="8" y="7"/>
                  </a:lnTo>
                  <a:lnTo>
                    <a:pt x="8" y="7"/>
                  </a:lnTo>
                  <a:lnTo>
                    <a:pt x="8" y="6"/>
                  </a:lnTo>
                  <a:lnTo>
                    <a:pt x="8" y="6"/>
                  </a:lnTo>
                  <a:lnTo>
                    <a:pt x="8" y="6"/>
                  </a:lnTo>
                  <a:lnTo>
                    <a:pt x="8" y="6"/>
                  </a:lnTo>
                  <a:lnTo>
                    <a:pt x="8" y="6"/>
                  </a:lnTo>
                  <a:lnTo>
                    <a:pt x="8" y="6"/>
                  </a:lnTo>
                  <a:lnTo>
                    <a:pt x="8" y="5"/>
                  </a:lnTo>
                  <a:lnTo>
                    <a:pt x="8" y="5"/>
                  </a:lnTo>
                  <a:lnTo>
                    <a:pt x="8" y="5"/>
                  </a:lnTo>
                  <a:lnTo>
                    <a:pt x="9" y="5"/>
                  </a:lnTo>
                  <a:lnTo>
                    <a:pt x="9" y="5"/>
                  </a:lnTo>
                  <a:lnTo>
                    <a:pt x="9" y="5"/>
                  </a:lnTo>
                  <a:lnTo>
                    <a:pt x="10" y="5"/>
                  </a:lnTo>
                  <a:lnTo>
                    <a:pt x="10" y="5"/>
                  </a:lnTo>
                  <a:lnTo>
                    <a:pt x="10" y="5"/>
                  </a:lnTo>
                  <a:lnTo>
                    <a:pt x="10" y="5"/>
                  </a:lnTo>
                  <a:lnTo>
                    <a:pt x="10" y="5"/>
                  </a:lnTo>
                  <a:lnTo>
                    <a:pt x="10" y="5"/>
                  </a:lnTo>
                  <a:lnTo>
                    <a:pt x="10" y="5"/>
                  </a:lnTo>
                  <a:lnTo>
                    <a:pt x="11" y="5"/>
                  </a:lnTo>
                  <a:lnTo>
                    <a:pt x="11" y="5"/>
                  </a:lnTo>
                  <a:lnTo>
                    <a:pt x="11" y="6"/>
                  </a:lnTo>
                  <a:lnTo>
                    <a:pt x="11" y="6"/>
                  </a:lnTo>
                  <a:lnTo>
                    <a:pt x="11" y="6"/>
                  </a:lnTo>
                  <a:lnTo>
                    <a:pt x="11" y="6"/>
                  </a:lnTo>
                  <a:lnTo>
                    <a:pt x="12" y="6"/>
                  </a:lnTo>
                  <a:lnTo>
                    <a:pt x="12" y="5"/>
                  </a:lnTo>
                  <a:lnTo>
                    <a:pt x="14" y="5"/>
                  </a:lnTo>
                  <a:lnTo>
                    <a:pt x="14" y="5"/>
                  </a:lnTo>
                  <a:lnTo>
                    <a:pt x="14" y="5"/>
                  </a:lnTo>
                  <a:lnTo>
                    <a:pt x="14" y="5"/>
                  </a:lnTo>
                  <a:lnTo>
                    <a:pt x="14" y="3"/>
                  </a:lnTo>
                  <a:lnTo>
                    <a:pt x="14" y="3"/>
                  </a:lnTo>
                  <a:lnTo>
                    <a:pt x="14" y="2"/>
                  </a:lnTo>
                  <a:lnTo>
                    <a:pt x="14" y="2"/>
                  </a:lnTo>
                  <a:lnTo>
                    <a:pt x="14" y="2"/>
                  </a:lnTo>
                  <a:lnTo>
                    <a:pt x="14" y="2"/>
                  </a:lnTo>
                  <a:lnTo>
                    <a:pt x="14" y="2"/>
                  </a:lnTo>
                  <a:lnTo>
                    <a:pt x="14" y="2"/>
                  </a:lnTo>
                  <a:lnTo>
                    <a:pt x="15" y="2"/>
                  </a:lnTo>
                  <a:lnTo>
                    <a:pt x="15" y="2"/>
                  </a:lnTo>
                  <a:lnTo>
                    <a:pt x="15" y="2"/>
                  </a:lnTo>
                  <a:lnTo>
                    <a:pt x="15" y="2"/>
                  </a:lnTo>
                  <a:lnTo>
                    <a:pt x="15" y="2"/>
                  </a:lnTo>
                  <a:lnTo>
                    <a:pt x="15" y="2"/>
                  </a:lnTo>
                  <a:lnTo>
                    <a:pt x="15" y="2"/>
                  </a:lnTo>
                  <a:lnTo>
                    <a:pt x="15" y="2"/>
                  </a:lnTo>
                  <a:lnTo>
                    <a:pt x="15" y="2"/>
                  </a:lnTo>
                  <a:lnTo>
                    <a:pt x="15" y="2"/>
                  </a:lnTo>
                  <a:lnTo>
                    <a:pt x="15" y="2"/>
                  </a:lnTo>
                  <a:lnTo>
                    <a:pt x="15" y="2"/>
                  </a:lnTo>
                  <a:lnTo>
                    <a:pt x="15" y="2"/>
                  </a:lnTo>
                  <a:lnTo>
                    <a:pt x="15" y="2"/>
                  </a:lnTo>
                  <a:lnTo>
                    <a:pt x="16" y="1"/>
                  </a:lnTo>
                  <a:lnTo>
                    <a:pt x="16" y="1"/>
                  </a:lnTo>
                  <a:lnTo>
                    <a:pt x="16" y="1"/>
                  </a:lnTo>
                  <a:lnTo>
                    <a:pt x="16" y="1"/>
                  </a:lnTo>
                  <a:lnTo>
                    <a:pt x="16" y="1"/>
                  </a:lnTo>
                  <a:lnTo>
                    <a:pt x="17" y="1"/>
                  </a:lnTo>
                  <a:lnTo>
                    <a:pt x="17" y="1"/>
                  </a:lnTo>
                  <a:lnTo>
                    <a:pt x="17" y="0"/>
                  </a:lnTo>
                  <a:lnTo>
                    <a:pt x="17" y="0"/>
                  </a:lnTo>
                  <a:lnTo>
                    <a:pt x="17" y="0"/>
                  </a:lnTo>
                  <a:lnTo>
                    <a:pt x="17" y="0"/>
                  </a:lnTo>
                  <a:lnTo>
                    <a:pt x="17" y="0"/>
                  </a:lnTo>
                  <a:lnTo>
                    <a:pt x="17" y="1"/>
                  </a:lnTo>
                  <a:lnTo>
                    <a:pt x="17" y="1"/>
                  </a:lnTo>
                  <a:lnTo>
                    <a:pt x="17" y="1"/>
                  </a:lnTo>
                  <a:lnTo>
                    <a:pt x="17" y="1"/>
                  </a:lnTo>
                  <a:lnTo>
                    <a:pt x="17" y="1"/>
                  </a:lnTo>
                  <a:lnTo>
                    <a:pt x="17" y="1"/>
                  </a:lnTo>
                  <a:lnTo>
                    <a:pt x="17" y="2"/>
                  </a:lnTo>
                  <a:lnTo>
                    <a:pt x="17" y="2"/>
                  </a:lnTo>
                  <a:lnTo>
                    <a:pt x="17" y="2"/>
                  </a:lnTo>
                  <a:lnTo>
                    <a:pt x="17" y="3"/>
                  </a:lnTo>
                  <a:lnTo>
                    <a:pt x="18" y="3"/>
                  </a:lnTo>
                  <a:lnTo>
                    <a:pt x="18" y="3"/>
                  </a:lnTo>
                  <a:lnTo>
                    <a:pt x="18" y="5"/>
                  </a:lnTo>
                  <a:lnTo>
                    <a:pt x="17" y="5"/>
                  </a:lnTo>
                  <a:lnTo>
                    <a:pt x="17" y="5"/>
                  </a:lnTo>
                  <a:lnTo>
                    <a:pt x="18" y="5"/>
                  </a:lnTo>
                  <a:lnTo>
                    <a:pt x="18" y="5"/>
                  </a:lnTo>
                  <a:lnTo>
                    <a:pt x="18" y="7"/>
                  </a:lnTo>
                  <a:lnTo>
                    <a:pt x="18" y="7"/>
                  </a:lnTo>
                  <a:lnTo>
                    <a:pt x="19" y="7"/>
                  </a:lnTo>
                  <a:lnTo>
                    <a:pt x="18" y="8"/>
                  </a:lnTo>
                  <a:lnTo>
                    <a:pt x="18" y="8"/>
                  </a:lnTo>
                  <a:lnTo>
                    <a:pt x="18" y="8"/>
                  </a:lnTo>
                  <a:lnTo>
                    <a:pt x="18" y="8"/>
                  </a:lnTo>
                  <a:lnTo>
                    <a:pt x="18" y="9"/>
                  </a:lnTo>
                  <a:lnTo>
                    <a:pt x="18" y="9"/>
                  </a:lnTo>
                  <a:lnTo>
                    <a:pt x="18" y="10"/>
                  </a:lnTo>
                  <a:lnTo>
                    <a:pt x="17" y="1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58" name="Freeform 913">
              <a:extLst>
                <a:ext uri="{FF2B5EF4-FFF2-40B4-BE49-F238E27FC236}">
                  <a16:creationId xmlns:a16="http://schemas.microsoft.com/office/drawing/2014/main" id="{3ED0216F-0EB1-4530-AA42-F3AAE4CBAE79}"/>
                </a:ext>
              </a:extLst>
            </p:cNvPr>
            <p:cNvSpPr>
              <a:spLocks/>
            </p:cNvSpPr>
            <p:nvPr/>
          </p:nvSpPr>
          <p:spPr bwMode="auto">
            <a:xfrm>
              <a:off x="4368107" y="2955895"/>
              <a:ext cx="40065" cy="17362"/>
            </a:xfrm>
            <a:custGeom>
              <a:avLst/>
              <a:gdLst>
                <a:gd name="T0" fmla="*/ 15 w 30"/>
                <a:gd name="T1" fmla="*/ 2 h 13"/>
                <a:gd name="T2" fmla="*/ 16 w 30"/>
                <a:gd name="T3" fmla="*/ 2 h 13"/>
                <a:gd name="T4" fmla="*/ 16 w 30"/>
                <a:gd name="T5" fmla="*/ 2 h 13"/>
                <a:gd name="T6" fmla="*/ 17 w 30"/>
                <a:gd name="T7" fmla="*/ 3 h 13"/>
                <a:gd name="T8" fmla="*/ 18 w 30"/>
                <a:gd name="T9" fmla="*/ 2 h 13"/>
                <a:gd name="T10" fmla="*/ 20 w 30"/>
                <a:gd name="T11" fmla="*/ 3 h 13"/>
                <a:gd name="T12" fmla="*/ 21 w 30"/>
                <a:gd name="T13" fmla="*/ 3 h 13"/>
                <a:gd name="T14" fmla="*/ 21 w 30"/>
                <a:gd name="T15" fmla="*/ 3 h 13"/>
                <a:gd name="T16" fmla="*/ 22 w 30"/>
                <a:gd name="T17" fmla="*/ 4 h 13"/>
                <a:gd name="T18" fmla="*/ 23 w 30"/>
                <a:gd name="T19" fmla="*/ 4 h 13"/>
                <a:gd name="T20" fmla="*/ 24 w 30"/>
                <a:gd name="T21" fmla="*/ 5 h 13"/>
                <a:gd name="T22" fmla="*/ 25 w 30"/>
                <a:gd name="T23" fmla="*/ 5 h 13"/>
                <a:gd name="T24" fmla="*/ 27 w 30"/>
                <a:gd name="T25" fmla="*/ 5 h 13"/>
                <a:gd name="T26" fmla="*/ 28 w 30"/>
                <a:gd name="T27" fmla="*/ 6 h 13"/>
                <a:gd name="T28" fmla="*/ 29 w 30"/>
                <a:gd name="T29" fmla="*/ 7 h 13"/>
                <a:gd name="T30" fmla="*/ 29 w 30"/>
                <a:gd name="T31" fmla="*/ 10 h 13"/>
                <a:gd name="T32" fmla="*/ 29 w 30"/>
                <a:gd name="T33" fmla="*/ 11 h 13"/>
                <a:gd name="T34" fmla="*/ 28 w 30"/>
                <a:gd name="T35" fmla="*/ 11 h 13"/>
                <a:gd name="T36" fmla="*/ 28 w 30"/>
                <a:gd name="T37" fmla="*/ 11 h 13"/>
                <a:gd name="T38" fmla="*/ 27 w 30"/>
                <a:gd name="T39" fmla="*/ 11 h 13"/>
                <a:gd name="T40" fmla="*/ 24 w 30"/>
                <a:gd name="T41" fmla="*/ 11 h 13"/>
                <a:gd name="T42" fmla="*/ 24 w 30"/>
                <a:gd name="T43" fmla="*/ 11 h 13"/>
                <a:gd name="T44" fmla="*/ 23 w 30"/>
                <a:gd name="T45" fmla="*/ 10 h 13"/>
                <a:gd name="T46" fmla="*/ 23 w 30"/>
                <a:gd name="T47" fmla="*/ 10 h 13"/>
                <a:gd name="T48" fmla="*/ 22 w 30"/>
                <a:gd name="T49" fmla="*/ 10 h 13"/>
                <a:gd name="T50" fmla="*/ 22 w 30"/>
                <a:gd name="T51" fmla="*/ 10 h 13"/>
                <a:gd name="T52" fmla="*/ 22 w 30"/>
                <a:gd name="T53" fmla="*/ 10 h 13"/>
                <a:gd name="T54" fmla="*/ 21 w 30"/>
                <a:gd name="T55" fmla="*/ 9 h 13"/>
                <a:gd name="T56" fmla="*/ 21 w 30"/>
                <a:gd name="T57" fmla="*/ 10 h 13"/>
                <a:gd name="T58" fmla="*/ 20 w 30"/>
                <a:gd name="T59" fmla="*/ 11 h 13"/>
                <a:gd name="T60" fmla="*/ 18 w 30"/>
                <a:gd name="T61" fmla="*/ 11 h 13"/>
                <a:gd name="T62" fmla="*/ 18 w 30"/>
                <a:gd name="T63" fmla="*/ 11 h 13"/>
                <a:gd name="T64" fmla="*/ 17 w 30"/>
                <a:gd name="T65" fmla="*/ 11 h 13"/>
                <a:gd name="T66" fmla="*/ 16 w 30"/>
                <a:gd name="T67" fmla="*/ 11 h 13"/>
                <a:gd name="T68" fmla="*/ 16 w 30"/>
                <a:gd name="T69" fmla="*/ 12 h 13"/>
                <a:gd name="T70" fmla="*/ 16 w 30"/>
                <a:gd name="T71" fmla="*/ 12 h 13"/>
                <a:gd name="T72" fmla="*/ 15 w 30"/>
                <a:gd name="T73" fmla="*/ 12 h 13"/>
                <a:gd name="T74" fmla="*/ 16 w 30"/>
                <a:gd name="T75" fmla="*/ 12 h 13"/>
                <a:gd name="T76" fmla="*/ 16 w 30"/>
                <a:gd name="T77" fmla="*/ 13 h 13"/>
                <a:gd name="T78" fmla="*/ 14 w 30"/>
                <a:gd name="T79" fmla="*/ 12 h 13"/>
                <a:gd name="T80" fmla="*/ 13 w 30"/>
                <a:gd name="T81" fmla="*/ 11 h 13"/>
                <a:gd name="T82" fmla="*/ 12 w 30"/>
                <a:gd name="T83" fmla="*/ 11 h 13"/>
                <a:gd name="T84" fmla="*/ 8 w 30"/>
                <a:gd name="T85" fmla="*/ 11 h 13"/>
                <a:gd name="T86" fmla="*/ 8 w 30"/>
                <a:gd name="T87" fmla="*/ 10 h 13"/>
                <a:gd name="T88" fmla="*/ 7 w 30"/>
                <a:gd name="T89" fmla="*/ 10 h 13"/>
                <a:gd name="T90" fmla="*/ 7 w 30"/>
                <a:gd name="T91" fmla="*/ 9 h 13"/>
                <a:gd name="T92" fmla="*/ 6 w 30"/>
                <a:gd name="T93" fmla="*/ 7 h 13"/>
                <a:gd name="T94" fmla="*/ 5 w 30"/>
                <a:gd name="T95" fmla="*/ 7 h 13"/>
                <a:gd name="T96" fmla="*/ 5 w 30"/>
                <a:gd name="T97" fmla="*/ 5 h 13"/>
                <a:gd name="T98" fmla="*/ 2 w 30"/>
                <a:gd name="T99" fmla="*/ 5 h 13"/>
                <a:gd name="T100" fmla="*/ 2 w 30"/>
                <a:gd name="T101" fmla="*/ 5 h 13"/>
                <a:gd name="T102" fmla="*/ 1 w 30"/>
                <a:gd name="T103" fmla="*/ 5 h 13"/>
                <a:gd name="T104" fmla="*/ 0 w 30"/>
                <a:gd name="T105" fmla="*/ 4 h 13"/>
                <a:gd name="T106" fmla="*/ 1 w 30"/>
                <a:gd name="T107" fmla="*/ 4 h 13"/>
                <a:gd name="T108" fmla="*/ 1 w 30"/>
                <a:gd name="T109" fmla="*/ 3 h 13"/>
                <a:gd name="T110" fmla="*/ 2 w 30"/>
                <a:gd name="T111" fmla="*/ 3 h 13"/>
                <a:gd name="T112" fmla="*/ 3 w 30"/>
                <a:gd name="T113" fmla="*/ 2 h 13"/>
                <a:gd name="T114" fmla="*/ 5 w 30"/>
                <a:gd name="T115" fmla="*/ 2 h 13"/>
                <a:gd name="T116" fmla="*/ 6 w 30"/>
                <a:gd name="T117" fmla="*/ 2 h 13"/>
                <a:gd name="T118" fmla="*/ 7 w 30"/>
                <a:gd name="T119" fmla="*/ 2 h 13"/>
                <a:gd name="T120" fmla="*/ 7 w 30"/>
                <a:gd name="T121" fmla="*/ 0 h 13"/>
                <a:gd name="T122" fmla="*/ 8 w 30"/>
                <a:gd name="T123" fmla="*/ 0 h 13"/>
                <a:gd name="T124" fmla="*/ 13 w 30"/>
                <a:gd name="T125"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 h="13">
                  <a:moveTo>
                    <a:pt x="14" y="2"/>
                  </a:moveTo>
                  <a:lnTo>
                    <a:pt x="14" y="2"/>
                  </a:lnTo>
                  <a:lnTo>
                    <a:pt x="14" y="2"/>
                  </a:lnTo>
                  <a:lnTo>
                    <a:pt x="15" y="2"/>
                  </a:lnTo>
                  <a:lnTo>
                    <a:pt x="16" y="2"/>
                  </a:lnTo>
                  <a:lnTo>
                    <a:pt x="16" y="2"/>
                  </a:lnTo>
                  <a:lnTo>
                    <a:pt x="16" y="2"/>
                  </a:lnTo>
                  <a:lnTo>
                    <a:pt x="16" y="2"/>
                  </a:lnTo>
                  <a:lnTo>
                    <a:pt x="16" y="2"/>
                  </a:lnTo>
                  <a:lnTo>
                    <a:pt x="16" y="2"/>
                  </a:lnTo>
                  <a:lnTo>
                    <a:pt x="16" y="2"/>
                  </a:lnTo>
                  <a:lnTo>
                    <a:pt x="16" y="2"/>
                  </a:lnTo>
                  <a:lnTo>
                    <a:pt x="16" y="2"/>
                  </a:lnTo>
                  <a:lnTo>
                    <a:pt x="17" y="2"/>
                  </a:lnTo>
                  <a:lnTo>
                    <a:pt x="17" y="2"/>
                  </a:lnTo>
                  <a:lnTo>
                    <a:pt x="17" y="3"/>
                  </a:lnTo>
                  <a:lnTo>
                    <a:pt x="17" y="3"/>
                  </a:lnTo>
                  <a:lnTo>
                    <a:pt x="18" y="3"/>
                  </a:lnTo>
                  <a:lnTo>
                    <a:pt x="18" y="3"/>
                  </a:lnTo>
                  <a:lnTo>
                    <a:pt x="18" y="2"/>
                  </a:lnTo>
                  <a:lnTo>
                    <a:pt x="18" y="3"/>
                  </a:lnTo>
                  <a:lnTo>
                    <a:pt x="20" y="3"/>
                  </a:lnTo>
                  <a:lnTo>
                    <a:pt x="20" y="3"/>
                  </a:lnTo>
                  <a:lnTo>
                    <a:pt x="20" y="3"/>
                  </a:lnTo>
                  <a:lnTo>
                    <a:pt x="21" y="3"/>
                  </a:lnTo>
                  <a:lnTo>
                    <a:pt x="21" y="3"/>
                  </a:lnTo>
                  <a:lnTo>
                    <a:pt x="21" y="3"/>
                  </a:lnTo>
                  <a:lnTo>
                    <a:pt x="21" y="3"/>
                  </a:lnTo>
                  <a:lnTo>
                    <a:pt x="21" y="3"/>
                  </a:lnTo>
                  <a:lnTo>
                    <a:pt x="21" y="3"/>
                  </a:lnTo>
                  <a:lnTo>
                    <a:pt x="21" y="3"/>
                  </a:lnTo>
                  <a:lnTo>
                    <a:pt x="21" y="3"/>
                  </a:lnTo>
                  <a:lnTo>
                    <a:pt x="22" y="3"/>
                  </a:lnTo>
                  <a:lnTo>
                    <a:pt x="22" y="4"/>
                  </a:lnTo>
                  <a:lnTo>
                    <a:pt x="22" y="4"/>
                  </a:lnTo>
                  <a:lnTo>
                    <a:pt x="22" y="4"/>
                  </a:lnTo>
                  <a:lnTo>
                    <a:pt x="22" y="4"/>
                  </a:lnTo>
                  <a:lnTo>
                    <a:pt x="22" y="4"/>
                  </a:lnTo>
                  <a:lnTo>
                    <a:pt x="22" y="4"/>
                  </a:lnTo>
                  <a:lnTo>
                    <a:pt x="23" y="4"/>
                  </a:lnTo>
                  <a:lnTo>
                    <a:pt x="23" y="5"/>
                  </a:lnTo>
                  <a:lnTo>
                    <a:pt x="23" y="5"/>
                  </a:lnTo>
                  <a:lnTo>
                    <a:pt x="24" y="5"/>
                  </a:lnTo>
                  <a:lnTo>
                    <a:pt x="24" y="5"/>
                  </a:lnTo>
                  <a:lnTo>
                    <a:pt x="24" y="5"/>
                  </a:lnTo>
                  <a:lnTo>
                    <a:pt x="24" y="5"/>
                  </a:lnTo>
                  <a:lnTo>
                    <a:pt x="24" y="5"/>
                  </a:lnTo>
                  <a:lnTo>
                    <a:pt x="25" y="5"/>
                  </a:lnTo>
                  <a:lnTo>
                    <a:pt x="25" y="5"/>
                  </a:lnTo>
                  <a:lnTo>
                    <a:pt x="25" y="5"/>
                  </a:lnTo>
                  <a:lnTo>
                    <a:pt x="25" y="5"/>
                  </a:lnTo>
                  <a:lnTo>
                    <a:pt x="27" y="5"/>
                  </a:lnTo>
                  <a:lnTo>
                    <a:pt x="27" y="5"/>
                  </a:lnTo>
                  <a:lnTo>
                    <a:pt x="27" y="6"/>
                  </a:lnTo>
                  <a:lnTo>
                    <a:pt x="27" y="6"/>
                  </a:lnTo>
                  <a:lnTo>
                    <a:pt x="28" y="6"/>
                  </a:lnTo>
                  <a:lnTo>
                    <a:pt x="28" y="6"/>
                  </a:lnTo>
                  <a:lnTo>
                    <a:pt x="28" y="6"/>
                  </a:lnTo>
                  <a:lnTo>
                    <a:pt x="28" y="7"/>
                  </a:lnTo>
                  <a:lnTo>
                    <a:pt x="29" y="7"/>
                  </a:lnTo>
                  <a:lnTo>
                    <a:pt x="29" y="9"/>
                  </a:lnTo>
                  <a:lnTo>
                    <a:pt x="29" y="9"/>
                  </a:lnTo>
                  <a:lnTo>
                    <a:pt x="29" y="9"/>
                  </a:lnTo>
                  <a:lnTo>
                    <a:pt x="29" y="10"/>
                  </a:lnTo>
                  <a:lnTo>
                    <a:pt x="29" y="10"/>
                  </a:lnTo>
                  <a:lnTo>
                    <a:pt x="30" y="10"/>
                  </a:lnTo>
                  <a:lnTo>
                    <a:pt x="30" y="10"/>
                  </a:lnTo>
                  <a:lnTo>
                    <a:pt x="29" y="11"/>
                  </a:lnTo>
                  <a:lnTo>
                    <a:pt x="28" y="11"/>
                  </a:lnTo>
                  <a:lnTo>
                    <a:pt x="28" y="11"/>
                  </a:lnTo>
                  <a:lnTo>
                    <a:pt x="28" y="11"/>
                  </a:lnTo>
                  <a:lnTo>
                    <a:pt x="28" y="11"/>
                  </a:lnTo>
                  <a:lnTo>
                    <a:pt x="28" y="11"/>
                  </a:lnTo>
                  <a:lnTo>
                    <a:pt x="28" y="11"/>
                  </a:lnTo>
                  <a:lnTo>
                    <a:pt x="28" y="11"/>
                  </a:lnTo>
                  <a:lnTo>
                    <a:pt x="28" y="11"/>
                  </a:lnTo>
                  <a:lnTo>
                    <a:pt x="28" y="11"/>
                  </a:lnTo>
                  <a:lnTo>
                    <a:pt x="27" y="11"/>
                  </a:lnTo>
                  <a:lnTo>
                    <a:pt x="27" y="11"/>
                  </a:lnTo>
                  <a:lnTo>
                    <a:pt x="27" y="11"/>
                  </a:lnTo>
                  <a:lnTo>
                    <a:pt x="27" y="11"/>
                  </a:lnTo>
                  <a:lnTo>
                    <a:pt x="25" y="11"/>
                  </a:lnTo>
                  <a:lnTo>
                    <a:pt x="24" y="11"/>
                  </a:lnTo>
                  <a:lnTo>
                    <a:pt x="24" y="11"/>
                  </a:lnTo>
                  <a:lnTo>
                    <a:pt x="24" y="11"/>
                  </a:lnTo>
                  <a:lnTo>
                    <a:pt x="24" y="11"/>
                  </a:lnTo>
                  <a:lnTo>
                    <a:pt x="24" y="11"/>
                  </a:lnTo>
                  <a:lnTo>
                    <a:pt x="24" y="11"/>
                  </a:lnTo>
                  <a:lnTo>
                    <a:pt x="24" y="11"/>
                  </a:lnTo>
                  <a:lnTo>
                    <a:pt x="24" y="10"/>
                  </a:lnTo>
                  <a:lnTo>
                    <a:pt x="23" y="10"/>
                  </a:lnTo>
                  <a:lnTo>
                    <a:pt x="23" y="10"/>
                  </a:lnTo>
                  <a:lnTo>
                    <a:pt x="23" y="10"/>
                  </a:lnTo>
                  <a:lnTo>
                    <a:pt x="23" y="10"/>
                  </a:lnTo>
                  <a:lnTo>
                    <a:pt x="23" y="10"/>
                  </a:lnTo>
                  <a:lnTo>
                    <a:pt x="23" y="10"/>
                  </a:lnTo>
                  <a:lnTo>
                    <a:pt x="23" y="10"/>
                  </a:lnTo>
                  <a:lnTo>
                    <a:pt x="23" y="10"/>
                  </a:lnTo>
                  <a:lnTo>
                    <a:pt x="22" y="10"/>
                  </a:lnTo>
                  <a:lnTo>
                    <a:pt x="22" y="10"/>
                  </a:lnTo>
                  <a:lnTo>
                    <a:pt x="22" y="10"/>
                  </a:lnTo>
                  <a:lnTo>
                    <a:pt x="21" y="10"/>
                  </a:lnTo>
                  <a:lnTo>
                    <a:pt x="21" y="10"/>
                  </a:lnTo>
                  <a:lnTo>
                    <a:pt x="22" y="10"/>
                  </a:lnTo>
                  <a:lnTo>
                    <a:pt x="22" y="10"/>
                  </a:lnTo>
                  <a:lnTo>
                    <a:pt x="22" y="10"/>
                  </a:lnTo>
                  <a:lnTo>
                    <a:pt x="22" y="10"/>
                  </a:lnTo>
                  <a:lnTo>
                    <a:pt x="22" y="10"/>
                  </a:lnTo>
                  <a:lnTo>
                    <a:pt x="22" y="10"/>
                  </a:lnTo>
                  <a:lnTo>
                    <a:pt x="21" y="9"/>
                  </a:lnTo>
                  <a:lnTo>
                    <a:pt x="21" y="9"/>
                  </a:lnTo>
                  <a:lnTo>
                    <a:pt x="21" y="9"/>
                  </a:lnTo>
                  <a:lnTo>
                    <a:pt x="21" y="9"/>
                  </a:lnTo>
                  <a:lnTo>
                    <a:pt x="21" y="10"/>
                  </a:lnTo>
                  <a:lnTo>
                    <a:pt x="21" y="10"/>
                  </a:lnTo>
                  <a:lnTo>
                    <a:pt x="21" y="10"/>
                  </a:lnTo>
                  <a:lnTo>
                    <a:pt x="20" y="10"/>
                  </a:lnTo>
                  <a:lnTo>
                    <a:pt x="20" y="10"/>
                  </a:lnTo>
                  <a:lnTo>
                    <a:pt x="20" y="10"/>
                  </a:lnTo>
                  <a:lnTo>
                    <a:pt x="20" y="11"/>
                  </a:lnTo>
                  <a:lnTo>
                    <a:pt x="20" y="11"/>
                  </a:lnTo>
                  <a:lnTo>
                    <a:pt x="20" y="11"/>
                  </a:lnTo>
                  <a:lnTo>
                    <a:pt x="18" y="11"/>
                  </a:lnTo>
                  <a:lnTo>
                    <a:pt x="18" y="11"/>
                  </a:lnTo>
                  <a:lnTo>
                    <a:pt x="18" y="11"/>
                  </a:lnTo>
                  <a:lnTo>
                    <a:pt x="18" y="11"/>
                  </a:lnTo>
                  <a:lnTo>
                    <a:pt x="18" y="11"/>
                  </a:lnTo>
                  <a:lnTo>
                    <a:pt x="18" y="11"/>
                  </a:lnTo>
                  <a:lnTo>
                    <a:pt x="18" y="11"/>
                  </a:lnTo>
                  <a:lnTo>
                    <a:pt x="18" y="11"/>
                  </a:lnTo>
                  <a:lnTo>
                    <a:pt x="18" y="11"/>
                  </a:lnTo>
                  <a:lnTo>
                    <a:pt x="17" y="11"/>
                  </a:lnTo>
                  <a:lnTo>
                    <a:pt x="17" y="10"/>
                  </a:lnTo>
                  <a:lnTo>
                    <a:pt x="17" y="10"/>
                  </a:lnTo>
                  <a:lnTo>
                    <a:pt x="17" y="11"/>
                  </a:lnTo>
                  <a:lnTo>
                    <a:pt x="16" y="11"/>
                  </a:lnTo>
                  <a:lnTo>
                    <a:pt x="16" y="11"/>
                  </a:lnTo>
                  <a:lnTo>
                    <a:pt x="16" y="11"/>
                  </a:lnTo>
                  <a:lnTo>
                    <a:pt x="16" y="12"/>
                  </a:lnTo>
                  <a:lnTo>
                    <a:pt x="16" y="12"/>
                  </a:lnTo>
                  <a:lnTo>
                    <a:pt x="16" y="12"/>
                  </a:lnTo>
                  <a:lnTo>
                    <a:pt x="16" y="12"/>
                  </a:lnTo>
                  <a:lnTo>
                    <a:pt x="16" y="12"/>
                  </a:lnTo>
                  <a:lnTo>
                    <a:pt x="16" y="12"/>
                  </a:lnTo>
                  <a:lnTo>
                    <a:pt x="16" y="12"/>
                  </a:lnTo>
                  <a:lnTo>
                    <a:pt x="16" y="12"/>
                  </a:lnTo>
                  <a:lnTo>
                    <a:pt x="16" y="12"/>
                  </a:lnTo>
                  <a:lnTo>
                    <a:pt x="15" y="12"/>
                  </a:lnTo>
                  <a:lnTo>
                    <a:pt x="15" y="12"/>
                  </a:lnTo>
                  <a:lnTo>
                    <a:pt x="16" y="12"/>
                  </a:lnTo>
                  <a:lnTo>
                    <a:pt x="16" y="12"/>
                  </a:lnTo>
                  <a:lnTo>
                    <a:pt x="16" y="12"/>
                  </a:lnTo>
                  <a:lnTo>
                    <a:pt x="16" y="12"/>
                  </a:lnTo>
                  <a:lnTo>
                    <a:pt x="16" y="13"/>
                  </a:lnTo>
                  <a:lnTo>
                    <a:pt x="16" y="13"/>
                  </a:lnTo>
                  <a:lnTo>
                    <a:pt x="16" y="13"/>
                  </a:lnTo>
                  <a:lnTo>
                    <a:pt x="16" y="13"/>
                  </a:lnTo>
                  <a:lnTo>
                    <a:pt x="15" y="13"/>
                  </a:lnTo>
                  <a:lnTo>
                    <a:pt x="15" y="13"/>
                  </a:lnTo>
                  <a:lnTo>
                    <a:pt x="14" y="12"/>
                  </a:lnTo>
                  <a:lnTo>
                    <a:pt x="14" y="12"/>
                  </a:lnTo>
                  <a:lnTo>
                    <a:pt x="13" y="11"/>
                  </a:lnTo>
                  <a:lnTo>
                    <a:pt x="13" y="11"/>
                  </a:lnTo>
                  <a:lnTo>
                    <a:pt x="13" y="11"/>
                  </a:lnTo>
                  <a:lnTo>
                    <a:pt x="13" y="11"/>
                  </a:lnTo>
                  <a:lnTo>
                    <a:pt x="12" y="11"/>
                  </a:lnTo>
                  <a:lnTo>
                    <a:pt x="12" y="11"/>
                  </a:lnTo>
                  <a:lnTo>
                    <a:pt x="12" y="11"/>
                  </a:lnTo>
                  <a:lnTo>
                    <a:pt x="10" y="11"/>
                  </a:lnTo>
                  <a:lnTo>
                    <a:pt x="8" y="11"/>
                  </a:lnTo>
                  <a:lnTo>
                    <a:pt x="8" y="11"/>
                  </a:lnTo>
                  <a:lnTo>
                    <a:pt x="8" y="11"/>
                  </a:lnTo>
                  <a:lnTo>
                    <a:pt x="8" y="11"/>
                  </a:lnTo>
                  <a:lnTo>
                    <a:pt x="8" y="11"/>
                  </a:lnTo>
                  <a:lnTo>
                    <a:pt x="8" y="11"/>
                  </a:lnTo>
                  <a:lnTo>
                    <a:pt x="8" y="10"/>
                  </a:lnTo>
                  <a:lnTo>
                    <a:pt x="8" y="10"/>
                  </a:lnTo>
                  <a:lnTo>
                    <a:pt x="7" y="10"/>
                  </a:lnTo>
                  <a:lnTo>
                    <a:pt x="7" y="10"/>
                  </a:lnTo>
                  <a:lnTo>
                    <a:pt x="7" y="10"/>
                  </a:lnTo>
                  <a:lnTo>
                    <a:pt x="7" y="10"/>
                  </a:lnTo>
                  <a:lnTo>
                    <a:pt x="7" y="9"/>
                  </a:lnTo>
                  <a:lnTo>
                    <a:pt x="7" y="9"/>
                  </a:lnTo>
                  <a:lnTo>
                    <a:pt x="7" y="9"/>
                  </a:lnTo>
                  <a:lnTo>
                    <a:pt x="6" y="9"/>
                  </a:lnTo>
                  <a:lnTo>
                    <a:pt x="6" y="9"/>
                  </a:lnTo>
                  <a:lnTo>
                    <a:pt x="6" y="7"/>
                  </a:lnTo>
                  <a:lnTo>
                    <a:pt x="6" y="7"/>
                  </a:lnTo>
                  <a:lnTo>
                    <a:pt x="6" y="7"/>
                  </a:lnTo>
                  <a:lnTo>
                    <a:pt x="5" y="7"/>
                  </a:lnTo>
                  <a:lnTo>
                    <a:pt x="5" y="7"/>
                  </a:lnTo>
                  <a:lnTo>
                    <a:pt x="5" y="7"/>
                  </a:lnTo>
                  <a:lnTo>
                    <a:pt x="5" y="6"/>
                  </a:lnTo>
                  <a:lnTo>
                    <a:pt x="5" y="6"/>
                  </a:lnTo>
                  <a:lnTo>
                    <a:pt x="5" y="6"/>
                  </a:lnTo>
                  <a:lnTo>
                    <a:pt x="5" y="5"/>
                  </a:lnTo>
                  <a:lnTo>
                    <a:pt x="3" y="5"/>
                  </a:lnTo>
                  <a:lnTo>
                    <a:pt x="2" y="5"/>
                  </a:lnTo>
                  <a:lnTo>
                    <a:pt x="2" y="5"/>
                  </a:lnTo>
                  <a:lnTo>
                    <a:pt x="2" y="5"/>
                  </a:lnTo>
                  <a:lnTo>
                    <a:pt x="2" y="6"/>
                  </a:lnTo>
                  <a:lnTo>
                    <a:pt x="2" y="6"/>
                  </a:lnTo>
                  <a:lnTo>
                    <a:pt x="2" y="5"/>
                  </a:lnTo>
                  <a:lnTo>
                    <a:pt x="2" y="5"/>
                  </a:lnTo>
                  <a:lnTo>
                    <a:pt x="1" y="5"/>
                  </a:lnTo>
                  <a:lnTo>
                    <a:pt x="1" y="5"/>
                  </a:lnTo>
                  <a:lnTo>
                    <a:pt x="1" y="5"/>
                  </a:lnTo>
                  <a:lnTo>
                    <a:pt x="1" y="5"/>
                  </a:lnTo>
                  <a:lnTo>
                    <a:pt x="1" y="5"/>
                  </a:lnTo>
                  <a:lnTo>
                    <a:pt x="0" y="5"/>
                  </a:lnTo>
                  <a:lnTo>
                    <a:pt x="0" y="5"/>
                  </a:lnTo>
                  <a:lnTo>
                    <a:pt x="0" y="4"/>
                  </a:lnTo>
                  <a:lnTo>
                    <a:pt x="1" y="4"/>
                  </a:lnTo>
                  <a:lnTo>
                    <a:pt x="1" y="4"/>
                  </a:lnTo>
                  <a:lnTo>
                    <a:pt x="1" y="4"/>
                  </a:lnTo>
                  <a:lnTo>
                    <a:pt x="1" y="4"/>
                  </a:lnTo>
                  <a:lnTo>
                    <a:pt x="1" y="3"/>
                  </a:lnTo>
                  <a:lnTo>
                    <a:pt x="1" y="3"/>
                  </a:lnTo>
                  <a:lnTo>
                    <a:pt x="1" y="3"/>
                  </a:lnTo>
                  <a:lnTo>
                    <a:pt x="1" y="3"/>
                  </a:lnTo>
                  <a:lnTo>
                    <a:pt x="1" y="3"/>
                  </a:lnTo>
                  <a:lnTo>
                    <a:pt x="1" y="3"/>
                  </a:lnTo>
                  <a:lnTo>
                    <a:pt x="1" y="3"/>
                  </a:lnTo>
                  <a:lnTo>
                    <a:pt x="2" y="3"/>
                  </a:lnTo>
                  <a:lnTo>
                    <a:pt x="2" y="3"/>
                  </a:lnTo>
                  <a:lnTo>
                    <a:pt x="2" y="2"/>
                  </a:lnTo>
                  <a:lnTo>
                    <a:pt x="2" y="2"/>
                  </a:lnTo>
                  <a:lnTo>
                    <a:pt x="3" y="2"/>
                  </a:lnTo>
                  <a:lnTo>
                    <a:pt x="3" y="2"/>
                  </a:lnTo>
                  <a:lnTo>
                    <a:pt x="3" y="2"/>
                  </a:lnTo>
                  <a:lnTo>
                    <a:pt x="3" y="2"/>
                  </a:lnTo>
                  <a:lnTo>
                    <a:pt x="5" y="2"/>
                  </a:lnTo>
                  <a:lnTo>
                    <a:pt x="5" y="2"/>
                  </a:lnTo>
                  <a:lnTo>
                    <a:pt x="6" y="2"/>
                  </a:lnTo>
                  <a:lnTo>
                    <a:pt x="6" y="2"/>
                  </a:lnTo>
                  <a:lnTo>
                    <a:pt x="6" y="2"/>
                  </a:lnTo>
                  <a:lnTo>
                    <a:pt x="6" y="2"/>
                  </a:lnTo>
                  <a:lnTo>
                    <a:pt x="6" y="2"/>
                  </a:lnTo>
                  <a:lnTo>
                    <a:pt x="6" y="2"/>
                  </a:lnTo>
                  <a:lnTo>
                    <a:pt x="7" y="2"/>
                  </a:lnTo>
                  <a:lnTo>
                    <a:pt x="7" y="2"/>
                  </a:lnTo>
                  <a:lnTo>
                    <a:pt x="7" y="2"/>
                  </a:lnTo>
                  <a:lnTo>
                    <a:pt x="7" y="2"/>
                  </a:lnTo>
                  <a:lnTo>
                    <a:pt x="7" y="0"/>
                  </a:lnTo>
                  <a:lnTo>
                    <a:pt x="7" y="0"/>
                  </a:lnTo>
                  <a:lnTo>
                    <a:pt x="7" y="0"/>
                  </a:lnTo>
                  <a:lnTo>
                    <a:pt x="8" y="0"/>
                  </a:lnTo>
                  <a:lnTo>
                    <a:pt x="8" y="0"/>
                  </a:lnTo>
                  <a:lnTo>
                    <a:pt x="9" y="0"/>
                  </a:lnTo>
                  <a:lnTo>
                    <a:pt x="10" y="0"/>
                  </a:lnTo>
                  <a:lnTo>
                    <a:pt x="12" y="0"/>
                  </a:lnTo>
                  <a:lnTo>
                    <a:pt x="13" y="2"/>
                  </a:lnTo>
                  <a:lnTo>
                    <a:pt x="14" y="2"/>
                  </a:lnTo>
                  <a:lnTo>
                    <a:pt x="14"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59" name="Freeform 914">
              <a:extLst>
                <a:ext uri="{FF2B5EF4-FFF2-40B4-BE49-F238E27FC236}">
                  <a16:creationId xmlns:a16="http://schemas.microsoft.com/office/drawing/2014/main" id="{68DFF856-4EC8-4050-B7D4-27435DFA7EC5}"/>
                </a:ext>
              </a:extLst>
            </p:cNvPr>
            <p:cNvSpPr>
              <a:spLocks/>
            </p:cNvSpPr>
            <p:nvPr/>
          </p:nvSpPr>
          <p:spPr bwMode="auto">
            <a:xfrm>
              <a:off x="5769034" y="2309518"/>
              <a:ext cx="5342" cy="2671"/>
            </a:xfrm>
            <a:custGeom>
              <a:avLst/>
              <a:gdLst>
                <a:gd name="T0" fmla="*/ 3 w 4"/>
                <a:gd name="T1" fmla="*/ 0 h 2"/>
                <a:gd name="T2" fmla="*/ 3 w 4"/>
                <a:gd name="T3" fmla="*/ 0 h 2"/>
                <a:gd name="T4" fmla="*/ 3 w 4"/>
                <a:gd name="T5" fmla="*/ 0 h 2"/>
                <a:gd name="T6" fmla="*/ 3 w 4"/>
                <a:gd name="T7" fmla="*/ 0 h 2"/>
                <a:gd name="T8" fmla="*/ 3 w 4"/>
                <a:gd name="T9" fmla="*/ 0 h 2"/>
                <a:gd name="T10" fmla="*/ 3 w 4"/>
                <a:gd name="T11" fmla="*/ 0 h 2"/>
                <a:gd name="T12" fmla="*/ 4 w 4"/>
                <a:gd name="T13" fmla="*/ 2 h 2"/>
                <a:gd name="T14" fmla="*/ 4 w 4"/>
                <a:gd name="T15" fmla="*/ 2 h 2"/>
                <a:gd name="T16" fmla="*/ 4 w 4"/>
                <a:gd name="T17" fmla="*/ 2 h 2"/>
                <a:gd name="T18" fmla="*/ 4 w 4"/>
                <a:gd name="T19" fmla="*/ 2 h 2"/>
                <a:gd name="T20" fmla="*/ 4 w 4"/>
                <a:gd name="T21" fmla="*/ 2 h 2"/>
                <a:gd name="T22" fmla="*/ 4 w 4"/>
                <a:gd name="T23" fmla="*/ 2 h 2"/>
                <a:gd name="T24" fmla="*/ 4 w 4"/>
                <a:gd name="T25" fmla="*/ 2 h 2"/>
                <a:gd name="T26" fmla="*/ 4 w 4"/>
                <a:gd name="T27" fmla="*/ 2 h 2"/>
                <a:gd name="T28" fmla="*/ 4 w 4"/>
                <a:gd name="T29" fmla="*/ 2 h 2"/>
                <a:gd name="T30" fmla="*/ 4 w 4"/>
                <a:gd name="T31" fmla="*/ 2 h 2"/>
                <a:gd name="T32" fmla="*/ 4 w 4"/>
                <a:gd name="T33" fmla="*/ 2 h 2"/>
                <a:gd name="T34" fmla="*/ 3 w 4"/>
                <a:gd name="T35" fmla="*/ 2 h 2"/>
                <a:gd name="T36" fmla="*/ 3 w 4"/>
                <a:gd name="T37" fmla="*/ 2 h 2"/>
                <a:gd name="T38" fmla="*/ 3 w 4"/>
                <a:gd name="T39" fmla="*/ 2 h 2"/>
                <a:gd name="T40" fmla="*/ 3 w 4"/>
                <a:gd name="T41" fmla="*/ 2 h 2"/>
                <a:gd name="T42" fmla="*/ 3 w 4"/>
                <a:gd name="T43" fmla="*/ 2 h 2"/>
                <a:gd name="T44" fmla="*/ 3 w 4"/>
                <a:gd name="T45" fmla="*/ 2 h 2"/>
                <a:gd name="T46" fmla="*/ 2 w 4"/>
                <a:gd name="T47" fmla="*/ 2 h 2"/>
                <a:gd name="T48" fmla="*/ 2 w 4"/>
                <a:gd name="T49" fmla="*/ 2 h 2"/>
                <a:gd name="T50" fmla="*/ 2 w 4"/>
                <a:gd name="T51" fmla="*/ 2 h 2"/>
                <a:gd name="T52" fmla="*/ 2 w 4"/>
                <a:gd name="T53" fmla="*/ 2 h 2"/>
                <a:gd name="T54" fmla="*/ 2 w 4"/>
                <a:gd name="T55" fmla="*/ 2 h 2"/>
                <a:gd name="T56" fmla="*/ 2 w 4"/>
                <a:gd name="T57" fmla="*/ 2 h 2"/>
                <a:gd name="T58" fmla="*/ 2 w 4"/>
                <a:gd name="T59" fmla="*/ 2 h 2"/>
                <a:gd name="T60" fmla="*/ 2 w 4"/>
                <a:gd name="T61" fmla="*/ 2 h 2"/>
                <a:gd name="T62" fmla="*/ 2 w 4"/>
                <a:gd name="T63" fmla="*/ 2 h 2"/>
                <a:gd name="T64" fmla="*/ 2 w 4"/>
                <a:gd name="T65" fmla="*/ 2 h 2"/>
                <a:gd name="T66" fmla="*/ 0 w 4"/>
                <a:gd name="T67" fmla="*/ 2 h 2"/>
                <a:gd name="T68" fmla="*/ 2 w 4"/>
                <a:gd name="T69" fmla="*/ 2 h 2"/>
                <a:gd name="T70" fmla="*/ 0 w 4"/>
                <a:gd name="T71" fmla="*/ 2 h 2"/>
                <a:gd name="T72" fmla="*/ 0 w 4"/>
                <a:gd name="T73" fmla="*/ 0 h 2"/>
                <a:gd name="T74" fmla="*/ 0 w 4"/>
                <a:gd name="T75" fmla="*/ 0 h 2"/>
                <a:gd name="T76" fmla="*/ 0 w 4"/>
                <a:gd name="T77" fmla="*/ 0 h 2"/>
                <a:gd name="T78" fmla="*/ 2 w 4"/>
                <a:gd name="T79" fmla="*/ 0 h 2"/>
                <a:gd name="T80" fmla="*/ 2 w 4"/>
                <a:gd name="T81" fmla="*/ 0 h 2"/>
                <a:gd name="T82" fmla="*/ 2 w 4"/>
                <a:gd name="T83" fmla="*/ 0 h 2"/>
                <a:gd name="T84" fmla="*/ 2 w 4"/>
                <a:gd name="T85" fmla="*/ 0 h 2"/>
                <a:gd name="T86" fmla="*/ 2 w 4"/>
                <a:gd name="T87" fmla="*/ 0 h 2"/>
                <a:gd name="T88" fmla="*/ 2 w 4"/>
                <a:gd name="T89" fmla="*/ 0 h 2"/>
                <a:gd name="T90" fmla="*/ 2 w 4"/>
                <a:gd name="T91" fmla="*/ 0 h 2"/>
                <a:gd name="T92" fmla="*/ 3 w 4"/>
                <a:gd name="T9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 h="2">
                  <a:moveTo>
                    <a:pt x="3" y="0"/>
                  </a:moveTo>
                  <a:lnTo>
                    <a:pt x="3" y="0"/>
                  </a:lnTo>
                  <a:lnTo>
                    <a:pt x="3" y="0"/>
                  </a:lnTo>
                  <a:lnTo>
                    <a:pt x="3" y="0"/>
                  </a:lnTo>
                  <a:lnTo>
                    <a:pt x="3" y="0"/>
                  </a:lnTo>
                  <a:lnTo>
                    <a:pt x="3" y="0"/>
                  </a:lnTo>
                  <a:lnTo>
                    <a:pt x="4" y="2"/>
                  </a:lnTo>
                  <a:lnTo>
                    <a:pt x="4" y="2"/>
                  </a:lnTo>
                  <a:lnTo>
                    <a:pt x="4" y="2"/>
                  </a:lnTo>
                  <a:lnTo>
                    <a:pt x="4" y="2"/>
                  </a:lnTo>
                  <a:lnTo>
                    <a:pt x="4" y="2"/>
                  </a:lnTo>
                  <a:lnTo>
                    <a:pt x="4" y="2"/>
                  </a:lnTo>
                  <a:lnTo>
                    <a:pt x="4" y="2"/>
                  </a:lnTo>
                  <a:lnTo>
                    <a:pt x="4" y="2"/>
                  </a:lnTo>
                  <a:lnTo>
                    <a:pt x="4" y="2"/>
                  </a:lnTo>
                  <a:lnTo>
                    <a:pt x="4" y="2"/>
                  </a:lnTo>
                  <a:lnTo>
                    <a:pt x="4" y="2"/>
                  </a:lnTo>
                  <a:lnTo>
                    <a:pt x="3" y="2"/>
                  </a:lnTo>
                  <a:lnTo>
                    <a:pt x="3" y="2"/>
                  </a:lnTo>
                  <a:lnTo>
                    <a:pt x="3" y="2"/>
                  </a:lnTo>
                  <a:lnTo>
                    <a:pt x="3" y="2"/>
                  </a:lnTo>
                  <a:lnTo>
                    <a:pt x="3" y="2"/>
                  </a:lnTo>
                  <a:lnTo>
                    <a:pt x="3" y="2"/>
                  </a:lnTo>
                  <a:lnTo>
                    <a:pt x="2" y="2"/>
                  </a:lnTo>
                  <a:lnTo>
                    <a:pt x="2" y="2"/>
                  </a:lnTo>
                  <a:lnTo>
                    <a:pt x="2" y="2"/>
                  </a:lnTo>
                  <a:lnTo>
                    <a:pt x="2" y="2"/>
                  </a:lnTo>
                  <a:lnTo>
                    <a:pt x="2" y="2"/>
                  </a:lnTo>
                  <a:lnTo>
                    <a:pt x="2" y="2"/>
                  </a:lnTo>
                  <a:lnTo>
                    <a:pt x="2" y="2"/>
                  </a:lnTo>
                  <a:lnTo>
                    <a:pt x="2" y="2"/>
                  </a:lnTo>
                  <a:lnTo>
                    <a:pt x="2" y="2"/>
                  </a:lnTo>
                  <a:lnTo>
                    <a:pt x="2" y="2"/>
                  </a:lnTo>
                  <a:lnTo>
                    <a:pt x="0" y="2"/>
                  </a:lnTo>
                  <a:lnTo>
                    <a:pt x="2" y="2"/>
                  </a:lnTo>
                  <a:lnTo>
                    <a:pt x="0" y="2"/>
                  </a:lnTo>
                  <a:lnTo>
                    <a:pt x="0" y="0"/>
                  </a:lnTo>
                  <a:lnTo>
                    <a:pt x="0" y="0"/>
                  </a:lnTo>
                  <a:lnTo>
                    <a:pt x="0" y="0"/>
                  </a:lnTo>
                  <a:lnTo>
                    <a:pt x="2" y="0"/>
                  </a:lnTo>
                  <a:lnTo>
                    <a:pt x="2" y="0"/>
                  </a:lnTo>
                  <a:lnTo>
                    <a:pt x="2" y="0"/>
                  </a:lnTo>
                  <a:lnTo>
                    <a:pt x="2" y="0"/>
                  </a:lnTo>
                  <a:lnTo>
                    <a:pt x="2" y="0"/>
                  </a:lnTo>
                  <a:lnTo>
                    <a:pt x="2" y="0"/>
                  </a:lnTo>
                  <a:lnTo>
                    <a:pt x="2" y="0"/>
                  </a:lnTo>
                  <a:lnTo>
                    <a:pt x="3"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60" name="Freeform 915">
              <a:extLst>
                <a:ext uri="{FF2B5EF4-FFF2-40B4-BE49-F238E27FC236}">
                  <a16:creationId xmlns:a16="http://schemas.microsoft.com/office/drawing/2014/main" id="{8679DE83-A60B-498C-A88C-C0A8140F033F}"/>
                </a:ext>
              </a:extLst>
            </p:cNvPr>
            <p:cNvSpPr>
              <a:spLocks/>
            </p:cNvSpPr>
            <p:nvPr/>
          </p:nvSpPr>
          <p:spPr bwMode="auto">
            <a:xfrm>
              <a:off x="6432772" y="2643390"/>
              <a:ext cx="70781" cy="86807"/>
            </a:xfrm>
            <a:custGeom>
              <a:avLst/>
              <a:gdLst>
                <a:gd name="T0" fmla="*/ 49 w 53"/>
                <a:gd name="T1" fmla="*/ 21 h 65"/>
                <a:gd name="T2" fmla="*/ 34 w 53"/>
                <a:gd name="T3" fmla="*/ 26 h 65"/>
                <a:gd name="T4" fmla="*/ 27 w 53"/>
                <a:gd name="T5" fmla="*/ 33 h 65"/>
                <a:gd name="T6" fmla="*/ 32 w 53"/>
                <a:gd name="T7" fmla="*/ 37 h 65"/>
                <a:gd name="T8" fmla="*/ 39 w 53"/>
                <a:gd name="T9" fmla="*/ 45 h 65"/>
                <a:gd name="T10" fmla="*/ 34 w 53"/>
                <a:gd name="T11" fmla="*/ 48 h 65"/>
                <a:gd name="T12" fmla="*/ 29 w 53"/>
                <a:gd name="T13" fmla="*/ 54 h 65"/>
                <a:gd name="T14" fmla="*/ 22 w 53"/>
                <a:gd name="T15" fmla="*/ 57 h 65"/>
                <a:gd name="T16" fmla="*/ 15 w 53"/>
                <a:gd name="T17" fmla="*/ 65 h 65"/>
                <a:gd name="T18" fmla="*/ 7 w 53"/>
                <a:gd name="T19" fmla="*/ 64 h 65"/>
                <a:gd name="T20" fmla="*/ 0 w 53"/>
                <a:gd name="T21" fmla="*/ 62 h 65"/>
                <a:gd name="T22" fmla="*/ 0 w 53"/>
                <a:gd name="T23" fmla="*/ 59 h 65"/>
                <a:gd name="T24" fmla="*/ 0 w 53"/>
                <a:gd name="T25" fmla="*/ 57 h 65"/>
                <a:gd name="T26" fmla="*/ 0 w 53"/>
                <a:gd name="T27" fmla="*/ 54 h 65"/>
                <a:gd name="T28" fmla="*/ 2 w 53"/>
                <a:gd name="T29" fmla="*/ 49 h 65"/>
                <a:gd name="T30" fmla="*/ 2 w 53"/>
                <a:gd name="T31" fmla="*/ 47 h 65"/>
                <a:gd name="T32" fmla="*/ 2 w 53"/>
                <a:gd name="T33" fmla="*/ 43 h 65"/>
                <a:gd name="T34" fmla="*/ 3 w 53"/>
                <a:gd name="T35" fmla="*/ 40 h 65"/>
                <a:gd name="T36" fmla="*/ 3 w 53"/>
                <a:gd name="T37" fmla="*/ 38 h 65"/>
                <a:gd name="T38" fmla="*/ 5 w 53"/>
                <a:gd name="T39" fmla="*/ 36 h 65"/>
                <a:gd name="T40" fmla="*/ 5 w 53"/>
                <a:gd name="T41" fmla="*/ 35 h 65"/>
                <a:gd name="T42" fmla="*/ 4 w 53"/>
                <a:gd name="T43" fmla="*/ 34 h 65"/>
                <a:gd name="T44" fmla="*/ 4 w 53"/>
                <a:gd name="T45" fmla="*/ 33 h 65"/>
                <a:gd name="T46" fmla="*/ 4 w 53"/>
                <a:gd name="T47" fmla="*/ 31 h 65"/>
                <a:gd name="T48" fmla="*/ 5 w 53"/>
                <a:gd name="T49" fmla="*/ 31 h 65"/>
                <a:gd name="T50" fmla="*/ 5 w 53"/>
                <a:gd name="T51" fmla="*/ 26 h 65"/>
                <a:gd name="T52" fmla="*/ 4 w 53"/>
                <a:gd name="T53" fmla="*/ 22 h 65"/>
                <a:gd name="T54" fmla="*/ 4 w 53"/>
                <a:gd name="T55" fmla="*/ 21 h 65"/>
                <a:gd name="T56" fmla="*/ 4 w 53"/>
                <a:gd name="T57" fmla="*/ 19 h 65"/>
                <a:gd name="T58" fmla="*/ 4 w 53"/>
                <a:gd name="T59" fmla="*/ 19 h 65"/>
                <a:gd name="T60" fmla="*/ 4 w 53"/>
                <a:gd name="T61" fmla="*/ 18 h 65"/>
                <a:gd name="T62" fmla="*/ 4 w 53"/>
                <a:gd name="T63" fmla="*/ 15 h 65"/>
                <a:gd name="T64" fmla="*/ 4 w 53"/>
                <a:gd name="T65" fmla="*/ 15 h 65"/>
                <a:gd name="T66" fmla="*/ 3 w 53"/>
                <a:gd name="T67" fmla="*/ 14 h 65"/>
                <a:gd name="T68" fmla="*/ 4 w 53"/>
                <a:gd name="T69" fmla="*/ 14 h 65"/>
                <a:gd name="T70" fmla="*/ 4 w 53"/>
                <a:gd name="T71" fmla="*/ 14 h 65"/>
                <a:gd name="T72" fmla="*/ 4 w 53"/>
                <a:gd name="T73" fmla="*/ 13 h 65"/>
                <a:gd name="T74" fmla="*/ 3 w 53"/>
                <a:gd name="T75" fmla="*/ 13 h 65"/>
                <a:gd name="T76" fmla="*/ 4 w 53"/>
                <a:gd name="T77" fmla="*/ 13 h 65"/>
                <a:gd name="T78" fmla="*/ 3 w 53"/>
                <a:gd name="T79" fmla="*/ 12 h 65"/>
                <a:gd name="T80" fmla="*/ 4 w 53"/>
                <a:gd name="T81" fmla="*/ 11 h 65"/>
                <a:gd name="T82" fmla="*/ 5 w 53"/>
                <a:gd name="T83" fmla="*/ 9 h 65"/>
                <a:gd name="T84" fmla="*/ 6 w 53"/>
                <a:gd name="T85" fmla="*/ 9 h 65"/>
                <a:gd name="T86" fmla="*/ 9 w 53"/>
                <a:gd name="T87" fmla="*/ 11 h 65"/>
                <a:gd name="T88" fmla="*/ 9 w 53"/>
                <a:gd name="T89" fmla="*/ 11 h 65"/>
                <a:gd name="T90" fmla="*/ 10 w 53"/>
                <a:gd name="T91" fmla="*/ 13 h 65"/>
                <a:gd name="T92" fmla="*/ 11 w 53"/>
                <a:gd name="T93" fmla="*/ 13 h 65"/>
                <a:gd name="T94" fmla="*/ 12 w 53"/>
                <a:gd name="T95" fmla="*/ 13 h 65"/>
                <a:gd name="T96" fmla="*/ 17 w 53"/>
                <a:gd name="T97" fmla="*/ 15 h 65"/>
                <a:gd name="T98" fmla="*/ 20 w 53"/>
                <a:gd name="T99" fmla="*/ 16 h 65"/>
                <a:gd name="T100" fmla="*/ 27 w 53"/>
                <a:gd name="T101" fmla="*/ 11 h 65"/>
                <a:gd name="T102" fmla="*/ 38 w 53"/>
                <a:gd name="T103" fmla="*/ 4 h 65"/>
                <a:gd name="T104" fmla="*/ 47 w 53"/>
                <a:gd name="T105" fmla="*/ 8 h 65"/>
                <a:gd name="T106" fmla="*/ 49 w 53"/>
                <a:gd name="T107" fmla="*/ 14 h 65"/>
                <a:gd name="T108" fmla="*/ 53 w 53"/>
                <a:gd name="T109" fmla="*/ 1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3" h="65">
                  <a:moveTo>
                    <a:pt x="52" y="20"/>
                  </a:moveTo>
                  <a:lnTo>
                    <a:pt x="52" y="20"/>
                  </a:lnTo>
                  <a:lnTo>
                    <a:pt x="52" y="20"/>
                  </a:lnTo>
                  <a:lnTo>
                    <a:pt x="49" y="21"/>
                  </a:lnTo>
                  <a:lnTo>
                    <a:pt x="49" y="21"/>
                  </a:lnTo>
                  <a:lnTo>
                    <a:pt x="49" y="21"/>
                  </a:lnTo>
                  <a:lnTo>
                    <a:pt x="49" y="21"/>
                  </a:lnTo>
                  <a:lnTo>
                    <a:pt x="48" y="22"/>
                  </a:lnTo>
                  <a:lnTo>
                    <a:pt x="45" y="22"/>
                  </a:lnTo>
                  <a:lnTo>
                    <a:pt x="42" y="23"/>
                  </a:lnTo>
                  <a:lnTo>
                    <a:pt x="39" y="25"/>
                  </a:lnTo>
                  <a:lnTo>
                    <a:pt x="36" y="26"/>
                  </a:lnTo>
                  <a:lnTo>
                    <a:pt x="36" y="26"/>
                  </a:lnTo>
                  <a:lnTo>
                    <a:pt x="34" y="26"/>
                  </a:lnTo>
                  <a:lnTo>
                    <a:pt x="33" y="27"/>
                  </a:lnTo>
                  <a:lnTo>
                    <a:pt x="29" y="27"/>
                  </a:lnTo>
                  <a:lnTo>
                    <a:pt x="27" y="28"/>
                  </a:lnTo>
                  <a:lnTo>
                    <a:pt x="24" y="29"/>
                  </a:lnTo>
                  <a:lnTo>
                    <a:pt x="24" y="29"/>
                  </a:lnTo>
                  <a:lnTo>
                    <a:pt x="26" y="31"/>
                  </a:lnTo>
                  <a:lnTo>
                    <a:pt x="27" y="33"/>
                  </a:lnTo>
                  <a:lnTo>
                    <a:pt x="27" y="33"/>
                  </a:lnTo>
                  <a:lnTo>
                    <a:pt x="29" y="35"/>
                  </a:lnTo>
                  <a:lnTo>
                    <a:pt x="32" y="37"/>
                  </a:lnTo>
                  <a:lnTo>
                    <a:pt x="32" y="37"/>
                  </a:lnTo>
                  <a:lnTo>
                    <a:pt x="32" y="37"/>
                  </a:lnTo>
                  <a:lnTo>
                    <a:pt x="32" y="37"/>
                  </a:lnTo>
                  <a:lnTo>
                    <a:pt x="32" y="37"/>
                  </a:lnTo>
                  <a:lnTo>
                    <a:pt x="33" y="38"/>
                  </a:lnTo>
                  <a:lnTo>
                    <a:pt x="35" y="41"/>
                  </a:lnTo>
                  <a:lnTo>
                    <a:pt x="36" y="42"/>
                  </a:lnTo>
                  <a:lnTo>
                    <a:pt x="38" y="44"/>
                  </a:lnTo>
                  <a:lnTo>
                    <a:pt x="39" y="45"/>
                  </a:lnTo>
                  <a:lnTo>
                    <a:pt x="39" y="45"/>
                  </a:lnTo>
                  <a:lnTo>
                    <a:pt x="39" y="45"/>
                  </a:lnTo>
                  <a:lnTo>
                    <a:pt x="39" y="45"/>
                  </a:lnTo>
                  <a:lnTo>
                    <a:pt x="39" y="45"/>
                  </a:lnTo>
                  <a:lnTo>
                    <a:pt x="38" y="45"/>
                  </a:lnTo>
                  <a:lnTo>
                    <a:pt x="36" y="47"/>
                  </a:lnTo>
                  <a:lnTo>
                    <a:pt x="35" y="48"/>
                  </a:lnTo>
                  <a:lnTo>
                    <a:pt x="34" y="48"/>
                  </a:lnTo>
                  <a:lnTo>
                    <a:pt x="34" y="48"/>
                  </a:lnTo>
                  <a:lnTo>
                    <a:pt x="34" y="49"/>
                  </a:lnTo>
                  <a:lnTo>
                    <a:pt x="34" y="50"/>
                  </a:lnTo>
                  <a:lnTo>
                    <a:pt x="34" y="51"/>
                  </a:lnTo>
                  <a:lnTo>
                    <a:pt x="33" y="52"/>
                  </a:lnTo>
                  <a:lnTo>
                    <a:pt x="33" y="52"/>
                  </a:lnTo>
                  <a:lnTo>
                    <a:pt x="32" y="54"/>
                  </a:lnTo>
                  <a:lnTo>
                    <a:pt x="29" y="54"/>
                  </a:lnTo>
                  <a:lnTo>
                    <a:pt x="27" y="54"/>
                  </a:lnTo>
                  <a:lnTo>
                    <a:pt x="26" y="55"/>
                  </a:lnTo>
                  <a:lnTo>
                    <a:pt x="25" y="55"/>
                  </a:lnTo>
                  <a:lnTo>
                    <a:pt x="24" y="55"/>
                  </a:lnTo>
                  <a:lnTo>
                    <a:pt x="24" y="55"/>
                  </a:lnTo>
                  <a:lnTo>
                    <a:pt x="22" y="56"/>
                  </a:lnTo>
                  <a:lnTo>
                    <a:pt x="22" y="57"/>
                  </a:lnTo>
                  <a:lnTo>
                    <a:pt x="21" y="58"/>
                  </a:lnTo>
                  <a:lnTo>
                    <a:pt x="21" y="59"/>
                  </a:lnTo>
                  <a:lnTo>
                    <a:pt x="20" y="61"/>
                  </a:lnTo>
                  <a:lnTo>
                    <a:pt x="19" y="62"/>
                  </a:lnTo>
                  <a:lnTo>
                    <a:pt x="18" y="63"/>
                  </a:lnTo>
                  <a:lnTo>
                    <a:pt x="17" y="64"/>
                  </a:lnTo>
                  <a:lnTo>
                    <a:pt x="15" y="65"/>
                  </a:lnTo>
                  <a:lnTo>
                    <a:pt x="15" y="65"/>
                  </a:lnTo>
                  <a:lnTo>
                    <a:pt x="14" y="65"/>
                  </a:lnTo>
                  <a:lnTo>
                    <a:pt x="13" y="65"/>
                  </a:lnTo>
                  <a:lnTo>
                    <a:pt x="12" y="65"/>
                  </a:lnTo>
                  <a:lnTo>
                    <a:pt x="11" y="65"/>
                  </a:lnTo>
                  <a:lnTo>
                    <a:pt x="10" y="64"/>
                  </a:lnTo>
                  <a:lnTo>
                    <a:pt x="7" y="64"/>
                  </a:lnTo>
                  <a:lnTo>
                    <a:pt x="5" y="64"/>
                  </a:lnTo>
                  <a:lnTo>
                    <a:pt x="3" y="64"/>
                  </a:lnTo>
                  <a:lnTo>
                    <a:pt x="2" y="63"/>
                  </a:lnTo>
                  <a:lnTo>
                    <a:pt x="0" y="63"/>
                  </a:lnTo>
                  <a:lnTo>
                    <a:pt x="0" y="63"/>
                  </a:lnTo>
                  <a:lnTo>
                    <a:pt x="0" y="63"/>
                  </a:lnTo>
                  <a:lnTo>
                    <a:pt x="0" y="62"/>
                  </a:lnTo>
                  <a:lnTo>
                    <a:pt x="0" y="61"/>
                  </a:lnTo>
                  <a:lnTo>
                    <a:pt x="0" y="61"/>
                  </a:lnTo>
                  <a:lnTo>
                    <a:pt x="0" y="61"/>
                  </a:lnTo>
                  <a:lnTo>
                    <a:pt x="0" y="59"/>
                  </a:lnTo>
                  <a:lnTo>
                    <a:pt x="0" y="59"/>
                  </a:lnTo>
                  <a:lnTo>
                    <a:pt x="0" y="59"/>
                  </a:lnTo>
                  <a:lnTo>
                    <a:pt x="0" y="59"/>
                  </a:lnTo>
                  <a:lnTo>
                    <a:pt x="0" y="59"/>
                  </a:lnTo>
                  <a:lnTo>
                    <a:pt x="0" y="59"/>
                  </a:lnTo>
                  <a:lnTo>
                    <a:pt x="0" y="59"/>
                  </a:lnTo>
                  <a:lnTo>
                    <a:pt x="0" y="59"/>
                  </a:lnTo>
                  <a:lnTo>
                    <a:pt x="0" y="58"/>
                  </a:lnTo>
                  <a:lnTo>
                    <a:pt x="0" y="58"/>
                  </a:lnTo>
                  <a:lnTo>
                    <a:pt x="0" y="57"/>
                  </a:lnTo>
                  <a:lnTo>
                    <a:pt x="0" y="57"/>
                  </a:lnTo>
                  <a:lnTo>
                    <a:pt x="0" y="55"/>
                  </a:lnTo>
                  <a:lnTo>
                    <a:pt x="0" y="55"/>
                  </a:lnTo>
                  <a:lnTo>
                    <a:pt x="0" y="54"/>
                  </a:lnTo>
                  <a:lnTo>
                    <a:pt x="0" y="54"/>
                  </a:lnTo>
                  <a:lnTo>
                    <a:pt x="0" y="54"/>
                  </a:lnTo>
                  <a:lnTo>
                    <a:pt x="0" y="54"/>
                  </a:lnTo>
                  <a:lnTo>
                    <a:pt x="0" y="54"/>
                  </a:lnTo>
                  <a:lnTo>
                    <a:pt x="0" y="52"/>
                  </a:lnTo>
                  <a:lnTo>
                    <a:pt x="0" y="52"/>
                  </a:lnTo>
                  <a:lnTo>
                    <a:pt x="2" y="51"/>
                  </a:lnTo>
                  <a:lnTo>
                    <a:pt x="2" y="51"/>
                  </a:lnTo>
                  <a:lnTo>
                    <a:pt x="2" y="50"/>
                  </a:lnTo>
                  <a:lnTo>
                    <a:pt x="2" y="49"/>
                  </a:lnTo>
                  <a:lnTo>
                    <a:pt x="2" y="49"/>
                  </a:lnTo>
                  <a:lnTo>
                    <a:pt x="2" y="49"/>
                  </a:lnTo>
                  <a:lnTo>
                    <a:pt x="2" y="48"/>
                  </a:lnTo>
                  <a:lnTo>
                    <a:pt x="2" y="48"/>
                  </a:lnTo>
                  <a:lnTo>
                    <a:pt x="2" y="48"/>
                  </a:lnTo>
                  <a:lnTo>
                    <a:pt x="2" y="48"/>
                  </a:lnTo>
                  <a:lnTo>
                    <a:pt x="2" y="47"/>
                  </a:lnTo>
                  <a:lnTo>
                    <a:pt x="2" y="47"/>
                  </a:lnTo>
                  <a:lnTo>
                    <a:pt x="2" y="47"/>
                  </a:lnTo>
                  <a:lnTo>
                    <a:pt x="2" y="47"/>
                  </a:lnTo>
                  <a:lnTo>
                    <a:pt x="2" y="45"/>
                  </a:lnTo>
                  <a:lnTo>
                    <a:pt x="2" y="45"/>
                  </a:lnTo>
                  <a:lnTo>
                    <a:pt x="2" y="45"/>
                  </a:lnTo>
                  <a:lnTo>
                    <a:pt x="2" y="43"/>
                  </a:lnTo>
                  <a:lnTo>
                    <a:pt x="3" y="42"/>
                  </a:lnTo>
                  <a:lnTo>
                    <a:pt x="3" y="42"/>
                  </a:lnTo>
                  <a:lnTo>
                    <a:pt x="3" y="41"/>
                  </a:lnTo>
                  <a:lnTo>
                    <a:pt x="3" y="41"/>
                  </a:lnTo>
                  <a:lnTo>
                    <a:pt x="3" y="41"/>
                  </a:lnTo>
                  <a:lnTo>
                    <a:pt x="3" y="41"/>
                  </a:lnTo>
                  <a:lnTo>
                    <a:pt x="3" y="40"/>
                  </a:lnTo>
                  <a:lnTo>
                    <a:pt x="3" y="40"/>
                  </a:lnTo>
                  <a:lnTo>
                    <a:pt x="3" y="40"/>
                  </a:lnTo>
                  <a:lnTo>
                    <a:pt x="3" y="40"/>
                  </a:lnTo>
                  <a:lnTo>
                    <a:pt x="3" y="40"/>
                  </a:lnTo>
                  <a:lnTo>
                    <a:pt x="3" y="38"/>
                  </a:lnTo>
                  <a:lnTo>
                    <a:pt x="3" y="38"/>
                  </a:lnTo>
                  <a:lnTo>
                    <a:pt x="3" y="38"/>
                  </a:lnTo>
                  <a:lnTo>
                    <a:pt x="4" y="37"/>
                  </a:lnTo>
                  <a:lnTo>
                    <a:pt x="4" y="37"/>
                  </a:lnTo>
                  <a:lnTo>
                    <a:pt x="4" y="37"/>
                  </a:lnTo>
                  <a:lnTo>
                    <a:pt x="4" y="36"/>
                  </a:lnTo>
                  <a:lnTo>
                    <a:pt x="4" y="36"/>
                  </a:lnTo>
                  <a:lnTo>
                    <a:pt x="4" y="36"/>
                  </a:lnTo>
                  <a:lnTo>
                    <a:pt x="5" y="36"/>
                  </a:lnTo>
                  <a:lnTo>
                    <a:pt x="5" y="36"/>
                  </a:lnTo>
                  <a:lnTo>
                    <a:pt x="5" y="35"/>
                  </a:lnTo>
                  <a:lnTo>
                    <a:pt x="5" y="35"/>
                  </a:lnTo>
                  <a:lnTo>
                    <a:pt x="5" y="35"/>
                  </a:lnTo>
                  <a:lnTo>
                    <a:pt x="5" y="35"/>
                  </a:lnTo>
                  <a:lnTo>
                    <a:pt x="5" y="35"/>
                  </a:lnTo>
                  <a:lnTo>
                    <a:pt x="5" y="35"/>
                  </a:lnTo>
                  <a:lnTo>
                    <a:pt x="5" y="35"/>
                  </a:lnTo>
                  <a:lnTo>
                    <a:pt x="5" y="35"/>
                  </a:lnTo>
                  <a:lnTo>
                    <a:pt x="5" y="35"/>
                  </a:lnTo>
                  <a:lnTo>
                    <a:pt x="5" y="34"/>
                  </a:lnTo>
                  <a:lnTo>
                    <a:pt x="5" y="34"/>
                  </a:lnTo>
                  <a:lnTo>
                    <a:pt x="5" y="34"/>
                  </a:lnTo>
                  <a:lnTo>
                    <a:pt x="4" y="34"/>
                  </a:lnTo>
                  <a:lnTo>
                    <a:pt x="4" y="34"/>
                  </a:lnTo>
                  <a:lnTo>
                    <a:pt x="4" y="33"/>
                  </a:lnTo>
                  <a:lnTo>
                    <a:pt x="4" y="34"/>
                  </a:lnTo>
                  <a:lnTo>
                    <a:pt x="3" y="34"/>
                  </a:lnTo>
                  <a:lnTo>
                    <a:pt x="3" y="33"/>
                  </a:lnTo>
                  <a:lnTo>
                    <a:pt x="3" y="33"/>
                  </a:lnTo>
                  <a:lnTo>
                    <a:pt x="4" y="33"/>
                  </a:lnTo>
                  <a:lnTo>
                    <a:pt x="4" y="31"/>
                  </a:lnTo>
                  <a:lnTo>
                    <a:pt x="4" y="31"/>
                  </a:lnTo>
                  <a:lnTo>
                    <a:pt x="4" y="31"/>
                  </a:lnTo>
                  <a:lnTo>
                    <a:pt x="4" y="31"/>
                  </a:lnTo>
                  <a:lnTo>
                    <a:pt x="5" y="31"/>
                  </a:lnTo>
                  <a:lnTo>
                    <a:pt x="5" y="31"/>
                  </a:lnTo>
                  <a:lnTo>
                    <a:pt x="4" y="31"/>
                  </a:lnTo>
                  <a:lnTo>
                    <a:pt x="5" y="33"/>
                  </a:lnTo>
                  <a:lnTo>
                    <a:pt x="5" y="33"/>
                  </a:lnTo>
                  <a:lnTo>
                    <a:pt x="5" y="33"/>
                  </a:lnTo>
                  <a:lnTo>
                    <a:pt x="5" y="31"/>
                  </a:lnTo>
                  <a:lnTo>
                    <a:pt x="5" y="31"/>
                  </a:lnTo>
                  <a:lnTo>
                    <a:pt x="5" y="31"/>
                  </a:lnTo>
                  <a:lnTo>
                    <a:pt x="5" y="31"/>
                  </a:lnTo>
                  <a:lnTo>
                    <a:pt x="5" y="31"/>
                  </a:lnTo>
                  <a:lnTo>
                    <a:pt x="5" y="29"/>
                  </a:lnTo>
                  <a:lnTo>
                    <a:pt x="5" y="29"/>
                  </a:lnTo>
                  <a:lnTo>
                    <a:pt x="5" y="28"/>
                  </a:lnTo>
                  <a:lnTo>
                    <a:pt x="5" y="26"/>
                  </a:lnTo>
                  <a:lnTo>
                    <a:pt x="5" y="26"/>
                  </a:lnTo>
                  <a:lnTo>
                    <a:pt x="5" y="26"/>
                  </a:lnTo>
                  <a:lnTo>
                    <a:pt x="5" y="25"/>
                  </a:lnTo>
                  <a:lnTo>
                    <a:pt x="4" y="25"/>
                  </a:lnTo>
                  <a:lnTo>
                    <a:pt x="4" y="25"/>
                  </a:lnTo>
                  <a:lnTo>
                    <a:pt x="4" y="23"/>
                  </a:lnTo>
                  <a:lnTo>
                    <a:pt x="4" y="22"/>
                  </a:lnTo>
                  <a:lnTo>
                    <a:pt x="4" y="22"/>
                  </a:lnTo>
                  <a:lnTo>
                    <a:pt x="4" y="22"/>
                  </a:lnTo>
                  <a:lnTo>
                    <a:pt x="4" y="22"/>
                  </a:lnTo>
                  <a:lnTo>
                    <a:pt x="4" y="22"/>
                  </a:lnTo>
                  <a:lnTo>
                    <a:pt x="4" y="22"/>
                  </a:lnTo>
                  <a:lnTo>
                    <a:pt x="4" y="22"/>
                  </a:lnTo>
                  <a:lnTo>
                    <a:pt x="4" y="22"/>
                  </a:lnTo>
                  <a:lnTo>
                    <a:pt x="4" y="21"/>
                  </a:lnTo>
                  <a:lnTo>
                    <a:pt x="4" y="21"/>
                  </a:lnTo>
                  <a:lnTo>
                    <a:pt x="4" y="21"/>
                  </a:lnTo>
                  <a:lnTo>
                    <a:pt x="4" y="20"/>
                  </a:lnTo>
                  <a:lnTo>
                    <a:pt x="4" y="20"/>
                  </a:lnTo>
                  <a:lnTo>
                    <a:pt x="4" y="20"/>
                  </a:lnTo>
                  <a:lnTo>
                    <a:pt x="4" y="20"/>
                  </a:lnTo>
                  <a:lnTo>
                    <a:pt x="4" y="20"/>
                  </a:lnTo>
                  <a:lnTo>
                    <a:pt x="4" y="19"/>
                  </a:lnTo>
                  <a:lnTo>
                    <a:pt x="4" y="19"/>
                  </a:lnTo>
                  <a:lnTo>
                    <a:pt x="4" y="19"/>
                  </a:lnTo>
                  <a:lnTo>
                    <a:pt x="4" y="19"/>
                  </a:lnTo>
                  <a:lnTo>
                    <a:pt x="4" y="19"/>
                  </a:lnTo>
                  <a:lnTo>
                    <a:pt x="4" y="19"/>
                  </a:lnTo>
                  <a:lnTo>
                    <a:pt x="4" y="19"/>
                  </a:lnTo>
                  <a:lnTo>
                    <a:pt x="4" y="19"/>
                  </a:lnTo>
                  <a:lnTo>
                    <a:pt x="4" y="18"/>
                  </a:lnTo>
                  <a:lnTo>
                    <a:pt x="4" y="18"/>
                  </a:lnTo>
                  <a:lnTo>
                    <a:pt x="4" y="18"/>
                  </a:lnTo>
                  <a:lnTo>
                    <a:pt x="4" y="18"/>
                  </a:lnTo>
                  <a:lnTo>
                    <a:pt x="4" y="18"/>
                  </a:lnTo>
                  <a:lnTo>
                    <a:pt x="4" y="18"/>
                  </a:lnTo>
                  <a:lnTo>
                    <a:pt x="4" y="18"/>
                  </a:lnTo>
                  <a:lnTo>
                    <a:pt x="4" y="16"/>
                  </a:lnTo>
                  <a:lnTo>
                    <a:pt x="4" y="16"/>
                  </a:lnTo>
                  <a:lnTo>
                    <a:pt x="4" y="16"/>
                  </a:lnTo>
                  <a:lnTo>
                    <a:pt x="4" y="16"/>
                  </a:lnTo>
                  <a:lnTo>
                    <a:pt x="4" y="15"/>
                  </a:lnTo>
                  <a:lnTo>
                    <a:pt x="4" y="15"/>
                  </a:lnTo>
                  <a:lnTo>
                    <a:pt x="4" y="15"/>
                  </a:lnTo>
                  <a:lnTo>
                    <a:pt x="4" y="15"/>
                  </a:lnTo>
                  <a:lnTo>
                    <a:pt x="4" y="15"/>
                  </a:lnTo>
                  <a:lnTo>
                    <a:pt x="4" y="15"/>
                  </a:lnTo>
                  <a:lnTo>
                    <a:pt x="4" y="15"/>
                  </a:lnTo>
                  <a:lnTo>
                    <a:pt x="4" y="15"/>
                  </a:lnTo>
                  <a:lnTo>
                    <a:pt x="4" y="15"/>
                  </a:lnTo>
                  <a:lnTo>
                    <a:pt x="4" y="15"/>
                  </a:lnTo>
                  <a:lnTo>
                    <a:pt x="4" y="15"/>
                  </a:lnTo>
                  <a:lnTo>
                    <a:pt x="3" y="15"/>
                  </a:lnTo>
                  <a:lnTo>
                    <a:pt x="4" y="15"/>
                  </a:lnTo>
                  <a:lnTo>
                    <a:pt x="4" y="15"/>
                  </a:lnTo>
                  <a:lnTo>
                    <a:pt x="4" y="15"/>
                  </a:lnTo>
                  <a:lnTo>
                    <a:pt x="3" y="14"/>
                  </a:lnTo>
                  <a:lnTo>
                    <a:pt x="3" y="14"/>
                  </a:lnTo>
                  <a:lnTo>
                    <a:pt x="4" y="14"/>
                  </a:lnTo>
                  <a:lnTo>
                    <a:pt x="4" y="14"/>
                  </a:lnTo>
                  <a:lnTo>
                    <a:pt x="4" y="14"/>
                  </a:lnTo>
                  <a:lnTo>
                    <a:pt x="4" y="14"/>
                  </a:lnTo>
                  <a:lnTo>
                    <a:pt x="3" y="14"/>
                  </a:lnTo>
                  <a:lnTo>
                    <a:pt x="4" y="14"/>
                  </a:lnTo>
                  <a:lnTo>
                    <a:pt x="4" y="14"/>
                  </a:lnTo>
                  <a:lnTo>
                    <a:pt x="4" y="14"/>
                  </a:lnTo>
                  <a:lnTo>
                    <a:pt x="4" y="14"/>
                  </a:lnTo>
                  <a:lnTo>
                    <a:pt x="4" y="14"/>
                  </a:lnTo>
                  <a:lnTo>
                    <a:pt x="4" y="14"/>
                  </a:lnTo>
                  <a:lnTo>
                    <a:pt x="4" y="14"/>
                  </a:lnTo>
                  <a:lnTo>
                    <a:pt x="4" y="14"/>
                  </a:lnTo>
                  <a:lnTo>
                    <a:pt x="4" y="14"/>
                  </a:lnTo>
                  <a:lnTo>
                    <a:pt x="4" y="14"/>
                  </a:lnTo>
                  <a:lnTo>
                    <a:pt x="4" y="14"/>
                  </a:lnTo>
                  <a:lnTo>
                    <a:pt x="4" y="14"/>
                  </a:lnTo>
                  <a:lnTo>
                    <a:pt x="4" y="14"/>
                  </a:lnTo>
                  <a:lnTo>
                    <a:pt x="4" y="13"/>
                  </a:lnTo>
                  <a:lnTo>
                    <a:pt x="4" y="13"/>
                  </a:lnTo>
                  <a:lnTo>
                    <a:pt x="4" y="13"/>
                  </a:lnTo>
                  <a:lnTo>
                    <a:pt x="3" y="13"/>
                  </a:lnTo>
                  <a:lnTo>
                    <a:pt x="3" y="13"/>
                  </a:lnTo>
                  <a:lnTo>
                    <a:pt x="3" y="13"/>
                  </a:lnTo>
                  <a:lnTo>
                    <a:pt x="3" y="13"/>
                  </a:lnTo>
                  <a:lnTo>
                    <a:pt x="4" y="13"/>
                  </a:lnTo>
                  <a:lnTo>
                    <a:pt x="3" y="13"/>
                  </a:lnTo>
                  <a:lnTo>
                    <a:pt x="3" y="13"/>
                  </a:lnTo>
                  <a:lnTo>
                    <a:pt x="3" y="13"/>
                  </a:lnTo>
                  <a:lnTo>
                    <a:pt x="4" y="13"/>
                  </a:lnTo>
                  <a:lnTo>
                    <a:pt x="4" y="13"/>
                  </a:lnTo>
                  <a:lnTo>
                    <a:pt x="4" y="13"/>
                  </a:lnTo>
                  <a:lnTo>
                    <a:pt x="4" y="13"/>
                  </a:lnTo>
                  <a:lnTo>
                    <a:pt x="4" y="13"/>
                  </a:lnTo>
                  <a:lnTo>
                    <a:pt x="4" y="13"/>
                  </a:lnTo>
                  <a:lnTo>
                    <a:pt x="4" y="12"/>
                  </a:lnTo>
                  <a:lnTo>
                    <a:pt x="3" y="12"/>
                  </a:lnTo>
                  <a:lnTo>
                    <a:pt x="3" y="12"/>
                  </a:lnTo>
                  <a:lnTo>
                    <a:pt x="3" y="12"/>
                  </a:lnTo>
                  <a:lnTo>
                    <a:pt x="3" y="12"/>
                  </a:lnTo>
                  <a:lnTo>
                    <a:pt x="3" y="12"/>
                  </a:lnTo>
                  <a:lnTo>
                    <a:pt x="3" y="12"/>
                  </a:lnTo>
                  <a:lnTo>
                    <a:pt x="3" y="12"/>
                  </a:lnTo>
                  <a:lnTo>
                    <a:pt x="3" y="11"/>
                  </a:lnTo>
                  <a:lnTo>
                    <a:pt x="3" y="11"/>
                  </a:lnTo>
                  <a:lnTo>
                    <a:pt x="3" y="11"/>
                  </a:lnTo>
                  <a:lnTo>
                    <a:pt x="3" y="11"/>
                  </a:lnTo>
                  <a:lnTo>
                    <a:pt x="4" y="11"/>
                  </a:lnTo>
                  <a:lnTo>
                    <a:pt x="4" y="11"/>
                  </a:lnTo>
                  <a:lnTo>
                    <a:pt x="4" y="11"/>
                  </a:lnTo>
                  <a:lnTo>
                    <a:pt x="4" y="11"/>
                  </a:lnTo>
                  <a:lnTo>
                    <a:pt x="4" y="11"/>
                  </a:lnTo>
                  <a:lnTo>
                    <a:pt x="5" y="11"/>
                  </a:lnTo>
                  <a:lnTo>
                    <a:pt x="5" y="9"/>
                  </a:lnTo>
                  <a:lnTo>
                    <a:pt x="5" y="9"/>
                  </a:lnTo>
                  <a:lnTo>
                    <a:pt x="5" y="9"/>
                  </a:lnTo>
                  <a:lnTo>
                    <a:pt x="5" y="9"/>
                  </a:lnTo>
                  <a:lnTo>
                    <a:pt x="5" y="9"/>
                  </a:lnTo>
                  <a:lnTo>
                    <a:pt x="6" y="9"/>
                  </a:lnTo>
                  <a:lnTo>
                    <a:pt x="6" y="9"/>
                  </a:lnTo>
                  <a:lnTo>
                    <a:pt x="6" y="9"/>
                  </a:lnTo>
                  <a:lnTo>
                    <a:pt x="6" y="9"/>
                  </a:lnTo>
                  <a:lnTo>
                    <a:pt x="6" y="9"/>
                  </a:lnTo>
                  <a:lnTo>
                    <a:pt x="6" y="9"/>
                  </a:lnTo>
                  <a:lnTo>
                    <a:pt x="7" y="11"/>
                  </a:lnTo>
                  <a:lnTo>
                    <a:pt x="7" y="11"/>
                  </a:lnTo>
                  <a:lnTo>
                    <a:pt x="7" y="11"/>
                  </a:lnTo>
                  <a:lnTo>
                    <a:pt x="7" y="11"/>
                  </a:lnTo>
                  <a:lnTo>
                    <a:pt x="9" y="11"/>
                  </a:lnTo>
                  <a:lnTo>
                    <a:pt x="9" y="11"/>
                  </a:lnTo>
                  <a:lnTo>
                    <a:pt x="9" y="11"/>
                  </a:lnTo>
                  <a:lnTo>
                    <a:pt x="9" y="11"/>
                  </a:lnTo>
                  <a:lnTo>
                    <a:pt x="9" y="11"/>
                  </a:lnTo>
                  <a:lnTo>
                    <a:pt x="9" y="11"/>
                  </a:lnTo>
                  <a:lnTo>
                    <a:pt x="9" y="11"/>
                  </a:lnTo>
                  <a:lnTo>
                    <a:pt x="9" y="11"/>
                  </a:lnTo>
                  <a:lnTo>
                    <a:pt x="9" y="11"/>
                  </a:lnTo>
                  <a:lnTo>
                    <a:pt x="9" y="11"/>
                  </a:lnTo>
                  <a:lnTo>
                    <a:pt x="9" y="11"/>
                  </a:lnTo>
                  <a:lnTo>
                    <a:pt x="9" y="11"/>
                  </a:lnTo>
                  <a:lnTo>
                    <a:pt x="9" y="12"/>
                  </a:lnTo>
                  <a:lnTo>
                    <a:pt x="9" y="12"/>
                  </a:lnTo>
                  <a:lnTo>
                    <a:pt x="10" y="12"/>
                  </a:lnTo>
                  <a:lnTo>
                    <a:pt x="10" y="13"/>
                  </a:lnTo>
                  <a:lnTo>
                    <a:pt x="10" y="13"/>
                  </a:lnTo>
                  <a:lnTo>
                    <a:pt x="10" y="13"/>
                  </a:lnTo>
                  <a:lnTo>
                    <a:pt x="10" y="13"/>
                  </a:lnTo>
                  <a:lnTo>
                    <a:pt x="10" y="13"/>
                  </a:lnTo>
                  <a:lnTo>
                    <a:pt x="11" y="13"/>
                  </a:lnTo>
                  <a:lnTo>
                    <a:pt x="11" y="13"/>
                  </a:lnTo>
                  <a:lnTo>
                    <a:pt x="11" y="13"/>
                  </a:lnTo>
                  <a:lnTo>
                    <a:pt x="11" y="13"/>
                  </a:lnTo>
                  <a:lnTo>
                    <a:pt x="11" y="13"/>
                  </a:lnTo>
                  <a:lnTo>
                    <a:pt x="11" y="13"/>
                  </a:lnTo>
                  <a:lnTo>
                    <a:pt x="11" y="13"/>
                  </a:lnTo>
                  <a:lnTo>
                    <a:pt x="11" y="13"/>
                  </a:lnTo>
                  <a:lnTo>
                    <a:pt x="12" y="13"/>
                  </a:lnTo>
                  <a:lnTo>
                    <a:pt x="12" y="13"/>
                  </a:lnTo>
                  <a:lnTo>
                    <a:pt x="13" y="14"/>
                  </a:lnTo>
                  <a:lnTo>
                    <a:pt x="14" y="15"/>
                  </a:lnTo>
                  <a:lnTo>
                    <a:pt x="14" y="15"/>
                  </a:lnTo>
                  <a:lnTo>
                    <a:pt x="14" y="15"/>
                  </a:lnTo>
                  <a:lnTo>
                    <a:pt x="15" y="15"/>
                  </a:lnTo>
                  <a:lnTo>
                    <a:pt x="15" y="15"/>
                  </a:lnTo>
                  <a:lnTo>
                    <a:pt x="17" y="15"/>
                  </a:lnTo>
                  <a:lnTo>
                    <a:pt x="18" y="16"/>
                  </a:lnTo>
                  <a:lnTo>
                    <a:pt x="19" y="16"/>
                  </a:lnTo>
                  <a:lnTo>
                    <a:pt x="19" y="16"/>
                  </a:lnTo>
                  <a:lnTo>
                    <a:pt x="19" y="16"/>
                  </a:lnTo>
                  <a:lnTo>
                    <a:pt x="20" y="16"/>
                  </a:lnTo>
                  <a:lnTo>
                    <a:pt x="20" y="16"/>
                  </a:lnTo>
                  <a:lnTo>
                    <a:pt x="20" y="16"/>
                  </a:lnTo>
                  <a:lnTo>
                    <a:pt x="22" y="15"/>
                  </a:lnTo>
                  <a:lnTo>
                    <a:pt x="24" y="13"/>
                  </a:lnTo>
                  <a:lnTo>
                    <a:pt x="24" y="13"/>
                  </a:lnTo>
                  <a:lnTo>
                    <a:pt x="24" y="13"/>
                  </a:lnTo>
                  <a:lnTo>
                    <a:pt x="24" y="13"/>
                  </a:lnTo>
                  <a:lnTo>
                    <a:pt x="26" y="13"/>
                  </a:lnTo>
                  <a:lnTo>
                    <a:pt x="27" y="11"/>
                  </a:lnTo>
                  <a:lnTo>
                    <a:pt x="28" y="11"/>
                  </a:lnTo>
                  <a:lnTo>
                    <a:pt x="29" y="9"/>
                  </a:lnTo>
                  <a:lnTo>
                    <a:pt x="32" y="8"/>
                  </a:lnTo>
                  <a:lnTo>
                    <a:pt x="34" y="7"/>
                  </a:lnTo>
                  <a:lnTo>
                    <a:pt x="35" y="6"/>
                  </a:lnTo>
                  <a:lnTo>
                    <a:pt x="35" y="6"/>
                  </a:lnTo>
                  <a:lnTo>
                    <a:pt x="38" y="4"/>
                  </a:lnTo>
                  <a:lnTo>
                    <a:pt x="39" y="4"/>
                  </a:lnTo>
                  <a:lnTo>
                    <a:pt x="41" y="1"/>
                  </a:lnTo>
                  <a:lnTo>
                    <a:pt x="45" y="0"/>
                  </a:lnTo>
                  <a:lnTo>
                    <a:pt x="45" y="2"/>
                  </a:lnTo>
                  <a:lnTo>
                    <a:pt x="46" y="4"/>
                  </a:lnTo>
                  <a:lnTo>
                    <a:pt x="47" y="6"/>
                  </a:lnTo>
                  <a:lnTo>
                    <a:pt x="47" y="8"/>
                  </a:lnTo>
                  <a:lnTo>
                    <a:pt x="48" y="11"/>
                  </a:lnTo>
                  <a:lnTo>
                    <a:pt x="49" y="13"/>
                  </a:lnTo>
                  <a:lnTo>
                    <a:pt x="49" y="14"/>
                  </a:lnTo>
                  <a:lnTo>
                    <a:pt x="49" y="14"/>
                  </a:lnTo>
                  <a:lnTo>
                    <a:pt x="49" y="14"/>
                  </a:lnTo>
                  <a:lnTo>
                    <a:pt x="49" y="14"/>
                  </a:lnTo>
                  <a:lnTo>
                    <a:pt x="49" y="14"/>
                  </a:lnTo>
                  <a:lnTo>
                    <a:pt x="49" y="16"/>
                  </a:lnTo>
                  <a:lnTo>
                    <a:pt x="49" y="16"/>
                  </a:lnTo>
                  <a:lnTo>
                    <a:pt x="50" y="16"/>
                  </a:lnTo>
                  <a:lnTo>
                    <a:pt x="53" y="15"/>
                  </a:lnTo>
                  <a:lnTo>
                    <a:pt x="53" y="16"/>
                  </a:lnTo>
                  <a:lnTo>
                    <a:pt x="53" y="16"/>
                  </a:lnTo>
                  <a:lnTo>
                    <a:pt x="53" y="18"/>
                  </a:lnTo>
                  <a:lnTo>
                    <a:pt x="53" y="18"/>
                  </a:lnTo>
                  <a:lnTo>
                    <a:pt x="52" y="19"/>
                  </a:lnTo>
                  <a:lnTo>
                    <a:pt x="52" y="2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solidFill>
                  <a:schemeClr val="tx1"/>
                </a:solidFill>
              </a:endParaRPr>
            </a:p>
          </p:txBody>
        </p:sp>
        <p:sp>
          <p:nvSpPr>
            <p:cNvPr id="161" name="Freeform 916">
              <a:extLst>
                <a:ext uri="{FF2B5EF4-FFF2-40B4-BE49-F238E27FC236}">
                  <a16:creationId xmlns:a16="http://schemas.microsoft.com/office/drawing/2014/main" id="{5D1E663A-5EF7-4148-A54C-4C1A4D4BB7D6}"/>
                </a:ext>
              </a:extLst>
            </p:cNvPr>
            <p:cNvSpPr>
              <a:spLocks noEditPoints="1"/>
            </p:cNvSpPr>
            <p:nvPr/>
          </p:nvSpPr>
          <p:spPr bwMode="auto">
            <a:xfrm>
              <a:off x="8036693" y="2388312"/>
              <a:ext cx="564912" cy="446053"/>
            </a:xfrm>
            <a:custGeom>
              <a:avLst/>
              <a:gdLst>
                <a:gd name="T0" fmla="*/ 248 w 423"/>
                <a:gd name="T1" fmla="*/ 327 h 334"/>
                <a:gd name="T2" fmla="*/ 252 w 423"/>
                <a:gd name="T3" fmla="*/ 297 h 334"/>
                <a:gd name="T4" fmla="*/ 58 w 423"/>
                <a:gd name="T5" fmla="*/ 297 h 334"/>
                <a:gd name="T6" fmla="*/ 67 w 423"/>
                <a:gd name="T7" fmla="*/ 278 h 334"/>
                <a:gd name="T8" fmla="*/ 69 w 423"/>
                <a:gd name="T9" fmla="*/ 271 h 334"/>
                <a:gd name="T10" fmla="*/ 70 w 423"/>
                <a:gd name="T11" fmla="*/ 245 h 334"/>
                <a:gd name="T12" fmla="*/ 79 w 423"/>
                <a:gd name="T13" fmla="*/ 231 h 334"/>
                <a:gd name="T14" fmla="*/ 186 w 423"/>
                <a:gd name="T15" fmla="*/ 205 h 334"/>
                <a:gd name="T16" fmla="*/ 61 w 423"/>
                <a:gd name="T17" fmla="*/ 203 h 334"/>
                <a:gd name="T18" fmla="*/ 40 w 423"/>
                <a:gd name="T19" fmla="*/ 199 h 334"/>
                <a:gd name="T20" fmla="*/ 40 w 423"/>
                <a:gd name="T21" fmla="*/ 195 h 334"/>
                <a:gd name="T22" fmla="*/ 174 w 423"/>
                <a:gd name="T23" fmla="*/ 183 h 334"/>
                <a:gd name="T24" fmla="*/ 71 w 423"/>
                <a:gd name="T25" fmla="*/ 190 h 334"/>
                <a:gd name="T26" fmla="*/ 78 w 423"/>
                <a:gd name="T27" fmla="*/ 203 h 334"/>
                <a:gd name="T28" fmla="*/ 76 w 423"/>
                <a:gd name="T29" fmla="*/ 226 h 334"/>
                <a:gd name="T30" fmla="*/ 71 w 423"/>
                <a:gd name="T31" fmla="*/ 225 h 334"/>
                <a:gd name="T32" fmla="*/ 63 w 423"/>
                <a:gd name="T33" fmla="*/ 206 h 334"/>
                <a:gd name="T34" fmla="*/ 57 w 423"/>
                <a:gd name="T35" fmla="*/ 198 h 334"/>
                <a:gd name="T36" fmla="*/ 50 w 423"/>
                <a:gd name="T37" fmla="*/ 196 h 334"/>
                <a:gd name="T38" fmla="*/ 49 w 423"/>
                <a:gd name="T39" fmla="*/ 191 h 334"/>
                <a:gd name="T40" fmla="*/ 57 w 423"/>
                <a:gd name="T41" fmla="*/ 182 h 334"/>
                <a:gd name="T42" fmla="*/ 82 w 423"/>
                <a:gd name="T43" fmla="*/ 177 h 334"/>
                <a:gd name="T44" fmla="*/ 101 w 423"/>
                <a:gd name="T45" fmla="*/ 177 h 334"/>
                <a:gd name="T46" fmla="*/ 96 w 423"/>
                <a:gd name="T47" fmla="*/ 190 h 334"/>
                <a:gd name="T48" fmla="*/ 86 w 423"/>
                <a:gd name="T49" fmla="*/ 198 h 334"/>
                <a:gd name="T50" fmla="*/ 82 w 423"/>
                <a:gd name="T51" fmla="*/ 188 h 334"/>
                <a:gd name="T52" fmla="*/ 98 w 423"/>
                <a:gd name="T53" fmla="*/ 175 h 334"/>
                <a:gd name="T54" fmla="*/ 107 w 423"/>
                <a:gd name="T55" fmla="*/ 177 h 334"/>
                <a:gd name="T56" fmla="*/ 131 w 423"/>
                <a:gd name="T57" fmla="*/ 168 h 334"/>
                <a:gd name="T58" fmla="*/ 114 w 423"/>
                <a:gd name="T59" fmla="*/ 130 h 334"/>
                <a:gd name="T60" fmla="*/ 136 w 423"/>
                <a:gd name="T61" fmla="*/ 69 h 334"/>
                <a:gd name="T62" fmla="*/ 160 w 423"/>
                <a:gd name="T63" fmla="*/ 95 h 334"/>
                <a:gd name="T64" fmla="*/ 163 w 423"/>
                <a:gd name="T65" fmla="*/ 109 h 334"/>
                <a:gd name="T66" fmla="*/ 168 w 423"/>
                <a:gd name="T67" fmla="*/ 132 h 334"/>
                <a:gd name="T68" fmla="*/ 171 w 423"/>
                <a:gd name="T69" fmla="*/ 163 h 334"/>
                <a:gd name="T70" fmla="*/ 164 w 423"/>
                <a:gd name="T71" fmla="*/ 155 h 334"/>
                <a:gd name="T72" fmla="*/ 160 w 423"/>
                <a:gd name="T73" fmla="*/ 170 h 334"/>
                <a:gd name="T74" fmla="*/ 139 w 423"/>
                <a:gd name="T75" fmla="*/ 170 h 334"/>
                <a:gd name="T76" fmla="*/ 129 w 423"/>
                <a:gd name="T77" fmla="*/ 164 h 334"/>
                <a:gd name="T78" fmla="*/ 131 w 423"/>
                <a:gd name="T79" fmla="*/ 176 h 334"/>
                <a:gd name="T80" fmla="*/ 119 w 423"/>
                <a:gd name="T81" fmla="*/ 184 h 334"/>
                <a:gd name="T82" fmla="*/ 108 w 423"/>
                <a:gd name="T83" fmla="*/ 171 h 334"/>
                <a:gd name="T84" fmla="*/ 88 w 423"/>
                <a:gd name="T85" fmla="*/ 174 h 334"/>
                <a:gd name="T86" fmla="*/ 75 w 423"/>
                <a:gd name="T87" fmla="*/ 178 h 334"/>
                <a:gd name="T88" fmla="*/ 57 w 423"/>
                <a:gd name="T89" fmla="*/ 179 h 334"/>
                <a:gd name="T90" fmla="*/ 69 w 423"/>
                <a:gd name="T91" fmla="*/ 163 h 334"/>
                <a:gd name="T92" fmla="*/ 95 w 423"/>
                <a:gd name="T93" fmla="*/ 155 h 334"/>
                <a:gd name="T94" fmla="*/ 111 w 423"/>
                <a:gd name="T95" fmla="*/ 156 h 334"/>
                <a:gd name="T96" fmla="*/ 114 w 423"/>
                <a:gd name="T97" fmla="*/ 135 h 334"/>
                <a:gd name="T98" fmla="*/ 117 w 423"/>
                <a:gd name="T99" fmla="*/ 134 h 334"/>
                <a:gd name="T100" fmla="*/ 136 w 423"/>
                <a:gd name="T101" fmla="*/ 109 h 334"/>
                <a:gd name="T102" fmla="*/ 124 w 423"/>
                <a:gd name="T103" fmla="*/ 78 h 334"/>
                <a:gd name="T104" fmla="*/ 132 w 423"/>
                <a:gd name="T105" fmla="*/ 72 h 334"/>
                <a:gd name="T106" fmla="*/ 104 w 423"/>
                <a:gd name="T107" fmla="*/ 53 h 334"/>
                <a:gd name="T108" fmla="*/ 88 w 423"/>
                <a:gd name="T109" fmla="*/ 1 h 334"/>
                <a:gd name="T110" fmla="*/ 143 w 423"/>
                <a:gd name="T111" fmla="*/ 22 h 334"/>
                <a:gd name="T112" fmla="*/ 165 w 423"/>
                <a:gd name="T113" fmla="*/ 35 h 334"/>
                <a:gd name="T114" fmla="*/ 153 w 423"/>
                <a:gd name="T115" fmla="*/ 41 h 334"/>
                <a:gd name="T116" fmla="*/ 119 w 423"/>
                <a:gd name="T117" fmla="*/ 49 h 334"/>
                <a:gd name="T118" fmla="*/ 122 w 423"/>
                <a:gd name="T119" fmla="*/ 58 h 334"/>
                <a:gd name="T120" fmla="*/ 104 w 423"/>
                <a:gd name="T121" fmla="*/ 46 h 334"/>
                <a:gd name="T122" fmla="*/ 114 w 423"/>
                <a:gd name="T123" fmla="*/ 36 h 334"/>
                <a:gd name="T124" fmla="*/ 98 w 423"/>
                <a:gd name="T125"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3" h="334">
                  <a:moveTo>
                    <a:pt x="423" y="334"/>
                  </a:moveTo>
                  <a:lnTo>
                    <a:pt x="421" y="333"/>
                  </a:lnTo>
                  <a:lnTo>
                    <a:pt x="423" y="333"/>
                  </a:lnTo>
                  <a:lnTo>
                    <a:pt x="423" y="334"/>
                  </a:lnTo>
                  <a:close/>
                  <a:moveTo>
                    <a:pt x="12" y="332"/>
                  </a:moveTo>
                  <a:lnTo>
                    <a:pt x="13" y="332"/>
                  </a:lnTo>
                  <a:lnTo>
                    <a:pt x="14" y="333"/>
                  </a:lnTo>
                  <a:lnTo>
                    <a:pt x="14" y="334"/>
                  </a:lnTo>
                  <a:lnTo>
                    <a:pt x="13" y="334"/>
                  </a:lnTo>
                  <a:lnTo>
                    <a:pt x="12" y="334"/>
                  </a:lnTo>
                  <a:lnTo>
                    <a:pt x="11" y="334"/>
                  </a:lnTo>
                  <a:lnTo>
                    <a:pt x="11" y="333"/>
                  </a:lnTo>
                  <a:lnTo>
                    <a:pt x="12" y="333"/>
                  </a:lnTo>
                  <a:lnTo>
                    <a:pt x="12" y="332"/>
                  </a:lnTo>
                  <a:close/>
                  <a:moveTo>
                    <a:pt x="1" y="331"/>
                  </a:moveTo>
                  <a:lnTo>
                    <a:pt x="1" y="332"/>
                  </a:lnTo>
                  <a:lnTo>
                    <a:pt x="0" y="332"/>
                  </a:lnTo>
                  <a:lnTo>
                    <a:pt x="0" y="331"/>
                  </a:lnTo>
                  <a:lnTo>
                    <a:pt x="1" y="331"/>
                  </a:lnTo>
                  <a:close/>
                  <a:moveTo>
                    <a:pt x="18" y="332"/>
                  </a:moveTo>
                  <a:lnTo>
                    <a:pt x="19" y="332"/>
                  </a:lnTo>
                  <a:lnTo>
                    <a:pt x="19" y="333"/>
                  </a:lnTo>
                  <a:lnTo>
                    <a:pt x="18" y="333"/>
                  </a:lnTo>
                  <a:lnTo>
                    <a:pt x="17" y="333"/>
                  </a:lnTo>
                  <a:lnTo>
                    <a:pt x="17" y="332"/>
                  </a:lnTo>
                  <a:lnTo>
                    <a:pt x="15" y="332"/>
                  </a:lnTo>
                  <a:lnTo>
                    <a:pt x="17" y="332"/>
                  </a:lnTo>
                  <a:lnTo>
                    <a:pt x="17" y="331"/>
                  </a:lnTo>
                  <a:lnTo>
                    <a:pt x="17" y="332"/>
                  </a:lnTo>
                  <a:lnTo>
                    <a:pt x="18" y="332"/>
                  </a:lnTo>
                  <a:lnTo>
                    <a:pt x="18" y="331"/>
                  </a:lnTo>
                  <a:lnTo>
                    <a:pt x="19" y="330"/>
                  </a:lnTo>
                  <a:lnTo>
                    <a:pt x="19" y="331"/>
                  </a:lnTo>
                  <a:lnTo>
                    <a:pt x="18" y="332"/>
                  </a:lnTo>
                  <a:close/>
                  <a:moveTo>
                    <a:pt x="248" y="327"/>
                  </a:moveTo>
                  <a:lnTo>
                    <a:pt x="248" y="326"/>
                  </a:lnTo>
                  <a:lnTo>
                    <a:pt x="249" y="326"/>
                  </a:lnTo>
                  <a:lnTo>
                    <a:pt x="248" y="327"/>
                  </a:lnTo>
                  <a:close/>
                  <a:moveTo>
                    <a:pt x="29" y="326"/>
                  </a:moveTo>
                  <a:lnTo>
                    <a:pt x="29" y="325"/>
                  </a:lnTo>
                  <a:lnTo>
                    <a:pt x="31" y="326"/>
                  </a:lnTo>
                  <a:lnTo>
                    <a:pt x="29" y="326"/>
                  </a:lnTo>
                  <a:close/>
                  <a:moveTo>
                    <a:pt x="32" y="326"/>
                  </a:moveTo>
                  <a:lnTo>
                    <a:pt x="33" y="326"/>
                  </a:lnTo>
                  <a:lnTo>
                    <a:pt x="34" y="327"/>
                  </a:lnTo>
                  <a:lnTo>
                    <a:pt x="33" y="327"/>
                  </a:lnTo>
                  <a:lnTo>
                    <a:pt x="32" y="327"/>
                  </a:lnTo>
                  <a:lnTo>
                    <a:pt x="31" y="327"/>
                  </a:lnTo>
                  <a:lnTo>
                    <a:pt x="31" y="326"/>
                  </a:lnTo>
                  <a:lnTo>
                    <a:pt x="31" y="325"/>
                  </a:lnTo>
                  <a:lnTo>
                    <a:pt x="32" y="325"/>
                  </a:lnTo>
                  <a:lnTo>
                    <a:pt x="32" y="326"/>
                  </a:lnTo>
                  <a:close/>
                  <a:moveTo>
                    <a:pt x="107" y="310"/>
                  </a:moveTo>
                  <a:lnTo>
                    <a:pt x="107" y="309"/>
                  </a:lnTo>
                  <a:lnTo>
                    <a:pt x="108" y="310"/>
                  </a:lnTo>
                  <a:lnTo>
                    <a:pt x="107" y="310"/>
                  </a:lnTo>
                  <a:close/>
                  <a:moveTo>
                    <a:pt x="108" y="309"/>
                  </a:moveTo>
                  <a:lnTo>
                    <a:pt x="107" y="308"/>
                  </a:lnTo>
                  <a:lnTo>
                    <a:pt x="108" y="308"/>
                  </a:lnTo>
                  <a:lnTo>
                    <a:pt x="108" y="309"/>
                  </a:lnTo>
                  <a:close/>
                  <a:moveTo>
                    <a:pt x="46" y="302"/>
                  </a:moveTo>
                  <a:lnTo>
                    <a:pt x="44" y="302"/>
                  </a:lnTo>
                  <a:lnTo>
                    <a:pt x="43" y="302"/>
                  </a:lnTo>
                  <a:lnTo>
                    <a:pt x="44" y="301"/>
                  </a:lnTo>
                  <a:lnTo>
                    <a:pt x="46" y="302"/>
                  </a:lnTo>
                  <a:close/>
                  <a:moveTo>
                    <a:pt x="50" y="298"/>
                  </a:moveTo>
                  <a:lnTo>
                    <a:pt x="50" y="297"/>
                  </a:lnTo>
                  <a:lnTo>
                    <a:pt x="50" y="298"/>
                  </a:lnTo>
                  <a:close/>
                  <a:moveTo>
                    <a:pt x="252" y="296"/>
                  </a:moveTo>
                  <a:lnTo>
                    <a:pt x="252" y="297"/>
                  </a:lnTo>
                  <a:lnTo>
                    <a:pt x="250" y="296"/>
                  </a:lnTo>
                  <a:lnTo>
                    <a:pt x="252" y="296"/>
                  </a:lnTo>
                  <a:close/>
                  <a:moveTo>
                    <a:pt x="57" y="296"/>
                  </a:moveTo>
                  <a:lnTo>
                    <a:pt x="56" y="296"/>
                  </a:lnTo>
                  <a:lnTo>
                    <a:pt x="57" y="296"/>
                  </a:lnTo>
                  <a:close/>
                  <a:moveTo>
                    <a:pt x="64" y="296"/>
                  </a:moveTo>
                  <a:lnTo>
                    <a:pt x="64" y="297"/>
                  </a:lnTo>
                  <a:lnTo>
                    <a:pt x="63" y="297"/>
                  </a:lnTo>
                  <a:lnTo>
                    <a:pt x="62" y="297"/>
                  </a:lnTo>
                  <a:lnTo>
                    <a:pt x="62" y="298"/>
                  </a:lnTo>
                  <a:lnTo>
                    <a:pt x="63" y="298"/>
                  </a:lnTo>
                  <a:lnTo>
                    <a:pt x="62" y="298"/>
                  </a:lnTo>
                  <a:lnTo>
                    <a:pt x="61" y="298"/>
                  </a:lnTo>
                  <a:lnTo>
                    <a:pt x="61" y="299"/>
                  </a:lnTo>
                  <a:lnTo>
                    <a:pt x="61" y="301"/>
                  </a:lnTo>
                  <a:lnTo>
                    <a:pt x="60" y="301"/>
                  </a:lnTo>
                  <a:lnTo>
                    <a:pt x="60" y="302"/>
                  </a:lnTo>
                  <a:lnTo>
                    <a:pt x="61" y="302"/>
                  </a:lnTo>
                  <a:lnTo>
                    <a:pt x="60" y="302"/>
                  </a:lnTo>
                  <a:lnTo>
                    <a:pt x="60" y="303"/>
                  </a:lnTo>
                  <a:lnTo>
                    <a:pt x="58" y="304"/>
                  </a:lnTo>
                  <a:lnTo>
                    <a:pt x="60" y="304"/>
                  </a:lnTo>
                  <a:lnTo>
                    <a:pt x="60" y="305"/>
                  </a:lnTo>
                  <a:lnTo>
                    <a:pt x="58" y="305"/>
                  </a:lnTo>
                  <a:lnTo>
                    <a:pt x="57" y="304"/>
                  </a:lnTo>
                  <a:lnTo>
                    <a:pt x="57" y="303"/>
                  </a:lnTo>
                  <a:lnTo>
                    <a:pt x="58" y="303"/>
                  </a:lnTo>
                  <a:lnTo>
                    <a:pt x="58" y="302"/>
                  </a:lnTo>
                  <a:lnTo>
                    <a:pt x="57" y="301"/>
                  </a:lnTo>
                  <a:lnTo>
                    <a:pt x="58" y="301"/>
                  </a:lnTo>
                  <a:lnTo>
                    <a:pt x="58" y="299"/>
                  </a:lnTo>
                  <a:lnTo>
                    <a:pt x="60" y="299"/>
                  </a:lnTo>
                  <a:lnTo>
                    <a:pt x="60" y="298"/>
                  </a:lnTo>
                  <a:lnTo>
                    <a:pt x="60" y="297"/>
                  </a:lnTo>
                  <a:lnTo>
                    <a:pt x="58" y="297"/>
                  </a:lnTo>
                  <a:lnTo>
                    <a:pt x="58" y="296"/>
                  </a:lnTo>
                  <a:lnTo>
                    <a:pt x="60" y="296"/>
                  </a:lnTo>
                  <a:lnTo>
                    <a:pt x="60" y="297"/>
                  </a:lnTo>
                  <a:lnTo>
                    <a:pt x="61" y="297"/>
                  </a:lnTo>
                  <a:lnTo>
                    <a:pt x="62" y="296"/>
                  </a:lnTo>
                  <a:lnTo>
                    <a:pt x="62" y="295"/>
                  </a:lnTo>
                  <a:lnTo>
                    <a:pt x="63" y="295"/>
                  </a:lnTo>
                  <a:lnTo>
                    <a:pt x="63" y="294"/>
                  </a:lnTo>
                  <a:lnTo>
                    <a:pt x="64" y="295"/>
                  </a:lnTo>
                  <a:lnTo>
                    <a:pt x="64" y="296"/>
                  </a:lnTo>
                  <a:close/>
                  <a:moveTo>
                    <a:pt x="64" y="291"/>
                  </a:moveTo>
                  <a:lnTo>
                    <a:pt x="64" y="290"/>
                  </a:lnTo>
                  <a:lnTo>
                    <a:pt x="64" y="291"/>
                  </a:lnTo>
                  <a:close/>
                  <a:moveTo>
                    <a:pt x="58" y="291"/>
                  </a:moveTo>
                  <a:lnTo>
                    <a:pt x="57" y="291"/>
                  </a:lnTo>
                  <a:lnTo>
                    <a:pt x="58" y="290"/>
                  </a:lnTo>
                  <a:lnTo>
                    <a:pt x="58" y="291"/>
                  </a:lnTo>
                  <a:close/>
                  <a:moveTo>
                    <a:pt x="250" y="290"/>
                  </a:moveTo>
                  <a:lnTo>
                    <a:pt x="249" y="290"/>
                  </a:lnTo>
                  <a:lnTo>
                    <a:pt x="250" y="290"/>
                  </a:lnTo>
                  <a:close/>
                  <a:moveTo>
                    <a:pt x="65" y="284"/>
                  </a:moveTo>
                  <a:lnTo>
                    <a:pt x="65" y="285"/>
                  </a:lnTo>
                  <a:lnTo>
                    <a:pt x="64" y="285"/>
                  </a:lnTo>
                  <a:lnTo>
                    <a:pt x="64" y="284"/>
                  </a:lnTo>
                  <a:lnTo>
                    <a:pt x="65" y="284"/>
                  </a:lnTo>
                  <a:lnTo>
                    <a:pt x="67" y="284"/>
                  </a:lnTo>
                  <a:lnTo>
                    <a:pt x="65" y="284"/>
                  </a:lnTo>
                  <a:close/>
                  <a:moveTo>
                    <a:pt x="58" y="277"/>
                  </a:moveTo>
                  <a:lnTo>
                    <a:pt x="58" y="278"/>
                  </a:lnTo>
                  <a:lnTo>
                    <a:pt x="57" y="277"/>
                  </a:lnTo>
                  <a:lnTo>
                    <a:pt x="58" y="277"/>
                  </a:lnTo>
                  <a:close/>
                  <a:moveTo>
                    <a:pt x="69" y="281"/>
                  </a:moveTo>
                  <a:lnTo>
                    <a:pt x="68" y="281"/>
                  </a:lnTo>
                  <a:lnTo>
                    <a:pt x="68" y="280"/>
                  </a:lnTo>
                  <a:lnTo>
                    <a:pt x="67" y="278"/>
                  </a:lnTo>
                  <a:lnTo>
                    <a:pt x="67" y="277"/>
                  </a:lnTo>
                  <a:lnTo>
                    <a:pt x="68" y="277"/>
                  </a:lnTo>
                  <a:lnTo>
                    <a:pt x="68" y="278"/>
                  </a:lnTo>
                  <a:lnTo>
                    <a:pt x="69" y="278"/>
                  </a:lnTo>
                  <a:lnTo>
                    <a:pt x="69" y="280"/>
                  </a:lnTo>
                  <a:lnTo>
                    <a:pt x="69" y="281"/>
                  </a:lnTo>
                  <a:close/>
                  <a:moveTo>
                    <a:pt x="70" y="273"/>
                  </a:moveTo>
                  <a:lnTo>
                    <a:pt x="70" y="274"/>
                  </a:lnTo>
                  <a:lnTo>
                    <a:pt x="71" y="274"/>
                  </a:lnTo>
                  <a:lnTo>
                    <a:pt x="70" y="274"/>
                  </a:lnTo>
                  <a:lnTo>
                    <a:pt x="69" y="273"/>
                  </a:lnTo>
                  <a:lnTo>
                    <a:pt x="70" y="273"/>
                  </a:lnTo>
                  <a:close/>
                  <a:moveTo>
                    <a:pt x="79" y="271"/>
                  </a:moveTo>
                  <a:lnTo>
                    <a:pt x="78" y="270"/>
                  </a:lnTo>
                  <a:lnTo>
                    <a:pt x="79" y="270"/>
                  </a:lnTo>
                  <a:lnTo>
                    <a:pt x="79" y="269"/>
                  </a:lnTo>
                  <a:lnTo>
                    <a:pt x="79" y="270"/>
                  </a:lnTo>
                  <a:lnTo>
                    <a:pt x="79" y="271"/>
                  </a:lnTo>
                  <a:close/>
                  <a:moveTo>
                    <a:pt x="75" y="269"/>
                  </a:moveTo>
                  <a:lnTo>
                    <a:pt x="74" y="269"/>
                  </a:lnTo>
                  <a:lnTo>
                    <a:pt x="74" y="270"/>
                  </a:lnTo>
                  <a:lnTo>
                    <a:pt x="72" y="271"/>
                  </a:lnTo>
                  <a:lnTo>
                    <a:pt x="72" y="270"/>
                  </a:lnTo>
                  <a:lnTo>
                    <a:pt x="72" y="271"/>
                  </a:lnTo>
                  <a:lnTo>
                    <a:pt x="72" y="273"/>
                  </a:lnTo>
                  <a:lnTo>
                    <a:pt x="71" y="273"/>
                  </a:lnTo>
                  <a:lnTo>
                    <a:pt x="72" y="274"/>
                  </a:lnTo>
                  <a:lnTo>
                    <a:pt x="71" y="274"/>
                  </a:lnTo>
                  <a:lnTo>
                    <a:pt x="71" y="273"/>
                  </a:lnTo>
                  <a:lnTo>
                    <a:pt x="70" y="273"/>
                  </a:lnTo>
                  <a:lnTo>
                    <a:pt x="70" y="271"/>
                  </a:lnTo>
                  <a:lnTo>
                    <a:pt x="70" y="273"/>
                  </a:lnTo>
                  <a:lnTo>
                    <a:pt x="69" y="271"/>
                  </a:lnTo>
                  <a:lnTo>
                    <a:pt x="68" y="271"/>
                  </a:lnTo>
                  <a:lnTo>
                    <a:pt x="69" y="271"/>
                  </a:lnTo>
                  <a:lnTo>
                    <a:pt x="70" y="271"/>
                  </a:lnTo>
                  <a:lnTo>
                    <a:pt x="69" y="271"/>
                  </a:lnTo>
                  <a:lnTo>
                    <a:pt x="69" y="270"/>
                  </a:lnTo>
                  <a:lnTo>
                    <a:pt x="70" y="270"/>
                  </a:lnTo>
                  <a:lnTo>
                    <a:pt x="70" y="269"/>
                  </a:lnTo>
                  <a:lnTo>
                    <a:pt x="71" y="269"/>
                  </a:lnTo>
                  <a:lnTo>
                    <a:pt x="72" y="269"/>
                  </a:lnTo>
                  <a:lnTo>
                    <a:pt x="72" y="268"/>
                  </a:lnTo>
                  <a:lnTo>
                    <a:pt x="74" y="268"/>
                  </a:lnTo>
                  <a:lnTo>
                    <a:pt x="74" y="269"/>
                  </a:lnTo>
                  <a:lnTo>
                    <a:pt x="74" y="268"/>
                  </a:lnTo>
                  <a:lnTo>
                    <a:pt x="75" y="268"/>
                  </a:lnTo>
                  <a:lnTo>
                    <a:pt x="74" y="268"/>
                  </a:lnTo>
                  <a:lnTo>
                    <a:pt x="75" y="268"/>
                  </a:lnTo>
                  <a:lnTo>
                    <a:pt x="75" y="269"/>
                  </a:lnTo>
                  <a:close/>
                  <a:moveTo>
                    <a:pt x="69" y="253"/>
                  </a:moveTo>
                  <a:lnTo>
                    <a:pt x="68" y="253"/>
                  </a:lnTo>
                  <a:lnTo>
                    <a:pt x="68" y="252"/>
                  </a:lnTo>
                  <a:lnTo>
                    <a:pt x="68" y="253"/>
                  </a:lnTo>
                  <a:lnTo>
                    <a:pt x="69" y="253"/>
                  </a:lnTo>
                  <a:close/>
                  <a:moveTo>
                    <a:pt x="69" y="249"/>
                  </a:moveTo>
                  <a:lnTo>
                    <a:pt x="69" y="250"/>
                  </a:lnTo>
                  <a:lnTo>
                    <a:pt x="69" y="249"/>
                  </a:lnTo>
                  <a:close/>
                  <a:moveTo>
                    <a:pt x="69" y="246"/>
                  </a:moveTo>
                  <a:lnTo>
                    <a:pt x="70" y="246"/>
                  </a:lnTo>
                  <a:lnTo>
                    <a:pt x="71" y="247"/>
                  </a:lnTo>
                  <a:lnTo>
                    <a:pt x="70" y="247"/>
                  </a:lnTo>
                  <a:lnTo>
                    <a:pt x="70" y="246"/>
                  </a:lnTo>
                  <a:lnTo>
                    <a:pt x="69" y="246"/>
                  </a:lnTo>
                  <a:close/>
                  <a:moveTo>
                    <a:pt x="70" y="245"/>
                  </a:moveTo>
                  <a:lnTo>
                    <a:pt x="69" y="245"/>
                  </a:lnTo>
                  <a:lnTo>
                    <a:pt x="70" y="243"/>
                  </a:lnTo>
                  <a:lnTo>
                    <a:pt x="69" y="243"/>
                  </a:lnTo>
                  <a:lnTo>
                    <a:pt x="70" y="243"/>
                  </a:lnTo>
                  <a:lnTo>
                    <a:pt x="70" y="245"/>
                  </a:lnTo>
                  <a:close/>
                  <a:moveTo>
                    <a:pt x="75" y="236"/>
                  </a:moveTo>
                  <a:lnTo>
                    <a:pt x="76" y="236"/>
                  </a:lnTo>
                  <a:lnTo>
                    <a:pt x="76" y="238"/>
                  </a:lnTo>
                  <a:lnTo>
                    <a:pt x="77" y="238"/>
                  </a:lnTo>
                  <a:lnTo>
                    <a:pt x="78" y="239"/>
                  </a:lnTo>
                  <a:lnTo>
                    <a:pt x="77" y="240"/>
                  </a:lnTo>
                  <a:lnTo>
                    <a:pt x="76" y="240"/>
                  </a:lnTo>
                  <a:lnTo>
                    <a:pt x="75" y="240"/>
                  </a:lnTo>
                  <a:lnTo>
                    <a:pt x="75" y="239"/>
                  </a:lnTo>
                  <a:lnTo>
                    <a:pt x="74" y="239"/>
                  </a:lnTo>
                  <a:lnTo>
                    <a:pt x="74" y="238"/>
                  </a:lnTo>
                  <a:lnTo>
                    <a:pt x="75" y="238"/>
                  </a:lnTo>
                  <a:lnTo>
                    <a:pt x="75" y="236"/>
                  </a:lnTo>
                  <a:close/>
                  <a:moveTo>
                    <a:pt x="70" y="236"/>
                  </a:moveTo>
                  <a:lnTo>
                    <a:pt x="71" y="236"/>
                  </a:lnTo>
                  <a:lnTo>
                    <a:pt x="71" y="238"/>
                  </a:lnTo>
                  <a:lnTo>
                    <a:pt x="71" y="236"/>
                  </a:lnTo>
                  <a:lnTo>
                    <a:pt x="70" y="236"/>
                  </a:lnTo>
                  <a:close/>
                  <a:moveTo>
                    <a:pt x="82" y="235"/>
                  </a:moveTo>
                  <a:lnTo>
                    <a:pt x="81" y="235"/>
                  </a:lnTo>
                  <a:lnTo>
                    <a:pt x="81" y="236"/>
                  </a:lnTo>
                  <a:lnTo>
                    <a:pt x="82" y="236"/>
                  </a:lnTo>
                  <a:lnTo>
                    <a:pt x="82" y="238"/>
                  </a:lnTo>
                  <a:lnTo>
                    <a:pt x="81" y="238"/>
                  </a:lnTo>
                  <a:lnTo>
                    <a:pt x="81" y="239"/>
                  </a:lnTo>
                  <a:lnTo>
                    <a:pt x="81" y="238"/>
                  </a:lnTo>
                  <a:lnTo>
                    <a:pt x="79" y="238"/>
                  </a:lnTo>
                  <a:lnTo>
                    <a:pt x="79" y="236"/>
                  </a:lnTo>
                  <a:lnTo>
                    <a:pt x="79" y="235"/>
                  </a:lnTo>
                  <a:lnTo>
                    <a:pt x="81" y="235"/>
                  </a:lnTo>
                  <a:lnTo>
                    <a:pt x="81" y="234"/>
                  </a:lnTo>
                  <a:lnTo>
                    <a:pt x="79" y="234"/>
                  </a:lnTo>
                  <a:lnTo>
                    <a:pt x="79" y="233"/>
                  </a:lnTo>
                  <a:lnTo>
                    <a:pt x="79" y="232"/>
                  </a:lnTo>
                  <a:lnTo>
                    <a:pt x="79" y="231"/>
                  </a:lnTo>
                  <a:lnTo>
                    <a:pt x="81" y="231"/>
                  </a:lnTo>
                  <a:lnTo>
                    <a:pt x="81" y="232"/>
                  </a:lnTo>
                  <a:lnTo>
                    <a:pt x="82" y="233"/>
                  </a:lnTo>
                  <a:lnTo>
                    <a:pt x="81" y="233"/>
                  </a:lnTo>
                  <a:lnTo>
                    <a:pt x="82" y="234"/>
                  </a:lnTo>
                  <a:lnTo>
                    <a:pt x="82" y="235"/>
                  </a:lnTo>
                  <a:close/>
                  <a:moveTo>
                    <a:pt x="65" y="231"/>
                  </a:moveTo>
                  <a:lnTo>
                    <a:pt x="64" y="231"/>
                  </a:lnTo>
                  <a:lnTo>
                    <a:pt x="65" y="231"/>
                  </a:lnTo>
                  <a:close/>
                  <a:moveTo>
                    <a:pt x="57" y="218"/>
                  </a:moveTo>
                  <a:lnTo>
                    <a:pt x="56" y="218"/>
                  </a:lnTo>
                  <a:lnTo>
                    <a:pt x="57" y="218"/>
                  </a:lnTo>
                  <a:lnTo>
                    <a:pt x="57" y="217"/>
                  </a:lnTo>
                  <a:lnTo>
                    <a:pt x="57" y="216"/>
                  </a:lnTo>
                  <a:lnTo>
                    <a:pt x="58" y="217"/>
                  </a:lnTo>
                  <a:lnTo>
                    <a:pt x="57" y="217"/>
                  </a:lnTo>
                  <a:lnTo>
                    <a:pt x="57" y="218"/>
                  </a:lnTo>
                  <a:close/>
                  <a:moveTo>
                    <a:pt x="58" y="214"/>
                  </a:moveTo>
                  <a:lnTo>
                    <a:pt x="60" y="214"/>
                  </a:lnTo>
                  <a:lnTo>
                    <a:pt x="60" y="216"/>
                  </a:lnTo>
                  <a:lnTo>
                    <a:pt x="58" y="216"/>
                  </a:lnTo>
                  <a:lnTo>
                    <a:pt x="58" y="214"/>
                  </a:lnTo>
                  <a:lnTo>
                    <a:pt x="57" y="214"/>
                  </a:lnTo>
                  <a:lnTo>
                    <a:pt x="58" y="214"/>
                  </a:lnTo>
                  <a:close/>
                  <a:moveTo>
                    <a:pt x="61" y="211"/>
                  </a:moveTo>
                  <a:lnTo>
                    <a:pt x="60" y="211"/>
                  </a:lnTo>
                  <a:lnTo>
                    <a:pt x="60" y="210"/>
                  </a:lnTo>
                  <a:lnTo>
                    <a:pt x="60" y="209"/>
                  </a:lnTo>
                  <a:lnTo>
                    <a:pt x="61" y="210"/>
                  </a:lnTo>
                  <a:lnTo>
                    <a:pt x="61" y="211"/>
                  </a:lnTo>
                  <a:close/>
                  <a:moveTo>
                    <a:pt x="61" y="209"/>
                  </a:moveTo>
                  <a:lnTo>
                    <a:pt x="61" y="207"/>
                  </a:lnTo>
                  <a:lnTo>
                    <a:pt x="61" y="209"/>
                  </a:lnTo>
                  <a:close/>
                  <a:moveTo>
                    <a:pt x="185" y="205"/>
                  </a:moveTo>
                  <a:lnTo>
                    <a:pt x="186" y="205"/>
                  </a:lnTo>
                  <a:lnTo>
                    <a:pt x="185" y="205"/>
                  </a:lnTo>
                  <a:close/>
                  <a:moveTo>
                    <a:pt x="61" y="204"/>
                  </a:moveTo>
                  <a:lnTo>
                    <a:pt x="62" y="204"/>
                  </a:lnTo>
                  <a:lnTo>
                    <a:pt x="62" y="206"/>
                  </a:lnTo>
                  <a:lnTo>
                    <a:pt x="61" y="206"/>
                  </a:lnTo>
                  <a:lnTo>
                    <a:pt x="61" y="205"/>
                  </a:lnTo>
                  <a:lnTo>
                    <a:pt x="61" y="206"/>
                  </a:lnTo>
                  <a:lnTo>
                    <a:pt x="60" y="206"/>
                  </a:lnTo>
                  <a:lnTo>
                    <a:pt x="60" y="205"/>
                  </a:lnTo>
                  <a:lnTo>
                    <a:pt x="60" y="204"/>
                  </a:lnTo>
                  <a:lnTo>
                    <a:pt x="61" y="204"/>
                  </a:lnTo>
                  <a:close/>
                  <a:moveTo>
                    <a:pt x="58" y="204"/>
                  </a:moveTo>
                  <a:lnTo>
                    <a:pt x="58" y="205"/>
                  </a:lnTo>
                  <a:lnTo>
                    <a:pt x="60" y="206"/>
                  </a:lnTo>
                  <a:lnTo>
                    <a:pt x="60" y="207"/>
                  </a:lnTo>
                  <a:lnTo>
                    <a:pt x="60" y="209"/>
                  </a:lnTo>
                  <a:lnTo>
                    <a:pt x="58" y="209"/>
                  </a:lnTo>
                  <a:lnTo>
                    <a:pt x="58" y="210"/>
                  </a:lnTo>
                  <a:lnTo>
                    <a:pt x="57" y="210"/>
                  </a:lnTo>
                  <a:lnTo>
                    <a:pt x="57" y="209"/>
                  </a:lnTo>
                  <a:lnTo>
                    <a:pt x="57" y="207"/>
                  </a:lnTo>
                  <a:lnTo>
                    <a:pt x="58" y="207"/>
                  </a:lnTo>
                  <a:lnTo>
                    <a:pt x="57" y="207"/>
                  </a:lnTo>
                  <a:lnTo>
                    <a:pt x="56" y="206"/>
                  </a:lnTo>
                  <a:lnTo>
                    <a:pt x="56" y="205"/>
                  </a:lnTo>
                  <a:lnTo>
                    <a:pt x="56" y="204"/>
                  </a:lnTo>
                  <a:lnTo>
                    <a:pt x="57" y="204"/>
                  </a:lnTo>
                  <a:lnTo>
                    <a:pt x="58" y="204"/>
                  </a:lnTo>
                  <a:close/>
                  <a:moveTo>
                    <a:pt x="61" y="203"/>
                  </a:moveTo>
                  <a:lnTo>
                    <a:pt x="62" y="203"/>
                  </a:lnTo>
                  <a:lnTo>
                    <a:pt x="62" y="204"/>
                  </a:lnTo>
                  <a:lnTo>
                    <a:pt x="61" y="204"/>
                  </a:lnTo>
                  <a:lnTo>
                    <a:pt x="62" y="204"/>
                  </a:lnTo>
                  <a:lnTo>
                    <a:pt x="61" y="204"/>
                  </a:lnTo>
                  <a:lnTo>
                    <a:pt x="61" y="203"/>
                  </a:lnTo>
                  <a:close/>
                  <a:moveTo>
                    <a:pt x="89" y="202"/>
                  </a:moveTo>
                  <a:lnTo>
                    <a:pt x="89" y="200"/>
                  </a:lnTo>
                  <a:lnTo>
                    <a:pt x="89" y="202"/>
                  </a:lnTo>
                  <a:close/>
                  <a:moveTo>
                    <a:pt x="39" y="200"/>
                  </a:moveTo>
                  <a:lnTo>
                    <a:pt x="40" y="202"/>
                  </a:lnTo>
                  <a:lnTo>
                    <a:pt x="41" y="202"/>
                  </a:lnTo>
                  <a:lnTo>
                    <a:pt x="40" y="202"/>
                  </a:lnTo>
                  <a:lnTo>
                    <a:pt x="40" y="203"/>
                  </a:lnTo>
                  <a:lnTo>
                    <a:pt x="40" y="202"/>
                  </a:lnTo>
                  <a:lnTo>
                    <a:pt x="39" y="202"/>
                  </a:lnTo>
                  <a:lnTo>
                    <a:pt x="39" y="203"/>
                  </a:lnTo>
                  <a:lnTo>
                    <a:pt x="40" y="203"/>
                  </a:lnTo>
                  <a:lnTo>
                    <a:pt x="39" y="203"/>
                  </a:lnTo>
                  <a:lnTo>
                    <a:pt x="37" y="203"/>
                  </a:lnTo>
                  <a:lnTo>
                    <a:pt x="36" y="203"/>
                  </a:lnTo>
                  <a:lnTo>
                    <a:pt x="36" y="202"/>
                  </a:lnTo>
                  <a:lnTo>
                    <a:pt x="37" y="202"/>
                  </a:lnTo>
                  <a:lnTo>
                    <a:pt x="37" y="203"/>
                  </a:lnTo>
                  <a:lnTo>
                    <a:pt x="37" y="202"/>
                  </a:lnTo>
                  <a:lnTo>
                    <a:pt x="36" y="202"/>
                  </a:lnTo>
                  <a:lnTo>
                    <a:pt x="36" y="200"/>
                  </a:lnTo>
                  <a:lnTo>
                    <a:pt x="37" y="200"/>
                  </a:lnTo>
                  <a:lnTo>
                    <a:pt x="37" y="199"/>
                  </a:lnTo>
                  <a:lnTo>
                    <a:pt x="39" y="199"/>
                  </a:lnTo>
                  <a:lnTo>
                    <a:pt x="39" y="200"/>
                  </a:lnTo>
                  <a:close/>
                  <a:moveTo>
                    <a:pt x="40" y="199"/>
                  </a:moveTo>
                  <a:lnTo>
                    <a:pt x="40" y="200"/>
                  </a:lnTo>
                  <a:lnTo>
                    <a:pt x="39" y="200"/>
                  </a:lnTo>
                  <a:lnTo>
                    <a:pt x="39" y="199"/>
                  </a:lnTo>
                  <a:lnTo>
                    <a:pt x="40" y="199"/>
                  </a:lnTo>
                  <a:close/>
                  <a:moveTo>
                    <a:pt x="40" y="198"/>
                  </a:moveTo>
                  <a:lnTo>
                    <a:pt x="40" y="199"/>
                  </a:lnTo>
                  <a:lnTo>
                    <a:pt x="39" y="199"/>
                  </a:lnTo>
                  <a:lnTo>
                    <a:pt x="39" y="198"/>
                  </a:lnTo>
                  <a:lnTo>
                    <a:pt x="40" y="199"/>
                  </a:lnTo>
                  <a:lnTo>
                    <a:pt x="40" y="198"/>
                  </a:lnTo>
                  <a:lnTo>
                    <a:pt x="40" y="199"/>
                  </a:lnTo>
                  <a:lnTo>
                    <a:pt x="40" y="198"/>
                  </a:lnTo>
                  <a:close/>
                  <a:moveTo>
                    <a:pt x="41" y="198"/>
                  </a:moveTo>
                  <a:lnTo>
                    <a:pt x="41" y="199"/>
                  </a:lnTo>
                  <a:lnTo>
                    <a:pt x="41" y="198"/>
                  </a:lnTo>
                  <a:lnTo>
                    <a:pt x="40" y="198"/>
                  </a:lnTo>
                  <a:lnTo>
                    <a:pt x="41" y="198"/>
                  </a:lnTo>
                  <a:close/>
                  <a:moveTo>
                    <a:pt x="183" y="196"/>
                  </a:moveTo>
                  <a:lnTo>
                    <a:pt x="182" y="196"/>
                  </a:lnTo>
                  <a:lnTo>
                    <a:pt x="181" y="195"/>
                  </a:lnTo>
                  <a:lnTo>
                    <a:pt x="182" y="195"/>
                  </a:lnTo>
                  <a:lnTo>
                    <a:pt x="183" y="195"/>
                  </a:lnTo>
                  <a:lnTo>
                    <a:pt x="183" y="196"/>
                  </a:lnTo>
                  <a:close/>
                  <a:moveTo>
                    <a:pt x="41" y="196"/>
                  </a:moveTo>
                  <a:lnTo>
                    <a:pt x="41" y="197"/>
                  </a:lnTo>
                  <a:lnTo>
                    <a:pt x="42" y="197"/>
                  </a:lnTo>
                  <a:lnTo>
                    <a:pt x="41" y="197"/>
                  </a:lnTo>
                  <a:lnTo>
                    <a:pt x="41" y="198"/>
                  </a:lnTo>
                  <a:lnTo>
                    <a:pt x="42" y="198"/>
                  </a:lnTo>
                  <a:lnTo>
                    <a:pt x="42" y="199"/>
                  </a:lnTo>
                  <a:lnTo>
                    <a:pt x="41" y="198"/>
                  </a:lnTo>
                  <a:lnTo>
                    <a:pt x="41" y="199"/>
                  </a:lnTo>
                  <a:lnTo>
                    <a:pt x="42" y="199"/>
                  </a:lnTo>
                  <a:lnTo>
                    <a:pt x="41" y="199"/>
                  </a:lnTo>
                  <a:lnTo>
                    <a:pt x="41" y="198"/>
                  </a:lnTo>
                  <a:lnTo>
                    <a:pt x="40" y="197"/>
                  </a:lnTo>
                  <a:lnTo>
                    <a:pt x="41" y="197"/>
                  </a:lnTo>
                  <a:lnTo>
                    <a:pt x="40" y="197"/>
                  </a:lnTo>
                  <a:lnTo>
                    <a:pt x="40" y="196"/>
                  </a:lnTo>
                  <a:lnTo>
                    <a:pt x="41" y="196"/>
                  </a:lnTo>
                  <a:lnTo>
                    <a:pt x="40" y="196"/>
                  </a:lnTo>
                  <a:lnTo>
                    <a:pt x="40" y="195"/>
                  </a:lnTo>
                  <a:lnTo>
                    <a:pt x="40" y="193"/>
                  </a:lnTo>
                  <a:lnTo>
                    <a:pt x="40" y="195"/>
                  </a:lnTo>
                  <a:lnTo>
                    <a:pt x="41" y="195"/>
                  </a:lnTo>
                  <a:lnTo>
                    <a:pt x="41" y="196"/>
                  </a:lnTo>
                  <a:close/>
                  <a:moveTo>
                    <a:pt x="40" y="192"/>
                  </a:moveTo>
                  <a:lnTo>
                    <a:pt x="39" y="192"/>
                  </a:lnTo>
                  <a:lnTo>
                    <a:pt x="40" y="192"/>
                  </a:lnTo>
                  <a:close/>
                  <a:moveTo>
                    <a:pt x="44" y="190"/>
                  </a:moveTo>
                  <a:lnTo>
                    <a:pt x="44" y="191"/>
                  </a:lnTo>
                  <a:lnTo>
                    <a:pt x="44" y="192"/>
                  </a:lnTo>
                  <a:lnTo>
                    <a:pt x="44" y="193"/>
                  </a:lnTo>
                  <a:lnTo>
                    <a:pt x="43" y="193"/>
                  </a:lnTo>
                  <a:lnTo>
                    <a:pt x="43" y="192"/>
                  </a:lnTo>
                  <a:lnTo>
                    <a:pt x="43" y="191"/>
                  </a:lnTo>
                  <a:lnTo>
                    <a:pt x="43" y="190"/>
                  </a:lnTo>
                  <a:lnTo>
                    <a:pt x="44" y="190"/>
                  </a:lnTo>
                  <a:lnTo>
                    <a:pt x="44" y="191"/>
                  </a:lnTo>
                  <a:lnTo>
                    <a:pt x="44" y="190"/>
                  </a:lnTo>
                  <a:close/>
                  <a:moveTo>
                    <a:pt x="43" y="189"/>
                  </a:moveTo>
                  <a:lnTo>
                    <a:pt x="44" y="189"/>
                  </a:lnTo>
                  <a:lnTo>
                    <a:pt x="43" y="189"/>
                  </a:lnTo>
                  <a:close/>
                  <a:moveTo>
                    <a:pt x="77" y="184"/>
                  </a:moveTo>
                  <a:lnTo>
                    <a:pt x="78" y="184"/>
                  </a:lnTo>
                  <a:lnTo>
                    <a:pt x="77" y="184"/>
                  </a:lnTo>
                  <a:close/>
                  <a:moveTo>
                    <a:pt x="44" y="183"/>
                  </a:moveTo>
                  <a:lnTo>
                    <a:pt x="44" y="184"/>
                  </a:lnTo>
                  <a:lnTo>
                    <a:pt x="46" y="184"/>
                  </a:lnTo>
                  <a:lnTo>
                    <a:pt x="46" y="185"/>
                  </a:lnTo>
                  <a:lnTo>
                    <a:pt x="44" y="185"/>
                  </a:lnTo>
                  <a:lnTo>
                    <a:pt x="43" y="185"/>
                  </a:lnTo>
                  <a:lnTo>
                    <a:pt x="43" y="184"/>
                  </a:lnTo>
                  <a:lnTo>
                    <a:pt x="43" y="185"/>
                  </a:lnTo>
                  <a:lnTo>
                    <a:pt x="43" y="184"/>
                  </a:lnTo>
                  <a:lnTo>
                    <a:pt x="43" y="183"/>
                  </a:lnTo>
                  <a:lnTo>
                    <a:pt x="44" y="183"/>
                  </a:lnTo>
                  <a:close/>
                  <a:moveTo>
                    <a:pt x="175" y="183"/>
                  </a:moveTo>
                  <a:lnTo>
                    <a:pt x="174" y="183"/>
                  </a:lnTo>
                  <a:lnTo>
                    <a:pt x="174" y="182"/>
                  </a:lnTo>
                  <a:lnTo>
                    <a:pt x="174" y="183"/>
                  </a:lnTo>
                  <a:lnTo>
                    <a:pt x="175" y="183"/>
                  </a:lnTo>
                  <a:close/>
                  <a:moveTo>
                    <a:pt x="77" y="182"/>
                  </a:moveTo>
                  <a:lnTo>
                    <a:pt x="78" y="182"/>
                  </a:lnTo>
                  <a:lnTo>
                    <a:pt x="79" y="182"/>
                  </a:lnTo>
                  <a:lnTo>
                    <a:pt x="78" y="182"/>
                  </a:lnTo>
                  <a:lnTo>
                    <a:pt x="78" y="183"/>
                  </a:lnTo>
                  <a:lnTo>
                    <a:pt x="77" y="183"/>
                  </a:lnTo>
                  <a:lnTo>
                    <a:pt x="76" y="183"/>
                  </a:lnTo>
                  <a:lnTo>
                    <a:pt x="76" y="182"/>
                  </a:lnTo>
                  <a:lnTo>
                    <a:pt x="77" y="182"/>
                  </a:lnTo>
                  <a:close/>
                  <a:moveTo>
                    <a:pt x="60" y="182"/>
                  </a:moveTo>
                  <a:lnTo>
                    <a:pt x="61" y="183"/>
                  </a:lnTo>
                  <a:lnTo>
                    <a:pt x="60" y="183"/>
                  </a:lnTo>
                  <a:lnTo>
                    <a:pt x="61" y="183"/>
                  </a:lnTo>
                  <a:lnTo>
                    <a:pt x="60" y="183"/>
                  </a:lnTo>
                  <a:lnTo>
                    <a:pt x="60" y="184"/>
                  </a:lnTo>
                  <a:lnTo>
                    <a:pt x="61" y="184"/>
                  </a:lnTo>
                  <a:lnTo>
                    <a:pt x="62" y="185"/>
                  </a:lnTo>
                  <a:lnTo>
                    <a:pt x="63" y="186"/>
                  </a:lnTo>
                  <a:lnTo>
                    <a:pt x="64" y="186"/>
                  </a:lnTo>
                  <a:lnTo>
                    <a:pt x="65" y="186"/>
                  </a:lnTo>
                  <a:lnTo>
                    <a:pt x="65" y="188"/>
                  </a:lnTo>
                  <a:lnTo>
                    <a:pt x="67" y="188"/>
                  </a:lnTo>
                  <a:lnTo>
                    <a:pt x="68" y="188"/>
                  </a:lnTo>
                  <a:lnTo>
                    <a:pt x="68" y="186"/>
                  </a:lnTo>
                  <a:lnTo>
                    <a:pt x="69" y="185"/>
                  </a:lnTo>
                  <a:lnTo>
                    <a:pt x="70" y="185"/>
                  </a:lnTo>
                  <a:lnTo>
                    <a:pt x="70" y="186"/>
                  </a:lnTo>
                  <a:lnTo>
                    <a:pt x="71" y="186"/>
                  </a:lnTo>
                  <a:lnTo>
                    <a:pt x="72" y="188"/>
                  </a:lnTo>
                  <a:lnTo>
                    <a:pt x="72" y="189"/>
                  </a:lnTo>
                  <a:lnTo>
                    <a:pt x="72" y="190"/>
                  </a:lnTo>
                  <a:lnTo>
                    <a:pt x="71" y="190"/>
                  </a:lnTo>
                  <a:lnTo>
                    <a:pt x="72" y="190"/>
                  </a:lnTo>
                  <a:lnTo>
                    <a:pt x="72" y="191"/>
                  </a:lnTo>
                  <a:lnTo>
                    <a:pt x="71" y="191"/>
                  </a:lnTo>
                  <a:lnTo>
                    <a:pt x="70" y="191"/>
                  </a:lnTo>
                  <a:lnTo>
                    <a:pt x="71" y="192"/>
                  </a:lnTo>
                  <a:lnTo>
                    <a:pt x="72" y="192"/>
                  </a:lnTo>
                  <a:lnTo>
                    <a:pt x="74" y="192"/>
                  </a:lnTo>
                  <a:lnTo>
                    <a:pt x="75" y="192"/>
                  </a:lnTo>
                  <a:lnTo>
                    <a:pt x="76" y="192"/>
                  </a:lnTo>
                  <a:lnTo>
                    <a:pt x="76" y="193"/>
                  </a:lnTo>
                  <a:lnTo>
                    <a:pt x="76" y="195"/>
                  </a:lnTo>
                  <a:lnTo>
                    <a:pt x="77" y="195"/>
                  </a:lnTo>
                  <a:lnTo>
                    <a:pt x="77" y="196"/>
                  </a:lnTo>
                  <a:lnTo>
                    <a:pt x="78" y="196"/>
                  </a:lnTo>
                  <a:lnTo>
                    <a:pt x="78" y="195"/>
                  </a:lnTo>
                  <a:lnTo>
                    <a:pt x="78" y="196"/>
                  </a:lnTo>
                  <a:lnTo>
                    <a:pt x="78" y="195"/>
                  </a:lnTo>
                  <a:lnTo>
                    <a:pt x="79" y="196"/>
                  </a:lnTo>
                  <a:lnTo>
                    <a:pt x="78" y="196"/>
                  </a:lnTo>
                  <a:lnTo>
                    <a:pt x="78" y="197"/>
                  </a:lnTo>
                  <a:lnTo>
                    <a:pt x="79" y="197"/>
                  </a:lnTo>
                  <a:lnTo>
                    <a:pt x="79" y="198"/>
                  </a:lnTo>
                  <a:lnTo>
                    <a:pt x="81" y="197"/>
                  </a:lnTo>
                  <a:lnTo>
                    <a:pt x="81" y="198"/>
                  </a:lnTo>
                  <a:lnTo>
                    <a:pt x="81" y="197"/>
                  </a:lnTo>
                  <a:lnTo>
                    <a:pt x="81" y="198"/>
                  </a:lnTo>
                  <a:lnTo>
                    <a:pt x="79" y="198"/>
                  </a:lnTo>
                  <a:lnTo>
                    <a:pt x="81" y="198"/>
                  </a:lnTo>
                  <a:lnTo>
                    <a:pt x="81" y="199"/>
                  </a:lnTo>
                  <a:lnTo>
                    <a:pt x="79" y="199"/>
                  </a:lnTo>
                  <a:lnTo>
                    <a:pt x="81" y="199"/>
                  </a:lnTo>
                  <a:lnTo>
                    <a:pt x="79" y="200"/>
                  </a:lnTo>
                  <a:lnTo>
                    <a:pt x="79" y="202"/>
                  </a:lnTo>
                  <a:lnTo>
                    <a:pt x="78" y="202"/>
                  </a:lnTo>
                  <a:lnTo>
                    <a:pt x="78" y="203"/>
                  </a:lnTo>
                  <a:lnTo>
                    <a:pt x="78" y="204"/>
                  </a:lnTo>
                  <a:lnTo>
                    <a:pt x="79" y="205"/>
                  </a:lnTo>
                  <a:lnTo>
                    <a:pt x="78" y="205"/>
                  </a:lnTo>
                  <a:lnTo>
                    <a:pt x="79" y="205"/>
                  </a:lnTo>
                  <a:lnTo>
                    <a:pt x="78" y="206"/>
                  </a:lnTo>
                  <a:lnTo>
                    <a:pt x="78" y="207"/>
                  </a:lnTo>
                  <a:lnTo>
                    <a:pt x="78" y="209"/>
                  </a:lnTo>
                  <a:lnTo>
                    <a:pt x="78" y="210"/>
                  </a:lnTo>
                  <a:lnTo>
                    <a:pt x="78" y="211"/>
                  </a:lnTo>
                  <a:lnTo>
                    <a:pt x="79" y="212"/>
                  </a:lnTo>
                  <a:lnTo>
                    <a:pt x="79" y="213"/>
                  </a:lnTo>
                  <a:lnTo>
                    <a:pt x="79" y="214"/>
                  </a:lnTo>
                  <a:lnTo>
                    <a:pt x="79" y="216"/>
                  </a:lnTo>
                  <a:lnTo>
                    <a:pt x="81" y="216"/>
                  </a:lnTo>
                  <a:lnTo>
                    <a:pt x="81" y="218"/>
                  </a:lnTo>
                  <a:lnTo>
                    <a:pt x="81" y="219"/>
                  </a:lnTo>
                  <a:lnTo>
                    <a:pt x="81" y="220"/>
                  </a:lnTo>
                  <a:lnTo>
                    <a:pt x="81" y="221"/>
                  </a:lnTo>
                  <a:lnTo>
                    <a:pt x="81" y="222"/>
                  </a:lnTo>
                  <a:lnTo>
                    <a:pt x="81" y="221"/>
                  </a:lnTo>
                  <a:lnTo>
                    <a:pt x="79" y="222"/>
                  </a:lnTo>
                  <a:lnTo>
                    <a:pt x="79" y="221"/>
                  </a:lnTo>
                  <a:lnTo>
                    <a:pt x="78" y="221"/>
                  </a:lnTo>
                  <a:lnTo>
                    <a:pt x="78" y="220"/>
                  </a:lnTo>
                  <a:lnTo>
                    <a:pt x="77" y="220"/>
                  </a:lnTo>
                  <a:lnTo>
                    <a:pt x="77" y="221"/>
                  </a:lnTo>
                  <a:lnTo>
                    <a:pt x="76" y="221"/>
                  </a:lnTo>
                  <a:lnTo>
                    <a:pt x="76" y="222"/>
                  </a:lnTo>
                  <a:lnTo>
                    <a:pt x="77" y="222"/>
                  </a:lnTo>
                  <a:lnTo>
                    <a:pt x="78" y="222"/>
                  </a:lnTo>
                  <a:lnTo>
                    <a:pt x="78" y="224"/>
                  </a:lnTo>
                  <a:lnTo>
                    <a:pt x="78" y="225"/>
                  </a:lnTo>
                  <a:lnTo>
                    <a:pt x="77" y="225"/>
                  </a:lnTo>
                  <a:lnTo>
                    <a:pt x="77" y="226"/>
                  </a:lnTo>
                  <a:lnTo>
                    <a:pt x="76" y="226"/>
                  </a:lnTo>
                  <a:lnTo>
                    <a:pt x="76" y="227"/>
                  </a:lnTo>
                  <a:lnTo>
                    <a:pt x="75" y="227"/>
                  </a:lnTo>
                  <a:lnTo>
                    <a:pt x="74" y="228"/>
                  </a:lnTo>
                  <a:lnTo>
                    <a:pt x="74" y="227"/>
                  </a:lnTo>
                  <a:lnTo>
                    <a:pt x="74" y="226"/>
                  </a:lnTo>
                  <a:lnTo>
                    <a:pt x="75" y="226"/>
                  </a:lnTo>
                  <a:lnTo>
                    <a:pt x="75" y="225"/>
                  </a:lnTo>
                  <a:lnTo>
                    <a:pt x="74" y="225"/>
                  </a:lnTo>
                  <a:lnTo>
                    <a:pt x="74" y="224"/>
                  </a:lnTo>
                  <a:lnTo>
                    <a:pt x="74" y="222"/>
                  </a:lnTo>
                  <a:lnTo>
                    <a:pt x="72" y="221"/>
                  </a:lnTo>
                  <a:lnTo>
                    <a:pt x="71" y="221"/>
                  </a:lnTo>
                  <a:lnTo>
                    <a:pt x="71" y="220"/>
                  </a:lnTo>
                  <a:lnTo>
                    <a:pt x="71" y="219"/>
                  </a:lnTo>
                  <a:lnTo>
                    <a:pt x="70" y="219"/>
                  </a:lnTo>
                  <a:lnTo>
                    <a:pt x="69" y="219"/>
                  </a:lnTo>
                  <a:lnTo>
                    <a:pt x="70" y="218"/>
                  </a:lnTo>
                  <a:lnTo>
                    <a:pt x="71" y="218"/>
                  </a:lnTo>
                  <a:lnTo>
                    <a:pt x="71" y="219"/>
                  </a:lnTo>
                  <a:lnTo>
                    <a:pt x="72" y="219"/>
                  </a:lnTo>
                  <a:lnTo>
                    <a:pt x="72" y="218"/>
                  </a:lnTo>
                  <a:lnTo>
                    <a:pt x="71" y="217"/>
                  </a:lnTo>
                  <a:lnTo>
                    <a:pt x="70" y="217"/>
                  </a:lnTo>
                  <a:lnTo>
                    <a:pt x="69" y="217"/>
                  </a:lnTo>
                  <a:lnTo>
                    <a:pt x="69" y="218"/>
                  </a:lnTo>
                  <a:lnTo>
                    <a:pt x="69" y="219"/>
                  </a:lnTo>
                  <a:lnTo>
                    <a:pt x="69" y="220"/>
                  </a:lnTo>
                  <a:lnTo>
                    <a:pt x="69" y="221"/>
                  </a:lnTo>
                  <a:lnTo>
                    <a:pt x="70" y="222"/>
                  </a:lnTo>
                  <a:lnTo>
                    <a:pt x="71" y="222"/>
                  </a:lnTo>
                  <a:lnTo>
                    <a:pt x="71" y="224"/>
                  </a:lnTo>
                  <a:lnTo>
                    <a:pt x="72" y="224"/>
                  </a:lnTo>
                  <a:lnTo>
                    <a:pt x="72" y="225"/>
                  </a:lnTo>
                  <a:lnTo>
                    <a:pt x="72" y="226"/>
                  </a:lnTo>
                  <a:lnTo>
                    <a:pt x="71" y="225"/>
                  </a:lnTo>
                  <a:lnTo>
                    <a:pt x="71" y="226"/>
                  </a:lnTo>
                  <a:lnTo>
                    <a:pt x="71" y="225"/>
                  </a:lnTo>
                  <a:lnTo>
                    <a:pt x="70" y="225"/>
                  </a:lnTo>
                  <a:lnTo>
                    <a:pt x="70" y="224"/>
                  </a:lnTo>
                  <a:lnTo>
                    <a:pt x="68" y="224"/>
                  </a:lnTo>
                  <a:lnTo>
                    <a:pt x="67" y="224"/>
                  </a:lnTo>
                  <a:lnTo>
                    <a:pt x="65" y="222"/>
                  </a:lnTo>
                  <a:lnTo>
                    <a:pt x="64" y="221"/>
                  </a:lnTo>
                  <a:lnTo>
                    <a:pt x="65" y="221"/>
                  </a:lnTo>
                  <a:lnTo>
                    <a:pt x="65" y="222"/>
                  </a:lnTo>
                  <a:lnTo>
                    <a:pt x="65" y="221"/>
                  </a:lnTo>
                  <a:lnTo>
                    <a:pt x="67" y="221"/>
                  </a:lnTo>
                  <a:lnTo>
                    <a:pt x="67" y="220"/>
                  </a:lnTo>
                  <a:lnTo>
                    <a:pt x="67" y="219"/>
                  </a:lnTo>
                  <a:lnTo>
                    <a:pt x="65" y="219"/>
                  </a:lnTo>
                  <a:lnTo>
                    <a:pt x="65" y="218"/>
                  </a:lnTo>
                  <a:lnTo>
                    <a:pt x="64" y="217"/>
                  </a:lnTo>
                  <a:lnTo>
                    <a:pt x="63" y="217"/>
                  </a:lnTo>
                  <a:lnTo>
                    <a:pt x="63" y="216"/>
                  </a:lnTo>
                  <a:lnTo>
                    <a:pt x="63" y="214"/>
                  </a:lnTo>
                  <a:lnTo>
                    <a:pt x="63" y="216"/>
                  </a:lnTo>
                  <a:lnTo>
                    <a:pt x="63" y="214"/>
                  </a:lnTo>
                  <a:lnTo>
                    <a:pt x="62" y="213"/>
                  </a:lnTo>
                  <a:lnTo>
                    <a:pt x="62" y="212"/>
                  </a:lnTo>
                  <a:lnTo>
                    <a:pt x="61" y="212"/>
                  </a:lnTo>
                  <a:lnTo>
                    <a:pt x="62" y="212"/>
                  </a:lnTo>
                  <a:lnTo>
                    <a:pt x="62" y="211"/>
                  </a:lnTo>
                  <a:lnTo>
                    <a:pt x="61" y="211"/>
                  </a:lnTo>
                  <a:lnTo>
                    <a:pt x="62" y="210"/>
                  </a:lnTo>
                  <a:lnTo>
                    <a:pt x="62" y="211"/>
                  </a:lnTo>
                  <a:lnTo>
                    <a:pt x="63" y="211"/>
                  </a:lnTo>
                  <a:lnTo>
                    <a:pt x="63" y="210"/>
                  </a:lnTo>
                  <a:lnTo>
                    <a:pt x="63" y="209"/>
                  </a:lnTo>
                  <a:lnTo>
                    <a:pt x="63" y="207"/>
                  </a:lnTo>
                  <a:lnTo>
                    <a:pt x="63" y="206"/>
                  </a:lnTo>
                  <a:lnTo>
                    <a:pt x="64" y="207"/>
                  </a:lnTo>
                  <a:lnTo>
                    <a:pt x="64" y="206"/>
                  </a:lnTo>
                  <a:lnTo>
                    <a:pt x="63" y="206"/>
                  </a:lnTo>
                  <a:lnTo>
                    <a:pt x="64" y="206"/>
                  </a:lnTo>
                  <a:lnTo>
                    <a:pt x="64" y="205"/>
                  </a:lnTo>
                  <a:lnTo>
                    <a:pt x="63" y="205"/>
                  </a:lnTo>
                  <a:lnTo>
                    <a:pt x="63" y="204"/>
                  </a:lnTo>
                  <a:lnTo>
                    <a:pt x="64" y="204"/>
                  </a:lnTo>
                  <a:lnTo>
                    <a:pt x="63" y="204"/>
                  </a:lnTo>
                  <a:lnTo>
                    <a:pt x="64" y="203"/>
                  </a:lnTo>
                  <a:lnTo>
                    <a:pt x="64" y="202"/>
                  </a:lnTo>
                  <a:lnTo>
                    <a:pt x="63" y="202"/>
                  </a:lnTo>
                  <a:lnTo>
                    <a:pt x="62" y="203"/>
                  </a:lnTo>
                  <a:lnTo>
                    <a:pt x="61" y="203"/>
                  </a:lnTo>
                  <a:lnTo>
                    <a:pt x="62" y="202"/>
                  </a:lnTo>
                  <a:lnTo>
                    <a:pt x="63" y="202"/>
                  </a:lnTo>
                  <a:lnTo>
                    <a:pt x="63" y="200"/>
                  </a:lnTo>
                  <a:lnTo>
                    <a:pt x="62" y="200"/>
                  </a:lnTo>
                  <a:lnTo>
                    <a:pt x="62" y="199"/>
                  </a:lnTo>
                  <a:lnTo>
                    <a:pt x="61" y="198"/>
                  </a:lnTo>
                  <a:lnTo>
                    <a:pt x="60" y="198"/>
                  </a:lnTo>
                  <a:lnTo>
                    <a:pt x="58" y="197"/>
                  </a:lnTo>
                  <a:lnTo>
                    <a:pt x="58" y="196"/>
                  </a:lnTo>
                  <a:lnTo>
                    <a:pt x="58" y="195"/>
                  </a:lnTo>
                  <a:lnTo>
                    <a:pt x="57" y="195"/>
                  </a:lnTo>
                  <a:lnTo>
                    <a:pt x="56" y="195"/>
                  </a:lnTo>
                  <a:lnTo>
                    <a:pt x="55" y="193"/>
                  </a:lnTo>
                  <a:lnTo>
                    <a:pt x="54" y="195"/>
                  </a:lnTo>
                  <a:lnTo>
                    <a:pt x="55" y="196"/>
                  </a:lnTo>
                  <a:lnTo>
                    <a:pt x="56" y="197"/>
                  </a:lnTo>
                  <a:lnTo>
                    <a:pt x="56" y="198"/>
                  </a:lnTo>
                  <a:lnTo>
                    <a:pt x="55" y="198"/>
                  </a:lnTo>
                  <a:lnTo>
                    <a:pt x="55" y="199"/>
                  </a:lnTo>
                  <a:lnTo>
                    <a:pt x="56" y="199"/>
                  </a:lnTo>
                  <a:lnTo>
                    <a:pt x="57" y="198"/>
                  </a:lnTo>
                  <a:lnTo>
                    <a:pt x="58" y="199"/>
                  </a:lnTo>
                  <a:lnTo>
                    <a:pt x="60" y="199"/>
                  </a:lnTo>
                  <a:lnTo>
                    <a:pt x="60" y="200"/>
                  </a:lnTo>
                  <a:lnTo>
                    <a:pt x="60" y="202"/>
                  </a:lnTo>
                  <a:lnTo>
                    <a:pt x="58" y="202"/>
                  </a:lnTo>
                  <a:lnTo>
                    <a:pt x="58" y="203"/>
                  </a:lnTo>
                  <a:lnTo>
                    <a:pt x="57" y="203"/>
                  </a:lnTo>
                  <a:lnTo>
                    <a:pt x="57" y="202"/>
                  </a:lnTo>
                  <a:lnTo>
                    <a:pt x="56" y="202"/>
                  </a:lnTo>
                  <a:lnTo>
                    <a:pt x="57" y="202"/>
                  </a:lnTo>
                  <a:lnTo>
                    <a:pt x="57" y="200"/>
                  </a:lnTo>
                  <a:lnTo>
                    <a:pt x="56" y="199"/>
                  </a:lnTo>
                  <a:lnTo>
                    <a:pt x="55" y="199"/>
                  </a:lnTo>
                  <a:lnTo>
                    <a:pt x="55" y="200"/>
                  </a:lnTo>
                  <a:lnTo>
                    <a:pt x="54" y="200"/>
                  </a:lnTo>
                  <a:lnTo>
                    <a:pt x="54" y="202"/>
                  </a:lnTo>
                  <a:lnTo>
                    <a:pt x="53" y="202"/>
                  </a:lnTo>
                  <a:lnTo>
                    <a:pt x="53" y="203"/>
                  </a:lnTo>
                  <a:lnTo>
                    <a:pt x="51" y="203"/>
                  </a:lnTo>
                  <a:lnTo>
                    <a:pt x="53" y="203"/>
                  </a:lnTo>
                  <a:lnTo>
                    <a:pt x="53" y="202"/>
                  </a:lnTo>
                  <a:lnTo>
                    <a:pt x="53" y="200"/>
                  </a:lnTo>
                  <a:lnTo>
                    <a:pt x="51" y="200"/>
                  </a:lnTo>
                  <a:lnTo>
                    <a:pt x="51" y="199"/>
                  </a:lnTo>
                  <a:lnTo>
                    <a:pt x="50" y="199"/>
                  </a:lnTo>
                  <a:lnTo>
                    <a:pt x="49" y="199"/>
                  </a:lnTo>
                  <a:lnTo>
                    <a:pt x="49" y="198"/>
                  </a:lnTo>
                  <a:lnTo>
                    <a:pt x="48" y="198"/>
                  </a:lnTo>
                  <a:lnTo>
                    <a:pt x="48" y="197"/>
                  </a:lnTo>
                  <a:lnTo>
                    <a:pt x="48" y="196"/>
                  </a:lnTo>
                  <a:lnTo>
                    <a:pt x="48" y="195"/>
                  </a:lnTo>
                  <a:lnTo>
                    <a:pt x="49" y="196"/>
                  </a:lnTo>
                  <a:lnTo>
                    <a:pt x="49" y="197"/>
                  </a:lnTo>
                  <a:lnTo>
                    <a:pt x="49" y="196"/>
                  </a:lnTo>
                  <a:lnTo>
                    <a:pt x="50" y="196"/>
                  </a:lnTo>
                  <a:lnTo>
                    <a:pt x="50" y="197"/>
                  </a:lnTo>
                  <a:lnTo>
                    <a:pt x="50" y="198"/>
                  </a:lnTo>
                  <a:lnTo>
                    <a:pt x="50" y="197"/>
                  </a:lnTo>
                  <a:lnTo>
                    <a:pt x="50" y="198"/>
                  </a:lnTo>
                  <a:lnTo>
                    <a:pt x="51" y="198"/>
                  </a:lnTo>
                  <a:lnTo>
                    <a:pt x="51" y="199"/>
                  </a:lnTo>
                  <a:lnTo>
                    <a:pt x="53" y="198"/>
                  </a:lnTo>
                  <a:lnTo>
                    <a:pt x="53" y="199"/>
                  </a:lnTo>
                  <a:lnTo>
                    <a:pt x="54" y="199"/>
                  </a:lnTo>
                  <a:lnTo>
                    <a:pt x="54" y="198"/>
                  </a:lnTo>
                  <a:lnTo>
                    <a:pt x="53" y="198"/>
                  </a:lnTo>
                  <a:lnTo>
                    <a:pt x="53" y="197"/>
                  </a:lnTo>
                  <a:lnTo>
                    <a:pt x="51" y="196"/>
                  </a:lnTo>
                  <a:lnTo>
                    <a:pt x="50" y="196"/>
                  </a:lnTo>
                  <a:lnTo>
                    <a:pt x="49" y="196"/>
                  </a:lnTo>
                  <a:lnTo>
                    <a:pt x="49" y="195"/>
                  </a:lnTo>
                  <a:lnTo>
                    <a:pt x="48" y="195"/>
                  </a:lnTo>
                  <a:lnTo>
                    <a:pt x="48" y="193"/>
                  </a:lnTo>
                  <a:lnTo>
                    <a:pt x="48" y="195"/>
                  </a:lnTo>
                  <a:lnTo>
                    <a:pt x="48" y="193"/>
                  </a:lnTo>
                  <a:lnTo>
                    <a:pt x="47" y="193"/>
                  </a:lnTo>
                  <a:lnTo>
                    <a:pt x="46" y="193"/>
                  </a:lnTo>
                  <a:lnTo>
                    <a:pt x="46" y="192"/>
                  </a:lnTo>
                  <a:lnTo>
                    <a:pt x="46" y="191"/>
                  </a:lnTo>
                  <a:lnTo>
                    <a:pt x="44" y="191"/>
                  </a:lnTo>
                  <a:lnTo>
                    <a:pt x="44" y="190"/>
                  </a:lnTo>
                  <a:lnTo>
                    <a:pt x="46" y="191"/>
                  </a:lnTo>
                  <a:lnTo>
                    <a:pt x="46" y="190"/>
                  </a:lnTo>
                  <a:lnTo>
                    <a:pt x="46" y="191"/>
                  </a:lnTo>
                  <a:lnTo>
                    <a:pt x="47" y="191"/>
                  </a:lnTo>
                  <a:lnTo>
                    <a:pt x="48" y="191"/>
                  </a:lnTo>
                  <a:lnTo>
                    <a:pt x="49" y="192"/>
                  </a:lnTo>
                  <a:lnTo>
                    <a:pt x="49" y="191"/>
                  </a:lnTo>
                  <a:lnTo>
                    <a:pt x="48" y="191"/>
                  </a:lnTo>
                  <a:lnTo>
                    <a:pt x="49" y="191"/>
                  </a:lnTo>
                  <a:lnTo>
                    <a:pt x="49" y="190"/>
                  </a:lnTo>
                  <a:lnTo>
                    <a:pt x="48" y="190"/>
                  </a:lnTo>
                  <a:lnTo>
                    <a:pt x="47" y="190"/>
                  </a:lnTo>
                  <a:lnTo>
                    <a:pt x="47" y="189"/>
                  </a:lnTo>
                  <a:lnTo>
                    <a:pt x="48" y="189"/>
                  </a:lnTo>
                  <a:lnTo>
                    <a:pt x="48" y="190"/>
                  </a:lnTo>
                  <a:lnTo>
                    <a:pt x="48" y="189"/>
                  </a:lnTo>
                  <a:lnTo>
                    <a:pt x="47" y="189"/>
                  </a:lnTo>
                  <a:lnTo>
                    <a:pt x="48" y="188"/>
                  </a:lnTo>
                  <a:lnTo>
                    <a:pt x="47" y="188"/>
                  </a:lnTo>
                  <a:lnTo>
                    <a:pt x="48" y="188"/>
                  </a:lnTo>
                  <a:lnTo>
                    <a:pt x="49" y="188"/>
                  </a:lnTo>
                  <a:lnTo>
                    <a:pt x="49" y="189"/>
                  </a:lnTo>
                  <a:lnTo>
                    <a:pt x="50" y="190"/>
                  </a:lnTo>
                  <a:lnTo>
                    <a:pt x="50" y="189"/>
                  </a:lnTo>
                  <a:lnTo>
                    <a:pt x="51" y="189"/>
                  </a:lnTo>
                  <a:lnTo>
                    <a:pt x="51" y="188"/>
                  </a:lnTo>
                  <a:lnTo>
                    <a:pt x="50" y="188"/>
                  </a:lnTo>
                  <a:lnTo>
                    <a:pt x="51" y="186"/>
                  </a:lnTo>
                  <a:lnTo>
                    <a:pt x="50" y="186"/>
                  </a:lnTo>
                  <a:lnTo>
                    <a:pt x="51" y="186"/>
                  </a:lnTo>
                  <a:lnTo>
                    <a:pt x="53" y="186"/>
                  </a:lnTo>
                  <a:lnTo>
                    <a:pt x="53" y="188"/>
                  </a:lnTo>
                  <a:lnTo>
                    <a:pt x="54" y="186"/>
                  </a:lnTo>
                  <a:lnTo>
                    <a:pt x="54" y="188"/>
                  </a:lnTo>
                  <a:lnTo>
                    <a:pt x="54" y="186"/>
                  </a:lnTo>
                  <a:lnTo>
                    <a:pt x="53" y="186"/>
                  </a:lnTo>
                  <a:lnTo>
                    <a:pt x="53" y="185"/>
                  </a:lnTo>
                  <a:lnTo>
                    <a:pt x="53" y="186"/>
                  </a:lnTo>
                  <a:lnTo>
                    <a:pt x="54" y="185"/>
                  </a:lnTo>
                  <a:lnTo>
                    <a:pt x="54" y="184"/>
                  </a:lnTo>
                  <a:lnTo>
                    <a:pt x="54" y="183"/>
                  </a:lnTo>
                  <a:lnTo>
                    <a:pt x="55" y="183"/>
                  </a:lnTo>
                  <a:lnTo>
                    <a:pt x="56" y="182"/>
                  </a:lnTo>
                  <a:lnTo>
                    <a:pt x="57" y="182"/>
                  </a:lnTo>
                  <a:lnTo>
                    <a:pt x="58" y="182"/>
                  </a:lnTo>
                  <a:lnTo>
                    <a:pt x="58" y="183"/>
                  </a:lnTo>
                  <a:lnTo>
                    <a:pt x="60" y="183"/>
                  </a:lnTo>
                  <a:lnTo>
                    <a:pt x="60" y="182"/>
                  </a:lnTo>
                  <a:close/>
                  <a:moveTo>
                    <a:pt x="82" y="182"/>
                  </a:moveTo>
                  <a:lnTo>
                    <a:pt x="81" y="182"/>
                  </a:lnTo>
                  <a:lnTo>
                    <a:pt x="81" y="181"/>
                  </a:lnTo>
                  <a:lnTo>
                    <a:pt x="82" y="181"/>
                  </a:lnTo>
                  <a:lnTo>
                    <a:pt x="82" y="182"/>
                  </a:lnTo>
                  <a:close/>
                  <a:moveTo>
                    <a:pt x="171" y="181"/>
                  </a:moveTo>
                  <a:lnTo>
                    <a:pt x="171" y="179"/>
                  </a:lnTo>
                  <a:lnTo>
                    <a:pt x="172" y="179"/>
                  </a:lnTo>
                  <a:lnTo>
                    <a:pt x="171" y="181"/>
                  </a:lnTo>
                  <a:close/>
                  <a:moveTo>
                    <a:pt x="79" y="178"/>
                  </a:moveTo>
                  <a:lnTo>
                    <a:pt x="79" y="179"/>
                  </a:lnTo>
                  <a:lnTo>
                    <a:pt x="79" y="178"/>
                  </a:lnTo>
                  <a:lnTo>
                    <a:pt x="79" y="179"/>
                  </a:lnTo>
                  <a:lnTo>
                    <a:pt x="78" y="179"/>
                  </a:lnTo>
                  <a:lnTo>
                    <a:pt x="78" y="178"/>
                  </a:lnTo>
                  <a:lnTo>
                    <a:pt x="79" y="178"/>
                  </a:lnTo>
                  <a:close/>
                  <a:moveTo>
                    <a:pt x="85" y="178"/>
                  </a:moveTo>
                  <a:lnTo>
                    <a:pt x="86" y="178"/>
                  </a:lnTo>
                  <a:lnTo>
                    <a:pt x="85" y="178"/>
                  </a:lnTo>
                  <a:lnTo>
                    <a:pt x="85" y="179"/>
                  </a:lnTo>
                  <a:lnTo>
                    <a:pt x="85" y="178"/>
                  </a:lnTo>
                  <a:lnTo>
                    <a:pt x="85" y="177"/>
                  </a:lnTo>
                  <a:lnTo>
                    <a:pt x="85" y="178"/>
                  </a:lnTo>
                  <a:close/>
                  <a:moveTo>
                    <a:pt x="82" y="178"/>
                  </a:moveTo>
                  <a:lnTo>
                    <a:pt x="81" y="178"/>
                  </a:lnTo>
                  <a:lnTo>
                    <a:pt x="81" y="177"/>
                  </a:lnTo>
                  <a:lnTo>
                    <a:pt x="82" y="177"/>
                  </a:lnTo>
                  <a:lnTo>
                    <a:pt x="82" y="178"/>
                  </a:lnTo>
                  <a:close/>
                  <a:moveTo>
                    <a:pt x="83" y="176"/>
                  </a:moveTo>
                  <a:lnTo>
                    <a:pt x="83" y="177"/>
                  </a:lnTo>
                  <a:lnTo>
                    <a:pt x="82" y="177"/>
                  </a:lnTo>
                  <a:lnTo>
                    <a:pt x="83" y="177"/>
                  </a:lnTo>
                  <a:lnTo>
                    <a:pt x="83" y="176"/>
                  </a:lnTo>
                  <a:close/>
                  <a:moveTo>
                    <a:pt x="85" y="177"/>
                  </a:moveTo>
                  <a:lnTo>
                    <a:pt x="84" y="177"/>
                  </a:lnTo>
                  <a:lnTo>
                    <a:pt x="84" y="176"/>
                  </a:lnTo>
                  <a:lnTo>
                    <a:pt x="85" y="177"/>
                  </a:lnTo>
                  <a:close/>
                  <a:moveTo>
                    <a:pt x="75" y="177"/>
                  </a:moveTo>
                  <a:lnTo>
                    <a:pt x="75" y="176"/>
                  </a:lnTo>
                  <a:lnTo>
                    <a:pt x="75" y="177"/>
                  </a:lnTo>
                  <a:close/>
                  <a:moveTo>
                    <a:pt x="34" y="176"/>
                  </a:moveTo>
                  <a:lnTo>
                    <a:pt x="35" y="176"/>
                  </a:lnTo>
                  <a:lnTo>
                    <a:pt x="34" y="176"/>
                  </a:lnTo>
                  <a:lnTo>
                    <a:pt x="35" y="176"/>
                  </a:lnTo>
                  <a:lnTo>
                    <a:pt x="35" y="177"/>
                  </a:lnTo>
                  <a:lnTo>
                    <a:pt x="36" y="177"/>
                  </a:lnTo>
                  <a:lnTo>
                    <a:pt x="35" y="177"/>
                  </a:lnTo>
                  <a:lnTo>
                    <a:pt x="35" y="178"/>
                  </a:lnTo>
                  <a:lnTo>
                    <a:pt x="36" y="178"/>
                  </a:lnTo>
                  <a:lnTo>
                    <a:pt x="35" y="178"/>
                  </a:lnTo>
                  <a:lnTo>
                    <a:pt x="36" y="178"/>
                  </a:lnTo>
                  <a:lnTo>
                    <a:pt x="35" y="178"/>
                  </a:lnTo>
                  <a:lnTo>
                    <a:pt x="35" y="179"/>
                  </a:lnTo>
                  <a:lnTo>
                    <a:pt x="35" y="178"/>
                  </a:lnTo>
                  <a:lnTo>
                    <a:pt x="35" y="179"/>
                  </a:lnTo>
                  <a:lnTo>
                    <a:pt x="34" y="179"/>
                  </a:lnTo>
                  <a:lnTo>
                    <a:pt x="34" y="178"/>
                  </a:lnTo>
                  <a:lnTo>
                    <a:pt x="34" y="177"/>
                  </a:lnTo>
                  <a:lnTo>
                    <a:pt x="34" y="176"/>
                  </a:lnTo>
                  <a:close/>
                  <a:moveTo>
                    <a:pt x="99" y="175"/>
                  </a:moveTo>
                  <a:lnTo>
                    <a:pt x="99" y="176"/>
                  </a:lnTo>
                  <a:lnTo>
                    <a:pt x="99" y="175"/>
                  </a:lnTo>
                  <a:lnTo>
                    <a:pt x="100" y="175"/>
                  </a:lnTo>
                  <a:lnTo>
                    <a:pt x="100" y="176"/>
                  </a:lnTo>
                  <a:lnTo>
                    <a:pt x="101" y="176"/>
                  </a:lnTo>
                  <a:lnTo>
                    <a:pt x="101" y="177"/>
                  </a:lnTo>
                  <a:lnTo>
                    <a:pt x="103" y="177"/>
                  </a:lnTo>
                  <a:lnTo>
                    <a:pt x="104" y="177"/>
                  </a:lnTo>
                  <a:lnTo>
                    <a:pt x="105" y="177"/>
                  </a:lnTo>
                  <a:lnTo>
                    <a:pt x="106" y="177"/>
                  </a:lnTo>
                  <a:lnTo>
                    <a:pt x="106" y="178"/>
                  </a:lnTo>
                  <a:lnTo>
                    <a:pt x="106" y="179"/>
                  </a:lnTo>
                  <a:lnTo>
                    <a:pt x="106" y="181"/>
                  </a:lnTo>
                  <a:lnTo>
                    <a:pt x="107" y="181"/>
                  </a:lnTo>
                  <a:lnTo>
                    <a:pt x="108" y="181"/>
                  </a:lnTo>
                  <a:lnTo>
                    <a:pt x="108" y="182"/>
                  </a:lnTo>
                  <a:lnTo>
                    <a:pt x="108" y="183"/>
                  </a:lnTo>
                  <a:lnTo>
                    <a:pt x="110" y="183"/>
                  </a:lnTo>
                  <a:lnTo>
                    <a:pt x="110" y="184"/>
                  </a:lnTo>
                  <a:lnTo>
                    <a:pt x="108" y="184"/>
                  </a:lnTo>
                  <a:lnTo>
                    <a:pt x="108" y="185"/>
                  </a:lnTo>
                  <a:lnTo>
                    <a:pt x="107" y="186"/>
                  </a:lnTo>
                  <a:lnTo>
                    <a:pt x="106" y="186"/>
                  </a:lnTo>
                  <a:lnTo>
                    <a:pt x="107" y="186"/>
                  </a:lnTo>
                  <a:lnTo>
                    <a:pt x="106" y="186"/>
                  </a:lnTo>
                  <a:lnTo>
                    <a:pt x="106" y="188"/>
                  </a:lnTo>
                  <a:lnTo>
                    <a:pt x="106" y="189"/>
                  </a:lnTo>
                  <a:lnTo>
                    <a:pt x="106" y="191"/>
                  </a:lnTo>
                  <a:lnTo>
                    <a:pt x="106" y="192"/>
                  </a:lnTo>
                  <a:lnTo>
                    <a:pt x="105" y="192"/>
                  </a:lnTo>
                  <a:lnTo>
                    <a:pt x="105" y="191"/>
                  </a:lnTo>
                  <a:lnTo>
                    <a:pt x="104" y="190"/>
                  </a:lnTo>
                  <a:lnTo>
                    <a:pt x="103" y="190"/>
                  </a:lnTo>
                  <a:lnTo>
                    <a:pt x="101" y="189"/>
                  </a:lnTo>
                  <a:lnTo>
                    <a:pt x="100" y="189"/>
                  </a:lnTo>
                  <a:lnTo>
                    <a:pt x="99" y="189"/>
                  </a:lnTo>
                  <a:lnTo>
                    <a:pt x="99" y="188"/>
                  </a:lnTo>
                  <a:lnTo>
                    <a:pt x="98" y="188"/>
                  </a:lnTo>
                  <a:lnTo>
                    <a:pt x="97" y="189"/>
                  </a:lnTo>
                  <a:lnTo>
                    <a:pt x="96" y="189"/>
                  </a:lnTo>
                  <a:lnTo>
                    <a:pt x="96" y="190"/>
                  </a:lnTo>
                  <a:lnTo>
                    <a:pt x="95" y="190"/>
                  </a:lnTo>
                  <a:lnTo>
                    <a:pt x="95" y="191"/>
                  </a:lnTo>
                  <a:lnTo>
                    <a:pt x="93" y="191"/>
                  </a:lnTo>
                  <a:lnTo>
                    <a:pt x="95" y="191"/>
                  </a:lnTo>
                  <a:lnTo>
                    <a:pt x="95" y="192"/>
                  </a:lnTo>
                  <a:lnTo>
                    <a:pt x="95" y="193"/>
                  </a:lnTo>
                  <a:lnTo>
                    <a:pt x="95" y="195"/>
                  </a:lnTo>
                  <a:lnTo>
                    <a:pt x="95" y="193"/>
                  </a:lnTo>
                  <a:lnTo>
                    <a:pt x="93" y="195"/>
                  </a:lnTo>
                  <a:lnTo>
                    <a:pt x="93" y="196"/>
                  </a:lnTo>
                  <a:lnTo>
                    <a:pt x="92" y="196"/>
                  </a:lnTo>
                  <a:lnTo>
                    <a:pt x="92" y="197"/>
                  </a:lnTo>
                  <a:lnTo>
                    <a:pt x="93" y="197"/>
                  </a:lnTo>
                  <a:lnTo>
                    <a:pt x="93" y="198"/>
                  </a:lnTo>
                  <a:lnTo>
                    <a:pt x="93" y="199"/>
                  </a:lnTo>
                  <a:lnTo>
                    <a:pt x="93" y="200"/>
                  </a:lnTo>
                  <a:lnTo>
                    <a:pt x="95" y="200"/>
                  </a:lnTo>
                  <a:lnTo>
                    <a:pt x="95" y="202"/>
                  </a:lnTo>
                  <a:lnTo>
                    <a:pt x="95" y="200"/>
                  </a:lnTo>
                  <a:lnTo>
                    <a:pt x="93" y="200"/>
                  </a:lnTo>
                  <a:lnTo>
                    <a:pt x="92" y="200"/>
                  </a:lnTo>
                  <a:lnTo>
                    <a:pt x="91" y="200"/>
                  </a:lnTo>
                  <a:lnTo>
                    <a:pt x="90" y="199"/>
                  </a:lnTo>
                  <a:lnTo>
                    <a:pt x="90" y="200"/>
                  </a:lnTo>
                  <a:lnTo>
                    <a:pt x="89" y="200"/>
                  </a:lnTo>
                  <a:lnTo>
                    <a:pt x="89" y="199"/>
                  </a:lnTo>
                  <a:lnTo>
                    <a:pt x="89" y="198"/>
                  </a:lnTo>
                  <a:lnTo>
                    <a:pt x="90" y="198"/>
                  </a:lnTo>
                  <a:lnTo>
                    <a:pt x="89" y="198"/>
                  </a:lnTo>
                  <a:lnTo>
                    <a:pt x="88" y="198"/>
                  </a:lnTo>
                  <a:lnTo>
                    <a:pt x="88" y="197"/>
                  </a:lnTo>
                  <a:lnTo>
                    <a:pt x="88" y="198"/>
                  </a:lnTo>
                  <a:lnTo>
                    <a:pt x="86" y="198"/>
                  </a:lnTo>
                  <a:lnTo>
                    <a:pt x="88" y="198"/>
                  </a:lnTo>
                  <a:lnTo>
                    <a:pt x="86" y="198"/>
                  </a:lnTo>
                  <a:lnTo>
                    <a:pt x="86" y="197"/>
                  </a:lnTo>
                  <a:lnTo>
                    <a:pt x="85" y="196"/>
                  </a:lnTo>
                  <a:lnTo>
                    <a:pt x="84" y="196"/>
                  </a:lnTo>
                  <a:lnTo>
                    <a:pt x="85" y="196"/>
                  </a:lnTo>
                  <a:lnTo>
                    <a:pt x="85" y="195"/>
                  </a:lnTo>
                  <a:lnTo>
                    <a:pt x="84" y="195"/>
                  </a:lnTo>
                  <a:lnTo>
                    <a:pt x="85" y="195"/>
                  </a:lnTo>
                  <a:lnTo>
                    <a:pt x="84" y="195"/>
                  </a:lnTo>
                  <a:lnTo>
                    <a:pt x="84" y="193"/>
                  </a:lnTo>
                  <a:lnTo>
                    <a:pt x="83" y="193"/>
                  </a:lnTo>
                  <a:lnTo>
                    <a:pt x="84" y="193"/>
                  </a:lnTo>
                  <a:lnTo>
                    <a:pt x="85" y="193"/>
                  </a:lnTo>
                  <a:lnTo>
                    <a:pt x="85" y="192"/>
                  </a:lnTo>
                  <a:lnTo>
                    <a:pt x="84" y="192"/>
                  </a:lnTo>
                  <a:lnTo>
                    <a:pt x="85" y="192"/>
                  </a:lnTo>
                  <a:lnTo>
                    <a:pt x="84" y="192"/>
                  </a:lnTo>
                  <a:lnTo>
                    <a:pt x="84" y="191"/>
                  </a:lnTo>
                  <a:lnTo>
                    <a:pt x="83" y="191"/>
                  </a:lnTo>
                  <a:lnTo>
                    <a:pt x="82" y="191"/>
                  </a:lnTo>
                  <a:lnTo>
                    <a:pt x="83" y="191"/>
                  </a:lnTo>
                  <a:lnTo>
                    <a:pt x="82" y="191"/>
                  </a:lnTo>
                  <a:lnTo>
                    <a:pt x="82" y="190"/>
                  </a:lnTo>
                  <a:lnTo>
                    <a:pt x="82" y="189"/>
                  </a:lnTo>
                  <a:lnTo>
                    <a:pt x="81" y="189"/>
                  </a:lnTo>
                  <a:lnTo>
                    <a:pt x="81" y="190"/>
                  </a:lnTo>
                  <a:lnTo>
                    <a:pt x="79" y="190"/>
                  </a:lnTo>
                  <a:lnTo>
                    <a:pt x="78" y="190"/>
                  </a:lnTo>
                  <a:lnTo>
                    <a:pt x="78" y="191"/>
                  </a:lnTo>
                  <a:lnTo>
                    <a:pt x="78" y="190"/>
                  </a:lnTo>
                  <a:lnTo>
                    <a:pt x="78" y="191"/>
                  </a:lnTo>
                  <a:lnTo>
                    <a:pt x="77" y="191"/>
                  </a:lnTo>
                  <a:lnTo>
                    <a:pt x="78" y="190"/>
                  </a:lnTo>
                  <a:lnTo>
                    <a:pt x="79" y="189"/>
                  </a:lnTo>
                  <a:lnTo>
                    <a:pt x="81" y="189"/>
                  </a:lnTo>
                  <a:lnTo>
                    <a:pt x="82" y="188"/>
                  </a:lnTo>
                  <a:lnTo>
                    <a:pt x="82" y="186"/>
                  </a:lnTo>
                  <a:lnTo>
                    <a:pt x="83" y="186"/>
                  </a:lnTo>
                  <a:lnTo>
                    <a:pt x="83" y="185"/>
                  </a:lnTo>
                  <a:lnTo>
                    <a:pt x="84" y="185"/>
                  </a:lnTo>
                  <a:lnTo>
                    <a:pt x="84" y="184"/>
                  </a:lnTo>
                  <a:lnTo>
                    <a:pt x="83" y="184"/>
                  </a:lnTo>
                  <a:lnTo>
                    <a:pt x="83" y="183"/>
                  </a:lnTo>
                  <a:lnTo>
                    <a:pt x="83" y="182"/>
                  </a:lnTo>
                  <a:lnTo>
                    <a:pt x="83" y="181"/>
                  </a:lnTo>
                  <a:lnTo>
                    <a:pt x="84" y="181"/>
                  </a:lnTo>
                  <a:lnTo>
                    <a:pt x="84" y="179"/>
                  </a:lnTo>
                  <a:lnTo>
                    <a:pt x="84" y="178"/>
                  </a:lnTo>
                  <a:lnTo>
                    <a:pt x="85" y="179"/>
                  </a:lnTo>
                  <a:lnTo>
                    <a:pt x="86" y="179"/>
                  </a:lnTo>
                  <a:lnTo>
                    <a:pt x="86" y="181"/>
                  </a:lnTo>
                  <a:lnTo>
                    <a:pt x="88" y="182"/>
                  </a:lnTo>
                  <a:lnTo>
                    <a:pt x="89" y="182"/>
                  </a:lnTo>
                  <a:lnTo>
                    <a:pt x="90" y="182"/>
                  </a:lnTo>
                  <a:lnTo>
                    <a:pt x="90" y="181"/>
                  </a:lnTo>
                  <a:lnTo>
                    <a:pt x="91" y="181"/>
                  </a:lnTo>
                  <a:lnTo>
                    <a:pt x="92" y="181"/>
                  </a:lnTo>
                  <a:lnTo>
                    <a:pt x="93" y="182"/>
                  </a:lnTo>
                  <a:lnTo>
                    <a:pt x="93" y="181"/>
                  </a:lnTo>
                  <a:lnTo>
                    <a:pt x="93" y="179"/>
                  </a:lnTo>
                  <a:lnTo>
                    <a:pt x="93" y="178"/>
                  </a:lnTo>
                  <a:lnTo>
                    <a:pt x="93" y="177"/>
                  </a:lnTo>
                  <a:lnTo>
                    <a:pt x="92" y="177"/>
                  </a:lnTo>
                  <a:lnTo>
                    <a:pt x="91" y="177"/>
                  </a:lnTo>
                  <a:lnTo>
                    <a:pt x="92" y="177"/>
                  </a:lnTo>
                  <a:lnTo>
                    <a:pt x="93" y="177"/>
                  </a:lnTo>
                  <a:lnTo>
                    <a:pt x="93" y="176"/>
                  </a:lnTo>
                  <a:lnTo>
                    <a:pt x="95" y="176"/>
                  </a:lnTo>
                  <a:lnTo>
                    <a:pt x="96" y="175"/>
                  </a:lnTo>
                  <a:lnTo>
                    <a:pt x="97" y="175"/>
                  </a:lnTo>
                  <a:lnTo>
                    <a:pt x="98" y="175"/>
                  </a:lnTo>
                  <a:lnTo>
                    <a:pt x="99" y="175"/>
                  </a:lnTo>
                  <a:close/>
                  <a:moveTo>
                    <a:pt x="92" y="175"/>
                  </a:moveTo>
                  <a:lnTo>
                    <a:pt x="93" y="175"/>
                  </a:lnTo>
                  <a:lnTo>
                    <a:pt x="92" y="175"/>
                  </a:lnTo>
                  <a:close/>
                  <a:moveTo>
                    <a:pt x="167" y="175"/>
                  </a:moveTo>
                  <a:lnTo>
                    <a:pt x="167" y="176"/>
                  </a:lnTo>
                  <a:lnTo>
                    <a:pt x="165" y="175"/>
                  </a:lnTo>
                  <a:lnTo>
                    <a:pt x="165" y="174"/>
                  </a:lnTo>
                  <a:lnTo>
                    <a:pt x="167" y="175"/>
                  </a:lnTo>
                  <a:close/>
                  <a:moveTo>
                    <a:pt x="97" y="174"/>
                  </a:moveTo>
                  <a:lnTo>
                    <a:pt x="96" y="174"/>
                  </a:lnTo>
                  <a:lnTo>
                    <a:pt x="96" y="172"/>
                  </a:lnTo>
                  <a:lnTo>
                    <a:pt x="97" y="172"/>
                  </a:lnTo>
                  <a:lnTo>
                    <a:pt x="97" y="174"/>
                  </a:lnTo>
                  <a:close/>
                  <a:moveTo>
                    <a:pt x="134" y="174"/>
                  </a:moveTo>
                  <a:lnTo>
                    <a:pt x="134" y="172"/>
                  </a:lnTo>
                  <a:lnTo>
                    <a:pt x="133" y="172"/>
                  </a:lnTo>
                  <a:lnTo>
                    <a:pt x="134" y="172"/>
                  </a:lnTo>
                  <a:lnTo>
                    <a:pt x="134" y="174"/>
                  </a:lnTo>
                  <a:close/>
                  <a:moveTo>
                    <a:pt x="133" y="172"/>
                  </a:moveTo>
                  <a:lnTo>
                    <a:pt x="134" y="172"/>
                  </a:lnTo>
                  <a:lnTo>
                    <a:pt x="133" y="172"/>
                  </a:lnTo>
                  <a:close/>
                  <a:moveTo>
                    <a:pt x="100" y="172"/>
                  </a:moveTo>
                  <a:lnTo>
                    <a:pt x="100" y="174"/>
                  </a:lnTo>
                  <a:lnTo>
                    <a:pt x="99" y="174"/>
                  </a:lnTo>
                  <a:lnTo>
                    <a:pt x="98" y="174"/>
                  </a:lnTo>
                  <a:lnTo>
                    <a:pt x="98" y="172"/>
                  </a:lnTo>
                  <a:lnTo>
                    <a:pt x="99" y="172"/>
                  </a:lnTo>
                  <a:lnTo>
                    <a:pt x="100" y="172"/>
                  </a:lnTo>
                  <a:close/>
                  <a:moveTo>
                    <a:pt x="108" y="175"/>
                  </a:moveTo>
                  <a:lnTo>
                    <a:pt x="108" y="176"/>
                  </a:lnTo>
                  <a:lnTo>
                    <a:pt x="110" y="176"/>
                  </a:lnTo>
                  <a:lnTo>
                    <a:pt x="110" y="177"/>
                  </a:lnTo>
                  <a:lnTo>
                    <a:pt x="108" y="177"/>
                  </a:lnTo>
                  <a:lnTo>
                    <a:pt x="107" y="177"/>
                  </a:lnTo>
                  <a:lnTo>
                    <a:pt x="106" y="177"/>
                  </a:lnTo>
                  <a:lnTo>
                    <a:pt x="106" y="176"/>
                  </a:lnTo>
                  <a:lnTo>
                    <a:pt x="106" y="174"/>
                  </a:lnTo>
                  <a:lnTo>
                    <a:pt x="107" y="174"/>
                  </a:lnTo>
                  <a:lnTo>
                    <a:pt x="107" y="172"/>
                  </a:lnTo>
                  <a:lnTo>
                    <a:pt x="107" y="171"/>
                  </a:lnTo>
                  <a:lnTo>
                    <a:pt x="108" y="171"/>
                  </a:lnTo>
                  <a:lnTo>
                    <a:pt x="108" y="172"/>
                  </a:lnTo>
                  <a:lnTo>
                    <a:pt x="108" y="174"/>
                  </a:lnTo>
                  <a:lnTo>
                    <a:pt x="108" y="175"/>
                  </a:lnTo>
                  <a:close/>
                  <a:moveTo>
                    <a:pt x="34" y="170"/>
                  </a:moveTo>
                  <a:lnTo>
                    <a:pt x="35" y="170"/>
                  </a:lnTo>
                  <a:lnTo>
                    <a:pt x="35" y="171"/>
                  </a:lnTo>
                  <a:lnTo>
                    <a:pt x="35" y="172"/>
                  </a:lnTo>
                  <a:lnTo>
                    <a:pt x="35" y="174"/>
                  </a:lnTo>
                  <a:lnTo>
                    <a:pt x="35" y="175"/>
                  </a:lnTo>
                  <a:lnTo>
                    <a:pt x="35" y="174"/>
                  </a:lnTo>
                  <a:lnTo>
                    <a:pt x="35" y="175"/>
                  </a:lnTo>
                  <a:lnTo>
                    <a:pt x="36" y="175"/>
                  </a:lnTo>
                  <a:lnTo>
                    <a:pt x="36" y="176"/>
                  </a:lnTo>
                  <a:lnTo>
                    <a:pt x="35" y="176"/>
                  </a:lnTo>
                  <a:lnTo>
                    <a:pt x="35" y="175"/>
                  </a:lnTo>
                  <a:lnTo>
                    <a:pt x="34" y="175"/>
                  </a:lnTo>
                  <a:lnTo>
                    <a:pt x="34" y="174"/>
                  </a:lnTo>
                  <a:lnTo>
                    <a:pt x="34" y="172"/>
                  </a:lnTo>
                  <a:lnTo>
                    <a:pt x="33" y="171"/>
                  </a:lnTo>
                  <a:lnTo>
                    <a:pt x="33" y="170"/>
                  </a:lnTo>
                  <a:lnTo>
                    <a:pt x="34" y="170"/>
                  </a:lnTo>
                  <a:close/>
                  <a:moveTo>
                    <a:pt x="165" y="170"/>
                  </a:moveTo>
                  <a:lnTo>
                    <a:pt x="164" y="170"/>
                  </a:lnTo>
                  <a:lnTo>
                    <a:pt x="164" y="169"/>
                  </a:lnTo>
                  <a:lnTo>
                    <a:pt x="164" y="168"/>
                  </a:lnTo>
                  <a:lnTo>
                    <a:pt x="165" y="169"/>
                  </a:lnTo>
                  <a:lnTo>
                    <a:pt x="165" y="170"/>
                  </a:lnTo>
                  <a:close/>
                  <a:moveTo>
                    <a:pt x="131" y="168"/>
                  </a:moveTo>
                  <a:lnTo>
                    <a:pt x="129" y="167"/>
                  </a:lnTo>
                  <a:lnTo>
                    <a:pt x="131" y="167"/>
                  </a:lnTo>
                  <a:lnTo>
                    <a:pt x="131" y="168"/>
                  </a:lnTo>
                  <a:close/>
                  <a:moveTo>
                    <a:pt x="72" y="149"/>
                  </a:moveTo>
                  <a:lnTo>
                    <a:pt x="71" y="149"/>
                  </a:lnTo>
                  <a:lnTo>
                    <a:pt x="72" y="149"/>
                  </a:lnTo>
                  <a:close/>
                  <a:moveTo>
                    <a:pt x="72" y="148"/>
                  </a:moveTo>
                  <a:lnTo>
                    <a:pt x="72" y="149"/>
                  </a:lnTo>
                  <a:lnTo>
                    <a:pt x="72" y="148"/>
                  </a:lnTo>
                  <a:lnTo>
                    <a:pt x="72" y="147"/>
                  </a:lnTo>
                  <a:lnTo>
                    <a:pt x="72" y="148"/>
                  </a:lnTo>
                  <a:close/>
                  <a:moveTo>
                    <a:pt x="72" y="147"/>
                  </a:moveTo>
                  <a:lnTo>
                    <a:pt x="71" y="147"/>
                  </a:lnTo>
                  <a:lnTo>
                    <a:pt x="72" y="147"/>
                  </a:lnTo>
                  <a:close/>
                  <a:moveTo>
                    <a:pt x="71" y="147"/>
                  </a:moveTo>
                  <a:lnTo>
                    <a:pt x="72" y="147"/>
                  </a:lnTo>
                  <a:lnTo>
                    <a:pt x="71" y="147"/>
                  </a:lnTo>
                  <a:lnTo>
                    <a:pt x="71" y="148"/>
                  </a:lnTo>
                  <a:lnTo>
                    <a:pt x="70" y="148"/>
                  </a:lnTo>
                  <a:lnTo>
                    <a:pt x="71" y="147"/>
                  </a:lnTo>
                  <a:close/>
                  <a:moveTo>
                    <a:pt x="75" y="146"/>
                  </a:moveTo>
                  <a:lnTo>
                    <a:pt x="75" y="147"/>
                  </a:lnTo>
                  <a:lnTo>
                    <a:pt x="74" y="147"/>
                  </a:lnTo>
                  <a:lnTo>
                    <a:pt x="72" y="146"/>
                  </a:lnTo>
                  <a:lnTo>
                    <a:pt x="72" y="144"/>
                  </a:lnTo>
                  <a:lnTo>
                    <a:pt x="72" y="143"/>
                  </a:lnTo>
                  <a:lnTo>
                    <a:pt x="74" y="144"/>
                  </a:lnTo>
                  <a:lnTo>
                    <a:pt x="75" y="144"/>
                  </a:lnTo>
                  <a:lnTo>
                    <a:pt x="75" y="146"/>
                  </a:lnTo>
                  <a:close/>
                  <a:moveTo>
                    <a:pt x="115" y="130"/>
                  </a:moveTo>
                  <a:lnTo>
                    <a:pt x="115" y="132"/>
                  </a:lnTo>
                  <a:lnTo>
                    <a:pt x="114" y="132"/>
                  </a:lnTo>
                  <a:lnTo>
                    <a:pt x="114" y="130"/>
                  </a:lnTo>
                  <a:lnTo>
                    <a:pt x="114" y="132"/>
                  </a:lnTo>
                  <a:lnTo>
                    <a:pt x="114" y="130"/>
                  </a:lnTo>
                  <a:lnTo>
                    <a:pt x="115" y="132"/>
                  </a:lnTo>
                  <a:lnTo>
                    <a:pt x="115" y="130"/>
                  </a:lnTo>
                  <a:close/>
                  <a:moveTo>
                    <a:pt x="126" y="116"/>
                  </a:moveTo>
                  <a:lnTo>
                    <a:pt x="127" y="116"/>
                  </a:lnTo>
                  <a:lnTo>
                    <a:pt x="128" y="116"/>
                  </a:lnTo>
                  <a:lnTo>
                    <a:pt x="128" y="118"/>
                  </a:lnTo>
                  <a:lnTo>
                    <a:pt x="128" y="119"/>
                  </a:lnTo>
                  <a:lnTo>
                    <a:pt x="127" y="120"/>
                  </a:lnTo>
                  <a:lnTo>
                    <a:pt x="126" y="121"/>
                  </a:lnTo>
                  <a:lnTo>
                    <a:pt x="126" y="120"/>
                  </a:lnTo>
                  <a:lnTo>
                    <a:pt x="125" y="120"/>
                  </a:lnTo>
                  <a:lnTo>
                    <a:pt x="126" y="120"/>
                  </a:lnTo>
                  <a:lnTo>
                    <a:pt x="126" y="119"/>
                  </a:lnTo>
                  <a:lnTo>
                    <a:pt x="126" y="118"/>
                  </a:lnTo>
                  <a:lnTo>
                    <a:pt x="125" y="118"/>
                  </a:lnTo>
                  <a:lnTo>
                    <a:pt x="124" y="118"/>
                  </a:lnTo>
                  <a:lnTo>
                    <a:pt x="124" y="116"/>
                  </a:lnTo>
                  <a:lnTo>
                    <a:pt x="124" y="115"/>
                  </a:lnTo>
                  <a:lnTo>
                    <a:pt x="124" y="114"/>
                  </a:lnTo>
                  <a:lnTo>
                    <a:pt x="125" y="114"/>
                  </a:lnTo>
                  <a:lnTo>
                    <a:pt x="125" y="113"/>
                  </a:lnTo>
                  <a:lnTo>
                    <a:pt x="126" y="114"/>
                  </a:lnTo>
                  <a:lnTo>
                    <a:pt x="126" y="115"/>
                  </a:lnTo>
                  <a:lnTo>
                    <a:pt x="126" y="116"/>
                  </a:lnTo>
                  <a:close/>
                  <a:moveTo>
                    <a:pt x="107" y="62"/>
                  </a:moveTo>
                  <a:lnTo>
                    <a:pt x="107" y="63"/>
                  </a:lnTo>
                  <a:lnTo>
                    <a:pt x="107" y="62"/>
                  </a:lnTo>
                  <a:close/>
                  <a:moveTo>
                    <a:pt x="133" y="65"/>
                  </a:moveTo>
                  <a:lnTo>
                    <a:pt x="134" y="65"/>
                  </a:lnTo>
                  <a:lnTo>
                    <a:pt x="134" y="64"/>
                  </a:lnTo>
                  <a:lnTo>
                    <a:pt x="135" y="64"/>
                  </a:lnTo>
                  <a:lnTo>
                    <a:pt x="135" y="65"/>
                  </a:lnTo>
                  <a:lnTo>
                    <a:pt x="136" y="66"/>
                  </a:lnTo>
                  <a:lnTo>
                    <a:pt x="136" y="67"/>
                  </a:lnTo>
                  <a:lnTo>
                    <a:pt x="136" y="69"/>
                  </a:lnTo>
                  <a:lnTo>
                    <a:pt x="138" y="69"/>
                  </a:lnTo>
                  <a:lnTo>
                    <a:pt x="138" y="70"/>
                  </a:lnTo>
                  <a:lnTo>
                    <a:pt x="139" y="71"/>
                  </a:lnTo>
                  <a:lnTo>
                    <a:pt x="140" y="73"/>
                  </a:lnTo>
                  <a:lnTo>
                    <a:pt x="141" y="74"/>
                  </a:lnTo>
                  <a:lnTo>
                    <a:pt x="142" y="76"/>
                  </a:lnTo>
                  <a:lnTo>
                    <a:pt x="143" y="77"/>
                  </a:lnTo>
                  <a:lnTo>
                    <a:pt x="145" y="78"/>
                  </a:lnTo>
                  <a:lnTo>
                    <a:pt x="146" y="78"/>
                  </a:lnTo>
                  <a:lnTo>
                    <a:pt x="147" y="79"/>
                  </a:lnTo>
                  <a:lnTo>
                    <a:pt x="148" y="79"/>
                  </a:lnTo>
                  <a:lnTo>
                    <a:pt x="148" y="80"/>
                  </a:lnTo>
                  <a:lnTo>
                    <a:pt x="149" y="80"/>
                  </a:lnTo>
                  <a:lnTo>
                    <a:pt x="149" y="81"/>
                  </a:lnTo>
                  <a:lnTo>
                    <a:pt x="150" y="81"/>
                  </a:lnTo>
                  <a:lnTo>
                    <a:pt x="152" y="83"/>
                  </a:lnTo>
                  <a:lnTo>
                    <a:pt x="152" y="84"/>
                  </a:lnTo>
                  <a:lnTo>
                    <a:pt x="153" y="84"/>
                  </a:lnTo>
                  <a:lnTo>
                    <a:pt x="153" y="85"/>
                  </a:lnTo>
                  <a:lnTo>
                    <a:pt x="154" y="86"/>
                  </a:lnTo>
                  <a:lnTo>
                    <a:pt x="155" y="86"/>
                  </a:lnTo>
                  <a:lnTo>
                    <a:pt x="155" y="87"/>
                  </a:lnTo>
                  <a:lnTo>
                    <a:pt x="156" y="87"/>
                  </a:lnTo>
                  <a:lnTo>
                    <a:pt x="156" y="88"/>
                  </a:lnTo>
                  <a:lnTo>
                    <a:pt x="157" y="90"/>
                  </a:lnTo>
                  <a:lnTo>
                    <a:pt x="157" y="91"/>
                  </a:lnTo>
                  <a:lnTo>
                    <a:pt x="159" y="91"/>
                  </a:lnTo>
                  <a:lnTo>
                    <a:pt x="159" y="92"/>
                  </a:lnTo>
                  <a:lnTo>
                    <a:pt x="160" y="92"/>
                  </a:lnTo>
                  <a:lnTo>
                    <a:pt x="160" y="93"/>
                  </a:lnTo>
                  <a:lnTo>
                    <a:pt x="161" y="93"/>
                  </a:lnTo>
                  <a:lnTo>
                    <a:pt x="160" y="94"/>
                  </a:lnTo>
                  <a:lnTo>
                    <a:pt x="161" y="94"/>
                  </a:lnTo>
                  <a:lnTo>
                    <a:pt x="161" y="95"/>
                  </a:lnTo>
                  <a:lnTo>
                    <a:pt x="160" y="95"/>
                  </a:lnTo>
                  <a:lnTo>
                    <a:pt x="161" y="95"/>
                  </a:lnTo>
                  <a:lnTo>
                    <a:pt x="161" y="97"/>
                  </a:lnTo>
                  <a:lnTo>
                    <a:pt x="160" y="97"/>
                  </a:lnTo>
                  <a:lnTo>
                    <a:pt x="161" y="97"/>
                  </a:lnTo>
                  <a:lnTo>
                    <a:pt x="161" y="98"/>
                  </a:lnTo>
                  <a:lnTo>
                    <a:pt x="162" y="98"/>
                  </a:lnTo>
                  <a:lnTo>
                    <a:pt x="161" y="99"/>
                  </a:lnTo>
                  <a:lnTo>
                    <a:pt x="162" y="99"/>
                  </a:lnTo>
                  <a:lnTo>
                    <a:pt x="161" y="99"/>
                  </a:lnTo>
                  <a:lnTo>
                    <a:pt x="162" y="100"/>
                  </a:lnTo>
                  <a:lnTo>
                    <a:pt x="161" y="100"/>
                  </a:lnTo>
                  <a:lnTo>
                    <a:pt x="162" y="100"/>
                  </a:lnTo>
                  <a:lnTo>
                    <a:pt x="162" y="101"/>
                  </a:lnTo>
                  <a:lnTo>
                    <a:pt x="161" y="101"/>
                  </a:lnTo>
                  <a:lnTo>
                    <a:pt x="161" y="102"/>
                  </a:lnTo>
                  <a:lnTo>
                    <a:pt x="160" y="102"/>
                  </a:lnTo>
                  <a:lnTo>
                    <a:pt x="161" y="102"/>
                  </a:lnTo>
                  <a:lnTo>
                    <a:pt x="161" y="101"/>
                  </a:lnTo>
                  <a:lnTo>
                    <a:pt x="160" y="101"/>
                  </a:lnTo>
                  <a:lnTo>
                    <a:pt x="160" y="102"/>
                  </a:lnTo>
                  <a:lnTo>
                    <a:pt x="161" y="102"/>
                  </a:lnTo>
                  <a:lnTo>
                    <a:pt x="161" y="104"/>
                  </a:lnTo>
                  <a:lnTo>
                    <a:pt x="160" y="104"/>
                  </a:lnTo>
                  <a:lnTo>
                    <a:pt x="161" y="105"/>
                  </a:lnTo>
                  <a:lnTo>
                    <a:pt x="160" y="105"/>
                  </a:lnTo>
                  <a:lnTo>
                    <a:pt x="161" y="106"/>
                  </a:lnTo>
                  <a:lnTo>
                    <a:pt x="161" y="107"/>
                  </a:lnTo>
                  <a:lnTo>
                    <a:pt x="162" y="107"/>
                  </a:lnTo>
                  <a:lnTo>
                    <a:pt x="162" y="108"/>
                  </a:lnTo>
                  <a:lnTo>
                    <a:pt x="161" y="108"/>
                  </a:lnTo>
                  <a:lnTo>
                    <a:pt x="162" y="108"/>
                  </a:lnTo>
                  <a:lnTo>
                    <a:pt x="162" y="109"/>
                  </a:lnTo>
                  <a:lnTo>
                    <a:pt x="162" y="108"/>
                  </a:lnTo>
                  <a:lnTo>
                    <a:pt x="162" y="109"/>
                  </a:lnTo>
                  <a:lnTo>
                    <a:pt x="163" y="109"/>
                  </a:lnTo>
                  <a:lnTo>
                    <a:pt x="162" y="109"/>
                  </a:lnTo>
                  <a:lnTo>
                    <a:pt x="162" y="111"/>
                  </a:lnTo>
                  <a:lnTo>
                    <a:pt x="163" y="111"/>
                  </a:lnTo>
                  <a:lnTo>
                    <a:pt x="162" y="111"/>
                  </a:lnTo>
                  <a:lnTo>
                    <a:pt x="163" y="111"/>
                  </a:lnTo>
                  <a:lnTo>
                    <a:pt x="163" y="112"/>
                  </a:lnTo>
                  <a:lnTo>
                    <a:pt x="163" y="111"/>
                  </a:lnTo>
                  <a:lnTo>
                    <a:pt x="164" y="112"/>
                  </a:lnTo>
                  <a:lnTo>
                    <a:pt x="163" y="112"/>
                  </a:lnTo>
                  <a:lnTo>
                    <a:pt x="164" y="112"/>
                  </a:lnTo>
                  <a:lnTo>
                    <a:pt x="164" y="113"/>
                  </a:lnTo>
                  <a:lnTo>
                    <a:pt x="163" y="113"/>
                  </a:lnTo>
                  <a:lnTo>
                    <a:pt x="163" y="112"/>
                  </a:lnTo>
                  <a:lnTo>
                    <a:pt x="162" y="112"/>
                  </a:lnTo>
                  <a:lnTo>
                    <a:pt x="161" y="111"/>
                  </a:lnTo>
                  <a:lnTo>
                    <a:pt x="160" y="112"/>
                  </a:lnTo>
                  <a:lnTo>
                    <a:pt x="160" y="113"/>
                  </a:lnTo>
                  <a:lnTo>
                    <a:pt x="159" y="112"/>
                  </a:lnTo>
                  <a:lnTo>
                    <a:pt x="157" y="112"/>
                  </a:lnTo>
                  <a:lnTo>
                    <a:pt x="159" y="113"/>
                  </a:lnTo>
                  <a:lnTo>
                    <a:pt x="159" y="114"/>
                  </a:lnTo>
                  <a:lnTo>
                    <a:pt x="159" y="115"/>
                  </a:lnTo>
                  <a:lnTo>
                    <a:pt x="159" y="116"/>
                  </a:lnTo>
                  <a:lnTo>
                    <a:pt x="159" y="118"/>
                  </a:lnTo>
                  <a:lnTo>
                    <a:pt x="160" y="118"/>
                  </a:lnTo>
                  <a:lnTo>
                    <a:pt x="160" y="119"/>
                  </a:lnTo>
                  <a:lnTo>
                    <a:pt x="161" y="120"/>
                  </a:lnTo>
                  <a:lnTo>
                    <a:pt x="162" y="121"/>
                  </a:lnTo>
                  <a:lnTo>
                    <a:pt x="162" y="122"/>
                  </a:lnTo>
                  <a:lnTo>
                    <a:pt x="163" y="122"/>
                  </a:lnTo>
                  <a:lnTo>
                    <a:pt x="163" y="123"/>
                  </a:lnTo>
                  <a:lnTo>
                    <a:pt x="165" y="127"/>
                  </a:lnTo>
                  <a:lnTo>
                    <a:pt x="165" y="128"/>
                  </a:lnTo>
                  <a:lnTo>
                    <a:pt x="167" y="129"/>
                  </a:lnTo>
                  <a:lnTo>
                    <a:pt x="168" y="132"/>
                  </a:lnTo>
                  <a:lnTo>
                    <a:pt x="168" y="133"/>
                  </a:lnTo>
                  <a:lnTo>
                    <a:pt x="168" y="134"/>
                  </a:lnTo>
                  <a:lnTo>
                    <a:pt x="167" y="135"/>
                  </a:lnTo>
                  <a:lnTo>
                    <a:pt x="167" y="136"/>
                  </a:lnTo>
                  <a:lnTo>
                    <a:pt x="167" y="137"/>
                  </a:lnTo>
                  <a:lnTo>
                    <a:pt x="168" y="140"/>
                  </a:lnTo>
                  <a:lnTo>
                    <a:pt x="168" y="141"/>
                  </a:lnTo>
                  <a:lnTo>
                    <a:pt x="168" y="142"/>
                  </a:lnTo>
                  <a:lnTo>
                    <a:pt x="168" y="143"/>
                  </a:lnTo>
                  <a:lnTo>
                    <a:pt x="169" y="143"/>
                  </a:lnTo>
                  <a:lnTo>
                    <a:pt x="168" y="144"/>
                  </a:lnTo>
                  <a:lnTo>
                    <a:pt x="169" y="146"/>
                  </a:lnTo>
                  <a:lnTo>
                    <a:pt x="169" y="147"/>
                  </a:lnTo>
                  <a:lnTo>
                    <a:pt x="170" y="148"/>
                  </a:lnTo>
                  <a:lnTo>
                    <a:pt x="171" y="149"/>
                  </a:lnTo>
                  <a:lnTo>
                    <a:pt x="175" y="153"/>
                  </a:lnTo>
                  <a:lnTo>
                    <a:pt x="176" y="153"/>
                  </a:lnTo>
                  <a:lnTo>
                    <a:pt x="176" y="154"/>
                  </a:lnTo>
                  <a:lnTo>
                    <a:pt x="177" y="154"/>
                  </a:lnTo>
                  <a:lnTo>
                    <a:pt x="176" y="154"/>
                  </a:lnTo>
                  <a:lnTo>
                    <a:pt x="175" y="154"/>
                  </a:lnTo>
                  <a:lnTo>
                    <a:pt x="174" y="155"/>
                  </a:lnTo>
                  <a:lnTo>
                    <a:pt x="172" y="156"/>
                  </a:lnTo>
                  <a:lnTo>
                    <a:pt x="172" y="157"/>
                  </a:lnTo>
                  <a:lnTo>
                    <a:pt x="172" y="158"/>
                  </a:lnTo>
                  <a:lnTo>
                    <a:pt x="174" y="160"/>
                  </a:lnTo>
                  <a:lnTo>
                    <a:pt x="174" y="161"/>
                  </a:lnTo>
                  <a:lnTo>
                    <a:pt x="175" y="161"/>
                  </a:lnTo>
                  <a:lnTo>
                    <a:pt x="175" y="162"/>
                  </a:lnTo>
                  <a:lnTo>
                    <a:pt x="174" y="162"/>
                  </a:lnTo>
                  <a:lnTo>
                    <a:pt x="174" y="163"/>
                  </a:lnTo>
                  <a:lnTo>
                    <a:pt x="174" y="162"/>
                  </a:lnTo>
                  <a:lnTo>
                    <a:pt x="174" y="163"/>
                  </a:lnTo>
                  <a:lnTo>
                    <a:pt x="172" y="163"/>
                  </a:lnTo>
                  <a:lnTo>
                    <a:pt x="171" y="163"/>
                  </a:lnTo>
                  <a:lnTo>
                    <a:pt x="171" y="164"/>
                  </a:lnTo>
                  <a:lnTo>
                    <a:pt x="170" y="164"/>
                  </a:lnTo>
                  <a:lnTo>
                    <a:pt x="170" y="165"/>
                  </a:lnTo>
                  <a:lnTo>
                    <a:pt x="171" y="165"/>
                  </a:lnTo>
                  <a:lnTo>
                    <a:pt x="170" y="165"/>
                  </a:lnTo>
                  <a:lnTo>
                    <a:pt x="170" y="167"/>
                  </a:lnTo>
                  <a:lnTo>
                    <a:pt x="169" y="167"/>
                  </a:lnTo>
                  <a:lnTo>
                    <a:pt x="169" y="165"/>
                  </a:lnTo>
                  <a:lnTo>
                    <a:pt x="168" y="165"/>
                  </a:lnTo>
                  <a:lnTo>
                    <a:pt x="169" y="165"/>
                  </a:lnTo>
                  <a:lnTo>
                    <a:pt x="169" y="164"/>
                  </a:lnTo>
                  <a:lnTo>
                    <a:pt x="168" y="164"/>
                  </a:lnTo>
                  <a:lnTo>
                    <a:pt x="169" y="164"/>
                  </a:lnTo>
                  <a:lnTo>
                    <a:pt x="168" y="164"/>
                  </a:lnTo>
                  <a:lnTo>
                    <a:pt x="168" y="163"/>
                  </a:lnTo>
                  <a:lnTo>
                    <a:pt x="168" y="162"/>
                  </a:lnTo>
                  <a:lnTo>
                    <a:pt x="167" y="162"/>
                  </a:lnTo>
                  <a:lnTo>
                    <a:pt x="168" y="162"/>
                  </a:lnTo>
                  <a:lnTo>
                    <a:pt x="168" y="161"/>
                  </a:lnTo>
                  <a:lnTo>
                    <a:pt x="167" y="161"/>
                  </a:lnTo>
                  <a:lnTo>
                    <a:pt x="167" y="160"/>
                  </a:lnTo>
                  <a:lnTo>
                    <a:pt x="165" y="160"/>
                  </a:lnTo>
                  <a:lnTo>
                    <a:pt x="165" y="158"/>
                  </a:lnTo>
                  <a:lnTo>
                    <a:pt x="167" y="160"/>
                  </a:lnTo>
                  <a:lnTo>
                    <a:pt x="167" y="158"/>
                  </a:lnTo>
                  <a:lnTo>
                    <a:pt x="167" y="157"/>
                  </a:lnTo>
                  <a:lnTo>
                    <a:pt x="168" y="157"/>
                  </a:lnTo>
                  <a:lnTo>
                    <a:pt x="168" y="156"/>
                  </a:lnTo>
                  <a:lnTo>
                    <a:pt x="168" y="155"/>
                  </a:lnTo>
                  <a:lnTo>
                    <a:pt x="167" y="155"/>
                  </a:lnTo>
                  <a:lnTo>
                    <a:pt x="165" y="155"/>
                  </a:lnTo>
                  <a:lnTo>
                    <a:pt x="165" y="154"/>
                  </a:lnTo>
                  <a:lnTo>
                    <a:pt x="164" y="155"/>
                  </a:lnTo>
                  <a:lnTo>
                    <a:pt x="165" y="155"/>
                  </a:lnTo>
                  <a:lnTo>
                    <a:pt x="164" y="155"/>
                  </a:lnTo>
                  <a:lnTo>
                    <a:pt x="163" y="155"/>
                  </a:lnTo>
                  <a:lnTo>
                    <a:pt x="163" y="156"/>
                  </a:lnTo>
                  <a:lnTo>
                    <a:pt x="164" y="156"/>
                  </a:lnTo>
                  <a:lnTo>
                    <a:pt x="164" y="157"/>
                  </a:lnTo>
                  <a:lnTo>
                    <a:pt x="163" y="157"/>
                  </a:lnTo>
                  <a:lnTo>
                    <a:pt x="163" y="158"/>
                  </a:lnTo>
                  <a:lnTo>
                    <a:pt x="163" y="160"/>
                  </a:lnTo>
                  <a:lnTo>
                    <a:pt x="164" y="160"/>
                  </a:lnTo>
                  <a:lnTo>
                    <a:pt x="164" y="161"/>
                  </a:lnTo>
                  <a:lnTo>
                    <a:pt x="164" y="160"/>
                  </a:lnTo>
                  <a:lnTo>
                    <a:pt x="164" y="161"/>
                  </a:lnTo>
                  <a:lnTo>
                    <a:pt x="165" y="161"/>
                  </a:lnTo>
                  <a:lnTo>
                    <a:pt x="165" y="162"/>
                  </a:lnTo>
                  <a:lnTo>
                    <a:pt x="165" y="163"/>
                  </a:lnTo>
                  <a:lnTo>
                    <a:pt x="164" y="163"/>
                  </a:lnTo>
                  <a:lnTo>
                    <a:pt x="164" y="162"/>
                  </a:lnTo>
                  <a:lnTo>
                    <a:pt x="164" y="161"/>
                  </a:lnTo>
                  <a:lnTo>
                    <a:pt x="163" y="161"/>
                  </a:lnTo>
                  <a:lnTo>
                    <a:pt x="162" y="160"/>
                  </a:lnTo>
                  <a:lnTo>
                    <a:pt x="161" y="160"/>
                  </a:lnTo>
                  <a:lnTo>
                    <a:pt x="160" y="160"/>
                  </a:lnTo>
                  <a:lnTo>
                    <a:pt x="159" y="161"/>
                  </a:lnTo>
                  <a:lnTo>
                    <a:pt x="157" y="161"/>
                  </a:lnTo>
                  <a:lnTo>
                    <a:pt x="159" y="162"/>
                  </a:lnTo>
                  <a:lnTo>
                    <a:pt x="159" y="163"/>
                  </a:lnTo>
                  <a:lnTo>
                    <a:pt x="159" y="162"/>
                  </a:lnTo>
                  <a:lnTo>
                    <a:pt x="159" y="163"/>
                  </a:lnTo>
                  <a:lnTo>
                    <a:pt x="159" y="164"/>
                  </a:lnTo>
                  <a:lnTo>
                    <a:pt x="159" y="165"/>
                  </a:lnTo>
                  <a:lnTo>
                    <a:pt x="160" y="165"/>
                  </a:lnTo>
                  <a:lnTo>
                    <a:pt x="161" y="167"/>
                  </a:lnTo>
                  <a:lnTo>
                    <a:pt x="160" y="167"/>
                  </a:lnTo>
                  <a:lnTo>
                    <a:pt x="160" y="168"/>
                  </a:lnTo>
                  <a:lnTo>
                    <a:pt x="160" y="169"/>
                  </a:lnTo>
                  <a:lnTo>
                    <a:pt x="160" y="170"/>
                  </a:lnTo>
                  <a:lnTo>
                    <a:pt x="159" y="171"/>
                  </a:lnTo>
                  <a:lnTo>
                    <a:pt x="157" y="171"/>
                  </a:lnTo>
                  <a:lnTo>
                    <a:pt x="157" y="170"/>
                  </a:lnTo>
                  <a:lnTo>
                    <a:pt x="156" y="170"/>
                  </a:lnTo>
                  <a:lnTo>
                    <a:pt x="156" y="169"/>
                  </a:lnTo>
                  <a:lnTo>
                    <a:pt x="156" y="168"/>
                  </a:lnTo>
                  <a:lnTo>
                    <a:pt x="155" y="167"/>
                  </a:lnTo>
                  <a:lnTo>
                    <a:pt x="155" y="165"/>
                  </a:lnTo>
                  <a:lnTo>
                    <a:pt x="155" y="164"/>
                  </a:lnTo>
                  <a:lnTo>
                    <a:pt x="156" y="164"/>
                  </a:lnTo>
                  <a:lnTo>
                    <a:pt x="155" y="163"/>
                  </a:lnTo>
                  <a:lnTo>
                    <a:pt x="154" y="163"/>
                  </a:lnTo>
                  <a:lnTo>
                    <a:pt x="153" y="163"/>
                  </a:lnTo>
                  <a:lnTo>
                    <a:pt x="152" y="163"/>
                  </a:lnTo>
                  <a:lnTo>
                    <a:pt x="152" y="164"/>
                  </a:lnTo>
                  <a:lnTo>
                    <a:pt x="150" y="164"/>
                  </a:lnTo>
                  <a:lnTo>
                    <a:pt x="152" y="164"/>
                  </a:lnTo>
                  <a:lnTo>
                    <a:pt x="152" y="165"/>
                  </a:lnTo>
                  <a:lnTo>
                    <a:pt x="152" y="164"/>
                  </a:lnTo>
                  <a:lnTo>
                    <a:pt x="152" y="165"/>
                  </a:lnTo>
                  <a:lnTo>
                    <a:pt x="150" y="165"/>
                  </a:lnTo>
                  <a:lnTo>
                    <a:pt x="150" y="167"/>
                  </a:lnTo>
                  <a:lnTo>
                    <a:pt x="150" y="168"/>
                  </a:lnTo>
                  <a:lnTo>
                    <a:pt x="150" y="169"/>
                  </a:lnTo>
                  <a:lnTo>
                    <a:pt x="149" y="169"/>
                  </a:lnTo>
                  <a:lnTo>
                    <a:pt x="149" y="170"/>
                  </a:lnTo>
                  <a:lnTo>
                    <a:pt x="150" y="171"/>
                  </a:lnTo>
                  <a:lnTo>
                    <a:pt x="148" y="170"/>
                  </a:lnTo>
                  <a:lnTo>
                    <a:pt x="147" y="170"/>
                  </a:lnTo>
                  <a:lnTo>
                    <a:pt x="146" y="170"/>
                  </a:lnTo>
                  <a:lnTo>
                    <a:pt x="145" y="170"/>
                  </a:lnTo>
                  <a:lnTo>
                    <a:pt x="142" y="170"/>
                  </a:lnTo>
                  <a:lnTo>
                    <a:pt x="141" y="170"/>
                  </a:lnTo>
                  <a:lnTo>
                    <a:pt x="140" y="170"/>
                  </a:lnTo>
                  <a:lnTo>
                    <a:pt x="139" y="170"/>
                  </a:lnTo>
                  <a:lnTo>
                    <a:pt x="136" y="171"/>
                  </a:lnTo>
                  <a:lnTo>
                    <a:pt x="135" y="171"/>
                  </a:lnTo>
                  <a:lnTo>
                    <a:pt x="134" y="170"/>
                  </a:lnTo>
                  <a:lnTo>
                    <a:pt x="135" y="170"/>
                  </a:lnTo>
                  <a:lnTo>
                    <a:pt x="135" y="171"/>
                  </a:lnTo>
                  <a:lnTo>
                    <a:pt x="135" y="170"/>
                  </a:lnTo>
                  <a:lnTo>
                    <a:pt x="136" y="170"/>
                  </a:lnTo>
                  <a:lnTo>
                    <a:pt x="136" y="169"/>
                  </a:lnTo>
                  <a:lnTo>
                    <a:pt x="138" y="169"/>
                  </a:lnTo>
                  <a:lnTo>
                    <a:pt x="138" y="170"/>
                  </a:lnTo>
                  <a:lnTo>
                    <a:pt x="138" y="169"/>
                  </a:lnTo>
                  <a:lnTo>
                    <a:pt x="136" y="168"/>
                  </a:lnTo>
                  <a:lnTo>
                    <a:pt x="135" y="168"/>
                  </a:lnTo>
                  <a:lnTo>
                    <a:pt x="135" y="169"/>
                  </a:lnTo>
                  <a:lnTo>
                    <a:pt x="135" y="168"/>
                  </a:lnTo>
                  <a:lnTo>
                    <a:pt x="134" y="168"/>
                  </a:lnTo>
                  <a:lnTo>
                    <a:pt x="134" y="169"/>
                  </a:lnTo>
                  <a:lnTo>
                    <a:pt x="134" y="168"/>
                  </a:lnTo>
                  <a:lnTo>
                    <a:pt x="133" y="168"/>
                  </a:lnTo>
                  <a:lnTo>
                    <a:pt x="132" y="168"/>
                  </a:lnTo>
                  <a:lnTo>
                    <a:pt x="132" y="167"/>
                  </a:lnTo>
                  <a:lnTo>
                    <a:pt x="132" y="168"/>
                  </a:lnTo>
                  <a:lnTo>
                    <a:pt x="132" y="169"/>
                  </a:lnTo>
                  <a:lnTo>
                    <a:pt x="133" y="169"/>
                  </a:lnTo>
                  <a:lnTo>
                    <a:pt x="133" y="170"/>
                  </a:lnTo>
                  <a:lnTo>
                    <a:pt x="133" y="169"/>
                  </a:lnTo>
                  <a:lnTo>
                    <a:pt x="132" y="169"/>
                  </a:lnTo>
                  <a:lnTo>
                    <a:pt x="131" y="169"/>
                  </a:lnTo>
                  <a:lnTo>
                    <a:pt x="131" y="168"/>
                  </a:lnTo>
                  <a:lnTo>
                    <a:pt x="131" y="167"/>
                  </a:lnTo>
                  <a:lnTo>
                    <a:pt x="129" y="167"/>
                  </a:lnTo>
                  <a:lnTo>
                    <a:pt x="129" y="165"/>
                  </a:lnTo>
                  <a:lnTo>
                    <a:pt x="129" y="164"/>
                  </a:lnTo>
                  <a:lnTo>
                    <a:pt x="129" y="163"/>
                  </a:lnTo>
                  <a:lnTo>
                    <a:pt x="129" y="164"/>
                  </a:lnTo>
                  <a:lnTo>
                    <a:pt x="128" y="163"/>
                  </a:lnTo>
                  <a:lnTo>
                    <a:pt x="129" y="164"/>
                  </a:lnTo>
                  <a:lnTo>
                    <a:pt x="128" y="164"/>
                  </a:lnTo>
                  <a:lnTo>
                    <a:pt x="127" y="164"/>
                  </a:lnTo>
                  <a:lnTo>
                    <a:pt x="127" y="165"/>
                  </a:lnTo>
                  <a:lnTo>
                    <a:pt x="127" y="167"/>
                  </a:lnTo>
                  <a:lnTo>
                    <a:pt x="127" y="168"/>
                  </a:lnTo>
                  <a:lnTo>
                    <a:pt x="127" y="169"/>
                  </a:lnTo>
                  <a:lnTo>
                    <a:pt x="127" y="170"/>
                  </a:lnTo>
                  <a:lnTo>
                    <a:pt x="128" y="170"/>
                  </a:lnTo>
                  <a:lnTo>
                    <a:pt x="128" y="171"/>
                  </a:lnTo>
                  <a:lnTo>
                    <a:pt x="129" y="171"/>
                  </a:lnTo>
                  <a:lnTo>
                    <a:pt x="131" y="171"/>
                  </a:lnTo>
                  <a:lnTo>
                    <a:pt x="131" y="172"/>
                  </a:lnTo>
                  <a:lnTo>
                    <a:pt x="132" y="172"/>
                  </a:lnTo>
                  <a:lnTo>
                    <a:pt x="133" y="172"/>
                  </a:lnTo>
                  <a:lnTo>
                    <a:pt x="133" y="174"/>
                  </a:lnTo>
                  <a:lnTo>
                    <a:pt x="134" y="174"/>
                  </a:lnTo>
                  <a:lnTo>
                    <a:pt x="135" y="174"/>
                  </a:lnTo>
                  <a:lnTo>
                    <a:pt x="135" y="175"/>
                  </a:lnTo>
                  <a:lnTo>
                    <a:pt x="134" y="175"/>
                  </a:lnTo>
                  <a:lnTo>
                    <a:pt x="135" y="175"/>
                  </a:lnTo>
                  <a:lnTo>
                    <a:pt x="135" y="176"/>
                  </a:lnTo>
                  <a:lnTo>
                    <a:pt x="135" y="177"/>
                  </a:lnTo>
                  <a:lnTo>
                    <a:pt x="134" y="177"/>
                  </a:lnTo>
                  <a:lnTo>
                    <a:pt x="134" y="176"/>
                  </a:lnTo>
                  <a:lnTo>
                    <a:pt x="135" y="177"/>
                  </a:lnTo>
                  <a:lnTo>
                    <a:pt x="134" y="176"/>
                  </a:lnTo>
                  <a:lnTo>
                    <a:pt x="135" y="176"/>
                  </a:lnTo>
                  <a:lnTo>
                    <a:pt x="134" y="176"/>
                  </a:lnTo>
                  <a:lnTo>
                    <a:pt x="133" y="176"/>
                  </a:lnTo>
                  <a:lnTo>
                    <a:pt x="132" y="176"/>
                  </a:lnTo>
                  <a:lnTo>
                    <a:pt x="131" y="176"/>
                  </a:lnTo>
                  <a:lnTo>
                    <a:pt x="131" y="177"/>
                  </a:lnTo>
                  <a:lnTo>
                    <a:pt x="131" y="176"/>
                  </a:lnTo>
                  <a:lnTo>
                    <a:pt x="131" y="177"/>
                  </a:lnTo>
                  <a:lnTo>
                    <a:pt x="129" y="177"/>
                  </a:lnTo>
                  <a:lnTo>
                    <a:pt x="128" y="178"/>
                  </a:lnTo>
                  <a:lnTo>
                    <a:pt x="129" y="179"/>
                  </a:lnTo>
                  <a:lnTo>
                    <a:pt x="128" y="179"/>
                  </a:lnTo>
                  <a:lnTo>
                    <a:pt x="128" y="181"/>
                  </a:lnTo>
                  <a:lnTo>
                    <a:pt x="129" y="181"/>
                  </a:lnTo>
                  <a:lnTo>
                    <a:pt x="129" y="182"/>
                  </a:lnTo>
                  <a:lnTo>
                    <a:pt x="129" y="181"/>
                  </a:lnTo>
                  <a:lnTo>
                    <a:pt x="128" y="181"/>
                  </a:lnTo>
                  <a:lnTo>
                    <a:pt x="128" y="182"/>
                  </a:lnTo>
                  <a:lnTo>
                    <a:pt x="129" y="182"/>
                  </a:lnTo>
                  <a:lnTo>
                    <a:pt x="128" y="182"/>
                  </a:lnTo>
                  <a:lnTo>
                    <a:pt x="128" y="183"/>
                  </a:lnTo>
                  <a:lnTo>
                    <a:pt x="127" y="183"/>
                  </a:lnTo>
                  <a:lnTo>
                    <a:pt x="127" y="185"/>
                  </a:lnTo>
                  <a:lnTo>
                    <a:pt x="127" y="186"/>
                  </a:lnTo>
                  <a:lnTo>
                    <a:pt x="128" y="188"/>
                  </a:lnTo>
                  <a:lnTo>
                    <a:pt x="127" y="188"/>
                  </a:lnTo>
                  <a:lnTo>
                    <a:pt x="127" y="189"/>
                  </a:lnTo>
                  <a:lnTo>
                    <a:pt x="126" y="189"/>
                  </a:lnTo>
                  <a:lnTo>
                    <a:pt x="127" y="190"/>
                  </a:lnTo>
                  <a:lnTo>
                    <a:pt x="126" y="190"/>
                  </a:lnTo>
                  <a:lnTo>
                    <a:pt x="126" y="189"/>
                  </a:lnTo>
                  <a:lnTo>
                    <a:pt x="125" y="189"/>
                  </a:lnTo>
                  <a:lnTo>
                    <a:pt x="124" y="189"/>
                  </a:lnTo>
                  <a:lnTo>
                    <a:pt x="122" y="188"/>
                  </a:lnTo>
                  <a:lnTo>
                    <a:pt x="121" y="188"/>
                  </a:lnTo>
                  <a:lnTo>
                    <a:pt x="120" y="188"/>
                  </a:lnTo>
                  <a:lnTo>
                    <a:pt x="120" y="186"/>
                  </a:lnTo>
                  <a:lnTo>
                    <a:pt x="119" y="186"/>
                  </a:lnTo>
                  <a:lnTo>
                    <a:pt x="119" y="185"/>
                  </a:lnTo>
                  <a:lnTo>
                    <a:pt x="120" y="185"/>
                  </a:lnTo>
                  <a:lnTo>
                    <a:pt x="119" y="185"/>
                  </a:lnTo>
                  <a:lnTo>
                    <a:pt x="119" y="184"/>
                  </a:lnTo>
                  <a:lnTo>
                    <a:pt x="118" y="184"/>
                  </a:lnTo>
                  <a:lnTo>
                    <a:pt x="117" y="184"/>
                  </a:lnTo>
                  <a:lnTo>
                    <a:pt x="115" y="183"/>
                  </a:lnTo>
                  <a:lnTo>
                    <a:pt x="114" y="182"/>
                  </a:lnTo>
                  <a:lnTo>
                    <a:pt x="114" y="183"/>
                  </a:lnTo>
                  <a:lnTo>
                    <a:pt x="114" y="182"/>
                  </a:lnTo>
                  <a:lnTo>
                    <a:pt x="113" y="182"/>
                  </a:lnTo>
                  <a:lnTo>
                    <a:pt x="114" y="182"/>
                  </a:lnTo>
                  <a:lnTo>
                    <a:pt x="113" y="182"/>
                  </a:lnTo>
                  <a:lnTo>
                    <a:pt x="114" y="182"/>
                  </a:lnTo>
                  <a:lnTo>
                    <a:pt x="113" y="182"/>
                  </a:lnTo>
                  <a:lnTo>
                    <a:pt x="113" y="181"/>
                  </a:lnTo>
                  <a:lnTo>
                    <a:pt x="114" y="181"/>
                  </a:lnTo>
                  <a:lnTo>
                    <a:pt x="114" y="179"/>
                  </a:lnTo>
                  <a:lnTo>
                    <a:pt x="113" y="179"/>
                  </a:lnTo>
                  <a:lnTo>
                    <a:pt x="113" y="178"/>
                  </a:lnTo>
                  <a:lnTo>
                    <a:pt x="114" y="178"/>
                  </a:lnTo>
                  <a:lnTo>
                    <a:pt x="113" y="178"/>
                  </a:lnTo>
                  <a:lnTo>
                    <a:pt x="112" y="177"/>
                  </a:lnTo>
                  <a:lnTo>
                    <a:pt x="111" y="176"/>
                  </a:lnTo>
                  <a:lnTo>
                    <a:pt x="113" y="175"/>
                  </a:lnTo>
                  <a:lnTo>
                    <a:pt x="113" y="174"/>
                  </a:lnTo>
                  <a:lnTo>
                    <a:pt x="113" y="172"/>
                  </a:lnTo>
                  <a:lnTo>
                    <a:pt x="114" y="172"/>
                  </a:lnTo>
                  <a:lnTo>
                    <a:pt x="114" y="171"/>
                  </a:lnTo>
                  <a:lnTo>
                    <a:pt x="113" y="171"/>
                  </a:lnTo>
                  <a:lnTo>
                    <a:pt x="113" y="170"/>
                  </a:lnTo>
                  <a:lnTo>
                    <a:pt x="112" y="170"/>
                  </a:lnTo>
                  <a:lnTo>
                    <a:pt x="112" y="169"/>
                  </a:lnTo>
                  <a:lnTo>
                    <a:pt x="111" y="169"/>
                  </a:lnTo>
                  <a:lnTo>
                    <a:pt x="111" y="170"/>
                  </a:lnTo>
                  <a:lnTo>
                    <a:pt x="110" y="170"/>
                  </a:lnTo>
                  <a:lnTo>
                    <a:pt x="111" y="170"/>
                  </a:lnTo>
                  <a:lnTo>
                    <a:pt x="110" y="170"/>
                  </a:lnTo>
                  <a:lnTo>
                    <a:pt x="108" y="171"/>
                  </a:lnTo>
                  <a:lnTo>
                    <a:pt x="107" y="170"/>
                  </a:lnTo>
                  <a:lnTo>
                    <a:pt x="106" y="170"/>
                  </a:lnTo>
                  <a:lnTo>
                    <a:pt x="105" y="169"/>
                  </a:lnTo>
                  <a:lnTo>
                    <a:pt x="104" y="169"/>
                  </a:lnTo>
                  <a:lnTo>
                    <a:pt x="103" y="169"/>
                  </a:lnTo>
                  <a:lnTo>
                    <a:pt x="101" y="169"/>
                  </a:lnTo>
                  <a:lnTo>
                    <a:pt x="100" y="169"/>
                  </a:lnTo>
                  <a:lnTo>
                    <a:pt x="100" y="168"/>
                  </a:lnTo>
                  <a:lnTo>
                    <a:pt x="100" y="169"/>
                  </a:lnTo>
                  <a:lnTo>
                    <a:pt x="99" y="169"/>
                  </a:lnTo>
                  <a:lnTo>
                    <a:pt x="98" y="169"/>
                  </a:lnTo>
                  <a:lnTo>
                    <a:pt x="97" y="169"/>
                  </a:lnTo>
                  <a:lnTo>
                    <a:pt x="98" y="170"/>
                  </a:lnTo>
                  <a:lnTo>
                    <a:pt x="97" y="170"/>
                  </a:lnTo>
                  <a:lnTo>
                    <a:pt x="97" y="171"/>
                  </a:lnTo>
                  <a:lnTo>
                    <a:pt x="96" y="171"/>
                  </a:lnTo>
                  <a:lnTo>
                    <a:pt x="95" y="171"/>
                  </a:lnTo>
                  <a:lnTo>
                    <a:pt x="95" y="172"/>
                  </a:lnTo>
                  <a:lnTo>
                    <a:pt x="95" y="171"/>
                  </a:lnTo>
                  <a:lnTo>
                    <a:pt x="96" y="171"/>
                  </a:lnTo>
                  <a:lnTo>
                    <a:pt x="96" y="172"/>
                  </a:lnTo>
                  <a:lnTo>
                    <a:pt x="95" y="172"/>
                  </a:lnTo>
                  <a:lnTo>
                    <a:pt x="96" y="174"/>
                  </a:lnTo>
                  <a:lnTo>
                    <a:pt x="95" y="174"/>
                  </a:lnTo>
                  <a:lnTo>
                    <a:pt x="93" y="174"/>
                  </a:lnTo>
                  <a:lnTo>
                    <a:pt x="92" y="172"/>
                  </a:lnTo>
                  <a:lnTo>
                    <a:pt x="91" y="172"/>
                  </a:lnTo>
                  <a:lnTo>
                    <a:pt x="90" y="172"/>
                  </a:lnTo>
                  <a:lnTo>
                    <a:pt x="90" y="174"/>
                  </a:lnTo>
                  <a:lnTo>
                    <a:pt x="89" y="174"/>
                  </a:lnTo>
                  <a:lnTo>
                    <a:pt x="90" y="174"/>
                  </a:lnTo>
                  <a:lnTo>
                    <a:pt x="90" y="172"/>
                  </a:lnTo>
                  <a:lnTo>
                    <a:pt x="89" y="172"/>
                  </a:lnTo>
                  <a:lnTo>
                    <a:pt x="89" y="174"/>
                  </a:lnTo>
                  <a:lnTo>
                    <a:pt x="88" y="174"/>
                  </a:lnTo>
                  <a:lnTo>
                    <a:pt x="89" y="174"/>
                  </a:lnTo>
                  <a:lnTo>
                    <a:pt x="88" y="175"/>
                  </a:lnTo>
                  <a:lnTo>
                    <a:pt x="88" y="176"/>
                  </a:lnTo>
                  <a:lnTo>
                    <a:pt x="88" y="175"/>
                  </a:lnTo>
                  <a:lnTo>
                    <a:pt x="86" y="175"/>
                  </a:lnTo>
                  <a:lnTo>
                    <a:pt x="86" y="174"/>
                  </a:lnTo>
                  <a:lnTo>
                    <a:pt x="86" y="175"/>
                  </a:lnTo>
                  <a:lnTo>
                    <a:pt x="86" y="176"/>
                  </a:lnTo>
                  <a:lnTo>
                    <a:pt x="85" y="176"/>
                  </a:lnTo>
                  <a:lnTo>
                    <a:pt x="85" y="177"/>
                  </a:lnTo>
                  <a:lnTo>
                    <a:pt x="85" y="176"/>
                  </a:lnTo>
                  <a:lnTo>
                    <a:pt x="84" y="176"/>
                  </a:lnTo>
                  <a:lnTo>
                    <a:pt x="85" y="176"/>
                  </a:lnTo>
                  <a:lnTo>
                    <a:pt x="85" y="175"/>
                  </a:lnTo>
                  <a:lnTo>
                    <a:pt x="85" y="176"/>
                  </a:lnTo>
                  <a:lnTo>
                    <a:pt x="85" y="175"/>
                  </a:lnTo>
                  <a:lnTo>
                    <a:pt x="84" y="175"/>
                  </a:lnTo>
                  <a:lnTo>
                    <a:pt x="84" y="176"/>
                  </a:lnTo>
                  <a:lnTo>
                    <a:pt x="83" y="176"/>
                  </a:lnTo>
                  <a:lnTo>
                    <a:pt x="82" y="176"/>
                  </a:lnTo>
                  <a:lnTo>
                    <a:pt x="81" y="176"/>
                  </a:lnTo>
                  <a:lnTo>
                    <a:pt x="81" y="177"/>
                  </a:lnTo>
                  <a:lnTo>
                    <a:pt x="82" y="177"/>
                  </a:lnTo>
                  <a:lnTo>
                    <a:pt x="81" y="177"/>
                  </a:lnTo>
                  <a:lnTo>
                    <a:pt x="79" y="177"/>
                  </a:lnTo>
                  <a:lnTo>
                    <a:pt x="78" y="177"/>
                  </a:lnTo>
                  <a:lnTo>
                    <a:pt x="78" y="176"/>
                  </a:lnTo>
                  <a:lnTo>
                    <a:pt x="77" y="176"/>
                  </a:lnTo>
                  <a:lnTo>
                    <a:pt x="77" y="175"/>
                  </a:lnTo>
                  <a:lnTo>
                    <a:pt x="76" y="175"/>
                  </a:lnTo>
                  <a:lnTo>
                    <a:pt x="75" y="175"/>
                  </a:lnTo>
                  <a:lnTo>
                    <a:pt x="75" y="176"/>
                  </a:lnTo>
                  <a:lnTo>
                    <a:pt x="74" y="177"/>
                  </a:lnTo>
                  <a:lnTo>
                    <a:pt x="75" y="177"/>
                  </a:lnTo>
                  <a:lnTo>
                    <a:pt x="75" y="178"/>
                  </a:lnTo>
                  <a:lnTo>
                    <a:pt x="75" y="179"/>
                  </a:lnTo>
                  <a:lnTo>
                    <a:pt x="75" y="181"/>
                  </a:lnTo>
                  <a:lnTo>
                    <a:pt x="76" y="181"/>
                  </a:lnTo>
                  <a:lnTo>
                    <a:pt x="76" y="182"/>
                  </a:lnTo>
                  <a:lnTo>
                    <a:pt x="75" y="182"/>
                  </a:lnTo>
                  <a:lnTo>
                    <a:pt x="76" y="183"/>
                  </a:lnTo>
                  <a:lnTo>
                    <a:pt x="76" y="184"/>
                  </a:lnTo>
                  <a:lnTo>
                    <a:pt x="75" y="184"/>
                  </a:lnTo>
                  <a:lnTo>
                    <a:pt x="75" y="183"/>
                  </a:lnTo>
                  <a:lnTo>
                    <a:pt x="74" y="182"/>
                  </a:lnTo>
                  <a:lnTo>
                    <a:pt x="72" y="182"/>
                  </a:lnTo>
                  <a:lnTo>
                    <a:pt x="71" y="181"/>
                  </a:lnTo>
                  <a:lnTo>
                    <a:pt x="70" y="181"/>
                  </a:lnTo>
                  <a:lnTo>
                    <a:pt x="70" y="182"/>
                  </a:lnTo>
                  <a:lnTo>
                    <a:pt x="70" y="181"/>
                  </a:lnTo>
                  <a:lnTo>
                    <a:pt x="69" y="179"/>
                  </a:lnTo>
                  <a:lnTo>
                    <a:pt x="68" y="179"/>
                  </a:lnTo>
                  <a:lnTo>
                    <a:pt x="68" y="181"/>
                  </a:lnTo>
                  <a:lnTo>
                    <a:pt x="67" y="181"/>
                  </a:lnTo>
                  <a:lnTo>
                    <a:pt x="68" y="181"/>
                  </a:lnTo>
                  <a:lnTo>
                    <a:pt x="67" y="181"/>
                  </a:lnTo>
                  <a:lnTo>
                    <a:pt x="65" y="181"/>
                  </a:lnTo>
                  <a:lnTo>
                    <a:pt x="64" y="181"/>
                  </a:lnTo>
                  <a:lnTo>
                    <a:pt x="64" y="182"/>
                  </a:lnTo>
                  <a:lnTo>
                    <a:pt x="63" y="182"/>
                  </a:lnTo>
                  <a:lnTo>
                    <a:pt x="62" y="182"/>
                  </a:lnTo>
                  <a:lnTo>
                    <a:pt x="62" y="181"/>
                  </a:lnTo>
                  <a:lnTo>
                    <a:pt x="61" y="181"/>
                  </a:lnTo>
                  <a:lnTo>
                    <a:pt x="60" y="181"/>
                  </a:lnTo>
                  <a:lnTo>
                    <a:pt x="60" y="179"/>
                  </a:lnTo>
                  <a:lnTo>
                    <a:pt x="60" y="181"/>
                  </a:lnTo>
                  <a:lnTo>
                    <a:pt x="58" y="182"/>
                  </a:lnTo>
                  <a:lnTo>
                    <a:pt x="58" y="181"/>
                  </a:lnTo>
                  <a:lnTo>
                    <a:pt x="58" y="179"/>
                  </a:lnTo>
                  <a:lnTo>
                    <a:pt x="57" y="179"/>
                  </a:lnTo>
                  <a:lnTo>
                    <a:pt x="57" y="178"/>
                  </a:lnTo>
                  <a:lnTo>
                    <a:pt x="57" y="177"/>
                  </a:lnTo>
                  <a:lnTo>
                    <a:pt x="56" y="177"/>
                  </a:lnTo>
                  <a:lnTo>
                    <a:pt x="56" y="176"/>
                  </a:lnTo>
                  <a:lnTo>
                    <a:pt x="56" y="175"/>
                  </a:lnTo>
                  <a:lnTo>
                    <a:pt x="57" y="175"/>
                  </a:lnTo>
                  <a:lnTo>
                    <a:pt x="56" y="175"/>
                  </a:lnTo>
                  <a:lnTo>
                    <a:pt x="56" y="174"/>
                  </a:lnTo>
                  <a:lnTo>
                    <a:pt x="57" y="174"/>
                  </a:lnTo>
                  <a:lnTo>
                    <a:pt x="58" y="174"/>
                  </a:lnTo>
                  <a:lnTo>
                    <a:pt x="58" y="175"/>
                  </a:lnTo>
                  <a:lnTo>
                    <a:pt x="60" y="175"/>
                  </a:lnTo>
                  <a:lnTo>
                    <a:pt x="58" y="174"/>
                  </a:lnTo>
                  <a:lnTo>
                    <a:pt x="60" y="174"/>
                  </a:lnTo>
                  <a:lnTo>
                    <a:pt x="61" y="175"/>
                  </a:lnTo>
                  <a:lnTo>
                    <a:pt x="60" y="174"/>
                  </a:lnTo>
                  <a:lnTo>
                    <a:pt x="60" y="175"/>
                  </a:lnTo>
                  <a:lnTo>
                    <a:pt x="61" y="175"/>
                  </a:lnTo>
                  <a:lnTo>
                    <a:pt x="61" y="174"/>
                  </a:lnTo>
                  <a:lnTo>
                    <a:pt x="62" y="174"/>
                  </a:lnTo>
                  <a:lnTo>
                    <a:pt x="62" y="172"/>
                  </a:lnTo>
                  <a:lnTo>
                    <a:pt x="63" y="171"/>
                  </a:lnTo>
                  <a:lnTo>
                    <a:pt x="63" y="170"/>
                  </a:lnTo>
                  <a:lnTo>
                    <a:pt x="64" y="170"/>
                  </a:lnTo>
                  <a:lnTo>
                    <a:pt x="63" y="170"/>
                  </a:lnTo>
                  <a:lnTo>
                    <a:pt x="64" y="170"/>
                  </a:lnTo>
                  <a:lnTo>
                    <a:pt x="65" y="170"/>
                  </a:lnTo>
                  <a:lnTo>
                    <a:pt x="65" y="169"/>
                  </a:lnTo>
                  <a:lnTo>
                    <a:pt x="67" y="168"/>
                  </a:lnTo>
                  <a:lnTo>
                    <a:pt x="67" y="167"/>
                  </a:lnTo>
                  <a:lnTo>
                    <a:pt x="68" y="167"/>
                  </a:lnTo>
                  <a:lnTo>
                    <a:pt x="67" y="167"/>
                  </a:lnTo>
                  <a:lnTo>
                    <a:pt x="68" y="165"/>
                  </a:lnTo>
                  <a:lnTo>
                    <a:pt x="69" y="164"/>
                  </a:lnTo>
                  <a:lnTo>
                    <a:pt x="69" y="163"/>
                  </a:lnTo>
                  <a:lnTo>
                    <a:pt x="70" y="163"/>
                  </a:lnTo>
                  <a:lnTo>
                    <a:pt x="70" y="162"/>
                  </a:lnTo>
                  <a:lnTo>
                    <a:pt x="70" y="161"/>
                  </a:lnTo>
                  <a:lnTo>
                    <a:pt x="71" y="161"/>
                  </a:lnTo>
                  <a:lnTo>
                    <a:pt x="72" y="160"/>
                  </a:lnTo>
                  <a:lnTo>
                    <a:pt x="72" y="158"/>
                  </a:lnTo>
                  <a:lnTo>
                    <a:pt x="71" y="158"/>
                  </a:lnTo>
                  <a:lnTo>
                    <a:pt x="71" y="157"/>
                  </a:lnTo>
                  <a:lnTo>
                    <a:pt x="72" y="157"/>
                  </a:lnTo>
                  <a:lnTo>
                    <a:pt x="71" y="157"/>
                  </a:lnTo>
                  <a:lnTo>
                    <a:pt x="72" y="157"/>
                  </a:lnTo>
                  <a:lnTo>
                    <a:pt x="74" y="157"/>
                  </a:lnTo>
                  <a:lnTo>
                    <a:pt x="75" y="156"/>
                  </a:lnTo>
                  <a:lnTo>
                    <a:pt x="76" y="156"/>
                  </a:lnTo>
                  <a:lnTo>
                    <a:pt x="76" y="155"/>
                  </a:lnTo>
                  <a:lnTo>
                    <a:pt x="76" y="156"/>
                  </a:lnTo>
                  <a:lnTo>
                    <a:pt x="77" y="156"/>
                  </a:lnTo>
                  <a:lnTo>
                    <a:pt x="78" y="156"/>
                  </a:lnTo>
                  <a:lnTo>
                    <a:pt x="79" y="156"/>
                  </a:lnTo>
                  <a:lnTo>
                    <a:pt x="78" y="156"/>
                  </a:lnTo>
                  <a:lnTo>
                    <a:pt x="78" y="157"/>
                  </a:lnTo>
                  <a:lnTo>
                    <a:pt x="79" y="157"/>
                  </a:lnTo>
                  <a:lnTo>
                    <a:pt x="81" y="157"/>
                  </a:lnTo>
                  <a:lnTo>
                    <a:pt x="82" y="157"/>
                  </a:lnTo>
                  <a:lnTo>
                    <a:pt x="82" y="156"/>
                  </a:lnTo>
                  <a:lnTo>
                    <a:pt x="83" y="156"/>
                  </a:lnTo>
                  <a:lnTo>
                    <a:pt x="85" y="157"/>
                  </a:lnTo>
                  <a:lnTo>
                    <a:pt x="88" y="157"/>
                  </a:lnTo>
                  <a:lnTo>
                    <a:pt x="89" y="156"/>
                  </a:lnTo>
                  <a:lnTo>
                    <a:pt x="90" y="156"/>
                  </a:lnTo>
                  <a:lnTo>
                    <a:pt x="91" y="156"/>
                  </a:lnTo>
                  <a:lnTo>
                    <a:pt x="92" y="155"/>
                  </a:lnTo>
                  <a:lnTo>
                    <a:pt x="93" y="155"/>
                  </a:lnTo>
                  <a:lnTo>
                    <a:pt x="95" y="154"/>
                  </a:lnTo>
                  <a:lnTo>
                    <a:pt x="95" y="155"/>
                  </a:lnTo>
                  <a:lnTo>
                    <a:pt x="96" y="154"/>
                  </a:lnTo>
                  <a:lnTo>
                    <a:pt x="97" y="154"/>
                  </a:lnTo>
                  <a:lnTo>
                    <a:pt x="98" y="154"/>
                  </a:lnTo>
                  <a:lnTo>
                    <a:pt x="98" y="155"/>
                  </a:lnTo>
                  <a:lnTo>
                    <a:pt x="99" y="155"/>
                  </a:lnTo>
                  <a:lnTo>
                    <a:pt x="100" y="155"/>
                  </a:lnTo>
                  <a:lnTo>
                    <a:pt x="99" y="154"/>
                  </a:lnTo>
                  <a:lnTo>
                    <a:pt x="100" y="154"/>
                  </a:lnTo>
                  <a:lnTo>
                    <a:pt x="100" y="153"/>
                  </a:lnTo>
                  <a:lnTo>
                    <a:pt x="101" y="153"/>
                  </a:lnTo>
                  <a:lnTo>
                    <a:pt x="103" y="153"/>
                  </a:lnTo>
                  <a:lnTo>
                    <a:pt x="104" y="154"/>
                  </a:lnTo>
                  <a:lnTo>
                    <a:pt x="104" y="155"/>
                  </a:lnTo>
                  <a:lnTo>
                    <a:pt x="104" y="154"/>
                  </a:lnTo>
                  <a:lnTo>
                    <a:pt x="104" y="155"/>
                  </a:lnTo>
                  <a:lnTo>
                    <a:pt x="104" y="156"/>
                  </a:lnTo>
                  <a:lnTo>
                    <a:pt x="104" y="155"/>
                  </a:lnTo>
                  <a:lnTo>
                    <a:pt x="104" y="156"/>
                  </a:lnTo>
                  <a:lnTo>
                    <a:pt x="105" y="156"/>
                  </a:lnTo>
                  <a:lnTo>
                    <a:pt x="104" y="156"/>
                  </a:lnTo>
                  <a:lnTo>
                    <a:pt x="105" y="157"/>
                  </a:lnTo>
                  <a:lnTo>
                    <a:pt x="105" y="156"/>
                  </a:lnTo>
                  <a:lnTo>
                    <a:pt x="106" y="157"/>
                  </a:lnTo>
                  <a:lnTo>
                    <a:pt x="107" y="157"/>
                  </a:lnTo>
                  <a:lnTo>
                    <a:pt x="106" y="157"/>
                  </a:lnTo>
                  <a:lnTo>
                    <a:pt x="106" y="156"/>
                  </a:lnTo>
                  <a:lnTo>
                    <a:pt x="106" y="155"/>
                  </a:lnTo>
                  <a:lnTo>
                    <a:pt x="107" y="156"/>
                  </a:lnTo>
                  <a:lnTo>
                    <a:pt x="108" y="156"/>
                  </a:lnTo>
                  <a:lnTo>
                    <a:pt x="108" y="157"/>
                  </a:lnTo>
                  <a:lnTo>
                    <a:pt x="110" y="157"/>
                  </a:lnTo>
                  <a:lnTo>
                    <a:pt x="110" y="156"/>
                  </a:lnTo>
                  <a:lnTo>
                    <a:pt x="110" y="157"/>
                  </a:lnTo>
                  <a:lnTo>
                    <a:pt x="111" y="157"/>
                  </a:lnTo>
                  <a:lnTo>
                    <a:pt x="111" y="156"/>
                  </a:lnTo>
                  <a:lnTo>
                    <a:pt x="110" y="156"/>
                  </a:lnTo>
                  <a:lnTo>
                    <a:pt x="111" y="156"/>
                  </a:lnTo>
                  <a:lnTo>
                    <a:pt x="112" y="156"/>
                  </a:lnTo>
                  <a:lnTo>
                    <a:pt x="112" y="155"/>
                  </a:lnTo>
                  <a:lnTo>
                    <a:pt x="111" y="155"/>
                  </a:lnTo>
                  <a:lnTo>
                    <a:pt x="112" y="155"/>
                  </a:lnTo>
                  <a:lnTo>
                    <a:pt x="113" y="155"/>
                  </a:lnTo>
                  <a:lnTo>
                    <a:pt x="113" y="154"/>
                  </a:lnTo>
                  <a:lnTo>
                    <a:pt x="112" y="154"/>
                  </a:lnTo>
                  <a:lnTo>
                    <a:pt x="112" y="153"/>
                  </a:lnTo>
                  <a:lnTo>
                    <a:pt x="113" y="153"/>
                  </a:lnTo>
                  <a:lnTo>
                    <a:pt x="113" y="154"/>
                  </a:lnTo>
                  <a:lnTo>
                    <a:pt x="114" y="154"/>
                  </a:lnTo>
                  <a:lnTo>
                    <a:pt x="114" y="155"/>
                  </a:lnTo>
                  <a:lnTo>
                    <a:pt x="114" y="154"/>
                  </a:lnTo>
                  <a:lnTo>
                    <a:pt x="114" y="153"/>
                  </a:lnTo>
                  <a:lnTo>
                    <a:pt x="113" y="153"/>
                  </a:lnTo>
                  <a:lnTo>
                    <a:pt x="113" y="151"/>
                  </a:lnTo>
                  <a:lnTo>
                    <a:pt x="112" y="151"/>
                  </a:lnTo>
                  <a:lnTo>
                    <a:pt x="112" y="150"/>
                  </a:lnTo>
                  <a:lnTo>
                    <a:pt x="111" y="150"/>
                  </a:lnTo>
                  <a:lnTo>
                    <a:pt x="111" y="149"/>
                  </a:lnTo>
                  <a:lnTo>
                    <a:pt x="111" y="148"/>
                  </a:lnTo>
                  <a:lnTo>
                    <a:pt x="111" y="147"/>
                  </a:lnTo>
                  <a:lnTo>
                    <a:pt x="111" y="146"/>
                  </a:lnTo>
                  <a:lnTo>
                    <a:pt x="111" y="144"/>
                  </a:lnTo>
                  <a:lnTo>
                    <a:pt x="111" y="146"/>
                  </a:lnTo>
                  <a:lnTo>
                    <a:pt x="111" y="144"/>
                  </a:lnTo>
                  <a:lnTo>
                    <a:pt x="112" y="144"/>
                  </a:lnTo>
                  <a:lnTo>
                    <a:pt x="112" y="143"/>
                  </a:lnTo>
                  <a:lnTo>
                    <a:pt x="113" y="143"/>
                  </a:lnTo>
                  <a:lnTo>
                    <a:pt x="113" y="142"/>
                  </a:lnTo>
                  <a:lnTo>
                    <a:pt x="114" y="139"/>
                  </a:lnTo>
                  <a:lnTo>
                    <a:pt x="114" y="137"/>
                  </a:lnTo>
                  <a:lnTo>
                    <a:pt x="114" y="135"/>
                  </a:lnTo>
                  <a:lnTo>
                    <a:pt x="113" y="134"/>
                  </a:lnTo>
                  <a:lnTo>
                    <a:pt x="113" y="133"/>
                  </a:lnTo>
                  <a:lnTo>
                    <a:pt x="112" y="133"/>
                  </a:lnTo>
                  <a:lnTo>
                    <a:pt x="112" y="132"/>
                  </a:lnTo>
                  <a:lnTo>
                    <a:pt x="111" y="130"/>
                  </a:lnTo>
                  <a:lnTo>
                    <a:pt x="111" y="132"/>
                  </a:lnTo>
                  <a:lnTo>
                    <a:pt x="111" y="130"/>
                  </a:lnTo>
                  <a:lnTo>
                    <a:pt x="111" y="129"/>
                  </a:lnTo>
                  <a:lnTo>
                    <a:pt x="110" y="128"/>
                  </a:lnTo>
                  <a:lnTo>
                    <a:pt x="111" y="127"/>
                  </a:lnTo>
                  <a:lnTo>
                    <a:pt x="112" y="127"/>
                  </a:lnTo>
                  <a:lnTo>
                    <a:pt x="113" y="126"/>
                  </a:lnTo>
                  <a:lnTo>
                    <a:pt x="115" y="125"/>
                  </a:lnTo>
                  <a:lnTo>
                    <a:pt x="117" y="125"/>
                  </a:lnTo>
                  <a:lnTo>
                    <a:pt x="117" y="126"/>
                  </a:lnTo>
                  <a:lnTo>
                    <a:pt x="115" y="127"/>
                  </a:lnTo>
                  <a:lnTo>
                    <a:pt x="117" y="127"/>
                  </a:lnTo>
                  <a:lnTo>
                    <a:pt x="117" y="128"/>
                  </a:lnTo>
                  <a:lnTo>
                    <a:pt x="115" y="128"/>
                  </a:lnTo>
                  <a:lnTo>
                    <a:pt x="115" y="129"/>
                  </a:lnTo>
                  <a:lnTo>
                    <a:pt x="115" y="130"/>
                  </a:lnTo>
                  <a:lnTo>
                    <a:pt x="114" y="130"/>
                  </a:lnTo>
                  <a:lnTo>
                    <a:pt x="113" y="129"/>
                  </a:lnTo>
                  <a:lnTo>
                    <a:pt x="114" y="129"/>
                  </a:lnTo>
                  <a:lnTo>
                    <a:pt x="113" y="129"/>
                  </a:lnTo>
                  <a:lnTo>
                    <a:pt x="113" y="130"/>
                  </a:lnTo>
                  <a:lnTo>
                    <a:pt x="113" y="132"/>
                  </a:lnTo>
                  <a:lnTo>
                    <a:pt x="114" y="132"/>
                  </a:lnTo>
                  <a:lnTo>
                    <a:pt x="113" y="132"/>
                  </a:lnTo>
                  <a:lnTo>
                    <a:pt x="114" y="132"/>
                  </a:lnTo>
                  <a:lnTo>
                    <a:pt x="115" y="133"/>
                  </a:lnTo>
                  <a:lnTo>
                    <a:pt x="115" y="132"/>
                  </a:lnTo>
                  <a:lnTo>
                    <a:pt x="117" y="132"/>
                  </a:lnTo>
                  <a:lnTo>
                    <a:pt x="117" y="133"/>
                  </a:lnTo>
                  <a:lnTo>
                    <a:pt x="117" y="134"/>
                  </a:lnTo>
                  <a:lnTo>
                    <a:pt x="117" y="135"/>
                  </a:lnTo>
                  <a:lnTo>
                    <a:pt x="118" y="136"/>
                  </a:lnTo>
                  <a:lnTo>
                    <a:pt x="119" y="136"/>
                  </a:lnTo>
                  <a:lnTo>
                    <a:pt x="120" y="136"/>
                  </a:lnTo>
                  <a:lnTo>
                    <a:pt x="120" y="137"/>
                  </a:lnTo>
                  <a:lnTo>
                    <a:pt x="121" y="137"/>
                  </a:lnTo>
                  <a:lnTo>
                    <a:pt x="122" y="137"/>
                  </a:lnTo>
                  <a:lnTo>
                    <a:pt x="122" y="136"/>
                  </a:lnTo>
                  <a:lnTo>
                    <a:pt x="122" y="135"/>
                  </a:lnTo>
                  <a:lnTo>
                    <a:pt x="122" y="134"/>
                  </a:lnTo>
                  <a:lnTo>
                    <a:pt x="124" y="134"/>
                  </a:lnTo>
                  <a:lnTo>
                    <a:pt x="125" y="134"/>
                  </a:lnTo>
                  <a:lnTo>
                    <a:pt x="126" y="133"/>
                  </a:lnTo>
                  <a:lnTo>
                    <a:pt x="127" y="133"/>
                  </a:lnTo>
                  <a:lnTo>
                    <a:pt x="128" y="132"/>
                  </a:lnTo>
                  <a:lnTo>
                    <a:pt x="129" y="130"/>
                  </a:lnTo>
                  <a:lnTo>
                    <a:pt x="131" y="130"/>
                  </a:lnTo>
                  <a:lnTo>
                    <a:pt x="132" y="129"/>
                  </a:lnTo>
                  <a:lnTo>
                    <a:pt x="132" y="128"/>
                  </a:lnTo>
                  <a:lnTo>
                    <a:pt x="133" y="127"/>
                  </a:lnTo>
                  <a:lnTo>
                    <a:pt x="133" y="126"/>
                  </a:lnTo>
                  <a:lnTo>
                    <a:pt x="134" y="125"/>
                  </a:lnTo>
                  <a:lnTo>
                    <a:pt x="134" y="123"/>
                  </a:lnTo>
                  <a:lnTo>
                    <a:pt x="134" y="121"/>
                  </a:lnTo>
                  <a:lnTo>
                    <a:pt x="133" y="121"/>
                  </a:lnTo>
                  <a:lnTo>
                    <a:pt x="134" y="120"/>
                  </a:lnTo>
                  <a:lnTo>
                    <a:pt x="135" y="119"/>
                  </a:lnTo>
                  <a:lnTo>
                    <a:pt x="135" y="118"/>
                  </a:lnTo>
                  <a:lnTo>
                    <a:pt x="136" y="118"/>
                  </a:lnTo>
                  <a:lnTo>
                    <a:pt x="138" y="118"/>
                  </a:lnTo>
                  <a:lnTo>
                    <a:pt x="138" y="116"/>
                  </a:lnTo>
                  <a:lnTo>
                    <a:pt x="139" y="115"/>
                  </a:lnTo>
                  <a:lnTo>
                    <a:pt x="136" y="112"/>
                  </a:lnTo>
                  <a:lnTo>
                    <a:pt x="136" y="111"/>
                  </a:lnTo>
                  <a:lnTo>
                    <a:pt x="136" y="109"/>
                  </a:lnTo>
                  <a:lnTo>
                    <a:pt x="136" y="108"/>
                  </a:lnTo>
                  <a:lnTo>
                    <a:pt x="136" y="107"/>
                  </a:lnTo>
                  <a:lnTo>
                    <a:pt x="136" y="106"/>
                  </a:lnTo>
                  <a:lnTo>
                    <a:pt x="138" y="105"/>
                  </a:lnTo>
                  <a:lnTo>
                    <a:pt x="136" y="102"/>
                  </a:lnTo>
                  <a:lnTo>
                    <a:pt x="136" y="101"/>
                  </a:lnTo>
                  <a:lnTo>
                    <a:pt x="136" y="100"/>
                  </a:lnTo>
                  <a:lnTo>
                    <a:pt x="135" y="99"/>
                  </a:lnTo>
                  <a:lnTo>
                    <a:pt x="135" y="98"/>
                  </a:lnTo>
                  <a:lnTo>
                    <a:pt x="135" y="97"/>
                  </a:lnTo>
                  <a:lnTo>
                    <a:pt x="135" y="95"/>
                  </a:lnTo>
                  <a:lnTo>
                    <a:pt x="134" y="94"/>
                  </a:lnTo>
                  <a:lnTo>
                    <a:pt x="133" y="91"/>
                  </a:lnTo>
                  <a:lnTo>
                    <a:pt x="132" y="90"/>
                  </a:lnTo>
                  <a:lnTo>
                    <a:pt x="132" y="88"/>
                  </a:lnTo>
                  <a:lnTo>
                    <a:pt x="131" y="88"/>
                  </a:lnTo>
                  <a:lnTo>
                    <a:pt x="131" y="87"/>
                  </a:lnTo>
                  <a:lnTo>
                    <a:pt x="129" y="87"/>
                  </a:lnTo>
                  <a:lnTo>
                    <a:pt x="129" y="88"/>
                  </a:lnTo>
                  <a:lnTo>
                    <a:pt x="128" y="88"/>
                  </a:lnTo>
                  <a:lnTo>
                    <a:pt x="127" y="88"/>
                  </a:lnTo>
                  <a:lnTo>
                    <a:pt x="127" y="87"/>
                  </a:lnTo>
                  <a:lnTo>
                    <a:pt x="126" y="87"/>
                  </a:lnTo>
                  <a:lnTo>
                    <a:pt x="126" y="86"/>
                  </a:lnTo>
                  <a:lnTo>
                    <a:pt x="127" y="86"/>
                  </a:lnTo>
                  <a:lnTo>
                    <a:pt x="128" y="86"/>
                  </a:lnTo>
                  <a:lnTo>
                    <a:pt x="128" y="84"/>
                  </a:lnTo>
                  <a:lnTo>
                    <a:pt x="128" y="83"/>
                  </a:lnTo>
                  <a:lnTo>
                    <a:pt x="127" y="83"/>
                  </a:lnTo>
                  <a:lnTo>
                    <a:pt x="127" y="80"/>
                  </a:lnTo>
                  <a:lnTo>
                    <a:pt x="126" y="80"/>
                  </a:lnTo>
                  <a:lnTo>
                    <a:pt x="126" y="79"/>
                  </a:lnTo>
                  <a:lnTo>
                    <a:pt x="125" y="79"/>
                  </a:lnTo>
                  <a:lnTo>
                    <a:pt x="125" y="78"/>
                  </a:lnTo>
                  <a:lnTo>
                    <a:pt x="124" y="78"/>
                  </a:lnTo>
                  <a:lnTo>
                    <a:pt x="124" y="77"/>
                  </a:lnTo>
                  <a:lnTo>
                    <a:pt x="122" y="77"/>
                  </a:lnTo>
                  <a:lnTo>
                    <a:pt x="122" y="76"/>
                  </a:lnTo>
                  <a:lnTo>
                    <a:pt x="122" y="74"/>
                  </a:lnTo>
                  <a:lnTo>
                    <a:pt x="124" y="74"/>
                  </a:lnTo>
                  <a:lnTo>
                    <a:pt x="125" y="74"/>
                  </a:lnTo>
                  <a:lnTo>
                    <a:pt x="125" y="73"/>
                  </a:lnTo>
                  <a:lnTo>
                    <a:pt x="126" y="73"/>
                  </a:lnTo>
                  <a:lnTo>
                    <a:pt x="125" y="72"/>
                  </a:lnTo>
                  <a:lnTo>
                    <a:pt x="125" y="71"/>
                  </a:lnTo>
                  <a:lnTo>
                    <a:pt x="125" y="70"/>
                  </a:lnTo>
                  <a:lnTo>
                    <a:pt x="125" y="71"/>
                  </a:lnTo>
                  <a:lnTo>
                    <a:pt x="126" y="71"/>
                  </a:lnTo>
                  <a:lnTo>
                    <a:pt x="125" y="70"/>
                  </a:lnTo>
                  <a:lnTo>
                    <a:pt x="124" y="70"/>
                  </a:lnTo>
                  <a:lnTo>
                    <a:pt x="124" y="69"/>
                  </a:lnTo>
                  <a:lnTo>
                    <a:pt x="122" y="69"/>
                  </a:lnTo>
                  <a:lnTo>
                    <a:pt x="124" y="67"/>
                  </a:lnTo>
                  <a:lnTo>
                    <a:pt x="122" y="67"/>
                  </a:lnTo>
                  <a:lnTo>
                    <a:pt x="122" y="66"/>
                  </a:lnTo>
                  <a:lnTo>
                    <a:pt x="124" y="66"/>
                  </a:lnTo>
                  <a:lnTo>
                    <a:pt x="124" y="67"/>
                  </a:lnTo>
                  <a:lnTo>
                    <a:pt x="125" y="67"/>
                  </a:lnTo>
                  <a:lnTo>
                    <a:pt x="125" y="66"/>
                  </a:lnTo>
                  <a:lnTo>
                    <a:pt x="126" y="66"/>
                  </a:lnTo>
                  <a:lnTo>
                    <a:pt x="127" y="67"/>
                  </a:lnTo>
                  <a:lnTo>
                    <a:pt x="127" y="69"/>
                  </a:lnTo>
                  <a:lnTo>
                    <a:pt x="128" y="69"/>
                  </a:lnTo>
                  <a:lnTo>
                    <a:pt x="128" y="70"/>
                  </a:lnTo>
                  <a:lnTo>
                    <a:pt x="129" y="72"/>
                  </a:lnTo>
                  <a:lnTo>
                    <a:pt x="131" y="72"/>
                  </a:lnTo>
                  <a:lnTo>
                    <a:pt x="132" y="73"/>
                  </a:lnTo>
                  <a:lnTo>
                    <a:pt x="132" y="72"/>
                  </a:lnTo>
                  <a:lnTo>
                    <a:pt x="133" y="72"/>
                  </a:lnTo>
                  <a:lnTo>
                    <a:pt x="132" y="72"/>
                  </a:lnTo>
                  <a:lnTo>
                    <a:pt x="132" y="71"/>
                  </a:lnTo>
                  <a:lnTo>
                    <a:pt x="132" y="70"/>
                  </a:lnTo>
                  <a:lnTo>
                    <a:pt x="133" y="70"/>
                  </a:lnTo>
                  <a:lnTo>
                    <a:pt x="133" y="71"/>
                  </a:lnTo>
                  <a:lnTo>
                    <a:pt x="134" y="71"/>
                  </a:lnTo>
                  <a:lnTo>
                    <a:pt x="134" y="72"/>
                  </a:lnTo>
                  <a:lnTo>
                    <a:pt x="135" y="72"/>
                  </a:lnTo>
                  <a:lnTo>
                    <a:pt x="136" y="72"/>
                  </a:lnTo>
                  <a:lnTo>
                    <a:pt x="136" y="71"/>
                  </a:lnTo>
                  <a:lnTo>
                    <a:pt x="136" y="70"/>
                  </a:lnTo>
                  <a:lnTo>
                    <a:pt x="135" y="69"/>
                  </a:lnTo>
                  <a:lnTo>
                    <a:pt x="135" y="67"/>
                  </a:lnTo>
                  <a:lnTo>
                    <a:pt x="134" y="67"/>
                  </a:lnTo>
                  <a:lnTo>
                    <a:pt x="134" y="66"/>
                  </a:lnTo>
                  <a:lnTo>
                    <a:pt x="133" y="66"/>
                  </a:lnTo>
                  <a:lnTo>
                    <a:pt x="133" y="67"/>
                  </a:lnTo>
                  <a:lnTo>
                    <a:pt x="132" y="67"/>
                  </a:lnTo>
                  <a:lnTo>
                    <a:pt x="131" y="67"/>
                  </a:lnTo>
                  <a:lnTo>
                    <a:pt x="129" y="67"/>
                  </a:lnTo>
                  <a:lnTo>
                    <a:pt x="129" y="69"/>
                  </a:lnTo>
                  <a:lnTo>
                    <a:pt x="128" y="67"/>
                  </a:lnTo>
                  <a:lnTo>
                    <a:pt x="128" y="66"/>
                  </a:lnTo>
                  <a:lnTo>
                    <a:pt x="128" y="65"/>
                  </a:lnTo>
                  <a:lnTo>
                    <a:pt x="127" y="65"/>
                  </a:lnTo>
                  <a:lnTo>
                    <a:pt x="127" y="64"/>
                  </a:lnTo>
                  <a:lnTo>
                    <a:pt x="127" y="63"/>
                  </a:lnTo>
                  <a:lnTo>
                    <a:pt x="127" y="62"/>
                  </a:lnTo>
                  <a:lnTo>
                    <a:pt x="128" y="63"/>
                  </a:lnTo>
                  <a:lnTo>
                    <a:pt x="129" y="63"/>
                  </a:lnTo>
                  <a:lnTo>
                    <a:pt x="131" y="63"/>
                  </a:lnTo>
                  <a:lnTo>
                    <a:pt x="131" y="64"/>
                  </a:lnTo>
                  <a:lnTo>
                    <a:pt x="132" y="64"/>
                  </a:lnTo>
                  <a:lnTo>
                    <a:pt x="133" y="64"/>
                  </a:lnTo>
                  <a:lnTo>
                    <a:pt x="133" y="65"/>
                  </a:lnTo>
                  <a:close/>
                  <a:moveTo>
                    <a:pt x="104" y="53"/>
                  </a:moveTo>
                  <a:lnTo>
                    <a:pt x="103" y="53"/>
                  </a:lnTo>
                  <a:lnTo>
                    <a:pt x="103" y="52"/>
                  </a:lnTo>
                  <a:lnTo>
                    <a:pt x="101" y="52"/>
                  </a:lnTo>
                  <a:lnTo>
                    <a:pt x="101" y="51"/>
                  </a:lnTo>
                  <a:lnTo>
                    <a:pt x="103" y="51"/>
                  </a:lnTo>
                  <a:lnTo>
                    <a:pt x="103" y="52"/>
                  </a:lnTo>
                  <a:lnTo>
                    <a:pt x="104" y="52"/>
                  </a:lnTo>
                  <a:lnTo>
                    <a:pt x="104" y="53"/>
                  </a:lnTo>
                  <a:close/>
                  <a:moveTo>
                    <a:pt x="162" y="31"/>
                  </a:moveTo>
                  <a:lnTo>
                    <a:pt x="162" y="30"/>
                  </a:lnTo>
                  <a:lnTo>
                    <a:pt x="160" y="29"/>
                  </a:lnTo>
                  <a:lnTo>
                    <a:pt x="161" y="29"/>
                  </a:lnTo>
                  <a:lnTo>
                    <a:pt x="162" y="30"/>
                  </a:lnTo>
                  <a:lnTo>
                    <a:pt x="163" y="30"/>
                  </a:lnTo>
                  <a:lnTo>
                    <a:pt x="162" y="30"/>
                  </a:lnTo>
                  <a:lnTo>
                    <a:pt x="162" y="31"/>
                  </a:lnTo>
                  <a:close/>
                  <a:moveTo>
                    <a:pt x="139" y="21"/>
                  </a:moveTo>
                  <a:lnTo>
                    <a:pt x="138" y="21"/>
                  </a:lnTo>
                  <a:lnTo>
                    <a:pt x="136" y="21"/>
                  </a:lnTo>
                  <a:lnTo>
                    <a:pt x="138" y="21"/>
                  </a:lnTo>
                  <a:lnTo>
                    <a:pt x="139" y="21"/>
                  </a:lnTo>
                  <a:close/>
                  <a:moveTo>
                    <a:pt x="95" y="6"/>
                  </a:moveTo>
                  <a:lnTo>
                    <a:pt x="93" y="6"/>
                  </a:lnTo>
                  <a:lnTo>
                    <a:pt x="92" y="6"/>
                  </a:lnTo>
                  <a:lnTo>
                    <a:pt x="92" y="4"/>
                  </a:lnTo>
                  <a:lnTo>
                    <a:pt x="92" y="3"/>
                  </a:lnTo>
                  <a:lnTo>
                    <a:pt x="93" y="4"/>
                  </a:lnTo>
                  <a:lnTo>
                    <a:pt x="95" y="4"/>
                  </a:lnTo>
                  <a:lnTo>
                    <a:pt x="95" y="6"/>
                  </a:lnTo>
                  <a:close/>
                  <a:moveTo>
                    <a:pt x="88" y="1"/>
                  </a:moveTo>
                  <a:lnTo>
                    <a:pt x="89" y="1"/>
                  </a:lnTo>
                  <a:lnTo>
                    <a:pt x="90" y="2"/>
                  </a:lnTo>
                  <a:lnTo>
                    <a:pt x="90" y="3"/>
                  </a:lnTo>
                  <a:lnTo>
                    <a:pt x="89" y="2"/>
                  </a:lnTo>
                  <a:lnTo>
                    <a:pt x="88" y="1"/>
                  </a:lnTo>
                  <a:close/>
                  <a:moveTo>
                    <a:pt x="100" y="1"/>
                  </a:moveTo>
                  <a:lnTo>
                    <a:pt x="101" y="1"/>
                  </a:lnTo>
                  <a:lnTo>
                    <a:pt x="103" y="2"/>
                  </a:lnTo>
                  <a:lnTo>
                    <a:pt x="104" y="2"/>
                  </a:lnTo>
                  <a:lnTo>
                    <a:pt x="105" y="3"/>
                  </a:lnTo>
                  <a:lnTo>
                    <a:pt x="112" y="8"/>
                  </a:lnTo>
                  <a:lnTo>
                    <a:pt x="114" y="9"/>
                  </a:lnTo>
                  <a:lnTo>
                    <a:pt x="114" y="10"/>
                  </a:lnTo>
                  <a:lnTo>
                    <a:pt x="117" y="10"/>
                  </a:lnTo>
                  <a:lnTo>
                    <a:pt x="120" y="13"/>
                  </a:lnTo>
                  <a:lnTo>
                    <a:pt x="121" y="14"/>
                  </a:lnTo>
                  <a:lnTo>
                    <a:pt x="122" y="15"/>
                  </a:lnTo>
                  <a:lnTo>
                    <a:pt x="125" y="16"/>
                  </a:lnTo>
                  <a:lnTo>
                    <a:pt x="126" y="16"/>
                  </a:lnTo>
                  <a:lnTo>
                    <a:pt x="127" y="16"/>
                  </a:lnTo>
                  <a:lnTo>
                    <a:pt x="127" y="17"/>
                  </a:lnTo>
                  <a:lnTo>
                    <a:pt x="128" y="17"/>
                  </a:lnTo>
                  <a:lnTo>
                    <a:pt x="129" y="17"/>
                  </a:lnTo>
                  <a:lnTo>
                    <a:pt x="129" y="18"/>
                  </a:lnTo>
                  <a:lnTo>
                    <a:pt x="131" y="18"/>
                  </a:lnTo>
                  <a:lnTo>
                    <a:pt x="133" y="20"/>
                  </a:lnTo>
                  <a:lnTo>
                    <a:pt x="136" y="21"/>
                  </a:lnTo>
                  <a:lnTo>
                    <a:pt x="135" y="21"/>
                  </a:lnTo>
                  <a:lnTo>
                    <a:pt x="136" y="22"/>
                  </a:lnTo>
                  <a:lnTo>
                    <a:pt x="138" y="22"/>
                  </a:lnTo>
                  <a:lnTo>
                    <a:pt x="139" y="22"/>
                  </a:lnTo>
                  <a:lnTo>
                    <a:pt x="139" y="21"/>
                  </a:lnTo>
                  <a:lnTo>
                    <a:pt x="140" y="21"/>
                  </a:lnTo>
                  <a:lnTo>
                    <a:pt x="141" y="21"/>
                  </a:lnTo>
                  <a:lnTo>
                    <a:pt x="141" y="22"/>
                  </a:lnTo>
                  <a:lnTo>
                    <a:pt x="142" y="22"/>
                  </a:lnTo>
                  <a:lnTo>
                    <a:pt x="141" y="22"/>
                  </a:lnTo>
                  <a:lnTo>
                    <a:pt x="142" y="23"/>
                  </a:lnTo>
                  <a:lnTo>
                    <a:pt x="142" y="22"/>
                  </a:lnTo>
                  <a:lnTo>
                    <a:pt x="143" y="22"/>
                  </a:lnTo>
                  <a:lnTo>
                    <a:pt x="145" y="23"/>
                  </a:lnTo>
                  <a:lnTo>
                    <a:pt x="146" y="23"/>
                  </a:lnTo>
                  <a:lnTo>
                    <a:pt x="146" y="24"/>
                  </a:lnTo>
                  <a:lnTo>
                    <a:pt x="147" y="24"/>
                  </a:lnTo>
                  <a:lnTo>
                    <a:pt x="149" y="24"/>
                  </a:lnTo>
                  <a:lnTo>
                    <a:pt x="152" y="24"/>
                  </a:lnTo>
                  <a:lnTo>
                    <a:pt x="153" y="23"/>
                  </a:lnTo>
                  <a:lnTo>
                    <a:pt x="153" y="22"/>
                  </a:lnTo>
                  <a:lnTo>
                    <a:pt x="154" y="21"/>
                  </a:lnTo>
                  <a:lnTo>
                    <a:pt x="154" y="20"/>
                  </a:lnTo>
                  <a:lnTo>
                    <a:pt x="154" y="18"/>
                  </a:lnTo>
                  <a:lnTo>
                    <a:pt x="155" y="18"/>
                  </a:lnTo>
                  <a:lnTo>
                    <a:pt x="155" y="20"/>
                  </a:lnTo>
                  <a:lnTo>
                    <a:pt x="155" y="21"/>
                  </a:lnTo>
                  <a:lnTo>
                    <a:pt x="156" y="22"/>
                  </a:lnTo>
                  <a:lnTo>
                    <a:pt x="156" y="23"/>
                  </a:lnTo>
                  <a:lnTo>
                    <a:pt x="156" y="24"/>
                  </a:lnTo>
                  <a:lnTo>
                    <a:pt x="156" y="25"/>
                  </a:lnTo>
                  <a:lnTo>
                    <a:pt x="156" y="27"/>
                  </a:lnTo>
                  <a:lnTo>
                    <a:pt x="157" y="27"/>
                  </a:lnTo>
                  <a:lnTo>
                    <a:pt x="159" y="28"/>
                  </a:lnTo>
                  <a:lnTo>
                    <a:pt x="159" y="29"/>
                  </a:lnTo>
                  <a:lnTo>
                    <a:pt x="160" y="29"/>
                  </a:lnTo>
                  <a:lnTo>
                    <a:pt x="161" y="29"/>
                  </a:lnTo>
                  <a:lnTo>
                    <a:pt x="161" y="30"/>
                  </a:lnTo>
                  <a:lnTo>
                    <a:pt x="162" y="30"/>
                  </a:lnTo>
                  <a:lnTo>
                    <a:pt x="162" y="31"/>
                  </a:lnTo>
                  <a:lnTo>
                    <a:pt x="163" y="32"/>
                  </a:lnTo>
                  <a:lnTo>
                    <a:pt x="164" y="34"/>
                  </a:lnTo>
                  <a:lnTo>
                    <a:pt x="165" y="34"/>
                  </a:lnTo>
                  <a:lnTo>
                    <a:pt x="165" y="35"/>
                  </a:lnTo>
                  <a:lnTo>
                    <a:pt x="164" y="34"/>
                  </a:lnTo>
                  <a:lnTo>
                    <a:pt x="165" y="35"/>
                  </a:lnTo>
                  <a:lnTo>
                    <a:pt x="164" y="35"/>
                  </a:lnTo>
                  <a:lnTo>
                    <a:pt x="165" y="35"/>
                  </a:lnTo>
                  <a:lnTo>
                    <a:pt x="167" y="35"/>
                  </a:lnTo>
                  <a:lnTo>
                    <a:pt x="168" y="35"/>
                  </a:lnTo>
                  <a:lnTo>
                    <a:pt x="168" y="34"/>
                  </a:lnTo>
                  <a:lnTo>
                    <a:pt x="169" y="32"/>
                  </a:lnTo>
                  <a:lnTo>
                    <a:pt x="170" y="32"/>
                  </a:lnTo>
                  <a:lnTo>
                    <a:pt x="170" y="34"/>
                  </a:lnTo>
                  <a:lnTo>
                    <a:pt x="169" y="34"/>
                  </a:lnTo>
                  <a:lnTo>
                    <a:pt x="169" y="35"/>
                  </a:lnTo>
                  <a:lnTo>
                    <a:pt x="169" y="36"/>
                  </a:lnTo>
                  <a:lnTo>
                    <a:pt x="168" y="36"/>
                  </a:lnTo>
                  <a:lnTo>
                    <a:pt x="167" y="36"/>
                  </a:lnTo>
                  <a:lnTo>
                    <a:pt x="165" y="36"/>
                  </a:lnTo>
                  <a:lnTo>
                    <a:pt x="165" y="37"/>
                  </a:lnTo>
                  <a:lnTo>
                    <a:pt x="164" y="37"/>
                  </a:lnTo>
                  <a:lnTo>
                    <a:pt x="165" y="37"/>
                  </a:lnTo>
                  <a:lnTo>
                    <a:pt x="165" y="38"/>
                  </a:lnTo>
                  <a:lnTo>
                    <a:pt x="164" y="38"/>
                  </a:lnTo>
                  <a:lnTo>
                    <a:pt x="163" y="38"/>
                  </a:lnTo>
                  <a:lnTo>
                    <a:pt x="164" y="38"/>
                  </a:lnTo>
                  <a:lnTo>
                    <a:pt x="164" y="39"/>
                  </a:lnTo>
                  <a:lnTo>
                    <a:pt x="163" y="39"/>
                  </a:lnTo>
                  <a:lnTo>
                    <a:pt x="162" y="39"/>
                  </a:lnTo>
                  <a:lnTo>
                    <a:pt x="162" y="38"/>
                  </a:lnTo>
                  <a:lnTo>
                    <a:pt x="161" y="38"/>
                  </a:lnTo>
                  <a:lnTo>
                    <a:pt x="161" y="39"/>
                  </a:lnTo>
                  <a:lnTo>
                    <a:pt x="162" y="39"/>
                  </a:lnTo>
                  <a:lnTo>
                    <a:pt x="162" y="41"/>
                  </a:lnTo>
                  <a:lnTo>
                    <a:pt x="160" y="39"/>
                  </a:lnTo>
                  <a:lnTo>
                    <a:pt x="159" y="39"/>
                  </a:lnTo>
                  <a:lnTo>
                    <a:pt x="157" y="39"/>
                  </a:lnTo>
                  <a:lnTo>
                    <a:pt x="156" y="39"/>
                  </a:lnTo>
                  <a:lnTo>
                    <a:pt x="156" y="38"/>
                  </a:lnTo>
                  <a:lnTo>
                    <a:pt x="155" y="39"/>
                  </a:lnTo>
                  <a:lnTo>
                    <a:pt x="154" y="39"/>
                  </a:lnTo>
                  <a:lnTo>
                    <a:pt x="153" y="41"/>
                  </a:lnTo>
                  <a:lnTo>
                    <a:pt x="152" y="42"/>
                  </a:lnTo>
                  <a:lnTo>
                    <a:pt x="152" y="43"/>
                  </a:lnTo>
                  <a:lnTo>
                    <a:pt x="150" y="44"/>
                  </a:lnTo>
                  <a:lnTo>
                    <a:pt x="150" y="45"/>
                  </a:lnTo>
                  <a:lnTo>
                    <a:pt x="150" y="48"/>
                  </a:lnTo>
                  <a:lnTo>
                    <a:pt x="150" y="50"/>
                  </a:lnTo>
                  <a:lnTo>
                    <a:pt x="150" y="51"/>
                  </a:lnTo>
                  <a:lnTo>
                    <a:pt x="152" y="52"/>
                  </a:lnTo>
                  <a:lnTo>
                    <a:pt x="152" y="53"/>
                  </a:lnTo>
                  <a:lnTo>
                    <a:pt x="153" y="55"/>
                  </a:lnTo>
                  <a:lnTo>
                    <a:pt x="153" y="56"/>
                  </a:lnTo>
                  <a:lnTo>
                    <a:pt x="152" y="56"/>
                  </a:lnTo>
                  <a:lnTo>
                    <a:pt x="152" y="55"/>
                  </a:lnTo>
                  <a:lnTo>
                    <a:pt x="150" y="55"/>
                  </a:lnTo>
                  <a:lnTo>
                    <a:pt x="147" y="53"/>
                  </a:lnTo>
                  <a:lnTo>
                    <a:pt x="145" y="52"/>
                  </a:lnTo>
                  <a:lnTo>
                    <a:pt x="141" y="51"/>
                  </a:lnTo>
                  <a:lnTo>
                    <a:pt x="140" y="50"/>
                  </a:lnTo>
                  <a:lnTo>
                    <a:pt x="136" y="49"/>
                  </a:lnTo>
                  <a:lnTo>
                    <a:pt x="135" y="48"/>
                  </a:lnTo>
                  <a:lnTo>
                    <a:pt x="134" y="48"/>
                  </a:lnTo>
                  <a:lnTo>
                    <a:pt x="132" y="48"/>
                  </a:lnTo>
                  <a:lnTo>
                    <a:pt x="131" y="46"/>
                  </a:lnTo>
                  <a:lnTo>
                    <a:pt x="129" y="45"/>
                  </a:lnTo>
                  <a:lnTo>
                    <a:pt x="128" y="45"/>
                  </a:lnTo>
                  <a:lnTo>
                    <a:pt x="127" y="45"/>
                  </a:lnTo>
                  <a:lnTo>
                    <a:pt x="126" y="45"/>
                  </a:lnTo>
                  <a:lnTo>
                    <a:pt x="125" y="45"/>
                  </a:lnTo>
                  <a:lnTo>
                    <a:pt x="124" y="45"/>
                  </a:lnTo>
                  <a:lnTo>
                    <a:pt x="122" y="48"/>
                  </a:lnTo>
                  <a:lnTo>
                    <a:pt x="121" y="48"/>
                  </a:lnTo>
                  <a:lnTo>
                    <a:pt x="121" y="49"/>
                  </a:lnTo>
                  <a:lnTo>
                    <a:pt x="120" y="50"/>
                  </a:lnTo>
                  <a:lnTo>
                    <a:pt x="119" y="50"/>
                  </a:lnTo>
                  <a:lnTo>
                    <a:pt x="119" y="49"/>
                  </a:lnTo>
                  <a:lnTo>
                    <a:pt x="120" y="50"/>
                  </a:lnTo>
                  <a:lnTo>
                    <a:pt x="120" y="49"/>
                  </a:lnTo>
                  <a:lnTo>
                    <a:pt x="119" y="49"/>
                  </a:lnTo>
                  <a:lnTo>
                    <a:pt x="118" y="48"/>
                  </a:lnTo>
                  <a:lnTo>
                    <a:pt x="114" y="45"/>
                  </a:lnTo>
                  <a:lnTo>
                    <a:pt x="113" y="45"/>
                  </a:lnTo>
                  <a:lnTo>
                    <a:pt x="112" y="45"/>
                  </a:lnTo>
                  <a:lnTo>
                    <a:pt x="111" y="45"/>
                  </a:lnTo>
                  <a:lnTo>
                    <a:pt x="111" y="46"/>
                  </a:lnTo>
                  <a:lnTo>
                    <a:pt x="111" y="48"/>
                  </a:lnTo>
                  <a:lnTo>
                    <a:pt x="111" y="49"/>
                  </a:lnTo>
                  <a:lnTo>
                    <a:pt x="111" y="50"/>
                  </a:lnTo>
                  <a:lnTo>
                    <a:pt x="112" y="50"/>
                  </a:lnTo>
                  <a:lnTo>
                    <a:pt x="113" y="51"/>
                  </a:lnTo>
                  <a:lnTo>
                    <a:pt x="114" y="51"/>
                  </a:lnTo>
                  <a:lnTo>
                    <a:pt x="115" y="52"/>
                  </a:lnTo>
                  <a:lnTo>
                    <a:pt x="117" y="52"/>
                  </a:lnTo>
                  <a:lnTo>
                    <a:pt x="117" y="53"/>
                  </a:lnTo>
                  <a:lnTo>
                    <a:pt x="118" y="52"/>
                  </a:lnTo>
                  <a:lnTo>
                    <a:pt x="119" y="52"/>
                  </a:lnTo>
                  <a:lnTo>
                    <a:pt x="120" y="53"/>
                  </a:lnTo>
                  <a:lnTo>
                    <a:pt x="121" y="55"/>
                  </a:lnTo>
                  <a:lnTo>
                    <a:pt x="122" y="55"/>
                  </a:lnTo>
                  <a:lnTo>
                    <a:pt x="124" y="56"/>
                  </a:lnTo>
                  <a:lnTo>
                    <a:pt x="125" y="56"/>
                  </a:lnTo>
                  <a:lnTo>
                    <a:pt x="126" y="56"/>
                  </a:lnTo>
                  <a:lnTo>
                    <a:pt x="126" y="57"/>
                  </a:lnTo>
                  <a:lnTo>
                    <a:pt x="127" y="57"/>
                  </a:lnTo>
                  <a:lnTo>
                    <a:pt x="128" y="58"/>
                  </a:lnTo>
                  <a:lnTo>
                    <a:pt x="127" y="58"/>
                  </a:lnTo>
                  <a:lnTo>
                    <a:pt x="127" y="59"/>
                  </a:lnTo>
                  <a:lnTo>
                    <a:pt x="126" y="59"/>
                  </a:lnTo>
                  <a:lnTo>
                    <a:pt x="125" y="58"/>
                  </a:lnTo>
                  <a:lnTo>
                    <a:pt x="124" y="58"/>
                  </a:lnTo>
                  <a:lnTo>
                    <a:pt x="122" y="58"/>
                  </a:lnTo>
                  <a:lnTo>
                    <a:pt x="122" y="57"/>
                  </a:lnTo>
                  <a:lnTo>
                    <a:pt x="121" y="57"/>
                  </a:lnTo>
                  <a:lnTo>
                    <a:pt x="121" y="58"/>
                  </a:lnTo>
                  <a:lnTo>
                    <a:pt x="121" y="59"/>
                  </a:lnTo>
                  <a:lnTo>
                    <a:pt x="120" y="59"/>
                  </a:lnTo>
                  <a:lnTo>
                    <a:pt x="120" y="60"/>
                  </a:lnTo>
                  <a:lnTo>
                    <a:pt x="120" y="62"/>
                  </a:lnTo>
                  <a:lnTo>
                    <a:pt x="121" y="62"/>
                  </a:lnTo>
                  <a:lnTo>
                    <a:pt x="120" y="62"/>
                  </a:lnTo>
                  <a:lnTo>
                    <a:pt x="119" y="63"/>
                  </a:lnTo>
                  <a:lnTo>
                    <a:pt x="119" y="64"/>
                  </a:lnTo>
                  <a:lnTo>
                    <a:pt x="118" y="64"/>
                  </a:lnTo>
                  <a:lnTo>
                    <a:pt x="117" y="64"/>
                  </a:lnTo>
                  <a:lnTo>
                    <a:pt x="117" y="63"/>
                  </a:lnTo>
                  <a:lnTo>
                    <a:pt x="115" y="63"/>
                  </a:lnTo>
                  <a:lnTo>
                    <a:pt x="114" y="62"/>
                  </a:lnTo>
                  <a:lnTo>
                    <a:pt x="114" y="60"/>
                  </a:lnTo>
                  <a:lnTo>
                    <a:pt x="114" y="59"/>
                  </a:lnTo>
                  <a:lnTo>
                    <a:pt x="114" y="58"/>
                  </a:lnTo>
                  <a:lnTo>
                    <a:pt x="114" y="57"/>
                  </a:lnTo>
                  <a:lnTo>
                    <a:pt x="113" y="57"/>
                  </a:lnTo>
                  <a:lnTo>
                    <a:pt x="114" y="57"/>
                  </a:lnTo>
                  <a:lnTo>
                    <a:pt x="113" y="56"/>
                  </a:lnTo>
                  <a:lnTo>
                    <a:pt x="113" y="55"/>
                  </a:lnTo>
                  <a:lnTo>
                    <a:pt x="112" y="55"/>
                  </a:lnTo>
                  <a:lnTo>
                    <a:pt x="111" y="53"/>
                  </a:lnTo>
                  <a:lnTo>
                    <a:pt x="110" y="53"/>
                  </a:lnTo>
                  <a:lnTo>
                    <a:pt x="108" y="52"/>
                  </a:lnTo>
                  <a:lnTo>
                    <a:pt x="107" y="51"/>
                  </a:lnTo>
                  <a:lnTo>
                    <a:pt x="106" y="51"/>
                  </a:lnTo>
                  <a:lnTo>
                    <a:pt x="105" y="50"/>
                  </a:lnTo>
                  <a:lnTo>
                    <a:pt x="105" y="49"/>
                  </a:lnTo>
                  <a:lnTo>
                    <a:pt x="105" y="48"/>
                  </a:lnTo>
                  <a:lnTo>
                    <a:pt x="104" y="48"/>
                  </a:lnTo>
                  <a:lnTo>
                    <a:pt x="104" y="46"/>
                  </a:lnTo>
                  <a:lnTo>
                    <a:pt x="103" y="45"/>
                  </a:lnTo>
                  <a:lnTo>
                    <a:pt x="103" y="44"/>
                  </a:lnTo>
                  <a:lnTo>
                    <a:pt x="104" y="44"/>
                  </a:lnTo>
                  <a:lnTo>
                    <a:pt x="105" y="44"/>
                  </a:lnTo>
                  <a:lnTo>
                    <a:pt x="105" y="43"/>
                  </a:lnTo>
                  <a:lnTo>
                    <a:pt x="105" y="42"/>
                  </a:lnTo>
                  <a:lnTo>
                    <a:pt x="106" y="42"/>
                  </a:lnTo>
                  <a:lnTo>
                    <a:pt x="106" y="43"/>
                  </a:lnTo>
                  <a:lnTo>
                    <a:pt x="107" y="43"/>
                  </a:lnTo>
                  <a:lnTo>
                    <a:pt x="107" y="42"/>
                  </a:lnTo>
                  <a:lnTo>
                    <a:pt x="106" y="42"/>
                  </a:lnTo>
                  <a:lnTo>
                    <a:pt x="107" y="42"/>
                  </a:lnTo>
                  <a:lnTo>
                    <a:pt x="106" y="41"/>
                  </a:lnTo>
                  <a:lnTo>
                    <a:pt x="107" y="41"/>
                  </a:lnTo>
                  <a:lnTo>
                    <a:pt x="107" y="39"/>
                  </a:lnTo>
                  <a:lnTo>
                    <a:pt x="107" y="38"/>
                  </a:lnTo>
                  <a:lnTo>
                    <a:pt x="106" y="38"/>
                  </a:lnTo>
                  <a:lnTo>
                    <a:pt x="106" y="37"/>
                  </a:lnTo>
                  <a:lnTo>
                    <a:pt x="105" y="37"/>
                  </a:lnTo>
                  <a:lnTo>
                    <a:pt x="104" y="36"/>
                  </a:lnTo>
                  <a:lnTo>
                    <a:pt x="103" y="36"/>
                  </a:lnTo>
                  <a:lnTo>
                    <a:pt x="103" y="35"/>
                  </a:lnTo>
                  <a:lnTo>
                    <a:pt x="103" y="34"/>
                  </a:lnTo>
                  <a:lnTo>
                    <a:pt x="104" y="34"/>
                  </a:lnTo>
                  <a:lnTo>
                    <a:pt x="106" y="35"/>
                  </a:lnTo>
                  <a:lnTo>
                    <a:pt x="107" y="35"/>
                  </a:lnTo>
                  <a:lnTo>
                    <a:pt x="108" y="36"/>
                  </a:lnTo>
                  <a:lnTo>
                    <a:pt x="110" y="36"/>
                  </a:lnTo>
                  <a:lnTo>
                    <a:pt x="111" y="36"/>
                  </a:lnTo>
                  <a:lnTo>
                    <a:pt x="111" y="35"/>
                  </a:lnTo>
                  <a:lnTo>
                    <a:pt x="112" y="36"/>
                  </a:lnTo>
                  <a:lnTo>
                    <a:pt x="113" y="36"/>
                  </a:lnTo>
                  <a:lnTo>
                    <a:pt x="113" y="37"/>
                  </a:lnTo>
                  <a:lnTo>
                    <a:pt x="114" y="37"/>
                  </a:lnTo>
                  <a:lnTo>
                    <a:pt x="114" y="36"/>
                  </a:lnTo>
                  <a:lnTo>
                    <a:pt x="115" y="36"/>
                  </a:lnTo>
                  <a:lnTo>
                    <a:pt x="115" y="35"/>
                  </a:lnTo>
                  <a:lnTo>
                    <a:pt x="115" y="34"/>
                  </a:lnTo>
                  <a:lnTo>
                    <a:pt x="115" y="32"/>
                  </a:lnTo>
                  <a:lnTo>
                    <a:pt x="114" y="32"/>
                  </a:lnTo>
                  <a:lnTo>
                    <a:pt x="113" y="31"/>
                  </a:lnTo>
                  <a:lnTo>
                    <a:pt x="112" y="30"/>
                  </a:lnTo>
                  <a:lnTo>
                    <a:pt x="112" y="29"/>
                  </a:lnTo>
                  <a:lnTo>
                    <a:pt x="111" y="28"/>
                  </a:lnTo>
                  <a:lnTo>
                    <a:pt x="111" y="27"/>
                  </a:lnTo>
                  <a:lnTo>
                    <a:pt x="110" y="27"/>
                  </a:lnTo>
                  <a:lnTo>
                    <a:pt x="111" y="27"/>
                  </a:lnTo>
                  <a:lnTo>
                    <a:pt x="111" y="25"/>
                  </a:lnTo>
                  <a:lnTo>
                    <a:pt x="112" y="25"/>
                  </a:lnTo>
                  <a:lnTo>
                    <a:pt x="112" y="24"/>
                  </a:lnTo>
                  <a:lnTo>
                    <a:pt x="112" y="23"/>
                  </a:lnTo>
                  <a:lnTo>
                    <a:pt x="111" y="23"/>
                  </a:lnTo>
                  <a:lnTo>
                    <a:pt x="111" y="22"/>
                  </a:lnTo>
                  <a:lnTo>
                    <a:pt x="108" y="18"/>
                  </a:lnTo>
                  <a:lnTo>
                    <a:pt x="108" y="16"/>
                  </a:lnTo>
                  <a:lnTo>
                    <a:pt x="107" y="14"/>
                  </a:lnTo>
                  <a:lnTo>
                    <a:pt x="106" y="14"/>
                  </a:lnTo>
                  <a:lnTo>
                    <a:pt x="105" y="11"/>
                  </a:lnTo>
                  <a:lnTo>
                    <a:pt x="103" y="9"/>
                  </a:lnTo>
                  <a:lnTo>
                    <a:pt x="101" y="8"/>
                  </a:lnTo>
                  <a:lnTo>
                    <a:pt x="98" y="6"/>
                  </a:lnTo>
                  <a:lnTo>
                    <a:pt x="98" y="4"/>
                  </a:lnTo>
                  <a:lnTo>
                    <a:pt x="97" y="3"/>
                  </a:lnTo>
                  <a:lnTo>
                    <a:pt x="97" y="2"/>
                  </a:lnTo>
                  <a:lnTo>
                    <a:pt x="96" y="1"/>
                  </a:lnTo>
                  <a:lnTo>
                    <a:pt x="97" y="1"/>
                  </a:lnTo>
                  <a:lnTo>
                    <a:pt x="98" y="1"/>
                  </a:lnTo>
                  <a:lnTo>
                    <a:pt x="99" y="1"/>
                  </a:lnTo>
                  <a:lnTo>
                    <a:pt x="98" y="1"/>
                  </a:lnTo>
                  <a:lnTo>
                    <a:pt x="98" y="0"/>
                  </a:lnTo>
                  <a:lnTo>
                    <a:pt x="99" y="0"/>
                  </a:lnTo>
                  <a:lnTo>
                    <a:pt x="10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62" name="Freeform 917">
              <a:extLst>
                <a:ext uri="{FF2B5EF4-FFF2-40B4-BE49-F238E27FC236}">
                  <a16:creationId xmlns:a16="http://schemas.microsoft.com/office/drawing/2014/main" id="{E73A259A-301E-4EEC-9B8A-E99CDE39333A}"/>
                </a:ext>
              </a:extLst>
            </p:cNvPr>
            <p:cNvSpPr>
              <a:spLocks/>
            </p:cNvSpPr>
            <p:nvPr/>
          </p:nvSpPr>
          <p:spPr bwMode="auto">
            <a:xfrm>
              <a:off x="6848108" y="2369615"/>
              <a:ext cx="20033" cy="17362"/>
            </a:xfrm>
            <a:custGeom>
              <a:avLst/>
              <a:gdLst>
                <a:gd name="T0" fmla="*/ 9 w 15"/>
                <a:gd name="T1" fmla="*/ 13 h 13"/>
                <a:gd name="T2" fmla="*/ 8 w 15"/>
                <a:gd name="T3" fmla="*/ 13 h 13"/>
                <a:gd name="T4" fmla="*/ 7 w 15"/>
                <a:gd name="T5" fmla="*/ 13 h 13"/>
                <a:gd name="T6" fmla="*/ 5 w 15"/>
                <a:gd name="T7" fmla="*/ 11 h 13"/>
                <a:gd name="T8" fmla="*/ 4 w 15"/>
                <a:gd name="T9" fmla="*/ 11 h 13"/>
                <a:gd name="T10" fmla="*/ 2 w 15"/>
                <a:gd name="T11" fmla="*/ 10 h 13"/>
                <a:gd name="T12" fmla="*/ 1 w 15"/>
                <a:gd name="T13" fmla="*/ 9 h 13"/>
                <a:gd name="T14" fmla="*/ 1 w 15"/>
                <a:gd name="T15" fmla="*/ 8 h 13"/>
                <a:gd name="T16" fmla="*/ 0 w 15"/>
                <a:gd name="T17" fmla="*/ 7 h 13"/>
                <a:gd name="T18" fmla="*/ 0 w 15"/>
                <a:gd name="T19" fmla="*/ 6 h 13"/>
                <a:gd name="T20" fmla="*/ 0 w 15"/>
                <a:gd name="T21" fmla="*/ 4 h 13"/>
                <a:gd name="T22" fmla="*/ 0 w 15"/>
                <a:gd name="T23" fmla="*/ 3 h 13"/>
                <a:gd name="T24" fmla="*/ 1 w 15"/>
                <a:gd name="T25" fmla="*/ 2 h 13"/>
                <a:gd name="T26" fmla="*/ 2 w 15"/>
                <a:gd name="T27" fmla="*/ 1 h 13"/>
                <a:gd name="T28" fmla="*/ 4 w 15"/>
                <a:gd name="T29" fmla="*/ 1 h 13"/>
                <a:gd name="T30" fmla="*/ 5 w 15"/>
                <a:gd name="T31" fmla="*/ 0 h 13"/>
                <a:gd name="T32" fmla="*/ 6 w 15"/>
                <a:gd name="T33" fmla="*/ 0 h 13"/>
                <a:gd name="T34" fmla="*/ 7 w 15"/>
                <a:gd name="T35" fmla="*/ 0 h 13"/>
                <a:gd name="T36" fmla="*/ 8 w 15"/>
                <a:gd name="T37" fmla="*/ 1 h 13"/>
                <a:gd name="T38" fmla="*/ 11 w 15"/>
                <a:gd name="T39" fmla="*/ 1 h 13"/>
                <a:gd name="T40" fmla="*/ 12 w 15"/>
                <a:gd name="T41" fmla="*/ 2 h 13"/>
                <a:gd name="T42" fmla="*/ 13 w 15"/>
                <a:gd name="T43" fmla="*/ 3 h 13"/>
                <a:gd name="T44" fmla="*/ 14 w 15"/>
                <a:gd name="T45" fmla="*/ 4 h 13"/>
                <a:gd name="T46" fmla="*/ 14 w 15"/>
                <a:gd name="T47" fmla="*/ 6 h 13"/>
                <a:gd name="T48" fmla="*/ 15 w 15"/>
                <a:gd name="T49" fmla="*/ 7 h 13"/>
                <a:gd name="T50" fmla="*/ 15 w 15"/>
                <a:gd name="T51" fmla="*/ 8 h 13"/>
                <a:gd name="T52" fmla="*/ 15 w 15"/>
                <a:gd name="T53" fmla="*/ 9 h 13"/>
                <a:gd name="T54" fmla="*/ 15 w 15"/>
                <a:gd name="T55" fmla="*/ 10 h 13"/>
                <a:gd name="T56" fmla="*/ 14 w 15"/>
                <a:gd name="T57" fmla="*/ 11 h 13"/>
                <a:gd name="T58" fmla="*/ 13 w 15"/>
                <a:gd name="T59" fmla="*/ 11 h 13"/>
                <a:gd name="T60" fmla="*/ 13 w 15"/>
                <a:gd name="T61" fmla="*/ 13 h 13"/>
                <a:gd name="T62" fmla="*/ 12 w 15"/>
                <a:gd name="T6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 h="13">
                  <a:moveTo>
                    <a:pt x="11" y="13"/>
                  </a:moveTo>
                  <a:lnTo>
                    <a:pt x="9" y="13"/>
                  </a:lnTo>
                  <a:lnTo>
                    <a:pt x="9" y="13"/>
                  </a:lnTo>
                  <a:lnTo>
                    <a:pt x="8" y="13"/>
                  </a:lnTo>
                  <a:lnTo>
                    <a:pt x="7" y="13"/>
                  </a:lnTo>
                  <a:lnTo>
                    <a:pt x="7" y="13"/>
                  </a:lnTo>
                  <a:lnTo>
                    <a:pt x="6" y="13"/>
                  </a:lnTo>
                  <a:lnTo>
                    <a:pt x="5" y="11"/>
                  </a:lnTo>
                  <a:lnTo>
                    <a:pt x="5" y="11"/>
                  </a:lnTo>
                  <a:lnTo>
                    <a:pt x="4" y="11"/>
                  </a:lnTo>
                  <a:lnTo>
                    <a:pt x="4" y="10"/>
                  </a:lnTo>
                  <a:lnTo>
                    <a:pt x="2" y="10"/>
                  </a:lnTo>
                  <a:lnTo>
                    <a:pt x="2" y="9"/>
                  </a:lnTo>
                  <a:lnTo>
                    <a:pt x="1" y="9"/>
                  </a:lnTo>
                  <a:lnTo>
                    <a:pt x="1" y="8"/>
                  </a:lnTo>
                  <a:lnTo>
                    <a:pt x="1" y="8"/>
                  </a:lnTo>
                  <a:lnTo>
                    <a:pt x="1" y="7"/>
                  </a:lnTo>
                  <a:lnTo>
                    <a:pt x="0" y="7"/>
                  </a:lnTo>
                  <a:lnTo>
                    <a:pt x="0" y="6"/>
                  </a:lnTo>
                  <a:lnTo>
                    <a:pt x="0" y="6"/>
                  </a:lnTo>
                  <a:lnTo>
                    <a:pt x="0" y="4"/>
                  </a:lnTo>
                  <a:lnTo>
                    <a:pt x="0" y="4"/>
                  </a:lnTo>
                  <a:lnTo>
                    <a:pt x="0" y="3"/>
                  </a:lnTo>
                  <a:lnTo>
                    <a:pt x="0" y="3"/>
                  </a:lnTo>
                  <a:lnTo>
                    <a:pt x="1" y="2"/>
                  </a:lnTo>
                  <a:lnTo>
                    <a:pt x="1" y="2"/>
                  </a:lnTo>
                  <a:lnTo>
                    <a:pt x="1" y="2"/>
                  </a:lnTo>
                  <a:lnTo>
                    <a:pt x="2" y="1"/>
                  </a:lnTo>
                  <a:lnTo>
                    <a:pt x="2" y="1"/>
                  </a:lnTo>
                  <a:lnTo>
                    <a:pt x="4" y="1"/>
                  </a:lnTo>
                  <a:lnTo>
                    <a:pt x="4" y="1"/>
                  </a:lnTo>
                  <a:lnTo>
                    <a:pt x="5" y="0"/>
                  </a:lnTo>
                  <a:lnTo>
                    <a:pt x="5" y="0"/>
                  </a:lnTo>
                  <a:lnTo>
                    <a:pt x="6" y="0"/>
                  </a:lnTo>
                  <a:lnTo>
                    <a:pt x="6" y="0"/>
                  </a:lnTo>
                  <a:lnTo>
                    <a:pt x="7" y="0"/>
                  </a:lnTo>
                  <a:lnTo>
                    <a:pt x="8" y="1"/>
                  </a:lnTo>
                  <a:lnTo>
                    <a:pt x="8" y="1"/>
                  </a:lnTo>
                  <a:lnTo>
                    <a:pt x="9" y="1"/>
                  </a:lnTo>
                  <a:lnTo>
                    <a:pt x="11" y="1"/>
                  </a:lnTo>
                  <a:lnTo>
                    <a:pt x="11" y="2"/>
                  </a:lnTo>
                  <a:lnTo>
                    <a:pt x="12" y="2"/>
                  </a:lnTo>
                  <a:lnTo>
                    <a:pt x="12" y="2"/>
                  </a:lnTo>
                  <a:lnTo>
                    <a:pt x="13" y="3"/>
                  </a:lnTo>
                  <a:lnTo>
                    <a:pt x="13" y="3"/>
                  </a:lnTo>
                  <a:lnTo>
                    <a:pt x="14" y="4"/>
                  </a:lnTo>
                  <a:lnTo>
                    <a:pt x="14" y="4"/>
                  </a:lnTo>
                  <a:lnTo>
                    <a:pt x="14" y="6"/>
                  </a:lnTo>
                  <a:lnTo>
                    <a:pt x="15" y="6"/>
                  </a:lnTo>
                  <a:lnTo>
                    <a:pt x="15" y="7"/>
                  </a:lnTo>
                  <a:lnTo>
                    <a:pt x="15" y="7"/>
                  </a:lnTo>
                  <a:lnTo>
                    <a:pt x="15" y="8"/>
                  </a:lnTo>
                  <a:lnTo>
                    <a:pt x="15" y="8"/>
                  </a:lnTo>
                  <a:lnTo>
                    <a:pt x="15" y="9"/>
                  </a:lnTo>
                  <a:lnTo>
                    <a:pt x="15" y="9"/>
                  </a:lnTo>
                  <a:lnTo>
                    <a:pt x="15" y="10"/>
                  </a:lnTo>
                  <a:lnTo>
                    <a:pt x="14" y="10"/>
                  </a:lnTo>
                  <a:lnTo>
                    <a:pt x="14" y="11"/>
                  </a:lnTo>
                  <a:lnTo>
                    <a:pt x="14" y="11"/>
                  </a:lnTo>
                  <a:lnTo>
                    <a:pt x="13" y="11"/>
                  </a:lnTo>
                  <a:lnTo>
                    <a:pt x="13" y="13"/>
                  </a:lnTo>
                  <a:lnTo>
                    <a:pt x="13" y="13"/>
                  </a:lnTo>
                  <a:lnTo>
                    <a:pt x="12" y="13"/>
                  </a:lnTo>
                  <a:lnTo>
                    <a:pt x="12" y="13"/>
                  </a:lnTo>
                  <a:lnTo>
                    <a:pt x="11" y="13"/>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63" name="Freeform 918">
              <a:extLst>
                <a:ext uri="{FF2B5EF4-FFF2-40B4-BE49-F238E27FC236}">
                  <a16:creationId xmlns:a16="http://schemas.microsoft.com/office/drawing/2014/main" id="{7460ABEE-4EA8-4C23-AB50-6DCE85A7F2C7}"/>
                </a:ext>
              </a:extLst>
            </p:cNvPr>
            <p:cNvSpPr>
              <a:spLocks/>
            </p:cNvSpPr>
            <p:nvPr/>
          </p:nvSpPr>
          <p:spPr bwMode="auto">
            <a:xfrm>
              <a:off x="7151265" y="2595313"/>
              <a:ext cx="18697" cy="10684"/>
            </a:xfrm>
            <a:custGeom>
              <a:avLst/>
              <a:gdLst>
                <a:gd name="T0" fmla="*/ 14 w 14"/>
                <a:gd name="T1" fmla="*/ 2 h 8"/>
                <a:gd name="T2" fmla="*/ 9 w 14"/>
                <a:gd name="T3" fmla="*/ 5 h 8"/>
                <a:gd name="T4" fmla="*/ 6 w 14"/>
                <a:gd name="T5" fmla="*/ 8 h 8"/>
                <a:gd name="T6" fmla="*/ 2 w 14"/>
                <a:gd name="T7" fmla="*/ 3 h 8"/>
                <a:gd name="T8" fmla="*/ 0 w 14"/>
                <a:gd name="T9" fmla="*/ 0 h 8"/>
                <a:gd name="T10" fmla="*/ 0 w 14"/>
                <a:gd name="T11" fmla="*/ 0 h 8"/>
                <a:gd name="T12" fmla="*/ 0 w 14"/>
                <a:gd name="T13" fmla="*/ 0 h 8"/>
                <a:gd name="T14" fmla="*/ 1 w 14"/>
                <a:gd name="T15" fmla="*/ 0 h 8"/>
                <a:gd name="T16" fmla="*/ 1 w 14"/>
                <a:gd name="T17" fmla="*/ 0 h 8"/>
                <a:gd name="T18" fmla="*/ 1 w 14"/>
                <a:gd name="T19" fmla="*/ 0 h 8"/>
                <a:gd name="T20" fmla="*/ 1 w 14"/>
                <a:gd name="T21" fmla="*/ 0 h 8"/>
                <a:gd name="T22" fmla="*/ 2 w 14"/>
                <a:gd name="T23" fmla="*/ 1 h 8"/>
                <a:gd name="T24" fmla="*/ 2 w 14"/>
                <a:gd name="T25" fmla="*/ 1 h 8"/>
                <a:gd name="T26" fmla="*/ 2 w 14"/>
                <a:gd name="T27" fmla="*/ 1 h 8"/>
                <a:gd name="T28" fmla="*/ 3 w 14"/>
                <a:gd name="T29" fmla="*/ 1 h 8"/>
                <a:gd name="T30" fmla="*/ 3 w 14"/>
                <a:gd name="T31" fmla="*/ 1 h 8"/>
                <a:gd name="T32" fmla="*/ 3 w 14"/>
                <a:gd name="T33" fmla="*/ 1 h 8"/>
                <a:gd name="T34" fmla="*/ 5 w 14"/>
                <a:gd name="T35" fmla="*/ 1 h 8"/>
                <a:gd name="T36" fmla="*/ 5 w 14"/>
                <a:gd name="T37" fmla="*/ 1 h 8"/>
                <a:gd name="T38" fmla="*/ 5 w 14"/>
                <a:gd name="T39" fmla="*/ 1 h 8"/>
                <a:gd name="T40" fmla="*/ 5 w 14"/>
                <a:gd name="T41" fmla="*/ 1 h 8"/>
                <a:gd name="T42" fmla="*/ 6 w 14"/>
                <a:gd name="T43" fmla="*/ 1 h 8"/>
                <a:gd name="T44" fmla="*/ 7 w 14"/>
                <a:gd name="T45" fmla="*/ 1 h 8"/>
                <a:gd name="T46" fmla="*/ 7 w 14"/>
                <a:gd name="T47" fmla="*/ 1 h 8"/>
                <a:gd name="T48" fmla="*/ 7 w 14"/>
                <a:gd name="T49" fmla="*/ 1 h 8"/>
                <a:gd name="T50" fmla="*/ 8 w 14"/>
                <a:gd name="T51" fmla="*/ 2 h 8"/>
                <a:gd name="T52" fmla="*/ 8 w 14"/>
                <a:gd name="T53" fmla="*/ 2 h 8"/>
                <a:gd name="T54" fmla="*/ 9 w 14"/>
                <a:gd name="T55" fmla="*/ 2 h 8"/>
                <a:gd name="T56" fmla="*/ 9 w 14"/>
                <a:gd name="T57" fmla="*/ 2 h 8"/>
                <a:gd name="T58" fmla="*/ 10 w 14"/>
                <a:gd name="T59" fmla="*/ 2 h 8"/>
                <a:gd name="T60" fmla="*/ 10 w 14"/>
                <a:gd name="T61" fmla="*/ 2 h 8"/>
                <a:gd name="T62" fmla="*/ 13 w 14"/>
                <a:gd name="T63" fmla="*/ 2 h 8"/>
                <a:gd name="T64" fmla="*/ 13 w 14"/>
                <a:gd name="T65" fmla="*/ 2 h 8"/>
                <a:gd name="T66" fmla="*/ 13 w 14"/>
                <a:gd name="T67" fmla="*/ 2 h 8"/>
                <a:gd name="T68" fmla="*/ 13 w 14"/>
                <a:gd name="T69" fmla="*/ 2 h 8"/>
                <a:gd name="T70" fmla="*/ 14 w 14"/>
                <a:gd name="T71" fmla="*/ 2 h 8"/>
                <a:gd name="T72" fmla="*/ 14 w 14"/>
                <a:gd name="T73" fmla="*/ 2 h 8"/>
                <a:gd name="T74" fmla="*/ 14 w 14"/>
                <a:gd name="T75"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8">
                  <a:moveTo>
                    <a:pt x="14" y="2"/>
                  </a:moveTo>
                  <a:lnTo>
                    <a:pt x="9" y="5"/>
                  </a:lnTo>
                  <a:lnTo>
                    <a:pt x="6" y="8"/>
                  </a:lnTo>
                  <a:lnTo>
                    <a:pt x="2" y="3"/>
                  </a:lnTo>
                  <a:lnTo>
                    <a:pt x="0" y="0"/>
                  </a:lnTo>
                  <a:lnTo>
                    <a:pt x="0" y="0"/>
                  </a:lnTo>
                  <a:lnTo>
                    <a:pt x="0" y="0"/>
                  </a:lnTo>
                  <a:lnTo>
                    <a:pt x="1" y="0"/>
                  </a:lnTo>
                  <a:lnTo>
                    <a:pt x="1" y="0"/>
                  </a:lnTo>
                  <a:lnTo>
                    <a:pt x="1" y="0"/>
                  </a:lnTo>
                  <a:lnTo>
                    <a:pt x="1" y="0"/>
                  </a:lnTo>
                  <a:lnTo>
                    <a:pt x="2" y="1"/>
                  </a:lnTo>
                  <a:lnTo>
                    <a:pt x="2" y="1"/>
                  </a:lnTo>
                  <a:lnTo>
                    <a:pt x="2" y="1"/>
                  </a:lnTo>
                  <a:lnTo>
                    <a:pt x="3" y="1"/>
                  </a:lnTo>
                  <a:lnTo>
                    <a:pt x="3" y="1"/>
                  </a:lnTo>
                  <a:lnTo>
                    <a:pt x="3" y="1"/>
                  </a:lnTo>
                  <a:lnTo>
                    <a:pt x="5" y="1"/>
                  </a:lnTo>
                  <a:lnTo>
                    <a:pt x="5" y="1"/>
                  </a:lnTo>
                  <a:lnTo>
                    <a:pt x="5" y="1"/>
                  </a:lnTo>
                  <a:lnTo>
                    <a:pt x="5" y="1"/>
                  </a:lnTo>
                  <a:lnTo>
                    <a:pt x="6" y="1"/>
                  </a:lnTo>
                  <a:lnTo>
                    <a:pt x="7" y="1"/>
                  </a:lnTo>
                  <a:lnTo>
                    <a:pt x="7" y="1"/>
                  </a:lnTo>
                  <a:lnTo>
                    <a:pt x="7" y="1"/>
                  </a:lnTo>
                  <a:lnTo>
                    <a:pt x="8" y="2"/>
                  </a:lnTo>
                  <a:lnTo>
                    <a:pt x="8" y="2"/>
                  </a:lnTo>
                  <a:lnTo>
                    <a:pt x="9" y="2"/>
                  </a:lnTo>
                  <a:lnTo>
                    <a:pt x="9" y="2"/>
                  </a:lnTo>
                  <a:lnTo>
                    <a:pt x="10" y="2"/>
                  </a:lnTo>
                  <a:lnTo>
                    <a:pt x="10" y="2"/>
                  </a:lnTo>
                  <a:lnTo>
                    <a:pt x="13" y="2"/>
                  </a:lnTo>
                  <a:lnTo>
                    <a:pt x="13" y="2"/>
                  </a:lnTo>
                  <a:lnTo>
                    <a:pt x="13" y="2"/>
                  </a:lnTo>
                  <a:lnTo>
                    <a:pt x="13" y="2"/>
                  </a:lnTo>
                  <a:lnTo>
                    <a:pt x="14" y="2"/>
                  </a:lnTo>
                  <a:lnTo>
                    <a:pt x="14" y="2"/>
                  </a:lnTo>
                  <a:lnTo>
                    <a:pt x="14"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64" name="Freeform 919">
              <a:extLst>
                <a:ext uri="{FF2B5EF4-FFF2-40B4-BE49-F238E27FC236}">
                  <a16:creationId xmlns:a16="http://schemas.microsoft.com/office/drawing/2014/main" id="{5FCA575B-8B17-45C2-A9ED-0568DF5E6EFE}"/>
                </a:ext>
              </a:extLst>
            </p:cNvPr>
            <p:cNvSpPr>
              <a:spLocks noEditPoints="1"/>
            </p:cNvSpPr>
            <p:nvPr/>
          </p:nvSpPr>
          <p:spPr bwMode="auto">
            <a:xfrm>
              <a:off x="6564985" y="2185318"/>
              <a:ext cx="662402" cy="305827"/>
            </a:xfrm>
            <a:custGeom>
              <a:avLst/>
              <a:gdLst>
                <a:gd name="T0" fmla="*/ 170 w 496"/>
                <a:gd name="T1" fmla="*/ 149 h 229"/>
                <a:gd name="T2" fmla="*/ 169 w 496"/>
                <a:gd name="T3" fmla="*/ 149 h 229"/>
                <a:gd name="T4" fmla="*/ 241 w 496"/>
                <a:gd name="T5" fmla="*/ 1 h 229"/>
                <a:gd name="T6" fmla="*/ 266 w 496"/>
                <a:gd name="T7" fmla="*/ 18 h 229"/>
                <a:gd name="T8" fmla="*/ 280 w 496"/>
                <a:gd name="T9" fmla="*/ 18 h 229"/>
                <a:gd name="T10" fmla="*/ 296 w 496"/>
                <a:gd name="T11" fmla="*/ 21 h 229"/>
                <a:gd name="T12" fmla="*/ 309 w 496"/>
                <a:gd name="T13" fmla="*/ 28 h 229"/>
                <a:gd name="T14" fmla="*/ 332 w 496"/>
                <a:gd name="T15" fmla="*/ 20 h 229"/>
                <a:gd name="T16" fmla="*/ 385 w 496"/>
                <a:gd name="T17" fmla="*/ 62 h 229"/>
                <a:gd name="T18" fmla="*/ 406 w 496"/>
                <a:gd name="T19" fmla="*/ 68 h 229"/>
                <a:gd name="T20" fmla="*/ 435 w 496"/>
                <a:gd name="T21" fmla="*/ 68 h 229"/>
                <a:gd name="T22" fmla="*/ 461 w 496"/>
                <a:gd name="T23" fmla="*/ 83 h 229"/>
                <a:gd name="T24" fmla="*/ 484 w 496"/>
                <a:gd name="T25" fmla="*/ 86 h 229"/>
                <a:gd name="T26" fmla="*/ 490 w 496"/>
                <a:gd name="T27" fmla="*/ 100 h 229"/>
                <a:gd name="T28" fmla="*/ 486 w 496"/>
                <a:gd name="T29" fmla="*/ 128 h 229"/>
                <a:gd name="T30" fmla="*/ 458 w 496"/>
                <a:gd name="T31" fmla="*/ 130 h 229"/>
                <a:gd name="T32" fmla="*/ 453 w 496"/>
                <a:gd name="T33" fmla="*/ 156 h 229"/>
                <a:gd name="T34" fmla="*/ 439 w 496"/>
                <a:gd name="T35" fmla="*/ 167 h 229"/>
                <a:gd name="T36" fmla="*/ 448 w 496"/>
                <a:gd name="T37" fmla="*/ 195 h 229"/>
                <a:gd name="T38" fmla="*/ 425 w 496"/>
                <a:gd name="T39" fmla="*/ 193 h 229"/>
                <a:gd name="T40" fmla="*/ 392 w 496"/>
                <a:gd name="T41" fmla="*/ 191 h 229"/>
                <a:gd name="T42" fmla="*/ 362 w 496"/>
                <a:gd name="T43" fmla="*/ 191 h 229"/>
                <a:gd name="T44" fmla="*/ 339 w 496"/>
                <a:gd name="T45" fmla="*/ 195 h 229"/>
                <a:gd name="T46" fmla="*/ 323 w 496"/>
                <a:gd name="T47" fmla="*/ 210 h 229"/>
                <a:gd name="T48" fmla="*/ 311 w 496"/>
                <a:gd name="T49" fmla="*/ 228 h 229"/>
                <a:gd name="T50" fmla="*/ 282 w 496"/>
                <a:gd name="T51" fmla="*/ 215 h 229"/>
                <a:gd name="T52" fmla="*/ 248 w 496"/>
                <a:gd name="T53" fmla="*/ 181 h 229"/>
                <a:gd name="T54" fmla="*/ 207 w 496"/>
                <a:gd name="T55" fmla="*/ 177 h 229"/>
                <a:gd name="T56" fmla="*/ 176 w 496"/>
                <a:gd name="T57" fmla="*/ 151 h 229"/>
                <a:gd name="T58" fmla="*/ 191 w 496"/>
                <a:gd name="T59" fmla="*/ 137 h 229"/>
                <a:gd name="T60" fmla="*/ 175 w 496"/>
                <a:gd name="T61" fmla="*/ 135 h 229"/>
                <a:gd name="T62" fmla="*/ 172 w 496"/>
                <a:gd name="T63" fmla="*/ 139 h 229"/>
                <a:gd name="T64" fmla="*/ 167 w 496"/>
                <a:gd name="T65" fmla="*/ 145 h 229"/>
                <a:gd name="T66" fmla="*/ 140 w 496"/>
                <a:gd name="T67" fmla="*/ 158 h 229"/>
                <a:gd name="T68" fmla="*/ 139 w 496"/>
                <a:gd name="T69" fmla="*/ 217 h 229"/>
                <a:gd name="T70" fmla="*/ 99 w 496"/>
                <a:gd name="T71" fmla="*/ 205 h 229"/>
                <a:gd name="T72" fmla="*/ 89 w 496"/>
                <a:gd name="T73" fmla="*/ 193 h 229"/>
                <a:gd name="T74" fmla="*/ 64 w 496"/>
                <a:gd name="T75" fmla="*/ 170 h 229"/>
                <a:gd name="T76" fmla="*/ 71 w 496"/>
                <a:gd name="T77" fmla="*/ 162 h 229"/>
                <a:gd name="T78" fmla="*/ 95 w 496"/>
                <a:gd name="T79" fmla="*/ 154 h 229"/>
                <a:gd name="T80" fmla="*/ 90 w 496"/>
                <a:gd name="T81" fmla="*/ 133 h 229"/>
                <a:gd name="T82" fmla="*/ 69 w 496"/>
                <a:gd name="T83" fmla="*/ 128 h 229"/>
                <a:gd name="T84" fmla="*/ 47 w 496"/>
                <a:gd name="T85" fmla="*/ 135 h 229"/>
                <a:gd name="T86" fmla="*/ 36 w 496"/>
                <a:gd name="T87" fmla="*/ 137 h 229"/>
                <a:gd name="T88" fmla="*/ 11 w 496"/>
                <a:gd name="T89" fmla="*/ 113 h 229"/>
                <a:gd name="T90" fmla="*/ 5 w 496"/>
                <a:gd name="T91" fmla="*/ 76 h 229"/>
                <a:gd name="T92" fmla="*/ 18 w 496"/>
                <a:gd name="T93" fmla="*/ 72 h 229"/>
                <a:gd name="T94" fmla="*/ 39 w 496"/>
                <a:gd name="T95" fmla="*/ 57 h 229"/>
                <a:gd name="T96" fmla="*/ 57 w 496"/>
                <a:gd name="T97" fmla="*/ 55 h 229"/>
                <a:gd name="T98" fmla="*/ 82 w 496"/>
                <a:gd name="T99" fmla="*/ 65 h 229"/>
                <a:gd name="T100" fmla="*/ 95 w 496"/>
                <a:gd name="T101" fmla="*/ 69 h 229"/>
                <a:gd name="T102" fmla="*/ 118 w 496"/>
                <a:gd name="T103" fmla="*/ 65 h 229"/>
                <a:gd name="T104" fmla="*/ 140 w 496"/>
                <a:gd name="T105" fmla="*/ 71 h 229"/>
                <a:gd name="T106" fmla="*/ 170 w 496"/>
                <a:gd name="T107" fmla="*/ 63 h 229"/>
                <a:gd name="T108" fmla="*/ 159 w 496"/>
                <a:gd name="T109" fmla="*/ 47 h 229"/>
                <a:gd name="T110" fmla="*/ 162 w 496"/>
                <a:gd name="T111" fmla="*/ 34 h 229"/>
                <a:gd name="T112" fmla="*/ 149 w 496"/>
                <a:gd name="T113" fmla="*/ 22 h 229"/>
                <a:gd name="T114" fmla="*/ 171 w 496"/>
                <a:gd name="T115" fmla="*/ 20 h 229"/>
                <a:gd name="T116" fmla="*/ 195 w 496"/>
                <a:gd name="T117" fmla="*/ 15 h 229"/>
                <a:gd name="T118" fmla="*/ 226 w 496"/>
                <a:gd name="T119" fmla="*/ 6 h 229"/>
                <a:gd name="T120" fmla="*/ 216 w 496"/>
                <a:gd name="T121" fmla="*/ 148 h 229"/>
                <a:gd name="T122" fmla="*/ 213 w 496"/>
                <a:gd name="T123" fmla="*/ 140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96" h="229">
                  <a:moveTo>
                    <a:pt x="65" y="161"/>
                  </a:moveTo>
                  <a:lnTo>
                    <a:pt x="67" y="160"/>
                  </a:lnTo>
                  <a:lnTo>
                    <a:pt x="67" y="161"/>
                  </a:lnTo>
                  <a:lnTo>
                    <a:pt x="67" y="162"/>
                  </a:lnTo>
                  <a:lnTo>
                    <a:pt x="67" y="161"/>
                  </a:lnTo>
                  <a:lnTo>
                    <a:pt x="65" y="161"/>
                  </a:lnTo>
                  <a:lnTo>
                    <a:pt x="65" y="160"/>
                  </a:lnTo>
                  <a:lnTo>
                    <a:pt x="65" y="161"/>
                  </a:lnTo>
                  <a:close/>
                  <a:moveTo>
                    <a:pt x="57" y="161"/>
                  </a:moveTo>
                  <a:lnTo>
                    <a:pt x="58" y="161"/>
                  </a:lnTo>
                  <a:lnTo>
                    <a:pt x="58" y="162"/>
                  </a:lnTo>
                  <a:lnTo>
                    <a:pt x="60" y="162"/>
                  </a:lnTo>
                  <a:lnTo>
                    <a:pt x="58" y="162"/>
                  </a:lnTo>
                  <a:lnTo>
                    <a:pt x="58" y="161"/>
                  </a:lnTo>
                  <a:lnTo>
                    <a:pt x="57" y="161"/>
                  </a:lnTo>
                  <a:lnTo>
                    <a:pt x="57" y="160"/>
                  </a:lnTo>
                  <a:lnTo>
                    <a:pt x="57" y="159"/>
                  </a:lnTo>
                  <a:lnTo>
                    <a:pt x="58" y="159"/>
                  </a:lnTo>
                  <a:lnTo>
                    <a:pt x="57" y="159"/>
                  </a:lnTo>
                  <a:lnTo>
                    <a:pt x="57" y="160"/>
                  </a:lnTo>
                  <a:lnTo>
                    <a:pt x="57" y="161"/>
                  </a:lnTo>
                  <a:close/>
                  <a:moveTo>
                    <a:pt x="61" y="159"/>
                  </a:moveTo>
                  <a:lnTo>
                    <a:pt x="61" y="160"/>
                  </a:lnTo>
                  <a:lnTo>
                    <a:pt x="61" y="159"/>
                  </a:lnTo>
                  <a:close/>
                  <a:moveTo>
                    <a:pt x="89" y="153"/>
                  </a:moveTo>
                  <a:lnTo>
                    <a:pt x="88" y="153"/>
                  </a:lnTo>
                  <a:lnTo>
                    <a:pt x="88" y="152"/>
                  </a:lnTo>
                  <a:lnTo>
                    <a:pt x="89" y="152"/>
                  </a:lnTo>
                  <a:lnTo>
                    <a:pt x="89" y="153"/>
                  </a:lnTo>
                  <a:close/>
                  <a:moveTo>
                    <a:pt x="169" y="149"/>
                  </a:moveTo>
                  <a:lnTo>
                    <a:pt x="170" y="149"/>
                  </a:lnTo>
                  <a:lnTo>
                    <a:pt x="171" y="149"/>
                  </a:lnTo>
                  <a:lnTo>
                    <a:pt x="171" y="151"/>
                  </a:lnTo>
                  <a:lnTo>
                    <a:pt x="172" y="151"/>
                  </a:lnTo>
                  <a:lnTo>
                    <a:pt x="172" y="152"/>
                  </a:lnTo>
                  <a:lnTo>
                    <a:pt x="172" y="153"/>
                  </a:lnTo>
                  <a:lnTo>
                    <a:pt x="172" y="154"/>
                  </a:lnTo>
                  <a:lnTo>
                    <a:pt x="174" y="154"/>
                  </a:lnTo>
                  <a:lnTo>
                    <a:pt x="174" y="155"/>
                  </a:lnTo>
                  <a:lnTo>
                    <a:pt x="174" y="156"/>
                  </a:lnTo>
                  <a:lnTo>
                    <a:pt x="175" y="158"/>
                  </a:lnTo>
                  <a:lnTo>
                    <a:pt x="172" y="156"/>
                  </a:lnTo>
                  <a:lnTo>
                    <a:pt x="170" y="155"/>
                  </a:lnTo>
                  <a:lnTo>
                    <a:pt x="169" y="154"/>
                  </a:lnTo>
                  <a:lnTo>
                    <a:pt x="168" y="154"/>
                  </a:lnTo>
                  <a:lnTo>
                    <a:pt x="166" y="153"/>
                  </a:lnTo>
                  <a:lnTo>
                    <a:pt x="164" y="152"/>
                  </a:lnTo>
                  <a:lnTo>
                    <a:pt x="166" y="151"/>
                  </a:lnTo>
                  <a:lnTo>
                    <a:pt x="167" y="149"/>
                  </a:lnTo>
                  <a:lnTo>
                    <a:pt x="167" y="148"/>
                  </a:lnTo>
                  <a:lnTo>
                    <a:pt x="166" y="148"/>
                  </a:lnTo>
                  <a:lnTo>
                    <a:pt x="166" y="147"/>
                  </a:lnTo>
                  <a:lnTo>
                    <a:pt x="167" y="147"/>
                  </a:lnTo>
                  <a:lnTo>
                    <a:pt x="167" y="148"/>
                  </a:lnTo>
                  <a:lnTo>
                    <a:pt x="167" y="149"/>
                  </a:lnTo>
                  <a:lnTo>
                    <a:pt x="168" y="149"/>
                  </a:lnTo>
                  <a:lnTo>
                    <a:pt x="168" y="148"/>
                  </a:lnTo>
                  <a:lnTo>
                    <a:pt x="167" y="148"/>
                  </a:lnTo>
                  <a:lnTo>
                    <a:pt x="167" y="147"/>
                  </a:lnTo>
                  <a:lnTo>
                    <a:pt x="168" y="147"/>
                  </a:lnTo>
                  <a:lnTo>
                    <a:pt x="169" y="148"/>
                  </a:lnTo>
                  <a:lnTo>
                    <a:pt x="169" y="149"/>
                  </a:lnTo>
                  <a:close/>
                  <a:moveTo>
                    <a:pt x="181" y="144"/>
                  </a:moveTo>
                  <a:lnTo>
                    <a:pt x="182" y="145"/>
                  </a:lnTo>
                  <a:lnTo>
                    <a:pt x="183" y="145"/>
                  </a:lnTo>
                  <a:lnTo>
                    <a:pt x="183" y="146"/>
                  </a:lnTo>
                  <a:lnTo>
                    <a:pt x="183" y="145"/>
                  </a:lnTo>
                  <a:lnTo>
                    <a:pt x="182" y="145"/>
                  </a:lnTo>
                  <a:lnTo>
                    <a:pt x="181" y="145"/>
                  </a:lnTo>
                  <a:lnTo>
                    <a:pt x="179" y="145"/>
                  </a:lnTo>
                  <a:lnTo>
                    <a:pt x="178" y="145"/>
                  </a:lnTo>
                  <a:lnTo>
                    <a:pt x="178" y="144"/>
                  </a:lnTo>
                  <a:lnTo>
                    <a:pt x="179" y="144"/>
                  </a:lnTo>
                  <a:lnTo>
                    <a:pt x="181" y="144"/>
                  </a:lnTo>
                  <a:close/>
                  <a:moveTo>
                    <a:pt x="183" y="144"/>
                  </a:moveTo>
                  <a:lnTo>
                    <a:pt x="183" y="145"/>
                  </a:lnTo>
                  <a:lnTo>
                    <a:pt x="183" y="144"/>
                  </a:lnTo>
                  <a:lnTo>
                    <a:pt x="182" y="144"/>
                  </a:lnTo>
                  <a:lnTo>
                    <a:pt x="183" y="144"/>
                  </a:lnTo>
                  <a:close/>
                  <a:moveTo>
                    <a:pt x="50" y="141"/>
                  </a:moveTo>
                  <a:lnTo>
                    <a:pt x="50" y="140"/>
                  </a:lnTo>
                  <a:lnTo>
                    <a:pt x="49" y="140"/>
                  </a:lnTo>
                  <a:lnTo>
                    <a:pt x="49" y="139"/>
                  </a:lnTo>
                  <a:lnTo>
                    <a:pt x="48" y="139"/>
                  </a:lnTo>
                  <a:lnTo>
                    <a:pt x="49" y="139"/>
                  </a:lnTo>
                  <a:lnTo>
                    <a:pt x="50" y="139"/>
                  </a:lnTo>
                  <a:lnTo>
                    <a:pt x="50" y="140"/>
                  </a:lnTo>
                  <a:lnTo>
                    <a:pt x="50" y="141"/>
                  </a:lnTo>
                  <a:close/>
                  <a:moveTo>
                    <a:pt x="235" y="1"/>
                  </a:moveTo>
                  <a:lnTo>
                    <a:pt x="235" y="2"/>
                  </a:lnTo>
                  <a:lnTo>
                    <a:pt x="236" y="1"/>
                  </a:lnTo>
                  <a:lnTo>
                    <a:pt x="239" y="1"/>
                  </a:lnTo>
                  <a:lnTo>
                    <a:pt x="241" y="1"/>
                  </a:lnTo>
                  <a:lnTo>
                    <a:pt x="243" y="2"/>
                  </a:lnTo>
                  <a:lnTo>
                    <a:pt x="245" y="4"/>
                  </a:lnTo>
                  <a:lnTo>
                    <a:pt x="246" y="4"/>
                  </a:lnTo>
                  <a:lnTo>
                    <a:pt x="247" y="4"/>
                  </a:lnTo>
                  <a:lnTo>
                    <a:pt x="249" y="5"/>
                  </a:lnTo>
                  <a:lnTo>
                    <a:pt x="249" y="4"/>
                  </a:lnTo>
                  <a:lnTo>
                    <a:pt x="250" y="4"/>
                  </a:lnTo>
                  <a:lnTo>
                    <a:pt x="250" y="2"/>
                  </a:lnTo>
                  <a:lnTo>
                    <a:pt x="252" y="2"/>
                  </a:lnTo>
                  <a:lnTo>
                    <a:pt x="253" y="2"/>
                  </a:lnTo>
                  <a:lnTo>
                    <a:pt x="254" y="2"/>
                  </a:lnTo>
                  <a:lnTo>
                    <a:pt x="255" y="2"/>
                  </a:lnTo>
                  <a:lnTo>
                    <a:pt x="255" y="4"/>
                  </a:lnTo>
                  <a:lnTo>
                    <a:pt x="256" y="4"/>
                  </a:lnTo>
                  <a:lnTo>
                    <a:pt x="257" y="5"/>
                  </a:lnTo>
                  <a:lnTo>
                    <a:pt x="259" y="6"/>
                  </a:lnTo>
                  <a:lnTo>
                    <a:pt x="259" y="7"/>
                  </a:lnTo>
                  <a:lnTo>
                    <a:pt x="259" y="8"/>
                  </a:lnTo>
                  <a:lnTo>
                    <a:pt x="260" y="8"/>
                  </a:lnTo>
                  <a:lnTo>
                    <a:pt x="260" y="9"/>
                  </a:lnTo>
                  <a:lnTo>
                    <a:pt x="261" y="11"/>
                  </a:lnTo>
                  <a:lnTo>
                    <a:pt x="262" y="11"/>
                  </a:lnTo>
                  <a:lnTo>
                    <a:pt x="263" y="11"/>
                  </a:lnTo>
                  <a:lnTo>
                    <a:pt x="264" y="12"/>
                  </a:lnTo>
                  <a:lnTo>
                    <a:pt x="264" y="13"/>
                  </a:lnTo>
                  <a:lnTo>
                    <a:pt x="263" y="13"/>
                  </a:lnTo>
                  <a:lnTo>
                    <a:pt x="264" y="14"/>
                  </a:lnTo>
                  <a:lnTo>
                    <a:pt x="264" y="15"/>
                  </a:lnTo>
                  <a:lnTo>
                    <a:pt x="266" y="15"/>
                  </a:lnTo>
                  <a:lnTo>
                    <a:pt x="266" y="16"/>
                  </a:lnTo>
                  <a:lnTo>
                    <a:pt x="266" y="18"/>
                  </a:lnTo>
                  <a:lnTo>
                    <a:pt x="264" y="16"/>
                  </a:lnTo>
                  <a:lnTo>
                    <a:pt x="263" y="16"/>
                  </a:lnTo>
                  <a:lnTo>
                    <a:pt x="263" y="18"/>
                  </a:lnTo>
                  <a:lnTo>
                    <a:pt x="264" y="18"/>
                  </a:lnTo>
                  <a:lnTo>
                    <a:pt x="266" y="19"/>
                  </a:lnTo>
                  <a:lnTo>
                    <a:pt x="267" y="20"/>
                  </a:lnTo>
                  <a:lnTo>
                    <a:pt x="268" y="20"/>
                  </a:lnTo>
                  <a:lnTo>
                    <a:pt x="268" y="19"/>
                  </a:lnTo>
                  <a:lnTo>
                    <a:pt x="269" y="19"/>
                  </a:lnTo>
                  <a:lnTo>
                    <a:pt x="270" y="19"/>
                  </a:lnTo>
                  <a:lnTo>
                    <a:pt x="270" y="20"/>
                  </a:lnTo>
                  <a:lnTo>
                    <a:pt x="271" y="20"/>
                  </a:lnTo>
                  <a:lnTo>
                    <a:pt x="273" y="20"/>
                  </a:lnTo>
                  <a:lnTo>
                    <a:pt x="274" y="20"/>
                  </a:lnTo>
                  <a:lnTo>
                    <a:pt x="273" y="19"/>
                  </a:lnTo>
                  <a:lnTo>
                    <a:pt x="273" y="18"/>
                  </a:lnTo>
                  <a:lnTo>
                    <a:pt x="276" y="19"/>
                  </a:lnTo>
                  <a:lnTo>
                    <a:pt x="277" y="20"/>
                  </a:lnTo>
                  <a:lnTo>
                    <a:pt x="278" y="20"/>
                  </a:lnTo>
                  <a:lnTo>
                    <a:pt x="278" y="19"/>
                  </a:lnTo>
                  <a:lnTo>
                    <a:pt x="277" y="19"/>
                  </a:lnTo>
                  <a:lnTo>
                    <a:pt x="277" y="18"/>
                  </a:lnTo>
                  <a:lnTo>
                    <a:pt x="276" y="18"/>
                  </a:lnTo>
                  <a:lnTo>
                    <a:pt x="277" y="18"/>
                  </a:lnTo>
                  <a:lnTo>
                    <a:pt x="276" y="16"/>
                  </a:lnTo>
                  <a:lnTo>
                    <a:pt x="275" y="16"/>
                  </a:lnTo>
                  <a:lnTo>
                    <a:pt x="276" y="16"/>
                  </a:lnTo>
                  <a:lnTo>
                    <a:pt x="277" y="16"/>
                  </a:lnTo>
                  <a:lnTo>
                    <a:pt x="278" y="16"/>
                  </a:lnTo>
                  <a:lnTo>
                    <a:pt x="278" y="18"/>
                  </a:lnTo>
                  <a:lnTo>
                    <a:pt x="280" y="18"/>
                  </a:lnTo>
                  <a:lnTo>
                    <a:pt x="280" y="19"/>
                  </a:lnTo>
                  <a:lnTo>
                    <a:pt x="281" y="20"/>
                  </a:lnTo>
                  <a:lnTo>
                    <a:pt x="282" y="20"/>
                  </a:lnTo>
                  <a:lnTo>
                    <a:pt x="281" y="20"/>
                  </a:lnTo>
                  <a:lnTo>
                    <a:pt x="281" y="21"/>
                  </a:lnTo>
                  <a:lnTo>
                    <a:pt x="282" y="21"/>
                  </a:lnTo>
                  <a:lnTo>
                    <a:pt x="282" y="22"/>
                  </a:lnTo>
                  <a:lnTo>
                    <a:pt x="283" y="23"/>
                  </a:lnTo>
                  <a:lnTo>
                    <a:pt x="284" y="23"/>
                  </a:lnTo>
                  <a:lnTo>
                    <a:pt x="284" y="22"/>
                  </a:lnTo>
                  <a:lnTo>
                    <a:pt x="285" y="22"/>
                  </a:lnTo>
                  <a:lnTo>
                    <a:pt x="287" y="22"/>
                  </a:lnTo>
                  <a:lnTo>
                    <a:pt x="285" y="22"/>
                  </a:lnTo>
                  <a:lnTo>
                    <a:pt x="285" y="21"/>
                  </a:lnTo>
                  <a:lnTo>
                    <a:pt x="284" y="21"/>
                  </a:lnTo>
                  <a:lnTo>
                    <a:pt x="283" y="21"/>
                  </a:lnTo>
                  <a:lnTo>
                    <a:pt x="283" y="20"/>
                  </a:lnTo>
                  <a:lnTo>
                    <a:pt x="284" y="20"/>
                  </a:lnTo>
                  <a:lnTo>
                    <a:pt x="285" y="20"/>
                  </a:lnTo>
                  <a:lnTo>
                    <a:pt x="288" y="20"/>
                  </a:lnTo>
                  <a:lnTo>
                    <a:pt x="289" y="20"/>
                  </a:lnTo>
                  <a:lnTo>
                    <a:pt x="289" y="21"/>
                  </a:lnTo>
                  <a:lnTo>
                    <a:pt x="290" y="21"/>
                  </a:lnTo>
                  <a:lnTo>
                    <a:pt x="290" y="22"/>
                  </a:lnTo>
                  <a:lnTo>
                    <a:pt x="292" y="22"/>
                  </a:lnTo>
                  <a:lnTo>
                    <a:pt x="294" y="22"/>
                  </a:lnTo>
                  <a:lnTo>
                    <a:pt x="295" y="22"/>
                  </a:lnTo>
                  <a:lnTo>
                    <a:pt x="294" y="22"/>
                  </a:lnTo>
                  <a:lnTo>
                    <a:pt x="295" y="22"/>
                  </a:lnTo>
                  <a:lnTo>
                    <a:pt x="296" y="22"/>
                  </a:lnTo>
                  <a:lnTo>
                    <a:pt x="296" y="21"/>
                  </a:lnTo>
                  <a:lnTo>
                    <a:pt x="297" y="21"/>
                  </a:lnTo>
                  <a:lnTo>
                    <a:pt x="298" y="21"/>
                  </a:lnTo>
                  <a:lnTo>
                    <a:pt x="298" y="23"/>
                  </a:lnTo>
                  <a:lnTo>
                    <a:pt x="296" y="23"/>
                  </a:lnTo>
                  <a:lnTo>
                    <a:pt x="295" y="23"/>
                  </a:lnTo>
                  <a:lnTo>
                    <a:pt x="295" y="25"/>
                  </a:lnTo>
                  <a:lnTo>
                    <a:pt x="296" y="25"/>
                  </a:lnTo>
                  <a:lnTo>
                    <a:pt x="295" y="25"/>
                  </a:lnTo>
                  <a:lnTo>
                    <a:pt x="295" y="27"/>
                  </a:lnTo>
                  <a:lnTo>
                    <a:pt x="295" y="28"/>
                  </a:lnTo>
                  <a:lnTo>
                    <a:pt x="297" y="29"/>
                  </a:lnTo>
                  <a:lnTo>
                    <a:pt x="297" y="30"/>
                  </a:lnTo>
                  <a:lnTo>
                    <a:pt x="298" y="30"/>
                  </a:lnTo>
                  <a:lnTo>
                    <a:pt x="299" y="29"/>
                  </a:lnTo>
                  <a:lnTo>
                    <a:pt x="299" y="28"/>
                  </a:lnTo>
                  <a:lnTo>
                    <a:pt x="300" y="28"/>
                  </a:lnTo>
                  <a:lnTo>
                    <a:pt x="299" y="28"/>
                  </a:lnTo>
                  <a:lnTo>
                    <a:pt x="300" y="28"/>
                  </a:lnTo>
                  <a:lnTo>
                    <a:pt x="302" y="28"/>
                  </a:lnTo>
                  <a:lnTo>
                    <a:pt x="302" y="27"/>
                  </a:lnTo>
                  <a:lnTo>
                    <a:pt x="303" y="27"/>
                  </a:lnTo>
                  <a:lnTo>
                    <a:pt x="304" y="27"/>
                  </a:lnTo>
                  <a:lnTo>
                    <a:pt x="305" y="28"/>
                  </a:lnTo>
                  <a:lnTo>
                    <a:pt x="306" y="28"/>
                  </a:lnTo>
                  <a:lnTo>
                    <a:pt x="307" y="28"/>
                  </a:lnTo>
                  <a:lnTo>
                    <a:pt x="307" y="29"/>
                  </a:lnTo>
                  <a:lnTo>
                    <a:pt x="309" y="29"/>
                  </a:lnTo>
                  <a:lnTo>
                    <a:pt x="310" y="30"/>
                  </a:lnTo>
                  <a:lnTo>
                    <a:pt x="310" y="29"/>
                  </a:lnTo>
                  <a:lnTo>
                    <a:pt x="310" y="28"/>
                  </a:lnTo>
                  <a:lnTo>
                    <a:pt x="309" y="28"/>
                  </a:lnTo>
                  <a:lnTo>
                    <a:pt x="309" y="27"/>
                  </a:lnTo>
                  <a:lnTo>
                    <a:pt x="311" y="27"/>
                  </a:lnTo>
                  <a:lnTo>
                    <a:pt x="311" y="26"/>
                  </a:lnTo>
                  <a:lnTo>
                    <a:pt x="311" y="25"/>
                  </a:lnTo>
                  <a:lnTo>
                    <a:pt x="312" y="25"/>
                  </a:lnTo>
                  <a:lnTo>
                    <a:pt x="313" y="25"/>
                  </a:lnTo>
                  <a:lnTo>
                    <a:pt x="314" y="25"/>
                  </a:lnTo>
                  <a:lnTo>
                    <a:pt x="316" y="23"/>
                  </a:lnTo>
                  <a:lnTo>
                    <a:pt x="317" y="23"/>
                  </a:lnTo>
                  <a:lnTo>
                    <a:pt x="318" y="22"/>
                  </a:lnTo>
                  <a:lnTo>
                    <a:pt x="317" y="21"/>
                  </a:lnTo>
                  <a:lnTo>
                    <a:pt x="317" y="20"/>
                  </a:lnTo>
                  <a:lnTo>
                    <a:pt x="318" y="20"/>
                  </a:lnTo>
                  <a:lnTo>
                    <a:pt x="319" y="20"/>
                  </a:lnTo>
                  <a:lnTo>
                    <a:pt x="320" y="20"/>
                  </a:lnTo>
                  <a:lnTo>
                    <a:pt x="321" y="19"/>
                  </a:lnTo>
                  <a:lnTo>
                    <a:pt x="324" y="19"/>
                  </a:lnTo>
                  <a:lnTo>
                    <a:pt x="325" y="18"/>
                  </a:lnTo>
                  <a:lnTo>
                    <a:pt x="325" y="16"/>
                  </a:lnTo>
                  <a:lnTo>
                    <a:pt x="327" y="16"/>
                  </a:lnTo>
                  <a:lnTo>
                    <a:pt x="328" y="16"/>
                  </a:lnTo>
                  <a:lnTo>
                    <a:pt x="330" y="16"/>
                  </a:lnTo>
                  <a:lnTo>
                    <a:pt x="330" y="15"/>
                  </a:lnTo>
                  <a:lnTo>
                    <a:pt x="331" y="15"/>
                  </a:lnTo>
                  <a:lnTo>
                    <a:pt x="332" y="15"/>
                  </a:lnTo>
                  <a:lnTo>
                    <a:pt x="331" y="15"/>
                  </a:lnTo>
                  <a:lnTo>
                    <a:pt x="331" y="16"/>
                  </a:lnTo>
                  <a:lnTo>
                    <a:pt x="332" y="16"/>
                  </a:lnTo>
                  <a:lnTo>
                    <a:pt x="332" y="18"/>
                  </a:lnTo>
                  <a:lnTo>
                    <a:pt x="332" y="19"/>
                  </a:lnTo>
                  <a:lnTo>
                    <a:pt x="332" y="20"/>
                  </a:lnTo>
                  <a:lnTo>
                    <a:pt x="331" y="20"/>
                  </a:lnTo>
                  <a:lnTo>
                    <a:pt x="328" y="19"/>
                  </a:lnTo>
                  <a:lnTo>
                    <a:pt x="328" y="20"/>
                  </a:lnTo>
                  <a:lnTo>
                    <a:pt x="330" y="21"/>
                  </a:lnTo>
                  <a:lnTo>
                    <a:pt x="331" y="22"/>
                  </a:lnTo>
                  <a:lnTo>
                    <a:pt x="332" y="23"/>
                  </a:lnTo>
                  <a:lnTo>
                    <a:pt x="334" y="23"/>
                  </a:lnTo>
                  <a:lnTo>
                    <a:pt x="337" y="25"/>
                  </a:lnTo>
                  <a:lnTo>
                    <a:pt x="340" y="27"/>
                  </a:lnTo>
                  <a:lnTo>
                    <a:pt x="342" y="28"/>
                  </a:lnTo>
                  <a:lnTo>
                    <a:pt x="346" y="29"/>
                  </a:lnTo>
                  <a:lnTo>
                    <a:pt x="347" y="30"/>
                  </a:lnTo>
                  <a:lnTo>
                    <a:pt x="349" y="32"/>
                  </a:lnTo>
                  <a:lnTo>
                    <a:pt x="351" y="32"/>
                  </a:lnTo>
                  <a:lnTo>
                    <a:pt x="352" y="33"/>
                  </a:lnTo>
                  <a:lnTo>
                    <a:pt x="354" y="34"/>
                  </a:lnTo>
                  <a:lnTo>
                    <a:pt x="355" y="35"/>
                  </a:lnTo>
                  <a:lnTo>
                    <a:pt x="358" y="37"/>
                  </a:lnTo>
                  <a:lnTo>
                    <a:pt x="360" y="39"/>
                  </a:lnTo>
                  <a:lnTo>
                    <a:pt x="361" y="41"/>
                  </a:lnTo>
                  <a:lnTo>
                    <a:pt x="363" y="42"/>
                  </a:lnTo>
                  <a:lnTo>
                    <a:pt x="367" y="44"/>
                  </a:lnTo>
                  <a:lnTo>
                    <a:pt x="369" y="47"/>
                  </a:lnTo>
                  <a:lnTo>
                    <a:pt x="373" y="49"/>
                  </a:lnTo>
                  <a:lnTo>
                    <a:pt x="375" y="53"/>
                  </a:lnTo>
                  <a:lnTo>
                    <a:pt x="377" y="54"/>
                  </a:lnTo>
                  <a:lnTo>
                    <a:pt x="380" y="56"/>
                  </a:lnTo>
                  <a:lnTo>
                    <a:pt x="381" y="57"/>
                  </a:lnTo>
                  <a:lnTo>
                    <a:pt x="382" y="57"/>
                  </a:lnTo>
                  <a:lnTo>
                    <a:pt x="384" y="60"/>
                  </a:lnTo>
                  <a:lnTo>
                    <a:pt x="385" y="62"/>
                  </a:lnTo>
                  <a:lnTo>
                    <a:pt x="388" y="63"/>
                  </a:lnTo>
                  <a:lnTo>
                    <a:pt x="389" y="65"/>
                  </a:lnTo>
                  <a:lnTo>
                    <a:pt x="391" y="67"/>
                  </a:lnTo>
                  <a:lnTo>
                    <a:pt x="392" y="68"/>
                  </a:lnTo>
                  <a:lnTo>
                    <a:pt x="394" y="69"/>
                  </a:lnTo>
                  <a:lnTo>
                    <a:pt x="395" y="70"/>
                  </a:lnTo>
                  <a:lnTo>
                    <a:pt x="396" y="71"/>
                  </a:lnTo>
                  <a:lnTo>
                    <a:pt x="395" y="70"/>
                  </a:lnTo>
                  <a:lnTo>
                    <a:pt x="395" y="69"/>
                  </a:lnTo>
                  <a:lnTo>
                    <a:pt x="396" y="70"/>
                  </a:lnTo>
                  <a:lnTo>
                    <a:pt x="397" y="70"/>
                  </a:lnTo>
                  <a:lnTo>
                    <a:pt x="397" y="69"/>
                  </a:lnTo>
                  <a:lnTo>
                    <a:pt x="398" y="69"/>
                  </a:lnTo>
                  <a:lnTo>
                    <a:pt x="399" y="68"/>
                  </a:lnTo>
                  <a:lnTo>
                    <a:pt x="399" y="67"/>
                  </a:lnTo>
                  <a:lnTo>
                    <a:pt x="398" y="67"/>
                  </a:lnTo>
                  <a:lnTo>
                    <a:pt x="398" y="65"/>
                  </a:lnTo>
                  <a:lnTo>
                    <a:pt x="397" y="65"/>
                  </a:lnTo>
                  <a:lnTo>
                    <a:pt x="397" y="64"/>
                  </a:lnTo>
                  <a:lnTo>
                    <a:pt x="398" y="64"/>
                  </a:lnTo>
                  <a:lnTo>
                    <a:pt x="399" y="64"/>
                  </a:lnTo>
                  <a:lnTo>
                    <a:pt x="399" y="63"/>
                  </a:lnTo>
                  <a:lnTo>
                    <a:pt x="402" y="63"/>
                  </a:lnTo>
                  <a:lnTo>
                    <a:pt x="403" y="63"/>
                  </a:lnTo>
                  <a:lnTo>
                    <a:pt x="403" y="64"/>
                  </a:lnTo>
                  <a:lnTo>
                    <a:pt x="404" y="64"/>
                  </a:lnTo>
                  <a:lnTo>
                    <a:pt x="405" y="64"/>
                  </a:lnTo>
                  <a:lnTo>
                    <a:pt x="406" y="64"/>
                  </a:lnTo>
                  <a:lnTo>
                    <a:pt x="406" y="65"/>
                  </a:lnTo>
                  <a:lnTo>
                    <a:pt x="406" y="67"/>
                  </a:lnTo>
                  <a:lnTo>
                    <a:pt x="406" y="68"/>
                  </a:lnTo>
                  <a:lnTo>
                    <a:pt x="408" y="68"/>
                  </a:lnTo>
                  <a:lnTo>
                    <a:pt x="409" y="68"/>
                  </a:lnTo>
                  <a:lnTo>
                    <a:pt x="411" y="68"/>
                  </a:lnTo>
                  <a:lnTo>
                    <a:pt x="411" y="69"/>
                  </a:lnTo>
                  <a:lnTo>
                    <a:pt x="412" y="69"/>
                  </a:lnTo>
                  <a:lnTo>
                    <a:pt x="412" y="70"/>
                  </a:lnTo>
                  <a:lnTo>
                    <a:pt x="412" y="71"/>
                  </a:lnTo>
                  <a:lnTo>
                    <a:pt x="413" y="71"/>
                  </a:lnTo>
                  <a:lnTo>
                    <a:pt x="416" y="71"/>
                  </a:lnTo>
                  <a:lnTo>
                    <a:pt x="416" y="70"/>
                  </a:lnTo>
                  <a:lnTo>
                    <a:pt x="417" y="70"/>
                  </a:lnTo>
                  <a:lnTo>
                    <a:pt x="417" y="71"/>
                  </a:lnTo>
                  <a:lnTo>
                    <a:pt x="418" y="70"/>
                  </a:lnTo>
                  <a:lnTo>
                    <a:pt x="418" y="71"/>
                  </a:lnTo>
                  <a:lnTo>
                    <a:pt x="419" y="71"/>
                  </a:lnTo>
                  <a:lnTo>
                    <a:pt x="420" y="71"/>
                  </a:lnTo>
                  <a:lnTo>
                    <a:pt x="422" y="71"/>
                  </a:lnTo>
                  <a:lnTo>
                    <a:pt x="423" y="71"/>
                  </a:lnTo>
                  <a:lnTo>
                    <a:pt x="424" y="71"/>
                  </a:lnTo>
                  <a:lnTo>
                    <a:pt x="425" y="71"/>
                  </a:lnTo>
                  <a:lnTo>
                    <a:pt x="426" y="71"/>
                  </a:lnTo>
                  <a:lnTo>
                    <a:pt x="427" y="70"/>
                  </a:lnTo>
                  <a:lnTo>
                    <a:pt x="427" y="69"/>
                  </a:lnTo>
                  <a:lnTo>
                    <a:pt x="428" y="69"/>
                  </a:lnTo>
                  <a:lnTo>
                    <a:pt x="430" y="69"/>
                  </a:lnTo>
                  <a:lnTo>
                    <a:pt x="431" y="69"/>
                  </a:lnTo>
                  <a:lnTo>
                    <a:pt x="431" y="68"/>
                  </a:lnTo>
                  <a:lnTo>
                    <a:pt x="432" y="68"/>
                  </a:lnTo>
                  <a:lnTo>
                    <a:pt x="433" y="67"/>
                  </a:lnTo>
                  <a:lnTo>
                    <a:pt x="434" y="68"/>
                  </a:lnTo>
                  <a:lnTo>
                    <a:pt x="435" y="68"/>
                  </a:lnTo>
                  <a:lnTo>
                    <a:pt x="438" y="68"/>
                  </a:lnTo>
                  <a:lnTo>
                    <a:pt x="439" y="69"/>
                  </a:lnTo>
                  <a:lnTo>
                    <a:pt x="440" y="69"/>
                  </a:lnTo>
                  <a:lnTo>
                    <a:pt x="441" y="69"/>
                  </a:lnTo>
                  <a:lnTo>
                    <a:pt x="441" y="70"/>
                  </a:lnTo>
                  <a:lnTo>
                    <a:pt x="442" y="70"/>
                  </a:lnTo>
                  <a:lnTo>
                    <a:pt x="444" y="71"/>
                  </a:lnTo>
                  <a:lnTo>
                    <a:pt x="444" y="72"/>
                  </a:lnTo>
                  <a:lnTo>
                    <a:pt x="446" y="72"/>
                  </a:lnTo>
                  <a:lnTo>
                    <a:pt x="446" y="74"/>
                  </a:lnTo>
                  <a:lnTo>
                    <a:pt x="447" y="74"/>
                  </a:lnTo>
                  <a:lnTo>
                    <a:pt x="447" y="75"/>
                  </a:lnTo>
                  <a:lnTo>
                    <a:pt x="448" y="75"/>
                  </a:lnTo>
                  <a:lnTo>
                    <a:pt x="448" y="76"/>
                  </a:lnTo>
                  <a:lnTo>
                    <a:pt x="448" y="77"/>
                  </a:lnTo>
                  <a:lnTo>
                    <a:pt x="449" y="77"/>
                  </a:lnTo>
                  <a:lnTo>
                    <a:pt x="449" y="78"/>
                  </a:lnTo>
                  <a:lnTo>
                    <a:pt x="451" y="78"/>
                  </a:lnTo>
                  <a:lnTo>
                    <a:pt x="452" y="79"/>
                  </a:lnTo>
                  <a:lnTo>
                    <a:pt x="453" y="78"/>
                  </a:lnTo>
                  <a:lnTo>
                    <a:pt x="453" y="79"/>
                  </a:lnTo>
                  <a:lnTo>
                    <a:pt x="454" y="79"/>
                  </a:lnTo>
                  <a:lnTo>
                    <a:pt x="455" y="79"/>
                  </a:lnTo>
                  <a:lnTo>
                    <a:pt x="456" y="81"/>
                  </a:lnTo>
                  <a:lnTo>
                    <a:pt x="458" y="81"/>
                  </a:lnTo>
                  <a:lnTo>
                    <a:pt x="459" y="81"/>
                  </a:lnTo>
                  <a:lnTo>
                    <a:pt x="459" y="82"/>
                  </a:lnTo>
                  <a:lnTo>
                    <a:pt x="459" y="81"/>
                  </a:lnTo>
                  <a:lnTo>
                    <a:pt x="460" y="82"/>
                  </a:lnTo>
                  <a:lnTo>
                    <a:pt x="461" y="82"/>
                  </a:lnTo>
                  <a:lnTo>
                    <a:pt x="461" y="83"/>
                  </a:lnTo>
                  <a:lnTo>
                    <a:pt x="461" y="84"/>
                  </a:lnTo>
                  <a:lnTo>
                    <a:pt x="462" y="84"/>
                  </a:lnTo>
                  <a:lnTo>
                    <a:pt x="463" y="85"/>
                  </a:lnTo>
                  <a:lnTo>
                    <a:pt x="465" y="86"/>
                  </a:lnTo>
                  <a:lnTo>
                    <a:pt x="466" y="86"/>
                  </a:lnTo>
                  <a:lnTo>
                    <a:pt x="466" y="89"/>
                  </a:lnTo>
                  <a:lnTo>
                    <a:pt x="467" y="89"/>
                  </a:lnTo>
                  <a:lnTo>
                    <a:pt x="468" y="89"/>
                  </a:lnTo>
                  <a:lnTo>
                    <a:pt x="469" y="89"/>
                  </a:lnTo>
                  <a:lnTo>
                    <a:pt x="470" y="89"/>
                  </a:lnTo>
                  <a:lnTo>
                    <a:pt x="472" y="89"/>
                  </a:lnTo>
                  <a:lnTo>
                    <a:pt x="473" y="89"/>
                  </a:lnTo>
                  <a:lnTo>
                    <a:pt x="474" y="89"/>
                  </a:lnTo>
                  <a:lnTo>
                    <a:pt x="474" y="90"/>
                  </a:lnTo>
                  <a:lnTo>
                    <a:pt x="475" y="89"/>
                  </a:lnTo>
                  <a:lnTo>
                    <a:pt x="476" y="90"/>
                  </a:lnTo>
                  <a:lnTo>
                    <a:pt x="477" y="90"/>
                  </a:lnTo>
                  <a:lnTo>
                    <a:pt x="479" y="90"/>
                  </a:lnTo>
                  <a:lnTo>
                    <a:pt x="479" y="91"/>
                  </a:lnTo>
                  <a:lnTo>
                    <a:pt x="480" y="90"/>
                  </a:lnTo>
                  <a:lnTo>
                    <a:pt x="480" y="89"/>
                  </a:lnTo>
                  <a:lnTo>
                    <a:pt x="481" y="89"/>
                  </a:lnTo>
                  <a:lnTo>
                    <a:pt x="481" y="88"/>
                  </a:lnTo>
                  <a:lnTo>
                    <a:pt x="481" y="86"/>
                  </a:lnTo>
                  <a:lnTo>
                    <a:pt x="482" y="86"/>
                  </a:lnTo>
                  <a:lnTo>
                    <a:pt x="482" y="85"/>
                  </a:lnTo>
                  <a:lnTo>
                    <a:pt x="483" y="85"/>
                  </a:lnTo>
                  <a:lnTo>
                    <a:pt x="483" y="86"/>
                  </a:lnTo>
                  <a:lnTo>
                    <a:pt x="483" y="85"/>
                  </a:lnTo>
                  <a:lnTo>
                    <a:pt x="484" y="85"/>
                  </a:lnTo>
                  <a:lnTo>
                    <a:pt x="484" y="86"/>
                  </a:lnTo>
                  <a:lnTo>
                    <a:pt x="484" y="88"/>
                  </a:lnTo>
                  <a:lnTo>
                    <a:pt x="483" y="88"/>
                  </a:lnTo>
                  <a:lnTo>
                    <a:pt x="483" y="89"/>
                  </a:lnTo>
                  <a:lnTo>
                    <a:pt x="484" y="89"/>
                  </a:lnTo>
                  <a:lnTo>
                    <a:pt x="484" y="90"/>
                  </a:lnTo>
                  <a:lnTo>
                    <a:pt x="484" y="89"/>
                  </a:lnTo>
                  <a:lnTo>
                    <a:pt x="486" y="89"/>
                  </a:lnTo>
                  <a:lnTo>
                    <a:pt x="487" y="90"/>
                  </a:lnTo>
                  <a:lnTo>
                    <a:pt x="487" y="91"/>
                  </a:lnTo>
                  <a:lnTo>
                    <a:pt x="488" y="91"/>
                  </a:lnTo>
                  <a:lnTo>
                    <a:pt x="489" y="92"/>
                  </a:lnTo>
                  <a:lnTo>
                    <a:pt x="490" y="93"/>
                  </a:lnTo>
                  <a:lnTo>
                    <a:pt x="491" y="93"/>
                  </a:lnTo>
                  <a:lnTo>
                    <a:pt x="491" y="95"/>
                  </a:lnTo>
                  <a:lnTo>
                    <a:pt x="492" y="95"/>
                  </a:lnTo>
                  <a:lnTo>
                    <a:pt x="494" y="95"/>
                  </a:lnTo>
                  <a:lnTo>
                    <a:pt x="495" y="95"/>
                  </a:lnTo>
                  <a:lnTo>
                    <a:pt x="495" y="96"/>
                  </a:lnTo>
                  <a:lnTo>
                    <a:pt x="496" y="97"/>
                  </a:lnTo>
                  <a:lnTo>
                    <a:pt x="494" y="96"/>
                  </a:lnTo>
                  <a:lnTo>
                    <a:pt x="492" y="96"/>
                  </a:lnTo>
                  <a:lnTo>
                    <a:pt x="491" y="97"/>
                  </a:lnTo>
                  <a:lnTo>
                    <a:pt x="490" y="96"/>
                  </a:lnTo>
                  <a:lnTo>
                    <a:pt x="490" y="97"/>
                  </a:lnTo>
                  <a:lnTo>
                    <a:pt x="489" y="97"/>
                  </a:lnTo>
                  <a:lnTo>
                    <a:pt x="489" y="98"/>
                  </a:lnTo>
                  <a:lnTo>
                    <a:pt x="489" y="99"/>
                  </a:lnTo>
                  <a:lnTo>
                    <a:pt x="490" y="99"/>
                  </a:lnTo>
                  <a:lnTo>
                    <a:pt x="490" y="100"/>
                  </a:lnTo>
                  <a:lnTo>
                    <a:pt x="491" y="100"/>
                  </a:lnTo>
                  <a:lnTo>
                    <a:pt x="490" y="100"/>
                  </a:lnTo>
                  <a:lnTo>
                    <a:pt x="490" y="102"/>
                  </a:lnTo>
                  <a:lnTo>
                    <a:pt x="491" y="102"/>
                  </a:lnTo>
                  <a:lnTo>
                    <a:pt x="491" y="103"/>
                  </a:lnTo>
                  <a:lnTo>
                    <a:pt x="491" y="104"/>
                  </a:lnTo>
                  <a:lnTo>
                    <a:pt x="490" y="104"/>
                  </a:lnTo>
                  <a:lnTo>
                    <a:pt x="490" y="105"/>
                  </a:lnTo>
                  <a:lnTo>
                    <a:pt x="489" y="106"/>
                  </a:lnTo>
                  <a:lnTo>
                    <a:pt x="488" y="105"/>
                  </a:lnTo>
                  <a:lnTo>
                    <a:pt x="488" y="106"/>
                  </a:lnTo>
                  <a:lnTo>
                    <a:pt x="487" y="106"/>
                  </a:lnTo>
                  <a:lnTo>
                    <a:pt x="484" y="106"/>
                  </a:lnTo>
                  <a:lnTo>
                    <a:pt x="482" y="107"/>
                  </a:lnTo>
                  <a:lnTo>
                    <a:pt x="481" y="107"/>
                  </a:lnTo>
                  <a:lnTo>
                    <a:pt x="481" y="111"/>
                  </a:lnTo>
                  <a:lnTo>
                    <a:pt x="482" y="113"/>
                  </a:lnTo>
                  <a:lnTo>
                    <a:pt x="482" y="114"/>
                  </a:lnTo>
                  <a:lnTo>
                    <a:pt x="484" y="119"/>
                  </a:lnTo>
                  <a:lnTo>
                    <a:pt x="486" y="119"/>
                  </a:lnTo>
                  <a:lnTo>
                    <a:pt x="486" y="120"/>
                  </a:lnTo>
                  <a:lnTo>
                    <a:pt x="486" y="121"/>
                  </a:lnTo>
                  <a:lnTo>
                    <a:pt x="487" y="123"/>
                  </a:lnTo>
                  <a:lnTo>
                    <a:pt x="488" y="123"/>
                  </a:lnTo>
                  <a:lnTo>
                    <a:pt x="488" y="124"/>
                  </a:lnTo>
                  <a:lnTo>
                    <a:pt x="488" y="125"/>
                  </a:lnTo>
                  <a:lnTo>
                    <a:pt x="488" y="126"/>
                  </a:lnTo>
                  <a:lnTo>
                    <a:pt x="487" y="126"/>
                  </a:lnTo>
                  <a:lnTo>
                    <a:pt x="488" y="126"/>
                  </a:lnTo>
                  <a:lnTo>
                    <a:pt x="488" y="127"/>
                  </a:lnTo>
                  <a:lnTo>
                    <a:pt x="488" y="128"/>
                  </a:lnTo>
                  <a:lnTo>
                    <a:pt x="487" y="127"/>
                  </a:lnTo>
                  <a:lnTo>
                    <a:pt x="486" y="128"/>
                  </a:lnTo>
                  <a:lnTo>
                    <a:pt x="484" y="128"/>
                  </a:lnTo>
                  <a:lnTo>
                    <a:pt x="483" y="128"/>
                  </a:lnTo>
                  <a:lnTo>
                    <a:pt x="483" y="130"/>
                  </a:lnTo>
                  <a:lnTo>
                    <a:pt x="482" y="130"/>
                  </a:lnTo>
                  <a:lnTo>
                    <a:pt x="482" y="131"/>
                  </a:lnTo>
                  <a:lnTo>
                    <a:pt x="481" y="131"/>
                  </a:lnTo>
                  <a:lnTo>
                    <a:pt x="480" y="132"/>
                  </a:lnTo>
                  <a:lnTo>
                    <a:pt x="480" y="131"/>
                  </a:lnTo>
                  <a:lnTo>
                    <a:pt x="479" y="130"/>
                  </a:lnTo>
                  <a:lnTo>
                    <a:pt x="477" y="128"/>
                  </a:lnTo>
                  <a:lnTo>
                    <a:pt x="476" y="130"/>
                  </a:lnTo>
                  <a:lnTo>
                    <a:pt x="475" y="130"/>
                  </a:lnTo>
                  <a:lnTo>
                    <a:pt x="475" y="128"/>
                  </a:lnTo>
                  <a:lnTo>
                    <a:pt x="474" y="128"/>
                  </a:lnTo>
                  <a:lnTo>
                    <a:pt x="473" y="128"/>
                  </a:lnTo>
                  <a:lnTo>
                    <a:pt x="472" y="128"/>
                  </a:lnTo>
                  <a:lnTo>
                    <a:pt x="470" y="130"/>
                  </a:lnTo>
                  <a:lnTo>
                    <a:pt x="469" y="130"/>
                  </a:lnTo>
                  <a:lnTo>
                    <a:pt x="468" y="130"/>
                  </a:lnTo>
                  <a:lnTo>
                    <a:pt x="463" y="127"/>
                  </a:lnTo>
                  <a:lnTo>
                    <a:pt x="460" y="126"/>
                  </a:lnTo>
                  <a:lnTo>
                    <a:pt x="459" y="126"/>
                  </a:lnTo>
                  <a:lnTo>
                    <a:pt x="458" y="125"/>
                  </a:lnTo>
                  <a:lnTo>
                    <a:pt x="456" y="125"/>
                  </a:lnTo>
                  <a:lnTo>
                    <a:pt x="455" y="125"/>
                  </a:lnTo>
                  <a:lnTo>
                    <a:pt x="455" y="126"/>
                  </a:lnTo>
                  <a:lnTo>
                    <a:pt x="456" y="126"/>
                  </a:lnTo>
                  <a:lnTo>
                    <a:pt x="456" y="127"/>
                  </a:lnTo>
                  <a:lnTo>
                    <a:pt x="456" y="128"/>
                  </a:lnTo>
                  <a:lnTo>
                    <a:pt x="456" y="130"/>
                  </a:lnTo>
                  <a:lnTo>
                    <a:pt x="458" y="130"/>
                  </a:lnTo>
                  <a:lnTo>
                    <a:pt x="456" y="133"/>
                  </a:lnTo>
                  <a:lnTo>
                    <a:pt x="458" y="137"/>
                  </a:lnTo>
                  <a:lnTo>
                    <a:pt x="456" y="138"/>
                  </a:lnTo>
                  <a:lnTo>
                    <a:pt x="458" y="139"/>
                  </a:lnTo>
                  <a:lnTo>
                    <a:pt x="456" y="140"/>
                  </a:lnTo>
                  <a:lnTo>
                    <a:pt x="456" y="141"/>
                  </a:lnTo>
                  <a:lnTo>
                    <a:pt x="456" y="142"/>
                  </a:lnTo>
                  <a:lnTo>
                    <a:pt x="458" y="145"/>
                  </a:lnTo>
                  <a:lnTo>
                    <a:pt x="458" y="146"/>
                  </a:lnTo>
                  <a:lnTo>
                    <a:pt x="458" y="147"/>
                  </a:lnTo>
                  <a:lnTo>
                    <a:pt x="458" y="148"/>
                  </a:lnTo>
                  <a:lnTo>
                    <a:pt x="458" y="149"/>
                  </a:lnTo>
                  <a:lnTo>
                    <a:pt x="458" y="151"/>
                  </a:lnTo>
                  <a:lnTo>
                    <a:pt x="458" y="152"/>
                  </a:lnTo>
                  <a:lnTo>
                    <a:pt x="459" y="152"/>
                  </a:lnTo>
                  <a:lnTo>
                    <a:pt x="461" y="153"/>
                  </a:lnTo>
                  <a:lnTo>
                    <a:pt x="462" y="153"/>
                  </a:lnTo>
                  <a:lnTo>
                    <a:pt x="462" y="154"/>
                  </a:lnTo>
                  <a:lnTo>
                    <a:pt x="463" y="154"/>
                  </a:lnTo>
                  <a:lnTo>
                    <a:pt x="463" y="155"/>
                  </a:lnTo>
                  <a:lnTo>
                    <a:pt x="463" y="156"/>
                  </a:lnTo>
                  <a:lnTo>
                    <a:pt x="463" y="158"/>
                  </a:lnTo>
                  <a:lnTo>
                    <a:pt x="462" y="158"/>
                  </a:lnTo>
                  <a:lnTo>
                    <a:pt x="461" y="158"/>
                  </a:lnTo>
                  <a:lnTo>
                    <a:pt x="460" y="156"/>
                  </a:lnTo>
                  <a:lnTo>
                    <a:pt x="459" y="156"/>
                  </a:lnTo>
                  <a:lnTo>
                    <a:pt x="458" y="156"/>
                  </a:lnTo>
                  <a:lnTo>
                    <a:pt x="456" y="158"/>
                  </a:lnTo>
                  <a:lnTo>
                    <a:pt x="455" y="158"/>
                  </a:lnTo>
                  <a:lnTo>
                    <a:pt x="454" y="156"/>
                  </a:lnTo>
                  <a:lnTo>
                    <a:pt x="453" y="156"/>
                  </a:lnTo>
                  <a:lnTo>
                    <a:pt x="453" y="155"/>
                  </a:lnTo>
                  <a:lnTo>
                    <a:pt x="452" y="155"/>
                  </a:lnTo>
                  <a:lnTo>
                    <a:pt x="452" y="154"/>
                  </a:lnTo>
                  <a:lnTo>
                    <a:pt x="451" y="154"/>
                  </a:lnTo>
                  <a:lnTo>
                    <a:pt x="449" y="155"/>
                  </a:lnTo>
                  <a:lnTo>
                    <a:pt x="445" y="156"/>
                  </a:lnTo>
                  <a:lnTo>
                    <a:pt x="444" y="158"/>
                  </a:lnTo>
                  <a:lnTo>
                    <a:pt x="442" y="158"/>
                  </a:lnTo>
                  <a:lnTo>
                    <a:pt x="441" y="158"/>
                  </a:lnTo>
                  <a:lnTo>
                    <a:pt x="440" y="158"/>
                  </a:lnTo>
                  <a:lnTo>
                    <a:pt x="438" y="158"/>
                  </a:lnTo>
                  <a:lnTo>
                    <a:pt x="437" y="158"/>
                  </a:lnTo>
                  <a:lnTo>
                    <a:pt x="437" y="159"/>
                  </a:lnTo>
                  <a:lnTo>
                    <a:pt x="435" y="159"/>
                  </a:lnTo>
                  <a:lnTo>
                    <a:pt x="434" y="159"/>
                  </a:lnTo>
                  <a:lnTo>
                    <a:pt x="433" y="159"/>
                  </a:lnTo>
                  <a:lnTo>
                    <a:pt x="433" y="160"/>
                  </a:lnTo>
                  <a:lnTo>
                    <a:pt x="432" y="160"/>
                  </a:lnTo>
                  <a:lnTo>
                    <a:pt x="432" y="161"/>
                  </a:lnTo>
                  <a:lnTo>
                    <a:pt x="431" y="161"/>
                  </a:lnTo>
                  <a:lnTo>
                    <a:pt x="431" y="162"/>
                  </a:lnTo>
                  <a:lnTo>
                    <a:pt x="433" y="163"/>
                  </a:lnTo>
                  <a:lnTo>
                    <a:pt x="434" y="163"/>
                  </a:lnTo>
                  <a:lnTo>
                    <a:pt x="435" y="162"/>
                  </a:lnTo>
                  <a:lnTo>
                    <a:pt x="437" y="162"/>
                  </a:lnTo>
                  <a:lnTo>
                    <a:pt x="438" y="163"/>
                  </a:lnTo>
                  <a:lnTo>
                    <a:pt x="440" y="163"/>
                  </a:lnTo>
                  <a:lnTo>
                    <a:pt x="440" y="165"/>
                  </a:lnTo>
                  <a:lnTo>
                    <a:pt x="439" y="165"/>
                  </a:lnTo>
                  <a:lnTo>
                    <a:pt x="439" y="166"/>
                  </a:lnTo>
                  <a:lnTo>
                    <a:pt x="439" y="167"/>
                  </a:lnTo>
                  <a:lnTo>
                    <a:pt x="439" y="168"/>
                  </a:lnTo>
                  <a:lnTo>
                    <a:pt x="440" y="168"/>
                  </a:lnTo>
                  <a:lnTo>
                    <a:pt x="440" y="169"/>
                  </a:lnTo>
                  <a:lnTo>
                    <a:pt x="441" y="172"/>
                  </a:lnTo>
                  <a:lnTo>
                    <a:pt x="441" y="173"/>
                  </a:lnTo>
                  <a:lnTo>
                    <a:pt x="441" y="174"/>
                  </a:lnTo>
                  <a:lnTo>
                    <a:pt x="442" y="174"/>
                  </a:lnTo>
                  <a:lnTo>
                    <a:pt x="444" y="175"/>
                  </a:lnTo>
                  <a:lnTo>
                    <a:pt x="444" y="176"/>
                  </a:lnTo>
                  <a:lnTo>
                    <a:pt x="445" y="176"/>
                  </a:lnTo>
                  <a:lnTo>
                    <a:pt x="447" y="180"/>
                  </a:lnTo>
                  <a:lnTo>
                    <a:pt x="451" y="183"/>
                  </a:lnTo>
                  <a:lnTo>
                    <a:pt x="451" y="184"/>
                  </a:lnTo>
                  <a:lnTo>
                    <a:pt x="451" y="186"/>
                  </a:lnTo>
                  <a:lnTo>
                    <a:pt x="452" y="187"/>
                  </a:lnTo>
                  <a:lnTo>
                    <a:pt x="452" y="188"/>
                  </a:lnTo>
                  <a:lnTo>
                    <a:pt x="453" y="188"/>
                  </a:lnTo>
                  <a:lnTo>
                    <a:pt x="453" y="189"/>
                  </a:lnTo>
                  <a:lnTo>
                    <a:pt x="452" y="189"/>
                  </a:lnTo>
                  <a:lnTo>
                    <a:pt x="451" y="189"/>
                  </a:lnTo>
                  <a:lnTo>
                    <a:pt x="449" y="190"/>
                  </a:lnTo>
                  <a:lnTo>
                    <a:pt x="448" y="190"/>
                  </a:lnTo>
                  <a:lnTo>
                    <a:pt x="448" y="191"/>
                  </a:lnTo>
                  <a:lnTo>
                    <a:pt x="449" y="191"/>
                  </a:lnTo>
                  <a:lnTo>
                    <a:pt x="451" y="191"/>
                  </a:lnTo>
                  <a:lnTo>
                    <a:pt x="451" y="193"/>
                  </a:lnTo>
                  <a:lnTo>
                    <a:pt x="452" y="193"/>
                  </a:lnTo>
                  <a:lnTo>
                    <a:pt x="451" y="193"/>
                  </a:lnTo>
                  <a:lnTo>
                    <a:pt x="449" y="194"/>
                  </a:lnTo>
                  <a:lnTo>
                    <a:pt x="448" y="194"/>
                  </a:lnTo>
                  <a:lnTo>
                    <a:pt x="448" y="195"/>
                  </a:lnTo>
                  <a:lnTo>
                    <a:pt x="448" y="196"/>
                  </a:lnTo>
                  <a:lnTo>
                    <a:pt x="448" y="197"/>
                  </a:lnTo>
                  <a:lnTo>
                    <a:pt x="448" y="198"/>
                  </a:lnTo>
                  <a:lnTo>
                    <a:pt x="449" y="198"/>
                  </a:lnTo>
                  <a:lnTo>
                    <a:pt x="449" y="200"/>
                  </a:lnTo>
                  <a:lnTo>
                    <a:pt x="451" y="201"/>
                  </a:lnTo>
                  <a:lnTo>
                    <a:pt x="451" y="202"/>
                  </a:lnTo>
                  <a:lnTo>
                    <a:pt x="452" y="203"/>
                  </a:lnTo>
                  <a:lnTo>
                    <a:pt x="451" y="203"/>
                  </a:lnTo>
                  <a:lnTo>
                    <a:pt x="449" y="202"/>
                  </a:lnTo>
                  <a:lnTo>
                    <a:pt x="448" y="201"/>
                  </a:lnTo>
                  <a:lnTo>
                    <a:pt x="447" y="201"/>
                  </a:lnTo>
                  <a:lnTo>
                    <a:pt x="446" y="200"/>
                  </a:lnTo>
                  <a:lnTo>
                    <a:pt x="444" y="200"/>
                  </a:lnTo>
                  <a:lnTo>
                    <a:pt x="442" y="200"/>
                  </a:lnTo>
                  <a:lnTo>
                    <a:pt x="441" y="200"/>
                  </a:lnTo>
                  <a:lnTo>
                    <a:pt x="440" y="200"/>
                  </a:lnTo>
                  <a:lnTo>
                    <a:pt x="439" y="198"/>
                  </a:lnTo>
                  <a:lnTo>
                    <a:pt x="438" y="197"/>
                  </a:lnTo>
                  <a:lnTo>
                    <a:pt x="437" y="197"/>
                  </a:lnTo>
                  <a:lnTo>
                    <a:pt x="435" y="196"/>
                  </a:lnTo>
                  <a:lnTo>
                    <a:pt x="435" y="195"/>
                  </a:lnTo>
                  <a:lnTo>
                    <a:pt x="434" y="194"/>
                  </a:lnTo>
                  <a:lnTo>
                    <a:pt x="433" y="195"/>
                  </a:lnTo>
                  <a:lnTo>
                    <a:pt x="432" y="195"/>
                  </a:lnTo>
                  <a:lnTo>
                    <a:pt x="431" y="195"/>
                  </a:lnTo>
                  <a:lnTo>
                    <a:pt x="430" y="194"/>
                  </a:lnTo>
                  <a:lnTo>
                    <a:pt x="428" y="194"/>
                  </a:lnTo>
                  <a:lnTo>
                    <a:pt x="427" y="194"/>
                  </a:lnTo>
                  <a:lnTo>
                    <a:pt x="426" y="193"/>
                  </a:lnTo>
                  <a:lnTo>
                    <a:pt x="425" y="193"/>
                  </a:lnTo>
                  <a:lnTo>
                    <a:pt x="424" y="193"/>
                  </a:lnTo>
                  <a:lnTo>
                    <a:pt x="424" y="194"/>
                  </a:lnTo>
                  <a:lnTo>
                    <a:pt x="423" y="194"/>
                  </a:lnTo>
                  <a:lnTo>
                    <a:pt x="423" y="193"/>
                  </a:lnTo>
                  <a:lnTo>
                    <a:pt x="422" y="193"/>
                  </a:lnTo>
                  <a:lnTo>
                    <a:pt x="420" y="193"/>
                  </a:lnTo>
                  <a:lnTo>
                    <a:pt x="419" y="193"/>
                  </a:lnTo>
                  <a:lnTo>
                    <a:pt x="418" y="193"/>
                  </a:lnTo>
                  <a:lnTo>
                    <a:pt x="417" y="193"/>
                  </a:lnTo>
                  <a:lnTo>
                    <a:pt x="416" y="193"/>
                  </a:lnTo>
                  <a:lnTo>
                    <a:pt x="415" y="193"/>
                  </a:lnTo>
                  <a:lnTo>
                    <a:pt x="413" y="193"/>
                  </a:lnTo>
                  <a:lnTo>
                    <a:pt x="412" y="193"/>
                  </a:lnTo>
                  <a:lnTo>
                    <a:pt x="411" y="193"/>
                  </a:lnTo>
                  <a:lnTo>
                    <a:pt x="410" y="193"/>
                  </a:lnTo>
                  <a:lnTo>
                    <a:pt x="409" y="193"/>
                  </a:lnTo>
                  <a:lnTo>
                    <a:pt x="408" y="191"/>
                  </a:lnTo>
                  <a:lnTo>
                    <a:pt x="406" y="191"/>
                  </a:lnTo>
                  <a:lnTo>
                    <a:pt x="405" y="191"/>
                  </a:lnTo>
                  <a:lnTo>
                    <a:pt x="404" y="191"/>
                  </a:lnTo>
                  <a:lnTo>
                    <a:pt x="403" y="191"/>
                  </a:lnTo>
                  <a:lnTo>
                    <a:pt x="403" y="193"/>
                  </a:lnTo>
                  <a:lnTo>
                    <a:pt x="402" y="193"/>
                  </a:lnTo>
                  <a:lnTo>
                    <a:pt x="401" y="193"/>
                  </a:lnTo>
                  <a:lnTo>
                    <a:pt x="399" y="193"/>
                  </a:lnTo>
                  <a:lnTo>
                    <a:pt x="398" y="193"/>
                  </a:lnTo>
                  <a:lnTo>
                    <a:pt x="397" y="193"/>
                  </a:lnTo>
                  <a:lnTo>
                    <a:pt x="396" y="193"/>
                  </a:lnTo>
                  <a:lnTo>
                    <a:pt x="395" y="191"/>
                  </a:lnTo>
                  <a:lnTo>
                    <a:pt x="394" y="193"/>
                  </a:lnTo>
                  <a:lnTo>
                    <a:pt x="392" y="191"/>
                  </a:lnTo>
                  <a:lnTo>
                    <a:pt x="391" y="191"/>
                  </a:lnTo>
                  <a:lnTo>
                    <a:pt x="391" y="193"/>
                  </a:lnTo>
                  <a:lnTo>
                    <a:pt x="391" y="194"/>
                  </a:lnTo>
                  <a:lnTo>
                    <a:pt x="390" y="194"/>
                  </a:lnTo>
                  <a:lnTo>
                    <a:pt x="389" y="194"/>
                  </a:lnTo>
                  <a:lnTo>
                    <a:pt x="388" y="194"/>
                  </a:lnTo>
                  <a:lnTo>
                    <a:pt x="385" y="194"/>
                  </a:lnTo>
                  <a:lnTo>
                    <a:pt x="384" y="194"/>
                  </a:lnTo>
                  <a:lnTo>
                    <a:pt x="383" y="193"/>
                  </a:lnTo>
                  <a:lnTo>
                    <a:pt x="382" y="193"/>
                  </a:lnTo>
                  <a:lnTo>
                    <a:pt x="381" y="193"/>
                  </a:lnTo>
                  <a:lnTo>
                    <a:pt x="381" y="191"/>
                  </a:lnTo>
                  <a:lnTo>
                    <a:pt x="380" y="191"/>
                  </a:lnTo>
                  <a:lnTo>
                    <a:pt x="377" y="191"/>
                  </a:lnTo>
                  <a:lnTo>
                    <a:pt x="375" y="190"/>
                  </a:lnTo>
                  <a:lnTo>
                    <a:pt x="375" y="189"/>
                  </a:lnTo>
                  <a:lnTo>
                    <a:pt x="374" y="189"/>
                  </a:lnTo>
                  <a:lnTo>
                    <a:pt x="373" y="189"/>
                  </a:lnTo>
                  <a:lnTo>
                    <a:pt x="373" y="188"/>
                  </a:lnTo>
                  <a:lnTo>
                    <a:pt x="371" y="188"/>
                  </a:lnTo>
                  <a:lnTo>
                    <a:pt x="370" y="188"/>
                  </a:lnTo>
                  <a:lnTo>
                    <a:pt x="369" y="187"/>
                  </a:lnTo>
                  <a:lnTo>
                    <a:pt x="369" y="188"/>
                  </a:lnTo>
                  <a:lnTo>
                    <a:pt x="368" y="188"/>
                  </a:lnTo>
                  <a:lnTo>
                    <a:pt x="367" y="188"/>
                  </a:lnTo>
                  <a:lnTo>
                    <a:pt x="366" y="188"/>
                  </a:lnTo>
                  <a:lnTo>
                    <a:pt x="366" y="189"/>
                  </a:lnTo>
                  <a:lnTo>
                    <a:pt x="364" y="189"/>
                  </a:lnTo>
                  <a:lnTo>
                    <a:pt x="363" y="190"/>
                  </a:lnTo>
                  <a:lnTo>
                    <a:pt x="362" y="190"/>
                  </a:lnTo>
                  <a:lnTo>
                    <a:pt x="362" y="191"/>
                  </a:lnTo>
                  <a:lnTo>
                    <a:pt x="362" y="193"/>
                  </a:lnTo>
                  <a:lnTo>
                    <a:pt x="362" y="194"/>
                  </a:lnTo>
                  <a:lnTo>
                    <a:pt x="363" y="194"/>
                  </a:lnTo>
                  <a:lnTo>
                    <a:pt x="363" y="195"/>
                  </a:lnTo>
                  <a:lnTo>
                    <a:pt x="362" y="196"/>
                  </a:lnTo>
                  <a:lnTo>
                    <a:pt x="362" y="197"/>
                  </a:lnTo>
                  <a:lnTo>
                    <a:pt x="363" y="197"/>
                  </a:lnTo>
                  <a:lnTo>
                    <a:pt x="363" y="198"/>
                  </a:lnTo>
                  <a:lnTo>
                    <a:pt x="364" y="200"/>
                  </a:lnTo>
                  <a:lnTo>
                    <a:pt x="364" y="201"/>
                  </a:lnTo>
                  <a:lnTo>
                    <a:pt x="363" y="200"/>
                  </a:lnTo>
                  <a:lnTo>
                    <a:pt x="362" y="200"/>
                  </a:lnTo>
                  <a:lnTo>
                    <a:pt x="362" y="198"/>
                  </a:lnTo>
                  <a:lnTo>
                    <a:pt x="361" y="198"/>
                  </a:lnTo>
                  <a:lnTo>
                    <a:pt x="360" y="198"/>
                  </a:lnTo>
                  <a:lnTo>
                    <a:pt x="359" y="198"/>
                  </a:lnTo>
                  <a:lnTo>
                    <a:pt x="358" y="198"/>
                  </a:lnTo>
                  <a:lnTo>
                    <a:pt x="356" y="198"/>
                  </a:lnTo>
                  <a:lnTo>
                    <a:pt x="355" y="198"/>
                  </a:lnTo>
                  <a:lnTo>
                    <a:pt x="355" y="197"/>
                  </a:lnTo>
                  <a:lnTo>
                    <a:pt x="354" y="196"/>
                  </a:lnTo>
                  <a:lnTo>
                    <a:pt x="352" y="196"/>
                  </a:lnTo>
                  <a:lnTo>
                    <a:pt x="351" y="196"/>
                  </a:lnTo>
                  <a:lnTo>
                    <a:pt x="348" y="195"/>
                  </a:lnTo>
                  <a:lnTo>
                    <a:pt x="346" y="195"/>
                  </a:lnTo>
                  <a:lnTo>
                    <a:pt x="345" y="195"/>
                  </a:lnTo>
                  <a:lnTo>
                    <a:pt x="344" y="194"/>
                  </a:lnTo>
                  <a:lnTo>
                    <a:pt x="342" y="194"/>
                  </a:lnTo>
                  <a:lnTo>
                    <a:pt x="341" y="194"/>
                  </a:lnTo>
                  <a:lnTo>
                    <a:pt x="340" y="194"/>
                  </a:lnTo>
                  <a:lnTo>
                    <a:pt x="339" y="195"/>
                  </a:lnTo>
                  <a:lnTo>
                    <a:pt x="338" y="194"/>
                  </a:lnTo>
                  <a:lnTo>
                    <a:pt x="337" y="194"/>
                  </a:lnTo>
                  <a:lnTo>
                    <a:pt x="337" y="195"/>
                  </a:lnTo>
                  <a:lnTo>
                    <a:pt x="335" y="195"/>
                  </a:lnTo>
                  <a:lnTo>
                    <a:pt x="334" y="195"/>
                  </a:lnTo>
                  <a:lnTo>
                    <a:pt x="334" y="196"/>
                  </a:lnTo>
                  <a:lnTo>
                    <a:pt x="334" y="197"/>
                  </a:lnTo>
                  <a:lnTo>
                    <a:pt x="333" y="197"/>
                  </a:lnTo>
                  <a:lnTo>
                    <a:pt x="332" y="197"/>
                  </a:lnTo>
                  <a:lnTo>
                    <a:pt x="333" y="198"/>
                  </a:lnTo>
                  <a:lnTo>
                    <a:pt x="333" y="200"/>
                  </a:lnTo>
                  <a:lnTo>
                    <a:pt x="332" y="200"/>
                  </a:lnTo>
                  <a:lnTo>
                    <a:pt x="332" y="201"/>
                  </a:lnTo>
                  <a:lnTo>
                    <a:pt x="332" y="202"/>
                  </a:lnTo>
                  <a:lnTo>
                    <a:pt x="333" y="202"/>
                  </a:lnTo>
                  <a:lnTo>
                    <a:pt x="333" y="203"/>
                  </a:lnTo>
                  <a:lnTo>
                    <a:pt x="332" y="203"/>
                  </a:lnTo>
                  <a:lnTo>
                    <a:pt x="331" y="203"/>
                  </a:lnTo>
                  <a:lnTo>
                    <a:pt x="331" y="204"/>
                  </a:lnTo>
                  <a:lnTo>
                    <a:pt x="331" y="205"/>
                  </a:lnTo>
                  <a:lnTo>
                    <a:pt x="330" y="205"/>
                  </a:lnTo>
                  <a:lnTo>
                    <a:pt x="330" y="207"/>
                  </a:lnTo>
                  <a:lnTo>
                    <a:pt x="328" y="205"/>
                  </a:lnTo>
                  <a:lnTo>
                    <a:pt x="327" y="205"/>
                  </a:lnTo>
                  <a:lnTo>
                    <a:pt x="326" y="205"/>
                  </a:lnTo>
                  <a:lnTo>
                    <a:pt x="326" y="207"/>
                  </a:lnTo>
                  <a:lnTo>
                    <a:pt x="326" y="208"/>
                  </a:lnTo>
                  <a:lnTo>
                    <a:pt x="325" y="208"/>
                  </a:lnTo>
                  <a:lnTo>
                    <a:pt x="325" y="209"/>
                  </a:lnTo>
                  <a:lnTo>
                    <a:pt x="324" y="210"/>
                  </a:lnTo>
                  <a:lnTo>
                    <a:pt x="323" y="210"/>
                  </a:lnTo>
                  <a:lnTo>
                    <a:pt x="323" y="211"/>
                  </a:lnTo>
                  <a:lnTo>
                    <a:pt x="321" y="211"/>
                  </a:lnTo>
                  <a:lnTo>
                    <a:pt x="320" y="211"/>
                  </a:lnTo>
                  <a:lnTo>
                    <a:pt x="319" y="211"/>
                  </a:lnTo>
                  <a:lnTo>
                    <a:pt x="319" y="212"/>
                  </a:lnTo>
                  <a:lnTo>
                    <a:pt x="318" y="212"/>
                  </a:lnTo>
                  <a:lnTo>
                    <a:pt x="318" y="214"/>
                  </a:lnTo>
                  <a:lnTo>
                    <a:pt x="317" y="214"/>
                  </a:lnTo>
                  <a:lnTo>
                    <a:pt x="317" y="215"/>
                  </a:lnTo>
                  <a:lnTo>
                    <a:pt x="318" y="215"/>
                  </a:lnTo>
                  <a:lnTo>
                    <a:pt x="317" y="215"/>
                  </a:lnTo>
                  <a:lnTo>
                    <a:pt x="316" y="215"/>
                  </a:lnTo>
                  <a:lnTo>
                    <a:pt x="314" y="215"/>
                  </a:lnTo>
                  <a:lnTo>
                    <a:pt x="314" y="216"/>
                  </a:lnTo>
                  <a:lnTo>
                    <a:pt x="313" y="216"/>
                  </a:lnTo>
                  <a:lnTo>
                    <a:pt x="313" y="217"/>
                  </a:lnTo>
                  <a:lnTo>
                    <a:pt x="313" y="218"/>
                  </a:lnTo>
                  <a:lnTo>
                    <a:pt x="314" y="218"/>
                  </a:lnTo>
                  <a:lnTo>
                    <a:pt x="314" y="219"/>
                  </a:lnTo>
                  <a:lnTo>
                    <a:pt x="313" y="219"/>
                  </a:lnTo>
                  <a:lnTo>
                    <a:pt x="312" y="219"/>
                  </a:lnTo>
                  <a:lnTo>
                    <a:pt x="312" y="221"/>
                  </a:lnTo>
                  <a:lnTo>
                    <a:pt x="311" y="221"/>
                  </a:lnTo>
                  <a:lnTo>
                    <a:pt x="311" y="222"/>
                  </a:lnTo>
                  <a:lnTo>
                    <a:pt x="311" y="223"/>
                  </a:lnTo>
                  <a:lnTo>
                    <a:pt x="310" y="223"/>
                  </a:lnTo>
                  <a:lnTo>
                    <a:pt x="310" y="224"/>
                  </a:lnTo>
                  <a:lnTo>
                    <a:pt x="310" y="225"/>
                  </a:lnTo>
                  <a:lnTo>
                    <a:pt x="310" y="226"/>
                  </a:lnTo>
                  <a:lnTo>
                    <a:pt x="311" y="226"/>
                  </a:lnTo>
                  <a:lnTo>
                    <a:pt x="311" y="228"/>
                  </a:lnTo>
                  <a:lnTo>
                    <a:pt x="311" y="229"/>
                  </a:lnTo>
                  <a:lnTo>
                    <a:pt x="310" y="229"/>
                  </a:lnTo>
                  <a:lnTo>
                    <a:pt x="307" y="228"/>
                  </a:lnTo>
                  <a:lnTo>
                    <a:pt x="306" y="228"/>
                  </a:lnTo>
                  <a:lnTo>
                    <a:pt x="305" y="226"/>
                  </a:lnTo>
                  <a:lnTo>
                    <a:pt x="304" y="226"/>
                  </a:lnTo>
                  <a:lnTo>
                    <a:pt x="304" y="225"/>
                  </a:lnTo>
                  <a:lnTo>
                    <a:pt x="303" y="225"/>
                  </a:lnTo>
                  <a:lnTo>
                    <a:pt x="303" y="224"/>
                  </a:lnTo>
                  <a:lnTo>
                    <a:pt x="304" y="223"/>
                  </a:lnTo>
                  <a:lnTo>
                    <a:pt x="303" y="223"/>
                  </a:lnTo>
                  <a:lnTo>
                    <a:pt x="303" y="222"/>
                  </a:lnTo>
                  <a:lnTo>
                    <a:pt x="303" y="221"/>
                  </a:lnTo>
                  <a:lnTo>
                    <a:pt x="303" y="222"/>
                  </a:lnTo>
                  <a:lnTo>
                    <a:pt x="302" y="222"/>
                  </a:lnTo>
                  <a:lnTo>
                    <a:pt x="302" y="221"/>
                  </a:lnTo>
                  <a:lnTo>
                    <a:pt x="300" y="221"/>
                  </a:lnTo>
                  <a:lnTo>
                    <a:pt x="300" y="219"/>
                  </a:lnTo>
                  <a:lnTo>
                    <a:pt x="299" y="219"/>
                  </a:lnTo>
                  <a:lnTo>
                    <a:pt x="298" y="219"/>
                  </a:lnTo>
                  <a:lnTo>
                    <a:pt x="296" y="219"/>
                  </a:lnTo>
                  <a:lnTo>
                    <a:pt x="295" y="219"/>
                  </a:lnTo>
                  <a:lnTo>
                    <a:pt x="294" y="219"/>
                  </a:lnTo>
                  <a:lnTo>
                    <a:pt x="291" y="219"/>
                  </a:lnTo>
                  <a:lnTo>
                    <a:pt x="290" y="219"/>
                  </a:lnTo>
                  <a:lnTo>
                    <a:pt x="289" y="219"/>
                  </a:lnTo>
                  <a:lnTo>
                    <a:pt x="288" y="219"/>
                  </a:lnTo>
                  <a:lnTo>
                    <a:pt x="285" y="219"/>
                  </a:lnTo>
                  <a:lnTo>
                    <a:pt x="284" y="219"/>
                  </a:lnTo>
                  <a:lnTo>
                    <a:pt x="283" y="217"/>
                  </a:lnTo>
                  <a:lnTo>
                    <a:pt x="282" y="215"/>
                  </a:lnTo>
                  <a:lnTo>
                    <a:pt x="281" y="212"/>
                  </a:lnTo>
                  <a:lnTo>
                    <a:pt x="280" y="210"/>
                  </a:lnTo>
                  <a:lnTo>
                    <a:pt x="278" y="209"/>
                  </a:lnTo>
                  <a:lnTo>
                    <a:pt x="278" y="207"/>
                  </a:lnTo>
                  <a:lnTo>
                    <a:pt x="277" y="207"/>
                  </a:lnTo>
                  <a:lnTo>
                    <a:pt x="276" y="207"/>
                  </a:lnTo>
                  <a:lnTo>
                    <a:pt x="275" y="207"/>
                  </a:lnTo>
                  <a:lnTo>
                    <a:pt x="274" y="207"/>
                  </a:lnTo>
                  <a:lnTo>
                    <a:pt x="271" y="207"/>
                  </a:lnTo>
                  <a:lnTo>
                    <a:pt x="270" y="203"/>
                  </a:lnTo>
                  <a:lnTo>
                    <a:pt x="270" y="201"/>
                  </a:lnTo>
                  <a:lnTo>
                    <a:pt x="270" y="200"/>
                  </a:lnTo>
                  <a:lnTo>
                    <a:pt x="270" y="198"/>
                  </a:lnTo>
                  <a:lnTo>
                    <a:pt x="269" y="195"/>
                  </a:lnTo>
                  <a:lnTo>
                    <a:pt x="268" y="191"/>
                  </a:lnTo>
                  <a:lnTo>
                    <a:pt x="267" y="191"/>
                  </a:lnTo>
                  <a:lnTo>
                    <a:pt x="266" y="193"/>
                  </a:lnTo>
                  <a:lnTo>
                    <a:pt x="264" y="193"/>
                  </a:lnTo>
                  <a:lnTo>
                    <a:pt x="263" y="191"/>
                  </a:lnTo>
                  <a:lnTo>
                    <a:pt x="262" y="189"/>
                  </a:lnTo>
                  <a:lnTo>
                    <a:pt x="261" y="188"/>
                  </a:lnTo>
                  <a:lnTo>
                    <a:pt x="260" y="187"/>
                  </a:lnTo>
                  <a:lnTo>
                    <a:pt x="259" y="186"/>
                  </a:lnTo>
                  <a:lnTo>
                    <a:pt x="257" y="186"/>
                  </a:lnTo>
                  <a:lnTo>
                    <a:pt x="256" y="184"/>
                  </a:lnTo>
                  <a:lnTo>
                    <a:pt x="255" y="183"/>
                  </a:lnTo>
                  <a:lnTo>
                    <a:pt x="254" y="183"/>
                  </a:lnTo>
                  <a:lnTo>
                    <a:pt x="253" y="182"/>
                  </a:lnTo>
                  <a:lnTo>
                    <a:pt x="250" y="180"/>
                  </a:lnTo>
                  <a:lnTo>
                    <a:pt x="249" y="180"/>
                  </a:lnTo>
                  <a:lnTo>
                    <a:pt x="248" y="181"/>
                  </a:lnTo>
                  <a:lnTo>
                    <a:pt x="247" y="181"/>
                  </a:lnTo>
                  <a:lnTo>
                    <a:pt x="246" y="182"/>
                  </a:lnTo>
                  <a:lnTo>
                    <a:pt x="245" y="182"/>
                  </a:lnTo>
                  <a:lnTo>
                    <a:pt x="243" y="182"/>
                  </a:lnTo>
                  <a:lnTo>
                    <a:pt x="242" y="182"/>
                  </a:lnTo>
                  <a:lnTo>
                    <a:pt x="240" y="182"/>
                  </a:lnTo>
                  <a:lnTo>
                    <a:pt x="239" y="182"/>
                  </a:lnTo>
                  <a:lnTo>
                    <a:pt x="236" y="182"/>
                  </a:lnTo>
                  <a:lnTo>
                    <a:pt x="234" y="182"/>
                  </a:lnTo>
                  <a:lnTo>
                    <a:pt x="233" y="181"/>
                  </a:lnTo>
                  <a:lnTo>
                    <a:pt x="231" y="181"/>
                  </a:lnTo>
                  <a:lnTo>
                    <a:pt x="228" y="181"/>
                  </a:lnTo>
                  <a:lnTo>
                    <a:pt x="227" y="181"/>
                  </a:lnTo>
                  <a:lnTo>
                    <a:pt x="226" y="181"/>
                  </a:lnTo>
                  <a:lnTo>
                    <a:pt x="225" y="182"/>
                  </a:lnTo>
                  <a:lnTo>
                    <a:pt x="224" y="182"/>
                  </a:lnTo>
                  <a:lnTo>
                    <a:pt x="223" y="182"/>
                  </a:lnTo>
                  <a:lnTo>
                    <a:pt x="221" y="182"/>
                  </a:lnTo>
                  <a:lnTo>
                    <a:pt x="220" y="182"/>
                  </a:lnTo>
                  <a:lnTo>
                    <a:pt x="219" y="182"/>
                  </a:lnTo>
                  <a:lnTo>
                    <a:pt x="218" y="183"/>
                  </a:lnTo>
                  <a:lnTo>
                    <a:pt x="217" y="183"/>
                  </a:lnTo>
                  <a:lnTo>
                    <a:pt x="216" y="183"/>
                  </a:lnTo>
                  <a:lnTo>
                    <a:pt x="214" y="183"/>
                  </a:lnTo>
                  <a:lnTo>
                    <a:pt x="213" y="182"/>
                  </a:lnTo>
                  <a:lnTo>
                    <a:pt x="212" y="181"/>
                  </a:lnTo>
                  <a:lnTo>
                    <a:pt x="211" y="181"/>
                  </a:lnTo>
                  <a:lnTo>
                    <a:pt x="210" y="180"/>
                  </a:lnTo>
                  <a:lnTo>
                    <a:pt x="209" y="180"/>
                  </a:lnTo>
                  <a:lnTo>
                    <a:pt x="209" y="179"/>
                  </a:lnTo>
                  <a:lnTo>
                    <a:pt x="207" y="177"/>
                  </a:lnTo>
                  <a:lnTo>
                    <a:pt x="206" y="177"/>
                  </a:lnTo>
                  <a:lnTo>
                    <a:pt x="205" y="176"/>
                  </a:lnTo>
                  <a:lnTo>
                    <a:pt x="204" y="175"/>
                  </a:lnTo>
                  <a:lnTo>
                    <a:pt x="203" y="175"/>
                  </a:lnTo>
                  <a:lnTo>
                    <a:pt x="203" y="174"/>
                  </a:lnTo>
                  <a:lnTo>
                    <a:pt x="200" y="173"/>
                  </a:lnTo>
                  <a:lnTo>
                    <a:pt x="199" y="172"/>
                  </a:lnTo>
                  <a:lnTo>
                    <a:pt x="199" y="170"/>
                  </a:lnTo>
                  <a:lnTo>
                    <a:pt x="198" y="169"/>
                  </a:lnTo>
                  <a:lnTo>
                    <a:pt x="197" y="169"/>
                  </a:lnTo>
                  <a:lnTo>
                    <a:pt x="196" y="168"/>
                  </a:lnTo>
                  <a:lnTo>
                    <a:pt x="193" y="167"/>
                  </a:lnTo>
                  <a:lnTo>
                    <a:pt x="192" y="166"/>
                  </a:lnTo>
                  <a:lnTo>
                    <a:pt x="189" y="165"/>
                  </a:lnTo>
                  <a:lnTo>
                    <a:pt x="186" y="163"/>
                  </a:lnTo>
                  <a:lnTo>
                    <a:pt x="184" y="162"/>
                  </a:lnTo>
                  <a:lnTo>
                    <a:pt x="183" y="162"/>
                  </a:lnTo>
                  <a:lnTo>
                    <a:pt x="183" y="161"/>
                  </a:lnTo>
                  <a:lnTo>
                    <a:pt x="183" y="160"/>
                  </a:lnTo>
                  <a:lnTo>
                    <a:pt x="183" y="159"/>
                  </a:lnTo>
                  <a:lnTo>
                    <a:pt x="182" y="159"/>
                  </a:lnTo>
                  <a:lnTo>
                    <a:pt x="182" y="158"/>
                  </a:lnTo>
                  <a:lnTo>
                    <a:pt x="182" y="156"/>
                  </a:lnTo>
                  <a:lnTo>
                    <a:pt x="182" y="155"/>
                  </a:lnTo>
                  <a:lnTo>
                    <a:pt x="182" y="154"/>
                  </a:lnTo>
                  <a:lnTo>
                    <a:pt x="181" y="153"/>
                  </a:lnTo>
                  <a:lnTo>
                    <a:pt x="181" y="152"/>
                  </a:lnTo>
                  <a:lnTo>
                    <a:pt x="179" y="151"/>
                  </a:lnTo>
                  <a:lnTo>
                    <a:pt x="178" y="151"/>
                  </a:lnTo>
                  <a:lnTo>
                    <a:pt x="177" y="151"/>
                  </a:lnTo>
                  <a:lnTo>
                    <a:pt x="176" y="151"/>
                  </a:lnTo>
                  <a:lnTo>
                    <a:pt x="176" y="149"/>
                  </a:lnTo>
                  <a:lnTo>
                    <a:pt x="176" y="148"/>
                  </a:lnTo>
                  <a:lnTo>
                    <a:pt x="176" y="147"/>
                  </a:lnTo>
                  <a:lnTo>
                    <a:pt x="176" y="146"/>
                  </a:lnTo>
                  <a:lnTo>
                    <a:pt x="177" y="146"/>
                  </a:lnTo>
                  <a:lnTo>
                    <a:pt x="176" y="146"/>
                  </a:lnTo>
                  <a:lnTo>
                    <a:pt x="177" y="146"/>
                  </a:lnTo>
                  <a:lnTo>
                    <a:pt x="178" y="146"/>
                  </a:lnTo>
                  <a:lnTo>
                    <a:pt x="179" y="146"/>
                  </a:lnTo>
                  <a:lnTo>
                    <a:pt x="181" y="146"/>
                  </a:lnTo>
                  <a:lnTo>
                    <a:pt x="182" y="146"/>
                  </a:lnTo>
                  <a:lnTo>
                    <a:pt x="183" y="146"/>
                  </a:lnTo>
                  <a:lnTo>
                    <a:pt x="183" y="147"/>
                  </a:lnTo>
                  <a:lnTo>
                    <a:pt x="184" y="147"/>
                  </a:lnTo>
                  <a:lnTo>
                    <a:pt x="184" y="146"/>
                  </a:lnTo>
                  <a:lnTo>
                    <a:pt x="184" y="145"/>
                  </a:lnTo>
                  <a:lnTo>
                    <a:pt x="185" y="145"/>
                  </a:lnTo>
                  <a:lnTo>
                    <a:pt x="185" y="144"/>
                  </a:lnTo>
                  <a:lnTo>
                    <a:pt x="186" y="144"/>
                  </a:lnTo>
                  <a:lnTo>
                    <a:pt x="186" y="142"/>
                  </a:lnTo>
                  <a:lnTo>
                    <a:pt x="188" y="142"/>
                  </a:lnTo>
                  <a:lnTo>
                    <a:pt x="189" y="142"/>
                  </a:lnTo>
                  <a:lnTo>
                    <a:pt x="189" y="141"/>
                  </a:lnTo>
                  <a:lnTo>
                    <a:pt x="190" y="141"/>
                  </a:lnTo>
                  <a:lnTo>
                    <a:pt x="190" y="140"/>
                  </a:lnTo>
                  <a:lnTo>
                    <a:pt x="191" y="141"/>
                  </a:lnTo>
                  <a:lnTo>
                    <a:pt x="191" y="140"/>
                  </a:lnTo>
                  <a:lnTo>
                    <a:pt x="192" y="139"/>
                  </a:lnTo>
                  <a:lnTo>
                    <a:pt x="192" y="138"/>
                  </a:lnTo>
                  <a:lnTo>
                    <a:pt x="191" y="138"/>
                  </a:lnTo>
                  <a:lnTo>
                    <a:pt x="191" y="137"/>
                  </a:lnTo>
                  <a:lnTo>
                    <a:pt x="190" y="137"/>
                  </a:lnTo>
                  <a:lnTo>
                    <a:pt x="189" y="137"/>
                  </a:lnTo>
                  <a:lnTo>
                    <a:pt x="188" y="137"/>
                  </a:lnTo>
                  <a:lnTo>
                    <a:pt x="186" y="137"/>
                  </a:lnTo>
                  <a:lnTo>
                    <a:pt x="185" y="137"/>
                  </a:lnTo>
                  <a:lnTo>
                    <a:pt x="185" y="135"/>
                  </a:lnTo>
                  <a:lnTo>
                    <a:pt x="184" y="135"/>
                  </a:lnTo>
                  <a:lnTo>
                    <a:pt x="184" y="134"/>
                  </a:lnTo>
                  <a:lnTo>
                    <a:pt x="184" y="133"/>
                  </a:lnTo>
                  <a:lnTo>
                    <a:pt x="184" y="132"/>
                  </a:lnTo>
                  <a:lnTo>
                    <a:pt x="183" y="132"/>
                  </a:lnTo>
                  <a:lnTo>
                    <a:pt x="182" y="132"/>
                  </a:lnTo>
                  <a:lnTo>
                    <a:pt x="181" y="132"/>
                  </a:lnTo>
                  <a:lnTo>
                    <a:pt x="182" y="132"/>
                  </a:lnTo>
                  <a:lnTo>
                    <a:pt x="182" y="133"/>
                  </a:lnTo>
                  <a:lnTo>
                    <a:pt x="183" y="133"/>
                  </a:lnTo>
                  <a:lnTo>
                    <a:pt x="184" y="134"/>
                  </a:lnTo>
                  <a:lnTo>
                    <a:pt x="183" y="134"/>
                  </a:lnTo>
                  <a:lnTo>
                    <a:pt x="183" y="135"/>
                  </a:lnTo>
                  <a:lnTo>
                    <a:pt x="182" y="135"/>
                  </a:lnTo>
                  <a:lnTo>
                    <a:pt x="181" y="134"/>
                  </a:lnTo>
                  <a:lnTo>
                    <a:pt x="181" y="135"/>
                  </a:lnTo>
                  <a:lnTo>
                    <a:pt x="181" y="137"/>
                  </a:lnTo>
                  <a:lnTo>
                    <a:pt x="179" y="135"/>
                  </a:lnTo>
                  <a:lnTo>
                    <a:pt x="178" y="134"/>
                  </a:lnTo>
                  <a:lnTo>
                    <a:pt x="178" y="133"/>
                  </a:lnTo>
                  <a:lnTo>
                    <a:pt x="177" y="133"/>
                  </a:lnTo>
                  <a:lnTo>
                    <a:pt x="177" y="134"/>
                  </a:lnTo>
                  <a:lnTo>
                    <a:pt x="176" y="134"/>
                  </a:lnTo>
                  <a:lnTo>
                    <a:pt x="175" y="134"/>
                  </a:lnTo>
                  <a:lnTo>
                    <a:pt x="175" y="135"/>
                  </a:lnTo>
                  <a:lnTo>
                    <a:pt x="175" y="137"/>
                  </a:lnTo>
                  <a:lnTo>
                    <a:pt x="176" y="137"/>
                  </a:lnTo>
                  <a:lnTo>
                    <a:pt x="176" y="138"/>
                  </a:lnTo>
                  <a:lnTo>
                    <a:pt x="177" y="138"/>
                  </a:lnTo>
                  <a:lnTo>
                    <a:pt x="179" y="138"/>
                  </a:lnTo>
                  <a:lnTo>
                    <a:pt x="181" y="138"/>
                  </a:lnTo>
                  <a:lnTo>
                    <a:pt x="182" y="139"/>
                  </a:lnTo>
                  <a:lnTo>
                    <a:pt x="183" y="139"/>
                  </a:lnTo>
                  <a:lnTo>
                    <a:pt x="184" y="139"/>
                  </a:lnTo>
                  <a:lnTo>
                    <a:pt x="184" y="138"/>
                  </a:lnTo>
                  <a:lnTo>
                    <a:pt x="185" y="138"/>
                  </a:lnTo>
                  <a:lnTo>
                    <a:pt x="185" y="139"/>
                  </a:lnTo>
                  <a:lnTo>
                    <a:pt x="186" y="140"/>
                  </a:lnTo>
                  <a:lnTo>
                    <a:pt x="186" y="141"/>
                  </a:lnTo>
                  <a:lnTo>
                    <a:pt x="186" y="142"/>
                  </a:lnTo>
                  <a:lnTo>
                    <a:pt x="185" y="142"/>
                  </a:lnTo>
                  <a:lnTo>
                    <a:pt x="185" y="144"/>
                  </a:lnTo>
                  <a:lnTo>
                    <a:pt x="184" y="142"/>
                  </a:lnTo>
                  <a:lnTo>
                    <a:pt x="183" y="142"/>
                  </a:lnTo>
                  <a:lnTo>
                    <a:pt x="182" y="142"/>
                  </a:lnTo>
                  <a:lnTo>
                    <a:pt x="179" y="142"/>
                  </a:lnTo>
                  <a:lnTo>
                    <a:pt x="178" y="142"/>
                  </a:lnTo>
                  <a:lnTo>
                    <a:pt x="177" y="142"/>
                  </a:lnTo>
                  <a:lnTo>
                    <a:pt x="176" y="142"/>
                  </a:lnTo>
                  <a:lnTo>
                    <a:pt x="175" y="144"/>
                  </a:lnTo>
                  <a:lnTo>
                    <a:pt x="175" y="142"/>
                  </a:lnTo>
                  <a:lnTo>
                    <a:pt x="175" y="141"/>
                  </a:lnTo>
                  <a:lnTo>
                    <a:pt x="174" y="141"/>
                  </a:lnTo>
                  <a:lnTo>
                    <a:pt x="174" y="140"/>
                  </a:lnTo>
                  <a:lnTo>
                    <a:pt x="174" y="139"/>
                  </a:lnTo>
                  <a:lnTo>
                    <a:pt x="172" y="139"/>
                  </a:lnTo>
                  <a:lnTo>
                    <a:pt x="171" y="139"/>
                  </a:lnTo>
                  <a:lnTo>
                    <a:pt x="170" y="139"/>
                  </a:lnTo>
                  <a:lnTo>
                    <a:pt x="170" y="140"/>
                  </a:lnTo>
                  <a:lnTo>
                    <a:pt x="171" y="140"/>
                  </a:lnTo>
                  <a:lnTo>
                    <a:pt x="172" y="141"/>
                  </a:lnTo>
                  <a:lnTo>
                    <a:pt x="174" y="142"/>
                  </a:lnTo>
                  <a:lnTo>
                    <a:pt x="174" y="144"/>
                  </a:lnTo>
                  <a:lnTo>
                    <a:pt x="174" y="145"/>
                  </a:lnTo>
                  <a:lnTo>
                    <a:pt x="174" y="146"/>
                  </a:lnTo>
                  <a:lnTo>
                    <a:pt x="174" y="147"/>
                  </a:lnTo>
                  <a:lnTo>
                    <a:pt x="174" y="148"/>
                  </a:lnTo>
                  <a:lnTo>
                    <a:pt x="174" y="147"/>
                  </a:lnTo>
                  <a:lnTo>
                    <a:pt x="172" y="147"/>
                  </a:lnTo>
                  <a:lnTo>
                    <a:pt x="172" y="148"/>
                  </a:lnTo>
                  <a:lnTo>
                    <a:pt x="172" y="149"/>
                  </a:lnTo>
                  <a:lnTo>
                    <a:pt x="171" y="149"/>
                  </a:lnTo>
                  <a:lnTo>
                    <a:pt x="171" y="148"/>
                  </a:lnTo>
                  <a:lnTo>
                    <a:pt x="170" y="148"/>
                  </a:lnTo>
                  <a:lnTo>
                    <a:pt x="171" y="149"/>
                  </a:lnTo>
                  <a:lnTo>
                    <a:pt x="170" y="149"/>
                  </a:lnTo>
                  <a:lnTo>
                    <a:pt x="170" y="148"/>
                  </a:lnTo>
                  <a:lnTo>
                    <a:pt x="169" y="148"/>
                  </a:lnTo>
                  <a:lnTo>
                    <a:pt x="169" y="147"/>
                  </a:lnTo>
                  <a:lnTo>
                    <a:pt x="169" y="146"/>
                  </a:lnTo>
                  <a:lnTo>
                    <a:pt x="169" y="145"/>
                  </a:lnTo>
                  <a:lnTo>
                    <a:pt x="170" y="145"/>
                  </a:lnTo>
                  <a:lnTo>
                    <a:pt x="169" y="145"/>
                  </a:lnTo>
                  <a:lnTo>
                    <a:pt x="169" y="144"/>
                  </a:lnTo>
                  <a:lnTo>
                    <a:pt x="168" y="144"/>
                  </a:lnTo>
                  <a:lnTo>
                    <a:pt x="168" y="145"/>
                  </a:lnTo>
                  <a:lnTo>
                    <a:pt x="167" y="145"/>
                  </a:lnTo>
                  <a:lnTo>
                    <a:pt x="166" y="145"/>
                  </a:lnTo>
                  <a:lnTo>
                    <a:pt x="164" y="145"/>
                  </a:lnTo>
                  <a:lnTo>
                    <a:pt x="163" y="145"/>
                  </a:lnTo>
                  <a:lnTo>
                    <a:pt x="163" y="146"/>
                  </a:lnTo>
                  <a:lnTo>
                    <a:pt x="162" y="146"/>
                  </a:lnTo>
                  <a:lnTo>
                    <a:pt x="162" y="147"/>
                  </a:lnTo>
                  <a:lnTo>
                    <a:pt x="162" y="148"/>
                  </a:lnTo>
                  <a:lnTo>
                    <a:pt x="162" y="149"/>
                  </a:lnTo>
                  <a:lnTo>
                    <a:pt x="162" y="151"/>
                  </a:lnTo>
                  <a:lnTo>
                    <a:pt x="162" y="152"/>
                  </a:lnTo>
                  <a:lnTo>
                    <a:pt x="162" y="151"/>
                  </a:lnTo>
                  <a:lnTo>
                    <a:pt x="161" y="151"/>
                  </a:lnTo>
                  <a:lnTo>
                    <a:pt x="161" y="152"/>
                  </a:lnTo>
                  <a:lnTo>
                    <a:pt x="160" y="152"/>
                  </a:lnTo>
                  <a:lnTo>
                    <a:pt x="159" y="152"/>
                  </a:lnTo>
                  <a:lnTo>
                    <a:pt x="157" y="152"/>
                  </a:lnTo>
                  <a:lnTo>
                    <a:pt x="156" y="153"/>
                  </a:lnTo>
                  <a:lnTo>
                    <a:pt x="155" y="153"/>
                  </a:lnTo>
                  <a:lnTo>
                    <a:pt x="154" y="153"/>
                  </a:lnTo>
                  <a:lnTo>
                    <a:pt x="152" y="154"/>
                  </a:lnTo>
                  <a:lnTo>
                    <a:pt x="150" y="154"/>
                  </a:lnTo>
                  <a:lnTo>
                    <a:pt x="149" y="154"/>
                  </a:lnTo>
                  <a:lnTo>
                    <a:pt x="148" y="155"/>
                  </a:lnTo>
                  <a:lnTo>
                    <a:pt x="147" y="155"/>
                  </a:lnTo>
                  <a:lnTo>
                    <a:pt x="146" y="155"/>
                  </a:lnTo>
                  <a:lnTo>
                    <a:pt x="145" y="155"/>
                  </a:lnTo>
                  <a:lnTo>
                    <a:pt x="143" y="156"/>
                  </a:lnTo>
                  <a:lnTo>
                    <a:pt x="142" y="156"/>
                  </a:lnTo>
                  <a:lnTo>
                    <a:pt x="141" y="156"/>
                  </a:lnTo>
                  <a:lnTo>
                    <a:pt x="141" y="158"/>
                  </a:lnTo>
                  <a:lnTo>
                    <a:pt x="140" y="158"/>
                  </a:lnTo>
                  <a:lnTo>
                    <a:pt x="139" y="158"/>
                  </a:lnTo>
                  <a:lnTo>
                    <a:pt x="138" y="158"/>
                  </a:lnTo>
                  <a:lnTo>
                    <a:pt x="136" y="159"/>
                  </a:lnTo>
                  <a:lnTo>
                    <a:pt x="135" y="159"/>
                  </a:lnTo>
                  <a:lnTo>
                    <a:pt x="134" y="159"/>
                  </a:lnTo>
                  <a:lnTo>
                    <a:pt x="133" y="160"/>
                  </a:lnTo>
                  <a:lnTo>
                    <a:pt x="132" y="160"/>
                  </a:lnTo>
                  <a:lnTo>
                    <a:pt x="133" y="163"/>
                  </a:lnTo>
                  <a:lnTo>
                    <a:pt x="134" y="167"/>
                  </a:lnTo>
                  <a:lnTo>
                    <a:pt x="135" y="170"/>
                  </a:lnTo>
                  <a:lnTo>
                    <a:pt x="135" y="174"/>
                  </a:lnTo>
                  <a:lnTo>
                    <a:pt x="136" y="177"/>
                  </a:lnTo>
                  <a:lnTo>
                    <a:pt x="138" y="181"/>
                  </a:lnTo>
                  <a:lnTo>
                    <a:pt x="139" y="184"/>
                  </a:lnTo>
                  <a:lnTo>
                    <a:pt x="140" y="188"/>
                  </a:lnTo>
                  <a:lnTo>
                    <a:pt x="140" y="193"/>
                  </a:lnTo>
                  <a:lnTo>
                    <a:pt x="141" y="196"/>
                  </a:lnTo>
                  <a:lnTo>
                    <a:pt x="142" y="200"/>
                  </a:lnTo>
                  <a:lnTo>
                    <a:pt x="143" y="203"/>
                  </a:lnTo>
                  <a:lnTo>
                    <a:pt x="145" y="207"/>
                  </a:lnTo>
                  <a:lnTo>
                    <a:pt x="145" y="210"/>
                  </a:lnTo>
                  <a:lnTo>
                    <a:pt x="146" y="214"/>
                  </a:lnTo>
                  <a:lnTo>
                    <a:pt x="147" y="217"/>
                  </a:lnTo>
                  <a:lnTo>
                    <a:pt x="146" y="217"/>
                  </a:lnTo>
                  <a:lnTo>
                    <a:pt x="145" y="217"/>
                  </a:lnTo>
                  <a:lnTo>
                    <a:pt x="143" y="218"/>
                  </a:lnTo>
                  <a:lnTo>
                    <a:pt x="142" y="218"/>
                  </a:lnTo>
                  <a:lnTo>
                    <a:pt x="141" y="218"/>
                  </a:lnTo>
                  <a:lnTo>
                    <a:pt x="140" y="218"/>
                  </a:lnTo>
                  <a:lnTo>
                    <a:pt x="140" y="217"/>
                  </a:lnTo>
                  <a:lnTo>
                    <a:pt x="139" y="217"/>
                  </a:lnTo>
                  <a:lnTo>
                    <a:pt x="139" y="216"/>
                  </a:lnTo>
                  <a:lnTo>
                    <a:pt x="138" y="216"/>
                  </a:lnTo>
                  <a:lnTo>
                    <a:pt x="138" y="215"/>
                  </a:lnTo>
                  <a:lnTo>
                    <a:pt x="136" y="215"/>
                  </a:lnTo>
                  <a:lnTo>
                    <a:pt x="135" y="214"/>
                  </a:lnTo>
                  <a:lnTo>
                    <a:pt x="134" y="212"/>
                  </a:lnTo>
                  <a:lnTo>
                    <a:pt x="134" y="211"/>
                  </a:lnTo>
                  <a:lnTo>
                    <a:pt x="132" y="210"/>
                  </a:lnTo>
                  <a:lnTo>
                    <a:pt x="132" y="209"/>
                  </a:lnTo>
                  <a:lnTo>
                    <a:pt x="132" y="208"/>
                  </a:lnTo>
                  <a:lnTo>
                    <a:pt x="131" y="208"/>
                  </a:lnTo>
                  <a:lnTo>
                    <a:pt x="128" y="205"/>
                  </a:lnTo>
                  <a:lnTo>
                    <a:pt x="126" y="205"/>
                  </a:lnTo>
                  <a:lnTo>
                    <a:pt x="125" y="204"/>
                  </a:lnTo>
                  <a:lnTo>
                    <a:pt x="122" y="203"/>
                  </a:lnTo>
                  <a:lnTo>
                    <a:pt x="120" y="202"/>
                  </a:lnTo>
                  <a:lnTo>
                    <a:pt x="119" y="201"/>
                  </a:lnTo>
                  <a:lnTo>
                    <a:pt x="118" y="201"/>
                  </a:lnTo>
                  <a:lnTo>
                    <a:pt x="115" y="202"/>
                  </a:lnTo>
                  <a:lnTo>
                    <a:pt x="113" y="202"/>
                  </a:lnTo>
                  <a:lnTo>
                    <a:pt x="111" y="202"/>
                  </a:lnTo>
                  <a:lnTo>
                    <a:pt x="108" y="203"/>
                  </a:lnTo>
                  <a:lnTo>
                    <a:pt x="107" y="204"/>
                  </a:lnTo>
                  <a:lnTo>
                    <a:pt x="105" y="204"/>
                  </a:lnTo>
                  <a:lnTo>
                    <a:pt x="104" y="207"/>
                  </a:lnTo>
                  <a:lnTo>
                    <a:pt x="102" y="208"/>
                  </a:lnTo>
                  <a:lnTo>
                    <a:pt x="100" y="210"/>
                  </a:lnTo>
                  <a:lnTo>
                    <a:pt x="100" y="209"/>
                  </a:lnTo>
                  <a:lnTo>
                    <a:pt x="100" y="208"/>
                  </a:lnTo>
                  <a:lnTo>
                    <a:pt x="99" y="207"/>
                  </a:lnTo>
                  <a:lnTo>
                    <a:pt x="99" y="205"/>
                  </a:lnTo>
                  <a:lnTo>
                    <a:pt x="98" y="205"/>
                  </a:lnTo>
                  <a:lnTo>
                    <a:pt x="98" y="204"/>
                  </a:lnTo>
                  <a:lnTo>
                    <a:pt x="98" y="203"/>
                  </a:lnTo>
                  <a:lnTo>
                    <a:pt x="99" y="203"/>
                  </a:lnTo>
                  <a:lnTo>
                    <a:pt x="99" y="202"/>
                  </a:lnTo>
                  <a:lnTo>
                    <a:pt x="100" y="202"/>
                  </a:lnTo>
                  <a:lnTo>
                    <a:pt x="100" y="201"/>
                  </a:lnTo>
                  <a:lnTo>
                    <a:pt x="99" y="201"/>
                  </a:lnTo>
                  <a:lnTo>
                    <a:pt x="100" y="200"/>
                  </a:lnTo>
                  <a:lnTo>
                    <a:pt x="100" y="198"/>
                  </a:lnTo>
                  <a:lnTo>
                    <a:pt x="100" y="197"/>
                  </a:lnTo>
                  <a:lnTo>
                    <a:pt x="99" y="197"/>
                  </a:lnTo>
                  <a:lnTo>
                    <a:pt x="99" y="196"/>
                  </a:lnTo>
                  <a:lnTo>
                    <a:pt x="98" y="196"/>
                  </a:lnTo>
                  <a:lnTo>
                    <a:pt x="98" y="195"/>
                  </a:lnTo>
                  <a:lnTo>
                    <a:pt x="98" y="196"/>
                  </a:lnTo>
                  <a:lnTo>
                    <a:pt x="99" y="196"/>
                  </a:lnTo>
                  <a:lnTo>
                    <a:pt x="100" y="197"/>
                  </a:lnTo>
                  <a:lnTo>
                    <a:pt x="100" y="196"/>
                  </a:lnTo>
                  <a:lnTo>
                    <a:pt x="100" y="195"/>
                  </a:lnTo>
                  <a:lnTo>
                    <a:pt x="99" y="195"/>
                  </a:lnTo>
                  <a:lnTo>
                    <a:pt x="98" y="194"/>
                  </a:lnTo>
                  <a:lnTo>
                    <a:pt x="97" y="194"/>
                  </a:lnTo>
                  <a:lnTo>
                    <a:pt x="96" y="194"/>
                  </a:lnTo>
                  <a:lnTo>
                    <a:pt x="95" y="194"/>
                  </a:lnTo>
                  <a:lnTo>
                    <a:pt x="93" y="193"/>
                  </a:lnTo>
                  <a:lnTo>
                    <a:pt x="92" y="193"/>
                  </a:lnTo>
                  <a:lnTo>
                    <a:pt x="91" y="193"/>
                  </a:lnTo>
                  <a:lnTo>
                    <a:pt x="90" y="193"/>
                  </a:lnTo>
                  <a:lnTo>
                    <a:pt x="90" y="194"/>
                  </a:lnTo>
                  <a:lnTo>
                    <a:pt x="89" y="193"/>
                  </a:lnTo>
                  <a:lnTo>
                    <a:pt x="88" y="191"/>
                  </a:lnTo>
                  <a:lnTo>
                    <a:pt x="88" y="190"/>
                  </a:lnTo>
                  <a:lnTo>
                    <a:pt x="86" y="190"/>
                  </a:lnTo>
                  <a:lnTo>
                    <a:pt x="86" y="189"/>
                  </a:lnTo>
                  <a:lnTo>
                    <a:pt x="85" y="189"/>
                  </a:lnTo>
                  <a:lnTo>
                    <a:pt x="85" y="188"/>
                  </a:lnTo>
                  <a:lnTo>
                    <a:pt x="84" y="188"/>
                  </a:lnTo>
                  <a:lnTo>
                    <a:pt x="83" y="188"/>
                  </a:lnTo>
                  <a:lnTo>
                    <a:pt x="82" y="188"/>
                  </a:lnTo>
                  <a:lnTo>
                    <a:pt x="81" y="188"/>
                  </a:lnTo>
                  <a:lnTo>
                    <a:pt x="79" y="188"/>
                  </a:lnTo>
                  <a:lnTo>
                    <a:pt x="81" y="187"/>
                  </a:lnTo>
                  <a:lnTo>
                    <a:pt x="81" y="186"/>
                  </a:lnTo>
                  <a:lnTo>
                    <a:pt x="79" y="184"/>
                  </a:lnTo>
                  <a:lnTo>
                    <a:pt x="79" y="183"/>
                  </a:lnTo>
                  <a:lnTo>
                    <a:pt x="78" y="183"/>
                  </a:lnTo>
                  <a:lnTo>
                    <a:pt x="78" y="182"/>
                  </a:lnTo>
                  <a:lnTo>
                    <a:pt x="77" y="181"/>
                  </a:lnTo>
                  <a:lnTo>
                    <a:pt x="76" y="181"/>
                  </a:lnTo>
                  <a:lnTo>
                    <a:pt x="75" y="179"/>
                  </a:lnTo>
                  <a:lnTo>
                    <a:pt x="75" y="177"/>
                  </a:lnTo>
                  <a:lnTo>
                    <a:pt x="74" y="177"/>
                  </a:lnTo>
                  <a:lnTo>
                    <a:pt x="74" y="176"/>
                  </a:lnTo>
                  <a:lnTo>
                    <a:pt x="72" y="176"/>
                  </a:lnTo>
                  <a:lnTo>
                    <a:pt x="72" y="175"/>
                  </a:lnTo>
                  <a:lnTo>
                    <a:pt x="71" y="175"/>
                  </a:lnTo>
                  <a:lnTo>
                    <a:pt x="71" y="174"/>
                  </a:lnTo>
                  <a:lnTo>
                    <a:pt x="71" y="173"/>
                  </a:lnTo>
                  <a:lnTo>
                    <a:pt x="70" y="172"/>
                  </a:lnTo>
                  <a:lnTo>
                    <a:pt x="69" y="172"/>
                  </a:lnTo>
                  <a:lnTo>
                    <a:pt x="64" y="170"/>
                  </a:lnTo>
                  <a:lnTo>
                    <a:pt x="63" y="170"/>
                  </a:lnTo>
                  <a:lnTo>
                    <a:pt x="63" y="169"/>
                  </a:lnTo>
                  <a:lnTo>
                    <a:pt x="62" y="169"/>
                  </a:lnTo>
                  <a:lnTo>
                    <a:pt x="62" y="168"/>
                  </a:lnTo>
                  <a:lnTo>
                    <a:pt x="62" y="167"/>
                  </a:lnTo>
                  <a:lnTo>
                    <a:pt x="62" y="166"/>
                  </a:lnTo>
                  <a:lnTo>
                    <a:pt x="62" y="167"/>
                  </a:lnTo>
                  <a:lnTo>
                    <a:pt x="62" y="166"/>
                  </a:lnTo>
                  <a:lnTo>
                    <a:pt x="62" y="165"/>
                  </a:lnTo>
                  <a:lnTo>
                    <a:pt x="63" y="165"/>
                  </a:lnTo>
                  <a:lnTo>
                    <a:pt x="64" y="166"/>
                  </a:lnTo>
                  <a:lnTo>
                    <a:pt x="65" y="166"/>
                  </a:lnTo>
                  <a:lnTo>
                    <a:pt x="67" y="166"/>
                  </a:lnTo>
                  <a:lnTo>
                    <a:pt x="68" y="166"/>
                  </a:lnTo>
                  <a:lnTo>
                    <a:pt x="69" y="166"/>
                  </a:lnTo>
                  <a:lnTo>
                    <a:pt x="70" y="166"/>
                  </a:lnTo>
                  <a:lnTo>
                    <a:pt x="71" y="167"/>
                  </a:lnTo>
                  <a:lnTo>
                    <a:pt x="72" y="167"/>
                  </a:lnTo>
                  <a:lnTo>
                    <a:pt x="74" y="168"/>
                  </a:lnTo>
                  <a:lnTo>
                    <a:pt x="75" y="167"/>
                  </a:lnTo>
                  <a:lnTo>
                    <a:pt x="76" y="167"/>
                  </a:lnTo>
                  <a:lnTo>
                    <a:pt x="77" y="167"/>
                  </a:lnTo>
                  <a:lnTo>
                    <a:pt x="78" y="167"/>
                  </a:lnTo>
                  <a:lnTo>
                    <a:pt x="77" y="166"/>
                  </a:lnTo>
                  <a:lnTo>
                    <a:pt x="76" y="166"/>
                  </a:lnTo>
                  <a:lnTo>
                    <a:pt x="75" y="166"/>
                  </a:lnTo>
                  <a:lnTo>
                    <a:pt x="74" y="165"/>
                  </a:lnTo>
                  <a:lnTo>
                    <a:pt x="74" y="163"/>
                  </a:lnTo>
                  <a:lnTo>
                    <a:pt x="72" y="163"/>
                  </a:lnTo>
                  <a:lnTo>
                    <a:pt x="71" y="163"/>
                  </a:lnTo>
                  <a:lnTo>
                    <a:pt x="71" y="162"/>
                  </a:lnTo>
                  <a:lnTo>
                    <a:pt x="70" y="162"/>
                  </a:lnTo>
                  <a:lnTo>
                    <a:pt x="70" y="161"/>
                  </a:lnTo>
                  <a:lnTo>
                    <a:pt x="70" y="160"/>
                  </a:lnTo>
                  <a:lnTo>
                    <a:pt x="69" y="160"/>
                  </a:lnTo>
                  <a:lnTo>
                    <a:pt x="70" y="160"/>
                  </a:lnTo>
                  <a:lnTo>
                    <a:pt x="71" y="159"/>
                  </a:lnTo>
                  <a:lnTo>
                    <a:pt x="72" y="159"/>
                  </a:lnTo>
                  <a:lnTo>
                    <a:pt x="72" y="158"/>
                  </a:lnTo>
                  <a:lnTo>
                    <a:pt x="72" y="156"/>
                  </a:lnTo>
                  <a:lnTo>
                    <a:pt x="72" y="155"/>
                  </a:lnTo>
                  <a:lnTo>
                    <a:pt x="74" y="154"/>
                  </a:lnTo>
                  <a:lnTo>
                    <a:pt x="75" y="154"/>
                  </a:lnTo>
                  <a:lnTo>
                    <a:pt x="76" y="154"/>
                  </a:lnTo>
                  <a:lnTo>
                    <a:pt x="77" y="154"/>
                  </a:lnTo>
                  <a:lnTo>
                    <a:pt x="77" y="153"/>
                  </a:lnTo>
                  <a:lnTo>
                    <a:pt x="78" y="153"/>
                  </a:lnTo>
                  <a:lnTo>
                    <a:pt x="79" y="154"/>
                  </a:lnTo>
                  <a:lnTo>
                    <a:pt x="81" y="154"/>
                  </a:lnTo>
                  <a:lnTo>
                    <a:pt x="82" y="154"/>
                  </a:lnTo>
                  <a:lnTo>
                    <a:pt x="85" y="153"/>
                  </a:lnTo>
                  <a:lnTo>
                    <a:pt x="86" y="153"/>
                  </a:lnTo>
                  <a:lnTo>
                    <a:pt x="88" y="153"/>
                  </a:lnTo>
                  <a:lnTo>
                    <a:pt x="90" y="154"/>
                  </a:lnTo>
                  <a:lnTo>
                    <a:pt x="91" y="154"/>
                  </a:lnTo>
                  <a:lnTo>
                    <a:pt x="92" y="155"/>
                  </a:lnTo>
                  <a:lnTo>
                    <a:pt x="93" y="155"/>
                  </a:lnTo>
                  <a:lnTo>
                    <a:pt x="95" y="155"/>
                  </a:lnTo>
                  <a:lnTo>
                    <a:pt x="96" y="154"/>
                  </a:lnTo>
                  <a:lnTo>
                    <a:pt x="97" y="154"/>
                  </a:lnTo>
                  <a:lnTo>
                    <a:pt x="96" y="154"/>
                  </a:lnTo>
                  <a:lnTo>
                    <a:pt x="95" y="154"/>
                  </a:lnTo>
                  <a:lnTo>
                    <a:pt x="95" y="153"/>
                  </a:lnTo>
                  <a:lnTo>
                    <a:pt x="93" y="153"/>
                  </a:lnTo>
                  <a:lnTo>
                    <a:pt x="92" y="153"/>
                  </a:lnTo>
                  <a:lnTo>
                    <a:pt x="91" y="153"/>
                  </a:lnTo>
                  <a:lnTo>
                    <a:pt x="91" y="152"/>
                  </a:lnTo>
                  <a:lnTo>
                    <a:pt x="90" y="152"/>
                  </a:lnTo>
                  <a:lnTo>
                    <a:pt x="89" y="152"/>
                  </a:lnTo>
                  <a:lnTo>
                    <a:pt x="89" y="151"/>
                  </a:lnTo>
                  <a:lnTo>
                    <a:pt x="89" y="149"/>
                  </a:lnTo>
                  <a:lnTo>
                    <a:pt x="90" y="149"/>
                  </a:lnTo>
                  <a:lnTo>
                    <a:pt x="90" y="148"/>
                  </a:lnTo>
                  <a:lnTo>
                    <a:pt x="90" y="147"/>
                  </a:lnTo>
                  <a:lnTo>
                    <a:pt x="91" y="147"/>
                  </a:lnTo>
                  <a:lnTo>
                    <a:pt x="91" y="146"/>
                  </a:lnTo>
                  <a:lnTo>
                    <a:pt x="91" y="145"/>
                  </a:lnTo>
                  <a:lnTo>
                    <a:pt x="91" y="144"/>
                  </a:lnTo>
                  <a:lnTo>
                    <a:pt x="91" y="142"/>
                  </a:lnTo>
                  <a:lnTo>
                    <a:pt x="91" y="141"/>
                  </a:lnTo>
                  <a:lnTo>
                    <a:pt x="91" y="140"/>
                  </a:lnTo>
                  <a:lnTo>
                    <a:pt x="91" y="139"/>
                  </a:lnTo>
                  <a:lnTo>
                    <a:pt x="91" y="138"/>
                  </a:lnTo>
                  <a:lnTo>
                    <a:pt x="90" y="138"/>
                  </a:lnTo>
                  <a:lnTo>
                    <a:pt x="89" y="137"/>
                  </a:lnTo>
                  <a:lnTo>
                    <a:pt x="90" y="137"/>
                  </a:lnTo>
                  <a:lnTo>
                    <a:pt x="90" y="138"/>
                  </a:lnTo>
                  <a:lnTo>
                    <a:pt x="90" y="137"/>
                  </a:lnTo>
                  <a:lnTo>
                    <a:pt x="89" y="137"/>
                  </a:lnTo>
                  <a:lnTo>
                    <a:pt x="89" y="135"/>
                  </a:lnTo>
                  <a:lnTo>
                    <a:pt x="90" y="135"/>
                  </a:lnTo>
                  <a:lnTo>
                    <a:pt x="90" y="134"/>
                  </a:lnTo>
                  <a:lnTo>
                    <a:pt x="90" y="133"/>
                  </a:lnTo>
                  <a:lnTo>
                    <a:pt x="89" y="133"/>
                  </a:lnTo>
                  <a:lnTo>
                    <a:pt x="89" y="132"/>
                  </a:lnTo>
                  <a:lnTo>
                    <a:pt x="89" y="131"/>
                  </a:lnTo>
                  <a:lnTo>
                    <a:pt x="88" y="131"/>
                  </a:lnTo>
                  <a:lnTo>
                    <a:pt x="86" y="131"/>
                  </a:lnTo>
                  <a:lnTo>
                    <a:pt x="86" y="130"/>
                  </a:lnTo>
                  <a:lnTo>
                    <a:pt x="85" y="130"/>
                  </a:lnTo>
                  <a:lnTo>
                    <a:pt x="84" y="130"/>
                  </a:lnTo>
                  <a:lnTo>
                    <a:pt x="83" y="130"/>
                  </a:lnTo>
                  <a:lnTo>
                    <a:pt x="82" y="130"/>
                  </a:lnTo>
                  <a:lnTo>
                    <a:pt x="81" y="128"/>
                  </a:lnTo>
                  <a:lnTo>
                    <a:pt x="79" y="128"/>
                  </a:lnTo>
                  <a:lnTo>
                    <a:pt x="79" y="130"/>
                  </a:lnTo>
                  <a:lnTo>
                    <a:pt x="79" y="131"/>
                  </a:lnTo>
                  <a:lnTo>
                    <a:pt x="78" y="131"/>
                  </a:lnTo>
                  <a:lnTo>
                    <a:pt x="77" y="131"/>
                  </a:lnTo>
                  <a:lnTo>
                    <a:pt x="78" y="131"/>
                  </a:lnTo>
                  <a:lnTo>
                    <a:pt x="78" y="132"/>
                  </a:lnTo>
                  <a:lnTo>
                    <a:pt x="76" y="132"/>
                  </a:lnTo>
                  <a:lnTo>
                    <a:pt x="76" y="131"/>
                  </a:lnTo>
                  <a:lnTo>
                    <a:pt x="75" y="131"/>
                  </a:lnTo>
                  <a:lnTo>
                    <a:pt x="75" y="130"/>
                  </a:lnTo>
                  <a:lnTo>
                    <a:pt x="74" y="131"/>
                  </a:lnTo>
                  <a:lnTo>
                    <a:pt x="72" y="131"/>
                  </a:lnTo>
                  <a:lnTo>
                    <a:pt x="74" y="130"/>
                  </a:lnTo>
                  <a:lnTo>
                    <a:pt x="72" y="130"/>
                  </a:lnTo>
                  <a:lnTo>
                    <a:pt x="71" y="130"/>
                  </a:lnTo>
                  <a:lnTo>
                    <a:pt x="70" y="130"/>
                  </a:lnTo>
                  <a:lnTo>
                    <a:pt x="70" y="128"/>
                  </a:lnTo>
                  <a:lnTo>
                    <a:pt x="70" y="127"/>
                  </a:lnTo>
                  <a:lnTo>
                    <a:pt x="69" y="128"/>
                  </a:lnTo>
                  <a:lnTo>
                    <a:pt x="68" y="127"/>
                  </a:lnTo>
                  <a:lnTo>
                    <a:pt x="67" y="127"/>
                  </a:lnTo>
                  <a:lnTo>
                    <a:pt x="64" y="127"/>
                  </a:lnTo>
                  <a:lnTo>
                    <a:pt x="63" y="127"/>
                  </a:lnTo>
                  <a:lnTo>
                    <a:pt x="61" y="127"/>
                  </a:lnTo>
                  <a:lnTo>
                    <a:pt x="61" y="128"/>
                  </a:lnTo>
                  <a:lnTo>
                    <a:pt x="60" y="128"/>
                  </a:lnTo>
                  <a:lnTo>
                    <a:pt x="60" y="130"/>
                  </a:lnTo>
                  <a:lnTo>
                    <a:pt x="58" y="130"/>
                  </a:lnTo>
                  <a:lnTo>
                    <a:pt x="57" y="130"/>
                  </a:lnTo>
                  <a:lnTo>
                    <a:pt x="57" y="131"/>
                  </a:lnTo>
                  <a:lnTo>
                    <a:pt x="56" y="131"/>
                  </a:lnTo>
                  <a:lnTo>
                    <a:pt x="55" y="131"/>
                  </a:lnTo>
                  <a:lnTo>
                    <a:pt x="55" y="132"/>
                  </a:lnTo>
                  <a:lnTo>
                    <a:pt x="55" y="131"/>
                  </a:lnTo>
                  <a:lnTo>
                    <a:pt x="55" y="132"/>
                  </a:lnTo>
                  <a:lnTo>
                    <a:pt x="54" y="132"/>
                  </a:lnTo>
                  <a:lnTo>
                    <a:pt x="54" y="133"/>
                  </a:lnTo>
                  <a:lnTo>
                    <a:pt x="53" y="133"/>
                  </a:lnTo>
                  <a:lnTo>
                    <a:pt x="53" y="132"/>
                  </a:lnTo>
                  <a:lnTo>
                    <a:pt x="53" y="133"/>
                  </a:lnTo>
                  <a:lnTo>
                    <a:pt x="51" y="133"/>
                  </a:lnTo>
                  <a:lnTo>
                    <a:pt x="51" y="134"/>
                  </a:lnTo>
                  <a:lnTo>
                    <a:pt x="50" y="134"/>
                  </a:lnTo>
                  <a:lnTo>
                    <a:pt x="50" y="135"/>
                  </a:lnTo>
                  <a:lnTo>
                    <a:pt x="49" y="135"/>
                  </a:lnTo>
                  <a:lnTo>
                    <a:pt x="48" y="135"/>
                  </a:lnTo>
                  <a:lnTo>
                    <a:pt x="48" y="137"/>
                  </a:lnTo>
                  <a:lnTo>
                    <a:pt x="47" y="135"/>
                  </a:lnTo>
                  <a:lnTo>
                    <a:pt x="47" y="137"/>
                  </a:lnTo>
                  <a:lnTo>
                    <a:pt x="47" y="135"/>
                  </a:lnTo>
                  <a:lnTo>
                    <a:pt x="47" y="137"/>
                  </a:lnTo>
                  <a:lnTo>
                    <a:pt x="46" y="137"/>
                  </a:lnTo>
                  <a:lnTo>
                    <a:pt x="46" y="135"/>
                  </a:lnTo>
                  <a:lnTo>
                    <a:pt x="44" y="135"/>
                  </a:lnTo>
                  <a:lnTo>
                    <a:pt x="46" y="137"/>
                  </a:lnTo>
                  <a:lnTo>
                    <a:pt x="44" y="137"/>
                  </a:lnTo>
                  <a:lnTo>
                    <a:pt x="44" y="135"/>
                  </a:lnTo>
                  <a:lnTo>
                    <a:pt x="43" y="135"/>
                  </a:lnTo>
                  <a:lnTo>
                    <a:pt x="42" y="135"/>
                  </a:lnTo>
                  <a:lnTo>
                    <a:pt x="43" y="137"/>
                  </a:lnTo>
                  <a:lnTo>
                    <a:pt x="44" y="137"/>
                  </a:lnTo>
                  <a:lnTo>
                    <a:pt x="43" y="137"/>
                  </a:lnTo>
                  <a:lnTo>
                    <a:pt x="42" y="137"/>
                  </a:lnTo>
                  <a:lnTo>
                    <a:pt x="42" y="135"/>
                  </a:lnTo>
                  <a:lnTo>
                    <a:pt x="42" y="137"/>
                  </a:lnTo>
                  <a:lnTo>
                    <a:pt x="43" y="137"/>
                  </a:lnTo>
                  <a:lnTo>
                    <a:pt x="43" y="138"/>
                  </a:lnTo>
                  <a:lnTo>
                    <a:pt x="44" y="138"/>
                  </a:lnTo>
                  <a:lnTo>
                    <a:pt x="43" y="138"/>
                  </a:lnTo>
                  <a:lnTo>
                    <a:pt x="42" y="137"/>
                  </a:lnTo>
                  <a:lnTo>
                    <a:pt x="42" y="138"/>
                  </a:lnTo>
                  <a:lnTo>
                    <a:pt x="43" y="138"/>
                  </a:lnTo>
                  <a:lnTo>
                    <a:pt x="42" y="138"/>
                  </a:lnTo>
                  <a:lnTo>
                    <a:pt x="41" y="138"/>
                  </a:lnTo>
                  <a:lnTo>
                    <a:pt x="42" y="138"/>
                  </a:lnTo>
                  <a:lnTo>
                    <a:pt x="42" y="139"/>
                  </a:lnTo>
                  <a:lnTo>
                    <a:pt x="40" y="138"/>
                  </a:lnTo>
                  <a:lnTo>
                    <a:pt x="39" y="138"/>
                  </a:lnTo>
                  <a:lnTo>
                    <a:pt x="39" y="137"/>
                  </a:lnTo>
                  <a:lnTo>
                    <a:pt x="38" y="137"/>
                  </a:lnTo>
                  <a:lnTo>
                    <a:pt x="36" y="137"/>
                  </a:lnTo>
                  <a:lnTo>
                    <a:pt x="35" y="135"/>
                  </a:lnTo>
                  <a:lnTo>
                    <a:pt x="34" y="135"/>
                  </a:lnTo>
                  <a:lnTo>
                    <a:pt x="33" y="135"/>
                  </a:lnTo>
                  <a:lnTo>
                    <a:pt x="33" y="134"/>
                  </a:lnTo>
                  <a:lnTo>
                    <a:pt x="32" y="134"/>
                  </a:lnTo>
                  <a:lnTo>
                    <a:pt x="32" y="133"/>
                  </a:lnTo>
                  <a:lnTo>
                    <a:pt x="33" y="132"/>
                  </a:lnTo>
                  <a:lnTo>
                    <a:pt x="34" y="132"/>
                  </a:lnTo>
                  <a:lnTo>
                    <a:pt x="34" y="133"/>
                  </a:lnTo>
                  <a:lnTo>
                    <a:pt x="35" y="133"/>
                  </a:lnTo>
                  <a:lnTo>
                    <a:pt x="38" y="133"/>
                  </a:lnTo>
                  <a:lnTo>
                    <a:pt x="38" y="132"/>
                  </a:lnTo>
                  <a:lnTo>
                    <a:pt x="33" y="127"/>
                  </a:lnTo>
                  <a:lnTo>
                    <a:pt x="31" y="123"/>
                  </a:lnTo>
                  <a:lnTo>
                    <a:pt x="29" y="123"/>
                  </a:lnTo>
                  <a:lnTo>
                    <a:pt x="28" y="123"/>
                  </a:lnTo>
                  <a:lnTo>
                    <a:pt x="28" y="121"/>
                  </a:lnTo>
                  <a:lnTo>
                    <a:pt x="27" y="121"/>
                  </a:lnTo>
                  <a:lnTo>
                    <a:pt x="25" y="118"/>
                  </a:lnTo>
                  <a:lnTo>
                    <a:pt x="24" y="117"/>
                  </a:lnTo>
                  <a:lnTo>
                    <a:pt x="22" y="117"/>
                  </a:lnTo>
                  <a:lnTo>
                    <a:pt x="18" y="117"/>
                  </a:lnTo>
                  <a:lnTo>
                    <a:pt x="14" y="116"/>
                  </a:lnTo>
                  <a:lnTo>
                    <a:pt x="14" y="117"/>
                  </a:lnTo>
                  <a:lnTo>
                    <a:pt x="14" y="118"/>
                  </a:lnTo>
                  <a:lnTo>
                    <a:pt x="12" y="117"/>
                  </a:lnTo>
                  <a:lnTo>
                    <a:pt x="11" y="117"/>
                  </a:lnTo>
                  <a:lnTo>
                    <a:pt x="11" y="116"/>
                  </a:lnTo>
                  <a:lnTo>
                    <a:pt x="11" y="114"/>
                  </a:lnTo>
                  <a:lnTo>
                    <a:pt x="10" y="113"/>
                  </a:lnTo>
                  <a:lnTo>
                    <a:pt x="11" y="113"/>
                  </a:lnTo>
                  <a:lnTo>
                    <a:pt x="11" y="112"/>
                  </a:lnTo>
                  <a:lnTo>
                    <a:pt x="10" y="112"/>
                  </a:lnTo>
                  <a:lnTo>
                    <a:pt x="10" y="111"/>
                  </a:lnTo>
                  <a:lnTo>
                    <a:pt x="8" y="110"/>
                  </a:lnTo>
                  <a:lnTo>
                    <a:pt x="10" y="110"/>
                  </a:lnTo>
                  <a:lnTo>
                    <a:pt x="8" y="109"/>
                  </a:lnTo>
                  <a:lnTo>
                    <a:pt x="7" y="109"/>
                  </a:lnTo>
                  <a:lnTo>
                    <a:pt x="4" y="107"/>
                  </a:lnTo>
                  <a:lnTo>
                    <a:pt x="0" y="107"/>
                  </a:lnTo>
                  <a:lnTo>
                    <a:pt x="1" y="103"/>
                  </a:lnTo>
                  <a:lnTo>
                    <a:pt x="3" y="99"/>
                  </a:lnTo>
                  <a:lnTo>
                    <a:pt x="3" y="98"/>
                  </a:lnTo>
                  <a:lnTo>
                    <a:pt x="4" y="98"/>
                  </a:lnTo>
                  <a:lnTo>
                    <a:pt x="5" y="97"/>
                  </a:lnTo>
                  <a:lnTo>
                    <a:pt x="5" y="96"/>
                  </a:lnTo>
                  <a:lnTo>
                    <a:pt x="5" y="95"/>
                  </a:lnTo>
                  <a:lnTo>
                    <a:pt x="4" y="95"/>
                  </a:lnTo>
                  <a:lnTo>
                    <a:pt x="1" y="93"/>
                  </a:lnTo>
                  <a:lnTo>
                    <a:pt x="1" y="92"/>
                  </a:lnTo>
                  <a:lnTo>
                    <a:pt x="0" y="89"/>
                  </a:lnTo>
                  <a:lnTo>
                    <a:pt x="0" y="85"/>
                  </a:lnTo>
                  <a:lnTo>
                    <a:pt x="0" y="84"/>
                  </a:lnTo>
                  <a:lnTo>
                    <a:pt x="1" y="84"/>
                  </a:lnTo>
                  <a:lnTo>
                    <a:pt x="4" y="83"/>
                  </a:lnTo>
                  <a:lnTo>
                    <a:pt x="5" y="82"/>
                  </a:lnTo>
                  <a:lnTo>
                    <a:pt x="5" y="81"/>
                  </a:lnTo>
                  <a:lnTo>
                    <a:pt x="4" y="81"/>
                  </a:lnTo>
                  <a:lnTo>
                    <a:pt x="4" y="79"/>
                  </a:lnTo>
                  <a:lnTo>
                    <a:pt x="4" y="78"/>
                  </a:lnTo>
                  <a:lnTo>
                    <a:pt x="5" y="77"/>
                  </a:lnTo>
                  <a:lnTo>
                    <a:pt x="5" y="76"/>
                  </a:lnTo>
                  <a:lnTo>
                    <a:pt x="6" y="76"/>
                  </a:lnTo>
                  <a:lnTo>
                    <a:pt x="7" y="76"/>
                  </a:lnTo>
                  <a:lnTo>
                    <a:pt x="7" y="77"/>
                  </a:lnTo>
                  <a:lnTo>
                    <a:pt x="8" y="77"/>
                  </a:lnTo>
                  <a:lnTo>
                    <a:pt x="10" y="77"/>
                  </a:lnTo>
                  <a:lnTo>
                    <a:pt x="11" y="78"/>
                  </a:lnTo>
                  <a:lnTo>
                    <a:pt x="12" y="79"/>
                  </a:lnTo>
                  <a:lnTo>
                    <a:pt x="13" y="81"/>
                  </a:lnTo>
                  <a:lnTo>
                    <a:pt x="14" y="82"/>
                  </a:lnTo>
                  <a:lnTo>
                    <a:pt x="14" y="83"/>
                  </a:lnTo>
                  <a:lnTo>
                    <a:pt x="15" y="83"/>
                  </a:lnTo>
                  <a:lnTo>
                    <a:pt x="15" y="84"/>
                  </a:lnTo>
                  <a:lnTo>
                    <a:pt x="17" y="84"/>
                  </a:lnTo>
                  <a:lnTo>
                    <a:pt x="18" y="84"/>
                  </a:lnTo>
                  <a:lnTo>
                    <a:pt x="18" y="85"/>
                  </a:lnTo>
                  <a:lnTo>
                    <a:pt x="19" y="85"/>
                  </a:lnTo>
                  <a:lnTo>
                    <a:pt x="20" y="85"/>
                  </a:lnTo>
                  <a:lnTo>
                    <a:pt x="22" y="84"/>
                  </a:lnTo>
                  <a:lnTo>
                    <a:pt x="22" y="83"/>
                  </a:lnTo>
                  <a:lnTo>
                    <a:pt x="24" y="83"/>
                  </a:lnTo>
                  <a:lnTo>
                    <a:pt x="24" y="82"/>
                  </a:lnTo>
                  <a:lnTo>
                    <a:pt x="24" y="81"/>
                  </a:lnTo>
                  <a:lnTo>
                    <a:pt x="22" y="81"/>
                  </a:lnTo>
                  <a:lnTo>
                    <a:pt x="22" y="79"/>
                  </a:lnTo>
                  <a:lnTo>
                    <a:pt x="21" y="79"/>
                  </a:lnTo>
                  <a:lnTo>
                    <a:pt x="21" y="78"/>
                  </a:lnTo>
                  <a:lnTo>
                    <a:pt x="20" y="77"/>
                  </a:lnTo>
                  <a:lnTo>
                    <a:pt x="19" y="75"/>
                  </a:lnTo>
                  <a:lnTo>
                    <a:pt x="19" y="74"/>
                  </a:lnTo>
                  <a:lnTo>
                    <a:pt x="18" y="74"/>
                  </a:lnTo>
                  <a:lnTo>
                    <a:pt x="18" y="72"/>
                  </a:lnTo>
                  <a:lnTo>
                    <a:pt x="20" y="74"/>
                  </a:lnTo>
                  <a:lnTo>
                    <a:pt x="21" y="74"/>
                  </a:lnTo>
                  <a:lnTo>
                    <a:pt x="22" y="72"/>
                  </a:lnTo>
                  <a:lnTo>
                    <a:pt x="24" y="71"/>
                  </a:lnTo>
                  <a:lnTo>
                    <a:pt x="24" y="70"/>
                  </a:lnTo>
                  <a:lnTo>
                    <a:pt x="25" y="70"/>
                  </a:lnTo>
                  <a:lnTo>
                    <a:pt x="26" y="70"/>
                  </a:lnTo>
                  <a:lnTo>
                    <a:pt x="27" y="69"/>
                  </a:lnTo>
                  <a:lnTo>
                    <a:pt x="26" y="69"/>
                  </a:lnTo>
                  <a:lnTo>
                    <a:pt x="26" y="68"/>
                  </a:lnTo>
                  <a:lnTo>
                    <a:pt x="26" y="67"/>
                  </a:lnTo>
                  <a:lnTo>
                    <a:pt x="26" y="65"/>
                  </a:lnTo>
                  <a:lnTo>
                    <a:pt x="27" y="65"/>
                  </a:lnTo>
                  <a:lnTo>
                    <a:pt x="29" y="65"/>
                  </a:lnTo>
                  <a:lnTo>
                    <a:pt x="31" y="65"/>
                  </a:lnTo>
                  <a:lnTo>
                    <a:pt x="32" y="63"/>
                  </a:lnTo>
                  <a:lnTo>
                    <a:pt x="33" y="63"/>
                  </a:lnTo>
                  <a:lnTo>
                    <a:pt x="34" y="63"/>
                  </a:lnTo>
                  <a:lnTo>
                    <a:pt x="35" y="63"/>
                  </a:lnTo>
                  <a:lnTo>
                    <a:pt x="36" y="62"/>
                  </a:lnTo>
                  <a:lnTo>
                    <a:pt x="35" y="62"/>
                  </a:lnTo>
                  <a:lnTo>
                    <a:pt x="35" y="61"/>
                  </a:lnTo>
                  <a:lnTo>
                    <a:pt x="36" y="61"/>
                  </a:lnTo>
                  <a:lnTo>
                    <a:pt x="35" y="61"/>
                  </a:lnTo>
                  <a:lnTo>
                    <a:pt x="36" y="61"/>
                  </a:lnTo>
                  <a:lnTo>
                    <a:pt x="38" y="61"/>
                  </a:lnTo>
                  <a:lnTo>
                    <a:pt x="38" y="60"/>
                  </a:lnTo>
                  <a:lnTo>
                    <a:pt x="36" y="58"/>
                  </a:lnTo>
                  <a:lnTo>
                    <a:pt x="38" y="58"/>
                  </a:lnTo>
                  <a:lnTo>
                    <a:pt x="38" y="57"/>
                  </a:lnTo>
                  <a:lnTo>
                    <a:pt x="39" y="57"/>
                  </a:lnTo>
                  <a:lnTo>
                    <a:pt x="39" y="58"/>
                  </a:lnTo>
                  <a:lnTo>
                    <a:pt x="40" y="58"/>
                  </a:lnTo>
                  <a:lnTo>
                    <a:pt x="40" y="57"/>
                  </a:lnTo>
                  <a:lnTo>
                    <a:pt x="39" y="56"/>
                  </a:lnTo>
                  <a:lnTo>
                    <a:pt x="40" y="56"/>
                  </a:lnTo>
                  <a:lnTo>
                    <a:pt x="41" y="56"/>
                  </a:lnTo>
                  <a:lnTo>
                    <a:pt x="41" y="57"/>
                  </a:lnTo>
                  <a:lnTo>
                    <a:pt x="44" y="57"/>
                  </a:lnTo>
                  <a:lnTo>
                    <a:pt x="46" y="57"/>
                  </a:lnTo>
                  <a:lnTo>
                    <a:pt x="47" y="57"/>
                  </a:lnTo>
                  <a:lnTo>
                    <a:pt x="47" y="58"/>
                  </a:lnTo>
                  <a:lnTo>
                    <a:pt x="46" y="58"/>
                  </a:lnTo>
                  <a:lnTo>
                    <a:pt x="46" y="60"/>
                  </a:lnTo>
                  <a:lnTo>
                    <a:pt x="47" y="60"/>
                  </a:lnTo>
                  <a:lnTo>
                    <a:pt x="48" y="60"/>
                  </a:lnTo>
                  <a:lnTo>
                    <a:pt x="49" y="60"/>
                  </a:lnTo>
                  <a:lnTo>
                    <a:pt x="50" y="60"/>
                  </a:lnTo>
                  <a:lnTo>
                    <a:pt x="50" y="61"/>
                  </a:lnTo>
                  <a:lnTo>
                    <a:pt x="51" y="61"/>
                  </a:lnTo>
                  <a:lnTo>
                    <a:pt x="51" y="60"/>
                  </a:lnTo>
                  <a:lnTo>
                    <a:pt x="53" y="60"/>
                  </a:lnTo>
                  <a:lnTo>
                    <a:pt x="51" y="60"/>
                  </a:lnTo>
                  <a:lnTo>
                    <a:pt x="51" y="58"/>
                  </a:lnTo>
                  <a:lnTo>
                    <a:pt x="51" y="57"/>
                  </a:lnTo>
                  <a:lnTo>
                    <a:pt x="53" y="57"/>
                  </a:lnTo>
                  <a:lnTo>
                    <a:pt x="54" y="57"/>
                  </a:lnTo>
                  <a:lnTo>
                    <a:pt x="55" y="57"/>
                  </a:lnTo>
                  <a:lnTo>
                    <a:pt x="55" y="56"/>
                  </a:lnTo>
                  <a:lnTo>
                    <a:pt x="56" y="56"/>
                  </a:lnTo>
                  <a:lnTo>
                    <a:pt x="57" y="56"/>
                  </a:lnTo>
                  <a:lnTo>
                    <a:pt x="57" y="55"/>
                  </a:lnTo>
                  <a:lnTo>
                    <a:pt x="57" y="56"/>
                  </a:lnTo>
                  <a:lnTo>
                    <a:pt x="58" y="56"/>
                  </a:lnTo>
                  <a:lnTo>
                    <a:pt x="58" y="57"/>
                  </a:lnTo>
                  <a:lnTo>
                    <a:pt x="60" y="58"/>
                  </a:lnTo>
                  <a:lnTo>
                    <a:pt x="61" y="60"/>
                  </a:lnTo>
                  <a:lnTo>
                    <a:pt x="62" y="61"/>
                  </a:lnTo>
                  <a:lnTo>
                    <a:pt x="62" y="60"/>
                  </a:lnTo>
                  <a:lnTo>
                    <a:pt x="63" y="60"/>
                  </a:lnTo>
                  <a:lnTo>
                    <a:pt x="63" y="61"/>
                  </a:lnTo>
                  <a:lnTo>
                    <a:pt x="63" y="60"/>
                  </a:lnTo>
                  <a:lnTo>
                    <a:pt x="64" y="60"/>
                  </a:lnTo>
                  <a:lnTo>
                    <a:pt x="65" y="60"/>
                  </a:lnTo>
                  <a:lnTo>
                    <a:pt x="67" y="61"/>
                  </a:lnTo>
                  <a:lnTo>
                    <a:pt x="67" y="60"/>
                  </a:lnTo>
                  <a:lnTo>
                    <a:pt x="68" y="60"/>
                  </a:lnTo>
                  <a:lnTo>
                    <a:pt x="69" y="60"/>
                  </a:lnTo>
                  <a:lnTo>
                    <a:pt x="70" y="60"/>
                  </a:lnTo>
                  <a:lnTo>
                    <a:pt x="71" y="60"/>
                  </a:lnTo>
                  <a:lnTo>
                    <a:pt x="72" y="60"/>
                  </a:lnTo>
                  <a:lnTo>
                    <a:pt x="72" y="61"/>
                  </a:lnTo>
                  <a:lnTo>
                    <a:pt x="74" y="61"/>
                  </a:lnTo>
                  <a:lnTo>
                    <a:pt x="75" y="61"/>
                  </a:lnTo>
                  <a:lnTo>
                    <a:pt x="75" y="62"/>
                  </a:lnTo>
                  <a:lnTo>
                    <a:pt x="75" y="63"/>
                  </a:lnTo>
                  <a:lnTo>
                    <a:pt x="76" y="63"/>
                  </a:lnTo>
                  <a:lnTo>
                    <a:pt x="76" y="64"/>
                  </a:lnTo>
                  <a:lnTo>
                    <a:pt x="78" y="64"/>
                  </a:lnTo>
                  <a:lnTo>
                    <a:pt x="79" y="64"/>
                  </a:lnTo>
                  <a:lnTo>
                    <a:pt x="81" y="64"/>
                  </a:lnTo>
                  <a:lnTo>
                    <a:pt x="81" y="65"/>
                  </a:lnTo>
                  <a:lnTo>
                    <a:pt x="82" y="65"/>
                  </a:lnTo>
                  <a:lnTo>
                    <a:pt x="83" y="67"/>
                  </a:lnTo>
                  <a:lnTo>
                    <a:pt x="83" y="68"/>
                  </a:lnTo>
                  <a:lnTo>
                    <a:pt x="84" y="68"/>
                  </a:lnTo>
                  <a:lnTo>
                    <a:pt x="84" y="69"/>
                  </a:lnTo>
                  <a:lnTo>
                    <a:pt x="85" y="69"/>
                  </a:lnTo>
                  <a:lnTo>
                    <a:pt x="86" y="69"/>
                  </a:lnTo>
                  <a:lnTo>
                    <a:pt x="88" y="69"/>
                  </a:lnTo>
                  <a:lnTo>
                    <a:pt x="88" y="70"/>
                  </a:lnTo>
                  <a:lnTo>
                    <a:pt x="88" y="71"/>
                  </a:lnTo>
                  <a:lnTo>
                    <a:pt x="88" y="72"/>
                  </a:lnTo>
                  <a:lnTo>
                    <a:pt x="88" y="74"/>
                  </a:lnTo>
                  <a:lnTo>
                    <a:pt x="89" y="74"/>
                  </a:lnTo>
                  <a:lnTo>
                    <a:pt x="89" y="75"/>
                  </a:lnTo>
                  <a:lnTo>
                    <a:pt x="90" y="75"/>
                  </a:lnTo>
                  <a:lnTo>
                    <a:pt x="90" y="74"/>
                  </a:lnTo>
                  <a:lnTo>
                    <a:pt x="91" y="74"/>
                  </a:lnTo>
                  <a:lnTo>
                    <a:pt x="91" y="72"/>
                  </a:lnTo>
                  <a:lnTo>
                    <a:pt x="90" y="71"/>
                  </a:lnTo>
                  <a:lnTo>
                    <a:pt x="90" y="70"/>
                  </a:lnTo>
                  <a:lnTo>
                    <a:pt x="90" y="69"/>
                  </a:lnTo>
                  <a:lnTo>
                    <a:pt x="89" y="69"/>
                  </a:lnTo>
                  <a:lnTo>
                    <a:pt x="88" y="69"/>
                  </a:lnTo>
                  <a:lnTo>
                    <a:pt x="88" y="68"/>
                  </a:lnTo>
                  <a:lnTo>
                    <a:pt x="88" y="67"/>
                  </a:lnTo>
                  <a:lnTo>
                    <a:pt x="89" y="67"/>
                  </a:lnTo>
                  <a:lnTo>
                    <a:pt x="90" y="67"/>
                  </a:lnTo>
                  <a:lnTo>
                    <a:pt x="90" y="68"/>
                  </a:lnTo>
                  <a:lnTo>
                    <a:pt x="91" y="68"/>
                  </a:lnTo>
                  <a:lnTo>
                    <a:pt x="92" y="68"/>
                  </a:lnTo>
                  <a:lnTo>
                    <a:pt x="92" y="69"/>
                  </a:lnTo>
                  <a:lnTo>
                    <a:pt x="95" y="69"/>
                  </a:lnTo>
                  <a:lnTo>
                    <a:pt x="95" y="70"/>
                  </a:lnTo>
                  <a:lnTo>
                    <a:pt x="96" y="70"/>
                  </a:lnTo>
                  <a:lnTo>
                    <a:pt x="98" y="72"/>
                  </a:lnTo>
                  <a:lnTo>
                    <a:pt x="99" y="72"/>
                  </a:lnTo>
                  <a:lnTo>
                    <a:pt x="100" y="72"/>
                  </a:lnTo>
                  <a:lnTo>
                    <a:pt x="102" y="72"/>
                  </a:lnTo>
                  <a:lnTo>
                    <a:pt x="102" y="74"/>
                  </a:lnTo>
                  <a:lnTo>
                    <a:pt x="103" y="74"/>
                  </a:lnTo>
                  <a:lnTo>
                    <a:pt x="104" y="75"/>
                  </a:lnTo>
                  <a:lnTo>
                    <a:pt x="104" y="74"/>
                  </a:lnTo>
                  <a:lnTo>
                    <a:pt x="106" y="72"/>
                  </a:lnTo>
                  <a:lnTo>
                    <a:pt x="107" y="71"/>
                  </a:lnTo>
                  <a:lnTo>
                    <a:pt x="107" y="69"/>
                  </a:lnTo>
                  <a:lnTo>
                    <a:pt x="108" y="69"/>
                  </a:lnTo>
                  <a:lnTo>
                    <a:pt x="110" y="69"/>
                  </a:lnTo>
                  <a:lnTo>
                    <a:pt x="110" y="68"/>
                  </a:lnTo>
                  <a:lnTo>
                    <a:pt x="111" y="68"/>
                  </a:lnTo>
                  <a:lnTo>
                    <a:pt x="110" y="67"/>
                  </a:lnTo>
                  <a:lnTo>
                    <a:pt x="111" y="67"/>
                  </a:lnTo>
                  <a:lnTo>
                    <a:pt x="112" y="68"/>
                  </a:lnTo>
                  <a:lnTo>
                    <a:pt x="113" y="68"/>
                  </a:lnTo>
                  <a:lnTo>
                    <a:pt x="114" y="68"/>
                  </a:lnTo>
                  <a:lnTo>
                    <a:pt x="113" y="68"/>
                  </a:lnTo>
                  <a:lnTo>
                    <a:pt x="113" y="67"/>
                  </a:lnTo>
                  <a:lnTo>
                    <a:pt x="113" y="65"/>
                  </a:lnTo>
                  <a:lnTo>
                    <a:pt x="114" y="65"/>
                  </a:lnTo>
                  <a:lnTo>
                    <a:pt x="114" y="67"/>
                  </a:lnTo>
                  <a:lnTo>
                    <a:pt x="115" y="67"/>
                  </a:lnTo>
                  <a:lnTo>
                    <a:pt x="117" y="67"/>
                  </a:lnTo>
                  <a:lnTo>
                    <a:pt x="118" y="67"/>
                  </a:lnTo>
                  <a:lnTo>
                    <a:pt x="118" y="65"/>
                  </a:lnTo>
                  <a:lnTo>
                    <a:pt x="119" y="65"/>
                  </a:lnTo>
                  <a:lnTo>
                    <a:pt x="119" y="67"/>
                  </a:lnTo>
                  <a:lnTo>
                    <a:pt x="120" y="67"/>
                  </a:lnTo>
                  <a:lnTo>
                    <a:pt x="120" y="68"/>
                  </a:lnTo>
                  <a:lnTo>
                    <a:pt x="121" y="68"/>
                  </a:lnTo>
                  <a:lnTo>
                    <a:pt x="121" y="69"/>
                  </a:lnTo>
                  <a:lnTo>
                    <a:pt x="122" y="69"/>
                  </a:lnTo>
                  <a:lnTo>
                    <a:pt x="124" y="69"/>
                  </a:lnTo>
                  <a:lnTo>
                    <a:pt x="125" y="69"/>
                  </a:lnTo>
                  <a:lnTo>
                    <a:pt x="126" y="69"/>
                  </a:lnTo>
                  <a:lnTo>
                    <a:pt x="126" y="68"/>
                  </a:lnTo>
                  <a:lnTo>
                    <a:pt x="126" y="67"/>
                  </a:lnTo>
                  <a:lnTo>
                    <a:pt x="126" y="65"/>
                  </a:lnTo>
                  <a:lnTo>
                    <a:pt x="127" y="65"/>
                  </a:lnTo>
                  <a:lnTo>
                    <a:pt x="128" y="65"/>
                  </a:lnTo>
                  <a:lnTo>
                    <a:pt x="129" y="65"/>
                  </a:lnTo>
                  <a:lnTo>
                    <a:pt x="129" y="67"/>
                  </a:lnTo>
                  <a:lnTo>
                    <a:pt x="131" y="67"/>
                  </a:lnTo>
                  <a:lnTo>
                    <a:pt x="132" y="65"/>
                  </a:lnTo>
                  <a:lnTo>
                    <a:pt x="133" y="65"/>
                  </a:lnTo>
                  <a:lnTo>
                    <a:pt x="133" y="67"/>
                  </a:lnTo>
                  <a:lnTo>
                    <a:pt x="134" y="67"/>
                  </a:lnTo>
                  <a:lnTo>
                    <a:pt x="135" y="67"/>
                  </a:lnTo>
                  <a:lnTo>
                    <a:pt x="136" y="67"/>
                  </a:lnTo>
                  <a:lnTo>
                    <a:pt x="136" y="68"/>
                  </a:lnTo>
                  <a:lnTo>
                    <a:pt x="136" y="69"/>
                  </a:lnTo>
                  <a:lnTo>
                    <a:pt x="138" y="69"/>
                  </a:lnTo>
                  <a:lnTo>
                    <a:pt x="138" y="70"/>
                  </a:lnTo>
                  <a:lnTo>
                    <a:pt x="139" y="70"/>
                  </a:lnTo>
                  <a:lnTo>
                    <a:pt x="140" y="70"/>
                  </a:lnTo>
                  <a:lnTo>
                    <a:pt x="140" y="71"/>
                  </a:lnTo>
                  <a:lnTo>
                    <a:pt x="141" y="72"/>
                  </a:lnTo>
                  <a:lnTo>
                    <a:pt x="142" y="72"/>
                  </a:lnTo>
                  <a:lnTo>
                    <a:pt x="146" y="72"/>
                  </a:lnTo>
                  <a:lnTo>
                    <a:pt x="147" y="74"/>
                  </a:lnTo>
                  <a:lnTo>
                    <a:pt x="148" y="72"/>
                  </a:lnTo>
                  <a:lnTo>
                    <a:pt x="149" y="74"/>
                  </a:lnTo>
                  <a:lnTo>
                    <a:pt x="150" y="74"/>
                  </a:lnTo>
                  <a:lnTo>
                    <a:pt x="149" y="74"/>
                  </a:lnTo>
                  <a:lnTo>
                    <a:pt x="149" y="75"/>
                  </a:lnTo>
                  <a:lnTo>
                    <a:pt x="150" y="75"/>
                  </a:lnTo>
                  <a:lnTo>
                    <a:pt x="152" y="75"/>
                  </a:lnTo>
                  <a:lnTo>
                    <a:pt x="153" y="75"/>
                  </a:lnTo>
                  <a:lnTo>
                    <a:pt x="153" y="74"/>
                  </a:lnTo>
                  <a:lnTo>
                    <a:pt x="154" y="72"/>
                  </a:lnTo>
                  <a:lnTo>
                    <a:pt x="154" y="71"/>
                  </a:lnTo>
                  <a:lnTo>
                    <a:pt x="154" y="70"/>
                  </a:lnTo>
                  <a:lnTo>
                    <a:pt x="154" y="69"/>
                  </a:lnTo>
                  <a:lnTo>
                    <a:pt x="155" y="69"/>
                  </a:lnTo>
                  <a:lnTo>
                    <a:pt x="156" y="70"/>
                  </a:lnTo>
                  <a:lnTo>
                    <a:pt x="156" y="71"/>
                  </a:lnTo>
                  <a:lnTo>
                    <a:pt x="157" y="71"/>
                  </a:lnTo>
                  <a:lnTo>
                    <a:pt x="159" y="72"/>
                  </a:lnTo>
                  <a:lnTo>
                    <a:pt x="163" y="72"/>
                  </a:lnTo>
                  <a:lnTo>
                    <a:pt x="164" y="72"/>
                  </a:lnTo>
                  <a:lnTo>
                    <a:pt x="168" y="71"/>
                  </a:lnTo>
                  <a:lnTo>
                    <a:pt x="171" y="70"/>
                  </a:lnTo>
                  <a:lnTo>
                    <a:pt x="171" y="69"/>
                  </a:lnTo>
                  <a:lnTo>
                    <a:pt x="171" y="68"/>
                  </a:lnTo>
                  <a:lnTo>
                    <a:pt x="170" y="64"/>
                  </a:lnTo>
                  <a:lnTo>
                    <a:pt x="171" y="63"/>
                  </a:lnTo>
                  <a:lnTo>
                    <a:pt x="170" y="63"/>
                  </a:lnTo>
                  <a:lnTo>
                    <a:pt x="170" y="62"/>
                  </a:lnTo>
                  <a:lnTo>
                    <a:pt x="169" y="61"/>
                  </a:lnTo>
                  <a:lnTo>
                    <a:pt x="168" y="61"/>
                  </a:lnTo>
                  <a:lnTo>
                    <a:pt x="167" y="61"/>
                  </a:lnTo>
                  <a:lnTo>
                    <a:pt x="166" y="60"/>
                  </a:lnTo>
                  <a:lnTo>
                    <a:pt x="164" y="60"/>
                  </a:lnTo>
                  <a:lnTo>
                    <a:pt x="163" y="60"/>
                  </a:lnTo>
                  <a:lnTo>
                    <a:pt x="162" y="60"/>
                  </a:lnTo>
                  <a:lnTo>
                    <a:pt x="162" y="58"/>
                  </a:lnTo>
                  <a:lnTo>
                    <a:pt x="161" y="58"/>
                  </a:lnTo>
                  <a:lnTo>
                    <a:pt x="156" y="57"/>
                  </a:lnTo>
                  <a:lnTo>
                    <a:pt x="155" y="57"/>
                  </a:lnTo>
                  <a:lnTo>
                    <a:pt x="154" y="57"/>
                  </a:lnTo>
                  <a:lnTo>
                    <a:pt x="154" y="56"/>
                  </a:lnTo>
                  <a:lnTo>
                    <a:pt x="155" y="56"/>
                  </a:lnTo>
                  <a:lnTo>
                    <a:pt x="155" y="55"/>
                  </a:lnTo>
                  <a:lnTo>
                    <a:pt x="154" y="55"/>
                  </a:lnTo>
                  <a:lnTo>
                    <a:pt x="152" y="55"/>
                  </a:lnTo>
                  <a:lnTo>
                    <a:pt x="150" y="54"/>
                  </a:lnTo>
                  <a:lnTo>
                    <a:pt x="149" y="54"/>
                  </a:lnTo>
                  <a:lnTo>
                    <a:pt x="148" y="53"/>
                  </a:lnTo>
                  <a:lnTo>
                    <a:pt x="150" y="53"/>
                  </a:lnTo>
                  <a:lnTo>
                    <a:pt x="152" y="50"/>
                  </a:lnTo>
                  <a:lnTo>
                    <a:pt x="153" y="50"/>
                  </a:lnTo>
                  <a:lnTo>
                    <a:pt x="153" y="49"/>
                  </a:lnTo>
                  <a:lnTo>
                    <a:pt x="154" y="50"/>
                  </a:lnTo>
                  <a:lnTo>
                    <a:pt x="155" y="50"/>
                  </a:lnTo>
                  <a:lnTo>
                    <a:pt x="155" y="49"/>
                  </a:lnTo>
                  <a:lnTo>
                    <a:pt x="156" y="49"/>
                  </a:lnTo>
                  <a:lnTo>
                    <a:pt x="157" y="48"/>
                  </a:lnTo>
                  <a:lnTo>
                    <a:pt x="159" y="47"/>
                  </a:lnTo>
                  <a:lnTo>
                    <a:pt x="157" y="46"/>
                  </a:lnTo>
                  <a:lnTo>
                    <a:pt x="156" y="44"/>
                  </a:lnTo>
                  <a:lnTo>
                    <a:pt x="155" y="44"/>
                  </a:lnTo>
                  <a:lnTo>
                    <a:pt x="155" y="43"/>
                  </a:lnTo>
                  <a:lnTo>
                    <a:pt x="154" y="43"/>
                  </a:lnTo>
                  <a:lnTo>
                    <a:pt x="154" y="42"/>
                  </a:lnTo>
                  <a:lnTo>
                    <a:pt x="153" y="42"/>
                  </a:lnTo>
                  <a:lnTo>
                    <a:pt x="152" y="42"/>
                  </a:lnTo>
                  <a:lnTo>
                    <a:pt x="152" y="41"/>
                  </a:lnTo>
                  <a:lnTo>
                    <a:pt x="153" y="41"/>
                  </a:lnTo>
                  <a:lnTo>
                    <a:pt x="154" y="40"/>
                  </a:lnTo>
                  <a:lnTo>
                    <a:pt x="155" y="39"/>
                  </a:lnTo>
                  <a:lnTo>
                    <a:pt x="154" y="37"/>
                  </a:lnTo>
                  <a:lnTo>
                    <a:pt x="155" y="37"/>
                  </a:lnTo>
                  <a:lnTo>
                    <a:pt x="156" y="37"/>
                  </a:lnTo>
                  <a:lnTo>
                    <a:pt x="156" y="36"/>
                  </a:lnTo>
                  <a:lnTo>
                    <a:pt x="157" y="36"/>
                  </a:lnTo>
                  <a:lnTo>
                    <a:pt x="157" y="37"/>
                  </a:lnTo>
                  <a:lnTo>
                    <a:pt x="159" y="37"/>
                  </a:lnTo>
                  <a:lnTo>
                    <a:pt x="160" y="36"/>
                  </a:lnTo>
                  <a:lnTo>
                    <a:pt x="161" y="37"/>
                  </a:lnTo>
                  <a:lnTo>
                    <a:pt x="162" y="37"/>
                  </a:lnTo>
                  <a:lnTo>
                    <a:pt x="163" y="37"/>
                  </a:lnTo>
                  <a:lnTo>
                    <a:pt x="164" y="37"/>
                  </a:lnTo>
                  <a:lnTo>
                    <a:pt x="166" y="37"/>
                  </a:lnTo>
                  <a:lnTo>
                    <a:pt x="167" y="37"/>
                  </a:lnTo>
                  <a:lnTo>
                    <a:pt x="167" y="36"/>
                  </a:lnTo>
                  <a:lnTo>
                    <a:pt x="167" y="35"/>
                  </a:lnTo>
                  <a:lnTo>
                    <a:pt x="166" y="35"/>
                  </a:lnTo>
                  <a:lnTo>
                    <a:pt x="163" y="35"/>
                  </a:lnTo>
                  <a:lnTo>
                    <a:pt x="162" y="34"/>
                  </a:lnTo>
                  <a:lnTo>
                    <a:pt x="161" y="34"/>
                  </a:lnTo>
                  <a:lnTo>
                    <a:pt x="161" y="33"/>
                  </a:lnTo>
                  <a:lnTo>
                    <a:pt x="160" y="34"/>
                  </a:lnTo>
                  <a:lnTo>
                    <a:pt x="159" y="34"/>
                  </a:lnTo>
                  <a:lnTo>
                    <a:pt x="157" y="33"/>
                  </a:lnTo>
                  <a:lnTo>
                    <a:pt x="156" y="33"/>
                  </a:lnTo>
                  <a:lnTo>
                    <a:pt x="155" y="33"/>
                  </a:lnTo>
                  <a:lnTo>
                    <a:pt x="154" y="33"/>
                  </a:lnTo>
                  <a:lnTo>
                    <a:pt x="154" y="32"/>
                  </a:lnTo>
                  <a:lnTo>
                    <a:pt x="154" y="30"/>
                  </a:lnTo>
                  <a:lnTo>
                    <a:pt x="154" y="29"/>
                  </a:lnTo>
                  <a:lnTo>
                    <a:pt x="155" y="29"/>
                  </a:lnTo>
                  <a:lnTo>
                    <a:pt x="156" y="30"/>
                  </a:lnTo>
                  <a:lnTo>
                    <a:pt x="157" y="30"/>
                  </a:lnTo>
                  <a:lnTo>
                    <a:pt x="157" y="29"/>
                  </a:lnTo>
                  <a:lnTo>
                    <a:pt x="157" y="28"/>
                  </a:lnTo>
                  <a:lnTo>
                    <a:pt x="156" y="28"/>
                  </a:lnTo>
                  <a:lnTo>
                    <a:pt x="155" y="28"/>
                  </a:lnTo>
                  <a:lnTo>
                    <a:pt x="154" y="28"/>
                  </a:lnTo>
                  <a:lnTo>
                    <a:pt x="153" y="28"/>
                  </a:lnTo>
                  <a:lnTo>
                    <a:pt x="152" y="28"/>
                  </a:lnTo>
                  <a:lnTo>
                    <a:pt x="149" y="28"/>
                  </a:lnTo>
                  <a:lnTo>
                    <a:pt x="149" y="27"/>
                  </a:lnTo>
                  <a:lnTo>
                    <a:pt x="150" y="27"/>
                  </a:lnTo>
                  <a:lnTo>
                    <a:pt x="150" y="26"/>
                  </a:lnTo>
                  <a:lnTo>
                    <a:pt x="152" y="26"/>
                  </a:lnTo>
                  <a:lnTo>
                    <a:pt x="152" y="25"/>
                  </a:lnTo>
                  <a:lnTo>
                    <a:pt x="150" y="23"/>
                  </a:lnTo>
                  <a:lnTo>
                    <a:pt x="149" y="23"/>
                  </a:lnTo>
                  <a:lnTo>
                    <a:pt x="148" y="23"/>
                  </a:lnTo>
                  <a:lnTo>
                    <a:pt x="149" y="22"/>
                  </a:lnTo>
                  <a:lnTo>
                    <a:pt x="150" y="22"/>
                  </a:lnTo>
                  <a:lnTo>
                    <a:pt x="152" y="23"/>
                  </a:lnTo>
                  <a:lnTo>
                    <a:pt x="152" y="22"/>
                  </a:lnTo>
                  <a:lnTo>
                    <a:pt x="150" y="22"/>
                  </a:lnTo>
                  <a:lnTo>
                    <a:pt x="150" y="21"/>
                  </a:lnTo>
                  <a:lnTo>
                    <a:pt x="152" y="21"/>
                  </a:lnTo>
                  <a:lnTo>
                    <a:pt x="153" y="21"/>
                  </a:lnTo>
                  <a:lnTo>
                    <a:pt x="154" y="21"/>
                  </a:lnTo>
                  <a:lnTo>
                    <a:pt x="154" y="22"/>
                  </a:lnTo>
                  <a:lnTo>
                    <a:pt x="155" y="22"/>
                  </a:lnTo>
                  <a:lnTo>
                    <a:pt x="156" y="22"/>
                  </a:lnTo>
                  <a:lnTo>
                    <a:pt x="157" y="22"/>
                  </a:lnTo>
                  <a:lnTo>
                    <a:pt x="159" y="22"/>
                  </a:lnTo>
                  <a:lnTo>
                    <a:pt x="160" y="22"/>
                  </a:lnTo>
                  <a:lnTo>
                    <a:pt x="161" y="22"/>
                  </a:lnTo>
                  <a:lnTo>
                    <a:pt x="160" y="22"/>
                  </a:lnTo>
                  <a:lnTo>
                    <a:pt x="160" y="21"/>
                  </a:lnTo>
                  <a:lnTo>
                    <a:pt x="164" y="21"/>
                  </a:lnTo>
                  <a:lnTo>
                    <a:pt x="166" y="21"/>
                  </a:lnTo>
                  <a:lnTo>
                    <a:pt x="166" y="22"/>
                  </a:lnTo>
                  <a:lnTo>
                    <a:pt x="166" y="23"/>
                  </a:lnTo>
                  <a:lnTo>
                    <a:pt x="167" y="23"/>
                  </a:lnTo>
                  <a:lnTo>
                    <a:pt x="168" y="23"/>
                  </a:lnTo>
                  <a:lnTo>
                    <a:pt x="167" y="23"/>
                  </a:lnTo>
                  <a:lnTo>
                    <a:pt x="167" y="22"/>
                  </a:lnTo>
                  <a:lnTo>
                    <a:pt x="167" y="21"/>
                  </a:lnTo>
                  <a:lnTo>
                    <a:pt x="168" y="21"/>
                  </a:lnTo>
                  <a:lnTo>
                    <a:pt x="169" y="21"/>
                  </a:lnTo>
                  <a:lnTo>
                    <a:pt x="169" y="20"/>
                  </a:lnTo>
                  <a:lnTo>
                    <a:pt x="170" y="21"/>
                  </a:lnTo>
                  <a:lnTo>
                    <a:pt x="171" y="20"/>
                  </a:lnTo>
                  <a:lnTo>
                    <a:pt x="172" y="20"/>
                  </a:lnTo>
                  <a:lnTo>
                    <a:pt x="172" y="19"/>
                  </a:lnTo>
                  <a:lnTo>
                    <a:pt x="174" y="19"/>
                  </a:lnTo>
                  <a:lnTo>
                    <a:pt x="175" y="19"/>
                  </a:lnTo>
                  <a:lnTo>
                    <a:pt x="176" y="19"/>
                  </a:lnTo>
                  <a:lnTo>
                    <a:pt x="177" y="19"/>
                  </a:lnTo>
                  <a:lnTo>
                    <a:pt x="178" y="18"/>
                  </a:lnTo>
                  <a:lnTo>
                    <a:pt x="179" y="18"/>
                  </a:lnTo>
                  <a:lnTo>
                    <a:pt x="181" y="19"/>
                  </a:lnTo>
                  <a:lnTo>
                    <a:pt x="182" y="19"/>
                  </a:lnTo>
                  <a:lnTo>
                    <a:pt x="183" y="18"/>
                  </a:lnTo>
                  <a:lnTo>
                    <a:pt x="182" y="18"/>
                  </a:lnTo>
                  <a:lnTo>
                    <a:pt x="182" y="16"/>
                  </a:lnTo>
                  <a:lnTo>
                    <a:pt x="182" y="18"/>
                  </a:lnTo>
                  <a:lnTo>
                    <a:pt x="183" y="18"/>
                  </a:lnTo>
                  <a:lnTo>
                    <a:pt x="183" y="16"/>
                  </a:lnTo>
                  <a:lnTo>
                    <a:pt x="184" y="16"/>
                  </a:lnTo>
                  <a:lnTo>
                    <a:pt x="185" y="16"/>
                  </a:lnTo>
                  <a:lnTo>
                    <a:pt x="186" y="16"/>
                  </a:lnTo>
                  <a:lnTo>
                    <a:pt x="188" y="16"/>
                  </a:lnTo>
                  <a:lnTo>
                    <a:pt x="189" y="16"/>
                  </a:lnTo>
                  <a:lnTo>
                    <a:pt x="190" y="16"/>
                  </a:lnTo>
                  <a:lnTo>
                    <a:pt x="191" y="16"/>
                  </a:lnTo>
                  <a:lnTo>
                    <a:pt x="192" y="15"/>
                  </a:lnTo>
                  <a:lnTo>
                    <a:pt x="192" y="16"/>
                  </a:lnTo>
                  <a:lnTo>
                    <a:pt x="195" y="16"/>
                  </a:lnTo>
                  <a:lnTo>
                    <a:pt x="195" y="18"/>
                  </a:lnTo>
                  <a:lnTo>
                    <a:pt x="195" y="16"/>
                  </a:lnTo>
                  <a:lnTo>
                    <a:pt x="196" y="18"/>
                  </a:lnTo>
                  <a:lnTo>
                    <a:pt x="196" y="16"/>
                  </a:lnTo>
                  <a:lnTo>
                    <a:pt x="195" y="15"/>
                  </a:lnTo>
                  <a:lnTo>
                    <a:pt x="195" y="14"/>
                  </a:lnTo>
                  <a:lnTo>
                    <a:pt x="196" y="13"/>
                  </a:lnTo>
                  <a:lnTo>
                    <a:pt x="197" y="13"/>
                  </a:lnTo>
                  <a:lnTo>
                    <a:pt x="197" y="12"/>
                  </a:lnTo>
                  <a:lnTo>
                    <a:pt x="198" y="13"/>
                  </a:lnTo>
                  <a:lnTo>
                    <a:pt x="200" y="13"/>
                  </a:lnTo>
                  <a:lnTo>
                    <a:pt x="200" y="12"/>
                  </a:lnTo>
                  <a:lnTo>
                    <a:pt x="202" y="12"/>
                  </a:lnTo>
                  <a:lnTo>
                    <a:pt x="203" y="12"/>
                  </a:lnTo>
                  <a:lnTo>
                    <a:pt x="203" y="13"/>
                  </a:lnTo>
                  <a:lnTo>
                    <a:pt x="204" y="12"/>
                  </a:lnTo>
                  <a:lnTo>
                    <a:pt x="207" y="11"/>
                  </a:lnTo>
                  <a:lnTo>
                    <a:pt x="209" y="11"/>
                  </a:lnTo>
                  <a:lnTo>
                    <a:pt x="210" y="11"/>
                  </a:lnTo>
                  <a:lnTo>
                    <a:pt x="211" y="11"/>
                  </a:lnTo>
                  <a:lnTo>
                    <a:pt x="213" y="11"/>
                  </a:lnTo>
                  <a:lnTo>
                    <a:pt x="214" y="11"/>
                  </a:lnTo>
                  <a:lnTo>
                    <a:pt x="214" y="9"/>
                  </a:lnTo>
                  <a:lnTo>
                    <a:pt x="216" y="9"/>
                  </a:lnTo>
                  <a:lnTo>
                    <a:pt x="217" y="9"/>
                  </a:lnTo>
                  <a:lnTo>
                    <a:pt x="217" y="8"/>
                  </a:lnTo>
                  <a:lnTo>
                    <a:pt x="218" y="9"/>
                  </a:lnTo>
                  <a:lnTo>
                    <a:pt x="219" y="9"/>
                  </a:lnTo>
                  <a:lnTo>
                    <a:pt x="220" y="9"/>
                  </a:lnTo>
                  <a:lnTo>
                    <a:pt x="221" y="8"/>
                  </a:lnTo>
                  <a:lnTo>
                    <a:pt x="223" y="8"/>
                  </a:lnTo>
                  <a:lnTo>
                    <a:pt x="223" y="7"/>
                  </a:lnTo>
                  <a:lnTo>
                    <a:pt x="224" y="7"/>
                  </a:lnTo>
                  <a:lnTo>
                    <a:pt x="225" y="7"/>
                  </a:lnTo>
                  <a:lnTo>
                    <a:pt x="226" y="7"/>
                  </a:lnTo>
                  <a:lnTo>
                    <a:pt x="226" y="6"/>
                  </a:lnTo>
                  <a:lnTo>
                    <a:pt x="227" y="6"/>
                  </a:lnTo>
                  <a:lnTo>
                    <a:pt x="226" y="5"/>
                  </a:lnTo>
                  <a:lnTo>
                    <a:pt x="225" y="5"/>
                  </a:lnTo>
                  <a:lnTo>
                    <a:pt x="226" y="4"/>
                  </a:lnTo>
                  <a:lnTo>
                    <a:pt x="227" y="4"/>
                  </a:lnTo>
                  <a:lnTo>
                    <a:pt x="228" y="4"/>
                  </a:lnTo>
                  <a:lnTo>
                    <a:pt x="230" y="4"/>
                  </a:lnTo>
                  <a:lnTo>
                    <a:pt x="230" y="2"/>
                  </a:lnTo>
                  <a:lnTo>
                    <a:pt x="231" y="2"/>
                  </a:lnTo>
                  <a:lnTo>
                    <a:pt x="230" y="2"/>
                  </a:lnTo>
                  <a:lnTo>
                    <a:pt x="230" y="1"/>
                  </a:lnTo>
                  <a:lnTo>
                    <a:pt x="231" y="1"/>
                  </a:lnTo>
                  <a:lnTo>
                    <a:pt x="232" y="1"/>
                  </a:lnTo>
                  <a:lnTo>
                    <a:pt x="232" y="2"/>
                  </a:lnTo>
                  <a:lnTo>
                    <a:pt x="233" y="2"/>
                  </a:lnTo>
                  <a:lnTo>
                    <a:pt x="233" y="1"/>
                  </a:lnTo>
                  <a:lnTo>
                    <a:pt x="232" y="1"/>
                  </a:lnTo>
                  <a:lnTo>
                    <a:pt x="232" y="0"/>
                  </a:lnTo>
                  <a:lnTo>
                    <a:pt x="234" y="1"/>
                  </a:lnTo>
                  <a:lnTo>
                    <a:pt x="235" y="1"/>
                  </a:lnTo>
                  <a:close/>
                  <a:moveTo>
                    <a:pt x="213" y="140"/>
                  </a:moveTo>
                  <a:lnTo>
                    <a:pt x="212" y="141"/>
                  </a:lnTo>
                  <a:lnTo>
                    <a:pt x="212" y="142"/>
                  </a:lnTo>
                  <a:lnTo>
                    <a:pt x="212" y="144"/>
                  </a:lnTo>
                  <a:lnTo>
                    <a:pt x="212" y="145"/>
                  </a:lnTo>
                  <a:lnTo>
                    <a:pt x="213" y="145"/>
                  </a:lnTo>
                  <a:lnTo>
                    <a:pt x="213" y="146"/>
                  </a:lnTo>
                  <a:lnTo>
                    <a:pt x="213" y="147"/>
                  </a:lnTo>
                  <a:lnTo>
                    <a:pt x="214" y="147"/>
                  </a:lnTo>
                  <a:lnTo>
                    <a:pt x="214" y="148"/>
                  </a:lnTo>
                  <a:lnTo>
                    <a:pt x="216" y="148"/>
                  </a:lnTo>
                  <a:lnTo>
                    <a:pt x="216" y="149"/>
                  </a:lnTo>
                  <a:lnTo>
                    <a:pt x="217" y="149"/>
                  </a:lnTo>
                  <a:lnTo>
                    <a:pt x="218" y="151"/>
                  </a:lnTo>
                  <a:lnTo>
                    <a:pt x="219" y="151"/>
                  </a:lnTo>
                  <a:lnTo>
                    <a:pt x="220" y="151"/>
                  </a:lnTo>
                  <a:lnTo>
                    <a:pt x="221" y="151"/>
                  </a:lnTo>
                  <a:lnTo>
                    <a:pt x="223" y="151"/>
                  </a:lnTo>
                  <a:lnTo>
                    <a:pt x="224" y="151"/>
                  </a:lnTo>
                  <a:lnTo>
                    <a:pt x="225" y="151"/>
                  </a:lnTo>
                  <a:lnTo>
                    <a:pt x="225" y="149"/>
                  </a:lnTo>
                  <a:lnTo>
                    <a:pt x="226" y="149"/>
                  </a:lnTo>
                  <a:lnTo>
                    <a:pt x="226" y="148"/>
                  </a:lnTo>
                  <a:lnTo>
                    <a:pt x="227" y="148"/>
                  </a:lnTo>
                  <a:lnTo>
                    <a:pt x="227" y="147"/>
                  </a:lnTo>
                  <a:lnTo>
                    <a:pt x="227" y="146"/>
                  </a:lnTo>
                  <a:lnTo>
                    <a:pt x="227" y="145"/>
                  </a:lnTo>
                  <a:lnTo>
                    <a:pt x="227" y="144"/>
                  </a:lnTo>
                  <a:lnTo>
                    <a:pt x="226" y="144"/>
                  </a:lnTo>
                  <a:lnTo>
                    <a:pt x="226" y="142"/>
                  </a:lnTo>
                  <a:lnTo>
                    <a:pt x="225" y="141"/>
                  </a:lnTo>
                  <a:lnTo>
                    <a:pt x="224" y="140"/>
                  </a:lnTo>
                  <a:lnTo>
                    <a:pt x="223" y="140"/>
                  </a:lnTo>
                  <a:lnTo>
                    <a:pt x="223" y="139"/>
                  </a:lnTo>
                  <a:lnTo>
                    <a:pt x="221" y="139"/>
                  </a:lnTo>
                  <a:lnTo>
                    <a:pt x="220" y="139"/>
                  </a:lnTo>
                  <a:lnTo>
                    <a:pt x="219" y="138"/>
                  </a:lnTo>
                  <a:lnTo>
                    <a:pt x="218" y="138"/>
                  </a:lnTo>
                  <a:lnTo>
                    <a:pt x="217" y="138"/>
                  </a:lnTo>
                  <a:lnTo>
                    <a:pt x="216" y="139"/>
                  </a:lnTo>
                  <a:lnTo>
                    <a:pt x="214" y="139"/>
                  </a:lnTo>
                  <a:lnTo>
                    <a:pt x="213" y="140"/>
                  </a:lnTo>
                  <a:close/>
                </a:path>
              </a:pathLst>
            </a:custGeom>
            <a:solidFill>
              <a:srgbClr val="0053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65" name="Freeform 920">
              <a:extLst>
                <a:ext uri="{FF2B5EF4-FFF2-40B4-BE49-F238E27FC236}">
                  <a16:creationId xmlns:a16="http://schemas.microsoft.com/office/drawing/2014/main" id="{B1ABDA7A-2232-42C6-B338-267F7697772B}"/>
                </a:ext>
              </a:extLst>
            </p:cNvPr>
            <p:cNvSpPr>
              <a:spLocks noEditPoints="1"/>
            </p:cNvSpPr>
            <p:nvPr/>
          </p:nvSpPr>
          <p:spPr bwMode="auto">
            <a:xfrm>
              <a:off x="6439449" y="3241689"/>
              <a:ext cx="145569" cy="205665"/>
            </a:xfrm>
            <a:custGeom>
              <a:avLst/>
              <a:gdLst>
                <a:gd name="T0" fmla="*/ 100 w 109"/>
                <a:gd name="T1" fmla="*/ 112 h 154"/>
                <a:gd name="T2" fmla="*/ 2 w 109"/>
                <a:gd name="T3" fmla="*/ 86 h 154"/>
                <a:gd name="T4" fmla="*/ 21 w 109"/>
                <a:gd name="T5" fmla="*/ 2 h 154"/>
                <a:gd name="T6" fmla="*/ 24 w 109"/>
                <a:gd name="T7" fmla="*/ 7 h 154"/>
                <a:gd name="T8" fmla="*/ 36 w 109"/>
                <a:gd name="T9" fmla="*/ 9 h 154"/>
                <a:gd name="T10" fmla="*/ 44 w 109"/>
                <a:gd name="T11" fmla="*/ 13 h 154"/>
                <a:gd name="T12" fmla="*/ 55 w 109"/>
                <a:gd name="T13" fmla="*/ 21 h 154"/>
                <a:gd name="T14" fmla="*/ 63 w 109"/>
                <a:gd name="T15" fmla="*/ 22 h 154"/>
                <a:gd name="T16" fmla="*/ 69 w 109"/>
                <a:gd name="T17" fmla="*/ 24 h 154"/>
                <a:gd name="T18" fmla="*/ 77 w 109"/>
                <a:gd name="T19" fmla="*/ 26 h 154"/>
                <a:gd name="T20" fmla="*/ 81 w 109"/>
                <a:gd name="T21" fmla="*/ 19 h 154"/>
                <a:gd name="T22" fmla="*/ 91 w 109"/>
                <a:gd name="T23" fmla="*/ 14 h 154"/>
                <a:gd name="T24" fmla="*/ 97 w 109"/>
                <a:gd name="T25" fmla="*/ 15 h 154"/>
                <a:gd name="T26" fmla="*/ 106 w 109"/>
                <a:gd name="T27" fmla="*/ 16 h 154"/>
                <a:gd name="T28" fmla="*/ 106 w 109"/>
                <a:gd name="T29" fmla="*/ 22 h 154"/>
                <a:gd name="T30" fmla="*/ 99 w 109"/>
                <a:gd name="T31" fmla="*/ 33 h 154"/>
                <a:gd name="T32" fmla="*/ 98 w 109"/>
                <a:gd name="T33" fmla="*/ 44 h 154"/>
                <a:gd name="T34" fmla="*/ 98 w 109"/>
                <a:gd name="T35" fmla="*/ 59 h 154"/>
                <a:gd name="T36" fmla="*/ 98 w 109"/>
                <a:gd name="T37" fmla="*/ 73 h 154"/>
                <a:gd name="T38" fmla="*/ 98 w 109"/>
                <a:gd name="T39" fmla="*/ 89 h 154"/>
                <a:gd name="T40" fmla="*/ 100 w 109"/>
                <a:gd name="T41" fmla="*/ 97 h 154"/>
                <a:gd name="T42" fmla="*/ 105 w 109"/>
                <a:gd name="T43" fmla="*/ 105 h 154"/>
                <a:gd name="T44" fmla="*/ 101 w 109"/>
                <a:gd name="T45" fmla="*/ 111 h 154"/>
                <a:gd name="T46" fmla="*/ 98 w 109"/>
                <a:gd name="T47" fmla="*/ 111 h 154"/>
                <a:gd name="T48" fmla="*/ 97 w 109"/>
                <a:gd name="T49" fmla="*/ 114 h 154"/>
                <a:gd name="T50" fmla="*/ 95 w 109"/>
                <a:gd name="T51" fmla="*/ 117 h 154"/>
                <a:gd name="T52" fmla="*/ 91 w 109"/>
                <a:gd name="T53" fmla="*/ 120 h 154"/>
                <a:gd name="T54" fmla="*/ 86 w 109"/>
                <a:gd name="T55" fmla="*/ 125 h 154"/>
                <a:gd name="T56" fmla="*/ 85 w 109"/>
                <a:gd name="T57" fmla="*/ 132 h 154"/>
                <a:gd name="T58" fmla="*/ 83 w 109"/>
                <a:gd name="T59" fmla="*/ 136 h 154"/>
                <a:gd name="T60" fmla="*/ 79 w 109"/>
                <a:gd name="T61" fmla="*/ 141 h 154"/>
                <a:gd name="T62" fmla="*/ 78 w 109"/>
                <a:gd name="T63" fmla="*/ 145 h 154"/>
                <a:gd name="T64" fmla="*/ 76 w 109"/>
                <a:gd name="T65" fmla="*/ 153 h 154"/>
                <a:gd name="T66" fmla="*/ 71 w 109"/>
                <a:gd name="T67" fmla="*/ 153 h 154"/>
                <a:gd name="T68" fmla="*/ 62 w 109"/>
                <a:gd name="T69" fmla="*/ 145 h 154"/>
                <a:gd name="T70" fmla="*/ 52 w 109"/>
                <a:gd name="T71" fmla="*/ 138 h 154"/>
                <a:gd name="T72" fmla="*/ 51 w 109"/>
                <a:gd name="T73" fmla="*/ 132 h 154"/>
                <a:gd name="T74" fmla="*/ 41 w 109"/>
                <a:gd name="T75" fmla="*/ 121 h 154"/>
                <a:gd name="T76" fmla="*/ 17 w 109"/>
                <a:gd name="T77" fmla="*/ 107 h 154"/>
                <a:gd name="T78" fmla="*/ 1 w 109"/>
                <a:gd name="T79" fmla="*/ 96 h 154"/>
                <a:gd name="T80" fmla="*/ 2 w 109"/>
                <a:gd name="T81" fmla="*/ 89 h 154"/>
                <a:gd name="T82" fmla="*/ 6 w 109"/>
                <a:gd name="T83" fmla="*/ 86 h 154"/>
                <a:gd name="T84" fmla="*/ 10 w 109"/>
                <a:gd name="T85" fmla="*/ 84 h 154"/>
                <a:gd name="T86" fmla="*/ 10 w 109"/>
                <a:gd name="T87" fmla="*/ 82 h 154"/>
                <a:gd name="T88" fmla="*/ 5 w 109"/>
                <a:gd name="T89" fmla="*/ 83 h 154"/>
                <a:gd name="T90" fmla="*/ 4 w 109"/>
                <a:gd name="T91" fmla="*/ 83 h 154"/>
                <a:gd name="T92" fmla="*/ 1 w 109"/>
                <a:gd name="T93" fmla="*/ 80 h 154"/>
                <a:gd name="T94" fmla="*/ 1 w 109"/>
                <a:gd name="T95" fmla="*/ 75 h 154"/>
                <a:gd name="T96" fmla="*/ 5 w 109"/>
                <a:gd name="T97" fmla="*/ 69 h 154"/>
                <a:gd name="T98" fmla="*/ 8 w 109"/>
                <a:gd name="T99" fmla="*/ 63 h 154"/>
                <a:gd name="T100" fmla="*/ 12 w 109"/>
                <a:gd name="T101" fmla="*/ 57 h 154"/>
                <a:gd name="T102" fmla="*/ 14 w 109"/>
                <a:gd name="T103" fmla="*/ 47 h 154"/>
                <a:gd name="T104" fmla="*/ 12 w 109"/>
                <a:gd name="T105" fmla="*/ 38 h 154"/>
                <a:gd name="T106" fmla="*/ 8 w 109"/>
                <a:gd name="T107" fmla="*/ 33 h 154"/>
                <a:gd name="T108" fmla="*/ 6 w 109"/>
                <a:gd name="T109" fmla="*/ 23 h 154"/>
                <a:gd name="T110" fmla="*/ 1 w 109"/>
                <a:gd name="T111" fmla="*/ 19 h 154"/>
                <a:gd name="T112" fmla="*/ 2 w 109"/>
                <a:gd name="T113" fmla="*/ 9 h 154"/>
                <a:gd name="T114" fmla="*/ 12 w 109"/>
                <a:gd name="T115" fmla="*/ 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9" h="154">
                  <a:moveTo>
                    <a:pt x="100" y="113"/>
                  </a:moveTo>
                  <a:lnTo>
                    <a:pt x="99" y="113"/>
                  </a:lnTo>
                  <a:lnTo>
                    <a:pt x="98" y="114"/>
                  </a:lnTo>
                  <a:lnTo>
                    <a:pt x="98" y="113"/>
                  </a:lnTo>
                  <a:lnTo>
                    <a:pt x="98" y="114"/>
                  </a:lnTo>
                  <a:lnTo>
                    <a:pt x="98" y="113"/>
                  </a:lnTo>
                  <a:lnTo>
                    <a:pt x="99" y="112"/>
                  </a:lnTo>
                  <a:lnTo>
                    <a:pt x="100" y="112"/>
                  </a:lnTo>
                  <a:lnTo>
                    <a:pt x="100" y="113"/>
                  </a:lnTo>
                  <a:close/>
                  <a:moveTo>
                    <a:pt x="1" y="87"/>
                  </a:moveTo>
                  <a:lnTo>
                    <a:pt x="0" y="87"/>
                  </a:lnTo>
                  <a:lnTo>
                    <a:pt x="0" y="86"/>
                  </a:lnTo>
                  <a:lnTo>
                    <a:pt x="1" y="86"/>
                  </a:lnTo>
                  <a:lnTo>
                    <a:pt x="1" y="87"/>
                  </a:lnTo>
                  <a:close/>
                  <a:moveTo>
                    <a:pt x="4" y="86"/>
                  </a:moveTo>
                  <a:lnTo>
                    <a:pt x="2" y="86"/>
                  </a:lnTo>
                  <a:lnTo>
                    <a:pt x="2" y="85"/>
                  </a:lnTo>
                  <a:lnTo>
                    <a:pt x="2" y="86"/>
                  </a:lnTo>
                  <a:lnTo>
                    <a:pt x="4" y="86"/>
                  </a:lnTo>
                  <a:lnTo>
                    <a:pt x="4" y="85"/>
                  </a:lnTo>
                  <a:lnTo>
                    <a:pt x="4" y="86"/>
                  </a:lnTo>
                  <a:close/>
                  <a:moveTo>
                    <a:pt x="20" y="0"/>
                  </a:moveTo>
                  <a:lnTo>
                    <a:pt x="19" y="2"/>
                  </a:lnTo>
                  <a:lnTo>
                    <a:pt x="21" y="2"/>
                  </a:lnTo>
                  <a:lnTo>
                    <a:pt x="22" y="2"/>
                  </a:lnTo>
                  <a:lnTo>
                    <a:pt x="21" y="3"/>
                  </a:lnTo>
                  <a:lnTo>
                    <a:pt x="21" y="5"/>
                  </a:lnTo>
                  <a:lnTo>
                    <a:pt x="22" y="7"/>
                  </a:lnTo>
                  <a:lnTo>
                    <a:pt x="23" y="7"/>
                  </a:lnTo>
                  <a:lnTo>
                    <a:pt x="23" y="6"/>
                  </a:lnTo>
                  <a:lnTo>
                    <a:pt x="24" y="6"/>
                  </a:lnTo>
                  <a:lnTo>
                    <a:pt x="24" y="7"/>
                  </a:lnTo>
                  <a:lnTo>
                    <a:pt x="26" y="7"/>
                  </a:lnTo>
                  <a:lnTo>
                    <a:pt x="27" y="7"/>
                  </a:lnTo>
                  <a:lnTo>
                    <a:pt x="27" y="8"/>
                  </a:lnTo>
                  <a:lnTo>
                    <a:pt x="28" y="9"/>
                  </a:lnTo>
                  <a:lnTo>
                    <a:pt x="30" y="9"/>
                  </a:lnTo>
                  <a:lnTo>
                    <a:pt x="31" y="9"/>
                  </a:lnTo>
                  <a:lnTo>
                    <a:pt x="34" y="9"/>
                  </a:lnTo>
                  <a:lnTo>
                    <a:pt x="36" y="9"/>
                  </a:lnTo>
                  <a:lnTo>
                    <a:pt x="37" y="9"/>
                  </a:lnTo>
                  <a:lnTo>
                    <a:pt x="40" y="9"/>
                  </a:lnTo>
                  <a:lnTo>
                    <a:pt x="41" y="9"/>
                  </a:lnTo>
                  <a:lnTo>
                    <a:pt x="41" y="10"/>
                  </a:lnTo>
                  <a:lnTo>
                    <a:pt x="42" y="10"/>
                  </a:lnTo>
                  <a:lnTo>
                    <a:pt x="42" y="12"/>
                  </a:lnTo>
                  <a:lnTo>
                    <a:pt x="43" y="12"/>
                  </a:lnTo>
                  <a:lnTo>
                    <a:pt x="44" y="13"/>
                  </a:lnTo>
                  <a:lnTo>
                    <a:pt x="45" y="14"/>
                  </a:lnTo>
                  <a:lnTo>
                    <a:pt x="47" y="14"/>
                  </a:lnTo>
                  <a:lnTo>
                    <a:pt x="49" y="15"/>
                  </a:lnTo>
                  <a:lnTo>
                    <a:pt x="50" y="16"/>
                  </a:lnTo>
                  <a:lnTo>
                    <a:pt x="51" y="17"/>
                  </a:lnTo>
                  <a:lnTo>
                    <a:pt x="52" y="19"/>
                  </a:lnTo>
                  <a:lnTo>
                    <a:pt x="54" y="20"/>
                  </a:lnTo>
                  <a:lnTo>
                    <a:pt x="55" y="21"/>
                  </a:lnTo>
                  <a:lnTo>
                    <a:pt x="56" y="21"/>
                  </a:lnTo>
                  <a:lnTo>
                    <a:pt x="56" y="22"/>
                  </a:lnTo>
                  <a:lnTo>
                    <a:pt x="57" y="22"/>
                  </a:lnTo>
                  <a:lnTo>
                    <a:pt x="58" y="22"/>
                  </a:lnTo>
                  <a:lnTo>
                    <a:pt x="59" y="22"/>
                  </a:lnTo>
                  <a:lnTo>
                    <a:pt x="62" y="23"/>
                  </a:lnTo>
                  <a:lnTo>
                    <a:pt x="62" y="22"/>
                  </a:lnTo>
                  <a:lnTo>
                    <a:pt x="63" y="22"/>
                  </a:lnTo>
                  <a:lnTo>
                    <a:pt x="64" y="22"/>
                  </a:lnTo>
                  <a:lnTo>
                    <a:pt x="64" y="23"/>
                  </a:lnTo>
                  <a:lnTo>
                    <a:pt x="65" y="23"/>
                  </a:lnTo>
                  <a:lnTo>
                    <a:pt x="65" y="22"/>
                  </a:lnTo>
                  <a:lnTo>
                    <a:pt x="65" y="23"/>
                  </a:lnTo>
                  <a:lnTo>
                    <a:pt x="66" y="23"/>
                  </a:lnTo>
                  <a:lnTo>
                    <a:pt x="68" y="23"/>
                  </a:lnTo>
                  <a:lnTo>
                    <a:pt x="69" y="24"/>
                  </a:lnTo>
                  <a:lnTo>
                    <a:pt x="70" y="24"/>
                  </a:lnTo>
                  <a:lnTo>
                    <a:pt x="71" y="24"/>
                  </a:lnTo>
                  <a:lnTo>
                    <a:pt x="72" y="24"/>
                  </a:lnTo>
                  <a:lnTo>
                    <a:pt x="73" y="24"/>
                  </a:lnTo>
                  <a:lnTo>
                    <a:pt x="74" y="24"/>
                  </a:lnTo>
                  <a:lnTo>
                    <a:pt x="76" y="24"/>
                  </a:lnTo>
                  <a:lnTo>
                    <a:pt x="76" y="26"/>
                  </a:lnTo>
                  <a:lnTo>
                    <a:pt x="77" y="26"/>
                  </a:lnTo>
                  <a:lnTo>
                    <a:pt x="78" y="26"/>
                  </a:lnTo>
                  <a:lnTo>
                    <a:pt x="78" y="24"/>
                  </a:lnTo>
                  <a:lnTo>
                    <a:pt x="78" y="23"/>
                  </a:lnTo>
                  <a:lnTo>
                    <a:pt x="79" y="23"/>
                  </a:lnTo>
                  <a:lnTo>
                    <a:pt x="80" y="22"/>
                  </a:lnTo>
                  <a:lnTo>
                    <a:pt x="80" y="21"/>
                  </a:lnTo>
                  <a:lnTo>
                    <a:pt x="81" y="20"/>
                  </a:lnTo>
                  <a:lnTo>
                    <a:pt x="81" y="19"/>
                  </a:lnTo>
                  <a:lnTo>
                    <a:pt x="83" y="17"/>
                  </a:lnTo>
                  <a:lnTo>
                    <a:pt x="84" y="17"/>
                  </a:lnTo>
                  <a:lnTo>
                    <a:pt x="85" y="16"/>
                  </a:lnTo>
                  <a:lnTo>
                    <a:pt x="86" y="16"/>
                  </a:lnTo>
                  <a:lnTo>
                    <a:pt x="87" y="15"/>
                  </a:lnTo>
                  <a:lnTo>
                    <a:pt x="88" y="15"/>
                  </a:lnTo>
                  <a:lnTo>
                    <a:pt x="88" y="14"/>
                  </a:lnTo>
                  <a:lnTo>
                    <a:pt x="91" y="14"/>
                  </a:lnTo>
                  <a:lnTo>
                    <a:pt x="92" y="13"/>
                  </a:lnTo>
                  <a:lnTo>
                    <a:pt x="93" y="13"/>
                  </a:lnTo>
                  <a:lnTo>
                    <a:pt x="94" y="12"/>
                  </a:lnTo>
                  <a:lnTo>
                    <a:pt x="94" y="13"/>
                  </a:lnTo>
                  <a:lnTo>
                    <a:pt x="95" y="13"/>
                  </a:lnTo>
                  <a:lnTo>
                    <a:pt x="95" y="14"/>
                  </a:lnTo>
                  <a:lnTo>
                    <a:pt x="97" y="14"/>
                  </a:lnTo>
                  <a:lnTo>
                    <a:pt x="97" y="15"/>
                  </a:lnTo>
                  <a:lnTo>
                    <a:pt x="98" y="15"/>
                  </a:lnTo>
                  <a:lnTo>
                    <a:pt x="99" y="16"/>
                  </a:lnTo>
                  <a:lnTo>
                    <a:pt x="99" y="17"/>
                  </a:lnTo>
                  <a:lnTo>
                    <a:pt x="100" y="17"/>
                  </a:lnTo>
                  <a:lnTo>
                    <a:pt x="102" y="17"/>
                  </a:lnTo>
                  <a:lnTo>
                    <a:pt x="104" y="17"/>
                  </a:lnTo>
                  <a:lnTo>
                    <a:pt x="105" y="17"/>
                  </a:lnTo>
                  <a:lnTo>
                    <a:pt x="106" y="16"/>
                  </a:lnTo>
                  <a:lnTo>
                    <a:pt x="107" y="16"/>
                  </a:lnTo>
                  <a:lnTo>
                    <a:pt x="108" y="16"/>
                  </a:lnTo>
                  <a:lnTo>
                    <a:pt x="108" y="17"/>
                  </a:lnTo>
                  <a:lnTo>
                    <a:pt x="109" y="17"/>
                  </a:lnTo>
                  <a:lnTo>
                    <a:pt x="109" y="16"/>
                  </a:lnTo>
                  <a:lnTo>
                    <a:pt x="108" y="19"/>
                  </a:lnTo>
                  <a:lnTo>
                    <a:pt x="107" y="21"/>
                  </a:lnTo>
                  <a:lnTo>
                    <a:pt x="106" y="22"/>
                  </a:lnTo>
                  <a:lnTo>
                    <a:pt x="105" y="24"/>
                  </a:lnTo>
                  <a:lnTo>
                    <a:pt x="105" y="26"/>
                  </a:lnTo>
                  <a:lnTo>
                    <a:pt x="104" y="27"/>
                  </a:lnTo>
                  <a:lnTo>
                    <a:pt x="104" y="28"/>
                  </a:lnTo>
                  <a:lnTo>
                    <a:pt x="102" y="29"/>
                  </a:lnTo>
                  <a:lnTo>
                    <a:pt x="101" y="30"/>
                  </a:lnTo>
                  <a:lnTo>
                    <a:pt x="100" y="31"/>
                  </a:lnTo>
                  <a:lnTo>
                    <a:pt x="99" y="33"/>
                  </a:lnTo>
                  <a:lnTo>
                    <a:pt x="98" y="34"/>
                  </a:lnTo>
                  <a:lnTo>
                    <a:pt x="98" y="35"/>
                  </a:lnTo>
                  <a:lnTo>
                    <a:pt x="98" y="36"/>
                  </a:lnTo>
                  <a:lnTo>
                    <a:pt x="98" y="38"/>
                  </a:lnTo>
                  <a:lnTo>
                    <a:pt x="98" y="40"/>
                  </a:lnTo>
                  <a:lnTo>
                    <a:pt x="98" y="41"/>
                  </a:lnTo>
                  <a:lnTo>
                    <a:pt x="98" y="43"/>
                  </a:lnTo>
                  <a:lnTo>
                    <a:pt x="98" y="44"/>
                  </a:lnTo>
                  <a:lnTo>
                    <a:pt x="98" y="47"/>
                  </a:lnTo>
                  <a:lnTo>
                    <a:pt x="98" y="48"/>
                  </a:lnTo>
                  <a:lnTo>
                    <a:pt x="98" y="50"/>
                  </a:lnTo>
                  <a:lnTo>
                    <a:pt x="98" y="52"/>
                  </a:lnTo>
                  <a:lnTo>
                    <a:pt x="98" y="54"/>
                  </a:lnTo>
                  <a:lnTo>
                    <a:pt x="98" y="56"/>
                  </a:lnTo>
                  <a:lnTo>
                    <a:pt x="98" y="58"/>
                  </a:lnTo>
                  <a:lnTo>
                    <a:pt x="98" y="59"/>
                  </a:lnTo>
                  <a:lnTo>
                    <a:pt x="98" y="61"/>
                  </a:lnTo>
                  <a:lnTo>
                    <a:pt x="98" y="62"/>
                  </a:lnTo>
                  <a:lnTo>
                    <a:pt x="98" y="64"/>
                  </a:lnTo>
                  <a:lnTo>
                    <a:pt x="98" y="66"/>
                  </a:lnTo>
                  <a:lnTo>
                    <a:pt x="98" y="68"/>
                  </a:lnTo>
                  <a:lnTo>
                    <a:pt x="98" y="70"/>
                  </a:lnTo>
                  <a:lnTo>
                    <a:pt x="98" y="72"/>
                  </a:lnTo>
                  <a:lnTo>
                    <a:pt x="98" y="73"/>
                  </a:lnTo>
                  <a:lnTo>
                    <a:pt x="98" y="76"/>
                  </a:lnTo>
                  <a:lnTo>
                    <a:pt x="98" y="78"/>
                  </a:lnTo>
                  <a:lnTo>
                    <a:pt x="98" y="79"/>
                  </a:lnTo>
                  <a:lnTo>
                    <a:pt x="98" y="82"/>
                  </a:lnTo>
                  <a:lnTo>
                    <a:pt x="98" y="83"/>
                  </a:lnTo>
                  <a:lnTo>
                    <a:pt x="98" y="85"/>
                  </a:lnTo>
                  <a:lnTo>
                    <a:pt x="98" y="86"/>
                  </a:lnTo>
                  <a:lnTo>
                    <a:pt x="98" y="89"/>
                  </a:lnTo>
                  <a:lnTo>
                    <a:pt x="98" y="90"/>
                  </a:lnTo>
                  <a:lnTo>
                    <a:pt x="98" y="91"/>
                  </a:lnTo>
                  <a:lnTo>
                    <a:pt x="98" y="92"/>
                  </a:lnTo>
                  <a:lnTo>
                    <a:pt x="98" y="93"/>
                  </a:lnTo>
                  <a:lnTo>
                    <a:pt x="98" y="94"/>
                  </a:lnTo>
                  <a:lnTo>
                    <a:pt x="99" y="94"/>
                  </a:lnTo>
                  <a:lnTo>
                    <a:pt x="99" y="96"/>
                  </a:lnTo>
                  <a:lnTo>
                    <a:pt x="100" y="97"/>
                  </a:lnTo>
                  <a:lnTo>
                    <a:pt x="100" y="98"/>
                  </a:lnTo>
                  <a:lnTo>
                    <a:pt x="101" y="99"/>
                  </a:lnTo>
                  <a:lnTo>
                    <a:pt x="102" y="99"/>
                  </a:lnTo>
                  <a:lnTo>
                    <a:pt x="102" y="100"/>
                  </a:lnTo>
                  <a:lnTo>
                    <a:pt x="104" y="101"/>
                  </a:lnTo>
                  <a:lnTo>
                    <a:pt x="104" y="103"/>
                  </a:lnTo>
                  <a:lnTo>
                    <a:pt x="105" y="104"/>
                  </a:lnTo>
                  <a:lnTo>
                    <a:pt x="105" y="105"/>
                  </a:lnTo>
                  <a:lnTo>
                    <a:pt x="106" y="105"/>
                  </a:lnTo>
                  <a:lnTo>
                    <a:pt x="106" y="106"/>
                  </a:lnTo>
                  <a:lnTo>
                    <a:pt x="105" y="107"/>
                  </a:lnTo>
                  <a:lnTo>
                    <a:pt x="104" y="108"/>
                  </a:lnTo>
                  <a:lnTo>
                    <a:pt x="104" y="110"/>
                  </a:lnTo>
                  <a:lnTo>
                    <a:pt x="102" y="110"/>
                  </a:lnTo>
                  <a:lnTo>
                    <a:pt x="102" y="111"/>
                  </a:lnTo>
                  <a:lnTo>
                    <a:pt x="101" y="111"/>
                  </a:lnTo>
                  <a:lnTo>
                    <a:pt x="101" y="110"/>
                  </a:lnTo>
                  <a:lnTo>
                    <a:pt x="100" y="111"/>
                  </a:lnTo>
                  <a:lnTo>
                    <a:pt x="99" y="111"/>
                  </a:lnTo>
                  <a:lnTo>
                    <a:pt x="99" y="112"/>
                  </a:lnTo>
                  <a:lnTo>
                    <a:pt x="98" y="112"/>
                  </a:lnTo>
                  <a:lnTo>
                    <a:pt x="98" y="111"/>
                  </a:lnTo>
                  <a:lnTo>
                    <a:pt x="98" y="110"/>
                  </a:lnTo>
                  <a:lnTo>
                    <a:pt x="98" y="111"/>
                  </a:lnTo>
                  <a:lnTo>
                    <a:pt x="98" y="112"/>
                  </a:lnTo>
                  <a:lnTo>
                    <a:pt x="97" y="112"/>
                  </a:lnTo>
                  <a:lnTo>
                    <a:pt x="97" y="111"/>
                  </a:lnTo>
                  <a:lnTo>
                    <a:pt x="95" y="111"/>
                  </a:lnTo>
                  <a:lnTo>
                    <a:pt x="95" y="112"/>
                  </a:lnTo>
                  <a:lnTo>
                    <a:pt x="97" y="112"/>
                  </a:lnTo>
                  <a:lnTo>
                    <a:pt x="97" y="113"/>
                  </a:lnTo>
                  <a:lnTo>
                    <a:pt x="97" y="114"/>
                  </a:lnTo>
                  <a:lnTo>
                    <a:pt x="98" y="114"/>
                  </a:lnTo>
                  <a:lnTo>
                    <a:pt x="98" y="115"/>
                  </a:lnTo>
                  <a:lnTo>
                    <a:pt x="97" y="117"/>
                  </a:lnTo>
                  <a:lnTo>
                    <a:pt x="97" y="115"/>
                  </a:lnTo>
                  <a:lnTo>
                    <a:pt x="95" y="115"/>
                  </a:lnTo>
                  <a:lnTo>
                    <a:pt x="94" y="115"/>
                  </a:lnTo>
                  <a:lnTo>
                    <a:pt x="94" y="117"/>
                  </a:lnTo>
                  <a:lnTo>
                    <a:pt x="95" y="117"/>
                  </a:lnTo>
                  <a:lnTo>
                    <a:pt x="94" y="117"/>
                  </a:lnTo>
                  <a:lnTo>
                    <a:pt x="95" y="117"/>
                  </a:lnTo>
                  <a:lnTo>
                    <a:pt x="95" y="118"/>
                  </a:lnTo>
                  <a:lnTo>
                    <a:pt x="94" y="118"/>
                  </a:lnTo>
                  <a:lnTo>
                    <a:pt x="94" y="119"/>
                  </a:lnTo>
                  <a:lnTo>
                    <a:pt x="93" y="120"/>
                  </a:lnTo>
                  <a:lnTo>
                    <a:pt x="92" y="120"/>
                  </a:lnTo>
                  <a:lnTo>
                    <a:pt x="91" y="120"/>
                  </a:lnTo>
                  <a:lnTo>
                    <a:pt x="90" y="120"/>
                  </a:lnTo>
                  <a:lnTo>
                    <a:pt x="88" y="120"/>
                  </a:lnTo>
                  <a:lnTo>
                    <a:pt x="88" y="121"/>
                  </a:lnTo>
                  <a:lnTo>
                    <a:pt x="87" y="121"/>
                  </a:lnTo>
                  <a:lnTo>
                    <a:pt x="87" y="122"/>
                  </a:lnTo>
                  <a:lnTo>
                    <a:pt x="86" y="122"/>
                  </a:lnTo>
                  <a:lnTo>
                    <a:pt x="86" y="124"/>
                  </a:lnTo>
                  <a:lnTo>
                    <a:pt x="86" y="125"/>
                  </a:lnTo>
                  <a:lnTo>
                    <a:pt x="86" y="126"/>
                  </a:lnTo>
                  <a:lnTo>
                    <a:pt x="86" y="127"/>
                  </a:lnTo>
                  <a:lnTo>
                    <a:pt x="87" y="127"/>
                  </a:lnTo>
                  <a:lnTo>
                    <a:pt x="86" y="127"/>
                  </a:lnTo>
                  <a:lnTo>
                    <a:pt x="86" y="128"/>
                  </a:lnTo>
                  <a:lnTo>
                    <a:pt x="86" y="129"/>
                  </a:lnTo>
                  <a:lnTo>
                    <a:pt x="85" y="131"/>
                  </a:lnTo>
                  <a:lnTo>
                    <a:pt x="85" y="132"/>
                  </a:lnTo>
                  <a:lnTo>
                    <a:pt x="84" y="132"/>
                  </a:lnTo>
                  <a:lnTo>
                    <a:pt x="84" y="133"/>
                  </a:lnTo>
                  <a:lnTo>
                    <a:pt x="84" y="132"/>
                  </a:lnTo>
                  <a:lnTo>
                    <a:pt x="83" y="132"/>
                  </a:lnTo>
                  <a:lnTo>
                    <a:pt x="83" y="133"/>
                  </a:lnTo>
                  <a:lnTo>
                    <a:pt x="83" y="134"/>
                  </a:lnTo>
                  <a:lnTo>
                    <a:pt x="83" y="135"/>
                  </a:lnTo>
                  <a:lnTo>
                    <a:pt x="83" y="136"/>
                  </a:lnTo>
                  <a:lnTo>
                    <a:pt x="81" y="136"/>
                  </a:lnTo>
                  <a:lnTo>
                    <a:pt x="80" y="136"/>
                  </a:lnTo>
                  <a:lnTo>
                    <a:pt x="81" y="136"/>
                  </a:lnTo>
                  <a:lnTo>
                    <a:pt x="80" y="138"/>
                  </a:lnTo>
                  <a:lnTo>
                    <a:pt x="81" y="138"/>
                  </a:lnTo>
                  <a:lnTo>
                    <a:pt x="80" y="142"/>
                  </a:lnTo>
                  <a:lnTo>
                    <a:pt x="79" y="142"/>
                  </a:lnTo>
                  <a:lnTo>
                    <a:pt x="79" y="141"/>
                  </a:lnTo>
                  <a:lnTo>
                    <a:pt x="79" y="142"/>
                  </a:lnTo>
                  <a:lnTo>
                    <a:pt x="80" y="142"/>
                  </a:lnTo>
                  <a:lnTo>
                    <a:pt x="79" y="143"/>
                  </a:lnTo>
                  <a:lnTo>
                    <a:pt x="79" y="142"/>
                  </a:lnTo>
                  <a:lnTo>
                    <a:pt x="78" y="142"/>
                  </a:lnTo>
                  <a:lnTo>
                    <a:pt x="78" y="143"/>
                  </a:lnTo>
                  <a:lnTo>
                    <a:pt x="77" y="143"/>
                  </a:lnTo>
                  <a:lnTo>
                    <a:pt x="78" y="145"/>
                  </a:lnTo>
                  <a:lnTo>
                    <a:pt x="78" y="143"/>
                  </a:lnTo>
                  <a:lnTo>
                    <a:pt x="79" y="145"/>
                  </a:lnTo>
                  <a:lnTo>
                    <a:pt x="78" y="146"/>
                  </a:lnTo>
                  <a:lnTo>
                    <a:pt x="78" y="147"/>
                  </a:lnTo>
                  <a:lnTo>
                    <a:pt x="77" y="149"/>
                  </a:lnTo>
                  <a:lnTo>
                    <a:pt x="77" y="150"/>
                  </a:lnTo>
                  <a:lnTo>
                    <a:pt x="76" y="150"/>
                  </a:lnTo>
                  <a:lnTo>
                    <a:pt x="76" y="153"/>
                  </a:lnTo>
                  <a:lnTo>
                    <a:pt x="76" y="152"/>
                  </a:lnTo>
                  <a:lnTo>
                    <a:pt x="74" y="152"/>
                  </a:lnTo>
                  <a:lnTo>
                    <a:pt x="74" y="153"/>
                  </a:lnTo>
                  <a:lnTo>
                    <a:pt x="76" y="153"/>
                  </a:lnTo>
                  <a:lnTo>
                    <a:pt x="74" y="153"/>
                  </a:lnTo>
                  <a:lnTo>
                    <a:pt x="73" y="153"/>
                  </a:lnTo>
                  <a:lnTo>
                    <a:pt x="72" y="154"/>
                  </a:lnTo>
                  <a:lnTo>
                    <a:pt x="71" y="153"/>
                  </a:lnTo>
                  <a:lnTo>
                    <a:pt x="70" y="152"/>
                  </a:lnTo>
                  <a:lnTo>
                    <a:pt x="69" y="150"/>
                  </a:lnTo>
                  <a:lnTo>
                    <a:pt x="68" y="149"/>
                  </a:lnTo>
                  <a:lnTo>
                    <a:pt x="66" y="149"/>
                  </a:lnTo>
                  <a:lnTo>
                    <a:pt x="65" y="148"/>
                  </a:lnTo>
                  <a:lnTo>
                    <a:pt x="64" y="147"/>
                  </a:lnTo>
                  <a:lnTo>
                    <a:pt x="63" y="146"/>
                  </a:lnTo>
                  <a:lnTo>
                    <a:pt x="62" y="145"/>
                  </a:lnTo>
                  <a:lnTo>
                    <a:pt x="61" y="143"/>
                  </a:lnTo>
                  <a:lnTo>
                    <a:pt x="59" y="143"/>
                  </a:lnTo>
                  <a:lnTo>
                    <a:pt x="58" y="142"/>
                  </a:lnTo>
                  <a:lnTo>
                    <a:pt x="57" y="141"/>
                  </a:lnTo>
                  <a:lnTo>
                    <a:pt x="56" y="140"/>
                  </a:lnTo>
                  <a:lnTo>
                    <a:pt x="55" y="139"/>
                  </a:lnTo>
                  <a:lnTo>
                    <a:pt x="54" y="138"/>
                  </a:lnTo>
                  <a:lnTo>
                    <a:pt x="52" y="138"/>
                  </a:lnTo>
                  <a:lnTo>
                    <a:pt x="52" y="136"/>
                  </a:lnTo>
                  <a:lnTo>
                    <a:pt x="52" y="135"/>
                  </a:lnTo>
                  <a:lnTo>
                    <a:pt x="51" y="135"/>
                  </a:lnTo>
                  <a:lnTo>
                    <a:pt x="50" y="135"/>
                  </a:lnTo>
                  <a:lnTo>
                    <a:pt x="50" y="134"/>
                  </a:lnTo>
                  <a:lnTo>
                    <a:pt x="50" y="133"/>
                  </a:lnTo>
                  <a:lnTo>
                    <a:pt x="51" y="133"/>
                  </a:lnTo>
                  <a:lnTo>
                    <a:pt x="51" y="132"/>
                  </a:lnTo>
                  <a:lnTo>
                    <a:pt x="51" y="131"/>
                  </a:lnTo>
                  <a:lnTo>
                    <a:pt x="51" y="129"/>
                  </a:lnTo>
                  <a:lnTo>
                    <a:pt x="51" y="128"/>
                  </a:lnTo>
                  <a:lnTo>
                    <a:pt x="50" y="127"/>
                  </a:lnTo>
                  <a:lnTo>
                    <a:pt x="48" y="126"/>
                  </a:lnTo>
                  <a:lnTo>
                    <a:pt x="47" y="125"/>
                  </a:lnTo>
                  <a:lnTo>
                    <a:pt x="44" y="124"/>
                  </a:lnTo>
                  <a:lnTo>
                    <a:pt x="41" y="121"/>
                  </a:lnTo>
                  <a:lnTo>
                    <a:pt x="38" y="120"/>
                  </a:lnTo>
                  <a:lnTo>
                    <a:pt x="35" y="118"/>
                  </a:lnTo>
                  <a:lnTo>
                    <a:pt x="31" y="115"/>
                  </a:lnTo>
                  <a:lnTo>
                    <a:pt x="29" y="114"/>
                  </a:lnTo>
                  <a:lnTo>
                    <a:pt x="26" y="112"/>
                  </a:lnTo>
                  <a:lnTo>
                    <a:pt x="23" y="110"/>
                  </a:lnTo>
                  <a:lnTo>
                    <a:pt x="20" y="108"/>
                  </a:lnTo>
                  <a:lnTo>
                    <a:pt x="17" y="107"/>
                  </a:lnTo>
                  <a:lnTo>
                    <a:pt x="17" y="106"/>
                  </a:lnTo>
                  <a:lnTo>
                    <a:pt x="14" y="105"/>
                  </a:lnTo>
                  <a:lnTo>
                    <a:pt x="10" y="103"/>
                  </a:lnTo>
                  <a:lnTo>
                    <a:pt x="8" y="100"/>
                  </a:lnTo>
                  <a:lnTo>
                    <a:pt x="5" y="99"/>
                  </a:lnTo>
                  <a:lnTo>
                    <a:pt x="2" y="97"/>
                  </a:lnTo>
                  <a:lnTo>
                    <a:pt x="1" y="97"/>
                  </a:lnTo>
                  <a:lnTo>
                    <a:pt x="1" y="96"/>
                  </a:lnTo>
                  <a:lnTo>
                    <a:pt x="2" y="96"/>
                  </a:lnTo>
                  <a:lnTo>
                    <a:pt x="2" y="94"/>
                  </a:lnTo>
                  <a:lnTo>
                    <a:pt x="2" y="93"/>
                  </a:lnTo>
                  <a:lnTo>
                    <a:pt x="1" y="92"/>
                  </a:lnTo>
                  <a:lnTo>
                    <a:pt x="1" y="91"/>
                  </a:lnTo>
                  <a:lnTo>
                    <a:pt x="1" y="90"/>
                  </a:lnTo>
                  <a:lnTo>
                    <a:pt x="1" y="89"/>
                  </a:lnTo>
                  <a:lnTo>
                    <a:pt x="2" y="89"/>
                  </a:lnTo>
                  <a:lnTo>
                    <a:pt x="2" y="87"/>
                  </a:lnTo>
                  <a:lnTo>
                    <a:pt x="2" y="86"/>
                  </a:lnTo>
                  <a:lnTo>
                    <a:pt x="4" y="86"/>
                  </a:lnTo>
                  <a:lnTo>
                    <a:pt x="5" y="87"/>
                  </a:lnTo>
                  <a:lnTo>
                    <a:pt x="5" y="86"/>
                  </a:lnTo>
                  <a:lnTo>
                    <a:pt x="5" y="87"/>
                  </a:lnTo>
                  <a:lnTo>
                    <a:pt x="6" y="87"/>
                  </a:lnTo>
                  <a:lnTo>
                    <a:pt x="6" y="86"/>
                  </a:lnTo>
                  <a:lnTo>
                    <a:pt x="6" y="87"/>
                  </a:lnTo>
                  <a:lnTo>
                    <a:pt x="7" y="87"/>
                  </a:lnTo>
                  <a:lnTo>
                    <a:pt x="7" y="86"/>
                  </a:lnTo>
                  <a:lnTo>
                    <a:pt x="7" y="85"/>
                  </a:lnTo>
                  <a:lnTo>
                    <a:pt x="8" y="85"/>
                  </a:lnTo>
                  <a:lnTo>
                    <a:pt x="9" y="85"/>
                  </a:lnTo>
                  <a:lnTo>
                    <a:pt x="10" y="85"/>
                  </a:lnTo>
                  <a:lnTo>
                    <a:pt x="10" y="84"/>
                  </a:lnTo>
                  <a:lnTo>
                    <a:pt x="12" y="84"/>
                  </a:lnTo>
                  <a:lnTo>
                    <a:pt x="12" y="85"/>
                  </a:lnTo>
                  <a:lnTo>
                    <a:pt x="12" y="84"/>
                  </a:lnTo>
                  <a:lnTo>
                    <a:pt x="13" y="84"/>
                  </a:lnTo>
                  <a:lnTo>
                    <a:pt x="12" y="84"/>
                  </a:lnTo>
                  <a:lnTo>
                    <a:pt x="12" y="83"/>
                  </a:lnTo>
                  <a:lnTo>
                    <a:pt x="10" y="83"/>
                  </a:lnTo>
                  <a:lnTo>
                    <a:pt x="10" y="82"/>
                  </a:lnTo>
                  <a:lnTo>
                    <a:pt x="10" y="83"/>
                  </a:lnTo>
                  <a:lnTo>
                    <a:pt x="10" y="82"/>
                  </a:lnTo>
                  <a:lnTo>
                    <a:pt x="9" y="82"/>
                  </a:lnTo>
                  <a:lnTo>
                    <a:pt x="8" y="82"/>
                  </a:lnTo>
                  <a:lnTo>
                    <a:pt x="8" y="83"/>
                  </a:lnTo>
                  <a:lnTo>
                    <a:pt x="7" y="83"/>
                  </a:lnTo>
                  <a:lnTo>
                    <a:pt x="6" y="83"/>
                  </a:lnTo>
                  <a:lnTo>
                    <a:pt x="5" y="83"/>
                  </a:lnTo>
                  <a:lnTo>
                    <a:pt x="6" y="83"/>
                  </a:lnTo>
                  <a:lnTo>
                    <a:pt x="6" y="84"/>
                  </a:lnTo>
                  <a:lnTo>
                    <a:pt x="5" y="85"/>
                  </a:lnTo>
                  <a:lnTo>
                    <a:pt x="5" y="86"/>
                  </a:lnTo>
                  <a:lnTo>
                    <a:pt x="5" y="85"/>
                  </a:lnTo>
                  <a:lnTo>
                    <a:pt x="4" y="85"/>
                  </a:lnTo>
                  <a:lnTo>
                    <a:pt x="4" y="84"/>
                  </a:lnTo>
                  <a:lnTo>
                    <a:pt x="4" y="83"/>
                  </a:lnTo>
                  <a:lnTo>
                    <a:pt x="2" y="83"/>
                  </a:lnTo>
                  <a:lnTo>
                    <a:pt x="4" y="83"/>
                  </a:lnTo>
                  <a:lnTo>
                    <a:pt x="2" y="83"/>
                  </a:lnTo>
                  <a:lnTo>
                    <a:pt x="1" y="83"/>
                  </a:lnTo>
                  <a:lnTo>
                    <a:pt x="1" y="82"/>
                  </a:lnTo>
                  <a:lnTo>
                    <a:pt x="2" y="82"/>
                  </a:lnTo>
                  <a:lnTo>
                    <a:pt x="2" y="80"/>
                  </a:lnTo>
                  <a:lnTo>
                    <a:pt x="1" y="80"/>
                  </a:lnTo>
                  <a:lnTo>
                    <a:pt x="1" y="82"/>
                  </a:lnTo>
                  <a:lnTo>
                    <a:pt x="1" y="80"/>
                  </a:lnTo>
                  <a:lnTo>
                    <a:pt x="0" y="80"/>
                  </a:lnTo>
                  <a:lnTo>
                    <a:pt x="0" y="79"/>
                  </a:lnTo>
                  <a:lnTo>
                    <a:pt x="0" y="78"/>
                  </a:lnTo>
                  <a:lnTo>
                    <a:pt x="0" y="77"/>
                  </a:lnTo>
                  <a:lnTo>
                    <a:pt x="0" y="76"/>
                  </a:lnTo>
                  <a:lnTo>
                    <a:pt x="1" y="75"/>
                  </a:lnTo>
                  <a:lnTo>
                    <a:pt x="1" y="73"/>
                  </a:lnTo>
                  <a:lnTo>
                    <a:pt x="1" y="72"/>
                  </a:lnTo>
                  <a:lnTo>
                    <a:pt x="2" y="72"/>
                  </a:lnTo>
                  <a:lnTo>
                    <a:pt x="2" y="71"/>
                  </a:lnTo>
                  <a:lnTo>
                    <a:pt x="2" y="70"/>
                  </a:lnTo>
                  <a:lnTo>
                    <a:pt x="4" y="70"/>
                  </a:lnTo>
                  <a:lnTo>
                    <a:pt x="4" y="69"/>
                  </a:lnTo>
                  <a:lnTo>
                    <a:pt x="5" y="69"/>
                  </a:lnTo>
                  <a:lnTo>
                    <a:pt x="5" y="68"/>
                  </a:lnTo>
                  <a:lnTo>
                    <a:pt x="6" y="66"/>
                  </a:lnTo>
                  <a:lnTo>
                    <a:pt x="6" y="65"/>
                  </a:lnTo>
                  <a:lnTo>
                    <a:pt x="7" y="64"/>
                  </a:lnTo>
                  <a:lnTo>
                    <a:pt x="7" y="63"/>
                  </a:lnTo>
                  <a:lnTo>
                    <a:pt x="7" y="62"/>
                  </a:lnTo>
                  <a:lnTo>
                    <a:pt x="8" y="62"/>
                  </a:lnTo>
                  <a:lnTo>
                    <a:pt x="8" y="63"/>
                  </a:lnTo>
                  <a:lnTo>
                    <a:pt x="8" y="62"/>
                  </a:lnTo>
                  <a:lnTo>
                    <a:pt x="9" y="62"/>
                  </a:lnTo>
                  <a:lnTo>
                    <a:pt x="9" y="61"/>
                  </a:lnTo>
                  <a:lnTo>
                    <a:pt x="10" y="61"/>
                  </a:lnTo>
                  <a:lnTo>
                    <a:pt x="12" y="61"/>
                  </a:lnTo>
                  <a:lnTo>
                    <a:pt x="12" y="59"/>
                  </a:lnTo>
                  <a:lnTo>
                    <a:pt x="12" y="58"/>
                  </a:lnTo>
                  <a:lnTo>
                    <a:pt x="12" y="57"/>
                  </a:lnTo>
                  <a:lnTo>
                    <a:pt x="13" y="56"/>
                  </a:lnTo>
                  <a:lnTo>
                    <a:pt x="13" y="55"/>
                  </a:lnTo>
                  <a:lnTo>
                    <a:pt x="14" y="55"/>
                  </a:lnTo>
                  <a:lnTo>
                    <a:pt x="14" y="54"/>
                  </a:lnTo>
                  <a:lnTo>
                    <a:pt x="14" y="50"/>
                  </a:lnTo>
                  <a:lnTo>
                    <a:pt x="14" y="49"/>
                  </a:lnTo>
                  <a:lnTo>
                    <a:pt x="14" y="48"/>
                  </a:lnTo>
                  <a:lnTo>
                    <a:pt x="14" y="47"/>
                  </a:lnTo>
                  <a:lnTo>
                    <a:pt x="13" y="44"/>
                  </a:lnTo>
                  <a:lnTo>
                    <a:pt x="13" y="43"/>
                  </a:lnTo>
                  <a:lnTo>
                    <a:pt x="12" y="42"/>
                  </a:lnTo>
                  <a:lnTo>
                    <a:pt x="13" y="42"/>
                  </a:lnTo>
                  <a:lnTo>
                    <a:pt x="13" y="41"/>
                  </a:lnTo>
                  <a:lnTo>
                    <a:pt x="13" y="40"/>
                  </a:lnTo>
                  <a:lnTo>
                    <a:pt x="13" y="38"/>
                  </a:lnTo>
                  <a:lnTo>
                    <a:pt x="12" y="38"/>
                  </a:lnTo>
                  <a:lnTo>
                    <a:pt x="10" y="37"/>
                  </a:lnTo>
                  <a:lnTo>
                    <a:pt x="10" y="36"/>
                  </a:lnTo>
                  <a:lnTo>
                    <a:pt x="10" y="35"/>
                  </a:lnTo>
                  <a:lnTo>
                    <a:pt x="9" y="34"/>
                  </a:lnTo>
                  <a:lnTo>
                    <a:pt x="9" y="35"/>
                  </a:lnTo>
                  <a:lnTo>
                    <a:pt x="9" y="34"/>
                  </a:lnTo>
                  <a:lnTo>
                    <a:pt x="8" y="34"/>
                  </a:lnTo>
                  <a:lnTo>
                    <a:pt x="8" y="33"/>
                  </a:lnTo>
                  <a:lnTo>
                    <a:pt x="8" y="30"/>
                  </a:lnTo>
                  <a:lnTo>
                    <a:pt x="7" y="30"/>
                  </a:lnTo>
                  <a:lnTo>
                    <a:pt x="6" y="29"/>
                  </a:lnTo>
                  <a:lnTo>
                    <a:pt x="6" y="28"/>
                  </a:lnTo>
                  <a:lnTo>
                    <a:pt x="6" y="27"/>
                  </a:lnTo>
                  <a:lnTo>
                    <a:pt x="6" y="26"/>
                  </a:lnTo>
                  <a:lnTo>
                    <a:pt x="6" y="24"/>
                  </a:lnTo>
                  <a:lnTo>
                    <a:pt x="6" y="23"/>
                  </a:lnTo>
                  <a:lnTo>
                    <a:pt x="6" y="22"/>
                  </a:lnTo>
                  <a:lnTo>
                    <a:pt x="6" y="21"/>
                  </a:lnTo>
                  <a:lnTo>
                    <a:pt x="5" y="21"/>
                  </a:lnTo>
                  <a:lnTo>
                    <a:pt x="4" y="21"/>
                  </a:lnTo>
                  <a:lnTo>
                    <a:pt x="4" y="20"/>
                  </a:lnTo>
                  <a:lnTo>
                    <a:pt x="2" y="20"/>
                  </a:lnTo>
                  <a:lnTo>
                    <a:pt x="2" y="19"/>
                  </a:lnTo>
                  <a:lnTo>
                    <a:pt x="1" y="19"/>
                  </a:lnTo>
                  <a:lnTo>
                    <a:pt x="1" y="17"/>
                  </a:lnTo>
                  <a:lnTo>
                    <a:pt x="1" y="16"/>
                  </a:lnTo>
                  <a:lnTo>
                    <a:pt x="1" y="15"/>
                  </a:lnTo>
                  <a:lnTo>
                    <a:pt x="0" y="15"/>
                  </a:lnTo>
                  <a:lnTo>
                    <a:pt x="0" y="14"/>
                  </a:lnTo>
                  <a:lnTo>
                    <a:pt x="0" y="13"/>
                  </a:lnTo>
                  <a:lnTo>
                    <a:pt x="1" y="12"/>
                  </a:lnTo>
                  <a:lnTo>
                    <a:pt x="2" y="9"/>
                  </a:lnTo>
                  <a:lnTo>
                    <a:pt x="4" y="8"/>
                  </a:lnTo>
                  <a:lnTo>
                    <a:pt x="5" y="7"/>
                  </a:lnTo>
                  <a:lnTo>
                    <a:pt x="6" y="6"/>
                  </a:lnTo>
                  <a:lnTo>
                    <a:pt x="7" y="6"/>
                  </a:lnTo>
                  <a:lnTo>
                    <a:pt x="8" y="5"/>
                  </a:lnTo>
                  <a:lnTo>
                    <a:pt x="9" y="5"/>
                  </a:lnTo>
                  <a:lnTo>
                    <a:pt x="10" y="3"/>
                  </a:lnTo>
                  <a:lnTo>
                    <a:pt x="12" y="3"/>
                  </a:lnTo>
                  <a:lnTo>
                    <a:pt x="13" y="2"/>
                  </a:lnTo>
                  <a:lnTo>
                    <a:pt x="14" y="2"/>
                  </a:lnTo>
                  <a:lnTo>
                    <a:pt x="15" y="2"/>
                  </a:lnTo>
                  <a:lnTo>
                    <a:pt x="16" y="1"/>
                  </a:lnTo>
                  <a:lnTo>
                    <a:pt x="17" y="1"/>
                  </a:lnTo>
                  <a:lnTo>
                    <a:pt x="19" y="1"/>
                  </a:lnTo>
                  <a:lnTo>
                    <a:pt x="20" y="0"/>
                  </a:lnTo>
                  <a:close/>
                </a:path>
              </a:pathLst>
            </a:custGeom>
            <a:solidFill>
              <a:srgbClr val="00539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t-IT" sz="1200" dirty="0">
                <a:solidFill>
                  <a:schemeClr val="lt1"/>
                </a:solidFill>
              </a:endParaRPr>
            </a:p>
          </p:txBody>
        </p:sp>
        <p:sp>
          <p:nvSpPr>
            <p:cNvPr id="166" name="Freeform 921">
              <a:extLst>
                <a:ext uri="{FF2B5EF4-FFF2-40B4-BE49-F238E27FC236}">
                  <a16:creationId xmlns:a16="http://schemas.microsoft.com/office/drawing/2014/main" id="{00F19E5E-6C42-4D3A-88B3-104AE6D9B391}"/>
                </a:ext>
              </a:extLst>
            </p:cNvPr>
            <p:cNvSpPr>
              <a:spLocks noEditPoints="1"/>
            </p:cNvSpPr>
            <p:nvPr/>
          </p:nvSpPr>
          <p:spPr bwMode="auto">
            <a:xfrm>
              <a:off x="6996348" y="2435054"/>
              <a:ext cx="173613" cy="85471"/>
            </a:xfrm>
            <a:custGeom>
              <a:avLst/>
              <a:gdLst>
                <a:gd name="T0" fmla="*/ 124 w 130"/>
                <a:gd name="T1" fmla="*/ 20 h 64"/>
                <a:gd name="T2" fmla="*/ 118 w 130"/>
                <a:gd name="T3" fmla="*/ 23 h 64"/>
                <a:gd name="T4" fmla="*/ 111 w 130"/>
                <a:gd name="T5" fmla="*/ 28 h 64"/>
                <a:gd name="T6" fmla="*/ 109 w 130"/>
                <a:gd name="T7" fmla="*/ 34 h 64"/>
                <a:gd name="T8" fmla="*/ 101 w 130"/>
                <a:gd name="T9" fmla="*/ 36 h 64"/>
                <a:gd name="T10" fmla="*/ 92 w 130"/>
                <a:gd name="T11" fmla="*/ 35 h 64"/>
                <a:gd name="T12" fmla="*/ 90 w 130"/>
                <a:gd name="T13" fmla="*/ 43 h 64"/>
                <a:gd name="T14" fmla="*/ 86 w 130"/>
                <a:gd name="T15" fmla="*/ 45 h 64"/>
                <a:gd name="T16" fmla="*/ 80 w 130"/>
                <a:gd name="T17" fmla="*/ 44 h 64"/>
                <a:gd name="T18" fmla="*/ 73 w 130"/>
                <a:gd name="T19" fmla="*/ 44 h 64"/>
                <a:gd name="T20" fmla="*/ 68 w 130"/>
                <a:gd name="T21" fmla="*/ 45 h 64"/>
                <a:gd name="T22" fmla="*/ 60 w 130"/>
                <a:gd name="T23" fmla="*/ 50 h 64"/>
                <a:gd name="T24" fmla="*/ 61 w 130"/>
                <a:gd name="T25" fmla="*/ 58 h 64"/>
                <a:gd name="T26" fmla="*/ 52 w 130"/>
                <a:gd name="T27" fmla="*/ 62 h 64"/>
                <a:gd name="T28" fmla="*/ 46 w 130"/>
                <a:gd name="T29" fmla="*/ 60 h 64"/>
                <a:gd name="T30" fmla="*/ 41 w 130"/>
                <a:gd name="T31" fmla="*/ 64 h 64"/>
                <a:gd name="T32" fmla="*/ 36 w 130"/>
                <a:gd name="T33" fmla="*/ 63 h 64"/>
                <a:gd name="T34" fmla="*/ 31 w 130"/>
                <a:gd name="T35" fmla="*/ 59 h 64"/>
                <a:gd name="T36" fmla="*/ 26 w 130"/>
                <a:gd name="T37" fmla="*/ 58 h 64"/>
                <a:gd name="T38" fmla="*/ 19 w 130"/>
                <a:gd name="T39" fmla="*/ 59 h 64"/>
                <a:gd name="T40" fmla="*/ 14 w 130"/>
                <a:gd name="T41" fmla="*/ 58 h 64"/>
                <a:gd name="T42" fmla="*/ 5 w 130"/>
                <a:gd name="T43" fmla="*/ 58 h 64"/>
                <a:gd name="T44" fmla="*/ 0 w 130"/>
                <a:gd name="T45" fmla="*/ 52 h 64"/>
                <a:gd name="T46" fmla="*/ 3 w 130"/>
                <a:gd name="T47" fmla="*/ 49 h 64"/>
                <a:gd name="T48" fmla="*/ 16 w 130"/>
                <a:gd name="T49" fmla="*/ 50 h 64"/>
                <a:gd name="T50" fmla="*/ 18 w 130"/>
                <a:gd name="T51" fmla="*/ 49 h 64"/>
                <a:gd name="T52" fmla="*/ 24 w 130"/>
                <a:gd name="T53" fmla="*/ 46 h 64"/>
                <a:gd name="T54" fmla="*/ 30 w 130"/>
                <a:gd name="T55" fmla="*/ 48 h 64"/>
                <a:gd name="T56" fmla="*/ 33 w 130"/>
                <a:gd name="T57" fmla="*/ 46 h 64"/>
                <a:gd name="T58" fmla="*/ 38 w 130"/>
                <a:gd name="T59" fmla="*/ 45 h 64"/>
                <a:gd name="T60" fmla="*/ 39 w 130"/>
                <a:gd name="T61" fmla="*/ 43 h 64"/>
                <a:gd name="T62" fmla="*/ 45 w 130"/>
                <a:gd name="T63" fmla="*/ 38 h 64"/>
                <a:gd name="T64" fmla="*/ 37 w 130"/>
                <a:gd name="T65" fmla="*/ 36 h 64"/>
                <a:gd name="T66" fmla="*/ 31 w 130"/>
                <a:gd name="T67" fmla="*/ 32 h 64"/>
                <a:gd name="T68" fmla="*/ 24 w 130"/>
                <a:gd name="T69" fmla="*/ 29 h 64"/>
                <a:gd name="T70" fmla="*/ 23 w 130"/>
                <a:gd name="T71" fmla="*/ 30 h 64"/>
                <a:gd name="T72" fmla="*/ 19 w 130"/>
                <a:gd name="T73" fmla="*/ 32 h 64"/>
                <a:gd name="T74" fmla="*/ 15 w 130"/>
                <a:gd name="T75" fmla="*/ 31 h 64"/>
                <a:gd name="T76" fmla="*/ 8 w 130"/>
                <a:gd name="T77" fmla="*/ 29 h 64"/>
                <a:gd name="T78" fmla="*/ 7 w 130"/>
                <a:gd name="T79" fmla="*/ 24 h 64"/>
                <a:gd name="T80" fmla="*/ 11 w 130"/>
                <a:gd name="T81" fmla="*/ 18 h 64"/>
                <a:gd name="T82" fmla="*/ 10 w 130"/>
                <a:gd name="T83" fmla="*/ 15 h 64"/>
                <a:gd name="T84" fmla="*/ 11 w 130"/>
                <a:gd name="T85" fmla="*/ 10 h 64"/>
                <a:gd name="T86" fmla="*/ 17 w 130"/>
                <a:gd name="T87" fmla="*/ 7 h 64"/>
                <a:gd name="T88" fmla="*/ 29 w 130"/>
                <a:gd name="T89" fmla="*/ 9 h 64"/>
                <a:gd name="T90" fmla="*/ 38 w 130"/>
                <a:gd name="T91" fmla="*/ 11 h 64"/>
                <a:gd name="T92" fmla="*/ 39 w 130"/>
                <a:gd name="T93" fmla="*/ 10 h 64"/>
                <a:gd name="T94" fmla="*/ 40 w 130"/>
                <a:gd name="T95" fmla="*/ 3 h 64"/>
                <a:gd name="T96" fmla="*/ 47 w 130"/>
                <a:gd name="T97" fmla="*/ 1 h 64"/>
                <a:gd name="T98" fmla="*/ 57 w 130"/>
                <a:gd name="T99" fmla="*/ 4 h 64"/>
                <a:gd name="T100" fmla="*/ 66 w 130"/>
                <a:gd name="T101" fmla="*/ 7 h 64"/>
                <a:gd name="T102" fmla="*/ 73 w 130"/>
                <a:gd name="T103" fmla="*/ 6 h 64"/>
                <a:gd name="T104" fmla="*/ 81 w 130"/>
                <a:gd name="T105" fmla="*/ 4 h 64"/>
                <a:gd name="T106" fmla="*/ 90 w 130"/>
                <a:gd name="T107" fmla="*/ 6 h 64"/>
                <a:gd name="T108" fmla="*/ 100 w 130"/>
                <a:gd name="T109" fmla="*/ 6 h 64"/>
                <a:gd name="T110" fmla="*/ 107 w 130"/>
                <a:gd name="T111" fmla="*/ 7 h 64"/>
                <a:gd name="T112" fmla="*/ 115 w 130"/>
                <a:gd name="T113" fmla="*/ 10 h 64"/>
                <a:gd name="T114" fmla="*/ 125 w 130"/>
                <a:gd name="T115" fmla="*/ 14 h 64"/>
                <a:gd name="T116" fmla="*/ 21 w 130"/>
                <a:gd name="T117" fmla="*/ 49 h 64"/>
                <a:gd name="T118" fmla="*/ 25 w 130"/>
                <a:gd name="T119" fmla="*/ 52 h 64"/>
                <a:gd name="T120" fmla="*/ 32 w 130"/>
                <a:gd name="T121" fmla="*/ 52 h 64"/>
                <a:gd name="T122" fmla="*/ 17 w 130"/>
                <a:gd name="T123" fmla="*/ 5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0" h="64">
                  <a:moveTo>
                    <a:pt x="129" y="16"/>
                  </a:moveTo>
                  <a:lnTo>
                    <a:pt x="129" y="17"/>
                  </a:lnTo>
                  <a:lnTo>
                    <a:pt x="129" y="18"/>
                  </a:lnTo>
                  <a:lnTo>
                    <a:pt x="130" y="18"/>
                  </a:lnTo>
                  <a:lnTo>
                    <a:pt x="130" y="20"/>
                  </a:lnTo>
                  <a:lnTo>
                    <a:pt x="129" y="20"/>
                  </a:lnTo>
                  <a:lnTo>
                    <a:pt x="125" y="20"/>
                  </a:lnTo>
                  <a:lnTo>
                    <a:pt x="124" y="20"/>
                  </a:lnTo>
                  <a:lnTo>
                    <a:pt x="124" y="21"/>
                  </a:lnTo>
                  <a:lnTo>
                    <a:pt x="124" y="22"/>
                  </a:lnTo>
                  <a:lnTo>
                    <a:pt x="123" y="22"/>
                  </a:lnTo>
                  <a:lnTo>
                    <a:pt x="122" y="22"/>
                  </a:lnTo>
                  <a:lnTo>
                    <a:pt x="121" y="22"/>
                  </a:lnTo>
                  <a:lnTo>
                    <a:pt x="121" y="23"/>
                  </a:lnTo>
                  <a:lnTo>
                    <a:pt x="119" y="23"/>
                  </a:lnTo>
                  <a:lnTo>
                    <a:pt x="118" y="23"/>
                  </a:lnTo>
                  <a:lnTo>
                    <a:pt x="118" y="24"/>
                  </a:lnTo>
                  <a:lnTo>
                    <a:pt x="117" y="24"/>
                  </a:lnTo>
                  <a:lnTo>
                    <a:pt x="116" y="25"/>
                  </a:lnTo>
                  <a:lnTo>
                    <a:pt x="115" y="25"/>
                  </a:lnTo>
                  <a:lnTo>
                    <a:pt x="114" y="27"/>
                  </a:lnTo>
                  <a:lnTo>
                    <a:pt x="112" y="27"/>
                  </a:lnTo>
                  <a:lnTo>
                    <a:pt x="112" y="28"/>
                  </a:lnTo>
                  <a:lnTo>
                    <a:pt x="111" y="28"/>
                  </a:lnTo>
                  <a:lnTo>
                    <a:pt x="110" y="28"/>
                  </a:lnTo>
                  <a:lnTo>
                    <a:pt x="110" y="29"/>
                  </a:lnTo>
                  <a:lnTo>
                    <a:pt x="109" y="29"/>
                  </a:lnTo>
                  <a:lnTo>
                    <a:pt x="109" y="30"/>
                  </a:lnTo>
                  <a:lnTo>
                    <a:pt x="110" y="31"/>
                  </a:lnTo>
                  <a:lnTo>
                    <a:pt x="109" y="31"/>
                  </a:lnTo>
                  <a:lnTo>
                    <a:pt x="109" y="32"/>
                  </a:lnTo>
                  <a:lnTo>
                    <a:pt x="109" y="34"/>
                  </a:lnTo>
                  <a:lnTo>
                    <a:pt x="108" y="34"/>
                  </a:lnTo>
                  <a:lnTo>
                    <a:pt x="108" y="35"/>
                  </a:lnTo>
                  <a:lnTo>
                    <a:pt x="107" y="35"/>
                  </a:lnTo>
                  <a:lnTo>
                    <a:pt x="104" y="35"/>
                  </a:lnTo>
                  <a:lnTo>
                    <a:pt x="103" y="35"/>
                  </a:lnTo>
                  <a:lnTo>
                    <a:pt x="102" y="35"/>
                  </a:lnTo>
                  <a:lnTo>
                    <a:pt x="101" y="35"/>
                  </a:lnTo>
                  <a:lnTo>
                    <a:pt x="101" y="36"/>
                  </a:lnTo>
                  <a:lnTo>
                    <a:pt x="100" y="36"/>
                  </a:lnTo>
                  <a:lnTo>
                    <a:pt x="100" y="35"/>
                  </a:lnTo>
                  <a:lnTo>
                    <a:pt x="99" y="35"/>
                  </a:lnTo>
                  <a:lnTo>
                    <a:pt x="97" y="35"/>
                  </a:lnTo>
                  <a:lnTo>
                    <a:pt x="95" y="35"/>
                  </a:lnTo>
                  <a:lnTo>
                    <a:pt x="94" y="35"/>
                  </a:lnTo>
                  <a:lnTo>
                    <a:pt x="93" y="35"/>
                  </a:lnTo>
                  <a:lnTo>
                    <a:pt x="92" y="35"/>
                  </a:lnTo>
                  <a:lnTo>
                    <a:pt x="92" y="36"/>
                  </a:lnTo>
                  <a:lnTo>
                    <a:pt x="92" y="37"/>
                  </a:lnTo>
                  <a:lnTo>
                    <a:pt x="92" y="38"/>
                  </a:lnTo>
                  <a:lnTo>
                    <a:pt x="90" y="38"/>
                  </a:lnTo>
                  <a:lnTo>
                    <a:pt x="90" y="39"/>
                  </a:lnTo>
                  <a:lnTo>
                    <a:pt x="90" y="41"/>
                  </a:lnTo>
                  <a:lnTo>
                    <a:pt x="90" y="42"/>
                  </a:lnTo>
                  <a:lnTo>
                    <a:pt x="90" y="43"/>
                  </a:lnTo>
                  <a:lnTo>
                    <a:pt x="90" y="44"/>
                  </a:lnTo>
                  <a:lnTo>
                    <a:pt x="89" y="44"/>
                  </a:lnTo>
                  <a:lnTo>
                    <a:pt x="89" y="45"/>
                  </a:lnTo>
                  <a:lnTo>
                    <a:pt x="88" y="45"/>
                  </a:lnTo>
                  <a:lnTo>
                    <a:pt x="88" y="44"/>
                  </a:lnTo>
                  <a:lnTo>
                    <a:pt x="87" y="44"/>
                  </a:lnTo>
                  <a:lnTo>
                    <a:pt x="87" y="45"/>
                  </a:lnTo>
                  <a:lnTo>
                    <a:pt x="86" y="45"/>
                  </a:lnTo>
                  <a:lnTo>
                    <a:pt x="85" y="45"/>
                  </a:lnTo>
                  <a:lnTo>
                    <a:pt x="83" y="45"/>
                  </a:lnTo>
                  <a:lnTo>
                    <a:pt x="83" y="46"/>
                  </a:lnTo>
                  <a:lnTo>
                    <a:pt x="82" y="46"/>
                  </a:lnTo>
                  <a:lnTo>
                    <a:pt x="81" y="46"/>
                  </a:lnTo>
                  <a:lnTo>
                    <a:pt x="80" y="46"/>
                  </a:lnTo>
                  <a:lnTo>
                    <a:pt x="80" y="45"/>
                  </a:lnTo>
                  <a:lnTo>
                    <a:pt x="80" y="44"/>
                  </a:lnTo>
                  <a:lnTo>
                    <a:pt x="79" y="43"/>
                  </a:lnTo>
                  <a:lnTo>
                    <a:pt x="78" y="42"/>
                  </a:lnTo>
                  <a:lnTo>
                    <a:pt x="78" y="41"/>
                  </a:lnTo>
                  <a:lnTo>
                    <a:pt x="76" y="41"/>
                  </a:lnTo>
                  <a:lnTo>
                    <a:pt x="76" y="42"/>
                  </a:lnTo>
                  <a:lnTo>
                    <a:pt x="74" y="43"/>
                  </a:lnTo>
                  <a:lnTo>
                    <a:pt x="74" y="44"/>
                  </a:lnTo>
                  <a:lnTo>
                    <a:pt x="73" y="44"/>
                  </a:lnTo>
                  <a:lnTo>
                    <a:pt x="72" y="44"/>
                  </a:lnTo>
                  <a:lnTo>
                    <a:pt x="71" y="44"/>
                  </a:lnTo>
                  <a:lnTo>
                    <a:pt x="69" y="43"/>
                  </a:lnTo>
                  <a:lnTo>
                    <a:pt x="68" y="43"/>
                  </a:lnTo>
                  <a:lnTo>
                    <a:pt x="68" y="44"/>
                  </a:lnTo>
                  <a:lnTo>
                    <a:pt x="69" y="45"/>
                  </a:lnTo>
                  <a:lnTo>
                    <a:pt x="69" y="46"/>
                  </a:lnTo>
                  <a:lnTo>
                    <a:pt x="68" y="45"/>
                  </a:lnTo>
                  <a:lnTo>
                    <a:pt x="67" y="46"/>
                  </a:lnTo>
                  <a:lnTo>
                    <a:pt x="66" y="48"/>
                  </a:lnTo>
                  <a:lnTo>
                    <a:pt x="66" y="49"/>
                  </a:lnTo>
                  <a:lnTo>
                    <a:pt x="65" y="49"/>
                  </a:lnTo>
                  <a:lnTo>
                    <a:pt x="64" y="50"/>
                  </a:lnTo>
                  <a:lnTo>
                    <a:pt x="62" y="49"/>
                  </a:lnTo>
                  <a:lnTo>
                    <a:pt x="61" y="50"/>
                  </a:lnTo>
                  <a:lnTo>
                    <a:pt x="60" y="50"/>
                  </a:lnTo>
                  <a:lnTo>
                    <a:pt x="60" y="51"/>
                  </a:lnTo>
                  <a:lnTo>
                    <a:pt x="59" y="52"/>
                  </a:lnTo>
                  <a:lnTo>
                    <a:pt x="59" y="53"/>
                  </a:lnTo>
                  <a:lnTo>
                    <a:pt x="59" y="55"/>
                  </a:lnTo>
                  <a:lnTo>
                    <a:pt x="60" y="55"/>
                  </a:lnTo>
                  <a:lnTo>
                    <a:pt x="60" y="56"/>
                  </a:lnTo>
                  <a:lnTo>
                    <a:pt x="61" y="57"/>
                  </a:lnTo>
                  <a:lnTo>
                    <a:pt x="61" y="58"/>
                  </a:lnTo>
                  <a:lnTo>
                    <a:pt x="61" y="59"/>
                  </a:lnTo>
                  <a:lnTo>
                    <a:pt x="60" y="59"/>
                  </a:lnTo>
                  <a:lnTo>
                    <a:pt x="58" y="59"/>
                  </a:lnTo>
                  <a:lnTo>
                    <a:pt x="57" y="59"/>
                  </a:lnTo>
                  <a:lnTo>
                    <a:pt x="54" y="59"/>
                  </a:lnTo>
                  <a:lnTo>
                    <a:pt x="54" y="60"/>
                  </a:lnTo>
                  <a:lnTo>
                    <a:pt x="53" y="62"/>
                  </a:lnTo>
                  <a:lnTo>
                    <a:pt x="52" y="62"/>
                  </a:lnTo>
                  <a:lnTo>
                    <a:pt x="52" y="60"/>
                  </a:lnTo>
                  <a:lnTo>
                    <a:pt x="51" y="60"/>
                  </a:lnTo>
                  <a:lnTo>
                    <a:pt x="51" y="62"/>
                  </a:lnTo>
                  <a:lnTo>
                    <a:pt x="50" y="62"/>
                  </a:lnTo>
                  <a:lnTo>
                    <a:pt x="50" y="60"/>
                  </a:lnTo>
                  <a:lnTo>
                    <a:pt x="48" y="60"/>
                  </a:lnTo>
                  <a:lnTo>
                    <a:pt x="48" y="62"/>
                  </a:lnTo>
                  <a:lnTo>
                    <a:pt x="46" y="60"/>
                  </a:lnTo>
                  <a:lnTo>
                    <a:pt x="45" y="60"/>
                  </a:lnTo>
                  <a:lnTo>
                    <a:pt x="45" y="62"/>
                  </a:lnTo>
                  <a:lnTo>
                    <a:pt x="44" y="60"/>
                  </a:lnTo>
                  <a:lnTo>
                    <a:pt x="44" y="62"/>
                  </a:lnTo>
                  <a:lnTo>
                    <a:pt x="43" y="62"/>
                  </a:lnTo>
                  <a:lnTo>
                    <a:pt x="41" y="62"/>
                  </a:lnTo>
                  <a:lnTo>
                    <a:pt x="41" y="63"/>
                  </a:lnTo>
                  <a:lnTo>
                    <a:pt x="41" y="64"/>
                  </a:lnTo>
                  <a:lnTo>
                    <a:pt x="40" y="63"/>
                  </a:lnTo>
                  <a:lnTo>
                    <a:pt x="39" y="63"/>
                  </a:lnTo>
                  <a:lnTo>
                    <a:pt x="39" y="62"/>
                  </a:lnTo>
                  <a:lnTo>
                    <a:pt x="38" y="62"/>
                  </a:lnTo>
                  <a:lnTo>
                    <a:pt x="38" y="60"/>
                  </a:lnTo>
                  <a:lnTo>
                    <a:pt x="38" y="62"/>
                  </a:lnTo>
                  <a:lnTo>
                    <a:pt x="37" y="62"/>
                  </a:lnTo>
                  <a:lnTo>
                    <a:pt x="36" y="63"/>
                  </a:lnTo>
                  <a:lnTo>
                    <a:pt x="35" y="63"/>
                  </a:lnTo>
                  <a:lnTo>
                    <a:pt x="35" y="62"/>
                  </a:lnTo>
                  <a:lnTo>
                    <a:pt x="33" y="62"/>
                  </a:lnTo>
                  <a:lnTo>
                    <a:pt x="35" y="62"/>
                  </a:lnTo>
                  <a:lnTo>
                    <a:pt x="35" y="60"/>
                  </a:lnTo>
                  <a:lnTo>
                    <a:pt x="33" y="59"/>
                  </a:lnTo>
                  <a:lnTo>
                    <a:pt x="32" y="59"/>
                  </a:lnTo>
                  <a:lnTo>
                    <a:pt x="31" y="59"/>
                  </a:lnTo>
                  <a:lnTo>
                    <a:pt x="30" y="59"/>
                  </a:lnTo>
                  <a:lnTo>
                    <a:pt x="30" y="58"/>
                  </a:lnTo>
                  <a:lnTo>
                    <a:pt x="31" y="58"/>
                  </a:lnTo>
                  <a:lnTo>
                    <a:pt x="30" y="57"/>
                  </a:lnTo>
                  <a:lnTo>
                    <a:pt x="29" y="57"/>
                  </a:lnTo>
                  <a:lnTo>
                    <a:pt x="29" y="58"/>
                  </a:lnTo>
                  <a:lnTo>
                    <a:pt x="28" y="58"/>
                  </a:lnTo>
                  <a:lnTo>
                    <a:pt x="26" y="58"/>
                  </a:lnTo>
                  <a:lnTo>
                    <a:pt x="25" y="58"/>
                  </a:lnTo>
                  <a:lnTo>
                    <a:pt x="25" y="59"/>
                  </a:lnTo>
                  <a:lnTo>
                    <a:pt x="24" y="60"/>
                  </a:lnTo>
                  <a:lnTo>
                    <a:pt x="23" y="60"/>
                  </a:lnTo>
                  <a:lnTo>
                    <a:pt x="22" y="60"/>
                  </a:lnTo>
                  <a:lnTo>
                    <a:pt x="21" y="60"/>
                  </a:lnTo>
                  <a:lnTo>
                    <a:pt x="21" y="59"/>
                  </a:lnTo>
                  <a:lnTo>
                    <a:pt x="19" y="59"/>
                  </a:lnTo>
                  <a:lnTo>
                    <a:pt x="19" y="58"/>
                  </a:lnTo>
                  <a:lnTo>
                    <a:pt x="18" y="58"/>
                  </a:lnTo>
                  <a:lnTo>
                    <a:pt x="17" y="58"/>
                  </a:lnTo>
                  <a:lnTo>
                    <a:pt x="17" y="57"/>
                  </a:lnTo>
                  <a:lnTo>
                    <a:pt x="16" y="57"/>
                  </a:lnTo>
                  <a:lnTo>
                    <a:pt x="16" y="58"/>
                  </a:lnTo>
                  <a:lnTo>
                    <a:pt x="15" y="58"/>
                  </a:lnTo>
                  <a:lnTo>
                    <a:pt x="14" y="58"/>
                  </a:lnTo>
                  <a:lnTo>
                    <a:pt x="14" y="57"/>
                  </a:lnTo>
                  <a:lnTo>
                    <a:pt x="12" y="58"/>
                  </a:lnTo>
                  <a:lnTo>
                    <a:pt x="11" y="58"/>
                  </a:lnTo>
                  <a:lnTo>
                    <a:pt x="10" y="58"/>
                  </a:lnTo>
                  <a:lnTo>
                    <a:pt x="9" y="58"/>
                  </a:lnTo>
                  <a:lnTo>
                    <a:pt x="8" y="58"/>
                  </a:lnTo>
                  <a:lnTo>
                    <a:pt x="7" y="58"/>
                  </a:lnTo>
                  <a:lnTo>
                    <a:pt x="5" y="58"/>
                  </a:lnTo>
                  <a:lnTo>
                    <a:pt x="4" y="58"/>
                  </a:lnTo>
                  <a:lnTo>
                    <a:pt x="3" y="58"/>
                  </a:lnTo>
                  <a:lnTo>
                    <a:pt x="2" y="58"/>
                  </a:lnTo>
                  <a:lnTo>
                    <a:pt x="1" y="56"/>
                  </a:lnTo>
                  <a:lnTo>
                    <a:pt x="1" y="55"/>
                  </a:lnTo>
                  <a:lnTo>
                    <a:pt x="0" y="55"/>
                  </a:lnTo>
                  <a:lnTo>
                    <a:pt x="0" y="53"/>
                  </a:lnTo>
                  <a:lnTo>
                    <a:pt x="0" y="52"/>
                  </a:lnTo>
                  <a:lnTo>
                    <a:pt x="0" y="51"/>
                  </a:lnTo>
                  <a:lnTo>
                    <a:pt x="1" y="51"/>
                  </a:lnTo>
                  <a:lnTo>
                    <a:pt x="2" y="52"/>
                  </a:lnTo>
                  <a:lnTo>
                    <a:pt x="3" y="52"/>
                  </a:lnTo>
                  <a:lnTo>
                    <a:pt x="2" y="51"/>
                  </a:lnTo>
                  <a:lnTo>
                    <a:pt x="2" y="50"/>
                  </a:lnTo>
                  <a:lnTo>
                    <a:pt x="2" y="49"/>
                  </a:lnTo>
                  <a:lnTo>
                    <a:pt x="3" y="49"/>
                  </a:lnTo>
                  <a:lnTo>
                    <a:pt x="8" y="48"/>
                  </a:lnTo>
                  <a:lnTo>
                    <a:pt x="10" y="49"/>
                  </a:lnTo>
                  <a:lnTo>
                    <a:pt x="11" y="49"/>
                  </a:lnTo>
                  <a:lnTo>
                    <a:pt x="12" y="49"/>
                  </a:lnTo>
                  <a:lnTo>
                    <a:pt x="12" y="50"/>
                  </a:lnTo>
                  <a:lnTo>
                    <a:pt x="14" y="50"/>
                  </a:lnTo>
                  <a:lnTo>
                    <a:pt x="15" y="50"/>
                  </a:lnTo>
                  <a:lnTo>
                    <a:pt x="16" y="50"/>
                  </a:lnTo>
                  <a:lnTo>
                    <a:pt x="16" y="51"/>
                  </a:lnTo>
                  <a:lnTo>
                    <a:pt x="15" y="51"/>
                  </a:lnTo>
                  <a:lnTo>
                    <a:pt x="15" y="52"/>
                  </a:lnTo>
                  <a:lnTo>
                    <a:pt x="16" y="52"/>
                  </a:lnTo>
                  <a:lnTo>
                    <a:pt x="17" y="51"/>
                  </a:lnTo>
                  <a:lnTo>
                    <a:pt x="17" y="50"/>
                  </a:lnTo>
                  <a:lnTo>
                    <a:pt x="17" y="49"/>
                  </a:lnTo>
                  <a:lnTo>
                    <a:pt x="18" y="49"/>
                  </a:lnTo>
                  <a:lnTo>
                    <a:pt x="19" y="49"/>
                  </a:lnTo>
                  <a:lnTo>
                    <a:pt x="21" y="49"/>
                  </a:lnTo>
                  <a:lnTo>
                    <a:pt x="21" y="48"/>
                  </a:lnTo>
                  <a:lnTo>
                    <a:pt x="21" y="46"/>
                  </a:lnTo>
                  <a:lnTo>
                    <a:pt x="22" y="46"/>
                  </a:lnTo>
                  <a:lnTo>
                    <a:pt x="23" y="46"/>
                  </a:lnTo>
                  <a:lnTo>
                    <a:pt x="24" y="45"/>
                  </a:lnTo>
                  <a:lnTo>
                    <a:pt x="24" y="46"/>
                  </a:lnTo>
                  <a:lnTo>
                    <a:pt x="25" y="46"/>
                  </a:lnTo>
                  <a:lnTo>
                    <a:pt x="26" y="46"/>
                  </a:lnTo>
                  <a:lnTo>
                    <a:pt x="26" y="48"/>
                  </a:lnTo>
                  <a:lnTo>
                    <a:pt x="28" y="48"/>
                  </a:lnTo>
                  <a:lnTo>
                    <a:pt x="29" y="48"/>
                  </a:lnTo>
                  <a:lnTo>
                    <a:pt x="29" y="46"/>
                  </a:lnTo>
                  <a:lnTo>
                    <a:pt x="29" y="48"/>
                  </a:lnTo>
                  <a:lnTo>
                    <a:pt x="30" y="48"/>
                  </a:lnTo>
                  <a:lnTo>
                    <a:pt x="30" y="49"/>
                  </a:lnTo>
                  <a:lnTo>
                    <a:pt x="31" y="49"/>
                  </a:lnTo>
                  <a:lnTo>
                    <a:pt x="31" y="48"/>
                  </a:lnTo>
                  <a:lnTo>
                    <a:pt x="31" y="46"/>
                  </a:lnTo>
                  <a:lnTo>
                    <a:pt x="32" y="46"/>
                  </a:lnTo>
                  <a:lnTo>
                    <a:pt x="32" y="48"/>
                  </a:lnTo>
                  <a:lnTo>
                    <a:pt x="33" y="48"/>
                  </a:lnTo>
                  <a:lnTo>
                    <a:pt x="33" y="46"/>
                  </a:lnTo>
                  <a:lnTo>
                    <a:pt x="32" y="46"/>
                  </a:lnTo>
                  <a:lnTo>
                    <a:pt x="33" y="45"/>
                  </a:lnTo>
                  <a:lnTo>
                    <a:pt x="33" y="44"/>
                  </a:lnTo>
                  <a:lnTo>
                    <a:pt x="35" y="44"/>
                  </a:lnTo>
                  <a:lnTo>
                    <a:pt x="36" y="44"/>
                  </a:lnTo>
                  <a:lnTo>
                    <a:pt x="37" y="44"/>
                  </a:lnTo>
                  <a:lnTo>
                    <a:pt x="37" y="45"/>
                  </a:lnTo>
                  <a:lnTo>
                    <a:pt x="38" y="45"/>
                  </a:lnTo>
                  <a:lnTo>
                    <a:pt x="38" y="44"/>
                  </a:lnTo>
                  <a:lnTo>
                    <a:pt x="38" y="43"/>
                  </a:lnTo>
                  <a:lnTo>
                    <a:pt x="37" y="43"/>
                  </a:lnTo>
                  <a:lnTo>
                    <a:pt x="37" y="42"/>
                  </a:lnTo>
                  <a:lnTo>
                    <a:pt x="36" y="42"/>
                  </a:lnTo>
                  <a:lnTo>
                    <a:pt x="37" y="42"/>
                  </a:lnTo>
                  <a:lnTo>
                    <a:pt x="38" y="42"/>
                  </a:lnTo>
                  <a:lnTo>
                    <a:pt x="39" y="43"/>
                  </a:lnTo>
                  <a:lnTo>
                    <a:pt x="40" y="43"/>
                  </a:lnTo>
                  <a:lnTo>
                    <a:pt x="40" y="42"/>
                  </a:lnTo>
                  <a:lnTo>
                    <a:pt x="41" y="42"/>
                  </a:lnTo>
                  <a:lnTo>
                    <a:pt x="41" y="41"/>
                  </a:lnTo>
                  <a:lnTo>
                    <a:pt x="43" y="39"/>
                  </a:lnTo>
                  <a:lnTo>
                    <a:pt x="44" y="39"/>
                  </a:lnTo>
                  <a:lnTo>
                    <a:pt x="45" y="39"/>
                  </a:lnTo>
                  <a:lnTo>
                    <a:pt x="45" y="38"/>
                  </a:lnTo>
                  <a:lnTo>
                    <a:pt x="44" y="38"/>
                  </a:lnTo>
                  <a:lnTo>
                    <a:pt x="44" y="37"/>
                  </a:lnTo>
                  <a:lnTo>
                    <a:pt x="43" y="37"/>
                  </a:lnTo>
                  <a:lnTo>
                    <a:pt x="41" y="38"/>
                  </a:lnTo>
                  <a:lnTo>
                    <a:pt x="41" y="37"/>
                  </a:lnTo>
                  <a:lnTo>
                    <a:pt x="39" y="37"/>
                  </a:lnTo>
                  <a:lnTo>
                    <a:pt x="38" y="37"/>
                  </a:lnTo>
                  <a:lnTo>
                    <a:pt x="37" y="36"/>
                  </a:lnTo>
                  <a:lnTo>
                    <a:pt x="36" y="36"/>
                  </a:lnTo>
                  <a:lnTo>
                    <a:pt x="36" y="35"/>
                  </a:lnTo>
                  <a:lnTo>
                    <a:pt x="35" y="35"/>
                  </a:lnTo>
                  <a:lnTo>
                    <a:pt x="33" y="34"/>
                  </a:lnTo>
                  <a:lnTo>
                    <a:pt x="33" y="35"/>
                  </a:lnTo>
                  <a:lnTo>
                    <a:pt x="32" y="35"/>
                  </a:lnTo>
                  <a:lnTo>
                    <a:pt x="31" y="34"/>
                  </a:lnTo>
                  <a:lnTo>
                    <a:pt x="31" y="32"/>
                  </a:lnTo>
                  <a:lnTo>
                    <a:pt x="30" y="32"/>
                  </a:lnTo>
                  <a:lnTo>
                    <a:pt x="29" y="32"/>
                  </a:lnTo>
                  <a:lnTo>
                    <a:pt x="28" y="32"/>
                  </a:lnTo>
                  <a:lnTo>
                    <a:pt x="28" y="31"/>
                  </a:lnTo>
                  <a:lnTo>
                    <a:pt x="26" y="31"/>
                  </a:lnTo>
                  <a:lnTo>
                    <a:pt x="26" y="30"/>
                  </a:lnTo>
                  <a:lnTo>
                    <a:pt x="24" y="28"/>
                  </a:lnTo>
                  <a:lnTo>
                    <a:pt x="24" y="29"/>
                  </a:lnTo>
                  <a:lnTo>
                    <a:pt x="24" y="28"/>
                  </a:lnTo>
                  <a:lnTo>
                    <a:pt x="24" y="29"/>
                  </a:lnTo>
                  <a:lnTo>
                    <a:pt x="24" y="28"/>
                  </a:lnTo>
                  <a:lnTo>
                    <a:pt x="23" y="27"/>
                  </a:lnTo>
                  <a:lnTo>
                    <a:pt x="22" y="28"/>
                  </a:lnTo>
                  <a:lnTo>
                    <a:pt x="23" y="28"/>
                  </a:lnTo>
                  <a:lnTo>
                    <a:pt x="23" y="29"/>
                  </a:lnTo>
                  <a:lnTo>
                    <a:pt x="23" y="30"/>
                  </a:lnTo>
                  <a:lnTo>
                    <a:pt x="22" y="30"/>
                  </a:lnTo>
                  <a:lnTo>
                    <a:pt x="21" y="30"/>
                  </a:lnTo>
                  <a:lnTo>
                    <a:pt x="22" y="32"/>
                  </a:lnTo>
                  <a:lnTo>
                    <a:pt x="22" y="34"/>
                  </a:lnTo>
                  <a:lnTo>
                    <a:pt x="21" y="32"/>
                  </a:lnTo>
                  <a:lnTo>
                    <a:pt x="21" y="34"/>
                  </a:lnTo>
                  <a:lnTo>
                    <a:pt x="19" y="34"/>
                  </a:lnTo>
                  <a:lnTo>
                    <a:pt x="19" y="32"/>
                  </a:lnTo>
                  <a:lnTo>
                    <a:pt x="18" y="32"/>
                  </a:lnTo>
                  <a:lnTo>
                    <a:pt x="19" y="34"/>
                  </a:lnTo>
                  <a:lnTo>
                    <a:pt x="18" y="34"/>
                  </a:lnTo>
                  <a:lnTo>
                    <a:pt x="18" y="32"/>
                  </a:lnTo>
                  <a:lnTo>
                    <a:pt x="17" y="32"/>
                  </a:lnTo>
                  <a:lnTo>
                    <a:pt x="16" y="32"/>
                  </a:lnTo>
                  <a:lnTo>
                    <a:pt x="15" y="32"/>
                  </a:lnTo>
                  <a:lnTo>
                    <a:pt x="15" y="31"/>
                  </a:lnTo>
                  <a:lnTo>
                    <a:pt x="14" y="31"/>
                  </a:lnTo>
                  <a:lnTo>
                    <a:pt x="12" y="31"/>
                  </a:lnTo>
                  <a:lnTo>
                    <a:pt x="12" y="30"/>
                  </a:lnTo>
                  <a:lnTo>
                    <a:pt x="12" y="29"/>
                  </a:lnTo>
                  <a:lnTo>
                    <a:pt x="11" y="28"/>
                  </a:lnTo>
                  <a:lnTo>
                    <a:pt x="10" y="28"/>
                  </a:lnTo>
                  <a:lnTo>
                    <a:pt x="9" y="29"/>
                  </a:lnTo>
                  <a:lnTo>
                    <a:pt x="8" y="29"/>
                  </a:lnTo>
                  <a:lnTo>
                    <a:pt x="8" y="28"/>
                  </a:lnTo>
                  <a:lnTo>
                    <a:pt x="7" y="28"/>
                  </a:lnTo>
                  <a:lnTo>
                    <a:pt x="4" y="28"/>
                  </a:lnTo>
                  <a:lnTo>
                    <a:pt x="4" y="27"/>
                  </a:lnTo>
                  <a:lnTo>
                    <a:pt x="3" y="27"/>
                  </a:lnTo>
                  <a:lnTo>
                    <a:pt x="5" y="25"/>
                  </a:lnTo>
                  <a:lnTo>
                    <a:pt x="5" y="24"/>
                  </a:lnTo>
                  <a:lnTo>
                    <a:pt x="7" y="24"/>
                  </a:lnTo>
                  <a:lnTo>
                    <a:pt x="7" y="23"/>
                  </a:lnTo>
                  <a:lnTo>
                    <a:pt x="8" y="22"/>
                  </a:lnTo>
                  <a:lnTo>
                    <a:pt x="8" y="21"/>
                  </a:lnTo>
                  <a:lnTo>
                    <a:pt x="9" y="21"/>
                  </a:lnTo>
                  <a:lnTo>
                    <a:pt x="10" y="21"/>
                  </a:lnTo>
                  <a:lnTo>
                    <a:pt x="10" y="20"/>
                  </a:lnTo>
                  <a:lnTo>
                    <a:pt x="10" y="18"/>
                  </a:lnTo>
                  <a:lnTo>
                    <a:pt x="11" y="18"/>
                  </a:lnTo>
                  <a:lnTo>
                    <a:pt x="14" y="17"/>
                  </a:lnTo>
                  <a:lnTo>
                    <a:pt x="15" y="17"/>
                  </a:lnTo>
                  <a:lnTo>
                    <a:pt x="15" y="16"/>
                  </a:lnTo>
                  <a:lnTo>
                    <a:pt x="14" y="16"/>
                  </a:lnTo>
                  <a:lnTo>
                    <a:pt x="11" y="15"/>
                  </a:lnTo>
                  <a:lnTo>
                    <a:pt x="10" y="15"/>
                  </a:lnTo>
                  <a:lnTo>
                    <a:pt x="10" y="16"/>
                  </a:lnTo>
                  <a:lnTo>
                    <a:pt x="10" y="15"/>
                  </a:lnTo>
                  <a:lnTo>
                    <a:pt x="9" y="15"/>
                  </a:lnTo>
                  <a:lnTo>
                    <a:pt x="9" y="14"/>
                  </a:lnTo>
                  <a:lnTo>
                    <a:pt x="9" y="13"/>
                  </a:lnTo>
                  <a:lnTo>
                    <a:pt x="10" y="13"/>
                  </a:lnTo>
                  <a:lnTo>
                    <a:pt x="10" y="11"/>
                  </a:lnTo>
                  <a:lnTo>
                    <a:pt x="9" y="10"/>
                  </a:lnTo>
                  <a:lnTo>
                    <a:pt x="10" y="10"/>
                  </a:lnTo>
                  <a:lnTo>
                    <a:pt x="11" y="10"/>
                  </a:lnTo>
                  <a:lnTo>
                    <a:pt x="11" y="9"/>
                  </a:lnTo>
                  <a:lnTo>
                    <a:pt x="11" y="8"/>
                  </a:lnTo>
                  <a:lnTo>
                    <a:pt x="12" y="8"/>
                  </a:lnTo>
                  <a:lnTo>
                    <a:pt x="14" y="8"/>
                  </a:lnTo>
                  <a:lnTo>
                    <a:pt x="14" y="7"/>
                  </a:lnTo>
                  <a:lnTo>
                    <a:pt x="15" y="7"/>
                  </a:lnTo>
                  <a:lnTo>
                    <a:pt x="16" y="8"/>
                  </a:lnTo>
                  <a:lnTo>
                    <a:pt x="17" y="7"/>
                  </a:lnTo>
                  <a:lnTo>
                    <a:pt x="18" y="7"/>
                  </a:lnTo>
                  <a:lnTo>
                    <a:pt x="19" y="7"/>
                  </a:lnTo>
                  <a:lnTo>
                    <a:pt x="21" y="7"/>
                  </a:lnTo>
                  <a:lnTo>
                    <a:pt x="22" y="8"/>
                  </a:lnTo>
                  <a:lnTo>
                    <a:pt x="23" y="8"/>
                  </a:lnTo>
                  <a:lnTo>
                    <a:pt x="25" y="8"/>
                  </a:lnTo>
                  <a:lnTo>
                    <a:pt x="28" y="9"/>
                  </a:lnTo>
                  <a:lnTo>
                    <a:pt x="29" y="9"/>
                  </a:lnTo>
                  <a:lnTo>
                    <a:pt x="31" y="9"/>
                  </a:lnTo>
                  <a:lnTo>
                    <a:pt x="32" y="10"/>
                  </a:lnTo>
                  <a:lnTo>
                    <a:pt x="32" y="11"/>
                  </a:lnTo>
                  <a:lnTo>
                    <a:pt x="33" y="11"/>
                  </a:lnTo>
                  <a:lnTo>
                    <a:pt x="35" y="11"/>
                  </a:lnTo>
                  <a:lnTo>
                    <a:pt x="36" y="11"/>
                  </a:lnTo>
                  <a:lnTo>
                    <a:pt x="37" y="11"/>
                  </a:lnTo>
                  <a:lnTo>
                    <a:pt x="38" y="11"/>
                  </a:lnTo>
                  <a:lnTo>
                    <a:pt x="39" y="11"/>
                  </a:lnTo>
                  <a:lnTo>
                    <a:pt x="39" y="13"/>
                  </a:lnTo>
                  <a:lnTo>
                    <a:pt x="40" y="13"/>
                  </a:lnTo>
                  <a:lnTo>
                    <a:pt x="41" y="14"/>
                  </a:lnTo>
                  <a:lnTo>
                    <a:pt x="41" y="13"/>
                  </a:lnTo>
                  <a:lnTo>
                    <a:pt x="40" y="11"/>
                  </a:lnTo>
                  <a:lnTo>
                    <a:pt x="40" y="10"/>
                  </a:lnTo>
                  <a:lnTo>
                    <a:pt x="39" y="10"/>
                  </a:lnTo>
                  <a:lnTo>
                    <a:pt x="39" y="9"/>
                  </a:lnTo>
                  <a:lnTo>
                    <a:pt x="40" y="8"/>
                  </a:lnTo>
                  <a:lnTo>
                    <a:pt x="40" y="7"/>
                  </a:lnTo>
                  <a:lnTo>
                    <a:pt x="39" y="7"/>
                  </a:lnTo>
                  <a:lnTo>
                    <a:pt x="39" y="6"/>
                  </a:lnTo>
                  <a:lnTo>
                    <a:pt x="39" y="4"/>
                  </a:lnTo>
                  <a:lnTo>
                    <a:pt x="39" y="3"/>
                  </a:lnTo>
                  <a:lnTo>
                    <a:pt x="40" y="3"/>
                  </a:lnTo>
                  <a:lnTo>
                    <a:pt x="41" y="2"/>
                  </a:lnTo>
                  <a:lnTo>
                    <a:pt x="43" y="2"/>
                  </a:lnTo>
                  <a:lnTo>
                    <a:pt x="43" y="1"/>
                  </a:lnTo>
                  <a:lnTo>
                    <a:pt x="44" y="1"/>
                  </a:lnTo>
                  <a:lnTo>
                    <a:pt x="45" y="1"/>
                  </a:lnTo>
                  <a:lnTo>
                    <a:pt x="46" y="1"/>
                  </a:lnTo>
                  <a:lnTo>
                    <a:pt x="46" y="0"/>
                  </a:lnTo>
                  <a:lnTo>
                    <a:pt x="47" y="1"/>
                  </a:lnTo>
                  <a:lnTo>
                    <a:pt x="48" y="1"/>
                  </a:lnTo>
                  <a:lnTo>
                    <a:pt x="50" y="1"/>
                  </a:lnTo>
                  <a:lnTo>
                    <a:pt x="50" y="2"/>
                  </a:lnTo>
                  <a:lnTo>
                    <a:pt x="51" y="2"/>
                  </a:lnTo>
                  <a:lnTo>
                    <a:pt x="52" y="2"/>
                  </a:lnTo>
                  <a:lnTo>
                    <a:pt x="52" y="3"/>
                  </a:lnTo>
                  <a:lnTo>
                    <a:pt x="54" y="4"/>
                  </a:lnTo>
                  <a:lnTo>
                    <a:pt x="57" y="4"/>
                  </a:lnTo>
                  <a:lnTo>
                    <a:pt x="58" y="4"/>
                  </a:lnTo>
                  <a:lnTo>
                    <a:pt x="58" y="6"/>
                  </a:lnTo>
                  <a:lnTo>
                    <a:pt x="59" y="6"/>
                  </a:lnTo>
                  <a:lnTo>
                    <a:pt x="60" y="6"/>
                  </a:lnTo>
                  <a:lnTo>
                    <a:pt x="61" y="7"/>
                  </a:lnTo>
                  <a:lnTo>
                    <a:pt x="62" y="7"/>
                  </a:lnTo>
                  <a:lnTo>
                    <a:pt x="65" y="7"/>
                  </a:lnTo>
                  <a:lnTo>
                    <a:pt x="66" y="7"/>
                  </a:lnTo>
                  <a:lnTo>
                    <a:pt x="67" y="7"/>
                  </a:lnTo>
                  <a:lnTo>
                    <a:pt x="68" y="7"/>
                  </a:lnTo>
                  <a:lnTo>
                    <a:pt x="68" y="6"/>
                  </a:lnTo>
                  <a:lnTo>
                    <a:pt x="68" y="4"/>
                  </a:lnTo>
                  <a:lnTo>
                    <a:pt x="69" y="4"/>
                  </a:lnTo>
                  <a:lnTo>
                    <a:pt x="71" y="6"/>
                  </a:lnTo>
                  <a:lnTo>
                    <a:pt x="72" y="4"/>
                  </a:lnTo>
                  <a:lnTo>
                    <a:pt x="73" y="6"/>
                  </a:lnTo>
                  <a:lnTo>
                    <a:pt x="74" y="6"/>
                  </a:lnTo>
                  <a:lnTo>
                    <a:pt x="75" y="6"/>
                  </a:lnTo>
                  <a:lnTo>
                    <a:pt x="76" y="6"/>
                  </a:lnTo>
                  <a:lnTo>
                    <a:pt x="78" y="6"/>
                  </a:lnTo>
                  <a:lnTo>
                    <a:pt x="79" y="6"/>
                  </a:lnTo>
                  <a:lnTo>
                    <a:pt x="80" y="6"/>
                  </a:lnTo>
                  <a:lnTo>
                    <a:pt x="80" y="4"/>
                  </a:lnTo>
                  <a:lnTo>
                    <a:pt x="81" y="4"/>
                  </a:lnTo>
                  <a:lnTo>
                    <a:pt x="82" y="4"/>
                  </a:lnTo>
                  <a:lnTo>
                    <a:pt x="83" y="4"/>
                  </a:lnTo>
                  <a:lnTo>
                    <a:pt x="85" y="4"/>
                  </a:lnTo>
                  <a:lnTo>
                    <a:pt x="86" y="6"/>
                  </a:lnTo>
                  <a:lnTo>
                    <a:pt x="87" y="6"/>
                  </a:lnTo>
                  <a:lnTo>
                    <a:pt x="88" y="6"/>
                  </a:lnTo>
                  <a:lnTo>
                    <a:pt x="89" y="6"/>
                  </a:lnTo>
                  <a:lnTo>
                    <a:pt x="90" y="6"/>
                  </a:lnTo>
                  <a:lnTo>
                    <a:pt x="92" y="6"/>
                  </a:lnTo>
                  <a:lnTo>
                    <a:pt x="93" y="6"/>
                  </a:lnTo>
                  <a:lnTo>
                    <a:pt x="94" y="6"/>
                  </a:lnTo>
                  <a:lnTo>
                    <a:pt x="95" y="6"/>
                  </a:lnTo>
                  <a:lnTo>
                    <a:pt x="96" y="6"/>
                  </a:lnTo>
                  <a:lnTo>
                    <a:pt x="97" y="6"/>
                  </a:lnTo>
                  <a:lnTo>
                    <a:pt x="99" y="6"/>
                  </a:lnTo>
                  <a:lnTo>
                    <a:pt x="100" y="6"/>
                  </a:lnTo>
                  <a:lnTo>
                    <a:pt x="100" y="7"/>
                  </a:lnTo>
                  <a:lnTo>
                    <a:pt x="101" y="7"/>
                  </a:lnTo>
                  <a:lnTo>
                    <a:pt x="101" y="6"/>
                  </a:lnTo>
                  <a:lnTo>
                    <a:pt x="102" y="6"/>
                  </a:lnTo>
                  <a:lnTo>
                    <a:pt x="103" y="6"/>
                  </a:lnTo>
                  <a:lnTo>
                    <a:pt x="104" y="7"/>
                  </a:lnTo>
                  <a:lnTo>
                    <a:pt x="105" y="7"/>
                  </a:lnTo>
                  <a:lnTo>
                    <a:pt x="107" y="7"/>
                  </a:lnTo>
                  <a:lnTo>
                    <a:pt x="108" y="8"/>
                  </a:lnTo>
                  <a:lnTo>
                    <a:pt x="109" y="8"/>
                  </a:lnTo>
                  <a:lnTo>
                    <a:pt x="110" y="8"/>
                  </a:lnTo>
                  <a:lnTo>
                    <a:pt x="111" y="7"/>
                  </a:lnTo>
                  <a:lnTo>
                    <a:pt x="112" y="8"/>
                  </a:lnTo>
                  <a:lnTo>
                    <a:pt x="112" y="9"/>
                  </a:lnTo>
                  <a:lnTo>
                    <a:pt x="114" y="10"/>
                  </a:lnTo>
                  <a:lnTo>
                    <a:pt x="115" y="10"/>
                  </a:lnTo>
                  <a:lnTo>
                    <a:pt x="116" y="11"/>
                  </a:lnTo>
                  <a:lnTo>
                    <a:pt x="117" y="13"/>
                  </a:lnTo>
                  <a:lnTo>
                    <a:pt x="118" y="13"/>
                  </a:lnTo>
                  <a:lnTo>
                    <a:pt x="119" y="13"/>
                  </a:lnTo>
                  <a:lnTo>
                    <a:pt x="121" y="13"/>
                  </a:lnTo>
                  <a:lnTo>
                    <a:pt x="123" y="13"/>
                  </a:lnTo>
                  <a:lnTo>
                    <a:pt x="124" y="14"/>
                  </a:lnTo>
                  <a:lnTo>
                    <a:pt x="125" y="14"/>
                  </a:lnTo>
                  <a:lnTo>
                    <a:pt x="126" y="15"/>
                  </a:lnTo>
                  <a:lnTo>
                    <a:pt x="128" y="16"/>
                  </a:lnTo>
                  <a:lnTo>
                    <a:pt x="129" y="16"/>
                  </a:lnTo>
                  <a:close/>
                  <a:moveTo>
                    <a:pt x="24" y="50"/>
                  </a:moveTo>
                  <a:lnTo>
                    <a:pt x="23" y="50"/>
                  </a:lnTo>
                  <a:lnTo>
                    <a:pt x="22" y="50"/>
                  </a:lnTo>
                  <a:lnTo>
                    <a:pt x="22" y="49"/>
                  </a:lnTo>
                  <a:lnTo>
                    <a:pt x="21" y="49"/>
                  </a:lnTo>
                  <a:lnTo>
                    <a:pt x="21" y="50"/>
                  </a:lnTo>
                  <a:lnTo>
                    <a:pt x="22" y="51"/>
                  </a:lnTo>
                  <a:lnTo>
                    <a:pt x="23" y="51"/>
                  </a:lnTo>
                  <a:lnTo>
                    <a:pt x="22" y="52"/>
                  </a:lnTo>
                  <a:lnTo>
                    <a:pt x="23" y="52"/>
                  </a:lnTo>
                  <a:lnTo>
                    <a:pt x="24" y="53"/>
                  </a:lnTo>
                  <a:lnTo>
                    <a:pt x="24" y="52"/>
                  </a:lnTo>
                  <a:lnTo>
                    <a:pt x="25" y="52"/>
                  </a:lnTo>
                  <a:lnTo>
                    <a:pt x="24" y="51"/>
                  </a:lnTo>
                  <a:lnTo>
                    <a:pt x="25" y="50"/>
                  </a:lnTo>
                  <a:lnTo>
                    <a:pt x="24" y="50"/>
                  </a:lnTo>
                  <a:close/>
                  <a:moveTo>
                    <a:pt x="32" y="52"/>
                  </a:moveTo>
                  <a:lnTo>
                    <a:pt x="32" y="51"/>
                  </a:lnTo>
                  <a:lnTo>
                    <a:pt x="31" y="51"/>
                  </a:lnTo>
                  <a:lnTo>
                    <a:pt x="31" y="52"/>
                  </a:lnTo>
                  <a:lnTo>
                    <a:pt x="32" y="52"/>
                  </a:lnTo>
                  <a:close/>
                  <a:moveTo>
                    <a:pt x="17" y="53"/>
                  </a:moveTo>
                  <a:lnTo>
                    <a:pt x="16" y="52"/>
                  </a:lnTo>
                  <a:lnTo>
                    <a:pt x="16" y="53"/>
                  </a:lnTo>
                  <a:lnTo>
                    <a:pt x="17" y="53"/>
                  </a:lnTo>
                  <a:lnTo>
                    <a:pt x="17" y="55"/>
                  </a:lnTo>
                  <a:lnTo>
                    <a:pt x="18" y="55"/>
                  </a:lnTo>
                  <a:lnTo>
                    <a:pt x="18" y="53"/>
                  </a:lnTo>
                  <a:lnTo>
                    <a:pt x="17" y="53"/>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67" name="Freeform 922">
              <a:extLst>
                <a:ext uri="{FF2B5EF4-FFF2-40B4-BE49-F238E27FC236}">
                  <a16:creationId xmlns:a16="http://schemas.microsoft.com/office/drawing/2014/main" id="{AB58CCB1-2019-4205-9FE5-0474265FE1E5}"/>
                </a:ext>
              </a:extLst>
            </p:cNvPr>
            <p:cNvSpPr>
              <a:spLocks noEditPoints="1"/>
            </p:cNvSpPr>
            <p:nvPr/>
          </p:nvSpPr>
          <p:spPr bwMode="auto">
            <a:xfrm>
              <a:off x="7696144" y="3037359"/>
              <a:ext cx="100162" cy="90813"/>
            </a:xfrm>
            <a:custGeom>
              <a:avLst/>
              <a:gdLst>
                <a:gd name="T0" fmla="*/ 19 w 75"/>
                <a:gd name="T1" fmla="*/ 65 h 68"/>
                <a:gd name="T2" fmla="*/ 19 w 75"/>
                <a:gd name="T3" fmla="*/ 63 h 68"/>
                <a:gd name="T4" fmla="*/ 18 w 75"/>
                <a:gd name="T5" fmla="*/ 62 h 68"/>
                <a:gd name="T6" fmla="*/ 14 w 75"/>
                <a:gd name="T7" fmla="*/ 53 h 68"/>
                <a:gd name="T8" fmla="*/ 13 w 75"/>
                <a:gd name="T9" fmla="*/ 51 h 68"/>
                <a:gd name="T10" fmla="*/ 70 w 75"/>
                <a:gd name="T11" fmla="*/ 2 h 68"/>
                <a:gd name="T12" fmla="*/ 69 w 75"/>
                <a:gd name="T13" fmla="*/ 8 h 68"/>
                <a:gd name="T14" fmla="*/ 71 w 75"/>
                <a:gd name="T15" fmla="*/ 14 h 68"/>
                <a:gd name="T16" fmla="*/ 74 w 75"/>
                <a:gd name="T17" fmla="*/ 21 h 68"/>
                <a:gd name="T18" fmla="*/ 74 w 75"/>
                <a:gd name="T19" fmla="*/ 30 h 68"/>
                <a:gd name="T20" fmla="*/ 75 w 75"/>
                <a:gd name="T21" fmla="*/ 37 h 68"/>
                <a:gd name="T22" fmla="*/ 69 w 75"/>
                <a:gd name="T23" fmla="*/ 39 h 68"/>
                <a:gd name="T24" fmla="*/ 64 w 75"/>
                <a:gd name="T25" fmla="*/ 42 h 68"/>
                <a:gd name="T26" fmla="*/ 60 w 75"/>
                <a:gd name="T27" fmla="*/ 44 h 68"/>
                <a:gd name="T28" fmla="*/ 59 w 75"/>
                <a:gd name="T29" fmla="*/ 48 h 68"/>
                <a:gd name="T30" fmla="*/ 54 w 75"/>
                <a:gd name="T31" fmla="*/ 48 h 68"/>
                <a:gd name="T32" fmla="*/ 53 w 75"/>
                <a:gd name="T33" fmla="*/ 51 h 68"/>
                <a:gd name="T34" fmla="*/ 56 w 75"/>
                <a:gd name="T35" fmla="*/ 57 h 68"/>
                <a:gd name="T36" fmla="*/ 57 w 75"/>
                <a:gd name="T37" fmla="*/ 61 h 68"/>
                <a:gd name="T38" fmla="*/ 53 w 75"/>
                <a:gd name="T39" fmla="*/ 61 h 68"/>
                <a:gd name="T40" fmla="*/ 48 w 75"/>
                <a:gd name="T41" fmla="*/ 60 h 68"/>
                <a:gd name="T42" fmla="*/ 42 w 75"/>
                <a:gd name="T43" fmla="*/ 61 h 68"/>
                <a:gd name="T44" fmla="*/ 39 w 75"/>
                <a:gd name="T45" fmla="*/ 67 h 68"/>
                <a:gd name="T46" fmla="*/ 34 w 75"/>
                <a:gd name="T47" fmla="*/ 68 h 68"/>
                <a:gd name="T48" fmla="*/ 28 w 75"/>
                <a:gd name="T49" fmla="*/ 65 h 68"/>
                <a:gd name="T50" fmla="*/ 26 w 75"/>
                <a:gd name="T51" fmla="*/ 65 h 68"/>
                <a:gd name="T52" fmla="*/ 23 w 75"/>
                <a:gd name="T53" fmla="*/ 67 h 68"/>
                <a:gd name="T54" fmla="*/ 24 w 75"/>
                <a:gd name="T55" fmla="*/ 63 h 68"/>
                <a:gd name="T56" fmla="*/ 23 w 75"/>
                <a:gd name="T57" fmla="*/ 57 h 68"/>
                <a:gd name="T58" fmla="*/ 19 w 75"/>
                <a:gd name="T59" fmla="*/ 60 h 68"/>
                <a:gd name="T60" fmla="*/ 17 w 75"/>
                <a:gd name="T61" fmla="*/ 61 h 68"/>
                <a:gd name="T62" fmla="*/ 14 w 75"/>
                <a:gd name="T63" fmla="*/ 56 h 68"/>
                <a:gd name="T64" fmla="*/ 14 w 75"/>
                <a:gd name="T65" fmla="*/ 51 h 68"/>
                <a:gd name="T66" fmla="*/ 14 w 75"/>
                <a:gd name="T67" fmla="*/ 50 h 68"/>
                <a:gd name="T68" fmla="*/ 13 w 75"/>
                <a:gd name="T69" fmla="*/ 49 h 68"/>
                <a:gd name="T70" fmla="*/ 12 w 75"/>
                <a:gd name="T71" fmla="*/ 48 h 68"/>
                <a:gd name="T72" fmla="*/ 12 w 75"/>
                <a:gd name="T73" fmla="*/ 47 h 68"/>
                <a:gd name="T74" fmla="*/ 12 w 75"/>
                <a:gd name="T75" fmla="*/ 47 h 68"/>
                <a:gd name="T76" fmla="*/ 7 w 75"/>
                <a:gd name="T77" fmla="*/ 40 h 68"/>
                <a:gd name="T78" fmla="*/ 6 w 75"/>
                <a:gd name="T79" fmla="*/ 33 h 68"/>
                <a:gd name="T80" fmla="*/ 4 w 75"/>
                <a:gd name="T81" fmla="*/ 28 h 68"/>
                <a:gd name="T82" fmla="*/ 0 w 75"/>
                <a:gd name="T83" fmla="*/ 21 h 68"/>
                <a:gd name="T84" fmla="*/ 4 w 75"/>
                <a:gd name="T85" fmla="*/ 18 h 68"/>
                <a:gd name="T86" fmla="*/ 7 w 75"/>
                <a:gd name="T87" fmla="*/ 11 h 68"/>
                <a:gd name="T88" fmla="*/ 11 w 75"/>
                <a:gd name="T89" fmla="*/ 6 h 68"/>
                <a:gd name="T90" fmla="*/ 17 w 75"/>
                <a:gd name="T91" fmla="*/ 4 h 68"/>
                <a:gd name="T92" fmla="*/ 21 w 75"/>
                <a:gd name="T93" fmla="*/ 6 h 68"/>
                <a:gd name="T94" fmla="*/ 27 w 75"/>
                <a:gd name="T95" fmla="*/ 5 h 68"/>
                <a:gd name="T96" fmla="*/ 31 w 75"/>
                <a:gd name="T97" fmla="*/ 5 h 68"/>
                <a:gd name="T98" fmla="*/ 35 w 75"/>
                <a:gd name="T99" fmla="*/ 5 h 68"/>
                <a:gd name="T100" fmla="*/ 40 w 75"/>
                <a:gd name="T101" fmla="*/ 8 h 68"/>
                <a:gd name="T102" fmla="*/ 45 w 75"/>
                <a:gd name="T103" fmla="*/ 8 h 68"/>
                <a:gd name="T104" fmla="*/ 47 w 75"/>
                <a:gd name="T105" fmla="*/ 11 h 68"/>
                <a:gd name="T106" fmla="*/ 52 w 75"/>
                <a:gd name="T107" fmla="*/ 12 h 68"/>
                <a:gd name="T108" fmla="*/ 50 w 75"/>
                <a:gd name="T109" fmla="*/ 8 h 68"/>
                <a:gd name="T110" fmla="*/ 50 w 75"/>
                <a:gd name="T111" fmla="*/ 5 h 68"/>
                <a:gd name="T112" fmla="*/ 56 w 75"/>
                <a:gd name="T113" fmla="*/ 4 h 68"/>
                <a:gd name="T114" fmla="*/ 57 w 75"/>
                <a:gd name="T115" fmla="*/ 4 h 68"/>
                <a:gd name="T116" fmla="*/ 63 w 75"/>
                <a:gd name="T117" fmla="*/ 5 h 68"/>
                <a:gd name="T118" fmla="*/ 67 w 75"/>
                <a:gd name="T119" fmla="*/ 4 h 68"/>
                <a:gd name="T120" fmla="*/ 69 w 75"/>
                <a:gd name="T121" fmla="*/ 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 h="68">
                  <a:moveTo>
                    <a:pt x="26" y="67"/>
                  </a:moveTo>
                  <a:lnTo>
                    <a:pt x="26" y="68"/>
                  </a:lnTo>
                  <a:lnTo>
                    <a:pt x="25" y="68"/>
                  </a:lnTo>
                  <a:lnTo>
                    <a:pt x="25" y="67"/>
                  </a:lnTo>
                  <a:lnTo>
                    <a:pt x="26" y="67"/>
                  </a:lnTo>
                  <a:close/>
                  <a:moveTo>
                    <a:pt x="19" y="65"/>
                  </a:moveTo>
                  <a:lnTo>
                    <a:pt x="18" y="65"/>
                  </a:lnTo>
                  <a:lnTo>
                    <a:pt x="18" y="64"/>
                  </a:lnTo>
                  <a:lnTo>
                    <a:pt x="19" y="64"/>
                  </a:lnTo>
                  <a:lnTo>
                    <a:pt x="19" y="65"/>
                  </a:lnTo>
                  <a:close/>
                  <a:moveTo>
                    <a:pt x="18" y="63"/>
                  </a:moveTo>
                  <a:lnTo>
                    <a:pt x="19" y="63"/>
                  </a:lnTo>
                  <a:lnTo>
                    <a:pt x="18" y="63"/>
                  </a:lnTo>
                  <a:lnTo>
                    <a:pt x="18" y="64"/>
                  </a:lnTo>
                  <a:lnTo>
                    <a:pt x="18" y="63"/>
                  </a:lnTo>
                  <a:lnTo>
                    <a:pt x="17" y="63"/>
                  </a:lnTo>
                  <a:lnTo>
                    <a:pt x="17" y="62"/>
                  </a:lnTo>
                  <a:lnTo>
                    <a:pt x="18" y="62"/>
                  </a:lnTo>
                  <a:lnTo>
                    <a:pt x="18" y="63"/>
                  </a:lnTo>
                  <a:close/>
                  <a:moveTo>
                    <a:pt x="13" y="51"/>
                  </a:moveTo>
                  <a:lnTo>
                    <a:pt x="13" y="53"/>
                  </a:lnTo>
                  <a:lnTo>
                    <a:pt x="13" y="51"/>
                  </a:lnTo>
                  <a:lnTo>
                    <a:pt x="13" y="53"/>
                  </a:lnTo>
                  <a:lnTo>
                    <a:pt x="14" y="53"/>
                  </a:lnTo>
                  <a:lnTo>
                    <a:pt x="14" y="54"/>
                  </a:lnTo>
                  <a:lnTo>
                    <a:pt x="14" y="55"/>
                  </a:lnTo>
                  <a:lnTo>
                    <a:pt x="13" y="55"/>
                  </a:lnTo>
                  <a:lnTo>
                    <a:pt x="13" y="54"/>
                  </a:lnTo>
                  <a:lnTo>
                    <a:pt x="13" y="53"/>
                  </a:lnTo>
                  <a:lnTo>
                    <a:pt x="13" y="51"/>
                  </a:lnTo>
                  <a:close/>
                  <a:moveTo>
                    <a:pt x="13" y="51"/>
                  </a:moveTo>
                  <a:lnTo>
                    <a:pt x="13" y="50"/>
                  </a:lnTo>
                  <a:lnTo>
                    <a:pt x="13" y="51"/>
                  </a:lnTo>
                  <a:lnTo>
                    <a:pt x="14" y="51"/>
                  </a:lnTo>
                  <a:lnTo>
                    <a:pt x="13" y="51"/>
                  </a:lnTo>
                  <a:close/>
                  <a:moveTo>
                    <a:pt x="70" y="2"/>
                  </a:moveTo>
                  <a:lnTo>
                    <a:pt x="70" y="4"/>
                  </a:lnTo>
                  <a:lnTo>
                    <a:pt x="70" y="5"/>
                  </a:lnTo>
                  <a:lnTo>
                    <a:pt x="69" y="5"/>
                  </a:lnTo>
                  <a:lnTo>
                    <a:pt x="69" y="6"/>
                  </a:lnTo>
                  <a:lnTo>
                    <a:pt x="69" y="7"/>
                  </a:lnTo>
                  <a:lnTo>
                    <a:pt x="69" y="8"/>
                  </a:lnTo>
                  <a:lnTo>
                    <a:pt x="69" y="9"/>
                  </a:lnTo>
                  <a:lnTo>
                    <a:pt x="69" y="11"/>
                  </a:lnTo>
                  <a:lnTo>
                    <a:pt x="70" y="11"/>
                  </a:lnTo>
                  <a:lnTo>
                    <a:pt x="70" y="12"/>
                  </a:lnTo>
                  <a:lnTo>
                    <a:pt x="70" y="13"/>
                  </a:lnTo>
                  <a:lnTo>
                    <a:pt x="71" y="14"/>
                  </a:lnTo>
                  <a:lnTo>
                    <a:pt x="70" y="14"/>
                  </a:lnTo>
                  <a:lnTo>
                    <a:pt x="71" y="14"/>
                  </a:lnTo>
                  <a:lnTo>
                    <a:pt x="71" y="15"/>
                  </a:lnTo>
                  <a:lnTo>
                    <a:pt x="73" y="16"/>
                  </a:lnTo>
                  <a:lnTo>
                    <a:pt x="74" y="19"/>
                  </a:lnTo>
                  <a:lnTo>
                    <a:pt x="74" y="21"/>
                  </a:lnTo>
                  <a:lnTo>
                    <a:pt x="74" y="22"/>
                  </a:lnTo>
                  <a:lnTo>
                    <a:pt x="73" y="27"/>
                  </a:lnTo>
                  <a:lnTo>
                    <a:pt x="73" y="28"/>
                  </a:lnTo>
                  <a:lnTo>
                    <a:pt x="73" y="29"/>
                  </a:lnTo>
                  <a:lnTo>
                    <a:pt x="74" y="29"/>
                  </a:lnTo>
                  <a:lnTo>
                    <a:pt x="74" y="30"/>
                  </a:lnTo>
                  <a:lnTo>
                    <a:pt x="74" y="32"/>
                  </a:lnTo>
                  <a:lnTo>
                    <a:pt x="75" y="33"/>
                  </a:lnTo>
                  <a:lnTo>
                    <a:pt x="75" y="34"/>
                  </a:lnTo>
                  <a:lnTo>
                    <a:pt x="75" y="35"/>
                  </a:lnTo>
                  <a:lnTo>
                    <a:pt x="75" y="36"/>
                  </a:lnTo>
                  <a:lnTo>
                    <a:pt x="75" y="37"/>
                  </a:lnTo>
                  <a:lnTo>
                    <a:pt x="74" y="37"/>
                  </a:lnTo>
                  <a:lnTo>
                    <a:pt x="73" y="39"/>
                  </a:lnTo>
                  <a:lnTo>
                    <a:pt x="73" y="37"/>
                  </a:lnTo>
                  <a:lnTo>
                    <a:pt x="71" y="37"/>
                  </a:lnTo>
                  <a:lnTo>
                    <a:pt x="70" y="37"/>
                  </a:lnTo>
                  <a:lnTo>
                    <a:pt x="69" y="39"/>
                  </a:lnTo>
                  <a:lnTo>
                    <a:pt x="69" y="40"/>
                  </a:lnTo>
                  <a:lnTo>
                    <a:pt x="68" y="40"/>
                  </a:lnTo>
                  <a:lnTo>
                    <a:pt x="67" y="41"/>
                  </a:lnTo>
                  <a:lnTo>
                    <a:pt x="67" y="42"/>
                  </a:lnTo>
                  <a:lnTo>
                    <a:pt x="66" y="42"/>
                  </a:lnTo>
                  <a:lnTo>
                    <a:pt x="64" y="42"/>
                  </a:lnTo>
                  <a:lnTo>
                    <a:pt x="64" y="43"/>
                  </a:lnTo>
                  <a:lnTo>
                    <a:pt x="63" y="43"/>
                  </a:lnTo>
                  <a:lnTo>
                    <a:pt x="62" y="43"/>
                  </a:lnTo>
                  <a:lnTo>
                    <a:pt x="61" y="43"/>
                  </a:lnTo>
                  <a:lnTo>
                    <a:pt x="60" y="43"/>
                  </a:lnTo>
                  <a:lnTo>
                    <a:pt x="60" y="44"/>
                  </a:lnTo>
                  <a:lnTo>
                    <a:pt x="60" y="46"/>
                  </a:lnTo>
                  <a:lnTo>
                    <a:pt x="60" y="47"/>
                  </a:lnTo>
                  <a:lnTo>
                    <a:pt x="60" y="48"/>
                  </a:lnTo>
                  <a:lnTo>
                    <a:pt x="61" y="48"/>
                  </a:lnTo>
                  <a:lnTo>
                    <a:pt x="60" y="48"/>
                  </a:lnTo>
                  <a:lnTo>
                    <a:pt x="59" y="48"/>
                  </a:lnTo>
                  <a:lnTo>
                    <a:pt x="57" y="48"/>
                  </a:lnTo>
                  <a:lnTo>
                    <a:pt x="57" y="47"/>
                  </a:lnTo>
                  <a:lnTo>
                    <a:pt x="56" y="47"/>
                  </a:lnTo>
                  <a:lnTo>
                    <a:pt x="55" y="47"/>
                  </a:lnTo>
                  <a:lnTo>
                    <a:pt x="54" y="47"/>
                  </a:lnTo>
                  <a:lnTo>
                    <a:pt x="54" y="48"/>
                  </a:lnTo>
                  <a:lnTo>
                    <a:pt x="53" y="48"/>
                  </a:lnTo>
                  <a:lnTo>
                    <a:pt x="52" y="48"/>
                  </a:lnTo>
                  <a:lnTo>
                    <a:pt x="52" y="49"/>
                  </a:lnTo>
                  <a:lnTo>
                    <a:pt x="52" y="50"/>
                  </a:lnTo>
                  <a:lnTo>
                    <a:pt x="53" y="50"/>
                  </a:lnTo>
                  <a:lnTo>
                    <a:pt x="53" y="51"/>
                  </a:lnTo>
                  <a:lnTo>
                    <a:pt x="53" y="53"/>
                  </a:lnTo>
                  <a:lnTo>
                    <a:pt x="53" y="54"/>
                  </a:lnTo>
                  <a:lnTo>
                    <a:pt x="54" y="54"/>
                  </a:lnTo>
                  <a:lnTo>
                    <a:pt x="54" y="55"/>
                  </a:lnTo>
                  <a:lnTo>
                    <a:pt x="55" y="56"/>
                  </a:lnTo>
                  <a:lnTo>
                    <a:pt x="56" y="57"/>
                  </a:lnTo>
                  <a:lnTo>
                    <a:pt x="57" y="57"/>
                  </a:lnTo>
                  <a:lnTo>
                    <a:pt x="57" y="58"/>
                  </a:lnTo>
                  <a:lnTo>
                    <a:pt x="57" y="60"/>
                  </a:lnTo>
                  <a:lnTo>
                    <a:pt x="57" y="58"/>
                  </a:lnTo>
                  <a:lnTo>
                    <a:pt x="57" y="60"/>
                  </a:lnTo>
                  <a:lnTo>
                    <a:pt x="57" y="61"/>
                  </a:lnTo>
                  <a:lnTo>
                    <a:pt x="59" y="62"/>
                  </a:lnTo>
                  <a:lnTo>
                    <a:pt x="57" y="62"/>
                  </a:lnTo>
                  <a:lnTo>
                    <a:pt x="56" y="62"/>
                  </a:lnTo>
                  <a:lnTo>
                    <a:pt x="55" y="61"/>
                  </a:lnTo>
                  <a:lnTo>
                    <a:pt x="54" y="61"/>
                  </a:lnTo>
                  <a:lnTo>
                    <a:pt x="53" y="61"/>
                  </a:lnTo>
                  <a:lnTo>
                    <a:pt x="53" y="60"/>
                  </a:lnTo>
                  <a:lnTo>
                    <a:pt x="52" y="58"/>
                  </a:lnTo>
                  <a:lnTo>
                    <a:pt x="50" y="58"/>
                  </a:lnTo>
                  <a:lnTo>
                    <a:pt x="50" y="60"/>
                  </a:lnTo>
                  <a:lnTo>
                    <a:pt x="49" y="60"/>
                  </a:lnTo>
                  <a:lnTo>
                    <a:pt x="48" y="60"/>
                  </a:lnTo>
                  <a:lnTo>
                    <a:pt x="47" y="60"/>
                  </a:lnTo>
                  <a:lnTo>
                    <a:pt x="46" y="61"/>
                  </a:lnTo>
                  <a:lnTo>
                    <a:pt x="45" y="61"/>
                  </a:lnTo>
                  <a:lnTo>
                    <a:pt x="43" y="60"/>
                  </a:lnTo>
                  <a:lnTo>
                    <a:pt x="42" y="60"/>
                  </a:lnTo>
                  <a:lnTo>
                    <a:pt x="42" y="61"/>
                  </a:lnTo>
                  <a:lnTo>
                    <a:pt x="42" y="62"/>
                  </a:lnTo>
                  <a:lnTo>
                    <a:pt x="42" y="63"/>
                  </a:lnTo>
                  <a:lnTo>
                    <a:pt x="41" y="64"/>
                  </a:lnTo>
                  <a:lnTo>
                    <a:pt x="40" y="65"/>
                  </a:lnTo>
                  <a:lnTo>
                    <a:pt x="40" y="67"/>
                  </a:lnTo>
                  <a:lnTo>
                    <a:pt x="39" y="67"/>
                  </a:lnTo>
                  <a:lnTo>
                    <a:pt x="38" y="67"/>
                  </a:lnTo>
                  <a:lnTo>
                    <a:pt x="36" y="65"/>
                  </a:lnTo>
                  <a:lnTo>
                    <a:pt x="36" y="67"/>
                  </a:lnTo>
                  <a:lnTo>
                    <a:pt x="35" y="67"/>
                  </a:lnTo>
                  <a:lnTo>
                    <a:pt x="35" y="68"/>
                  </a:lnTo>
                  <a:lnTo>
                    <a:pt x="34" y="68"/>
                  </a:lnTo>
                  <a:lnTo>
                    <a:pt x="33" y="67"/>
                  </a:lnTo>
                  <a:lnTo>
                    <a:pt x="32" y="67"/>
                  </a:lnTo>
                  <a:lnTo>
                    <a:pt x="32" y="65"/>
                  </a:lnTo>
                  <a:lnTo>
                    <a:pt x="31" y="65"/>
                  </a:lnTo>
                  <a:lnTo>
                    <a:pt x="29" y="65"/>
                  </a:lnTo>
                  <a:lnTo>
                    <a:pt x="28" y="65"/>
                  </a:lnTo>
                  <a:lnTo>
                    <a:pt x="27" y="65"/>
                  </a:lnTo>
                  <a:lnTo>
                    <a:pt x="27" y="64"/>
                  </a:lnTo>
                  <a:lnTo>
                    <a:pt x="26" y="64"/>
                  </a:lnTo>
                  <a:lnTo>
                    <a:pt x="26" y="63"/>
                  </a:lnTo>
                  <a:lnTo>
                    <a:pt x="26" y="64"/>
                  </a:lnTo>
                  <a:lnTo>
                    <a:pt x="26" y="65"/>
                  </a:lnTo>
                  <a:lnTo>
                    <a:pt x="25" y="65"/>
                  </a:lnTo>
                  <a:lnTo>
                    <a:pt x="24" y="65"/>
                  </a:lnTo>
                  <a:lnTo>
                    <a:pt x="25" y="65"/>
                  </a:lnTo>
                  <a:lnTo>
                    <a:pt x="25" y="67"/>
                  </a:lnTo>
                  <a:lnTo>
                    <a:pt x="24" y="67"/>
                  </a:lnTo>
                  <a:lnTo>
                    <a:pt x="23" y="67"/>
                  </a:lnTo>
                  <a:lnTo>
                    <a:pt x="23" y="65"/>
                  </a:lnTo>
                  <a:lnTo>
                    <a:pt x="21" y="65"/>
                  </a:lnTo>
                  <a:lnTo>
                    <a:pt x="21" y="64"/>
                  </a:lnTo>
                  <a:lnTo>
                    <a:pt x="21" y="63"/>
                  </a:lnTo>
                  <a:lnTo>
                    <a:pt x="23" y="63"/>
                  </a:lnTo>
                  <a:lnTo>
                    <a:pt x="24" y="63"/>
                  </a:lnTo>
                  <a:lnTo>
                    <a:pt x="24" y="62"/>
                  </a:lnTo>
                  <a:lnTo>
                    <a:pt x="24" y="61"/>
                  </a:lnTo>
                  <a:lnTo>
                    <a:pt x="24" y="60"/>
                  </a:lnTo>
                  <a:lnTo>
                    <a:pt x="24" y="58"/>
                  </a:lnTo>
                  <a:lnTo>
                    <a:pt x="23" y="58"/>
                  </a:lnTo>
                  <a:lnTo>
                    <a:pt x="23" y="57"/>
                  </a:lnTo>
                  <a:lnTo>
                    <a:pt x="21" y="57"/>
                  </a:lnTo>
                  <a:lnTo>
                    <a:pt x="21" y="56"/>
                  </a:lnTo>
                  <a:lnTo>
                    <a:pt x="20" y="56"/>
                  </a:lnTo>
                  <a:lnTo>
                    <a:pt x="20" y="57"/>
                  </a:lnTo>
                  <a:lnTo>
                    <a:pt x="20" y="58"/>
                  </a:lnTo>
                  <a:lnTo>
                    <a:pt x="19" y="60"/>
                  </a:lnTo>
                  <a:lnTo>
                    <a:pt x="20" y="60"/>
                  </a:lnTo>
                  <a:lnTo>
                    <a:pt x="20" y="61"/>
                  </a:lnTo>
                  <a:lnTo>
                    <a:pt x="19" y="61"/>
                  </a:lnTo>
                  <a:lnTo>
                    <a:pt x="18" y="60"/>
                  </a:lnTo>
                  <a:lnTo>
                    <a:pt x="17" y="60"/>
                  </a:lnTo>
                  <a:lnTo>
                    <a:pt x="17" y="61"/>
                  </a:lnTo>
                  <a:lnTo>
                    <a:pt x="16" y="61"/>
                  </a:lnTo>
                  <a:lnTo>
                    <a:pt x="16" y="60"/>
                  </a:lnTo>
                  <a:lnTo>
                    <a:pt x="16" y="58"/>
                  </a:lnTo>
                  <a:lnTo>
                    <a:pt x="16" y="57"/>
                  </a:lnTo>
                  <a:lnTo>
                    <a:pt x="16" y="56"/>
                  </a:lnTo>
                  <a:lnTo>
                    <a:pt x="14" y="56"/>
                  </a:lnTo>
                  <a:lnTo>
                    <a:pt x="14" y="55"/>
                  </a:lnTo>
                  <a:lnTo>
                    <a:pt x="14" y="54"/>
                  </a:lnTo>
                  <a:lnTo>
                    <a:pt x="16" y="54"/>
                  </a:lnTo>
                  <a:lnTo>
                    <a:pt x="16" y="53"/>
                  </a:lnTo>
                  <a:lnTo>
                    <a:pt x="14" y="53"/>
                  </a:lnTo>
                  <a:lnTo>
                    <a:pt x="14" y="51"/>
                  </a:lnTo>
                  <a:lnTo>
                    <a:pt x="16" y="51"/>
                  </a:lnTo>
                  <a:lnTo>
                    <a:pt x="14" y="50"/>
                  </a:lnTo>
                  <a:lnTo>
                    <a:pt x="16" y="50"/>
                  </a:lnTo>
                  <a:lnTo>
                    <a:pt x="14" y="50"/>
                  </a:lnTo>
                  <a:lnTo>
                    <a:pt x="14" y="51"/>
                  </a:lnTo>
                  <a:lnTo>
                    <a:pt x="14" y="50"/>
                  </a:lnTo>
                  <a:lnTo>
                    <a:pt x="13" y="50"/>
                  </a:lnTo>
                  <a:lnTo>
                    <a:pt x="13" y="49"/>
                  </a:lnTo>
                  <a:lnTo>
                    <a:pt x="13" y="50"/>
                  </a:lnTo>
                  <a:lnTo>
                    <a:pt x="12" y="50"/>
                  </a:lnTo>
                  <a:lnTo>
                    <a:pt x="12" y="49"/>
                  </a:lnTo>
                  <a:lnTo>
                    <a:pt x="13" y="49"/>
                  </a:lnTo>
                  <a:lnTo>
                    <a:pt x="13" y="50"/>
                  </a:lnTo>
                  <a:lnTo>
                    <a:pt x="13" y="49"/>
                  </a:lnTo>
                  <a:lnTo>
                    <a:pt x="13" y="48"/>
                  </a:lnTo>
                  <a:lnTo>
                    <a:pt x="13" y="49"/>
                  </a:lnTo>
                  <a:lnTo>
                    <a:pt x="13" y="48"/>
                  </a:lnTo>
                  <a:lnTo>
                    <a:pt x="12" y="48"/>
                  </a:lnTo>
                  <a:lnTo>
                    <a:pt x="13" y="47"/>
                  </a:lnTo>
                  <a:lnTo>
                    <a:pt x="13" y="48"/>
                  </a:lnTo>
                  <a:lnTo>
                    <a:pt x="13" y="47"/>
                  </a:lnTo>
                  <a:lnTo>
                    <a:pt x="14" y="47"/>
                  </a:lnTo>
                  <a:lnTo>
                    <a:pt x="13" y="47"/>
                  </a:lnTo>
                  <a:lnTo>
                    <a:pt x="12" y="47"/>
                  </a:lnTo>
                  <a:lnTo>
                    <a:pt x="11" y="46"/>
                  </a:lnTo>
                  <a:lnTo>
                    <a:pt x="12" y="47"/>
                  </a:lnTo>
                  <a:lnTo>
                    <a:pt x="12" y="48"/>
                  </a:lnTo>
                  <a:lnTo>
                    <a:pt x="12" y="49"/>
                  </a:lnTo>
                  <a:lnTo>
                    <a:pt x="12" y="48"/>
                  </a:lnTo>
                  <a:lnTo>
                    <a:pt x="12" y="47"/>
                  </a:lnTo>
                  <a:lnTo>
                    <a:pt x="11" y="46"/>
                  </a:lnTo>
                  <a:lnTo>
                    <a:pt x="11" y="44"/>
                  </a:lnTo>
                  <a:lnTo>
                    <a:pt x="10" y="43"/>
                  </a:lnTo>
                  <a:lnTo>
                    <a:pt x="9" y="42"/>
                  </a:lnTo>
                  <a:lnTo>
                    <a:pt x="7" y="41"/>
                  </a:lnTo>
                  <a:lnTo>
                    <a:pt x="7" y="40"/>
                  </a:lnTo>
                  <a:lnTo>
                    <a:pt x="7" y="37"/>
                  </a:lnTo>
                  <a:lnTo>
                    <a:pt x="9" y="36"/>
                  </a:lnTo>
                  <a:lnTo>
                    <a:pt x="9" y="35"/>
                  </a:lnTo>
                  <a:lnTo>
                    <a:pt x="7" y="35"/>
                  </a:lnTo>
                  <a:lnTo>
                    <a:pt x="7" y="34"/>
                  </a:lnTo>
                  <a:lnTo>
                    <a:pt x="6" y="33"/>
                  </a:lnTo>
                  <a:lnTo>
                    <a:pt x="5" y="33"/>
                  </a:lnTo>
                  <a:lnTo>
                    <a:pt x="4" y="33"/>
                  </a:lnTo>
                  <a:lnTo>
                    <a:pt x="4" y="32"/>
                  </a:lnTo>
                  <a:lnTo>
                    <a:pt x="4" y="30"/>
                  </a:lnTo>
                  <a:lnTo>
                    <a:pt x="4" y="29"/>
                  </a:lnTo>
                  <a:lnTo>
                    <a:pt x="4" y="28"/>
                  </a:lnTo>
                  <a:lnTo>
                    <a:pt x="4" y="27"/>
                  </a:lnTo>
                  <a:lnTo>
                    <a:pt x="3" y="27"/>
                  </a:lnTo>
                  <a:lnTo>
                    <a:pt x="3" y="26"/>
                  </a:lnTo>
                  <a:lnTo>
                    <a:pt x="2" y="25"/>
                  </a:lnTo>
                  <a:lnTo>
                    <a:pt x="2" y="22"/>
                  </a:lnTo>
                  <a:lnTo>
                    <a:pt x="0" y="21"/>
                  </a:lnTo>
                  <a:lnTo>
                    <a:pt x="0" y="20"/>
                  </a:lnTo>
                  <a:lnTo>
                    <a:pt x="0" y="19"/>
                  </a:lnTo>
                  <a:lnTo>
                    <a:pt x="0" y="18"/>
                  </a:lnTo>
                  <a:lnTo>
                    <a:pt x="2" y="18"/>
                  </a:lnTo>
                  <a:lnTo>
                    <a:pt x="3" y="18"/>
                  </a:lnTo>
                  <a:lnTo>
                    <a:pt x="4" y="18"/>
                  </a:lnTo>
                  <a:lnTo>
                    <a:pt x="4" y="16"/>
                  </a:lnTo>
                  <a:lnTo>
                    <a:pt x="5" y="15"/>
                  </a:lnTo>
                  <a:lnTo>
                    <a:pt x="5" y="14"/>
                  </a:lnTo>
                  <a:lnTo>
                    <a:pt x="6" y="13"/>
                  </a:lnTo>
                  <a:lnTo>
                    <a:pt x="6" y="12"/>
                  </a:lnTo>
                  <a:lnTo>
                    <a:pt x="7" y="11"/>
                  </a:lnTo>
                  <a:lnTo>
                    <a:pt x="7" y="9"/>
                  </a:lnTo>
                  <a:lnTo>
                    <a:pt x="7" y="8"/>
                  </a:lnTo>
                  <a:lnTo>
                    <a:pt x="9" y="8"/>
                  </a:lnTo>
                  <a:lnTo>
                    <a:pt x="9" y="7"/>
                  </a:lnTo>
                  <a:lnTo>
                    <a:pt x="10" y="6"/>
                  </a:lnTo>
                  <a:lnTo>
                    <a:pt x="11" y="6"/>
                  </a:lnTo>
                  <a:lnTo>
                    <a:pt x="12" y="6"/>
                  </a:lnTo>
                  <a:lnTo>
                    <a:pt x="13" y="6"/>
                  </a:lnTo>
                  <a:lnTo>
                    <a:pt x="14" y="5"/>
                  </a:lnTo>
                  <a:lnTo>
                    <a:pt x="16" y="5"/>
                  </a:lnTo>
                  <a:lnTo>
                    <a:pt x="17" y="5"/>
                  </a:lnTo>
                  <a:lnTo>
                    <a:pt x="17" y="4"/>
                  </a:lnTo>
                  <a:lnTo>
                    <a:pt x="18" y="4"/>
                  </a:lnTo>
                  <a:lnTo>
                    <a:pt x="18" y="5"/>
                  </a:lnTo>
                  <a:lnTo>
                    <a:pt x="19" y="5"/>
                  </a:lnTo>
                  <a:lnTo>
                    <a:pt x="20" y="5"/>
                  </a:lnTo>
                  <a:lnTo>
                    <a:pt x="20" y="6"/>
                  </a:lnTo>
                  <a:lnTo>
                    <a:pt x="21" y="6"/>
                  </a:lnTo>
                  <a:lnTo>
                    <a:pt x="21" y="5"/>
                  </a:lnTo>
                  <a:lnTo>
                    <a:pt x="23" y="6"/>
                  </a:lnTo>
                  <a:lnTo>
                    <a:pt x="24" y="5"/>
                  </a:lnTo>
                  <a:lnTo>
                    <a:pt x="25" y="5"/>
                  </a:lnTo>
                  <a:lnTo>
                    <a:pt x="26" y="5"/>
                  </a:lnTo>
                  <a:lnTo>
                    <a:pt x="27" y="5"/>
                  </a:lnTo>
                  <a:lnTo>
                    <a:pt x="28" y="6"/>
                  </a:lnTo>
                  <a:lnTo>
                    <a:pt x="28" y="5"/>
                  </a:lnTo>
                  <a:lnTo>
                    <a:pt x="29" y="5"/>
                  </a:lnTo>
                  <a:lnTo>
                    <a:pt x="29" y="6"/>
                  </a:lnTo>
                  <a:lnTo>
                    <a:pt x="29" y="5"/>
                  </a:lnTo>
                  <a:lnTo>
                    <a:pt x="31" y="5"/>
                  </a:lnTo>
                  <a:lnTo>
                    <a:pt x="32" y="5"/>
                  </a:lnTo>
                  <a:lnTo>
                    <a:pt x="33" y="5"/>
                  </a:lnTo>
                  <a:lnTo>
                    <a:pt x="33" y="4"/>
                  </a:lnTo>
                  <a:lnTo>
                    <a:pt x="33" y="5"/>
                  </a:lnTo>
                  <a:lnTo>
                    <a:pt x="34" y="5"/>
                  </a:lnTo>
                  <a:lnTo>
                    <a:pt x="35" y="5"/>
                  </a:lnTo>
                  <a:lnTo>
                    <a:pt x="35" y="6"/>
                  </a:lnTo>
                  <a:lnTo>
                    <a:pt x="36" y="7"/>
                  </a:lnTo>
                  <a:lnTo>
                    <a:pt x="38" y="7"/>
                  </a:lnTo>
                  <a:lnTo>
                    <a:pt x="39" y="6"/>
                  </a:lnTo>
                  <a:lnTo>
                    <a:pt x="39" y="7"/>
                  </a:lnTo>
                  <a:lnTo>
                    <a:pt x="40" y="8"/>
                  </a:lnTo>
                  <a:lnTo>
                    <a:pt x="41" y="8"/>
                  </a:lnTo>
                  <a:lnTo>
                    <a:pt x="41" y="9"/>
                  </a:lnTo>
                  <a:lnTo>
                    <a:pt x="42" y="9"/>
                  </a:lnTo>
                  <a:lnTo>
                    <a:pt x="43" y="9"/>
                  </a:lnTo>
                  <a:lnTo>
                    <a:pt x="43" y="8"/>
                  </a:lnTo>
                  <a:lnTo>
                    <a:pt x="45" y="8"/>
                  </a:lnTo>
                  <a:lnTo>
                    <a:pt x="45" y="9"/>
                  </a:lnTo>
                  <a:lnTo>
                    <a:pt x="45" y="8"/>
                  </a:lnTo>
                  <a:lnTo>
                    <a:pt x="45" y="9"/>
                  </a:lnTo>
                  <a:lnTo>
                    <a:pt x="46" y="9"/>
                  </a:lnTo>
                  <a:lnTo>
                    <a:pt x="47" y="9"/>
                  </a:lnTo>
                  <a:lnTo>
                    <a:pt x="47" y="11"/>
                  </a:lnTo>
                  <a:lnTo>
                    <a:pt x="48" y="11"/>
                  </a:lnTo>
                  <a:lnTo>
                    <a:pt x="49" y="12"/>
                  </a:lnTo>
                  <a:lnTo>
                    <a:pt x="49" y="13"/>
                  </a:lnTo>
                  <a:lnTo>
                    <a:pt x="50" y="12"/>
                  </a:lnTo>
                  <a:lnTo>
                    <a:pt x="52" y="13"/>
                  </a:lnTo>
                  <a:lnTo>
                    <a:pt x="52" y="12"/>
                  </a:lnTo>
                  <a:lnTo>
                    <a:pt x="52" y="11"/>
                  </a:lnTo>
                  <a:lnTo>
                    <a:pt x="53" y="11"/>
                  </a:lnTo>
                  <a:lnTo>
                    <a:pt x="53" y="9"/>
                  </a:lnTo>
                  <a:lnTo>
                    <a:pt x="52" y="9"/>
                  </a:lnTo>
                  <a:lnTo>
                    <a:pt x="52" y="8"/>
                  </a:lnTo>
                  <a:lnTo>
                    <a:pt x="50" y="8"/>
                  </a:lnTo>
                  <a:lnTo>
                    <a:pt x="50" y="7"/>
                  </a:lnTo>
                  <a:lnTo>
                    <a:pt x="50" y="6"/>
                  </a:lnTo>
                  <a:lnTo>
                    <a:pt x="49" y="6"/>
                  </a:lnTo>
                  <a:lnTo>
                    <a:pt x="49" y="5"/>
                  </a:lnTo>
                  <a:lnTo>
                    <a:pt x="50" y="6"/>
                  </a:lnTo>
                  <a:lnTo>
                    <a:pt x="50" y="5"/>
                  </a:lnTo>
                  <a:lnTo>
                    <a:pt x="52" y="5"/>
                  </a:lnTo>
                  <a:lnTo>
                    <a:pt x="53" y="5"/>
                  </a:lnTo>
                  <a:lnTo>
                    <a:pt x="53" y="4"/>
                  </a:lnTo>
                  <a:lnTo>
                    <a:pt x="54" y="4"/>
                  </a:lnTo>
                  <a:lnTo>
                    <a:pt x="55" y="4"/>
                  </a:lnTo>
                  <a:lnTo>
                    <a:pt x="56" y="4"/>
                  </a:lnTo>
                  <a:lnTo>
                    <a:pt x="55" y="4"/>
                  </a:lnTo>
                  <a:lnTo>
                    <a:pt x="55" y="2"/>
                  </a:lnTo>
                  <a:lnTo>
                    <a:pt x="56" y="2"/>
                  </a:lnTo>
                  <a:lnTo>
                    <a:pt x="56" y="1"/>
                  </a:lnTo>
                  <a:lnTo>
                    <a:pt x="57" y="2"/>
                  </a:lnTo>
                  <a:lnTo>
                    <a:pt x="57" y="4"/>
                  </a:lnTo>
                  <a:lnTo>
                    <a:pt x="59" y="4"/>
                  </a:lnTo>
                  <a:lnTo>
                    <a:pt x="60" y="5"/>
                  </a:lnTo>
                  <a:lnTo>
                    <a:pt x="61" y="6"/>
                  </a:lnTo>
                  <a:lnTo>
                    <a:pt x="62" y="6"/>
                  </a:lnTo>
                  <a:lnTo>
                    <a:pt x="63" y="6"/>
                  </a:lnTo>
                  <a:lnTo>
                    <a:pt x="63" y="5"/>
                  </a:lnTo>
                  <a:lnTo>
                    <a:pt x="64" y="5"/>
                  </a:lnTo>
                  <a:lnTo>
                    <a:pt x="64" y="4"/>
                  </a:lnTo>
                  <a:lnTo>
                    <a:pt x="64" y="5"/>
                  </a:lnTo>
                  <a:lnTo>
                    <a:pt x="66" y="5"/>
                  </a:lnTo>
                  <a:lnTo>
                    <a:pt x="66" y="4"/>
                  </a:lnTo>
                  <a:lnTo>
                    <a:pt x="67" y="4"/>
                  </a:lnTo>
                  <a:lnTo>
                    <a:pt x="67" y="2"/>
                  </a:lnTo>
                  <a:lnTo>
                    <a:pt x="67" y="1"/>
                  </a:lnTo>
                  <a:lnTo>
                    <a:pt x="68" y="1"/>
                  </a:lnTo>
                  <a:lnTo>
                    <a:pt x="68" y="2"/>
                  </a:lnTo>
                  <a:lnTo>
                    <a:pt x="69" y="2"/>
                  </a:lnTo>
                  <a:lnTo>
                    <a:pt x="69" y="1"/>
                  </a:lnTo>
                  <a:lnTo>
                    <a:pt x="70" y="1"/>
                  </a:lnTo>
                  <a:lnTo>
                    <a:pt x="70" y="0"/>
                  </a:lnTo>
                  <a:lnTo>
                    <a:pt x="70" y="1"/>
                  </a:lnTo>
                  <a:lnTo>
                    <a:pt x="70"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68" name="Freeform 924">
              <a:extLst>
                <a:ext uri="{FF2B5EF4-FFF2-40B4-BE49-F238E27FC236}">
                  <a16:creationId xmlns:a16="http://schemas.microsoft.com/office/drawing/2014/main" id="{590B8778-92E9-4ECD-B635-E432523FCEFB}"/>
                </a:ext>
              </a:extLst>
            </p:cNvPr>
            <p:cNvSpPr>
              <a:spLocks noEditPoints="1"/>
            </p:cNvSpPr>
            <p:nvPr/>
          </p:nvSpPr>
          <p:spPr bwMode="auto">
            <a:xfrm>
              <a:off x="4651231" y="2979933"/>
              <a:ext cx="5342" cy="6678"/>
            </a:xfrm>
            <a:custGeom>
              <a:avLst/>
              <a:gdLst>
                <a:gd name="T0" fmla="*/ 4 w 4"/>
                <a:gd name="T1" fmla="*/ 5 h 5"/>
                <a:gd name="T2" fmla="*/ 4 w 4"/>
                <a:gd name="T3" fmla="*/ 5 h 5"/>
                <a:gd name="T4" fmla="*/ 3 w 4"/>
                <a:gd name="T5" fmla="*/ 5 h 5"/>
                <a:gd name="T6" fmla="*/ 3 w 4"/>
                <a:gd name="T7" fmla="*/ 5 h 5"/>
                <a:gd name="T8" fmla="*/ 3 w 4"/>
                <a:gd name="T9" fmla="*/ 3 h 5"/>
                <a:gd name="T10" fmla="*/ 3 w 4"/>
                <a:gd name="T11" fmla="*/ 3 h 5"/>
                <a:gd name="T12" fmla="*/ 4 w 4"/>
                <a:gd name="T13" fmla="*/ 3 h 5"/>
                <a:gd name="T14" fmla="*/ 4 w 4"/>
                <a:gd name="T15" fmla="*/ 3 h 5"/>
                <a:gd name="T16" fmla="*/ 4 w 4"/>
                <a:gd name="T17" fmla="*/ 3 h 5"/>
                <a:gd name="T18" fmla="*/ 4 w 4"/>
                <a:gd name="T19" fmla="*/ 5 h 5"/>
                <a:gd name="T20" fmla="*/ 4 w 4"/>
                <a:gd name="T21" fmla="*/ 5 h 5"/>
                <a:gd name="T22" fmla="*/ 4 w 4"/>
                <a:gd name="T23" fmla="*/ 5 h 5"/>
                <a:gd name="T24" fmla="*/ 4 w 4"/>
                <a:gd name="T25" fmla="*/ 5 h 5"/>
                <a:gd name="T26" fmla="*/ 4 w 4"/>
                <a:gd name="T27" fmla="*/ 5 h 5"/>
                <a:gd name="T28" fmla="*/ 4 w 4"/>
                <a:gd name="T29" fmla="*/ 5 h 5"/>
                <a:gd name="T30" fmla="*/ 2 w 4"/>
                <a:gd name="T31" fmla="*/ 1 h 5"/>
                <a:gd name="T32" fmla="*/ 3 w 4"/>
                <a:gd name="T33" fmla="*/ 2 h 5"/>
                <a:gd name="T34" fmla="*/ 3 w 4"/>
                <a:gd name="T35" fmla="*/ 2 h 5"/>
                <a:gd name="T36" fmla="*/ 3 w 4"/>
                <a:gd name="T37" fmla="*/ 2 h 5"/>
                <a:gd name="T38" fmla="*/ 3 w 4"/>
                <a:gd name="T39" fmla="*/ 2 h 5"/>
                <a:gd name="T40" fmla="*/ 3 w 4"/>
                <a:gd name="T41" fmla="*/ 2 h 5"/>
                <a:gd name="T42" fmla="*/ 3 w 4"/>
                <a:gd name="T43" fmla="*/ 3 h 5"/>
                <a:gd name="T44" fmla="*/ 3 w 4"/>
                <a:gd name="T45" fmla="*/ 3 h 5"/>
                <a:gd name="T46" fmla="*/ 3 w 4"/>
                <a:gd name="T47" fmla="*/ 3 h 5"/>
                <a:gd name="T48" fmla="*/ 3 w 4"/>
                <a:gd name="T49" fmla="*/ 2 h 5"/>
                <a:gd name="T50" fmla="*/ 2 w 4"/>
                <a:gd name="T51" fmla="*/ 2 h 5"/>
                <a:gd name="T52" fmla="*/ 2 w 4"/>
                <a:gd name="T53" fmla="*/ 2 h 5"/>
                <a:gd name="T54" fmla="*/ 2 w 4"/>
                <a:gd name="T55" fmla="*/ 2 h 5"/>
                <a:gd name="T56" fmla="*/ 2 w 4"/>
                <a:gd name="T57" fmla="*/ 2 h 5"/>
                <a:gd name="T58" fmla="*/ 2 w 4"/>
                <a:gd name="T59" fmla="*/ 2 h 5"/>
                <a:gd name="T60" fmla="*/ 1 w 4"/>
                <a:gd name="T61" fmla="*/ 2 h 5"/>
                <a:gd name="T62" fmla="*/ 1 w 4"/>
                <a:gd name="T63" fmla="*/ 1 h 5"/>
                <a:gd name="T64" fmla="*/ 0 w 4"/>
                <a:gd name="T65" fmla="*/ 1 h 5"/>
                <a:gd name="T66" fmla="*/ 1 w 4"/>
                <a:gd name="T67" fmla="*/ 0 h 5"/>
                <a:gd name="T68" fmla="*/ 1 w 4"/>
                <a:gd name="T69" fmla="*/ 0 h 5"/>
                <a:gd name="T70" fmla="*/ 1 w 4"/>
                <a:gd name="T71" fmla="*/ 0 h 5"/>
                <a:gd name="T72" fmla="*/ 1 w 4"/>
                <a:gd name="T73" fmla="*/ 0 h 5"/>
                <a:gd name="T74" fmla="*/ 1 w 4"/>
                <a:gd name="T75" fmla="*/ 0 h 5"/>
                <a:gd name="T76" fmla="*/ 1 w 4"/>
                <a:gd name="T77" fmla="*/ 0 h 5"/>
                <a:gd name="T78" fmla="*/ 1 w 4"/>
                <a:gd name="T79" fmla="*/ 0 h 5"/>
                <a:gd name="T80" fmla="*/ 1 w 4"/>
                <a:gd name="T81" fmla="*/ 0 h 5"/>
                <a:gd name="T82" fmla="*/ 2 w 4"/>
                <a:gd name="T83" fmla="*/ 1 h 5"/>
                <a:gd name="T84" fmla="*/ 2 w 4"/>
                <a:gd name="T8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 h="5">
                  <a:moveTo>
                    <a:pt x="4" y="5"/>
                  </a:moveTo>
                  <a:lnTo>
                    <a:pt x="4" y="5"/>
                  </a:lnTo>
                  <a:lnTo>
                    <a:pt x="3" y="5"/>
                  </a:lnTo>
                  <a:lnTo>
                    <a:pt x="3" y="5"/>
                  </a:lnTo>
                  <a:lnTo>
                    <a:pt x="3" y="3"/>
                  </a:lnTo>
                  <a:lnTo>
                    <a:pt x="3" y="3"/>
                  </a:lnTo>
                  <a:lnTo>
                    <a:pt x="4" y="3"/>
                  </a:lnTo>
                  <a:lnTo>
                    <a:pt x="4" y="3"/>
                  </a:lnTo>
                  <a:lnTo>
                    <a:pt x="4" y="3"/>
                  </a:lnTo>
                  <a:lnTo>
                    <a:pt x="4" y="5"/>
                  </a:lnTo>
                  <a:lnTo>
                    <a:pt x="4" y="5"/>
                  </a:lnTo>
                  <a:lnTo>
                    <a:pt x="4" y="5"/>
                  </a:lnTo>
                  <a:lnTo>
                    <a:pt x="4" y="5"/>
                  </a:lnTo>
                  <a:lnTo>
                    <a:pt x="4" y="5"/>
                  </a:lnTo>
                  <a:lnTo>
                    <a:pt x="4" y="5"/>
                  </a:lnTo>
                  <a:close/>
                  <a:moveTo>
                    <a:pt x="2" y="1"/>
                  </a:moveTo>
                  <a:lnTo>
                    <a:pt x="3" y="2"/>
                  </a:lnTo>
                  <a:lnTo>
                    <a:pt x="3" y="2"/>
                  </a:lnTo>
                  <a:lnTo>
                    <a:pt x="3" y="2"/>
                  </a:lnTo>
                  <a:lnTo>
                    <a:pt x="3" y="2"/>
                  </a:lnTo>
                  <a:lnTo>
                    <a:pt x="3" y="2"/>
                  </a:lnTo>
                  <a:lnTo>
                    <a:pt x="3" y="3"/>
                  </a:lnTo>
                  <a:lnTo>
                    <a:pt x="3" y="3"/>
                  </a:lnTo>
                  <a:lnTo>
                    <a:pt x="3" y="3"/>
                  </a:lnTo>
                  <a:lnTo>
                    <a:pt x="3" y="2"/>
                  </a:lnTo>
                  <a:lnTo>
                    <a:pt x="2" y="2"/>
                  </a:lnTo>
                  <a:lnTo>
                    <a:pt x="2" y="2"/>
                  </a:lnTo>
                  <a:lnTo>
                    <a:pt x="2" y="2"/>
                  </a:lnTo>
                  <a:lnTo>
                    <a:pt x="2" y="2"/>
                  </a:lnTo>
                  <a:lnTo>
                    <a:pt x="2" y="2"/>
                  </a:lnTo>
                  <a:lnTo>
                    <a:pt x="1" y="2"/>
                  </a:lnTo>
                  <a:lnTo>
                    <a:pt x="1" y="1"/>
                  </a:lnTo>
                  <a:lnTo>
                    <a:pt x="0" y="1"/>
                  </a:lnTo>
                  <a:lnTo>
                    <a:pt x="1" y="0"/>
                  </a:lnTo>
                  <a:lnTo>
                    <a:pt x="1" y="0"/>
                  </a:lnTo>
                  <a:lnTo>
                    <a:pt x="1" y="0"/>
                  </a:lnTo>
                  <a:lnTo>
                    <a:pt x="1" y="0"/>
                  </a:lnTo>
                  <a:lnTo>
                    <a:pt x="1" y="0"/>
                  </a:lnTo>
                  <a:lnTo>
                    <a:pt x="1" y="0"/>
                  </a:lnTo>
                  <a:lnTo>
                    <a:pt x="1" y="0"/>
                  </a:lnTo>
                  <a:lnTo>
                    <a:pt x="1" y="0"/>
                  </a:lnTo>
                  <a:lnTo>
                    <a:pt x="2" y="1"/>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69" name="Freeform 925">
              <a:extLst>
                <a:ext uri="{FF2B5EF4-FFF2-40B4-BE49-F238E27FC236}">
                  <a16:creationId xmlns:a16="http://schemas.microsoft.com/office/drawing/2014/main" id="{BF11CEF8-CB4F-451B-AA31-84D4F6C6818F}"/>
                </a:ext>
              </a:extLst>
            </p:cNvPr>
            <p:cNvSpPr>
              <a:spLocks noEditPoints="1"/>
            </p:cNvSpPr>
            <p:nvPr/>
          </p:nvSpPr>
          <p:spPr bwMode="auto">
            <a:xfrm>
              <a:off x="7967248" y="2531209"/>
              <a:ext cx="113517" cy="114852"/>
            </a:xfrm>
            <a:custGeom>
              <a:avLst/>
              <a:gdLst>
                <a:gd name="T0" fmla="*/ 56 w 85"/>
                <a:gd name="T1" fmla="*/ 85 h 86"/>
                <a:gd name="T2" fmla="*/ 58 w 85"/>
                <a:gd name="T3" fmla="*/ 81 h 86"/>
                <a:gd name="T4" fmla="*/ 53 w 85"/>
                <a:gd name="T5" fmla="*/ 71 h 86"/>
                <a:gd name="T6" fmla="*/ 52 w 85"/>
                <a:gd name="T7" fmla="*/ 71 h 86"/>
                <a:gd name="T8" fmla="*/ 57 w 85"/>
                <a:gd name="T9" fmla="*/ 68 h 86"/>
                <a:gd name="T10" fmla="*/ 53 w 85"/>
                <a:gd name="T11" fmla="*/ 67 h 86"/>
                <a:gd name="T12" fmla="*/ 65 w 85"/>
                <a:gd name="T13" fmla="*/ 65 h 86"/>
                <a:gd name="T14" fmla="*/ 44 w 85"/>
                <a:gd name="T15" fmla="*/ 65 h 86"/>
                <a:gd name="T16" fmla="*/ 42 w 85"/>
                <a:gd name="T17" fmla="*/ 64 h 86"/>
                <a:gd name="T18" fmla="*/ 64 w 85"/>
                <a:gd name="T19" fmla="*/ 64 h 86"/>
                <a:gd name="T20" fmla="*/ 43 w 85"/>
                <a:gd name="T21" fmla="*/ 62 h 86"/>
                <a:gd name="T22" fmla="*/ 42 w 85"/>
                <a:gd name="T23" fmla="*/ 61 h 86"/>
                <a:gd name="T24" fmla="*/ 41 w 85"/>
                <a:gd name="T25" fmla="*/ 60 h 86"/>
                <a:gd name="T26" fmla="*/ 43 w 85"/>
                <a:gd name="T27" fmla="*/ 60 h 86"/>
                <a:gd name="T28" fmla="*/ 43 w 85"/>
                <a:gd name="T29" fmla="*/ 58 h 86"/>
                <a:gd name="T30" fmla="*/ 64 w 85"/>
                <a:gd name="T31" fmla="*/ 60 h 86"/>
                <a:gd name="T32" fmla="*/ 76 w 85"/>
                <a:gd name="T33" fmla="*/ 62 h 86"/>
                <a:gd name="T34" fmla="*/ 76 w 85"/>
                <a:gd name="T35" fmla="*/ 58 h 86"/>
                <a:gd name="T36" fmla="*/ 41 w 85"/>
                <a:gd name="T37" fmla="*/ 56 h 86"/>
                <a:gd name="T38" fmla="*/ 32 w 85"/>
                <a:gd name="T39" fmla="*/ 35 h 86"/>
                <a:gd name="T40" fmla="*/ 30 w 85"/>
                <a:gd name="T41" fmla="*/ 23 h 86"/>
                <a:gd name="T42" fmla="*/ 28 w 85"/>
                <a:gd name="T43" fmla="*/ 19 h 86"/>
                <a:gd name="T44" fmla="*/ 24 w 85"/>
                <a:gd name="T45" fmla="*/ 15 h 86"/>
                <a:gd name="T46" fmla="*/ 25 w 85"/>
                <a:gd name="T47" fmla="*/ 16 h 86"/>
                <a:gd name="T48" fmla="*/ 2 w 85"/>
                <a:gd name="T49" fmla="*/ 14 h 86"/>
                <a:gd name="T50" fmla="*/ 51 w 85"/>
                <a:gd name="T51" fmla="*/ 8 h 86"/>
                <a:gd name="T52" fmla="*/ 65 w 85"/>
                <a:gd name="T53" fmla="*/ 21 h 86"/>
                <a:gd name="T54" fmla="*/ 73 w 85"/>
                <a:gd name="T55" fmla="*/ 34 h 86"/>
                <a:gd name="T56" fmla="*/ 79 w 85"/>
                <a:gd name="T57" fmla="*/ 42 h 86"/>
                <a:gd name="T58" fmla="*/ 80 w 85"/>
                <a:gd name="T59" fmla="*/ 53 h 86"/>
                <a:gd name="T60" fmla="*/ 73 w 85"/>
                <a:gd name="T61" fmla="*/ 56 h 86"/>
                <a:gd name="T62" fmla="*/ 70 w 85"/>
                <a:gd name="T63" fmla="*/ 57 h 86"/>
                <a:gd name="T64" fmla="*/ 70 w 85"/>
                <a:gd name="T65" fmla="*/ 58 h 86"/>
                <a:gd name="T66" fmla="*/ 64 w 85"/>
                <a:gd name="T67" fmla="*/ 58 h 86"/>
                <a:gd name="T68" fmla="*/ 63 w 85"/>
                <a:gd name="T69" fmla="*/ 64 h 86"/>
                <a:gd name="T70" fmla="*/ 59 w 85"/>
                <a:gd name="T71" fmla="*/ 63 h 86"/>
                <a:gd name="T72" fmla="*/ 57 w 85"/>
                <a:gd name="T73" fmla="*/ 65 h 86"/>
                <a:gd name="T74" fmla="*/ 56 w 85"/>
                <a:gd name="T75" fmla="*/ 63 h 86"/>
                <a:gd name="T76" fmla="*/ 51 w 85"/>
                <a:gd name="T77" fmla="*/ 67 h 86"/>
                <a:gd name="T78" fmla="*/ 46 w 85"/>
                <a:gd name="T79" fmla="*/ 64 h 86"/>
                <a:gd name="T80" fmla="*/ 46 w 85"/>
                <a:gd name="T81" fmla="*/ 63 h 86"/>
                <a:gd name="T82" fmla="*/ 46 w 85"/>
                <a:gd name="T83" fmla="*/ 62 h 86"/>
                <a:gd name="T84" fmla="*/ 44 w 85"/>
                <a:gd name="T85" fmla="*/ 60 h 86"/>
                <a:gd name="T86" fmla="*/ 44 w 85"/>
                <a:gd name="T87" fmla="*/ 57 h 86"/>
                <a:gd name="T88" fmla="*/ 42 w 85"/>
                <a:gd name="T89" fmla="*/ 49 h 86"/>
                <a:gd name="T90" fmla="*/ 43 w 85"/>
                <a:gd name="T91" fmla="*/ 44 h 86"/>
                <a:gd name="T92" fmla="*/ 42 w 85"/>
                <a:gd name="T93" fmla="*/ 41 h 86"/>
                <a:gd name="T94" fmla="*/ 36 w 85"/>
                <a:gd name="T95" fmla="*/ 36 h 86"/>
                <a:gd name="T96" fmla="*/ 32 w 85"/>
                <a:gd name="T97" fmla="*/ 30 h 86"/>
                <a:gd name="T98" fmla="*/ 31 w 85"/>
                <a:gd name="T99" fmla="*/ 32 h 86"/>
                <a:gd name="T100" fmla="*/ 29 w 85"/>
                <a:gd name="T101" fmla="*/ 28 h 86"/>
                <a:gd name="T102" fmla="*/ 31 w 85"/>
                <a:gd name="T103" fmla="*/ 27 h 86"/>
                <a:gd name="T104" fmla="*/ 32 w 85"/>
                <a:gd name="T105" fmla="*/ 29 h 86"/>
                <a:gd name="T106" fmla="*/ 34 w 85"/>
                <a:gd name="T107" fmla="*/ 27 h 86"/>
                <a:gd name="T108" fmla="*/ 38 w 85"/>
                <a:gd name="T109" fmla="*/ 28 h 86"/>
                <a:gd name="T110" fmla="*/ 35 w 85"/>
                <a:gd name="T111" fmla="*/ 23 h 86"/>
                <a:gd name="T112" fmla="*/ 34 w 85"/>
                <a:gd name="T113" fmla="*/ 21 h 86"/>
                <a:gd name="T114" fmla="*/ 27 w 85"/>
                <a:gd name="T115" fmla="*/ 14 h 86"/>
                <a:gd name="T116" fmla="*/ 28 w 85"/>
                <a:gd name="T117" fmla="*/ 8 h 86"/>
                <a:gd name="T118" fmla="*/ 42 w 85"/>
                <a:gd name="T119" fmla="*/ 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5" h="86">
                  <a:moveTo>
                    <a:pt x="59" y="81"/>
                  </a:moveTo>
                  <a:lnTo>
                    <a:pt x="60" y="82"/>
                  </a:lnTo>
                  <a:lnTo>
                    <a:pt x="62" y="82"/>
                  </a:lnTo>
                  <a:lnTo>
                    <a:pt x="62" y="83"/>
                  </a:lnTo>
                  <a:lnTo>
                    <a:pt x="62" y="84"/>
                  </a:lnTo>
                  <a:lnTo>
                    <a:pt x="60" y="84"/>
                  </a:lnTo>
                  <a:lnTo>
                    <a:pt x="62" y="84"/>
                  </a:lnTo>
                  <a:lnTo>
                    <a:pt x="60" y="84"/>
                  </a:lnTo>
                  <a:lnTo>
                    <a:pt x="60" y="85"/>
                  </a:lnTo>
                  <a:lnTo>
                    <a:pt x="58" y="85"/>
                  </a:lnTo>
                  <a:lnTo>
                    <a:pt x="57" y="85"/>
                  </a:lnTo>
                  <a:lnTo>
                    <a:pt x="57" y="86"/>
                  </a:lnTo>
                  <a:lnTo>
                    <a:pt x="56" y="85"/>
                  </a:lnTo>
                  <a:lnTo>
                    <a:pt x="55" y="85"/>
                  </a:lnTo>
                  <a:lnTo>
                    <a:pt x="55" y="86"/>
                  </a:lnTo>
                  <a:lnTo>
                    <a:pt x="53" y="86"/>
                  </a:lnTo>
                  <a:lnTo>
                    <a:pt x="53" y="85"/>
                  </a:lnTo>
                  <a:lnTo>
                    <a:pt x="52" y="85"/>
                  </a:lnTo>
                  <a:lnTo>
                    <a:pt x="52" y="84"/>
                  </a:lnTo>
                  <a:lnTo>
                    <a:pt x="52" y="83"/>
                  </a:lnTo>
                  <a:lnTo>
                    <a:pt x="53" y="83"/>
                  </a:lnTo>
                  <a:lnTo>
                    <a:pt x="53" y="82"/>
                  </a:lnTo>
                  <a:lnTo>
                    <a:pt x="55" y="82"/>
                  </a:lnTo>
                  <a:lnTo>
                    <a:pt x="56" y="81"/>
                  </a:lnTo>
                  <a:lnTo>
                    <a:pt x="57" y="81"/>
                  </a:lnTo>
                  <a:lnTo>
                    <a:pt x="58" y="81"/>
                  </a:lnTo>
                  <a:lnTo>
                    <a:pt x="59" y="81"/>
                  </a:lnTo>
                  <a:close/>
                  <a:moveTo>
                    <a:pt x="62" y="72"/>
                  </a:moveTo>
                  <a:lnTo>
                    <a:pt x="63" y="72"/>
                  </a:lnTo>
                  <a:lnTo>
                    <a:pt x="63" y="74"/>
                  </a:lnTo>
                  <a:lnTo>
                    <a:pt x="62" y="74"/>
                  </a:lnTo>
                  <a:lnTo>
                    <a:pt x="62" y="72"/>
                  </a:lnTo>
                  <a:close/>
                  <a:moveTo>
                    <a:pt x="34" y="72"/>
                  </a:moveTo>
                  <a:lnTo>
                    <a:pt x="32" y="72"/>
                  </a:lnTo>
                  <a:lnTo>
                    <a:pt x="34" y="72"/>
                  </a:lnTo>
                  <a:close/>
                  <a:moveTo>
                    <a:pt x="52" y="71"/>
                  </a:moveTo>
                  <a:lnTo>
                    <a:pt x="51" y="71"/>
                  </a:lnTo>
                  <a:lnTo>
                    <a:pt x="52" y="71"/>
                  </a:lnTo>
                  <a:close/>
                  <a:moveTo>
                    <a:pt x="53" y="71"/>
                  </a:moveTo>
                  <a:lnTo>
                    <a:pt x="52" y="71"/>
                  </a:lnTo>
                  <a:lnTo>
                    <a:pt x="52" y="70"/>
                  </a:lnTo>
                  <a:lnTo>
                    <a:pt x="53" y="70"/>
                  </a:lnTo>
                  <a:lnTo>
                    <a:pt x="53" y="71"/>
                  </a:lnTo>
                  <a:close/>
                  <a:moveTo>
                    <a:pt x="57" y="71"/>
                  </a:moveTo>
                  <a:lnTo>
                    <a:pt x="56" y="71"/>
                  </a:lnTo>
                  <a:lnTo>
                    <a:pt x="56" y="70"/>
                  </a:lnTo>
                  <a:lnTo>
                    <a:pt x="57" y="71"/>
                  </a:lnTo>
                  <a:close/>
                  <a:moveTo>
                    <a:pt x="52" y="71"/>
                  </a:moveTo>
                  <a:lnTo>
                    <a:pt x="51" y="71"/>
                  </a:lnTo>
                  <a:lnTo>
                    <a:pt x="51" y="70"/>
                  </a:lnTo>
                  <a:lnTo>
                    <a:pt x="52" y="70"/>
                  </a:lnTo>
                  <a:lnTo>
                    <a:pt x="52" y="71"/>
                  </a:lnTo>
                  <a:close/>
                  <a:moveTo>
                    <a:pt x="44" y="69"/>
                  </a:moveTo>
                  <a:lnTo>
                    <a:pt x="45" y="69"/>
                  </a:lnTo>
                  <a:lnTo>
                    <a:pt x="44" y="69"/>
                  </a:lnTo>
                  <a:close/>
                  <a:moveTo>
                    <a:pt x="55" y="68"/>
                  </a:moveTo>
                  <a:lnTo>
                    <a:pt x="55" y="69"/>
                  </a:lnTo>
                  <a:lnTo>
                    <a:pt x="53" y="69"/>
                  </a:lnTo>
                  <a:lnTo>
                    <a:pt x="53" y="68"/>
                  </a:lnTo>
                  <a:lnTo>
                    <a:pt x="55" y="68"/>
                  </a:lnTo>
                  <a:close/>
                  <a:moveTo>
                    <a:pt x="57" y="68"/>
                  </a:moveTo>
                  <a:lnTo>
                    <a:pt x="58" y="68"/>
                  </a:lnTo>
                  <a:lnTo>
                    <a:pt x="57" y="68"/>
                  </a:lnTo>
                  <a:lnTo>
                    <a:pt x="57" y="69"/>
                  </a:lnTo>
                  <a:lnTo>
                    <a:pt x="57" y="68"/>
                  </a:lnTo>
                  <a:lnTo>
                    <a:pt x="56" y="68"/>
                  </a:lnTo>
                  <a:lnTo>
                    <a:pt x="57" y="68"/>
                  </a:lnTo>
                  <a:close/>
                  <a:moveTo>
                    <a:pt x="53" y="69"/>
                  </a:moveTo>
                  <a:lnTo>
                    <a:pt x="52" y="69"/>
                  </a:lnTo>
                  <a:lnTo>
                    <a:pt x="52" y="68"/>
                  </a:lnTo>
                  <a:lnTo>
                    <a:pt x="51" y="68"/>
                  </a:lnTo>
                  <a:lnTo>
                    <a:pt x="52" y="68"/>
                  </a:lnTo>
                  <a:lnTo>
                    <a:pt x="53" y="68"/>
                  </a:lnTo>
                  <a:lnTo>
                    <a:pt x="53" y="69"/>
                  </a:lnTo>
                  <a:close/>
                  <a:moveTo>
                    <a:pt x="55" y="68"/>
                  </a:moveTo>
                  <a:lnTo>
                    <a:pt x="53" y="68"/>
                  </a:lnTo>
                  <a:lnTo>
                    <a:pt x="52" y="68"/>
                  </a:lnTo>
                  <a:lnTo>
                    <a:pt x="53" y="67"/>
                  </a:lnTo>
                  <a:lnTo>
                    <a:pt x="53" y="68"/>
                  </a:lnTo>
                  <a:lnTo>
                    <a:pt x="55" y="68"/>
                  </a:lnTo>
                  <a:close/>
                  <a:moveTo>
                    <a:pt x="62" y="67"/>
                  </a:moveTo>
                  <a:lnTo>
                    <a:pt x="63" y="67"/>
                  </a:lnTo>
                  <a:lnTo>
                    <a:pt x="62" y="67"/>
                  </a:lnTo>
                  <a:close/>
                  <a:moveTo>
                    <a:pt x="58" y="67"/>
                  </a:moveTo>
                  <a:lnTo>
                    <a:pt x="57" y="67"/>
                  </a:lnTo>
                  <a:lnTo>
                    <a:pt x="58" y="65"/>
                  </a:lnTo>
                  <a:lnTo>
                    <a:pt x="58" y="67"/>
                  </a:lnTo>
                  <a:lnTo>
                    <a:pt x="59" y="67"/>
                  </a:lnTo>
                  <a:lnTo>
                    <a:pt x="58" y="67"/>
                  </a:lnTo>
                  <a:close/>
                  <a:moveTo>
                    <a:pt x="66" y="65"/>
                  </a:moveTo>
                  <a:lnTo>
                    <a:pt x="65" y="65"/>
                  </a:lnTo>
                  <a:lnTo>
                    <a:pt x="64" y="65"/>
                  </a:lnTo>
                  <a:lnTo>
                    <a:pt x="65" y="65"/>
                  </a:lnTo>
                  <a:lnTo>
                    <a:pt x="66" y="65"/>
                  </a:lnTo>
                  <a:close/>
                  <a:moveTo>
                    <a:pt x="46" y="65"/>
                  </a:moveTo>
                  <a:lnTo>
                    <a:pt x="48" y="65"/>
                  </a:lnTo>
                  <a:lnTo>
                    <a:pt x="48" y="67"/>
                  </a:lnTo>
                  <a:lnTo>
                    <a:pt x="48" y="68"/>
                  </a:lnTo>
                  <a:lnTo>
                    <a:pt x="46" y="67"/>
                  </a:lnTo>
                  <a:lnTo>
                    <a:pt x="46" y="68"/>
                  </a:lnTo>
                  <a:lnTo>
                    <a:pt x="45" y="68"/>
                  </a:lnTo>
                  <a:lnTo>
                    <a:pt x="44" y="68"/>
                  </a:lnTo>
                  <a:lnTo>
                    <a:pt x="44" y="67"/>
                  </a:lnTo>
                  <a:lnTo>
                    <a:pt x="44" y="65"/>
                  </a:lnTo>
                  <a:lnTo>
                    <a:pt x="45" y="65"/>
                  </a:lnTo>
                  <a:lnTo>
                    <a:pt x="45" y="64"/>
                  </a:lnTo>
                  <a:lnTo>
                    <a:pt x="45" y="65"/>
                  </a:lnTo>
                  <a:lnTo>
                    <a:pt x="46" y="65"/>
                  </a:lnTo>
                  <a:close/>
                  <a:moveTo>
                    <a:pt x="43" y="65"/>
                  </a:moveTo>
                  <a:lnTo>
                    <a:pt x="42" y="65"/>
                  </a:lnTo>
                  <a:lnTo>
                    <a:pt x="43" y="65"/>
                  </a:lnTo>
                  <a:lnTo>
                    <a:pt x="42" y="64"/>
                  </a:lnTo>
                  <a:lnTo>
                    <a:pt x="43" y="64"/>
                  </a:lnTo>
                  <a:lnTo>
                    <a:pt x="42" y="64"/>
                  </a:lnTo>
                  <a:lnTo>
                    <a:pt x="43" y="64"/>
                  </a:lnTo>
                  <a:lnTo>
                    <a:pt x="43" y="65"/>
                  </a:lnTo>
                  <a:close/>
                  <a:moveTo>
                    <a:pt x="42" y="64"/>
                  </a:moveTo>
                  <a:lnTo>
                    <a:pt x="42" y="63"/>
                  </a:lnTo>
                  <a:lnTo>
                    <a:pt x="42" y="64"/>
                  </a:lnTo>
                  <a:lnTo>
                    <a:pt x="43" y="64"/>
                  </a:lnTo>
                  <a:lnTo>
                    <a:pt x="42" y="64"/>
                  </a:lnTo>
                  <a:close/>
                  <a:moveTo>
                    <a:pt x="71" y="63"/>
                  </a:moveTo>
                  <a:lnTo>
                    <a:pt x="72" y="63"/>
                  </a:lnTo>
                  <a:lnTo>
                    <a:pt x="71" y="64"/>
                  </a:lnTo>
                  <a:lnTo>
                    <a:pt x="71" y="63"/>
                  </a:lnTo>
                  <a:close/>
                  <a:moveTo>
                    <a:pt x="34" y="63"/>
                  </a:moveTo>
                  <a:lnTo>
                    <a:pt x="34" y="64"/>
                  </a:lnTo>
                  <a:lnTo>
                    <a:pt x="34" y="63"/>
                  </a:lnTo>
                  <a:close/>
                  <a:moveTo>
                    <a:pt x="65" y="64"/>
                  </a:moveTo>
                  <a:lnTo>
                    <a:pt x="64" y="64"/>
                  </a:lnTo>
                  <a:lnTo>
                    <a:pt x="64" y="63"/>
                  </a:lnTo>
                  <a:lnTo>
                    <a:pt x="64" y="62"/>
                  </a:lnTo>
                  <a:lnTo>
                    <a:pt x="64" y="63"/>
                  </a:lnTo>
                  <a:lnTo>
                    <a:pt x="65" y="63"/>
                  </a:lnTo>
                  <a:lnTo>
                    <a:pt x="65" y="64"/>
                  </a:lnTo>
                  <a:close/>
                  <a:moveTo>
                    <a:pt x="41" y="63"/>
                  </a:moveTo>
                  <a:lnTo>
                    <a:pt x="39" y="63"/>
                  </a:lnTo>
                  <a:lnTo>
                    <a:pt x="41" y="62"/>
                  </a:lnTo>
                  <a:lnTo>
                    <a:pt x="41" y="63"/>
                  </a:lnTo>
                  <a:close/>
                  <a:moveTo>
                    <a:pt x="42" y="62"/>
                  </a:moveTo>
                  <a:lnTo>
                    <a:pt x="43" y="62"/>
                  </a:lnTo>
                  <a:lnTo>
                    <a:pt x="43" y="63"/>
                  </a:lnTo>
                  <a:lnTo>
                    <a:pt x="43" y="62"/>
                  </a:lnTo>
                  <a:lnTo>
                    <a:pt x="42" y="62"/>
                  </a:lnTo>
                  <a:close/>
                  <a:moveTo>
                    <a:pt x="41" y="61"/>
                  </a:moveTo>
                  <a:lnTo>
                    <a:pt x="41" y="62"/>
                  </a:lnTo>
                  <a:lnTo>
                    <a:pt x="39" y="62"/>
                  </a:lnTo>
                  <a:lnTo>
                    <a:pt x="39" y="61"/>
                  </a:lnTo>
                  <a:lnTo>
                    <a:pt x="39" y="62"/>
                  </a:lnTo>
                  <a:lnTo>
                    <a:pt x="39" y="61"/>
                  </a:lnTo>
                  <a:lnTo>
                    <a:pt x="41" y="61"/>
                  </a:lnTo>
                  <a:close/>
                  <a:moveTo>
                    <a:pt x="43" y="62"/>
                  </a:moveTo>
                  <a:lnTo>
                    <a:pt x="42" y="62"/>
                  </a:lnTo>
                  <a:lnTo>
                    <a:pt x="42" y="61"/>
                  </a:lnTo>
                  <a:lnTo>
                    <a:pt x="43" y="61"/>
                  </a:lnTo>
                  <a:lnTo>
                    <a:pt x="42" y="61"/>
                  </a:lnTo>
                  <a:lnTo>
                    <a:pt x="43" y="62"/>
                  </a:lnTo>
                  <a:close/>
                  <a:moveTo>
                    <a:pt x="71" y="61"/>
                  </a:moveTo>
                  <a:lnTo>
                    <a:pt x="72" y="61"/>
                  </a:lnTo>
                  <a:lnTo>
                    <a:pt x="72" y="62"/>
                  </a:lnTo>
                  <a:lnTo>
                    <a:pt x="72" y="61"/>
                  </a:lnTo>
                  <a:lnTo>
                    <a:pt x="71" y="61"/>
                  </a:lnTo>
                  <a:close/>
                  <a:moveTo>
                    <a:pt x="70" y="61"/>
                  </a:moveTo>
                  <a:lnTo>
                    <a:pt x="69" y="61"/>
                  </a:lnTo>
                  <a:lnTo>
                    <a:pt x="70" y="61"/>
                  </a:lnTo>
                  <a:close/>
                  <a:moveTo>
                    <a:pt x="42" y="60"/>
                  </a:moveTo>
                  <a:lnTo>
                    <a:pt x="42" y="61"/>
                  </a:lnTo>
                  <a:lnTo>
                    <a:pt x="41" y="61"/>
                  </a:lnTo>
                  <a:lnTo>
                    <a:pt x="41" y="60"/>
                  </a:lnTo>
                  <a:lnTo>
                    <a:pt x="42" y="60"/>
                  </a:lnTo>
                  <a:lnTo>
                    <a:pt x="41" y="60"/>
                  </a:lnTo>
                  <a:lnTo>
                    <a:pt x="42" y="60"/>
                  </a:lnTo>
                  <a:close/>
                  <a:moveTo>
                    <a:pt x="66" y="60"/>
                  </a:moveTo>
                  <a:lnTo>
                    <a:pt x="67" y="60"/>
                  </a:lnTo>
                  <a:lnTo>
                    <a:pt x="67" y="61"/>
                  </a:lnTo>
                  <a:lnTo>
                    <a:pt x="66" y="61"/>
                  </a:lnTo>
                  <a:lnTo>
                    <a:pt x="65" y="60"/>
                  </a:lnTo>
                  <a:lnTo>
                    <a:pt x="66" y="60"/>
                  </a:lnTo>
                  <a:close/>
                  <a:moveTo>
                    <a:pt x="44" y="60"/>
                  </a:moveTo>
                  <a:lnTo>
                    <a:pt x="44" y="61"/>
                  </a:lnTo>
                  <a:lnTo>
                    <a:pt x="44" y="60"/>
                  </a:lnTo>
                  <a:lnTo>
                    <a:pt x="43" y="60"/>
                  </a:lnTo>
                  <a:lnTo>
                    <a:pt x="43" y="61"/>
                  </a:lnTo>
                  <a:lnTo>
                    <a:pt x="43" y="60"/>
                  </a:lnTo>
                  <a:lnTo>
                    <a:pt x="44" y="60"/>
                  </a:lnTo>
                  <a:close/>
                  <a:moveTo>
                    <a:pt x="41" y="60"/>
                  </a:moveTo>
                  <a:lnTo>
                    <a:pt x="39" y="60"/>
                  </a:lnTo>
                  <a:lnTo>
                    <a:pt x="41" y="60"/>
                  </a:lnTo>
                  <a:lnTo>
                    <a:pt x="39" y="58"/>
                  </a:lnTo>
                  <a:lnTo>
                    <a:pt x="41" y="58"/>
                  </a:lnTo>
                  <a:lnTo>
                    <a:pt x="41" y="60"/>
                  </a:lnTo>
                  <a:close/>
                  <a:moveTo>
                    <a:pt x="43" y="60"/>
                  </a:moveTo>
                  <a:lnTo>
                    <a:pt x="42" y="60"/>
                  </a:lnTo>
                  <a:lnTo>
                    <a:pt x="42" y="58"/>
                  </a:lnTo>
                  <a:lnTo>
                    <a:pt x="43" y="58"/>
                  </a:lnTo>
                  <a:lnTo>
                    <a:pt x="43" y="60"/>
                  </a:lnTo>
                  <a:close/>
                  <a:moveTo>
                    <a:pt x="65" y="61"/>
                  </a:moveTo>
                  <a:lnTo>
                    <a:pt x="66" y="61"/>
                  </a:lnTo>
                  <a:lnTo>
                    <a:pt x="67" y="61"/>
                  </a:lnTo>
                  <a:lnTo>
                    <a:pt x="67" y="62"/>
                  </a:lnTo>
                  <a:lnTo>
                    <a:pt x="67" y="63"/>
                  </a:lnTo>
                  <a:lnTo>
                    <a:pt x="67" y="62"/>
                  </a:lnTo>
                  <a:lnTo>
                    <a:pt x="67" y="63"/>
                  </a:lnTo>
                  <a:lnTo>
                    <a:pt x="66" y="63"/>
                  </a:lnTo>
                  <a:lnTo>
                    <a:pt x="66" y="62"/>
                  </a:lnTo>
                  <a:lnTo>
                    <a:pt x="65" y="62"/>
                  </a:lnTo>
                  <a:lnTo>
                    <a:pt x="64" y="61"/>
                  </a:lnTo>
                  <a:lnTo>
                    <a:pt x="64" y="60"/>
                  </a:lnTo>
                  <a:lnTo>
                    <a:pt x="64" y="58"/>
                  </a:lnTo>
                  <a:lnTo>
                    <a:pt x="65" y="58"/>
                  </a:lnTo>
                  <a:lnTo>
                    <a:pt x="65" y="60"/>
                  </a:lnTo>
                  <a:lnTo>
                    <a:pt x="65" y="61"/>
                  </a:lnTo>
                  <a:close/>
                  <a:moveTo>
                    <a:pt x="74" y="58"/>
                  </a:moveTo>
                  <a:lnTo>
                    <a:pt x="76" y="58"/>
                  </a:lnTo>
                  <a:lnTo>
                    <a:pt x="76" y="60"/>
                  </a:lnTo>
                  <a:lnTo>
                    <a:pt x="76" y="61"/>
                  </a:lnTo>
                  <a:lnTo>
                    <a:pt x="77" y="61"/>
                  </a:lnTo>
                  <a:lnTo>
                    <a:pt x="76" y="61"/>
                  </a:lnTo>
                  <a:lnTo>
                    <a:pt x="76" y="62"/>
                  </a:lnTo>
                  <a:lnTo>
                    <a:pt x="74" y="62"/>
                  </a:lnTo>
                  <a:lnTo>
                    <a:pt x="76" y="62"/>
                  </a:lnTo>
                  <a:lnTo>
                    <a:pt x="74" y="62"/>
                  </a:lnTo>
                  <a:lnTo>
                    <a:pt x="74" y="61"/>
                  </a:lnTo>
                  <a:lnTo>
                    <a:pt x="73" y="61"/>
                  </a:lnTo>
                  <a:lnTo>
                    <a:pt x="72" y="61"/>
                  </a:lnTo>
                  <a:lnTo>
                    <a:pt x="72" y="60"/>
                  </a:lnTo>
                  <a:lnTo>
                    <a:pt x="73" y="60"/>
                  </a:lnTo>
                  <a:lnTo>
                    <a:pt x="74" y="60"/>
                  </a:lnTo>
                  <a:lnTo>
                    <a:pt x="73" y="60"/>
                  </a:lnTo>
                  <a:lnTo>
                    <a:pt x="73" y="58"/>
                  </a:lnTo>
                  <a:lnTo>
                    <a:pt x="74" y="58"/>
                  </a:lnTo>
                  <a:lnTo>
                    <a:pt x="74" y="57"/>
                  </a:lnTo>
                  <a:lnTo>
                    <a:pt x="74" y="58"/>
                  </a:lnTo>
                  <a:close/>
                  <a:moveTo>
                    <a:pt x="76" y="58"/>
                  </a:moveTo>
                  <a:lnTo>
                    <a:pt x="76" y="57"/>
                  </a:lnTo>
                  <a:lnTo>
                    <a:pt x="76" y="58"/>
                  </a:lnTo>
                  <a:close/>
                  <a:moveTo>
                    <a:pt x="41" y="56"/>
                  </a:moveTo>
                  <a:lnTo>
                    <a:pt x="42" y="56"/>
                  </a:lnTo>
                  <a:lnTo>
                    <a:pt x="41" y="56"/>
                  </a:lnTo>
                  <a:lnTo>
                    <a:pt x="42" y="57"/>
                  </a:lnTo>
                  <a:lnTo>
                    <a:pt x="41" y="57"/>
                  </a:lnTo>
                  <a:lnTo>
                    <a:pt x="41" y="56"/>
                  </a:lnTo>
                  <a:close/>
                  <a:moveTo>
                    <a:pt x="39" y="57"/>
                  </a:moveTo>
                  <a:lnTo>
                    <a:pt x="39" y="56"/>
                  </a:lnTo>
                  <a:lnTo>
                    <a:pt x="39" y="55"/>
                  </a:lnTo>
                  <a:lnTo>
                    <a:pt x="39" y="56"/>
                  </a:lnTo>
                  <a:lnTo>
                    <a:pt x="41" y="56"/>
                  </a:lnTo>
                  <a:lnTo>
                    <a:pt x="39" y="56"/>
                  </a:lnTo>
                  <a:lnTo>
                    <a:pt x="39" y="57"/>
                  </a:lnTo>
                  <a:close/>
                  <a:moveTo>
                    <a:pt x="38" y="48"/>
                  </a:moveTo>
                  <a:lnTo>
                    <a:pt x="38" y="49"/>
                  </a:lnTo>
                  <a:lnTo>
                    <a:pt x="38" y="48"/>
                  </a:lnTo>
                  <a:close/>
                  <a:moveTo>
                    <a:pt x="34" y="34"/>
                  </a:moveTo>
                  <a:lnTo>
                    <a:pt x="34" y="35"/>
                  </a:lnTo>
                  <a:lnTo>
                    <a:pt x="35" y="35"/>
                  </a:lnTo>
                  <a:lnTo>
                    <a:pt x="34" y="35"/>
                  </a:lnTo>
                  <a:lnTo>
                    <a:pt x="34" y="34"/>
                  </a:lnTo>
                  <a:lnTo>
                    <a:pt x="32" y="35"/>
                  </a:lnTo>
                  <a:lnTo>
                    <a:pt x="32" y="34"/>
                  </a:lnTo>
                  <a:lnTo>
                    <a:pt x="32" y="35"/>
                  </a:lnTo>
                  <a:lnTo>
                    <a:pt x="32" y="34"/>
                  </a:lnTo>
                  <a:lnTo>
                    <a:pt x="32" y="33"/>
                  </a:lnTo>
                  <a:lnTo>
                    <a:pt x="31" y="33"/>
                  </a:lnTo>
                  <a:lnTo>
                    <a:pt x="32" y="33"/>
                  </a:lnTo>
                  <a:lnTo>
                    <a:pt x="32" y="34"/>
                  </a:lnTo>
                  <a:lnTo>
                    <a:pt x="34" y="34"/>
                  </a:lnTo>
                  <a:close/>
                  <a:moveTo>
                    <a:pt x="25" y="22"/>
                  </a:moveTo>
                  <a:lnTo>
                    <a:pt x="24" y="23"/>
                  </a:lnTo>
                  <a:lnTo>
                    <a:pt x="24" y="22"/>
                  </a:lnTo>
                  <a:lnTo>
                    <a:pt x="25" y="22"/>
                  </a:lnTo>
                  <a:close/>
                  <a:moveTo>
                    <a:pt x="30" y="22"/>
                  </a:moveTo>
                  <a:lnTo>
                    <a:pt x="31" y="22"/>
                  </a:lnTo>
                  <a:lnTo>
                    <a:pt x="30" y="23"/>
                  </a:lnTo>
                  <a:lnTo>
                    <a:pt x="30" y="22"/>
                  </a:lnTo>
                  <a:lnTo>
                    <a:pt x="30" y="21"/>
                  </a:lnTo>
                  <a:lnTo>
                    <a:pt x="30" y="22"/>
                  </a:lnTo>
                  <a:close/>
                  <a:moveTo>
                    <a:pt x="29" y="19"/>
                  </a:moveTo>
                  <a:lnTo>
                    <a:pt x="28" y="19"/>
                  </a:lnTo>
                  <a:lnTo>
                    <a:pt x="28" y="20"/>
                  </a:lnTo>
                  <a:lnTo>
                    <a:pt x="27" y="20"/>
                  </a:lnTo>
                  <a:lnTo>
                    <a:pt x="27" y="19"/>
                  </a:lnTo>
                  <a:lnTo>
                    <a:pt x="27" y="20"/>
                  </a:lnTo>
                  <a:lnTo>
                    <a:pt x="27" y="19"/>
                  </a:lnTo>
                  <a:lnTo>
                    <a:pt x="25" y="19"/>
                  </a:lnTo>
                  <a:lnTo>
                    <a:pt x="27" y="19"/>
                  </a:lnTo>
                  <a:lnTo>
                    <a:pt x="28" y="19"/>
                  </a:lnTo>
                  <a:lnTo>
                    <a:pt x="28" y="18"/>
                  </a:lnTo>
                  <a:lnTo>
                    <a:pt x="29" y="19"/>
                  </a:lnTo>
                  <a:close/>
                  <a:moveTo>
                    <a:pt x="85" y="19"/>
                  </a:moveTo>
                  <a:lnTo>
                    <a:pt x="84" y="19"/>
                  </a:lnTo>
                  <a:lnTo>
                    <a:pt x="84" y="18"/>
                  </a:lnTo>
                  <a:lnTo>
                    <a:pt x="85" y="18"/>
                  </a:lnTo>
                  <a:lnTo>
                    <a:pt x="85" y="19"/>
                  </a:lnTo>
                  <a:close/>
                  <a:moveTo>
                    <a:pt x="16" y="16"/>
                  </a:moveTo>
                  <a:lnTo>
                    <a:pt x="16" y="15"/>
                  </a:lnTo>
                  <a:lnTo>
                    <a:pt x="15" y="15"/>
                  </a:lnTo>
                  <a:lnTo>
                    <a:pt x="16" y="15"/>
                  </a:lnTo>
                  <a:lnTo>
                    <a:pt x="16" y="16"/>
                  </a:lnTo>
                  <a:close/>
                  <a:moveTo>
                    <a:pt x="24" y="15"/>
                  </a:moveTo>
                  <a:lnTo>
                    <a:pt x="24" y="16"/>
                  </a:lnTo>
                  <a:lnTo>
                    <a:pt x="23" y="15"/>
                  </a:lnTo>
                  <a:lnTo>
                    <a:pt x="23" y="14"/>
                  </a:lnTo>
                  <a:lnTo>
                    <a:pt x="23" y="15"/>
                  </a:lnTo>
                  <a:lnTo>
                    <a:pt x="24" y="15"/>
                  </a:lnTo>
                  <a:close/>
                  <a:moveTo>
                    <a:pt x="22" y="13"/>
                  </a:moveTo>
                  <a:lnTo>
                    <a:pt x="23" y="14"/>
                  </a:lnTo>
                  <a:lnTo>
                    <a:pt x="22" y="14"/>
                  </a:lnTo>
                  <a:lnTo>
                    <a:pt x="22" y="13"/>
                  </a:lnTo>
                  <a:close/>
                  <a:moveTo>
                    <a:pt x="27" y="16"/>
                  </a:moveTo>
                  <a:lnTo>
                    <a:pt x="25" y="16"/>
                  </a:lnTo>
                  <a:lnTo>
                    <a:pt x="24" y="16"/>
                  </a:lnTo>
                  <a:lnTo>
                    <a:pt x="25" y="16"/>
                  </a:lnTo>
                  <a:lnTo>
                    <a:pt x="25" y="15"/>
                  </a:lnTo>
                  <a:lnTo>
                    <a:pt x="24" y="15"/>
                  </a:lnTo>
                  <a:lnTo>
                    <a:pt x="24" y="14"/>
                  </a:lnTo>
                  <a:lnTo>
                    <a:pt x="23" y="14"/>
                  </a:lnTo>
                  <a:lnTo>
                    <a:pt x="24" y="14"/>
                  </a:lnTo>
                  <a:lnTo>
                    <a:pt x="24" y="13"/>
                  </a:lnTo>
                  <a:lnTo>
                    <a:pt x="24" y="14"/>
                  </a:lnTo>
                  <a:lnTo>
                    <a:pt x="25" y="14"/>
                  </a:lnTo>
                  <a:lnTo>
                    <a:pt x="25" y="15"/>
                  </a:lnTo>
                  <a:lnTo>
                    <a:pt x="27" y="15"/>
                  </a:lnTo>
                  <a:lnTo>
                    <a:pt x="27" y="16"/>
                  </a:lnTo>
                  <a:close/>
                  <a:moveTo>
                    <a:pt x="2" y="13"/>
                  </a:moveTo>
                  <a:lnTo>
                    <a:pt x="2" y="14"/>
                  </a:lnTo>
                  <a:lnTo>
                    <a:pt x="1" y="13"/>
                  </a:lnTo>
                  <a:lnTo>
                    <a:pt x="2" y="13"/>
                  </a:lnTo>
                  <a:close/>
                  <a:moveTo>
                    <a:pt x="1" y="11"/>
                  </a:moveTo>
                  <a:lnTo>
                    <a:pt x="1" y="12"/>
                  </a:lnTo>
                  <a:lnTo>
                    <a:pt x="1" y="11"/>
                  </a:lnTo>
                  <a:lnTo>
                    <a:pt x="1" y="12"/>
                  </a:lnTo>
                  <a:lnTo>
                    <a:pt x="0" y="12"/>
                  </a:lnTo>
                  <a:lnTo>
                    <a:pt x="0" y="11"/>
                  </a:lnTo>
                  <a:lnTo>
                    <a:pt x="1" y="11"/>
                  </a:lnTo>
                  <a:close/>
                  <a:moveTo>
                    <a:pt x="46" y="4"/>
                  </a:moveTo>
                  <a:lnTo>
                    <a:pt x="49" y="6"/>
                  </a:lnTo>
                  <a:lnTo>
                    <a:pt x="50" y="8"/>
                  </a:lnTo>
                  <a:lnTo>
                    <a:pt x="51" y="8"/>
                  </a:lnTo>
                  <a:lnTo>
                    <a:pt x="51" y="9"/>
                  </a:lnTo>
                  <a:lnTo>
                    <a:pt x="52" y="9"/>
                  </a:lnTo>
                  <a:lnTo>
                    <a:pt x="56" y="13"/>
                  </a:lnTo>
                  <a:lnTo>
                    <a:pt x="57" y="14"/>
                  </a:lnTo>
                  <a:lnTo>
                    <a:pt x="58" y="14"/>
                  </a:lnTo>
                  <a:lnTo>
                    <a:pt x="58" y="15"/>
                  </a:lnTo>
                  <a:lnTo>
                    <a:pt x="59" y="15"/>
                  </a:lnTo>
                  <a:lnTo>
                    <a:pt x="60" y="16"/>
                  </a:lnTo>
                  <a:lnTo>
                    <a:pt x="62" y="18"/>
                  </a:lnTo>
                  <a:lnTo>
                    <a:pt x="62" y="19"/>
                  </a:lnTo>
                  <a:lnTo>
                    <a:pt x="63" y="19"/>
                  </a:lnTo>
                  <a:lnTo>
                    <a:pt x="64" y="20"/>
                  </a:lnTo>
                  <a:lnTo>
                    <a:pt x="65" y="21"/>
                  </a:lnTo>
                  <a:lnTo>
                    <a:pt x="66" y="22"/>
                  </a:lnTo>
                  <a:lnTo>
                    <a:pt x="67" y="23"/>
                  </a:lnTo>
                  <a:lnTo>
                    <a:pt x="67" y="25"/>
                  </a:lnTo>
                  <a:lnTo>
                    <a:pt x="69" y="25"/>
                  </a:lnTo>
                  <a:lnTo>
                    <a:pt x="69" y="26"/>
                  </a:lnTo>
                  <a:lnTo>
                    <a:pt x="70" y="27"/>
                  </a:lnTo>
                  <a:lnTo>
                    <a:pt x="70" y="28"/>
                  </a:lnTo>
                  <a:lnTo>
                    <a:pt x="71" y="28"/>
                  </a:lnTo>
                  <a:lnTo>
                    <a:pt x="72" y="29"/>
                  </a:lnTo>
                  <a:lnTo>
                    <a:pt x="72" y="30"/>
                  </a:lnTo>
                  <a:lnTo>
                    <a:pt x="72" y="32"/>
                  </a:lnTo>
                  <a:lnTo>
                    <a:pt x="72" y="33"/>
                  </a:lnTo>
                  <a:lnTo>
                    <a:pt x="73" y="34"/>
                  </a:lnTo>
                  <a:lnTo>
                    <a:pt x="74" y="35"/>
                  </a:lnTo>
                  <a:lnTo>
                    <a:pt x="74" y="36"/>
                  </a:lnTo>
                  <a:lnTo>
                    <a:pt x="74" y="37"/>
                  </a:lnTo>
                  <a:lnTo>
                    <a:pt x="74" y="39"/>
                  </a:lnTo>
                  <a:lnTo>
                    <a:pt x="76" y="40"/>
                  </a:lnTo>
                  <a:lnTo>
                    <a:pt x="76" y="41"/>
                  </a:lnTo>
                  <a:lnTo>
                    <a:pt x="77" y="41"/>
                  </a:lnTo>
                  <a:lnTo>
                    <a:pt x="76" y="41"/>
                  </a:lnTo>
                  <a:lnTo>
                    <a:pt x="77" y="42"/>
                  </a:lnTo>
                  <a:lnTo>
                    <a:pt x="78" y="42"/>
                  </a:lnTo>
                  <a:lnTo>
                    <a:pt x="78" y="41"/>
                  </a:lnTo>
                  <a:lnTo>
                    <a:pt x="79" y="41"/>
                  </a:lnTo>
                  <a:lnTo>
                    <a:pt x="79" y="42"/>
                  </a:lnTo>
                  <a:lnTo>
                    <a:pt x="79" y="43"/>
                  </a:lnTo>
                  <a:lnTo>
                    <a:pt x="79" y="44"/>
                  </a:lnTo>
                  <a:lnTo>
                    <a:pt x="79" y="46"/>
                  </a:lnTo>
                  <a:lnTo>
                    <a:pt x="79" y="47"/>
                  </a:lnTo>
                  <a:lnTo>
                    <a:pt x="79" y="48"/>
                  </a:lnTo>
                  <a:lnTo>
                    <a:pt x="80" y="48"/>
                  </a:lnTo>
                  <a:lnTo>
                    <a:pt x="80" y="49"/>
                  </a:lnTo>
                  <a:lnTo>
                    <a:pt x="80" y="50"/>
                  </a:lnTo>
                  <a:lnTo>
                    <a:pt x="79" y="49"/>
                  </a:lnTo>
                  <a:lnTo>
                    <a:pt x="79" y="50"/>
                  </a:lnTo>
                  <a:lnTo>
                    <a:pt x="80" y="50"/>
                  </a:lnTo>
                  <a:lnTo>
                    <a:pt x="80" y="51"/>
                  </a:lnTo>
                  <a:lnTo>
                    <a:pt x="80" y="53"/>
                  </a:lnTo>
                  <a:lnTo>
                    <a:pt x="79" y="53"/>
                  </a:lnTo>
                  <a:lnTo>
                    <a:pt x="80" y="54"/>
                  </a:lnTo>
                  <a:lnTo>
                    <a:pt x="80" y="55"/>
                  </a:lnTo>
                  <a:lnTo>
                    <a:pt x="79" y="55"/>
                  </a:lnTo>
                  <a:lnTo>
                    <a:pt x="79" y="56"/>
                  </a:lnTo>
                  <a:lnTo>
                    <a:pt x="78" y="56"/>
                  </a:lnTo>
                  <a:lnTo>
                    <a:pt x="78" y="57"/>
                  </a:lnTo>
                  <a:lnTo>
                    <a:pt x="78" y="56"/>
                  </a:lnTo>
                  <a:lnTo>
                    <a:pt x="78" y="57"/>
                  </a:lnTo>
                  <a:lnTo>
                    <a:pt x="77" y="56"/>
                  </a:lnTo>
                  <a:lnTo>
                    <a:pt x="76" y="56"/>
                  </a:lnTo>
                  <a:lnTo>
                    <a:pt x="74" y="56"/>
                  </a:lnTo>
                  <a:lnTo>
                    <a:pt x="73" y="56"/>
                  </a:lnTo>
                  <a:lnTo>
                    <a:pt x="72" y="55"/>
                  </a:lnTo>
                  <a:lnTo>
                    <a:pt x="72" y="56"/>
                  </a:lnTo>
                  <a:lnTo>
                    <a:pt x="72" y="55"/>
                  </a:lnTo>
                  <a:lnTo>
                    <a:pt x="71" y="55"/>
                  </a:lnTo>
                  <a:lnTo>
                    <a:pt x="72" y="55"/>
                  </a:lnTo>
                  <a:lnTo>
                    <a:pt x="72" y="56"/>
                  </a:lnTo>
                  <a:lnTo>
                    <a:pt x="73" y="56"/>
                  </a:lnTo>
                  <a:lnTo>
                    <a:pt x="73" y="57"/>
                  </a:lnTo>
                  <a:lnTo>
                    <a:pt x="72" y="57"/>
                  </a:lnTo>
                  <a:lnTo>
                    <a:pt x="72" y="56"/>
                  </a:lnTo>
                  <a:lnTo>
                    <a:pt x="71" y="56"/>
                  </a:lnTo>
                  <a:lnTo>
                    <a:pt x="71" y="57"/>
                  </a:lnTo>
                  <a:lnTo>
                    <a:pt x="70" y="57"/>
                  </a:lnTo>
                  <a:lnTo>
                    <a:pt x="71" y="57"/>
                  </a:lnTo>
                  <a:lnTo>
                    <a:pt x="72" y="57"/>
                  </a:lnTo>
                  <a:lnTo>
                    <a:pt x="72" y="58"/>
                  </a:lnTo>
                  <a:lnTo>
                    <a:pt x="71" y="58"/>
                  </a:lnTo>
                  <a:lnTo>
                    <a:pt x="72" y="60"/>
                  </a:lnTo>
                  <a:lnTo>
                    <a:pt x="72" y="61"/>
                  </a:lnTo>
                  <a:lnTo>
                    <a:pt x="71" y="61"/>
                  </a:lnTo>
                  <a:lnTo>
                    <a:pt x="71" y="60"/>
                  </a:lnTo>
                  <a:lnTo>
                    <a:pt x="72" y="60"/>
                  </a:lnTo>
                  <a:lnTo>
                    <a:pt x="71" y="60"/>
                  </a:lnTo>
                  <a:lnTo>
                    <a:pt x="70" y="60"/>
                  </a:lnTo>
                  <a:lnTo>
                    <a:pt x="71" y="60"/>
                  </a:lnTo>
                  <a:lnTo>
                    <a:pt x="70" y="58"/>
                  </a:lnTo>
                  <a:lnTo>
                    <a:pt x="70" y="60"/>
                  </a:lnTo>
                  <a:lnTo>
                    <a:pt x="69" y="58"/>
                  </a:lnTo>
                  <a:lnTo>
                    <a:pt x="69" y="60"/>
                  </a:lnTo>
                  <a:lnTo>
                    <a:pt x="67" y="60"/>
                  </a:lnTo>
                  <a:lnTo>
                    <a:pt x="67" y="58"/>
                  </a:lnTo>
                  <a:lnTo>
                    <a:pt x="67" y="60"/>
                  </a:lnTo>
                  <a:lnTo>
                    <a:pt x="66" y="58"/>
                  </a:lnTo>
                  <a:lnTo>
                    <a:pt x="65" y="57"/>
                  </a:lnTo>
                  <a:lnTo>
                    <a:pt x="65" y="56"/>
                  </a:lnTo>
                  <a:lnTo>
                    <a:pt x="65" y="57"/>
                  </a:lnTo>
                  <a:lnTo>
                    <a:pt x="65" y="58"/>
                  </a:lnTo>
                  <a:lnTo>
                    <a:pt x="64" y="57"/>
                  </a:lnTo>
                  <a:lnTo>
                    <a:pt x="64" y="58"/>
                  </a:lnTo>
                  <a:lnTo>
                    <a:pt x="63" y="58"/>
                  </a:lnTo>
                  <a:lnTo>
                    <a:pt x="62" y="58"/>
                  </a:lnTo>
                  <a:lnTo>
                    <a:pt x="62" y="60"/>
                  </a:lnTo>
                  <a:lnTo>
                    <a:pt x="60" y="60"/>
                  </a:lnTo>
                  <a:lnTo>
                    <a:pt x="60" y="58"/>
                  </a:lnTo>
                  <a:lnTo>
                    <a:pt x="60" y="60"/>
                  </a:lnTo>
                  <a:lnTo>
                    <a:pt x="62" y="61"/>
                  </a:lnTo>
                  <a:lnTo>
                    <a:pt x="63" y="61"/>
                  </a:lnTo>
                  <a:lnTo>
                    <a:pt x="64" y="61"/>
                  </a:lnTo>
                  <a:lnTo>
                    <a:pt x="64" y="62"/>
                  </a:lnTo>
                  <a:lnTo>
                    <a:pt x="63" y="62"/>
                  </a:lnTo>
                  <a:lnTo>
                    <a:pt x="63" y="63"/>
                  </a:lnTo>
                  <a:lnTo>
                    <a:pt x="63" y="64"/>
                  </a:lnTo>
                  <a:lnTo>
                    <a:pt x="63" y="63"/>
                  </a:lnTo>
                  <a:lnTo>
                    <a:pt x="62" y="63"/>
                  </a:lnTo>
                  <a:lnTo>
                    <a:pt x="62" y="62"/>
                  </a:lnTo>
                  <a:lnTo>
                    <a:pt x="60" y="62"/>
                  </a:lnTo>
                  <a:lnTo>
                    <a:pt x="60" y="61"/>
                  </a:lnTo>
                  <a:lnTo>
                    <a:pt x="59" y="60"/>
                  </a:lnTo>
                  <a:lnTo>
                    <a:pt x="59" y="61"/>
                  </a:lnTo>
                  <a:lnTo>
                    <a:pt x="58" y="61"/>
                  </a:lnTo>
                  <a:lnTo>
                    <a:pt x="59" y="61"/>
                  </a:lnTo>
                  <a:lnTo>
                    <a:pt x="58" y="61"/>
                  </a:lnTo>
                  <a:lnTo>
                    <a:pt x="58" y="62"/>
                  </a:lnTo>
                  <a:lnTo>
                    <a:pt x="59" y="62"/>
                  </a:lnTo>
                  <a:lnTo>
                    <a:pt x="59" y="63"/>
                  </a:lnTo>
                  <a:lnTo>
                    <a:pt x="60" y="63"/>
                  </a:lnTo>
                  <a:lnTo>
                    <a:pt x="62" y="64"/>
                  </a:lnTo>
                  <a:lnTo>
                    <a:pt x="60" y="64"/>
                  </a:lnTo>
                  <a:lnTo>
                    <a:pt x="59" y="64"/>
                  </a:lnTo>
                  <a:lnTo>
                    <a:pt x="59" y="65"/>
                  </a:lnTo>
                  <a:lnTo>
                    <a:pt x="60" y="65"/>
                  </a:lnTo>
                  <a:lnTo>
                    <a:pt x="59" y="67"/>
                  </a:lnTo>
                  <a:lnTo>
                    <a:pt x="60" y="67"/>
                  </a:lnTo>
                  <a:lnTo>
                    <a:pt x="59" y="65"/>
                  </a:lnTo>
                  <a:lnTo>
                    <a:pt x="58" y="65"/>
                  </a:lnTo>
                  <a:lnTo>
                    <a:pt x="57" y="65"/>
                  </a:lnTo>
                  <a:lnTo>
                    <a:pt x="58" y="65"/>
                  </a:lnTo>
                  <a:lnTo>
                    <a:pt x="57" y="65"/>
                  </a:lnTo>
                  <a:lnTo>
                    <a:pt x="57" y="64"/>
                  </a:lnTo>
                  <a:lnTo>
                    <a:pt x="57" y="63"/>
                  </a:lnTo>
                  <a:lnTo>
                    <a:pt x="57" y="64"/>
                  </a:lnTo>
                  <a:lnTo>
                    <a:pt x="58" y="64"/>
                  </a:lnTo>
                  <a:lnTo>
                    <a:pt x="58" y="63"/>
                  </a:lnTo>
                  <a:lnTo>
                    <a:pt x="57" y="63"/>
                  </a:lnTo>
                  <a:lnTo>
                    <a:pt x="58" y="62"/>
                  </a:lnTo>
                  <a:lnTo>
                    <a:pt x="58" y="63"/>
                  </a:lnTo>
                  <a:lnTo>
                    <a:pt x="59" y="63"/>
                  </a:lnTo>
                  <a:lnTo>
                    <a:pt x="58" y="62"/>
                  </a:lnTo>
                  <a:lnTo>
                    <a:pt x="57" y="62"/>
                  </a:lnTo>
                  <a:lnTo>
                    <a:pt x="57" y="63"/>
                  </a:lnTo>
                  <a:lnTo>
                    <a:pt x="56" y="63"/>
                  </a:lnTo>
                  <a:lnTo>
                    <a:pt x="55" y="64"/>
                  </a:lnTo>
                  <a:lnTo>
                    <a:pt x="55" y="65"/>
                  </a:lnTo>
                  <a:lnTo>
                    <a:pt x="55" y="67"/>
                  </a:lnTo>
                  <a:lnTo>
                    <a:pt x="53" y="67"/>
                  </a:lnTo>
                  <a:lnTo>
                    <a:pt x="52" y="65"/>
                  </a:lnTo>
                  <a:lnTo>
                    <a:pt x="52" y="64"/>
                  </a:lnTo>
                  <a:lnTo>
                    <a:pt x="51" y="64"/>
                  </a:lnTo>
                  <a:lnTo>
                    <a:pt x="52" y="64"/>
                  </a:lnTo>
                  <a:lnTo>
                    <a:pt x="52" y="65"/>
                  </a:lnTo>
                  <a:lnTo>
                    <a:pt x="52" y="67"/>
                  </a:lnTo>
                  <a:lnTo>
                    <a:pt x="51" y="67"/>
                  </a:lnTo>
                  <a:lnTo>
                    <a:pt x="52" y="67"/>
                  </a:lnTo>
                  <a:lnTo>
                    <a:pt x="51" y="67"/>
                  </a:lnTo>
                  <a:lnTo>
                    <a:pt x="51" y="68"/>
                  </a:lnTo>
                  <a:lnTo>
                    <a:pt x="51" y="69"/>
                  </a:lnTo>
                  <a:lnTo>
                    <a:pt x="50" y="69"/>
                  </a:lnTo>
                  <a:lnTo>
                    <a:pt x="50" y="68"/>
                  </a:lnTo>
                  <a:lnTo>
                    <a:pt x="50" y="67"/>
                  </a:lnTo>
                  <a:lnTo>
                    <a:pt x="49" y="67"/>
                  </a:lnTo>
                  <a:lnTo>
                    <a:pt x="49" y="65"/>
                  </a:lnTo>
                  <a:lnTo>
                    <a:pt x="49" y="64"/>
                  </a:lnTo>
                  <a:lnTo>
                    <a:pt x="49" y="65"/>
                  </a:lnTo>
                  <a:lnTo>
                    <a:pt x="48" y="64"/>
                  </a:lnTo>
                  <a:lnTo>
                    <a:pt x="48" y="65"/>
                  </a:lnTo>
                  <a:lnTo>
                    <a:pt x="46" y="65"/>
                  </a:lnTo>
                  <a:lnTo>
                    <a:pt x="46" y="64"/>
                  </a:lnTo>
                  <a:lnTo>
                    <a:pt x="45" y="64"/>
                  </a:lnTo>
                  <a:lnTo>
                    <a:pt x="45" y="63"/>
                  </a:lnTo>
                  <a:lnTo>
                    <a:pt x="44" y="63"/>
                  </a:lnTo>
                  <a:lnTo>
                    <a:pt x="44" y="62"/>
                  </a:lnTo>
                  <a:lnTo>
                    <a:pt x="45" y="62"/>
                  </a:lnTo>
                  <a:lnTo>
                    <a:pt x="45" y="63"/>
                  </a:lnTo>
                  <a:lnTo>
                    <a:pt x="46" y="64"/>
                  </a:lnTo>
                  <a:lnTo>
                    <a:pt x="48" y="64"/>
                  </a:lnTo>
                  <a:lnTo>
                    <a:pt x="46" y="64"/>
                  </a:lnTo>
                  <a:lnTo>
                    <a:pt x="46" y="63"/>
                  </a:lnTo>
                  <a:lnTo>
                    <a:pt x="45" y="62"/>
                  </a:lnTo>
                  <a:lnTo>
                    <a:pt x="46" y="62"/>
                  </a:lnTo>
                  <a:lnTo>
                    <a:pt x="46" y="63"/>
                  </a:lnTo>
                  <a:lnTo>
                    <a:pt x="48" y="63"/>
                  </a:lnTo>
                  <a:lnTo>
                    <a:pt x="48" y="64"/>
                  </a:lnTo>
                  <a:lnTo>
                    <a:pt x="49" y="64"/>
                  </a:lnTo>
                  <a:lnTo>
                    <a:pt x="48" y="63"/>
                  </a:lnTo>
                  <a:lnTo>
                    <a:pt x="49" y="63"/>
                  </a:lnTo>
                  <a:lnTo>
                    <a:pt x="49" y="64"/>
                  </a:lnTo>
                  <a:lnTo>
                    <a:pt x="50" y="63"/>
                  </a:lnTo>
                  <a:lnTo>
                    <a:pt x="49" y="63"/>
                  </a:lnTo>
                  <a:lnTo>
                    <a:pt x="48" y="63"/>
                  </a:lnTo>
                  <a:lnTo>
                    <a:pt x="48" y="62"/>
                  </a:lnTo>
                  <a:lnTo>
                    <a:pt x="46" y="62"/>
                  </a:lnTo>
                  <a:lnTo>
                    <a:pt x="45" y="62"/>
                  </a:lnTo>
                  <a:lnTo>
                    <a:pt x="46" y="62"/>
                  </a:lnTo>
                  <a:lnTo>
                    <a:pt x="46" y="61"/>
                  </a:lnTo>
                  <a:lnTo>
                    <a:pt x="48" y="62"/>
                  </a:lnTo>
                  <a:lnTo>
                    <a:pt x="48" y="61"/>
                  </a:lnTo>
                  <a:lnTo>
                    <a:pt x="49" y="61"/>
                  </a:lnTo>
                  <a:lnTo>
                    <a:pt x="48" y="61"/>
                  </a:lnTo>
                  <a:lnTo>
                    <a:pt x="48" y="60"/>
                  </a:lnTo>
                  <a:lnTo>
                    <a:pt x="46" y="60"/>
                  </a:lnTo>
                  <a:lnTo>
                    <a:pt x="46" y="61"/>
                  </a:lnTo>
                  <a:lnTo>
                    <a:pt x="48" y="61"/>
                  </a:lnTo>
                  <a:lnTo>
                    <a:pt x="46" y="61"/>
                  </a:lnTo>
                  <a:lnTo>
                    <a:pt x="45" y="61"/>
                  </a:lnTo>
                  <a:lnTo>
                    <a:pt x="45" y="60"/>
                  </a:lnTo>
                  <a:lnTo>
                    <a:pt x="44" y="60"/>
                  </a:lnTo>
                  <a:lnTo>
                    <a:pt x="44" y="58"/>
                  </a:lnTo>
                  <a:lnTo>
                    <a:pt x="43" y="58"/>
                  </a:lnTo>
                  <a:lnTo>
                    <a:pt x="44" y="57"/>
                  </a:lnTo>
                  <a:lnTo>
                    <a:pt x="43" y="57"/>
                  </a:lnTo>
                  <a:lnTo>
                    <a:pt x="43" y="56"/>
                  </a:lnTo>
                  <a:lnTo>
                    <a:pt x="42" y="56"/>
                  </a:lnTo>
                  <a:lnTo>
                    <a:pt x="42" y="57"/>
                  </a:lnTo>
                  <a:lnTo>
                    <a:pt x="42" y="56"/>
                  </a:lnTo>
                  <a:lnTo>
                    <a:pt x="42" y="55"/>
                  </a:lnTo>
                  <a:lnTo>
                    <a:pt x="42" y="56"/>
                  </a:lnTo>
                  <a:lnTo>
                    <a:pt x="43" y="56"/>
                  </a:lnTo>
                  <a:lnTo>
                    <a:pt x="43" y="57"/>
                  </a:lnTo>
                  <a:lnTo>
                    <a:pt x="44" y="57"/>
                  </a:lnTo>
                  <a:lnTo>
                    <a:pt x="44" y="56"/>
                  </a:lnTo>
                  <a:lnTo>
                    <a:pt x="43" y="56"/>
                  </a:lnTo>
                  <a:lnTo>
                    <a:pt x="43" y="55"/>
                  </a:lnTo>
                  <a:lnTo>
                    <a:pt x="42" y="55"/>
                  </a:lnTo>
                  <a:lnTo>
                    <a:pt x="42" y="54"/>
                  </a:lnTo>
                  <a:lnTo>
                    <a:pt x="42" y="53"/>
                  </a:lnTo>
                  <a:lnTo>
                    <a:pt x="42" y="51"/>
                  </a:lnTo>
                  <a:lnTo>
                    <a:pt x="42" y="53"/>
                  </a:lnTo>
                  <a:lnTo>
                    <a:pt x="43" y="53"/>
                  </a:lnTo>
                  <a:lnTo>
                    <a:pt x="42" y="53"/>
                  </a:lnTo>
                  <a:lnTo>
                    <a:pt x="42" y="51"/>
                  </a:lnTo>
                  <a:lnTo>
                    <a:pt x="42" y="50"/>
                  </a:lnTo>
                  <a:lnTo>
                    <a:pt x="42" y="49"/>
                  </a:lnTo>
                  <a:lnTo>
                    <a:pt x="43" y="49"/>
                  </a:lnTo>
                  <a:lnTo>
                    <a:pt x="44" y="49"/>
                  </a:lnTo>
                  <a:lnTo>
                    <a:pt x="43" y="49"/>
                  </a:lnTo>
                  <a:lnTo>
                    <a:pt x="43" y="48"/>
                  </a:lnTo>
                  <a:lnTo>
                    <a:pt x="42" y="49"/>
                  </a:lnTo>
                  <a:lnTo>
                    <a:pt x="41" y="48"/>
                  </a:lnTo>
                  <a:lnTo>
                    <a:pt x="41" y="47"/>
                  </a:lnTo>
                  <a:lnTo>
                    <a:pt x="42" y="47"/>
                  </a:lnTo>
                  <a:lnTo>
                    <a:pt x="42" y="46"/>
                  </a:lnTo>
                  <a:lnTo>
                    <a:pt x="43" y="46"/>
                  </a:lnTo>
                  <a:lnTo>
                    <a:pt x="44" y="46"/>
                  </a:lnTo>
                  <a:lnTo>
                    <a:pt x="43" y="46"/>
                  </a:lnTo>
                  <a:lnTo>
                    <a:pt x="43" y="44"/>
                  </a:lnTo>
                  <a:lnTo>
                    <a:pt x="42" y="44"/>
                  </a:lnTo>
                  <a:lnTo>
                    <a:pt x="43" y="44"/>
                  </a:lnTo>
                  <a:lnTo>
                    <a:pt x="43" y="43"/>
                  </a:lnTo>
                  <a:lnTo>
                    <a:pt x="44" y="43"/>
                  </a:lnTo>
                  <a:lnTo>
                    <a:pt x="43" y="43"/>
                  </a:lnTo>
                  <a:lnTo>
                    <a:pt x="42" y="43"/>
                  </a:lnTo>
                  <a:lnTo>
                    <a:pt x="41" y="43"/>
                  </a:lnTo>
                  <a:lnTo>
                    <a:pt x="39" y="43"/>
                  </a:lnTo>
                  <a:lnTo>
                    <a:pt x="39" y="42"/>
                  </a:lnTo>
                  <a:lnTo>
                    <a:pt x="41" y="42"/>
                  </a:lnTo>
                  <a:lnTo>
                    <a:pt x="42" y="42"/>
                  </a:lnTo>
                  <a:lnTo>
                    <a:pt x="43" y="41"/>
                  </a:lnTo>
                  <a:lnTo>
                    <a:pt x="42" y="41"/>
                  </a:lnTo>
                  <a:lnTo>
                    <a:pt x="42" y="42"/>
                  </a:lnTo>
                  <a:lnTo>
                    <a:pt x="41" y="42"/>
                  </a:lnTo>
                  <a:lnTo>
                    <a:pt x="41" y="41"/>
                  </a:lnTo>
                  <a:lnTo>
                    <a:pt x="39" y="41"/>
                  </a:lnTo>
                  <a:lnTo>
                    <a:pt x="38" y="40"/>
                  </a:lnTo>
                  <a:lnTo>
                    <a:pt x="37" y="40"/>
                  </a:lnTo>
                  <a:lnTo>
                    <a:pt x="38" y="39"/>
                  </a:lnTo>
                  <a:lnTo>
                    <a:pt x="38" y="40"/>
                  </a:lnTo>
                  <a:lnTo>
                    <a:pt x="38" y="39"/>
                  </a:lnTo>
                  <a:lnTo>
                    <a:pt x="37" y="39"/>
                  </a:lnTo>
                  <a:lnTo>
                    <a:pt x="37" y="37"/>
                  </a:lnTo>
                  <a:lnTo>
                    <a:pt x="36" y="37"/>
                  </a:lnTo>
                  <a:lnTo>
                    <a:pt x="36" y="36"/>
                  </a:lnTo>
                  <a:lnTo>
                    <a:pt x="37" y="36"/>
                  </a:lnTo>
                  <a:lnTo>
                    <a:pt x="36" y="36"/>
                  </a:lnTo>
                  <a:lnTo>
                    <a:pt x="36" y="35"/>
                  </a:lnTo>
                  <a:lnTo>
                    <a:pt x="37" y="35"/>
                  </a:lnTo>
                  <a:lnTo>
                    <a:pt x="36" y="35"/>
                  </a:lnTo>
                  <a:lnTo>
                    <a:pt x="35" y="35"/>
                  </a:lnTo>
                  <a:lnTo>
                    <a:pt x="35" y="34"/>
                  </a:lnTo>
                  <a:lnTo>
                    <a:pt x="34" y="34"/>
                  </a:lnTo>
                  <a:lnTo>
                    <a:pt x="34" y="33"/>
                  </a:lnTo>
                  <a:lnTo>
                    <a:pt x="35" y="33"/>
                  </a:lnTo>
                  <a:lnTo>
                    <a:pt x="34" y="33"/>
                  </a:lnTo>
                  <a:lnTo>
                    <a:pt x="34" y="32"/>
                  </a:lnTo>
                  <a:lnTo>
                    <a:pt x="32" y="30"/>
                  </a:lnTo>
                  <a:lnTo>
                    <a:pt x="34" y="30"/>
                  </a:lnTo>
                  <a:lnTo>
                    <a:pt x="32" y="30"/>
                  </a:lnTo>
                  <a:lnTo>
                    <a:pt x="32" y="32"/>
                  </a:lnTo>
                  <a:lnTo>
                    <a:pt x="34" y="32"/>
                  </a:lnTo>
                  <a:lnTo>
                    <a:pt x="34" y="33"/>
                  </a:lnTo>
                  <a:lnTo>
                    <a:pt x="32" y="33"/>
                  </a:lnTo>
                  <a:lnTo>
                    <a:pt x="32" y="32"/>
                  </a:lnTo>
                  <a:lnTo>
                    <a:pt x="31" y="32"/>
                  </a:lnTo>
                  <a:lnTo>
                    <a:pt x="31" y="30"/>
                  </a:lnTo>
                  <a:lnTo>
                    <a:pt x="31" y="32"/>
                  </a:lnTo>
                  <a:lnTo>
                    <a:pt x="32" y="33"/>
                  </a:lnTo>
                  <a:lnTo>
                    <a:pt x="31" y="33"/>
                  </a:lnTo>
                  <a:lnTo>
                    <a:pt x="31" y="32"/>
                  </a:lnTo>
                  <a:lnTo>
                    <a:pt x="30" y="32"/>
                  </a:lnTo>
                  <a:lnTo>
                    <a:pt x="30" y="30"/>
                  </a:lnTo>
                  <a:lnTo>
                    <a:pt x="30" y="32"/>
                  </a:lnTo>
                  <a:lnTo>
                    <a:pt x="29" y="32"/>
                  </a:lnTo>
                  <a:lnTo>
                    <a:pt x="29" y="30"/>
                  </a:lnTo>
                  <a:lnTo>
                    <a:pt x="30" y="30"/>
                  </a:lnTo>
                  <a:lnTo>
                    <a:pt x="29" y="30"/>
                  </a:lnTo>
                  <a:lnTo>
                    <a:pt x="28" y="30"/>
                  </a:lnTo>
                  <a:lnTo>
                    <a:pt x="28" y="29"/>
                  </a:lnTo>
                  <a:lnTo>
                    <a:pt x="29" y="29"/>
                  </a:lnTo>
                  <a:lnTo>
                    <a:pt x="29" y="28"/>
                  </a:lnTo>
                  <a:lnTo>
                    <a:pt x="28" y="28"/>
                  </a:lnTo>
                  <a:lnTo>
                    <a:pt x="29" y="28"/>
                  </a:lnTo>
                  <a:lnTo>
                    <a:pt x="29" y="27"/>
                  </a:lnTo>
                  <a:lnTo>
                    <a:pt x="29" y="28"/>
                  </a:lnTo>
                  <a:lnTo>
                    <a:pt x="30" y="28"/>
                  </a:lnTo>
                  <a:lnTo>
                    <a:pt x="30" y="29"/>
                  </a:lnTo>
                  <a:lnTo>
                    <a:pt x="31" y="29"/>
                  </a:lnTo>
                  <a:lnTo>
                    <a:pt x="30" y="29"/>
                  </a:lnTo>
                  <a:lnTo>
                    <a:pt x="30" y="28"/>
                  </a:lnTo>
                  <a:lnTo>
                    <a:pt x="30" y="29"/>
                  </a:lnTo>
                  <a:lnTo>
                    <a:pt x="30" y="28"/>
                  </a:lnTo>
                  <a:lnTo>
                    <a:pt x="31" y="28"/>
                  </a:lnTo>
                  <a:lnTo>
                    <a:pt x="30" y="28"/>
                  </a:lnTo>
                  <a:lnTo>
                    <a:pt x="31" y="28"/>
                  </a:lnTo>
                  <a:lnTo>
                    <a:pt x="31" y="27"/>
                  </a:lnTo>
                  <a:lnTo>
                    <a:pt x="30" y="27"/>
                  </a:lnTo>
                  <a:lnTo>
                    <a:pt x="29" y="27"/>
                  </a:lnTo>
                  <a:lnTo>
                    <a:pt x="30" y="27"/>
                  </a:lnTo>
                  <a:lnTo>
                    <a:pt x="29" y="27"/>
                  </a:lnTo>
                  <a:lnTo>
                    <a:pt x="29" y="26"/>
                  </a:lnTo>
                  <a:lnTo>
                    <a:pt x="30" y="26"/>
                  </a:lnTo>
                  <a:lnTo>
                    <a:pt x="30" y="27"/>
                  </a:lnTo>
                  <a:lnTo>
                    <a:pt x="30" y="26"/>
                  </a:lnTo>
                  <a:lnTo>
                    <a:pt x="30" y="27"/>
                  </a:lnTo>
                  <a:lnTo>
                    <a:pt x="31" y="27"/>
                  </a:lnTo>
                  <a:lnTo>
                    <a:pt x="31" y="28"/>
                  </a:lnTo>
                  <a:lnTo>
                    <a:pt x="32" y="28"/>
                  </a:lnTo>
                  <a:lnTo>
                    <a:pt x="32" y="29"/>
                  </a:lnTo>
                  <a:lnTo>
                    <a:pt x="32" y="28"/>
                  </a:lnTo>
                  <a:lnTo>
                    <a:pt x="32" y="27"/>
                  </a:lnTo>
                  <a:lnTo>
                    <a:pt x="31" y="27"/>
                  </a:lnTo>
                  <a:lnTo>
                    <a:pt x="32" y="27"/>
                  </a:lnTo>
                  <a:lnTo>
                    <a:pt x="32" y="28"/>
                  </a:lnTo>
                  <a:lnTo>
                    <a:pt x="32" y="27"/>
                  </a:lnTo>
                  <a:lnTo>
                    <a:pt x="31" y="26"/>
                  </a:lnTo>
                  <a:lnTo>
                    <a:pt x="31" y="27"/>
                  </a:lnTo>
                  <a:lnTo>
                    <a:pt x="32" y="27"/>
                  </a:lnTo>
                  <a:lnTo>
                    <a:pt x="32" y="26"/>
                  </a:lnTo>
                  <a:lnTo>
                    <a:pt x="31" y="26"/>
                  </a:lnTo>
                  <a:lnTo>
                    <a:pt x="32" y="26"/>
                  </a:lnTo>
                  <a:lnTo>
                    <a:pt x="34" y="27"/>
                  </a:lnTo>
                  <a:lnTo>
                    <a:pt x="34" y="28"/>
                  </a:lnTo>
                  <a:lnTo>
                    <a:pt x="34" y="27"/>
                  </a:lnTo>
                  <a:lnTo>
                    <a:pt x="34" y="26"/>
                  </a:lnTo>
                  <a:lnTo>
                    <a:pt x="35" y="27"/>
                  </a:lnTo>
                  <a:lnTo>
                    <a:pt x="36" y="27"/>
                  </a:lnTo>
                  <a:lnTo>
                    <a:pt x="36" y="28"/>
                  </a:lnTo>
                  <a:lnTo>
                    <a:pt x="37" y="28"/>
                  </a:lnTo>
                  <a:lnTo>
                    <a:pt x="37" y="29"/>
                  </a:lnTo>
                  <a:lnTo>
                    <a:pt x="37" y="30"/>
                  </a:lnTo>
                  <a:lnTo>
                    <a:pt x="37" y="29"/>
                  </a:lnTo>
                  <a:lnTo>
                    <a:pt x="38" y="29"/>
                  </a:lnTo>
                  <a:lnTo>
                    <a:pt x="37" y="28"/>
                  </a:lnTo>
                  <a:lnTo>
                    <a:pt x="38" y="28"/>
                  </a:lnTo>
                  <a:lnTo>
                    <a:pt x="38" y="27"/>
                  </a:lnTo>
                  <a:lnTo>
                    <a:pt x="38" y="26"/>
                  </a:lnTo>
                  <a:lnTo>
                    <a:pt x="37" y="27"/>
                  </a:lnTo>
                  <a:lnTo>
                    <a:pt x="38" y="27"/>
                  </a:lnTo>
                  <a:lnTo>
                    <a:pt x="37" y="27"/>
                  </a:lnTo>
                  <a:lnTo>
                    <a:pt x="36" y="27"/>
                  </a:lnTo>
                  <a:lnTo>
                    <a:pt x="36" y="26"/>
                  </a:lnTo>
                  <a:lnTo>
                    <a:pt x="36" y="25"/>
                  </a:lnTo>
                  <a:lnTo>
                    <a:pt x="36" y="26"/>
                  </a:lnTo>
                  <a:lnTo>
                    <a:pt x="35" y="26"/>
                  </a:lnTo>
                  <a:lnTo>
                    <a:pt x="34" y="26"/>
                  </a:lnTo>
                  <a:lnTo>
                    <a:pt x="34" y="25"/>
                  </a:lnTo>
                  <a:lnTo>
                    <a:pt x="35" y="23"/>
                  </a:lnTo>
                  <a:lnTo>
                    <a:pt x="34" y="23"/>
                  </a:lnTo>
                  <a:lnTo>
                    <a:pt x="34" y="25"/>
                  </a:lnTo>
                  <a:lnTo>
                    <a:pt x="32" y="25"/>
                  </a:lnTo>
                  <a:lnTo>
                    <a:pt x="32" y="23"/>
                  </a:lnTo>
                  <a:lnTo>
                    <a:pt x="32" y="22"/>
                  </a:lnTo>
                  <a:lnTo>
                    <a:pt x="32" y="23"/>
                  </a:lnTo>
                  <a:lnTo>
                    <a:pt x="32" y="22"/>
                  </a:lnTo>
                  <a:lnTo>
                    <a:pt x="31" y="22"/>
                  </a:lnTo>
                  <a:lnTo>
                    <a:pt x="32" y="22"/>
                  </a:lnTo>
                  <a:lnTo>
                    <a:pt x="34" y="22"/>
                  </a:lnTo>
                  <a:lnTo>
                    <a:pt x="34" y="21"/>
                  </a:lnTo>
                  <a:lnTo>
                    <a:pt x="34" y="22"/>
                  </a:lnTo>
                  <a:lnTo>
                    <a:pt x="34" y="21"/>
                  </a:lnTo>
                  <a:lnTo>
                    <a:pt x="32" y="21"/>
                  </a:lnTo>
                  <a:lnTo>
                    <a:pt x="31" y="21"/>
                  </a:lnTo>
                  <a:lnTo>
                    <a:pt x="31" y="20"/>
                  </a:lnTo>
                  <a:lnTo>
                    <a:pt x="30" y="20"/>
                  </a:lnTo>
                  <a:lnTo>
                    <a:pt x="29" y="20"/>
                  </a:lnTo>
                  <a:lnTo>
                    <a:pt x="29" y="19"/>
                  </a:lnTo>
                  <a:lnTo>
                    <a:pt x="29" y="18"/>
                  </a:lnTo>
                  <a:lnTo>
                    <a:pt x="28" y="18"/>
                  </a:lnTo>
                  <a:lnTo>
                    <a:pt x="28" y="16"/>
                  </a:lnTo>
                  <a:lnTo>
                    <a:pt x="27" y="16"/>
                  </a:lnTo>
                  <a:lnTo>
                    <a:pt x="27" y="15"/>
                  </a:lnTo>
                  <a:lnTo>
                    <a:pt x="25" y="14"/>
                  </a:lnTo>
                  <a:lnTo>
                    <a:pt x="27" y="14"/>
                  </a:lnTo>
                  <a:lnTo>
                    <a:pt x="28" y="14"/>
                  </a:lnTo>
                  <a:lnTo>
                    <a:pt x="28" y="15"/>
                  </a:lnTo>
                  <a:lnTo>
                    <a:pt x="29" y="16"/>
                  </a:lnTo>
                  <a:lnTo>
                    <a:pt x="30" y="16"/>
                  </a:lnTo>
                  <a:lnTo>
                    <a:pt x="29" y="16"/>
                  </a:lnTo>
                  <a:lnTo>
                    <a:pt x="29" y="15"/>
                  </a:lnTo>
                  <a:lnTo>
                    <a:pt x="28" y="14"/>
                  </a:lnTo>
                  <a:lnTo>
                    <a:pt x="28" y="13"/>
                  </a:lnTo>
                  <a:lnTo>
                    <a:pt x="27" y="12"/>
                  </a:lnTo>
                  <a:lnTo>
                    <a:pt x="27" y="11"/>
                  </a:lnTo>
                  <a:lnTo>
                    <a:pt x="28" y="11"/>
                  </a:lnTo>
                  <a:lnTo>
                    <a:pt x="28" y="9"/>
                  </a:lnTo>
                  <a:lnTo>
                    <a:pt x="28" y="8"/>
                  </a:lnTo>
                  <a:lnTo>
                    <a:pt x="28" y="7"/>
                  </a:lnTo>
                  <a:lnTo>
                    <a:pt x="29" y="6"/>
                  </a:lnTo>
                  <a:lnTo>
                    <a:pt x="30" y="6"/>
                  </a:lnTo>
                  <a:lnTo>
                    <a:pt x="31" y="6"/>
                  </a:lnTo>
                  <a:lnTo>
                    <a:pt x="32" y="6"/>
                  </a:lnTo>
                  <a:lnTo>
                    <a:pt x="34" y="6"/>
                  </a:lnTo>
                  <a:lnTo>
                    <a:pt x="35" y="6"/>
                  </a:lnTo>
                  <a:lnTo>
                    <a:pt x="37" y="5"/>
                  </a:lnTo>
                  <a:lnTo>
                    <a:pt x="37" y="6"/>
                  </a:lnTo>
                  <a:lnTo>
                    <a:pt x="38" y="6"/>
                  </a:lnTo>
                  <a:lnTo>
                    <a:pt x="39" y="6"/>
                  </a:lnTo>
                  <a:lnTo>
                    <a:pt x="41" y="6"/>
                  </a:lnTo>
                  <a:lnTo>
                    <a:pt x="42" y="6"/>
                  </a:lnTo>
                  <a:lnTo>
                    <a:pt x="43" y="5"/>
                  </a:lnTo>
                  <a:lnTo>
                    <a:pt x="43" y="4"/>
                  </a:lnTo>
                  <a:lnTo>
                    <a:pt x="43" y="2"/>
                  </a:lnTo>
                  <a:lnTo>
                    <a:pt x="43" y="1"/>
                  </a:lnTo>
                  <a:lnTo>
                    <a:pt x="42" y="1"/>
                  </a:lnTo>
                  <a:lnTo>
                    <a:pt x="43" y="1"/>
                  </a:lnTo>
                  <a:lnTo>
                    <a:pt x="43" y="0"/>
                  </a:lnTo>
                  <a:lnTo>
                    <a:pt x="44" y="1"/>
                  </a:lnTo>
                  <a:lnTo>
                    <a:pt x="45" y="2"/>
                  </a:lnTo>
                  <a:lnTo>
                    <a:pt x="46" y="4"/>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70" name="Freeform 926">
              <a:extLst>
                <a:ext uri="{FF2B5EF4-FFF2-40B4-BE49-F238E27FC236}">
                  <a16:creationId xmlns:a16="http://schemas.microsoft.com/office/drawing/2014/main" id="{CBD25FDB-6F66-461C-860D-9E81C5771BFF}"/>
                </a:ext>
              </a:extLst>
            </p:cNvPr>
            <p:cNvSpPr>
              <a:spLocks/>
            </p:cNvSpPr>
            <p:nvPr/>
          </p:nvSpPr>
          <p:spPr bwMode="auto">
            <a:xfrm>
              <a:off x="6145642" y="2435054"/>
              <a:ext cx="29381" cy="29381"/>
            </a:xfrm>
            <a:custGeom>
              <a:avLst/>
              <a:gdLst>
                <a:gd name="T0" fmla="*/ 19 w 22"/>
                <a:gd name="T1" fmla="*/ 16 h 22"/>
                <a:gd name="T2" fmla="*/ 19 w 22"/>
                <a:gd name="T3" fmla="*/ 16 h 22"/>
                <a:gd name="T4" fmla="*/ 19 w 22"/>
                <a:gd name="T5" fmla="*/ 16 h 22"/>
                <a:gd name="T6" fmla="*/ 16 w 22"/>
                <a:gd name="T7" fmla="*/ 17 h 22"/>
                <a:gd name="T8" fmla="*/ 16 w 22"/>
                <a:gd name="T9" fmla="*/ 18 h 22"/>
                <a:gd name="T10" fmla="*/ 16 w 22"/>
                <a:gd name="T11" fmla="*/ 18 h 22"/>
                <a:gd name="T12" fmla="*/ 15 w 22"/>
                <a:gd name="T13" fmla="*/ 17 h 22"/>
                <a:gd name="T14" fmla="*/ 14 w 22"/>
                <a:gd name="T15" fmla="*/ 16 h 22"/>
                <a:gd name="T16" fmla="*/ 12 w 22"/>
                <a:gd name="T17" fmla="*/ 17 h 22"/>
                <a:gd name="T18" fmla="*/ 11 w 22"/>
                <a:gd name="T19" fmla="*/ 20 h 22"/>
                <a:gd name="T20" fmla="*/ 11 w 22"/>
                <a:gd name="T21" fmla="*/ 21 h 22"/>
                <a:gd name="T22" fmla="*/ 9 w 22"/>
                <a:gd name="T23" fmla="*/ 22 h 22"/>
                <a:gd name="T24" fmla="*/ 8 w 22"/>
                <a:gd name="T25" fmla="*/ 22 h 22"/>
                <a:gd name="T26" fmla="*/ 8 w 22"/>
                <a:gd name="T27" fmla="*/ 22 h 22"/>
                <a:gd name="T28" fmla="*/ 8 w 22"/>
                <a:gd name="T29" fmla="*/ 21 h 22"/>
                <a:gd name="T30" fmla="*/ 8 w 22"/>
                <a:gd name="T31" fmla="*/ 20 h 22"/>
                <a:gd name="T32" fmla="*/ 7 w 22"/>
                <a:gd name="T33" fmla="*/ 17 h 22"/>
                <a:gd name="T34" fmla="*/ 5 w 22"/>
                <a:gd name="T35" fmla="*/ 15 h 22"/>
                <a:gd name="T36" fmla="*/ 2 w 22"/>
                <a:gd name="T37" fmla="*/ 14 h 22"/>
                <a:gd name="T38" fmla="*/ 2 w 22"/>
                <a:gd name="T39" fmla="*/ 14 h 22"/>
                <a:gd name="T40" fmla="*/ 2 w 22"/>
                <a:gd name="T41" fmla="*/ 13 h 22"/>
                <a:gd name="T42" fmla="*/ 1 w 22"/>
                <a:gd name="T43" fmla="*/ 11 h 22"/>
                <a:gd name="T44" fmla="*/ 0 w 22"/>
                <a:gd name="T45" fmla="*/ 11 h 22"/>
                <a:gd name="T46" fmla="*/ 1 w 22"/>
                <a:gd name="T47" fmla="*/ 10 h 22"/>
                <a:gd name="T48" fmla="*/ 0 w 22"/>
                <a:gd name="T49" fmla="*/ 8 h 22"/>
                <a:gd name="T50" fmla="*/ 0 w 22"/>
                <a:gd name="T51" fmla="*/ 8 h 22"/>
                <a:gd name="T52" fmla="*/ 1 w 22"/>
                <a:gd name="T53" fmla="*/ 8 h 22"/>
                <a:gd name="T54" fmla="*/ 2 w 22"/>
                <a:gd name="T55" fmla="*/ 7 h 22"/>
                <a:gd name="T56" fmla="*/ 6 w 22"/>
                <a:gd name="T57" fmla="*/ 6 h 22"/>
                <a:gd name="T58" fmla="*/ 5 w 22"/>
                <a:gd name="T59" fmla="*/ 6 h 22"/>
                <a:gd name="T60" fmla="*/ 6 w 22"/>
                <a:gd name="T61" fmla="*/ 4 h 22"/>
                <a:gd name="T62" fmla="*/ 6 w 22"/>
                <a:gd name="T63" fmla="*/ 3 h 22"/>
                <a:gd name="T64" fmla="*/ 7 w 22"/>
                <a:gd name="T65" fmla="*/ 2 h 22"/>
                <a:gd name="T66" fmla="*/ 7 w 22"/>
                <a:gd name="T67" fmla="*/ 2 h 22"/>
                <a:gd name="T68" fmla="*/ 6 w 22"/>
                <a:gd name="T69" fmla="*/ 1 h 22"/>
                <a:gd name="T70" fmla="*/ 8 w 22"/>
                <a:gd name="T71" fmla="*/ 0 h 22"/>
                <a:gd name="T72" fmla="*/ 9 w 22"/>
                <a:gd name="T73" fmla="*/ 0 h 22"/>
                <a:gd name="T74" fmla="*/ 9 w 22"/>
                <a:gd name="T75" fmla="*/ 1 h 22"/>
                <a:gd name="T76" fmla="*/ 9 w 22"/>
                <a:gd name="T77" fmla="*/ 1 h 22"/>
                <a:gd name="T78" fmla="*/ 12 w 22"/>
                <a:gd name="T79" fmla="*/ 2 h 22"/>
                <a:gd name="T80" fmla="*/ 14 w 22"/>
                <a:gd name="T81" fmla="*/ 4 h 22"/>
                <a:gd name="T82" fmla="*/ 15 w 22"/>
                <a:gd name="T83" fmla="*/ 4 h 22"/>
                <a:gd name="T84" fmla="*/ 15 w 22"/>
                <a:gd name="T85" fmla="*/ 6 h 22"/>
                <a:gd name="T86" fmla="*/ 16 w 22"/>
                <a:gd name="T87" fmla="*/ 6 h 22"/>
                <a:gd name="T88" fmla="*/ 18 w 22"/>
                <a:gd name="T89" fmla="*/ 7 h 22"/>
                <a:gd name="T90" fmla="*/ 16 w 22"/>
                <a:gd name="T91" fmla="*/ 8 h 22"/>
                <a:gd name="T92" fmla="*/ 19 w 22"/>
                <a:gd name="T93" fmla="*/ 8 h 22"/>
                <a:gd name="T94" fmla="*/ 20 w 22"/>
                <a:gd name="T95" fmla="*/ 9 h 22"/>
                <a:gd name="T96" fmla="*/ 22 w 22"/>
                <a:gd name="T97" fmla="*/ 9 h 22"/>
                <a:gd name="T98" fmla="*/ 22 w 22"/>
                <a:gd name="T99" fmla="*/ 10 h 22"/>
                <a:gd name="T100" fmla="*/ 21 w 22"/>
                <a:gd name="T101" fmla="*/ 10 h 22"/>
                <a:gd name="T102" fmla="*/ 21 w 22"/>
                <a:gd name="T103" fmla="*/ 11 h 22"/>
                <a:gd name="T104" fmla="*/ 21 w 22"/>
                <a:gd name="T105" fmla="*/ 14 h 22"/>
                <a:gd name="T106" fmla="*/ 20 w 22"/>
                <a:gd name="T107" fmla="*/ 1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 h="22">
                  <a:moveTo>
                    <a:pt x="20" y="16"/>
                  </a:moveTo>
                  <a:lnTo>
                    <a:pt x="20" y="16"/>
                  </a:lnTo>
                  <a:lnTo>
                    <a:pt x="20" y="16"/>
                  </a:lnTo>
                  <a:lnTo>
                    <a:pt x="19" y="16"/>
                  </a:lnTo>
                  <a:lnTo>
                    <a:pt x="19" y="16"/>
                  </a:lnTo>
                  <a:lnTo>
                    <a:pt x="19" y="16"/>
                  </a:lnTo>
                  <a:lnTo>
                    <a:pt x="19" y="16"/>
                  </a:lnTo>
                  <a:lnTo>
                    <a:pt x="19" y="16"/>
                  </a:lnTo>
                  <a:lnTo>
                    <a:pt x="19" y="16"/>
                  </a:lnTo>
                  <a:lnTo>
                    <a:pt x="19" y="16"/>
                  </a:lnTo>
                  <a:lnTo>
                    <a:pt x="19" y="16"/>
                  </a:lnTo>
                  <a:lnTo>
                    <a:pt x="19" y="16"/>
                  </a:lnTo>
                  <a:lnTo>
                    <a:pt x="19" y="16"/>
                  </a:lnTo>
                  <a:lnTo>
                    <a:pt x="19" y="16"/>
                  </a:lnTo>
                  <a:lnTo>
                    <a:pt x="19" y="16"/>
                  </a:lnTo>
                  <a:lnTo>
                    <a:pt x="18" y="16"/>
                  </a:lnTo>
                  <a:lnTo>
                    <a:pt x="18" y="16"/>
                  </a:lnTo>
                  <a:lnTo>
                    <a:pt x="18" y="16"/>
                  </a:lnTo>
                  <a:lnTo>
                    <a:pt x="18" y="16"/>
                  </a:lnTo>
                  <a:lnTo>
                    <a:pt x="16" y="17"/>
                  </a:lnTo>
                  <a:lnTo>
                    <a:pt x="16" y="17"/>
                  </a:lnTo>
                  <a:lnTo>
                    <a:pt x="16" y="17"/>
                  </a:lnTo>
                  <a:lnTo>
                    <a:pt x="16" y="17"/>
                  </a:lnTo>
                  <a:lnTo>
                    <a:pt x="16" y="17"/>
                  </a:lnTo>
                  <a:lnTo>
                    <a:pt x="16" y="18"/>
                  </a:lnTo>
                  <a:lnTo>
                    <a:pt x="16" y="18"/>
                  </a:lnTo>
                  <a:lnTo>
                    <a:pt x="16" y="18"/>
                  </a:lnTo>
                  <a:lnTo>
                    <a:pt x="16" y="18"/>
                  </a:lnTo>
                  <a:lnTo>
                    <a:pt x="16" y="18"/>
                  </a:lnTo>
                  <a:lnTo>
                    <a:pt x="16" y="18"/>
                  </a:lnTo>
                  <a:lnTo>
                    <a:pt x="16" y="18"/>
                  </a:lnTo>
                  <a:lnTo>
                    <a:pt x="16" y="18"/>
                  </a:lnTo>
                  <a:lnTo>
                    <a:pt x="16" y="17"/>
                  </a:lnTo>
                  <a:lnTo>
                    <a:pt x="15" y="17"/>
                  </a:lnTo>
                  <a:lnTo>
                    <a:pt x="15" y="17"/>
                  </a:lnTo>
                  <a:lnTo>
                    <a:pt x="14" y="16"/>
                  </a:lnTo>
                  <a:lnTo>
                    <a:pt x="14" y="16"/>
                  </a:lnTo>
                  <a:lnTo>
                    <a:pt x="14" y="16"/>
                  </a:lnTo>
                  <a:lnTo>
                    <a:pt x="14" y="16"/>
                  </a:lnTo>
                  <a:lnTo>
                    <a:pt x="14" y="16"/>
                  </a:lnTo>
                  <a:lnTo>
                    <a:pt x="14" y="17"/>
                  </a:lnTo>
                  <a:lnTo>
                    <a:pt x="13" y="17"/>
                  </a:lnTo>
                  <a:lnTo>
                    <a:pt x="13" y="17"/>
                  </a:lnTo>
                  <a:lnTo>
                    <a:pt x="13" y="17"/>
                  </a:lnTo>
                  <a:lnTo>
                    <a:pt x="12" y="17"/>
                  </a:lnTo>
                  <a:lnTo>
                    <a:pt x="11" y="18"/>
                  </a:lnTo>
                  <a:lnTo>
                    <a:pt x="11" y="18"/>
                  </a:lnTo>
                  <a:lnTo>
                    <a:pt x="11" y="18"/>
                  </a:lnTo>
                  <a:lnTo>
                    <a:pt x="11" y="18"/>
                  </a:lnTo>
                  <a:lnTo>
                    <a:pt x="11" y="20"/>
                  </a:lnTo>
                  <a:lnTo>
                    <a:pt x="11" y="20"/>
                  </a:lnTo>
                  <a:lnTo>
                    <a:pt x="11" y="21"/>
                  </a:lnTo>
                  <a:lnTo>
                    <a:pt x="11" y="21"/>
                  </a:lnTo>
                  <a:lnTo>
                    <a:pt x="11" y="21"/>
                  </a:lnTo>
                  <a:lnTo>
                    <a:pt x="11" y="21"/>
                  </a:lnTo>
                  <a:lnTo>
                    <a:pt x="11" y="21"/>
                  </a:lnTo>
                  <a:lnTo>
                    <a:pt x="9" y="22"/>
                  </a:lnTo>
                  <a:lnTo>
                    <a:pt x="9" y="22"/>
                  </a:lnTo>
                  <a:lnTo>
                    <a:pt x="9" y="22"/>
                  </a:lnTo>
                  <a:lnTo>
                    <a:pt x="9" y="22"/>
                  </a:lnTo>
                  <a:lnTo>
                    <a:pt x="9" y="22"/>
                  </a:lnTo>
                  <a:lnTo>
                    <a:pt x="9" y="22"/>
                  </a:lnTo>
                  <a:lnTo>
                    <a:pt x="9" y="22"/>
                  </a:lnTo>
                  <a:lnTo>
                    <a:pt x="9" y="22"/>
                  </a:lnTo>
                  <a:lnTo>
                    <a:pt x="8" y="22"/>
                  </a:lnTo>
                  <a:lnTo>
                    <a:pt x="8" y="22"/>
                  </a:lnTo>
                  <a:lnTo>
                    <a:pt x="8" y="22"/>
                  </a:lnTo>
                  <a:lnTo>
                    <a:pt x="8" y="22"/>
                  </a:lnTo>
                  <a:lnTo>
                    <a:pt x="8" y="22"/>
                  </a:lnTo>
                  <a:lnTo>
                    <a:pt x="8" y="22"/>
                  </a:lnTo>
                  <a:lnTo>
                    <a:pt x="8" y="21"/>
                  </a:lnTo>
                  <a:lnTo>
                    <a:pt x="8" y="21"/>
                  </a:lnTo>
                  <a:lnTo>
                    <a:pt x="8" y="21"/>
                  </a:lnTo>
                  <a:lnTo>
                    <a:pt x="8" y="21"/>
                  </a:lnTo>
                  <a:lnTo>
                    <a:pt x="8" y="21"/>
                  </a:lnTo>
                  <a:lnTo>
                    <a:pt x="8" y="21"/>
                  </a:lnTo>
                  <a:lnTo>
                    <a:pt x="8" y="21"/>
                  </a:lnTo>
                  <a:lnTo>
                    <a:pt x="8" y="20"/>
                  </a:lnTo>
                  <a:lnTo>
                    <a:pt x="8" y="20"/>
                  </a:lnTo>
                  <a:lnTo>
                    <a:pt x="8" y="20"/>
                  </a:lnTo>
                  <a:lnTo>
                    <a:pt x="7" y="18"/>
                  </a:lnTo>
                  <a:lnTo>
                    <a:pt x="7" y="18"/>
                  </a:lnTo>
                  <a:lnTo>
                    <a:pt x="7" y="18"/>
                  </a:lnTo>
                  <a:lnTo>
                    <a:pt x="7" y="17"/>
                  </a:lnTo>
                  <a:lnTo>
                    <a:pt x="7" y="17"/>
                  </a:lnTo>
                  <a:lnTo>
                    <a:pt x="7" y="16"/>
                  </a:lnTo>
                  <a:lnTo>
                    <a:pt x="6" y="16"/>
                  </a:lnTo>
                  <a:lnTo>
                    <a:pt x="6" y="16"/>
                  </a:lnTo>
                  <a:lnTo>
                    <a:pt x="6" y="16"/>
                  </a:lnTo>
                  <a:lnTo>
                    <a:pt x="5" y="15"/>
                  </a:lnTo>
                  <a:lnTo>
                    <a:pt x="4" y="15"/>
                  </a:lnTo>
                  <a:lnTo>
                    <a:pt x="4" y="15"/>
                  </a:lnTo>
                  <a:lnTo>
                    <a:pt x="4" y="15"/>
                  </a:lnTo>
                  <a:lnTo>
                    <a:pt x="2" y="15"/>
                  </a:lnTo>
                  <a:lnTo>
                    <a:pt x="2" y="14"/>
                  </a:lnTo>
                  <a:lnTo>
                    <a:pt x="2" y="14"/>
                  </a:lnTo>
                  <a:lnTo>
                    <a:pt x="2" y="14"/>
                  </a:lnTo>
                  <a:lnTo>
                    <a:pt x="2" y="14"/>
                  </a:lnTo>
                  <a:lnTo>
                    <a:pt x="2" y="14"/>
                  </a:lnTo>
                  <a:lnTo>
                    <a:pt x="2" y="14"/>
                  </a:lnTo>
                  <a:lnTo>
                    <a:pt x="2" y="14"/>
                  </a:lnTo>
                  <a:lnTo>
                    <a:pt x="2" y="14"/>
                  </a:lnTo>
                  <a:lnTo>
                    <a:pt x="2" y="13"/>
                  </a:lnTo>
                  <a:lnTo>
                    <a:pt x="2" y="13"/>
                  </a:lnTo>
                  <a:lnTo>
                    <a:pt x="2" y="13"/>
                  </a:lnTo>
                  <a:lnTo>
                    <a:pt x="2" y="13"/>
                  </a:lnTo>
                  <a:lnTo>
                    <a:pt x="2" y="13"/>
                  </a:lnTo>
                  <a:lnTo>
                    <a:pt x="1" y="11"/>
                  </a:lnTo>
                  <a:lnTo>
                    <a:pt x="1" y="11"/>
                  </a:lnTo>
                  <a:lnTo>
                    <a:pt x="1" y="11"/>
                  </a:lnTo>
                  <a:lnTo>
                    <a:pt x="1" y="11"/>
                  </a:lnTo>
                  <a:lnTo>
                    <a:pt x="1" y="11"/>
                  </a:lnTo>
                  <a:lnTo>
                    <a:pt x="1" y="11"/>
                  </a:lnTo>
                  <a:lnTo>
                    <a:pt x="1" y="11"/>
                  </a:lnTo>
                  <a:lnTo>
                    <a:pt x="0" y="11"/>
                  </a:lnTo>
                  <a:lnTo>
                    <a:pt x="1" y="10"/>
                  </a:lnTo>
                  <a:lnTo>
                    <a:pt x="1" y="10"/>
                  </a:lnTo>
                  <a:lnTo>
                    <a:pt x="0" y="10"/>
                  </a:lnTo>
                  <a:lnTo>
                    <a:pt x="0" y="10"/>
                  </a:lnTo>
                  <a:lnTo>
                    <a:pt x="1" y="10"/>
                  </a:lnTo>
                  <a:lnTo>
                    <a:pt x="1" y="10"/>
                  </a:lnTo>
                  <a:lnTo>
                    <a:pt x="1" y="9"/>
                  </a:lnTo>
                  <a:lnTo>
                    <a:pt x="1" y="9"/>
                  </a:lnTo>
                  <a:lnTo>
                    <a:pt x="1" y="9"/>
                  </a:lnTo>
                  <a:lnTo>
                    <a:pt x="0" y="8"/>
                  </a:lnTo>
                  <a:lnTo>
                    <a:pt x="0" y="8"/>
                  </a:lnTo>
                  <a:lnTo>
                    <a:pt x="0" y="8"/>
                  </a:lnTo>
                  <a:lnTo>
                    <a:pt x="0" y="8"/>
                  </a:lnTo>
                  <a:lnTo>
                    <a:pt x="0" y="8"/>
                  </a:lnTo>
                  <a:lnTo>
                    <a:pt x="0" y="8"/>
                  </a:lnTo>
                  <a:lnTo>
                    <a:pt x="0" y="8"/>
                  </a:lnTo>
                  <a:lnTo>
                    <a:pt x="0" y="8"/>
                  </a:lnTo>
                  <a:lnTo>
                    <a:pt x="1" y="8"/>
                  </a:lnTo>
                  <a:lnTo>
                    <a:pt x="1" y="8"/>
                  </a:lnTo>
                  <a:lnTo>
                    <a:pt x="1" y="8"/>
                  </a:lnTo>
                  <a:lnTo>
                    <a:pt x="2" y="8"/>
                  </a:lnTo>
                  <a:lnTo>
                    <a:pt x="2" y="8"/>
                  </a:lnTo>
                  <a:lnTo>
                    <a:pt x="2" y="7"/>
                  </a:lnTo>
                  <a:lnTo>
                    <a:pt x="2" y="7"/>
                  </a:lnTo>
                  <a:lnTo>
                    <a:pt x="2" y="7"/>
                  </a:lnTo>
                  <a:lnTo>
                    <a:pt x="2" y="7"/>
                  </a:lnTo>
                  <a:lnTo>
                    <a:pt x="2" y="7"/>
                  </a:lnTo>
                  <a:lnTo>
                    <a:pt x="4" y="7"/>
                  </a:lnTo>
                  <a:lnTo>
                    <a:pt x="5" y="7"/>
                  </a:lnTo>
                  <a:lnTo>
                    <a:pt x="6" y="6"/>
                  </a:lnTo>
                  <a:lnTo>
                    <a:pt x="6" y="6"/>
                  </a:lnTo>
                  <a:lnTo>
                    <a:pt x="6" y="6"/>
                  </a:lnTo>
                  <a:lnTo>
                    <a:pt x="6" y="6"/>
                  </a:lnTo>
                  <a:lnTo>
                    <a:pt x="5" y="6"/>
                  </a:lnTo>
                  <a:lnTo>
                    <a:pt x="5" y="6"/>
                  </a:lnTo>
                  <a:lnTo>
                    <a:pt x="5" y="4"/>
                  </a:lnTo>
                  <a:lnTo>
                    <a:pt x="5" y="4"/>
                  </a:lnTo>
                  <a:lnTo>
                    <a:pt x="6" y="4"/>
                  </a:lnTo>
                  <a:lnTo>
                    <a:pt x="6" y="4"/>
                  </a:lnTo>
                  <a:lnTo>
                    <a:pt x="6" y="4"/>
                  </a:lnTo>
                  <a:lnTo>
                    <a:pt x="6" y="4"/>
                  </a:lnTo>
                  <a:lnTo>
                    <a:pt x="6" y="4"/>
                  </a:lnTo>
                  <a:lnTo>
                    <a:pt x="6" y="4"/>
                  </a:lnTo>
                  <a:lnTo>
                    <a:pt x="6" y="3"/>
                  </a:lnTo>
                  <a:lnTo>
                    <a:pt x="6" y="3"/>
                  </a:lnTo>
                  <a:lnTo>
                    <a:pt x="7" y="3"/>
                  </a:lnTo>
                  <a:lnTo>
                    <a:pt x="7" y="3"/>
                  </a:lnTo>
                  <a:lnTo>
                    <a:pt x="7" y="3"/>
                  </a:lnTo>
                  <a:lnTo>
                    <a:pt x="7" y="3"/>
                  </a:lnTo>
                  <a:lnTo>
                    <a:pt x="7" y="2"/>
                  </a:lnTo>
                  <a:lnTo>
                    <a:pt x="7" y="2"/>
                  </a:lnTo>
                  <a:lnTo>
                    <a:pt x="7" y="2"/>
                  </a:lnTo>
                  <a:lnTo>
                    <a:pt x="7" y="2"/>
                  </a:lnTo>
                  <a:lnTo>
                    <a:pt x="7" y="2"/>
                  </a:lnTo>
                  <a:lnTo>
                    <a:pt x="7" y="2"/>
                  </a:lnTo>
                  <a:lnTo>
                    <a:pt x="7" y="2"/>
                  </a:lnTo>
                  <a:lnTo>
                    <a:pt x="7" y="2"/>
                  </a:lnTo>
                  <a:lnTo>
                    <a:pt x="7" y="1"/>
                  </a:lnTo>
                  <a:lnTo>
                    <a:pt x="6" y="1"/>
                  </a:lnTo>
                  <a:lnTo>
                    <a:pt x="6" y="1"/>
                  </a:lnTo>
                  <a:lnTo>
                    <a:pt x="6" y="1"/>
                  </a:lnTo>
                  <a:lnTo>
                    <a:pt x="7" y="1"/>
                  </a:lnTo>
                  <a:lnTo>
                    <a:pt x="7" y="1"/>
                  </a:lnTo>
                  <a:lnTo>
                    <a:pt x="7" y="1"/>
                  </a:lnTo>
                  <a:lnTo>
                    <a:pt x="8" y="0"/>
                  </a:lnTo>
                  <a:lnTo>
                    <a:pt x="8" y="0"/>
                  </a:lnTo>
                  <a:lnTo>
                    <a:pt x="8" y="0"/>
                  </a:lnTo>
                  <a:lnTo>
                    <a:pt x="9" y="0"/>
                  </a:lnTo>
                  <a:lnTo>
                    <a:pt x="9" y="0"/>
                  </a:lnTo>
                  <a:lnTo>
                    <a:pt x="9" y="0"/>
                  </a:lnTo>
                  <a:lnTo>
                    <a:pt x="9" y="0"/>
                  </a:lnTo>
                  <a:lnTo>
                    <a:pt x="9" y="0"/>
                  </a:lnTo>
                  <a:lnTo>
                    <a:pt x="9" y="1"/>
                  </a:lnTo>
                  <a:lnTo>
                    <a:pt x="9" y="1"/>
                  </a:lnTo>
                  <a:lnTo>
                    <a:pt x="9" y="1"/>
                  </a:lnTo>
                  <a:lnTo>
                    <a:pt x="9" y="1"/>
                  </a:lnTo>
                  <a:lnTo>
                    <a:pt x="9" y="1"/>
                  </a:lnTo>
                  <a:lnTo>
                    <a:pt x="9" y="1"/>
                  </a:lnTo>
                  <a:lnTo>
                    <a:pt x="9" y="1"/>
                  </a:lnTo>
                  <a:lnTo>
                    <a:pt x="9" y="1"/>
                  </a:lnTo>
                  <a:lnTo>
                    <a:pt x="9" y="1"/>
                  </a:lnTo>
                  <a:lnTo>
                    <a:pt x="11" y="2"/>
                  </a:lnTo>
                  <a:lnTo>
                    <a:pt x="12" y="2"/>
                  </a:lnTo>
                  <a:lnTo>
                    <a:pt x="12" y="2"/>
                  </a:lnTo>
                  <a:lnTo>
                    <a:pt x="12" y="2"/>
                  </a:lnTo>
                  <a:lnTo>
                    <a:pt x="13" y="2"/>
                  </a:lnTo>
                  <a:lnTo>
                    <a:pt x="13" y="2"/>
                  </a:lnTo>
                  <a:lnTo>
                    <a:pt x="13" y="3"/>
                  </a:lnTo>
                  <a:lnTo>
                    <a:pt x="14" y="3"/>
                  </a:lnTo>
                  <a:lnTo>
                    <a:pt x="14" y="4"/>
                  </a:lnTo>
                  <a:lnTo>
                    <a:pt x="14" y="4"/>
                  </a:lnTo>
                  <a:lnTo>
                    <a:pt x="14" y="4"/>
                  </a:lnTo>
                  <a:lnTo>
                    <a:pt x="14" y="4"/>
                  </a:lnTo>
                  <a:lnTo>
                    <a:pt x="14" y="4"/>
                  </a:lnTo>
                  <a:lnTo>
                    <a:pt x="15" y="4"/>
                  </a:lnTo>
                  <a:lnTo>
                    <a:pt x="15" y="4"/>
                  </a:lnTo>
                  <a:lnTo>
                    <a:pt x="15" y="6"/>
                  </a:lnTo>
                  <a:lnTo>
                    <a:pt x="15" y="6"/>
                  </a:lnTo>
                  <a:lnTo>
                    <a:pt x="15" y="6"/>
                  </a:lnTo>
                  <a:lnTo>
                    <a:pt x="15" y="6"/>
                  </a:lnTo>
                  <a:lnTo>
                    <a:pt x="16" y="6"/>
                  </a:lnTo>
                  <a:lnTo>
                    <a:pt x="16" y="6"/>
                  </a:lnTo>
                  <a:lnTo>
                    <a:pt x="16" y="6"/>
                  </a:lnTo>
                  <a:lnTo>
                    <a:pt x="16" y="6"/>
                  </a:lnTo>
                  <a:lnTo>
                    <a:pt x="16" y="6"/>
                  </a:lnTo>
                  <a:lnTo>
                    <a:pt x="18" y="6"/>
                  </a:lnTo>
                  <a:lnTo>
                    <a:pt x="18" y="7"/>
                  </a:lnTo>
                  <a:lnTo>
                    <a:pt x="18" y="7"/>
                  </a:lnTo>
                  <a:lnTo>
                    <a:pt x="18" y="7"/>
                  </a:lnTo>
                  <a:lnTo>
                    <a:pt x="18" y="7"/>
                  </a:lnTo>
                  <a:lnTo>
                    <a:pt x="18" y="8"/>
                  </a:lnTo>
                  <a:lnTo>
                    <a:pt x="18" y="8"/>
                  </a:lnTo>
                  <a:lnTo>
                    <a:pt x="18" y="8"/>
                  </a:lnTo>
                  <a:lnTo>
                    <a:pt x="16" y="8"/>
                  </a:lnTo>
                  <a:lnTo>
                    <a:pt x="16" y="8"/>
                  </a:lnTo>
                  <a:lnTo>
                    <a:pt x="18" y="8"/>
                  </a:lnTo>
                  <a:lnTo>
                    <a:pt x="18" y="8"/>
                  </a:lnTo>
                  <a:lnTo>
                    <a:pt x="18" y="8"/>
                  </a:lnTo>
                  <a:lnTo>
                    <a:pt x="18" y="8"/>
                  </a:lnTo>
                  <a:lnTo>
                    <a:pt x="19" y="8"/>
                  </a:lnTo>
                  <a:lnTo>
                    <a:pt x="20" y="8"/>
                  </a:lnTo>
                  <a:lnTo>
                    <a:pt x="20" y="8"/>
                  </a:lnTo>
                  <a:lnTo>
                    <a:pt x="20" y="9"/>
                  </a:lnTo>
                  <a:lnTo>
                    <a:pt x="20" y="9"/>
                  </a:lnTo>
                  <a:lnTo>
                    <a:pt x="20" y="9"/>
                  </a:lnTo>
                  <a:lnTo>
                    <a:pt x="21" y="9"/>
                  </a:lnTo>
                  <a:lnTo>
                    <a:pt x="21" y="9"/>
                  </a:lnTo>
                  <a:lnTo>
                    <a:pt x="21" y="9"/>
                  </a:lnTo>
                  <a:lnTo>
                    <a:pt x="22" y="9"/>
                  </a:lnTo>
                  <a:lnTo>
                    <a:pt x="22" y="9"/>
                  </a:lnTo>
                  <a:lnTo>
                    <a:pt x="22" y="9"/>
                  </a:lnTo>
                  <a:lnTo>
                    <a:pt x="22" y="9"/>
                  </a:lnTo>
                  <a:lnTo>
                    <a:pt x="22" y="9"/>
                  </a:lnTo>
                  <a:lnTo>
                    <a:pt x="22" y="10"/>
                  </a:lnTo>
                  <a:lnTo>
                    <a:pt x="22" y="10"/>
                  </a:lnTo>
                  <a:lnTo>
                    <a:pt x="22" y="10"/>
                  </a:lnTo>
                  <a:lnTo>
                    <a:pt x="22" y="10"/>
                  </a:lnTo>
                  <a:lnTo>
                    <a:pt x="21" y="10"/>
                  </a:lnTo>
                  <a:lnTo>
                    <a:pt x="21" y="10"/>
                  </a:lnTo>
                  <a:lnTo>
                    <a:pt x="21" y="10"/>
                  </a:lnTo>
                  <a:lnTo>
                    <a:pt x="21" y="10"/>
                  </a:lnTo>
                  <a:lnTo>
                    <a:pt x="21" y="10"/>
                  </a:lnTo>
                  <a:lnTo>
                    <a:pt x="22" y="10"/>
                  </a:lnTo>
                  <a:lnTo>
                    <a:pt x="22" y="10"/>
                  </a:lnTo>
                  <a:lnTo>
                    <a:pt x="21" y="11"/>
                  </a:lnTo>
                  <a:lnTo>
                    <a:pt x="21" y="11"/>
                  </a:lnTo>
                  <a:lnTo>
                    <a:pt x="21" y="13"/>
                  </a:lnTo>
                  <a:lnTo>
                    <a:pt x="20" y="13"/>
                  </a:lnTo>
                  <a:lnTo>
                    <a:pt x="20" y="13"/>
                  </a:lnTo>
                  <a:lnTo>
                    <a:pt x="21" y="14"/>
                  </a:lnTo>
                  <a:lnTo>
                    <a:pt x="21" y="14"/>
                  </a:lnTo>
                  <a:lnTo>
                    <a:pt x="20" y="14"/>
                  </a:lnTo>
                  <a:lnTo>
                    <a:pt x="20" y="14"/>
                  </a:lnTo>
                  <a:lnTo>
                    <a:pt x="20" y="14"/>
                  </a:lnTo>
                  <a:lnTo>
                    <a:pt x="20" y="15"/>
                  </a:lnTo>
                  <a:lnTo>
                    <a:pt x="20" y="15"/>
                  </a:lnTo>
                  <a:lnTo>
                    <a:pt x="20" y="16"/>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71" name="Freeform 927">
              <a:extLst>
                <a:ext uri="{FF2B5EF4-FFF2-40B4-BE49-F238E27FC236}">
                  <a16:creationId xmlns:a16="http://schemas.microsoft.com/office/drawing/2014/main" id="{490B24C1-384B-4C25-9EC7-89A44E5A2198}"/>
                </a:ext>
              </a:extLst>
            </p:cNvPr>
            <p:cNvSpPr>
              <a:spLocks noEditPoints="1"/>
            </p:cNvSpPr>
            <p:nvPr/>
          </p:nvSpPr>
          <p:spPr bwMode="auto">
            <a:xfrm>
              <a:off x="6641108" y="2711500"/>
              <a:ext cx="34723" cy="33388"/>
            </a:xfrm>
            <a:custGeom>
              <a:avLst/>
              <a:gdLst>
                <a:gd name="T0" fmla="*/ 25 w 26"/>
                <a:gd name="T1" fmla="*/ 12 h 25"/>
                <a:gd name="T2" fmla="*/ 24 w 26"/>
                <a:gd name="T3" fmla="*/ 11 h 25"/>
                <a:gd name="T4" fmla="*/ 22 w 26"/>
                <a:gd name="T5" fmla="*/ 11 h 25"/>
                <a:gd name="T6" fmla="*/ 24 w 26"/>
                <a:gd name="T7" fmla="*/ 11 h 25"/>
                <a:gd name="T8" fmla="*/ 24 w 26"/>
                <a:gd name="T9" fmla="*/ 11 h 25"/>
                <a:gd name="T10" fmla="*/ 24 w 26"/>
                <a:gd name="T11" fmla="*/ 6 h 25"/>
                <a:gd name="T12" fmla="*/ 21 w 26"/>
                <a:gd name="T13" fmla="*/ 8 h 25"/>
                <a:gd name="T14" fmla="*/ 20 w 26"/>
                <a:gd name="T15" fmla="*/ 6 h 25"/>
                <a:gd name="T16" fmla="*/ 19 w 26"/>
                <a:gd name="T17" fmla="*/ 5 h 25"/>
                <a:gd name="T18" fmla="*/ 19 w 26"/>
                <a:gd name="T19" fmla="*/ 5 h 25"/>
                <a:gd name="T20" fmla="*/ 20 w 26"/>
                <a:gd name="T21" fmla="*/ 4 h 25"/>
                <a:gd name="T22" fmla="*/ 19 w 26"/>
                <a:gd name="T23" fmla="*/ 4 h 25"/>
                <a:gd name="T24" fmla="*/ 20 w 26"/>
                <a:gd name="T25" fmla="*/ 4 h 25"/>
                <a:gd name="T26" fmla="*/ 20 w 26"/>
                <a:gd name="T27" fmla="*/ 4 h 25"/>
                <a:gd name="T28" fmla="*/ 20 w 26"/>
                <a:gd name="T29" fmla="*/ 3 h 25"/>
                <a:gd name="T30" fmla="*/ 20 w 26"/>
                <a:gd name="T31" fmla="*/ 3 h 25"/>
                <a:gd name="T32" fmla="*/ 20 w 26"/>
                <a:gd name="T33" fmla="*/ 3 h 25"/>
                <a:gd name="T34" fmla="*/ 19 w 26"/>
                <a:gd name="T35" fmla="*/ 3 h 25"/>
                <a:gd name="T36" fmla="*/ 20 w 26"/>
                <a:gd name="T37" fmla="*/ 1 h 25"/>
                <a:gd name="T38" fmla="*/ 18 w 26"/>
                <a:gd name="T39" fmla="*/ 3 h 25"/>
                <a:gd name="T40" fmla="*/ 18 w 26"/>
                <a:gd name="T41" fmla="*/ 1 h 25"/>
                <a:gd name="T42" fmla="*/ 19 w 26"/>
                <a:gd name="T43" fmla="*/ 1 h 25"/>
                <a:gd name="T44" fmla="*/ 19 w 26"/>
                <a:gd name="T45" fmla="*/ 1 h 25"/>
                <a:gd name="T46" fmla="*/ 19 w 26"/>
                <a:gd name="T47" fmla="*/ 5 h 25"/>
                <a:gd name="T48" fmla="*/ 20 w 26"/>
                <a:gd name="T49" fmla="*/ 7 h 25"/>
                <a:gd name="T50" fmla="*/ 21 w 26"/>
                <a:gd name="T51" fmla="*/ 10 h 25"/>
                <a:gd name="T52" fmla="*/ 20 w 26"/>
                <a:gd name="T53" fmla="*/ 8 h 25"/>
                <a:gd name="T54" fmla="*/ 18 w 26"/>
                <a:gd name="T55" fmla="*/ 8 h 25"/>
                <a:gd name="T56" fmla="*/ 17 w 26"/>
                <a:gd name="T57" fmla="*/ 11 h 25"/>
                <a:gd name="T58" fmla="*/ 15 w 26"/>
                <a:gd name="T59" fmla="*/ 12 h 25"/>
                <a:gd name="T60" fmla="*/ 17 w 26"/>
                <a:gd name="T61" fmla="*/ 12 h 25"/>
                <a:gd name="T62" fmla="*/ 17 w 26"/>
                <a:gd name="T63" fmla="*/ 12 h 25"/>
                <a:gd name="T64" fmla="*/ 18 w 26"/>
                <a:gd name="T65" fmla="*/ 12 h 25"/>
                <a:gd name="T66" fmla="*/ 18 w 26"/>
                <a:gd name="T67" fmla="*/ 12 h 25"/>
                <a:gd name="T68" fmla="*/ 19 w 26"/>
                <a:gd name="T69" fmla="*/ 12 h 25"/>
                <a:gd name="T70" fmla="*/ 20 w 26"/>
                <a:gd name="T71" fmla="*/ 12 h 25"/>
                <a:gd name="T72" fmla="*/ 20 w 26"/>
                <a:gd name="T73" fmla="*/ 13 h 25"/>
                <a:gd name="T74" fmla="*/ 21 w 26"/>
                <a:gd name="T75" fmla="*/ 15 h 25"/>
                <a:gd name="T76" fmla="*/ 22 w 26"/>
                <a:gd name="T77" fmla="*/ 19 h 25"/>
                <a:gd name="T78" fmla="*/ 24 w 26"/>
                <a:gd name="T79" fmla="*/ 20 h 25"/>
                <a:gd name="T80" fmla="*/ 25 w 26"/>
                <a:gd name="T81" fmla="*/ 21 h 25"/>
                <a:gd name="T82" fmla="*/ 26 w 26"/>
                <a:gd name="T83" fmla="*/ 22 h 25"/>
                <a:gd name="T84" fmla="*/ 26 w 26"/>
                <a:gd name="T85" fmla="*/ 22 h 25"/>
                <a:gd name="T86" fmla="*/ 26 w 26"/>
                <a:gd name="T87" fmla="*/ 22 h 25"/>
                <a:gd name="T88" fmla="*/ 25 w 26"/>
                <a:gd name="T89" fmla="*/ 24 h 25"/>
                <a:gd name="T90" fmla="*/ 25 w 26"/>
                <a:gd name="T91" fmla="*/ 24 h 25"/>
                <a:gd name="T92" fmla="*/ 26 w 26"/>
                <a:gd name="T93" fmla="*/ 24 h 25"/>
                <a:gd name="T94" fmla="*/ 26 w 26"/>
                <a:gd name="T95" fmla="*/ 25 h 25"/>
                <a:gd name="T96" fmla="*/ 19 w 26"/>
                <a:gd name="T97" fmla="*/ 25 h 25"/>
                <a:gd name="T98" fmla="*/ 15 w 26"/>
                <a:gd name="T99" fmla="*/ 25 h 25"/>
                <a:gd name="T100" fmla="*/ 14 w 26"/>
                <a:gd name="T101" fmla="*/ 22 h 25"/>
                <a:gd name="T102" fmla="*/ 13 w 26"/>
                <a:gd name="T103" fmla="*/ 19 h 25"/>
                <a:gd name="T104" fmla="*/ 12 w 26"/>
                <a:gd name="T105" fmla="*/ 18 h 25"/>
                <a:gd name="T106" fmla="*/ 8 w 26"/>
                <a:gd name="T107" fmla="*/ 18 h 25"/>
                <a:gd name="T108" fmla="*/ 3 w 26"/>
                <a:gd name="T109" fmla="*/ 17 h 25"/>
                <a:gd name="T110" fmla="*/ 1 w 26"/>
                <a:gd name="T111" fmla="*/ 13 h 25"/>
                <a:gd name="T112" fmla="*/ 4 w 26"/>
                <a:gd name="T113" fmla="*/ 10 h 25"/>
                <a:gd name="T114" fmla="*/ 5 w 26"/>
                <a:gd name="T115" fmla="*/ 6 h 25"/>
                <a:gd name="T116" fmla="*/ 6 w 26"/>
                <a:gd name="T117" fmla="*/ 1 h 25"/>
                <a:gd name="T118" fmla="*/ 13 w 26"/>
                <a:gd name="T119" fmla="*/ 0 h 25"/>
                <a:gd name="T120" fmla="*/ 18 w 26"/>
                <a:gd name="T121" fmla="*/ 3 h 25"/>
                <a:gd name="T122" fmla="*/ 18 w 26"/>
                <a:gd name="T123"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 h="25">
                  <a:moveTo>
                    <a:pt x="24" y="11"/>
                  </a:moveTo>
                  <a:lnTo>
                    <a:pt x="25" y="11"/>
                  </a:lnTo>
                  <a:lnTo>
                    <a:pt x="25" y="11"/>
                  </a:lnTo>
                  <a:lnTo>
                    <a:pt x="25" y="12"/>
                  </a:lnTo>
                  <a:lnTo>
                    <a:pt x="24" y="12"/>
                  </a:lnTo>
                  <a:lnTo>
                    <a:pt x="24" y="12"/>
                  </a:lnTo>
                  <a:lnTo>
                    <a:pt x="24" y="11"/>
                  </a:lnTo>
                  <a:lnTo>
                    <a:pt x="24" y="11"/>
                  </a:lnTo>
                  <a:lnTo>
                    <a:pt x="24" y="11"/>
                  </a:lnTo>
                  <a:lnTo>
                    <a:pt x="22" y="11"/>
                  </a:lnTo>
                  <a:lnTo>
                    <a:pt x="22" y="11"/>
                  </a:lnTo>
                  <a:lnTo>
                    <a:pt x="22" y="11"/>
                  </a:lnTo>
                  <a:lnTo>
                    <a:pt x="22" y="11"/>
                  </a:lnTo>
                  <a:lnTo>
                    <a:pt x="22" y="10"/>
                  </a:lnTo>
                  <a:lnTo>
                    <a:pt x="22" y="10"/>
                  </a:lnTo>
                  <a:lnTo>
                    <a:pt x="24" y="11"/>
                  </a:lnTo>
                  <a:lnTo>
                    <a:pt x="24" y="11"/>
                  </a:lnTo>
                  <a:lnTo>
                    <a:pt x="24" y="11"/>
                  </a:lnTo>
                  <a:lnTo>
                    <a:pt x="24" y="11"/>
                  </a:lnTo>
                  <a:lnTo>
                    <a:pt x="24" y="11"/>
                  </a:lnTo>
                  <a:close/>
                  <a:moveTo>
                    <a:pt x="20" y="3"/>
                  </a:moveTo>
                  <a:lnTo>
                    <a:pt x="22" y="5"/>
                  </a:lnTo>
                  <a:lnTo>
                    <a:pt x="24" y="6"/>
                  </a:lnTo>
                  <a:lnTo>
                    <a:pt x="24" y="6"/>
                  </a:lnTo>
                  <a:lnTo>
                    <a:pt x="22" y="7"/>
                  </a:lnTo>
                  <a:lnTo>
                    <a:pt x="22" y="7"/>
                  </a:lnTo>
                  <a:lnTo>
                    <a:pt x="22" y="8"/>
                  </a:lnTo>
                  <a:lnTo>
                    <a:pt x="21" y="8"/>
                  </a:lnTo>
                  <a:lnTo>
                    <a:pt x="21" y="8"/>
                  </a:lnTo>
                  <a:lnTo>
                    <a:pt x="21" y="8"/>
                  </a:lnTo>
                  <a:lnTo>
                    <a:pt x="21" y="7"/>
                  </a:lnTo>
                  <a:lnTo>
                    <a:pt x="20" y="6"/>
                  </a:lnTo>
                  <a:lnTo>
                    <a:pt x="19" y="5"/>
                  </a:lnTo>
                  <a:lnTo>
                    <a:pt x="19" y="5"/>
                  </a:lnTo>
                  <a:lnTo>
                    <a:pt x="19" y="5"/>
                  </a:lnTo>
                  <a:lnTo>
                    <a:pt x="19" y="5"/>
                  </a:lnTo>
                  <a:lnTo>
                    <a:pt x="19" y="5"/>
                  </a:lnTo>
                  <a:lnTo>
                    <a:pt x="19" y="5"/>
                  </a:lnTo>
                  <a:lnTo>
                    <a:pt x="19" y="5"/>
                  </a:lnTo>
                  <a:lnTo>
                    <a:pt x="19" y="5"/>
                  </a:lnTo>
                  <a:lnTo>
                    <a:pt x="19" y="5"/>
                  </a:lnTo>
                  <a:lnTo>
                    <a:pt x="20" y="5"/>
                  </a:lnTo>
                  <a:lnTo>
                    <a:pt x="20" y="4"/>
                  </a:lnTo>
                  <a:lnTo>
                    <a:pt x="20" y="4"/>
                  </a:lnTo>
                  <a:lnTo>
                    <a:pt x="19" y="4"/>
                  </a:lnTo>
                  <a:lnTo>
                    <a:pt x="19" y="4"/>
                  </a:lnTo>
                  <a:lnTo>
                    <a:pt x="19" y="4"/>
                  </a:lnTo>
                  <a:lnTo>
                    <a:pt x="19" y="4"/>
                  </a:lnTo>
                  <a:lnTo>
                    <a:pt x="19" y="4"/>
                  </a:lnTo>
                  <a:lnTo>
                    <a:pt x="20" y="4"/>
                  </a:lnTo>
                  <a:lnTo>
                    <a:pt x="20" y="4"/>
                  </a:lnTo>
                  <a:lnTo>
                    <a:pt x="20" y="4"/>
                  </a:lnTo>
                  <a:lnTo>
                    <a:pt x="20" y="4"/>
                  </a:lnTo>
                  <a:lnTo>
                    <a:pt x="20" y="4"/>
                  </a:lnTo>
                  <a:lnTo>
                    <a:pt x="20" y="4"/>
                  </a:lnTo>
                  <a:lnTo>
                    <a:pt x="20" y="4"/>
                  </a:lnTo>
                  <a:lnTo>
                    <a:pt x="20" y="3"/>
                  </a:lnTo>
                  <a:lnTo>
                    <a:pt x="20" y="3"/>
                  </a:lnTo>
                  <a:lnTo>
                    <a:pt x="20" y="3"/>
                  </a:lnTo>
                  <a:lnTo>
                    <a:pt x="20" y="3"/>
                  </a:lnTo>
                  <a:lnTo>
                    <a:pt x="20" y="3"/>
                  </a:lnTo>
                  <a:lnTo>
                    <a:pt x="20" y="3"/>
                  </a:lnTo>
                  <a:lnTo>
                    <a:pt x="20" y="3"/>
                  </a:lnTo>
                  <a:lnTo>
                    <a:pt x="20" y="3"/>
                  </a:lnTo>
                  <a:lnTo>
                    <a:pt x="20" y="3"/>
                  </a:lnTo>
                  <a:lnTo>
                    <a:pt x="20" y="3"/>
                  </a:lnTo>
                  <a:lnTo>
                    <a:pt x="20" y="3"/>
                  </a:lnTo>
                  <a:lnTo>
                    <a:pt x="20" y="3"/>
                  </a:lnTo>
                  <a:lnTo>
                    <a:pt x="20" y="3"/>
                  </a:lnTo>
                  <a:lnTo>
                    <a:pt x="20" y="3"/>
                  </a:lnTo>
                  <a:lnTo>
                    <a:pt x="19" y="3"/>
                  </a:lnTo>
                  <a:lnTo>
                    <a:pt x="19" y="3"/>
                  </a:lnTo>
                  <a:lnTo>
                    <a:pt x="19" y="3"/>
                  </a:lnTo>
                  <a:lnTo>
                    <a:pt x="20" y="1"/>
                  </a:lnTo>
                  <a:lnTo>
                    <a:pt x="20" y="1"/>
                  </a:lnTo>
                  <a:lnTo>
                    <a:pt x="20" y="1"/>
                  </a:lnTo>
                  <a:lnTo>
                    <a:pt x="20" y="1"/>
                  </a:lnTo>
                  <a:lnTo>
                    <a:pt x="20" y="3"/>
                  </a:lnTo>
                  <a:close/>
                  <a:moveTo>
                    <a:pt x="18" y="3"/>
                  </a:moveTo>
                  <a:lnTo>
                    <a:pt x="18" y="3"/>
                  </a:lnTo>
                  <a:lnTo>
                    <a:pt x="18" y="3"/>
                  </a:lnTo>
                  <a:lnTo>
                    <a:pt x="18" y="3"/>
                  </a:lnTo>
                  <a:lnTo>
                    <a:pt x="18" y="1"/>
                  </a:lnTo>
                  <a:lnTo>
                    <a:pt x="18" y="1"/>
                  </a:lnTo>
                  <a:lnTo>
                    <a:pt x="19" y="1"/>
                  </a:lnTo>
                  <a:lnTo>
                    <a:pt x="19" y="1"/>
                  </a:lnTo>
                  <a:lnTo>
                    <a:pt x="19" y="1"/>
                  </a:lnTo>
                  <a:lnTo>
                    <a:pt x="19" y="1"/>
                  </a:lnTo>
                  <a:lnTo>
                    <a:pt x="19" y="1"/>
                  </a:lnTo>
                  <a:lnTo>
                    <a:pt x="19" y="1"/>
                  </a:lnTo>
                  <a:lnTo>
                    <a:pt x="19" y="1"/>
                  </a:lnTo>
                  <a:lnTo>
                    <a:pt x="19" y="1"/>
                  </a:lnTo>
                  <a:lnTo>
                    <a:pt x="19" y="1"/>
                  </a:lnTo>
                  <a:lnTo>
                    <a:pt x="19" y="3"/>
                  </a:lnTo>
                  <a:lnTo>
                    <a:pt x="18" y="3"/>
                  </a:lnTo>
                  <a:close/>
                  <a:moveTo>
                    <a:pt x="19" y="5"/>
                  </a:moveTo>
                  <a:lnTo>
                    <a:pt x="19" y="6"/>
                  </a:lnTo>
                  <a:lnTo>
                    <a:pt x="19" y="6"/>
                  </a:lnTo>
                  <a:lnTo>
                    <a:pt x="20" y="6"/>
                  </a:lnTo>
                  <a:lnTo>
                    <a:pt x="20" y="7"/>
                  </a:lnTo>
                  <a:lnTo>
                    <a:pt x="21" y="8"/>
                  </a:lnTo>
                  <a:lnTo>
                    <a:pt x="21" y="8"/>
                  </a:lnTo>
                  <a:lnTo>
                    <a:pt x="21" y="10"/>
                  </a:lnTo>
                  <a:lnTo>
                    <a:pt x="21" y="10"/>
                  </a:lnTo>
                  <a:lnTo>
                    <a:pt x="20" y="8"/>
                  </a:lnTo>
                  <a:lnTo>
                    <a:pt x="20" y="8"/>
                  </a:lnTo>
                  <a:lnTo>
                    <a:pt x="20" y="8"/>
                  </a:lnTo>
                  <a:lnTo>
                    <a:pt x="20" y="8"/>
                  </a:lnTo>
                  <a:lnTo>
                    <a:pt x="19" y="8"/>
                  </a:lnTo>
                  <a:lnTo>
                    <a:pt x="19" y="8"/>
                  </a:lnTo>
                  <a:lnTo>
                    <a:pt x="18" y="8"/>
                  </a:lnTo>
                  <a:lnTo>
                    <a:pt x="18" y="8"/>
                  </a:lnTo>
                  <a:lnTo>
                    <a:pt x="18" y="10"/>
                  </a:lnTo>
                  <a:lnTo>
                    <a:pt x="17" y="10"/>
                  </a:lnTo>
                  <a:lnTo>
                    <a:pt x="17" y="11"/>
                  </a:lnTo>
                  <a:lnTo>
                    <a:pt x="17" y="11"/>
                  </a:lnTo>
                  <a:lnTo>
                    <a:pt x="15" y="11"/>
                  </a:lnTo>
                  <a:lnTo>
                    <a:pt x="15" y="12"/>
                  </a:lnTo>
                  <a:lnTo>
                    <a:pt x="15" y="12"/>
                  </a:lnTo>
                  <a:lnTo>
                    <a:pt x="15" y="12"/>
                  </a:lnTo>
                  <a:lnTo>
                    <a:pt x="15" y="12"/>
                  </a:lnTo>
                  <a:lnTo>
                    <a:pt x="15" y="12"/>
                  </a:lnTo>
                  <a:lnTo>
                    <a:pt x="17" y="12"/>
                  </a:lnTo>
                  <a:lnTo>
                    <a:pt x="17" y="12"/>
                  </a:lnTo>
                  <a:lnTo>
                    <a:pt x="17" y="12"/>
                  </a:lnTo>
                  <a:lnTo>
                    <a:pt x="17" y="12"/>
                  </a:lnTo>
                  <a:lnTo>
                    <a:pt x="17" y="12"/>
                  </a:lnTo>
                  <a:lnTo>
                    <a:pt x="17" y="12"/>
                  </a:lnTo>
                  <a:lnTo>
                    <a:pt x="17" y="12"/>
                  </a:lnTo>
                  <a:lnTo>
                    <a:pt x="17" y="13"/>
                  </a:lnTo>
                  <a:lnTo>
                    <a:pt x="18" y="13"/>
                  </a:lnTo>
                  <a:lnTo>
                    <a:pt x="18" y="12"/>
                  </a:lnTo>
                  <a:lnTo>
                    <a:pt x="18" y="12"/>
                  </a:lnTo>
                  <a:lnTo>
                    <a:pt x="18" y="12"/>
                  </a:lnTo>
                  <a:lnTo>
                    <a:pt x="18" y="12"/>
                  </a:lnTo>
                  <a:lnTo>
                    <a:pt x="18" y="12"/>
                  </a:lnTo>
                  <a:lnTo>
                    <a:pt x="19" y="12"/>
                  </a:lnTo>
                  <a:lnTo>
                    <a:pt x="19" y="12"/>
                  </a:lnTo>
                  <a:lnTo>
                    <a:pt x="19" y="12"/>
                  </a:lnTo>
                  <a:lnTo>
                    <a:pt x="19" y="12"/>
                  </a:lnTo>
                  <a:lnTo>
                    <a:pt x="19" y="12"/>
                  </a:lnTo>
                  <a:lnTo>
                    <a:pt x="19" y="12"/>
                  </a:lnTo>
                  <a:lnTo>
                    <a:pt x="19" y="12"/>
                  </a:lnTo>
                  <a:lnTo>
                    <a:pt x="20" y="12"/>
                  </a:lnTo>
                  <a:lnTo>
                    <a:pt x="20" y="12"/>
                  </a:lnTo>
                  <a:lnTo>
                    <a:pt x="20" y="12"/>
                  </a:lnTo>
                  <a:lnTo>
                    <a:pt x="20" y="13"/>
                  </a:lnTo>
                  <a:lnTo>
                    <a:pt x="20" y="13"/>
                  </a:lnTo>
                  <a:lnTo>
                    <a:pt x="20" y="13"/>
                  </a:lnTo>
                  <a:lnTo>
                    <a:pt x="21" y="14"/>
                  </a:lnTo>
                  <a:lnTo>
                    <a:pt x="21" y="14"/>
                  </a:lnTo>
                  <a:lnTo>
                    <a:pt x="21" y="15"/>
                  </a:lnTo>
                  <a:lnTo>
                    <a:pt x="21" y="15"/>
                  </a:lnTo>
                  <a:lnTo>
                    <a:pt x="22" y="18"/>
                  </a:lnTo>
                  <a:lnTo>
                    <a:pt x="22" y="18"/>
                  </a:lnTo>
                  <a:lnTo>
                    <a:pt x="22" y="19"/>
                  </a:lnTo>
                  <a:lnTo>
                    <a:pt x="24" y="19"/>
                  </a:lnTo>
                  <a:lnTo>
                    <a:pt x="24" y="19"/>
                  </a:lnTo>
                  <a:lnTo>
                    <a:pt x="24" y="20"/>
                  </a:lnTo>
                  <a:lnTo>
                    <a:pt x="24" y="20"/>
                  </a:lnTo>
                  <a:lnTo>
                    <a:pt x="24" y="20"/>
                  </a:lnTo>
                  <a:lnTo>
                    <a:pt x="24" y="20"/>
                  </a:lnTo>
                  <a:lnTo>
                    <a:pt x="25" y="21"/>
                  </a:lnTo>
                  <a:lnTo>
                    <a:pt x="25" y="21"/>
                  </a:lnTo>
                  <a:lnTo>
                    <a:pt x="25" y="21"/>
                  </a:lnTo>
                  <a:lnTo>
                    <a:pt x="25" y="21"/>
                  </a:lnTo>
                  <a:lnTo>
                    <a:pt x="26" y="21"/>
                  </a:lnTo>
                  <a:lnTo>
                    <a:pt x="26" y="22"/>
                  </a:lnTo>
                  <a:lnTo>
                    <a:pt x="26" y="22"/>
                  </a:lnTo>
                  <a:lnTo>
                    <a:pt x="26" y="22"/>
                  </a:lnTo>
                  <a:lnTo>
                    <a:pt x="26" y="22"/>
                  </a:lnTo>
                  <a:lnTo>
                    <a:pt x="26" y="22"/>
                  </a:lnTo>
                  <a:lnTo>
                    <a:pt x="25" y="22"/>
                  </a:lnTo>
                  <a:lnTo>
                    <a:pt x="25" y="22"/>
                  </a:lnTo>
                  <a:lnTo>
                    <a:pt x="25" y="22"/>
                  </a:lnTo>
                  <a:lnTo>
                    <a:pt x="26" y="22"/>
                  </a:lnTo>
                  <a:lnTo>
                    <a:pt x="26" y="22"/>
                  </a:lnTo>
                  <a:lnTo>
                    <a:pt x="26" y="24"/>
                  </a:lnTo>
                  <a:lnTo>
                    <a:pt x="26" y="24"/>
                  </a:lnTo>
                  <a:lnTo>
                    <a:pt x="25" y="24"/>
                  </a:lnTo>
                  <a:lnTo>
                    <a:pt x="25" y="22"/>
                  </a:lnTo>
                  <a:lnTo>
                    <a:pt x="25" y="22"/>
                  </a:lnTo>
                  <a:lnTo>
                    <a:pt x="25" y="24"/>
                  </a:lnTo>
                  <a:lnTo>
                    <a:pt x="25" y="24"/>
                  </a:lnTo>
                  <a:lnTo>
                    <a:pt x="26" y="24"/>
                  </a:lnTo>
                  <a:lnTo>
                    <a:pt x="26" y="24"/>
                  </a:lnTo>
                  <a:lnTo>
                    <a:pt x="26" y="24"/>
                  </a:lnTo>
                  <a:lnTo>
                    <a:pt x="26" y="24"/>
                  </a:lnTo>
                  <a:lnTo>
                    <a:pt x="26" y="25"/>
                  </a:lnTo>
                  <a:lnTo>
                    <a:pt x="26" y="25"/>
                  </a:lnTo>
                  <a:lnTo>
                    <a:pt x="26" y="25"/>
                  </a:lnTo>
                  <a:lnTo>
                    <a:pt x="26" y="25"/>
                  </a:lnTo>
                  <a:lnTo>
                    <a:pt x="26" y="25"/>
                  </a:lnTo>
                  <a:lnTo>
                    <a:pt x="24" y="25"/>
                  </a:lnTo>
                  <a:lnTo>
                    <a:pt x="21" y="25"/>
                  </a:lnTo>
                  <a:lnTo>
                    <a:pt x="19" y="25"/>
                  </a:lnTo>
                  <a:lnTo>
                    <a:pt x="17" y="25"/>
                  </a:lnTo>
                  <a:lnTo>
                    <a:pt x="17" y="25"/>
                  </a:lnTo>
                  <a:lnTo>
                    <a:pt x="17" y="25"/>
                  </a:lnTo>
                  <a:lnTo>
                    <a:pt x="15" y="25"/>
                  </a:lnTo>
                  <a:lnTo>
                    <a:pt x="15" y="24"/>
                  </a:lnTo>
                  <a:lnTo>
                    <a:pt x="15" y="24"/>
                  </a:lnTo>
                  <a:lnTo>
                    <a:pt x="14" y="24"/>
                  </a:lnTo>
                  <a:lnTo>
                    <a:pt x="14" y="22"/>
                  </a:lnTo>
                  <a:lnTo>
                    <a:pt x="14" y="22"/>
                  </a:lnTo>
                  <a:lnTo>
                    <a:pt x="14" y="21"/>
                  </a:lnTo>
                  <a:lnTo>
                    <a:pt x="14" y="21"/>
                  </a:lnTo>
                  <a:lnTo>
                    <a:pt x="13" y="19"/>
                  </a:lnTo>
                  <a:lnTo>
                    <a:pt x="12" y="18"/>
                  </a:lnTo>
                  <a:lnTo>
                    <a:pt x="12" y="18"/>
                  </a:lnTo>
                  <a:lnTo>
                    <a:pt x="12" y="18"/>
                  </a:lnTo>
                  <a:lnTo>
                    <a:pt x="12" y="18"/>
                  </a:lnTo>
                  <a:lnTo>
                    <a:pt x="12" y="18"/>
                  </a:lnTo>
                  <a:lnTo>
                    <a:pt x="12" y="18"/>
                  </a:lnTo>
                  <a:lnTo>
                    <a:pt x="10" y="18"/>
                  </a:lnTo>
                  <a:lnTo>
                    <a:pt x="8" y="18"/>
                  </a:lnTo>
                  <a:lnTo>
                    <a:pt x="7" y="17"/>
                  </a:lnTo>
                  <a:lnTo>
                    <a:pt x="6" y="17"/>
                  </a:lnTo>
                  <a:lnTo>
                    <a:pt x="5" y="17"/>
                  </a:lnTo>
                  <a:lnTo>
                    <a:pt x="3" y="17"/>
                  </a:lnTo>
                  <a:lnTo>
                    <a:pt x="1" y="17"/>
                  </a:lnTo>
                  <a:lnTo>
                    <a:pt x="0" y="17"/>
                  </a:lnTo>
                  <a:lnTo>
                    <a:pt x="0" y="15"/>
                  </a:lnTo>
                  <a:lnTo>
                    <a:pt x="1" y="13"/>
                  </a:lnTo>
                  <a:lnTo>
                    <a:pt x="3" y="12"/>
                  </a:lnTo>
                  <a:lnTo>
                    <a:pt x="4" y="11"/>
                  </a:lnTo>
                  <a:lnTo>
                    <a:pt x="4" y="11"/>
                  </a:lnTo>
                  <a:lnTo>
                    <a:pt x="4" y="10"/>
                  </a:lnTo>
                  <a:lnTo>
                    <a:pt x="5" y="7"/>
                  </a:lnTo>
                  <a:lnTo>
                    <a:pt x="5" y="7"/>
                  </a:lnTo>
                  <a:lnTo>
                    <a:pt x="5" y="7"/>
                  </a:lnTo>
                  <a:lnTo>
                    <a:pt x="5" y="6"/>
                  </a:lnTo>
                  <a:lnTo>
                    <a:pt x="5" y="6"/>
                  </a:lnTo>
                  <a:lnTo>
                    <a:pt x="5" y="5"/>
                  </a:lnTo>
                  <a:lnTo>
                    <a:pt x="6" y="3"/>
                  </a:lnTo>
                  <a:lnTo>
                    <a:pt x="6" y="1"/>
                  </a:lnTo>
                  <a:lnTo>
                    <a:pt x="7" y="1"/>
                  </a:lnTo>
                  <a:lnTo>
                    <a:pt x="10" y="0"/>
                  </a:lnTo>
                  <a:lnTo>
                    <a:pt x="10" y="0"/>
                  </a:lnTo>
                  <a:lnTo>
                    <a:pt x="13" y="0"/>
                  </a:lnTo>
                  <a:lnTo>
                    <a:pt x="14" y="0"/>
                  </a:lnTo>
                  <a:lnTo>
                    <a:pt x="17" y="1"/>
                  </a:lnTo>
                  <a:lnTo>
                    <a:pt x="18" y="3"/>
                  </a:lnTo>
                  <a:lnTo>
                    <a:pt x="18" y="3"/>
                  </a:lnTo>
                  <a:lnTo>
                    <a:pt x="18" y="3"/>
                  </a:lnTo>
                  <a:lnTo>
                    <a:pt x="18" y="3"/>
                  </a:lnTo>
                  <a:lnTo>
                    <a:pt x="18" y="4"/>
                  </a:lnTo>
                  <a:lnTo>
                    <a:pt x="18" y="4"/>
                  </a:lnTo>
                  <a:lnTo>
                    <a:pt x="18" y="5"/>
                  </a:lnTo>
                  <a:lnTo>
                    <a:pt x="19" y="5"/>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72" name="Freeform 928">
              <a:extLst>
                <a:ext uri="{FF2B5EF4-FFF2-40B4-BE49-F238E27FC236}">
                  <a16:creationId xmlns:a16="http://schemas.microsoft.com/office/drawing/2014/main" id="{B01EB097-9DA0-4A6A-9313-76DD9921C517}"/>
                </a:ext>
              </a:extLst>
            </p:cNvPr>
            <p:cNvSpPr>
              <a:spLocks/>
            </p:cNvSpPr>
            <p:nvPr/>
          </p:nvSpPr>
          <p:spPr bwMode="auto">
            <a:xfrm>
              <a:off x="7636046" y="2871758"/>
              <a:ext cx="154917" cy="182962"/>
            </a:xfrm>
            <a:custGeom>
              <a:avLst/>
              <a:gdLst>
                <a:gd name="T0" fmla="*/ 28 w 116"/>
                <a:gd name="T1" fmla="*/ 7 h 137"/>
                <a:gd name="T2" fmla="*/ 33 w 116"/>
                <a:gd name="T3" fmla="*/ 14 h 137"/>
                <a:gd name="T4" fmla="*/ 36 w 116"/>
                <a:gd name="T5" fmla="*/ 14 h 137"/>
                <a:gd name="T6" fmla="*/ 36 w 116"/>
                <a:gd name="T7" fmla="*/ 19 h 137"/>
                <a:gd name="T8" fmla="*/ 40 w 116"/>
                <a:gd name="T9" fmla="*/ 25 h 137"/>
                <a:gd name="T10" fmla="*/ 47 w 116"/>
                <a:gd name="T11" fmla="*/ 28 h 137"/>
                <a:gd name="T12" fmla="*/ 50 w 116"/>
                <a:gd name="T13" fmla="*/ 27 h 137"/>
                <a:gd name="T14" fmla="*/ 58 w 116"/>
                <a:gd name="T15" fmla="*/ 27 h 137"/>
                <a:gd name="T16" fmla="*/ 59 w 116"/>
                <a:gd name="T17" fmla="*/ 33 h 137"/>
                <a:gd name="T18" fmla="*/ 65 w 116"/>
                <a:gd name="T19" fmla="*/ 37 h 137"/>
                <a:gd name="T20" fmla="*/ 66 w 116"/>
                <a:gd name="T21" fmla="*/ 42 h 137"/>
                <a:gd name="T22" fmla="*/ 59 w 116"/>
                <a:gd name="T23" fmla="*/ 46 h 137"/>
                <a:gd name="T24" fmla="*/ 57 w 116"/>
                <a:gd name="T25" fmla="*/ 48 h 137"/>
                <a:gd name="T26" fmla="*/ 59 w 116"/>
                <a:gd name="T27" fmla="*/ 53 h 137"/>
                <a:gd name="T28" fmla="*/ 66 w 116"/>
                <a:gd name="T29" fmla="*/ 59 h 137"/>
                <a:gd name="T30" fmla="*/ 74 w 116"/>
                <a:gd name="T31" fmla="*/ 62 h 137"/>
                <a:gd name="T32" fmla="*/ 77 w 116"/>
                <a:gd name="T33" fmla="*/ 69 h 137"/>
                <a:gd name="T34" fmla="*/ 81 w 116"/>
                <a:gd name="T35" fmla="*/ 70 h 137"/>
                <a:gd name="T36" fmla="*/ 86 w 116"/>
                <a:gd name="T37" fmla="*/ 77 h 137"/>
                <a:gd name="T38" fmla="*/ 95 w 116"/>
                <a:gd name="T39" fmla="*/ 88 h 137"/>
                <a:gd name="T40" fmla="*/ 101 w 116"/>
                <a:gd name="T41" fmla="*/ 96 h 137"/>
                <a:gd name="T42" fmla="*/ 107 w 116"/>
                <a:gd name="T43" fmla="*/ 100 h 137"/>
                <a:gd name="T44" fmla="*/ 111 w 116"/>
                <a:gd name="T45" fmla="*/ 104 h 137"/>
                <a:gd name="T46" fmla="*/ 112 w 116"/>
                <a:gd name="T47" fmla="*/ 111 h 137"/>
                <a:gd name="T48" fmla="*/ 115 w 116"/>
                <a:gd name="T49" fmla="*/ 116 h 137"/>
                <a:gd name="T50" fmla="*/ 115 w 116"/>
                <a:gd name="T51" fmla="*/ 124 h 137"/>
                <a:gd name="T52" fmla="*/ 111 w 116"/>
                <a:gd name="T53" fmla="*/ 128 h 137"/>
                <a:gd name="T54" fmla="*/ 105 w 116"/>
                <a:gd name="T55" fmla="*/ 129 h 137"/>
                <a:gd name="T56" fmla="*/ 100 w 116"/>
                <a:gd name="T57" fmla="*/ 128 h 137"/>
                <a:gd name="T58" fmla="*/ 95 w 116"/>
                <a:gd name="T59" fmla="*/ 130 h 137"/>
                <a:gd name="T60" fmla="*/ 97 w 116"/>
                <a:gd name="T61" fmla="*/ 137 h 137"/>
                <a:gd name="T62" fmla="*/ 90 w 116"/>
                <a:gd name="T63" fmla="*/ 132 h 137"/>
                <a:gd name="T64" fmla="*/ 84 w 116"/>
                <a:gd name="T65" fmla="*/ 131 h 137"/>
                <a:gd name="T66" fmla="*/ 87 w 116"/>
                <a:gd name="T67" fmla="*/ 124 h 137"/>
                <a:gd name="T68" fmla="*/ 86 w 116"/>
                <a:gd name="T69" fmla="*/ 117 h 137"/>
                <a:gd name="T70" fmla="*/ 87 w 116"/>
                <a:gd name="T71" fmla="*/ 108 h 137"/>
                <a:gd name="T72" fmla="*/ 81 w 116"/>
                <a:gd name="T73" fmla="*/ 103 h 137"/>
                <a:gd name="T74" fmla="*/ 76 w 116"/>
                <a:gd name="T75" fmla="*/ 96 h 137"/>
                <a:gd name="T76" fmla="*/ 72 w 116"/>
                <a:gd name="T77" fmla="*/ 88 h 137"/>
                <a:gd name="T78" fmla="*/ 68 w 116"/>
                <a:gd name="T79" fmla="*/ 77 h 137"/>
                <a:gd name="T80" fmla="*/ 61 w 116"/>
                <a:gd name="T81" fmla="*/ 68 h 137"/>
                <a:gd name="T82" fmla="*/ 51 w 116"/>
                <a:gd name="T83" fmla="*/ 65 h 137"/>
                <a:gd name="T84" fmla="*/ 47 w 116"/>
                <a:gd name="T85" fmla="*/ 70 h 137"/>
                <a:gd name="T86" fmla="*/ 41 w 116"/>
                <a:gd name="T87" fmla="*/ 73 h 137"/>
                <a:gd name="T88" fmla="*/ 33 w 116"/>
                <a:gd name="T89" fmla="*/ 68 h 137"/>
                <a:gd name="T90" fmla="*/ 27 w 116"/>
                <a:gd name="T91" fmla="*/ 75 h 137"/>
                <a:gd name="T92" fmla="*/ 20 w 116"/>
                <a:gd name="T93" fmla="*/ 79 h 137"/>
                <a:gd name="T94" fmla="*/ 20 w 116"/>
                <a:gd name="T95" fmla="*/ 72 h 137"/>
                <a:gd name="T96" fmla="*/ 17 w 116"/>
                <a:gd name="T97" fmla="*/ 65 h 137"/>
                <a:gd name="T98" fmla="*/ 20 w 116"/>
                <a:gd name="T99" fmla="*/ 56 h 137"/>
                <a:gd name="T100" fmla="*/ 19 w 116"/>
                <a:gd name="T101" fmla="*/ 48 h 137"/>
                <a:gd name="T102" fmla="*/ 12 w 116"/>
                <a:gd name="T103" fmla="*/ 47 h 137"/>
                <a:gd name="T104" fmla="*/ 6 w 116"/>
                <a:gd name="T105" fmla="*/ 45 h 137"/>
                <a:gd name="T106" fmla="*/ 6 w 116"/>
                <a:gd name="T107" fmla="*/ 37 h 137"/>
                <a:gd name="T108" fmla="*/ 0 w 116"/>
                <a:gd name="T109" fmla="*/ 35 h 137"/>
                <a:gd name="T110" fmla="*/ 2 w 116"/>
                <a:gd name="T111" fmla="*/ 27 h 137"/>
                <a:gd name="T112" fmla="*/ 6 w 116"/>
                <a:gd name="T113" fmla="*/ 24 h 137"/>
                <a:gd name="T114" fmla="*/ 13 w 116"/>
                <a:gd name="T115" fmla="*/ 16 h 137"/>
                <a:gd name="T116" fmla="*/ 15 w 116"/>
                <a:gd name="T117" fmla="*/ 21 h 137"/>
                <a:gd name="T118" fmla="*/ 22 w 116"/>
                <a:gd name="T119" fmla="*/ 21 h 137"/>
                <a:gd name="T120" fmla="*/ 20 w 116"/>
                <a:gd name="T121" fmla="*/ 14 h 137"/>
                <a:gd name="T122" fmla="*/ 16 w 116"/>
                <a:gd name="T123" fmla="*/ 6 h 137"/>
                <a:gd name="T124" fmla="*/ 19 w 116"/>
                <a:gd name="T125" fmla="*/ 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6" h="137">
                  <a:moveTo>
                    <a:pt x="23" y="2"/>
                  </a:moveTo>
                  <a:lnTo>
                    <a:pt x="23" y="3"/>
                  </a:lnTo>
                  <a:lnTo>
                    <a:pt x="23" y="4"/>
                  </a:lnTo>
                  <a:lnTo>
                    <a:pt x="24" y="4"/>
                  </a:lnTo>
                  <a:lnTo>
                    <a:pt x="24" y="5"/>
                  </a:lnTo>
                  <a:lnTo>
                    <a:pt x="26" y="5"/>
                  </a:lnTo>
                  <a:lnTo>
                    <a:pt x="27" y="6"/>
                  </a:lnTo>
                  <a:lnTo>
                    <a:pt x="28" y="6"/>
                  </a:lnTo>
                  <a:lnTo>
                    <a:pt x="28" y="7"/>
                  </a:lnTo>
                  <a:lnTo>
                    <a:pt x="29" y="7"/>
                  </a:lnTo>
                  <a:lnTo>
                    <a:pt x="29" y="9"/>
                  </a:lnTo>
                  <a:lnTo>
                    <a:pt x="29" y="10"/>
                  </a:lnTo>
                  <a:lnTo>
                    <a:pt x="30" y="10"/>
                  </a:lnTo>
                  <a:lnTo>
                    <a:pt x="31" y="11"/>
                  </a:lnTo>
                  <a:lnTo>
                    <a:pt x="31" y="12"/>
                  </a:lnTo>
                  <a:lnTo>
                    <a:pt x="31" y="13"/>
                  </a:lnTo>
                  <a:lnTo>
                    <a:pt x="33" y="13"/>
                  </a:lnTo>
                  <a:lnTo>
                    <a:pt x="33" y="14"/>
                  </a:lnTo>
                  <a:lnTo>
                    <a:pt x="33" y="13"/>
                  </a:lnTo>
                  <a:lnTo>
                    <a:pt x="34" y="13"/>
                  </a:lnTo>
                  <a:lnTo>
                    <a:pt x="34" y="12"/>
                  </a:lnTo>
                  <a:lnTo>
                    <a:pt x="34" y="11"/>
                  </a:lnTo>
                  <a:lnTo>
                    <a:pt x="35" y="12"/>
                  </a:lnTo>
                  <a:lnTo>
                    <a:pt x="35" y="13"/>
                  </a:lnTo>
                  <a:lnTo>
                    <a:pt x="36" y="12"/>
                  </a:lnTo>
                  <a:lnTo>
                    <a:pt x="36" y="13"/>
                  </a:lnTo>
                  <a:lnTo>
                    <a:pt x="36" y="14"/>
                  </a:lnTo>
                  <a:lnTo>
                    <a:pt x="37" y="14"/>
                  </a:lnTo>
                  <a:lnTo>
                    <a:pt x="37" y="16"/>
                  </a:lnTo>
                  <a:lnTo>
                    <a:pt x="36" y="16"/>
                  </a:lnTo>
                  <a:lnTo>
                    <a:pt x="36" y="17"/>
                  </a:lnTo>
                  <a:lnTo>
                    <a:pt x="35" y="18"/>
                  </a:lnTo>
                  <a:lnTo>
                    <a:pt x="36" y="18"/>
                  </a:lnTo>
                  <a:lnTo>
                    <a:pt x="36" y="17"/>
                  </a:lnTo>
                  <a:lnTo>
                    <a:pt x="36" y="18"/>
                  </a:lnTo>
                  <a:lnTo>
                    <a:pt x="36" y="19"/>
                  </a:lnTo>
                  <a:lnTo>
                    <a:pt x="36" y="20"/>
                  </a:lnTo>
                  <a:lnTo>
                    <a:pt x="35" y="20"/>
                  </a:lnTo>
                  <a:lnTo>
                    <a:pt x="36" y="20"/>
                  </a:lnTo>
                  <a:lnTo>
                    <a:pt x="36" y="21"/>
                  </a:lnTo>
                  <a:lnTo>
                    <a:pt x="37" y="21"/>
                  </a:lnTo>
                  <a:lnTo>
                    <a:pt x="37" y="23"/>
                  </a:lnTo>
                  <a:lnTo>
                    <a:pt x="38" y="24"/>
                  </a:lnTo>
                  <a:lnTo>
                    <a:pt x="40" y="24"/>
                  </a:lnTo>
                  <a:lnTo>
                    <a:pt x="40" y="25"/>
                  </a:lnTo>
                  <a:lnTo>
                    <a:pt x="40" y="26"/>
                  </a:lnTo>
                  <a:lnTo>
                    <a:pt x="41" y="26"/>
                  </a:lnTo>
                  <a:lnTo>
                    <a:pt x="41" y="27"/>
                  </a:lnTo>
                  <a:lnTo>
                    <a:pt x="42" y="27"/>
                  </a:lnTo>
                  <a:lnTo>
                    <a:pt x="43" y="27"/>
                  </a:lnTo>
                  <a:lnTo>
                    <a:pt x="44" y="27"/>
                  </a:lnTo>
                  <a:lnTo>
                    <a:pt x="45" y="27"/>
                  </a:lnTo>
                  <a:lnTo>
                    <a:pt x="45" y="28"/>
                  </a:lnTo>
                  <a:lnTo>
                    <a:pt x="47" y="28"/>
                  </a:lnTo>
                  <a:lnTo>
                    <a:pt x="48" y="28"/>
                  </a:lnTo>
                  <a:lnTo>
                    <a:pt x="48" y="30"/>
                  </a:lnTo>
                  <a:lnTo>
                    <a:pt x="49" y="30"/>
                  </a:lnTo>
                  <a:lnTo>
                    <a:pt x="49" y="28"/>
                  </a:lnTo>
                  <a:lnTo>
                    <a:pt x="50" y="28"/>
                  </a:lnTo>
                  <a:lnTo>
                    <a:pt x="49" y="27"/>
                  </a:lnTo>
                  <a:lnTo>
                    <a:pt x="50" y="27"/>
                  </a:lnTo>
                  <a:lnTo>
                    <a:pt x="50" y="26"/>
                  </a:lnTo>
                  <a:lnTo>
                    <a:pt x="50" y="27"/>
                  </a:lnTo>
                  <a:lnTo>
                    <a:pt x="50" y="26"/>
                  </a:lnTo>
                  <a:lnTo>
                    <a:pt x="51" y="26"/>
                  </a:lnTo>
                  <a:lnTo>
                    <a:pt x="52" y="26"/>
                  </a:lnTo>
                  <a:lnTo>
                    <a:pt x="54" y="25"/>
                  </a:lnTo>
                  <a:lnTo>
                    <a:pt x="55" y="25"/>
                  </a:lnTo>
                  <a:lnTo>
                    <a:pt x="56" y="26"/>
                  </a:lnTo>
                  <a:lnTo>
                    <a:pt x="57" y="26"/>
                  </a:lnTo>
                  <a:lnTo>
                    <a:pt x="57" y="27"/>
                  </a:lnTo>
                  <a:lnTo>
                    <a:pt x="58" y="27"/>
                  </a:lnTo>
                  <a:lnTo>
                    <a:pt x="58" y="28"/>
                  </a:lnTo>
                  <a:lnTo>
                    <a:pt x="59" y="28"/>
                  </a:lnTo>
                  <a:lnTo>
                    <a:pt x="61" y="30"/>
                  </a:lnTo>
                  <a:lnTo>
                    <a:pt x="62" y="30"/>
                  </a:lnTo>
                  <a:lnTo>
                    <a:pt x="62" y="31"/>
                  </a:lnTo>
                  <a:lnTo>
                    <a:pt x="61" y="32"/>
                  </a:lnTo>
                  <a:lnTo>
                    <a:pt x="59" y="32"/>
                  </a:lnTo>
                  <a:lnTo>
                    <a:pt x="58" y="33"/>
                  </a:lnTo>
                  <a:lnTo>
                    <a:pt x="59" y="33"/>
                  </a:lnTo>
                  <a:lnTo>
                    <a:pt x="62" y="33"/>
                  </a:lnTo>
                  <a:lnTo>
                    <a:pt x="62" y="34"/>
                  </a:lnTo>
                  <a:lnTo>
                    <a:pt x="63" y="34"/>
                  </a:lnTo>
                  <a:lnTo>
                    <a:pt x="63" y="35"/>
                  </a:lnTo>
                  <a:lnTo>
                    <a:pt x="64" y="35"/>
                  </a:lnTo>
                  <a:lnTo>
                    <a:pt x="63" y="35"/>
                  </a:lnTo>
                  <a:lnTo>
                    <a:pt x="63" y="37"/>
                  </a:lnTo>
                  <a:lnTo>
                    <a:pt x="64" y="37"/>
                  </a:lnTo>
                  <a:lnTo>
                    <a:pt x="65" y="37"/>
                  </a:lnTo>
                  <a:lnTo>
                    <a:pt x="66" y="38"/>
                  </a:lnTo>
                  <a:lnTo>
                    <a:pt x="68" y="38"/>
                  </a:lnTo>
                  <a:lnTo>
                    <a:pt x="68" y="39"/>
                  </a:lnTo>
                  <a:lnTo>
                    <a:pt x="68" y="40"/>
                  </a:lnTo>
                  <a:lnTo>
                    <a:pt x="66" y="40"/>
                  </a:lnTo>
                  <a:lnTo>
                    <a:pt x="66" y="41"/>
                  </a:lnTo>
                  <a:lnTo>
                    <a:pt x="65" y="41"/>
                  </a:lnTo>
                  <a:lnTo>
                    <a:pt x="65" y="42"/>
                  </a:lnTo>
                  <a:lnTo>
                    <a:pt x="66" y="42"/>
                  </a:lnTo>
                  <a:lnTo>
                    <a:pt x="66" y="44"/>
                  </a:lnTo>
                  <a:lnTo>
                    <a:pt x="65" y="44"/>
                  </a:lnTo>
                  <a:lnTo>
                    <a:pt x="65" y="45"/>
                  </a:lnTo>
                  <a:lnTo>
                    <a:pt x="64" y="45"/>
                  </a:lnTo>
                  <a:lnTo>
                    <a:pt x="64" y="46"/>
                  </a:lnTo>
                  <a:lnTo>
                    <a:pt x="63" y="46"/>
                  </a:lnTo>
                  <a:lnTo>
                    <a:pt x="62" y="46"/>
                  </a:lnTo>
                  <a:lnTo>
                    <a:pt x="61" y="45"/>
                  </a:lnTo>
                  <a:lnTo>
                    <a:pt x="59" y="46"/>
                  </a:lnTo>
                  <a:lnTo>
                    <a:pt x="59" y="45"/>
                  </a:lnTo>
                  <a:lnTo>
                    <a:pt x="58" y="45"/>
                  </a:lnTo>
                  <a:lnTo>
                    <a:pt x="57" y="45"/>
                  </a:lnTo>
                  <a:lnTo>
                    <a:pt x="57" y="46"/>
                  </a:lnTo>
                  <a:lnTo>
                    <a:pt x="56" y="45"/>
                  </a:lnTo>
                  <a:lnTo>
                    <a:pt x="56" y="46"/>
                  </a:lnTo>
                  <a:lnTo>
                    <a:pt x="56" y="47"/>
                  </a:lnTo>
                  <a:lnTo>
                    <a:pt x="57" y="47"/>
                  </a:lnTo>
                  <a:lnTo>
                    <a:pt x="57" y="48"/>
                  </a:lnTo>
                  <a:lnTo>
                    <a:pt x="57" y="49"/>
                  </a:lnTo>
                  <a:lnTo>
                    <a:pt x="56" y="49"/>
                  </a:lnTo>
                  <a:lnTo>
                    <a:pt x="56" y="51"/>
                  </a:lnTo>
                  <a:lnTo>
                    <a:pt x="55" y="51"/>
                  </a:lnTo>
                  <a:lnTo>
                    <a:pt x="55" y="52"/>
                  </a:lnTo>
                  <a:lnTo>
                    <a:pt x="56" y="52"/>
                  </a:lnTo>
                  <a:lnTo>
                    <a:pt x="56" y="53"/>
                  </a:lnTo>
                  <a:lnTo>
                    <a:pt x="57" y="52"/>
                  </a:lnTo>
                  <a:lnTo>
                    <a:pt x="59" y="53"/>
                  </a:lnTo>
                  <a:lnTo>
                    <a:pt x="59" y="54"/>
                  </a:lnTo>
                  <a:lnTo>
                    <a:pt x="61" y="54"/>
                  </a:lnTo>
                  <a:lnTo>
                    <a:pt x="62" y="55"/>
                  </a:lnTo>
                  <a:lnTo>
                    <a:pt x="63" y="55"/>
                  </a:lnTo>
                  <a:lnTo>
                    <a:pt x="63" y="56"/>
                  </a:lnTo>
                  <a:lnTo>
                    <a:pt x="64" y="56"/>
                  </a:lnTo>
                  <a:lnTo>
                    <a:pt x="65" y="58"/>
                  </a:lnTo>
                  <a:lnTo>
                    <a:pt x="66" y="58"/>
                  </a:lnTo>
                  <a:lnTo>
                    <a:pt x="66" y="59"/>
                  </a:lnTo>
                  <a:lnTo>
                    <a:pt x="68" y="59"/>
                  </a:lnTo>
                  <a:lnTo>
                    <a:pt x="69" y="59"/>
                  </a:lnTo>
                  <a:lnTo>
                    <a:pt x="69" y="60"/>
                  </a:lnTo>
                  <a:lnTo>
                    <a:pt x="70" y="60"/>
                  </a:lnTo>
                  <a:lnTo>
                    <a:pt x="71" y="60"/>
                  </a:lnTo>
                  <a:lnTo>
                    <a:pt x="72" y="61"/>
                  </a:lnTo>
                  <a:lnTo>
                    <a:pt x="73" y="61"/>
                  </a:lnTo>
                  <a:lnTo>
                    <a:pt x="74" y="61"/>
                  </a:lnTo>
                  <a:lnTo>
                    <a:pt x="74" y="62"/>
                  </a:lnTo>
                  <a:lnTo>
                    <a:pt x="73" y="62"/>
                  </a:lnTo>
                  <a:lnTo>
                    <a:pt x="73" y="63"/>
                  </a:lnTo>
                  <a:lnTo>
                    <a:pt x="73" y="65"/>
                  </a:lnTo>
                  <a:lnTo>
                    <a:pt x="74" y="66"/>
                  </a:lnTo>
                  <a:lnTo>
                    <a:pt x="74" y="67"/>
                  </a:lnTo>
                  <a:lnTo>
                    <a:pt x="76" y="67"/>
                  </a:lnTo>
                  <a:lnTo>
                    <a:pt x="76" y="68"/>
                  </a:lnTo>
                  <a:lnTo>
                    <a:pt x="77" y="68"/>
                  </a:lnTo>
                  <a:lnTo>
                    <a:pt x="77" y="69"/>
                  </a:lnTo>
                  <a:lnTo>
                    <a:pt x="78" y="69"/>
                  </a:lnTo>
                  <a:lnTo>
                    <a:pt x="78" y="68"/>
                  </a:lnTo>
                  <a:lnTo>
                    <a:pt x="79" y="68"/>
                  </a:lnTo>
                  <a:lnTo>
                    <a:pt x="79" y="69"/>
                  </a:lnTo>
                  <a:lnTo>
                    <a:pt x="80" y="69"/>
                  </a:lnTo>
                  <a:lnTo>
                    <a:pt x="79" y="69"/>
                  </a:lnTo>
                  <a:lnTo>
                    <a:pt x="80" y="69"/>
                  </a:lnTo>
                  <a:lnTo>
                    <a:pt x="80" y="70"/>
                  </a:lnTo>
                  <a:lnTo>
                    <a:pt x="81" y="70"/>
                  </a:lnTo>
                  <a:lnTo>
                    <a:pt x="81" y="72"/>
                  </a:lnTo>
                  <a:lnTo>
                    <a:pt x="81" y="73"/>
                  </a:lnTo>
                  <a:lnTo>
                    <a:pt x="81" y="74"/>
                  </a:lnTo>
                  <a:lnTo>
                    <a:pt x="83" y="74"/>
                  </a:lnTo>
                  <a:lnTo>
                    <a:pt x="83" y="75"/>
                  </a:lnTo>
                  <a:lnTo>
                    <a:pt x="84" y="76"/>
                  </a:lnTo>
                  <a:lnTo>
                    <a:pt x="84" y="77"/>
                  </a:lnTo>
                  <a:lnTo>
                    <a:pt x="85" y="77"/>
                  </a:lnTo>
                  <a:lnTo>
                    <a:pt x="86" y="77"/>
                  </a:lnTo>
                  <a:lnTo>
                    <a:pt x="86" y="79"/>
                  </a:lnTo>
                  <a:lnTo>
                    <a:pt x="87" y="80"/>
                  </a:lnTo>
                  <a:lnTo>
                    <a:pt x="88" y="81"/>
                  </a:lnTo>
                  <a:lnTo>
                    <a:pt x="92" y="83"/>
                  </a:lnTo>
                  <a:lnTo>
                    <a:pt x="93" y="83"/>
                  </a:lnTo>
                  <a:lnTo>
                    <a:pt x="93" y="84"/>
                  </a:lnTo>
                  <a:lnTo>
                    <a:pt x="94" y="86"/>
                  </a:lnTo>
                  <a:lnTo>
                    <a:pt x="94" y="87"/>
                  </a:lnTo>
                  <a:lnTo>
                    <a:pt x="95" y="88"/>
                  </a:lnTo>
                  <a:lnTo>
                    <a:pt x="97" y="88"/>
                  </a:lnTo>
                  <a:lnTo>
                    <a:pt x="98" y="93"/>
                  </a:lnTo>
                  <a:lnTo>
                    <a:pt x="98" y="94"/>
                  </a:lnTo>
                  <a:lnTo>
                    <a:pt x="99" y="94"/>
                  </a:lnTo>
                  <a:lnTo>
                    <a:pt x="99" y="95"/>
                  </a:lnTo>
                  <a:lnTo>
                    <a:pt x="100" y="96"/>
                  </a:lnTo>
                  <a:lnTo>
                    <a:pt x="101" y="96"/>
                  </a:lnTo>
                  <a:lnTo>
                    <a:pt x="101" y="97"/>
                  </a:lnTo>
                  <a:lnTo>
                    <a:pt x="101" y="96"/>
                  </a:lnTo>
                  <a:lnTo>
                    <a:pt x="102" y="95"/>
                  </a:lnTo>
                  <a:lnTo>
                    <a:pt x="102" y="96"/>
                  </a:lnTo>
                  <a:lnTo>
                    <a:pt x="102" y="97"/>
                  </a:lnTo>
                  <a:lnTo>
                    <a:pt x="104" y="97"/>
                  </a:lnTo>
                  <a:lnTo>
                    <a:pt x="104" y="98"/>
                  </a:lnTo>
                  <a:lnTo>
                    <a:pt x="105" y="98"/>
                  </a:lnTo>
                  <a:lnTo>
                    <a:pt x="106" y="98"/>
                  </a:lnTo>
                  <a:lnTo>
                    <a:pt x="106" y="100"/>
                  </a:lnTo>
                  <a:lnTo>
                    <a:pt x="107" y="100"/>
                  </a:lnTo>
                  <a:lnTo>
                    <a:pt x="107" y="101"/>
                  </a:lnTo>
                  <a:lnTo>
                    <a:pt x="108" y="101"/>
                  </a:lnTo>
                  <a:lnTo>
                    <a:pt x="108" y="102"/>
                  </a:lnTo>
                  <a:lnTo>
                    <a:pt x="109" y="102"/>
                  </a:lnTo>
                  <a:lnTo>
                    <a:pt x="109" y="103"/>
                  </a:lnTo>
                  <a:lnTo>
                    <a:pt x="111" y="102"/>
                  </a:lnTo>
                  <a:lnTo>
                    <a:pt x="112" y="102"/>
                  </a:lnTo>
                  <a:lnTo>
                    <a:pt x="112" y="103"/>
                  </a:lnTo>
                  <a:lnTo>
                    <a:pt x="111" y="104"/>
                  </a:lnTo>
                  <a:lnTo>
                    <a:pt x="111" y="105"/>
                  </a:lnTo>
                  <a:lnTo>
                    <a:pt x="109" y="105"/>
                  </a:lnTo>
                  <a:lnTo>
                    <a:pt x="108" y="105"/>
                  </a:lnTo>
                  <a:lnTo>
                    <a:pt x="108" y="107"/>
                  </a:lnTo>
                  <a:lnTo>
                    <a:pt x="108" y="108"/>
                  </a:lnTo>
                  <a:lnTo>
                    <a:pt x="109" y="108"/>
                  </a:lnTo>
                  <a:lnTo>
                    <a:pt x="109" y="109"/>
                  </a:lnTo>
                  <a:lnTo>
                    <a:pt x="111" y="110"/>
                  </a:lnTo>
                  <a:lnTo>
                    <a:pt x="112" y="111"/>
                  </a:lnTo>
                  <a:lnTo>
                    <a:pt x="113" y="111"/>
                  </a:lnTo>
                  <a:lnTo>
                    <a:pt x="113" y="112"/>
                  </a:lnTo>
                  <a:lnTo>
                    <a:pt x="114" y="112"/>
                  </a:lnTo>
                  <a:lnTo>
                    <a:pt x="115" y="112"/>
                  </a:lnTo>
                  <a:lnTo>
                    <a:pt x="115" y="114"/>
                  </a:lnTo>
                  <a:lnTo>
                    <a:pt x="115" y="115"/>
                  </a:lnTo>
                  <a:lnTo>
                    <a:pt x="116" y="115"/>
                  </a:lnTo>
                  <a:lnTo>
                    <a:pt x="116" y="116"/>
                  </a:lnTo>
                  <a:lnTo>
                    <a:pt x="115" y="116"/>
                  </a:lnTo>
                  <a:lnTo>
                    <a:pt x="115" y="117"/>
                  </a:lnTo>
                  <a:lnTo>
                    <a:pt x="115" y="118"/>
                  </a:lnTo>
                  <a:lnTo>
                    <a:pt x="114" y="118"/>
                  </a:lnTo>
                  <a:lnTo>
                    <a:pt x="114" y="119"/>
                  </a:lnTo>
                  <a:lnTo>
                    <a:pt x="114" y="121"/>
                  </a:lnTo>
                  <a:lnTo>
                    <a:pt x="115" y="121"/>
                  </a:lnTo>
                  <a:lnTo>
                    <a:pt x="115" y="122"/>
                  </a:lnTo>
                  <a:lnTo>
                    <a:pt x="115" y="123"/>
                  </a:lnTo>
                  <a:lnTo>
                    <a:pt x="115" y="124"/>
                  </a:lnTo>
                  <a:lnTo>
                    <a:pt x="115" y="125"/>
                  </a:lnTo>
                  <a:lnTo>
                    <a:pt x="114" y="125"/>
                  </a:lnTo>
                  <a:lnTo>
                    <a:pt x="114" y="126"/>
                  </a:lnTo>
                  <a:lnTo>
                    <a:pt x="113" y="126"/>
                  </a:lnTo>
                  <a:lnTo>
                    <a:pt x="113" y="125"/>
                  </a:lnTo>
                  <a:lnTo>
                    <a:pt x="112" y="125"/>
                  </a:lnTo>
                  <a:lnTo>
                    <a:pt x="112" y="126"/>
                  </a:lnTo>
                  <a:lnTo>
                    <a:pt x="112" y="128"/>
                  </a:lnTo>
                  <a:lnTo>
                    <a:pt x="111" y="128"/>
                  </a:lnTo>
                  <a:lnTo>
                    <a:pt x="111" y="129"/>
                  </a:lnTo>
                  <a:lnTo>
                    <a:pt x="109" y="129"/>
                  </a:lnTo>
                  <a:lnTo>
                    <a:pt x="109" y="128"/>
                  </a:lnTo>
                  <a:lnTo>
                    <a:pt x="109" y="129"/>
                  </a:lnTo>
                  <a:lnTo>
                    <a:pt x="108" y="129"/>
                  </a:lnTo>
                  <a:lnTo>
                    <a:pt x="108" y="130"/>
                  </a:lnTo>
                  <a:lnTo>
                    <a:pt x="107" y="130"/>
                  </a:lnTo>
                  <a:lnTo>
                    <a:pt x="106" y="130"/>
                  </a:lnTo>
                  <a:lnTo>
                    <a:pt x="105" y="129"/>
                  </a:lnTo>
                  <a:lnTo>
                    <a:pt x="104" y="128"/>
                  </a:lnTo>
                  <a:lnTo>
                    <a:pt x="102" y="128"/>
                  </a:lnTo>
                  <a:lnTo>
                    <a:pt x="102" y="126"/>
                  </a:lnTo>
                  <a:lnTo>
                    <a:pt x="101" y="125"/>
                  </a:lnTo>
                  <a:lnTo>
                    <a:pt x="101" y="126"/>
                  </a:lnTo>
                  <a:lnTo>
                    <a:pt x="100" y="126"/>
                  </a:lnTo>
                  <a:lnTo>
                    <a:pt x="100" y="128"/>
                  </a:lnTo>
                  <a:lnTo>
                    <a:pt x="101" y="128"/>
                  </a:lnTo>
                  <a:lnTo>
                    <a:pt x="100" y="128"/>
                  </a:lnTo>
                  <a:lnTo>
                    <a:pt x="99" y="128"/>
                  </a:lnTo>
                  <a:lnTo>
                    <a:pt x="98" y="128"/>
                  </a:lnTo>
                  <a:lnTo>
                    <a:pt x="98" y="129"/>
                  </a:lnTo>
                  <a:lnTo>
                    <a:pt x="97" y="129"/>
                  </a:lnTo>
                  <a:lnTo>
                    <a:pt x="95" y="129"/>
                  </a:lnTo>
                  <a:lnTo>
                    <a:pt x="95" y="130"/>
                  </a:lnTo>
                  <a:lnTo>
                    <a:pt x="94" y="129"/>
                  </a:lnTo>
                  <a:lnTo>
                    <a:pt x="94" y="130"/>
                  </a:lnTo>
                  <a:lnTo>
                    <a:pt x="95" y="130"/>
                  </a:lnTo>
                  <a:lnTo>
                    <a:pt x="95" y="131"/>
                  </a:lnTo>
                  <a:lnTo>
                    <a:pt x="95" y="132"/>
                  </a:lnTo>
                  <a:lnTo>
                    <a:pt x="97" y="132"/>
                  </a:lnTo>
                  <a:lnTo>
                    <a:pt x="97" y="133"/>
                  </a:lnTo>
                  <a:lnTo>
                    <a:pt x="98" y="133"/>
                  </a:lnTo>
                  <a:lnTo>
                    <a:pt x="98" y="135"/>
                  </a:lnTo>
                  <a:lnTo>
                    <a:pt x="97" y="135"/>
                  </a:lnTo>
                  <a:lnTo>
                    <a:pt x="97" y="136"/>
                  </a:lnTo>
                  <a:lnTo>
                    <a:pt x="97" y="137"/>
                  </a:lnTo>
                  <a:lnTo>
                    <a:pt x="95" y="136"/>
                  </a:lnTo>
                  <a:lnTo>
                    <a:pt x="94" y="137"/>
                  </a:lnTo>
                  <a:lnTo>
                    <a:pt x="94" y="136"/>
                  </a:lnTo>
                  <a:lnTo>
                    <a:pt x="93" y="135"/>
                  </a:lnTo>
                  <a:lnTo>
                    <a:pt x="92" y="135"/>
                  </a:lnTo>
                  <a:lnTo>
                    <a:pt x="92" y="133"/>
                  </a:lnTo>
                  <a:lnTo>
                    <a:pt x="91" y="133"/>
                  </a:lnTo>
                  <a:lnTo>
                    <a:pt x="90" y="133"/>
                  </a:lnTo>
                  <a:lnTo>
                    <a:pt x="90" y="132"/>
                  </a:lnTo>
                  <a:lnTo>
                    <a:pt x="90" y="133"/>
                  </a:lnTo>
                  <a:lnTo>
                    <a:pt x="90" y="132"/>
                  </a:lnTo>
                  <a:lnTo>
                    <a:pt x="88" y="132"/>
                  </a:lnTo>
                  <a:lnTo>
                    <a:pt x="88" y="133"/>
                  </a:lnTo>
                  <a:lnTo>
                    <a:pt x="87" y="133"/>
                  </a:lnTo>
                  <a:lnTo>
                    <a:pt x="86" y="133"/>
                  </a:lnTo>
                  <a:lnTo>
                    <a:pt x="86" y="132"/>
                  </a:lnTo>
                  <a:lnTo>
                    <a:pt x="85" y="132"/>
                  </a:lnTo>
                  <a:lnTo>
                    <a:pt x="84" y="131"/>
                  </a:lnTo>
                  <a:lnTo>
                    <a:pt x="84" y="130"/>
                  </a:lnTo>
                  <a:lnTo>
                    <a:pt x="85" y="130"/>
                  </a:lnTo>
                  <a:lnTo>
                    <a:pt x="85" y="129"/>
                  </a:lnTo>
                  <a:lnTo>
                    <a:pt x="86" y="129"/>
                  </a:lnTo>
                  <a:lnTo>
                    <a:pt x="87" y="129"/>
                  </a:lnTo>
                  <a:lnTo>
                    <a:pt x="87" y="128"/>
                  </a:lnTo>
                  <a:lnTo>
                    <a:pt x="87" y="126"/>
                  </a:lnTo>
                  <a:lnTo>
                    <a:pt x="87" y="125"/>
                  </a:lnTo>
                  <a:lnTo>
                    <a:pt x="87" y="124"/>
                  </a:lnTo>
                  <a:lnTo>
                    <a:pt x="87" y="123"/>
                  </a:lnTo>
                  <a:lnTo>
                    <a:pt x="87" y="122"/>
                  </a:lnTo>
                  <a:lnTo>
                    <a:pt x="87" y="121"/>
                  </a:lnTo>
                  <a:lnTo>
                    <a:pt x="87" y="119"/>
                  </a:lnTo>
                  <a:lnTo>
                    <a:pt x="88" y="119"/>
                  </a:lnTo>
                  <a:lnTo>
                    <a:pt x="87" y="119"/>
                  </a:lnTo>
                  <a:lnTo>
                    <a:pt x="87" y="118"/>
                  </a:lnTo>
                  <a:lnTo>
                    <a:pt x="86" y="118"/>
                  </a:lnTo>
                  <a:lnTo>
                    <a:pt x="86" y="117"/>
                  </a:lnTo>
                  <a:lnTo>
                    <a:pt x="86" y="116"/>
                  </a:lnTo>
                  <a:lnTo>
                    <a:pt x="87" y="115"/>
                  </a:lnTo>
                  <a:lnTo>
                    <a:pt x="87" y="114"/>
                  </a:lnTo>
                  <a:lnTo>
                    <a:pt x="86" y="114"/>
                  </a:lnTo>
                  <a:lnTo>
                    <a:pt x="87" y="112"/>
                  </a:lnTo>
                  <a:lnTo>
                    <a:pt x="87" y="111"/>
                  </a:lnTo>
                  <a:lnTo>
                    <a:pt x="87" y="110"/>
                  </a:lnTo>
                  <a:lnTo>
                    <a:pt x="87" y="109"/>
                  </a:lnTo>
                  <a:lnTo>
                    <a:pt x="87" y="108"/>
                  </a:lnTo>
                  <a:lnTo>
                    <a:pt x="86" y="108"/>
                  </a:lnTo>
                  <a:lnTo>
                    <a:pt x="86" y="107"/>
                  </a:lnTo>
                  <a:lnTo>
                    <a:pt x="85" y="107"/>
                  </a:lnTo>
                  <a:lnTo>
                    <a:pt x="84" y="107"/>
                  </a:lnTo>
                  <a:lnTo>
                    <a:pt x="84" y="105"/>
                  </a:lnTo>
                  <a:lnTo>
                    <a:pt x="83" y="104"/>
                  </a:lnTo>
                  <a:lnTo>
                    <a:pt x="84" y="104"/>
                  </a:lnTo>
                  <a:lnTo>
                    <a:pt x="84" y="103"/>
                  </a:lnTo>
                  <a:lnTo>
                    <a:pt x="81" y="103"/>
                  </a:lnTo>
                  <a:lnTo>
                    <a:pt x="79" y="102"/>
                  </a:lnTo>
                  <a:lnTo>
                    <a:pt x="78" y="102"/>
                  </a:lnTo>
                  <a:lnTo>
                    <a:pt x="78" y="101"/>
                  </a:lnTo>
                  <a:lnTo>
                    <a:pt x="78" y="100"/>
                  </a:lnTo>
                  <a:lnTo>
                    <a:pt x="78" y="98"/>
                  </a:lnTo>
                  <a:lnTo>
                    <a:pt x="77" y="98"/>
                  </a:lnTo>
                  <a:lnTo>
                    <a:pt x="76" y="98"/>
                  </a:lnTo>
                  <a:lnTo>
                    <a:pt x="76" y="97"/>
                  </a:lnTo>
                  <a:lnTo>
                    <a:pt x="76" y="96"/>
                  </a:lnTo>
                  <a:lnTo>
                    <a:pt x="74" y="96"/>
                  </a:lnTo>
                  <a:lnTo>
                    <a:pt x="73" y="96"/>
                  </a:lnTo>
                  <a:lnTo>
                    <a:pt x="73" y="95"/>
                  </a:lnTo>
                  <a:lnTo>
                    <a:pt x="73" y="94"/>
                  </a:lnTo>
                  <a:lnTo>
                    <a:pt x="73" y="93"/>
                  </a:lnTo>
                  <a:lnTo>
                    <a:pt x="73" y="90"/>
                  </a:lnTo>
                  <a:lnTo>
                    <a:pt x="73" y="89"/>
                  </a:lnTo>
                  <a:lnTo>
                    <a:pt x="72" y="89"/>
                  </a:lnTo>
                  <a:lnTo>
                    <a:pt x="72" y="88"/>
                  </a:lnTo>
                  <a:lnTo>
                    <a:pt x="72" y="87"/>
                  </a:lnTo>
                  <a:lnTo>
                    <a:pt x="73" y="84"/>
                  </a:lnTo>
                  <a:lnTo>
                    <a:pt x="72" y="83"/>
                  </a:lnTo>
                  <a:lnTo>
                    <a:pt x="72" y="82"/>
                  </a:lnTo>
                  <a:lnTo>
                    <a:pt x="72" y="81"/>
                  </a:lnTo>
                  <a:lnTo>
                    <a:pt x="71" y="81"/>
                  </a:lnTo>
                  <a:lnTo>
                    <a:pt x="71" y="80"/>
                  </a:lnTo>
                  <a:lnTo>
                    <a:pt x="70" y="79"/>
                  </a:lnTo>
                  <a:lnTo>
                    <a:pt x="68" y="77"/>
                  </a:lnTo>
                  <a:lnTo>
                    <a:pt x="66" y="77"/>
                  </a:lnTo>
                  <a:lnTo>
                    <a:pt x="66" y="76"/>
                  </a:lnTo>
                  <a:lnTo>
                    <a:pt x="65" y="75"/>
                  </a:lnTo>
                  <a:lnTo>
                    <a:pt x="64" y="74"/>
                  </a:lnTo>
                  <a:lnTo>
                    <a:pt x="63" y="73"/>
                  </a:lnTo>
                  <a:lnTo>
                    <a:pt x="63" y="72"/>
                  </a:lnTo>
                  <a:lnTo>
                    <a:pt x="62" y="70"/>
                  </a:lnTo>
                  <a:lnTo>
                    <a:pt x="61" y="70"/>
                  </a:lnTo>
                  <a:lnTo>
                    <a:pt x="61" y="68"/>
                  </a:lnTo>
                  <a:lnTo>
                    <a:pt x="59" y="67"/>
                  </a:lnTo>
                  <a:lnTo>
                    <a:pt x="58" y="67"/>
                  </a:lnTo>
                  <a:lnTo>
                    <a:pt x="57" y="67"/>
                  </a:lnTo>
                  <a:lnTo>
                    <a:pt x="56" y="67"/>
                  </a:lnTo>
                  <a:lnTo>
                    <a:pt x="56" y="66"/>
                  </a:lnTo>
                  <a:lnTo>
                    <a:pt x="55" y="66"/>
                  </a:lnTo>
                  <a:lnTo>
                    <a:pt x="54" y="66"/>
                  </a:lnTo>
                  <a:lnTo>
                    <a:pt x="52" y="65"/>
                  </a:lnTo>
                  <a:lnTo>
                    <a:pt x="51" y="65"/>
                  </a:lnTo>
                  <a:lnTo>
                    <a:pt x="50" y="65"/>
                  </a:lnTo>
                  <a:lnTo>
                    <a:pt x="49" y="65"/>
                  </a:lnTo>
                  <a:lnTo>
                    <a:pt x="49" y="66"/>
                  </a:lnTo>
                  <a:lnTo>
                    <a:pt x="49" y="67"/>
                  </a:lnTo>
                  <a:lnTo>
                    <a:pt x="49" y="68"/>
                  </a:lnTo>
                  <a:lnTo>
                    <a:pt x="48" y="68"/>
                  </a:lnTo>
                  <a:lnTo>
                    <a:pt x="48" y="69"/>
                  </a:lnTo>
                  <a:lnTo>
                    <a:pt x="47" y="69"/>
                  </a:lnTo>
                  <a:lnTo>
                    <a:pt x="47" y="70"/>
                  </a:lnTo>
                  <a:lnTo>
                    <a:pt x="47" y="72"/>
                  </a:lnTo>
                  <a:lnTo>
                    <a:pt x="45" y="72"/>
                  </a:lnTo>
                  <a:lnTo>
                    <a:pt x="44" y="73"/>
                  </a:lnTo>
                  <a:lnTo>
                    <a:pt x="43" y="73"/>
                  </a:lnTo>
                  <a:lnTo>
                    <a:pt x="43" y="74"/>
                  </a:lnTo>
                  <a:lnTo>
                    <a:pt x="42" y="74"/>
                  </a:lnTo>
                  <a:lnTo>
                    <a:pt x="42" y="75"/>
                  </a:lnTo>
                  <a:lnTo>
                    <a:pt x="41" y="74"/>
                  </a:lnTo>
                  <a:lnTo>
                    <a:pt x="41" y="73"/>
                  </a:lnTo>
                  <a:lnTo>
                    <a:pt x="40" y="73"/>
                  </a:lnTo>
                  <a:lnTo>
                    <a:pt x="38" y="73"/>
                  </a:lnTo>
                  <a:lnTo>
                    <a:pt x="38" y="72"/>
                  </a:lnTo>
                  <a:lnTo>
                    <a:pt x="37" y="72"/>
                  </a:lnTo>
                  <a:lnTo>
                    <a:pt x="36" y="70"/>
                  </a:lnTo>
                  <a:lnTo>
                    <a:pt x="35" y="69"/>
                  </a:lnTo>
                  <a:lnTo>
                    <a:pt x="34" y="69"/>
                  </a:lnTo>
                  <a:lnTo>
                    <a:pt x="34" y="68"/>
                  </a:lnTo>
                  <a:lnTo>
                    <a:pt x="33" y="68"/>
                  </a:lnTo>
                  <a:lnTo>
                    <a:pt x="33" y="69"/>
                  </a:lnTo>
                  <a:lnTo>
                    <a:pt x="30" y="72"/>
                  </a:lnTo>
                  <a:lnTo>
                    <a:pt x="30" y="70"/>
                  </a:lnTo>
                  <a:lnTo>
                    <a:pt x="29" y="70"/>
                  </a:lnTo>
                  <a:lnTo>
                    <a:pt x="29" y="72"/>
                  </a:lnTo>
                  <a:lnTo>
                    <a:pt x="29" y="73"/>
                  </a:lnTo>
                  <a:lnTo>
                    <a:pt x="28" y="74"/>
                  </a:lnTo>
                  <a:lnTo>
                    <a:pt x="27" y="74"/>
                  </a:lnTo>
                  <a:lnTo>
                    <a:pt x="27" y="75"/>
                  </a:lnTo>
                  <a:lnTo>
                    <a:pt x="26" y="75"/>
                  </a:lnTo>
                  <a:lnTo>
                    <a:pt x="26" y="76"/>
                  </a:lnTo>
                  <a:lnTo>
                    <a:pt x="24" y="76"/>
                  </a:lnTo>
                  <a:lnTo>
                    <a:pt x="23" y="79"/>
                  </a:lnTo>
                  <a:lnTo>
                    <a:pt x="22" y="79"/>
                  </a:lnTo>
                  <a:lnTo>
                    <a:pt x="22" y="80"/>
                  </a:lnTo>
                  <a:lnTo>
                    <a:pt x="21" y="80"/>
                  </a:lnTo>
                  <a:lnTo>
                    <a:pt x="20" y="80"/>
                  </a:lnTo>
                  <a:lnTo>
                    <a:pt x="20" y="79"/>
                  </a:lnTo>
                  <a:lnTo>
                    <a:pt x="19" y="79"/>
                  </a:lnTo>
                  <a:lnTo>
                    <a:pt x="17" y="79"/>
                  </a:lnTo>
                  <a:lnTo>
                    <a:pt x="17" y="77"/>
                  </a:lnTo>
                  <a:lnTo>
                    <a:pt x="19" y="77"/>
                  </a:lnTo>
                  <a:lnTo>
                    <a:pt x="19" y="76"/>
                  </a:lnTo>
                  <a:lnTo>
                    <a:pt x="19" y="75"/>
                  </a:lnTo>
                  <a:lnTo>
                    <a:pt x="19" y="74"/>
                  </a:lnTo>
                  <a:lnTo>
                    <a:pt x="20" y="73"/>
                  </a:lnTo>
                  <a:lnTo>
                    <a:pt x="20" y="72"/>
                  </a:lnTo>
                  <a:lnTo>
                    <a:pt x="21" y="72"/>
                  </a:lnTo>
                  <a:lnTo>
                    <a:pt x="21" y="70"/>
                  </a:lnTo>
                  <a:lnTo>
                    <a:pt x="20" y="70"/>
                  </a:lnTo>
                  <a:lnTo>
                    <a:pt x="20" y="69"/>
                  </a:lnTo>
                  <a:lnTo>
                    <a:pt x="20" y="68"/>
                  </a:lnTo>
                  <a:lnTo>
                    <a:pt x="20" y="67"/>
                  </a:lnTo>
                  <a:lnTo>
                    <a:pt x="19" y="66"/>
                  </a:lnTo>
                  <a:lnTo>
                    <a:pt x="17" y="66"/>
                  </a:lnTo>
                  <a:lnTo>
                    <a:pt x="17" y="65"/>
                  </a:lnTo>
                  <a:lnTo>
                    <a:pt x="19" y="65"/>
                  </a:lnTo>
                  <a:lnTo>
                    <a:pt x="19" y="63"/>
                  </a:lnTo>
                  <a:lnTo>
                    <a:pt x="20" y="63"/>
                  </a:lnTo>
                  <a:lnTo>
                    <a:pt x="20" y="62"/>
                  </a:lnTo>
                  <a:lnTo>
                    <a:pt x="20" y="61"/>
                  </a:lnTo>
                  <a:lnTo>
                    <a:pt x="20" y="60"/>
                  </a:lnTo>
                  <a:lnTo>
                    <a:pt x="20" y="59"/>
                  </a:lnTo>
                  <a:lnTo>
                    <a:pt x="20" y="58"/>
                  </a:lnTo>
                  <a:lnTo>
                    <a:pt x="20" y="56"/>
                  </a:lnTo>
                  <a:lnTo>
                    <a:pt x="21" y="55"/>
                  </a:lnTo>
                  <a:lnTo>
                    <a:pt x="20" y="54"/>
                  </a:lnTo>
                  <a:lnTo>
                    <a:pt x="19" y="54"/>
                  </a:lnTo>
                  <a:lnTo>
                    <a:pt x="19" y="53"/>
                  </a:lnTo>
                  <a:lnTo>
                    <a:pt x="19" y="51"/>
                  </a:lnTo>
                  <a:lnTo>
                    <a:pt x="17" y="51"/>
                  </a:lnTo>
                  <a:lnTo>
                    <a:pt x="17" y="49"/>
                  </a:lnTo>
                  <a:lnTo>
                    <a:pt x="17" y="48"/>
                  </a:lnTo>
                  <a:lnTo>
                    <a:pt x="19" y="48"/>
                  </a:lnTo>
                  <a:lnTo>
                    <a:pt x="19" y="47"/>
                  </a:lnTo>
                  <a:lnTo>
                    <a:pt x="17" y="47"/>
                  </a:lnTo>
                  <a:lnTo>
                    <a:pt x="16" y="47"/>
                  </a:lnTo>
                  <a:lnTo>
                    <a:pt x="15" y="47"/>
                  </a:lnTo>
                  <a:lnTo>
                    <a:pt x="15" y="46"/>
                  </a:lnTo>
                  <a:lnTo>
                    <a:pt x="14" y="46"/>
                  </a:lnTo>
                  <a:lnTo>
                    <a:pt x="13" y="46"/>
                  </a:lnTo>
                  <a:lnTo>
                    <a:pt x="13" y="47"/>
                  </a:lnTo>
                  <a:lnTo>
                    <a:pt x="12" y="47"/>
                  </a:lnTo>
                  <a:lnTo>
                    <a:pt x="12" y="48"/>
                  </a:lnTo>
                  <a:lnTo>
                    <a:pt x="10" y="48"/>
                  </a:lnTo>
                  <a:lnTo>
                    <a:pt x="9" y="47"/>
                  </a:lnTo>
                  <a:lnTo>
                    <a:pt x="9" y="48"/>
                  </a:lnTo>
                  <a:lnTo>
                    <a:pt x="8" y="48"/>
                  </a:lnTo>
                  <a:lnTo>
                    <a:pt x="8" y="47"/>
                  </a:lnTo>
                  <a:lnTo>
                    <a:pt x="7" y="47"/>
                  </a:lnTo>
                  <a:lnTo>
                    <a:pt x="7" y="46"/>
                  </a:lnTo>
                  <a:lnTo>
                    <a:pt x="6" y="45"/>
                  </a:lnTo>
                  <a:lnTo>
                    <a:pt x="6" y="44"/>
                  </a:lnTo>
                  <a:lnTo>
                    <a:pt x="6" y="42"/>
                  </a:lnTo>
                  <a:lnTo>
                    <a:pt x="7" y="42"/>
                  </a:lnTo>
                  <a:lnTo>
                    <a:pt x="7" y="41"/>
                  </a:lnTo>
                  <a:lnTo>
                    <a:pt x="7" y="40"/>
                  </a:lnTo>
                  <a:lnTo>
                    <a:pt x="7" y="39"/>
                  </a:lnTo>
                  <a:lnTo>
                    <a:pt x="7" y="38"/>
                  </a:lnTo>
                  <a:lnTo>
                    <a:pt x="6" y="38"/>
                  </a:lnTo>
                  <a:lnTo>
                    <a:pt x="6" y="37"/>
                  </a:lnTo>
                  <a:lnTo>
                    <a:pt x="5" y="37"/>
                  </a:lnTo>
                  <a:lnTo>
                    <a:pt x="5" y="34"/>
                  </a:lnTo>
                  <a:lnTo>
                    <a:pt x="4" y="34"/>
                  </a:lnTo>
                  <a:lnTo>
                    <a:pt x="2" y="34"/>
                  </a:lnTo>
                  <a:lnTo>
                    <a:pt x="2" y="35"/>
                  </a:lnTo>
                  <a:lnTo>
                    <a:pt x="1" y="35"/>
                  </a:lnTo>
                  <a:lnTo>
                    <a:pt x="1" y="37"/>
                  </a:lnTo>
                  <a:lnTo>
                    <a:pt x="1" y="35"/>
                  </a:lnTo>
                  <a:lnTo>
                    <a:pt x="0" y="35"/>
                  </a:lnTo>
                  <a:lnTo>
                    <a:pt x="0" y="34"/>
                  </a:lnTo>
                  <a:lnTo>
                    <a:pt x="1" y="34"/>
                  </a:lnTo>
                  <a:lnTo>
                    <a:pt x="1" y="33"/>
                  </a:lnTo>
                  <a:lnTo>
                    <a:pt x="1" y="32"/>
                  </a:lnTo>
                  <a:lnTo>
                    <a:pt x="1" y="31"/>
                  </a:lnTo>
                  <a:lnTo>
                    <a:pt x="1" y="30"/>
                  </a:lnTo>
                  <a:lnTo>
                    <a:pt x="1" y="28"/>
                  </a:lnTo>
                  <a:lnTo>
                    <a:pt x="2" y="28"/>
                  </a:lnTo>
                  <a:lnTo>
                    <a:pt x="2" y="27"/>
                  </a:lnTo>
                  <a:lnTo>
                    <a:pt x="4" y="27"/>
                  </a:lnTo>
                  <a:lnTo>
                    <a:pt x="5" y="27"/>
                  </a:lnTo>
                  <a:lnTo>
                    <a:pt x="6" y="27"/>
                  </a:lnTo>
                  <a:lnTo>
                    <a:pt x="7" y="26"/>
                  </a:lnTo>
                  <a:lnTo>
                    <a:pt x="6" y="26"/>
                  </a:lnTo>
                  <a:lnTo>
                    <a:pt x="5" y="26"/>
                  </a:lnTo>
                  <a:lnTo>
                    <a:pt x="5" y="25"/>
                  </a:lnTo>
                  <a:lnTo>
                    <a:pt x="5" y="24"/>
                  </a:lnTo>
                  <a:lnTo>
                    <a:pt x="6" y="24"/>
                  </a:lnTo>
                  <a:lnTo>
                    <a:pt x="6" y="23"/>
                  </a:lnTo>
                  <a:lnTo>
                    <a:pt x="7" y="21"/>
                  </a:lnTo>
                  <a:lnTo>
                    <a:pt x="7" y="20"/>
                  </a:lnTo>
                  <a:lnTo>
                    <a:pt x="7" y="19"/>
                  </a:lnTo>
                  <a:lnTo>
                    <a:pt x="8" y="19"/>
                  </a:lnTo>
                  <a:lnTo>
                    <a:pt x="9" y="19"/>
                  </a:lnTo>
                  <a:lnTo>
                    <a:pt x="10" y="18"/>
                  </a:lnTo>
                  <a:lnTo>
                    <a:pt x="12" y="16"/>
                  </a:lnTo>
                  <a:lnTo>
                    <a:pt x="13" y="16"/>
                  </a:lnTo>
                  <a:lnTo>
                    <a:pt x="13" y="17"/>
                  </a:lnTo>
                  <a:lnTo>
                    <a:pt x="13" y="18"/>
                  </a:lnTo>
                  <a:lnTo>
                    <a:pt x="14" y="18"/>
                  </a:lnTo>
                  <a:lnTo>
                    <a:pt x="14" y="19"/>
                  </a:lnTo>
                  <a:lnTo>
                    <a:pt x="13" y="19"/>
                  </a:lnTo>
                  <a:lnTo>
                    <a:pt x="14" y="19"/>
                  </a:lnTo>
                  <a:lnTo>
                    <a:pt x="14" y="20"/>
                  </a:lnTo>
                  <a:lnTo>
                    <a:pt x="14" y="21"/>
                  </a:lnTo>
                  <a:lnTo>
                    <a:pt x="15" y="21"/>
                  </a:lnTo>
                  <a:lnTo>
                    <a:pt x="15" y="20"/>
                  </a:lnTo>
                  <a:lnTo>
                    <a:pt x="16" y="20"/>
                  </a:lnTo>
                  <a:lnTo>
                    <a:pt x="17" y="20"/>
                  </a:lnTo>
                  <a:lnTo>
                    <a:pt x="19" y="20"/>
                  </a:lnTo>
                  <a:lnTo>
                    <a:pt x="19" y="21"/>
                  </a:lnTo>
                  <a:lnTo>
                    <a:pt x="20" y="21"/>
                  </a:lnTo>
                  <a:lnTo>
                    <a:pt x="21" y="23"/>
                  </a:lnTo>
                  <a:lnTo>
                    <a:pt x="21" y="21"/>
                  </a:lnTo>
                  <a:lnTo>
                    <a:pt x="22" y="21"/>
                  </a:lnTo>
                  <a:lnTo>
                    <a:pt x="22" y="20"/>
                  </a:lnTo>
                  <a:lnTo>
                    <a:pt x="21" y="20"/>
                  </a:lnTo>
                  <a:lnTo>
                    <a:pt x="21" y="19"/>
                  </a:lnTo>
                  <a:lnTo>
                    <a:pt x="20" y="19"/>
                  </a:lnTo>
                  <a:lnTo>
                    <a:pt x="20" y="18"/>
                  </a:lnTo>
                  <a:lnTo>
                    <a:pt x="20" y="17"/>
                  </a:lnTo>
                  <a:lnTo>
                    <a:pt x="20" y="16"/>
                  </a:lnTo>
                  <a:lnTo>
                    <a:pt x="21" y="14"/>
                  </a:lnTo>
                  <a:lnTo>
                    <a:pt x="20" y="14"/>
                  </a:lnTo>
                  <a:lnTo>
                    <a:pt x="20" y="13"/>
                  </a:lnTo>
                  <a:lnTo>
                    <a:pt x="20" y="12"/>
                  </a:lnTo>
                  <a:lnTo>
                    <a:pt x="20" y="11"/>
                  </a:lnTo>
                  <a:lnTo>
                    <a:pt x="19" y="11"/>
                  </a:lnTo>
                  <a:lnTo>
                    <a:pt x="19" y="10"/>
                  </a:lnTo>
                  <a:lnTo>
                    <a:pt x="17" y="10"/>
                  </a:lnTo>
                  <a:lnTo>
                    <a:pt x="17" y="9"/>
                  </a:lnTo>
                  <a:lnTo>
                    <a:pt x="16" y="7"/>
                  </a:lnTo>
                  <a:lnTo>
                    <a:pt x="16" y="6"/>
                  </a:lnTo>
                  <a:lnTo>
                    <a:pt x="16" y="5"/>
                  </a:lnTo>
                  <a:lnTo>
                    <a:pt x="15" y="5"/>
                  </a:lnTo>
                  <a:lnTo>
                    <a:pt x="15" y="4"/>
                  </a:lnTo>
                  <a:lnTo>
                    <a:pt x="16" y="4"/>
                  </a:lnTo>
                  <a:lnTo>
                    <a:pt x="16" y="3"/>
                  </a:lnTo>
                  <a:lnTo>
                    <a:pt x="16" y="2"/>
                  </a:lnTo>
                  <a:lnTo>
                    <a:pt x="17" y="0"/>
                  </a:lnTo>
                  <a:lnTo>
                    <a:pt x="19" y="0"/>
                  </a:lnTo>
                  <a:lnTo>
                    <a:pt x="19" y="2"/>
                  </a:lnTo>
                  <a:lnTo>
                    <a:pt x="20" y="3"/>
                  </a:lnTo>
                  <a:lnTo>
                    <a:pt x="20" y="2"/>
                  </a:lnTo>
                  <a:lnTo>
                    <a:pt x="21" y="2"/>
                  </a:lnTo>
                  <a:lnTo>
                    <a:pt x="22" y="2"/>
                  </a:lnTo>
                  <a:lnTo>
                    <a:pt x="23"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73" name="Freeform 929">
              <a:extLst>
                <a:ext uri="{FF2B5EF4-FFF2-40B4-BE49-F238E27FC236}">
                  <a16:creationId xmlns:a16="http://schemas.microsoft.com/office/drawing/2014/main" id="{E3D60983-2579-4A41-A070-734E45711AF4}"/>
                </a:ext>
              </a:extLst>
            </p:cNvPr>
            <p:cNvSpPr>
              <a:spLocks/>
            </p:cNvSpPr>
            <p:nvPr/>
          </p:nvSpPr>
          <p:spPr bwMode="auto">
            <a:xfrm>
              <a:off x="6427430" y="2615345"/>
              <a:ext cx="24039" cy="34723"/>
            </a:xfrm>
            <a:custGeom>
              <a:avLst/>
              <a:gdLst>
                <a:gd name="T0" fmla="*/ 8 w 18"/>
                <a:gd name="T1" fmla="*/ 21 h 26"/>
                <a:gd name="T2" fmla="*/ 7 w 18"/>
                <a:gd name="T3" fmla="*/ 22 h 26"/>
                <a:gd name="T4" fmla="*/ 7 w 18"/>
                <a:gd name="T5" fmla="*/ 22 h 26"/>
                <a:gd name="T6" fmla="*/ 7 w 18"/>
                <a:gd name="T7" fmla="*/ 22 h 26"/>
                <a:gd name="T8" fmla="*/ 6 w 18"/>
                <a:gd name="T9" fmla="*/ 22 h 26"/>
                <a:gd name="T10" fmla="*/ 6 w 18"/>
                <a:gd name="T11" fmla="*/ 23 h 26"/>
                <a:gd name="T12" fmla="*/ 6 w 18"/>
                <a:gd name="T13" fmla="*/ 25 h 26"/>
                <a:gd name="T14" fmla="*/ 3 w 18"/>
                <a:gd name="T15" fmla="*/ 26 h 26"/>
                <a:gd name="T16" fmla="*/ 2 w 18"/>
                <a:gd name="T17" fmla="*/ 25 h 26"/>
                <a:gd name="T18" fmla="*/ 2 w 18"/>
                <a:gd name="T19" fmla="*/ 25 h 26"/>
                <a:gd name="T20" fmla="*/ 0 w 18"/>
                <a:gd name="T21" fmla="*/ 25 h 26"/>
                <a:gd name="T22" fmla="*/ 0 w 18"/>
                <a:gd name="T23" fmla="*/ 25 h 26"/>
                <a:gd name="T24" fmla="*/ 1 w 18"/>
                <a:gd name="T25" fmla="*/ 25 h 26"/>
                <a:gd name="T26" fmla="*/ 1 w 18"/>
                <a:gd name="T27" fmla="*/ 23 h 26"/>
                <a:gd name="T28" fmla="*/ 1 w 18"/>
                <a:gd name="T29" fmla="*/ 22 h 26"/>
                <a:gd name="T30" fmla="*/ 2 w 18"/>
                <a:gd name="T31" fmla="*/ 20 h 26"/>
                <a:gd name="T32" fmla="*/ 3 w 18"/>
                <a:gd name="T33" fmla="*/ 19 h 26"/>
                <a:gd name="T34" fmla="*/ 3 w 18"/>
                <a:gd name="T35" fmla="*/ 16 h 26"/>
                <a:gd name="T36" fmla="*/ 4 w 18"/>
                <a:gd name="T37" fmla="*/ 13 h 26"/>
                <a:gd name="T38" fmla="*/ 3 w 18"/>
                <a:gd name="T39" fmla="*/ 12 h 26"/>
                <a:gd name="T40" fmla="*/ 4 w 18"/>
                <a:gd name="T41" fmla="*/ 12 h 26"/>
                <a:gd name="T42" fmla="*/ 4 w 18"/>
                <a:gd name="T43" fmla="*/ 12 h 26"/>
                <a:gd name="T44" fmla="*/ 6 w 18"/>
                <a:gd name="T45" fmla="*/ 12 h 26"/>
                <a:gd name="T46" fmla="*/ 6 w 18"/>
                <a:gd name="T47" fmla="*/ 11 h 26"/>
                <a:gd name="T48" fmla="*/ 6 w 18"/>
                <a:gd name="T49" fmla="*/ 11 h 26"/>
                <a:gd name="T50" fmla="*/ 6 w 18"/>
                <a:gd name="T51" fmla="*/ 8 h 26"/>
                <a:gd name="T52" fmla="*/ 6 w 18"/>
                <a:gd name="T53" fmla="*/ 7 h 26"/>
                <a:gd name="T54" fmla="*/ 6 w 18"/>
                <a:gd name="T55" fmla="*/ 6 h 26"/>
                <a:gd name="T56" fmla="*/ 7 w 18"/>
                <a:gd name="T57" fmla="*/ 4 h 26"/>
                <a:gd name="T58" fmla="*/ 8 w 18"/>
                <a:gd name="T59" fmla="*/ 4 h 26"/>
                <a:gd name="T60" fmla="*/ 9 w 18"/>
                <a:gd name="T61" fmla="*/ 1 h 26"/>
                <a:gd name="T62" fmla="*/ 9 w 18"/>
                <a:gd name="T63" fmla="*/ 0 h 26"/>
                <a:gd name="T64" fmla="*/ 10 w 18"/>
                <a:gd name="T65" fmla="*/ 1 h 26"/>
                <a:gd name="T66" fmla="*/ 11 w 18"/>
                <a:gd name="T67" fmla="*/ 0 h 26"/>
                <a:gd name="T68" fmla="*/ 13 w 18"/>
                <a:gd name="T69" fmla="*/ 1 h 26"/>
                <a:gd name="T70" fmla="*/ 13 w 18"/>
                <a:gd name="T71" fmla="*/ 0 h 26"/>
                <a:gd name="T72" fmla="*/ 15 w 18"/>
                <a:gd name="T73" fmla="*/ 1 h 26"/>
                <a:gd name="T74" fmla="*/ 15 w 18"/>
                <a:gd name="T75" fmla="*/ 1 h 26"/>
                <a:gd name="T76" fmla="*/ 15 w 18"/>
                <a:gd name="T77" fmla="*/ 2 h 26"/>
                <a:gd name="T78" fmla="*/ 14 w 18"/>
                <a:gd name="T79" fmla="*/ 2 h 26"/>
                <a:gd name="T80" fmla="*/ 14 w 18"/>
                <a:gd name="T81" fmla="*/ 2 h 26"/>
                <a:gd name="T82" fmla="*/ 15 w 18"/>
                <a:gd name="T83" fmla="*/ 4 h 26"/>
                <a:gd name="T84" fmla="*/ 16 w 18"/>
                <a:gd name="T85" fmla="*/ 4 h 26"/>
                <a:gd name="T86" fmla="*/ 17 w 18"/>
                <a:gd name="T87" fmla="*/ 5 h 26"/>
                <a:gd name="T88" fmla="*/ 16 w 18"/>
                <a:gd name="T89" fmla="*/ 5 h 26"/>
                <a:gd name="T90" fmla="*/ 17 w 18"/>
                <a:gd name="T91" fmla="*/ 6 h 26"/>
                <a:gd name="T92" fmla="*/ 17 w 18"/>
                <a:gd name="T93" fmla="*/ 6 h 26"/>
                <a:gd name="T94" fmla="*/ 18 w 18"/>
                <a:gd name="T95" fmla="*/ 7 h 26"/>
                <a:gd name="T96" fmla="*/ 17 w 18"/>
                <a:gd name="T97" fmla="*/ 9 h 26"/>
                <a:gd name="T98" fmla="*/ 16 w 18"/>
                <a:gd name="T99" fmla="*/ 9 h 26"/>
                <a:gd name="T100" fmla="*/ 15 w 18"/>
                <a:gd name="T101" fmla="*/ 12 h 26"/>
                <a:gd name="T102" fmla="*/ 15 w 18"/>
                <a:gd name="T103" fmla="*/ 13 h 26"/>
                <a:gd name="T104" fmla="*/ 16 w 18"/>
                <a:gd name="T105" fmla="*/ 13 h 26"/>
                <a:gd name="T106" fmla="*/ 14 w 18"/>
                <a:gd name="T107" fmla="*/ 13 h 26"/>
                <a:gd name="T108" fmla="*/ 13 w 18"/>
                <a:gd name="T109" fmla="*/ 13 h 26"/>
                <a:gd name="T110" fmla="*/ 11 w 18"/>
                <a:gd name="T111" fmla="*/ 14 h 26"/>
                <a:gd name="T112" fmla="*/ 10 w 18"/>
                <a:gd name="T113" fmla="*/ 15 h 26"/>
                <a:gd name="T114" fmla="*/ 10 w 18"/>
                <a:gd name="T115" fmla="*/ 15 h 26"/>
                <a:gd name="T116" fmla="*/ 10 w 18"/>
                <a:gd name="T117" fmla="*/ 16 h 26"/>
                <a:gd name="T118" fmla="*/ 11 w 18"/>
                <a:gd name="T119" fmla="*/ 18 h 26"/>
                <a:gd name="T120" fmla="*/ 11 w 18"/>
                <a:gd name="T121" fmla="*/ 18 h 26"/>
                <a:gd name="T122" fmla="*/ 10 w 18"/>
                <a:gd name="T123" fmla="*/ 1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 h="26">
                  <a:moveTo>
                    <a:pt x="9" y="20"/>
                  </a:moveTo>
                  <a:lnTo>
                    <a:pt x="9" y="20"/>
                  </a:lnTo>
                  <a:lnTo>
                    <a:pt x="9" y="21"/>
                  </a:lnTo>
                  <a:lnTo>
                    <a:pt x="9" y="21"/>
                  </a:lnTo>
                  <a:lnTo>
                    <a:pt x="8" y="21"/>
                  </a:lnTo>
                  <a:lnTo>
                    <a:pt x="8" y="21"/>
                  </a:lnTo>
                  <a:lnTo>
                    <a:pt x="8" y="21"/>
                  </a:lnTo>
                  <a:lnTo>
                    <a:pt x="8" y="21"/>
                  </a:lnTo>
                  <a:lnTo>
                    <a:pt x="8" y="21"/>
                  </a:lnTo>
                  <a:lnTo>
                    <a:pt x="7" y="22"/>
                  </a:lnTo>
                  <a:lnTo>
                    <a:pt x="7" y="22"/>
                  </a:lnTo>
                  <a:lnTo>
                    <a:pt x="7" y="22"/>
                  </a:lnTo>
                  <a:lnTo>
                    <a:pt x="7" y="22"/>
                  </a:lnTo>
                  <a:lnTo>
                    <a:pt x="7" y="22"/>
                  </a:lnTo>
                  <a:lnTo>
                    <a:pt x="7" y="22"/>
                  </a:lnTo>
                  <a:lnTo>
                    <a:pt x="7" y="22"/>
                  </a:lnTo>
                  <a:lnTo>
                    <a:pt x="7" y="22"/>
                  </a:lnTo>
                  <a:lnTo>
                    <a:pt x="7" y="22"/>
                  </a:lnTo>
                  <a:lnTo>
                    <a:pt x="7" y="22"/>
                  </a:lnTo>
                  <a:lnTo>
                    <a:pt x="7" y="22"/>
                  </a:lnTo>
                  <a:lnTo>
                    <a:pt x="7" y="22"/>
                  </a:lnTo>
                  <a:lnTo>
                    <a:pt x="7" y="22"/>
                  </a:lnTo>
                  <a:lnTo>
                    <a:pt x="7" y="22"/>
                  </a:lnTo>
                  <a:lnTo>
                    <a:pt x="6" y="22"/>
                  </a:lnTo>
                  <a:lnTo>
                    <a:pt x="6" y="22"/>
                  </a:lnTo>
                  <a:lnTo>
                    <a:pt x="6" y="22"/>
                  </a:lnTo>
                  <a:lnTo>
                    <a:pt x="6" y="22"/>
                  </a:lnTo>
                  <a:lnTo>
                    <a:pt x="6" y="22"/>
                  </a:lnTo>
                  <a:lnTo>
                    <a:pt x="6" y="22"/>
                  </a:lnTo>
                  <a:lnTo>
                    <a:pt x="6" y="23"/>
                  </a:lnTo>
                  <a:lnTo>
                    <a:pt x="6" y="23"/>
                  </a:lnTo>
                  <a:lnTo>
                    <a:pt x="6" y="25"/>
                  </a:lnTo>
                  <a:lnTo>
                    <a:pt x="6" y="25"/>
                  </a:lnTo>
                  <a:lnTo>
                    <a:pt x="6" y="25"/>
                  </a:lnTo>
                  <a:lnTo>
                    <a:pt x="6" y="25"/>
                  </a:lnTo>
                  <a:lnTo>
                    <a:pt x="4" y="25"/>
                  </a:lnTo>
                  <a:lnTo>
                    <a:pt x="4" y="26"/>
                  </a:lnTo>
                  <a:lnTo>
                    <a:pt x="3" y="26"/>
                  </a:lnTo>
                  <a:lnTo>
                    <a:pt x="3" y="26"/>
                  </a:lnTo>
                  <a:lnTo>
                    <a:pt x="3" y="26"/>
                  </a:lnTo>
                  <a:lnTo>
                    <a:pt x="3" y="26"/>
                  </a:lnTo>
                  <a:lnTo>
                    <a:pt x="3" y="25"/>
                  </a:lnTo>
                  <a:lnTo>
                    <a:pt x="3" y="25"/>
                  </a:lnTo>
                  <a:lnTo>
                    <a:pt x="2" y="25"/>
                  </a:lnTo>
                  <a:lnTo>
                    <a:pt x="2" y="25"/>
                  </a:lnTo>
                  <a:lnTo>
                    <a:pt x="2" y="25"/>
                  </a:lnTo>
                  <a:lnTo>
                    <a:pt x="2" y="25"/>
                  </a:lnTo>
                  <a:lnTo>
                    <a:pt x="2" y="25"/>
                  </a:lnTo>
                  <a:lnTo>
                    <a:pt x="2" y="25"/>
                  </a:lnTo>
                  <a:lnTo>
                    <a:pt x="2" y="25"/>
                  </a:lnTo>
                  <a:lnTo>
                    <a:pt x="1" y="25"/>
                  </a:lnTo>
                  <a:lnTo>
                    <a:pt x="1" y="25"/>
                  </a:lnTo>
                  <a:lnTo>
                    <a:pt x="1" y="25"/>
                  </a:lnTo>
                  <a:lnTo>
                    <a:pt x="0" y="25"/>
                  </a:lnTo>
                  <a:lnTo>
                    <a:pt x="0" y="25"/>
                  </a:lnTo>
                  <a:lnTo>
                    <a:pt x="0" y="25"/>
                  </a:lnTo>
                  <a:lnTo>
                    <a:pt x="0" y="25"/>
                  </a:lnTo>
                  <a:lnTo>
                    <a:pt x="0" y="25"/>
                  </a:lnTo>
                  <a:lnTo>
                    <a:pt x="0" y="25"/>
                  </a:lnTo>
                  <a:lnTo>
                    <a:pt x="0" y="25"/>
                  </a:lnTo>
                  <a:lnTo>
                    <a:pt x="0" y="25"/>
                  </a:lnTo>
                  <a:lnTo>
                    <a:pt x="0" y="25"/>
                  </a:lnTo>
                  <a:lnTo>
                    <a:pt x="1" y="25"/>
                  </a:lnTo>
                  <a:lnTo>
                    <a:pt x="1" y="25"/>
                  </a:lnTo>
                  <a:lnTo>
                    <a:pt x="1" y="25"/>
                  </a:lnTo>
                  <a:lnTo>
                    <a:pt x="1" y="23"/>
                  </a:lnTo>
                  <a:lnTo>
                    <a:pt x="1" y="23"/>
                  </a:lnTo>
                  <a:lnTo>
                    <a:pt x="1" y="23"/>
                  </a:lnTo>
                  <a:lnTo>
                    <a:pt x="1" y="23"/>
                  </a:lnTo>
                  <a:lnTo>
                    <a:pt x="1" y="23"/>
                  </a:lnTo>
                  <a:lnTo>
                    <a:pt x="1" y="23"/>
                  </a:lnTo>
                  <a:lnTo>
                    <a:pt x="1" y="23"/>
                  </a:lnTo>
                  <a:lnTo>
                    <a:pt x="1" y="22"/>
                  </a:lnTo>
                  <a:lnTo>
                    <a:pt x="1" y="22"/>
                  </a:lnTo>
                  <a:lnTo>
                    <a:pt x="1" y="22"/>
                  </a:lnTo>
                  <a:lnTo>
                    <a:pt x="1" y="21"/>
                  </a:lnTo>
                  <a:lnTo>
                    <a:pt x="2" y="21"/>
                  </a:lnTo>
                  <a:lnTo>
                    <a:pt x="2" y="21"/>
                  </a:lnTo>
                  <a:lnTo>
                    <a:pt x="2" y="20"/>
                  </a:lnTo>
                  <a:lnTo>
                    <a:pt x="2" y="20"/>
                  </a:lnTo>
                  <a:lnTo>
                    <a:pt x="2" y="20"/>
                  </a:lnTo>
                  <a:lnTo>
                    <a:pt x="2" y="20"/>
                  </a:lnTo>
                  <a:lnTo>
                    <a:pt x="2" y="19"/>
                  </a:lnTo>
                  <a:lnTo>
                    <a:pt x="2" y="19"/>
                  </a:lnTo>
                  <a:lnTo>
                    <a:pt x="3" y="19"/>
                  </a:lnTo>
                  <a:lnTo>
                    <a:pt x="3" y="18"/>
                  </a:lnTo>
                  <a:lnTo>
                    <a:pt x="3" y="18"/>
                  </a:lnTo>
                  <a:lnTo>
                    <a:pt x="3" y="16"/>
                  </a:lnTo>
                  <a:lnTo>
                    <a:pt x="3" y="16"/>
                  </a:lnTo>
                  <a:lnTo>
                    <a:pt x="3" y="16"/>
                  </a:lnTo>
                  <a:lnTo>
                    <a:pt x="3" y="15"/>
                  </a:lnTo>
                  <a:lnTo>
                    <a:pt x="3" y="15"/>
                  </a:lnTo>
                  <a:lnTo>
                    <a:pt x="3" y="15"/>
                  </a:lnTo>
                  <a:lnTo>
                    <a:pt x="4" y="14"/>
                  </a:lnTo>
                  <a:lnTo>
                    <a:pt x="4" y="13"/>
                  </a:lnTo>
                  <a:lnTo>
                    <a:pt x="4" y="13"/>
                  </a:lnTo>
                  <a:lnTo>
                    <a:pt x="4" y="13"/>
                  </a:lnTo>
                  <a:lnTo>
                    <a:pt x="3" y="13"/>
                  </a:lnTo>
                  <a:lnTo>
                    <a:pt x="3" y="12"/>
                  </a:lnTo>
                  <a:lnTo>
                    <a:pt x="3" y="12"/>
                  </a:lnTo>
                  <a:lnTo>
                    <a:pt x="3" y="12"/>
                  </a:lnTo>
                  <a:lnTo>
                    <a:pt x="3" y="12"/>
                  </a:lnTo>
                  <a:lnTo>
                    <a:pt x="4" y="12"/>
                  </a:lnTo>
                  <a:lnTo>
                    <a:pt x="4" y="12"/>
                  </a:lnTo>
                  <a:lnTo>
                    <a:pt x="4" y="12"/>
                  </a:lnTo>
                  <a:lnTo>
                    <a:pt x="4" y="12"/>
                  </a:lnTo>
                  <a:lnTo>
                    <a:pt x="4" y="12"/>
                  </a:lnTo>
                  <a:lnTo>
                    <a:pt x="4" y="12"/>
                  </a:lnTo>
                  <a:lnTo>
                    <a:pt x="4" y="12"/>
                  </a:lnTo>
                  <a:lnTo>
                    <a:pt x="4" y="12"/>
                  </a:lnTo>
                  <a:lnTo>
                    <a:pt x="6" y="12"/>
                  </a:lnTo>
                  <a:lnTo>
                    <a:pt x="6" y="12"/>
                  </a:lnTo>
                  <a:lnTo>
                    <a:pt x="6" y="12"/>
                  </a:lnTo>
                  <a:lnTo>
                    <a:pt x="6" y="12"/>
                  </a:lnTo>
                  <a:lnTo>
                    <a:pt x="6" y="12"/>
                  </a:lnTo>
                  <a:lnTo>
                    <a:pt x="6" y="12"/>
                  </a:lnTo>
                  <a:lnTo>
                    <a:pt x="6" y="12"/>
                  </a:lnTo>
                  <a:lnTo>
                    <a:pt x="6" y="11"/>
                  </a:lnTo>
                  <a:lnTo>
                    <a:pt x="6" y="11"/>
                  </a:lnTo>
                  <a:lnTo>
                    <a:pt x="6" y="11"/>
                  </a:lnTo>
                  <a:lnTo>
                    <a:pt x="6" y="11"/>
                  </a:lnTo>
                  <a:lnTo>
                    <a:pt x="6" y="11"/>
                  </a:lnTo>
                  <a:lnTo>
                    <a:pt x="6" y="11"/>
                  </a:lnTo>
                  <a:lnTo>
                    <a:pt x="6" y="11"/>
                  </a:lnTo>
                  <a:lnTo>
                    <a:pt x="6" y="11"/>
                  </a:lnTo>
                  <a:lnTo>
                    <a:pt x="6" y="11"/>
                  </a:lnTo>
                  <a:lnTo>
                    <a:pt x="6" y="9"/>
                  </a:lnTo>
                  <a:lnTo>
                    <a:pt x="6" y="9"/>
                  </a:lnTo>
                  <a:lnTo>
                    <a:pt x="6" y="8"/>
                  </a:lnTo>
                  <a:lnTo>
                    <a:pt x="6" y="8"/>
                  </a:lnTo>
                  <a:lnTo>
                    <a:pt x="6" y="8"/>
                  </a:lnTo>
                  <a:lnTo>
                    <a:pt x="6" y="8"/>
                  </a:lnTo>
                  <a:lnTo>
                    <a:pt x="6" y="7"/>
                  </a:lnTo>
                  <a:lnTo>
                    <a:pt x="6" y="7"/>
                  </a:lnTo>
                  <a:lnTo>
                    <a:pt x="6" y="7"/>
                  </a:lnTo>
                  <a:lnTo>
                    <a:pt x="6" y="7"/>
                  </a:lnTo>
                  <a:lnTo>
                    <a:pt x="6" y="7"/>
                  </a:lnTo>
                  <a:lnTo>
                    <a:pt x="6" y="6"/>
                  </a:lnTo>
                  <a:lnTo>
                    <a:pt x="6" y="6"/>
                  </a:lnTo>
                  <a:lnTo>
                    <a:pt x="6" y="6"/>
                  </a:lnTo>
                  <a:lnTo>
                    <a:pt x="6" y="6"/>
                  </a:lnTo>
                  <a:lnTo>
                    <a:pt x="6" y="5"/>
                  </a:lnTo>
                  <a:lnTo>
                    <a:pt x="7" y="5"/>
                  </a:lnTo>
                  <a:lnTo>
                    <a:pt x="7" y="5"/>
                  </a:lnTo>
                  <a:lnTo>
                    <a:pt x="7" y="4"/>
                  </a:lnTo>
                  <a:lnTo>
                    <a:pt x="7" y="4"/>
                  </a:lnTo>
                  <a:lnTo>
                    <a:pt x="7" y="4"/>
                  </a:lnTo>
                  <a:lnTo>
                    <a:pt x="7" y="4"/>
                  </a:lnTo>
                  <a:lnTo>
                    <a:pt x="7" y="4"/>
                  </a:lnTo>
                  <a:lnTo>
                    <a:pt x="8" y="4"/>
                  </a:lnTo>
                  <a:lnTo>
                    <a:pt x="9" y="2"/>
                  </a:lnTo>
                  <a:lnTo>
                    <a:pt x="9" y="2"/>
                  </a:lnTo>
                  <a:lnTo>
                    <a:pt x="9" y="2"/>
                  </a:lnTo>
                  <a:lnTo>
                    <a:pt x="9" y="2"/>
                  </a:lnTo>
                  <a:lnTo>
                    <a:pt x="9" y="1"/>
                  </a:lnTo>
                  <a:lnTo>
                    <a:pt x="9" y="1"/>
                  </a:lnTo>
                  <a:lnTo>
                    <a:pt x="9" y="0"/>
                  </a:lnTo>
                  <a:lnTo>
                    <a:pt x="9" y="0"/>
                  </a:lnTo>
                  <a:lnTo>
                    <a:pt x="9" y="0"/>
                  </a:lnTo>
                  <a:lnTo>
                    <a:pt x="9" y="0"/>
                  </a:lnTo>
                  <a:lnTo>
                    <a:pt x="9" y="0"/>
                  </a:lnTo>
                  <a:lnTo>
                    <a:pt x="9" y="0"/>
                  </a:lnTo>
                  <a:lnTo>
                    <a:pt x="9" y="0"/>
                  </a:lnTo>
                  <a:lnTo>
                    <a:pt x="10" y="1"/>
                  </a:lnTo>
                  <a:lnTo>
                    <a:pt x="10" y="1"/>
                  </a:lnTo>
                  <a:lnTo>
                    <a:pt x="10" y="0"/>
                  </a:lnTo>
                  <a:lnTo>
                    <a:pt x="10" y="1"/>
                  </a:lnTo>
                  <a:lnTo>
                    <a:pt x="11" y="1"/>
                  </a:lnTo>
                  <a:lnTo>
                    <a:pt x="11" y="1"/>
                  </a:lnTo>
                  <a:lnTo>
                    <a:pt x="11" y="0"/>
                  </a:lnTo>
                  <a:lnTo>
                    <a:pt x="11" y="0"/>
                  </a:lnTo>
                  <a:lnTo>
                    <a:pt x="11" y="0"/>
                  </a:lnTo>
                  <a:lnTo>
                    <a:pt x="11" y="1"/>
                  </a:lnTo>
                  <a:lnTo>
                    <a:pt x="11" y="1"/>
                  </a:lnTo>
                  <a:lnTo>
                    <a:pt x="13" y="1"/>
                  </a:lnTo>
                  <a:lnTo>
                    <a:pt x="13" y="0"/>
                  </a:lnTo>
                  <a:lnTo>
                    <a:pt x="13" y="0"/>
                  </a:lnTo>
                  <a:lnTo>
                    <a:pt x="13" y="0"/>
                  </a:lnTo>
                  <a:lnTo>
                    <a:pt x="13" y="0"/>
                  </a:lnTo>
                  <a:lnTo>
                    <a:pt x="13" y="0"/>
                  </a:lnTo>
                  <a:lnTo>
                    <a:pt x="14" y="0"/>
                  </a:lnTo>
                  <a:lnTo>
                    <a:pt x="14" y="0"/>
                  </a:lnTo>
                  <a:lnTo>
                    <a:pt x="14" y="0"/>
                  </a:lnTo>
                  <a:lnTo>
                    <a:pt x="14" y="1"/>
                  </a:lnTo>
                  <a:lnTo>
                    <a:pt x="15" y="1"/>
                  </a:lnTo>
                  <a:lnTo>
                    <a:pt x="15" y="1"/>
                  </a:lnTo>
                  <a:lnTo>
                    <a:pt x="15" y="1"/>
                  </a:lnTo>
                  <a:lnTo>
                    <a:pt x="15" y="1"/>
                  </a:lnTo>
                  <a:lnTo>
                    <a:pt x="15" y="1"/>
                  </a:lnTo>
                  <a:lnTo>
                    <a:pt x="15" y="1"/>
                  </a:lnTo>
                  <a:lnTo>
                    <a:pt x="15" y="1"/>
                  </a:lnTo>
                  <a:lnTo>
                    <a:pt x="15" y="1"/>
                  </a:lnTo>
                  <a:lnTo>
                    <a:pt x="15" y="1"/>
                  </a:lnTo>
                  <a:lnTo>
                    <a:pt x="15" y="1"/>
                  </a:lnTo>
                  <a:lnTo>
                    <a:pt x="15" y="2"/>
                  </a:lnTo>
                  <a:lnTo>
                    <a:pt x="14" y="2"/>
                  </a:lnTo>
                  <a:lnTo>
                    <a:pt x="14" y="2"/>
                  </a:lnTo>
                  <a:lnTo>
                    <a:pt x="14" y="2"/>
                  </a:lnTo>
                  <a:lnTo>
                    <a:pt x="14" y="2"/>
                  </a:lnTo>
                  <a:lnTo>
                    <a:pt x="14" y="2"/>
                  </a:lnTo>
                  <a:lnTo>
                    <a:pt x="14" y="2"/>
                  </a:lnTo>
                  <a:lnTo>
                    <a:pt x="14" y="2"/>
                  </a:lnTo>
                  <a:lnTo>
                    <a:pt x="14" y="2"/>
                  </a:lnTo>
                  <a:lnTo>
                    <a:pt x="14" y="2"/>
                  </a:lnTo>
                  <a:lnTo>
                    <a:pt x="14" y="2"/>
                  </a:lnTo>
                  <a:lnTo>
                    <a:pt x="15" y="2"/>
                  </a:lnTo>
                  <a:lnTo>
                    <a:pt x="15" y="2"/>
                  </a:lnTo>
                  <a:lnTo>
                    <a:pt x="15" y="2"/>
                  </a:lnTo>
                  <a:lnTo>
                    <a:pt x="15" y="2"/>
                  </a:lnTo>
                  <a:lnTo>
                    <a:pt x="15" y="4"/>
                  </a:lnTo>
                  <a:lnTo>
                    <a:pt x="16" y="4"/>
                  </a:lnTo>
                  <a:lnTo>
                    <a:pt x="16" y="4"/>
                  </a:lnTo>
                  <a:lnTo>
                    <a:pt x="16" y="4"/>
                  </a:lnTo>
                  <a:lnTo>
                    <a:pt x="16" y="4"/>
                  </a:lnTo>
                  <a:lnTo>
                    <a:pt x="16" y="4"/>
                  </a:lnTo>
                  <a:lnTo>
                    <a:pt x="16" y="4"/>
                  </a:lnTo>
                  <a:lnTo>
                    <a:pt x="16" y="4"/>
                  </a:lnTo>
                  <a:lnTo>
                    <a:pt x="17" y="4"/>
                  </a:lnTo>
                  <a:lnTo>
                    <a:pt x="17" y="5"/>
                  </a:lnTo>
                  <a:lnTo>
                    <a:pt x="17" y="5"/>
                  </a:lnTo>
                  <a:lnTo>
                    <a:pt x="16" y="5"/>
                  </a:lnTo>
                  <a:lnTo>
                    <a:pt x="16" y="5"/>
                  </a:lnTo>
                  <a:lnTo>
                    <a:pt x="16" y="5"/>
                  </a:lnTo>
                  <a:lnTo>
                    <a:pt x="16" y="5"/>
                  </a:lnTo>
                  <a:lnTo>
                    <a:pt x="16" y="5"/>
                  </a:lnTo>
                  <a:lnTo>
                    <a:pt x="17" y="5"/>
                  </a:lnTo>
                  <a:lnTo>
                    <a:pt x="17" y="6"/>
                  </a:lnTo>
                  <a:lnTo>
                    <a:pt x="17" y="6"/>
                  </a:lnTo>
                  <a:lnTo>
                    <a:pt x="17" y="6"/>
                  </a:lnTo>
                  <a:lnTo>
                    <a:pt x="17" y="6"/>
                  </a:lnTo>
                  <a:lnTo>
                    <a:pt x="17" y="6"/>
                  </a:lnTo>
                  <a:lnTo>
                    <a:pt x="17" y="6"/>
                  </a:lnTo>
                  <a:lnTo>
                    <a:pt x="17" y="6"/>
                  </a:lnTo>
                  <a:lnTo>
                    <a:pt x="17" y="6"/>
                  </a:lnTo>
                  <a:lnTo>
                    <a:pt x="17" y="6"/>
                  </a:lnTo>
                  <a:lnTo>
                    <a:pt x="17" y="7"/>
                  </a:lnTo>
                  <a:lnTo>
                    <a:pt x="17" y="7"/>
                  </a:lnTo>
                  <a:lnTo>
                    <a:pt x="18" y="7"/>
                  </a:lnTo>
                  <a:lnTo>
                    <a:pt x="18" y="7"/>
                  </a:lnTo>
                  <a:lnTo>
                    <a:pt x="18" y="7"/>
                  </a:lnTo>
                  <a:lnTo>
                    <a:pt x="17" y="8"/>
                  </a:lnTo>
                  <a:lnTo>
                    <a:pt x="17" y="8"/>
                  </a:lnTo>
                  <a:lnTo>
                    <a:pt x="17" y="9"/>
                  </a:lnTo>
                  <a:lnTo>
                    <a:pt x="17" y="9"/>
                  </a:lnTo>
                  <a:lnTo>
                    <a:pt x="17" y="9"/>
                  </a:lnTo>
                  <a:lnTo>
                    <a:pt x="17" y="9"/>
                  </a:lnTo>
                  <a:lnTo>
                    <a:pt x="16" y="9"/>
                  </a:lnTo>
                  <a:lnTo>
                    <a:pt x="16" y="9"/>
                  </a:lnTo>
                  <a:lnTo>
                    <a:pt x="16" y="9"/>
                  </a:lnTo>
                  <a:lnTo>
                    <a:pt x="16" y="9"/>
                  </a:lnTo>
                  <a:lnTo>
                    <a:pt x="16" y="9"/>
                  </a:lnTo>
                  <a:lnTo>
                    <a:pt x="16" y="9"/>
                  </a:lnTo>
                  <a:lnTo>
                    <a:pt x="15" y="11"/>
                  </a:lnTo>
                  <a:lnTo>
                    <a:pt x="15" y="11"/>
                  </a:lnTo>
                  <a:lnTo>
                    <a:pt x="15" y="12"/>
                  </a:lnTo>
                  <a:lnTo>
                    <a:pt x="15" y="12"/>
                  </a:lnTo>
                  <a:lnTo>
                    <a:pt x="14" y="12"/>
                  </a:lnTo>
                  <a:lnTo>
                    <a:pt x="14" y="12"/>
                  </a:lnTo>
                  <a:lnTo>
                    <a:pt x="14" y="12"/>
                  </a:lnTo>
                  <a:lnTo>
                    <a:pt x="15" y="13"/>
                  </a:lnTo>
                  <a:lnTo>
                    <a:pt x="15" y="13"/>
                  </a:lnTo>
                  <a:lnTo>
                    <a:pt x="15" y="13"/>
                  </a:lnTo>
                  <a:lnTo>
                    <a:pt x="16" y="13"/>
                  </a:lnTo>
                  <a:lnTo>
                    <a:pt x="16" y="13"/>
                  </a:lnTo>
                  <a:lnTo>
                    <a:pt x="16" y="13"/>
                  </a:lnTo>
                  <a:lnTo>
                    <a:pt x="15" y="13"/>
                  </a:lnTo>
                  <a:lnTo>
                    <a:pt x="15" y="13"/>
                  </a:lnTo>
                  <a:lnTo>
                    <a:pt x="14" y="13"/>
                  </a:lnTo>
                  <a:lnTo>
                    <a:pt x="14" y="13"/>
                  </a:lnTo>
                  <a:lnTo>
                    <a:pt x="14" y="13"/>
                  </a:lnTo>
                  <a:lnTo>
                    <a:pt x="14" y="13"/>
                  </a:lnTo>
                  <a:lnTo>
                    <a:pt x="14" y="13"/>
                  </a:lnTo>
                  <a:lnTo>
                    <a:pt x="13" y="13"/>
                  </a:lnTo>
                  <a:lnTo>
                    <a:pt x="13" y="13"/>
                  </a:lnTo>
                  <a:lnTo>
                    <a:pt x="13" y="13"/>
                  </a:lnTo>
                  <a:lnTo>
                    <a:pt x="13" y="13"/>
                  </a:lnTo>
                  <a:lnTo>
                    <a:pt x="13" y="13"/>
                  </a:lnTo>
                  <a:lnTo>
                    <a:pt x="11" y="13"/>
                  </a:lnTo>
                  <a:lnTo>
                    <a:pt x="11" y="13"/>
                  </a:lnTo>
                  <a:lnTo>
                    <a:pt x="11" y="14"/>
                  </a:lnTo>
                  <a:lnTo>
                    <a:pt x="11" y="14"/>
                  </a:lnTo>
                  <a:lnTo>
                    <a:pt x="11" y="14"/>
                  </a:lnTo>
                  <a:lnTo>
                    <a:pt x="10" y="14"/>
                  </a:lnTo>
                  <a:lnTo>
                    <a:pt x="10" y="15"/>
                  </a:lnTo>
                  <a:lnTo>
                    <a:pt x="10" y="15"/>
                  </a:lnTo>
                  <a:lnTo>
                    <a:pt x="10" y="15"/>
                  </a:lnTo>
                  <a:lnTo>
                    <a:pt x="10" y="15"/>
                  </a:lnTo>
                  <a:lnTo>
                    <a:pt x="10" y="15"/>
                  </a:lnTo>
                  <a:lnTo>
                    <a:pt x="10" y="15"/>
                  </a:lnTo>
                  <a:lnTo>
                    <a:pt x="10" y="15"/>
                  </a:lnTo>
                  <a:lnTo>
                    <a:pt x="10" y="16"/>
                  </a:lnTo>
                  <a:lnTo>
                    <a:pt x="10" y="16"/>
                  </a:lnTo>
                  <a:lnTo>
                    <a:pt x="10" y="16"/>
                  </a:lnTo>
                  <a:lnTo>
                    <a:pt x="10" y="16"/>
                  </a:lnTo>
                  <a:lnTo>
                    <a:pt x="10" y="16"/>
                  </a:lnTo>
                  <a:lnTo>
                    <a:pt x="10" y="16"/>
                  </a:lnTo>
                  <a:lnTo>
                    <a:pt x="11" y="16"/>
                  </a:lnTo>
                  <a:lnTo>
                    <a:pt x="11" y="16"/>
                  </a:lnTo>
                  <a:lnTo>
                    <a:pt x="11" y="16"/>
                  </a:lnTo>
                  <a:lnTo>
                    <a:pt x="11" y="18"/>
                  </a:lnTo>
                  <a:lnTo>
                    <a:pt x="11" y="18"/>
                  </a:lnTo>
                  <a:lnTo>
                    <a:pt x="11" y="18"/>
                  </a:lnTo>
                  <a:lnTo>
                    <a:pt x="11" y="18"/>
                  </a:lnTo>
                  <a:lnTo>
                    <a:pt x="11" y="18"/>
                  </a:lnTo>
                  <a:lnTo>
                    <a:pt x="11" y="18"/>
                  </a:lnTo>
                  <a:lnTo>
                    <a:pt x="10" y="18"/>
                  </a:lnTo>
                  <a:lnTo>
                    <a:pt x="10" y="18"/>
                  </a:lnTo>
                  <a:lnTo>
                    <a:pt x="10" y="19"/>
                  </a:lnTo>
                  <a:lnTo>
                    <a:pt x="10" y="19"/>
                  </a:lnTo>
                  <a:lnTo>
                    <a:pt x="10" y="19"/>
                  </a:lnTo>
                  <a:lnTo>
                    <a:pt x="10" y="20"/>
                  </a:lnTo>
                  <a:lnTo>
                    <a:pt x="10" y="20"/>
                  </a:lnTo>
                  <a:lnTo>
                    <a:pt x="9" y="20"/>
                  </a:lnTo>
                  <a:lnTo>
                    <a:pt x="9" y="2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74" name="Freeform 930">
              <a:extLst>
                <a:ext uri="{FF2B5EF4-FFF2-40B4-BE49-F238E27FC236}">
                  <a16:creationId xmlns:a16="http://schemas.microsoft.com/office/drawing/2014/main" id="{6A1D9BA8-8AC6-4431-808B-1022BAD8EF03}"/>
                </a:ext>
              </a:extLst>
            </p:cNvPr>
            <p:cNvSpPr>
              <a:spLocks/>
            </p:cNvSpPr>
            <p:nvPr/>
          </p:nvSpPr>
          <p:spPr bwMode="auto">
            <a:xfrm>
              <a:off x="5594085" y="3166902"/>
              <a:ext cx="74787" cy="88142"/>
            </a:xfrm>
            <a:custGeom>
              <a:avLst/>
              <a:gdLst>
                <a:gd name="T0" fmla="*/ 42 w 56"/>
                <a:gd name="T1" fmla="*/ 19 h 66"/>
                <a:gd name="T2" fmla="*/ 43 w 56"/>
                <a:gd name="T3" fmla="*/ 22 h 66"/>
                <a:gd name="T4" fmla="*/ 44 w 56"/>
                <a:gd name="T5" fmla="*/ 26 h 66"/>
                <a:gd name="T6" fmla="*/ 43 w 56"/>
                <a:gd name="T7" fmla="*/ 29 h 66"/>
                <a:gd name="T8" fmla="*/ 40 w 56"/>
                <a:gd name="T9" fmla="*/ 33 h 66"/>
                <a:gd name="T10" fmla="*/ 42 w 56"/>
                <a:gd name="T11" fmla="*/ 33 h 66"/>
                <a:gd name="T12" fmla="*/ 44 w 56"/>
                <a:gd name="T13" fmla="*/ 35 h 66"/>
                <a:gd name="T14" fmla="*/ 48 w 56"/>
                <a:gd name="T15" fmla="*/ 36 h 66"/>
                <a:gd name="T16" fmla="*/ 50 w 56"/>
                <a:gd name="T17" fmla="*/ 38 h 66"/>
                <a:gd name="T18" fmla="*/ 50 w 56"/>
                <a:gd name="T19" fmla="*/ 41 h 66"/>
                <a:gd name="T20" fmla="*/ 54 w 56"/>
                <a:gd name="T21" fmla="*/ 43 h 66"/>
                <a:gd name="T22" fmla="*/ 56 w 56"/>
                <a:gd name="T23" fmla="*/ 43 h 66"/>
                <a:gd name="T24" fmla="*/ 56 w 56"/>
                <a:gd name="T25" fmla="*/ 48 h 66"/>
                <a:gd name="T26" fmla="*/ 56 w 56"/>
                <a:gd name="T27" fmla="*/ 52 h 66"/>
                <a:gd name="T28" fmla="*/ 54 w 56"/>
                <a:gd name="T29" fmla="*/ 55 h 66"/>
                <a:gd name="T30" fmla="*/ 54 w 56"/>
                <a:gd name="T31" fmla="*/ 59 h 66"/>
                <a:gd name="T32" fmla="*/ 54 w 56"/>
                <a:gd name="T33" fmla="*/ 66 h 66"/>
                <a:gd name="T34" fmla="*/ 51 w 56"/>
                <a:gd name="T35" fmla="*/ 66 h 66"/>
                <a:gd name="T36" fmla="*/ 49 w 56"/>
                <a:gd name="T37" fmla="*/ 64 h 66"/>
                <a:gd name="T38" fmla="*/ 43 w 56"/>
                <a:gd name="T39" fmla="*/ 63 h 66"/>
                <a:gd name="T40" fmla="*/ 40 w 56"/>
                <a:gd name="T41" fmla="*/ 59 h 66"/>
                <a:gd name="T42" fmla="*/ 36 w 56"/>
                <a:gd name="T43" fmla="*/ 57 h 66"/>
                <a:gd name="T44" fmla="*/ 31 w 56"/>
                <a:gd name="T45" fmla="*/ 55 h 66"/>
                <a:gd name="T46" fmla="*/ 27 w 56"/>
                <a:gd name="T47" fmla="*/ 51 h 66"/>
                <a:gd name="T48" fmla="*/ 24 w 56"/>
                <a:gd name="T49" fmla="*/ 48 h 66"/>
                <a:gd name="T50" fmla="*/ 20 w 56"/>
                <a:gd name="T51" fmla="*/ 42 h 66"/>
                <a:gd name="T52" fmla="*/ 15 w 56"/>
                <a:gd name="T53" fmla="*/ 40 h 66"/>
                <a:gd name="T54" fmla="*/ 14 w 56"/>
                <a:gd name="T55" fmla="*/ 38 h 66"/>
                <a:gd name="T56" fmla="*/ 9 w 56"/>
                <a:gd name="T57" fmla="*/ 36 h 66"/>
                <a:gd name="T58" fmla="*/ 8 w 56"/>
                <a:gd name="T59" fmla="*/ 34 h 66"/>
                <a:gd name="T60" fmla="*/ 1 w 56"/>
                <a:gd name="T61" fmla="*/ 29 h 66"/>
                <a:gd name="T62" fmla="*/ 0 w 56"/>
                <a:gd name="T63" fmla="*/ 24 h 66"/>
                <a:gd name="T64" fmla="*/ 2 w 56"/>
                <a:gd name="T65" fmla="*/ 21 h 66"/>
                <a:gd name="T66" fmla="*/ 7 w 56"/>
                <a:gd name="T67" fmla="*/ 17 h 66"/>
                <a:gd name="T68" fmla="*/ 10 w 56"/>
                <a:gd name="T69" fmla="*/ 13 h 66"/>
                <a:gd name="T70" fmla="*/ 13 w 56"/>
                <a:gd name="T71" fmla="*/ 8 h 66"/>
                <a:gd name="T72" fmla="*/ 15 w 56"/>
                <a:gd name="T73" fmla="*/ 6 h 66"/>
                <a:gd name="T74" fmla="*/ 16 w 56"/>
                <a:gd name="T75" fmla="*/ 5 h 66"/>
                <a:gd name="T76" fmla="*/ 19 w 56"/>
                <a:gd name="T77" fmla="*/ 1 h 66"/>
                <a:gd name="T78" fmla="*/ 21 w 56"/>
                <a:gd name="T79" fmla="*/ 1 h 66"/>
                <a:gd name="T80" fmla="*/ 23 w 56"/>
                <a:gd name="T81" fmla="*/ 1 h 66"/>
                <a:gd name="T82" fmla="*/ 24 w 56"/>
                <a:gd name="T83" fmla="*/ 2 h 66"/>
                <a:gd name="T84" fmla="*/ 26 w 56"/>
                <a:gd name="T85" fmla="*/ 3 h 66"/>
                <a:gd name="T86" fmla="*/ 27 w 56"/>
                <a:gd name="T87" fmla="*/ 7 h 66"/>
                <a:gd name="T88" fmla="*/ 28 w 56"/>
                <a:gd name="T89" fmla="*/ 10 h 66"/>
                <a:gd name="T90" fmla="*/ 29 w 56"/>
                <a:gd name="T91" fmla="*/ 15 h 66"/>
                <a:gd name="T92" fmla="*/ 28 w 56"/>
                <a:gd name="T93" fmla="*/ 19 h 66"/>
                <a:gd name="T94" fmla="*/ 30 w 56"/>
                <a:gd name="T95" fmla="*/ 19 h 66"/>
                <a:gd name="T96" fmla="*/ 33 w 56"/>
                <a:gd name="T97" fmla="*/ 21 h 66"/>
                <a:gd name="T98" fmla="*/ 35 w 56"/>
                <a:gd name="T99" fmla="*/ 21 h 66"/>
                <a:gd name="T100" fmla="*/ 36 w 56"/>
                <a:gd name="T101" fmla="*/ 20 h 66"/>
                <a:gd name="T102" fmla="*/ 37 w 56"/>
                <a:gd name="T103" fmla="*/ 16 h 66"/>
                <a:gd name="T104" fmla="*/ 38 w 56"/>
                <a:gd name="T105" fmla="*/ 15 h 66"/>
                <a:gd name="T106" fmla="*/ 41 w 56"/>
                <a:gd name="T107" fmla="*/ 1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6" h="66">
                  <a:moveTo>
                    <a:pt x="41" y="16"/>
                  </a:moveTo>
                  <a:lnTo>
                    <a:pt x="42" y="16"/>
                  </a:lnTo>
                  <a:lnTo>
                    <a:pt x="42" y="17"/>
                  </a:lnTo>
                  <a:lnTo>
                    <a:pt x="42" y="19"/>
                  </a:lnTo>
                  <a:lnTo>
                    <a:pt x="42" y="20"/>
                  </a:lnTo>
                  <a:lnTo>
                    <a:pt x="43" y="20"/>
                  </a:lnTo>
                  <a:lnTo>
                    <a:pt x="43" y="21"/>
                  </a:lnTo>
                  <a:lnTo>
                    <a:pt x="43" y="22"/>
                  </a:lnTo>
                  <a:lnTo>
                    <a:pt x="44" y="22"/>
                  </a:lnTo>
                  <a:lnTo>
                    <a:pt x="44" y="23"/>
                  </a:lnTo>
                  <a:lnTo>
                    <a:pt x="44" y="24"/>
                  </a:lnTo>
                  <a:lnTo>
                    <a:pt x="44" y="26"/>
                  </a:lnTo>
                  <a:lnTo>
                    <a:pt x="43" y="26"/>
                  </a:lnTo>
                  <a:lnTo>
                    <a:pt x="43" y="27"/>
                  </a:lnTo>
                  <a:lnTo>
                    <a:pt x="43" y="28"/>
                  </a:lnTo>
                  <a:lnTo>
                    <a:pt x="43" y="29"/>
                  </a:lnTo>
                  <a:lnTo>
                    <a:pt x="42" y="30"/>
                  </a:lnTo>
                  <a:lnTo>
                    <a:pt x="41" y="31"/>
                  </a:lnTo>
                  <a:lnTo>
                    <a:pt x="40" y="31"/>
                  </a:lnTo>
                  <a:lnTo>
                    <a:pt x="40" y="33"/>
                  </a:lnTo>
                  <a:lnTo>
                    <a:pt x="41" y="33"/>
                  </a:lnTo>
                  <a:lnTo>
                    <a:pt x="41" y="34"/>
                  </a:lnTo>
                  <a:lnTo>
                    <a:pt x="41" y="33"/>
                  </a:lnTo>
                  <a:lnTo>
                    <a:pt x="42" y="33"/>
                  </a:lnTo>
                  <a:lnTo>
                    <a:pt x="42" y="34"/>
                  </a:lnTo>
                  <a:lnTo>
                    <a:pt x="42" y="35"/>
                  </a:lnTo>
                  <a:lnTo>
                    <a:pt x="43" y="35"/>
                  </a:lnTo>
                  <a:lnTo>
                    <a:pt x="44" y="35"/>
                  </a:lnTo>
                  <a:lnTo>
                    <a:pt x="44" y="36"/>
                  </a:lnTo>
                  <a:lnTo>
                    <a:pt x="45" y="36"/>
                  </a:lnTo>
                  <a:lnTo>
                    <a:pt x="47" y="36"/>
                  </a:lnTo>
                  <a:lnTo>
                    <a:pt x="48" y="36"/>
                  </a:lnTo>
                  <a:lnTo>
                    <a:pt x="49" y="36"/>
                  </a:lnTo>
                  <a:lnTo>
                    <a:pt x="49" y="37"/>
                  </a:lnTo>
                  <a:lnTo>
                    <a:pt x="50" y="37"/>
                  </a:lnTo>
                  <a:lnTo>
                    <a:pt x="50" y="38"/>
                  </a:lnTo>
                  <a:lnTo>
                    <a:pt x="50" y="40"/>
                  </a:lnTo>
                  <a:lnTo>
                    <a:pt x="51" y="40"/>
                  </a:lnTo>
                  <a:lnTo>
                    <a:pt x="51" y="41"/>
                  </a:lnTo>
                  <a:lnTo>
                    <a:pt x="50" y="41"/>
                  </a:lnTo>
                  <a:lnTo>
                    <a:pt x="51" y="42"/>
                  </a:lnTo>
                  <a:lnTo>
                    <a:pt x="52" y="42"/>
                  </a:lnTo>
                  <a:lnTo>
                    <a:pt x="54" y="42"/>
                  </a:lnTo>
                  <a:lnTo>
                    <a:pt x="54" y="43"/>
                  </a:lnTo>
                  <a:lnTo>
                    <a:pt x="55" y="43"/>
                  </a:lnTo>
                  <a:lnTo>
                    <a:pt x="55" y="44"/>
                  </a:lnTo>
                  <a:lnTo>
                    <a:pt x="55" y="43"/>
                  </a:lnTo>
                  <a:lnTo>
                    <a:pt x="56" y="43"/>
                  </a:lnTo>
                  <a:lnTo>
                    <a:pt x="56" y="44"/>
                  </a:lnTo>
                  <a:lnTo>
                    <a:pt x="56" y="45"/>
                  </a:lnTo>
                  <a:lnTo>
                    <a:pt x="56" y="47"/>
                  </a:lnTo>
                  <a:lnTo>
                    <a:pt x="56" y="48"/>
                  </a:lnTo>
                  <a:lnTo>
                    <a:pt x="56" y="49"/>
                  </a:lnTo>
                  <a:lnTo>
                    <a:pt x="56" y="50"/>
                  </a:lnTo>
                  <a:lnTo>
                    <a:pt x="56" y="51"/>
                  </a:lnTo>
                  <a:lnTo>
                    <a:pt x="56" y="52"/>
                  </a:lnTo>
                  <a:lnTo>
                    <a:pt x="55" y="52"/>
                  </a:lnTo>
                  <a:lnTo>
                    <a:pt x="55" y="54"/>
                  </a:lnTo>
                  <a:lnTo>
                    <a:pt x="55" y="55"/>
                  </a:lnTo>
                  <a:lnTo>
                    <a:pt x="54" y="55"/>
                  </a:lnTo>
                  <a:lnTo>
                    <a:pt x="54" y="56"/>
                  </a:lnTo>
                  <a:lnTo>
                    <a:pt x="54" y="57"/>
                  </a:lnTo>
                  <a:lnTo>
                    <a:pt x="54" y="58"/>
                  </a:lnTo>
                  <a:lnTo>
                    <a:pt x="54" y="59"/>
                  </a:lnTo>
                  <a:lnTo>
                    <a:pt x="54" y="61"/>
                  </a:lnTo>
                  <a:lnTo>
                    <a:pt x="54" y="64"/>
                  </a:lnTo>
                  <a:lnTo>
                    <a:pt x="54" y="65"/>
                  </a:lnTo>
                  <a:lnTo>
                    <a:pt x="54" y="66"/>
                  </a:lnTo>
                  <a:lnTo>
                    <a:pt x="55" y="66"/>
                  </a:lnTo>
                  <a:lnTo>
                    <a:pt x="54" y="66"/>
                  </a:lnTo>
                  <a:lnTo>
                    <a:pt x="52" y="66"/>
                  </a:lnTo>
                  <a:lnTo>
                    <a:pt x="51" y="66"/>
                  </a:lnTo>
                  <a:lnTo>
                    <a:pt x="50" y="66"/>
                  </a:lnTo>
                  <a:lnTo>
                    <a:pt x="50" y="65"/>
                  </a:lnTo>
                  <a:lnTo>
                    <a:pt x="49" y="65"/>
                  </a:lnTo>
                  <a:lnTo>
                    <a:pt x="49" y="64"/>
                  </a:lnTo>
                  <a:lnTo>
                    <a:pt x="48" y="64"/>
                  </a:lnTo>
                  <a:lnTo>
                    <a:pt x="47" y="64"/>
                  </a:lnTo>
                  <a:lnTo>
                    <a:pt x="44" y="63"/>
                  </a:lnTo>
                  <a:lnTo>
                    <a:pt x="43" y="63"/>
                  </a:lnTo>
                  <a:lnTo>
                    <a:pt x="43" y="62"/>
                  </a:lnTo>
                  <a:lnTo>
                    <a:pt x="42" y="62"/>
                  </a:lnTo>
                  <a:lnTo>
                    <a:pt x="40" y="61"/>
                  </a:lnTo>
                  <a:lnTo>
                    <a:pt x="40" y="59"/>
                  </a:lnTo>
                  <a:lnTo>
                    <a:pt x="37" y="59"/>
                  </a:lnTo>
                  <a:lnTo>
                    <a:pt x="37" y="58"/>
                  </a:lnTo>
                  <a:lnTo>
                    <a:pt x="36" y="58"/>
                  </a:lnTo>
                  <a:lnTo>
                    <a:pt x="36" y="57"/>
                  </a:lnTo>
                  <a:lnTo>
                    <a:pt x="35" y="57"/>
                  </a:lnTo>
                  <a:lnTo>
                    <a:pt x="34" y="57"/>
                  </a:lnTo>
                  <a:lnTo>
                    <a:pt x="33" y="56"/>
                  </a:lnTo>
                  <a:lnTo>
                    <a:pt x="31" y="55"/>
                  </a:lnTo>
                  <a:lnTo>
                    <a:pt x="30" y="55"/>
                  </a:lnTo>
                  <a:lnTo>
                    <a:pt x="30" y="54"/>
                  </a:lnTo>
                  <a:lnTo>
                    <a:pt x="29" y="54"/>
                  </a:lnTo>
                  <a:lnTo>
                    <a:pt x="27" y="51"/>
                  </a:lnTo>
                  <a:lnTo>
                    <a:pt x="27" y="50"/>
                  </a:lnTo>
                  <a:lnTo>
                    <a:pt x="26" y="50"/>
                  </a:lnTo>
                  <a:lnTo>
                    <a:pt x="26" y="49"/>
                  </a:lnTo>
                  <a:lnTo>
                    <a:pt x="24" y="48"/>
                  </a:lnTo>
                  <a:lnTo>
                    <a:pt x="22" y="45"/>
                  </a:lnTo>
                  <a:lnTo>
                    <a:pt x="20" y="44"/>
                  </a:lnTo>
                  <a:lnTo>
                    <a:pt x="20" y="43"/>
                  </a:lnTo>
                  <a:lnTo>
                    <a:pt x="20" y="42"/>
                  </a:lnTo>
                  <a:lnTo>
                    <a:pt x="19" y="42"/>
                  </a:lnTo>
                  <a:lnTo>
                    <a:pt x="17" y="41"/>
                  </a:lnTo>
                  <a:lnTo>
                    <a:pt x="16" y="40"/>
                  </a:lnTo>
                  <a:lnTo>
                    <a:pt x="15" y="40"/>
                  </a:lnTo>
                  <a:lnTo>
                    <a:pt x="15" y="38"/>
                  </a:lnTo>
                  <a:lnTo>
                    <a:pt x="14" y="38"/>
                  </a:lnTo>
                  <a:lnTo>
                    <a:pt x="14" y="37"/>
                  </a:lnTo>
                  <a:lnTo>
                    <a:pt x="14" y="38"/>
                  </a:lnTo>
                  <a:lnTo>
                    <a:pt x="15" y="38"/>
                  </a:lnTo>
                  <a:lnTo>
                    <a:pt x="14" y="38"/>
                  </a:lnTo>
                  <a:lnTo>
                    <a:pt x="10" y="37"/>
                  </a:lnTo>
                  <a:lnTo>
                    <a:pt x="9" y="36"/>
                  </a:lnTo>
                  <a:lnTo>
                    <a:pt x="9" y="35"/>
                  </a:lnTo>
                  <a:lnTo>
                    <a:pt x="9" y="34"/>
                  </a:lnTo>
                  <a:lnTo>
                    <a:pt x="9" y="35"/>
                  </a:lnTo>
                  <a:lnTo>
                    <a:pt x="8" y="34"/>
                  </a:lnTo>
                  <a:lnTo>
                    <a:pt x="7" y="33"/>
                  </a:lnTo>
                  <a:lnTo>
                    <a:pt x="6" y="31"/>
                  </a:lnTo>
                  <a:lnTo>
                    <a:pt x="2" y="30"/>
                  </a:lnTo>
                  <a:lnTo>
                    <a:pt x="1" y="29"/>
                  </a:lnTo>
                  <a:lnTo>
                    <a:pt x="1" y="28"/>
                  </a:lnTo>
                  <a:lnTo>
                    <a:pt x="0" y="27"/>
                  </a:lnTo>
                  <a:lnTo>
                    <a:pt x="0" y="26"/>
                  </a:lnTo>
                  <a:lnTo>
                    <a:pt x="0" y="24"/>
                  </a:lnTo>
                  <a:lnTo>
                    <a:pt x="1" y="24"/>
                  </a:lnTo>
                  <a:lnTo>
                    <a:pt x="1" y="23"/>
                  </a:lnTo>
                  <a:lnTo>
                    <a:pt x="1" y="22"/>
                  </a:lnTo>
                  <a:lnTo>
                    <a:pt x="2" y="21"/>
                  </a:lnTo>
                  <a:lnTo>
                    <a:pt x="3" y="21"/>
                  </a:lnTo>
                  <a:lnTo>
                    <a:pt x="5" y="20"/>
                  </a:lnTo>
                  <a:lnTo>
                    <a:pt x="5" y="19"/>
                  </a:lnTo>
                  <a:lnTo>
                    <a:pt x="7" y="17"/>
                  </a:lnTo>
                  <a:lnTo>
                    <a:pt x="7" y="16"/>
                  </a:lnTo>
                  <a:lnTo>
                    <a:pt x="8" y="16"/>
                  </a:lnTo>
                  <a:lnTo>
                    <a:pt x="10" y="14"/>
                  </a:lnTo>
                  <a:lnTo>
                    <a:pt x="10" y="13"/>
                  </a:lnTo>
                  <a:lnTo>
                    <a:pt x="12" y="13"/>
                  </a:lnTo>
                  <a:lnTo>
                    <a:pt x="12" y="9"/>
                  </a:lnTo>
                  <a:lnTo>
                    <a:pt x="12" y="8"/>
                  </a:lnTo>
                  <a:lnTo>
                    <a:pt x="13" y="8"/>
                  </a:lnTo>
                  <a:lnTo>
                    <a:pt x="13" y="7"/>
                  </a:lnTo>
                  <a:lnTo>
                    <a:pt x="14" y="7"/>
                  </a:lnTo>
                  <a:lnTo>
                    <a:pt x="15" y="7"/>
                  </a:lnTo>
                  <a:lnTo>
                    <a:pt x="15" y="6"/>
                  </a:lnTo>
                  <a:lnTo>
                    <a:pt x="16" y="6"/>
                  </a:lnTo>
                  <a:lnTo>
                    <a:pt x="15" y="6"/>
                  </a:lnTo>
                  <a:lnTo>
                    <a:pt x="15" y="5"/>
                  </a:lnTo>
                  <a:lnTo>
                    <a:pt x="16" y="5"/>
                  </a:lnTo>
                  <a:lnTo>
                    <a:pt x="16" y="2"/>
                  </a:lnTo>
                  <a:lnTo>
                    <a:pt x="16" y="1"/>
                  </a:lnTo>
                  <a:lnTo>
                    <a:pt x="17" y="1"/>
                  </a:lnTo>
                  <a:lnTo>
                    <a:pt x="19" y="1"/>
                  </a:lnTo>
                  <a:lnTo>
                    <a:pt x="20" y="1"/>
                  </a:lnTo>
                  <a:lnTo>
                    <a:pt x="19" y="2"/>
                  </a:lnTo>
                  <a:lnTo>
                    <a:pt x="20" y="2"/>
                  </a:lnTo>
                  <a:lnTo>
                    <a:pt x="21" y="1"/>
                  </a:lnTo>
                  <a:lnTo>
                    <a:pt x="22" y="1"/>
                  </a:lnTo>
                  <a:lnTo>
                    <a:pt x="23" y="1"/>
                  </a:lnTo>
                  <a:lnTo>
                    <a:pt x="23" y="0"/>
                  </a:lnTo>
                  <a:lnTo>
                    <a:pt x="23" y="1"/>
                  </a:lnTo>
                  <a:lnTo>
                    <a:pt x="24" y="2"/>
                  </a:lnTo>
                  <a:lnTo>
                    <a:pt x="24" y="1"/>
                  </a:lnTo>
                  <a:lnTo>
                    <a:pt x="26" y="2"/>
                  </a:lnTo>
                  <a:lnTo>
                    <a:pt x="24" y="2"/>
                  </a:lnTo>
                  <a:lnTo>
                    <a:pt x="24" y="3"/>
                  </a:lnTo>
                  <a:lnTo>
                    <a:pt x="24" y="2"/>
                  </a:lnTo>
                  <a:lnTo>
                    <a:pt x="26" y="2"/>
                  </a:lnTo>
                  <a:lnTo>
                    <a:pt x="26" y="3"/>
                  </a:lnTo>
                  <a:lnTo>
                    <a:pt x="27" y="3"/>
                  </a:lnTo>
                  <a:lnTo>
                    <a:pt x="27" y="5"/>
                  </a:lnTo>
                  <a:lnTo>
                    <a:pt x="27" y="6"/>
                  </a:lnTo>
                  <a:lnTo>
                    <a:pt x="27" y="7"/>
                  </a:lnTo>
                  <a:lnTo>
                    <a:pt x="28" y="7"/>
                  </a:lnTo>
                  <a:lnTo>
                    <a:pt x="28" y="8"/>
                  </a:lnTo>
                  <a:lnTo>
                    <a:pt x="28" y="9"/>
                  </a:lnTo>
                  <a:lnTo>
                    <a:pt x="28" y="10"/>
                  </a:lnTo>
                  <a:lnTo>
                    <a:pt x="28" y="12"/>
                  </a:lnTo>
                  <a:lnTo>
                    <a:pt x="29" y="13"/>
                  </a:lnTo>
                  <a:lnTo>
                    <a:pt x="29" y="14"/>
                  </a:lnTo>
                  <a:lnTo>
                    <a:pt x="29" y="15"/>
                  </a:lnTo>
                  <a:lnTo>
                    <a:pt x="29" y="16"/>
                  </a:lnTo>
                  <a:lnTo>
                    <a:pt x="28" y="16"/>
                  </a:lnTo>
                  <a:lnTo>
                    <a:pt x="28" y="17"/>
                  </a:lnTo>
                  <a:lnTo>
                    <a:pt x="28" y="19"/>
                  </a:lnTo>
                  <a:lnTo>
                    <a:pt x="27" y="19"/>
                  </a:lnTo>
                  <a:lnTo>
                    <a:pt x="28" y="19"/>
                  </a:lnTo>
                  <a:lnTo>
                    <a:pt x="29" y="19"/>
                  </a:lnTo>
                  <a:lnTo>
                    <a:pt x="30" y="19"/>
                  </a:lnTo>
                  <a:lnTo>
                    <a:pt x="31" y="19"/>
                  </a:lnTo>
                  <a:lnTo>
                    <a:pt x="31" y="20"/>
                  </a:lnTo>
                  <a:lnTo>
                    <a:pt x="31" y="21"/>
                  </a:lnTo>
                  <a:lnTo>
                    <a:pt x="33" y="21"/>
                  </a:lnTo>
                  <a:lnTo>
                    <a:pt x="33" y="22"/>
                  </a:lnTo>
                  <a:lnTo>
                    <a:pt x="33" y="21"/>
                  </a:lnTo>
                  <a:lnTo>
                    <a:pt x="34" y="21"/>
                  </a:lnTo>
                  <a:lnTo>
                    <a:pt x="35" y="21"/>
                  </a:lnTo>
                  <a:lnTo>
                    <a:pt x="35" y="20"/>
                  </a:lnTo>
                  <a:lnTo>
                    <a:pt x="35" y="21"/>
                  </a:lnTo>
                  <a:lnTo>
                    <a:pt x="36" y="21"/>
                  </a:lnTo>
                  <a:lnTo>
                    <a:pt x="36" y="20"/>
                  </a:lnTo>
                  <a:lnTo>
                    <a:pt x="36" y="19"/>
                  </a:lnTo>
                  <a:lnTo>
                    <a:pt x="37" y="19"/>
                  </a:lnTo>
                  <a:lnTo>
                    <a:pt x="37" y="17"/>
                  </a:lnTo>
                  <a:lnTo>
                    <a:pt x="37" y="16"/>
                  </a:lnTo>
                  <a:lnTo>
                    <a:pt x="38" y="16"/>
                  </a:lnTo>
                  <a:lnTo>
                    <a:pt x="37" y="16"/>
                  </a:lnTo>
                  <a:lnTo>
                    <a:pt x="37" y="15"/>
                  </a:lnTo>
                  <a:lnTo>
                    <a:pt x="38" y="15"/>
                  </a:lnTo>
                  <a:lnTo>
                    <a:pt x="38" y="14"/>
                  </a:lnTo>
                  <a:lnTo>
                    <a:pt x="40" y="14"/>
                  </a:lnTo>
                  <a:lnTo>
                    <a:pt x="40" y="15"/>
                  </a:lnTo>
                  <a:lnTo>
                    <a:pt x="41" y="15"/>
                  </a:lnTo>
                  <a:lnTo>
                    <a:pt x="41" y="16"/>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75" name="Freeform 931">
              <a:extLst>
                <a:ext uri="{FF2B5EF4-FFF2-40B4-BE49-F238E27FC236}">
                  <a16:creationId xmlns:a16="http://schemas.microsoft.com/office/drawing/2014/main" id="{BE6DD83D-BC32-40FD-8E29-B86CC831E040}"/>
                </a:ext>
              </a:extLst>
            </p:cNvPr>
            <p:cNvSpPr>
              <a:spLocks/>
            </p:cNvSpPr>
            <p:nvPr/>
          </p:nvSpPr>
          <p:spPr bwMode="auto">
            <a:xfrm>
              <a:off x="5973364" y="2646061"/>
              <a:ext cx="291136" cy="289801"/>
            </a:xfrm>
            <a:custGeom>
              <a:avLst/>
              <a:gdLst>
                <a:gd name="T0" fmla="*/ 207 w 218"/>
                <a:gd name="T1" fmla="*/ 32 h 217"/>
                <a:gd name="T2" fmla="*/ 208 w 218"/>
                <a:gd name="T3" fmla="*/ 41 h 217"/>
                <a:gd name="T4" fmla="*/ 206 w 218"/>
                <a:gd name="T5" fmla="*/ 49 h 217"/>
                <a:gd name="T6" fmla="*/ 211 w 218"/>
                <a:gd name="T7" fmla="*/ 62 h 217"/>
                <a:gd name="T8" fmla="*/ 212 w 218"/>
                <a:gd name="T9" fmla="*/ 89 h 217"/>
                <a:gd name="T10" fmla="*/ 214 w 218"/>
                <a:gd name="T11" fmla="*/ 117 h 217"/>
                <a:gd name="T12" fmla="*/ 215 w 218"/>
                <a:gd name="T13" fmla="*/ 154 h 217"/>
                <a:gd name="T14" fmla="*/ 216 w 218"/>
                <a:gd name="T15" fmla="*/ 183 h 217"/>
                <a:gd name="T16" fmla="*/ 218 w 218"/>
                <a:gd name="T17" fmla="*/ 200 h 217"/>
                <a:gd name="T18" fmla="*/ 214 w 218"/>
                <a:gd name="T19" fmla="*/ 209 h 217"/>
                <a:gd name="T20" fmla="*/ 204 w 218"/>
                <a:gd name="T21" fmla="*/ 213 h 217"/>
                <a:gd name="T22" fmla="*/ 193 w 218"/>
                <a:gd name="T23" fmla="*/ 211 h 217"/>
                <a:gd name="T24" fmla="*/ 180 w 218"/>
                <a:gd name="T25" fmla="*/ 203 h 217"/>
                <a:gd name="T26" fmla="*/ 166 w 218"/>
                <a:gd name="T27" fmla="*/ 196 h 217"/>
                <a:gd name="T28" fmla="*/ 152 w 218"/>
                <a:gd name="T29" fmla="*/ 188 h 217"/>
                <a:gd name="T30" fmla="*/ 138 w 218"/>
                <a:gd name="T31" fmla="*/ 180 h 217"/>
                <a:gd name="T32" fmla="*/ 124 w 218"/>
                <a:gd name="T33" fmla="*/ 173 h 217"/>
                <a:gd name="T34" fmla="*/ 112 w 218"/>
                <a:gd name="T35" fmla="*/ 165 h 217"/>
                <a:gd name="T36" fmla="*/ 98 w 218"/>
                <a:gd name="T37" fmla="*/ 158 h 217"/>
                <a:gd name="T38" fmla="*/ 87 w 218"/>
                <a:gd name="T39" fmla="*/ 158 h 217"/>
                <a:gd name="T40" fmla="*/ 79 w 218"/>
                <a:gd name="T41" fmla="*/ 161 h 217"/>
                <a:gd name="T42" fmla="*/ 63 w 218"/>
                <a:gd name="T43" fmla="*/ 162 h 217"/>
                <a:gd name="T44" fmla="*/ 52 w 218"/>
                <a:gd name="T45" fmla="*/ 157 h 217"/>
                <a:gd name="T46" fmla="*/ 43 w 218"/>
                <a:gd name="T47" fmla="*/ 154 h 217"/>
                <a:gd name="T48" fmla="*/ 34 w 218"/>
                <a:gd name="T49" fmla="*/ 144 h 217"/>
                <a:gd name="T50" fmla="*/ 17 w 218"/>
                <a:gd name="T51" fmla="*/ 138 h 217"/>
                <a:gd name="T52" fmla="*/ 12 w 218"/>
                <a:gd name="T53" fmla="*/ 127 h 217"/>
                <a:gd name="T54" fmla="*/ 2 w 218"/>
                <a:gd name="T55" fmla="*/ 111 h 217"/>
                <a:gd name="T56" fmla="*/ 9 w 218"/>
                <a:gd name="T57" fmla="*/ 101 h 217"/>
                <a:gd name="T58" fmla="*/ 7 w 218"/>
                <a:gd name="T59" fmla="*/ 89 h 217"/>
                <a:gd name="T60" fmla="*/ 7 w 218"/>
                <a:gd name="T61" fmla="*/ 67 h 217"/>
                <a:gd name="T62" fmla="*/ 2 w 218"/>
                <a:gd name="T63" fmla="*/ 47 h 217"/>
                <a:gd name="T64" fmla="*/ 13 w 218"/>
                <a:gd name="T65" fmla="*/ 36 h 217"/>
                <a:gd name="T66" fmla="*/ 12 w 218"/>
                <a:gd name="T67" fmla="*/ 25 h 217"/>
                <a:gd name="T68" fmla="*/ 19 w 218"/>
                <a:gd name="T69" fmla="*/ 19 h 217"/>
                <a:gd name="T70" fmla="*/ 28 w 218"/>
                <a:gd name="T71" fmla="*/ 11 h 217"/>
                <a:gd name="T72" fmla="*/ 28 w 218"/>
                <a:gd name="T73" fmla="*/ 2 h 217"/>
                <a:gd name="T74" fmla="*/ 33 w 218"/>
                <a:gd name="T75" fmla="*/ 2 h 217"/>
                <a:gd name="T76" fmla="*/ 50 w 218"/>
                <a:gd name="T77" fmla="*/ 5 h 217"/>
                <a:gd name="T78" fmla="*/ 63 w 218"/>
                <a:gd name="T79" fmla="*/ 7 h 217"/>
                <a:gd name="T80" fmla="*/ 73 w 218"/>
                <a:gd name="T81" fmla="*/ 12 h 217"/>
                <a:gd name="T82" fmla="*/ 79 w 218"/>
                <a:gd name="T83" fmla="*/ 18 h 217"/>
                <a:gd name="T84" fmla="*/ 90 w 218"/>
                <a:gd name="T85" fmla="*/ 31 h 217"/>
                <a:gd name="T86" fmla="*/ 110 w 218"/>
                <a:gd name="T87" fmla="*/ 35 h 217"/>
                <a:gd name="T88" fmla="*/ 120 w 218"/>
                <a:gd name="T89" fmla="*/ 40 h 217"/>
                <a:gd name="T90" fmla="*/ 130 w 218"/>
                <a:gd name="T91" fmla="*/ 47 h 217"/>
                <a:gd name="T92" fmla="*/ 141 w 218"/>
                <a:gd name="T93" fmla="*/ 40 h 217"/>
                <a:gd name="T94" fmla="*/ 142 w 218"/>
                <a:gd name="T95" fmla="*/ 29 h 217"/>
                <a:gd name="T96" fmla="*/ 141 w 218"/>
                <a:gd name="T97" fmla="*/ 19 h 217"/>
                <a:gd name="T98" fmla="*/ 151 w 218"/>
                <a:gd name="T99" fmla="*/ 9 h 217"/>
                <a:gd name="T100" fmla="*/ 163 w 218"/>
                <a:gd name="T101" fmla="*/ 4 h 217"/>
                <a:gd name="T102" fmla="*/ 170 w 218"/>
                <a:gd name="T103" fmla="*/ 5 h 217"/>
                <a:gd name="T104" fmla="*/ 179 w 218"/>
                <a:gd name="T105" fmla="*/ 9 h 217"/>
                <a:gd name="T106" fmla="*/ 181 w 218"/>
                <a:gd name="T107" fmla="*/ 12 h 217"/>
                <a:gd name="T108" fmla="*/ 185 w 218"/>
                <a:gd name="T109" fmla="*/ 16 h 217"/>
                <a:gd name="T110" fmla="*/ 198 w 218"/>
                <a:gd name="T111" fmla="*/ 19 h 217"/>
                <a:gd name="T112" fmla="*/ 208 w 218"/>
                <a:gd name="T113" fmla="*/ 2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8" h="217">
                  <a:moveTo>
                    <a:pt x="211" y="25"/>
                  </a:moveTo>
                  <a:lnTo>
                    <a:pt x="209" y="25"/>
                  </a:lnTo>
                  <a:lnTo>
                    <a:pt x="209" y="26"/>
                  </a:lnTo>
                  <a:lnTo>
                    <a:pt x="208" y="27"/>
                  </a:lnTo>
                  <a:lnTo>
                    <a:pt x="207" y="29"/>
                  </a:lnTo>
                  <a:lnTo>
                    <a:pt x="206" y="29"/>
                  </a:lnTo>
                  <a:lnTo>
                    <a:pt x="206" y="31"/>
                  </a:lnTo>
                  <a:lnTo>
                    <a:pt x="207" y="32"/>
                  </a:lnTo>
                  <a:lnTo>
                    <a:pt x="207" y="33"/>
                  </a:lnTo>
                  <a:lnTo>
                    <a:pt x="207" y="34"/>
                  </a:lnTo>
                  <a:lnTo>
                    <a:pt x="208" y="35"/>
                  </a:lnTo>
                  <a:lnTo>
                    <a:pt x="208" y="36"/>
                  </a:lnTo>
                  <a:lnTo>
                    <a:pt x="208" y="38"/>
                  </a:lnTo>
                  <a:lnTo>
                    <a:pt x="209" y="39"/>
                  </a:lnTo>
                  <a:lnTo>
                    <a:pt x="208" y="40"/>
                  </a:lnTo>
                  <a:lnTo>
                    <a:pt x="208" y="41"/>
                  </a:lnTo>
                  <a:lnTo>
                    <a:pt x="208" y="42"/>
                  </a:lnTo>
                  <a:lnTo>
                    <a:pt x="208" y="43"/>
                  </a:lnTo>
                  <a:lnTo>
                    <a:pt x="207" y="45"/>
                  </a:lnTo>
                  <a:lnTo>
                    <a:pt x="207" y="46"/>
                  </a:lnTo>
                  <a:lnTo>
                    <a:pt x="206" y="46"/>
                  </a:lnTo>
                  <a:lnTo>
                    <a:pt x="206" y="47"/>
                  </a:lnTo>
                  <a:lnTo>
                    <a:pt x="206" y="48"/>
                  </a:lnTo>
                  <a:lnTo>
                    <a:pt x="206" y="49"/>
                  </a:lnTo>
                  <a:lnTo>
                    <a:pt x="207" y="53"/>
                  </a:lnTo>
                  <a:lnTo>
                    <a:pt x="207" y="54"/>
                  </a:lnTo>
                  <a:lnTo>
                    <a:pt x="207" y="55"/>
                  </a:lnTo>
                  <a:lnTo>
                    <a:pt x="208" y="56"/>
                  </a:lnTo>
                  <a:lnTo>
                    <a:pt x="208" y="57"/>
                  </a:lnTo>
                  <a:lnTo>
                    <a:pt x="208" y="59"/>
                  </a:lnTo>
                  <a:lnTo>
                    <a:pt x="208" y="60"/>
                  </a:lnTo>
                  <a:lnTo>
                    <a:pt x="211" y="62"/>
                  </a:lnTo>
                  <a:lnTo>
                    <a:pt x="211" y="63"/>
                  </a:lnTo>
                  <a:lnTo>
                    <a:pt x="211" y="66"/>
                  </a:lnTo>
                  <a:lnTo>
                    <a:pt x="211" y="68"/>
                  </a:lnTo>
                  <a:lnTo>
                    <a:pt x="212" y="75"/>
                  </a:lnTo>
                  <a:lnTo>
                    <a:pt x="212" y="81"/>
                  </a:lnTo>
                  <a:lnTo>
                    <a:pt x="212" y="82"/>
                  </a:lnTo>
                  <a:lnTo>
                    <a:pt x="212" y="88"/>
                  </a:lnTo>
                  <a:lnTo>
                    <a:pt x="212" y="89"/>
                  </a:lnTo>
                  <a:lnTo>
                    <a:pt x="212" y="91"/>
                  </a:lnTo>
                  <a:lnTo>
                    <a:pt x="213" y="96"/>
                  </a:lnTo>
                  <a:lnTo>
                    <a:pt x="213" y="97"/>
                  </a:lnTo>
                  <a:lnTo>
                    <a:pt x="213" y="101"/>
                  </a:lnTo>
                  <a:lnTo>
                    <a:pt x="213" y="104"/>
                  </a:lnTo>
                  <a:lnTo>
                    <a:pt x="213" y="109"/>
                  </a:lnTo>
                  <a:lnTo>
                    <a:pt x="213" y="112"/>
                  </a:lnTo>
                  <a:lnTo>
                    <a:pt x="214" y="117"/>
                  </a:lnTo>
                  <a:lnTo>
                    <a:pt x="214" y="122"/>
                  </a:lnTo>
                  <a:lnTo>
                    <a:pt x="214" y="126"/>
                  </a:lnTo>
                  <a:lnTo>
                    <a:pt x="214" y="131"/>
                  </a:lnTo>
                  <a:lnTo>
                    <a:pt x="214" y="136"/>
                  </a:lnTo>
                  <a:lnTo>
                    <a:pt x="215" y="140"/>
                  </a:lnTo>
                  <a:lnTo>
                    <a:pt x="215" y="145"/>
                  </a:lnTo>
                  <a:lnTo>
                    <a:pt x="215" y="150"/>
                  </a:lnTo>
                  <a:lnTo>
                    <a:pt x="215" y="154"/>
                  </a:lnTo>
                  <a:lnTo>
                    <a:pt x="215" y="159"/>
                  </a:lnTo>
                  <a:lnTo>
                    <a:pt x="215" y="164"/>
                  </a:lnTo>
                  <a:lnTo>
                    <a:pt x="215" y="168"/>
                  </a:lnTo>
                  <a:lnTo>
                    <a:pt x="216" y="173"/>
                  </a:lnTo>
                  <a:lnTo>
                    <a:pt x="216" y="178"/>
                  </a:lnTo>
                  <a:lnTo>
                    <a:pt x="216" y="180"/>
                  </a:lnTo>
                  <a:lnTo>
                    <a:pt x="216" y="181"/>
                  </a:lnTo>
                  <a:lnTo>
                    <a:pt x="216" y="183"/>
                  </a:lnTo>
                  <a:lnTo>
                    <a:pt x="216" y="186"/>
                  </a:lnTo>
                  <a:lnTo>
                    <a:pt x="216" y="187"/>
                  </a:lnTo>
                  <a:lnTo>
                    <a:pt x="216" y="189"/>
                  </a:lnTo>
                  <a:lnTo>
                    <a:pt x="216" y="192"/>
                  </a:lnTo>
                  <a:lnTo>
                    <a:pt x="216" y="193"/>
                  </a:lnTo>
                  <a:lnTo>
                    <a:pt x="216" y="195"/>
                  </a:lnTo>
                  <a:lnTo>
                    <a:pt x="216" y="197"/>
                  </a:lnTo>
                  <a:lnTo>
                    <a:pt x="218" y="200"/>
                  </a:lnTo>
                  <a:lnTo>
                    <a:pt x="218" y="201"/>
                  </a:lnTo>
                  <a:lnTo>
                    <a:pt x="218" y="202"/>
                  </a:lnTo>
                  <a:lnTo>
                    <a:pt x="218" y="204"/>
                  </a:lnTo>
                  <a:lnTo>
                    <a:pt x="218" y="206"/>
                  </a:lnTo>
                  <a:lnTo>
                    <a:pt x="218" y="207"/>
                  </a:lnTo>
                  <a:lnTo>
                    <a:pt x="218" y="209"/>
                  </a:lnTo>
                  <a:lnTo>
                    <a:pt x="216" y="209"/>
                  </a:lnTo>
                  <a:lnTo>
                    <a:pt x="214" y="209"/>
                  </a:lnTo>
                  <a:lnTo>
                    <a:pt x="212" y="209"/>
                  </a:lnTo>
                  <a:lnTo>
                    <a:pt x="211" y="209"/>
                  </a:lnTo>
                  <a:lnTo>
                    <a:pt x="208" y="209"/>
                  </a:lnTo>
                  <a:lnTo>
                    <a:pt x="207" y="209"/>
                  </a:lnTo>
                  <a:lnTo>
                    <a:pt x="206" y="209"/>
                  </a:lnTo>
                  <a:lnTo>
                    <a:pt x="204" y="209"/>
                  </a:lnTo>
                  <a:lnTo>
                    <a:pt x="204" y="211"/>
                  </a:lnTo>
                  <a:lnTo>
                    <a:pt x="204" y="213"/>
                  </a:lnTo>
                  <a:lnTo>
                    <a:pt x="204" y="215"/>
                  </a:lnTo>
                  <a:lnTo>
                    <a:pt x="204" y="217"/>
                  </a:lnTo>
                  <a:lnTo>
                    <a:pt x="202" y="216"/>
                  </a:lnTo>
                  <a:lnTo>
                    <a:pt x="200" y="215"/>
                  </a:lnTo>
                  <a:lnTo>
                    <a:pt x="199" y="214"/>
                  </a:lnTo>
                  <a:lnTo>
                    <a:pt x="197" y="214"/>
                  </a:lnTo>
                  <a:lnTo>
                    <a:pt x="195" y="213"/>
                  </a:lnTo>
                  <a:lnTo>
                    <a:pt x="193" y="211"/>
                  </a:lnTo>
                  <a:lnTo>
                    <a:pt x="192" y="210"/>
                  </a:lnTo>
                  <a:lnTo>
                    <a:pt x="190" y="209"/>
                  </a:lnTo>
                  <a:lnTo>
                    <a:pt x="188" y="208"/>
                  </a:lnTo>
                  <a:lnTo>
                    <a:pt x="187" y="208"/>
                  </a:lnTo>
                  <a:lnTo>
                    <a:pt x="185" y="207"/>
                  </a:lnTo>
                  <a:lnTo>
                    <a:pt x="184" y="206"/>
                  </a:lnTo>
                  <a:lnTo>
                    <a:pt x="181" y="204"/>
                  </a:lnTo>
                  <a:lnTo>
                    <a:pt x="180" y="203"/>
                  </a:lnTo>
                  <a:lnTo>
                    <a:pt x="178" y="202"/>
                  </a:lnTo>
                  <a:lnTo>
                    <a:pt x="177" y="202"/>
                  </a:lnTo>
                  <a:lnTo>
                    <a:pt x="174" y="201"/>
                  </a:lnTo>
                  <a:lnTo>
                    <a:pt x="173" y="200"/>
                  </a:lnTo>
                  <a:lnTo>
                    <a:pt x="171" y="199"/>
                  </a:lnTo>
                  <a:lnTo>
                    <a:pt x="170" y="197"/>
                  </a:lnTo>
                  <a:lnTo>
                    <a:pt x="167" y="196"/>
                  </a:lnTo>
                  <a:lnTo>
                    <a:pt x="166" y="196"/>
                  </a:lnTo>
                  <a:lnTo>
                    <a:pt x="164" y="195"/>
                  </a:lnTo>
                  <a:lnTo>
                    <a:pt x="163" y="194"/>
                  </a:lnTo>
                  <a:lnTo>
                    <a:pt x="161" y="193"/>
                  </a:lnTo>
                  <a:lnTo>
                    <a:pt x="159" y="192"/>
                  </a:lnTo>
                  <a:lnTo>
                    <a:pt x="157" y="190"/>
                  </a:lnTo>
                  <a:lnTo>
                    <a:pt x="156" y="190"/>
                  </a:lnTo>
                  <a:lnTo>
                    <a:pt x="154" y="189"/>
                  </a:lnTo>
                  <a:lnTo>
                    <a:pt x="152" y="188"/>
                  </a:lnTo>
                  <a:lnTo>
                    <a:pt x="150" y="187"/>
                  </a:lnTo>
                  <a:lnTo>
                    <a:pt x="149" y="186"/>
                  </a:lnTo>
                  <a:lnTo>
                    <a:pt x="147" y="186"/>
                  </a:lnTo>
                  <a:lnTo>
                    <a:pt x="145" y="185"/>
                  </a:lnTo>
                  <a:lnTo>
                    <a:pt x="144" y="183"/>
                  </a:lnTo>
                  <a:lnTo>
                    <a:pt x="142" y="182"/>
                  </a:lnTo>
                  <a:lnTo>
                    <a:pt x="141" y="181"/>
                  </a:lnTo>
                  <a:lnTo>
                    <a:pt x="138" y="180"/>
                  </a:lnTo>
                  <a:lnTo>
                    <a:pt x="137" y="180"/>
                  </a:lnTo>
                  <a:lnTo>
                    <a:pt x="135" y="179"/>
                  </a:lnTo>
                  <a:lnTo>
                    <a:pt x="134" y="178"/>
                  </a:lnTo>
                  <a:lnTo>
                    <a:pt x="131" y="176"/>
                  </a:lnTo>
                  <a:lnTo>
                    <a:pt x="130" y="175"/>
                  </a:lnTo>
                  <a:lnTo>
                    <a:pt x="128" y="174"/>
                  </a:lnTo>
                  <a:lnTo>
                    <a:pt x="127" y="174"/>
                  </a:lnTo>
                  <a:lnTo>
                    <a:pt x="124" y="173"/>
                  </a:lnTo>
                  <a:lnTo>
                    <a:pt x="123" y="172"/>
                  </a:lnTo>
                  <a:lnTo>
                    <a:pt x="121" y="171"/>
                  </a:lnTo>
                  <a:lnTo>
                    <a:pt x="120" y="169"/>
                  </a:lnTo>
                  <a:lnTo>
                    <a:pt x="117" y="168"/>
                  </a:lnTo>
                  <a:lnTo>
                    <a:pt x="116" y="168"/>
                  </a:lnTo>
                  <a:lnTo>
                    <a:pt x="114" y="167"/>
                  </a:lnTo>
                  <a:lnTo>
                    <a:pt x="113" y="166"/>
                  </a:lnTo>
                  <a:lnTo>
                    <a:pt x="112" y="165"/>
                  </a:lnTo>
                  <a:lnTo>
                    <a:pt x="109" y="164"/>
                  </a:lnTo>
                  <a:lnTo>
                    <a:pt x="108" y="162"/>
                  </a:lnTo>
                  <a:lnTo>
                    <a:pt x="106" y="162"/>
                  </a:lnTo>
                  <a:lnTo>
                    <a:pt x="105" y="161"/>
                  </a:lnTo>
                  <a:lnTo>
                    <a:pt x="102" y="160"/>
                  </a:lnTo>
                  <a:lnTo>
                    <a:pt x="101" y="159"/>
                  </a:lnTo>
                  <a:lnTo>
                    <a:pt x="99" y="158"/>
                  </a:lnTo>
                  <a:lnTo>
                    <a:pt x="98" y="158"/>
                  </a:lnTo>
                  <a:lnTo>
                    <a:pt x="95" y="157"/>
                  </a:lnTo>
                  <a:lnTo>
                    <a:pt x="94" y="155"/>
                  </a:lnTo>
                  <a:lnTo>
                    <a:pt x="93" y="154"/>
                  </a:lnTo>
                  <a:lnTo>
                    <a:pt x="92" y="155"/>
                  </a:lnTo>
                  <a:lnTo>
                    <a:pt x="91" y="155"/>
                  </a:lnTo>
                  <a:lnTo>
                    <a:pt x="90" y="157"/>
                  </a:lnTo>
                  <a:lnTo>
                    <a:pt x="88" y="157"/>
                  </a:lnTo>
                  <a:lnTo>
                    <a:pt x="87" y="158"/>
                  </a:lnTo>
                  <a:lnTo>
                    <a:pt x="86" y="158"/>
                  </a:lnTo>
                  <a:lnTo>
                    <a:pt x="85" y="159"/>
                  </a:lnTo>
                  <a:lnTo>
                    <a:pt x="84" y="159"/>
                  </a:lnTo>
                  <a:lnTo>
                    <a:pt x="83" y="160"/>
                  </a:lnTo>
                  <a:lnTo>
                    <a:pt x="81" y="160"/>
                  </a:lnTo>
                  <a:lnTo>
                    <a:pt x="81" y="161"/>
                  </a:lnTo>
                  <a:lnTo>
                    <a:pt x="80" y="161"/>
                  </a:lnTo>
                  <a:lnTo>
                    <a:pt x="79" y="161"/>
                  </a:lnTo>
                  <a:lnTo>
                    <a:pt x="77" y="164"/>
                  </a:lnTo>
                  <a:lnTo>
                    <a:pt x="74" y="165"/>
                  </a:lnTo>
                  <a:lnTo>
                    <a:pt x="72" y="166"/>
                  </a:lnTo>
                  <a:lnTo>
                    <a:pt x="70" y="167"/>
                  </a:lnTo>
                  <a:lnTo>
                    <a:pt x="69" y="167"/>
                  </a:lnTo>
                  <a:lnTo>
                    <a:pt x="66" y="165"/>
                  </a:lnTo>
                  <a:lnTo>
                    <a:pt x="65" y="164"/>
                  </a:lnTo>
                  <a:lnTo>
                    <a:pt x="63" y="162"/>
                  </a:lnTo>
                  <a:lnTo>
                    <a:pt x="62" y="160"/>
                  </a:lnTo>
                  <a:lnTo>
                    <a:pt x="60" y="160"/>
                  </a:lnTo>
                  <a:lnTo>
                    <a:pt x="59" y="159"/>
                  </a:lnTo>
                  <a:lnTo>
                    <a:pt x="57" y="159"/>
                  </a:lnTo>
                  <a:lnTo>
                    <a:pt x="56" y="158"/>
                  </a:lnTo>
                  <a:lnTo>
                    <a:pt x="55" y="158"/>
                  </a:lnTo>
                  <a:lnTo>
                    <a:pt x="53" y="158"/>
                  </a:lnTo>
                  <a:lnTo>
                    <a:pt x="52" y="157"/>
                  </a:lnTo>
                  <a:lnTo>
                    <a:pt x="51" y="157"/>
                  </a:lnTo>
                  <a:lnTo>
                    <a:pt x="50" y="157"/>
                  </a:lnTo>
                  <a:lnTo>
                    <a:pt x="49" y="157"/>
                  </a:lnTo>
                  <a:lnTo>
                    <a:pt x="48" y="155"/>
                  </a:lnTo>
                  <a:lnTo>
                    <a:pt x="46" y="155"/>
                  </a:lnTo>
                  <a:lnTo>
                    <a:pt x="45" y="155"/>
                  </a:lnTo>
                  <a:lnTo>
                    <a:pt x="44" y="155"/>
                  </a:lnTo>
                  <a:lnTo>
                    <a:pt x="43" y="154"/>
                  </a:lnTo>
                  <a:lnTo>
                    <a:pt x="42" y="154"/>
                  </a:lnTo>
                  <a:lnTo>
                    <a:pt x="41" y="154"/>
                  </a:lnTo>
                  <a:lnTo>
                    <a:pt x="39" y="154"/>
                  </a:lnTo>
                  <a:lnTo>
                    <a:pt x="38" y="153"/>
                  </a:lnTo>
                  <a:lnTo>
                    <a:pt x="37" y="151"/>
                  </a:lnTo>
                  <a:lnTo>
                    <a:pt x="36" y="150"/>
                  </a:lnTo>
                  <a:lnTo>
                    <a:pt x="35" y="146"/>
                  </a:lnTo>
                  <a:lnTo>
                    <a:pt x="34" y="144"/>
                  </a:lnTo>
                  <a:lnTo>
                    <a:pt x="33" y="141"/>
                  </a:lnTo>
                  <a:lnTo>
                    <a:pt x="31" y="140"/>
                  </a:lnTo>
                  <a:lnTo>
                    <a:pt x="27" y="139"/>
                  </a:lnTo>
                  <a:lnTo>
                    <a:pt x="23" y="138"/>
                  </a:lnTo>
                  <a:lnTo>
                    <a:pt x="21" y="137"/>
                  </a:lnTo>
                  <a:lnTo>
                    <a:pt x="20" y="137"/>
                  </a:lnTo>
                  <a:lnTo>
                    <a:pt x="19" y="138"/>
                  </a:lnTo>
                  <a:lnTo>
                    <a:pt x="17" y="138"/>
                  </a:lnTo>
                  <a:lnTo>
                    <a:pt x="16" y="138"/>
                  </a:lnTo>
                  <a:lnTo>
                    <a:pt x="15" y="137"/>
                  </a:lnTo>
                  <a:lnTo>
                    <a:pt x="14" y="137"/>
                  </a:lnTo>
                  <a:lnTo>
                    <a:pt x="14" y="136"/>
                  </a:lnTo>
                  <a:lnTo>
                    <a:pt x="14" y="134"/>
                  </a:lnTo>
                  <a:lnTo>
                    <a:pt x="12" y="132"/>
                  </a:lnTo>
                  <a:lnTo>
                    <a:pt x="12" y="130"/>
                  </a:lnTo>
                  <a:lnTo>
                    <a:pt x="12" y="127"/>
                  </a:lnTo>
                  <a:lnTo>
                    <a:pt x="12" y="126"/>
                  </a:lnTo>
                  <a:lnTo>
                    <a:pt x="10" y="125"/>
                  </a:lnTo>
                  <a:lnTo>
                    <a:pt x="10" y="124"/>
                  </a:lnTo>
                  <a:lnTo>
                    <a:pt x="8" y="120"/>
                  </a:lnTo>
                  <a:lnTo>
                    <a:pt x="7" y="118"/>
                  </a:lnTo>
                  <a:lnTo>
                    <a:pt x="5" y="115"/>
                  </a:lnTo>
                  <a:lnTo>
                    <a:pt x="2" y="112"/>
                  </a:lnTo>
                  <a:lnTo>
                    <a:pt x="2" y="111"/>
                  </a:lnTo>
                  <a:lnTo>
                    <a:pt x="2" y="110"/>
                  </a:lnTo>
                  <a:lnTo>
                    <a:pt x="3" y="110"/>
                  </a:lnTo>
                  <a:lnTo>
                    <a:pt x="3" y="109"/>
                  </a:lnTo>
                  <a:lnTo>
                    <a:pt x="8" y="106"/>
                  </a:lnTo>
                  <a:lnTo>
                    <a:pt x="8" y="105"/>
                  </a:lnTo>
                  <a:lnTo>
                    <a:pt x="9" y="104"/>
                  </a:lnTo>
                  <a:lnTo>
                    <a:pt x="9" y="103"/>
                  </a:lnTo>
                  <a:lnTo>
                    <a:pt x="9" y="101"/>
                  </a:lnTo>
                  <a:lnTo>
                    <a:pt x="8" y="99"/>
                  </a:lnTo>
                  <a:lnTo>
                    <a:pt x="8" y="98"/>
                  </a:lnTo>
                  <a:lnTo>
                    <a:pt x="7" y="94"/>
                  </a:lnTo>
                  <a:lnTo>
                    <a:pt x="7" y="92"/>
                  </a:lnTo>
                  <a:lnTo>
                    <a:pt x="7" y="91"/>
                  </a:lnTo>
                  <a:lnTo>
                    <a:pt x="8" y="90"/>
                  </a:lnTo>
                  <a:lnTo>
                    <a:pt x="7" y="90"/>
                  </a:lnTo>
                  <a:lnTo>
                    <a:pt x="7" y="89"/>
                  </a:lnTo>
                  <a:lnTo>
                    <a:pt x="8" y="89"/>
                  </a:lnTo>
                  <a:lnTo>
                    <a:pt x="9" y="85"/>
                  </a:lnTo>
                  <a:lnTo>
                    <a:pt x="9" y="84"/>
                  </a:lnTo>
                  <a:lnTo>
                    <a:pt x="7" y="80"/>
                  </a:lnTo>
                  <a:lnTo>
                    <a:pt x="7" y="78"/>
                  </a:lnTo>
                  <a:lnTo>
                    <a:pt x="7" y="73"/>
                  </a:lnTo>
                  <a:lnTo>
                    <a:pt x="8" y="70"/>
                  </a:lnTo>
                  <a:lnTo>
                    <a:pt x="7" y="67"/>
                  </a:lnTo>
                  <a:lnTo>
                    <a:pt x="7" y="64"/>
                  </a:lnTo>
                  <a:lnTo>
                    <a:pt x="6" y="61"/>
                  </a:lnTo>
                  <a:lnTo>
                    <a:pt x="5" y="57"/>
                  </a:lnTo>
                  <a:lnTo>
                    <a:pt x="3" y="54"/>
                  </a:lnTo>
                  <a:lnTo>
                    <a:pt x="1" y="52"/>
                  </a:lnTo>
                  <a:lnTo>
                    <a:pt x="1" y="50"/>
                  </a:lnTo>
                  <a:lnTo>
                    <a:pt x="0" y="49"/>
                  </a:lnTo>
                  <a:lnTo>
                    <a:pt x="2" y="47"/>
                  </a:lnTo>
                  <a:lnTo>
                    <a:pt x="6" y="46"/>
                  </a:lnTo>
                  <a:lnTo>
                    <a:pt x="7" y="46"/>
                  </a:lnTo>
                  <a:lnTo>
                    <a:pt x="7" y="45"/>
                  </a:lnTo>
                  <a:lnTo>
                    <a:pt x="9" y="43"/>
                  </a:lnTo>
                  <a:lnTo>
                    <a:pt x="10" y="41"/>
                  </a:lnTo>
                  <a:lnTo>
                    <a:pt x="12" y="39"/>
                  </a:lnTo>
                  <a:lnTo>
                    <a:pt x="12" y="38"/>
                  </a:lnTo>
                  <a:lnTo>
                    <a:pt x="13" y="36"/>
                  </a:lnTo>
                  <a:lnTo>
                    <a:pt x="12" y="35"/>
                  </a:lnTo>
                  <a:lnTo>
                    <a:pt x="12" y="34"/>
                  </a:lnTo>
                  <a:lnTo>
                    <a:pt x="12" y="33"/>
                  </a:lnTo>
                  <a:lnTo>
                    <a:pt x="10" y="31"/>
                  </a:lnTo>
                  <a:lnTo>
                    <a:pt x="10" y="28"/>
                  </a:lnTo>
                  <a:lnTo>
                    <a:pt x="10" y="27"/>
                  </a:lnTo>
                  <a:lnTo>
                    <a:pt x="10" y="26"/>
                  </a:lnTo>
                  <a:lnTo>
                    <a:pt x="12" y="25"/>
                  </a:lnTo>
                  <a:lnTo>
                    <a:pt x="13" y="24"/>
                  </a:lnTo>
                  <a:lnTo>
                    <a:pt x="14" y="24"/>
                  </a:lnTo>
                  <a:lnTo>
                    <a:pt x="15" y="24"/>
                  </a:lnTo>
                  <a:lnTo>
                    <a:pt x="15" y="23"/>
                  </a:lnTo>
                  <a:lnTo>
                    <a:pt x="16" y="21"/>
                  </a:lnTo>
                  <a:lnTo>
                    <a:pt x="16" y="20"/>
                  </a:lnTo>
                  <a:lnTo>
                    <a:pt x="17" y="20"/>
                  </a:lnTo>
                  <a:lnTo>
                    <a:pt x="19" y="19"/>
                  </a:lnTo>
                  <a:lnTo>
                    <a:pt x="20" y="18"/>
                  </a:lnTo>
                  <a:lnTo>
                    <a:pt x="20" y="17"/>
                  </a:lnTo>
                  <a:lnTo>
                    <a:pt x="23" y="16"/>
                  </a:lnTo>
                  <a:lnTo>
                    <a:pt x="27" y="13"/>
                  </a:lnTo>
                  <a:lnTo>
                    <a:pt x="28" y="13"/>
                  </a:lnTo>
                  <a:lnTo>
                    <a:pt x="29" y="12"/>
                  </a:lnTo>
                  <a:lnTo>
                    <a:pt x="29" y="11"/>
                  </a:lnTo>
                  <a:lnTo>
                    <a:pt x="28" y="11"/>
                  </a:lnTo>
                  <a:lnTo>
                    <a:pt x="28" y="10"/>
                  </a:lnTo>
                  <a:lnTo>
                    <a:pt x="27" y="10"/>
                  </a:lnTo>
                  <a:lnTo>
                    <a:pt x="27" y="9"/>
                  </a:lnTo>
                  <a:lnTo>
                    <a:pt x="27" y="6"/>
                  </a:lnTo>
                  <a:lnTo>
                    <a:pt x="27" y="5"/>
                  </a:lnTo>
                  <a:lnTo>
                    <a:pt x="27" y="4"/>
                  </a:lnTo>
                  <a:lnTo>
                    <a:pt x="27" y="3"/>
                  </a:lnTo>
                  <a:lnTo>
                    <a:pt x="28" y="2"/>
                  </a:lnTo>
                  <a:lnTo>
                    <a:pt x="28" y="0"/>
                  </a:lnTo>
                  <a:lnTo>
                    <a:pt x="29" y="0"/>
                  </a:lnTo>
                  <a:lnTo>
                    <a:pt x="29" y="2"/>
                  </a:lnTo>
                  <a:lnTo>
                    <a:pt x="31" y="2"/>
                  </a:lnTo>
                  <a:lnTo>
                    <a:pt x="31" y="3"/>
                  </a:lnTo>
                  <a:lnTo>
                    <a:pt x="31" y="2"/>
                  </a:lnTo>
                  <a:lnTo>
                    <a:pt x="30" y="2"/>
                  </a:lnTo>
                  <a:lnTo>
                    <a:pt x="33" y="2"/>
                  </a:lnTo>
                  <a:lnTo>
                    <a:pt x="35" y="4"/>
                  </a:lnTo>
                  <a:lnTo>
                    <a:pt x="36" y="5"/>
                  </a:lnTo>
                  <a:lnTo>
                    <a:pt x="37" y="5"/>
                  </a:lnTo>
                  <a:lnTo>
                    <a:pt x="38" y="6"/>
                  </a:lnTo>
                  <a:lnTo>
                    <a:pt x="44" y="6"/>
                  </a:lnTo>
                  <a:lnTo>
                    <a:pt x="45" y="6"/>
                  </a:lnTo>
                  <a:lnTo>
                    <a:pt x="49" y="5"/>
                  </a:lnTo>
                  <a:lnTo>
                    <a:pt x="50" y="5"/>
                  </a:lnTo>
                  <a:lnTo>
                    <a:pt x="51" y="5"/>
                  </a:lnTo>
                  <a:lnTo>
                    <a:pt x="52" y="5"/>
                  </a:lnTo>
                  <a:lnTo>
                    <a:pt x="55" y="6"/>
                  </a:lnTo>
                  <a:lnTo>
                    <a:pt x="56" y="6"/>
                  </a:lnTo>
                  <a:lnTo>
                    <a:pt x="58" y="6"/>
                  </a:lnTo>
                  <a:lnTo>
                    <a:pt x="59" y="7"/>
                  </a:lnTo>
                  <a:lnTo>
                    <a:pt x="60" y="7"/>
                  </a:lnTo>
                  <a:lnTo>
                    <a:pt x="63" y="7"/>
                  </a:lnTo>
                  <a:lnTo>
                    <a:pt x="64" y="9"/>
                  </a:lnTo>
                  <a:lnTo>
                    <a:pt x="65" y="10"/>
                  </a:lnTo>
                  <a:lnTo>
                    <a:pt x="66" y="10"/>
                  </a:lnTo>
                  <a:lnTo>
                    <a:pt x="67" y="11"/>
                  </a:lnTo>
                  <a:lnTo>
                    <a:pt x="70" y="11"/>
                  </a:lnTo>
                  <a:lnTo>
                    <a:pt x="70" y="12"/>
                  </a:lnTo>
                  <a:lnTo>
                    <a:pt x="71" y="12"/>
                  </a:lnTo>
                  <a:lnTo>
                    <a:pt x="73" y="12"/>
                  </a:lnTo>
                  <a:lnTo>
                    <a:pt x="76" y="13"/>
                  </a:lnTo>
                  <a:lnTo>
                    <a:pt x="77" y="13"/>
                  </a:lnTo>
                  <a:lnTo>
                    <a:pt x="78" y="13"/>
                  </a:lnTo>
                  <a:lnTo>
                    <a:pt x="78" y="14"/>
                  </a:lnTo>
                  <a:lnTo>
                    <a:pt x="78" y="16"/>
                  </a:lnTo>
                  <a:lnTo>
                    <a:pt x="79" y="16"/>
                  </a:lnTo>
                  <a:lnTo>
                    <a:pt x="79" y="17"/>
                  </a:lnTo>
                  <a:lnTo>
                    <a:pt x="79" y="18"/>
                  </a:lnTo>
                  <a:lnTo>
                    <a:pt x="79" y="19"/>
                  </a:lnTo>
                  <a:lnTo>
                    <a:pt x="79" y="20"/>
                  </a:lnTo>
                  <a:lnTo>
                    <a:pt x="80" y="20"/>
                  </a:lnTo>
                  <a:lnTo>
                    <a:pt x="81" y="25"/>
                  </a:lnTo>
                  <a:lnTo>
                    <a:pt x="84" y="27"/>
                  </a:lnTo>
                  <a:lnTo>
                    <a:pt x="84" y="28"/>
                  </a:lnTo>
                  <a:lnTo>
                    <a:pt x="85" y="28"/>
                  </a:lnTo>
                  <a:lnTo>
                    <a:pt x="90" y="31"/>
                  </a:lnTo>
                  <a:lnTo>
                    <a:pt x="93" y="32"/>
                  </a:lnTo>
                  <a:lnTo>
                    <a:pt x="98" y="32"/>
                  </a:lnTo>
                  <a:lnTo>
                    <a:pt x="101" y="32"/>
                  </a:lnTo>
                  <a:lnTo>
                    <a:pt x="105" y="33"/>
                  </a:lnTo>
                  <a:lnTo>
                    <a:pt x="106" y="34"/>
                  </a:lnTo>
                  <a:lnTo>
                    <a:pt x="107" y="34"/>
                  </a:lnTo>
                  <a:lnTo>
                    <a:pt x="108" y="34"/>
                  </a:lnTo>
                  <a:lnTo>
                    <a:pt x="110" y="35"/>
                  </a:lnTo>
                  <a:lnTo>
                    <a:pt x="112" y="35"/>
                  </a:lnTo>
                  <a:lnTo>
                    <a:pt x="113" y="36"/>
                  </a:lnTo>
                  <a:lnTo>
                    <a:pt x="114" y="36"/>
                  </a:lnTo>
                  <a:lnTo>
                    <a:pt x="114" y="38"/>
                  </a:lnTo>
                  <a:lnTo>
                    <a:pt x="116" y="38"/>
                  </a:lnTo>
                  <a:lnTo>
                    <a:pt x="117" y="39"/>
                  </a:lnTo>
                  <a:lnTo>
                    <a:pt x="119" y="39"/>
                  </a:lnTo>
                  <a:lnTo>
                    <a:pt x="120" y="40"/>
                  </a:lnTo>
                  <a:lnTo>
                    <a:pt x="123" y="43"/>
                  </a:lnTo>
                  <a:lnTo>
                    <a:pt x="124" y="43"/>
                  </a:lnTo>
                  <a:lnTo>
                    <a:pt x="124" y="45"/>
                  </a:lnTo>
                  <a:lnTo>
                    <a:pt x="126" y="45"/>
                  </a:lnTo>
                  <a:lnTo>
                    <a:pt x="127" y="45"/>
                  </a:lnTo>
                  <a:lnTo>
                    <a:pt x="128" y="46"/>
                  </a:lnTo>
                  <a:lnTo>
                    <a:pt x="129" y="47"/>
                  </a:lnTo>
                  <a:lnTo>
                    <a:pt x="130" y="47"/>
                  </a:lnTo>
                  <a:lnTo>
                    <a:pt x="131" y="47"/>
                  </a:lnTo>
                  <a:lnTo>
                    <a:pt x="133" y="47"/>
                  </a:lnTo>
                  <a:lnTo>
                    <a:pt x="134" y="46"/>
                  </a:lnTo>
                  <a:lnTo>
                    <a:pt x="135" y="46"/>
                  </a:lnTo>
                  <a:lnTo>
                    <a:pt x="136" y="45"/>
                  </a:lnTo>
                  <a:lnTo>
                    <a:pt x="137" y="45"/>
                  </a:lnTo>
                  <a:lnTo>
                    <a:pt x="140" y="42"/>
                  </a:lnTo>
                  <a:lnTo>
                    <a:pt x="141" y="40"/>
                  </a:lnTo>
                  <a:lnTo>
                    <a:pt x="142" y="39"/>
                  </a:lnTo>
                  <a:lnTo>
                    <a:pt x="143" y="38"/>
                  </a:lnTo>
                  <a:lnTo>
                    <a:pt x="143" y="36"/>
                  </a:lnTo>
                  <a:lnTo>
                    <a:pt x="144" y="34"/>
                  </a:lnTo>
                  <a:lnTo>
                    <a:pt x="144" y="32"/>
                  </a:lnTo>
                  <a:lnTo>
                    <a:pt x="143" y="31"/>
                  </a:lnTo>
                  <a:lnTo>
                    <a:pt x="143" y="29"/>
                  </a:lnTo>
                  <a:lnTo>
                    <a:pt x="142" y="29"/>
                  </a:lnTo>
                  <a:lnTo>
                    <a:pt x="142" y="28"/>
                  </a:lnTo>
                  <a:lnTo>
                    <a:pt x="141" y="26"/>
                  </a:lnTo>
                  <a:lnTo>
                    <a:pt x="141" y="25"/>
                  </a:lnTo>
                  <a:lnTo>
                    <a:pt x="141" y="24"/>
                  </a:lnTo>
                  <a:lnTo>
                    <a:pt x="141" y="23"/>
                  </a:lnTo>
                  <a:lnTo>
                    <a:pt x="141" y="21"/>
                  </a:lnTo>
                  <a:lnTo>
                    <a:pt x="141" y="20"/>
                  </a:lnTo>
                  <a:lnTo>
                    <a:pt x="141" y="19"/>
                  </a:lnTo>
                  <a:lnTo>
                    <a:pt x="142" y="17"/>
                  </a:lnTo>
                  <a:lnTo>
                    <a:pt x="144" y="14"/>
                  </a:lnTo>
                  <a:lnTo>
                    <a:pt x="144" y="13"/>
                  </a:lnTo>
                  <a:lnTo>
                    <a:pt x="145" y="13"/>
                  </a:lnTo>
                  <a:lnTo>
                    <a:pt x="145" y="12"/>
                  </a:lnTo>
                  <a:lnTo>
                    <a:pt x="147" y="12"/>
                  </a:lnTo>
                  <a:lnTo>
                    <a:pt x="148" y="11"/>
                  </a:lnTo>
                  <a:lnTo>
                    <a:pt x="151" y="9"/>
                  </a:lnTo>
                  <a:lnTo>
                    <a:pt x="152" y="7"/>
                  </a:lnTo>
                  <a:lnTo>
                    <a:pt x="155" y="7"/>
                  </a:lnTo>
                  <a:lnTo>
                    <a:pt x="157" y="7"/>
                  </a:lnTo>
                  <a:lnTo>
                    <a:pt x="158" y="7"/>
                  </a:lnTo>
                  <a:lnTo>
                    <a:pt x="159" y="6"/>
                  </a:lnTo>
                  <a:lnTo>
                    <a:pt x="162" y="5"/>
                  </a:lnTo>
                  <a:lnTo>
                    <a:pt x="162" y="4"/>
                  </a:lnTo>
                  <a:lnTo>
                    <a:pt x="163" y="4"/>
                  </a:lnTo>
                  <a:lnTo>
                    <a:pt x="163" y="5"/>
                  </a:lnTo>
                  <a:lnTo>
                    <a:pt x="164" y="5"/>
                  </a:lnTo>
                  <a:lnTo>
                    <a:pt x="165" y="5"/>
                  </a:lnTo>
                  <a:lnTo>
                    <a:pt x="167" y="5"/>
                  </a:lnTo>
                  <a:lnTo>
                    <a:pt x="169" y="5"/>
                  </a:lnTo>
                  <a:lnTo>
                    <a:pt x="169" y="4"/>
                  </a:lnTo>
                  <a:lnTo>
                    <a:pt x="169" y="5"/>
                  </a:lnTo>
                  <a:lnTo>
                    <a:pt x="170" y="5"/>
                  </a:lnTo>
                  <a:lnTo>
                    <a:pt x="171" y="5"/>
                  </a:lnTo>
                  <a:lnTo>
                    <a:pt x="172" y="5"/>
                  </a:lnTo>
                  <a:lnTo>
                    <a:pt x="173" y="6"/>
                  </a:lnTo>
                  <a:lnTo>
                    <a:pt x="174" y="6"/>
                  </a:lnTo>
                  <a:lnTo>
                    <a:pt x="174" y="7"/>
                  </a:lnTo>
                  <a:lnTo>
                    <a:pt x="178" y="7"/>
                  </a:lnTo>
                  <a:lnTo>
                    <a:pt x="178" y="9"/>
                  </a:lnTo>
                  <a:lnTo>
                    <a:pt x="179" y="9"/>
                  </a:lnTo>
                  <a:lnTo>
                    <a:pt x="180" y="9"/>
                  </a:lnTo>
                  <a:lnTo>
                    <a:pt x="181" y="9"/>
                  </a:lnTo>
                  <a:lnTo>
                    <a:pt x="181" y="10"/>
                  </a:lnTo>
                  <a:lnTo>
                    <a:pt x="181" y="11"/>
                  </a:lnTo>
                  <a:lnTo>
                    <a:pt x="183" y="12"/>
                  </a:lnTo>
                  <a:lnTo>
                    <a:pt x="183" y="13"/>
                  </a:lnTo>
                  <a:lnTo>
                    <a:pt x="183" y="12"/>
                  </a:lnTo>
                  <a:lnTo>
                    <a:pt x="181" y="12"/>
                  </a:lnTo>
                  <a:lnTo>
                    <a:pt x="181" y="13"/>
                  </a:lnTo>
                  <a:lnTo>
                    <a:pt x="181" y="14"/>
                  </a:lnTo>
                  <a:lnTo>
                    <a:pt x="183" y="14"/>
                  </a:lnTo>
                  <a:lnTo>
                    <a:pt x="184" y="14"/>
                  </a:lnTo>
                  <a:lnTo>
                    <a:pt x="184" y="16"/>
                  </a:lnTo>
                  <a:lnTo>
                    <a:pt x="185" y="16"/>
                  </a:lnTo>
                  <a:lnTo>
                    <a:pt x="185" y="17"/>
                  </a:lnTo>
                  <a:lnTo>
                    <a:pt x="185" y="16"/>
                  </a:lnTo>
                  <a:lnTo>
                    <a:pt x="186" y="16"/>
                  </a:lnTo>
                  <a:lnTo>
                    <a:pt x="186" y="17"/>
                  </a:lnTo>
                  <a:lnTo>
                    <a:pt x="188" y="17"/>
                  </a:lnTo>
                  <a:lnTo>
                    <a:pt x="190" y="17"/>
                  </a:lnTo>
                  <a:lnTo>
                    <a:pt x="192" y="17"/>
                  </a:lnTo>
                  <a:lnTo>
                    <a:pt x="194" y="18"/>
                  </a:lnTo>
                  <a:lnTo>
                    <a:pt x="195" y="19"/>
                  </a:lnTo>
                  <a:lnTo>
                    <a:pt x="198" y="19"/>
                  </a:lnTo>
                  <a:lnTo>
                    <a:pt x="201" y="19"/>
                  </a:lnTo>
                  <a:lnTo>
                    <a:pt x="202" y="19"/>
                  </a:lnTo>
                  <a:lnTo>
                    <a:pt x="204" y="19"/>
                  </a:lnTo>
                  <a:lnTo>
                    <a:pt x="205" y="19"/>
                  </a:lnTo>
                  <a:lnTo>
                    <a:pt x="206" y="19"/>
                  </a:lnTo>
                  <a:lnTo>
                    <a:pt x="207" y="20"/>
                  </a:lnTo>
                  <a:lnTo>
                    <a:pt x="208" y="20"/>
                  </a:lnTo>
                  <a:lnTo>
                    <a:pt x="208" y="21"/>
                  </a:lnTo>
                  <a:lnTo>
                    <a:pt x="208" y="23"/>
                  </a:lnTo>
                  <a:lnTo>
                    <a:pt x="209" y="24"/>
                  </a:lnTo>
                  <a:lnTo>
                    <a:pt x="211" y="25"/>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76" name="Freeform 932">
              <a:extLst>
                <a:ext uri="{FF2B5EF4-FFF2-40B4-BE49-F238E27FC236}">
                  <a16:creationId xmlns:a16="http://schemas.microsoft.com/office/drawing/2014/main" id="{7F22A778-C635-450A-ACBD-2A1ED70CC9D0}"/>
                </a:ext>
              </a:extLst>
            </p:cNvPr>
            <p:cNvSpPr>
              <a:spLocks/>
            </p:cNvSpPr>
            <p:nvPr/>
          </p:nvSpPr>
          <p:spPr bwMode="auto">
            <a:xfrm>
              <a:off x="4679276" y="3049379"/>
              <a:ext cx="2671" cy="8013"/>
            </a:xfrm>
            <a:custGeom>
              <a:avLst/>
              <a:gdLst>
                <a:gd name="T0" fmla="*/ 1 w 2"/>
                <a:gd name="T1" fmla="*/ 6 h 6"/>
                <a:gd name="T2" fmla="*/ 1 w 2"/>
                <a:gd name="T3" fmla="*/ 6 h 6"/>
                <a:gd name="T4" fmla="*/ 1 w 2"/>
                <a:gd name="T5" fmla="*/ 6 h 6"/>
                <a:gd name="T6" fmla="*/ 0 w 2"/>
                <a:gd name="T7" fmla="*/ 6 h 6"/>
                <a:gd name="T8" fmla="*/ 0 w 2"/>
                <a:gd name="T9" fmla="*/ 5 h 6"/>
                <a:gd name="T10" fmla="*/ 0 w 2"/>
                <a:gd name="T11" fmla="*/ 5 h 6"/>
                <a:gd name="T12" fmla="*/ 0 w 2"/>
                <a:gd name="T13" fmla="*/ 5 h 6"/>
                <a:gd name="T14" fmla="*/ 0 w 2"/>
                <a:gd name="T15" fmla="*/ 5 h 6"/>
                <a:gd name="T16" fmla="*/ 0 w 2"/>
                <a:gd name="T17" fmla="*/ 5 h 6"/>
                <a:gd name="T18" fmla="*/ 0 w 2"/>
                <a:gd name="T19" fmla="*/ 5 h 6"/>
                <a:gd name="T20" fmla="*/ 0 w 2"/>
                <a:gd name="T21" fmla="*/ 4 h 6"/>
                <a:gd name="T22" fmla="*/ 0 w 2"/>
                <a:gd name="T23" fmla="*/ 4 h 6"/>
                <a:gd name="T24" fmla="*/ 0 w 2"/>
                <a:gd name="T25" fmla="*/ 4 h 6"/>
                <a:gd name="T26" fmla="*/ 0 w 2"/>
                <a:gd name="T27" fmla="*/ 4 h 6"/>
                <a:gd name="T28" fmla="*/ 0 w 2"/>
                <a:gd name="T29" fmla="*/ 4 h 6"/>
                <a:gd name="T30" fmla="*/ 0 w 2"/>
                <a:gd name="T31" fmla="*/ 4 h 6"/>
                <a:gd name="T32" fmla="*/ 0 w 2"/>
                <a:gd name="T33" fmla="*/ 4 h 6"/>
                <a:gd name="T34" fmla="*/ 0 w 2"/>
                <a:gd name="T35" fmla="*/ 4 h 6"/>
                <a:gd name="T36" fmla="*/ 0 w 2"/>
                <a:gd name="T37" fmla="*/ 3 h 6"/>
                <a:gd name="T38" fmla="*/ 1 w 2"/>
                <a:gd name="T39" fmla="*/ 3 h 6"/>
                <a:gd name="T40" fmla="*/ 1 w 2"/>
                <a:gd name="T41" fmla="*/ 3 h 6"/>
                <a:gd name="T42" fmla="*/ 1 w 2"/>
                <a:gd name="T43" fmla="*/ 2 h 6"/>
                <a:gd name="T44" fmla="*/ 1 w 2"/>
                <a:gd name="T45" fmla="*/ 2 h 6"/>
                <a:gd name="T46" fmla="*/ 1 w 2"/>
                <a:gd name="T47" fmla="*/ 2 h 6"/>
                <a:gd name="T48" fmla="*/ 1 w 2"/>
                <a:gd name="T49" fmla="*/ 2 h 6"/>
                <a:gd name="T50" fmla="*/ 1 w 2"/>
                <a:gd name="T51" fmla="*/ 2 h 6"/>
                <a:gd name="T52" fmla="*/ 1 w 2"/>
                <a:gd name="T53" fmla="*/ 2 h 6"/>
                <a:gd name="T54" fmla="*/ 1 w 2"/>
                <a:gd name="T55" fmla="*/ 0 h 6"/>
                <a:gd name="T56" fmla="*/ 2 w 2"/>
                <a:gd name="T57" fmla="*/ 0 h 6"/>
                <a:gd name="T58" fmla="*/ 2 w 2"/>
                <a:gd name="T59" fmla="*/ 0 h 6"/>
                <a:gd name="T60" fmla="*/ 2 w 2"/>
                <a:gd name="T61" fmla="*/ 0 h 6"/>
                <a:gd name="T62" fmla="*/ 2 w 2"/>
                <a:gd name="T63" fmla="*/ 0 h 6"/>
                <a:gd name="T64" fmla="*/ 2 w 2"/>
                <a:gd name="T65" fmla="*/ 0 h 6"/>
                <a:gd name="T66" fmla="*/ 2 w 2"/>
                <a:gd name="T67" fmla="*/ 0 h 6"/>
                <a:gd name="T68" fmla="*/ 2 w 2"/>
                <a:gd name="T69" fmla="*/ 2 h 6"/>
                <a:gd name="T70" fmla="*/ 2 w 2"/>
                <a:gd name="T71" fmla="*/ 2 h 6"/>
                <a:gd name="T72" fmla="*/ 2 w 2"/>
                <a:gd name="T73" fmla="*/ 2 h 6"/>
                <a:gd name="T74" fmla="*/ 2 w 2"/>
                <a:gd name="T75" fmla="*/ 3 h 6"/>
                <a:gd name="T76" fmla="*/ 2 w 2"/>
                <a:gd name="T77" fmla="*/ 3 h 6"/>
                <a:gd name="T78" fmla="*/ 2 w 2"/>
                <a:gd name="T79" fmla="*/ 4 h 6"/>
                <a:gd name="T80" fmla="*/ 2 w 2"/>
                <a:gd name="T81" fmla="*/ 5 h 6"/>
                <a:gd name="T82" fmla="*/ 2 w 2"/>
                <a:gd name="T83" fmla="*/ 5 h 6"/>
                <a:gd name="T84" fmla="*/ 2 w 2"/>
                <a:gd name="T85" fmla="*/ 5 h 6"/>
                <a:gd name="T86" fmla="*/ 2 w 2"/>
                <a:gd name="T87" fmla="*/ 5 h 6"/>
                <a:gd name="T88" fmla="*/ 2 w 2"/>
                <a:gd name="T89" fmla="*/ 5 h 6"/>
                <a:gd name="T90" fmla="*/ 2 w 2"/>
                <a:gd name="T91" fmla="*/ 6 h 6"/>
                <a:gd name="T92" fmla="*/ 2 w 2"/>
                <a:gd name="T93" fmla="*/ 6 h 6"/>
                <a:gd name="T94" fmla="*/ 2 w 2"/>
                <a:gd name="T95" fmla="*/ 6 h 6"/>
                <a:gd name="T96" fmla="*/ 1 w 2"/>
                <a:gd name="T97" fmla="*/ 6 h 6"/>
                <a:gd name="T98" fmla="*/ 1 w 2"/>
                <a:gd name="T9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 h="6">
                  <a:moveTo>
                    <a:pt x="1" y="6"/>
                  </a:moveTo>
                  <a:lnTo>
                    <a:pt x="1" y="6"/>
                  </a:lnTo>
                  <a:lnTo>
                    <a:pt x="1" y="6"/>
                  </a:lnTo>
                  <a:lnTo>
                    <a:pt x="0" y="6"/>
                  </a:lnTo>
                  <a:lnTo>
                    <a:pt x="0" y="5"/>
                  </a:lnTo>
                  <a:lnTo>
                    <a:pt x="0" y="5"/>
                  </a:lnTo>
                  <a:lnTo>
                    <a:pt x="0" y="5"/>
                  </a:lnTo>
                  <a:lnTo>
                    <a:pt x="0" y="5"/>
                  </a:lnTo>
                  <a:lnTo>
                    <a:pt x="0" y="5"/>
                  </a:lnTo>
                  <a:lnTo>
                    <a:pt x="0" y="5"/>
                  </a:lnTo>
                  <a:lnTo>
                    <a:pt x="0" y="4"/>
                  </a:lnTo>
                  <a:lnTo>
                    <a:pt x="0" y="4"/>
                  </a:lnTo>
                  <a:lnTo>
                    <a:pt x="0" y="4"/>
                  </a:lnTo>
                  <a:lnTo>
                    <a:pt x="0" y="4"/>
                  </a:lnTo>
                  <a:lnTo>
                    <a:pt x="0" y="4"/>
                  </a:lnTo>
                  <a:lnTo>
                    <a:pt x="0" y="4"/>
                  </a:lnTo>
                  <a:lnTo>
                    <a:pt x="0" y="4"/>
                  </a:lnTo>
                  <a:lnTo>
                    <a:pt x="0" y="4"/>
                  </a:lnTo>
                  <a:lnTo>
                    <a:pt x="0" y="3"/>
                  </a:lnTo>
                  <a:lnTo>
                    <a:pt x="1" y="3"/>
                  </a:lnTo>
                  <a:lnTo>
                    <a:pt x="1" y="3"/>
                  </a:lnTo>
                  <a:lnTo>
                    <a:pt x="1" y="2"/>
                  </a:lnTo>
                  <a:lnTo>
                    <a:pt x="1" y="2"/>
                  </a:lnTo>
                  <a:lnTo>
                    <a:pt x="1" y="2"/>
                  </a:lnTo>
                  <a:lnTo>
                    <a:pt x="1" y="2"/>
                  </a:lnTo>
                  <a:lnTo>
                    <a:pt x="1" y="2"/>
                  </a:lnTo>
                  <a:lnTo>
                    <a:pt x="1" y="2"/>
                  </a:lnTo>
                  <a:lnTo>
                    <a:pt x="1" y="0"/>
                  </a:lnTo>
                  <a:lnTo>
                    <a:pt x="2" y="0"/>
                  </a:lnTo>
                  <a:lnTo>
                    <a:pt x="2" y="0"/>
                  </a:lnTo>
                  <a:lnTo>
                    <a:pt x="2" y="0"/>
                  </a:lnTo>
                  <a:lnTo>
                    <a:pt x="2" y="0"/>
                  </a:lnTo>
                  <a:lnTo>
                    <a:pt x="2" y="0"/>
                  </a:lnTo>
                  <a:lnTo>
                    <a:pt x="2" y="0"/>
                  </a:lnTo>
                  <a:lnTo>
                    <a:pt x="2" y="2"/>
                  </a:lnTo>
                  <a:lnTo>
                    <a:pt x="2" y="2"/>
                  </a:lnTo>
                  <a:lnTo>
                    <a:pt x="2" y="2"/>
                  </a:lnTo>
                  <a:lnTo>
                    <a:pt x="2" y="3"/>
                  </a:lnTo>
                  <a:lnTo>
                    <a:pt x="2" y="3"/>
                  </a:lnTo>
                  <a:lnTo>
                    <a:pt x="2" y="4"/>
                  </a:lnTo>
                  <a:lnTo>
                    <a:pt x="2" y="5"/>
                  </a:lnTo>
                  <a:lnTo>
                    <a:pt x="2" y="5"/>
                  </a:lnTo>
                  <a:lnTo>
                    <a:pt x="2" y="5"/>
                  </a:lnTo>
                  <a:lnTo>
                    <a:pt x="2" y="5"/>
                  </a:lnTo>
                  <a:lnTo>
                    <a:pt x="2" y="5"/>
                  </a:lnTo>
                  <a:lnTo>
                    <a:pt x="2" y="6"/>
                  </a:lnTo>
                  <a:lnTo>
                    <a:pt x="2" y="6"/>
                  </a:lnTo>
                  <a:lnTo>
                    <a:pt x="2" y="6"/>
                  </a:lnTo>
                  <a:lnTo>
                    <a:pt x="1" y="6"/>
                  </a:lnTo>
                  <a:lnTo>
                    <a:pt x="1" y="6"/>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77" name="Freeform 933">
              <a:extLst>
                <a:ext uri="{FF2B5EF4-FFF2-40B4-BE49-F238E27FC236}">
                  <a16:creationId xmlns:a16="http://schemas.microsoft.com/office/drawing/2014/main" id="{677E619B-4093-42FA-B7E6-75A3D0DBE77F}"/>
                </a:ext>
              </a:extLst>
            </p:cNvPr>
            <p:cNvSpPr>
              <a:spLocks/>
            </p:cNvSpPr>
            <p:nvPr/>
          </p:nvSpPr>
          <p:spPr bwMode="auto">
            <a:xfrm>
              <a:off x="5962680" y="2352254"/>
              <a:ext cx="2671" cy="4007"/>
            </a:xfrm>
            <a:custGeom>
              <a:avLst/>
              <a:gdLst>
                <a:gd name="T0" fmla="*/ 1 w 2"/>
                <a:gd name="T1" fmla="*/ 2 h 3"/>
                <a:gd name="T2" fmla="*/ 1 w 2"/>
                <a:gd name="T3" fmla="*/ 3 h 3"/>
                <a:gd name="T4" fmla="*/ 1 w 2"/>
                <a:gd name="T5" fmla="*/ 2 h 3"/>
                <a:gd name="T6" fmla="*/ 0 w 2"/>
                <a:gd name="T7" fmla="*/ 2 h 3"/>
                <a:gd name="T8" fmla="*/ 0 w 2"/>
                <a:gd name="T9" fmla="*/ 2 h 3"/>
                <a:gd name="T10" fmla="*/ 0 w 2"/>
                <a:gd name="T11" fmla="*/ 2 h 3"/>
                <a:gd name="T12" fmla="*/ 1 w 2"/>
                <a:gd name="T13" fmla="*/ 2 h 3"/>
                <a:gd name="T14" fmla="*/ 1 w 2"/>
                <a:gd name="T15" fmla="*/ 2 h 3"/>
                <a:gd name="T16" fmla="*/ 1 w 2"/>
                <a:gd name="T17" fmla="*/ 1 h 3"/>
                <a:gd name="T18" fmla="*/ 1 w 2"/>
                <a:gd name="T19" fmla="*/ 1 h 3"/>
                <a:gd name="T20" fmla="*/ 0 w 2"/>
                <a:gd name="T21" fmla="*/ 1 h 3"/>
                <a:gd name="T22" fmla="*/ 0 w 2"/>
                <a:gd name="T23" fmla="*/ 1 h 3"/>
                <a:gd name="T24" fmla="*/ 0 w 2"/>
                <a:gd name="T25" fmla="*/ 0 h 3"/>
                <a:gd name="T26" fmla="*/ 0 w 2"/>
                <a:gd name="T27" fmla="*/ 0 h 3"/>
                <a:gd name="T28" fmla="*/ 1 w 2"/>
                <a:gd name="T29" fmla="*/ 0 h 3"/>
                <a:gd name="T30" fmla="*/ 1 w 2"/>
                <a:gd name="T31" fmla="*/ 0 h 3"/>
                <a:gd name="T32" fmla="*/ 1 w 2"/>
                <a:gd name="T33" fmla="*/ 0 h 3"/>
                <a:gd name="T34" fmla="*/ 1 w 2"/>
                <a:gd name="T35" fmla="*/ 0 h 3"/>
                <a:gd name="T36" fmla="*/ 1 w 2"/>
                <a:gd name="T37" fmla="*/ 0 h 3"/>
                <a:gd name="T38" fmla="*/ 1 w 2"/>
                <a:gd name="T39" fmla="*/ 0 h 3"/>
                <a:gd name="T40" fmla="*/ 1 w 2"/>
                <a:gd name="T41" fmla="*/ 1 h 3"/>
                <a:gd name="T42" fmla="*/ 1 w 2"/>
                <a:gd name="T43" fmla="*/ 1 h 3"/>
                <a:gd name="T44" fmla="*/ 1 w 2"/>
                <a:gd name="T45" fmla="*/ 1 h 3"/>
                <a:gd name="T46" fmla="*/ 1 w 2"/>
                <a:gd name="T47" fmla="*/ 1 h 3"/>
                <a:gd name="T48" fmla="*/ 1 w 2"/>
                <a:gd name="T49" fmla="*/ 1 h 3"/>
                <a:gd name="T50" fmla="*/ 2 w 2"/>
                <a:gd name="T51" fmla="*/ 1 h 3"/>
                <a:gd name="T52" fmla="*/ 2 w 2"/>
                <a:gd name="T53" fmla="*/ 2 h 3"/>
                <a:gd name="T54" fmla="*/ 2 w 2"/>
                <a:gd name="T55" fmla="*/ 2 h 3"/>
                <a:gd name="T56" fmla="*/ 1 w 2"/>
                <a:gd name="T5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 h="3">
                  <a:moveTo>
                    <a:pt x="1" y="2"/>
                  </a:moveTo>
                  <a:lnTo>
                    <a:pt x="1" y="3"/>
                  </a:lnTo>
                  <a:lnTo>
                    <a:pt x="1" y="2"/>
                  </a:lnTo>
                  <a:lnTo>
                    <a:pt x="0" y="2"/>
                  </a:lnTo>
                  <a:lnTo>
                    <a:pt x="0" y="2"/>
                  </a:lnTo>
                  <a:lnTo>
                    <a:pt x="0" y="2"/>
                  </a:lnTo>
                  <a:lnTo>
                    <a:pt x="1" y="2"/>
                  </a:lnTo>
                  <a:lnTo>
                    <a:pt x="1" y="2"/>
                  </a:lnTo>
                  <a:lnTo>
                    <a:pt x="1" y="1"/>
                  </a:lnTo>
                  <a:lnTo>
                    <a:pt x="1" y="1"/>
                  </a:lnTo>
                  <a:lnTo>
                    <a:pt x="0" y="1"/>
                  </a:lnTo>
                  <a:lnTo>
                    <a:pt x="0" y="1"/>
                  </a:lnTo>
                  <a:lnTo>
                    <a:pt x="0" y="0"/>
                  </a:lnTo>
                  <a:lnTo>
                    <a:pt x="0" y="0"/>
                  </a:lnTo>
                  <a:lnTo>
                    <a:pt x="1" y="0"/>
                  </a:lnTo>
                  <a:lnTo>
                    <a:pt x="1" y="0"/>
                  </a:lnTo>
                  <a:lnTo>
                    <a:pt x="1" y="0"/>
                  </a:lnTo>
                  <a:lnTo>
                    <a:pt x="1" y="0"/>
                  </a:lnTo>
                  <a:lnTo>
                    <a:pt x="1" y="0"/>
                  </a:lnTo>
                  <a:lnTo>
                    <a:pt x="1" y="0"/>
                  </a:lnTo>
                  <a:lnTo>
                    <a:pt x="1" y="1"/>
                  </a:lnTo>
                  <a:lnTo>
                    <a:pt x="1" y="1"/>
                  </a:lnTo>
                  <a:lnTo>
                    <a:pt x="1" y="1"/>
                  </a:lnTo>
                  <a:lnTo>
                    <a:pt x="1" y="1"/>
                  </a:lnTo>
                  <a:lnTo>
                    <a:pt x="1" y="1"/>
                  </a:lnTo>
                  <a:lnTo>
                    <a:pt x="2" y="1"/>
                  </a:lnTo>
                  <a:lnTo>
                    <a:pt x="2" y="2"/>
                  </a:lnTo>
                  <a:lnTo>
                    <a:pt x="2" y="2"/>
                  </a:lnTo>
                  <a:lnTo>
                    <a:pt x="1"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78" name="Freeform 934">
              <a:extLst>
                <a:ext uri="{FF2B5EF4-FFF2-40B4-BE49-F238E27FC236}">
                  <a16:creationId xmlns:a16="http://schemas.microsoft.com/office/drawing/2014/main" id="{6BC7E91D-694D-4D27-BD54-6CB095C95AC2}"/>
                </a:ext>
              </a:extLst>
            </p:cNvPr>
            <p:cNvSpPr>
              <a:spLocks noEditPoints="1"/>
            </p:cNvSpPr>
            <p:nvPr/>
          </p:nvSpPr>
          <p:spPr bwMode="auto">
            <a:xfrm>
              <a:off x="7283478" y="3140192"/>
              <a:ext cx="45407" cy="82800"/>
            </a:xfrm>
            <a:custGeom>
              <a:avLst/>
              <a:gdLst>
                <a:gd name="T0" fmla="*/ 31 w 34"/>
                <a:gd name="T1" fmla="*/ 35 h 62"/>
                <a:gd name="T2" fmla="*/ 31 w 34"/>
                <a:gd name="T3" fmla="*/ 34 h 62"/>
                <a:gd name="T4" fmla="*/ 3 w 34"/>
                <a:gd name="T5" fmla="*/ 13 h 62"/>
                <a:gd name="T6" fmla="*/ 5 w 34"/>
                <a:gd name="T7" fmla="*/ 14 h 62"/>
                <a:gd name="T8" fmla="*/ 2 w 34"/>
                <a:gd name="T9" fmla="*/ 12 h 62"/>
                <a:gd name="T10" fmla="*/ 0 w 34"/>
                <a:gd name="T11" fmla="*/ 5 h 62"/>
                <a:gd name="T12" fmla="*/ 5 w 34"/>
                <a:gd name="T13" fmla="*/ 2 h 62"/>
                <a:gd name="T14" fmla="*/ 3 w 34"/>
                <a:gd name="T15" fmla="*/ 1 h 62"/>
                <a:gd name="T16" fmla="*/ 16 w 34"/>
                <a:gd name="T17" fmla="*/ 8 h 62"/>
                <a:gd name="T18" fmla="*/ 17 w 34"/>
                <a:gd name="T19" fmla="*/ 12 h 62"/>
                <a:gd name="T20" fmla="*/ 18 w 34"/>
                <a:gd name="T21" fmla="*/ 13 h 62"/>
                <a:gd name="T22" fmla="*/ 21 w 34"/>
                <a:gd name="T23" fmla="*/ 16 h 62"/>
                <a:gd name="T24" fmla="*/ 23 w 34"/>
                <a:gd name="T25" fmla="*/ 20 h 62"/>
                <a:gd name="T26" fmla="*/ 22 w 34"/>
                <a:gd name="T27" fmla="*/ 21 h 62"/>
                <a:gd name="T28" fmla="*/ 25 w 34"/>
                <a:gd name="T29" fmla="*/ 22 h 62"/>
                <a:gd name="T30" fmla="*/ 25 w 34"/>
                <a:gd name="T31" fmla="*/ 25 h 62"/>
                <a:gd name="T32" fmla="*/ 25 w 34"/>
                <a:gd name="T33" fmla="*/ 27 h 62"/>
                <a:gd name="T34" fmla="*/ 27 w 34"/>
                <a:gd name="T35" fmla="*/ 27 h 62"/>
                <a:gd name="T36" fmla="*/ 28 w 34"/>
                <a:gd name="T37" fmla="*/ 30 h 62"/>
                <a:gd name="T38" fmla="*/ 30 w 34"/>
                <a:gd name="T39" fmla="*/ 33 h 62"/>
                <a:gd name="T40" fmla="*/ 29 w 34"/>
                <a:gd name="T41" fmla="*/ 34 h 62"/>
                <a:gd name="T42" fmla="*/ 31 w 34"/>
                <a:gd name="T43" fmla="*/ 35 h 62"/>
                <a:gd name="T44" fmla="*/ 32 w 34"/>
                <a:gd name="T45" fmla="*/ 37 h 62"/>
                <a:gd name="T46" fmla="*/ 34 w 34"/>
                <a:gd name="T47" fmla="*/ 44 h 62"/>
                <a:gd name="T48" fmla="*/ 32 w 34"/>
                <a:gd name="T49" fmla="*/ 50 h 62"/>
                <a:gd name="T50" fmla="*/ 30 w 34"/>
                <a:gd name="T51" fmla="*/ 55 h 62"/>
                <a:gd name="T52" fmla="*/ 24 w 34"/>
                <a:gd name="T53" fmla="*/ 57 h 62"/>
                <a:gd name="T54" fmla="*/ 21 w 34"/>
                <a:gd name="T55" fmla="*/ 60 h 62"/>
                <a:gd name="T56" fmla="*/ 17 w 34"/>
                <a:gd name="T57" fmla="*/ 62 h 62"/>
                <a:gd name="T58" fmla="*/ 15 w 34"/>
                <a:gd name="T59" fmla="*/ 62 h 62"/>
                <a:gd name="T60" fmla="*/ 12 w 34"/>
                <a:gd name="T61" fmla="*/ 61 h 62"/>
                <a:gd name="T62" fmla="*/ 10 w 34"/>
                <a:gd name="T63" fmla="*/ 60 h 62"/>
                <a:gd name="T64" fmla="*/ 7 w 34"/>
                <a:gd name="T65" fmla="*/ 54 h 62"/>
                <a:gd name="T66" fmla="*/ 6 w 34"/>
                <a:gd name="T67" fmla="*/ 47 h 62"/>
                <a:gd name="T68" fmla="*/ 6 w 34"/>
                <a:gd name="T69" fmla="*/ 44 h 62"/>
                <a:gd name="T70" fmla="*/ 5 w 34"/>
                <a:gd name="T71" fmla="*/ 42 h 62"/>
                <a:gd name="T72" fmla="*/ 3 w 34"/>
                <a:gd name="T73" fmla="*/ 33 h 62"/>
                <a:gd name="T74" fmla="*/ 2 w 34"/>
                <a:gd name="T75" fmla="*/ 27 h 62"/>
                <a:gd name="T76" fmla="*/ 3 w 34"/>
                <a:gd name="T77" fmla="*/ 25 h 62"/>
                <a:gd name="T78" fmla="*/ 2 w 34"/>
                <a:gd name="T79" fmla="*/ 26 h 62"/>
                <a:gd name="T80" fmla="*/ 2 w 34"/>
                <a:gd name="T81" fmla="*/ 29 h 62"/>
                <a:gd name="T82" fmla="*/ 3 w 34"/>
                <a:gd name="T83" fmla="*/ 27 h 62"/>
                <a:gd name="T84" fmla="*/ 5 w 34"/>
                <a:gd name="T85" fmla="*/ 22 h 62"/>
                <a:gd name="T86" fmla="*/ 6 w 34"/>
                <a:gd name="T87" fmla="*/ 18 h 62"/>
                <a:gd name="T88" fmla="*/ 6 w 34"/>
                <a:gd name="T89" fmla="*/ 13 h 62"/>
                <a:gd name="T90" fmla="*/ 7 w 34"/>
                <a:gd name="T91" fmla="*/ 9 h 62"/>
                <a:gd name="T92" fmla="*/ 7 w 34"/>
                <a:gd name="T93" fmla="*/ 7 h 62"/>
                <a:gd name="T94" fmla="*/ 7 w 34"/>
                <a:gd name="T95" fmla="*/ 5 h 62"/>
                <a:gd name="T96" fmla="*/ 9 w 34"/>
                <a:gd name="T97" fmla="*/ 5 h 62"/>
                <a:gd name="T98" fmla="*/ 13 w 34"/>
                <a:gd name="T99" fmla="*/ 6 h 62"/>
                <a:gd name="T100" fmla="*/ 12 w 34"/>
                <a:gd name="T101" fmla="*/ 5 h 62"/>
                <a:gd name="T102" fmla="*/ 8 w 34"/>
                <a:gd name="T103" fmla="*/ 2 h 62"/>
                <a:gd name="T104" fmla="*/ 7 w 34"/>
                <a:gd name="T105" fmla="*/ 4 h 62"/>
                <a:gd name="T106" fmla="*/ 3 w 34"/>
                <a:gd name="T107" fmla="*/ 1 h 62"/>
                <a:gd name="T108" fmla="*/ 7 w 34"/>
                <a:gd name="T109" fmla="*/ 0 h 62"/>
                <a:gd name="T110" fmla="*/ 12 w 34"/>
                <a:gd name="T111" fmla="*/ 4 h 62"/>
                <a:gd name="T112" fmla="*/ 7 w 34"/>
                <a:gd name="T113" fmla="*/ 1 h 62"/>
                <a:gd name="T114" fmla="*/ 10 w 34"/>
                <a:gd name="T115"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 h="62">
                  <a:moveTo>
                    <a:pt x="32" y="37"/>
                  </a:moveTo>
                  <a:lnTo>
                    <a:pt x="31" y="37"/>
                  </a:lnTo>
                  <a:lnTo>
                    <a:pt x="31" y="36"/>
                  </a:lnTo>
                  <a:lnTo>
                    <a:pt x="31" y="35"/>
                  </a:lnTo>
                  <a:lnTo>
                    <a:pt x="31" y="34"/>
                  </a:lnTo>
                  <a:lnTo>
                    <a:pt x="30" y="34"/>
                  </a:lnTo>
                  <a:lnTo>
                    <a:pt x="30" y="33"/>
                  </a:lnTo>
                  <a:lnTo>
                    <a:pt x="31" y="34"/>
                  </a:lnTo>
                  <a:lnTo>
                    <a:pt x="31" y="35"/>
                  </a:lnTo>
                  <a:lnTo>
                    <a:pt x="32" y="36"/>
                  </a:lnTo>
                  <a:lnTo>
                    <a:pt x="32" y="37"/>
                  </a:lnTo>
                  <a:close/>
                  <a:moveTo>
                    <a:pt x="3" y="13"/>
                  </a:moveTo>
                  <a:lnTo>
                    <a:pt x="5" y="13"/>
                  </a:lnTo>
                  <a:lnTo>
                    <a:pt x="3" y="13"/>
                  </a:lnTo>
                  <a:lnTo>
                    <a:pt x="5" y="13"/>
                  </a:lnTo>
                  <a:lnTo>
                    <a:pt x="5" y="14"/>
                  </a:lnTo>
                  <a:lnTo>
                    <a:pt x="3" y="13"/>
                  </a:lnTo>
                  <a:lnTo>
                    <a:pt x="2" y="12"/>
                  </a:lnTo>
                  <a:lnTo>
                    <a:pt x="1" y="12"/>
                  </a:lnTo>
                  <a:lnTo>
                    <a:pt x="2" y="12"/>
                  </a:lnTo>
                  <a:lnTo>
                    <a:pt x="3" y="12"/>
                  </a:lnTo>
                  <a:lnTo>
                    <a:pt x="3" y="13"/>
                  </a:lnTo>
                  <a:close/>
                  <a:moveTo>
                    <a:pt x="1" y="6"/>
                  </a:moveTo>
                  <a:lnTo>
                    <a:pt x="0" y="5"/>
                  </a:lnTo>
                  <a:lnTo>
                    <a:pt x="1" y="5"/>
                  </a:lnTo>
                  <a:lnTo>
                    <a:pt x="1" y="6"/>
                  </a:lnTo>
                  <a:close/>
                  <a:moveTo>
                    <a:pt x="3" y="2"/>
                  </a:moveTo>
                  <a:lnTo>
                    <a:pt x="5" y="2"/>
                  </a:lnTo>
                  <a:lnTo>
                    <a:pt x="5" y="4"/>
                  </a:lnTo>
                  <a:lnTo>
                    <a:pt x="3" y="4"/>
                  </a:lnTo>
                  <a:lnTo>
                    <a:pt x="3" y="2"/>
                  </a:lnTo>
                  <a:lnTo>
                    <a:pt x="3" y="1"/>
                  </a:lnTo>
                  <a:lnTo>
                    <a:pt x="3" y="2"/>
                  </a:lnTo>
                  <a:close/>
                  <a:moveTo>
                    <a:pt x="12" y="4"/>
                  </a:moveTo>
                  <a:lnTo>
                    <a:pt x="16" y="7"/>
                  </a:lnTo>
                  <a:lnTo>
                    <a:pt x="16" y="8"/>
                  </a:lnTo>
                  <a:lnTo>
                    <a:pt x="16" y="9"/>
                  </a:lnTo>
                  <a:lnTo>
                    <a:pt x="17" y="9"/>
                  </a:lnTo>
                  <a:lnTo>
                    <a:pt x="17" y="11"/>
                  </a:lnTo>
                  <a:lnTo>
                    <a:pt x="17" y="12"/>
                  </a:lnTo>
                  <a:lnTo>
                    <a:pt x="18" y="12"/>
                  </a:lnTo>
                  <a:lnTo>
                    <a:pt x="18" y="13"/>
                  </a:lnTo>
                  <a:lnTo>
                    <a:pt x="17" y="13"/>
                  </a:lnTo>
                  <a:lnTo>
                    <a:pt x="18" y="13"/>
                  </a:lnTo>
                  <a:lnTo>
                    <a:pt x="18" y="14"/>
                  </a:lnTo>
                  <a:lnTo>
                    <a:pt x="20" y="14"/>
                  </a:lnTo>
                  <a:lnTo>
                    <a:pt x="21" y="15"/>
                  </a:lnTo>
                  <a:lnTo>
                    <a:pt x="21" y="16"/>
                  </a:lnTo>
                  <a:lnTo>
                    <a:pt x="22" y="16"/>
                  </a:lnTo>
                  <a:lnTo>
                    <a:pt x="22" y="18"/>
                  </a:lnTo>
                  <a:lnTo>
                    <a:pt x="23" y="19"/>
                  </a:lnTo>
                  <a:lnTo>
                    <a:pt x="23" y="20"/>
                  </a:lnTo>
                  <a:lnTo>
                    <a:pt x="23" y="19"/>
                  </a:lnTo>
                  <a:lnTo>
                    <a:pt x="23" y="20"/>
                  </a:lnTo>
                  <a:lnTo>
                    <a:pt x="23" y="21"/>
                  </a:lnTo>
                  <a:lnTo>
                    <a:pt x="22" y="21"/>
                  </a:lnTo>
                  <a:lnTo>
                    <a:pt x="23" y="21"/>
                  </a:lnTo>
                  <a:lnTo>
                    <a:pt x="24" y="21"/>
                  </a:lnTo>
                  <a:lnTo>
                    <a:pt x="25" y="21"/>
                  </a:lnTo>
                  <a:lnTo>
                    <a:pt x="25" y="22"/>
                  </a:lnTo>
                  <a:lnTo>
                    <a:pt x="25" y="23"/>
                  </a:lnTo>
                  <a:lnTo>
                    <a:pt x="25" y="22"/>
                  </a:lnTo>
                  <a:lnTo>
                    <a:pt x="25" y="23"/>
                  </a:lnTo>
                  <a:lnTo>
                    <a:pt x="25" y="25"/>
                  </a:lnTo>
                  <a:lnTo>
                    <a:pt x="25" y="26"/>
                  </a:lnTo>
                  <a:lnTo>
                    <a:pt x="27" y="26"/>
                  </a:lnTo>
                  <a:lnTo>
                    <a:pt x="27" y="27"/>
                  </a:lnTo>
                  <a:lnTo>
                    <a:pt x="25" y="27"/>
                  </a:lnTo>
                  <a:lnTo>
                    <a:pt x="25" y="26"/>
                  </a:lnTo>
                  <a:lnTo>
                    <a:pt x="25" y="27"/>
                  </a:lnTo>
                  <a:lnTo>
                    <a:pt x="27" y="28"/>
                  </a:lnTo>
                  <a:lnTo>
                    <a:pt x="27" y="27"/>
                  </a:lnTo>
                  <a:lnTo>
                    <a:pt x="27" y="28"/>
                  </a:lnTo>
                  <a:lnTo>
                    <a:pt x="28" y="28"/>
                  </a:lnTo>
                  <a:lnTo>
                    <a:pt x="28" y="29"/>
                  </a:lnTo>
                  <a:lnTo>
                    <a:pt x="28" y="30"/>
                  </a:lnTo>
                  <a:lnTo>
                    <a:pt x="29" y="30"/>
                  </a:lnTo>
                  <a:lnTo>
                    <a:pt x="29" y="32"/>
                  </a:lnTo>
                  <a:lnTo>
                    <a:pt x="29" y="33"/>
                  </a:lnTo>
                  <a:lnTo>
                    <a:pt x="30" y="33"/>
                  </a:lnTo>
                  <a:lnTo>
                    <a:pt x="30" y="34"/>
                  </a:lnTo>
                  <a:lnTo>
                    <a:pt x="30" y="33"/>
                  </a:lnTo>
                  <a:lnTo>
                    <a:pt x="29" y="33"/>
                  </a:lnTo>
                  <a:lnTo>
                    <a:pt x="29" y="34"/>
                  </a:lnTo>
                  <a:lnTo>
                    <a:pt x="29" y="33"/>
                  </a:lnTo>
                  <a:lnTo>
                    <a:pt x="30" y="34"/>
                  </a:lnTo>
                  <a:lnTo>
                    <a:pt x="30" y="35"/>
                  </a:lnTo>
                  <a:lnTo>
                    <a:pt x="31" y="35"/>
                  </a:lnTo>
                  <a:lnTo>
                    <a:pt x="31" y="36"/>
                  </a:lnTo>
                  <a:lnTo>
                    <a:pt x="31" y="37"/>
                  </a:lnTo>
                  <a:lnTo>
                    <a:pt x="32" y="39"/>
                  </a:lnTo>
                  <a:lnTo>
                    <a:pt x="32" y="37"/>
                  </a:lnTo>
                  <a:lnTo>
                    <a:pt x="32" y="39"/>
                  </a:lnTo>
                  <a:lnTo>
                    <a:pt x="34" y="40"/>
                  </a:lnTo>
                  <a:lnTo>
                    <a:pt x="34" y="43"/>
                  </a:lnTo>
                  <a:lnTo>
                    <a:pt x="34" y="44"/>
                  </a:lnTo>
                  <a:lnTo>
                    <a:pt x="34" y="46"/>
                  </a:lnTo>
                  <a:lnTo>
                    <a:pt x="32" y="48"/>
                  </a:lnTo>
                  <a:lnTo>
                    <a:pt x="32" y="49"/>
                  </a:lnTo>
                  <a:lnTo>
                    <a:pt x="32" y="50"/>
                  </a:lnTo>
                  <a:lnTo>
                    <a:pt x="32" y="51"/>
                  </a:lnTo>
                  <a:lnTo>
                    <a:pt x="31" y="54"/>
                  </a:lnTo>
                  <a:lnTo>
                    <a:pt x="30" y="54"/>
                  </a:lnTo>
                  <a:lnTo>
                    <a:pt x="30" y="55"/>
                  </a:lnTo>
                  <a:lnTo>
                    <a:pt x="29" y="55"/>
                  </a:lnTo>
                  <a:lnTo>
                    <a:pt x="27" y="57"/>
                  </a:lnTo>
                  <a:lnTo>
                    <a:pt x="24" y="58"/>
                  </a:lnTo>
                  <a:lnTo>
                    <a:pt x="24" y="57"/>
                  </a:lnTo>
                  <a:lnTo>
                    <a:pt x="24" y="58"/>
                  </a:lnTo>
                  <a:lnTo>
                    <a:pt x="23" y="58"/>
                  </a:lnTo>
                  <a:lnTo>
                    <a:pt x="22" y="60"/>
                  </a:lnTo>
                  <a:lnTo>
                    <a:pt x="21" y="60"/>
                  </a:lnTo>
                  <a:lnTo>
                    <a:pt x="20" y="60"/>
                  </a:lnTo>
                  <a:lnTo>
                    <a:pt x="18" y="60"/>
                  </a:lnTo>
                  <a:lnTo>
                    <a:pt x="18" y="61"/>
                  </a:lnTo>
                  <a:lnTo>
                    <a:pt x="17" y="62"/>
                  </a:lnTo>
                  <a:lnTo>
                    <a:pt x="17" y="61"/>
                  </a:lnTo>
                  <a:lnTo>
                    <a:pt x="17" y="62"/>
                  </a:lnTo>
                  <a:lnTo>
                    <a:pt x="16" y="62"/>
                  </a:lnTo>
                  <a:lnTo>
                    <a:pt x="15" y="62"/>
                  </a:lnTo>
                  <a:lnTo>
                    <a:pt x="14" y="62"/>
                  </a:lnTo>
                  <a:lnTo>
                    <a:pt x="14" y="61"/>
                  </a:lnTo>
                  <a:lnTo>
                    <a:pt x="13" y="61"/>
                  </a:lnTo>
                  <a:lnTo>
                    <a:pt x="12" y="61"/>
                  </a:lnTo>
                  <a:lnTo>
                    <a:pt x="10" y="61"/>
                  </a:lnTo>
                  <a:lnTo>
                    <a:pt x="10" y="60"/>
                  </a:lnTo>
                  <a:lnTo>
                    <a:pt x="10" y="61"/>
                  </a:lnTo>
                  <a:lnTo>
                    <a:pt x="10" y="60"/>
                  </a:lnTo>
                  <a:lnTo>
                    <a:pt x="9" y="58"/>
                  </a:lnTo>
                  <a:lnTo>
                    <a:pt x="8" y="56"/>
                  </a:lnTo>
                  <a:lnTo>
                    <a:pt x="8" y="55"/>
                  </a:lnTo>
                  <a:lnTo>
                    <a:pt x="7" y="54"/>
                  </a:lnTo>
                  <a:lnTo>
                    <a:pt x="7" y="53"/>
                  </a:lnTo>
                  <a:lnTo>
                    <a:pt x="7" y="51"/>
                  </a:lnTo>
                  <a:lnTo>
                    <a:pt x="6" y="48"/>
                  </a:lnTo>
                  <a:lnTo>
                    <a:pt x="6" y="47"/>
                  </a:lnTo>
                  <a:lnTo>
                    <a:pt x="5" y="47"/>
                  </a:lnTo>
                  <a:lnTo>
                    <a:pt x="5" y="46"/>
                  </a:lnTo>
                  <a:lnTo>
                    <a:pt x="6" y="46"/>
                  </a:lnTo>
                  <a:lnTo>
                    <a:pt x="6" y="44"/>
                  </a:lnTo>
                  <a:lnTo>
                    <a:pt x="5" y="42"/>
                  </a:lnTo>
                  <a:lnTo>
                    <a:pt x="5" y="43"/>
                  </a:lnTo>
                  <a:lnTo>
                    <a:pt x="6" y="43"/>
                  </a:lnTo>
                  <a:lnTo>
                    <a:pt x="5" y="42"/>
                  </a:lnTo>
                  <a:lnTo>
                    <a:pt x="5" y="41"/>
                  </a:lnTo>
                  <a:lnTo>
                    <a:pt x="3" y="35"/>
                  </a:lnTo>
                  <a:lnTo>
                    <a:pt x="3" y="34"/>
                  </a:lnTo>
                  <a:lnTo>
                    <a:pt x="3" y="33"/>
                  </a:lnTo>
                  <a:lnTo>
                    <a:pt x="3" y="32"/>
                  </a:lnTo>
                  <a:lnTo>
                    <a:pt x="3" y="30"/>
                  </a:lnTo>
                  <a:lnTo>
                    <a:pt x="2" y="29"/>
                  </a:lnTo>
                  <a:lnTo>
                    <a:pt x="2" y="27"/>
                  </a:lnTo>
                  <a:lnTo>
                    <a:pt x="2" y="26"/>
                  </a:lnTo>
                  <a:lnTo>
                    <a:pt x="2" y="25"/>
                  </a:lnTo>
                  <a:lnTo>
                    <a:pt x="3" y="23"/>
                  </a:lnTo>
                  <a:lnTo>
                    <a:pt x="3" y="25"/>
                  </a:lnTo>
                  <a:lnTo>
                    <a:pt x="2" y="25"/>
                  </a:lnTo>
                  <a:lnTo>
                    <a:pt x="3" y="25"/>
                  </a:lnTo>
                  <a:lnTo>
                    <a:pt x="3" y="26"/>
                  </a:lnTo>
                  <a:lnTo>
                    <a:pt x="2" y="26"/>
                  </a:lnTo>
                  <a:lnTo>
                    <a:pt x="2" y="27"/>
                  </a:lnTo>
                  <a:lnTo>
                    <a:pt x="2" y="28"/>
                  </a:lnTo>
                  <a:lnTo>
                    <a:pt x="3" y="28"/>
                  </a:lnTo>
                  <a:lnTo>
                    <a:pt x="2" y="29"/>
                  </a:lnTo>
                  <a:lnTo>
                    <a:pt x="3" y="29"/>
                  </a:lnTo>
                  <a:lnTo>
                    <a:pt x="5" y="29"/>
                  </a:lnTo>
                  <a:lnTo>
                    <a:pt x="3" y="28"/>
                  </a:lnTo>
                  <a:lnTo>
                    <a:pt x="3" y="27"/>
                  </a:lnTo>
                  <a:lnTo>
                    <a:pt x="3" y="26"/>
                  </a:lnTo>
                  <a:lnTo>
                    <a:pt x="3" y="25"/>
                  </a:lnTo>
                  <a:lnTo>
                    <a:pt x="3" y="23"/>
                  </a:lnTo>
                  <a:lnTo>
                    <a:pt x="5" y="22"/>
                  </a:lnTo>
                  <a:lnTo>
                    <a:pt x="5" y="21"/>
                  </a:lnTo>
                  <a:lnTo>
                    <a:pt x="5" y="20"/>
                  </a:lnTo>
                  <a:lnTo>
                    <a:pt x="5" y="19"/>
                  </a:lnTo>
                  <a:lnTo>
                    <a:pt x="6" y="18"/>
                  </a:lnTo>
                  <a:lnTo>
                    <a:pt x="5" y="16"/>
                  </a:lnTo>
                  <a:lnTo>
                    <a:pt x="5" y="15"/>
                  </a:lnTo>
                  <a:lnTo>
                    <a:pt x="5" y="14"/>
                  </a:lnTo>
                  <a:lnTo>
                    <a:pt x="6" y="13"/>
                  </a:lnTo>
                  <a:lnTo>
                    <a:pt x="7" y="13"/>
                  </a:lnTo>
                  <a:lnTo>
                    <a:pt x="7" y="12"/>
                  </a:lnTo>
                  <a:lnTo>
                    <a:pt x="7" y="11"/>
                  </a:lnTo>
                  <a:lnTo>
                    <a:pt x="7" y="9"/>
                  </a:lnTo>
                  <a:lnTo>
                    <a:pt x="7" y="8"/>
                  </a:lnTo>
                  <a:lnTo>
                    <a:pt x="6" y="8"/>
                  </a:lnTo>
                  <a:lnTo>
                    <a:pt x="6" y="7"/>
                  </a:lnTo>
                  <a:lnTo>
                    <a:pt x="7" y="7"/>
                  </a:lnTo>
                  <a:lnTo>
                    <a:pt x="7" y="6"/>
                  </a:lnTo>
                  <a:lnTo>
                    <a:pt x="8" y="6"/>
                  </a:lnTo>
                  <a:lnTo>
                    <a:pt x="8" y="5"/>
                  </a:lnTo>
                  <a:lnTo>
                    <a:pt x="7" y="5"/>
                  </a:lnTo>
                  <a:lnTo>
                    <a:pt x="6" y="4"/>
                  </a:lnTo>
                  <a:lnTo>
                    <a:pt x="7" y="4"/>
                  </a:lnTo>
                  <a:lnTo>
                    <a:pt x="8" y="5"/>
                  </a:lnTo>
                  <a:lnTo>
                    <a:pt x="9" y="5"/>
                  </a:lnTo>
                  <a:lnTo>
                    <a:pt x="9" y="6"/>
                  </a:lnTo>
                  <a:lnTo>
                    <a:pt x="10" y="6"/>
                  </a:lnTo>
                  <a:lnTo>
                    <a:pt x="12" y="5"/>
                  </a:lnTo>
                  <a:lnTo>
                    <a:pt x="13" y="6"/>
                  </a:lnTo>
                  <a:lnTo>
                    <a:pt x="14" y="6"/>
                  </a:lnTo>
                  <a:lnTo>
                    <a:pt x="13" y="6"/>
                  </a:lnTo>
                  <a:lnTo>
                    <a:pt x="13" y="5"/>
                  </a:lnTo>
                  <a:lnTo>
                    <a:pt x="12" y="5"/>
                  </a:lnTo>
                  <a:lnTo>
                    <a:pt x="10" y="5"/>
                  </a:lnTo>
                  <a:lnTo>
                    <a:pt x="9" y="4"/>
                  </a:lnTo>
                  <a:lnTo>
                    <a:pt x="8" y="4"/>
                  </a:lnTo>
                  <a:lnTo>
                    <a:pt x="8" y="2"/>
                  </a:lnTo>
                  <a:lnTo>
                    <a:pt x="8" y="4"/>
                  </a:lnTo>
                  <a:lnTo>
                    <a:pt x="7" y="4"/>
                  </a:lnTo>
                  <a:lnTo>
                    <a:pt x="7" y="2"/>
                  </a:lnTo>
                  <a:lnTo>
                    <a:pt x="7" y="4"/>
                  </a:lnTo>
                  <a:lnTo>
                    <a:pt x="6" y="2"/>
                  </a:lnTo>
                  <a:lnTo>
                    <a:pt x="5" y="2"/>
                  </a:lnTo>
                  <a:lnTo>
                    <a:pt x="5" y="1"/>
                  </a:lnTo>
                  <a:lnTo>
                    <a:pt x="3" y="1"/>
                  </a:lnTo>
                  <a:lnTo>
                    <a:pt x="5" y="1"/>
                  </a:lnTo>
                  <a:lnTo>
                    <a:pt x="5" y="0"/>
                  </a:lnTo>
                  <a:lnTo>
                    <a:pt x="6" y="0"/>
                  </a:lnTo>
                  <a:lnTo>
                    <a:pt x="7" y="0"/>
                  </a:lnTo>
                  <a:lnTo>
                    <a:pt x="7" y="1"/>
                  </a:lnTo>
                  <a:lnTo>
                    <a:pt x="8" y="1"/>
                  </a:lnTo>
                  <a:lnTo>
                    <a:pt x="10" y="4"/>
                  </a:lnTo>
                  <a:lnTo>
                    <a:pt x="12" y="4"/>
                  </a:lnTo>
                  <a:lnTo>
                    <a:pt x="10" y="4"/>
                  </a:lnTo>
                  <a:lnTo>
                    <a:pt x="9" y="2"/>
                  </a:lnTo>
                  <a:lnTo>
                    <a:pt x="8" y="1"/>
                  </a:lnTo>
                  <a:lnTo>
                    <a:pt x="7" y="1"/>
                  </a:lnTo>
                  <a:lnTo>
                    <a:pt x="7" y="0"/>
                  </a:lnTo>
                  <a:lnTo>
                    <a:pt x="8" y="0"/>
                  </a:lnTo>
                  <a:lnTo>
                    <a:pt x="9" y="1"/>
                  </a:lnTo>
                  <a:lnTo>
                    <a:pt x="10" y="4"/>
                  </a:lnTo>
                  <a:lnTo>
                    <a:pt x="12" y="4"/>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79" name="Freeform 935">
              <a:extLst>
                <a:ext uri="{FF2B5EF4-FFF2-40B4-BE49-F238E27FC236}">
                  <a16:creationId xmlns:a16="http://schemas.microsoft.com/office/drawing/2014/main" id="{DCCE1A4B-319E-49EE-9ED5-C8A11A77AD94}"/>
                </a:ext>
              </a:extLst>
            </p:cNvPr>
            <p:cNvSpPr>
              <a:spLocks/>
            </p:cNvSpPr>
            <p:nvPr/>
          </p:nvSpPr>
          <p:spPr bwMode="auto">
            <a:xfrm>
              <a:off x="6289874" y="3952169"/>
              <a:ext cx="44072" cy="42736"/>
            </a:xfrm>
            <a:custGeom>
              <a:avLst/>
              <a:gdLst>
                <a:gd name="T0" fmla="*/ 26 w 33"/>
                <a:gd name="T1" fmla="*/ 3 h 32"/>
                <a:gd name="T2" fmla="*/ 27 w 33"/>
                <a:gd name="T3" fmla="*/ 6 h 32"/>
                <a:gd name="T4" fmla="*/ 28 w 33"/>
                <a:gd name="T5" fmla="*/ 6 h 32"/>
                <a:gd name="T6" fmla="*/ 32 w 33"/>
                <a:gd name="T7" fmla="*/ 8 h 32"/>
                <a:gd name="T8" fmla="*/ 32 w 33"/>
                <a:gd name="T9" fmla="*/ 10 h 32"/>
                <a:gd name="T10" fmla="*/ 33 w 33"/>
                <a:gd name="T11" fmla="*/ 11 h 32"/>
                <a:gd name="T12" fmla="*/ 33 w 33"/>
                <a:gd name="T13" fmla="*/ 13 h 32"/>
                <a:gd name="T14" fmla="*/ 32 w 33"/>
                <a:gd name="T15" fmla="*/ 14 h 32"/>
                <a:gd name="T16" fmla="*/ 31 w 33"/>
                <a:gd name="T17" fmla="*/ 15 h 32"/>
                <a:gd name="T18" fmla="*/ 29 w 33"/>
                <a:gd name="T19" fmla="*/ 17 h 32"/>
                <a:gd name="T20" fmla="*/ 28 w 33"/>
                <a:gd name="T21" fmla="*/ 18 h 32"/>
                <a:gd name="T22" fmla="*/ 28 w 33"/>
                <a:gd name="T23" fmla="*/ 21 h 32"/>
                <a:gd name="T24" fmla="*/ 28 w 33"/>
                <a:gd name="T25" fmla="*/ 21 h 32"/>
                <a:gd name="T26" fmla="*/ 22 w 33"/>
                <a:gd name="T27" fmla="*/ 24 h 32"/>
                <a:gd name="T28" fmla="*/ 19 w 33"/>
                <a:gd name="T29" fmla="*/ 24 h 32"/>
                <a:gd name="T30" fmla="*/ 18 w 33"/>
                <a:gd name="T31" fmla="*/ 25 h 32"/>
                <a:gd name="T32" fmla="*/ 17 w 33"/>
                <a:gd name="T33" fmla="*/ 27 h 32"/>
                <a:gd name="T34" fmla="*/ 15 w 33"/>
                <a:gd name="T35" fmla="*/ 28 h 32"/>
                <a:gd name="T36" fmla="*/ 14 w 33"/>
                <a:gd name="T37" fmla="*/ 30 h 32"/>
                <a:gd name="T38" fmla="*/ 14 w 33"/>
                <a:gd name="T39" fmla="*/ 31 h 32"/>
                <a:gd name="T40" fmla="*/ 13 w 33"/>
                <a:gd name="T41" fmla="*/ 32 h 32"/>
                <a:gd name="T42" fmla="*/ 11 w 33"/>
                <a:gd name="T43" fmla="*/ 32 h 32"/>
                <a:gd name="T44" fmla="*/ 11 w 33"/>
                <a:gd name="T45" fmla="*/ 32 h 32"/>
                <a:gd name="T46" fmla="*/ 7 w 33"/>
                <a:gd name="T47" fmla="*/ 31 h 32"/>
                <a:gd name="T48" fmla="*/ 6 w 33"/>
                <a:gd name="T49" fmla="*/ 29 h 32"/>
                <a:gd name="T50" fmla="*/ 5 w 33"/>
                <a:gd name="T51" fmla="*/ 28 h 32"/>
                <a:gd name="T52" fmla="*/ 5 w 33"/>
                <a:gd name="T53" fmla="*/ 28 h 32"/>
                <a:gd name="T54" fmla="*/ 4 w 33"/>
                <a:gd name="T55" fmla="*/ 25 h 32"/>
                <a:gd name="T56" fmla="*/ 4 w 33"/>
                <a:gd name="T57" fmla="*/ 24 h 32"/>
                <a:gd name="T58" fmla="*/ 3 w 33"/>
                <a:gd name="T59" fmla="*/ 23 h 32"/>
                <a:gd name="T60" fmla="*/ 1 w 33"/>
                <a:gd name="T61" fmla="*/ 18 h 32"/>
                <a:gd name="T62" fmla="*/ 0 w 33"/>
                <a:gd name="T63" fmla="*/ 17 h 32"/>
                <a:gd name="T64" fmla="*/ 0 w 33"/>
                <a:gd name="T65" fmla="*/ 16 h 32"/>
                <a:gd name="T66" fmla="*/ 1 w 33"/>
                <a:gd name="T67" fmla="*/ 16 h 32"/>
                <a:gd name="T68" fmla="*/ 3 w 33"/>
                <a:gd name="T69" fmla="*/ 15 h 32"/>
                <a:gd name="T70" fmla="*/ 4 w 33"/>
                <a:gd name="T71" fmla="*/ 15 h 32"/>
                <a:gd name="T72" fmla="*/ 5 w 33"/>
                <a:gd name="T73" fmla="*/ 14 h 32"/>
                <a:gd name="T74" fmla="*/ 6 w 33"/>
                <a:gd name="T75" fmla="*/ 13 h 32"/>
                <a:gd name="T76" fmla="*/ 6 w 33"/>
                <a:gd name="T77" fmla="*/ 13 h 32"/>
                <a:gd name="T78" fmla="*/ 7 w 33"/>
                <a:gd name="T79" fmla="*/ 11 h 32"/>
                <a:gd name="T80" fmla="*/ 7 w 33"/>
                <a:gd name="T81" fmla="*/ 10 h 32"/>
                <a:gd name="T82" fmla="*/ 10 w 33"/>
                <a:gd name="T83" fmla="*/ 8 h 32"/>
                <a:gd name="T84" fmla="*/ 10 w 33"/>
                <a:gd name="T85" fmla="*/ 8 h 32"/>
                <a:gd name="T86" fmla="*/ 10 w 33"/>
                <a:gd name="T87" fmla="*/ 7 h 32"/>
                <a:gd name="T88" fmla="*/ 11 w 33"/>
                <a:gd name="T89" fmla="*/ 7 h 32"/>
                <a:gd name="T90" fmla="*/ 11 w 33"/>
                <a:gd name="T91" fmla="*/ 6 h 32"/>
                <a:gd name="T92" fmla="*/ 13 w 33"/>
                <a:gd name="T93" fmla="*/ 6 h 32"/>
                <a:gd name="T94" fmla="*/ 14 w 33"/>
                <a:gd name="T95" fmla="*/ 4 h 32"/>
                <a:gd name="T96" fmla="*/ 14 w 33"/>
                <a:gd name="T97" fmla="*/ 4 h 32"/>
                <a:gd name="T98" fmla="*/ 17 w 33"/>
                <a:gd name="T99" fmla="*/ 2 h 32"/>
                <a:gd name="T100" fmla="*/ 18 w 33"/>
                <a:gd name="T101" fmla="*/ 2 h 32"/>
                <a:gd name="T102" fmla="*/ 20 w 33"/>
                <a:gd name="T103" fmla="*/ 1 h 32"/>
                <a:gd name="T104" fmla="*/ 24 w 33"/>
                <a:gd name="T105" fmla="*/ 0 h 32"/>
                <a:gd name="T106" fmla="*/ 25 w 33"/>
                <a:gd name="T10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 h="32">
                  <a:moveTo>
                    <a:pt x="25" y="2"/>
                  </a:moveTo>
                  <a:lnTo>
                    <a:pt x="25" y="2"/>
                  </a:lnTo>
                  <a:lnTo>
                    <a:pt x="25" y="2"/>
                  </a:lnTo>
                  <a:lnTo>
                    <a:pt x="26" y="3"/>
                  </a:lnTo>
                  <a:lnTo>
                    <a:pt x="26" y="3"/>
                  </a:lnTo>
                  <a:lnTo>
                    <a:pt x="26" y="3"/>
                  </a:lnTo>
                  <a:lnTo>
                    <a:pt x="26" y="3"/>
                  </a:lnTo>
                  <a:lnTo>
                    <a:pt x="26" y="3"/>
                  </a:lnTo>
                  <a:lnTo>
                    <a:pt x="26" y="3"/>
                  </a:lnTo>
                  <a:lnTo>
                    <a:pt x="26" y="3"/>
                  </a:lnTo>
                  <a:lnTo>
                    <a:pt x="27" y="4"/>
                  </a:lnTo>
                  <a:lnTo>
                    <a:pt x="27" y="6"/>
                  </a:lnTo>
                  <a:lnTo>
                    <a:pt x="28" y="6"/>
                  </a:lnTo>
                  <a:lnTo>
                    <a:pt x="28" y="6"/>
                  </a:lnTo>
                  <a:lnTo>
                    <a:pt x="28" y="6"/>
                  </a:lnTo>
                  <a:lnTo>
                    <a:pt x="28" y="6"/>
                  </a:lnTo>
                  <a:lnTo>
                    <a:pt x="28" y="6"/>
                  </a:lnTo>
                  <a:lnTo>
                    <a:pt x="28" y="6"/>
                  </a:lnTo>
                  <a:lnTo>
                    <a:pt x="28" y="6"/>
                  </a:lnTo>
                  <a:lnTo>
                    <a:pt x="29" y="7"/>
                  </a:lnTo>
                  <a:lnTo>
                    <a:pt x="29" y="7"/>
                  </a:lnTo>
                  <a:lnTo>
                    <a:pt x="31" y="8"/>
                  </a:lnTo>
                  <a:lnTo>
                    <a:pt x="31" y="8"/>
                  </a:lnTo>
                  <a:lnTo>
                    <a:pt x="32" y="8"/>
                  </a:lnTo>
                  <a:lnTo>
                    <a:pt x="32" y="8"/>
                  </a:lnTo>
                  <a:lnTo>
                    <a:pt x="32" y="9"/>
                  </a:lnTo>
                  <a:lnTo>
                    <a:pt x="32" y="9"/>
                  </a:lnTo>
                  <a:lnTo>
                    <a:pt x="32" y="9"/>
                  </a:lnTo>
                  <a:lnTo>
                    <a:pt x="32" y="9"/>
                  </a:lnTo>
                  <a:lnTo>
                    <a:pt x="32" y="10"/>
                  </a:lnTo>
                  <a:lnTo>
                    <a:pt x="33" y="10"/>
                  </a:lnTo>
                  <a:lnTo>
                    <a:pt x="33" y="10"/>
                  </a:lnTo>
                  <a:lnTo>
                    <a:pt x="33" y="11"/>
                  </a:lnTo>
                  <a:lnTo>
                    <a:pt x="33" y="11"/>
                  </a:lnTo>
                  <a:lnTo>
                    <a:pt x="33" y="11"/>
                  </a:lnTo>
                  <a:lnTo>
                    <a:pt x="33" y="11"/>
                  </a:lnTo>
                  <a:lnTo>
                    <a:pt x="33" y="11"/>
                  </a:lnTo>
                  <a:lnTo>
                    <a:pt x="33" y="11"/>
                  </a:lnTo>
                  <a:lnTo>
                    <a:pt x="33" y="11"/>
                  </a:lnTo>
                  <a:lnTo>
                    <a:pt x="33" y="13"/>
                  </a:lnTo>
                  <a:lnTo>
                    <a:pt x="33" y="13"/>
                  </a:lnTo>
                  <a:lnTo>
                    <a:pt x="33" y="13"/>
                  </a:lnTo>
                  <a:lnTo>
                    <a:pt x="33" y="13"/>
                  </a:lnTo>
                  <a:lnTo>
                    <a:pt x="33" y="14"/>
                  </a:lnTo>
                  <a:lnTo>
                    <a:pt x="33" y="14"/>
                  </a:lnTo>
                  <a:lnTo>
                    <a:pt x="33" y="14"/>
                  </a:lnTo>
                  <a:lnTo>
                    <a:pt x="32" y="14"/>
                  </a:lnTo>
                  <a:lnTo>
                    <a:pt x="32" y="14"/>
                  </a:lnTo>
                  <a:lnTo>
                    <a:pt x="32" y="14"/>
                  </a:lnTo>
                  <a:lnTo>
                    <a:pt x="31" y="14"/>
                  </a:lnTo>
                  <a:lnTo>
                    <a:pt x="31" y="15"/>
                  </a:lnTo>
                  <a:lnTo>
                    <a:pt x="31" y="15"/>
                  </a:lnTo>
                  <a:lnTo>
                    <a:pt x="31" y="15"/>
                  </a:lnTo>
                  <a:lnTo>
                    <a:pt x="31" y="15"/>
                  </a:lnTo>
                  <a:lnTo>
                    <a:pt x="31" y="16"/>
                  </a:lnTo>
                  <a:lnTo>
                    <a:pt x="31" y="16"/>
                  </a:lnTo>
                  <a:lnTo>
                    <a:pt x="31" y="16"/>
                  </a:lnTo>
                  <a:lnTo>
                    <a:pt x="31" y="16"/>
                  </a:lnTo>
                  <a:lnTo>
                    <a:pt x="31" y="16"/>
                  </a:lnTo>
                  <a:lnTo>
                    <a:pt x="29" y="17"/>
                  </a:lnTo>
                  <a:lnTo>
                    <a:pt x="29" y="17"/>
                  </a:lnTo>
                  <a:lnTo>
                    <a:pt x="28" y="17"/>
                  </a:lnTo>
                  <a:lnTo>
                    <a:pt x="28" y="18"/>
                  </a:lnTo>
                  <a:lnTo>
                    <a:pt x="28" y="18"/>
                  </a:lnTo>
                  <a:lnTo>
                    <a:pt x="28" y="18"/>
                  </a:lnTo>
                  <a:lnTo>
                    <a:pt x="28" y="18"/>
                  </a:lnTo>
                  <a:lnTo>
                    <a:pt x="28" y="20"/>
                  </a:lnTo>
                  <a:lnTo>
                    <a:pt x="28" y="20"/>
                  </a:lnTo>
                  <a:lnTo>
                    <a:pt x="28" y="20"/>
                  </a:lnTo>
                  <a:lnTo>
                    <a:pt x="28" y="20"/>
                  </a:lnTo>
                  <a:lnTo>
                    <a:pt x="28" y="20"/>
                  </a:lnTo>
                  <a:lnTo>
                    <a:pt x="28" y="21"/>
                  </a:lnTo>
                  <a:lnTo>
                    <a:pt x="28" y="21"/>
                  </a:lnTo>
                  <a:lnTo>
                    <a:pt x="28" y="21"/>
                  </a:lnTo>
                  <a:lnTo>
                    <a:pt x="28" y="21"/>
                  </a:lnTo>
                  <a:lnTo>
                    <a:pt x="28" y="21"/>
                  </a:lnTo>
                  <a:lnTo>
                    <a:pt x="28" y="21"/>
                  </a:lnTo>
                  <a:lnTo>
                    <a:pt x="28" y="21"/>
                  </a:lnTo>
                  <a:lnTo>
                    <a:pt x="28" y="22"/>
                  </a:lnTo>
                  <a:lnTo>
                    <a:pt x="27" y="22"/>
                  </a:lnTo>
                  <a:lnTo>
                    <a:pt x="26" y="22"/>
                  </a:lnTo>
                  <a:lnTo>
                    <a:pt x="25" y="23"/>
                  </a:lnTo>
                  <a:lnTo>
                    <a:pt x="24" y="24"/>
                  </a:lnTo>
                  <a:lnTo>
                    <a:pt x="22" y="24"/>
                  </a:lnTo>
                  <a:lnTo>
                    <a:pt x="21" y="24"/>
                  </a:lnTo>
                  <a:lnTo>
                    <a:pt x="21" y="24"/>
                  </a:lnTo>
                  <a:lnTo>
                    <a:pt x="20" y="24"/>
                  </a:lnTo>
                  <a:lnTo>
                    <a:pt x="20" y="24"/>
                  </a:lnTo>
                  <a:lnTo>
                    <a:pt x="20" y="24"/>
                  </a:lnTo>
                  <a:lnTo>
                    <a:pt x="19" y="24"/>
                  </a:lnTo>
                  <a:lnTo>
                    <a:pt x="19" y="24"/>
                  </a:lnTo>
                  <a:lnTo>
                    <a:pt x="18" y="24"/>
                  </a:lnTo>
                  <a:lnTo>
                    <a:pt x="18" y="24"/>
                  </a:lnTo>
                  <a:lnTo>
                    <a:pt x="18" y="25"/>
                  </a:lnTo>
                  <a:lnTo>
                    <a:pt x="18" y="25"/>
                  </a:lnTo>
                  <a:lnTo>
                    <a:pt x="18" y="25"/>
                  </a:lnTo>
                  <a:lnTo>
                    <a:pt x="17" y="25"/>
                  </a:lnTo>
                  <a:lnTo>
                    <a:pt x="17" y="25"/>
                  </a:lnTo>
                  <a:lnTo>
                    <a:pt x="17" y="27"/>
                  </a:lnTo>
                  <a:lnTo>
                    <a:pt x="17" y="27"/>
                  </a:lnTo>
                  <a:lnTo>
                    <a:pt x="17" y="27"/>
                  </a:lnTo>
                  <a:lnTo>
                    <a:pt x="17" y="27"/>
                  </a:lnTo>
                  <a:lnTo>
                    <a:pt x="15" y="27"/>
                  </a:lnTo>
                  <a:lnTo>
                    <a:pt x="15" y="27"/>
                  </a:lnTo>
                  <a:lnTo>
                    <a:pt x="15" y="27"/>
                  </a:lnTo>
                  <a:lnTo>
                    <a:pt x="15" y="27"/>
                  </a:lnTo>
                  <a:lnTo>
                    <a:pt x="15" y="28"/>
                  </a:lnTo>
                  <a:lnTo>
                    <a:pt x="15" y="28"/>
                  </a:lnTo>
                  <a:lnTo>
                    <a:pt x="15" y="28"/>
                  </a:lnTo>
                  <a:lnTo>
                    <a:pt x="15" y="28"/>
                  </a:lnTo>
                  <a:lnTo>
                    <a:pt x="15" y="28"/>
                  </a:lnTo>
                  <a:lnTo>
                    <a:pt x="15" y="29"/>
                  </a:lnTo>
                  <a:lnTo>
                    <a:pt x="14" y="29"/>
                  </a:lnTo>
                  <a:lnTo>
                    <a:pt x="14" y="30"/>
                  </a:lnTo>
                  <a:lnTo>
                    <a:pt x="14" y="30"/>
                  </a:lnTo>
                  <a:lnTo>
                    <a:pt x="14" y="30"/>
                  </a:lnTo>
                  <a:lnTo>
                    <a:pt x="14" y="30"/>
                  </a:lnTo>
                  <a:lnTo>
                    <a:pt x="14" y="30"/>
                  </a:lnTo>
                  <a:lnTo>
                    <a:pt x="14" y="31"/>
                  </a:lnTo>
                  <a:lnTo>
                    <a:pt x="14" y="31"/>
                  </a:lnTo>
                  <a:lnTo>
                    <a:pt x="14" y="31"/>
                  </a:lnTo>
                  <a:lnTo>
                    <a:pt x="14" y="31"/>
                  </a:lnTo>
                  <a:lnTo>
                    <a:pt x="13" y="31"/>
                  </a:lnTo>
                  <a:lnTo>
                    <a:pt x="13" y="31"/>
                  </a:lnTo>
                  <a:lnTo>
                    <a:pt x="13" y="31"/>
                  </a:lnTo>
                  <a:lnTo>
                    <a:pt x="13" y="32"/>
                  </a:lnTo>
                  <a:lnTo>
                    <a:pt x="13" y="32"/>
                  </a:lnTo>
                  <a:lnTo>
                    <a:pt x="13" y="32"/>
                  </a:lnTo>
                  <a:lnTo>
                    <a:pt x="13" y="32"/>
                  </a:lnTo>
                  <a:lnTo>
                    <a:pt x="13" y="32"/>
                  </a:lnTo>
                  <a:lnTo>
                    <a:pt x="12" y="32"/>
                  </a:lnTo>
                  <a:lnTo>
                    <a:pt x="11" y="32"/>
                  </a:lnTo>
                  <a:lnTo>
                    <a:pt x="11" y="32"/>
                  </a:lnTo>
                  <a:lnTo>
                    <a:pt x="11" y="32"/>
                  </a:lnTo>
                  <a:lnTo>
                    <a:pt x="11" y="32"/>
                  </a:lnTo>
                  <a:lnTo>
                    <a:pt x="11" y="32"/>
                  </a:lnTo>
                  <a:lnTo>
                    <a:pt x="11" y="32"/>
                  </a:lnTo>
                  <a:lnTo>
                    <a:pt x="11" y="32"/>
                  </a:lnTo>
                  <a:lnTo>
                    <a:pt x="10" y="32"/>
                  </a:lnTo>
                  <a:lnTo>
                    <a:pt x="10" y="32"/>
                  </a:lnTo>
                  <a:lnTo>
                    <a:pt x="10" y="32"/>
                  </a:lnTo>
                  <a:lnTo>
                    <a:pt x="8" y="32"/>
                  </a:lnTo>
                  <a:lnTo>
                    <a:pt x="8" y="31"/>
                  </a:lnTo>
                  <a:lnTo>
                    <a:pt x="7" y="31"/>
                  </a:lnTo>
                  <a:lnTo>
                    <a:pt x="7" y="30"/>
                  </a:lnTo>
                  <a:lnTo>
                    <a:pt x="7" y="30"/>
                  </a:lnTo>
                  <a:lnTo>
                    <a:pt x="7" y="30"/>
                  </a:lnTo>
                  <a:lnTo>
                    <a:pt x="7" y="30"/>
                  </a:lnTo>
                  <a:lnTo>
                    <a:pt x="7" y="30"/>
                  </a:lnTo>
                  <a:lnTo>
                    <a:pt x="6" y="29"/>
                  </a:lnTo>
                  <a:lnTo>
                    <a:pt x="6" y="29"/>
                  </a:lnTo>
                  <a:lnTo>
                    <a:pt x="6" y="29"/>
                  </a:lnTo>
                  <a:lnTo>
                    <a:pt x="6" y="29"/>
                  </a:lnTo>
                  <a:lnTo>
                    <a:pt x="6" y="28"/>
                  </a:lnTo>
                  <a:lnTo>
                    <a:pt x="6" y="28"/>
                  </a:lnTo>
                  <a:lnTo>
                    <a:pt x="5" y="28"/>
                  </a:lnTo>
                  <a:lnTo>
                    <a:pt x="5" y="28"/>
                  </a:lnTo>
                  <a:lnTo>
                    <a:pt x="5" y="28"/>
                  </a:lnTo>
                  <a:lnTo>
                    <a:pt x="5" y="28"/>
                  </a:lnTo>
                  <a:lnTo>
                    <a:pt x="5" y="28"/>
                  </a:lnTo>
                  <a:lnTo>
                    <a:pt x="5" y="28"/>
                  </a:lnTo>
                  <a:lnTo>
                    <a:pt x="5" y="28"/>
                  </a:lnTo>
                  <a:lnTo>
                    <a:pt x="4" y="28"/>
                  </a:lnTo>
                  <a:lnTo>
                    <a:pt x="4" y="28"/>
                  </a:lnTo>
                  <a:lnTo>
                    <a:pt x="4" y="28"/>
                  </a:lnTo>
                  <a:lnTo>
                    <a:pt x="4" y="27"/>
                  </a:lnTo>
                  <a:lnTo>
                    <a:pt x="4" y="27"/>
                  </a:lnTo>
                  <a:lnTo>
                    <a:pt x="4" y="25"/>
                  </a:lnTo>
                  <a:lnTo>
                    <a:pt x="4" y="25"/>
                  </a:lnTo>
                  <a:lnTo>
                    <a:pt x="5" y="24"/>
                  </a:lnTo>
                  <a:lnTo>
                    <a:pt x="5" y="24"/>
                  </a:lnTo>
                  <a:lnTo>
                    <a:pt x="5" y="24"/>
                  </a:lnTo>
                  <a:lnTo>
                    <a:pt x="4" y="24"/>
                  </a:lnTo>
                  <a:lnTo>
                    <a:pt x="4" y="24"/>
                  </a:lnTo>
                  <a:lnTo>
                    <a:pt x="4" y="24"/>
                  </a:lnTo>
                  <a:lnTo>
                    <a:pt x="4" y="24"/>
                  </a:lnTo>
                  <a:lnTo>
                    <a:pt x="4" y="24"/>
                  </a:lnTo>
                  <a:lnTo>
                    <a:pt x="4" y="24"/>
                  </a:lnTo>
                  <a:lnTo>
                    <a:pt x="4" y="23"/>
                  </a:lnTo>
                  <a:lnTo>
                    <a:pt x="3" y="23"/>
                  </a:lnTo>
                  <a:lnTo>
                    <a:pt x="3" y="22"/>
                  </a:lnTo>
                  <a:lnTo>
                    <a:pt x="3" y="22"/>
                  </a:lnTo>
                  <a:lnTo>
                    <a:pt x="1" y="21"/>
                  </a:lnTo>
                  <a:lnTo>
                    <a:pt x="1" y="18"/>
                  </a:lnTo>
                  <a:lnTo>
                    <a:pt x="1" y="18"/>
                  </a:lnTo>
                  <a:lnTo>
                    <a:pt x="1" y="18"/>
                  </a:lnTo>
                  <a:lnTo>
                    <a:pt x="1" y="18"/>
                  </a:lnTo>
                  <a:lnTo>
                    <a:pt x="0" y="17"/>
                  </a:lnTo>
                  <a:lnTo>
                    <a:pt x="0" y="17"/>
                  </a:lnTo>
                  <a:lnTo>
                    <a:pt x="0" y="17"/>
                  </a:lnTo>
                  <a:lnTo>
                    <a:pt x="0" y="17"/>
                  </a:lnTo>
                  <a:lnTo>
                    <a:pt x="0" y="17"/>
                  </a:lnTo>
                  <a:lnTo>
                    <a:pt x="0" y="17"/>
                  </a:lnTo>
                  <a:lnTo>
                    <a:pt x="0" y="16"/>
                  </a:lnTo>
                  <a:lnTo>
                    <a:pt x="0" y="16"/>
                  </a:lnTo>
                  <a:lnTo>
                    <a:pt x="0" y="16"/>
                  </a:lnTo>
                  <a:lnTo>
                    <a:pt x="0" y="16"/>
                  </a:lnTo>
                  <a:lnTo>
                    <a:pt x="0" y="16"/>
                  </a:lnTo>
                  <a:lnTo>
                    <a:pt x="0" y="16"/>
                  </a:lnTo>
                  <a:lnTo>
                    <a:pt x="1" y="16"/>
                  </a:lnTo>
                  <a:lnTo>
                    <a:pt x="1" y="16"/>
                  </a:lnTo>
                  <a:lnTo>
                    <a:pt x="1" y="16"/>
                  </a:lnTo>
                  <a:lnTo>
                    <a:pt x="1" y="16"/>
                  </a:lnTo>
                  <a:lnTo>
                    <a:pt x="1" y="16"/>
                  </a:lnTo>
                  <a:lnTo>
                    <a:pt x="1" y="16"/>
                  </a:lnTo>
                  <a:lnTo>
                    <a:pt x="1" y="16"/>
                  </a:lnTo>
                  <a:lnTo>
                    <a:pt x="1" y="16"/>
                  </a:lnTo>
                  <a:lnTo>
                    <a:pt x="3" y="16"/>
                  </a:lnTo>
                  <a:lnTo>
                    <a:pt x="3" y="16"/>
                  </a:lnTo>
                  <a:lnTo>
                    <a:pt x="3" y="15"/>
                  </a:lnTo>
                  <a:lnTo>
                    <a:pt x="3" y="15"/>
                  </a:lnTo>
                  <a:lnTo>
                    <a:pt x="4" y="15"/>
                  </a:lnTo>
                  <a:lnTo>
                    <a:pt x="4" y="15"/>
                  </a:lnTo>
                  <a:lnTo>
                    <a:pt x="4" y="15"/>
                  </a:lnTo>
                  <a:lnTo>
                    <a:pt x="4" y="15"/>
                  </a:lnTo>
                  <a:lnTo>
                    <a:pt x="4" y="15"/>
                  </a:lnTo>
                  <a:lnTo>
                    <a:pt x="4" y="15"/>
                  </a:lnTo>
                  <a:lnTo>
                    <a:pt x="5" y="15"/>
                  </a:lnTo>
                  <a:lnTo>
                    <a:pt x="5" y="14"/>
                  </a:lnTo>
                  <a:lnTo>
                    <a:pt x="5" y="14"/>
                  </a:lnTo>
                  <a:lnTo>
                    <a:pt x="5" y="14"/>
                  </a:lnTo>
                  <a:lnTo>
                    <a:pt x="5" y="14"/>
                  </a:lnTo>
                  <a:lnTo>
                    <a:pt x="5" y="14"/>
                  </a:lnTo>
                  <a:lnTo>
                    <a:pt x="5" y="14"/>
                  </a:lnTo>
                  <a:lnTo>
                    <a:pt x="6" y="13"/>
                  </a:lnTo>
                  <a:lnTo>
                    <a:pt x="6" y="13"/>
                  </a:lnTo>
                  <a:lnTo>
                    <a:pt x="6" y="13"/>
                  </a:lnTo>
                  <a:lnTo>
                    <a:pt x="6" y="13"/>
                  </a:lnTo>
                  <a:lnTo>
                    <a:pt x="6" y="13"/>
                  </a:lnTo>
                  <a:lnTo>
                    <a:pt x="6" y="13"/>
                  </a:lnTo>
                  <a:lnTo>
                    <a:pt x="6" y="13"/>
                  </a:lnTo>
                  <a:lnTo>
                    <a:pt x="6" y="13"/>
                  </a:lnTo>
                  <a:lnTo>
                    <a:pt x="6" y="13"/>
                  </a:lnTo>
                  <a:lnTo>
                    <a:pt x="6" y="13"/>
                  </a:lnTo>
                  <a:lnTo>
                    <a:pt x="6" y="11"/>
                  </a:lnTo>
                  <a:lnTo>
                    <a:pt x="6" y="11"/>
                  </a:lnTo>
                  <a:lnTo>
                    <a:pt x="6" y="11"/>
                  </a:lnTo>
                  <a:lnTo>
                    <a:pt x="6" y="11"/>
                  </a:lnTo>
                  <a:lnTo>
                    <a:pt x="6" y="11"/>
                  </a:lnTo>
                  <a:lnTo>
                    <a:pt x="7" y="11"/>
                  </a:lnTo>
                  <a:lnTo>
                    <a:pt x="7" y="11"/>
                  </a:lnTo>
                  <a:lnTo>
                    <a:pt x="7" y="10"/>
                  </a:lnTo>
                  <a:lnTo>
                    <a:pt x="7" y="10"/>
                  </a:lnTo>
                  <a:lnTo>
                    <a:pt x="7" y="10"/>
                  </a:lnTo>
                  <a:lnTo>
                    <a:pt x="7" y="10"/>
                  </a:lnTo>
                  <a:lnTo>
                    <a:pt x="7" y="10"/>
                  </a:lnTo>
                  <a:lnTo>
                    <a:pt x="7" y="10"/>
                  </a:lnTo>
                  <a:lnTo>
                    <a:pt x="7" y="10"/>
                  </a:lnTo>
                  <a:lnTo>
                    <a:pt x="8" y="10"/>
                  </a:lnTo>
                  <a:lnTo>
                    <a:pt x="8" y="9"/>
                  </a:lnTo>
                  <a:lnTo>
                    <a:pt x="8" y="9"/>
                  </a:lnTo>
                  <a:lnTo>
                    <a:pt x="10" y="8"/>
                  </a:lnTo>
                  <a:lnTo>
                    <a:pt x="10" y="8"/>
                  </a:lnTo>
                  <a:lnTo>
                    <a:pt x="10" y="8"/>
                  </a:lnTo>
                  <a:lnTo>
                    <a:pt x="10" y="8"/>
                  </a:lnTo>
                  <a:lnTo>
                    <a:pt x="10" y="8"/>
                  </a:lnTo>
                  <a:lnTo>
                    <a:pt x="10" y="8"/>
                  </a:lnTo>
                  <a:lnTo>
                    <a:pt x="10" y="8"/>
                  </a:lnTo>
                  <a:lnTo>
                    <a:pt x="10" y="8"/>
                  </a:lnTo>
                  <a:lnTo>
                    <a:pt x="10" y="8"/>
                  </a:lnTo>
                  <a:lnTo>
                    <a:pt x="10" y="7"/>
                  </a:lnTo>
                  <a:lnTo>
                    <a:pt x="10" y="7"/>
                  </a:lnTo>
                  <a:lnTo>
                    <a:pt x="10" y="7"/>
                  </a:lnTo>
                  <a:lnTo>
                    <a:pt x="10" y="7"/>
                  </a:lnTo>
                  <a:lnTo>
                    <a:pt x="10" y="7"/>
                  </a:lnTo>
                  <a:lnTo>
                    <a:pt x="10" y="7"/>
                  </a:lnTo>
                  <a:lnTo>
                    <a:pt x="11" y="7"/>
                  </a:lnTo>
                  <a:lnTo>
                    <a:pt x="11" y="7"/>
                  </a:lnTo>
                  <a:lnTo>
                    <a:pt x="11" y="7"/>
                  </a:lnTo>
                  <a:lnTo>
                    <a:pt x="11" y="7"/>
                  </a:lnTo>
                  <a:lnTo>
                    <a:pt x="11" y="7"/>
                  </a:lnTo>
                  <a:lnTo>
                    <a:pt x="11" y="7"/>
                  </a:lnTo>
                  <a:lnTo>
                    <a:pt x="11" y="6"/>
                  </a:lnTo>
                  <a:lnTo>
                    <a:pt x="11" y="6"/>
                  </a:lnTo>
                  <a:lnTo>
                    <a:pt x="11" y="6"/>
                  </a:lnTo>
                  <a:lnTo>
                    <a:pt x="11" y="6"/>
                  </a:lnTo>
                  <a:lnTo>
                    <a:pt x="11" y="6"/>
                  </a:lnTo>
                  <a:lnTo>
                    <a:pt x="11" y="6"/>
                  </a:lnTo>
                  <a:lnTo>
                    <a:pt x="11" y="6"/>
                  </a:lnTo>
                  <a:lnTo>
                    <a:pt x="11" y="6"/>
                  </a:lnTo>
                  <a:lnTo>
                    <a:pt x="12" y="6"/>
                  </a:lnTo>
                  <a:lnTo>
                    <a:pt x="13" y="6"/>
                  </a:lnTo>
                  <a:lnTo>
                    <a:pt x="13" y="4"/>
                  </a:lnTo>
                  <a:lnTo>
                    <a:pt x="13" y="4"/>
                  </a:lnTo>
                  <a:lnTo>
                    <a:pt x="13" y="4"/>
                  </a:lnTo>
                  <a:lnTo>
                    <a:pt x="13" y="4"/>
                  </a:lnTo>
                  <a:lnTo>
                    <a:pt x="13" y="4"/>
                  </a:lnTo>
                  <a:lnTo>
                    <a:pt x="14" y="4"/>
                  </a:lnTo>
                  <a:lnTo>
                    <a:pt x="14" y="4"/>
                  </a:lnTo>
                  <a:lnTo>
                    <a:pt x="14" y="4"/>
                  </a:lnTo>
                  <a:lnTo>
                    <a:pt x="14" y="4"/>
                  </a:lnTo>
                  <a:lnTo>
                    <a:pt x="14" y="4"/>
                  </a:lnTo>
                  <a:lnTo>
                    <a:pt x="14" y="4"/>
                  </a:lnTo>
                  <a:lnTo>
                    <a:pt x="14" y="4"/>
                  </a:lnTo>
                  <a:lnTo>
                    <a:pt x="14" y="4"/>
                  </a:lnTo>
                  <a:lnTo>
                    <a:pt x="15" y="3"/>
                  </a:lnTo>
                  <a:lnTo>
                    <a:pt x="15" y="3"/>
                  </a:lnTo>
                  <a:lnTo>
                    <a:pt x="15" y="3"/>
                  </a:lnTo>
                  <a:lnTo>
                    <a:pt x="17" y="2"/>
                  </a:lnTo>
                  <a:lnTo>
                    <a:pt x="17" y="2"/>
                  </a:lnTo>
                  <a:lnTo>
                    <a:pt x="17" y="2"/>
                  </a:lnTo>
                  <a:lnTo>
                    <a:pt x="17" y="2"/>
                  </a:lnTo>
                  <a:lnTo>
                    <a:pt x="18" y="2"/>
                  </a:lnTo>
                  <a:lnTo>
                    <a:pt x="18" y="2"/>
                  </a:lnTo>
                  <a:lnTo>
                    <a:pt x="18" y="2"/>
                  </a:lnTo>
                  <a:lnTo>
                    <a:pt x="18" y="2"/>
                  </a:lnTo>
                  <a:lnTo>
                    <a:pt x="19" y="2"/>
                  </a:lnTo>
                  <a:lnTo>
                    <a:pt x="19" y="2"/>
                  </a:lnTo>
                  <a:lnTo>
                    <a:pt x="19" y="2"/>
                  </a:lnTo>
                  <a:lnTo>
                    <a:pt x="19" y="1"/>
                  </a:lnTo>
                  <a:lnTo>
                    <a:pt x="20" y="1"/>
                  </a:lnTo>
                  <a:lnTo>
                    <a:pt x="20" y="1"/>
                  </a:lnTo>
                  <a:lnTo>
                    <a:pt x="22" y="1"/>
                  </a:lnTo>
                  <a:lnTo>
                    <a:pt x="22" y="0"/>
                  </a:lnTo>
                  <a:lnTo>
                    <a:pt x="22" y="0"/>
                  </a:lnTo>
                  <a:lnTo>
                    <a:pt x="24" y="0"/>
                  </a:lnTo>
                  <a:lnTo>
                    <a:pt x="24" y="0"/>
                  </a:lnTo>
                  <a:lnTo>
                    <a:pt x="24" y="0"/>
                  </a:lnTo>
                  <a:lnTo>
                    <a:pt x="24" y="1"/>
                  </a:lnTo>
                  <a:lnTo>
                    <a:pt x="24" y="1"/>
                  </a:lnTo>
                  <a:lnTo>
                    <a:pt x="24" y="1"/>
                  </a:lnTo>
                  <a:lnTo>
                    <a:pt x="24" y="2"/>
                  </a:lnTo>
                  <a:lnTo>
                    <a:pt x="25" y="2"/>
                  </a:lnTo>
                  <a:lnTo>
                    <a:pt x="25"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80" name="Freeform 936">
              <a:extLst>
                <a:ext uri="{FF2B5EF4-FFF2-40B4-BE49-F238E27FC236}">
                  <a16:creationId xmlns:a16="http://schemas.microsoft.com/office/drawing/2014/main" id="{16DFB3CC-57E7-410D-88ED-DBCBBB49C460}"/>
                </a:ext>
              </a:extLst>
            </p:cNvPr>
            <p:cNvSpPr>
              <a:spLocks/>
            </p:cNvSpPr>
            <p:nvPr/>
          </p:nvSpPr>
          <p:spPr bwMode="auto">
            <a:xfrm>
              <a:off x="5898577" y="2290822"/>
              <a:ext cx="14691" cy="16026"/>
            </a:xfrm>
            <a:custGeom>
              <a:avLst/>
              <a:gdLst>
                <a:gd name="T0" fmla="*/ 5 w 11"/>
                <a:gd name="T1" fmla="*/ 3 h 12"/>
                <a:gd name="T2" fmla="*/ 5 w 11"/>
                <a:gd name="T3" fmla="*/ 3 h 12"/>
                <a:gd name="T4" fmla="*/ 5 w 11"/>
                <a:gd name="T5" fmla="*/ 3 h 12"/>
                <a:gd name="T6" fmla="*/ 6 w 11"/>
                <a:gd name="T7" fmla="*/ 4 h 12"/>
                <a:gd name="T8" fmla="*/ 7 w 11"/>
                <a:gd name="T9" fmla="*/ 5 h 12"/>
                <a:gd name="T10" fmla="*/ 7 w 11"/>
                <a:gd name="T11" fmla="*/ 5 h 12"/>
                <a:gd name="T12" fmla="*/ 8 w 11"/>
                <a:gd name="T13" fmla="*/ 6 h 12"/>
                <a:gd name="T14" fmla="*/ 8 w 11"/>
                <a:gd name="T15" fmla="*/ 6 h 12"/>
                <a:gd name="T16" fmla="*/ 9 w 11"/>
                <a:gd name="T17" fmla="*/ 6 h 12"/>
                <a:gd name="T18" fmla="*/ 9 w 11"/>
                <a:gd name="T19" fmla="*/ 6 h 12"/>
                <a:gd name="T20" fmla="*/ 9 w 11"/>
                <a:gd name="T21" fmla="*/ 7 h 12"/>
                <a:gd name="T22" fmla="*/ 9 w 11"/>
                <a:gd name="T23" fmla="*/ 7 h 12"/>
                <a:gd name="T24" fmla="*/ 9 w 11"/>
                <a:gd name="T25" fmla="*/ 7 h 12"/>
                <a:gd name="T26" fmla="*/ 9 w 11"/>
                <a:gd name="T27" fmla="*/ 9 h 12"/>
                <a:gd name="T28" fmla="*/ 9 w 11"/>
                <a:gd name="T29" fmla="*/ 9 h 12"/>
                <a:gd name="T30" fmla="*/ 9 w 11"/>
                <a:gd name="T31" fmla="*/ 9 h 12"/>
                <a:gd name="T32" fmla="*/ 8 w 11"/>
                <a:gd name="T33" fmla="*/ 10 h 12"/>
                <a:gd name="T34" fmla="*/ 8 w 11"/>
                <a:gd name="T35" fmla="*/ 12 h 12"/>
                <a:gd name="T36" fmla="*/ 7 w 11"/>
                <a:gd name="T37" fmla="*/ 11 h 12"/>
                <a:gd name="T38" fmla="*/ 6 w 11"/>
                <a:gd name="T39" fmla="*/ 11 h 12"/>
                <a:gd name="T40" fmla="*/ 5 w 11"/>
                <a:gd name="T41" fmla="*/ 11 h 12"/>
                <a:gd name="T42" fmla="*/ 5 w 11"/>
                <a:gd name="T43" fmla="*/ 12 h 12"/>
                <a:gd name="T44" fmla="*/ 4 w 11"/>
                <a:gd name="T45" fmla="*/ 12 h 12"/>
                <a:gd name="T46" fmla="*/ 2 w 11"/>
                <a:gd name="T47" fmla="*/ 11 h 12"/>
                <a:gd name="T48" fmla="*/ 2 w 11"/>
                <a:gd name="T49" fmla="*/ 10 h 12"/>
                <a:gd name="T50" fmla="*/ 2 w 11"/>
                <a:gd name="T51" fmla="*/ 10 h 12"/>
                <a:gd name="T52" fmla="*/ 2 w 11"/>
                <a:gd name="T53" fmla="*/ 9 h 12"/>
                <a:gd name="T54" fmla="*/ 2 w 11"/>
                <a:gd name="T55" fmla="*/ 9 h 12"/>
                <a:gd name="T56" fmla="*/ 2 w 11"/>
                <a:gd name="T57" fmla="*/ 9 h 12"/>
                <a:gd name="T58" fmla="*/ 2 w 11"/>
                <a:gd name="T59" fmla="*/ 7 h 12"/>
                <a:gd name="T60" fmla="*/ 2 w 11"/>
                <a:gd name="T61" fmla="*/ 7 h 12"/>
                <a:gd name="T62" fmla="*/ 1 w 11"/>
                <a:gd name="T63" fmla="*/ 7 h 12"/>
                <a:gd name="T64" fmla="*/ 1 w 11"/>
                <a:gd name="T65" fmla="*/ 6 h 12"/>
                <a:gd name="T66" fmla="*/ 0 w 11"/>
                <a:gd name="T67" fmla="*/ 6 h 12"/>
                <a:gd name="T68" fmla="*/ 1 w 11"/>
                <a:gd name="T69" fmla="*/ 6 h 12"/>
                <a:gd name="T70" fmla="*/ 0 w 11"/>
                <a:gd name="T71" fmla="*/ 5 h 12"/>
                <a:gd name="T72" fmla="*/ 0 w 11"/>
                <a:gd name="T73" fmla="*/ 5 h 12"/>
                <a:gd name="T74" fmla="*/ 1 w 11"/>
                <a:gd name="T75" fmla="*/ 4 h 12"/>
                <a:gd name="T76" fmla="*/ 1 w 11"/>
                <a:gd name="T77" fmla="*/ 4 h 12"/>
                <a:gd name="T78" fmla="*/ 1 w 11"/>
                <a:gd name="T79" fmla="*/ 4 h 12"/>
                <a:gd name="T80" fmla="*/ 1 w 11"/>
                <a:gd name="T81" fmla="*/ 3 h 12"/>
                <a:gd name="T82" fmla="*/ 1 w 11"/>
                <a:gd name="T83" fmla="*/ 3 h 12"/>
                <a:gd name="T84" fmla="*/ 2 w 11"/>
                <a:gd name="T85" fmla="*/ 3 h 12"/>
                <a:gd name="T86" fmla="*/ 2 w 11"/>
                <a:gd name="T87" fmla="*/ 2 h 12"/>
                <a:gd name="T88" fmla="*/ 4 w 11"/>
                <a:gd name="T89" fmla="*/ 0 h 12"/>
                <a:gd name="T90" fmla="*/ 4 w 11"/>
                <a:gd name="T91" fmla="*/ 0 h 12"/>
                <a:gd name="T92" fmla="*/ 5 w 11"/>
                <a:gd name="T93" fmla="*/ 2 h 12"/>
                <a:gd name="T94" fmla="*/ 5 w 11"/>
                <a:gd name="T95" fmla="*/ 0 h 12"/>
                <a:gd name="T96" fmla="*/ 5 w 11"/>
                <a:gd name="T97"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 h="12">
                  <a:moveTo>
                    <a:pt x="5" y="2"/>
                  </a:moveTo>
                  <a:lnTo>
                    <a:pt x="5" y="2"/>
                  </a:lnTo>
                  <a:lnTo>
                    <a:pt x="5" y="2"/>
                  </a:lnTo>
                  <a:lnTo>
                    <a:pt x="5" y="3"/>
                  </a:lnTo>
                  <a:lnTo>
                    <a:pt x="5" y="3"/>
                  </a:lnTo>
                  <a:lnTo>
                    <a:pt x="5" y="3"/>
                  </a:lnTo>
                  <a:lnTo>
                    <a:pt x="5" y="3"/>
                  </a:lnTo>
                  <a:lnTo>
                    <a:pt x="5" y="3"/>
                  </a:lnTo>
                  <a:lnTo>
                    <a:pt x="5" y="3"/>
                  </a:lnTo>
                  <a:lnTo>
                    <a:pt x="5" y="3"/>
                  </a:lnTo>
                  <a:lnTo>
                    <a:pt x="5" y="3"/>
                  </a:lnTo>
                  <a:lnTo>
                    <a:pt x="5" y="3"/>
                  </a:lnTo>
                  <a:lnTo>
                    <a:pt x="5" y="4"/>
                  </a:lnTo>
                  <a:lnTo>
                    <a:pt x="5" y="4"/>
                  </a:lnTo>
                  <a:lnTo>
                    <a:pt x="6" y="4"/>
                  </a:lnTo>
                  <a:lnTo>
                    <a:pt x="6" y="4"/>
                  </a:lnTo>
                  <a:lnTo>
                    <a:pt x="6" y="4"/>
                  </a:lnTo>
                  <a:lnTo>
                    <a:pt x="6" y="4"/>
                  </a:lnTo>
                  <a:lnTo>
                    <a:pt x="6" y="4"/>
                  </a:lnTo>
                  <a:lnTo>
                    <a:pt x="7" y="5"/>
                  </a:lnTo>
                  <a:lnTo>
                    <a:pt x="7" y="5"/>
                  </a:lnTo>
                  <a:lnTo>
                    <a:pt x="7" y="5"/>
                  </a:lnTo>
                  <a:lnTo>
                    <a:pt x="7" y="5"/>
                  </a:lnTo>
                  <a:lnTo>
                    <a:pt x="7" y="5"/>
                  </a:lnTo>
                  <a:lnTo>
                    <a:pt x="7" y="6"/>
                  </a:lnTo>
                  <a:lnTo>
                    <a:pt x="7" y="6"/>
                  </a:lnTo>
                  <a:lnTo>
                    <a:pt x="7" y="6"/>
                  </a:lnTo>
                  <a:lnTo>
                    <a:pt x="8" y="6"/>
                  </a:lnTo>
                  <a:lnTo>
                    <a:pt x="8" y="6"/>
                  </a:lnTo>
                  <a:lnTo>
                    <a:pt x="8" y="6"/>
                  </a:lnTo>
                  <a:lnTo>
                    <a:pt x="8" y="6"/>
                  </a:lnTo>
                  <a:lnTo>
                    <a:pt x="8" y="6"/>
                  </a:lnTo>
                  <a:lnTo>
                    <a:pt x="8" y="6"/>
                  </a:lnTo>
                  <a:lnTo>
                    <a:pt x="9" y="6"/>
                  </a:lnTo>
                  <a:lnTo>
                    <a:pt x="9" y="6"/>
                  </a:lnTo>
                  <a:lnTo>
                    <a:pt x="9" y="6"/>
                  </a:lnTo>
                  <a:lnTo>
                    <a:pt x="9" y="6"/>
                  </a:lnTo>
                  <a:lnTo>
                    <a:pt x="11" y="6"/>
                  </a:lnTo>
                  <a:lnTo>
                    <a:pt x="11" y="6"/>
                  </a:lnTo>
                  <a:lnTo>
                    <a:pt x="9" y="6"/>
                  </a:lnTo>
                  <a:lnTo>
                    <a:pt x="9" y="6"/>
                  </a:lnTo>
                  <a:lnTo>
                    <a:pt x="9" y="6"/>
                  </a:lnTo>
                  <a:lnTo>
                    <a:pt x="9" y="7"/>
                  </a:lnTo>
                  <a:lnTo>
                    <a:pt x="9" y="7"/>
                  </a:lnTo>
                  <a:lnTo>
                    <a:pt x="9" y="7"/>
                  </a:lnTo>
                  <a:lnTo>
                    <a:pt x="9" y="7"/>
                  </a:lnTo>
                  <a:lnTo>
                    <a:pt x="9" y="7"/>
                  </a:lnTo>
                  <a:lnTo>
                    <a:pt x="9" y="7"/>
                  </a:lnTo>
                  <a:lnTo>
                    <a:pt x="9" y="7"/>
                  </a:lnTo>
                  <a:lnTo>
                    <a:pt x="9" y="7"/>
                  </a:lnTo>
                  <a:lnTo>
                    <a:pt x="11" y="7"/>
                  </a:lnTo>
                  <a:lnTo>
                    <a:pt x="9" y="7"/>
                  </a:lnTo>
                  <a:lnTo>
                    <a:pt x="9" y="7"/>
                  </a:lnTo>
                  <a:lnTo>
                    <a:pt x="9" y="7"/>
                  </a:lnTo>
                  <a:lnTo>
                    <a:pt x="9" y="7"/>
                  </a:lnTo>
                  <a:lnTo>
                    <a:pt x="9" y="9"/>
                  </a:lnTo>
                  <a:lnTo>
                    <a:pt x="9" y="9"/>
                  </a:lnTo>
                  <a:lnTo>
                    <a:pt x="9" y="9"/>
                  </a:lnTo>
                  <a:lnTo>
                    <a:pt x="9" y="9"/>
                  </a:lnTo>
                  <a:lnTo>
                    <a:pt x="9" y="9"/>
                  </a:lnTo>
                  <a:lnTo>
                    <a:pt x="9" y="9"/>
                  </a:lnTo>
                  <a:lnTo>
                    <a:pt x="9" y="9"/>
                  </a:lnTo>
                  <a:lnTo>
                    <a:pt x="9" y="9"/>
                  </a:lnTo>
                  <a:lnTo>
                    <a:pt x="9" y="9"/>
                  </a:lnTo>
                  <a:lnTo>
                    <a:pt x="9" y="10"/>
                  </a:lnTo>
                  <a:lnTo>
                    <a:pt x="8" y="10"/>
                  </a:lnTo>
                  <a:lnTo>
                    <a:pt x="8" y="10"/>
                  </a:lnTo>
                  <a:lnTo>
                    <a:pt x="8" y="10"/>
                  </a:lnTo>
                  <a:lnTo>
                    <a:pt x="8" y="11"/>
                  </a:lnTo>
                  <a:lnTo>
                    <a:pt x="8" y="11"/>
                  </a:lnTo>
                  <a:lnTo>
                    <a:pt x="8" y="11"/>
                  </a:lnTo>
                  <a:lnTo>
                    <a:pt x="8" y="12"/>
                  </a:lnTo>
                  <a:lnTo>
                    <a:pt x="8" y="12"/>
                  </a:lnTo>
                  <a:lnTo>
                    <a:pt x="8" y="12"/>
                  </a:lnTo>
                  <a:lnTo>
                    <a:pt x="8" y="12"/>
                  </a:lnTo>
                  <a:lnTo>
                    <a:pt x="7" y="11"/>
                  </a:lnTo>
                  <a:lnTo>
                    <a:pt x="7" y="11"/>
                  </a:lnTo>
                  <a:lnTo>
                    <a:pt x="7" y="11"/>
                  </a:lnTo>
                  <a:lnTo>
                    <a:pt x="6" y="11"/>
                  </a:lnTo>
                  <a:lnTo>
                    <a:pt x="6" y="11"/>
                  </a:lnTo>
                  <a:lnTo>
                    <a:pt x="6" y="11"/>
                  </a:lnTo>
                  <a:lnTo>
                    <a:pt x="6" y="11"/>
                  </a:lnTo>
                  <a:lnTo>
                    <a:pt x="6" y="11"/>
                  </a:lnTo>
                  <a:lnTo>
                    <a:pt x="5" y="11"/>
                  </a:lnTo>
                  <a:lnTo>
                    <a:pt x="5" y="12"/>
                  </a:lnTo>
                  <a:lnTo>
                    <a:pt x="5" y="12"/>
                  </a:lnTo>
                  <a:lnTo>
                    <a:pt x="5" y="12"/>
                  </a:lnTo>
                  <a:lnTo>
                    <a:pt x="5" y="12"/>
                  </a:lnTo>
                  <a:lnTo>
                    <a:pt x="5" y="12"/>
                  </a:lnTo>
                  <a:lnTo>
                    <a:pt x="4" y="12"/>
                  </a:lnTo>
                  <a:lnTo>
                    <a:pt x="4" y="12"/>
                  </a:lnTo>
                  <a:lnTo>
                    <a:pt x="4" y="12"/>
                  </a:lnTo>
                  <a:lnTo>
                    <a:pt x="4" y="11"/>
                  </a:lnTo>
                  <a:lnTo>
                    <a:pt x="2" y="11"/>
                  </a:lnTo>
                  <a:lnTo>
                    <a:pt x="2" y="11"/>
                  </a:lnTo>
                  <a:lnTo>
                    <a:pt x="2" y="11"/>
                  </a:lnTo>
                  <a:lnTo>
                    <a:pt x="1" y="11"/>
                  </a:lnTo>
                  <a:lnTo>
                    <a:pt x="1" y="11"/>
                  </a:lnTo>
                  <a:lnTo>
                    <a:pt x="2" y="10"/>
                  </a:lnTo>
                  <a:lnTo>
                    <a:pt x="2" y="10"/>
                  </a:lnTo>
                  <a:lnTo>
                    <a:pt x="2" y="10"/>
                  </a:lnTo>
                  <a:lnTo>
                    <a:pt x="2" y="10"/>
                  </a:lnTo>
                  <a:lnTo>
                    <a:pt x="2" y="10"/>
                  </a:lnTo>
                  <a:lnTo>
                    <a:pt x="2" y="10"/>
                  </a:lnTo>
                  <a:lnTo>
                    <a:pt x="2" y="9"/>
                  </a:lnTo>
                  <a:lnTo>
                    <a:pt x="2" y="9"/>
                  </a:lnTo>
                  <a:lnTo>
                    <a:pt x="2" y="9"/>
                  </a:lnTo>
                  <a:lnTo>
                    <a:pt x="2" y="9"/>
                  </a:lnTo>
                  <a:lnTo>
                    <a:pt x="2" y="9"/>
                  </a:lnTo>
                  <a:lnTo>
                    <a:pt x="2" y="9"/>
                  </a:lnTo>
                  <a:lnTo>
                    <a:pt x="2" y="9"/>
                  </a:lnTo>
                  <a:lnTo>
                    <a:pt x="2" y="9"/>
                  </a:lnTo>
                  <a:lnTo>
                    <a:pt x="2" y="9"/>
                  </a:lnTo>
                  <a:lnTo>
                    <a:pt x="2" y="9"/>
                  </a:lnTo>
                  <a:lnTo>
                    <a:pt x="2" y="9"/>
                  </a:lnTo>
                  <a:lnTo>
                    <a:pt x="2" y="9"/>
                  </a:lnTo>
                  <a:lnTo>
                    <a:pt x="2" y="9"/>
                  </a:lnTo>
                  <a:lnTo>
                    <a:pt x="2" y="9"/>
                  </a:lnTo>
                  <a:lnTo>
                    <a:pt x="2" y="7"/>
                  </a:lnTo>
                  <a:lnTo>
                    <a:pt x="2" y="7"/>
                  </a:lnTo>
                  <a:lnTo>
                    <a:pt x="2" y="7"/>
                  </a:lnTo>
                  <a:lnTo>
                    <a:pt x="2" y="7"/>
                  </a:lnTo>
                  <a:lnTo>
                    <a:pt x="2" y="7"/>
                  </a:lnTo>
                  <a:lnTo>
                    <a:pt x="2" y="7"/>
                  </a:lnTo>
                  <a:lnTo>
                    <a:pt x="2" y="7"/>
                  </a:lnTo>
                  <a:lnTo>
                    <a:pt x="1" y="7"/>
                  </a:lnTo>
                  <a:lnTo>
                    <a:pt x="1" y="7"/>
                  </a:lnTo>
                  <a:lnTo>
                    <a:pt x="1" y="7"/>
                  </a:lnTo>
                  <a:lnTo>
                    <a:pt x="1" y="7"/>
                  </a:lnTo>
                  <a:lnTo>
                    <a:pt x="1" y="7"/>
                  </a:lnTo>
                  <a:lnTo>
                    <a:pt x="1" y="7"/>
                  </a:lnTo>
                  <a:lnTo>
                    <a:pt x="1" y="6"/>
                  </a:lnTo>
                  <a:lnTo>
                    <a:pt x="1" y="6"/>
                  </a:lnTo>
                  <a:lnTo>
                    <a:pt x="1" y="6"/>
                  </a:lnTo>
                  <a:lnTo>
                    <a:pt x="1" y="6"/>
                  </a:lnTo>
                  <a:lnTo>
                    <a:pt x="0" y="6"/>
                  </a:lnTo>
                  <a:lnTo>
                    <a:pt x="0" y="6"/>
                  </a:lnTo>
                  <a:lnTo>
                    <a:pt x="0" y="6"/>
                  </a:lnTo>
                  <a:lnTo>
                    <a:pt x="0" y="6"/>
                  </a:lnTo>
                  <a:lnTo>
                    <a:pt x="1" y="6"/>
                  </a:lnTo>
                  <a:lnTo>
                    <a:pt x="0" y="6"/>
                  </a:lnTo>
                  <a:lnTo>
                    <a:pt x="0" y="6"/>
                  </a:lnTo>
                  <a:lnTo>
                    <a:pt x="0" y="6"/>
                  </a:lnTo>
                  <a:lnTo>
                    <a:pt x="0" y="5"/>
                  </a:lnTo>
                  <a:lnTo>
                    <a:pt x="0" y="5"/>
                  </a:lnTo>
                  <a:lnTo>
                    <a:pt x="1" y="5"/>
                  </a:lnTo>
                  <a:lnTo>
                    <a:pt x="1" y="5"/>
                  </a:lnTo>
                  <a:lnTo>
                    <a:pt x="0" y="5"/>
                  </a:lnTo>
                  <a:lnTo>
                    <a:pt x="0" y="5"/>
                  </a:lnTo>
                  <a:lnTo>
                    <a:pt x="0" y="5"/>
                  </a:lnTo>
                  <a:lnTo>
                    <a:pt x="1" y="4"/>
                  </a:lnTo>
                  <a:lnTo>
                    <a:pt x="1" y="4"/>
                  </a:lnTo>
                  <a:lnTo>
                    <a:pt x="1" y="4"/>
                  </a:lnTo>
                  <a:lnTo>
                    <a:pt x="1" y="4"/>
                  </a:lnTo>
                  <a:lnTo>
                    <a:pt x="1" y="4"/>
                  </a:lnTo>
                  <a:lnTo>
                    <a:pt x="1" y="4"/>
                  </a:lnTo>
                  <a:lnTo>
                    <a:pt x="1" y="4"/>
                  </a:lnTo>
                  <a:lnTo>
                    <a:pt x="1" y="4"/>
                  </a:lnTo>
                  <a:lnTo>
                    <a:pt x="1" y="4"/>
                  </a:lnTo>
                  <a:lnTo>
                    <a:pt x="1" y="4"/>
                  </a:lnTo>
                  <a:lnTo>
                    <a:pt x="1" y="4"/>
                  </a:lnTo>
                  <a:lnTo>
                    <a:pt x="1" y="4"/>
                  </a:lnTo>
                  <a:lnTo>
                    <a:pt x="1" y="3"/>
                  </a:lnTo>
                  <a:lnTo>
                    <a:pt x="1" y="3"/>
                  </a:lnTo>
                  <a:lnTo>
                    <a:pt x="1" y="3"/>
                  </a:lnTo>
                  <a:lnTo>
                    <a:pt x="2" y="3"/>
                  </a:lnTo>
                  <a:lnTo>
                    <a:pt x="2" y="3"/>
                  </a:lnTo>
                  <a:lnTo>
                    <a:pt x="1" y="3"/>
                  </a:lnTo>
                  <a:lnTo>
                    <a:pt x="2" y="3"/>
                  </a:lnTo>
                  <a:lnTo>
                    <a:pt x="2" y="3"/>
                  </a:lnTo>
                  <a:lnTo>
                    <a:pt x="2" y="3"/>
                  </a:lnTo>
                  <a:lnTo>
                    <a:pt x="2" y="3"/>
                  </a:lnTo>
                  <a:lnTo>
                    <a:pt x="2" y="2"/>
                  </a:lnTo>
                  <a:lnTo>
                    <a:pt x="2" y="2"/>
                  </a:lnTo>
                  <a:lnTo>
                    <a:pt x="2" y="2"/>
                  </a:lnTo>
                  <a:lnTo>
                    <a:pt x="2" y="2"/>
                  </a:lnTo>
                  <a:lnTo>
                    <a:pt x="4" y="2"/>
                  </a:lnTo>
                  <a:lnTo>
                    <a:pt x="4" y="2"/>
                  </a:lnTo>
                  <a:lnTo>
                    <a:pt x="4" y="2"/>
                  </a:lnTo>
                  <a:lnTo>
                    <a:pt x="4" y="0"/>
                  </a:lnTo>
                  <a:lnTo>
                    <a:pt x="4" y="0"/>
                  </a:lnTo>
                  <a:lnTo>
                    <a:pt x="4" y="0"/>
                  </a:lnTo>
                  <a:lnTo>
                    <a:pt x="4" y="0"/>
                  </a:lnTo>
                  <a:lnTo>
                    <a:pt x="4" y="0"/>
                  </a:lnTo>
                  <a:lnTo>
                    <a:pt x="4" y="2"/>
                  </a:lnTo>
                  <a:lnTo>
                    <a:pt x="4" y="2"/>
                  </a:lnTo>
                  <a:lnTo>
                    <a:pt x="4" y="2"/>
                  </a:lnTo>
                  <a:lnTo>
                    <a:pt x="5" y="2"/>
                  </a:lnTo>
                  <a:lnTo>
                    <a:pt x="5" y="2"/>
                  </a:lnTo>
                  <a:lnTo>
                    <a:pt x="5" y="2"/>
                  </a:lnTo>
                  <a:lnTo>
                    <a:pt x="5" y="2"/>
                  </a:lnTo>
                  <a:lnTo>
                    <a:pt x="5" y="0"/>
                  </a:lnTo>
                  <a:lnTo>
                    <a:pt x="5" y="2"/>
                  </a:lnTo>
                  <a:lnTo>
                    <a:pt x="5" y="2"/>
                  </a:lnTo>
                  <a:lnTo>
                    <a:pt x="5" y="2"/>
                  </a:lnTo>
                  <a:lnTo>
                    <a:pt x="5" y="2"/>
                  </a:lnTo>
                  <a:lnTo>
                    <a:pt x="5"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81" name="Freeform 937">
              <a:extLst>
                <a:ext uri="{FF2B5EF4-FFF2-40B4-BE49-F238E27FC236}">
                  <a16:creationId xmlns:a16="http://schemas.microsoft.com/office/drawing/2014/main" id="{B0E3B14A-41C1-468D-B697-B70E74FFED00}"/>
                </a:ext>
              </a:extLst>
            </p:cNvPr>
            <p:cNvSpPr>
              <a:spLocks/>
            </p:cNvSpPr>
            <p:nvPr/>
          </p:nvSpPr>
          <p:spPr bwMode="auto">
            <a:xfrm>
              <a:off x="6128281" y="2134569"/>
              <a:ext cx="112181" cy="46743"/>
            </a:xfrm>
            <a:custGeom>
              <a:avLst/>
              <a:gdLst>
                <a:gd name="T0" fmla="*/ 74 w 84"/>
                <a:gd name="T1" fmla="*/ 9 h 35"/>
                <a:gd name="T2" fmla="*/ 77 w 84"/>
                <a:gd name="T3" fmla="*/ 10 h 35"/>
                <a:gd name="T4" fmla="*/ 77 w 84"/>
                <a:gd name="T5" fmla="*/ 14 h 35"/>
                <a:gd name="T6" fmla="*/ 77 w 84"/>
                <a:gd name="T7" fmla="*/ 17 h 35"/>
                <a:gd name="T8" fmla="*/ 79 w 84"/>
                <a:gd name="T9" fmla="*/ 19 h 35"/>
                <a:gd name="T10" fmla="*/ 83 w 84"/>
                <a:gd name="T11" fmla="*/ 22 h 35"/>
                <a:gd name="T12" fmla="*/ 83 w 84"/>
                <a:gd name="T13" fmla="*/ 24 h 35"/>
                <a:gd name="T14" fmla="*/ 84 w 84"/>
                <a:gd name="T15" fmla="*/ 28 h 35"/>
                <a:gd name="T16" fmla="*/ 81 w 84"/>
                <a:gd name="T17" fmla="*/ 29 h 35"/>
                <a:gd name="T18" fmla="*/ 78 w 84"/>
                <a:gd name="T19" fmla="*/ 33 h 35"/>
                <a:gd name="T20" fmla="*/ 75 w 84"/>
                <a:gd name="T21" fmla="*/ 33 h 35"/>
                <a:gd name="T22" fmla="*/ 70 w 84"/>
                <a:gd name="T23" fmla="*/ 33 h 35"/>
                <a:gd name="T24" fmla="*/ 67 w 84"/>
                <a:gd name="T25" fmla="*/ 35 h 35"/>
                <a:gd name="T26" fmla="*/ 62 w 84"/>
                <a:gd name="T27" fmla="*/ 32 h 35"/>
                <a:gd name="T28" fmla="*/ 58 w 84"/>
                <a:gd name="T29" fmla="*/ 30 h 35"/>
                <a:gd name="T30" fmla="*/ 55 w 84"/>
                <a:gd name="T31" fmla="*/ 28 h 35"/>
                <a:gd name="T32" fmla="*/ 49 w 84"/>
                <a:gd name="T33" fmla="*/ 28 h 35"/>
                <a:gd name="T34" fmla="*/ 46 w 84"/>
                <a:gd name="T35" fmla="*/ 23 h 35"/>
                <a:gd name="T36" fmla="*/ 42 w 84"/>
                <a:gd name="T37" fmla="*/ 25 h 35"/>
                <a:gd name="T38" fmla="*/ 38 w 84"/>
                <a:gd name="T39" fmla="*/ 26 h 35"/>
                <a:gd name="T40" fmla="*/ 33 w 84"/>
                <a:gd name="T41" fmla="*/ 25 h 35"/>
                <a:gd name="T42" fmla="*/ 29 w 84"/>
                <a:gd name="T43" fmla="*/ 25 h 35"/>
                <a:gd name="T44" fmla="*/ 26 w 84"/>
                <a:gd name="T45" fmla="*/ 25 h 35"/>
                <a:gd name="T46" fmla="*/ 20 w 84"/>
                <a:gd name="T47" fmla="*/ 24 h 35"/>
                <a:gd name="T48" fmla="*/ 14 w 84"/>
                <a:gd name="T49" fmla="*/ 24 h 35"/>
                <a:gd name="T50" fmla="*/ 7 w 84"/>
                <a:gd name="T51" fmla="*/ 25 h 35"/>
                <a:gd name="T52" fmla="*/ 4 w 84"/>
                <a:gd name="T53" fmla="*/ 29 h 35"/>
                <a:gd name="T54" fmla="*/ 0 w 84"/>
                <a:gd name="T55" fmla="*/ 26 h 35"/>
                <a:gd name="T56" fmla="*/ 0 w 84"/>
                <a:gd name="T57" fmla="*/ 22 h 35"/>
                <a:gd name="T58" fmla="*/ 1 w 84"/>
                <a:gd name="T59" fmla="*/ 23 h 35"/>
                <a:gd name="T60" fmla="*/ 1 w 84"/>
                <a:gd name="T61" fmla="*/ 19 h 35"/>
                <a:gd name="T62" fmla="*/ 3 w 84"/>
                <a:gd name="T63" fmla="*/ 16 h 35"/>
                <a:gd name="T64" fmla="*/ 4 w 84"/>
                <a:gd name="T65" fmla="*/ 12 h 35"/>
                <a:gd name="T66" fmla="*/ 6 w 84"/>
                <a:gd name="T67" fmla="*/ 7 h 35"/>
                <a:gd name="T68" fmla="*/ 15 w 84"/>
                <a:gd name="T69" fmla="*/ 4 h 35"/>
                <a:gd name="T70" fmla="*/ 20 w 84"/>
                <a:gd name="T71" fmla="*/ 8 h 35"/>
                <a:gd name="T72" fmla="*/ 24 w 84"/>
                <a:gd name="T73" fmla="*/ 10 h 35"/>
                <a:gd name="T74" fmla="*/ 25 w 84"/>
                <a:gd name="T75" fmla="*/ 14 h 35"/>
                <a:gd name="T76" fmla="*/ 29 w 84"/>
                <a:gd name="T77" fmla="*/ 15 h 35"/>
                <a:gd name="T78" fmla="*/ 34 w 84"/>
                <a:gd name="T79" fmla="*/ 15 h 35"/>
                <a:gd name="T80" fmla="*/ 36 w 84"/>
                <a:gd name="T81" fmla="*/ 12 h 35"/>
                <a:gd name="T82" fmla="*/ 38 w 84"/>
                <a:gd name="T83" fmla="*/ 8 h 35"/>
                <a:gd name="T84" fmla="*/ 35 w 84"/>
                <a:gd name="T85" fmla="*/ 4 h 35"/>
                <a:gd name="T86" fmla="*/ 38 w 84"/>
                <a:gd name="T87" fmla="*/ 2 h 35"/>
                <a:gd name="T88" fmla="*/ 41 w 84"/>
                <a:gd name="T89" fmla="*/ 1 h 35"/>
                <a:gd name="T90" fmla="*/ 45 w 84"/>
                <a:gd name="T91" fmla="*/ 0 h 35"/>
                <a:gd name="T92" fmla="*/ 48 w 84"/>
                <a:gd name="T93" fmla="*/ 1 h 35"/>
                <a:gd name="T94" fmla="*/ 51 w 84"/>
                <a:gd name="T95" fmla="*/ 2 h 35"/>
                <a:gd name="T96" fmla="*/ 57 w 84"/>
                <a:gd name="T97" fmla="*/ 4 h 35"/>
                <a:gd name="T98" fmla="*/ 61 w 84"/>
                <a:gd name="T99" fmla="*/ 7 h 35"/>
                <a:gd name="T100" fmla="*/ 63 w 84"/>
                <a:gd name="T101" fmla="*/ 7 h 35"/>
                <a:gd name="T102" fmla="*/ 68 w 84"/>
                <a:gd name="T103" fmla="*/ 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4" h="35">
                  <a:moveTo>
                    <a:pt x="71" y="8"/>
                  </a:moveTo>
                  <a:lnTo>
                    <a:pt x="72" y="8"/>
                  </a:lnTo>
                  <a:lnTo>
                    <a:pt x="72" y="9"/>
                  </a:lnTo>
                  <a:lnTo>
                    <a:pt x="74" y="9"/>
                  </a:lnTo>
                  <a:lnTo>
                    <a:pt x="75" y="9"/>
                  </a:lnTo>
                  <a:lnTo>
                    <a:pt x="75" y="10"/>
                  </a:lnTo>
                  <a:lnTo>
                    <a:pt x="76" y="10"/>
                  </a:lnTo>
                  <a:lnTo>
                    <a:pt x="77" y="10"/>
                  </a:lnTo>
                  <a:lnTo>
                    <a:pt x="77" y="11"/>
                  </a:lnTo>
                  <a:lnTo>
                    <a:pt x="77" y="12"/>
                  </a:lnTo>
                  <a:lnTo>
                    <a:pt x="76" y="14"/>
                  </a:lnTo>
                  <a:lnTo>
                    <a:pt x="77" y="14"/>
                  </a:lnTo>
                  <a:lnTo>
                    <a:pt x="77" y="15"/>
                  </a:lnTo>
                  <a:lnTo>
                    <a:pt x="77" y="16"/>
                  </a:lnTo>
                  <a:lnTo>
                    <a:pt x="76" y="17"/>
                  </a:lnTo>
                  <a:lnTo>
                    <a:pt x="77" y="17"/>
                  </a:lnTo>
                  <a:lnTo>
                    <a:pt x="78" y="17"/>
                  </a:lnTo>
                  <a:lnTo>
                    <a:pt x="79" y="17"/>
                  </a:lnTo>
                  <a:lnTo>
                    <a:pt x="79" y="18"/>
                  </a:lnTo>
                  <a:lnTo>
                    <a:pt x="79" y="19"/>
                  </a:lnTo>
                  <a:lnTo>
                    <a:pt x="81" y="19"/>
                  </a:lnTo>
                  <a:lnTo>
                    <a:pt x="81" y="21"/>
                  </a:lnTo>
                  <a:lnTo>
                    <a:pt x="82" y="22"/>
                  </a:lnTo>
                  <a:lnTo>
                    <a:pt x="83" y="22"/>
                  </a:lnTo>
                  <a:lnTo>
                    <a:pt x="82" y="22"/>
                  </a:lnTo>
                  <a:lnTo>
                    <a:pt x="82" y="23"/>
                  </a:lnTo>
                  <a:lnTo>
                    <a:pt x="83" y="23"/>
                  </a:lnTo>
                  <a:lnTo>
                    <a:pt x="83" y="24"/>
                  </a:lnTo>
                  <a:lnTo>
                    <a:pt x="84" y="24"/>
                  </a:lnTo>
                  <a:lnTo>
                    <a:pt x="84" y="25"/>
                  </a:lnTo>
                  <a:lnTo>
                    <a:pt x="84" y="26"/>
                  </a:lnTo>
                  <a:lnTo>
                    <a:pt x="84" y="28"/>
                  </a:lnTo>
                  <a:lnTo>
                    <a:pt x="83" y="28"/>
                  </a:lnTo>
                  <a:lnTo>
                    <a:pt x="82" y="28"/>
                  </a:lnTo>
                  <a:lnTo>
                    <a:pt x="82" y="29"/>
                  </a:lnTo>
                  <a:lnTo>
                    <a:pt x="81" y="29"/>
                  </a:lnTo>
                  <a:lnTo>
                    <a:pt x="79" y="30"/>
                  </a:lnTo>
                  <a:lnTo>
                    <a:pt x="78" y="31"/>
                  </a:lnTo>
                  <a:lnTo>
                    <a:pt x="78" y="32"/>
                  </a:lnTo>
                  <a:lnTo>
                    <a:pt x="78" y="33"/>
                  </a:lnTo>
                  <a:lnTo>
                    <a:pt x="77" y="32"/>
                  </a:lnTo>
                  <a:lnTo>
                    <a:pt x="76" y="32"/>
                  </a:lnTo>
                  <a:lnTo>
                    <a:pt x="75" y="32"/>
                  </a:lnTo>
                  <a:lnTo>
                    <a:pt x="75" y="33"/>
                  </a:lnTo>
                  <a:lnTo>
                    <a:pt x="74" y="32"/>
                  </a:lnTo>
                  <a:lnTo>
                    <a:pt x="72" y="32"/>
                  </a:lnTo>
                  <a:lnTo>
                    <a:pt x="71" y="32"/>
                  </a:lnTo>
                  <a:lnTo>
                    <a:pt x="70" y="33"/>
                  </a:lnTo>
                  <a:lnTo>
                    <a:pt x="70" y="35"/>
                  </a:lnTo>
                  <a:lnTo>
                    <a:pt x="69" y="35"/>
                  </a:lnTo>
                  <a:lnTo>
                    <a:pt x="68" y="35"/>
                  </a:lnTo>
                  <a:lnTo>
                    <a:pt x="67" y="35"/>
                  </a:lnTo>
                  <a:lnTo>
                    <a:pt x="65" y="35"/>
                  </a:lnTo>
                  <a:lnTo>
                    <a:pt x="64" y="35"/>
                  </a:lnTo>
                  <a:lnTo>
                    <a:pt x="63" y="33"/>
                  </a:lnTo>
                  <a:lnTo>
                    <a:pt x="62" y="32"/>
                  </a:lnTo>
                  <a:lnTo>
                    <a:pt x="61" y="31"/>
                  </a:lnTo>
                  <a:lnTo>
                    <a:pt x="60" y="31"/>
                  </a:lnTo>
                  <a:lnTo>
                    <a:pt x="60" y="30"/>
                  </a:lnTo>
                  <a:lnTo>
                    <a:pt x="58" y="30"/>
                  </a:lnTo>
                  <a:lnTo>
                    <a:pt x="57" y="29"/>
                  </a:lnTo>
                  <a:lnTo>
                    <a:pt x="56" y="29"/>
                  </a:lnTo>
                  <a:lnTo>
                    <a:pt x="55" y="29"/>
                  </a:lnTo>
                  <a:lnTo>
                    <a:pt x="55" y="28"/>
                  </a:lnTo>
                  <a:lnTo>
                    <a:pt x="54" y="28"/>
                  </a:lnTo>
                  <a:lnTo>
                    <a:pt x="53" y="28"/>
                  </a:lnTo>
                  <a:lnTo>
                    <a:pt x="51" y="28"/>
                  </a:lnTo>
                  <a:lnTo>
                    <a:pt x="49" y="28"/>
                  </a:lnTo>
                  <a:lnTo>
                    <a:pt x="48" y="26"/>
                  </a:lnTo>
                  <a:lnTo>
                    <a:pt x="47" y="25"/>
                  </a:lnTo>
                  <a:lnTo>
                    <a:pt x="46" y="24"/>
                  </a:lnTo>
                  <a:lnTo>
                    <a:pt x="46" y="23"/>
                  </a:lnTo>
                  <a:lnTo>
                    <a:pt x="46" y="24"/>
                  </a:lnTo>
                  <a:lnTo>
                    <a:pt x="45" y="24"/>
                  </a:lnTo>
                  <a:lnTo>
                    <a:pt x="43" y="24"/>
                  </a:lnTo>
                  <a:lnTo>
                    <a:pt x="42" y="25"/>
                  </a:lnTo>
                  <a:lnTo>
                    <a:pt x="41" y="26"/>
                  </a:lnTo>
                  <a:lnTo>
                    <a:pt x="40" y="25"/>
                  </a:lnTo>
                  <a:lnTo>
                    <a:pt x="39" y="25"/>
                  </a:lnTo>
                  <a:lnTo>
                    <a:pt x="38" y="26"/>
                  </a:lnTo>
                  <a:lnTo>
                    <a:pt x="36" y="25"/>
                  </a:lnTo>
                  <a:lnTo>
                    <a:pt x="35" y="25"/>
                  </a:lnTo>
                  <a:lnTo>
                    <a:pt x="34" y="25"/>
                  </a:lnTo>
                  <a:lnTo>
                    <a:pt x="33" y="25"/>
                  </a:lnTo>
                  <a:lnTo>
                    <a:pt x="32" y="24"/>
                  </a:lnTo>
                  <a:lnTo>
                    <a:pt x="31" y="24"/>
                  </a:lnTo>
                  <a:lnTo>
                    <a:pt x="31" y="25"/>
                  </a:lnTo>
                  <a:lnTo>
                    <a:pt x="29" y="25"/>
                  </a:lnTo>
                  <a:lnTo>
                    <a:pt x="28" y="24"/>
                  </a:lnTo>
                  <a:lnTo>
                    <a:pt x="27" y="24"/>
                  </a:lnTo>
                  <a:lnTo>
                    <a:pt x="26" y="24"/>
                  </a:lnTo>
                  <a:lnTo>
                    <a:pt x="26" y="25"/>
                  </a:lnTo>
                  <a:lnTo>
                    <a:pt x="25" y="25"/>
                  </a:lnTo>
                  <a:lnTo>
                    <a:pt x="24" y="24"/>
                  </a:lnTo>
                  <a:lnTo>
                    <a:pt x="22" y="24"/>
                  </a:lnTo>
                  <a:lnTo>
                    <a:pt x="20" y="24"/>
                  </a:lnTo>
                  <a:lnTo>
                    <a:pt x="19" y="24"/>
                  </a:lnTo>
                  <a:lnTo>
                    <a:pt x="18" y="24"/>
                  </a:lnTo>
                  <a:lnTo>
                    <a:pt x="15" y="24"/>
                  </a:lnTo>
                  <a:lnTo>
                    <a:pt x="14" y="24"/>
                  </a:lnTo>
                  <a:lnTo>
                    <a:pt x="13" y="24"/>
                  </a:lnTo>
                  <a:lnTo>
                    <a:pt x="12" y="24"/>
                  </a:lnTo>
                  <a:lnTo>
                    <a:pt x="8" y="25"/>
                  </a:lnTo>
                  <a:lnTo>
                    <a:pt x="7" y="25"/>
                  </a:lnTo>
                  <a:lnTo>
                    <a:pt x="6" y="26"/>
                  </a:lnTo>
                  <a:lnTo>
                    <a:pt x="5" y="26"/>
                  </a:lnTo>
                  <a:lnTo>
                    <a:pt x="4" y="28"/>
                  </a:lnTo>
                  <a:lnTo>
                    <a:pt x="4" y="29"/>
                  </a:lnTo>
                  <a:lnTo>
                    <a:pt x="3" y="29"/>
                  </a:lnTo>
                  <a:lnTo>
                    <a:pt x="1" y="28"/>
                  </a:lnTo>
                  <a:lnTo>
                    <a:pt x="1" y="26"/>
                  </a:lnTo>
                  <a:lnTo>
                    <a:pt x="0" y="26"/>
                  </a:lnTo>
                  <a:lnTo>
                    <a:pt x="0" y="25"/>
                  </a:lnTo>
                  <a:lnTo>
                    <a:pt x="0" y="24"/>
                  </a:lnTo>
                  <a:lnTo>
                    <a:pt x="0" y="23"/>
                  </a:lnTo>
                  <a:lnTo>
                    <a:pt x="0" y="22"/>
                  </a:lnTo>
                  <a:lnTo>
                    <a:pt x="1" y="22"/>
                  </a:lnTo>
                  <a:lnTo>
                    <a:pt x="1" y="23"/>
                  </a:lnTo>
                  <a:lnTo>
                    <a:pt x="1" y="24"/>
                  </a:lnTo>
                  <a:lnTo>
                    <a:pt x="1" y="23"/>
                  </a:lnTo>
                  <a:lnTo>
                    <a:pt x="1" y="22"/>
                  </a:lnTo>
                  <a:lnTo>
                    <a:pt x="0" y="22"/>
                  </a:lnTo>
                  <a:lnTo>
                    <a:pt x="0" y="21"/>
                  </a:lnTo>
                  <a:lnTo>
                    <a:pt x="1" y="19"/>
                  </a:lnTo>
                  <a:lnTo>
                    <a:pt x="0" y="18"/>
                  </a:lnTo>
                  <a:lnTo>
                    <a:pt x="0" y="17"/>
                  </a:lnTo>
                  <a:lnTo>
                    <a:pt x="1" y="17"/>
                  </a:lnTo>
                  <a:lnTo>
                    <a:pt x="3" y="16"/>
                  </a:lnTo>
                  <a:lnTo>
                    <a:pt x="4" y="16"/>
                  </a:lnTo>
                  <a:lnTo>
                    <a:pt x="4" y="15"/>
                  </a:lnTo>
                  <a:lnTo>
                    <a:pt x="4" y="14"/>
                  </a:lnTo>
                  <a:lnTo>
                    <a:pt x="4" y="12"/>
                  </a:lnTo>
                  <a:lnTo>
                    <a:pt x="4" y="11"/>
                  </a:lnTo>
                  <a:lnTo>
                    <a:pt x="4" y="10"/>
                  </a:lnTo>
                  <a:lnTo>
                    <a:pt x="5" y="9"/>
                  </a:lnTo>
                  <a:lnTo>
                    <a:pt x="6" y="7"/>
                  </a:lnTo>
                  <a:lnTo>
                    <a:pt x="7" y="7"/>
                  </a:lnTo>
                  <a:lnTo>
                    <a:pt x="10" y="7"/>
                  </a:lnTo>
                  <a:lnTo>
                    <a:pt x="12" y="5"/>
                  </a:lnTo>
                  <a:lnTo>
                    <a:pt x="15" y="4"/>
                  </a:lnTo>
                  <a:lnTo>
                    <a:pt x="17" y="4"/>
                  </a:lnTo>
                  <a:lnTo>
                    <a:pt x="17" y="5"/>
                  </a:lnTo>
                  <a:lnTo>
                    <a:pt x="18" y="7"/>
                  </a:lnTo>
                  <a:lnTo>
                    <a:pt x="20" y="8"/>
                  </a:lnTo>
                  <a:lnTo>
                    <a:pt x="21" y="9"/>
                  </a:lnTo>
                  <a:lnTo>
                    <a:pt x="22" y="9"/>
                  </a:lnTo>
                  <a:lnTo>
                    <a:pt x="22" y="10"/>
                  </a:lnTo>
                  <a:lnTo>
                    <a:pt x="24" y="10"/>
                  </a:lnTo>
                  <a:lnTo>
                    <a:pt x="24" y="11"/>
                  </a:lnTo>
                  <a:lnTo>
                    <a:pt x="25" y="11"/>
                  </a:lnTo>
                  <a:lnTo>
                    <a:pt x="25" y="12"/>
                  </a:lnTo>
                  <a:lnTo>
                    <a:pt x="25" y="14"/>
                  </a:lnTo>
                  <a:lnTo>
                    <a:pt x="26" y="14"/>
                  </a:lnTo>
                  <a:lnTo>
                    <a:pt x="27" y="15"/>
                  </a:lnTo>
                  <a:lnTo>
                    <a:pt x="28" y="15"/>
                  </a:lnTo>
                  <a:lnTo>
                    <a:pt x="29" y="15"/>
                  </a:lnTo>
                  <a:lnTo>
                    <a:pt x="29" y="16"/>
                  </a:lnTo>
                  <a:lnTo>
                    <a:pt x="31" y="16"/>
                  </a:lnTo>
                  <a:lnTo>
                    <a:pt x="33" y="15"/>
                  </a:lnTo>
                  <a:lnTo>
                    <a:pt x="34" y="15"/>
                  </a:lnTo>
                  <a:lnTo>
                    <a:pt x="34" y="14"/>
                  </a:lnTo>
                  <a:lnTo>
                    <a:pt x="35" y="14"/>
                  </a:lnTo>
                  <a:lnTo>
                    <a:pt x="36" y="14"/>
                  </a:lnTo>
                  <a:lnTo>
                    <a:pt x="36" y="12"/>
                  </a:lnTo>
                  <a:lnTo>
                    <a:pt x="38" y="12"/>
                  </a:lnTo>
                  <a:lnTo>
                    <a:pt x="38" y="11"/>
                  </a:lnTo>
                  <a:lnTo>
                    <a:pt x="38" y="10"/>
                  </a:lnTo>
                  <a:lnTo>
                    <a:pt x="38" y="8"/>
                  </a:lnTo>
                  <a:lnTo>
                    <a:pt x="36" y="8"/>
                  </a:lnTo>
                  <a:lnTo>
                    <a:pt x="36" y="7"/>
                  </a:lnTo>
                  <a:lnTo>
                    <a:pt x="36" y="5"/>
                  </a:lnTo>
                  <a:lnTo>
                    <a:pt x="35" y="4"/>
                  </a:lnTo>
                  <a:lnTo>
                    <a:pt x="35" y="3"/>
                  </a:lnTo>
                  <a:lnTo>
                    <a:pt x="35" y="2"/>
                  </a:lnTo>
                  <a:lnTo>
                    <a:pt x="36" y="2"/>
                  </a:lnTo>
                  <a:lnTo>
                    <a:pt x="38" y="2"/>
                  </a:lnTo>
                  <a:lnTo>
                    <a:pt x="38" y="1"/>
                  </a:lnTo>
                  <a:lnTo>
                    <a:pt x="39" y="1"/>
                  </a:lnTo>
                  <a:lnTo>
                    <a:pt x="40" y="1"/>
                  </a:lnTo>
                  <a:lnTo>
                    <a:pt x="41" y="1"/>
                  </a:lnTo>
                  <a:lnTo>
                    <a:pt x="42" y="1"/>
                  </a:lnTo>
                  <a:lnTo>
                    <a:pt x="42" y="0"/>
                  </a:lnTo>
                  <a:lnTo>
                    <a:pt x="43" y="0"/>
                  </a:lnTo>
                  <a:lnTo>
                    <a:pt x="45" y="0"/>
                  </a:lnTo>
                  <a:lnTo>
                    <a:pt x="46" y="1"/>
                  </a:lnTo>
                  <a:lnTo>
                    <a:pt x="46" y="0"/>
                  </a:lnTo>
                  <a:lnTo>
                    <a:pt x="47" y="0"/>
                  </a:lnTo>
                  <a:lnTo>
                    <a:pt x="48" y="1"/>
                  </a:lnTo>
                  <a:lnTo>
                    <a:pt x="49" y="1"/>
                  </a:lnTo>
                  <a:lnTo>
                    <a:pt x="49" y="2"/>
                  </a:lnTo>
                  <a:lnTo>
                    <a:pt x="50" y="2"/>
                  </a:lnTo>
                  <a:lnTo>
                    <a:pt x="51" y="2"/>
                  </a:lnTo>
                  <a:lnTo>
                    <a:pt x="53" y="2"/>
                  </a:lnTo>
                  <a:lnTo>
                    <a:pt x="55" y="3"/>
                  </a:lnTo>
                  <a:lnTo>
                    <a:pt x="56" y="4"/>
                  </a:lnTo>
                  <a:lnTo>
                    <a:pt x="57" y="4"/>
                  </a:lnTo>
                  <a:lnTo>
                    <a:pt x="58" y="5"/>
                  </a:lnTo>
                  <a:lnTo>
                    <a:pt x="58" y="7"/>
                  </a:lnTo>
                  <a:lnTo>
                    <a:pt x="60" y="7"/>
                  </a:lnTo>
                  <a:lnTo>
                    <a:pt x="61" y="7"/>
                  </a:lnTo>
                  <a:lnTo>
                    <a:pt x="61" y="8"/>
                  </a:lnTo>
                  <a:lnTo>
                    <a:pt x="62" y="8"/>
                  </a:lnTo>
                  <a:lnTo>
                    <a:pt x="62" y="7"/>
                  </a:lnTo>
                  <a:lnTo>
                    <a:pt x="63" y="7"/>
                  </a:lnTo>
                  <a:lnTo>
                    <a:pt x="64" y="7"/>
                  </a:lnTo>
                  <a:lnTo>
                    <a:pt x="65" y="5"/>
                  </a:lnTo>
                  <a:lnTo>
                    <a:pt x="67" y="7"/>
                  </a:lnTo>
                  <a:lnTo>
                    <a:pt x="68" y="7"/>
                  </a:lnTo>
                  <a:lnTo>
                    <a:pt x="69" y="7"/>
                  </a:lnTo>
                  <a:lnTo>
                    <a:pt x="70" y="8"/>
                  </a:lnTo>
                  <a:lnTo>
                    <a:pt x="71" y="8"/>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82" name="Freeform 938">
              <a:extLst>
                <a:ext uri="{FF2B5EF4-FFF2-40B4-BE49-F238E27FC236}">
                  <a16:creationId xmlns:a16="http://schemas.microsoft.com/office/drawing/2014/main" id="{43E352E3-9441-4254-ABBD-552FF795354A}"/>
                </a:ext>
              </a:extLst>
            </p:cNvPr>
            <p:cNvSpPr>
              <a:spLocks noEditPoints="1"/>
            </p:cNvSpPr>
            <p:nvPr/>
          </p:nvSpPr>
          <p:spPr bwMode="auto">
            <a:xfrm>
              <a:off x="7875099" y="2878436"/>
              <a:ext cx="1336" cy="1336"/>
            </a:xfrm>
            <a:custGeom>
              <a:avLst/>
              <a:gdLst>
                <a:gd name="T0" fmla="*/ 1 w 1"/>
                <a:gd name="T1" fmla="*/ 1 h 1"/>
                <a:gd name="T2" fmla="*/ 1 w 1"/>
                <a:gd name="T3" fmla="*/ 1 h 1"/>
                <a:gd name="T4" fmla="*/ 1 w 1"/>
                <a:gd name="T5" fmla="*/ 1 h 1"/>
                <a:gd name="T6" fmla="*/ 0 w 1"/>
                <a:gd name="T7" fmla="*/ 1 h 1"/>
                <a:gd name="T8" fmla="*/ 1 w 1"/>
                <a:gd name="T9" fmla="*/ 1 h 1"/>
                <a:gd name="T10" fmla="*/ 1 w 1"/>
                <a:gd name="T11" fmla="*/ 1 h 1"/>
                <a:gd name="T12" fmla="*/ 1 w 1"/>
                <a:gd name="T13" fmla="*/ 1 h 1"/>
                <a:gd name="T14" fmla="*/ 1 w 1"/>
                <a:gd name="T15" fmla="*/ 1 h 1"/>
                <a:gd name="T16" fmla="*/ 1 w 1"/>
                <a:gd name="T17" fmla="*/ 1 h 1"/>
                <a:gd name="T18" fmla="*/ 1 w 1"/>
                <a:gd name="T19" fmla="*/ 1 h 1"/>
                <a:gd name="T20" fmla="*/ 1 w 1"/>
                <a:gd name="T21" fmla="*/ 1 h 1"/>
                <a:gd name="T22" fmla="*/ 1 w 1"/>
                <a:gd name="T23" fmla="*/ 1 h 1"/>
                <a:gd name="T24" fmla="*/ 1 w 1"/>
                <a:gd name="T25" fmla="*/ 1 h 1"/>
                <a:gd name="T26" fmla="*/ 1 w 1"/>
                <a:gd name="T27" fmla="*/ 1 h 1"/>
                <a:gd name="T28" fmla="*/ 1 w 1"/>
                <a:gd name="T29" fmla="*/ 1 h 1"/>
                <a:gd name="T30" fmla="*/ 0 w 1"/>
                <a:gd name="T31" fmla="*/ 1 h 1"/>
                <a:gd name="T32" fmla="*/ 0 w 1"/>
                <a:gd name="T33" fmla="*/ 1 h 1"/>
                <a:gd name="T34" fmla="*/ 0 w 1"/>
                <a:gd name="T35" fmla="*/ 1 h 1"/>
                <a:gd name="T36" fmla="*/ 0 w 1"/>
                <a:gd name="T37" fmla="*/ 1 h 1"/>
                <a:gd name="T38" fmla="*/ 0 w 1"/>
                <a:gd name="T39" fmla="*/ 1 h 1"/>
                <a:gd name="T40" fmla="*/ 0 w 1"/>
                <a:gd name="T41" fmla="*/ 1 h 1"/>
                <a:gd name="T42" fmla="*/ 0 w 1"/>
                <a:gd name="T43" fmla="*/ 1 h 1"/>
                <a:gd name="T44" fmla="*/ 0 w 1"/>
                <a:gd name="T45" fmla="*/ 1 h 1"/>
                <a:gd name="T46" fmla="*/ 0 w 1"/>
                <a:gd name="T47" fmla="*/ 0 h 1"/>
                <a:gd name="T48" fmla="*/ 0 w 1"/>
                <a:gd name="T49" fmla="*/ 0 h 1"/>
                <a:gd name="T50" fmla="*/ 0 w 1"/>
                <a:gd name="T51" fmla="*/ 0 h 1"/>
                <a:gd name="T52" fmla="*/ 0 w 1"/>
                <a:gd name="T53" fmla="*/ 0 h 1"/>
                <a:gd name="T54" fmla="*/ 0 w 1"/>
                <a:gd name="T55" fmla="*/ 0 h 1"/>
                <a:gd name="T56" fmla="*/ 0 w 1"/>
                <a:gd name="T57" fmla="*/ 0 h 1"/>
                <a:gd name="T58" fmla="*/ 0 w 1"/>
                <a:gd name="T59" fmla="*/ 0 h 1"/>
                <a:gd name="T60" fmla="*/ 0 w 1"/>
                <a:gd name="T61" fmla="*/ 0 h 1"/>
                <a:gd name="T62" fmla="*/ 0 w 1"/>
                <a:gd name="T63" fmla="*/ 0 h 1"/>
                <a:gd name="T64" fmla="*/ 0 w 1"/>
                <a:gd name="T65" fmla="*/ 0 h 1"/>
                <a:gd name="T66" fmla="*/ 0 w 1"/>
                <a:gd name="T67" fmla="*/ 0 h 1"/>
                <a:gd name="T68" fmla="*/ 0 w 1"/>
                <a:gd name="T69" fmla="*/ 1 h 1"/>
                <a:gd name="T70" fmla="*/ 0 w 1"/>
                <a:gd name="T71" fmla="*/ 0 h 1"/>
                <a:gd name="T72" fmla="*/ 0 w 1"/>
                <a:gd name="T73" fmla="*/ 0 h 1"/>
                <a:gd name="T74" fmla="*/ 0 w 1"/>
                <a:gd name="T75" fmla="*/ 0 h 1"/>
                <a:gd name="T76" fmla="*/ 0 w 1"/>
                <a:gd name="T77" fmla="*/ 0 h 1"/>
                <a:gd name="T78" fmla="*/ 0 w 1"/>
                <a:gd name="T79" fmla="*/ 0 h 1"/>
                <a:gd name="T80" fmla="*/ 0 w 1"/>
                <a:gd name="T81" fmla="*/ 0 h 1"/>
                <a:gd name="T82" fmla="*/ 0 w 1"/>
                <a:gd name="T83" fmla="*/ 0 h 1"/>
                <a:gd name="T84" fmla="*/ 0 w 1"/>
                <a:gd name="T85" fmla="*/ 0 h 1"/>
                <a:gd name="T86" fmla="*/ 0 w 1"/>
                <a:gd name="T87" fmla="*/ 0 h 1"/>
                <a:gd name="T88" fmla="*/ 0 w 1"/>
                <a:gd name="T89" fmla="*/ 0 h 1"/>
                <a:gd name="T90" fmla="*/ 0 w 1"/>
                <a:gd name="T9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 h="1">
                  <a:moveTo>
                    <a:pt x="0" y="1"/>
                  </a:moveTo>
                  <a:lnTo>
                    <a:pt x="1" y="1"/>
                  </a:lnTo>
                  <a:lnTo>
                    <a:pt x="1" y="1"/>
                  </a:lnTo>
                  <a:lnTo>
                    <a:pt x="1" y="1"/>
                  </a:lnTo>
                  <a:lnTo>
                    <a:pt x="1" y="1"/>
                  </a:lnTo>
                  <a:lnTo>
                    <a:pt x="1" y="1"/>
                  </a:lnTo>
                  <a:lnTo>
                    <a:pt x="0" y="1"/>
                  </a:lnTo>
                  <a:lnTo>
                    <a:pt x="0"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close/>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83" name="Freeform 939">
              <a:extLst>
                <a:ext uri="{FF2B5EF4-FFF2-40B4-BE49-F238E27FC236}">
                  <a16:creationId xmlns:a16="http://schemas.microsoft.com/office/drawing/2014/main" id="{3FF33F68-00AA-4FCB-BA47-AB834C3F386F}"/>
                </a:ext>
              </a:extLst>
            </p:cNvPr>
            <p:cNvSpPr>
              <a:spLocks/>
            </p:cNvSpPr>
            <p:nvPr/>
          </p:nvSpPr>
          <p:spPr bwMode="auto">
            <a:xfrm>
              <a:off x="4647224" y="2963908"/>
              <a:ext cx="4007" cy="4007"/>
            </a:xfrm>
            <a:custGeom>
              <a:avLst/>
              <a:gdLst>
                <a:gd name="T0" fmla="*/ 1 w 3"/>
                <a:gd name="T1" fmla="*/ 3 h 3"/>
                <a:gd name="T2" fmla="*/ 1 w 3"/>
                <a:gd name="T3" fmla="*/ 1 h 3"/>
                <a:gd name="T4" fmla="*/ 0 w 3"/>
                <a:gd name="T5" fmla="*/ 1 h 3"/>
                <a:gd name="T6" fmla="*/ 0 w 3"/>
                <a:gd name="T7" fmla="*/ 1 h 3"/>
                <a:gd name="T8" fmla="*/ 0 w 3"/>
                <a:gd name="T9" fmla="*/ 1 h 3"/>
                <a:gd name="T10" fmla="*/ 0 w 3"/>
                <a:gd name="T11" fmla="*/ 1 h 3"/>
                <a:gd name="T12" fmla="*/ 0 w 3"/>
                <a:gd name="T13" fmla="*/ 1 h 3"/>
                <a:gd name="T14" fmla="*/ 0 w 3"/>
                <a:gd name="T15" fmla="*/ 1 h 3"/>
                <a:gd name="T16" fmla="*/ 0 w 3"/>
                <a:gd name="T17" fmla="*/ 1 h 3"/>
                <a:gd name="T18" fmla="*/ 0 w 3"/>
                <a:gd name="T19" fmla="*/ 1 h 3"/>
                <a:gd name="T20" fmla="*/ 0 w 3"/>
                <a:gd name="T21" fmla="*/ 1 h 3"/>
                <a:gd name="T22" fmla="*/ 0 w 3"/>
                <a:gd name="T23" fmla="*/ 1 h 3"/>
                <a:gd name="T24" fmla="*/ 1 w 3"/>
                <a:gd name="T25" fmla="*/ 1 h 3"/>
                <a:gd name="T26" fmla="*/ 1 w 3"/>
                <a:gd name="T27" fmla="*/ 1 h 3"/>
                <a:gd name="T28" fmla="*/ 1 w 3"/>
                <a:gd name="T29" fmla="*/ 1 h 3"/>
                <a:gd name="T30" fmla="*/ 1 w 3"/>
                <a:gd name="T31" fmla="*/ 1 h 3"/>
                <a:gd name="T32" fmla="*/ 1 w 3"/>
                <a:gd name="T33" fmla="*/ 1 h 3"/>
                <a:gd name="T34" fmla="*/ 1 w 3"/>
                <a:gd name="T35" fmla="*/ 0 h 3"/>
                <a:gd name="T36" fmla="*/ 3 w 3"/>
                <a:gd name="T37" fmla="*/ 0 h 3"/>
                <a:gd name="T38" fmla="*/ 3 w 3"/>
                <a:gd name="T39" fmla="*/ 1 h 3"/>
                <a:gd name="T40" fmla="*/ 3 w 3"/>
                <a:gd name="T41" fmla="*/ 1 h 3"/>
                <a:gd name="T42" fmla="*/ 3 w 3"/>
                <a:gd name="T43" fmla="*/ 3 h 3"/>
                <a:gd name="T44" fmla="*/ 1 w 3"/>
                <a:gd name="T45" fmla="*/ 3 h 3"/>
                <a:gd name="T46" fmla="*/ 1 w 3"/>
                <a:gd name="T4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3">
                  <a:moveTo>
                    <a:pt x="1" y="3"/>
                  </a:moveTo>
                  <a:lnTo>
                    <a:pt x="1" y="1"/>
                  </a:lnTo>
                  <a:lnTo>
                    <a:pt x="0" y="1"/>
                  </a:lnTo>
                  <a:lnTo>
                    <a:pt x="0" y="1"/>
                  </a:lnTo>
                  <a:lnTo>
                    <a:pt x="0" y="1"/>
                  </a:lnTo>
                  <a:lnTo>
                    <a:pt x="0" y="1"/>
                  </a:lnTo>
                  <a:lnTo>
                    <a:pt x="0" y="1"/>
                  </a:lnTo>
                  <a:lnTo>
                    <a:pt x="0" y="1"/>
                  </a:lnTo>
                  <a:lnTo>
                    <a:pt x="0" y="1"/>
                  </a:lnTo>
                  <a:lnTo>
                    <a:pt x="0" y="1"/>
                  </a:lnTo>
                  <a:lnTo>
                    <a:pt x="0" y="1"/>
                  </a:lnTo>
                  <a:lnTo>
                    <a:pt x="0" y="1"/>
                  </a:lnTo>
                  <a:lnTo>
                    <a:pt x="1" y="1"/>
                  </a:lnTo>
                  <a:lnTo>
                    <a:pt x="1" y="1"/>
                  </a:lnTo>
                  <a:lnTo>
                    <a:pt x="1" y="1"/>
                  </a:lnTo>
                  <a:lnTo>
                    <a:pt x="1" y="1"/>
                  </a:lnTo>
                  <a:lnTo>
                    <a:pt x="1" y="1"/>
                  </a:lnTo>
                  <a:lnTo>
                    <a:pt x="1" y="0"/>
                  </a:lnTo>
                  <a:lnTo>
                    <a:pt x="3" y="0"/>
                  </a:lnTo>
                  <a:lnTo>
                    <a:pt x="3" y="1"/>
                  </a:lnTo>
                  <a:lnTo>
                    <a:pt x="3" y="1"/>
                  </a:lnTo>
                  <a:lnTo>
                    <a:pt x="3" y="3"/>
                  </a:lnTo>
                  <a:lnTo>
                    <a:pt x="1" y="3"/>
                  </a:lnTo>
                  <a:lnTo>
                    <a:pt x="1" y="3"/>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84" name="Freeform 940">
              <a:extLst>
                <a:ext uri="{FF2B5EF4-FFF2-40B4-BE49-F238E27FC236}">
                  <a16:creationId xmlns:a16="http://schemas.microsoft.com/office/drawing/2014/main" id="{571789A8-9171-491A-85BA-C47BEC2562B4}"/>
                </a:ext>
              </a:extLst>
            </p:cNvPr>
            <p:cNvSpPr>
              <a:spLocks/>
            </p:cNvSpPr>
            <p:nvPr/>
          </p:nvSpPr>
          <p:spPr bwMode="auto">
            <a:xfrm>
              <a:off x="5496594" y="2588635"/>
              <a:ext cx="291136" cy="307162"/>
            </a:xfrm>
            <a:custGeom>
              <a:avLst/>
              <a:gdLst>
                <a:gd name="T0" fmla="*/ 165 w 218"/>
                <a:gd name="T1" fmla="*/ 6 h 230"/>
                <a:gd name="T2" fmla="*/ 174 w 218"/>
                <a:gd name="T3" fmla="*/ 12 h 230"/>
                <a:gd name="T4" fmla="*/ 181 w 218"/>
                <a:gd name="T5" fmla="*/ 12 h 230"/>
                <a:gd name="T6" fmla="*/ 191 w 218"/>
                <a:gd name="T7" fmla="*/ 11 h 230"/>
                <a:gd name="T8" fmla="*/ 193 w 218"/>
                <a:gd name="T9" fmla="*/ 11 h 230"/>
                <a:gd name="T10" fmla="*/ 196 w 218"/>
                <a:gd name="T11" fmla="*/ 13 h 230"/>
                <a:gd name="T12" fmla="*/ 204 w 218"/>
                <a:gd name="T13" fmla="*/ 15 h 230"/>
                <a:gd name="T14" fmla="*/ 208 w 218"/>
                <a:gd name="T15" fmla="*/ 25 h 230"/>
                <a:gd name="T16" fmla="*/ 210 w 218"/>
                <a:gd name="T17" fmla="*/ 39 h 230"/>
                <a:gd name="T18" fmla="*/ 211 w 218"/>
                <a:gd name="T19" fmla="*/ 48 h 230"/>
                <a:gd name="T20" fmla="*/ 215 w 218"/>
                <a:gd name="T21" fmla="*/ 60 h 230"/>
                <a:gd name="T22" fmla="*/ 208 w 218"/>
                <a:gd name="T23" fmla="*/ 61 h 230"/>
                <a:gd name="T24" fmla="*/ 194 w 218"/>
                <a:gd name="T25" fmla="*/ 61 h 230"/>
                <a:gd name="T26" fmla="*/ 184 w 218"/>
                <a:gd name="T27" fmla="*/ 71 h 230"/>
                <a:gd name="T28" fmla="*/ 184 w 218"/>
                <a:gd name="T29" fmla="*/ 77 h 230"/>
                <a:gd name="T30" fmla="*/ 175 w 218"/>
                <a:gd name="T31" fmla="*/ 85 h 230"/>
                <a:gd name="T32" fmla="*/ 161 w 218"/>
                <a:gd name="T33" fmla="*/ 96 h 230"/>
                <a:gd name="T34" fmla="*/ 150 w 218"/>
                <a:gd name="T35" fmla="*/ 100 h 230"/>
                <a:gd name="T36" fmla="*/ 135 w 218"/>
                <a:gd name="T37" fmla="*/ 103 h 230"/>
                <a:gd name="T38" fmla="*/ 124 w 218"/>
                <a:gd name="T39" fmla="*/ 109 h 230"/>
                <a:gd name="T40" fmla="*/ 115 w 218"/>
                <a:gd name="T41" fmla="*/ 114 h 230"/>
                <a:gd name="T42" fmla="*/ 115 w 218"/>
                <a:gd name="T43" fmla="*/ 125 h 230"/>
                <a:gd name="T44" fmla="*/ 114 w 218"/>
                <a:gd name="T45" fmla="*/ 134 h 230"/>
                <a:gd name="T46" fmla="*/ 107 w 218"/>
                <a:gd name="T47" fmla="*/ 140 h 230"/>
                <a:gd name="T48" fmla="*/ 96 w 218"/>
                <a:gd name="T49" fmla="*/ 142 h 230"/>
                <a:gd name="T50" fmla="*/ 85 w 218"/>
                <a:gd name="T51" fmla="*/ 141 h 230"/>
                <a:gd name="T52" fmla="*/ 78 w 218"/>
                <a:gd name="T53" fmla="*/ 149 h 230"/>
                <a:gd name="T54" fmla="*/ 71 w 218"/>
                <a:gd name="T55" fmla="*/ 156 h 230"/>
                <a:gd name="T56" fmla="*/ 66 w 218"/>
                <a:gd name="T57" fmla="*/ 166 h 230"/>
                <a:gd name="T58" fmla="*/ 58 w 218"/>
                <a:gd name="T59" fmla="*/ 180 h 230"/>
                <a:gd name="T60" fmla="*/ 49 w 218"/>
                <a:gd name="T61" fmla="*/ 190 h 230"/>
                <a:gd name="T62" fmla="*/ 42 w 218"/>
                <a:gd name="T63" fmla="*/ 200 h 230"/>
                <a:gd name="T64" fmla="*/ 37 w 218"/>
                <a:gd name="T65" fmla="*/ 217 h 230"/>
                <a:gd name="T66" fmla="*/ 31 w 218"/>
                <a:gd name="T67" fmla="*/ 229 h 230"/>
                <a:gd name="T68" fmla="*/ 12 w 218"/>
                <a:gd name="T69" fmla="*/ 229 h 230"/>
                <a:gd name="T70" fmla="*/ 1 w 218"/>
                <a:gd name="T71" fmla="*/ 224 h 230"/>
                <a:gd name="T72" fmla="*/ 7 w 218"/>
                <a:gd name="T73" fmla="*/ 215 h 230"/>
                <a:gd name="T74" fmla="*/ 12 w 218"/>
                <a:gd name="T75" fmla="*/ 204 h 230"/>
                <a:gd name="T76" fmla="*/ 16 w 218"/>
                <a:gd name="T77" fmla="*/ 195 h 230"/>
                <a:gd name="T78" fmla="*/ 16 w 218"/>
                <a:gd name="T79" fmla="*/ 193 h 230"/>
                <a:gd name="T80" fmla="*/ 19 w 218"/>
                <a:gd name="T81" fmla="*/ 189 h 230"/>
                <a:gd name="T82" fmla="*/ 25 w 218"/>
                <a:gd name="T83" fmla="*/ 181 h 230"/>
                <a:gd name="T84" fmla="*/ 30 w 218"/>
                <a:gd name="T85" fmla="*/ 175 h 230"/>
                <a:gd name="T86" fmla="*/ 32 w 218"/>
                <a:gd name="T87" fmla="*/ 166 h 230"/>
                <a:gd name="T88" fmla="*/ 36 w 218"/>
                <a:gd name="T89" fmla="*/ 154 h 230"/>
                <a:gd name="T90" fmla="*/ 46 w 218"/>
                <a:gd name="T91" fmla="*/ 147 h 230"/>
                <a:gd name="T92" fmla="*/ 53 w 218"/>
                <a:gd name="T93" fmla="*/ 137 h 230"/>
                <a:gd name="T94" fmla="*/ 58 w 218"/>
                <a:gd name="T95" fmla="*/ 127 h 230"/>
                <a:gd name="T96" fmla="*/ 78 w 218"/>
                <a:gd name="T97" fmla="*/ 120 h 230"/>
                <a:gd name="T98" fmla="*/ 83 w 218"/>
                <a:gd name="T99" fmla="*/ 114 h 230"/>
                <a:gd name="T100" fmla="*/ 95 w 218"/>
                <a:gd name="T101" fmla="*/ 104 h 230"/>
                <a:gd name="T102" fmla="*/ 103 w 218"/>
                <a:gd name="T103" fmla="*/ 92 h 230"/>
                <a:gd name="T104" fmla="*/ 100 w 218"/>
                <a:gd name="T105" fmla="*/ 83 h 230"/>
                <a:gd name="T106" fmla="*/ 102 w 218"/>
                <a:gd name="T107" fmla="*/ 70 h 230"/>
                <a:gd name="T108" fmla="*/ 108 w 218"/>
                <a:gd name="T109" fmla="*/ 61 h 230"/>
                <a:gd name="T110" fmla="*/ 111 w 218"/>
                <a:gd name="T111" fmla="*/ 52 h 230"/>
                <a:gd name="T112" fmla="*/ 121 w 218"/>
                <a:gd name="T113" fmla="*/ 41 h 230"/>
                <a:gd name="T114" fmla="*/ 130 w 218"/>
                <a:gd name="T115" fmla="*/ 36 h 230"/>
                <a:gd name="T116" fmla="*/ 139 w 218"/>
                <a:gd name="T117" fmla="*/ 33 h 230"/>
                <a:gd name="T118" fmla="*/ 153 w 218"/>
                <a:gd name="T119" fmla="*/ 7 h 230"/>
                <a:gd name="T120" fmla="*/ 158 w 218"/>
                <a:gd name="T121" fmla="*/ 1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8" h="230">
                  <a:moveTo>
                    <a:pt x="161" y="0"/>
                  </a:moveTo>
                  <a:lnTo>
                    <a:pt x="161" y="1"/>
                  </a:lnTo>
                  <a:lnTo>
                    <a:pt x="163" y="1"/>
                  </a:lnTo>
                  <a:lnTo>
                    <a:pt x="163" y="3"/>
                  </a:lnTo>
                  <a:lnTo>
                    <a:pt x="163" y="4"/>
                  </a:lnTo>
                  <a:lnTo>
                    <a:pt x="163" y="5"/>
                  </a:lnTo>
                  <a:lnTo>
                    <a:pt x="164" y="5"/>
                  </a:lnTo>
                  <a:lnTo>
                    <a:pt x="164" y="6"/>
                  </a:lnTo>
                  <a:lnTo>
                    <a:pt x="165" y="6"/>
                  </a:lnTo>
                  <a:lnTo>
                    <a:pt x="166" y="8"/>
                  </a:lnTo>
                  <a:lnTo>
                    <a:pt x="167" y="8"/>
                  </a:lnTo>
                  <a:lnTo>
                    <a:pt x="167" y="10"/>
                  </a:lnTo>
                  <a:lnTo>
                    <a:pt x="168" y="10"/>
                  </a:lnTo>
                  <a:lnTo>
                    <a:pt x="168" y="11"/>
                  </a:lnTo>
                  <a:lnTo>
                    <a:pt x="170" y="11"/>
                  </a:lnTo>
                  <a:lnTo>
                    <a:pt x="172" y="12"/>
                  </a:lnTo>
                  <a:lnTo>
                    <a:pt x="173" y="12"/>
                  </a:lnTo>
                  <a:lnTo>
                    <a:pt x="174" y="12"/>
                  </a:lnTo>
                  <a:lnTo>
                    <a:pt x="175" y="12"/>
                  </a:lnTo>
                  <a:lnTo>
                    <a:pt x="177" y="12"/>
                  </a:lnTo>
                  <a:lnTo>
                    <a:pt x="178" y="12"/>
                  </a:lnTo>
                  <a:lnTo>
                    <a:pt x="179" y="11"/>
                  </a:lnTo>
                  <a:lnTo>
                    <a:pt x="180" y="11"/>
                  </a:lnTo>
                  <a:lnTo>
                    <a:pt x="181" y="11"/>
                  </a:lnTo>
                  <a:lnTo>
                    <a:pt x="180" y="11"/>
                  </a:lnTo>
                  <a:lnTo>
                    <a:pt x="181" y="11"/>
                  </a:lnTo>
                  <a:lnTo>
                    <a:pt x="181" y="12"/>
                  </a:lnTo>
                  <a:lnTo>
                    <a:pt x="182" y="12"/>
                  </a:lnTo>
                  <a:lnTo>
                    <a:pt x="182" y="11"/>
                  </a:lnTo>
                  <a:lnTo>
                    <a:pt x="184" y="11"/>
                  </a:lnTo>
                  <a:lnTo>
                    <a:pt x="185" y="11"/>
                  </a:lnTo>
                  <a:lnTo>
                    <a:pt x="186" y="11"/>
                  </a:lnTo>
                  <a:lnTo>
                    <a:pt x="186" y="12"/>
                  </a:lnTo>
                  <a:lnTo>
                    <a:pt x="187" y="12"/>
                  </a:lnTo>
                  <a:lnTo>
                    <a:pt x="188" y="12"/>
                  </a:lnTo>
                  <a:lnTo>
                    <a:pt x="191" y="11"/>
                  </a:lnTo>
                  <a:lnTo>
                    <a:pt x="192" y="10"/>
                  </a:lnTo>
                  <a:lnTo>
                    <a:pt x="192" y="11"/>
                  </a:lnTo>
                  <a:lnTo>
                    <a:pt x="192" y="10"/>
                  </a:lnTo>
                  <a:lnTo>
                    <a:pt x="193" y="8"/>
                  </a:lnTo>
                  <a:lnTo>
                    <a:pt x="193" y="7"/>
                  </a:lnTo>
                  <a:lnTo>
                    <a:pt x="193" y="8"/>
                  </a:lnTo>
                  <a:lnTo>
                    <a:pt x="194" y="10"/>
                  </a:lnTo>
                  <a:lnTo>
                    <a:pt x="193" y="10"/>
                  </a:lnTo>
                  <a:lnTo>
                    <a:pt x="193" y="11"/>
                  </a:lnTo>
                  <a:lnTo>
                    <a:pt x="194" y="11"/>
                  </a:lnTo>
                  <a:lnTo>
                    <a:pt x="194" y="12"/>
                  </a:lnTo>
                  <a:lnTo>
                    <a:pt x="195" y="13"/>
                  </a:lnTo>
                  <a:lnTo>
                    <a:pt x="196" y="13"/>
                  </a:lnTo>
                  <a:lnTo>
                    <a:pt x="195" y="13"/>
                  </a:lnTo>
                  <a:lnTo>
                    <a:pt x="194" y="12"/>
                  </a:lnTo>
                  <a:lnTo>
                    <a:pt x="194" y="11"/>
                  </a:lnTo>
                  <a:lnTo>
                    <a:pt x="195" y="12"/>
                  </a:lnTo>
                  <a:lnTo>
                    <a:pt x="196" y="13"/>
                  </a:lnTo>
                  <a:lnTo>
                    <a:pt x="198" y="13"/>
                  </a:lnTo>
                  <a:lnTo>
                    <a:pt x="199" y="13"/>
                  </a:lnTo>
                  <a:lnTo>
                    <a:pt x="200" y="13"/>
                  </a:lnTo>
                  <a:lnTo>
                    <a:pt x="200" y="12"/>
                  </a:lnTo>
                  <a:lnTo>
                    <a:pt x="202" y="13"/>
                  </a:lnTo>
                  <a:lnTo>
                    <a:pt x="203" y="13"/>
                  </a:lnTo>
                  <a:lnTo>
                    <a:pt x="203" y="14"/>
                  </a:lnTo>
                  <a:lnTo>
                    <a:pt x="203" y="15"/>
                  </a:lnTo>
                  <a:lnTo>
                    <a:pt x="204" y="15"/>
                  </a:lnTo>
                  <a:lnTo>
                    <a:pt x="206" y="15"/>
                  </a:lnTo>
                  <a:lnTo>
                    <a:pt x="206" y="17"/>
                  </a:lnTo>
                  <a:lnTo>
                    <a:pt x="207" y="18"/>
                  </a:lnTo>
                  <a:lnTo>
                    <a:pt x="209" y="19"/>
                  </a:lnTo>
                  <a:lnTo>
                    <a:pt x="208" y="20"/>
                  </a:lnTo>
                  <a:lnTo>
                    <a:pt x="208" y="21"/>
                  </a:lnTo>
                  <a:lnTo>
                    <a:pt x="209" y="22"/>
                  </a:lnTo>
                  <a:lnTo>
                    <a:pt x="210" y="24"/>
                  </a:lnTo>
                  <a:lnTo>
                    <a:pt x="208" y="25"/>
                  </a:lnTo>
                  <a:lnTo>
                    <a:pt x="209" y="26"/>
                  </a:lnTo>
                  <a:lnTo>
                    <a:pt x="210" y="29"/>
                  </a:lnTo>
                  <a:lnTo>
                    <a:pt x="209" y="32"/>
                  </a:lnTo>
                  <a:lnTo>
                    <a:pt x="209" y="33"/>
                  </a:lnTo>
                  <a:lnTo>
                    <a:pt x="209" y="34"/>
                  </a:lnTo>
                  <a:lnTo>
                    <a:pt x="209" y="35"/>
                  </a:lnTo>
                  <a:lnTo>
                    <a:pt x="210" y="36"/>
                  </a:lnTo>
                  <a:lnTo>
                    <a:pt x="210" y="38"/>
                  </a:lnTo>
                  <a:lnTo>
                    <a:pt x="210" y="39"/>
                  </a:lnTo>
                  <a:lnTo>
                    <a:pt x="210" y="40"/>
                  </a:lnTo>
                  <a:lnTo>
                    <a:pt x="210" y="41"/>
                  </a:lnTo>
                  <a:lnTo>
                    <a:pt x="210" y="42"/>
                  </a:lnTo>
                  <a:lnTo>
                    <a:pt x="210" y="43"/>
                  </a:lnTo>
                  <a:lnTo>
                    <a:pt x="211" y="43"/>
                  </a:lnTo>
                  <a:lnTo>
                    <a:pt x="211" y="45"/>
                  </a:lnTo>
                  <a:lnTo>
                    <a:pt x="213" y="46"/>
                  </a:lnTo>
                  <a:lnTo>
                    <a:pt x="213" y="47"/>
                  </a:lnTo>
                  <a:lnTo>
                    <a:pt x="211" y="48"/>
                  </a:lnTo>
                  <a:lnTo>
                    <a:pt x="214" y="50"/>
                  </a:lnTo>
                  <a:lnTo>
                    <a:pt x="215" y="52"/>
                  </a:lnTo>
                  <a:lnTo>
                    <a:pt x="218" y="54"/>
                  </a:lnTo>
                  <a:lnTo>
                    <a:pt x="217" y="55"/>
                  </a:lnTo>
                  <a:lnTo>
                    <a:pt x="217" y="56"/>
                  </a:lnTo>
                  <a:lnTo>
                    <a:pt x="216" y="56"/>
                  </a:lnTo>
                  <a:lnTo>
                    <a:pt x="215" y="57"/>
                  </a:lnTo>
                  <a:lnTo>
                    <a:pt x="215" y="59"/>
                  </a:lnTo>
                  <a:lnTo>
                    <a:pt x="215" y="60"/>
                  </a:lnTo>
                  <a:lnTo>
                    <a:pt x="216" y="60"/>
                  </a:lnTo>
                  <a:lnTo>
                    <a:pt x="216" y="61"/>
                  </a:lnTo>
                  <a:lnTo>
                    <a:pt x="215" y="61"/>
                  </a:lnTo>
                  <a:lnTo>
                    <a:pt x="214" y="61"/>
                  </a:lnTo>
                  <a:lnTo>
                    <a:pt x="213" y="61"/>
                  </a:lnTo>
                  <a:lnTo>
                    <a:pt x="211" y="61"/>
                  </a:lnTo>
                  <a:lnTo>
                    <a:pt x="210" y="61"/>
                  </a:lnTo>
                  <a:lnTo>
                    <a:pt x="209" y="61"/>
                  </a:lnTo>
                  <a:lnTo>
                    <a:pt x="208" y="61"/>
                  </a:lnTo>
                  <a:lnTo>
                    <a:pt x="207" y="61"/>
                  </a:lnTo>
                  <a:lnTo>
                    <a:pt x="206" y="61"/>
                  </a:lnTo>
                  <a:lnTo>
                    <a:pt x="204" y="61"/>
                  </a:lnTo>
                  <a:lnTo>
                    <a:pt x="203" y="61"/>
                  </a:lnTo>
                  <a:lnTo>
                    <a:pt x="202" y="61"/>
                  </a:lnTo>
                  <a:lnTo>
                    <a:pt x="201" y="60"/>
                  </a:lnTo>
                  <a:lnTo>
                    <a:pt x="199" y="60"/>
                  </a:lnTo>
                  <a:lnTo>
                    <a:pt x="196" y="61"/>
                  </a:lnTo>
                  <a:lnTo>
                    <a:pt x="194" y="61"/>
                  </a:lnTo>
                  <a:lnTo>
                    <a:pt x="193" y="62"/>
                  </a:lnTo>
                  <a:lnTo>
                    <a:pt x="194" y="64"/>
                  </a:lnTo>
                  <a:lnTo>
                    <a:pt x="194" y="66"/>
                  </a:lnTo>
                  <a:lnTo>
                    <a:pt x="192" y="66"/>
                  </a:lnTo>
                  <a:lnTo>
                    <a:pt x="189" y="67"/>
                  </a:lnTo>
                  <a:lnTo>
                    <a:pt x="186" y="68"/>
                  </a:lnTo>
                  <a:lnTo>
                    <a:pt x="185" y="68"/>
                  </a:lnTo>
                  <a:lnTo>
                    <a:pt x="184" y="68"/>
                  </a:lnTo>
                  <a:lnTo>
                    <a:pt x="184" y="71"/>
                  </a:lnTo>
                  <a:lnTo>
                    <a:pt x="182" y="72"/>
                  </a:lnTo>
                  <a:lnTo>
                    <a:pt x="181" y="72"/>
                  </a:lnTo>
                  <a:lnTo>
                    <a:pt x="181" y="74"/>
                  </a:lnTo>
                  <a:lnTo>
                    <a:pt x="181" y="75"/>
                  </a:lnTo>
                  <a:lnTo>
                    <a:pt x="181" y="76"/>
                  </a:lnTo>
                  <a:lnTo>
                    <a:pt x="182" y="75"/>
                  </a:lnTo>
                  <a:lnTo>
                    <a:pt x="182" y="76"/>
                  </a:lnTo>
                  <a:lnTo>
                    <a:pt x="184" y="76"/>
                  </a:lnTo>
                  <a:lnTo>
                    <a:pt x="184" y="77"/>
                  </a:lnTo>
                  <a:lnTo>
                    <a:pt x="185" y="78"/>
                  </a:lnTo>
                  <a:lnTo>
                    <a:pt x="184" y="79"/>
                  </a:lnTo>
                  <a:lnTo>
                    <a:pt x="184" y="81"/>
                  </a:lnTo>
                  <a:lnTo>
                    <a:pt x="184" y="82"/>
                  </a:lnTo>
                  <a:lnTo>
                    <a:pt x="184" y="83"/>
                  </a:lnTo>
                  <a:lnTo>
                    <a:pt x="181" y="84"/>
                  </a:lnTo>
                  <a:lnTo>
                    <a:pt x="179" y="84"/>
                  </a:lnTo>
                  <a:lnTo>
                    <a:pt x="177" y="84"/>
                  </a:lnTo>
                  <a:lnTo>
                    <a:pt x="175" y="85"/>
                  </a:lnTo>
                  <a:lnTo>
                    <a:pt x="174" y="85"/>
                  </a:lnTo>
                  <a:lnTo>
                    <a:pt x="172" y="88"/>
                  </a:lnTo>
                  <a:lnTo>
                    <a:pt x="171" y="89"/>
                  </a:lnTo>
                  <a:lnTo>
                    <a:pt x="168" y="90"/>
                  </a:lnTo>
                  <a:lnTo>
                    <a:pt x="167" y="91"/>
                  </a:lnTo>
                  <a:lnTo>
                    <a:pt x="166" y="92"/>
                  </a:lnTo>
                  <a:lnTo>
                    <a:pt x="164" y="93"/>
                  </a:lnTo>
                  <a:lnTo>
                    <a:pt x="163" y="95"/>
                  </a:lnTo>
                  <a:lnTo>
                    <a:pt x="161" y="96"/>
                  </a:lnTo>
                  <a:lnTo>
                    <a:pt x="160" y="97"/>
                  </a:lnTo>
                  <a:lnTo>
                    <a:pt x="159" y="99"/>
                  </a:lnTo>
                  <a:lnTo>
                    <a:pt x="158" y="102"/>
                  </a:lnTo>
                  <a:lnTo>
                    <a:pt x="157" y="102"/>
                  </a:lnTo>
                  <a:lnTo>
                    <a:pt x="156" y="102"/>
                  </a:lnTo>
                  <a:lnTo>
                    <a:pt x="154" y="100"/>
                  </a:lnTo>
                  <a:lnTo>
                    <a:pt x="153" y="100"/>
                  </a:lnTo>
                  <a:lnTo>
                    <a:pt x="152" y="100"/>
                  </a:lnTo>
                  <a:lnTo>
                    <a:pt x="150" y="100"/>
                  </a:lnTo>
                  <a:lnTo>
                    <a:pt x="149" y="100"/>
                  </a:lnTo>
                  <a:lnTo>
                    <a:pt x="146" y="100"/>
                  </a:lnTo>
                  <a:lnTo>
                    <a:pt x="144" y="102"/>
                  </a:lnTo>
                  <a:lnTo>
                    <a:pt x="143" y="102"/>
                  </a:lnTo>
                  <a:lnTo>
                    <a:pt x="142" y="103"/>
                  </a:lnTo>
                  <a:lnTo>
                    <a:pt x="139" y="102"/>
                  </a:lnTo>
                  <a:lnTo>
                    <a:pt x="137" y="102"/>
                  </a:lnTo>
                  <a:lnTo>
                    <a:pt x="136" y="102"/>
                  </a:lnTo>
                  <a:lnTo>
                    <a:pt x="135" y="103"/>
                  </a:lnTo>
                  <a:lnTo>
                    <a:pt x="134" y="104"/>
                  </a:lnTo>
                  <a:lnTo>
                    <a:pt x="132" y="104"/>
                  </a:lnTo>
                  <a:lnTo>
                    <a:pt x="131" y="104"/>
                  </a:lnTo>
                  <a:lnTo>
                    <a:pt x="130" y="104"/>
                  </a:lnTo>
                  <a:lnTo>
                    <a:pt x="129" y="105"/>
                  </a:lnTo>
                  <a:lnTo>
                    <a:pt x="128" y="105"/>
                  </a:lnTo>
                  <a:lnTo>
                    <a:pt x="127" y="106"/>
                  </a:lnTo>
                  <a:lnTo>
                    <a:pt x="125" y="106"/>
                  </a:lnTo>
                  <a:lnTo>
                    <a:pt x="124" y="109"/>
                  </a:lnTo>
                  <a:lnTo>
                    <a:pt x="122" y="109"/>
                  </a:lnTo>
                  <a:lnTo>
                    <a:pt x="122" y="110"/>
                  </a:lnTo>
                  <a:lnTo>
                    <a:pt x="121" y="111"/>
                  </a:lnTo>
                  <a:lnTo>
                    <a:pt x="120" y="111"/>
                  </a:lnTo>
                  <a:lnTo>
                    <a:pt x="120" y="112"/>
                  </a:lnTo>
                  <a:lnTo>
                    <a:pt x="118" y="112"/>
                  </a:lnTo>
                  <a:lnTo>
                    <a:pt x="117" y="113"/>
                  </a:lnTo>
                  <a:lnTo>
                    <a:pt x="116" y="114"/>
                  </a:lnTo>
                  <a:lnTo>
                    <a:pt x="115" y="114"/>
                  </a:lnTo>
                  <a:lnTo>
                    <a:pt x="115" y="116"/>
                  </a:lnTo>
                  <a:lnTo>
                    <a:pt x="115" y="117"/>
                  </a:lnTo>
                  <a:lnTo>
                    <a:pt x="115" y="118"/>
                  </a:lnTo>
                  <a:lnTo>
                    <a:pt x="115" y="119"/>
                  </a:lnTo>
                  <a:lnTo>
                    <a:pt x="115" y="120"/>
                  </a:lnTo>
                  <a:lnTo>
                    <a:pt x="115" y="121"/>
                  </a:lnTo>
                  <a:lnTo>
                    <a:pt x="115" y="123"/>
                  </a:lnTo>
                  <a:lnTo>
                    <a:pt x="115" y="124"/>
                  </a:lnTo>
                  <a:lnTo>
                    <a:pt x="115" y="125"/>
                  </a:lnTo>
                  <a:lnTo>
                    <a:pt x="115" y="126"/>
                  </a:lnTo>
                  <a:lnTo>
                    <a:pt x="115" y="127"/>
                  </a:lnTo>
                  <a:lnTo>
                    <a:pt x="115" y="128"/>
                  </a:lnTo>
                  <a:lnTo>
                    <a:pt x="115" y="130"/>
                  </a:lnTo>
                  <a:lnTo>
                    <a:pt x="115" y="131"/>
                  </a:lnTo>
                  <a:lnTo>
                    <a:pt x="114" y="131"/>
                  </a:lnTo>
                  <a:lnTo>
                    <a:pt x="114" y="132"/>
                  </a:lnTo>
                  <a:lnTo>
                    <a:pt x="114" y="133"/>
                  </a:lnTo>
                  <a:lnTo>
                    <a:pt x="114" y="134"/>
                  </a:lnTo>
                  <a:lnTo>
                    <a:pt x="114" y="135"/>
                  </a:lnTo>
                  <a:lnTo>
                    <a:pt x="114" y="137"/>
                  </a:lnTo>
                  <a:lnTo>
                    <a:pt x="114" y="138"/>
                  </a:lnTo>
                  <a:lnTo>
                    <a:pt x="114" y="139"/>
                  </a:lnTo>
                  <a:lnTo>
                    <a:pt x="113" y="140"/>
                  </a:lnTo>
                  <a:lnTo>
                    <a:pt x="110" y="140"/>
                  </a:lnTo>
                  <a:lnTo>
                    <a:pt x="109" y="140"/>
                  </a:lnTo>
                  <a:lnTo>
                    <a:pt x="108" y="140"/>
                  </a:lnTo>
                  <a:lnTo>
                    <a:pt x="107" y="140"/>
                  </a:lnTo>
                  <a:lnTo>
                    <a:pt x="106" y="140"/>
                  </a:lnTo>
                  <a:lnTo>
                    <a:pt x="104" y="140"/>
                  </a:lnTo>
                  <a:lnTo>
                    <a:pt x="103" y="141"/>
                  </a:lnTo>
                  <a:lnTo>
                    <a:pt x="102" y="142"/>
                  </a:lnTo>
                  <a:lnTo>
                    <a:pt x="101" y="144"/>
                  </a:lnTo>
                  <a:lnTo>
                    <a:pt x="100" y="144"/>
                  </a:lnTo>
                  <a:lnTo>
                    <a:pt x="99" y="144"/>
                  </a:lnTo>
                  <a:lnTo>
                    <a:pt x="97" y="144"/>
                  </a:lnTo>
                  <a:lnTo>
                    <a:pt x="96" y="142"/>
                  </a:lnTo>
                  <a:lnTo>
                    <a:pt x="95" y="144"/>
                  </a:lnTo>
                  <a:lnTo>
                    <a:pt x="94" y="144"/>
                  </a:lnTo>
                  <a:lnTo>
                    <a:pt x="93" y="142"/>
                  </a:lnTo>
                  <a:lnTo>
                    <a:pt x="90" y="142"/>
                  </a:lnTo>
                  <a:lnTo>
                    <a:pt x="89" y="141"/>
                  </a:lnTo>
                  <a:lnTo>
                    <a:pt x="88" y="141"/>
                  </a:lnTo>
                  <a:lnTo>
                    <a:pt x="87" y="141"/>
                  </a:lnTo>
                  <a:lnTo>
                    <a:pt x="86" y="141"/>
                  </a:lnTo>
                  <a:lnTo>
                    <a:pt x="85" y="141"/>
                  </a:lnTo>
                  <a:lnTo>
                    <a:pt x="83" y="141"/>
                  </a:lnTo>
                  <a:lnTo>
                    <a:pt x="81" y="142"/>
                  </a:lnTo>
                  <a:lnTo>
                    <a:pt x="80" y="142"/>
                  </a:lnTo>
                  <a:lnTo>
                    <a:pt x="79" y="144"/>
                  </a:lnTo>
                  <a:lnTo>
                    <a:pt x="79" y="145"/>
                  </a:lnTo>
                  <a:lnTo>
                    <a:pt x="79" y="146"/>
                  </a:lnTo>
                  <a:lnTo>
                    <a:pt x="79" y="147"/>
                  </a:lnTo>
                  <a:lnTo>
                    <a:pt x="78" y="148"/>
                  </a:lnTo>
                  <a:lnTo>
                    <a:pt x="78" y="149"/>
                  </a:lnTo>
                  <a:lnTo>
                    <a:pt x="76" y="149"/>
                  </a:lnTo>
                  <a:lnTo>
                    <a:pt x="76" y="151"/>
                  </a:lnTo>
                  <a:lnTo>
                    <a:pt x="75" y="152"/>
                  </a:lnTo>
                  <a:lnTo>
                    <a:pt x="75" y="153"/>
                  </a:lnTo>
                  <a:lnTo>
                    <a:pt x="74" y="154"/>
                  </a:lnTo>
                  <a:lnTo>
                    <a:pt x="74" y="155"/>
                  </a:lnTo>
                  <a:lnTo>
                    <a:pt x="73" y="155"/>
                  </a:lnTo>
                  <a:lnTo>
                    <a:pt x="72" y="156"/>
                  </a:lnTo>
                  <a:lnTo>
                    <a:pt x="71" y="156"/>
                  </a:lnTo>
                  <a:lnTo>
                    <a:pt x="70" y="156"/>
                  </a:lnTo>
                  <a:lnTo>
                    <a:pt x="70" y="158"/>
                  </a:lnTo>
                  <a:lnTo>
                    <a:pt x="68" y="158"/>
                  </a:lnTo>
                  <a:lnTo>
                    <a:pt x="68" y="159"/>
                  </a:lnTo>
                  <a:lnTo>
                    <a:pt x="68" y="160"/>
                  </a:lnTo>
                  <a:lnTo>
                    <a:pt x="68" y="161"/>
                  </a:lnTo>
                  <a:lnTo>
                    <a:pt x="67" y="162"/>
                  </a:lnTo>
                  <a:lnTo>
                    <a:pt x="67" y="165"/>
                  </a:lnTo>
                  <a:lnTo>
                    <a:pt x="66" y="166"/>
                  </a:lnTo>
                  <a:lnTo>
                    <a:pt x="66" y="169"/>
                  </a:lnTo>
                  <a:lnTo>
                    <a:pt x="65" y="172"/>
                  </a:lnTo>
                  <a:lnTo>
                    <a:pt x="65" y="174"/>
                  </a:lnTo>
                  <a:lnTo>
                    <a:pt x="64" y="175"/>
                  </a:lnTo>
                  <a:lnTo>
                    <a:pt x="63" y="176"/>
                  </a:lnTo>
                  <a:lnTo>
                    <a:pt x="61" y="177"/>
                  </a:lnTo>
                  <a:lnTo>
                    <a:pt x="60" y="179"/>
                  </a:lnTo>
                  <a:lnTo>
                    <a:pt x="59" y="179"/>
                  </a:lnTo>
                  <a:lnTo>
                    <a:pt x="58" y="180"/>
                  </a:lnTo>
                  <a:lnTo>
                    <a:pt x="57" y="181"/>
                  </a:lnTo>
                  <a:lnTo>
                    <a:pt x="56" y="181"/>
                  </a:lnTo>
                  <a:lnTo>
                    <a:pt x="54" y="182"/>
                  </a:lnTo>
                  <a:lnTo>
                    <a:pt x="54" y="184"/>
                  </a:lnTo>
                  <a:lnTo>
                    <a:pt x="53" y="186"/>
                  </a:lnTo>
                  <a:lnTo>
                    <a:pt x="52" y="188"/>
                  </a:lnTo>
                  <a:lnTo>
                    <a:pt x="51" y="189"/>
                  </a:lnTo>
                  <a:lnTo>
                    <a:pt x="50" y="190"/>
                  </a:lnTo>
                  <a:lnTo>
                    <a:pt x="49" y="190"/>
                  </a:lnTo>
                  <a:lnTo>
                    <a:pt x="47" y="190"/>
                  </a:lnTo>
                  <a:lnTo>
                    <a:pt x="46" y="191"/>
                  </a:lnTo>
                  <a:lnTo>
                    <a:pt x="45" y="193"/>
                  </a:lnTo>
                  <a:lnTo>
                    <a:pt x="44" y="193"/>
                  </a:lnTo>
                  <a:lnTo>
                    <a:pt x="43" y="194"/>
                  </a:lnTo>
                  <a:lnTo>
                    <a:pt x="43" y="195"/>
                  </a:lnTo>
                  <a:lnTo>
                    <a:pt x="42" y="196"/>
                  </a:lnTo>
                  <a:lnTo>
                    <a:pt x="42" y="198"/>
                  </a:lnTo>
                  <a:lnTo>
                    <a:pt x="42" y="200"/>
                  </a:lnTo>
                  <a:lnTo>
                    <a:pt x="40" y="203"/>
                  </a:lnTo>
                  <a:lnTo>
                    <a:pt x="39" y="205"/>
                  </a:lnTo>
                  <a:lnTo>
                    <a:pt x="39" y="207"/>
                  </a:lnTo>
                  <a:lnTo>
                    <a:pt x="39" y="209"/>
                  </a:lnTo>
                  <a:lnTo>
                    <a:pt x="39" y="211"/>
                  </a:lnTo>
                  <a:lnTo>
                    <a:pt x="38" y="214"/>
                  </a:lnTo>
                  <a:lnTo>
                    <a:pt x="38" y="215"/>
                  </a:lnTo>
                  <a:lnTo>
                    <a:pt x="38" y="216"/>
                  </a:lnTo>
                  <a:lnTo>
                    <a:pt x="37" y="217"/>
                  </a:lnTo>
                  <a:lnTo>
                    <a:pt x="36" y="218"/>
                  </a:lnTo>
                  <a:lnTo>
                    <a:pt x="35" y="219"/>
                  </a:lnTo>
                  <a:lnTo>
                    <a:pt x="33" y="221"/>
                  </a:lnTo>
                  <a:lnTo>
                    <a:pt x="33" y="222"/>
                  </a:lnTo>
                  <a:lnTo>
                    <a:pt x="32" y="223"/>
                  </a:lnTo>
                  <a:lnTo>
                    <a:pt x="32" y="224"/>
                  </a:lnTo>
                  <a:lnTo>
                    <a:pt x="32" y="225"/>
                  </a:lnTo>
                  <a:lnTo>
                    <a:pt x="32" y="226"/>
                  </a:lnTo>
                  <a:lnTo>
                    <a:pt x="31" y="229"/>
                  </a:lnTo>
                  <a:lnTo>
                    <a:pt x="30" y="229"/>
                  </a:lnTo>
                  <a:lnTo>
                    <a:pt x="28" y="229"/>
                  </a:lnTo>
                  <a:lnTo>
                    <a:pt x="25" y="229"/>
                  </a:lnTo>
                  <a:lnTo>
                    <a:pt x="23" y="229"/>
                  </a:lnTo>
                  <a:lnTo>
                    <a:pt x="21" y="229"/>
                  </a:lnTo>
                  <a:lnTo>
                    <a:pt x="19" y="229"/>
                  </a:lnTo>
                  <a:lnTo>
                    <a:pt x="17" y="229"/>
                  </a:lnTo>
                  <a:lnTo>
                    <a:pt x="15" y="229"/>
                  </a:lnTo>
                  <a:lnTo>
                    <a:pt x="12" y="229"/>
                  </a:lnTo>
                  <a:lnTo>
                    <a:pt x="11" y="229"/>
                  </a:lnTo>
                  <a:lnTo>
                    <a:pt x="6" y="229"/>
                  </a:lnTo>
                  <a:lnTo>
                    <a:pt x="3" y="229"/>
                  </a:lnTo>
                  <a:lnTo>
                    <a:pt x="1" y="230"/>
                  </a:lnTo>
                  <a:lnTo>
                    <a:pt x="0" y="230"/>
                  </a:lnTo>
                  <a:lnTo>
                    <a:pt x="0" y="229"/>
                  </a:lnTo>
                  <a:lnTo>
                    <a:pt x="1" y="226"/>
                  </a:lnTo>
                  <a:lnTo>
                    <a:pt x="1" y="225"/>
                  </a:lnTo>
                  <a:lnTo>
                    <a:pt x="1" y="224"/>
                  </a:lnTo>
                  <a:lnTo>
                    <a:pt x="1" y="223"/>
                  </a:lnTo>
                  <a:lnTo>
                    <a:pt x="1" y="222"/>
                  </a:lnTo>
                  <a:lnTo>
                    <a:pt x="3" y="218"/>
                  </a:lnTo>
                  <a:lnTo>
                    <a:pt x="3" y="217"/>
                  </a:lnTo>
                  <a:lnTo>
                    <a:pt x="4" y="217"/>
                  </a:lnTo>
                  <a:lnTo>
                    <a:pt x="4" y="216"/>
                  </a:lnTo>
                  <a:lnTo>
                    <a:pt x="6" y="216"/>
                  </a:lnTo>
                  <a:lnTo>
                    <a:pt x="7" y="216"/>
                  </a:lnTo>
                  <a:lnTo>
                    <a:pt x="7" y="215"/>
                  </a:lnTo>
                  <a:lnTo>
                    <a:pt x="8" y="215"/>
                  </a:lnTo>
                  <a:lnTo>
                    <a:pt x="8" y="212"/>
                  </a:lnTo>
                  <a:lnTo>
                    <a:pt x="9" y="211"/>
                  </a:lnTo>
                  <a:lnTo>
                    <a:pt x="9" y="210"/>
                  </a:lnTo>
                  <a:lnTo>
                    <a:pt x="9" y="209"/>
                  </a:lnTo>
                  <a:lnTo>
                    <a:pt x="10" y="208"/>
                  </a:lnTo>
                  <a:lnTo>
                    <a:pt x="10" y="207"/>
                  </a:lnTo>
                  <a:lnTo>
                    <a:pt x="11" y="205"/>
                  </a:lnTo>
                  <a:lnTo>
                    <a:pt x="12" y="204"/>
                  </a:lnTo>
                  <a:lnTo>
                    <a:pt x="12" y="203"/>
                  </a:lnTo>
                  <a:lnTo>
                    <a:pt x="11" y="203"/>
                  </a:lnTo>
                  <a:lnTo>
                    <a:pt x="11" y="202"/>
                  </a:lnTo>
                  <a:lnTo>
                    <a:pt x="12" y="202"/>
                  </a:lnTo>
                  <a:lnTo>
                    <a:pt x="14" y="200"/>
                  </a:lnTo>
                  <a:lnTo>
                    <a:pt x="14" y="198"/>
                  </a:lnTo>
                  <a:lnTo>
                    <a:pt x="15" y="197"/>
                  </a:lnTo>
                  <a:lnTo>
                    <a:pt x="15" y="196"/>
                  </a:lnTo>
                  <a:lnTo>
                    <a:pt x="16" y="195"/>
                  </a:lnTo>
                  <a:lnTo>
                    <a:pt x="16" y="194"/>
                  </a:lnTo>
                  <a:lnTo>
                    <a:pt x="17" y="194"/>
                  </a:lnTo>
                  <a:lnTo>
                    <a:pt x="17" y="193"/>
                  </a:lnTo>
                  <a:lnTo>
                    <a:pt x="17" y="191"/>
                  </a:lnTo>
                  <a:lnTo>
                    <a:pt x="18" y="191"/>
                  </a:lnTo>
                  <a:lnTo>
                    <a:pt x="17" y="190"/>
                  </a:lnTo>
                  <a:lnTo>
                    <a:pt x="17" y="191"/>
                  </a:lnTo>
                  <a:lnTo>
                    <a:pt x="16" y="191"/>
                  </a:lnTo>
                  <a:lnTo>
                    <a:pt x="16" y="193"/>
                  </a:lnTo>
                  <a:lnTo>
                    <a:pt x="15" y="194"/>
                  </a:lnTo>
                  <a:lnTo>
                    <a:pt x="15" y="195"/>
                  </a:lnTo>
                  <a:lnTo>
                    <a:pt x="15" y="194"/>
                  </a:lnTo>
                  <a:lnTo>
                    <a:pt x="15" y="193"/>
                  </a:lnTo>
                  <a:lnTo>
                    <a:pt x="16" y="191"/>
                  </a:lnTo>
                  <a:lnTo>
                    <a:pt x="16" y="190"/>
                  </a:lnTo>
                  <a:lnTo>
                    <a:pt x="17" y="190"/>
                  </a:lnTo>
                  <a:lnTo>
                    <a:pt x="18" y="189"/>
                  </a:lnTo>
                  <a:lnTo>
                    <a:pt x="19" y="189"/>
                  </a:lnTo>
                  <a:lnTo>
                    <a:pt x="19" y="188"/>
                  </a:lnTo>
                  <a:lnTo>
                    <a:pt x="21" y="188"/>
                  </a:lnTo>
                  <a:lnTo>
                    <a:pt x="21" y="187"/>
                  </a:lnTo>
                  <a:lnTo>
                    <a:pt x="22" y="187"/>
                  </a:lnTo>
                  <a:lnTo>
                    <a:pt x="22" y="186"/>
                  </a:lnTo>
                  <a:lnTo>
                    <a:pt x="23" y="184"/>
                  </a:lnTo>
                  <a:lnTo>
                    <a:pt x="24" y="183"/>
                  </a:lnTo>
                  <a:lnTo>
                    <a:pt x="25" y="182"/>
                  </a:lnTo>
                  <a:lnTo>
                    <a:pt x="25" y="181"/>
                  </a:lnTo>
                  <a:lnTo>
                    <a:pt x="26" y="181"/>
                  </a:lnTo>
                  <a:lnTo>
                    <a:pt x="28" y="181"/>
                  </a:lnTo>
                  <a:lnTo>
                    <a:pt x="28" y="180"/>
                  </a:lnTo>
                  <a:lnTo>
                    <a:pt x="29" y="180"/>
                  </a:lnTo>
                  <a:lnTo>
                    <a:pt x="29" y="179"/>
                  </a:lnTo>
                  <a:lnTo>
                    <a:pt x="30" y="179"/>
                  </a:lnTo>
                  <a:lnTo>
                    <a:pt x="30" y="177"/>
                  </a:lnTo>
                  <a:lnTo>
                    <a:pt x="30" y="176"/>
                  </a:lnTo>
                  <a:lnTo>
                    <a:pt x="30" y="175"/>
                  </a:lnTo>
                  <a:lnTo>
                    <a:pt x="31" y="175"/>
                  </a:lnTo>
                  <a:lnTo>
                    <a:pt x="31" y="174"/>
                  </a:lnTo>
                  <a:lnTo>
                    <a:pt x="31" y="173"/>
                  </a:lnTo>
                  <a:lnTo>
                    <a:pt x="31" y="172"/>
                  </a:lnTo>
                  <a:lnTo>
                    <a:pt x="31" y="170"/>
                  </a:lnTo>
                  <a:lnTo>
                    <a:pt x="31" y="169"/>
                  </a:lnTo>
                  <a:lnTo>
                    <a:pt x="31" y="168"/>
                  </a:lnTo>
                  <a:lnTo>
                    <a:pt x="31" y="167"/>
                  </a:lnTo>
                  <a:lnTo>
                    <a:pt x="32" y="166"/>
                  </a:lnTo>
                  <a:lnTo>
                    <a:pt x="32" y="165"/>
                  </a:lnTo>
                  <a:lnTo>
                    <a:pt x="33" y="163"/>
                  </a:lnTo>
                  <a:lnTo>
                    <a:pt x="33" y="162"/>
                  </a:lnTo>
                  <a:lnTo>
                    <a:pt x="35" y="161"/>
                  </a:lnTo>
                  <a:lnTo>
                    <a:pt x="36" y="159"/>
                  </a:lnTo>
                  <a:lnTo>
                    <a:pt x="36" y="158"/>
                  </a:lnTo>
                  <a:lnTo>
                    <a:pt x="36" y="156"/>
                  </a:lnTo>
                  <a:lnTo>
                    <a:pt x="36" y="155"/>
                  </a:lnTo>
                  <a:lnTo>
                    <a:pt x="36" y="154"/>
                  </a:lnTo>
                  <a:lnTo>
                    <a:pt x="37" y="154"/>
                  </a:lnTo>
                  <a:lnTo>
                    <a:pt x="37" y="153"/>
                  </a:lnTo>
                  <a:lnTo>
                    <a:pt x="38" y="153"/>
                  </a:lnTo>
                  <a:lnTo>
                    <a:pt x="39" y="152"/>
                  </a:lnTo>
                  <a:lnTo>
                    <a:pt x="40" y="151"/>
                  </a:lnTo>
                  <a:lnTo>
                    <a:pt x="43" y="151"/>
                  </a:lnTo>
                  <a:lnTo>
                    <a:pt x="43" y="149"/>
                  </a:lnTo>
                  <a:lnTo>
                    <a:pt x="44" y="149"/>
                  </a:lnTo>
                  <a:lnTo>
                    <a:pt x="46" y="147"/>
                  </a:lnTo>
                  <a:lnTo>
                    <a:pt x="49" y="146"/>
                  </a:lnTo>
                  <a:lnTo>
                    <a:pt x="49" y="145"/>
                  </a:lnTo>
                  <a:lnTo>
                    <a:pt x="50" y="144"/>
                  </a:lnTo>
                  <a:lnTo>
                    <a:pt x="50" y="142"/>
                  </a:lnTo>
                  <a:lnTo>
                    <a:pt x="51" y="141"/>
                  </a:lnTo>
                  <a:lnTo>
                    <a:pt x="51" y="140"/>
                  </a:lnTo>
                  <a:lnTo>
                    <a:pt x="51" y="139"/>
                  </a:lnTo>
                  <a:lnTo>
                    <a:pt x="52" y="138"/>
                  </a:lnTo>
                  <a:lnTo>
                    <a:pt x="53" y="137"/>
                  </a:lnTo>
                  <a:lnTo>
                    <a:pt x="52" y="135"/>
                  </a:lnTo>
                  <a:lnTo>
                    <a:pt x="53" y="135"/>
                  </a:lnTo>
                  <a:lnTo>
                    <a:pt x="53" y="134"/>
                  </a:lnTo>
                  <a:lnTo>
                    <a:pt x="54" y="132"/>
                  </a:lnTo>
                  <a:lnTo>
                    <a:pt x="54" y="131"/>
                  </a:lnTo>
                  <a:lnTo>
                    <a:pt x="56" y="130"/>
                  </a:lnTo>
                  <a:lnTo>
                    <a:pt x="57" y="130"/>
                  </a:lnTo>
                  <a:lnTo>
                    <a:pt x="57" y="128"/>
                  </a:lnTo>
                  <a:lnTo>
                    <a:pt x="58" y="127"/>
                  </a:lnTo>
                  <a:lnTo>
                    <a:pt x="58" y="126"/>
                  </a:lnTo>
                  <a:lnTo>
                    <a:pt x="59" y="126"/>
                  </a:lnTo>
                  <a:lnTo>
                    <a:pt x="61" y="125"/>
                  </a:lnTo>
                  <a:lnTo>
                    <a:pt x="64" y="126"/>
                  </a:lnTo>
                  <a:lnTo>
                    <a:pt x="66" y="125"/>
                  </a:lnTo>
                  <a:lnTo>
                    <a:pt x="70" y="124"/>
                  </a:lnTo>
                  <a:lnTo>
                    <a:pt x="71" y="124"/>
                  </a:lnTo>
                  <a:lnTo>
                    <a:pt x="74" y="123"/>
                  </a:lnTo>
                  <a:lnTo>
                    <a:pt x="78" y="120"/>
                  </a:lnTo>
                  <a:lnTo>
                    <a:pt x="79" y="119"/>
                  </a:lnTo>
                  <a:lnTo>
                    <a:pt x="79" y="118"/>
                  </a:lnTo>
                  <a:lnTo>
                    <a:pt x="80" y="118"/>
                  </a:lnTo>
                  <a:lnTo>
                    <a:pt x="80" y="117"/>
                  </a:lnTo>
                  <a:lnTo>
                    <a:pt x="81" y="117"/>
                  </a:lnTo>
                  <a:lnTo>
                    <a:pt x="81" y="116"/>
                  </a:lnTo>
                  <a:lnTo>
                    <a:pt x="82" y="116"/>
                  </a:lnTo>
                  <a:lnTo>
                    <a:pt x="82" y="114"/>
                  </a:lnTo>
                  <a:lnTo>
                    <a:pt x="83" y="114"/>
                  </a:lnTo>
                  <a:lnTo>
                    <a:pt x="83" y="113"/>
                  </a:lnTo>
                  <a:lnTo>
                    <a:pt x="88" y="111"/>
                  </a:lnTo>
                  <a:lnTo>
                    <a:pt x="89" y="110"/>
                  </a:lnTo>
                  <a:lnTo>
                    <a:pt x="90" y="110"/>
                  </a:lnTo>
                  <a:lnTo>
                    <a:pt x="92" y="109"/>
                  </a:lnTo>
                  <a:lnTo>
                    <a:pt x="93" y="106"/>
                  </a:lnTo>
                  <a:lnTo>
                    <a:pt x="94" y="105"/>
                  </a:lnTo>
                  <a:lnTo>
                    <a:pt x="95" y="105"/>
                  </a:lnTo>
                  <a:lnTo>
                    <a:pt x="95" y="104"/>
                  </a:lnTo>
                  <a:lnTo>
                    <a:pt x="95" y="103"/>
                  </a:lnTo>
                  <a:lnTo>
                    <a:pt x="96" y="103"/>
                  </a:lnTo>
                  <a:lnTo>
                    <a:pt x="97" y="102"/>
                  </a:lnTo>
                  <a:lnTo>
                    <a:pt x="97" y="100"/>
                  </a:lnTo>
                  <a:lnTo>
                    <a:pt x="99" y="99"/>
                  </a:lnTo>
                  <a:lnTo>
                    <a:pt x="99" y="98"/>
                  </a:lnTo>
                  <a:lnTo>
                    <a:pt x="101" y="97"/>
                  </a:lnTo>
                  <a:lnTo>
                    <a:pt x="102" y="93"/>
                  </a:lnTo>
                  <a:lnTo>
                    <a:pt x="103" y="92"/>
                  </a:lnTo>
                  <a:lnTo>
                    <a:pt x="103" y="91"/>
                  </a:lnTo>
                  <a:lnTo>
                    <a:pt x="103" y="89"/>
                  </a:lnTo>
                  <a:lnTo>
                    <a:pt x="103" y="88"/>
                  </a:lnTo>
                  <a:lnTo>
                    <a:pt x="103" y="86"/>
                  </a:lnTo>
                  <a:lnTo>
                    <a:pt x="102" y="85"/>
                  </a:lnTo>
                  <a:lnTo>
                    <a:pt x="102" y="84"/>
                  </a:lnTo>
                  <a:lnTo>
                    <a:pt x="101" y="84"/>
                  </a:lnTo>
                  <a:lnTo>
                    <a:pt x="100" y="84"/>
                  </a:lnTo>
                  <a:lnTo>
                    <a:pt x="100" y="83"/>
                  </a:lnTo>
                  <a:lnTo>
                    <a:pt x="101" y="82"/>
                  </a:lnTo>
                  <a:lnTo>
                    <a:pt x="101" y="81"/>
                  </a:lnTo>
                  <a:lnTo>
                    <a:pt x="101" y="79"/>
                  </a:lnTo>
                  <a:lnTo>
                    <a:pt x="101" y="77"/>
                  </a:lnTo>
                  <a:lnTo>
                    <a:pt x="101" y="76"/>
                  </a:lnTo>
                  <a:lnTo>
                    <a:pt x="101" y="74"/>
                  </a:lnTo>
                  <a:lnTo>
                    <a:pt x="101" y="72"/>
                  </a:lnTo>
                  <a:lnTo>
                    <a:pt x="101" y="71"/>
                  </a:lnTo>
                  <a:lnTo>
                    <a:pt x="102" y="70"/>
                  </a:lnTo>
                  <a:lnTo>
                    <a:pt x="102" y="69"/>
                  </a:lnTo>
                  <a:lnTo>
                    <a:pt x="103" y="69"/>
                  </a:lnTo>
                  <a:lnTo>
                    <a:pt x="103" y="68"/>
                  </a:lnTo>
                  <a:lnTo>
                    <a:pt x="103" y="67"/>
                  </a:lnTo>
                  <a:lnTo>
                    <a:pt x="104" y="66"/>
                  </a:lnTo>
                  <a:lnTo>
                    <a:pt x="106" y="64"/>
                  </a:lnTo>
                  <a:lnTo>
                    <a:pt x="106" y="63"/>
                  </a:lnTo>
                  <a:lnTo>
                    <a:pt x="108" y="62"/>
                  </a:lnTo>
                  <a:lnTo>
                    <a:pt x="108" y="61"/>
                  </a:lnTo>
                  <a:lnTo>
                    <a:pt x="108" y="60"/>
                  </a:lnTo>
                  <a:lnTo>
                    <a:pt x="109" y="60"/>
                  </a:lnTo>
                  <a:lnTo>
                    <a:pt x="109" y="59"/>
                  </a:lnTo>
                  <a:lnTo>
                    <a:pt x="109" y="57"/>
                  </a:lnTo>
                  <a:lnTo>
                    <a:pt x="109" y="56"/>
                  </a:lnTo>
                  <a:lnTo>
                    <a:pt x="109" y="55"/>
                  </a:lnTo>
                  <a:lnTo>
                    <a:pt x="109" y="54"/>
                  </a:lnTo>
                  <a:lnTo>
                    <a:pt x="109" y="53"/>
                  </a:lnTo>
                  <a:lnTo>
                    <a:pt x="111" y="52"/>
                  </a:lnTo>
                  <a:lnTo>
                    <a:pt x="113" y="49"/>
                  </a:lnTo>
                  <a:lnTo>
                    <a:pt x="114" y="49"/>
                  </a:lnTo>
                  <a:lnTo>
                    <a:pt x="115" y="48"/>
                  </a:lnTo>
                  <a:lnTo>
                    <a:pt x="116" y="46"/>
                  </a:lnTo>
                  <a:lnTo>
                    <a:pt x="118" y="45"/>
                  </a:lnTo>
                  <a:lnTo>
                    <a:pt x="118" y="43"/>
                  </a:lnTo>
                  <a:lnTo>
                    <a:pt x="120" y="42"/>
                  </a:lnTo>
                  <a:lnTo>
                    <a:pt x="121" y="42"/>
                  </a:lnTo>
                  <a:lnTo>
                    <a:pt x="121" y="41"/>
                  </a:lnTo>
                  <a:lnTo>
                    <a:pt x="122" y="41"/>
                  </a:lnTo>
                  <a:lnTo>
                    <a:pt x="123" y="40"/>
                  </a:lnTo>
                  <a:lnTo>
                    <a:pt x="125" y="40"/>
                  </a:lnTo>
                  <a:lnTo>
                    <a:pt x="127" y="39"/>
                  </a:lnTo>
                  <a:lnTo>
                    <a:pt x="128" y="39"/>
                  </a:lnTo>
                  <a:lnTo>
                    <a:pt x="128" y="38"/>
                  </a:lnTo>
                  <a:lnTo>
                    <a:pt x="129" y="38"/>
                  </a:lnTo>
                  <a:lnTo>
                    <a:pt x="130" y="38"/>
                  </a:lnTo>
                  <a:lnTo>
                    <a:pt x="130" y="36"/>
                  </a:lnTo>
                  <a:lnTo>
                    <a:pt x="131" y="36"/>
                  </a:lnTo>
                  <a:lnTo>
                    <a:pt x="132" y="36"/>
                  </a:lnTo>
                  <a:lnTo>
                    <a:pt x="134" y="36"/>
                  </a:lnTo>
                  <a:lnTo>
                    <a:pt x="134" y="35"/>
                  </a:lnTo>
                  <a:lnTo>
                    <a:pt x="135" y="35"/>
                  </a:lnTo>
                  <a:lnTo>
                    <a:pt x="136" y="34"/>
                  </a:lnTo>
                  <a:lnTo>
                    <a:pt x="137" y="34"/>
                  </a:lnTo>
                  <a:lnTo>
                    <a:pt x="138" y="33"/>
                  </a:lnTo>
                  <a:lnTo>
                    <a:pt x="139" y="33"/>
                  </a:lnTo>
                  <a:lnTo>
                    <a:pt x="140" y="32"/>
                  </a:lnTo>
                  <a:lnTo>
                    <a:pt x="142" y="31"/>
                  </a:lnTo>
                  <a:lnTo>
                    <a:pt x="143" y="28"/>
                  </a:lnTo>
                  <a:lnTo>
                    <a:pt x="144" y="26"/>
                  </a:lnTo>
                  <a:lnTo>
                    <a:pt x="146" y="24"/>
                  </a:lnTo>
                  <a:lnTo>
                    <a:pt x="146" y="22"/>
                  </a:lnTo>
                  <a:lnTo>
                    <a:pt x="150" y="17"/>
                  </a:lnTo>
                  <a:lnTo>
                    <a:pt x="151" y="13"/>
                  </a:lnTo>
                  <a:lnTo>
                    <a:pt x="153" y="7"/>
                  </a:lnTo>
                  <a:lnTo>
                    <a:pt x="153" y="6"/>
                  </a:lnTo>
                  <a:lnTo>
                    <a:pt x="153" y="5"/>
                  </a:lnTo>
                  <a:lnTo>
                    <a:pt x="154" y="5"/>
                  </a:lnTo>
                  <a:lnTo>
                    <a:pt x="154" y="4"/>
                  </a:lnTo>
                  <a:lnTo>
                    <a:pt x="154" y="3"/>
                  </a:lnTo>
                  <a:lnTo>
                    <a:pt x="156" y="3"/>
                  </a:lnTo>
                  <a:lnTo>
                    <a:pt x="157" y="3"/>
                  </a:lnTo>
                  <a:lnTo>
                    <a:pt x="157" y="1"/>
                  </a:lnTo>
                  <a:lnTo>
                    <a:pt x="158" y="1"/>
                  </a:lnTo>
                  <a:lnTo>
                    <a:pt x="159" y="1"/>
                  </a:lnTo>
                  <a:lnTo>
                    <a:pt x="160" y="1"/>
                  </a:lnTo>
                  <a:lnTo>
                    <a:pt x="160" y="0"/>
                  </a:lnTo>
                  <a:lnTo>
                    <a:pt x="161" y="0"/>
                  </a:lnTo>
                  <a:close/>
                </a:path>
              </a:pathLst>
            </a:custGeom>
            <a:solidFill>
              <a:srgbClr val="0053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85" name="Freeform 941">
              <a:extLst>
                <a:ext uri="{FF2B5EF4-FFF2-40B4-BE49-F238E27FC236}">
                  <a16:creationId xmlns:a16="http://schemas.microsoft.com/office/drawing/2014/main" id="{E620650E-3AE2-4E71-9025-D466CF124CDE}"/>
                </a:ext>
              </a:extLst>
            </p:cNvPr>
            <p:cNvSpPr>
              <a:spLocks/>
            </p:cNvSpPr>
            <p:nvPr/>
          </p:nvSpPr>
          <p:spPr bwMode="auto">
            <a:xfrm>
              <a:off x="5931964" y="2424370"/>
              <a:ext cx="0" cy="1336"/>
            </a:xfrm>
            <a:custGeom>
              <a:avLst/>
              <a:gdLst>
                <a:gd name="T0" fmla="*/ 1 h 1"/>
                <a:gd name="T1" fmla="*/ 1 h 1"/>
                <a:gd name="T2" fmla="*/ 1 h 1"/>
                <a:gd name="T3" fmla="*/ 1 h 1"/>
                <a:gd name="T4" fmla="*/ 1 h 1"/>
                <a:gd name="T5" fmla="*/ 1 h 1"/>
                <a:gd name="T6" fmla="*/ 1 h 1"/>
                <a:gd name="T7" fmla="*/ 1 h 1"/>
                <a:gd name="T8" fmla="*/ 0 h 1"/>
                <a:gd name="T9" fmla="*/ 0 h 1"/>
                <a:gd name="T10" fmla="*/ 0 h 1"/>
                <a:gd name="T11"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1">
                  <a:moveTo>
                    <a:pt x="0" y="1"/>
                  </a:moveTo>
                  <a:lnTo>
                    <a:pt x="0" y="1"/>
                  </a:lnTo>
                  <a:lnTo>
                    <a:pt x="0" y="1"/>
                  </a:lnTo>
                  <a:lnTo>
                    <a:pt x="0" y="1"/>
                  </a:lnTo>
                  <a:lnTo>
                    <a:pt x="0" y="1"/>
                  </a:lnTo>
                  <a:lnTo>
                    <a:pt x="0" y="1"/>
                  </a:lnTo>
                  <a:lnTo>
                    <a:pt x="0" y="1"/>
                  </a:lnTo>
                  <a:lnTo>
                    <a:pt x="0" y="1"/>
                  </a:lnTo>
                  <a:lnTo>
                    <a:pt x="0" y="0"/>
                  </a:lnTo>
                  <a:lnTo>
                    <a:pt x="0" y="0"/>
                  </a:lnTo>
                  <a:lnTo>
                    <a:pt x="0" y="0"/>
                  </a:lnTo>
                  <a:lnTo>
                    <a:pt x="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86" name="Freeform 942">
              <a:extLst>
                <a:ext uri="{FF2B5EF4-FFF2-40B4-BE49-F238E27FC236}">
                  <a16:creationId xmlns:a16="http://schemas.microsoft.com/office/drawing/2014/main" id="{D74868EA-81B3-4DBE-80D1-3519345D2EAF}"/>
                </a:ext>
              </a:extLst>
            </p:cNvPr>
            <p:cNvSpPr>
              <a:spLocks/>
            </p:cNvSpPr>
            <p:nvPr/>
          </p:nvSpPr>
          <p:spPr bwMode="auto">
            <a:xfrm>
              <a:off x="6241797" y="2326879"/>
              <a:ext cx="64103" cy="62768"/>
            </a:xfrm>
            <a:custGeom>
              <a:avLst/>
              <a:gdLst>
                <a:gd name="T0" fmla="*/ 25 w 48"/>
                <a:gd name="T1" fmla="*/ 45 h 47"/>
                <a:gd name="T2" fmla="*/ 24 w 48"/>
                <a:gd name="T3" fmla="*/ 41 h 47"/>
                <a:gd name="T4" fmla="*/ 24 w 48"/>
                <a:gd name="T5" fmla="*/ 36 h 47"/>
                <a:gd name="T6" fmla="*/ 24 w 48"/>
                <a:gd name="T7" fmla="*/ 33 h 47"/>
                <a:gd name="T8" fmla="*/ 24 w 48"/>
                <a:gd name="T9" fmla="*/ 29 h 47"/>
                <a:gd name="T10" fmla="*/ 21 w 48"/>
                <a:gd name="T11" fmla="*/ 25 h 47"/>
                <a:gd name="T12" fmla="*/ 19 w 48"/>
                <a:gd name="T13" fmla="*/ 22 h 47"/>
                <a:gd name="T14" fmla="*/ 17 w 48"/>
                <a:gd name="T15" fmla="*/ 20 h 47"/>
                <a:gd name="T16" fmla="*/ 15 w 48"/>
                <a:gd name="T17" fmla="*/ 18 h 47"/>
                <a:gd name="T18" fmla="*/ 13 w 48"/>
                <a:gd name="T19" fmla="*/ 15 h 47"/>
                <a:gd name="T20" fmla="*/ 12 w 48"/>
                <a:gd name="T21" fmla="*/ 14 h 47"/>
                <a:gd name="T22" fmla="*/ 10 w 48"/>
                <a:gd name="T23" fmla="*/ 11 h 47"/>
                <a:gd name="T24" fmla="*/ 7 w 48"/>
                <a:gd name="T25" fmla="*/ 8 h 47"/>
                <a:gd name="T26" fmla="*/ 6 w 48"/>
                <a:gd name="T27" fmla="*/ 6 h 47"/>
                <a:gd name="T28" fmla="*/ 4 w 48"/>
                <a:gd name="T29" fmla="*/ 4 h 47"/>
                <a:gd name="T30" fmla="*/ 1 w 48"/>
                <a:gd name="T31" fmla="*/ 4 h 47"/>
                <a:gd name="T32" fmla="*/ 0 w 48"/>
                <a:gd name="T33" fmla="*/ 3 h 47"/>
                <a:gd name="T34" fmla="*/ 3 w 48"/>
                <a:gd name="T35" fmla="*/ 3 h 47"/>
                <a:gd name="T36" fmla="*/ 4 w 48"/>
                <a:gd name="T37" fmla="*/ 1 h 47"/>
                <a:gd name="T38" fmla="*/ 10 w 48"/>
                <a:gd name="T39" fmla="*/ 0 h 47"/>
                <a:gd name="T40" fmla="*/ 12 w 48"/>
                <a:gd name="T41" fmla="*/ 0 h 47"/>
                <a:gd name="T42" fmla="*/ 17 w 48"/>
                <a:gd name="T43" fmla="*/ 1 h 47"/>
                <a:gd name="T44" fmla="*/ 19 w 48"/>
                <a:gd name="T45" fmla="*/ 4 h 47"/>
                <a:gd name="T46" fmla="*/ 22 w 48"/>
                <a:gd name="T47" fmla="*/ 5 h 47"/>
                <a:gd name="T48" fmla="*/ 26 w 48"/>
                <a:gd name="T49" fmla="*/ 5 h 47"/>
                <a:gd name="T50" fmla="*/ 28 w 48"/>
                <a:gd name="T51" fmla="*/ 7 h 47"/>
                <a:gd name="T52" fmla="*/ 32 w 48"/>
                <a:gd name="T53" fmla="*/ 7 h 47"/>
                <a:gd name="T54" fmla="*/ 33 w 48"/>
                <a:gd name="T55" fmla="*/ 11 h 47"/>
                <a:gd name="T56" fmla="*/ 33 w 48"/>
                <a:gd name="T57" fmla="*/ 13 h 47"/>
                <a:gd name="T58" fmla="*/ 34 w 48"/>
                <a:gd name="T59" fmla="*/ 17 h 47"/>
                <a:gd name="T60" fmla="*/ 37 w 48"/>
                <a:gd name="T61" fmla="*/ 18 h 47"/>
                <a:gd name="T62" fmla="*/ 39 w 48"/>
                <a:gd name="T63" fmla="*/ 21 h 47"/>
                <a:gd name="T64" fmla="*/ 40 w 48"/>
                <a:gd name="T65" fmla="*/ 22 h 47"/>
                <a:gd name="T66" fmla="*/ 41 w 48"/>
                <a:gd name="T67" fmla="*/ 24 h 47"/>
                <a:gd name="T68" fmla="*/ 43 w 48"/>
                <a:gd name="T69" fmla="*/ 26 h 47"/>
                <a:gd name="T70" fmla="*/ 44 w 48"/>
                <a:gd name="T71" fmla="*/ 29 h 47"/>
                <a:gd name="T72" fmla="*/ 48 w 48"/>
                <a:gd name="T73" fmla="*/ 32 h 47"/>
                <a:gd name="T74" fmla="*/ 43 w 48"/>
                <a:gd name="T75" fmla="*/ 33 h 47"/>
                <a:gd name="T76" fmla="*/ 41 w 48"/>
                <a:gd name="T77" fmla="*/ 32 h 47"/>
                <a:gd name="T78" fmla="*/ 40 w 48"/>
                <a:gd name="T79" fmla="*/ 32 h 47"/>
                <a:gd name="T80" fmla="*/ 37 w 48"/>
                <a:gd name="T81" fmla="*/ 32 h 47"/>
                <a:gd name="T82" fmla="*/ 36 w 48"/>
                <a:gd name="T83" fmla="*/ 33 h 47"/>
                <a:gd name="T84" fmla="*/ 34 w 48"/>
                <a:gd name="T85" fmla="*/ 31 h 47"/>
                <a:gd name="T86" fmla="*/ 33 w 48"/>
                <a:gd name="T87" fmla="*/ 34 h 47"/>
                <a:gd name="T88" fmla="*/ 34 w 48"/>
                <a:gd name="T89" fmla="*/ 39 h 47"/>
                <a:gd name="T90" fmla="*/ 30 w 48"/>
                <a:gd name="T91" fmla="*/ 41 h 47"/>
                <a:gd name="T92" fmla="*/ 28 w 48"/>
                <a:gd name="T93" fmla="*/ 43 h 47"/>
                <a:gd name="T94" fmla="*/ 28 w 48"/>
                <a:gd name="T95" fmla="*/ 4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 h="47">
                  <a:moveTo>
                    <a:pt x="26" y="47"/>
                  </a:moveTo>
                  <a:lnTo>
                    <a:pt x="26" y="46"/>
                  </a:lnTo>
                  <a:lnTo>
                    <a:pt x="25" y="46"/>
                  </a:lnTo>
                  <a:lnTo>
                    <a:pt x="25" y="45"/>
                  </a:lnTo>
                  <a:lnTo>
                    <a:pt x="24" y="45"/>
                  </a:lnTo>
                  <a:lnTo>
                    <a:pt x="25" y="43"/>
                  </a:lnTo>
                  <a:lnTo>
                    <a:pt x="25" y="42"/>
                  </a:lnTo>
                  <a:lnTo>
                    <a:pt x="24" y="41"/>
                  </a:lnTo>
                  <a:lnTo>
                    <a:pt x="24" y="40"/>
                  </a:lnTo>
                  <a:lnTo>
                    <a:pt x="24" y="39"/>
                  </a:lnTo>
                  <a:lnTo>
                    <a:pt x="24" y="38"/>
                  </a:lnTo>
                  <a:lnTo>
                    <a:pt x="24" y="36"/>
                  </a:lnTo>
                  <a:lnTo>
                    <a:pt x="24" y="35"/>
                  </a:lnTo>
                  <a:lnTo>
                    <a:pt x="22" y="34"/>
                  </a:lnTo>
                  <a:lnTo>
                    <a:pt x="24" y="34"/>
                  </a:lnTo>
                  <a:lnTo>
                    <a:pt x="24" y="33"/>
                  </a:lnTo>
                  <a:lnTo>
                    <a:pt x="24" y="32"/>
                  </a:lnTo>
                  <a:lnTo>
                    <a:pt x="25" y="32"/>
                  </a:lnTo>
                  <a:lnTo>
                    <a:pt x="24" y="31"/>
                  </a:lnTo>
                  <a:lnTo>
                    <a:pt x="24" y="29"/>
                  </a:lnTo>
                  <a:lnTo>
                    <a:pt x="24" y="28"/>
                  </a:lnTo>
                  <a:lnTo>
                    <a:pt x="22" y="27"/>
                  </a:lnTo>
                  <a:lnTo>
                    <a:pt x="22" y="26"/>
                  </a:lnTo>
                  <a:lnTo>
                    <a:pt x="21" y="25"/>
                  </a:lnTo>
                  <a:lnTo>
                    <a:pt x="21" y="24"/>
                  </a:lnTo>
                  <a:lnTo>
                    <a:pt x="21" y="22"/>
                  </a:lnTo>
                  <a:lnTo>
                    <a:pt x="20" y="22"/>
                  </a:lnTo>
                  <a:lnTo>
                    <a:pt x="19" y="22"/>
                  </a:lnTo>
                  <a:lnTo>
                    <a:pt x="19" y="21"/>
                  </a:lnTo>
                  <a:lnTo>
                    <a:pt x="18" y="21"/>
                  </a:lnTo>
                  <a:lnTo>
                    <a:pt x="18" y="20"/>
                  </a:lnTo>
                  <a:lnTo>
                    <a:pt x="17" y="20"/>
                  </a:lnTo>
                  <a:lnTo>
                    <a:pt x="18" y="20"/>
                  </a:lnTo>
                  <a:lnTo>
                    <a:pt x="17" y="20"/>
                  </a:lnTo>
                  <a:lnTo>
                    <a:pt x="17" y="19"/>
                  </a:lnTo>
                  <a:lnTo>
                    <a:pt x="15" y="18"/>
                  </a:lnTo>
                  <a:lnTo>
                    <a:pt x="14" y="18"/>
                  </a:lnTo>
                  <a:lnTo>
                    <a:pt x="14" y="17"/>
                  </a:lnTo>
                  <a:lnTo>
                    <a:pt x="13" y="17"/>
                  </a:lnTo>
                  <a:lnTo>
                    <a:pt x="13" y="15"/>
                  </a:lnTo>
                  <a:lnTo>
                    <a:pt x="14" y="15"/>
                  </a:lnTo>
                  <a:lnTo>
                    <a:pt x="13" y="15"/>
                  </a:lnTo>
                  <a:lnTo>
                    <a:pt x="12" y="15"/>
                  </a:lnTo>
                  <a:lnTo>
                    <a:pt x="12" y="14"/>
                  </a:lnTo>
                  <a:lnTo>
                    <a:pt x="12" y="13"/>
                  </a:lnTo>
                  <a:lnTo>
                    <a:pt x="11" y="13"/>
                  </a:lnTo>
                  <a:lnTo>
                    <a:pt x="10" y="12"/>
                  </a:lnTo>
                  <a:lnTo>
                    <a:pt x="10" y="11"/>
                  </a:lnTo>
                  <a:lnTo>
                    <a:pt x="8" y="11"/>
                  </a:lnTo>
                  <a:lnTo>
                    <a:pt x="8" y="10"/>
                  </a:lnTo>
                  <a:lnTo>
                    <a:pt x="8" y="8"/>
                  </a:lnTo>
                  <a:lnTo>
                    <a:pt x="7" y="8"/>
                  </a:lnTo>
                  <a:lnTo>
                    <a:pt x="7" y="7"/>
                  </a:lnTo>
                  <a:lnTo>
                    <a:pt x="6" y="7"/>
                  </a:lnTo>
                  <a:lnTo>
                    <a:pt x="7" y="7"/>
                  </a:lnTo>
                  <a:lnTo>
                    <a:pt x="6" y="6"/>
                  </a:lnTo>
                  <a:lnTo>
                    <a:pt x="6" y="5"/>
                  </a:lnTo>
                  <a:lnTo>
                    <a:pt x="5" y="5"/>
                  </a:lnTo>
                  <a:lnTo>
                    <a:pt x="5" y="4"/>
                  </a:lnTo>
                  <a:lnTo>
                    <a:pt x="4" y="4"/>
                  </a:lnTo>
                  <a:lnTo>
                    <a:pt x="4" y="5"/>
                  </a:lnTo>
                  <a:lnTo>
                    <a:pt x="4" y="4"/>
                  </a:lnTo>
                  <a:lnTo>
                    <a:pt x="3" y="4"/>
                  </a:lnTo>
                  <a:lnTo>
                    <a:pt x="1" y="4"/>
                  </a:lnTo>
                  <a:lnTo>
                    <a:pt x="1" y="3"/>
                  </a:lnTo>
                  <a:lnTo>
                    <a:pt x="1" y="4"/>
                  </a:lnTo>
                  <a:lnTo>
                    <a:pt x="1" y="3"/>
                  </a:lnTo>
                  <a:lnTo>
                    <a:pt x="0" y="3"/>
                  </a:lnTo>
                  <a:lnTo>
                    <a:pt x="0" y="4"/>
                  </a:lnTo>
                  <a:lnTo>
                    <a:pt x="0" y="3"/>
                  </a:lnTo>
                  <a:lnTo>
                    <a:pt x="1" y="3"/>
                  </a:lnTo>
                  <a:lnTo>
                    <a:pt x="3" y="3"/>
                  </a:lnTo>
                  <a:lnTo>
                    <a:pt x="3" y="1"/>
                  </a:lnTo>
                  <a:lnTo>
                    <a:pt x="1" y="1"/>
                  </a:lnTo>
                  <a:lnTo>
                    <a:pt x="3" y="1"/>
                  </a:lnTo>
                  <a:lnTo>
                    <a:pt x="4" y="1"/>
                  </a:lnTo>
                  <a:lnTo>
                    <a:pt x="5" y="1"/>
                  </a:lnTo>
                  <a:lnTo>
                    <a:pt x="7" y="1"/>
                  </a:lnTo>
                  <a:lnTo>
                    <a:pt x="8" y="0"/>
                  </a:lnTo>
                  <a:lnTo>
                    <a:pt x="10" y="0"/>
                  </a:lnTo>
                  <a:lnTo>
                    <a:pt x="10" y="1"/>
                  </a:lnTo>
                  <a:lnTo>
                    <a:pt x="10" y="0"/>
                  </a:lnTo>
                  <a:lnTo>
                    <a:pt x="11" y="0"/>
                  </a:lnTo>
                  <a:lnTo>
                    <a:pt x="12" y="0"/>
                  </a:lnTo>
                  <a:lnTo>
                    <a:pt x="13" y="0"/>
                  </a:lnTo>
                  <a:lnTo>
                    <a:pt x="14" y="0"/>
                  </a:lnTo>
                  <a:lnTo>
                    <a:pt x="15" y="1"/>
                  </a:lnTo>
                  <a:lnTo>
                    <a:pt x="17" y="1"/>
                  </a:lnTo>
                  <a:lnTo>
                    <a:pt x="17" y="3"/>
                  </a:lnTo>
                  <a:lnTo>
                    <a:pt x="18" y="3"/>
                  </a:lnTo>
                  <a:lnTo>
                    <a:pt x="18" y="4"/>
                  </a:lnTo>
                  <a:lnTo>
                    <a:pt x="19" y="4"/>
                  </a:lnTo>
                  <a:lnTo>
                    <a:pt x="20" y="4"/>
                  </a:lnTo>
                  <a:lnTo>
                    <a:pt x="21" y="4"/>
                  </a:lnTo>
                  <a:lnTo>
                    <a:pt x="21" y="5"/>
                  </a:lnTo>
                  <a:lnTo>
                    <a:pt x="22" y="5"/>
                  </a:lnTo>
                  <a:lnTo>
                    <a:pt x="24" y="6"/>
                  </a:lnTo>
                  <a:lnTo>
                    <a:pt x="24" y="5"/>
                  </a:lnTo>
                  <a:lnTo>
                    <a:pt x="25" y="5"/>
                  </a:lnTo>
                  <a:lnTo>
                    <a:pt x="26" y="5"/>
                  </a:lnTo>
                  <a:lnTo>
                    <a:pt x="27" y="5"/>
                  </a:lnTo>
                  <a:lnTo>
                    <a:pt x="27" y="6"/>
                  </a:lnTo>
                  <a:lnTo>
                    <a:pt x="28" y="6"/>
                  </a:lnTo>
                  <a:lnTo>
                    <a:pt x="28" y="7"/>
                  </a:lnTo>
                  <a:lnTo>
                    <a:pt x="29" y="8"/>
                  </a:lnTo>
                  <a:lnTo>
                    <a:pt x="30" y="8"/>
                  </a:lnTo>
                  <a:lnTo>
                    <a:pt x="30" y="7"/>
                  </a:lnTo>
                  <a:lnTo>
                    <a:pt x="32" y="7"/>
                  </a:lnTo>
                  <a:lnTo>
                    <a:pt x="32" y="8"/>
                  </a:lnTo>
                  <a:lnTo>
                    <a:pt x="33" y="8"/>
                  </a:lnTo>
                  <a:lnTo>
                    <a:pt x="33" y="10"/>
                  </a:lnTo>
                  <a:lnTo>
                    <a:pt x="33" y="11"/>
                  </a:lnTo>
                  <a:lnTo>
                    <a:pt x="34" y="11"/>
                  </a:lnTo>
                  <a:lnTo>
                    <a:pt x="33" y="11"/>
                  </a:lnTo>
                  <a:lnTo>
                    <a:pt x="33" y="12"/>
                  </a:lnTo>
                  <a:lnTo>
                    <a:pt x="33" y="13"/>
                  </a:lnTo>
                  <a:lnTo>
                    <a:pt x="33" y="14"/>
                  </a:lnTo>
                  <a:lnTo>
                    <a:pt x="33" y="15"/>
                  </a:lnTo>
                  <a:lnTo>
                    <a:pt x="34" y="15"/>
                  </a:lnTo>
                  <a:lnTo>
                    <a:pt x="34" y="17"/>
                  </a:lnTo>
                  <a:lnTo>
                    <a:pt x="35" y="17"/>
                  </a:lnTo>
                  <a:lnTo>
                    <a:pt x="36" y="18"/>
                  </a:lnTo>
                  <a:lnTo>
                    <a:pt x="36" y="19"/>
                  </a:lnTo>
                  <a:lnTo>
                    <a:pt x="37" y="18"/>
                  </a:lnTo>
                  <a:lnTo>
                    <a:pt x="39" y="18"/>
                  </a:lnTo>
                  <a:lnTo>
                    <a:pt x="39" y="19"/>
                  </a:lnTo>
                  <a:lnTo>
                    <a:pt x="39" y="20"/>
                  </a:lnTo>
                  <a:lnTo>
                    <a:pt x="39" y="21"/>
                  </a:lnTo>
                  <a:lnTo>
                    <a:pt x="37" y="21"/>
                  </a:lnTo>
                  <a:lnTo>
                    <a:pt x="39" y="21"/>
                  </a:lnTo>
                  <a:lnTo>
                    <a:pt x="40" y="21"/>
                  </a:lnTo>
                  <a:lnTo>
                    <a:pt x="40" y="22"/>
                  </a:lnTo>
                  <a:lnTo>
                    <a:pt x="40" y="24"/>
                  </a:lnTo>
                  <a:lnTo>
                    <a:pt x="39" y="24"/>
                  </a:lnTo>
                  <a:lnTo>
                    <a:pt x="40" y="24"/>
                  </a:lnTo>
                  <a:lnTo>
                    <a:pt x="41" y="24"/>
                  </a:lnTo>
                  <a:lnTo>
                    <a:pt x="41" y="25"/>
                  </a:lnTo>
                  <a:lnTo>
                    <a:pt x="42" y="25"/>
                  </a:lnTo>
                  <a:lnTo>
                    <a:pt x="43" y="25"/>
                  </a:lnTo>
                  <a:lnTo>
                    <a:pt x="43" y="26"/>
                  </a:lnTo>
                  <a:lnTo>
                    <a:pt x="44" y="26"/>
                  </a:lnTo>
                  <a:lnTo>
                    <a:pt x="44" y="27"/>
                  </a:lnTo>
                  <a:lnTo>
                    <a:pt x="44" y="28"/>
                  </a:lnTo>
                  <a:lnTo>
                    <a:pt x="44" y="29"/>
                  </a:lnTo>
                  <a:lnTo>
                    <a:pt x="44" y="31"/>
                  </a:lnTo>
                  <a:lnTo>
                    <a:pt x="46" y="31"/>
                  </a:lnTo>
                  <a:lnTo>
                    <a:pt x="47" y="32"/>
                  </a:lnTo>
                  <a:lnTo>
                    <a:pt x="48" y="32"/>
                  </a:lnTo>
                  <a:lnTo>
                    <a:pt x="47" y="32"/>
                  </a:lnTo>
                  <a:lnTo>
                    <a:pt x="47" y="33"/>
                  </a:lnTo>
                  <a:lnTo>
                    <a:pt x="44" y="33"/>
                  </a:lnTo>
                  <a:lnTo>
                    <a:pt x="43" y="33"/>
                  </a:lnTo>
                  <a:lnTo>
                    <a:pt x="43" y="32"/>
                  </a:lnTo>
                  <a:lnTo>
                    <a:pt x="42" y="31"/>
                  </a:lnTo>
                  <a:lnTo>
                    <a:pt x="42" y="32"/>
                  </a:lnTo>
                  <a:lnTo>
                    <a:pt x="41" y="32"/>
                  </a:lnTo>
                  <a:lnTo>
                    <a:pt x="42" y="32"/>
                  </a:lnTo>
                  <a:lnTo>
                    <a:pt x="41" y="33"/>
                  </a:lnTo>
                  <a:lnTo>
                    <a:pt x="41" y="32"/>
                  </a:lnTo>
                  <a:lnTo>
                    <a:pt x="40" y="32"/>
                  </a:lnTo>
                  <a:lnTo>
                    <a:pt x="40" y="31"/>
                  </a:lnTo>
                  <a:lnTo>
                    <a:pt x="39" y="31"/>
                  </a:lnTo>
                  <a:lnTo>
                    <a:pt x="39" y="32"/>
                  </a:lnTo>
                  <a:lnTo>
                    <a:pt x="37" y="32"/>
                  </a:lnTo>
                  <a:lnTo>
                    <a:pt x="37" y="31"/>
                  </a:lnTo>
                  <a:lnTo>
                    <a:pt x="37" y="32"/>
                  </a:lnTo>
                  <a:lnTo>
                    <a:pt x="36" y="32"/>
                  </a:lnTo>
                  <a:lnTo>
                    <a:pt x="36" y="33"/>
                  </a:lnTo>
                  <a:lnTo>
                    <a:pt x="36" y="32"/>
                  </a:lnTo>
                  <a:lnTo>
                    <a:pt x="36" y="31"/>
                  </a:lnTo>
                  <a:lnTo>
                    <a:pt x="35" y="29"/>
                  </a:lnTo>
                  <a:lnTo>
                    <a:pt x="34" y="31"/>
                  </a:lnTo>
                  <a:lnTo>
                    <a:pt x="33" y="31"/>
                  </a:lnTo>
                  <a:lnTo>
                    <a:pt x="33" y="32"/>
                  </a:lnTo>
                  <a:lnTo>
                    <a:pt x="33" y="33"/>
                  </a:lnTo>
                  <a:lnTo>
                    <a:pt x="33" y="34"/>
                  </a:lnTo>
                  <a:lnTo>
                    <a:pt x="34" y="35"/>
                  </a:lnTo>
                  <a:lnTo>
                    <a:pt x="34" y="36"/>
                  </a:lnTo>
                  <a:lnTo>
                    <a:pt x="34" y="38"/>
                  </a:lnTo>
                  <a:lnTo>
                    <a:pt x="34" y="39"/>
                  </a:lnTo>
                  <a:lnTo>
                    <a:pt x="32" y="39"/>
                  </a:lnTo>
                  <a:lnTo>
                    <a:pt x="32" y="40"/>
                  </a:lnTo>
                  <a:lnTo>
                    <a:pt x="32" y="41"/>
                  </a:lnTo>
                  <a:lnTo>
                    <a:pt x="30" y="41"/>
                  </a:lnTo>
                  <a:lnTo>
                    <a:pt x="30" y="42"/>
                  </a:lnTo>
                  <a:lnTo>
                    <a:pt x="29" y="42"/>
                  </a:lnTo>
                  <a:lnTo>
                    <a:pt x="29" y="43"/>
                  </a:lnTo>
                  <a:lnTo>
                    <a:pt x="28" y="43"/>
                  </a:lnTo>
                  <a:lnTo>
                    <a:pt x="29" y="43"/>
                  </a:lnTo>
                  <a:lnTo>
                    <a:pt x="29" y="45"/>
                  </a:lnTo>
                  <a:lnTo>
                    <a:pt x="29" y="46"/>
                  </a:lnTo>
                  <a:lnTo>
                    <a:pt x="28" y="46"/>
                  </a:lnTo>
                  <a:lnTo>
                    <a:pt x="27" y="46"/>
                  </a:lnTo>
                  <a:lnTo>
                    <a:pt x="26" y="46"/>
                  </a:lnTo>
                  <a:lnTo>
                    <a:pt x="26" y="47"/>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87" name="Freeform 943">
              <a:extLst>
                <a:ext uri="{FF2B5EF4-FFF2-40B4-BE49-F238E27FC236}">
                  <a16:creationId xmlns:a16="http://schemas.microsoft.com/office/drawing/2014/main" id="{4187AE94-BB4E-4072-B43F-0BBB926A3FCB}"/>
                </a:ext>
              </a:extLst>
            </p:cNvPr>
            <p:cNvSpPr>
              <a:spLocks noEditPoints="1"/>
            </p:cNvSpPr>
            <p:nvPr/>
          </p:nvSpPr>
          <p:spPr bwMode="auto">
            <a:xfrm>
              <a:off x="6594366" y="3599600"/>
              <a:ext cx="142898" cy="289801"/>
            </a:xfrm>
            <a:custGeom>
              <a:avLst/>
              <a:gdLst>
                <a:gd name="T0" fmla="*/ 97 w 107"/>
                <a:gd name="T1" fmla="*/ 81 h 217"/>
                <a:gd name="T2" fmla="*/ 77 w 107"/>
                <a:gd name="T3" fmla="*/ 21 h 217"/>
                <a:gd name="T4" fmla="*/ 92 w 107"/>
                <a:gd name="T5" fmla="*/ 4 h 217"/>
                <a:gd name="T6" fmla="*/ 95 w 107"/>
                <a:gd name="T7" fmla="*/ 6 h 217"/>
                <a:gd name="T8" fmla="*/ 98 w 107"/>
                <a:gd name="T9" fmla="*/ 13 h 217"/>
                <a:gd name="T10" fmla="*/ 102 w 107"/>
                <a:gd name="T11" fmla="*/ 19 h 217"/>
                <a:gd name="T12" fmla="*/ 103 w 107"/>
                <a:gd name="T13" fmla="*/ 27 h 217"/>
                <a:gd name="T14" fmla="*/ 104 w 107"/>
                <a:gd name="T15" fmla="*/ 41 h 217"/>
                <a:gd name="T16" fmla="*/ 107 w 107"/>
                <a:gd name="T17" fmla="*/ 54 h 217"/>
                <a:gd name="T18" fmla="*/ 102 w 107"/>
                <a:gd name="T19" fmla="*/ 64 h 217"/>
                <a:gd name="T20" fmla="*/ 99 w 107"/>
                <a:gd name="T21" fmla="*/ 56 h 217"/>
                <a:gd name="T22" fmla="*/ 96 w 107"/>
                <a:gd name="T23" fmla="*/ 61 h 217"/>
                <a:gd name="T24" fmla="*/ 97 w 107"/>
                <a:gd name="T25" fmla="*/ 71 h 217"/>
                <a:gd name="T26" fmla="*/ 96 w 107"/>
                <a:gd name="T27" fmla="*/ 78 h 217"/>
                <a:gd name="T28" fmla="*/ 91 w 107"/>
                <a:gd name="T29" fmla="*/ 92 h 217"/>
                <a:gd name="T30" fmla="*/ 88 w 107"/>
                <a:gd name="T31" fmla="*/ 104 h 217"/>
                <a:gd name="T32" fmla="*/ 78 w 107"/>
                <a:gd name="T33" fmla="*/ 127 h 217"/>
                <a:gd name="T34" fmla="*/ 71 w 107"/>
                <a:gd name="T35" fmla="*/ 147 h 217"/>
                <a:gd name="T36" fmla="*/ 62 w 107"/>
                <a:gd name="T37" fmla="*/ 174 h 217"/>
                <a:gd name="T38" fmla="*/ 55 w 107"/>
                <a:gd name="T39" fmla="*/ 192 h 217"/>
                <a:gd name="T40" fmla="*/ 50 w 107"/>
                <a:gd name="T41" fmla="*/ 204 h 217"/>
                <a:gd name="T42" fmla="*/ 46 w 107"/>
                <a:gd name="T43" fmla="*/ 209 h 217"/>
                <a:gd name="T44" fmla="*/ 31 w 107"/>
                <a:gd name="T45" fmla="*/ 214 h 217"/>
                <a:gd name="T46" fmla="*/ 19 w 107"/>
                <a:gd name="T47" fmla="*/ 214 h 217"/>
                <a:gd name="T48" fmla="*/ 12 w 107"/>
                <a:gd name="T49" fmla="*/ 210 h 217"/>
                <a:gd name="T50" fmla="*/ 6 w 107"/>
                <a:gd name="T51" fmla="*/ 201 h 217"/>
                <a:gd name="T52" fmla="*/ 4 w 107"/>
                <a:gd name="T53" fmla="*/ 187 h 217"/>
                <a:gd name="T54" fmla="*/ 4 w 107"/>
                <a:gd name="T55" fmla="*/ 179 h 217"/>
                <a:gd name="T56" fmla="*/ 0 w 107"/>
                <a:gd name="T57" fmla="*/ 168 h 217"/>
                <a:gd name="T58" fmla="*/ 2 w 107"/>
                <a:gd name="T59" fmla="*/ 159 h 217"/>
                <a:gd name="T60" fmla="*/ 5 w 107"/>
                <a:gd name="T61" fmla="*/ 150 h 217"/>
                <a:gd name="T62" fmla="*/ 13 w 107"/>
                <a:gd name="T63" fmla="*/ 140 h 217"/>
                <a:gd name="T64" fmla="*/ 19 w 107"/>
                <a:gd name="T65" fmla="*/ 129 h 217"/>
                <a:gd name="T66" fmla="*/ 20 w 107"/>
                <a:gd name="T67" fmla="*/ 119 h 217"/>
                <a:gd name="T68" fmla="*/ 18 w 107"/>
                <a:gd name="T69" fmla="*/ 110 h 217"/>
                <a:gd name="T70" fmla="*/ 16 w 107"/>
                <a:gd name="T71" fmla="*/ 91 h 217"/>
                <a:gd name="T72" fmla="*/ 19 w 107"/>
                <a:gd name="T73" fmla="*/ 81 h 217"/>
                <a:gd name="T74" fmla="*/ 22 w 107"/>
                <a:gd name="T75" fmla="*/ 71 h 217"/>
                <a:gd name="T76" fmla="*/ 31 w 107"/>
                <a:gd name="T77" fmla="*/ 67 h 217"/>
                <a:gd name="T78" fmla="*/ 35 w 107"/>
                <a:gd name="T79" fmla="*/ 66 h 217"/>
                <a:gd name="T80" fmla="*/ 40 w 107"/>
                <a:gd name="T81" fmla="*/ 63 h 217"/>
                <a:gd name="T82" fmla="*/ 46 w 107"/>
                <a:gd name="T83" fmla="*/ 63 h 217"/>
                <a:gd name="T84" fmla="*/ 48 w 107"/>
                <a:gd name="T85" fmla="*/ 61 h 217"/>
                <a:gd name="T86" fmla="*/ 50 w 107"/>
                <a:gd name="T87" fmla="*/ 63 h 217"/>
                <a:gd name="T88" fmla="*/ 52 w 107"/>
                <a:gd name="T89" fmla="*/ 57 h 217"/>
                <a:gd name="T90" fmla="*/ 60 w 107"/>
                <a:gd name="T91" fmla="*/ 54 h 217"/>
                <a:gd name="T92" fmla="*/ 61 w 107"/>
                <a:gd name="T93" fmla="*/ 53 h 217"/>
                <a:gd name="T94" fmla="*/ 63 w 107"/>
                <a:gd name="T95" fmla="*/ 47 h 217"/>
                <a:gd name="T96" fmla="*/ 64 w 107"/>
                <a:gd name="T97" fmla="*/ 50 h 217"/>
                <a:gd name="T98" fmla="*/ 71 w 107"/>
                <a:gd name="T99" fmla="*/ 43 h 217"/>
                <a:gd name="T100" fmla="*/ 73 w 107"/>
                <a:gd name="T101" fmla="*/ 42 h 217"/>
                <a:gd name="T102" fmla="*/ 70 w 107"/>
                <a:gd name="T103" fmla="*/ 38 h 217"/>
                <a:gd name="T104" fmla="*/ 74 w 107"/>
                <a:gd name="T105" fmla="*/ 36 h 217"/>
                <a:gd name="T106" fmla="*/ 74 w 107"/>
                <a:gd name="T107" fmla="*/ 33 h 217"/>
                <a:gd name="T108" fmla="*/ 75 w 107"/>
                <a:gd name="T109" fmla="*/ 27 h 217"/>
                <a:gd name="T110" fmla="*/ 78 w 107"/>
                <a:gd name="T111" fmla="*/ 31 h 217"/>
                <a:gd name="T112" fmla="*/ 81 w 107"/>
                <a:gd name="T113" fmla="*/ 25 h 217"/>
                <a:gd name="T114" fmla="*/ 85 w 107"/>
                <a:gd name="T115" fmla="*/ 24 h 217"/>
                <a:gd name="T116" fmla="*/ 88 w 107"/>
                <a:gd name="T117" fmla="*/ 14 h 217"/>
                <a:gd name="T118" fmla="*/ 88 w 107"/>
                <a:gd name="T119" fmla="*/ 10 h 217"/>
                <a:gd name="T120" fmla="*/ 92 w 107"/>
                <a:gd name="T121" fmla="*/ 4 h 217"/>
                <a:gd name="T122" fmla="*/ 92 w 107"/>
                <a:gd name="T123" fmla="*/ 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7" h="217">
                  <a:moveTo>
                    <a:pt x="96" y="82"/>
                  </a:moveTo>
                  <a:lnTo>
                    <a:pt x="97" y="81"/>
                  </a:lnTo>
                  <a:lnTo>
                    <a:pt x="97" y="80"/>
                  </a:lnTo>
                  <a:lnTo>
                    <a:pt x="97" y="78"/>
                  </a:lnTo>
                  <a:lnTo>
                    <a:pt x="98" y="77"/>
                  </a:lnTo>
                  <a:lnTo>
                    <a:pt x="98" y="76"/>
                  </a:lnTo>
                  <a:lnTo>
                    <a:pt x="99" y="76"/>
                  </a:lnTo>
                  <a:lnTo>
                    <a:pt x="98" y="77"/>
                  </a:lnTo>
                  <a:lnTo>
                    <a:pt x="98" y="78"/>
                  </a:lnTo>
                  <a:lnTo>
                    <a:pt x="97" y="81"/>
                  </a:lnTo>
                  <a:lnTo>
                    <a:pt x="96" y="82"/>
                  </a:lnTo>
                  <a:close/>
                  <a:moveTo>
                    <a:pt x="78" y="21"/>
                  </a:moveTo>
                  <a:lnTo>
                    <a:pt x="80" y="21"/>
                  </a:lnTo>
                  <a:lnTo>
                    <a:pt x="80" y="22"/>
                  </a:lnTo>
                  <a:lnTo>
                    <a:pt x="78" y="24"/>
                  </a:lnTo>
                  <a:lnTo>
                    <a:pt x="80" y="24"/>
                  </a:lnTo>
                  <a:lnTo>
                    <a:pt x="78" y="24"/>
                  </a:lnTo>
                  <a:lnTo>
                    <a:pt x="77" y="24"/>
                  </a:lnTo>
                  <a:lnTo>
                    <a:pt x="77" y="22"/>
                  </a:lnTo>
                  <a:lnTo>
                    <a:pt x="77" y="21"/>
                  </a:lnTo>
                  <a:lnTo>
                    <a:pt x="78" y="21"/>
                  </a:lnTo>
                  <a:lnTo>
                    <a:pt x="78" y="20"/>
                  </a:lnTo>
                  <a:lnTo>
                    <a:pt x="78" y="21"/>
                  </a:lnTo>
                  <a:close/>
                  <a:moveTo>
                    <a:pt x="93" y="3"/>
                  </a:moveTo>
                  <a:lnTo>
                    <a:pt x="93" y="4"/>
                  </a:lnTo>
                  <a:lnTo>
                    <a:pt x="95" y="5"/>
                  </a:lnTo>
                  <a:lnTo>
                    <a:pt x="93" y="5"/>
                  </a:lnTo>
                  <a:lnTo>
                    <a:pt x="93" y="4"/>
                  </a:lnTo>
                  <a:lnTo>
                    <a:pt x="93" y="5"/>
                  </a:lnTo>
                  <a:lnTo>
                    <a:pt x="92" y="4"/>
                  </a:lnTo>
                  <a:lnTo>
                    <a:pt x="92" y="5"/>
                  </a:lnTo>
                  <a:lnTo>
                    <a:pt x="93" y="5"/>
                  </a:lnTo>
                  <a:lnTo>
                    <a:pt x="93" y="6"/>
                  </a:lnTo>
                  <a:lnTo>
                    <a:pt x="92" y="6"/>
                  </a:lnTo>
                  <a:lnTo>
                    <a:pt x="93" y="6"/>
                  </a:lnTo>
                  <a:lnTo>
                    <a:pt x="95" y="6"/>
                  </a:lnTo>
                  <a:lnTo>
                    <a:pt x="93" y="6"/>
                  </a:lnTo>
                  <a:lnTo>
                    <a:pt x="93" y="5"/>
                  </a:lnTo>
                  <a:lnTo>
                    <a:pt x="95" y="5"/>
                  </a:lnTo>
                  <a:lnTo>
                    <a:pt x="95" y="6"/>
                  </a:lnTo>
                  <a:lnTo>
                    <a:pt x="95" y="7"/>
                  </a:lnTo>
                  <a:lnTo>
                    <a:pt x="96" y="7"/>
                  </a:lnTo>
                  <a:lnTo>
                    <a:pt x="96" y="8"/>
                  </a:lnTo>
                  <a:lnTo>
                    <a:pt x="97" y="8"/>
                  </a:lnTo>
                  <a:lnTo>
                    <a:pt x="97" y="10"/>
                  </a:lnTo>
                  <a:lnTo>
                    <a:pt x="97" y="11"/>
                  </a:lnTo>
                  <a:lnTo>
                    <a:pt x="97" y="10"/>
                  </a:lnTo>
                  <a:lnTo>
                    <a:pt x="97" y="11"/>
                  </a:lnTo>
                  <a:lnTo>
                    <a:pt x="97" y="12"/>
                  </a:lnTo>
                  <a:lnTo>
                    <a:pt x="98" y="13"/>
                  </a:lnTo>
                  <a:lnTo>
                    <a:pt x="98" y="14"/>
                  </a:lnTo>
                  <a:lnTo>
                    <a:pt x="98" y="13"/>
                  </a:lnTo>
                  <a:lnTo>
                    <a:pt x="99" y="13"/>
                  </a:lnTo>
                  <a:lnTo>
                    <a:pt x="99" y="14"/>
                  </a:lnTo>
                  <a:lnTo>
                    <a:pt x="99" y="15"/>
                  </a:lnTo>
                  <a:lnTo>
                    <a:pt x="100" y="15"/>
                  </a:lnTo>
                  <a:lnTo>
                    <a:pt x="100" y="17"/>
                  </a:lnTo>
                  <a:lnTo>
                    <a:pt x="100" y="18"/>
                  </a:lnTo>
                  <a:lnTo>
                    <a:pt x="102" y="18"/>
                  </a:lnTo>
                  <a:lnTo>
                    <a:pt x="102" y="19"/>
                  </a:lnTo>
                  <a:lnTo>
                    <a:pt x="102" y="20"/>
                  </a:lnTo>
                  <a:lnTo>
                    <a:pt x="102" y="21"/>
                  </a:lnTo>
                  <a:lnTo>
                    <a:pt x="102" y="22"/>
                  </a:lnTo>
                  <a:lnTo>
                    <a:pt x="102" y="24"/>
                  </a:lnTo>
                  <a:lnTo>
                    <a:pt x="102" y="22"/>
                  </a:lnTo>
                  <a:lnTo>
                    <a:pt x="103" y="22"/>
                  </a:lnTo>
                  <a:lnTo>
                    <a:pt x="103" y="24"/>
                  </a:lnTo>
                  <a:lnTo>
                    <a:pt x="103" y="25"/>
                  </a:lnTo>
                  <a:lnTo>
                    <a:pt x="103" y="26"/>
                  </a:lnTo>
                  <a:lnTo>
                    <a:pt x="103" y="27"/>
                  </a:lnTo>
                  <a:lnTo>
                    <a:pt x="103" y="28"/>
                  </a:lnTo>
                  <a:lnTo>
                    <a:pt x="104" y="29"/>
                  </a:lnTo>
                  <a:lnTo>
                    <a:pt x="104" y="33"/>
                  </a:lnTo>
                  <a:lnTo>
                    <a:pt x="104" y="34"/>
                  </a:lnTo>
                  <a:lnTo>
                    <a:pt x="104" y="35"/>
                  </a:lnTo>
                  <a:lnTo>
                    <a:pt x="104" y="36"/>
                  </a:lnTo>
                  <a:lnTo>
                    <a:pt x="104" y="38"/>
                  </a:lnTo>
                  <a:lnTo>
                    <a:pt x="104" y="39"/>
                  </a:lnTo>
                  <a:lnTo>
                    <a:pt x="104" y="40"/>
                  </a:lnTo>
                  <a:lnTo>
                    <a:pt x="104" y="41"/>
                  </a:lnTo>
                  <a:lnTo>
                    <a:pt x="104" y="43"/>
                  </a:lnTo>
                  <a:lnTo>
                    <a:pt x="104" y="45"/>
                  </a:lnTo>
                  <a:lnTo>
                    <a:pt x="104" y="46"/>
                  </a:lnTo>
                  <a:lnTo>
                    <a:pt x="105" y="47"/>
                  </a:lnTo>
                  <a:lnTo>
                    <a:pt x="105" y="49"/>
                  </a:lnTo>
                  <a:lnTo>
                    <a:pt x="105" y="50"/>
                  </a:lnTo>
                  <a:lnTo>
                    <a:pt x="106" y="50"/>
                  </a:lnTo>
                  <a:lnTo>
                    <a:pt x="106" y="52"/>
                  </a:lnTo>
                  <a:lnTo>
                    <a:pt x="107" y="53"/>
                  </a:lnTo>
                  <a:lnTo>
                    <a:pt x="107" y="54"/>
                  </a:lnTo>
                  <a:lnTo>
                    <a:pt x="107" y="55"/>
                  </a:lnTo>
                  <a:lnTo>
                    <a:pt x="106" y="55"/>
                  </a:lnTo>
                  <a:lnTo>
                    <a:pt x="106" y="56"/>
                  </a:lnTo>
                  <a:lnTo>
                    <a:pt x="106" y="57"/>
                  </a:lnTo>
                  <a:lnTo>
                    <a:pt x="106" y="59"/>
                  </a:lnTo>
                  <a:lnTo>
                    <a:pt x="104" y="61"/>
                  </a:lnTo>
                  <a:lnTo>
                    <a:pt x="104" y="62"/>
                  </a:lnTo>
                  <a:lnTo>
                    <a:pt x="103" y="63"/>
                  </a:lnTo>
                  <a:lnTo>
                    <a:pt x="103" y="64"/>
                  </a:lnTo>
                  <a:lnTo>
                    <a:pt x="102" y="64"/>
                  </a:lnTo>
                  <a:lnTo>
                    <a:pt x="102" y="63"/>
                  </a:lnTo>
                  <a:lnTo>
                    <a:pt x="100" y="63"/>
                  </a:lnTo>
                  <a:lnTo>
                    <a:pt x="100" y="62"/>
                  </a:lnTo>
                  <a:lnTo>
                    <a:pt x="100" y="61"/>
                  </a:lnTo>
                  <a:lnTo>
                    <a:pt x="99" y="61"/>
                  </a:lnTo>
                  <a:lnTo>
                    <a:pt x="99" y="60"/>
                  </a:lnTo>
                  <a:lnTo>
                    <a:pt x="99" y="59"/>
                  </a:lnTo>
                  <a:lnTo>
                    <a:pt x="98" y="57"/>
                  </a:lnTo>
                  <a:lnTo>
                    <a:pt x="99" y="57"/>
                  </a:lnTo>
                  <a:lnTo>
                    <a:pt x="99" y="56"/>
                  </a:lnTo>
                  <a:lnTo>
                    <a:pt x="98" y="56"/>
                  </a:lnTo>
                  <a:lnTo>
                    <a:pt x="97" y="56"/>
                  </a:lnTo>
                  <a:lnTo>
                    <a:pt x="96" y="56"/>
                  </a:lnTo>
                  <a:lnTo>
                    <a:pt x="95" y="57"/>
                  </a:lnTo>
                  <a:lnTo>
                    <a:pt x="95" y="59"/>
                  </a:lnTo>
                  <a:lnTo>
                    <a:pt x="96" y="59"/>
                  </a:lnTo>
                  <a:lnTo>
                    <a:pt x="96" y="60"/>
                  </a:lnTo>
                  <a:lnTo>
                    <a:pt x="95" y="60"/>
                  </a:lnTo>
                  <a:lnTo>
                    <a:pt x="96" y="60"/>
                  </a:lnTo>
                  <a:lnTo>
                    <a:pt x="96" y="61"/>
                  </a:lnTo>
                  <a:lnTo>
                    <a:pt x="96" y="62"/>
                  </a:lnTo>
                  <a:lnTo>
                    <a:pt x="96" y="63"/>
                  </a:lnTo>
                  <a:lnTo>
                    <a:pt x="96" y="64"/>
                  </a:lnTo>
                  <a:lnTo>
                    <a:pt x="95" y="66"/>
                  </a:lnTo>
                  <a:lnTo>
                    <a:pt x="95" y="67"/>
                  </a:lnTo>
                  <a:lnTo>
                    <a:pt x="96" y="67"/>
                  </a:lnTo>
                  <a:lnTo>
                    <a:pt x="97" y="68"/>
                  </a:lnTo>
                  <a:lnTo>
                    <a:pt x="97" y="69"/>
                  </a:lnTo>
                  <a:lnTo>
                    <a:pt x="97" y="70"/>
                  </a:lnTo>
                  <a:lnTo>
                    <a:pt x="97" y="71"/>
                  </a:lnTo>
                  <a:lnTo>
                    <a:pt x="97" y="73"/>
                  </a:lnTo>
                  <a:lnTo>
                    <a:pt x="97" y="74"/>
                  </a:lnTo>
                  <a:lnTo>
                    <a:pt x="96" y="75"/>
                  </a:lnTo>
                  <a:lnTo>
                    <a:pt x="96" y="76"/>
                  </a:lnTo>
                  <a:lnTo>
                    <a:pt x="95" y="76"/>
                  </a:lnTo>
                  <a:lnTo>
                    <a:pt x="95" y="77"/>
                  </a:lnTo>
                  <a:lnTo>
                    <a:pt x="96" y="77"/>
                  </a:lnTo>
                  <a:lnTo>
                    <a:pt x="96" y="78"/>
                  </a:lnTo>
                  <a:lnTo>
                    <a:pt x="97" y="78"/>
                  </a:lnTo>
                  <a:lnTo>
                    <a:pt x="96" y="78"/>
                  </a:lnTo>
                  <a:lnTo>
                    <a:pt x="95" y="78"/>
                  </a:lnTo>
                  <a:lnTo>
                    <a:pt x="93" y="78"/>
                  </a:lnTo>
                  <a:lnTo>
                    <a:pt x="93" y="80"/>
                  </a:lnTo>
                  <a:lnTo>
                    <a:pt x="92" y="82"/>
                  </a:lnTo>
                  <a:lnTo>
                    <a:pt x="91" y="83"/>
                  </a:lnTo>
                  <a:lnTo>
                    <a:pt x="90" y="85"/>
                  </a:lnTo>
                  <a:lnTo>
                    <a:pt x="90" y="87"/>
                  </a:lnTo>
                  <a:lnTo>
                    <a:pt x="91" y="88"/>
                  </a:lnTo>
                  <a:lnTo>
                    <a:pt x="91" y="91"/>
                  </a:lnTo>
                  <a:lnTo>
                    <a:pt x="91" y="92"/>
                  </a:lnTo>
                  <a:lnTo>
                    <a:pt x="91" y="94"/>
                  </a:lnTo>
                  <a:lnTo>
                    <a:pt x="90" y="95"/>
                  </a:lnTo>
                  <a:lnTo>
                    <a:pt x="89" y="97"/>
                  </a:lnTo>
                  <a:lnTo>
                    <a:pt x="89" y="98"/>
                  </a:lnTo>
                  <a:lnTo>
                    <a:pt x="90" y="98"/>
                  </a:lnTo>
                  <a:lnTo>
                    <a:pt x="90" y="99"/>
                  </a:lnTo>
                  <a:lnTo>
                    <a:pt x="89" y="99"/>
                  </a:lnTo>
                  <a:lnTo>
                    <a:pt x="89" y="101"/>
                  </a:lnTo>
                  <a:lnTo>
                    <a:pt x="88" y="103"/>
                  </a:lnTo>
                  <a:lnTo>
                    <a:pt x="88" y="104"/>
                  </a:lnTo>
                  <a:lnTo>
                    <a:pt x="88" y="105"/>
                  </a:lnTo>
                  <a:lnTo>
                    <a:pt x="86" y="106"/>
                  </a:lnTo>
                  <a:lnTo>
                    <a:pt x="85" y="110"/>
                  </a:lnTo>
                  <a:lnTo>
                    <a:pt x="84" y="112"/>
                  </a:lnTo>
                  <a:lnTo>
                    <a:pt x="83" y="113"/>
                  </a:lnTo>
                  <a:lnTo>
                    <a:pt x="82" y="118"/>
                  </a:lnTo>
                  <a:lnTo>
                    <a:pt x="80" y="123"/>
                  </a:lnTo>
                  <a:lnTo>
                    <a:pt x="80" y="126"/>
                  </a:lnTo>
                  <a:lnTo>
                    <a:pt x="78" y="129"/>
                  </a:lnTo>
                  <a:lnTo>
                    <a:pt x="78" y="127"/>
                  </a:lnTo>
                  <a:lnTo>
                    <a:pt x="78" y="129"/>
                  </a:lnTo>
                  <a:lnTo>
                    <a:pt x="77" y="131"/>
                  </a:lnTo>
                  <a:lnTo>
                    <a:pt x="76" y="133"/>
                  </a:lnTo>
                  <a:lnTo>
                    <a:pt x="76" y="134"/>
                  </a:lnTo>
                  <a:lnTo>
                    <a:pt x="75" y="138"/>
                  </a:lnTo>
                  <a:lnTo>
                    <a:pt x="73" y="143"/>
                  </a:lnTo>
                  <a:lnTo>
                    <a:pt x="73" y="144"/>
                  </a:lnTo>
                  <a:lnTo>
                    <a:pt x="73" y="145"/>
                  </a:lnTo>
                  <a:lnTo>
                    <a:pt x="73" y="146"/>
                  </a:lnTo>
                  <a:lnTo>
                    <a:pt x="71" y="147"/>
                  </a:lnTo>
                  <a:lnTo>
                    <a:pt x="71" y="148"/>
                  </a:lnTo>
                  <a:lnTo>
                    <a:pt x="71" y="150"/>
                  </a:lnTo>
                  <a:lnTo>
                    <a:pt x="70" y="151"/>
                  </a:lnTo>
                  <a:lnTo>
                    <a:pt x="68" y="157"/>
                  </a:lnTo>
                  <a:lnTo>
                    <a:pt x="67" y="161"/>
                  </a:lnTo>
                  <a:lnTo>
                    <a:pt x="64" y="166"/>
                  </a:lnTo>
                  <a:lnTo>
                    <a:pt x="63" y="167"/>
                  </a:lnTo>
                  <a:lnTo>
                    <a:pt x="62" y="172"/>
                  </a:lnTo>
                  <a:lnTo>
                    <a:pt x="62" y="173"/>
                  </a:lnTo>
                  <a:lnTo>
                    <a:pt x="62" y="174"/>
                  </a:lnTo>
                  <a:lnTo>
                    <a:pt x="61" y="176"/>
                  </a:lnTo>
                  <a:lnTo>
                    <a:pt x="61" y="178"/>
                  </a:lnTo>
                  <a:lnTo>
                    <a:pt x="60" y="180"/>
                  </a:lnTo>
                  <a:lnTo>
                    <a:pt x="59" y="185"/>
                  </a:lnTo>
                  <a:lnTo>
                    <a:pt x="57" y="185"/>
                  </a:lnTo>
                  <a:lnTo>
                    <a:pt x="57" y="186"/>
                  </a:lnTo>
                  <a:lnTo>
                    <a:pt x="59" y="186"/>
                  </a:lnTo>
                  <a:lnTo>
                    <a:pt x="57" y="189"/>
                  </a:lnTo>
                  <a:lnTo>
                    <a:pt x="56" y="192"/>
                  </a:lnTo>
                  <a:lnTo>
                    <a:pt x="55" y="192"/>
                  </a:lnTo>
                  <a:lnTo>
                    <a:pt x="55" y="193"/>
                  </a:lnTo>
                  <a:lnTo>
                    <a:pt x="55" y="194"/>
                  </a:lnTo>
                  <a:lnTo>
                    <a:pt x="54" y="196"/>
                  </a:lnTo>
                  <a:lnTo>
                    <a:pt x="53" y="196"/>
                  </a:lnTo>
                  <a:lnTo>
                    <a:pt x="54" y="196"/>
                  </a:lnTo>
                  <a:lnTo>
                    <a:pt x="53" y="200"/>
                  </a:lnTo>
                  <a:lnTo>
                    <a:pt x="52" y="202"/>
                  </a:lnTo>
                  <a:lnTo>
                    <a:pt x="52" y="203"/>
                  </a:lnTo>
                  <a:lnTo>
                    <a:pt x="50" y="203"/>
                  </a:lnTo>
                  <a:lnTo>
                    <a:pt x="50" y="204"/>
                  </a:lnTo>
                  <a:lnTo>
                    <a:pt x="50" y="206"/>
                  </a:lnTo>
                  <a:lnTo>
                    <a:pt x="49" y="207"/>
                  </a:lnTo>
                  <a:lnTo>
                    <a:pt x="49" y="206"/>
                  </a:lnTo>
                  <a:lnTo>
                    <a:pt x="49" y="207"/>
                  </a:lnTo>
                  <a:lnTo>
                    <a:pt x="48" y="207"/>
                  </a:lnTo>
                  <a:lnTo>
                    <a:pt x="48" y="208"/>
                  </a:lnTo>
                  <a:lnTo>
                    <a:pt x="47" y="208"/>
                  </a:lnTo>
                  <a:lnTo>
                    <a:pt x="47" y="209"/>
                  </a:lnTo>
                  <a:lnTo>
                    <a:pt x="47" y="208"/>
                  </a:lnTo>
                  <a:lnTo>
                    <a:pt x="46" y="209"/>
                  </a:lnTo>
                  <a:lnTo>
                    <a:pt x="45" y="209"/>
                  </a:lnTo>
                  <a:lnTo>
                    <a:pt x="45" y="210"/>
                  </a:lnTo>
                  <a:lnTo>
                    <a:pt x="43" y="210"/>
                  </a:lnTo>
                  <a:lnTo>
                    <a:pt x="42" y="210"/>
                  </a:lnTo>
                  <a:lnTo>
                    <a:pt x="41" y="210"/>
                  </a:lnTo>
                  <a:lnTo>
                    <a:pt x="40" y="210"/>
                  </a:lnTo>
                  <a:lnTo>
                    <a:pt x="38" y="210"/>
                  </a:lnTo>
                  <a:lnTo>
                    <a:pt x="34" y="211"/>
                  </a:lnTo>
                  <a:lnTo>
                    <a:pt x="33" y="213"/>
                  </a:lnTo>
                  <a:lnTo>
                    <a:pt x="31" y="214"/>
                  </a:lnTo>
                  <a:lnTo>
                    <a:pt x="29" y="215"/>
                  </a:lnTo>
                  <a:lnTo>
                    <a:pt x="28" y="216"/>
                  </a:lnTo>
                  <a:lnTo>
                    <a:pt x="27" y="216"/>
                  </a:lnTo>
                  <a:lnTo>
                    <a:pt x="22" y="216"/>
                  </a:lnTo>
                  <a:lnTo>
                    <a:pt x="22" y="217"/>
                  </a:lnTo>
                  <a:lnTo>
                    <a:pt x="21" y="216"/>
                  </a:lnTo>
                  <a:lnTo>
                    <a:pt x="21" y="215"/>
                  </a:lnTo>
                  <a:lnTo>
                    <a:pt x="20" y="215"/>
                  </a:lnTo>
                  <a:lnTo>
                    <a:pt x="19" y="215"/>
                  </a:lnTo>
                  <a:lnTo>
                    <a:pt x="19" y="214"/>
                  </a:lnTo>
                  <a:lnTo>
                    <a:pt x="18" y="213"/>
                  </a:lnTo>
                  <a:lnTo>
                    <a:pt x="17" y="213"/>
                  </a:lnTo>
                  <a:lnTo>
                    <a:pt x="16" y="211"/>
                  </a:lnTo>
                  <a:lnTo>
                    <a:pt x="14" y="211"/>
                  </a:lnTo>
                  <a:lnTo>
                    <a:pt x="12" y="211"/>
                  </a:lnTo>
                  <a:lnTo>
                    <a:pt x="12" y="210"/>
                  </a:lnTo>
                  <a:lnTo>
                    <a:pt x="11" y="210"/>
                  </a:lnTo>
                  <a:lnTo>
                    <a:pt x="12" y="210"/>
                  </a:lnTo>
                  <a:lnTo>
                    <a:pt x="12" y="211"/>
                  </a:lnTo>
                  <a:lnTo>
                    <a:pt x="12" y="210"/>
                  </a:lnTo>
                  <a:lnTo>
                    <a:pt x="11" y="210"/>
                  </a:lnTo>
                  <a:lnTo>
                    <a:pt x="11" y="209"/>
                  </a:lnTo>
                  <a:lnTo>
                    <a:pt x="10" y="208"/>
                  </a:lnTo>
                  <a:lnTo>
                    <a:pt x="9" y="208"/>
                  </a:lnTo>
                  <a:lnTo>
                    <a:pt x="7" y="208"/>
                  </a:lnTo>
                  <a:lnTo>
                    <a:pt x="7" y="207"/>
                  </a:lnTo>
                  <a:lnTo>
                    <a:pt x="7" y="206"/>
                  </a:lnTo>
                  <a:lnTo>
                    <a:pt x="6" y="203"/>
                  </a:lnTo>
                  <a:lnTo>
                    <a:pt x="6" y="202"/>
                  </a:lnTo>
                  <a:lnTo>
                    <a:pt x="6" y="201"/>
                  </a:lnTo>
                  <a:lnTo>
                    <a:pt x="6" y="200"/>
                  </a:lnTo>
                  <a:lnTo>
                    <a:pt x="5" y="199"/>
                  </a:lnTo>
                  <a:lnTo>
                    <a:pt x="4" y="199"/>
                  </a:lnTo>
                  <a:lnTo>
                    <a:pt x="4" y="197"/>
                  </a:lnTo>
                  <a:lnTo>
                    <a:pt x="4" y="195"/>
                  </a:lnTo>
                  <a:lnTo>
                    <a:pt x="4" y="192"/>
                  </a:lnTo>
                  <a:lnTo>
                    <a:pt x="4" y="190"/>
                  </a:lnTo>
                  <a:lnTo>
                    <a:pt x="4" y="189"/>
                  </a:lnTo>
                  <a:lnTo>
                    <a:pt x="4" y="188"/>
                  </a:lnTo>
                  <a:lnTo>
                    <a:pt x="4" y="187"/>
                  </a:lnTo>
                  <a:lnTo>
                    <a:pt x="4" y="186"/>
                  </a:lnTo>
                  <a:lnTo>
                    <a:pt x="5" y="185"/>
                  </a:lnTo>
                  <a:lnTo>
                    <a:pt x="5" y="183"/>
                  </a:lnTo>
                  <a:lnTo>
                    <a:pt x="6" y="183"/>
                  </a:lnTo>
                  <a:lnTo>
                    <a:pt x="6" y="182"/>
                  </a:lnTo>
                  <a:lnTo>
                    <a:pt x="5" y="182"/>
                  </a:lnTo>
                  <a:lnTo>
                    <a:pt x="5" y="181"/>
                  </a:lnTo>
                  <a:lnTo>
                    <a:pt x="4" y="181"/>
                  </a:lnTo>
                  <a:lnTo>
                    <a:pt x="4" y="180"/>
                  </a:lnTo>
                  <a:lnTo>
                    <a:pt x="4" y="179"/>
                  </a:lnTo>
                  <a:lnTo>
                    <a:pt x="4" y="178"/>
                  </a:lnTo>
                  <a:lnTo>
                    <a:pt x="4" y="176"/>
                  </a:lnTo>
                  <a:lnTo>
                    <a:pt x="3" y="175"/>
                  </a:lnTo>
                  <a:lnTo>
                    <a:pt x="2" y="175"/>
                  </a:lnTo>
                  <a:lnTo>
                    <a:pt x="2" y="174"/>
                  </a:lnTo>
                  <a:lnTo>
                    <a:pt x="2" y="173"/>
                  </a:lnTo>
                  <a:lnTo>
                    <a:pt x="0" y="172"/>
                  </a:lnTo>
                  <a:lnTo>
                    <a:pt x="0" y="171"/>
                  </a:lnTo>
                  <a:lnTo>
                    <a:pt x="0" y="169"/>
                  </a:lnTo>
                  <a:lnTo>
                    <a:pt x="0" y="168"/>
                  </a:lnTo>
                  <a:lnTo>
                    <a:pt x="0" y="167"/>
                  </a:lnTo>
                  <a:lnTo>
                    <a:pt x="0" y="166"/>
                  </a:lnTo>
                  <a:lnTo>
                    <a:pt x="0" y="165"/>
                  </a:lnTo>
                  <a:lnTo>
                    <a:pt x="0" y="164"/>
                  </a:lnTo>
                  <a:lnTo>
                    <a:pt x="0" y="162"/>
                  </a:lnTo>
                  <a:lnTo>
                    <a:pt x="0" y="160"/>
                  </a:lnTo>
                  <a:lnTo>
                    <a:pt x="0" y="159"/>
                  </a:lnTo>
                  <a:lnTo>
                    <a:pt x="2" y="159"/>
                  </a:lnTo>
                  <a:lnTo>
                    <a:pt x="2" y="158"/>
                  </a:lnTo>
                  <a:lnTo>
                    <a:pt x="2" y="159"/>
                  </a:lnTo>
                  <a:lnTo>
                    <a:pt x="2" y="158"/>
                  </a:lnTo>
                  <a:lnTo>
                    <a:pt x="2" y="157"/>
                  </a:lnTo>
                  <a:lnTo>
                    <a:pt x="2" y="155"/>
                  </a:lnTo>
                  <a:lnTo>
                    <a:pt x="3" y="154"/>
                  </a:lnTo>
                  <a:lnTo>
                    <a:pt x="4" y="154"/>
                  </a:lnTo>
                  <a:lnTo>
                    <a:pt x="4" y="151"/>
                  </a:lnTo>
                  <a:lnTo>
                    <a:pt x="4" y="150"/>
                  </a:lnTo>
                  <a:lnTo>
                    <a:pt x="5" y="150"/>
                  </a:lnTo>
                  <a:lnTo>
                    <a:pt x="5" y="148"/>
                  </a:lnTo>
                  <a:lnTo>
                    <a:pt x="5" y="150"/>
                  </a:lnTo>
                  <a:lnTo>
                    <a:pt x="5" y="148"/>
                  </a:lnTo>
                  <a:lnTo>
                    <a:pt x="6" y="148"/>
                  </a:lnTo>
                  <a:lnTo>
                    <a:pt x="7" y="148"/>
                  </a:lnTo>
                  <a:lnTo>
                    <a:pt x="9" y="148"/>
                  </a:lnTo>
                  <a:lnTo>
                    <a:pt x="9" y="147"/>
                  </a:lnTo>
                  <a:lnTo>
                    <a:pt x="10" y="147"/>
                  </a:lnTo>
                  <a:lnTo>
                    <a:pt x="10" y="145"/>
                  </a:lnTo>
                  <a:lnTo>
                    <a:pt x="11" y="143"/>
                  </a:lnTo>
                  <a:lnTo>
                    <a:pt x="12" y="140"/>
                  </a:lnTo>
                  <a:lnTo>
                    <a:pt x="13" y="140"/>
                  </a:lnTo>
                  <a:lnTo>
                    <a:pt x="13" y="138"/>
                  </a:lnTo>
                  <a:lnTo>
                    <a:pt x="14" y="137"/>
                  </a:lnTo>
                  <a:lnTo>
                    <a:pt x="14" y="136"/>
                  </a:lnTo>
                  <a:lnTo>
                    <a:pt x="16" y="136"/>
                  </a:lnTo>
                  <a:lnTo>
                    <a:pt x="16" y="134"/>
                  </a:lnTo>
                  <a:lnTo>
                    <a:pt x="16" y="133"/>
                  </a:lnTo>
                  <a:lnTo>
                    <a:pt x="17" y="133"/>
                  </a:lnTo>
                  <a:lnTo>
                    <a:pt x="18" y="131"/>
                  </a:lnTo>
                  <a:lnTo>
                    <a:pt x="19" y="130"/>
                  </a:lnTo>
                  <a:lnTo>
                    <a:pt x="19" y="129"/>
                  </a:lnTo>
                  <a:lnTo>
                    <a:pt x="19" y="127"/>
                  </a:lnTo>
                  <a:lnTo>
                    <a:pt x="19" y="126"/>
                  </a:lnTo>
                  <a:lnTo>
                    <a:pt x="19" y="125"/>
                  </a:lnTo>
                  <a:lnTo>
                    <a:pt x="18" y="125"/>
                  </a:lnTo>
                  <a:lnTo>
                    <a:pt x="18" y="124"/>
                  </a:lnTo>
                  <a:lnTo>
                    <a:pt x="19" y="124"/>
                  </a:lnTo>
                  <a:lnTo>
                    <a:pt x="19" y="123"/>
                  </a:lnTo>
                  <a:lnTo>
                    <a:pt x="19" y="122"/>
                  </a:lnTo>
                  <a:lnTo>
                    <a:pt x="20" y="120"/>
                  </a:lnTo>
                  <a:lnTo>
                    <a:pt x="20" y="119"/>
                  </a:lnTo>
                  <a:lnTo>
                    <a:pt x="20" y="118"/>
                  </a:lnTo>
                  <a:lnTo>
                    <a:pt x="19" y="118"/>
                  </a:lnTo>
                  <a:lnTo>
                    <a:pt x="19" y="117"/>
                  </a:lnTo>
                  <a:lnTo>
                    <a:pt x="19" y="116"/>
                  </a:lnTo>
                  <a:lnTo>
                    <a:pt x="18" y="115"/>
                  </a:lnTo>
                  <a:lnTo>
                    <a:pt x="17" y="113"/>
                  </a:lnTo>
                  <a:lnTo>
                    <a:pt x="17" y="112"/>
                  </a:lnTo>
                  <a:lnTo>
                    <a:pt x="18" y="112"/>
                  </a:lnTo>
                  <a:lnTo>
                    <a:pt x="18" y="111"/>
                  </a:lnTo>
                  <a:lnTo>
                    <a:pt x="18" y="110"/>
                  </a:lnTo>
                  <a:lnTo>
                    <a:pt x="18" y="109"/>
                  </a:lnTo>
                  <a:lnTo>
                    <a:pt x="17" y="106"/>
                  </a:lnTo>
                  <a:lnTo>
                    <a:pt x="16" y="105"/>
                  </a:lnTo>
                  <a:lnTo>
                    <a:pt x="16" y="103"/>
                  </a:lnTo>
                  <a:lnTo>
                    <a:pt x="16" y="99"/>
                  </a:lnTo>
                  <a:lnTo>
                    <a:pt x="16" y="97"/>
                  </a:lnTo>
                  <a:lnTo>
                    <a:pt x="16" y="96"/>
                  </a:lnTo>
                  <a:lnTo>
                    <a:pt x="16" y="94"/>
                  </a:lnTo>
                  <a:lnTo>
                    <a:pt x="16" y="92"/>
                  </a:lnTo>
                  <a:lnTo>
                    <a:pt x="16" y="91"/>
                  </a:lnTo>
                  <a:lnTo>
                    <a:pt x="14" y="90"/>
                  </a:lnTo>
                  <a:lnTo>
                    <a:pt x="14" y="89"/>
                  </a:lnTo>
                  <a:lnTo>
                    <a:pt x="14" y="88"/>
                  </a:lnTo>
                  <a:lnTo>
                    <a:pt x="16" y="87"/>
                  </a:lnTo>
                  <a:lnTo>
                    <a:pt x="17" y="85"/>
                  </a:lnTo>
                  <a:lnTo>
                    <a:pt x="18" y="84"/>
                  </a:lnTo>
                  <a:lnTo>
                    <a:pt x="18" y="83"/>
                  </a:lnTo>
                  <a:lnTo>
                    <a:pt x="18" y="82"/>
                  </a:lnTo>
                  <a:lnTo>
                    <a:pt x="19" y="82"/>
                  </a:lnTo>
                  <a:lnTo>
                    <a:pt x="19" y="81"/>
                  </a:lnTo>
                  <a:lnTo>
                    <a:pt x="19" y="80"/>
                  </a:lnTo>
                  <a:lnTo>
                    <a:pt x="20" y="80"/>
                  </a:lnTo>
                  <a:lnTo>
                    <a:pt x="20" y="78"/>
                  </a:lnTo>
                  <a:lnTo>
                    <a:pt x="21" y="77"/>
                  </a:lnTo>
                  <a:lnTo>
                    <a:pt x="21" y="76"/>
                  </a:lnTo>
                  <a:lnTo>
                    <a:pt x="22" y="76"/>
                  </a:lnTo>
                  <a:lnTo>
                    <a:pt x="22" y="75"/>
                  </a:lnTo>
                  <a:lnTo>
                    <a:pt x="22" y="74"/>
                  </a:lnTo>
                  <a:lnTo>
                    <a:pt x="22" y="73"/>
                  </a:lnTo>
                  <a:lnTo>
                    <a:pt x="22" y="71"/>
                  </a:lnTo>
                  <a:lnTo>
                    <a:pt x="22" y="70"/>
                  </a:lnTo>
                  <a:lnTo>
                    <a:pt x="22" y="69"/>
                  </a:lnTo>
                  <a:lnTo>
                    <a:pt x="22" y="68"/>
                  </a:lnTo>
                  <a:lnTo>
                    <a:pt x="24" y="68"/>
                  </a:lnTo>
                  <a:lnTo>
                    <a:pt x="27" y="68"/>
                  </a:lnTo>
                  <a:lnTo>
                    <a:pt x="28" y="68"/>
                  </a:lnTo>
                  <a:lnTo>
                    <a:pt x="28" y="69"/>
                  </a:lnTo>
                  <a:lnTo>
                    <a:pt x="28" y="68"/>
                  </a:lnTo>
                  <a:lnTo>
                    <a:pt x="29" y="68"/>
                  </a:lnTo>
                  <a:lnTo>
                    <a:pt x="31" y="67"/>
                  </a:lnTo>
                  <a:lnTo>
                    <a:pt x="32" y="67"/>
                  </a:lnTo>
                  <a:lnTo>
                    <a:pt x="32" y="66"/>
                  </a:lnTo>
                  <a:lnTo>
                    <a:pt x="33" y="64"/>
                  </a:lnTo>
                  <a:lnTo>
                    <a:pt x="34" y="64"/>
                  </a:lnTo>
                  <a:lnTo>
                    <a:pt x="34" y="63"/>
                  </a:lnTo>
                  <a:lnTo>
                    <a:pt x="34" y="64"/>
                  </a:lnTo>
                  <a:lnTo>
                    <a:pt x="34" y="66"/>
                  </a:lnTo>
                  <a:lnTo>
                    <a:pt x="34" y="67"/>
                  </a:lnTo>
                  <a:lnTo>
                    <a:pt x="35" y="67"/>
                  </a:lnTo>
                  <a:lnTo>
                    <a:pt x="35" y="66"/>
                  </a:lnTo>
                  <a:lnTo>
                    <a:pt x="36" y="66"/>
                  </a:lnTo>
                  <a:lnTo>
                    <a:pt x="35" y="66"/>
                  </a:lnTo>
                  <a:lnTo>
                    <a:pt x="35" y="64"/>
                  </a:lnTo>
                  <a:lnTo>
                    <a:pt x="36" y="64"/>
                  </a:lnTo>
                  <a:lnTo>
                    <a:pt x="38" y="64"/>
                  </a:lnTo>
                  <a:lnTo>
                    <a:pt x="39" y="64"/>
                  </a:lnTo>
                  <a:lnTo>
                    <a:pt x="39" y="66"/>
                  </a:lnTo>
                  <a:lnTo>
                    <a:pt x="39" y="64"/>
                  </a:lnTo>
                  <a:lnTo>
                    <a:pt x="40" y="64"/>
                  </a:lnTo>
                  <a:lnTo>
                    <a:pt x="40" y="63"/>
                  </a:lnTo>
                  <a:lnTo>
                    <a:pt x="39" y="62"/>
                  </a:lnTo>
                  <a:lnTo>
                    <a:pt x="40" y="62"/>
                  </a:lnTo>
                  <a:lnTo>
                    <a:pt x="41" y="61"/>
                  </a:lnTo>
                  <a:lnTo>
                    <a:pt x="41" y="62"/>
                  </a:lnTo>
                  <a:lnTo>
                    <a:pt x="42" y="62"/>
                  </a:lnTo>
                  <a:lnTo>
                    <a:pt x="43" y="61"/>
                  </a:lnTo>
                  <a:lnTo>
                    <a:pt x="43" y="62"/>
                  </a:lnTo>
                  <a:lnTo>
                    <a:pt x="45" y="62"/>
                  </a:lnTo>
                  <a:lnTo>
                    <a:pt x="45" y="63"/>
                  </a:lnTo>
                  <a:lnTo>
                    <a:pt x="46" y="63"/>
                  </a:lnTo>
                  <a:lnTo>
                    <a:pt x="46" y="62"/>
                  </a:lnTo>
                  <a:lnTo>
                    <a:pt x="46" y="61"/>
                  </a:lnTo>
                  <a:lnTo>
                    <a:pt x="46" y="62"/>
                  </a:lnTo>
                  <a:lnTo>
                    <a:pt x="45" y="62"/>
                  </a:lnTo>
                  <a:lnTo>
                    <a:pt x="45" y="61"/>
                  </a:lnTo>
                  <a:lnTo>
                    <a:pt x="46" y="61"/>
                  </a:lnTo>
                  <a:lnTo>
                    <a:pt x="46" y="60"/>
                  </a:lnTo>
                  <a:lnTo>
                    <a:pt x="47" y="60"/>
                  </a:lnTo>
                  <a:lnTo>
                    <a:pt x="48" y="60"/>
                  </a:lnTo>
                  <a:lnTo>
                    <a:pt x="48" y="61"/>
                  </a:lnTo>
                  <a:lnTo>
                    <a:pt x="48" y="62"/>
                  </a:lnTo>
                  <a:lnTo>
                    <a:pt x="47" y="62"/>
                  </a:lnTo>
                  <a:lnTo>
                    <a:pt x="48" y="62"/>
                  </a:lnTo>
                  <a:lnTo>
                    <a:pt x="48" y="63"/>
                  </a:lnTo>
                  <a:lnTo>
                    <a:pt x="48" y="64"/>
                  </a:lnTo>
                  <a:lnTo>
                    <a:pt x="49" y="64"/>
                  </a:lnTo>
                  <a:lnTo>
                    <a:pt x="50" y="64"/>
                  </a:lnTo>
                  <a:lnTo>
                    <a:pt x="50" y="63"/>
                  </a:lnTo>
                  <a:lnTo>
                    <a:pt x="49" y="63"/>
                  </a:lnTo>
                  <a:lnTo>
                    <a:pt x="50" y="63"/>
                  </a:lnTo>
                  <a:lnTo>
                    <a:pt x="50" y="64"/>
                  </a:lnTo>
                  <a:lnTo>
                    <a:pt x="52" y="64"/>
                  </a:lnTo>
                  <a:lnTo>
                    <a:pt x="50" y="63"/>
                  </a:lnTo>
                  <a:lnTo>
                    <a:pt x="50" y="62"/>
                  </a:lnTo>
                  <a:lnTo>
                    <a:pt x="49" y="62"/>
                  </a:lnTo>
                  <a:lnTo>
                    <a:pt x="49" y="61"/>
                  </a:lnTo>
                  <a:lnTo>
                    <a:pt x="49" y="60"/>
                  </a:lnTo>
                  <a:lnTo>
                    <a:pt x="49" y="59"/>
                  </a:lnTo>
                  <a:lnTo>
                    <a:pt x="50" y="59"/>
                  </a:lnTo>
                  <a:lnTo>
                    <a:pt x="52" y="57"/>
                  </a:lnTo>
                  <a:lnTo>
                    <a:pt x="52" y="56"/>
                  </a:lnTo>
                  <a:lnTo>
                    <a:pt x="53" y="56"/>
                  </a:lnTo>
                  <a:lnTo>
                    <a:pt x="54" y="56"/>
                  </a:lnTo>
                  <a:lnTo>
                    <a:pt x="54" y="55"/>
                  </a:lnTo>
                  <a:lnTo>
                    <a:pt x="55" y="55"/>
                  </a:lnTo>
                  <a:lnTo>
                    <a:pt x="56" y="54"/>
                  </a:lnTo>
                  <a:lnTo>
                    <a:pt x="57" y="53"/>
                  </a:lnTo>
                  <a:lnTo>
                    <a:pt x="59" y="53"/>
                  </a:lnTo>
                  <a:lnTo>
                    <a:pt x="59" y="54"/>
                  </a:lnTo>
                  <a:lnTo>
                    <a:pt x="60" y="54"/>
                  </a:lnTo>
                  <a:lnTo>
                    <a:pt x="60" y="55"/>
                  </a:lnTo>
                  <a:lnTo>
                    <a:pt x="59" y="55"/>
                  </a:lnTo>
                  <a:lnTo>
                    <a:pt x="59" y="57"/>
                  </a:lnTo>
                  <a:lnTo>
                    <a:pt x="60" y="56"/>
                  </a:lnTo>
                  <a:lnTo>
                    <a:pt x="61" y="56"/>
                  </a:lnTo>
                  <a:lnTo>
                    <a:pt x="62" y="56"/>
                  </a:lnTo>
                  <a:lnTo>
                    <a:pt x="62" y="55"/>
                  </a:lnTo>
                  <a:lnTo>
                    <a:pt x="61" y="55"/>
                  </a:lnTo>
                  <a:lnTo>
                    <a:pt x="61" y="54"/>
                  </a:lnTo>
                  <a:lnTo>
                    <a:pt x="61" y="53"/>
                  </a:lnTo>
                  <a:lnTo>
                    <a:pt x="60" y="53"/>
                  </a:lnTo>
                  <a:lnTo>
                    <a:pt x="60" y="52"/>
                  </a:lnTo>
                  <a:lnTo>
                    <a:pt x="61" y="50"/>
                  </a:lnTo>
                  <a:lnTo>
                    <a:pt x="62" y="50"/>
                  </a:lnTo>
                  <a:lnTo>
                    <a:pt x="62" y="49"/>
                  </a:lnTo>
                  <a:lnTo>
                    <a:pt x="62" y="48"/>
                  </a:lnTo>
                  <a:lnTo>
                    <a:pt x="63" y="48"/>
                  </a:lnTo>
                  <a:lnTo>
                    <a:pt x="64" y="48"/>
                  </a:lnTo>
                  <a:lnTo>
                    <a:pt x="64" y="47"/>
                  </a:lnTo>
                  <a:lnTo>
                    <a:pt x="63" y="47"/>
                  </a:lnTo>
                  <a:lnTo>
                    <a:pt x="63" y="46"/>
                  </a:lnTo>
                  <a:lnTo>
                    <a:pt x="66" y="43"/>
                  </a:lnTo>
                  <a:lnTo>
                    <a:pt x="66" y="45"/>
                  </a:lnTo>
                  <a:lnTo>
                    <a:pt x="67" y="45"/>
                  </a:lnTo>
                  <a:lnTo>
                    <a:pt x="66" y="46"/>
                  </a:lnTo>
                  <a:lnTo>
                    <a:pt x="67" y="46"/>
                  </a:lnTo>
                  <a:lnTo>
                    <a:pt x="67" y="47"/>
                  </a:lnTo>
                  <a:lnTo>
                    <a:pt x="66" y="48"/>
                  </a:lnTo>
                  <a:lnTo>
                    <a:pt x="64" y="48"/>
                  </a:lnTo>
                  <a:lnTo>
                    <a:pt x="64" y="50"/>
                  </a:lnTo>
                  <a:lnTo>
                    <a:pt x="66" y="50"/>
                  </a:lnTo>
                  <a:lnTo>
                    <a:pt x="66" y="49"/>
                  </a:lnTo>
                  <a:lnTo>
                    <a:pt x="67" y="49"/>
                  </a:lnTo>
                  <a:lnTo>
                    <a:pt x="67" y="48"/>
                  </a:lnTo>
                  <a:lnTo>
                    <a:pt x="68" y="46"/>
                  </a:lnTo>
                  <a:lnTo>
                    <a:pt x="69" y="45"/>
                  </a:lnTo>
                  <a:lnTo>
                    <a:pt x="69" y="43"/>
                  </a:lnTo>
                  <a:lnTo>
                    <a:pt x="70" y="43"/>
                  </a:lnTo>
                  <a:lnTo>
                    <a:pt x="70" y="42"/>
                  </a:lnTo>
                  <a:lnTo>
                    <a:pt x="71" y="43"/>
                  </a:lnTo>
                  <a:lnTo>
                    <a:pt x="73" y="43"/>
                  </a:lnTo>
                  <a:lnTo>
                    <a:pt x="73" y="45"/>
                  </a:lnTo>
                  <a:lnTo>
                    <a:pt x="73" y="43"/>
                  </a:lnTo>
                  <a:lnTo>
                    <a:pt x="74" y="43"/>
                  </a:lnTo>
                  <a:lnTo>
                    <a:pt x="73" y="45"/>
                  </a:lnTo>
                  <a:lnTo>
                    <a:pt x="74" y="46"/>
                  </a:lnTo>
                  <a:lnTo>
                    <a:pt x="74" y="45"/>
                  </a:lnTo>
                  <a:lnTo>
                    <a:pt x="74" y="43"/>
                  </a:lnTo>
                  <a:lnTo>
                    <a:pt x="73" y="43"/>
                  </a:lnTo>
                  <a:lnTo>
                    <a:pt x="73" y="42"/>
                  </a:lnTo>
                  <a:lnTo>
                    <a:pt x="71" y="42"/>
                  </a:lnTo>
                  <a:lnTo>
                    <a:pt x="70" y="42"/>
                  </a:lnTo>
                  <a:lnTo>
                    <a:pt x="69" y="42"/>
                  </a:lnTo>
                  <a:lnTo>
                    <a:pt x="70" y="42"/>
                  </a:lnTo>
                  <a:lnTo>
                    <a:pt x="70" y="41"/>
                  </a:lnTo>
                  <a:lnTo>
                    <a:pt x="69" y="41"/>
                  </a:lnTo>
                  <a:lnTo>
                    <a:pt x="69" y="40"/>
                  </a:lnTo>
                  <a:lnTo>
                    <a:pt x="69" y="39"/>
                  </a:lnTo>
                  <a:lnTo>
                    <a:pt x="70" y="39"/>
                  </a:lnTo>
                  <a:lnTo>
                    <a:pt x="70" y="38"/>
                  </a:lnTo>
                  <a:lnTo>
                    <a:pt x="70" y="36"/>
                  </a:lnTo>
                  <a:lnTo>
                    <a:pt x="71" y="36"/>
                  </a:lnTo>
                  <a:lnTo>
                    <a:pt x="71" y="38"/>
                  </a:lnTo>
                  <a:lnTo>
                    <a:pt x="73" y="38"/>
                  </a:lnTo>
                  <a:lnTo>
                    <a:pt x="73" y="36"/>
                  </a:lnTo>
                  <a:lnTo>
                    <a:pt x="73" y="35"/>
                  </a:lnTo>
                  <a:lnTo>
                    <a:pt x="73" y="34"/>
                  </a:lnTo>
                  <a:lnTo>
                    <a:pt x="73" y="35"/>
                  </a:lnTo>
                  <a:lnTo>
                    <a:pt x="74" y="35"/>
                  </a:lnTo>
                  <a:lnTo>
                    <a:pt x="74" y="36"/>
                  </a:lnTo>
                  <a:lnTo>
                    <a:pt x="74" y="38"/>
                  </a:lnTo>
                  <a:lnTo>
                    <a:pt x="74" y="39"/>
                  </a:lnTo>
                  <a:lnTo>
                    <a:pt x="74" y="38"/>
                  </a:lnTo>
                  <a:lnTo>
                    <a:pt x="74" y="36"/>
                  </a:lnTo>
                  <a:lnTo>
                    <a:pt x="74" y="35"/>
                  </a:lnTo>
                  <a:lnTo>
                    <a:pt x="75" y="35"/>
                  </a:lnTo>
                  <a:lnTo>
                    <a:pt x="75" y="34"/>
                  </a:lnTo>
                  <a:lnTo>
                    <a:pt x="74" y="34"/>
                  </a:lnTo>
                  <a:lnTo>
                    <a:pt x="73" y="33"/>
                  </a:lnTo>
                  <a:lnTo>
                    <a:pt x="74" y="33"/>
                  </a:lnTo>
                  <a:lnTo>
                    <a:pt x="74" y="32"/>
                  </a:lnTo>
                  <a:lnTo>
                    <a:pt x="73" y="32"/>
                  </a:lnTo>
                  <a:lnTo>
                    <a:pt x="73" y="31"/>
                  </a:lnTo>
                  <a:lnTo>
                    <a:pt x="73" y="29"/>
                  </a:lnTo>
                  <a:lnTo>
                    <a:pt x="73" y="28"/>
                  </a:lnTo>
                  <a:lnTo>
                    <a:pt x="73" y="27"/>
                  </a:lnTo>
                  <a:lnTo>
                    <a:pt x="74" y="27"/>
                  </a:lnTo>
                  <a:lnTo>
                    <a:pt x="74" y="26"/>
                  </a:lnTo>
                  <a:lnTo>
                    <a:pt x="74" y="27"/>
                  </a:lnTo>
                  <a:lnTo>
                    <a:pt x="75" y="27"/>
                  </a:lnTo>
                  <a:lnTo>
                    <a:pt x="75" y="26"/>
                  </a:lnTo>
                  <a:lnTo>
                    <a:pt x="75" y="27"/>
                  </a:lnTo>
                  <a:lnTo>
                    <a:pt x="76" y="27"/>
                  </a:lnTo>
                  <a:lnTo>
                    <a:pt x="76" y="28"/>
                  </a:lnTo>
                  <a:lnTo>
                    <a:pt x="76" y="29"/>
                  </a:lnTo>
                  <a:lnTo>
                    <a:pt x="77" y="29"/>
                  </a:lnTo>
                  <a:lnTo>
                    <a:pt x="76" y="29"/>
                  </a:lnTo>
                  <a:lnTo>
                    <a:pt x="77" y="29"/>
                  </a:lnTo>
                  <a:lnTo>
                    <a:pt x="77" y="31"/>
                  </a:lnTo>
                  <a:lnTo>
                    <a:pt x="78" y="31"/>
                  </a:lnTo>
                  <a:lnTo>
                    <a:pt x="78" y="29"/>
                  </a:lnTo>
                  <a:lnTo>
                    <a:pt x="78" y="28"/>
                  </a:lnTo>
                  <a:lnTo>
                    <a:pt x="78" y="27"/>
                  </a:lnTo>
                  <a:lnTo>
                    <a:pt x="80" y="27"/>
                  </a:lnTo>
                  <a:lnTo>
                    <a:pt x="78" y="26"/>
                  </a:lnTo>
                  <a:lnTo>
                    <a:pt x="80" y="26"/>
                  </a:lnTo>
                  <a:lnTo>
                    <a:pt x="80" y="27"/>
                  </a:lnTo>
                  <a:lnTo>
                    <a:pt x="80" y="26"/>
                  </a:lnTo>
                  <a:lnTo>
                    <a:pt x="81" y="26"/>
                  </a:lnTo>
                  <a:lnTo>
                    <a:pt x="81" y="25"/>
                  </a:lnTo>
                  <a:lnTo>
                    <a:pt x="81" y="26"/>
                  </a:lnTo>
                  <a:lnTo>
                    <a:pt x="82" y="26"/>
                  </a:lnTo>
                  <a:lnTo>
                    <a:pt x="82" y="25"/>
                  </a:lnTo>
                  <a:lnTo>
                    <a:pt x="81" y="25"/>
                  </a:lnTo>
                  <a:lnTo>
                    <a:pt x="81" y="24"/>
                  </a:lnTo>
                  <a:lnTo>
                    <a:pt x="82" y="24"/>
                  </a:lnTo>
                  <a:lnTo>
                    <a:pt x="83" y="25"/>
                  </a:lnTo>
                  <a:lnTo>
                    <a:pt x="84" y="25"/>
                  </a:lnTo>
                  <a:lnTo>
                    <a:pt x="84" y="24"/>
                  </a:lnTo>
                  <a:lnTo>
                    <a:pt x="85" y="24"/>
                  </a:lnTo>
                  <a:lnTo>
                    <a:pt x="85" y="22"/>
                  </a:lnTo>
                  <a:lnTo>
                    <a:pt x="86" y="21"/>
                  </a:lnTo>
                  <a:lnTo>
                    <a:pt x="85" y="21"/>
                  </a:lnTo>
                  <a:lnTo>
                    <a:pt x="85" y="20"/>
                  </a:lnTo>
                  <a:lnTo>
                    <a:pt x="86" y="19"/>
                  </a:lnTo>
                  <a:lnTo>
                    <a:pt x="86" y="18"/>
                  </a:lnTo>
                  <a:lnTo>
                    <a:pt x="86" y="17"/>
                  </a:lnTo>
                  <a:lnTo>
                    <a:pt x="88" y="17"/>
                  </a:lnTo>
                  <a:lnTo>
                    <a:pt x="88" y="15"/>
                  </a:lnTo>
                  <a:lnTo>
                    <a:pt x="88" y="14"/>
                  </a:lnTo>
                  <a:lnTo>
                    <a:pt x="88" y="13"/>
                  </a:lnTo>
                  <a:lnTo>
                    <a:pt x="88" y="12"/>
                  </a:lnTo>
                  <a:lnTo>
                    <a:pt x="86" y="12"/>
                  </a:lnTo>
                  <a:lnTo>
                    <a:pt x="86" y="11"/>
                  </a:lnTo>
                  <a:lnTo>
                    <a:pt x="88" y="11"/>
                  </a:lnTo>
                  <a:lnTo>
                    <a:pt x="86" y="11"/>
                  </a:lnTo>
                  <a:lnTo>
                    <a:pt x="86" y="10"/>
                  </a:lnTo>
                  <a:lnTo>
                    <a:pt x="85" y="8"/>
                  </a:lnTo>
                  <a:lnTo>
                    <a:pt x="86" y="8"/>
                  </a:lnTo>
                  <a:lnTo>
                    <a:pt x="88" y="10"/>
                  </a:lnTo>
                  <a:lnTo>
                    <a:pt x="88" y="8"/>
                  </a:lnTo>
                  <a:lnTo>
                    <a:pt x="89" y="8"/>
                  </a:lnTo>
                  <a:lnTo>
                    <a:pt x="89" y="7"/>
                  </a:lnTo>
                  <a:lnTo>
                    <a:pt x="89" y="6"/>
                  </a:lnTo>
                  <a:lnTo>
                    <a:pt x="90" y="6"/>
                  </a:lnTo>
                  <a:lnTo>
                    <a:pt x="91" y="5"/>
                  </a:lnTo>
                  <a:lnTo>
                    <a:pt x="91" y="6"/>
                  </a:lnTo>
                  <a:lnTo>
                    <a:pt x="91" y="5"/>
                  </a:lnTo>
                  <a:lnTo>
                    <a:pt x="91" y="4"/>
                  </a:lnTo>
                  <a:lnTo>
                    <a:pt x="92" y="4"/>
                  </a:lnTo>
                  <a:lnTo>
                    <a:pt x="91" y="4"/>
                  </a:lnTo>
                  <a:lnTo>
                    <a:pt x="91" y="3"/>
                  </a:lnTo>
                  <a:lnTo>
                    <a:pt x="90" y="4"/>
                  </a:lnTo>
                  <a:lnTo>
                    <a:pt x="90" y="3"/>
                  </a:lnTo>
                  <a:lnTo>
                    <a:pt x="91" y="3"/>
                  </a:lnTo>
                  <a:lnTo>
                    <a:pt x="92" y="4"/>
                  </a:lnTo>
                  <a:lnTo>
                    <a:pt x="92" y="3"/>
                  </a:lnTo>
                  <a:lnTo>
                    <a:pt x="91" y="3"/>
                  </a:lnTo>
                  <a:lnTo>
                    <a:pt x="92" y="3"/>
                  </a:lnTo>
                  <a:lnTo>
                    <a:pt x="92" y="1"/>
                  </a:lnTo>
                  <a:lnTo>
                    <a:pt x="92" y="0"/>
                  </a:lnTo>
                  <a:lnTo>
                    <a:pt x="93" y="0"/>
                  </a:lnTo>
                  <a:lnTo>
                    <a:pt x="93" y="1"/>
                  </a:lnTo>
                  <a:lnTo>
                    <a:pt x="93" y="3"/>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88" name="Freeform 944">
              <a:extLst>
                <a:ext uri="{FF2B5EF4-FFF2-40B4-BE49-F238E27FC236}">
                  <a16:creationId xmlns:a16="http://schemas.microsoft.com/office/drawing/2014/main" id="{446A8F47-85CA-49B4-86DD-52585CC3E93E}"/>
                </a:ext>
              </a:extLst>
            </p:cNvPr>
            <p:cNvSpPr>
              <a:spLocks noEditPoints="1"/>
            </p:cNvSpPr>
            <p:nvPr/>
          </p:nvSpPr>
          <p:spPr bwMode="auto">
            <a:xfrm>
              <a:off x="7161949" y="3201624"/>
              <a:ext cx="16026" cy="161594"/>
            </a:xfrm>
            <a:custGeom>
              <a:avLst/>
              <a:gdLst>
                <a:gd name="T0" fmla="*/ 6 w 12"/>
                <a:gd name="T1" fmla="*/ 120 h 121"/>
                <a:gd name="T2" fmla="*/ 7 w 12"/>
                <a:gd name="T3" fmla="*/ 120 h 121"/>
                <a:gd name="T4" fmla="*/ 7 w 12"/>
                <a:gd name="T5" fmla="*/ 120 h 121"/>
                <a:gd name="T6" fmla="*/ 5 w 12"/>
                <a:gd name="T7" fmla="*/ 119 h 121"/>
                <a:gd name="T8" fmla="*/ 7 w 12"/>
                <a:gd name="T9" fmla="*/ 119 h 121"/>
                <a:gd name="T10" fmla="*/ 7 w 12"/>
                <a:gd name="T11" fmla="*/ 119 h 121"/>
                <a:gd name="T12" fmla="*/ 8 w 12"/>
                <a:gd name="T13" fmla="*/ 106 h 121"/>
                <a:gd name="T14" fmla="*/ 4 w 12"/>
                <a:gd name="T15" fmla="*/ 105 h 121"/>
                <a:gd name="T16" fmla="*/ 4 w 12"/>
                <a:gd name="T17" fmla="*/ 105 h 121"/>
                <a:gd name="T18" fmla="*/ 11 w 12"/>
                <a:gd name="T19" fmla="*/ 102 h 121"/>
                <a:gd name="T20" fmla="*/ 11 w 12"/>
                <a:gd name="T21" fmla="*/ 81 h 121"/>
                <a:gd name="T22" fmla="*/ 11 w 12"/>
                <a:gd name="T23" fmla="*/ 81 h 121"/>
                <a:gd name="T24" fmla="*/ 6 w 12"/>
                <a:gd name="T25" fmla="*/ 80 h 121"/>
                <a:gd name="T26" fmla="*/ 11 w 12"/>
                <a:gd name="T27" fmla="*/ 80 h 121"/>
                <a:gd name="T28" fmla="*/ 11 w 12"/>
                <a:gd name="T29" fmla="*/ 80 h 121"/>
                <a:gd name="T30" fmla="*/ 12 w 12"/>
                <a:gd name="T31" fmla="*/ 77 h 121"/>
                <a:gd name="T32" fmla="*/ 2 w 12"/>
                <a:gd name="T33" fmla="*/ 74 h 121"/>
                <a:gd name="T34" fmla="*/ 2 w 12"/>
                <a:gd name="T35" fmla="*/ 74 h 121"/>
                <a:gd name="T36" fmla="*/ 8 w 12"/>
                <a:gd name="T37" fmla="*/ 72 h 121"/>
                <a:gd name="T38" fmla="*/ 8 w 12"/>
                <a:gd name="T39" fmla="*/ 72 h 121"/>
                <a:gd name="T40" fmla="*/ 8 w 12"/>
                <a:gd name="T41" fmla="*/ 72 h 121"/>
                <a:gd name="T42" fmla="*/ 7 w 12"/>
                <a:gd name="T43" fmla="*/ 70 h 121"/>
                <a:gd name="T44" fmla="*/ 0 w 12"/>
                <a:gd name="T45" fmla="*/ 58 h 121"/>
                <a:gd name="T46" fmla="*/ 0 w 12"/>
                <a:gd name="T47" fmla="*/ 58 h 121"/>
                <a:gd name="T48" fmla="*/ 8 w 12"/>
                <a:gd name="T49" fmla="*/ 44 h 121"/>
                <a:gd name="T50" fmla="*/ 9 w 12"/>
                <a:gd name="T51" fmla="*/ 43 h 121"/>
                <a:gd name="T52" fmla="*/ 8 w 12"/>
                <a:gd name="T53" fmla="*/ 44 h 121"/>
                <a:gd name="T54" fmla="*/ 9 w 12"/>
                <a:gd name="T55" fmla="*/ 43 h 121"/>
                <a:gd name="T56" fmla="*/ 1 w 12"/>
                <a:gd name="T57" fmla="*/ 43 h 121"/>
                <a:gd name="T58" fmla="*/ 1 w 12"/>
                <a:gd name="T59" fmla="*/ 43 h 121"/>
                <a:gd name="T60" fmla="*/ 1 w 12"/>
                <a:gd name="T61" fmla="*/ 43 h 121"/>
                <a:gd name="T62" fmla="*/ 1 w 12"/>
                <a:gd name="T63" fmla="*/ 43 h 121"/>
                <a:gd name="T64" fmla="*/ 7 w 12"/>
                <a:gd name="T65" fmla="*/ 37 h 121"/>
                <a:gd name="T66" fmla="*/ 8 w 12"/>
                <a:gd name="T67" fmla="*/ 37 h 121"/>
                <a:gd name="T68" fmla="*/ 4 w 12"/>
                <a:gd name="T69" fmla="*/ 28 h 121"/>
                <a:gd name="T70" fmla="*/ 4 w 12"/>
                <a:gd name="T71" fmla="*/ 25 h 121"/>
                <a:gd name="T72" fmla="*/ 4 w 12"/>
                <a:gd name="T73" fmla="*/ 25 h 121"/>
                <a:gd name="T74" fmla="*/ 1 w 12"/>
                <a:gd name="T75" fmla="*/ 17 h 121"/>
                <a:gd name="T76" fmla="*/ 7 w 12"/>
                <a:gd name="T77" fmla="*/ 17 h 121"/>
                <a:gd name="T78" fmla="*/ 7 w 12"/>
                <a:gd name="T79" fmla="*/ 17 h 121"/>
                <a:gd name="T80" fmla="*/ 0 w 12"/>
                <a:gd name="T81" fmla="*/ 16 h 121"/>
                <a:gd name="T82" fmla="*/ 7 w 12"/>
                <a:gd name="T83" fmla="*/ 15 h 121"/>
                <a:gd name="T84" fmla="*/ 7 w 12"/>
                <a:gd name="T85" fmla="*/ 15 h 121"/>
                <a:gd name="T86" fmla="*/ 5 w 12"/>
                <a:gd name="T87" fmla="*/ 12 h 121"/>
                <a:gd name="T88" fmla="*/ 1 w 12"/>
                <a:gd name="T89" fmla="*/ 5 h 121"/>
                <a:gd name="T90" fmla="*/ 1 w 12"/>
                <a:gd name="T91" fmla="*/ 5 h 121"/>
                <a:gd name="T92" fmla="*/ 1 w 12"/>
                <a:gd name="T93" fmla="*/ 4 h 121"/>
                <a:gd name="T94" fmla="*/ 2 w 12"/>
                <a:gd name="T95" fmla="*/ 3 h 121"/>
                <a:gd name="T96" fmla="*/ 4 w 12"/>
                <a:gd name="T97" fmla="*/ 3 h 121"/>
                <a:gd name="T98" fmla="*/ 2 w 12"/>
                <a:gd name="T99" fmla="*/ 2 h 121"/>
                <a:gd name="T100" fmla="*/ 2 w 12"/>
                <a:gd name="T101" fmla="*/ 2 h 121"/>
                <a:gd name="T102" fmla="*/ 4 w 12"/>
                <a:gd name="T10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 h="121">
                  <a:moveTo>
                    <a:pt x="6" y="121"/>
                  </a:moveTo>
                  <a:lnTo>
                    <a:pt x="6" y="120"/>
                  </a:lnTo>
                  <a:lnTo>
                    <a:pt x="6" y="121"/>
                  </a:lnTo>
                  <a:close/>
                  <a:moveTo>
                    <a:pt x="7" y="120"/>
                  </a:moveTo>
                  <a:lnTo>
                    <a:pt x="6" y="120"/>
                  </a:lnTo>
                  <a:lnTo>
                    <a:pt x="7" y="120"/>
                  </a:lnTo>
                  <a:close/>
                  <a:moveTo>
                    <a:pt x="5" y="120"/>
                  </a:moveTo>
                  <a:lnTo>
                    <a:pt x="5" y="119"/>
                  </a:lnTo>
                  <a:lnTo>
                    <a:pt x="5" y="120"/>
                  </a:lnTo>
                  <a:close/>
                  <a:moveTo>
                    <a:pt x="7" y="119"/>
                  </a:moveTo>
                  <a:lnTo>
                    <a:pt x="7" y="120"/>
                  </a:lnTo>
                  <a:lnTo>
                    <a:pt x="7" y="119"/>
                  </a:lnTo>
                  <a:close/>
                  <a:moveTo>
                    <a:pt x="8" y="105"/>
                  </a:moveTo>
                  <a:lnTo>
                    <a:pt x="8" y="106"/>
                  </a:lnTo>
                  <a:lnTo>
                    <a:pt x="8" y="105"/>
                  </a:lnTo>
                  <a:close/>
                  <a:moveTo>
                    <a:pt x="4" y="105"/>
                  </a:moveTo>
                  <a:lnTo>
                    <a:pt x="2" y="105"/>
                  </a:lnTo>
                  <a:lnTo>
                    <a:pt x="4" y="105"/>
                  </a:lnTo>
                  <a:close/>
                  <a:moveTo>
                    <a:pt x="11" y="101"/>
                  </a:moveTo>
                  <a:lnTo>
                    <a:pt x="11" y="102"/>
                  </a:lnTo>
                  <a:lnTo>
                    <a:pt x="11" y="101"/>
                  </a:lnTo>
                  <a:close/>
                  <a:moveTo>
                    <a:pt x="11" y="81"/>
                  </a:moveTo>
                  <a:lnTo>
                    <a:pt x="11" y="80"/>
                  </a:lnTo>
                  <a:lnTo>
                    <a:pt x="11" y="81"/>
                  </a:lnTo>
                  <a:close/>
                  <a:moveTo>
                    <a:pt x="7" y="80"/>
                  </a:moveTo>
                  <a:lnTo>
                    <a:pt x="6" y="80"/>
                  </a:lnTo>
                  <a:lnTo>
                    <a:pt x="7" y="80"/>
                  </a:lnTo>
                  <a:close/>
                  <a:moveTo>
                    <a:pt x="11" y="80"/>
                  </a:moveTo>
                  <a:lnTo>
                    <a:pt x="11" y="79"/>
                  </a:lnTo>
                  <a:lnTo>
                    <a:pt x="11" y="80"/>
                  </a:lnTo>
                  <a:close/>
                  <a:moveTo>
                    <a:pt x="11" y="77"/>
                  </a:moveTo>
                  <a:lnTo>
                    <a:pt x="12" y="77"/>
                  </a:lnTo>
                  <a:lnTo>
                    <a:pt x="11" y="77"/>
                  </a:lnTo>
                  <a:close/>
                  <a:moveTo>
                    <a:pt x="2" y="74"/>
                  </a:moveTo>
                  <a:lnTo>
                    <a:pt x="2" y="73"/>
                  </a:lnTo>
                  <a:lnTo>
                    <a:pt x="2" y="74"/>
                  </a:lnTo>
                  <a:close/>
                  <a:moveTo>
                    <a:pt x="8" y="73"/>
                  </a:moveTo>
                  <a:lnTo>
                    <a:pt x="8" y="72"/>
                  </a:lnTo>
                  <a:lnTo>
                    <a:pt x="8" y="73"/>
                  </a:lnTo>
                  <a:close/>
                  <a:moveTo>
                    <a:pt x="8" y="72"/>
                  </a:moveTo>
                  <a:lnTo>
                    <a:pt x="8" y="71"/>
                  </a:lnTo>
                  <a:lnTo>
                    <a:pt x="8" y="72"/>
                  </a:lnTo>
                  <a:close/>
                  <a:moveTo>
                    <a:pt x="7" y="71"/>
                  </a:moveTo>
                  <a:lnTo>
                    <a:pt x="7" y="70"/>
                  </a:lnTo>
                  <a:lnTo>
                    <a:pt x="7" y="71"/>
                  </a:lnTo>
                  <a:close/>
                  <a:moveTo>
                    <a:pt x="0" y="58"/>
                  </a:moveTo>
                  <a:lnTo>
                    <a:pt x="0" y="57"/>
                  </a:lnTo>
                  <a:lnTo>
                    <a:pt x="0" y="58"/>
                  </a:lnTo>
                  <a:close/>
                  <a:moveTo>
                    <a:pt x="8" y="45"/>
                  </a:moveTo>
                  <a:lnTo>
                    <a:pt x="8" y="44"/>
                  </a:lnTo>
                  <a:lnTo>
                    <a:pt x="8" y="45"/>
                  </a:lnTo>
                  <a:close/>
                  <a:moveTo>
                    <a:pt x="9" y="43"/>
                  </a:moveTo>
                  <a:lnTo>
                    <a:pt x="9" y="44"/>
                  </a:lnTo>
                  <a:lnTo>
                    <a:pt x="8" y="44"/>
                  </a:lnTo>
                  <a:lnTo>
                    <a:pt x="9" y="44"/>
                  </a:lnTo>
                  <a:lnTo>
                    <a:pt x="9" y="43"/>
                  </a:lnTo>
                  <a:close/>
                  <a:moveTo>
                    <a:pt x="2" y="43"/>
                  </a:moveTo>
                  <a:lnTo>
                    <a:pt x="1" y="43"/>
                  </a:lnTo>
                  <a:lnTo>
                    <a:pt x="1" y="42"/>
                  </a:lnTo>
                  <a:lnTo>
                    <a:pt x="1" y="43"/>
                  </a:lnTo>
                  <a:lnTo>
                    <a:pt x="2" y="43"/>
                  </a:lnTo>
                  <a:close/>
                  <a:moveTo>
                    <a:pt x="1" y="43"/>
                  </a:moveTo>
                  <a:lnTo>
                    <a:pt x="1" y="42"/>
                  </a:lnTo>
                  <a:lnTo>
                    <a:pt x="1" y="43"/>
                  </a:lnTo>
                  <a:close/>
                  <a:moveTo>
                    <a:pt x="8" y="37"/>
                  </a:moveTo>
                  <a:lnTo>
                    <a:pt x="7" y="37"/>
                  </a:lnTo>
                  <a:lnTo>
                    <a:pt x="7" y="36"/>
                  </a:lnTo>
                  <a:lnTo>
                    <a:pt x="8" y="37"/>
                  </a:lnTo>
                  <a:close/>
                  <a:moveTo>
                    <a:pt x="2" y="28"/>
                  </a:moveTo>
                  <a:lnTo>
                    <a:pt x="4" y="28"/>
                  </a:lnTo>
                  <a:lnTo>
                    <a:pt x="2" y="28"/>
                  </a:lnTo>
                  <a:close/>
                  <a:moveTo>
                    <a:pt x="4" y="25"/>
                  </a:moveTo>
                  <a:lnTo>
                    <a:pt x="4" y="26"/>
                  </a:lnTo>
                  <a:lnTo>
                    <a:pt x="4" y="25"/>
                  </a:lnTo>
                  <a:close/>
                  <a:moveTo>
                    <a:pt x="1" y="18"/>
                  </a:moveTo>
                  <a:lnTo>
                    <a:pt x="1" y="17"/>
                  </a:lnTo>
                  <a:lnTo>
                    <a:pt x="1" y="18"/>
                  </a:lnTo>
                  <a:close/>
                  <a:moveTo>
                    <a:pt x="7" y="17"/>
                  </a:moveTo>
                  <a:lnTo>
                    <a:pt x="8" y="17"/>
                  </a:lnTo>
                  <a:lnTo>
                    <a:pt x="7" y="17"/>
                  </a:lnTo>
                  <a:close/>
                  <a:moveTo>
                    <a:pt x="0" y="15"/>
                  </a:moveTo>
                  <a:lnTo>
                    <a:pt x="0" y="16"/>
                  </a:lnTo>
                  <a:lnTo>
                    <a:pt x="0" y="15"/>
                  </a:lnTo>
                  <a:close/>
                  <a:moveTo>
                    <a:pt x="7" y="15"/>
                  </a:moveTo>
                  <a:lnTo>
                    <a:pt x="7" y="16"/>
                  </a:lnTo>
                  <a:lnTo>
                    <a:pt x="7" y="15"/>
                  </a:lnTo>
                  <a:close/>
                  <a:moveTo>
                    <a:pt x="5" y="11"/>
                  </a:moveTo>
                  <a:lnTo>
                    <a:pt x="5" y="12"/>
                  </a:lnTo>
                  <a:lnTo>
                    <a:pt x="5" y="11"/>
                  </a:lnTo>
                  <a:close/>
                  <a:moveTo>
                    <a:pt x="1" y="5"/>
                  </a:moveTo>
                  <a:lnTo>
                    <a:pt x="1" y="4"/>
                  </a:lnTo>
                  <a:lnTo>
                    <a:pt x="1" y="5"/>
                  </a:lnTo>
                  <a:close/>
                  <a:moveTo>
                    <a:pt x="2" y="4"/>
                  </a:moveTo>
                  <a:lnTo>
                    <a:pt x="1" y="4"/>
                  </a:lnTo>
                  <a:lnTo>
                    <a:pt x="2" y="4"/>
                  </a:lnTo>
                  <a:close/>
                  <a:moveTo>
                    <a:pt x="2" y="3"/>
                  </a:moveTo>
                  <a:lnTo>
                    <a:pt x="4" y="2"/>
                  </a:lnTo>
                  <a:lnTo>
                    <a:pt x="4" y="3"/>
                  </a:lnTo>
                  <a:lnTo>
                    <a:pt x="2" y="3"/>
                  </a:lnTo>
                  <a:close/>
                  <a:moveTo>
                    <a:pt x="2" y="2"/>
                  </a:moveTo>
                  <a:lnTo>
                    <a:pt x="2" y="1"/>
                  </a:lnTo>
                  <a:lnTo>
                    <a:pt x="2" y="2"/>
                  </a:lnTo>
                  <a:close/>
                  <a:moveTo>
                    <a:pt x="4" y="1"/>
                  </a:moveTo>
                  <a:lnTo>
                    <a:pt x="4" y="0"/>
                  </a:lnTo>
                  <a:lnTo>
                    <a:pt x="4"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89" name="Freeform 945">
              <a:extLst>
                <a:ext uri="{FF2B5EF4-FFF2-40B4-BE49-F238E27FC236}">
                  <a16:creationId xmlns:a16="http://schemas.microsoft.com/office/drawing/2014/main" id="{BF86A626-80F4-408D-B283-E1209D253E5D}"/>
                </a:ext>
              </a:extLst>
            </p:cNvPr>
            <p:cNvSpPr>
              <a:spLocks noEditPoints="1"/>
            </p:cNvSpPr>
            <p:nvPr/>
          </p:nvSpPr>
          <p:spPr bwMode="auto">
            <a:xfrm>
              <a:off x="3684337" y="2658080"/>
              <a:ext cx="539537" cy="381950"/>
            </a:xfrm>
            <a:custGeom>
              <a:avLst/>
              <a:gdLst>
                <a:gd name="T0" fmla="*/ 66 w 404"/>
                <a:gd name="T1" fmla="*/ 220 h 286"/>
                <a:gd name="T2" fmla="*/ 133 w 404"/>
                <a:gd name="T3" fmla="*/ 173 h 286"/>
                <a:gd name="T4" fmla="*/ 73 w 404"/>
                <a:gd name="T5" fmla="*/ 131 h 286"/>
                <a:gd name="T6" fmla="*/ 66 w 404"/>
                <a:gd name="T7" fmla="*/ 123 h 286"/>
                <a:gd name="T8" fmla="*/ 70 w 404"/>
                <a:gd name="T9" fmla="*/ 116 h 286"/>
                <a:gd name="T10" fmla="*/ 59 w 404"/>
                <a:gd name="T11" fmla="*/ 94 h 286"/>
                <a:gd name="T12" fmla="*/ 73 w 404"/>
                <a:gd name="T13" fmla="*/ 65 h 286"/>
                <a:gd name="T14" fmla="*/ 78 w 404"/>
                <a:gd name="T15" fmla="*/ 60 h 286"/>
                <a:gd name="T16" fmla="*/ 67 w 404"/>
                <a:gd name="T17" fmla="*/ 50 h 286"/>
                <a:gd name="T18" fmla="*/ 127 w 404"/>
                <a:gd name="T19" fmla="*/ 20 h 286"/>
                <a:gd name="T20" fmla="*/ 165 w 404"/>
                <a:gd name="T21" fmla="*/ 14 h 286"/>
                <a:gd name="T22" fmla="*/ 188 w 404"/>
                <a:gd name="T23" fmla="*/ 39 h 286"/>
                <a:gd name="T24" fmla="*/ 208 w 404"/>
                <a:gd name="T25" fmla="*/ 54 h 286"/>
                <a:gd name="T26" fmla="*/ 233 w 404"/>
                <a:gd name="T27" fmla="*/ 51 h 286"/>
                <a:gd name="T28" fmla="*/ 245 w 404"/>
                <a:gd name="T29" fmla="*/ 79 h 286"/>
                <a:gd name="T30" fmla="*/ 258 w 404"/>
                <a:gd name="T31" fmla="*/ 103 h 286"/>
                <a:gd name="T32" fmla="*/ 259 w 404"/>
                <a:gd name="T33" fmla="*/ 142 h 286"/>
                <a:gd name="T34" fmla="*/ 258 w 404"/>
                <a:gd name="T35" fmla="*/ 174 h 286"/>
                <a:gd name="T36" fmla="*/ 269 w 404"/>
                <a:gd name="T37" fmla="*/ 209 h 286"/>
                <a:gd name="T38" fmla="*/ 287 w 404"/>
                <a:gd name="T39" fmla="*/ 226 h 286"/>
                <a:gd name="T40" fmla="*/ 311 w 404"/>
                <a:gd name="T41" fmla="*/ 225 h 286"/>
                <a:gd name="T42" fmla="*/ 329 w 404"/>
                <a:gd name="T43" fmla="*/ 225 h 286"/>
                <a:gd name="T44" fmla="*/ 343 w 404"/>
                <a:gd name="T45" fmla="*/ 212 h 286"/>
                <a:gd name="T46" fmla="*/ 371 w 404"/>
                <a:gd name="T47" fmla="*/ 179 h 286"/>
                <a:gd name="T48" fmla="*/ 398 w 404"/>
                <a:gd name="T49" fmla="*/ 177 h 286"/>
                <a:gd name="T50" fmla="*/ 391 w 404"/>
                <a:gd name="T51" fmla="*/ 204 h 286"/>
                <a:gd name="T52" fmla="*/ 387 w 404"/>
                <a:gd name="T53" fmla="*/ 213 h 286"/>
                <a:gd name="T54" fmla="*/ 378 w 404"/>
                <a:gd name="T55" fmla="*/ 221 h 286"/>
                <a:gd name="T56" fmla="*/ 342 w 404"/>
                <a:gd name="T57" fmla="*/ 235 h 286"/>
                <a:gd name="T58" fmla="*/ 338 w 404"/>
                <a:gd name="T59" fmla="*/ 262 h 286"/>
                <a:gd name="T60" fmla="*/ 308 w 404"/>
                <a:gd name="T61" fmla="*/ 278 h 286"/>
                <a:gd name="T62" fmla="*/ 284 w 404"/>
                <a:gd name="T63" fmla="*/ 260 h 286"/>
                <a:gd name="T64" fmla="*/ 271 w 404"/>
                <a:gd name="T65" fmla="*/ 264 h 286"/>
                <a:gd name="T66" fmla="*/ 237 w 404"/>
                <a:gd name="T67" fmla="*/ 260 h 286"/>
                <a:gd name="T68" fmla="*/ 198 w 404"/>
                <a:gd name="T69" fmla="*/ 242 h 286"/>
                <a:gd name="T70" fmla="*/ 167 w 404"/>
                <a:gd name="T71" fmla="*/ 226 h 286"/>
                <a:gd name="T72" fmla="*/ 144 w 404"/>
                <a:gd name="T73" fmla="*/ 199 h 286"/>
                <a:gd name="T74" fmla="*/ 149 w 404"/>
                <a:gd name="T75" fmla="*/ 174 h 286"/>
                <a:gd name="T76" fmla="*/ 129 w 404"/>
                <a:gd name="T77" fmla="*/ 134 h 286"/>
                <a:gd name="T78" fmla="*/ 122 w 404"/>
                <a:gd name="T79" fmla="*/ 124 h 286"/>
                <a:gd name="T80" fmla="*/ 112 w 404"/>
                <a:gd name="T81" fmla="*/ 113 h 286"/>
                <a:gd name="T82" fmla="*/ 109 w 404"/>
                <a:gd name="T83" fmla="*/ 102 h 286"/>
                <a:gd name="T84" fmla="*/ 105 w 404"/>
                <a:gd name="T85" fmla="*/ 89 h 286"/>
                <a:gd name="T86" fmla="*/ 91 w 404"/>
                <a:gd name="T87" fmla="*/ 73 h 286"/>
                <a:gd name="T88" fmla="*/ 80 w 404"/>
                <a:gd name="T89" fmla="*/ 46 h 286"/>
                <a:gd name="T90" fmla="*/ 72 w 404"/>
                <a:gd name="T91" fmla="*/ 16 h 286"/>
                <a:gd name="T92" fmla="*/ 57 w 404"/>
                <a:gd name="T93" fmla="*/ 31 h 286"/>
                <a:gd name="T94" fmla="*/ 65 w 404"/>
                <a:gd name="T95" fmla="*/ 59 h 286"/>
                <a:gd name="T96" fmla="*/ 74 w 404"/>
                <a:gd name="T97" fmla="*/ 82 h 286"/>
                <a:gd name="T98" fmla="*/ 81 w 404"/>
                <a:gd name="T99" fmla="*/ 99 h 286"/>
                <a:gd name="T100" fmla="*/ 85 w 404"/>
                <a:gd name="T101" fmla="*/ 130 h 286"/>
                <a:gd name="T102" fmla="*/ 100 w 404"/>
                <a:gd name="T103" fmla="*/ 145 h 286"/>
                <a:gd name="T104" fmla="*/ 76 w 404"/>
                <a:gd name="T105" fmla="*/ 131 h 286"/>
                <a:gd name="T106" fmla="*/ 69 w 404"/>
                <a:gd name="T107" fmla="*/ 117 h 286"/>
                <a:gd name="T108" fmla="*/ 59 w 404"/>
                <a:gd name="T109" fmla="*/ 94 h 286"/>
                <a:gd name="T110" fmla="*/ 41 w 404"/>
                <a:gd name="T111" fmla="*/ 80 h 286"/>
                <a:gd name="T112" fmla="*/ 51 w 404"/>
                <a:gd name="T113" fmla="*/ 75 h 286"/>
                <a:gd name="T114" fmla="*/ 50 w 404"/>
                <a:gd name="T115" fmla="*/ 57 h 286"/>
                <a:gd name="T116" fmla="*/ 39 w 404"/>
                <a:gd name="T117" fmla="*/ 30 h 286"/>
                <a:gd name="T118" fmla="*/ 38 w 404"/>
                <a:gd name="T119" fmla="*/ 2 h 286"/>
                <a:gd name="T120" fmla="*/ 265 w 404"/>
                <a:gd name="T121" fmla="*/ 115 h 286"/>
                <a:gd name="T122" fmla="*/ 262 w 404"/>
                <a:gd name="T123" fmla="*/ 13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4" h="286">
                  <a:moveTo>
                    <a:pt x="13" y="227"/>
                  </a:moveTo>
                  <a:lnTo>
                    <a:pt x="12" y="227"/>
                  </a:lnTo>
                  <a:lnTo>
                    <a:pt x="12" y="226"/>
                  </a:lnTo>
                  <a:lnTo>
                    <a:pt x="13" y="226"/>
                  </a:lnTo>
                  <a:lnTo>
                    <a:pt x="13" y="227"/>
                  </a:lnTo>
                  <a:close/>
                  <a:moveTo>
                    <a:pt x="389" y="226"/>
                  </a:moveTo>
                  <a:lnTo>
                    <a:pt x="390" y="225"/>
                  </a:lnTo>
                  <a:lnTo>
                    <a:pt x="390" y="223"/>
                  </a:lnTo>
                  <a:lnTo>
                    <a:pt x="390" y="222"/>
                  </a:lnTo>
                  <a:lnTo>
                    <a:pt x="390" y="223"/>
                  </a:lnTo>
                  <a:lnTo>
                    <a:pt x="390" y="225"/>
                  </a:lnTo>
                  <a:lnTo>
                    <a:pt x="389" y="226"/>
                  </a:lnTo>
                  <a:close/>
                  <a:moveTo>
                    <a:pt x="391" y="221"/>
                  </a:moveTo>
                  <a:lnTo>
                    <a:pt x="391" y="222"/>
                  </a:lnTo>
                  <a:lnTo>
                    <a:pt x="391" y="221"/>
                  </a:lnTo>
                  <a:lnTo>
                    <a:pt x="391" y="220"/>
                  </a:lnTo>
                  <a:lnTo>
                    <a:pt x="391" y="221"/>
                  </a:lnTo>
                  <a:close/>
                  <a:moveTo>
                    <a:pt x="333" y="220"/>
                  </a:moveTo>
                  <a:lnTo>
                    <a:pt x="332" y="220"/>
                  </a:lnTo>
                  <a:lnTo>
                    <a:pt x="333" y="220"/>
                  </a:lnTo>
                  <a:lnTo>
                    <a:pt x="332" y="220"/>
                  </a:lnTo>
                  <a:lnTo>
                    <a:pt x="330" y="221"/>
                  </a:lnTo>
                  <a:lnTo>
                    <a:pt x="329" y="221"/>
                  </a:lnTo>
                  <a:lnTo>
                    <a:pt x="330" y="221"/>
                  </a:lnTo>
                  <a:lnTo>
                    <a:pt x="329" y="221"/>
                  </a:lnTo>
                  <a:lnTo>
                    <a:pt x="328" y="221"/>
                  </a:lnTo>
                  <a:lnTo>
                    <a:pt x="329" y="221"/>
                  </a:lnTo>
                  <a:lnTo>
                    <a:pt x="330" y="220"/>
                  </a:lnTo>
                  <a:lnTo>
                    <a:pt x="332" y="220"/>
                  </a:lnTo>
                  <a:lnTo>
                    <a:pt x="333" y="219"/>
                  </a:lnTo>
                  <a:lnTo>
                    <a:pt x="333" y="220"/>
                  </a:lnTo>
                  <a:close/>
                  <a:moveTo>
                    <a:pt x="66" y="220"/>
                  </a:moveTo>
                  <a:lnTo>
                    <a:pt x="65" y="220"/>
                  </a:lnTo>
                  <a:lnTo>
                    <a:pt x="64" y="220"/>
                  </a:lnTo>
                  <a:lnTo>
                    <a:pt x="65" y="219"/>
                  </a:lnTo>
                  <a:lnTo>
                    <a:pt x="65" y="218"/>
                  </a:lnTo>
                  <a:lnTo>
                    <a:pt x="66" y="218"/>
                  </a:lnTo>
                  <a:lnTo>
                    <a:pt x="66" y="219"/>
                  </a:lnTo>
                  <a:lnTo>
                    <a:pt x="66" y="220"/>
                  </a:lnTo>
                  <a:close/>
                  <a:moveTo>
                    <a:pt x="69" y="212"/>
                  </a:moveTo>
                  <a:lnTo>
                    <a:pt x="69" y="211"/>
                  </a:lnTo>
                  <a:lnTo>
                    <a:pt x="70" y="211"/>
                  </a:lnTo>
                  <a:lnTo>
                    <a:pt x="70" y="212"/>
                  </a:lnTo>
                  <a:lnTo>
                    <a:pt x="69" y="212"/>
                  </a:lnTo>
                  <a:close/>
                  <a:moveTo>
                    <a:pt x="402" y="191"/>
                  </a:moveTo>
                  <a:lnTo>
                    <a:pt x="401" y="192"/>
                  </a:lnTo>
                  <a:lnTo>
                    <a:pt x="401" y="193"/>
                  </a:lnTo>
                  <a:lnTo>
                    <a:pt x="400" y="193"/>
                  </a:lnTo>
                  <a:lnTo>
                    <a:pt x="400" y="194"/>
                  </a:lnTo>
                  <a:lnTo>
                    <a:pt x="399" y="194"/>
                  </a:lnTo>
                  <a:lnTo>
                    <a:pt x="399" y="195"/>
                  </a:lnTo>
                  <a:lnTo>
                    <a:pt x="398" y="195"/>
                  </a:lnTo>
                  <a:lnTo>
                    <a:pt x="398" y="194"/>
                  </a:lnTo>
                  <a:lnTo>
                    <a:pt x="398" y="193"/>
                  </a:lnTo>
                  <a:lnTo>
                    <a:pt x="399" y="192"/>
                  </a:lnTo>
                  <a:lnTo>
                    <a:pt x="400" y="191"/>
                  </a:lnTo>
                  <a:lnTo>
                    <a:pt x="400" y="192"/>
                  </a:lnTo>
                  <a:lnTo>
                    <a:pt x="401" y="192"/>
                  </a:lnTo>
                  <a:lnTo>
                    <a:pt x="401" y="191"/>
                  </a:lnTo>
                  <a:lnTo>
                    <a:pt x="402" y="191"/>
                  </a:lnTo>
                  <a:close/>
                  <a:moveTo>
                    <a:pt x="404" y="180"/>
                  </a:moveTo>
                  <a:lnTo>
                    <a:pt x="404" y="181"/>
                  </a:lnTo>
                  <a:lnTo>
                    <a:pt x="404" y="180"/>
                  </a:lnTo>
                  <a:close/>
                  <a:moveTo>
                    <a:pt x="135" y="177"/>
                  </a:moveTo>
                  <a:lnTo>
                    <a:pt x="136" y="177"/>
                  </a:lnTo>
                  <a:lnTo>
                    <a:pt x="136" y="178"/>
                  </a:lnTo>
                  <a:lnTo>
                    <a:pt x="135" y="178"/>
                  </a:lnTo>
                  <a:lnTo>
                    <a:pt x="135" y="177"/>
                  </a:lnTo>
                  <a:lnTo>
                    <a:pt x="134" y="177"/>
                  </a:lnTo>
                  <a:lnTo>
                    <a:pt x="135" y="177"/>
                  </a:lnTo>
                  <a:close/>
                  <a:moveTo>
                    <a:pt x="133" y="173"/>
                  </a:moveTo>
                  <a:lnTo>
                    <a:pt x="134" y="173"/>
                  </a:lnTo>
                  <a:lnTo>
                    <a:pt x="134" y="174"/>
                  </a:lnTo>
                  <a:lnTo>
                    <a:pt x="135" y="174"/>
                  </a:lnTo>
                  <a:lnTo>
                    <a:pt x="134" y="174"/>
                  </a:lnTo>
                  <a:lnTo>
                    <a:pt x="134" y="176"/>
                  </a:lnTo>
                  <a:lnTo>
                    <a:pt x="133" y="174"/>
                  </a:lnTo>
                  <a:lnTo>
                    <a:pt x="133" y="173"/>
                  </a:lnTo>
                  <a:close/>
                  <a:moveTo>
                    <a:pt x="133" y="172"/>
                  </a:moveTo>
                  <a:lnTo>
                    <a:pt x="133" y="173"/>
                  </a:lnTo>
                  <a:lnTo>
                    <a:pt x="133" y="172"/>
                  </a:lnTo>
                  <a:close/>
                  <a:moveTo>
                    <a:pt x="256" y="172"/>
                  </a:moveTo>
                  <a:lnTo>
                    <a:pt x="256" y="171"/>
                  </a:lnTo>
                  <a:lnTo>
                    <a:pt x="256" y="172"/>
                  </a:lnTo>
                  <a:close/>
                  <a:moveTo>
                    <a:pt x="366" y="159"/>
                  </a:moveTo>
                  <a:lnTo>
                    <a:pt x="366" y="160"/>
                  </a:lnTo>
                  <a:lnTo>
                    <a:pt x="368" y="162"/>
                  </a:lnTo>
                  <a:lnTo>
                    <a:pt x="366" y="162"/>
                  </a:lnTo>
                  <a:lnTo>
                    <a:pt x="366" y="163"/>
                  </a:lnTo>
                  <a:lnTo>
                    <a:pt x="365" y="163"/>
                  </a:lnTo>
                  <a:lnTo>
                    <a:pt x="366" y="162"/>
                  </a:lnTo>
                  <a:lnTo>
                    <a:pt x="365" y="162"/>
                  </a:lnTo>
                  <a:lnTo>
                    <a:pt x="366" y="162"/>
                  </a:lnTo>
                  <a:lnTo>
                    <a:pt x="366" y="160"/>
                  </a:lnTo>
                  <a:lnTo>
                    <a:pt x="365" y="159"/>
                  </a:lnTo>
                  <a:lnTo>
                    <a:pt x="365" y="160"/>
                  </a:lnTo>
                  <a:lnTo>
                    <a:pt x="365" y="159"/>
                  </a:lnTo>
                  <a:lnTo>
                    <a:pt x="366" y="159"/>
                  </a:lnTo>
                  <a:close/>
                  <a:moveTo>
                    <a:pt x="256" y="157"/>
                  </a:moveTo>
                  <a:lnTo>
                    <a:pt x="256" y="158"/>
                  </a:lnTo>
                  <a:lnTo>
                    <a:pt x="256" y="157"/>
                  </a:lnTo>
                  <a:lnTo>
                    <a:pt x="256" y="156"/>
                  </a:lnTo>
                  <a:lnTo>
                    <a:pt x="256" y="157"/>
                  </a:lnTo>
                  <a:close/>
                  <a:moveTo>
                    <a:pt x="96" y="135"/>
                  </a:moveTo>
                  <a:lnTo>
                    <a:pt x="95" y="135"/>
                  </a:lnTo>
                  <a:lnTo>
                    <a:pt x="95" y="134"/>
                  </a:lnTo>
                  <a:lnTo>
                    <a:pt x="95" y="132"/>
                  </a:lnTo>
                  <a:lnTo>
                    <a:pt x="95" y="131"/>
                  </a:lnTo>
                  <a:lnTo>
                    <a:pt x="96" y="131"/>
                  </a:lnTo>
                  <a:lnTo>
                    <a:pt x="96" y="132"/>
                  </a:lnTo>
                  <a:lnTo>
                    <a:pt x="96" y="134"/>
                  </a:lnTo>
                  <a:lnTo>
                    <a:pt x="96" y="135"/>
                  </a:lnTo>
                  <a:close/>
                  <a:moveTo>
                    <a:pt x="73" y="131"/>
                  </a:moveTo>
                  <a:lnTo>
                    <a:pt x="74" y="131"/>
                  </a:lnTo>
                  <a:lnTo>
                    <a:pt x="73" y="131"/>
                  </a:lnTo>
                  <a:lnTo>
                    <a:pt x="72" y="131"/>
                  </a:lnTo>
                  <a:lnTo>
                    <a:pt x="73" y="131"/>
                  </a:lnTo>
                  <a:close/>
                  <a:moveTo>
                    <a:pt x="69" y="129"/>
                  </a:moveTo>
                  <a:lnTo>
                    <a:pt x="70" y="129"/>
                  </a:lnTo>
                  <a:lnTo>
                    <a:pt x="71" y="129"/>
                  </a:lnTo>
                  <a:lnTo>
                    <a:pt x="71" y="130"/>
                  </a:lnTo>
                  <a:lnTo>
                    <a:pt x="71" y="131"/>
                  </a:lnTo>
                  <a:lnTo>
                    <a:pt x="72" y="131"/>
                  </a:lnTo>
                  <a:lnTo>
                    <a:pt x="71" y="131"/>
                  </a:lnTo>
                  <a:lnTo>
                    <a:pt x="71" y="132"/>
                  </a:lnTo>
                  <a:lnTo>
                    <a:pt x="71" y="131"/>
                  </a:lnTo>
                  <a:lnTo>
                    <a:pt x="70" y="130"/>
                  </a:lnTo>
                  <a:lnTo>
                    <a:pt x="69" y="130"/>
                  </a:lnTo>
                  <a:lnTo>
                    <a:pt x="69" y="129"/>
                  </a:lnTo>
                  <a:lnTo>
                    <a:pt x="67" y="129"/>
                  </a:lnTo>
                  <a:lnTo>
                    <a:pt x="69" y="129"/>
                  </a:lnTo>
                  <a:close/>
                  <a:moveTo>
                    <a:pt x="91" y="128"/>
                  </a:moveTo>
                  <a:lnTo>
                    <a:pt x="91" y="129"/>
                  </a:lnTo>
                  <a:lnTo>
                    <a:pt x="91" y="130"/>
                  </a:lnTo>
                  <a:lnTo>
                    <a:pt x="89" y="130"/>
                  </a:lnTo>
                  <a:lnTo>
                    <a:pt x="89" y="129"/>
                  </a:lnTo>
                  <a:lnTo>
                    <a:pt x="89" y="128"/>
                  </a:lnTo>
                  <a:lnTo>
                    <a:pt x="91" y="128"/>
                  </a:lnTo>
                  <a:close/>
                  <a:moveTo>
                    <a:pt x="88" y="124"/>
                  </a:moveTo>
                  <a:lnTo>
                    <a:pt x="88" y="123"/>
                  </a:lnTo>
                  <a:lnTo>
                    <a:pt x="88" y="124"/>
                  </a:lnTo>
                  <a:close/>
                  <a:moveTo>
                    <a:pt x="88" y="121"/>
                  </a:moveTo>
                  <a:lnTo>
                    <a:pt x="88" y="122"/>
                  </a:lnTo>
                  <a:lnTo>
                    <a:pt x="89" y="123"/>
                  </a:lnTo>
                  <a:lnTo>
                    <a:pt x="88" y="123"/>
                  </a:lnTo>
                  <a:lnTo>
                    <a:pt x="88" y="122"/>
                  </a:lnTo>
                  <a:lnTo>
                    <a:pt x="87" y="122"/>
                  </a:lnTo>
                  <a:lnTo>
                    <a:pt x="87" y="121"/>
                  </a:lnTo>
                  <a:lnTo>
                    <a:pt x="87" y="120"/>
                  </a:lnTo>
                  <a:lnTo>
                    <a:pt x="88" y="120"/>
                  </a:lnTo>
                  <a:lnTo>
                    <a:pt x="88" y="121"/>
                  </a:lnTo>
                  <a:close/>
                  <a:moveTo>
                    <a:pt x="67" y="121"/>
                  </a:moveTo>
                  <a:lnTo>
                    <a:pt x="67" y="122"/>
                  </a:lnTo>
                  <a:lnTo>
                    <a:pt x="67" y="121"/>
                  </a:lnTo>
                  <a:lnTo>
                    <a:pt x="66" y="122"/>
                  </a:lnTo>
                  <a:lnTo>
                    <a:pt x="66" y="123"/>
                  </a:lnTo>
                  <a:lnTo>
                    <a:pt x="66" y="124"/>
                  </a:lnTo>
                  <a:lnTo>
                    <a:pt x="66" y="125"/>
                  </a:lnTo>
                  <a:lnTo>
                    <a:pt x="67" y="125"/>
                  </a:lnTo>
                  <a:lnTo>
                    <a:pt x="66" y="127"/>
                  </a:lnTo>
                  <a:lnTo>
                    <a:pt x="67" y="127"/>
                  </a:lnTo>
                  <a:lnTo>
                    <a:pt x="67" y="128"/>
                  </a:lnTo>
                  <a:lnTo>
                    <a:pt x="66" y="128"/>
                  </a:lnTo>
                  <a:lnTo>
                    <a:pt x="66" y="127"/>
                  </a:lnTo>
                  <a:lnTo>
                    <a:pt x="66" y="125"/>
                  </a:lnTo>
                  <a:lnTo>
                    <a:pt x="66" y="124"/>
                  </a:lnTo>
                  <a:lnTo>
                    <a:pt x="65" y="124"/>
                  </a:lnTo>
                  <a:lnTo>
                    <a:pt x="65" y="125"/>
                  </a:lnTo>
                  <a:lnTo>
                    <a:pt x="65" y="124"/>
                  </a:lnTo>
                  <a:lnTo>
                    <a:pt x="65" y="123"/>
                  </a:lnTo>
                  <a:lnTo>
                    <a:pt x="66" y="121"/>
                  </a:lnTo>
                  <a:lnTo>
                    <a:pt x="67" y="120"/>
                  </a:lnTo>
                  <a:lnTo>
                    <a:pt x="67" y="118"/>
                  </a:lnTo>
                  <a:lnTo>
                    <a:pt x="69" y="117"/>
                  </a:lnTo>
                  <a:lnTo>
                    <a:pt x="69" y="118"/>
                  </a:lnTo>
                  <a:lnTo>
                    <a:pt x="67" y="118"/>
                  </a:lnTo>
                  <a:lnTo>
                    <a:pt x="67" y="120"/>
                  </a:lnTo>
                  <a:lnTo>
                    <a:pt x="67" y="121"/>
                  </a:lnTo>
                  <a:close/>
                  <a:moveTo>
                    <a:pt x="87" y="117"/>
                  </a:moveTo>
                  <a:lnTo>
                    <a:pt x="87" y="116"/>
                  </a:lnTo>
                  <a:lnTo>
                    <a:pt x="88" y="116"/>
                  </a:lnTo>
                  <a:lnTo>
                    <a:pt x="87" y="117"/>
                  </a:lnTo>
                  <a:close/>
                  <a:moveTo>
                    <a:pt x="113" y="114"/>
                  </a:moveTo>
                  <a:lnTo>
                    <a:pt x="114" y="114"/>
                  </a:lnTo>
                  <a:lnTo>
                    <a:pt x="114" y="115"/>
                  </a:lnTo>
                  <a:lnTo>
                    <a:pt x="113" y="115"/>
                  </a:lnTo>
                  <a:lnTo>
                    <a:pt x="113" y="114"/>
                  </a:lnTo>
                  <a:lnTo>
                    <a:pt x="112" y="114"/>
                  </a:lnTo>
                  <a:lnTo>
                    <a:pt x="113" y="114"/>
                  </a:lnTo>
                  <a:close/>
                  <a:moveTo>
                    <a:pt x="69" y="116"/>
                  </a:moveTo>
                  <a:lnTo>
                    <a:pt x="69" y="115"/>
                  </a:lnTo>
                  <a:lnTo>
                    <a:pt x="70" y="115"/>
                  </a:lnTo>
                  <a:lnTo>
                    <a:pt x="70" y="114"/>
                  </a:lnTo>
                  <a:lnTo>
                    <a:pt x="70" y="115"/>
                  </a:lnTo>
                  <a:lnTo>
                    <a:pt x="70" y="116"/>
                  </a:lnTo>
                  <a:lnTo>
                    <a:pt x="69" y="116"/>
                  </a:lnTo>
                  <a:close/>
                  <a:moveTo>
                    <a:pt x="88" y="111"/>
                  </a:moveTo>
                  <a:lnTo>
                    <a:pt x="88" y="110"/>
                  </a:lnTo>
                  <a:lnTo>
                    <a:pt x="88" y="109"/>
                  </a:lnTo>
                  <a:lnTo>
                    <a:pt x="88" y="110"/>
                  </a:lnTo>
                  <a:lnTo>
                    <a:pt x="88" y="111"/>
                  </a:lnTo>
                  <a:close/>
                  <a:moveTo>
                    <a:pt x="85" y="109"/>
                  </a:moveTo>
                  <a:lnTo>
                    <a:pt x="85" y="110"/>
                  </a:lnTo>
                  <a:lnTo>
                    <a:pt x="85" y="109"/>
                  </a:lnTo>
                  <a:close/>
                  <a:moveTo>
                    <a:pt x="82" y="109"/>
                  </a:moveTo>
                  <a:lnTo>
                    <a:pt x="82" y="108"/>
                  </a:lnTo>
                  <a:lnTo>
                    <a:pt x="82" y="109"/>
                  </a:lnTo>
                  <a:close/>
                  <a:moveTo>
                    <a:pt x="86" y="104"/>
                  </a:moveTo>
                  <a:lnTo>
                    <a:pt x="85" y="106"/>
                  </a:lnTo>
                  <a:lnTo>
                    <a:pt x="86" y="106"/>
                  </a:lnTo>
                  <a:lnTo>
                    <a:pt x="85" y="106"/>
                  </a:lnTo>
                  <a:lnTo>
                    <a:pt x="84" y="106"/>
                  </a:lnTo>
                  <a:lnTo>
                    <a:pt x="84" y="107"/>
                  </a:lnTo>
                  <a:lnTo>
                    <a:pt x="84" y="108"/>
                  </a:lnTo>
                  <a:lnTo>
                    <a:pt x="82" y="108"/>
                  </a:lnTo>
                  <a:lnTo>
                    <a:pt x="82" y="107"/>
                  </a:lnTo>
                  <a:lnTo>
                    <a:pt x="84" y="107"/>
                  </a:lnTo>
                  <a:lnTo>
                    <a:pt x="84" y="106"/>
                  </a:lnTo>
                  <a:lnTo>
                    <a:pt x="85" y="104"/>
                  </a:lnTo>
                  <a:lnTo>
                    <a:pt x="84" y="104"/>
                  </a:lnTo>
                  <a:lnTo>
                    <a:pt x="85" y="104"/>
                  </a:lnTo>
                  <a:lnTo>
                    <a:pt x="86" y="104"/>
                  </a:lnTo>
                  <a:close/>
                  <a:moveTo>
                    <a:pt x="82" y="103"/>
                  </a:moveTo>
                  <a:lnTo>
                    <a:pt x="84" y="103"/>
                  </a:lnTo>
                  <a:lnTo>
                    <a:pt x="82" y="103"/>
                  </a:lnTo>
                  <a:lnTo>
                    <a:pt x="84" y="103"/>
                  </a:lnTo>
                  <a:lnTo>
                    <a:pt x="82" y="103"/>
                  </a:lnTo>
                  <a:close/>
                  <a:moveTo>
                    <a:pt x="59" y="94"/>
                  </a:moveTo>
                  <a:lnTo>
                    <a:pt x="60" y="94"/>
                  </a:lnTo>
                  <a:lnTo>
                    <a:pt x="60" y="95"/>
                  </a:lnTo>
                  <a:lnTo>
                    <a:pt x="60" y="94"/>
                  </a:lnTo>
                  <a:lnTo>
                    <a:pt x="59" y="94"/>
                  </a:lnTo>
                  <a:lnTo>
                    <a:pt x="58" y="94"/>
                  </a:lnTo>
                  <a:lnTo>
                    <a:pt x="59" y="94"/>
                  </a:lnTo>
                  <a:close/>
                  <a:moveTo>
                    <a:pt x="105" y="89"/>
                  </a:moveTo>
                  <a:lnTo>
                    <a:pt x="105" y="88"/>
                  </a:lnTo>
                  <a:lnTo>
                    <a:pt x="103" y="88"/>
                  </a:lnTo>
                  <a:lnTo>
                    <a:pt x="105" y="88"/>
                  </a:lnTo>
                  <a:lnTo>
                    <a:pt x="105" y="89"/>
                  </a:lnTo>
                  <a:close/>
                  <a:moveTo>
                    <a:pt x="77" y="86"/>
                  </a:moveTo>
                  <a:lnTo>
                    <a:pt x="77" y="87"/>
                  </a:lnTo>
                  <a:lnTo>
                    <a:pt x="77" y="86"/>
                  </a:lnTo>
                  <a:lnTo>
                    <a:pt x="77" y="85"/>
                  </a:lnTo>
                  <a:lnTo>
                    <a:pt x="77" y="86"/>
                  </a:lnTo>
                  <a:close/>
                  <a:moveTo>
                    <a:pt x="98" y="85"/>
                  </a:moveTo>
                  <a:lnTo>
                    <a:pt x="96" y="85"/>
                  </a:lnTo>
                  <a:lnTo>
                    <a:pt x="96" y="83"/>
                  </a:lnTo>
                  <a:lnTo>
                    <a:pt x="98" y="83"/>
                  </a:lnTo>
                  <a:lnTo>
                    <a:pt x="98" y="82"/>
                  </a:lnTo>
                  <a:lnTo>
                    <a:pt x="98" y="83"/>
                  </a:lnTo>
                  <a:lnTo>
                    <a:pt x="98" y="85"/>
                  </a:lnTo>
                  <a:close/>
                  <a:moveTo>
                    <a:pt x="37" y="75"/>
                  </a:moveTo>
                  <a:lnTo>
                    <a:pt x="37" y="76"/>
                  </a:lnTo>
                  <a:lnTo>
                    <a:pt x="37" y="75"/>
                  </a:lnTo>
                  <a:close/>
                  <a:moveTo>
                    <a:pt x="89" y="74"/>
                  </a:moveTo>
                  <a:lnTo>
                    <a:pt x="88" y="74"/>
                  </a:lnTo>
                  <a:lnTo>
                    <a:pt x="89" y="74"/>
                  </a:lnTo>
                  <a:close/>
                  <a:moveTo>
                    <a:pt x="38" y="72"/>
                  </a:moveTo>
                  <a:lnTo>
                    <a:pt x="38" y="73"/>
                  </a:lnTo>
                  <a:lnTo>
                    <a:pt x="37" y="73"/>
                  </a:lnTo>
                  <a:lnTo>
                    <a:pt x="37" y="72"/>
                  </a:lnTo>
                  <a:lnTo>
                    <a:pt x="36" y="72"/>
                  </a:lnTo>
                  <a:lnTo>
                    <a:pt x="37" y="71"/>
                  </a:lnTo>
                  <a:lnTo>
                    <a:pt x="38" y="69"/>
                  </a:lnTo>
                  <a:lnTo>
                    <a:pt x="38" y="68"/>
                  </a:lnTo>
                  <a:lnTo>
                    <a:pt x="38" y="67"/>
                  </a:lnTo>
                  <a:lnTo>
                    <a:pt x="39" y="67"/>
                  </a:lnTo>
                  <a:lnTo>
                    <a:pt x="39" y="68"/>
                  </a:lnTo>
                  <a:lnTo>
                    <a:pt x="39" y="69"/>
                  </a:lnTo>
                  <a:lnTo>
                    <a:pt x="39" y="71"/>
                  </a:lnTo>
                  <a:lnTo>
                    <a:pt x="39" y="72"/>
                  </a:lnTo>
                  <a:lnTo>
                    <a:pt x="38" y="72"/>
                  </a:lnTo>
                  <a:close/>
                  <a:moveTo>
                    <a:pt x="73" y="65"/>
                  </a:moveTo>
                  <a:lnTo>
                    <a:pt x="73" y="64"/>
                  </a:lnTo>
                  <a:lnTo>
                    <a:pt x="72" y="64"/>
                  </a:lnTo>
                  <a:lnTo>
                    <a:pt x="72" y="62"/>
                  </a:lnTo>
                  <a:lnTo>
                    <a:pt x="73" y="64"/>
                  </a:lnTo>
                  <a:lnTo>
                    <a:pt x="73" y="65"/>
                  </a:lnTo>
                  <a:close/>
                  <a:moveTo>
                    <a:pt x="77" y="61"/>
                  </a:moveTo>
                  <a:lnTo>
                    <a:pt x="77" y="62"/>
                  </a:lnTo>
                  <a:lnTo>
                    <a:pt x="76" y="62"/>
                  </a:lnTo>
                  <a:lnTo>
                    <a:pt x="77" y="62"/>
                  </a:lnTo>
                  <a:lnTo>
                    <a:pt x="77" y="61"/>
                  </a:lnTo>
                  <a:close/>
                  <a:moveTo>
                    <a:pt x="1" y="59"/>
                  </a:moveTo>
                  <a:lnTo>
                    <a:pt x="0" y="59"/>
                  </a:lnTo>
                  <a:lnTo>
                    <a:pt x="0" y="60"/>
                  </a:lnTo>
                  <a:lnTo>
                    <a:pt x="0" y="59"/>
                  </a:lnTo>
                  <a:lnTo>
                    <a:pt x="0" y="58"/>
                  </a:lnTo>
                  <a:lnTo>
                    <a:pt x="0" y="57"/>
                  </a:lnTo>
                  <a:lnTo>
                    <a:pt x="0" y="55"/>
                  </a:lnTo>
                  <a:lnTo>
                    <a:pt x="1" y="55"/>
                  </a:lnTo>
                  <a:lnTo>
                    <a:pt x="1" y="54"/>
                  </a:lnTo>
                  <a:lnTo>
                    <a:pt x="2" y="54"/>
                  </a:lnTo>
                  <a:lnTo>
                    <a:pt x="2" y="55"/>
                  </a:lnTo>
                  <a:lnTo>
                    <a:pt x="1" y="55"/>
                  </a:lnTo>
                  <a:lnTo>
                    <a:pt x="1" y="57"/>
                  </a:lnTo>
                  <a:lnTo>
                    <a:pt x="2" y="57"/>
                  </a:lnTo>
                  <a:lnTo>
                    <a:pt x="2" y="58"/>
                  </a:lnTo>
                  <a:lnTo>
                    <a:pt x="1" y="58"/>
                  </a:lnTo>
                  <a:lnTo>
                    <a:pt x="1" y="59"/>
                  </a:lnTo>
                  <a:close/>
                  <a:moveTo>
                    <a:pt x="82" y="54"/>
                  </a:moveTo>
                  <a:lnTo>
                    <a:pt x="82" y="55"/>
                  </a:lnTo>
                  <a:lnTo>
                    <a:pt x="82" y="57"/>
                  </a:lnTo>
                  <a:lnTo>
                    <a:pt x="82" y="58"/>
                  </a:lnTo>
                  <a:lnTo>
                    <a:pt x="82" y="59"/>
                  </a:lnTo>
                  <a:lnTo>
                    <a:pt x="81" y="59"/>
                  </a:lnTo>
                  <a:lnTo>
                    <a:pt x="81" y="60"/>
                  </a:lnTo>
                  <a:lnTo>
                    <a:pt x="80" y="60"/>
                  </a:lnTo>
                  <a:lnTo>
                    <a:pt x="80" y="61"/>
                  </a:lnTo>
                  <a:lnTo>
                    <a:pt x="79" y="61"/>
                  </a:lnTo>
                  <a:lnTo>
                    <a:pt x="78" y="61"/>
                  </a:lnTo>
                  <a:lnTo>
                    <a:pt x="78" y="60"/>
                  </a:lnTo>
                  <a:lnTo>
                    <a:pt x="77" y="60"/>
                  </a:lnTo>
                  <a:lnTo>
                    <a:pt x="77" y="59"/>
                  </a:lnTo>
                  <a:lnTo>
                    <a:pt x="78" y="59"/>
                  </a:lnTo>
                  <a:lnTo>
                    <a:pt x="78" y="58"/>
                  </a:lnTo>
                  <a:lnTo>
                    <a:pt x="79" y="58"/>
                  </a:lnTo>
                  <a:lnTo>
                    <a:pt x="78" y="58"/>
                  </a:lnTo>
                  <a:lnTo>
                    <a:pt x="79" y="57"/>
                  </a:lnTo>
                  <a:lnTo>
                    <a:pt x="79" y="55"/>
                  </a:lnTo>
                  <a:lnTo>
                    <a:pt x="80" y="54"/>
                  </a:lnTo>
                  <a:lnTo>
                    <a:pt x="81" y="54"/>
                  </a:lnTo>
                  <a:lnTo>
                    <a:pt x="82" y="54"/>
                  </a:lnTo>
                  <a:close/>
                  <a:moveTo>
                    <a:pt x="67" y="50"/>
                  </a:moveTo>
                  <a:lnTo>
                    <a:pt x="69" y="50"/>
                  </a:lnTo>
                  <a:lnTo>
                    <a:pt x="69" y="51"/>
                  </a:lnTo>
                  <a:lnTo>
                    <a:pt x="69" y="52"/>
                  </a:lnTo>
                  <a:lnTo>
                    <a:pt x="69" y="53"/>
                  </a:lnTo>
                  <a:lnTo>
                    <a:pt x="70" y="53"/>
                  </a:lnTo>
                  <a:lnTo>
                    <a:pt x="71" y="53"/>
                  </a:lnTo>
                  <a:lnTo>
                    <a:pt x="71" y="54"/>
                  </a:lnTo>
                  <a:lnTo>
                    <a:pt x="70" y="54"/>
                  </a:lnTo>
                  <a:lnTo>
                    <a:pt x="71" y="54"/>
                  </a:lnTo>
                  <a:lnTo>
                    <a:pt x="70" y="54"/>
                  </a:lnTo>
                  <a:lnTo>
                    <a:pt x="70" y="55"/>
                  </a:lnTo>
                  <a:lnTo>
                    <a:pt x="70" y="57"/>
                  </a:lnTo>
                  <a:lnTo>
                    <a:pt x="71" y="57"/>
                  </a:lnTo>
                  <a:lnTo>
                    <a:pt x="70" y="58"/>
                  </a:lnTo>
                  <a:lnTo>
                    <a:pt x="70" y="57"/>
                  </a:lnTo>
                  <a:lnTo>
                    <a:pt x="69" y="57"/>
                  </a:lnTo>
                  <a:lnTo>
                    <a:pt x="69" y="55"/>
                  </a:lnTo>
                  <a:lnTo>
                    <a:pt x="67" y="55"/>
                  </a:lnTo>
                  <a:lnTo>
                    <a:pt x="67" y="54"/>
                  </a:lnTo>
                  <a:lnTo>
                    <a:pt x="67" y="53"/>
                  </a:lnTo>
                  <a:lnTo>
                    <a:pt x="66" y="53"/>
                  </a:lnTo>
                  <a:lnTo>
                    <a:pt x="66" y="52"/>
                  </a:lnTo>
                  <a:lnTo>
                    <a:pt x="66" y="51"/>
                  </a:lnTo>
                  <a:lnTo>
                    <a:pt x="66" y="50"/>
                  </a:lnTo>
                  <a:lnTo>
                    <a:pt x="66" y="48"/>
                  </a:lnTo>
                  <a:lnTo>
                    <a:pt x="66" y="50"/>
                  </a:lnTo>
                  <a:lnTo>
                    <a:pt x="67" y="50"/>
                  </a:lnTo>
                  <a:lnTo>
                    <a:pt x="67" y="48"/>
                  </a:lnTo>
                  <a:lnTo>
                    <a:pt x="67" y="50"/>
                  </a:lnTo>
                  <a:close/>
                  <a:moveTo>
                    <a:pt x="57" y="43"/>
                  </a:moveTo>
                  <a:lnTo>
                    <a:pt x="57" y="41"/>
                  </a:lnTo>
                  <a:lnTo>
                    <a:pt x="57" y="43"/>
                  </a:lnTo>
                  <a:close/>
                  <a:moveTo>
                    <a:pt x="63" y="15"/>
                  </a:moveTo>
                  <a:lnTo>
                    <a:pt x="62" y="15"/>
                  </a:lnTo>
                  <a:lnTo>
                    <a:pt x="62" y="14"/>
                  </a:lnTo>
                  <a:lnTo>
                    <a:pt x="63" y="14"/>
                  </a:lnTo>
                  <a:lnTo>
                    <a:pt x="63" y="15"/>
                  </a:lnTo>
                  <a:close/>
                  <a:moveTo>
                    <a:pt x="32" y="4"/>
                  </a:moveTo>
                  <a:lnTo>
                    <a:pt x="32" y="3"/>
                  </a:lnTo>
                  <a:lnTo>
                    <a:pt x="32" y="4"/>
                  </a:lnTo>
                  <a:close/>
                  <a:moveTo>
                    <a:pt x="85" y="10"/>
                  </a:moveTo>
                  <a:lnTo>
                    <a:pt x="89" y="12"/>
                  </a:lnTo>
                  <a:lnTo>
                    <a:pt x="94" y="15"/>
                  </a:lnTo>
                  <a:lnTo>
                    <a:pt x="99" y="17"/>
                  </a:lnTo>
                  <a:lnTo>
                    <a:pt x="103" y="18"/>
                  </a:lnTo>
                  <a:lnTo>
                    <a:pt x="105" y="19"/>
                  </a:lnTo>
                  <a:lnTo>
                    <a:pt x="106" y="19"/>
                  </a:lnTo>
                  <a:lnTo>
                    <a:pt x="107" y="19"/>
                  </a:lnTo>
                  <a:lnTo>
                    <a:pt x="107" y="20"/>
                  </a:lnTo>
                  <a:lnTo>
                    <a:pt x="108" y="20"/>
                  </a:lnTo>
                  <a:lnTo>
                    <a:pt x="109" y="20"/>
                  </a:lnTo>
                  <a:lnTo>
                    <a:pt x="110" y="20"/>
                  </a:lnTo>
                  <a:lnTo>
                    <a:pt x="112" y="20"/>
                  </a:lnTo>
                  <a:lnTo>
                    <a:pt x="113" y="20"/>
                  </a:lnTo>
                  <a:lnTo>
                    <a:pt x="114" y="20"/>
                  </a:lnTo>
                  <a:lnTo>
                    <a:pt x="115" y="20"/>
                  </a:lnTo>
                  <a:lnTo>
                    <a:pt x="116" y="20"/>
                  </a:lnTo>
                  <a:lnTo>
                    <a:pt x="117" y="20"/>
                  </a:lnTo>
                  <a:lnTo>
                    <a:pt x="119" y="20"/>
                  </a:lnTo>
                  <a:lnTo>
                    <a:pt x="120" y="20"/>
                  </a:lnTo>
                  <a:lnTo>
                    <a:pt x="121" y="20"/>
                  </a:lnTo>
                  <a:lnTo>
                    <a:pt x="122" y="20"/>
                  </a:lnTo>
                  <a:lnTo>
                    <a:pt x="123" y="20"/>
                  </a:lnTo>
                  <a:lnTo>
                    <a:pt x="124" y="20"/>
                  </a:lnTo>
                  <a:lnTo>
                    <a:pt x="126" y="20"/>
                  </a:lnTo>
                  <a:lnTo>
                    <a:pt x="127" y="20"/>
                  </a:lnTo>
                  <a:lnTo>
                    <a:pt x="128" y="20"/>
                  </a:lnTo>
                  <a:lnTo>
                    <a:pt x="129" y="20"/>
                  </a:lnTo>
                  <a:lnTo>
                    <a:pt x="130" y="20"/>
                  </a:lnTo>
                  <a:lnTo>
                    <a:pt x="131" y="20"/>
                  </a:lnTo>
                  <a:lnTo>
                    <a:pt x="133" y="20"/>
                  </a:lnTo>
                  <a:lnTo>
                    <a:pt x="134" y="20"/>
                  </a:lnTo>
                  <a:lnTo>
                    <a:pt x="135" y="20"/>
                  </a:lnTo>
                  <a:lnTo>
                    <a:pt x="136" y="20"/>
                  </a:lnTo>
                  <a:lnTo>
                    <a:pt x="137" y="20"/>
                  </a:lnTo>
                  <a:lnTo>
                    <a:pt x="138" y="20"/>
                  </a:lnTo>
                  <a:lnTo>
                    <a:pt x="140" y="20"/>
                  </a:lnTo>
                  <a:lnTo>
                    <a:pt x="141" y="20"/>
                  </a:lnTo>
                  <a:lnTo>
                    <a:pt x="142" y="20"/>
                  </a:lnTo>
                  <a:lnTo>
                    <a:pt x="143" y="20"/>
                  </a:lnTo>
                  <a:lnTo>
                    <a:pt x="144" y="20"/>
                  </a:lnTo>
                  <a:lnTo>
                    <a:pt x="145" y="20"/>
                  </a:lnTo>
                  <a:lnTo>
                    <a:pt x="146" y="20"/>
                  </a:lnTo>
                  <a:lnTo>
                    <a:pt x="146" y="19"/>
                  </a:lnTo>
                  <a:lnTo>
                    <a:pt x="148" y="19"/>
                  </a:lnTo>
                  <a:lnTo>
                    <a:pt x="148" y="18"/>
                  </a:lnTo>
                  <a:lnTo>
                    <a:pt x="148" y="17"/>
                  </a:lnTo>
                  <a:lnTo>
                    <a:pt x="148" y="16"/>
                  </a:lnTo>
                  <a:lnTo>
                    <a:pt x="149" y="16"/>
                  </a:lnTo>
                  <a:lnTo>
                    <a:pt x="149" y="15"/>
                  </a:lnTo>
                  <a:lnTo>
                    <a:pt x="149" y="14"/>
                  </a:lnTo>
                  <a:lnTo>
                    <a:pt x="150" y="14"/>
                  </a:lnTo>
                  <a:lnTo>
                    <a:pt x="151" y="14"/>
                  </a:lnTo>
                  <a:lnTo>
                    <a:pt x="152" y="14"/>
                  </a:lnTo>
                  <a:lnTo>
                    <a:pt x="153" y="14"/>
                  </a:lnTo>
                  <a:lnTo>
                    <a:pt x="155" y="14"/>
                  </a:lnTo>
                  <a:lnTo>
                    <a:pt x="156" y="14"/>
                  </a:lnTo>
                  <a:lnTo>
                    <a:pt x="157" y="14"/>
                  </a:lnTo>
                  <a:lnTo>
                    <a:pt x="158" y="14"/>
                  </a:lnTo>
                  <a:lnTo>
                    <a:pt x="159" y="14"/>
                  </a:lnTo>
                  <a:lnTo>
                    <a:pt x="160" y="14"/>
                  </a:lnTo>
                  <a:lnTo>
                    <a:pt x="162" y="14"/>
                  </a:lnTo>
                  <a:lnTo>
                    <a:pt x="163" y="14"/>
                  </a:lnTo>
                  <a:lnTo>
                    <a:pt x="164" y="14"/>
                  </a:lnTo>
                  <a:lnTo>
                    <a:pt x="165" y="14"/>
                  </a:lnTo>
                  <a:lnTo>
                    <a:pt x="166" y="14"/>
                  </a:lnTo>
                  <a:lnTo>
                    <a:pt x="167" y="14"/>
                  </a:lnTo>
                  <a:lnTo>
                    <a:pt x="169" y="14"/>
                  </a:lnTo>
                  <a:lnTo>
                    <a:pt x="170" y="14"/>
                  </a:lnTo>
                  <a:lnTo>
                    <a:pt x="171" y="14"/>
                  </a:lnTo>
                  <a:lnTo>
                    <a:pt x="172" y="14"/>
                  </a:lnTo>
                  <a:lnTo>
                    <a:pt x="172" y="15"/>
                  </a:lnTo>
                  <a:lnTo>
                    <a:pt x="172" y="14"/>
                  </a:lnTo>
                  <a:lnTo>
                    <a:pt x="173" y="15"/>
                  </a:lnTo>
                  <a:lnTo>
                    <a:pt x="173" y="16"/>
                  </a:lnTo>
                  <a:lnTo>
                    <a:pt x="173" y="17"/>
                  </a:lnTo>
                  <a:lnTo>
                    <a:pt x="174" y="18"/>
                  </a:lnTo>
                  <a:lnTo>
                    <a:pt x="174" y="19"/>
                  </a:lnTo>
                  <a:lnTo>
                    <a:pt x="176" y="19"/>
                  </a:lnTo>
                  <a:lnTo>
                    <a:pt x="177" y="19"/>
                  </a:lnTo>
                  <a:lnTo>
                    <a:pt x="177" y="20"/>
                  </a:lnTo>
                  <a:lnTo>
                    <a:pt x="178" y="22"/>
                  </a:lnTo>
                  <a:lnTo>
                    <a:pt x="178" y="23"/>
                  </a:lnTo>
                  <a:lnTo>
                    <a:pt x="179" y="23"/>
                  </a:lnTo>
                  <a:lnTo>
                    <a:pt x="179" y="24"/>
                  </a:lnTo>
                  <a:lnTo>
                    <a:pt x="180" y="24"/>
                  </a:lnTo>
                  <a:lnTo>
                    <a:pt x="180" y="25"/>
                  </a:lnTo>
                  <a:lnTo>
                    <a:pt x="180" y="26"/>
                  </a:lnTo>
                  <a:lnTo>
                    <a:pt x="181" y="26"/>
                  </a:lnTo>
                  <a:lnTo>
                    <a:pt x="181" y="27"/>
                  </a:lnTo>
                  <a:lnTo>
                    <a:pt x="183" y="29"/>
                  </a:lnTo>
                  <a:lnTo>
                    <a:pt x="184" y="29"/>
                  </a:lnTo>
                  <a:lnTo>
                    <a:pt x="185" y="30"/>
                  </a:lnTo>
                  <a:lnTo>
                    <a:pt x="185" y="31"/>
                  </a:lnTo>
                  <a:lnTo>
                    <a:pt x="186" y="31"/>
                  </a:lnTo>
                  <a:lnTo>
                    <a:pt x="186" y="32"/>
                  </a:lnTo>
                  <a:lnTo>
                    <a:pt x="187" y="32"/>
                  </a:lnTo>
                  <a:lnTo>
                    <a:pt x="187" y="33"/>
                  </a:lnTo>
                  <a:lnTo>
                    <a:pt x="187" y="34"/>
                  </a:lnTo>
                  <a:lnTo>
                    <a:pt x="187" y="36"/>
                  </a:lnTo>
                  <a:lnTo>
                    <a:pt x="187" y="37"/>
                  </a:lnTo>
                  <a:lnTo>
                    <a:pt x="188" y="37"/>
                  </a:lnTo>
                  <a:lnTo>
                    <a:pt x="188" y="38"/>
                  </a:lnTo>
                  <a:lnTo>
                    <a:pt x="188" y="39"/>
                  </a:lnTo>
                  <a:lnTo>
                    <a:pt x="188" y="40"/>
                  </a:lnTo>
                  <a:lnTo>
                    <a:pt x="187" y="40"/>
                  </a:lnTo>
                  <a:lnTo>
                    <a:pt x="187" y="41"/>
                  </a:lnTo>
                  <a:lnTo>
                    <a:pt x="187" y="43"/>
                  </a:lnTo>
                  <a:lnTo>
                    <a:pt x="187" y="44"/>
                  </a:lnTo>
                  <a:lnTo>
                    <a:pt x="187" y="45"/>
                  </a:lnTo>
                  <a:lnTo>
                    <a:pt x="188" y="45"/>
                  </a:lnTo>
                  <a:lnTo>
                    <a:pt x="188" y="46"/>
                  </a:lnTo>
                  <a:lnTo>
                    <a:pt x="188" y="47"/>
                  </a:lnTo>
                  <a:lnTo>
                    <a:pt x="190" y="48"/>
                  </a:lnTo>
                  <a:lnTo>
                    <a:pt x="190" y="50"/>
                  </a:lnTo>
                  <a:lnTo>
                    <a:pt x="191" y="50"/>
                  </a:lnTo>
                  <a:lnTo>
                    <a:pt x="192" y="50"/>
                  </a:lnTo>
                  <a:lnTo>
                    <a:pt x="192" y="51"/>
                  </a:lnTo>
                  <a:lnTo>
                    <a:pt x="193" y="52"/>
                  </a:lnTo>
                  <a:lnTo>
                    <a:pt x="193" y="53"/>
                  </a:lnTo>
                  <a:lnTo>
                    <a:pt x="194" y="53"/>
                  </a:lnTo>
                  <a:lnTo>
                    <a:pt x="195" y="53"/>
                  </a:lnTo>
                  <a:lnTo>
                    <a:pt x="197" y="53"/>
                  </a:lnTo>
                  <a:lnTo>
                    <a:pt x="197" y="54"/>
                  </a:lnTo>
                  <a:lnTo>
                    <a:pt x="198" y="54"/>
                  </a:lnTo>
                  <a:lnTo>
                    <a:pt x="198" y="55"/>
                  </a:lnTo>
                  <a:lnTo>
                    <a:pt x="199" y="55"/>
                  </a:lnTo>
                  <a:lnTo>
                    <a:pt x="200" y="57"/>
                  </a:lnTo>
                  <a:lnTo>
                    <a:pt x="201" y="57"/>
                  </a:lnTo>
                  <a:lnTo>
                    <a:pt x="201" y="58"/>
                  </a:lnTo>
                  <a:lnTo>
                    <a:pt x="201" y="57"/>
                  </a:lnTo>
                  <a:lnTo>
                    <a:pt x="201" y="58"/>
                  </a:lnTo>
                  <a:lnTo>
                    <a:pt x="202" y="57"/>
                  </a:lnTo>
                  <a:lnTo>
                    <a:pt x="202" y="58"/>
                  </a:lnTo>
                  <a:lnTo>
                    <a:pt x="201" y="58"/>
                  </a:lnTo>
                  <a:lnTo>
                    <a:pt x="202" y="58"/>
                  </a:lnTo>
                  <a:lnTo>
                    <a:pt x="204" y="58"/>
                  </a:lnTo>
                  <a:lnTo>
                    <a:pt x="205" y="58"/>
                  </a:lnTo>
                  <a:lnTo>
                    <a:pt x="205" y="57"/>
                  </a:lnTo>
                  <a:lnTo>
                    <a:pt x="206" y="57"/>
                  </a:lnTo>
                  <a:lnTo>
                    <a:pt x="206" y="55"/>
                  </a:lnTo>
                  <a:lnTo>
                    <a:pt x="207" y="54"/>
                  </a:lnTo>
                  <a:lnTo>
                    <a:pt x="208" y="54"/>
                  </a:lnTo>
                  <a:lnTo>
                    <a:pt x="209" y="54"/>
                  </a:lnTo>
                  <a:lnTo>
                    <a:pt x="208" y="54"/>
                  </a:lnTo>
                  <a:lnTo>
                    <a:pt x="208" y="53"/>
                  </a:lnTo>
                  <a:lnTo>
                    <a:pt x="209" y="53"/>
                  </a:lnTo>
                  <a:lnTo>
                    <a:pt x="209" y="52"/>
                  </a:lnTo>
                  <a:lnTo>
                    <a:pt x="209" y="51"/>
                  </a:lnTo>
                  <a:lnTo>
                    <a:pt x="210" y="51"/>
                  </a:lnTo>
                  <a:lnTo>
                    <a:pt x="210" y="50"/>
                  </a:lnTo>
                  <a:lnTo>
                    <a:pt x="210" y="48"/>
                  </a:lnTo>
                  <a:lnTo>
                    <a:pt x="212" y="48"/>
                  </a:lnTo>
                  <a:lnTo>
                    <a:pt x="212" y="47"/>
                  </a:lnTo>
                  <a:lnTo>
                    <a:pt x="213" y="47"/>
                  </a:lnTo>
                  <a:lnTo>
                    <a:pt x="213" y="46"/>
                  </a:lnTo>
                  <a:lnTo>
                    <a:pt x="214" y="46"/>
                  </a:lnTo>
                  <a:lnTo>
                    <a:pt x="215" y="46"/>
                  </a:lnTo>
                  <a:lnTo>
                    <a:pt x="215" y="45"/>
                  </a:lnTo>
                  <a:lnTo>
                    <a:pt x="215" y="46"/>
                  </a:lnTo>
                  <a:lnTo>
                    <a:pt x="215" y="45"/>
                  </a:lnTo>
                  <a:lnTo>
                    <a:pt x="217" y="45"/>
                  </a:lnTo>
                  <a:lnTo>
                    <a:pt x="217" y="44"/>
                  </a:lnTo>
                  <a:lnTo>
                    <a:pt x="219" y="44"/>
                  </a:lnTo>
                  <a:lnTo>
                    <a:pt x="220" y="44"/>
                  </a:lnTo>
                  <a:lnTo>
                    <a:pt x="221" y="45"/>
                  </a:lnTo>
                  <a:lnTo>
                    <a:pt x="222" y="45"/>
                  </a:lnTo>
                  <a:lnTo>
                    <a:pt x="223" y="45"/>
                  </a:lnTo>
                  <a:lnTo>
                    <a:pt x="224" y="45"/>
                  </a:lnTo>
                  <a:lnTo>
                    <a:pt x="226" y="45"/>
                  </a:lnTo>
                  <a:lnTo>
                    <a:pt x="228" y="45"/>
                  </a:lnTo>
                  <a:lnTo>
                    <a:pt x="229" y="45"/>
                  </a:lnTo>
                  <a:lnTo>
                    <a:pt x="230" y="45"/>
                  </a:lnTo>
                  <a:lnTo>
                    <a:pt x="230" y="46"/>
                  </a:lnTo>
                  <a:lnTo>
                    <a:pt x="230" y="47"/>
                  </a:lnTo>
                  <a:lnTo>
                    <a:pt x="231" y="47"/>
                  </a:lnTo>
                  <a:lnTo>
                    <a:pt x="231" y="48"/>
                  </a:lnTo>
                  <a:lnTo>
                    <a:pt x="233" y="48"/>
                  </a:lnTo>
                  <a:lnTo>
                    <a:pt x="231" y="48"/>
                  </a:lnTo>
                  <a:lnTo>
                    <a:pt x="231" y="50"/>
                  </a:lnTo>
                  <a:lnTo>
                    <a:pt x="233" y="50"/>
                  </a:lnTo>
                  <a:lnTo>
                    <a:pt x="233" y="51"/>
                  </a:lnTo>
                  <a:lnTo>
                    <a:pt x="233" y="50"/>
                  </a:lnTo>
                  <a:lnTo>
                    <a:pt x="234" y="51"/>
                  </a:lnTo>
                  <a:lnTo>
                    <a:pt x="234" y="52"/>
                  </a:lnTo>
                  <a:lnTo>
                    <a:pt x="235" y="52"/>
                  </a:lnTo>
                  <a:lnTo>
                    <a:pt x="236" y="53"/>
                  </a:lnTo>
                  <a:lnTo>
                    <a:pt x="237" y="54"/>
                  </a:lnTo>
                  <a:lnTo>
                    <a:pt x="236" y="54"/>
                  </a:lnTo>
                  <a:lnTo>
                    <a:pt x="237" y="55"/>
                  </a:lnTo>
                  <a:lnTo>
                    <a:pt x="237" y="57"/>
                  </a:lnTo>
                  <a:lnTo>
                    <a:pt x="237" y="58"/>
                  </a:lnTo>
                  <a:lnTo>
                    <a:pt x="237" y="59"/>
                  </a:lnTo>
                  <a:lnTo>
                    <a:pt x="238" y="59"/>
                  </a:lnTo>
                  <a:lnTo>
                    <a:pt x="238" y="60"/>
                  </a:lnTo>
                  <a:lnTo>
                    <a:pt x="238" y="61"/>
                  </a:lnTo>
                  <a:lnTo>
                    <a:pt x="238" y="62"/>
                  </a:lnTo>
                  <a:lnTo>
                    <a:pt x="238" y="64"/>
                  </a:lnTo>
                  <a:lnTo>
                    <a:pt x="240" y="64"/>
                  </a:lnTo>
                  <a:lnTo>
                    <a:pt x="240" y="65"/>
                  </a:lnTo>
                  <a:lnTo>
                    <a:pt x="240" y="66"/>
                  </a:lnTo>
                  <a:lnTo>
                    <a:pt x="240" y="67"/>
                  </a:lnTo>
                  <a:lnTo>
                    <a:pt x="240" y="68"/>
                  </a:lnTo>
                  <a:lnTo>
                    <a:pt x="240" y="69"/>
                  </a:lnTo>
                  <a:lnTo>
                    <a:pt x="241" y="69"/>
                  </a:lnTo>
                  <a:lnTo>
                    <a:pt x="241" y="71"/>
                  </a:lnTo>
                  <a:lnTo>
                    <a:pt x="242" y="71"/>
                  </a:lnTo>
                  <a:lnTo>
                    <a:pt x="242" y="72"/>
                  </a:lnTo>
                  <a:lnTo>
                    <a:pt x="243" y="73"/>
                  </a:lnTo>
                  <a:lnTo>
                    <a:pt x="242" y="73"/>
                  </a:lnTo>
                  <a:lnTo>
                    <a:pt x="243" y="73"/>
                  </a:lnTo>
                  <a:lnTo>
                    <a:pt x="243" y="74"/>
                  </a:lnTo>
                  <a:lnTo>
                    <a:pt x="243" y="75"/>
                  </a:lnTo>
                  <a:lnTo>
                    <a:pt x="244" y="75"/>
                  </a:lnTo>
                  <a:lnTo>
                    <a:pt x="243" y="75"/>
                  </a:lnTo>
                  <a:lnTo>
                    <a:pt x="244" y="76"/>
                  </a:lnTo>
                  <a:lnTo>
                    <a:pt x="243" y="76"/>
                  </a:lnTo>
                  <a:lnTo>
                    <a:pt x="244" y="76"/>
                  </a:lnTo>
                  <a:lnTo>
                    <a:pt x="244" y="78"/>
                  </a:lnTo>
                  <a:lnTo>
                    <a:pt x="245" y="78"/>
                  </a:lnTo>
                  <a:lnTo>
                    <a:pt x="245" y="79"/>
                  </a:lnTo>
                  <a:lnTo>
                    <a:pt x="247" y="79"/>
                  </a:lnTo>
                  <a:lnTo>
                    <a:pt x="247" y="80"/>
                  </a:lnTo>
                  <a:lnTo>
                    <a:pt x="248" y="80"/>
                  </a:lnTo>
                  <a:lnTo>
                    <a:pt x="248" y="81"/>
                  </a:lnTo>
                  <a:lnTo>
                    <a:pt x="248" y="82"/>
                  </a:lnTo>
                  <a:lnTo>
                    <a:pt x="247" y="83"/>
                  </a:lnTo>
                  <a:lnTo>
                    <a:pt x="247" y="85"/>
                  </a:lnTo>
                  <a:lnTo>
                    <a:pt x="248" y="86"/>
                  </a:lnTo>
                  <a:lnTo>
                    <a:pt x="247" y="86"/>
                  </a:lnTo>
                  <a:lnTo>
                    <a:pt x="247" y="87"/>
                  </a:lnTo>
                  <a:lnTo>
                    <a:pt x="247" y="88"/>
                  </a:lnTo>
                  <a:lnTo>
                    <a:pt x="247" y="89"/>
                  </a:lnTo>
                  <a:lnTo>
                    <a:pt x="247" y="90"/>
                  </a:lnTo>
                  <a:lnTo>
                    <a:pt x="248" y="90"/>
                  </a:lnTo>
                  <a:lnTo>
                    <a:pt x="247" y="92"/>
                  </a:lnTo>
                  <a:lnTo>
                    <a:pt x="247" y="93"/>
                  </a:lnTo>
                  <a:lnTo>
                    <a:pt x="247" y="92"/>
                  </a:lnTo>
                  <a:lnTo>
                    <a:pt x="247" y="93"/>
                  </a:lnTo>
                  <a:lnTo>
                    <a:pt x="248" y="93"/>
                  </a:lnTo>
                  <a:lnTo>
                    <a:pt x="248" y="92"/>
                  </a:lnTo>
                  <a:lnTo>
                    <a:pt x="248" y="93"/>
                  </a:lnTo>
                  <a:lnTo>
                    <a:pt x="248" y="94"/>
                  </a:lnTo>
                  <a:lnTo>
                    <a:pt x="248" y="95"/>
                  </a:lnTo>
                  <a:lnTo>
                    <a:pt x="248" y="96"/>
                  </a:lnTo>
                  <a:lnTo>
                    <a:pt x="249" y="96"/>
                  </a:lnTo>
                  <a:lnTo>
                    <a:pt x="249" y="97"/>
                  </a:lnTo>
                  <a:lnTo>
                    <a:pt x="249" y="99"/>
                  </a:lnTo>
                  <a:lnTo>
                    <a:pt x="250" y="99"/>
                  </a:lnTo>
                  <a:lnTo>
                    <a:pt x="251" y="99"/>
                  </a:lnTo>
                  <a:lnTo>
                    <a:pt x="251" y="100"/>
                  </a:lnTo>
                  <a:lnTo>
                    <a:pt x="252" y="100"/>
                  </a:lnTo>
                  <a:lnTo>
                    <a:pt x="254" y="100"/>
                  </a:lnTo>
                  <a:lnTo>
                    <a:pt x="254" y="101"/>
                  </a:lnTo>
                  <a:lnTo>
                    <a:pt x="255" y="101"/>
                  </a:lnTo>
                  <a:lnTo>
                    <a:pt x="256" y="101"/>
                  </a:lnTo>
                  <a:lnTo>
                    <a:pt x="257" y="101"/>
                  </a:lnTo>
                  <a:lnTo>
                    <a:pt x="257" y="102"/>
                  </a:lnTo>
                  <a:lnTo>
                    <a:pt x="258" y="102"/>
                  </a:lnTo>
                  <a:lnTo>
                    <a:pt x="258" y="103"/>
                  </a:lnTo>
                  <a:lnTo>
                    <a:pt x="259" y="104"/>
                  </a:lnTo>
                  <a:lnTo>
                    <a:pt x="261" y="104"/>
                  </a:lnTo>
                  <a:lnTo>
                    <a:pt x="262" y="104"/>
                  </a:lnTo>
                  <a:lnTo>
                    <a:pt x="263" y="104"/>
                  </a:lnTo>
                  <a:lnTo>
                    <a:pt x="264" y="104"/>
                  </a:lnTo>
                  <a:lnTo>
                    <a:pt x="265" y="104"/>
                  </a:lnTo>
                  <a:lnTo>
                    <a:pt x="266" y="104"/>
                  </a:lnTo>
                  <a:lnTo>
                    <a:pt x="268" y="104"/>
                  </a:lnTo>
                  <a:lnTo>
                    <a:pt x="268" y="106"/>
                  </a:lnTo>
                  <a:lnTo>
                    <a:pt x="269" y="106"/>
                  </a:lnTo>
                  <a:lnTo>
                    <a:pt x="269" y="107"/>
                  </a:lnTo>
                  <a:lnTo>
                    <a:pt x="270" y="107"/>
                  </a:lnTo>
                  <a:lnTo>
                    <a:pt x="270" y="108"/>
                  </a:lnTo>
                  <a:lnTo>
                    <a:pt x="270" y="107"/>
                  </a:lnTo>
                  <a:lnTo>
                    <a:pt x="270" y="108"/>
                  </a:lnTo>
                  <a:lnTo>
                    <a:pt x="271" y="108"/>
                  </a:lnTo>
                  <a:lnTo>
                    <a:pt x="271" y="107"/>
                  </a:lnTo>
                  <a:lnTo>
                    <a:pt x="271" y="106"/>
                  </a:lnTo>
                  <a:lnTo>
                    <a:pt x="271" y="107"/>
                  </a:lnTo>
                  <a:lnTo>
                    <a:pt x="272" y="107"/>
                  </a:lnTo>
                  <a:lnTo>
                    <a:pt x="272" y="106"/>
                  </a:lnTo>
                  <a:lnTo>
                    <a:pt x="273" y="106"/>
                  </a:lnTo>
                  <a:lnTo>
                    <a:pt x="274" y="106"/>
                  </a:lnTo>
                  <a:lnTo>
                    <a:pt x="273" y="108"/>
                  </a:lnTo>
                  <a:lnTo>
                    <a:pt x="273" y="109"/>
                  </a:lnTo>
                  <a:lnTo>
                    <a:pt x="272" y="110"/>
                  </a:lnTo>
                  <a:lnTo>
                    <a:pt x="272" y="111"/>
                  </a:lnTo>
                  <a:lnTo>
                    <a:pt x="271" y="113"/>
                  </a:lnTo>
                  <a:lnTo>
                    <a:pt x="270" y="115"/>
                  </a:lnTo>
                  <a:lnTo>
                    <a:pt x="268" y="118"/>
                  </a:lnTo>
                  <a:lnTo>
                    <a:pt x="265" y="123"/>
                  </a:lnTo>
                  <a:lnTo>
                    <a:pt x="263" y="129"/>
                  </a:lnTo>
                  <a:lnTo>
                    <a:pt x="261" y="136"/>
                  </a:lnTo>
                  <a:lnTo>
                    <a:pt x="261" y="137"/>
                  </a:lnTo>
                  <a:lnTo>
                    <a:pt x="259" y="139"/>
                  </a:lnTo>
                  <a:lnTo>
                    <a:pt x="259" y="141"/>
                  </a:lnTo>
                  <a:lnTo>
                    <a:pt x="258" y="141"/>
                  </a:lnTo>
                  <a:lnTo>
                    <a:pt x="259" y="141"/>
                  </a:lnTo>
                  <a:lnTo>
                    <a:pt x="259" y="142"/>
                  </a:lnTo>
                  <a:lnTo>
                    <a:pt x="259" y="141"/>
                  </a:lnTo>
                  <a:lnTo>
                    <a:pt x="259" y="144"/>
                  </a:lnTo>
                  <a:lnTo>
                    <a:pt x="258" y="145"/>
                  </a:lnTo>
                  <a:lnTo>
                    <a:pt x="258" y="149"/>
                  </a:lnTo>
                  <a:lnTo>
                    <a:pt x="257" y="153"/>
                  </a:lnTo>
                  <a:lnTo>
                    <a:pt x="257" y="155"/>
                  </a:lnTo>
                  <a:lnTo>
                    <a:pt x="257" y="153"/>
                  </a:lnTo>
                  <a:lnTo>
                    <a:pt x="256" y="156"/>
                  </a:lnTo>
                  <a:lnTo>
                    <a:pt x="256" y="157"/>
                  </a:lnTo>
                  <a:lnTo>
                    <a:pt x="255" y="157"/>
                  </a:lnTo>
                  <a:lnTo>
                    <a:pt x="255" y="158"/>
                  </a:lnTo>
                  <a:lnTo>
                    <a:pt x="255" y="159"/>
                  </a:lnTo>
                  <a:lnTo>
                    <a:pt x="255" y="158"/>
                  </a:lnTo>
                  <a:lnTo>
                    <a:pt x="256" y="158"/>
                  </a:lnTo>
                  <a:lnTo>
                    <a:pt x="255" y="160"/>
                  </a:lnTo>
                  <a:lnTo>
                    <a:pt x="255" y="162"/>
                  </a:lnTo>
                  <a:lnTo>
                    <a:pt x="255" y="163"/>
                  </a:lnTo>
                  <a:lnTo>
                    <a:pt x="255" y="164"/>
                  </a:lnTo>
                  <a:lnTo>
                    <a:pt x="255" y="166"/>
                  </a:lnTo>
                  <a:lnTo>
                    <a:pt x="255" y="167"/>
                  </a:lnTo>
                  <a:lnTo>
                    <a:pt x="256" y="171"/>
                  </a:lnTo>
                  <a:lnTo>
                    <a:pt x="257" y="173"/>
                  </a:lnTo>
                  <a:lnTo>
                    <a:pt x="258" y="173"/>
                  </a:lnTo>
                  <a:lnTo>
                    <a:pt x="258" y="174"/>
                  </a:lnTo>
                  <a:lnTo>
                    <a:pt x="259" y="174"/>
                  </a:lnTo>
                  <a:lnTo>
                    <a:pt x="259" y="176"/>
                  </a:lnTo>
                  <a:lnTo>
                    <a:pt x="259" y="177"/>
                  </a:lnTo>
                  <a:lnTo>
                    <a:pt x="259" y="178"/>
                  </a:lnTo>
                  <a:lnTo>
                    <a:pt x="258" y="178"/>
                  </a:lnTo>
                  <a:lnTo>
                    <a:pt x="258" y="179"/>
                  </a:lnTo>
                  <a:lnTo>
                    <a:pt x="258" y="180"/>
                  </a:lnTo>
                  <a:lnTo>
                    <a:pt x="258" y="179"/>
                  </a:lnTo>
                  <a:lnTo>
                    <a:pt x="257" y="178"/>
                  </a:lnTo>
                  <a:lnTo>
                    <a:pt x="257" y="177"/>
                  </a:lnTo>
                  <a:lnTo>
                    <a:pt x="258" y="177"/>
                  </a:lnTo>
                  <a:lnTo>
                    <a:pt x="259" y="177"/>
                  </a:lnTo>
                  <a:lnTo>
                    <a:pt x="259" y="176"/>
                  </a:lnTo>
                  <a:lnTo>
                    <a:pt x="258" y="176"/>
                  </a:lnTo>
                  <a:lnTo>
                    <a:pt x="258" y="174"/>
                  </a:lnTo>
                  <a:lnTo>
                    <a:pt x="257" y="173"/>
                  </a:lnTo>
                  <a:lnTo>
                    <a:pt x="256" y="172"/>
                  </a:lnTo>
                  <a:lnTo>
                    <a:pt x="256" y="171"/>
                  </a:lnTo>
                  <a:lnTo>
                    <a:pt x="256" y="170"/>
                  </a:lnTo>
                  <a:lnTo>
                    <a:pt x="255" y="167"/>
                  </a:lnTo>
                  <a:lnTo>
                    <a:pt x="255" y="169"/>
                  </a:lnTo>
                  <a:lnTo>
                    <a:pt x="255" y="170"/>
                  </a:lnTo>
                  <a:lnTo>
                    <a:pt x="255" y="171"/>
                  </a:lnTo>
                  <a:lnTo>
                    <a:pt x="255" y="172"/>
                  </a:lnTo>
                  <a:lnTo>
                    <a:pt x="255" y="173"/>
                  </a:lnTo>
                  <a:lnTo>
                    <a:pt x="256" y="174"/>
                  </a:lnTo>
                  <a:lnTo>
                    <a:pt x="256" y="177"/>
                  </a:lnTo>
                  <a:lnTo>
                    <a:pt x="257" y="177"/>
                  </a:lnTo>
                  <a:lnTo>
                    <a:pt x="257" y="178"/>
                  </a:lnTo>
                  <a:lnTo>
                    <a:pt x="257" y="180"/>
                  </a:lnTo>
                  <a:lnTo>
                    <a:pt x="258" y="180"/>
                  </a:lnTo>
                  <a:lnTo>
                    <a:pt x="258" y="181"/>
                  </a:lnTo>
                  <a:lnTo>
                    <a:pt x="258" y="184"/>
                  </a:lnTo>
                  <a:lnTo>
                    <a:pt x="259" y="185"/>
                  </a:lnTo>
                  <a:lnTo>
                    <a:pt x="259" y="187"/>
                  </a:lnTo>
                  <a:lnTo>
                    <a:pt x="259" y="188"/>
                  </a:lnTo>
                  <a:lnTo>
                    <a:pt x="259" y="190"/>
                  </a:lnTo>
                  <a:lnTo>
                    <a:pt x="262" y="192"/>
                  </a:lnTo>
                  <a:lnTo>
                    <a:pt x="262" y="193"/>
                  </a:lnTo>
                  <a:lnTo>
                    <a:pt x="263" y="193"/>
                  </a:lnTo>
                  <a:lnTo>
                    <a:pt x="263" y="194"/>
                  </a:lnTo>
                  <a:lnTo>
                    <a:pt x="264" y="195"/>
                  </a:lnTo>
                  <a:lnTo>
                    <a:pt x="264" y="197"/>
                  </a:lnTo>
                  <a:lnTo>
                    <a:pt x="265" y="197"/>
                  </a:lnTo>
                  <a:lnTo>
                    <a:pt x="265" y="198"/>
                  </a:lnTo>
                  <a:lnTo>
                    <a:pt x="265" y="199"/>
                  </a:lnTo>
                  <a:lnTo>
                    <a:pt x="266" y="200"/>
                  </a:lnTo>
                  <a:lnTo>
                    <a:pt x="268" y="201"/>
                  </a:lnTo>
                  <a:lnTo>
                    <a:pt x="268" y="202"/>
                  </a:lnTo>
                  <a:lnTo>
                    <a:pt x="268" y="204"/>
                  </a:lnTo>
                  <a:lnTo>
                    <a:pt x="268" y="206"/>
                  </a:lnTo>
                  <a:lnTo>
                    <a:pt x="269" y="207"/>
                  </a:lnTo>
                  <a:lnTo>
                    <a:pt x="269" y="208"/>
                  </a:lnTo>
                  <a:lnTo>
                    <a:pt x="269" y="209"/>
                  </a:lnTo>
                  <a:lnTo>
                    <a:pt x="269" y="211"/>
                  </a:lnTo>
                  <a:lnTo>
                    <a:pt x="270" y="212"/>
                  </a:lnTo>
                  <a:lnTo>
                    <a:pt x="270" y="213"/>
                  </a:lnTo>
                  <a:lnTo>
                    <a:pt x="271" y="212"/>
                  </a:lnTo>
                  <a:lnTo>
                    <a:pt x="271" y="213"/>
                  </a:lnTo>
                  <a:lnTo>
                    <a:pt x="271" y="214"/>
                  </a:lnTo>
                  <a:lnTo>
                    <a:pt x="271" y="215"/>
                  </a:lnTo>
                  <a:lnTo>
                    <a:pt x="272" y="215"/>
                  </a:lnTo>
                  <a:lnTo>
                    <a:pt x="272" y="216"/>
                  </a:lnTo>
                  <a:lnTo>
                    <a:pt x="272" y="218"/>
                  </a:lnTo>
                  <a:lnTo>
                    <a:pt x="273" y="218"/>
                  </a:lnTo>
                  <a:lnTo>
                    <a:pt x="273" y="219"/>
                  </a:lnTo>
                  <a:lnTo>
                    <a:pt x="274" y="219"/>
                  </a:lnTo>
                  <a:lnTo>
                    <a:pt x="274" y="220"/>
                  </a:lnTo>
                  <a:lnTo>
                    <a:pt x="273" y="219"/>
                  </a:lnTo>
                  <a:lnTo>
                    <a:pt x="272" y="218"/>
                  </a:lnTo>
                  <a:lnTo>
                    <a:pt x="272" y="219"/>
                  </a:lnTo>
                  <a:lnTo>
                    <a:pt x="273" y="219"/>
                  </a:lnTo>
                  <a:lnTo>
                    <a:pt x="273" y="220"/>
                  </a:lnTo>
                  <a:lnTo>
                    <a:pt x="274" y="220"/>
                  </a:lnTo>
                  <a:lnTo>
                    <a:pt x="276" y="220"/>
                  </a:lnTo>
                  <a:lnTo>
                    <a:pt x="276" y="221"/>
                  </a:lnTo>
                  <a:lnTo>
                    <a:pt x="277" y="221"/>
                  </a:lnTo>
                  <a:lnTo>
                    <a:pt x="276" y="220"/>
                  </a:lnTo>
                  <a:lnTo>
                    <a:pt x="274" y="220"/>
                  </a:lnTo>
                  <a:lnTo>
                    <a:pt x="274" y="219"/>
                  </a:lnTo>
                  <a:lnTo>
                    <a:pt x="276" y="220"/>
                  </a:lnTo>
                  <a:lnTo>
                    <a:pt x="277" y="220"/>
                  </a:lnTo>
                  <a:lnTo>
                    <a:pt x="278" y="221"/>
                  </a:lnTo>
                  <a:lnTo>
                    <a:pt x="280" y="221"/>
                  </a:lnTo>
                  <a:lnTo>
                    <a:pt x="281" y="220"/>
                  </a:lnTo>
                  <a:lnTo>
                    <a:pt x="281" y="221"/>
                  </a:lnTo>
                  <a:lnTo>
                    <a:pt x="283" y="221"/>
                  </a:lnTo>
                  <a:lnTo>
                    <a:pt x="284" y="222"/>
                  </a:lnTo>
                  <a:lnTo>
                    <a:pt x="285" y="223"/>
                  </a:lnTo>
                  <a:lnTo>
                    <a:pt x="286" y="223"/>
                  </a:lnTo>
                  <a:lnTo>
                    <a:pt x="287" y="223"/>
                  </a:lnTo>
                  <a:lnTo>
                    <a:pt x="287" y="225"/>
                  </a:lnTo>
                  <a:lnTo>
                    <a:pt x="287" y="226"/>
                  </a:lnTo>
                  <a:lnTo>
                    <a:pt x="288" y="226"/>
                  </a:lnTo>
                  <a:lnTo>
                    <a:pt x="288" y="227"/>
                  </a:lnTo>
                  <a:lnTo>
                    <a:pt x="290" y="227"/>
                  </a:lnTo>
                  <a:lnTo>
                    <a:pt x="290" y="229"/>
                  </a:lnTo>
                  <a:lnTo>
                    <a:pt x="291" y="229"/>
                  </a:lnTo>
                  <a:lnTo>
                    <a:pt x="292" y="229"/>
                  </a:lnTo>
                  <a:lnTo>
                    <a:pt x="293" y="229"/>
                  </a:lnTo>
                  <a:lnTo>
                    <a:pt x="294" y="229"/>
                  </a:lnTo>
                  <a:lnTo>
                    <a:pt x="295" y="228"/>
                  </a:lnTo>
                  <a:lnTo>
                    <a:pt x="297" y="228"/>
                  </a:lnTo>
                  <a:lnTo>
                    <a:pt x="298" y="228"/>
                  </a:lnTo>
                  <a:lnTo>
                    <a:pt x="298" y="227"/>
                  </a:lnTo>
                  <a:lnTo>
                    <a:pt x="300" y="227"/>
                  </a:lnTo>
                  <a:lnTo>
                    <a:pt x="299" y="227"/>
                  </a:lnTo>
                  <a:lnTo>
                    <a:pt x="299" y="228"/>
                  </a:lnTo>
                  <a:lnTo>
                    <a:pt x="300" y="228"/>
                  </a:lnTo>
                  <a:lnTo>
                    <a:pt x="300" y="227"/>
                  </a:lnTo>
                  <a:lnTo>
                    <a:pt x="301" y="227"/>
                  </a:lnTo>
                  <a:lnTo>
                    <a:pt x="302" y="226"/>
                  </a:lnTo>
                  <a:lnTo>
                    <a:pt x="302" y="227"/>
                  </a:lnTo>
                  <a:lnTo>
                    <a:pt x="304" y="226"/>
                  </a:lnTo>
                  <a:lnTo>
                    <a:pt x="304" y="225"/>
                  </a:lnTo>
                  <a:lnTo>
                    <a:pt x="304" y="226"/>
                  </a:lnTo>
                  <a:lnTo>
                    <a:pt x="302" y="226"/>
                  </a:lnTo>
                  <a:lnTo>
                    <a:pt x="301" y="226"/>
                  </a:lnTo>
                  <a:lnTo>
                    <a:pt x="301" y="227"/>
                  </a:lnTo>
                  <a:lnTo>
                    <a:pt x="300" y="227"/>
                  </a:lnTo>
                  <a:lnTo>
                    <a:pt x="300" y="226"/>
                  </a:lnTo>
                  <a:lnTo>
                    <a:pt x="301" y="226"/>
                  </a:lnTo>
                  <a:lnTo>
                    <a:pt x="304" y="225"/>
                  </a:lnTo>
                  <a:lnTo>
                    <a:pt x="306" y="225"/>
                  </a:lnTo>
                  <a:lnTo>
                    <a:pt x="307" y="225"/>
                  </a:lnTo>
                  <a:lnTo>
                    <a:pt x="309" y="225"/>
                  </a:lnTo>
                  <a:lnTo>
                    <a:pt x="309" y="226"/>
                  </a:lnTo>
                  <a:lnTo>
                    <a:pt x="309" y="227"/>
                  </a:lnTo>
                  <a:lnTo>
                    <a:pt x="311" y="226"/>
                  </a:lnTo>
                  <a:lnTo>
                    <a:pt x="311" y="225"/>
                  </a:lnTo>
                  <a:lnTo>
                    <a:pt x="309" y="225"/>
                  </a:lnTo>
                  <a:lnTo>
                    <a:pt x="311" y="225"/>
                  </a:lnTo>
                  <a:lnTo>
                    <a:pt x="313" y="225"/>
                  </a:lnTo>
                  <a:lnTo>
                    <a:pt x="314" y="225"/>
                  </a:lnTo>
                  <a:lnTo>
                    <a:pt x="314" y="223"/>
                  </a:lnTo>
                  <a:lnTo>
                    <a:pt x="315" y="223"/>
                  </a:lnTo>
                  <a:lnTo>
                    <a:pt x="315" y="222"/>
                  </a:lnTo>
                  <a:lnTo>
                    <a:pt x="316" y="222"/>
                  </a:lnTo>
                  <a:lnTo>
                    <a:pt x="316" y="223"/>
                  </a:lnTo>
                  <a:lnTo>
                    <a:pt x="316" y="225"/>
                  </a:lnTo>
                  <a:lnTo>
                    <a:pt x="316" y="223"/>
                  </a:lnTo>
                  <a:lnTo>
                    <a:pt x="316" y="222"/>
                  </a:lnTo>
                  <a:lnTo>
                    <a:pt x="318" y="222"/>
                  </a:lnTo>
                  <a:lnTo>
                    <a:pt x="319" y="221"/>
                  </a:lnTo>
                  <a:lnTo>
                    <a:pt x="320" y="221"/>
                  </a:lnTo>
                  <a:lnTo>
                    <a:pt x="322" y="221"/>
                  </a:lnTo>
                  <a:lnTo>
                    <a:pt x="323" y="221"/>
                  </a:lnTo>
                  <a:lnTo>
                    <a:pt x="326" y="221"/>
                  </a:lnTo>
                  <a:lnTo>
                    <a:pt x="327" y="221"/>
                  </a:lnTo>
                  <a:lnTo>
                    <a:pt x="328" y="222"/>
                  </a:lnTo>
                  <a:lnTo>
                    <a:pt x="327" y="222"/>
                  </a:lnTo>
                  <a:lnTo>
                    <a:pt x="328" y="222"/>
                  </a:lnTo>
                  <a:lnTo>
                    <a:pt x="327" y="222"/>
                  </a:lnTo>
                  <a:lnTo>
                    <a:pt x="326" y="222"/>
                  </a:lnTo>
                  <a:lnTo>
                    <a:pt x="325" y="223"/>
                  </a:lnTo>
                  <a:lnTo>
                    <a:pt x="326" y="223"/>
                  </a:lnTo>
                  <a:lnTo>
                    <a:pt x="327" y="223"/>
                  </a:lnTo>
                  <a:lnTo>
                    <a:pt x="326" y="223"/>
                  </a:lnTo>
                  <a:lnTo>
                    <a:pt x="326" y="222"/>
                  </a:lnTo>
                  <a:lnTo>
                    <a:pt x="327" y="222"/>
                  </a:lnTo>
                  <a:lnTo>
                    <a:pt x="327" y="223"/>
                  </a:lnTo>
                  <a:lnTo>
                    <a:pt x="328" y="223"/>
                  </a:lnTo>
                  <a:lnTo>
                    <a:pt x="328" y="225"/>
                  </a:lnTo>
                  <a:lnTo>
                    <a:pt x="327" y="225"/>
                  </a:lnTo>
                  <a:lnTo>
                    <a:pt x="328" y="225"/>
                  </a:lnTo>
                  <a:lnTo>
                    <a:pt x="328" y="226"/>
                  </a:lnTo>
                  <a:lnTo>
                    <a:pt x="328" y="225"/>
                  </a:lnTo>
                  <a:lnTo>
                    <a:pt x="329" y="225"/>
                  </a:lnTo>
                  <a:lnTo>
                    <a:pt x="328" y="225"/>
                  </a:lnTo>
                  <a:lnTo>
                    <a:pt x="328" y="223"/>
                  </a:lnTo>
                  <a:lnTo>
                    <a:pt x="329" y="225"/>
                  </a:lnTo>
                  <a:lnTo>
                    <a:pt x="330" y="225"/>
                  </a:lnTo>
                  <a:lnTo>
                    <a:pt x="332" y="225"/>
                  </a:lnTo>
                  <a:lnTo>
                    <a:pt x="333" y="225"/>
                  </a:lnTo>
                  <a:lnTo>
                    <a:pt x="333" y="223"/>
                  </a:lnTo>
                  <a:lnTo>
                    <a:pt x="333" y="225"/>
                  </a:lnTo>
                  <a:lnTo>
                    <a:pt x="332" y="225"/>
                  </a:lnTo>
                  <a:lnTo>
                    <a:pt x="333" y="223"/>
                  </a:lnTo>
                  <a:lnTo>
                    <a:pt x="334" y="223"/>
                  </a:lnTo>
                  <a:lnTo>
                    <a:pt x="335" y="223"/>
                  </a:lnTo>
                  <a:lnTo>
                    <a:pt x="335" y="222"/>
                  </a:lnTo>
                  <a:lnTo>
                    <a:pt x="336" y="222"/>
                  </a:lnTo>
                  <a:lnTo>
                    <a:pt x="337" y="221"/>
                  </a:lnTo>
                  <a:lnTo>
                    <a:pt x="336" y="221"/>
                  </a:lnTo>
                  <a:lnTo>
                    <a:pt x="335" y="222"/>
                  </a:lnTo>
                  <a:lnTo>
                    <a:pt x="336" y="221"/>
                  </a:lnTo>
                  <a:lnTo>
                    <a:pt x="336" y="220"/>
                  </a:lnTo>
                  <a:lnTo>
                    <a:pt x="336" y="219"/>
                  </a:lnTo>
                  <a:lnTo>
                    <a:pt x="335" y="219"/>
                  </a:lnTo>
                  <a:lnTo>
                    <a:pt x="335" y="220"/>
                  </a:lnTo>
                  <a:lnTo>
                    <a:pt x="335" y="219"/>
                  </a:lnTo>
                  <a:lnTo>
                    <a:pt x="334" y="219"/>
                  </a:lnTo>
                  <a:lnTo>
                    <a:pt x="335" y="219"/>
                  </a:lnTo>
                  <a:lnTo>
                    <a:pt x="335" y="218"/>
                  </a:lnTo>
                  <a:lnTo>
                    <a:pt x="336" y="218"/>
                  </a:lnTo>
                  <a:lnTo>
                    <a:pt x="337" y="216"/>
                  </a:lnTo>
                  <a:lnTo>
                    <a:pt x="336" y="216"/>
                  </a:lnTo>
                  <a:lnTo>
                    <a:pt x="336" y="218"/>
                  </a:lnTo>
                  <a:lnTo>
                    <a:pt x="335" y="218"/>
                  </a:lnTo>
                  <a:lnTo>
                    <a:pt x="334" y="219"/>
                  </a:lnTo>
                  <a:lnTo>
                    <a:pt x="333" y="219"/>
                  </a:lnTo>
                  <a:lnTo>
                    <a:pt x="334" y="219"/>
                  </a:lnTo>
                  <a:lnTo>
                    <a:pt x="334" y="218"/>
                  </a:lnTo>
                  <a:lnTo>
                    <a:pt x="335" y="218"/>
                  </a:lnTo>
                  <a:lnTo>
                    <a:pt x="336" y="216"/>
                  </a:lnTo>
                  <a:lnTo>
                    <a:pt x="338" y="215"/>
                  </a:lnTo>
                  <a:lnTo>
                    <a:pt x="340" y="214"/>
                  </a:lnTo>
                  <a:lnTo>
                    <a:pt x="341" y="214"/>
                  </a:lnTo>
                  <a:lnTo>
                    <a:pt x="342" y="213"/>
                  </a:lnTo>
                  <a:lnTo>
                    <a:pt x="343" y="212"/>
                  </a:lnTo>
                  <a:lnTo>
                    <a:pt x="344" y="211"/>
                  </a:lnTo>
                  <a:lnTo>
                    <a:pt x="345" y="209"/>
                  </a:lnTo>
                  <a:lnTo>
                    <a:pt x="345" y="207"/>
                  </a:lnTo>
                  <a:lnTo>
                    <a:pt x="345" y="206"/>
                  </a:lnTo>
                  <a:lnTo>
                    <a:pt x="345" y="205"/>
                  </a:lnTo>
                  <a:lnTo>
                    <a:pt x="347" y="204"/>
                  </a:lnTo>
                  <a:lnTo>
                    <a:pt x="348" y="202"/>
                  </a:lnTo>
                  <a:lnTo>
                    <a:pt x="349" y="202"/>
                  </a:lnTo>
                  <a:lnTo>
                    <a:pt x="350" y="201"/>
                  </a:lnTo>
                  <a:lnTo>
                    <a:pt x="350" y="200"/>
                  </a:lnTo>
                  <a:lnTo>
                    <a:pt x="350" y="199"/>
                  </a:lnTo>
                  <a:lnTo>
                    <a:pt x="350" y="197"/>
                  </a:lnTo>
                  <a:lnTo>
                    <a:pt x="350" y="195"/>
                  </a:lnTo>
                  <a:lnTo>
                    <a:pt x="350" y="194"/>
                  </a:lnTo>
                  <a:lnTo>
                    <a:pt x="350" y="193"/>
                  </a:lnTo>
                  <a:lnTo>
                    <a:pt x="350" y="192"/>
                  </a:lnTo>
                  <a:lnTo>
                    <a:pt x="351" y="192"/>
                  </a:lnTo>
                  <a:lnTo>
                    <a:pt x="351" y="191"/>
                  </a:lnTo>
                  <a:lnTo>
                    <a:pt x="351" y="188"/>
                  </a:lnTo>
                  <a:lnTo>
                    <a:pt x="352" y="187"/>
                  </a:lnTo>
                  <a:lnTo>
                    <a:pt x="354" y="186"/>
                  </a:lnTo>
                  <a:lnTo>
                    <a:pt x="354" y="185"/>
                  </a:lnTo>
                  <a:lnTo>
                    <a:pt x="354" y="186"/>
                  </a:lnTo>
                  <a:lnTo>
                    <a:pt x="352" y="186"/>
                  </a:lnTo>
                  <a:lnTo>
                    <a:pt x="352" y="187"/>
                  </a:lnTo>
                  <a:lnTo>
                    <a:pt x="354" y="184"/>
                  </a:lnTo>
                  <a:lnTo>
                    <a:pt x="356" y="183"/>
                  </a:lnTo>
                  <a:lnTo>
                    <a:pt x="357" y="183"/>
                  </a:lnTo>
                  <a:lnTo>
                    <a:pt x="357" y="181"/>
                  </a:lnTo>
                  <a:lnTo>
                    <a:pt x="358" y="181"/>
                  </a:lnTo>
                  <a:lnTo>
                    <a:pt x="359" y="181"/>
                  </a:lnTo>
                  <a:lnTo>
                    <a:pt x="361" y="180"/>
                  </a:lnTo>
                  <a:lnTo>
                    <a:pt x="362" y="180"/>
                  </a:lnTo>
                  <a:lnTo>
                    <a:pt x="364" y="179"/>
                  </a:lnTo>
                  <a:lnTo>
                    <a:pt x="366" y="179"/>
                  </a:lnTo>
                  <a:lnTo>
                    <a:pt x="369" y="179"/>
                  </a:lnTo>
                  <a:lnTo>
                    <a:pt x="370" y="178"/>
                  </a:lnTo>
                  <a:lnTo>
                    <a:pt x="371" y="178"/>
                  </a:lnTo>
                  <a:lnTo>
                    <a:pt x="371" y="179"/>
                  </a:lnTo>
                  <a:lnTo>
                    <a:pt x="371" y="178"/>
                  </a:lnTo>
                  <a:lnTo>
                    <a:pt x="372" y="178"/>
                  </a:lnTo>
                  <a:lnTo>
                    <a:pt x="373" y="178"/>
                  </a:lnTo>
                  <a:lnTo>
                    <a:pt x="375" y="178"/>
                  </a:lnTo>
                  <a:lnTo>
                    <a:pt x="376" y="178"/>
                  </a:lnTo>
                  <a:lnTo>
                    <a:pt x="377" y="177"/>
                  </a:lnTo>
                  <a:lnTo>
                    <a:pt x="378" y="177"/>
                  </a:lnTo>
                  <a:lnTo>
                    <a:pt x="379" y="176"/>
                  </a:lnTo>
                  <a:lnTo>
                    <a:pt x="380" y="176"/>
                  </a:lnTo>
                  <a:lnTo>
                    <a:pt x="382" y="176"/>
                  </a:lnTo>
                  <a:lnTo>
                    <a:pt x="383" y="176"/>
                  </a:lnTo>
                  <a:lnTo>
                    <a:pt x="384" y="176"/>
                  </a:lnTo>
                  <a:lnTo>
                    <a:pt x="385" y="176"/>
                  </a:lnTo>
                  <a:lnTo>
                    <a:pt x="385" y="174"/>
                  </a:lnTo>
                  <a:lnTo>
                    <a:pt x="386" y="174"/>
                  </a:lnTo>
                  <a:lnTo>
                    <a:pt x="385" y="174"/>
                  </a:lnTo>
                  <a:lnTo>
                    <a:pt x="385" y="176"/>
                  </a:lnTo>
                  <a:lnTo>
                    <a:pt x="384" y="176"/>
                  </a:lnTo>
                  <a:lnTo>
                    <a:pt x="384" y="174"/>
                  </a:lnTo>
                  <a:lnTo>
                    <a:pt x="385" y="174"/>
                  </a:lnTo>
                  <a:lnTo>
                    <a:pt x="386" y="174"/>
                  </a:lnTo>
                  <a:lnTo>
                    <a:pt x="387" y="174"/>
                  </a:lnTo>
                  <a:lnTo>
                    <a:pt x="389" y="176"/>
                  </a:lnTo>
                  <a:lnTo>
                    <a:pt x="390" y="176"/>
                  </a:lnTo>
                  <a:lnTo>
                    <a:pt x="391" y="176"/>
                  </a:lnTo>
                  <a:lnTo>
                    <a:pt x="390" y="176"/>
                  </a:lnTo>
                  <a:lnTo>
                    <a:pt x="389" y="176"/>
                  </a:lnTo>
                  <a:lnTo>
                    <a:pt x="390" y="176"/>
                  </a:lnTo>
                  <a:lnTo>
                    <a:pt x="391" y="177"/>
                  </a:lnTo>
                  <a:lnTo>
                    <a:pt x="392" y="177"/>
                  </a:lnTo>
                  <a:lnTo>
                    <a:pt x="391" y="176"/>
                  </a:lnTo>
                  <a:lnTo>
                    <a:pt x="392" y="176"/>
                  </a:lnTo>
                  <a:lnTo>
                    <a:pt x="393" y="177"/>
                  </a:lnTo>
                  <a:lnTo>
                    <a:pt x="394" y="177"/>
                  </a:lnTo>
                  <a:lnTo>
                    <a:pt x="393" y="177"/>
                  </a:lnTo>
                  <a:lnTo>
                    <a:pt x="394" y="177"/>
                  </a:lnTo>
                  <a:lnTo>
                    <a:pt x="396" y="177"/>
                  </a:lnTo>
                  <a:lnTo>
                    <a:pt x="397" y="177"/>
                  </a:lnTo>
                  <a:lnTo>
                    <a:pt x="398" y="177"/>
                  </a:lnTo>
                  <a:lnTo>
                    <a:pt x="399" y="177"/>
                  </a:lnTo>
                  <a:lnTo>
                    <a:pt x="399" y="176"/>
                  </a:lnTo>
                  <a:lnTo>
                    <a:pt x="398" y="176"/>
                  </a:lnTo>
                  <a:lnTo>
                    <a:pt x="397" y="176"/>
                  </a:lnTo>
                  <a:lnTo>
                    <a:pt x="396" y="176"/>
                  </a:lnTo>
                  <a:lnTo>
                    <a:pt x="396" y="177"/>
                  </a:lnTo>
                  <a:lnTo>
                    <a:pt x="396" y="176"/>
                  </a:lnTo>
                  <a:lnTo>
                    <a:pt x="397" y="176"/>
                  </a:lnTo>
                  <a:lnTo>
                    <a:pt x="398" y="176"/>
                  </a:lnTo>
                  <a:lnTo>
                    <a:pt x="399" y="174"/>
                  </a:lnTo>
                  <a:lnTo>
                    <a:pt x="400" y="174"/>
                  </a:lnTo>
                  <a:lnTo>
                    <a:pt x="401" y="176"/>
                  </a:lnTo>
                  <a:lnTo>
                    <a:pt x="401" y="177"/>
                  </a:lnTo>
                  <a:lnTo>
                    <a:pt x="401" y="178"/>
                  </a:lnTo>
                  <a:lnTo>
                    <a:pt x="401" y="177"/>
                  </a:lnTo>
                  <a:lnTo>
                    <a:pt x="402" y="177"/>
                  </a:lnTo>
                  <a:lnTo>
                    <a:pt x="402" y="178"/>
                  </a:lnTo>
                  <a:lnTo>
                    <a:pt x="402" y="179"/>
                  </a:lnTo>
                  <a:lnTo>
                    <a:pt x="402" y="180"/>
                  </a:lnTo>
                  <a:lnTo>
                    <a:pt x="402" y="181"/>
                  </a:lnTo>
                  <a:lnTo>
                    <a:pt x="404" y="181"/>
                  </a:lnTo>
                  <a:lnTo>
                    <a:pt x="402" y="183"/>
                  </a:lnTo>
                  <a:lnTo>
                    <a:pt x="402" y="184"/>
                  </a:lnTo>
                  <a:lnTo>
                    <a:pt x="401" y="184"/>
                  </a:lnTo>
                  <a:lnTo>
                    <a:pt x="401" y="185"/>
                  </a:lnTo>
                  <a:lnTo>
                    <a:pt x="401" y="186"/>
                  </a:lnTo>
                  <a:lnTo>
                    <a:pt x="400" y="188"/>
                  </a:lnTo>
                  <a:lnTo>
                    <a:pt x="398" y="190"/>
                  </a:lnTo>
                  <a:lnTo>
                    <a:pt x="398" y="191"/>
                  </a:lnTo>
                  <a:lnTo>
                    <a:pt x="397" y="191"/>
                  </a:lnTo>
                  <a:lnTo>
                    <a:pt x="396" y="192"/>
                  </a:lnTo>
                  <a:lnTo>
                    <a:pt x="393" y="195"/>
                  </a:lnTo>
                  <a:lnTo>
                    <a:pt x="392" y="197"/>
                  </a:lnTo>
                  <a:lnTo>
                    <a:pt x="391" y="198"/>
                  </a:lnTo>
                  <a:lnTo>
                    <a:pt x="391" y="199"/>
                  </a:lnTo>
                  <a:lnTo>
                    <a:pt x="391" y="200"/>
                  </a:lnTo>
                  <a:lnTo>
                    <a:pt x="391" y="201"/>
                  </a:lnTo>
                  <a:lnTo>
                    <a:pt x="391" y="202"/>
                  </a:lnTo>
                  <a:lnTo>
                    <a:pt x="391" y="204"/>
                  </a:lnTo>
                  <a:lnTo>
                    <a:pt x="391" y="202"/>
                  </a:lnTo>
                  <a:lnTo>
                    <a:pt x="391" y="201"/>
                  </a:lnTo>
                  <a:lnTo>
                    <a:pt x="391" y="200"/>
                  </a:lnTo>
                  <a:lnTo>
                    <a:pt x="391" y="201"/>
                  </a:lnTo>
                  <a:lnTo>
                    <a:pt x="391" y="202"/>
                  </a:lnTo>
                  <a:lnTo>
                    <a:pt x="391" y="201"/>
                  </a:lnTo>
                  <a:lnTo>
                    <a:pt x="390" y="202"/>
                  </a:lnTo>
                  <a:lnTo>
                    <a:pt x="390" y="204"/>
                  </a:lnTo>
                  <a:lnTo>
                    <a:pt x="390" y="202"/>
                  </a:lnTo>
                  <a:lnTo>
                    <a:pt x="390" y="204"/>
                  </a:lnTo>
                  <a:lnTo>
                    <a:pt x="389" y="204"/>
                  </a:lnTo>
                  <a:lnTo>
                    <a:pt x="389" y="205"/>
                  </a:lnTo>
                  <a:lnTo>
                    <a:pt x="387" y="205"/>
                  </a:lnTo>
                  <a:lnTo>
                    <a:pt x="387" y="206"/>
                  </a:lnTo>
                  <a:lnTo>
                    <a:pt x="387" y="205"/>
                  </a:lnTo>
                  <a:lnTo>
                    <a:pt x="386" y="205"/>
                  </a:lnTo>
                  <a:lnTo>
                    <a:pt x="386" y="206"/>
                  </a:lnTo>
                  <a:lnTo>
                    <a:pt x="387" y="207"/>
                  </a:lnTo>
                  <a:lnTo>
                    <a:pt x="387" y="208"/>
                  </a:lnTo>
                  <a:lnTo>
                    <a:pt x="387" y="207"/>
                  </a:lnTo>
                  <a:lnTo>
                    <a:pt x="389" y="207"/>
                  </a:lnTo>
                  <a:lnTo>
                    <a:pt x="390" y="207"/>
                  </a:lnTo>
                  <a:lnTo>
                    <a:pt x="391" y="207"/>
                  </a:lnTo>
                  <a:lnTo>
                    <a:pt x="391" y="206"/>
                  </a:lnTo>
                  <a:lnTo>
                    <a:pt x="391" y="207"/>
                  </a:lnTo>
                  <a:lnTo>
                    <a:pt x="390" y="207"/>
                  </a:lnTo>
                  <a:lnTo>
                    <a:pt x="391" y="207"/>
                  </a:lnTo>
                  <a:lnTo>
                    <a:pt x="391" y="206"/>
                  </a:lnTo>
                  <a:lnTo>
                    <a:pt x="391" y="207"/>
                  </a:lnTo>
                  <a:lnTo>
                    <a:pt x="391" y="208"/>
                  </a:lnTo>
                  <a:lnTo>
                    <a:pt x="390" y="208"/>
                  </a:lnTo>
                  <a:lnTo>
                    <a:pt x="390" y="209"/>
                  </a:lnTo>
                  <a:lnTo>
                    <a:pt x="389" y="209"/>
                  </a:lnTo>
                  <a:lnTo>
                    <a:pt x="387" y="209"/>
                  </a:lnTo>
                  <a:lnTo>
                    <a:pt x="387" y="211"/>
                  </a:lnTo>
                  <a:lnTo>
                    <a:pt x="386" y="211"/>
                  </a:lnTo>
                  <a:lnTo>
                    <a:pt x="387" y="211"/>
                  </a:lnTo>
                  <a:lnTo>
                    <a:pt x="386" y="212"/>
                  </a:lnTo>
                  <a:lnTo>
                    <a:pt x="387" y="213"/>
                  </a:lnTo>
                  <a:lnTo>
                    <a:pt x="387" y="212"/>
                  </a:lnTo>
                  <a:lnTo>
                    <a:pt x="389" y="211"/>
                  </a:lnTo>
                  <a:lnTo>
                    <a:pt x="390" y="211"/>
                  </a:lnTo>
                  <a:lnTo>
                    <a:pt x="389" y="212"/>
                  </a:lnTo>
                  <a:lnTo>
                    <a:pt x="390" y="211"/>
                  </a:lnTo>
                  <a:lnTo>
                    <a:pt x="389" y="212"/>
                  </a:lnTo>
                  <a:lnTo>
                    <a:pt x="389" y="213"/>
                  </a:lnTo>
                  <a:lnTo>
                    <a:pt x="389" y="214"/>
                  </a:lnTo>
                  <a:lnTo>
                    <a:pt x="387" y="214"/>
                  </a:lnTo>
                  <a:lnTo>
                    <a:pt x="387" y="215"/>
                  </a:lnTo>
                  <a:lnTo>
                    <a:pt x="386" y="218"/>
                  </a:lnTo>
                  <a:lnTo>
                    <a:pt x="386" y="220"/>
                  </a:lnTo>
                  <a:lnTo>
                    <a:pt x="385" y="220"/>
                  </a:lnTo>
                  <a:lnTo>
                    <a:pt x="385" y="221"/>
                  </a:lnTo>
                  <a:lnTo>
                    <a:pt x="384" y="221"/>
                  </a:lnTo>
                  <a:lnTo>
                    <a:pt x="384" y="222"/>
                  </a:lnTo>
                  <a:lnTo>
                    <a:pt x="384" y="223"/>
                  </a:lnTo>
                  <a:lnTo>
                    <a:pt x="384" y="225"/>
                  </a:lnTo>
                  <a:lnTo>
                    <a:pt x="384" y="226"/>
                  </a:lnTo>
                  <a:lnTo>
                    <a:pt x="383" y="227"/>
                  </a:lnTo>
                  <a:lnTo>
                    <a:pt x="383" y="228"/>
                  </a:lnTo>
                  <a:lnTo>
                    <a:pt x="382" y="228"/>
                  </a:lnTo>
                  <a:lnTo>
                    <a:pt x="382" y="227"/>
                  </a:lnTo>
                  <a:lnTo>
                    <a:pt x="382" y="226"/>
                  </a:lnTo>
                  <a:lnTo>
                    <a:pt x="382" y="225"/>
                  </a:lnTo>
                  <a:lnTo>
                    <a:pt x="380" y="225"/>
                  </a:lnTo>
                  <a:lnTo>
                    <a:pt x="379" y="223"/>
                  </a:lnTo>
                  <a:lnTo>
                    <a:pt x="380" y="222"/>
                  </a:lnTo>
                  <a:lnTo>
                    <a:pt x="380" y="221"/>
                  </a:lnTo>
                  <a:lnTo>
                    <a:pt x="380" y="220"/>
                  </a:lnTo>
                  <a:lnTo>
                    <a:pt x="382" y="220"/>
                  </a:lnTo>
                  <a:lnTo>
                    <a:pt x="382" y="219"/>
                  </a:lnTo>
                  <a:lnTo>
                    <a:pt x="380" y="219"/>
                  </a:lnTo>
                  <a:lnTo>
                    <a:pt x="380" y="218"/>
                  </a:lnTo>
                  <a:lnTo>
                    <a:pt x="380" y="219"/>
                  </a:lnTo>
                  <a:lnTo>
                    <a:pt x="379" y="219"/>
                  </a:lnTo>
                  <a:lnTo>
                    <a:pt x="379" y="220"/>
                  </a:lnTo>
                  <a:lnTo>
                    <a:pt x="378" y="220"/>
                  </a:lnTo>
                  <a:lnTo>
                    <a:pt x="378" y="221"/>
                  </a:lnTo>
                  <a:lnTo>
                    <a:pt x="377" y="221"/>
                  </a:lnTo>
                  <a:lnTo>
                    <a:pt x="378" y="221"/>
                  </a:lnTo>
                  <a:lnTo>
                    <a:pt x="378" y="220"/>
                  </a:lnTo>
                  <a:lnTo>
                    <a:pt x="378" y="221"/>
                  </a:lnTo>
                  <a:lnTo>
                    <a:pt x="379" y="221"/>
                  </a:lnTo>
                  <a:lnTo>
                    <a:pt x="378" y="221"/>
                  </a:lnTo>
                  <a:lnTo>
                    <a:pt x="378" y="222"/>
                  </a:lnTo>
                  <a:lnTo>
                    <a:pt x="377" y="223"/>
                  </a:lnTo>
                  <a:lnTo>
                    <a:pt x="377" y="225"/>
                  </a:lnTo>
                  <a:lnTo>
                    <a:pt x="376" y="225"/>
                  </a:lnTo>
                  <a:lnTo>
                    <a:pt x="375" y="225"/>
                  </a:lnTo>
                  <a:lnTo>
                    <a:pt x="375" y="223"/>
                  </a:lnTo>
                  <a:lnTo>
                    <a:pt x="375" y="225"/>
                  </a:lnTo>
                  <a:lnTo>
                    <a:pt x="373" y="225"/>
                  </a:lnTo>
                  <a:lnTo>
                    <a:pt x="373" y="226"/>
                  </a:lnTo>
                  <a:lnTo>
                    <a:pt x="372" y="226"/>
                  </a:lnTo>
                  <a:lnTo>
                    <a:pt x="372" y="227"/>
                  </a:lnTo>
                  <a:lnTo>
                    <a:pt x="372" y="228"/>
                  </a:lnTo>
                  <a:lnTo>
                    <a:pt x="371" y="228"/>
                  </a:lnTo>
                  <a:lnTo>
                    <a:pt x="370" y="229"/>
                  </a:lnTo>
                  <a:lnTo>
                    <a:pt x="370" y="230"/>
                  </a:lnTo>
                  <a:lnTo>
                    <a:pt x="370" y="232"/>
                  </a:lnTo>
                  <a:lnTo>
                    <a:pt x="369" y="232"/>
                  </a:lnTo>
                  <a:lnTo>
                    <a:pt x="369" y="233"/>
                  </a:lnTo>
                  <a:lnTo>
                    <a:pt x="368" y="233"/>
                  </a:lnTo>
                  <a:lnTo>
                    <a:pt x="368" y="234"/>
                  </a:lnTo>
                  <a:lnTo>
                    <a:pt x="366" y="233"/>
                  </a:lnTo>
                  <a:lnTo>
                    <a:pt x="365" y="233"/>
                  </a:lnTo>
                  <a:lnTo>
                    <a:pt x="365" y="232"/>
                  </a:lnTo>
                  <a:lnTo>
                    <a:pt x="364" y="233"/>
                  </a:lnTo>
                  <a:lnTo>
                    <a:pt x="363" y="233"/>
                  </a:lnTo>
                  <a:lnTo>
                    <a:pt x="363" y="235"/>
                  </a:lnTo>
                  <a:lnTo>
                    <a:pt x="361" y="235"/>
                  </a:lnTo>
                  <a:lnTo>
                    <a:pt x="357" y="235"/>
                  </a:lnTo>
                  <a:lnTo>
                    <a:pt x="354" y="235"/>
                  </a:lnTo>
                  <a:lnTo>
                    <a:pt x="351" y="235"/>
                  </a:lnTo>
                  <a:lnTo>
                    <a:pt x="348" y="235"/>
                  </a:lnTo>
                  <a:lnTo>
                    <a:pt x="345" y="235"/>
                  </a:lnTo>
                  <a:lnTo>
                    <a:pt x="342" y="235"/>
                  </a:lnTo>
                  <a:lnTo>
                    <a:pt x="338" y="235"/>
                  </a:lnTo>
                  <a:lnTo>
                    <a:pt x="337" y="240"/>
                  </a:lnTo>
                  <a:lnTo>
                    <a:pt x="337" y="243"/>
                  </a:lnTo>
                  <a:lnTo>
                    <a:pt x="330" y="243"/>
                  </a:lnTo>
                  <a:lnTo>
                    <a:pt x="332" y="244"/>
                  </a:lnTo>
                  <a:lnTo>
                    <a:pt x="333" y="244"/>
                  </a:lnTo>
                  <a:lnTo>
                    <a:pt x="333" y="246"/>
                  </a:lnTo>
                  <a:lnTo>
                    <a:pt x="334" y="246"/>
                  </a:lnTo>
                  <a:lnTo>
                    <a:pt x="334" y="247"/>
                  </a:lnTo>
                  <a:lnTo>
                    <a:pt x="335" y="247"/>
                  </a:lnTo>
                  <a:lnTo>
                    <a:pt x="335" y="248"/>
                  </a:lnTo>
                  <a:lnTo>
                    <a:pt x="335" y="249"/>
                  </a:lnTo>
                  <a:lnTo>
                    <a:pt x="336" y="249"/>
                  </a:lnTo>
                  <a:lnTo>
                    <a:pt x="337" y="249"/>
                  </a:lnTo>
                  <a:lnTo>
                    <a:pt x="336" y="249"/>
                  </a:lnTo>
                  <a:lnTo>
                    <a:pt x="337" y="250"/>
                  </a:lnTo>
                  <a:lnTo>
                    <a:pt x="338" y="250"/>
                  </a:lnTo>
                  <a:lnTo>
                    <a:pt x="338" y="251"/>
                  </a:lnTo>
                  <a:lnTo>
                    <a:pt x="340" y="251"/>
                  </a:lnTo>
                  <a:lnTo>
                    <a:pt x="341" y="253"/>
                  </a:lnTo>
                  <a:lnTo>
                    <a:pt x="341" y="254"/>
                  </a:lnTo>
                  <a:lnTo>
                    <a:pt x="340" y="254"/>
                  </a:lnTo>
                  <a:lnTo>
                    <a:pt x="341" y="254"/>
                  </a:lnTo>
                  <a:lnTo>
                    <a:pt x="341" y="255"/>
                  </a:lnTo>
                  <a:lnTo>
                    <a:pt x="341" y="256"/>
                  </a:lnTo>
                  <a:lnTo>
                    <a:pt x="342" y="256"/>
                  </a:lnTo>
                  <a:lnTo>
                    <a:pt x="343" y="256"/>
                  </a:lnTo>
                  <a:lnTo>
                    <a:pt x="343" y="257"/>
                  </a:lnTo>
                  <a:lnTo>
                    <a:pt x="343" y="258"/>
                  </a:lnTo>
                  <a:lnTo>
                    <a:pt x="343" y="260"/>
                  </a:lnTo>
                  <a:lnTo>
                    <a:pt x="342" y="260"/>
                  </a:lnTo>
                  <a:lnTo>
                    <a:pt x="343" y="260"/>
                  </a:lnTo>
                  <a:lnTo>
                    <a:pt x="342" y="260"/>
                  </a:lnTo>
                  <a:lnTo>
                    <a:pt x="342" y="261"/>
                  </a:lnTo>
                  <a:lnTo>
                    <a:pt x="343" y="261"/>
                  </a:lnTo>
                  <a:lnTo>
                    <a:pt x="342" y="261"/>
                  </a:lnTo>
                  <a:lnTo>
                    <a:pt x="342" y="262"/>
                  </a:lnTo>
                  <a:lnTo>
                    <a:pt x="341" y="262"/>
                  </a:lnTo>
                  <a:lnTo>
                    <a:pt x="338" y="262"/>
                  </a:lnTo>
                  <a:lnTo>
                    <a:pt x="336" y="262"/>
                  </a:lnTo>
                  <a:lnTo>
                    <a:pt x="335" y="262"/>
                  </a:lnTo>
                  <a:lnTo>
                    <a:pt x="333" y="262"/>
                  </a:lnTo>
                  <a:lnTo>
                    <a:pt x="332" y="262"/>
                  </a:lnTo>
                  <a:lnTo>
                    <a:pt x="329" y="262"/>
                  </a:lnTo>
                  <a:lnTo>
                    <a:pt x="327" y="262"/>
                  </a:lnTo>
                  <a:lnTo>
                    <a:pt x="326" y="262"/>
                  </a:lnTo>
                  <a:lnTo>
                    <a:pt x="325" y="262"/>
                  </a:lnTo>
                  <a:lnTo>
                    <a:pt x="325" y="263"/>
                  </a:lnTo>
                  <a:lnTo>
                    <a:pt x="323" y="263"/>
                  </a:lnTo>
                  <a:lnTo>
                    <a:pt x="323" y="264"/>
                  </a:lnTo>
                  <a:lnTo>
                    <a:pt x="322" y="265"/>
                  </a:lnTo>
                  <a:lnTo>
                    <a:pt x="321" y="267"/>
                  </a:lnTo>
                  <a:lnTo>
                    <a:pt x="320" y="269"/>
                  </a:lnTo>
                  <a:lnTo>
                    <a:pt x="319" y="271"/>
                  </a:lnTo>
                  <a:lnTo>
                    <a:pt x="319" y="272"/>
                  </a:lnTo>
                  <a:lnTo>
                    <a:pt x="318" y="272"/>
                  </a:lnTo>
                  <a:lnTo>
                    <a:pt x="316" y="274"/>
                  </a:lnTo>
                  <a:lnTo>
                    <a:pt x="316" y="275"/>
                  </a:lnTo>
                  <a:lnTo>
                    <a:pt x="316" y="276"/>
                  </a:lnTo>
                  <a:lnTo>
                    <a:pt x="318" y="278"/>
                  </a:lnTo>
                  <a:lnTo>
                    <a:pt x="318" y="279"/>
                  </a:lnTo>
                  <a:lnTo>
                    <a:pt x="316" y="279"/>
                  </a:lnTo>
                  <a:lnTo>
                    <a:pt x="316" y="281"/>
                  </a:lnTo>
                  <a:lnTo>
                    <a:pt x="316" y="282"/>
                  </a:lnTo>
                  <a:lnTo>
                    <a:pt x="316" y="283"/>
                  </a:lnTo>
                  <a:lnTo>
                    <a:pt x="316" y="284"/>
                  </a:lnTo>
                  <a:lnTo>
                    <a:pt x="315" y="285"/>
                  </a:lnTo>
                  <a:lnTo>
                    <a:pt x="315" y="286"/>
                  </a:lnTo>
                  <a:lnTo>
                    <a:pt x="314" y="285"/>
                  </a:lnTo>
                  <a:lnTo>
                    <a:pt x="313" y="284"/>
                  </a:lnTo>
                  <a:lnTo>
                    <a:pt x="312" y="282"/>
                  </a:lnTo>
                  <a:lnTo>
                    <a:pt x="309" y="279"/>
                  </a:lnTo>
                  <a:lnTo>
                    <a:pt x="308" y="277"/>
                  </a:lnTo>
                  <a:lnTo>
                    <a:pt x="307" y="277"/>
                  </a:lnTo>
                  <a:lnTo>
                    <a:pt x="307" y="276"/>
                  </a:lnTo>
                  <a:lnTo>
                    <a:pt x="308" y="276"/>
                  </a:lnTo>
                  <a:lnTo>
                    <a:pt x="308" y="277"/>
                  </a:lnTo>
                  <a:lnTo>
                    <a:pt x="308" y="278"/>
                  </a:lnTo>
                  <a:lnTo>
                    <a:pt x="309" y="278"/>
                  </a:lnTo>
                  <a:lnTo>
                    <a:pt x="308" y="277"/>
                  </a:lnTo>
                  <a:lnTo>
                    <a:pt x="308" y="276"/>
                  </a:lnTo>
                  <a:lnTo>
                    <a:pt x="307" y="276"/>
                  </a:lnTo>
                  <a:lnTo>
                    <a:pt x="306" y="275"/>
                  </a:lnTo>
                  <a:lnTo>
                    <a:pt x="305" y="274"/>
                  </a:lnTo>
                  <a:lnTo>
                    <a:pt x="304" y="272"/>
                  </a:lnTo>
                  <a:lnTo>
                    <a:pt x="304" y="271"/>
                  </a:lnTo>
                  <a:lnTo>
                    <a:pt x="302" y="271"/>
                  </a:lnTo>
                  <a:lnTo>
                    <a:pt x="300" y="268"/>
                  </a:lnTo>
                  <a:lnTo>
                    <a:pt x="298" y="265"/>
                  </a:lnTo>
                  <a:lnTo>
                    <a:pt x="297" y="265"/>
                  </a:lnTo>
                  <a:lnTo>
                    <a:pt x="294" y="263"/>
                  </a:lnTo>
                  <a:lnTo>
                    <a:pt x="295" y="263"/>
                  </a:lnTo>
                  <a:lnTo>
                    <a:pt x="294" y="262"/>
                  </a:lnTo>
                  <a:lnTo>
                    <a:pt x="293" y="262"/>
                  </a:lnTo>
                  <a:lnTo>
                    <a:pt x="292" y="261"/>
                  </a:lnTo>
                  <a:lnTo>
                    <a:pt x="292" y="260"/>
                  </a:lnTo>
                  <a:lnTo>
                    <a:pt x="291" y="260"/>
                  </a:lnTo>
                  <a:lnTo>
                    <a:pt x="291" y="261"/>
                  </a:lnTo>
                  <a:lnTo>
                    <a:pt x="290" y="260"/>
                  </a:lnTo>
                  <a:lnTo>
                    <a:pt x="288" y="260"/>
                  </a:lnTo>
                  <a:lnTo>
                    <a:pt x="288" y="258"/>
                  </a:lnTo>
                  <a:lnTo>
                    <a:pt x="287" y="258"/>
                  </a:lnTo>
                  <a:lnTo>
                    <a:pt x="287" y="260"/>
                  </a:lnTo>
                  <a:lnTo>
                    <a:pt x="288" y="261"/>
                  </a:lnTo>
                  <a:lnTo>
                    <a:pt x="290" y="261"/>
                  </a:lnTo>
                  <a:lnTo>
                    <a:pt x="288" y="261"/>
                  </a:lnTo>
                  <a:lnTo>
                    <a:pt x="290" y="261"/>
                  </a:lnTo>
                  <a:lnTo>
                    <a:pt x="291" y="261"/>
                  </a:lnTo>
                  <a:lnTo>
                    <a:pt x="291" y="262"/>
                  </a:lnTo>
                  <a:lnTo>
                    <a:pt x="292" y="262"/>
                  </a:lnTo>
                  <a:lnTo>
                    <a:pt x="293" y="263"/>
                  </a:lnTo>
                  <a:lnTo>
                    <a:pt x="288" y="261"/>
                  </a:lnTo>
                  <a:lnTo>
                    <a:pt x="287" y="261"/>
                  </a:lnTo>
                  <a:lnTo>
                    <a:pt x="286" y="261"/>
                  </a:lnTo>
                  <a:lnTo>
                    <a:pt x="285" y="261"/>
                  </a:lnTo>
                  <a:lnTo>
                    <a:pt x="284" y="261"/>
                  </a:lnTo>
                  <a:lnTo>
                    <a:pt x="284" y="260"/>
                  </a:lnTo>
                  <a:lnTo>
                    <a:pt x="285" y="260"/>
                  </a:lnTo>
                  <a:lnTo>
                    <a:pt x="285" y="258"/>
                  </a:lnTo>
                  <a:lnTo>
                    <a:pt x="286" y="258"/>
                  </a:lnTo>
                  <a:lnTo>
                    <a:pt x="285" y="258"/>
                  </a:lnTo>
                  <a:lnTo>
                    <a:pt x="285" y="257"/>
                  </a:lnTo>
                  <a:lnTo>
                    <a:pt x="284" y="258"/>
                  </a:lnTo>
                  <a:lnTo>
                    <a:pt x="283" y="258"/>
                  </a:lnTo>
                  <a:lnTo>
                    <a:pt x="283" y="260"/>
                  </a:lnTo>
                  <a:lnTo>
                    <a:pt x="283" y="258"/>
                  </a:lnTo>
                  <a:lnTo>
                    <a:pt x="283" y="257"/>
                  </a:lnTo>
                  <a:lnTo>
                    <a:pt x="283" y="256"/>
                  </a:lnTo>
                  <a:lnTo>
                    <a:pt x="281" y="257"/>
                  </a:lnTo>
                  <a:lnTo>
                    <a:pt x="280" y="258"/>
                  </a:lnTo>
                  <a:lnTo>
                    <a:pt x="279" y="258"/>
                  </a:lnTo>
                  <a:lnTo>
                    <a:pt x="279" y="260"/>
                  </a:lnTo>
                  <a:lnTo>
                    <a:pt x="280" y="260"/>
                  </a:lnTo>
                  <a:lnTo>
                    <a:pt x="281" y="260"/>
                  </a:lnTo>
                  <a:lnTo>
                    <a:pt x="281" y="258"/>
                  </a:lnTo>
                  <a:lnTo>
                    <a:pt x="283" y="258"/>
                  </a:lnTo>
                  <a:lnTo>
                    <a:pt x="283" y="260"/>
                  </a:lnTo>
                  <a:lnTo>
                    <a:pt x="281" y="260"/>
                  </a:lnTo>
                  <a:lnTo>
                    <a:pt x="280" y="260"/>
                  </a:lnTo>
                  <a:lnTo>
                    <a:pt x="281" y="260"/>
                  </a:lnTo>
                  <a:lnTo>
                    <a:pt x="283" y="260"/>
                  </a:lnTo>
                  <a:lnTo>
                    <a:pt x="283" y="261"/>
                  </a:lnTo>
                  <a:lnTo>
                    <a:pt x="283" y="260"/>
                  </a:lnTo>
                  <a:lnTo>
                    <a:pt x="281" y="260"/>
                  </a:lnTo>
                  <a:lnTo>
                    <a:pt x="280" y="261"/>
                  </a:lnTo>
                  <a:lnTo>
                    <a:pt x="279" y="261"/>
                  </a:lnTo>
                  <a:lnTo>
                    <a:pt x="278" y="261"/>
                  </a:lnTo>
                  <a:lnTo>
                    <a:pt x="277" y="261"/>
                  </a:lnTo>
                  <a:lnTo>
                    <a:pt x="276" y="261"/>
                  </a:lnTo>
                  <a:lnTo>
                    <a:pt x="276" y="262"/>
                  </a:lnTo>
                  <a:lnTo>
                    <a:pt x="274" y="262"/>
                  </a:lnTo>
                  <a:lnTo>
                    <a:pt x="274" y="263"/>
                  </a:lnTo>
                  <a:lnTo>
                    <a:pt x="273" y="263"/>
                  </a:lnTo>
                  <a:lnTo>
                    <a:pt x="273" y="264"/>
                  </a:lnTo>
                  <a:lnTo>
                    <a:pt x="272" y="264"/>
                  </a:lnTo>
                  <a:lnTo>
                    <a:pt x="271" y="264"/>
                  </a:lnTo>
                  <a:lnTo>
                    <a:pt x="270" y="264"/>
                  </a:lnTo>
                  <a:lnTo>
                    <a:pt x="270" y="265"/>
                  </a:lnTo>
                  <a:lnTo>
                    <a:pt x="269" y="265"/>
                  </a:lnTo>
                  <a:lnTo>
                    <a:pt x="268" y="265"/>
                  </a:lnTo>
                  <a:lnTo>
                    <a:pt x="266" y="265"/>
                  </a:lnTo>
                  <a:lnTo>
                    <a:pt x="265" y="267"/>
                  </a:lnTo>
                  <a:lnTo>
                    <a:pt x="264" y="267"/>
                  </a:lnTo>
                  <a:lnTo>
                    <a:pt x="264" y="268"/>
                  </a:lnTo>
                  <a:lnTo>
                    <a:pt x="264" y="267"/>
                  </a:lnTo>
                  <a:lnTo>
                    <a:pt x="263" y="268"/>
                  </a:lnTo>
                  <a:lnTo>
                    <a:pt x="262" y="268"/>
                  </a:lnTo>
                  <a:lnTo>
                    <a:pt x="262" y="269"/>
                  </a:lnTo>
                  <a:lnTo>
                    <a:pt x="261" y="269"/>
                  </a:lnTo>
                  <a:lnTo>
                    <a:pt x="259" y="269"/>
                  </a:lnTo>
                  <a:lnTo>
                    <a:pt x="259" y="268"/>
                  </a:lnTo>
                  <a:lnTo>
                    <a:pt x="258" y="269"/>
                  </a:lnTo>
                  <a:lnTo>
                    <a:pt x="257" y="269"/>
                  </a:lnTo>
                  <a:lnTo>
                    <a:pt x="256" y="268"/>
                  </a:lnTo>
                  <a:lnTo>
                    <a:pt x="254" y="268"/>
                  </a:lnTo>
                  <a:lnTo>
                    <a:pt x="252" y="267"/>
                  </a:lnTo>
                  <a:lnTo>
                    <a:pt x="251" y="267"/>
                  </a:lnTo>
                  <a:lnTo>
                    <a:pt x="250" y="265"/>
                  </a:lnTo>
                  <a:lnTo>
                    <a:pt x="249" y="265"/>
                  </a:lnTo>
                  <a:lnTo>
                    <a:pt x="249" y="264"/>
                  </a:lnTo>
                  <a:lnTo>
                    <a:pt x="248" y="264"/>
                  </a:lnTo>
                  <a:lnTo>
                    <a:pt x="247" y="264"/>
                  </a:lnTo>
                  <a:lnTo>
                    <a:pt x="245" y="264"/>
                  </a:lnTo>
                  <a:lnTo>
                    <a:pt x="244" y="264"/>
                  </a:lnTo>
                  <a:lnTo>
                    <a:pt x="243" y="264"/>
                  </a:lnTo>
                  <a:lnTo>
                    <a:pt x="242" y="264"/>
                  </a:lnTo>
                  <a:lnTo>
                    <a:pt x="241" y="264"/>
                  </a:lnTo>
                  <a:lnTo>
                    <a:pt x="241" y="263"/>
                  </a:lnTo>
                  <a:lnTo>
                    <a:pt x="240" y="263"/>
                  </a:lnTo>
                  <a:lnTo>
                    <a:pt x="238" y="262"/>
                  </a:lnTo>
                  <a:lnTo>
                    <a:pt x="237" y="261"/>
                  </a:lnTo>
                  <a:lnTo>
                    <a:pt x="236" y="261"/>
                  </a:lnTo>
                  <a:lnTo>
                    <a:pt x="236" y="260"/>
                  </a:lnTo>
                  <a:lnTo>
                    <a:pt x="237" y="261"/>
                  </a:lnTo>
                  <a:lnTo>
                    <a:pt x="237" y="260"/>
                  </a:lnTo>
                  <a:lnTo>
                    <a:pt x="236" y="260"/>
                  </a:lnTo>
                  <a:lnTo>
                    <a:pt x="235" y="260"/>
                  </a:lnTo>
                  <a:lnTo>
                    <a:pt x="234" y="260"/>
                  </a:lnTo>
                  <a:lnTo>
                    <a:pt x="233" y="258"/>
                  </a:lnTo>
                  <a:lnTo>
                    <a:pt x="231" y="258"/>
                  </a:lnTo>
                  <a:lnTo>
                    <a:pt x="230" y="258"/>
                  </a:lnTo>
                  <a:lnTo>
                    <a:pt x="230" y="257"/>
                  </a:lnTo>
                  <a:lnTo>
                    <a:pt x="229" y="256"/>
                  </a:lnTo>
                  <a:lnTo>
                    <a:pt x="229" y="255"/>
                  </a:lnTo>
                  <a:lnTo>
                    <a:pt x="228" y="255"/>
                  </a:lnTo>
                  <a:lnTo>
                    <a:pt x="227" y="255"/>
                  </a:lnTo>
                  <a:lnTo>
                    <a:pt x="226" y="255"/>
                  </a:lnTo>
                  <a:lnTo>
                    <a:pt x="223" y="254"/>
                  </a:lnTo>
                  <a:lnTo>
                    <a:pt x="221" y="253"/>
                  </a:lnTo>
                  <a:lnTo>
                    <a:pt x="220" y="253"/>
                  </a:lnTo>
                  <a:lnTo>
                    <a:pt x="219" y="253"/>
                  </a:lnTo>
                  <a:lnTo>
                    <a:pt x="217" y="253"/>
                  </a:lnTo>
                  <a:lnTo>
                    <a:pt x="216" y="253"/>
                  </a:lnTo>
                  <a:lnTo>
                    <a:pt x="215" y="251"/>
                  </a:lnTo>
                  <a:lnTo>
                    <a:pt x="214" y="251"/>
                  </a:lnTo>
                  <a:lnTo>
                    <a:pt x="214" y="250"/>
                  </a:lnTo>
                  <a:lnTo>
                    <a:pt x="213" y="250"/>
                  </a:lnTo>
                  <a:lnTo>
                    <a:pt x="214" y="250"/>
                  </a:lnTo>
                  <a:lnTo>
                    <a:pt x="213" y="250"/>
                  </a:lnTo>
                  <a:lnTo>
                    <a:pt x="213" y="249"/>
                  </a:lnTo>
                  <a:lnTo>
                    <a:pt x="212" y="249"/>
                  </a:lnTo>
                  <a:lnTo>
                    <a:pt x="210" y="248"/>
                  </a:lnTo>
                  <a:lnTo>
                    <a:pt x="209" y="248"/>
                  </a:lnTo>
                  <a:lnTo>
                    <a:pt x="208" y="247"/>
                  </a:lnTo>
                  <a:lnTo>
                    <a:pt x="205" y="246"/>
                  </a:lnTo>
                  <a:lnTo>
                    <a:pt x="204" y="246"/>
                  </a:lnTo>
                  <a:lnTo>
                    <a:pt x="202" y="246"/>
                  </a:lnTo>
                  <a:lnTo>
                    <a:pt x="202" y="244"/>
                  </a:lnTo>
                  <a:lnTo>
                    <a:pt x="201" y="244"/>
                  </a:lnTo>
                  <a:lnTo>
                    <a:pt x="200" y="244"/>
                  </a:lnTo>
                  <a:lnTo>
                    <a:pt x="200" y="243"/>
                  </a:lnTo>
                  <a:lnTo>
                    <a:pt x="199" y="243"/>
                  </a:lnTo>
                  <a:lnTo>
                    <a:pt x="199" y="242"/>
                  </a:lnTo>
                  <a:lnTo>
                    <a:pt x="198" y="242"/>
                  </a:lnTo>
                  <a:lnTo>
                    <a:pt x="198" y="241"/>
                  </a:lnTo>
                  <a:lnTo>
                    <a:pt x="197" y="241"/>
                  </a:lnTo>
                  <a:lnTo>
                    <a:pt x="195" y="240"/>
                  </a:lnTo>
                  <a:lnTo>
                    <a:pt x="194" y="240"/>
                  </a:lnTo>
                  <a:lnTo>
                    <a:pt x="193" y="240"/>
                  </a:lnTo>
                  <a:lnTo>
                    <a:pt x="193" y="239"/>
                  </a:lnTo>
                  <a:lnTo>
                    <a:pt x="194" y="239"/>
                  </a:lnTo>
                  <a:lnTo>
                    <a:pt x="193" y="239"/>
                  </a:lnTo>
                  <a:lnTo>
                    <a:pt x="193" y="237"/>
                  </a:lnTo>
                  <a:lnTo>
                    <a:pt x="192" y="237"/>
                  </a:lnTo>
                  <a:lnTo>
                    <a:pt x="191" y="237"/>
                  </a:lnTo>
                  <a:lnTo>
                    <a:pt x="191" y="236"/>
                  </a:lnTo>
                  <a:lnTo>
                    <a:pt x="191" y="235"/>
                  </a:lnTo>
                  <a:lnTo>
                    <a:pt x="190" y="235"/>
                  </a:lnTo>
                  <a:lnTo>
                    <a:pt x="190" y="234"/>
                  </a:lnTo>
                  <a:lnTo>
                    <a:pt x="188" y="233"/>
                  </a:lnTo>
                  <a:lnTo>
                    <a:pt x="187" y="232"/>
                  </a:lnTo>
                  <a:lnTo>
                    <a:pt x="186" y="232"/>
                  </a:lnTo>
                  <a:lnTo>
                    <a:pt x="186" y="233"/>
                  </a:lnTo>
                  <a:lnTo>
                    <a:pt x="185" y="233"/>
                  </a:lnTo>
                  <a:lnTo>
                    <a:pt x="184" y="233"/>
                  </a:lnTo>
                  <a:lnTo>
                    <a:pt x="183" y="233"/>
                  </a:lnTo>
                  <a:lnTo>
                    <a:pt x="181" y="232"/>
                  </a:lnTo>
                  <a:lnTo>
                    <a:pt x="180" y="232"/>
                  </a:lnTo>
                  <a:lnTo>
                    <a:pt x="179" y="230"/>
                  </a:lnTo>
                  <a:lnTo>
                    <a:pt x="178" y="230"/>
                  </a:lnTo>
                  <a:lnTo>
                    <a:pt x="177" y="230"/>
                  </a:lnTo>
                  <a:lnTo>
                    <a:pt x="176" y="229"/>
                  </a:lnTo>
                  <a:lnTo>
                    <a:pt x="174" y="229"/>
                  </a:lnTo>
                  <a:lnTo>
                    <a:pt x="173" y="229"/>
                  </a:lnTo>
                  <a:lnTo>
                    <a:pt x="172" y="229"/>
                  </a:lnTo>
                  <a:lnTo>
                    <a:pt x="172" y="228"/>
                  </a:lnTo>
                  <a:lnTo>
                    <a:pt x="171" y="228"/>
                  </a:lnTo>
                  <a:lnTo>
                    <a:pt x="170" y="228"/>
                  </a:lnTo>
                  <a:lnTo>
                    <a:pt x="170" y="227"/>
                  </a:lnTo>
                  <a:lnTo>
                    <a:pt x="169" y="228"/>
                  </a:lnTo>
                  <a:lnTo>
                    <a:pt x="169" y="227"/>
                  </a:lnTo>
                  <a:lnTo>
                    <a:pt x="167" y="227"/>
                  </a:lnTo>
                  <a:lnTo>
                    <a:pt x="167" y="226"/>
                  </a:lnTo>
                  <a:lnTo>
                    <a:pt x="166" y="223"/>
                  </a:lnTo>
                  <a:lnTo>
                    <a:pt x="165" y="222"/>
                  </a:lnTo>
                  <a:lnTo>
                    <a:pt x="165" y="221"/>
                  </a:lnTo>
                  <a:lnTo>
                    <a:pt x="164" y="220"/>
                  </a:lnTo>
                  <a:lnTo>
                    <a:pt x="163" y="219"/>
                  </a:lnTo>
                  <a:lnTo>
                    <a:pt x="162" y="218"/>
                  </a:lnTo>
                  <a:lnTo>
                    <a:pt x="160" y="218"/>
                  </a:lnTo>
                  <a:lnTo>
                    <a:pt x="159" y="216"/>
                  </a:lnTo>
                  <a:lnTo>
                    <a:pt x="158" y="216"/>
                  </a:lnTo>
                  <a:lnTo>
                    <a:pt x="158" y="215"/>
                  </a:lnTo>
                  <a:lnTo>
                    <a:pt x="157" y="215"/>
                  </a:lnTo>
                  <a:lnTo>
                    <a:pt x="158" y="215"/>
                  </a:lnTo>
                  <a:lnTo>
                    <a:pt x="158" y="214"/>
                  </a:lnTo>
                  <a:lnTo>
                    <a:pt x="157" y="214"/>
                  </a:lnTo>
                  <a:lnTo>
                    <a:pt x="156" y="214"/>
                  </a:lnTo>
                  <a:lnTo>
                    <a:pt x="155" y="214"/>
                  </a:lnTo>
                  <a:lnTo>
                    <a:pt x="153" y="213"/>
                  </a:lnTo>
                  <a:lnTo>
                    <a:pt x="152" y="213"/>
                  </a:lnTo>
                  <a:lnTo>
                    <a:pt x="152" y="212"/>
                  </a:lnTo>
                  <a:lnTo>
                    <a:pt x="152" y="213"/>
                  </a:lnTo>
                  <a:lnTo>
                    <a:pt x="151" y="213"/>
                  </a:lnTo>
                  <a:lnTo>
                    <a:pt x="151" y="212"/>
                  </a:lnTo>
                  <a:lnTo>
                    <a:pt x="152" y="212"/>
                  </a:lnTo>
                  <a:lnTo>
                    <a:pt x="151" y="211"/>
                  </a:lnTo>
                  <a:lnTo>
                    <a:pt x="151" y="212"/>
                  </a:lnTo>
                  <a:lnTo>
                    <a:pt x="150" y="211"/>
                  </a:lnTo>
                  <a:lnTo>
                    <a:pt x="149" y="211"/>
                  </a:lnTo>
                  <a:lnTo>
                    <a:pt x="149" y="209"/>
                  </a:lnTo>
                  <a:lnTo>
                    <a:pt x="149" y="208"/>
                  </a:lnTo>
                  <a:lnTo>
                    <a:pt x="149" y="207"/>
                  </a:lnTo>
                  <a:lnTo>
                    <a:pt x="148" y="207"/>
                  </a:lnTo>
                  <a:lnTo>
                    <a:pt x="148" y="206"/>
                  </a:lnTo>
                  <a:lnTo>
                    <a:pt x="146" y="206"/>
                  </a:lnTo>
                  <a:lnTo>
                    <a:pt x="146" y="205"/>
                  </a:lnTo>
                  <a:lnTo>
                    <a:pt x="145" y="204"/>
                  </a:lnTo>
                  <a:lnTo>
                    <a:pt x="145" y="202"/>
                  </a:lnTo>
                  <a:lnTo>
                    <a:pt x="144" y="201"/>
                  </a:lnTo>
                  <a:lnTo>
                    <a:pt x="144" y="200"/>
                  </a:lnTo>
                  <a:lnTo>
                    <a:pt x="144" y="199"/>
                  </a:lnTo>
                  <a:lnTo>
                    <a:pt x="144" y="198"/>
                  </a:lnTo>
                  <a:lnTo>
                    <a:pt x="144" y="197"/>
                  </a:lnTo>
                  <a:lnTo>
                    <a:pt x="143" y="197"/>
                  </a:lnTo>
                  <a:lnTo>
                    <a:pt x="143" y="195"/>
                  </a:lnTo>
                  <a:lnTo>
                    <a:pt x="143" y="194"/>
                  </a:lnTo>
                  <a:lnTo>
                    <a:pt x="142" y="194"/>
                  </a:lnTo>
                  <a:lnTo>
                    <a:pt x="142" y="193"/>
                  </a:lnTo>
                  <a:lnTo>
                    <a:pt x="143" y="193"/>
                  </a:lnTo>
                  <a:lnTo>
                    <a:pt x="144" y="192"/>
                  </a:lnTo>
                  <a:lnTo>
                    <a:pt x="145" y="192"/>
                  </a:lnTo>
                  <a:lnTo>
                    <a:pt x="146" y="192"/>
                  </a:lnTo>
                  <a:lnTo>
                    <a:pt x="148" y="192"/>
                  </a:lnTo>
                  <a:lnTo>
                    <a:pt x="149" y="192"/>
                  </a:lnTo>
                  <a:lnTo>
                    <a:pt x="149" y="191"/>
                  </a:lnTo>
                  <a:lnTo>
                    <a:pt x="149" y="190"/>
                  </a:lnTo>
                  <a:lnTo>
                    <a:pt x="149" y="188"/>
                  </a:lnTo>
                  <a:lnTo>
                    <a:pt x="148" y="188"/>
                  </a:lnTo>
                  <a:lnTo>
                    <a:pt x="146" y="188"/>
                  </a:lnTo>
                  <a:lnTo>
                    <a:pt x="145" y="188"/>
                  </a:lnTo>
                  <a:lnTo>
                    <a:pt x="145" y="187"/>
                  </a:lnTo>
                  <a:lnTo>
                    <a:pt x="146" y="187"/>
                  </a:lnTo>
                  <a:lnTo>
                    <a:pt x="146" y="186"/>
                  </a:lnTo>
                  <a:lnTo>
                    <a:pt x="148" y="186"/>
                  </a:lnTo>
                  <a:lnTo>
                    <a:pt x="148" y="185"/>
                  </a:lnTo>
                  <a:lnTo>
                    <a:pt x="149" y="185"/>
                  </a:lnTo>
                  <a:lnTo>
                    <a:pt x="149" y="184"/>
                  </a:lnTo>
                  <a:lnTo>
                    <a:pt x="150" y="184"/>
                  </a:lnTo>
                  <a:lnTo>
                    <a:pt x="150" y="183"/>
                  </a:lnTo>
                  <a:lnTo>
                    <a:pt x="151" y="181"/>
                  </a:lnTo>
                  <a:lnTo>
                    <a:pt x="151" y="180"/>
                  </a:lnTo>
                  <a:lnTo>
                    <a:pt x="151" y="179"/>
                  </a:lnTo>
                  <a:lnTo>
                    <a:pt x="151" y="178"/>
                  </a:lnTo>
                  <a:lnTo>
                    <a:pt x="152" y="178"/>
                  </a:lnTo>
                  <a:lnTo>
                    <a:pt x="152" y="177"/>
                  </a:lnTo>
                  <a:lnTo>
                    <a:pt x="152" y="176"/>
                  </a:lnTo>
                  <a:lnTo>
                    <a:pt x="151" y="176"/>
                  </a:lnTo>
                  <a:lnTo>
                    <a:pt x="150" y="176"/>
                  </a:lnTo>
                  <a:lnTo>
                    <a:pt x="150" y="174"/>
                  </a:lnTo>
                  <a:lnTo>
                    <a:pt x="149" y="174"/>
                  </a:lnTo>
                  <a:lnTo>
                    <a:pt x="149" y="173"/>
                  </a:lnTo>
                  <a:lnTo>
                    <a:pt x="148" y="171"/>
                  </a:lnTo>
                  <a:lnTo>
                    <a:pt x="148" y="169"/>
                  </a:lnTo>
                  <a:lnTo>
                    <a:pt x="148" y="167"/>
                  </a:lnTo>
                  <a:lnTo>
                    <a:pt x="148" y="165"/>
                  </a:lnTo>
                  <a:lnTo>
                    <a:pt x="148" y="164"/>
                  </a:lnTo>
                  <a:lnTo>
                    <a:pt x="148" y="163"/>
                  </a:lnTo>
                  <a:lnTo>
                    <a:pt x="148" y="162"/>
                  </a:lnTo>
                  <a:lnTo>
                    <a:pt x="148" y="160"/>
                  </a:lnTo>
                  <a:lnTo>
                    <a:pt x="148" y="159"/>
                  </a:lnTo>
                  <a:lnTo>
                    <a:pt x="148" y="160"/>
                  </a:lnTo>
                  <a:lnTo>
                    <a:pt x="148" y="159"/>
                  </a:lnTo>
                  <a:lnTo>
                    <a:pt x="146" y="158"/>
                  </a:lnTo>
                  <a:lnTo>
                    <a:pt x="145" y="157"/>
                  </a:lnTo>
                  <a:lnTo>
                    <a:pt x="145" y="156"/>
                  </a:lnTo>
                  <a:lnTo>
                    <a:pt x="144" y="156"/>
                  </a:lnTo>
                  <a:lnTo>
                    <a:pt x="145" y="155"/>
                  </a:lnTo>
                  <a:lnTo>
                    <a:pt x="144" y="155"/>
                  </a:lnTo>
                  <a:lnTo>
                    <a:pt x="144" y="156"/>
                  </a:lnTo>
                  <a:lnTo>
                    <a:pt x="142" y="152"/>
                  </a:lnTo>
                  <a:lnTo>
                    <a:pt x="142" y="151"/>
                  </a:lnTo>
                  <a:lnTo>
                    <a:pt x="141" y="150"/>
                  </a:lnTo>
                  <a:lnTo>
                    <a:pt x="140" y="150"/>
                  </a:lnTo>
                  <a:lnTo>
                    <a:pt x="140" y="149"/>
                  </a:lnTo>
                  <a:lnTo>
                    <a:pt x="140" y="148"/>
                  </a:lnTo>
                  <a:lnTo>
                    <a:pt x="140" y="146"/>
                  </a:lnTo>
                  <a:lnTo>
                    <a:pt x="138" y="146"/>
                  </a:lnTo>
                  <a:lnTo>
                    <a:pt x="138" y="145"/>
                  </a:lnTo>
                  <a:lnTo>
                    <a:pt x="138" y="144"/>
                  </a:lnTo>
                  <a:lnTo>
                    <a:pt x="137" y="144"/>
                  </a:lnTo>
                  <a:lnTo>
                    <a:pt x="137" y="143"/>
                  </a:lnTo>
                  <a:lnTo>
                    <a:pt x="136" y="143"/>
                  </a:lnTo>
                  <a:lnTo>
                    <a:pt x="136" y="142"/>
                  </a:lnTo>
                  <a:lnTo>
                    <a:pt x="136" y="141"/>
                  </a:lnTo>
                  <a:lnTo>
                    <a:pt x="135" y="139"/>
                  </a:lnTo>
                  <a:lnTo>
                    <a:pt x="134" y="137"/>
                  </a:lnTo>
                  <a:lnTo>
                    <a:pt x="133" y="136"/>
                  </a:lnTo>
                  <a:lnTo>
                    <a:pt x="130" y="134"/>
                  </a:lnTo>
                  <a:lnTo>
                    <a:pt x="129" y="134"/>
                  </a:lnTo>
                  <a:lnTo>
                    <a:pt x="130" y="132"/>
                  </a:lnTo>
                  <a:lnTo>
                    <a:pt x="129" y="132"/>
                  </a:lnTo>
                  <a:lnTo>
                    <a:pt x="128" y="131"/>
                  </a:lnTo>
                  <a:lnTo>
                    <a:pt x="126" y="129"/>
                  </a:lnTo>
                  <a:lnTo>
                    <a:pt x="124" y="129"/>
                  </a:lnTo>
                  <a:lnTo>
                    <a:pt x="126" y="129"/>
                  </a:lnTo>
                  <a:lnTo>
                    <a:pt x="127" y="130"/>
                  </a:lnTo>
                  <a:lnTo>
                    <a:pt x="128" y="131"/>
                  </a:lnTo>
                  <a:lnTo>
                    <a:pt x="129" y="131"/>
                  </a:lnTo>
                  <a:lnTo>
                    <a:pt x="128" y="131"/>
                  </a:lnTo>
                  <a:lnTo>
                    <a:pt x="128" y="130"/>
                  </a:lnTo>
                  <a:lnTo>
                    <a:pt x="128" y="131"/>
                  </a:lnTo>
                  <a:lnTo>
                    <a:pt x="129" y="131"/>
                  </a:lnTo>
                  <a:lnTo>
                    <a:pt x="129" y="130"/>
                  </a:lnTo>
                  <a:lnTo>
                    <a:pt x="129" y="129"/>
                  </a:lnTo>
                  <a:lnTo>
                    <a:pt x="128" y="129"/>
                  </a:lnTo>
                  <a:lnTo>
                    <a:pt x="127" y="130"/>
                  </a:lnTo>
                  <a:lnTo>
                    <a:pt x="127" y="129"/>
                  </a:lnTo>
                  <a:lnTo>
                    <a:pt x="126" y="129"/>
                  </a:lnTo>
                  <a:lnTo>
                    <a:pt x="126" y="128"/>
                  </a:lnTo>
                  <a:lnTo>
                    <a:pt x="124" y="128"/>
                  </a:lnTo>
                  <a:lnTo>
                    <a:pt x="124" y="127"/>
                  </a:lnTo>
                  <a:lnTo>
                    <a:pt x="123" y="127"/>
                  </a:lnTo>
                  <a:lnTo>
                    <a:pt x="124" y="128"/>
                  </a:lnTo>
                  <a:lnTo>
                    <a:pt x="124" y="129"/>
                  </a:lnTo>
                  <a:lnTo>
                    <a:pt x="124" y="128"/>
                  </a:lnTo>
                  <a:lnTo>
                    <a:pt x="123" y="128"/>
                  </a:lnTo>
                  <a:lnTo>
                    <a:pt x="123" y="127"/>
                  </a:lnTo>
                  <a:lnTo>
                    <a:pt x="122" y="127"/>
                  </a:lnTo>
                  <a:lnTo>
                    <a:pt x="122" y="125"/>
                  </a:lnTo>
                  <a:lnTo>
                    <a:pt x="122" y="124"/>
                  </a:lnTo>
                  <a:lnTo>
                    <a:pt x="123" y="124"/>
                  </a:lnTo>
                  <a:lnTo>
                    <a:pt x="123" y="123"/>
                  </a:lnTo>
                  <a:lnTo>
                    <a:pt x="123" y="122"/>
                  </a:lnTo>
                  <a:lnTo>
                    <a:pt x="123" y="121"/>
                  </a:lnTo>
                  <a:lnTo>
                    <a:pt x="123" y="122"/>
                  </a:lnTo>
                  <a:lnTo>
                    <a:pt x="123" y="123"/>
                  </a:lnTo>
                  <a:lnTo>
                    <a:pt x="122" y="123"/>
                  </a:lnTo>
                  <a:lnTo>
                    <a:pt x="122" y="124"/>
                  </a:lnTo>
                  <a:lnTo>
                    <a:pt x="122" y="123"/>
                  </a:lnTo>
                  <a:lnTo>
                    <a:pt x="122" y="124"/>
                  </a:lnTo>
                  <a:lnTo>
                    <a:pt x="121" y="123"/>
                  </a:lnTo>
                  <a:lnTo>
                    <a:pt x="121" y="121"/>
                  </a:lnTo>
                  <a:lnTo>
                    <a:pt x="120" y="120"/>
                  </a:lnTo>
                  <a:lnTo>
                    <a:pt x="121" y="120"/>
                  </a:lnTo>
                  <a:lnTo>
                    <a:pt x="121" y="121"/>
                  </a:lnTo>
                  <a:lnTo>
                    <a:pt x="122" y="121"/>
                  </a:lnTo>
                  <a:lnTo>
                    <a:pt x="122" y="122"/>
                  </a:lnTo>
                  <a:lnTo>
                    <a:pt x="122" y="121"/>
                  </a:lnTo>
                  <a:lnTo>
                    <a:pt x="122" y="120"/>
                  </a:lnTo>
                  <a:lnTo>
                    <a:pt x="122" y="121"/>
                  </a:lnTo>
                  <a:lnTo>
                    <a:pt x="123" y="121"/>
                  </a:lnTo>
                  <a:lnTo>
                    <a:pt x="122" y="120"/>
                  </a:lnTo>
                  <a:lnTo>
                    <a:pt x="122" y="118"/>
                  </a:lnTo>
                  <a:lnTo>
                    <a:pt x="122" y="120"/>
                  </a:lnTo>
                  <a:lnTo>
                    <a:pt x="121" y="118"/>
                  </a:lnTo>
                  <a:lnTo>
                    <a:pt x="120" y="118"/>
                  </a:lnTo>
                  <a:lnTo>
                    <a:pt x="120" y="117"/>
                  </a:lnTo>
                  <a:lnTo>
                    <a:pt x="120" y="118"/>
                  </a:lnTo>
                  <a:lnTo>
                    <a:pt x="120" y="117"/>
                  </a:lnTo>
                  <a:lnTo>
                    <a:pt x="119" y="118"/>
                  </a:lnTo>
                  <a:lnTo>
                    <a:pt x="119" y="117"/>
                  </a:lnTo>
                  <a:lnTo>
                    <a:pt x="117" y="116"/>
                  </a:lnTo>
                  <a:lnTo>
                    <a:pt x="116" y="115"/>
                  </a:lnTo>
                  <a:lnTo>
                    <a:pt x="115" y="115"/>
                  </a:lnTo>
                  <a:lnTo>
                    <a:pt x="116" y="115"/>
                  </a:lnTo>
                  <a:lnTo>
                    <a:pt x="115" y="115"/>
                  </a:lnTo>
                  <a:lnTo>
                    <a:pt x="114" y="115"/>
                  </a:lnTo>
                  <a:lnTo>
                    <a:pt x="115" y="115"/>
                  </a:lnTo>
                  <a:lnTo>
                    <a:pt x="115" y="114"/>
                  </a:lnTo>
                  <a:lnTo>
                    <a:pt x="115" y="113"/>
                  </a:lnTo>
                  <a:lnTo>
                    <a:pt x="114" y="113"/>
                  </a:lnTo>
                  <a:lnTo>
                    <a:pt x="113" y="113"/>
                  </a:lnTo>
                  <a:lnTo>
                    <a:pt x="114" y="113"/>
                  </a:lnTo>
                  <a:lnTo>
                    <a:pt x="113" y="113"/>
                  </a:lnTo>
                  <a:lnTo>
                    <a:pt x="113" y="114"/>
                  </a:lnTo>
                  <a:lnTo>
                    <a:pt x="113" y="113"/>
                  </a:lnTo>
                  <a:lnTo>
                    <a:pt x="112" y="113"/>
                  </a:lnTo>
                  <a:lnTo>
                    <a:pt x="112" y="114"/>
                  </a:lnTo>
                  <a:lnTo>
                    <a:pt x="110" y="114"/>
                  </a:lnTo>
                  <a:lnTo>
                    <a:pt x="110" y="113"/>
                  </a:lnTo>
                  <a:lnTo>
                    <a:pt x="110" y="111"/>
                  </a:lnTo>
                  <a:lnTo>
                    <a:pt x="112" y="111"/>
                  </a:lnTo>
                  <a:lnTo>
                    <a:pt x="112" y="113"/>
                  </a:lnTo>
                  <a:lnTo>
                    <a:pt x="113" y="113"/>
                  </a:lnTo>
                  <a:lnTo>
                    <a:pt x="113" y="111"/>
                  </a:lnTo>
                  <a:lnTo>
                    <a:pt x="114" y="110"/>
                  </a:lnTo>
                  <a:lnTo>
                    <a:pt x="114" y="109"/>
                  </a:lnTo>
                  <a:lnTo>
                    <a:pt x="115" y="109"/>
                  </a:lnTo>
                  <a:lnTo>
                    <a:pt x="115" y="108"/>
                  </a:lnTo>
                  <a:lnTo>
                    <a:pt x="114" y="109"/>
                  </a:lnTo>
                  <a:lnTo>
                    <a:pt x="114" y="110"/>
                  </a:lnTo>
                  <a:lnTo>
                    <a:pt x="113" y="110"/>
                  </a:lnTo>
                  <a:lnTo>
                    <a:pt x="112" y="110"/>
                  </a:lnTo>
                  <a:lnTo>
                    <a:pt x="112" y="111"/>
                  </a:lnTo>
                  <a:lnTo>
                    <a:pt x="110" y="111"/>
                  </a:lnTo>
                  <a:lnTo>
                    <a:pt x="110" y="110"/>
                  </a:lnTo>
                  <a:lnTo>
                    <a:pt x="109" y="110"/>
                  </a:lnTo>
                  <a:lnTo>
                    <a:pt x="109" y="111"/>
                  </a:lnTo>
                  <a:lnTo>
                    <a:pt x="110" y="111"/>
                  </a:lnTo>
                  <a:lnTo>
                    <a:pt x="110" y="113"/>
                  </a:lnTo>
                  <a:lnTo>
                    <a:pt x="109" y="111"/>
                  </a:lnTo>
                  <a:lnTo>
                    <a:pt x="109" y="110"/>
                  </a:lnTo>
                  <a:lnTo>
                    <a:pt x="107" y="111"/>
                  </a:lnTo>
                  <a:lnTo>
                    <a:pt x="107" y="110"/>
                  </a:lnTo>
                  <a:lnTo>
                    <a:pt x="108" y="110"/>
                  </a:lnTo>
                  <a:lnTo>
                    <a:pt x="108" y="109"/>
                  </a:lnTo>
                  <a:lnTo>
                    <a:pt x="107" y="109"/>
                  </a:lnTo>
                  <a:lnTo>
                    <a:pt x="107" y="110"/>
                  </a:lnTo>
                  <a:lnTo>
                    <a:pt x="107" y="109"/>
                  </a:lnTo>
                  <a:lnTo>
                    <a:pt x="107" y="108"/>
                  </a:lnTo>
                  <a:lnTo>
                    <a:pt x="107" y="107"/>
                  </a:lnTo>
                  <a:lnTo>
                    <a:pt x="107" y="106"/>
                  </a:lnTo>
                  <a:lnTo>
                    <a:pt x="108" y="106"/>
                  </a:lnTo>
                  <a:lnTo>
                    <a:pt x="108" y="104"/>
                  </a:lnTo>
                  <a:lnTo>
                    <a:pt x="109" y="103"/>
                  </a:lnTo>
                  <a:lnTo>
                    <a:pt x="109" y="102"/>
                  </a:lnTo>
                  <a:lnTo>
                    <a:pt x="110" y="101"/>
                  </a:lnTo>
                  <a:lnTo>
                    <a:pt x="112" y="101"/>
                  </a:lnTo>
                  <a:lnTo>
                    <a:pt x="112" y="100"/>
                  </a:lnTo>
                  <a:lnTo>
                    <a:pt x="112" y="101"/>
                  </a:lnTo>
                  <a:lnTo>
                    <a:pt x="110" y="101"/>
                  </a:lnTo>
                  <a:lnTo>
                    <a:pt x="110" y="102"/>
                  </a:lnTo>
                  <a:lnTo>
                    <a:pt x="112" y="101"/>
                  </a:lnTo>
                  <a:lnTo>
                    <a:pt x="112" y="100"/>
                  </a:lnTo>
                  <a:lnTo>
                    <a:pt x="113" y="100"/>
                  </a:lnTo>
                  <a:lnTo>
                    <a:pt x="113" y="101"/>
                  </a:lnTo>
                  <a:lnTo>
                    <a:pt x="112" y="101"/>
                  </a:lnTo>
                  <a:lnTo>
                    <a:pt x="113" y="101"/>
                  </a:lnTo>
                  <a:lnTo>
                    <a:pt x="113" y="102"/>
                  </a:lnTo>
                  <a:lnTo>
                    <a:pt x="113" y="101"/>
                  </a:lnTo>
                  <a:lnTo>
                    <a:pt x="114" y="101"/>
                  </a:lnTo>
                  <a:lnTo>
                    <a:pt x="113" y="101"/>
                  </a:lnTo>
                  <a:lnTo>
                    <a:pt x="113" y="100"/>
                  </a:lnTo>
                  <a:lnTo>
                    <a:pt x="113" y="99"/>
                  </a:lnTo>
                  <a:lnTo>
                    <a:pt x="113" y="100"/>
                  </a:lnTo>
                  <a:lnTo>
                    <a:pt x="112" y="100"/>
                  </a:lnTo>
                  <a:lnTo>
                    <a:pt x="112" y="99"/>
                  </a:lnTo>
                  <a:lnTo>
                    <a:pt x="112" y="97"/>
                  </a:lnTo>
                  <a:lnTo>
                    <a:pt x="112" y="96"/>
                  </a:lnTo>
                  <a:lnTo>
                    <a:pt x="110" y="95"/>
                  </a:lnTo>
                  <a:lnTo>
                    <a:pt x="110" y="94"/>
                  </a:lnTo>
                  <a:lnTo>
                    <a:pt x="109" y="94"/>
                  </a:lnTo>
                  <a:lnTo>
                    <a:pt x="110" y="94"/>
                  </a:lnTo>
                  <a:lnTo>
                    <a:pt x="109" y="94"/>
                  </a:lnTo>
                  <a:lnTo>
                    <a:pt x="109" y="93"/>
                  </a:lnTo>
                  <a:lnTo>
                    <a:pt x="109" y="94"/>
                  </a:lnTo>
                  <a:lnTo>
                    <a:pt x="109" y="95"/>
                  </a:lnTo>
                  <a:lnTo>
                    <a:pt x="109" y="94"/>
                  </a:lnTo>
                  <a:lnTo>
                    <a:pt x="108" y="94"/>
                  </a:lnTo>
                  <a:lnTo>
                    <a:pt x="107" y="94"/>
                  </a:lnTo>
                  <a:lnTo>
                    <a:pt x="106" y="94"/>
                  </a:lnTo>
                  <a:lnTo>
                    <a:pt x="105" y="93"/>
                  </a:lnTo>
                  <a:lnTo>
                    <a:pt x="105" y="92"/>
                  </a:lnTo>
                  <a:lnTo>
                    <a:pt x="105" y="90"/>
                  </a:lnTo>
                  <a:lnTo>
                    <a:pt x="105" y="89"/>
                  </a:lnTo>
                  <a:lnTo>
                    <a:pt x="105" y="90"/>
                  </a:lnTo>
                  <a:lnTo>
                    <a:pt x="105" y="89"/>
                  </a:lnTo>
                  <a:lnTo>
                    <a:pt x="105" y="88"/>
                  </a:lnTo>
                  <a:lnTo>
                    <a:pt x="105" y="87"/>
                  </a:lnTo>
                  <a:lnTo>
                    <a:pt x="103" y="87"/>
                  </a:lnTo>
                  <a:lnTo>
                    <a:pt x="103" y="88"/>
                  </a:lnTo>
                  <a:lnTo>
                    <a:pt x="102" y="87"/>
                  </a:lnTo>
                  <a:lnTo>
                    <a:pt x="101" y="87"/>
                  </a:lnTo>
                  <a:lnTo>
                    <a:pt x="100" y="87"/>
                  </a:lnTo>
                  <a:lnTo>
                    <a:pt x="100" y="86"/>
                  </a:lnTo>
                  <a:lnTo>
                    <a:pt x="99" y="86"/>
                  </a:lnTo>
                  <a:lnTo>
                    <a:pt x="99" y="85"/>
                  </a:lnTo>
                  <a:lnTo>
                    <a:pt x="98" y="85"/>
                  </a:lnTo>
                  <a:lnTo>
                    <a:pt x="99" y="85"/>
                  </a:lnTo>
                  <a:lnTo>
                    <a:pt x="99" y="83"/>
                  </a:lnTo>
                  <a:lnTo>
                    <a:pt x="98" y="83"/>
                  </a:lnTo>
                  <a:lnTo>
                    <a:pt x="98" y="82"/>
                  </a:lnTo>
                  <a:lnTo>
                    <a:pt x="98" y="81"/>
                  </a:lnTo>
                  <a:lnTo>
                    <a:pt x="98" y="80"/>
                  </a:lnTo>
                  <a:lnTo>
                    <a:pt x="98" y="79"/>
                  </a:lnTo>
                  <a:lnTo>
                    <a:pt x="99" y="79"/>
                  </a:lnTo>
                  <a:lnTo>
                    <a:pt x="99" y="78"/>
                  </a:lnTo>
                  <a:lnTo>
                    <a:pt x="99" y="76"/>
                  </a:lnTo>
                  <a:lnTo>
                    <a:pt x="100" y="76"/>
                  </a:lnTo>
                  <a:lnTo>
                    <a:pt x="100" y="75"/>
                  </a:lnTo>
                  <a:lnTo>
                    <a:pt x="99" y="75"/>
                  </a:lnTo>
                  <a:lnTo>
                    <a:pt x="98" y="75"/>
                  </a:lnTo>
                  <a:lnTo>
                    <a:pt x="96" y="75"/>
                  </a:lnTo>
                  <a:lnTo>
                    <a:pt x="96" y="74"/>
                  </a:lnTo>
                  <a:lnTo>
                    <a:pt x="95" y="75"/>
                  </a:lnTo>
                  <a:lnTo>
                    <a:pt x="95" y="76"/>
                  </a:lnTo>
                  <a:lnTo>
                    <a:pt x="95" y="75"/>
                  </a:lnTo>
                  <a:lnTo>
                    <a:pt x="94" y="75"/>
                  </a:lnTo>
                  <a:lnTo>
                    <a:pt x="95" y="75"/>
                  </a:lnTo>
                  <a:lnTo>
                    <a:pt x="94" y="74"/>
                  </a:lnTo>
                  <a:lnTo>
                    <a:pt x="93" y="74"/>
                  </a:lnTo>
                  <a:lnTo>
                    <a:pt x="92" y="74"/>
                  </a:lnTo>
                  <a:lnTo>
                    <a:pt x="92" y="73"/>
                  </a:lnTo>
                  <a:lnTo>
                    <a:pt x="91" y="73"/>
                  </a:lnTo>
                  <a:lnTo>
                    <a:pt x="91" y="72"/>
                  </a:lnTo>
                  <a:lnTo>
                    <a:pt x="91" y="71"/>
                  </a:lnTo>
                  <a:lnTo>
                    <a:pt x="91" y="69"/>
                  </a:lnTo>
                  <a:lnTo>
                    <a:pt x="89" y="68"/>
                  </a:lnTo>
                  <a:lnTo>
                    <a:pt x="89" y="67"/>
                  </a:lnTo>
                  <a:lnTo>
                    <a:pt x="88" y="67"/>
                  </a:lnTo>
                  <a:lnTo>
                    <a:pt x="87" y="66"/>
                  </a:lnTo>
                  <a:lnTo>
                    <a:pt x="87" y="65"/>
                  </a:lnTo>
                  <a:lnTo>
                    <a:pt x="86" y="65"/>
                  </a:lnTo>
                  <a:lnTo>
                    <a:pt x="85" y="62"/>
                  </a:lnTo>
                  <a:lnTo>
                    <a:pt x="85" y="61"/>
                  </a:lnTo>
                  <a:lnTo>
                    <a:pt x="86" y="61"/>
                  </a:lnTo>
                  <a:lnTo>
                    <a:pt x="85" y="61"/>
                  </a:lnTo>
                  <a:lnTo>
                    <a:pt x="85" y="60"/>
                  </a:lnTo>
                  <a:lnTo>
                    <a:pt x="84" y="60"/>
                  </a:lnTo>
                  <a:lnTo>
                    <a:pt x="84" y="59"/>
                  </a:lnTo>
                  <a:lnTo>
                    <a:pt x="84" y="58"/>
                  </a:lnTo>
                  <a:lnTo>
                    <a:pt x="82" y="58"/>
                  </a:lnTo>
                  <a:lnTo>
                    <a:pt x="82" y="57"/>
                  </a:lnTo>
                  <a:lnTo>
                    <a:pt x="84" y="57"/>
                  </a:lnTo>
                  <a:lnTo>
                    <a:pt x="82" y="57"/>
                  </a:lnTo>
                  <a:lnTo>
                    <a:pt x="84" y="57"/>
                  </a:lnTo>
                  <a:lnTo>
                    <a:pt x="84" y="55"/>
                  </a:lnTo>
                  <a:lnTo>
                    <a:pt x="84" y="54"/>
                  </a:lnTo>
                  <a:lnTo>
                    <a:pt x="82" y="54"/>
                  </a:lnTo>
                  <a:lnTo>
                    <a:pt x="84" y="54"/>
                  </a:lnTo>
                  <a:lnTo>
                    <a:pt x="84" y="53"/>
                  </a:lnTo>
                  <a:lnTo>
                    <a:pt x="82" y="52"/>
                  </a:lnTo>
                  <a:lnTo>
                    <a:pt x="82" y="53"/>
                  </a:lnTo>
                  <a:lnTo>
                    <a:pt x="81" y="53"/>
                  </a:lnTo>
                  <a:lnTo>
                    <a:pt x="81" y="52"/>
                  </a:lnTo>
                  <a:lnTo>
                    <a:pt x="81" y="51"/>
                  </a:lnTo>
                  <a:lnTo>
                    <a:pt x="82" y="51"/>
                  </a:lnTo>
                  <a:lnTo>
                    <a:pt x="82" y="50"/>
                  </a:lnTo>
                  <a:lnTo>
                    <a:pt x="81" y="50"/>
                  </a:lnTo>
                  <a:lnTo>
                    <a:pt x="81" y="48"/>
                  </a:lnTo>
                  <a:lnTo>
                    <a:pt x="81" y="47"/>
                  </a:lnTo>
                  <a:lnTo>
                    <a:pt x="81" y="46"/>
                  </a:lnTo>
                  <a:lnTo>
                    <a:pt x="80" y="46"/>
                  </a:lnTo>
                  <a:lnTo>
                    <a:pt x="80" y="45"/>
                  </a:lnTo>
                  <a:lnTo>
                    <a:pt x="80" y="44"/>
                  </a:lnTo>
                  <a:lnTo>
                    <a:pt x="79" y="44"/>
                  </a:lnTo>
                  <a:lnTo>
                    <a:pt x="79" y="43"/>
                  </a:lnTo>
                  <a:lnTo>
                    <a:pt x="80" y="41"/>
                  </a:lnTo>
                  <a:lnTo>
                    <a:pt x="80" y="40"/>
                  </a:lnTo>
                  <a:lnTo>
                    <a:pt x="80" y="39"/>
                  </a:lnTo>
                  <a:lnTo>
                    <a:pt x="80" y="38"/>
                  </a:lnTo>
                  <a:lnTo>
                    <a:pt x="79" y="38"/>
                  </a:lnTo>
                  <a:lnTo>
                    <a:pt x="80" y="37"/>
                  </a:lnTo>
                  <a:lnTo>
                    <a:pt x="80" y="36"/>
                  </a:lnTo>
                  <a:lnTo>
                    <a:pt x="80" y="34"/>
                  </a:lnTo>
                  <a:lnTo>
                    <a:pt x="79" y="33"/>
                  </a:lnTo>
                  <a:lnTo>
                    <a:pt x="79" y="32"/>
                  </a:lnTo>
                  <a:lnTo>
                    <a:pt x="79" y="31"/>
                  </a:lnTo>
                  <a:lnTo>
                    <a:pt x="79" y="30"/>
                  </a:lnTo>
                  <a:lnTo>
                    <a:pt x="79" y="29"/>
                  </a:lnTo>
                  <a:lnTo>
                    <a:pt x="79" y="27"/>
                  </a:lnTo>
                  <a:lnTo>
                    <a:pt x="80" y="26"/>
                  </a:lnTo>
                  <a:lnTo>
                    <a:pt x="80" y="25"/>
                  </a:lnTo>
                  <a:lnTo>
                    <a:pt x="80" y="26"/>
                  </a:lnTo>
                  <a:lnTo>
                    <a:pt x="80" y="25"/>
                  </a:lnTo>
                  <a:lnTo>
                    <a:pt x="81" y="25"/>
                  </a:lnTo>
                  <a:lnTo>
                    <a:pt x="81" y="24"/>
                  </a:lnTo>
                  <a:lnTo>
                    <a:pt x="81" y="23"/>
                  </a:lnTo>
                  <a:lnTo>
                    <a:pt x="80" y="23"/>
                  </a:lnTo>
                  <a:lnTo>
                    <a:pt x="80" y="22"/>
                  </a:lnTo>
                  <a:lnTo>
                    <a:pt x="79" y="22"/>
                  </a:lnTo>
                  <a:lnTo>
                    <a:pt x="77" y="22"/>
                  </a:lnTo>
                  <a:lnTo>
                    <a:pt x="76" y="22"/>
                  </a:lnTo>
                  <a:lnTo>
                    <a:pt x="76" y="20"/>
                  </a:lnTo>
                  <a:lnTo>
                    <a:pt x="74" y="20"/>
                  </a:lnTo>
                  <a:lnTo>
                    <a:pt x="74" y="19"/>
                  </a:lnTo>
                  <a:lnTo>
                    <a:pt x="76" y="18"/>
                  </a:lnTo>
                  <a:lnTo>
                    <a:pt x="74" y="18"/>
                  </a:lnTo>
                  <a:lnTo>
                    <a:pt x="74" y="17"/>
                  </a:lnTo>
                  <a:lnTo>
                    <a:pt x="73" y="17"/>
                  </a:lnTo>
                  <a:lnTo>
                    <a:pt x="72" y="17"/>
                  </a:lnTo>
                  <a:lnTo>
                    <a:pt x="72" y="16"/>
                  </a:lnTo>
                  <a:lnTo>
                    <a:pt x="72" y="17"/>
                  </a:lnTo>
                  <a:lnTo>
                    <a:pt x="72" y="16"/>
                  </a:lnTo>
                  <a:lnTo>
                    <a:pt x="71" y="17"/>
                  </a:lnTo>
                  <a:lnTo>
                    <a:pt x="71" y="18"/>
                  </a:lnTo>
                  <a:lnTo>
                    <a:pt x="70" y="18"/>
                  </a:lnTo>
                  <a:lnTo>
                    <a:pt x="69" y="18"/>
                  </a:lnTo>
                  <a:lnTo>
                    <a:pt x="67" y="18"/>
                  </a:lnTo>
                  <a:lnTo>
                    <a:pt x="67" y="17"/>
                  </a:lnTo>
                  <a:lnTo>
                    <a:pt x="66" y="17"/>
                  </a:lnTo>
                  <a:lnTo>
                    <a:pt x="66" y="16"/>
                  </a:lnTo>
                  <a:lnTo>
                    <a:pt x="65" y="16"/>
                  </a:lnTo>
                  <a:lnTo>
                    <a:pt x="64" y="15"/>
                  </a:lnTo>
                  <a:lnTo>
                    <a:pt x="64" y="14"/>
                  </a:lnTo>
                  <a:lnTo>
                    <a:pt x="63" y="14"/>
                  </a:lnTo>
                  <a:lnTo>
                    <a:pt x="62" y="14"/>
                  </a:lnTo>
                  <a:lnTo>
                    <a:pt x="62" y="12"/>
                  </a:lnTo>
                  <a:lnTo>
                    <a:pt x="60" y="12"/>
                  </a:lnTo>
                  <a:lnTo>
                    <a:pt x="60" y="11"/>
                  </a:lnTo>
                  <a:lnTo>
                    <a:pt x="59" y="11"/>
                  </a:lnTo>
                  <a:lnTo>
                    <a:pt x="59" y="12"/>
                  </a:lnTo>
                  <a:lnTo>
                    <a:pt x="60" y="12"/>
                  </a:lnTo>
                  <a:lnTo>
                    <a:pt x="60" y="14"/>
                  </a:lnTo>
                  <a:lnTo>
                    <a:pt x="60" y="15"/>
                  </a:lnTo>
                  <a:lnTo>
                    <a:pt x="60" y="16"/>
                  </a:lnTo>
                  <a:lnTo>
                    <a:pt x="60" y="17"/>
                  </a:lnTo>
                  <a:lnTo>
                    <a:pt x="59" y="17"/>
                  </a:lnTo>
                  <a:lnTo>
                    <a:pt x="59" y="18"/>
                  </a:lnTo>
                  <a:lnTo>
                    <a:pt x="58" y="19"/>
                  </a:lnTo>
                  <a:lnTo>
                    <a:pt x="58" y="20"/>
                  </a:lnTo>
                  <a:lnTo>
                    <a:pt x="58" y="22"/>
                  </a:lnTo>
                  <a:lnTo>
                    <a:pt x="57" y="23"/>
                  </a:lnTo>
                  <a:lnTo>
                    <a:pt x="57" y="24"/>
                  </a:lnTo>
                  <a:lnTo>
                    <a:pt x="57" y="25"/>
                  </a:lnTo>
                  <a:lnTo>
                    <a:pt x="57" y="26"/>
                  </a:lnTo>
                  <a:lnTo>
                    <a:pt x="58" y="26"/>
                  </a:lnTo>
                  <a:lnTo>
                    <a:pt x="58" y="27"/>
                  </a:lnTo>
                  <a:lnTo>
                    <a:pt x="58" y="29"/>
                  </a:lnTo>
                  <a:lnTo>
                    <a:pt x="57" y="30"/>
                  </a:lnTo>
                  <a:lnTo>
                    <a:pt x="57" y="31"/>
                  </a:lnTo>
                  <a:lnTo>
                    <a:pt x="57" y="32"/>
                  </a:lnTo>
                  <a:lnTo>
                    <a:pt x="57" y="33"/>
                  </a:lnTo>
                  <a:lnTo>
                    <a:pt x="57" y="34"/>
                  </a:lnTo>
                  <a:lnTo>
                    <a:pt x="57" y="36"/>
                  </a:lnTo>
                  <a:lnTo>
                    <a:pt x="56" y="36"/>
                  </a:lnTo>
                  <a:lnTo>
                    <a:pt x="56" y="37"/>
                  </a:lnTo>
                  <a:lnTo>
                    <a:pt x="56" y="38"/>
                  </a:lnTo>
                  <a:lnTo>
                    <a:pt x="55" y="38"/>
                  </a:lnTo>
                  <a:lnTo>
                    <a:pt x="55" y="39"/>
                  </a:lnTo>
                  <a:lnTo>
                    <a:pt x="55" y="40"/>
                  </a:lnTo>
                  <a:lnTo>
                    <a:pt x="56" y="40"/>
                  </a:lnTo>
                  <a:lnTo>
                    <a:pt x="56" y="41"/>
                  </a:lnTo>
                  <a:lnTo>
                    <a:pt x="56" y="43"/>
                  </a:lnTo>
                  <a:lnTo>
                    <a:pt x="56" y="44"/>
                  </a:lnTo>
                  <a:lnTo>
                    <a:pt x="57" y="44"/>
                  </a:lnTo>
                  <a:lnTo>
                    <a:pt x="57" y="45"/>
                  </a:lnTo>
                  <a:lnTo>
                    <a:pt x="57" y="46"/>
                  </a:lnTo>
                  <a:lnTo>
                    <a:pt x="58" y="46"/>
                  </a:lnTo>
                  <a:lnTo>
                    <a:pt x="58" y="45"/>
                  </a:lnTo>
                  <a:lnTo>
                    <a:pt x="58" y="46"/>
                  </a:lnTo>
                  <a:lnTo>
                    <a:pt x="58" y="45"/>
                  </a:lnTo>
                  <a:lnTo>
                    <a:pt x="58" y="46"/>
                  </a:lnTo>
                  <a:lnTo>
                    <a:pt x="59" y="46"/>
                  </a:lnTo>
                  <a:lnTo>
                    <a:pt x="59" y="47"/>
                  </a:lnTo>
                  <a:lnTo>
                    <a:pt x="59" y="46"/>
                  </a:lnTo>
                  <a:lnTo>
                    <a:pt x="59" y="47"/>
                  </a:lnTo>
                  <a:lnTo>
                    <a:pt x="60" y="47"/>
                  </a:lnTo>
                  <a:lnTo>
                    <a:pt x="60" y="48"/>
                  </a:lnTo>
                  <a:lnTo>
                    <a:pt x="62" y="48"/>
                  </a:lnTo>
                  <a:lnTo>
                    <a:pt x="62" y="50"/>
                  </a:lnTo>
                  <a:lnTo>
                    <a:pt x="63" y="51"/>
                  </a:lnTo>
                  <a:lnTo>
                    <a:pt x="64" y="53"/>
                  </a:lnTo>
                  <a:lnTo>
                    <a:pt x="64" y="54"/>
                  </a:lnTo>
                  <a:lnTo>
                    <a:pt x="64" y="55"/>
                  </a:lnTo>
                  <a:lnTo>
                    <a:pt x="65" y="55"/>
                  </a:lnTo>
                  <a:lnTo>
                    <a:pt x="65" y="57"/>
                  </a:lnTo>
                  <a:lnTo>
                    <a:pt x="64" y="58"/>
                  </a:lnTo>
                  <a:lnTo>
                    <a:pt x="64" y="59"/>
                  </a:lnTo>
                  <a:lnTo>
                    <a:pt x="65" y="59"/>
                  </a:lnTo>
                  <a:lnTo>
                    <a:pt x="66" y="58"/>
                  </a:lnTo>
                  <a:lnTo>
                    <a:pt x="66" y="59"/>
                  </a:lnTo>
                  <a:lnTo>
                    <a:pt x="66" y="60"/>
                  </a:lnTo>
                  <a:lnTo>
                    <a:pt x="66" y="61"/>
                  </a:lnTo>
                  <a:lnTo>
                    <a:pt x="66" y="60"/>
                  </a:lnTo>
                  <a:lnTo>
                    <a:pt x="67" y="60"/>
                  </a:lnTo>
                  <a:lnTo>
                    <a:pt x="69" y="60"/>
                  </a:lnTo>
                  <a:lnTo>
                    <a:pt x="69" y="61"/>
                  </a:lnTo>
                  <a:lnTo>
                    <a:pt x="67" y="61"/>
                  </a:lnTo>
                  <a:lnTo>
                    <a:pt x="69" y="62"/>
                  </a:lnTo>
                  <a:lnTo>
                    <a:pt x="69" y="64"/>
                  </a:lnTo>
                  <a:lnTo>
                    <a:pt x="69" y="65"/>
                  </a:lnTo>
                  <a:lnTo>
                    <a:pt x="69" y="66"/>
                  </a:lnTo>
                  <a:lnTo>
                    <a:pt x="70" y="66"/>
                  </a:lnTo>
                  <a:lnTo>
                    <a:pt x="71" y="66"/>
                  </a:lnTo>
                  <a:lnTo>
                    <a:pt x="71" y="67"/>
                  </a:lnTo>
                  <a:lnTo>
                    <a:pt x="71" y="66"/>
                  </a:lnTo>
                  <a:lnTo>
                    <a:pt x="71" y="67"/>
                  </a:lnTo>
                  <a:lnTo>
                    <a:pt x="71" y="68"/>
                  </a:lnTo>
                  <a:lnTo>
                    <a:pt x="70" y="69"/>
                  </a:lnTo>
                  <a:lnTo>
                    <a:pt x="71" y="69"/>
                  </a:lnTo>
                  <a:lnTo>
                    <a:pt x="71" y="71"/>
                  </a:lnTo>
                  <a:lnTo>
                    <a:pt x="71" y="72"/>
                  </a:lnTo>
                  <a:lnTo>
                    <a:pt x="71" y="73"/>
                  </a:lnTo>
                  <a:lnTo>
                    <a:pt x="70" y="73"/>
                  </a:lnTo>
                  <a:lnTo>
                    <a:pt x="71" y="73"/>
                  </a:lnTo>
                  <a:lnTo>
                    <a:pt x="71" y="74"/>
                  </a:lnTo>
                  <a:lnTo>
                    <a:pt x="70" y="74"/>
                  </a:lnTo>
                  <a:lnTo>
                    <a:pt x="70" y="75"/>
                  </a:lnTo>
                  <a:lnTo>
                    <a:pt x="70" y="76"/>
                  </a:lnTo>
                  <a:lnTo>
                    <a:pt x="71" y="76"/>
                  </a:lnTo>
                  <a:lnTo>
                    <a:pt x="71" y="78"/>
                  </a:lnTo>
                  <a:lnTo>
                    <a:pt x="71" y="79"/>
                  </a:lnTo>
                  <a:lnTo>
                    <a:pt x="72" y="79"/>
                  </a:lnTo>
                  <a:lnTo>
                    <a:pt x="72" y="80"/>
                  </a:lnTo>
                  <a:lnTo>
                    <a:pt x="73" y="80"/>
                  </a:lnTo>
                  <a:lnTo>
                    <a:pt x="74" y="80"/>
                  </a:lnTo>
                  <a:lnTo>
                    <a:pt x="74" y="81"/>
                  </a:lnTo>
                  <a:lnTo>
                    <a:pt x="74" y="82"/>
                  </a:lnTo>
                  <a:lnTo>
                    <a:pt x="74" y="83"/>
                  </a:lnTo>
                  <a:lnTo>
                    <a:pt x="74" y="85"/>
                  </a:lnTo>
                  <a:lnTo>
                    <a:pt x="76" y="85"/>
                  </a:lnTo>
                  <a:lnTo>
                    <a:pt x="76" y="86"/>
                  </a:lnTo>
                  <a:lnTo>
                    <a:pt x="74" y="86"/>
                  </a:lnTo>
                  <a:lnTo>
                    <a:pt x="76" y="86"/>
                  </a:lnTo>
                  <a:lnTo>
                    <a:pt x="76" y="87"/>
                  </a:lnTo>
                  <a:lnTo>
                    <a:pt x="77" y="87"/>
                  </a:lnTo>
                  <a:lnTo>
                    <a:pt x="77" y="88"/>
                  </a:lnTo>
                  <a:lnTo>
                    <a:pt x="78" y="88"/>
                  </a:lnTo>
                  <a:lnTo>
                    <a:pt x="77" y="88"/>
                  </a:lnTo>
                  <a:lnTo>
                    <a:pt x="77" y="89"/>
                  </a:lnTo>
                  <a:lnTo>
                    <a:pt x="77" y="90"/>
                  </a:lnTo>
                  <a:lnTo>
                    <a:pt x="77" y="92"/>
                  </a:lnTo>
                  <a:lnTo>
                    <a:pt x="78" y="92"/>
                  </a:lnTo>
                  <a:lnTo>
                    <a:pt x="78" y="93"/>
                  </a:lnTo>
                  <a:lnTo>
                    <a:pt x="77" y="94"/>
                  </a:lnTo>
                  <a:lnTo>
                    <a:pt x="78" y="94"/>
                  </a:lnTo>
                  <a:lnTo>
                    <a:pt x="78" y="95"/>
                  </a:lnTo>
                  <a:lnTo>
                    <a:pt x="78" y="96"/>
                  </a:lnTo>
                  <a:lnTo>
                    <a:pt x="79" y="96"/>
                  </a:lnTo>
                  <a:lnTo>
                    <a:pt x="79" y="95"/>
                  </a:lnTo>
                  <a:lnTo>
                    <a:pt x="79" y="94"/>
                  </a:lnTo>
                  <a:lnTo>
                    <a:pt x="78" y="94"/>
                  </a:lnTo>
                  <a:lnTo>
                    <a:pt x="78" y="93"/>
                  </a:lnTo>
                  <a:lnTo>
                    <a:pt x="79" y="92"/>
                  </a:lnTo>
                  <a:lnTo>
                    <a:pt x="78" y="92"/>
                  </a:lnTo>
                  <a:lnTo>
                    <a:pt x="79" y="92"/>
                  </a:lnTo>
                  <a:lnTo>
                    <a:pt x="79" y="90"/>
                  </a:lnTo>
                  <a:lnTo>
                    <a:pt x="79" y="92"/>
                  </a:lnTo>
                  <a:lnTo>
                    <a:pt x="80" y="92"/>
                  </a:lnTo>
                  <a:lnTo>
                    <a:pt x="80" y="93"/>
                  </a:lnTo>
                  <a:lnTo>
                    <a:pt x="81" y="94"/>
                  </a:lnTo>
                  <a:lnTo>
                    <a:pt x="81" y="95"/>
                  </a:lnTo>
                  <a:lnTo>
                    <a:pt x="81" y="96"/>
                  </a:lnTo>
                  <a:lnTo>
                    <a:pt x="82" y="96"/>
                  </a:lnTo>
                  <a:lnTo>
                    <a:pt x="82" y="97"/>
                  </a:lnTo>
                  <a:lnTo>
                    <a:pt x="81" y="97"/>
                  </a:lnTo>
                  <a:lnTo>
                    <a:pt x="81" y="99"/>
                  </a:lnTo>
                  <a:lnTo>
                    <a:pt x="82" y="99"/>
                  </a:lnTo>
                  <a:lnTo>
                    <a:pt x="82" y="100"/>
                  </a:lnTo>
                  <a:lnTo>
                    <a:pt x="82" y="101"/>
                  </a:lnTo>
                  <a:lnTo>
                    <a:pt x="82" y="102"/>
                  </a:lnTo>
                  <a:lnTo>
                    <a:pt x="82" y="103"/>
                  </a:lnTo>
                  <a:lnTo>
                    <a:pt x="82" y="104"/>
                  </a:lnTo>
                  <a:lnTo>
                    <a:pt x="81" y="104"/>
                  </a:lnTo>
                  <a:lnTo>
                    <a:pt x="82" y="104"/>
                  </a:lnTo>
                  <a:lnTo>
                    <a:pt x="81" y="106"/>
                  </a:lnTo>
                  <a:lnTo>
                    <a:pt x="81" y="107"/>
                  </a:lnTo>
                  <a:lnTo>
                    <a:pt x="81" y="108"/>
                  </a:lnTo>
                  <a:lnTo>
                    <a:pt x="81" y="109"/>
                  </a:lnTo>
                  <a:lnTo>
                    <a:pt x="82" y="109"/>
                  </a:lnTo>
                  <a:lnTo>
                    <a:pt x="82" y="110"/>
                  </a:lnTo>
                  <a:lnTo>
                    <a:pt x="82" y="111"/>
                  </a:lnTo>
                  <a:lnTo>
                    <a:pt x="82" y="113"/>
                  </a:lnTo>
                  <a:lnTo>
                    <a:pt x="84" y="113"/>
                  </a:lnTo>
                  <a:lnTo>
                    <a:pt x="85" y="113"/>
                  </a:lnTo>
                  <a:lnTo>
                    <a:pt x="85" y="114"/>
                  </a:lnTo>
                  <a:lnTo>
                    <a:pt x="84" y="114"/>
                  </a:lnTo>
                  <a:lnTo>
                    <a:pt x="85" y="115"/>
                  </a:lnTo>
                  <a:lnTo>
                    <a:pt x="85" y="116"/>
                  </a:lnTo>
                  <a:lnTo>
                    <a:pt x="85" y="117"/>
                  </a:lnTo>
                  <a:lnTo>
                    <a:pt x="85" y="118"/>
                  </a:lnTo>
                  <a:lnTo>
                    <a:pt x="85" y="120"/>
                  </a:lnTo>
                  <a:lnTo>
                    <a:pt x="86" y="120"/>
                  </a:lnTo>
                  <a:lnTo>
                    <a:pt x="86" y="121"/>
                  </a:lnTo>
                  <a:lnTo>
                    <a:pt x="86" y="122"/>
                  </a:lnTo>
                  <a:lnTo>
                    <a:pt x="87" y="122"/>
                  </a:lnTo>
                  <a:lnTo>
                    <a:pt x="87" y="123"/>
                  </a:lnTo>
                  <a:lnTo>
                    <a:pt x="87" y="124"/>
                  </a:lnTo>
                  <a:lnTo>
                    <a:pt x="86" y="125"/>
                  </a:lnTo>
                  <a:lnTo>
                    <a:pt x="86" y="127"/>
                  </a:lnTo>
                  <a:lnTo>
                    <a:pt x="85" y="127"/>
                  </a:lnTo>
                  <a:lnTo>
                    <a:pt x="85" y="128"/>
                  </a:lnTo>
                  <a:lnTo>
                    <a:pt x="85" y="129"/>
                  </a:lnTo>
                  <a:lnTo>
                    <a:pt x="86" y="129"/>
                  </a:lnTo>
                  <a:lnTo>
                    <a:pt x="86" y="130"/>
                  </a:lnTo>
                  <a:lnTo>
                    <a:pt x="85" y="130"/>
                  </a:lnTo>
                  <a:lnTo>
                    <a:pt x="85" y="131"/>
                  </a:lnTo>
                  <a:lnTo>
                    <a:pt x="86" y="131"/>
                  </a:lnTo>
                  <a:lnTo>
                    <a:pt x="86" y="132"/>
                  </a:lnTo>
                  <a:lnTo>
                    <a:pt x="86" y="134"/>
                  </a:lnTo>
                  <a:lnTo>
                    <a:pt x="87" y="134"/>
                  </a:lnTo>
                  <a:lnTo>
                    <a:pt x="88" y="134"/>
                  </a:lnTo>
                  <a:lnTo>
                    <a:pt x="89" y="134"/>
                  </a:lnTo>
                  <a:lnTo>
                    <a:pt x="89" y="135"/>
                  </a:lnTo>
                  <a:lnTo>
                    <a:pt x="88" y="135"/>
                  </a:lnTo>
                  <a:lnTo>
                    <a:pt x="88" y="134"/>
                  </a:lnTo>
                  <a:lnTo>
                    <a:pt x="88" y="135"/>
                  </a:lnTo>
                  <a:lnTo>
                    <a:pt x="89" y="135"/>
                  </a:lnTo>
                  <a:lnTo>
                    <a:pt x="89" y="134"/>
                  </a:lnTo>
                  <a:lnTo>
                    <a:pt x="89" y="132"/>
                  </a:lnTo>
                  <a:lnTo>
                    <a:pt x="89" y="131"/>
                  </a:lnTo>
                  <a:lnTo>
                    <a:pt x="91" y="131"/>
                  </a:lnTo>
                  <a:lnTo>
                    <a:pt x="89" y="131"/>
                  </a:lnTo>
                  <a:lnTo>
                    <a:pt x="91" y="131"/>
                  </a:lnTo>
                  <a:lnTo>
                    <a:pt x="92" y="131"/>
                  </a:lnTo>
                  <a:lnTo>
                    <a:pt x="92" y="132"/>
                  </a:lnTo>
                  <a:lnTo>
                    <a:pt x="93" y="134"/>
                  </a:lnTo>
                  <a:lnTo>
                    <a:pt x="94" y="134"/>
                  </a:lnTo>
                  <a:lnTo>
                    <a:pt x="94" y="135"/>
                  </a:lnTo>
                  <a:lnTo>
                    <a:pt x="94" y="136"/>
                  </a:lnTo>
                  <a:lnTo>
                    <a:pt x="95" y="136"/>
                  </a:lnTo>
                  <a:lnTo>
                    <a:pt x="96" y="136"/>
                  </a:lnTo>
                  <a:lnTo>
                    <a:pt x="96" y="137"/>
                  </a:lnTo>
                  <a:lnTo>
                    <a:pt x="95" y="137"/>
                  </a:lnTo>
                  <a:lnTo>
                    <a:pt x="95" y="138"/>
                  </a:lnTo>
                  <a:lnTo>
                    <a:pt x="96" y="138"/>
                  </a:lnTo>
                  <a:lnTo>
                    <a:pt x="96" y="139"/>
                  </a:lnTo>
                  <a:lnTo>
                    <a:pt x="96" y="141"/>
                  </a:lnTo>
                  <a:lnTo>
                    <a:pt x="96" y="142"/>
                  </a:lnTo>
                  <a:lnTo>
                    <a:pt x="98" y="143"/>
                  </a:lnTo>
                  <a:lnTo>
                    <a:pt x="99" y="143"/>
                  </a:lnTo>
                  <a:lnTo>
                    <a:pt x="99" y="144"/>
                  </a:lnTo>
                  <a:lnTo>
                    <a:pt x="100" y="144"/>
                  </a:lnTo>
                  <a:lnTo>
                    <a:pt x="99" y="144"/>
                  </a:lnTo>
                  <a:lnTo>
                    <a:pt x="100" y="145"/>
                  </a:lnTo>
                  <a:lnTo>
                    <a:pt x="100" y="146"/>
                  </a:lnTo>
                  <a:lnTo>
                    <a:pt x="100" y="148"/>
                  </a:lnTo>
                  <a:lnTo>
                    <a:pt x="99" y="148"/>
                  </a:lnTo>
                  <a:lnTo>
                    <a:pt x="99" y="149"/>
                  </a:lnTo>
                  <a:lnTo>
                    <a:pt x="99" y="150"/>
                  </a:lnTo>
                  <a:lnTo>
                    <a:pt x="98" y="150"/>
                  </a:lnTo>
                  <a:lnTo>
                    <a:pt x="98" y="151"/>
                  </a:lnTo>
                  <a:lnTo>
                    <a:pt x="96" y="151"/>
                  </a:lnTo>
                  <a:lnTo>
                    <a:pt x="95" y="151"/>
                  </a:lnTo>
                  <a:lnTo>
                    <a:pt x="95" y="152"/>
                  </a:lnTo>
                  <a:lnTo>
                    <a:pt x="94" y="152"/>
                  </a:lnTo>
                  <a:lnTo>
                    <a:pt x="94" y="153"/>
                  </a:lnTo>
                  <a:lnTo>
                    <a:pt x="93" y="153"/>
                  </a:lnTo>
                  <a:lnTo>
                    <a:pt x="93" y="155"/>
                  </a:lnTo>
                  <a:lnTo>
                    <a:pt x="92" y="155"/>
                  </a:lnTo>
                  <a:lnTo>
                    <a:pt x="91" y="155"/>
                  </a:lnTo>
                  <a:lnTo>
                    <a:pt x="89" y="153"/>
                  </a:lnTo>
                  <a:lnTo>
                    <a:pt x="89" y="152"/>
                  </a:lnTo>
                  <a:lnTo>
                    <a:pt x="89" y="151"/>
                  </a:lnTo>
                  <a:lnTo>
                    <a:pt x="89" y="149"/>
                  </a:lnTo>
                  <a:lnTo>
                    <a:pt x="89" y="148"/>
                  </a:lnTo>
                  <a:lnTo>
                    <a:pt x="88" y="146"/>
                  </a:lnTo>
                  <a:lnTo>
                    <a:pt x="88" y="145"/>
                  </a:lnTo>
                  <a:lnTo>
                    <a:pt x="88" y="144"/>
                  </a:lnTo>
                  <a:lnTo>
                    <a:pt x="87" y="143"/>
                  </a:lnTo>
                  <a:lnTo>
                    <a:pt x="85" y="142"/>
                  </a:lnTo>
                  <a:lnTo>
                    <a:pt x="84" y="141"/>
                  </a:lnTo>
                  <a:lnTo>
                    <a:pt x="82" y="139"/>
                  </a:lnTo>
                  <a:lnTo>
                    <a:pt x="82" y="138"/>
                  </a:lnTo>
                  <a:lnTo>
                    <a:pt x="81" y="138"/>
                  </a:lnTo>
                  <a:lnTo>
                    <a:pt x="81" y="137"/>
                  </a:lnTo>
                  <a:lnTo>
                    <a:pt x="80" y="136"/>
                  </a:lnTo>
                  <a:lnTo>
                    <a:pt x="80" y="135"/>
                  </a:lnTo>
                  <a:lnTo>
                    <a:pt x="79" y="135"/>
                  </a:lnTo>
                  <a:lnTo>
                    <a:pt x="78" y="134"/>
                  </a:lnTo>
                  <a:lnTo>
                    <a:pt x="77" y="132"/>
                  </a:lnTo>
                  <a:lnTo>
                    <a:pt x="74" y="131"/>
                  </a:lnTo>
                  <a:lnTo>
                    <a:pt x="76" y="132"/>
                  </a:lnTo>
                  <a:lnTo>
                    <a:pt x="76" y="131"/>
                  </a:lnTo>
                  <a:lnTo>
                    <a:pt x="74" y="131"/>
                  </a:lnTo>
                  <a:lnTo>
                    <a:pt x="74" y="130"/>
                  </a:lnTo>
                  <a:lnTo>
                    <a:pt x="73" y="130"/>
                  </a:lnTo>
                  <a:lnTo>
                    <a:pt x="73" y="129"/>
                  </a:lnTo>
                  <a:lnTo>
                    <a:pt x="73" y="128"/>
                  </a:lnTo>
                  <a:lnTo>
                    <a:pt x="72" y="128"/>
                  </a:lnTo>
                  <a:lnTo>
                    <a:pt x="71" y="128"/>
                  </a:lnTo>
                  <a:lnTo>
                    <a:pt x="71" y="129"/>
                  </a:lnTo>
                  <a:lnTo>
                    <a:pt x="71" y="128"/>
                  </a:lnTo>
                  <a:lnTo>
                    <a:pt x="71" y="127"/>
                  </a:lnTo>
                  <a:lnTo>
                    <a:pt x="70" y="127"/>
                  </a:lnTo>
                  <a:lnTo>
                    <a:pt x="70" y="125"/>
                  </a:lnTo>
                  <a:lnTo>
                    <a:pt x="70" y="124"/>
                  </a:lnTo>
                  <a:lnTo>
                    <a:pt x="69" y="124"/>
                  </a:lnTo>
                  <a:lnTo>
                    <a:pt x="70" y="124"/>
                  </a:lnTo>
                  <a:lnTo>
                    <a:pt x="69" y="123"/>
                  </a:lnTo>
                  <a:lnTo>
                    <a:pt x="69" y="124"/>
                  </a:lnTo>
                  <a:lnTo>
                    <a:pt x="69" y="125"/>
                  </a:lnTo>
                  <a:lnTo>
                    <a:pt x="69" y="124"/>
                  </a:lnTo>
                  <a:lnTo>
                    <a:pt x="69" y="125"/>
                  </a:lnTo>
                  <a:lnTo>
                    <a:pt x="69" y="124"/>
                  </a:lnTo>
                  <a:lnTo>
                    <a:pt x="69" y="123"/>
                  </a:lnTo>
                  <a:lnTo>
                    <a:pt x="69" y="124"/>
                  </a:lnTo>
                  <a:lnTo>
                    <a:pt x="69" y="125"/>
                  </a:lnTo>
                  <a:lnTo>
                    <a:pt x="67" y="125"/>
                  </a:lnTo>
                  <a:lnTo>
                    <a:pt x="67" y="124"/>
                  </a:lnTo>
                  <a:lnTo>
                    <a:pt x="67" y="123"/>
                  </a:lnTo>
                  <a:lnTo>
                    <a:pt x="67" y="122"/>
                  </a:lnTo>
                  <a:lnTo>
                    <a:pt x="69" y="122"/>
                  </a:lnTo>
                  <a:lnTo>
                    <a:pt x="69" y="121"/>
                  </a:lnTo>
                  <a:lnTo>
                    <a:pt x="67" y="121"/>
                  </a:lnTo>
                  <a:lnTo>
                    <a:pt x="67" y="122"/>
                  </a:lnTo>
                  <a:lnTo>
                    <a:pt x="67" y="123"/>
                  </a:lnTo>
                  <a:lnTo>
                    <a:pt x="67" y="122"/>
                  </a:lnTo>
                  <a:lnTo>
                    <a:pt x="67" y="121"/>
                  </a:lnTo>
                  <a:lnTo>
                    <a:pt x="67" y="120"/>
                  </a:lnTo>
                  <a:lnTo>
                    <a:pt x="67" y="118"/>
                  </a:lnTo>
                  <a:lnTo>
                    <a:pt x="69" y="118"/>
                  </a:lnTo>
                  <a:lnTo>
                    <a:pt x="69" y="117"/>
                  </a:lnTo>
                  <a:lnTo>
                    <a:pt x="70" y="117"/>
                  </a:lnTo>
                  <a:lnTo>
                    <a:pt x="70" y="116"/>
                  </a:lnTo>
                  <a:lnTo>
                    <a:pt x="70" y="115"/>
                  </a:lnTo>
                  <a:lnTo>
                    <a:pt x="70" y="114"/>
                  </a:lnTo>
                  <a:lnTo>
                    <a:pt x="71" y="114"/>
                  </a:lnTo>
                  <a:lnTo>
                    <a:pt x="70" y="114"/>
                  </a:lnTo>
                  <a:lnTo>
                    <a:pt x="70" y="113"/>
                  </a:lnTo>
                  <a:lnTo>
                    <a:pt x="71" y="113"/>
                  </a:lnTo>
                  <a:lnTo>
                    <a:pt x="71" y="111"/>
                  </a:lnTo>
                  <a:lnTo>
                    <a:pt x="71" y="110"/>
                  </a:lnTo>
                  <a:lnTo>
                    <a:pt x="71" y="109"/>
                  </a:lnTo>
                  <a:lnTo>
                    <a:pt x="71" y="110"/>
                  </a:lnTo>
                  <a:lnTo>
                    <a:pt x="70" y="111"/>
                  </a:lnTo>
                  <a:lnTo>
                    <a:pt x="70" y="113"/>
                  </a:lnTo>
                  <a:lnTo>
                    <a:pt x="70" y="111"/>
                  </a:lnTo>
                  <a:lnTo>
                    <a:pt x="71" y="109"/>
                  </a:lnTo>
                  <a:lnTo>
                    <a:pt x="71" y="108"/>
                  </a:lnTo>
                  <a:lnTo>
                    <a:pt x="71" y="107"/>
                  </a:lnTo>
                  <a:lnTo>
                    <a:pt x="71" y="106"/>
                  </a:lnTo>
                  <a:lnTo>
                    <a:pt x="70" y="106"/>
                  </a:lnTo>
                  <a:lnTo>
                    <a:pt x="70" y="104"/>
                  </a:lnTo>
                  <a:lnTo>
                    <a:pt x="69" y="104"/>
                  </a:lnTo>
                  <a:lnTo>
                    <a:pt x="69" y="103"/>
                  </a:lnTo>
                  <a:lnTo>
                    <a:pt x="69" y="102"/>
                  </a:lnTo>
                  <a:lnTo>
                    <a:pt x="69" y="101"/>
                  </a:lnTo>
                  <a:lnTo>
                    <a:pt x="67" y="101"/>
                  </a:lnTo>
                  <a:lnTo>
                    <a:pt x="66" y="101"/>
                  </a:lnTo>
                  <a:lnTo>
                    <a:pt x="66" y="100"/>
                  </a:lnTo>
                  <a:lnTo>
                    <a:pt x="65" y="100"/>
                  </a:lnTo>
                  <a:lnTo>
                    <a:pt x="64" y="99"/>
                  </a:lnTo>
                  <a:lnTo>
                    <a:pt x="63" y="97"/>
                  </a:lnTo>
                  <a:lnTo>
                    <a:pt x="62" y="97"/>
                  </a:lnTo>
                  <a:lnTo>
                    <a:pt x="62" y="96"/>
                  </a:lnTo>
                  <a:lnTo>
                    <a:pt x="60" y="95"/>
                  </a:lnTo>
                  <a:lnTo>
                    <a:pt x="62" y="95"/>
                  </a:lnTo>
                  <a:lnTo>
                    <a:pt x="60" y="94"/>
                  </a:lnTo>
                  <a:lnTo>
                    <a:pt x="60" y="93"/>
                  </a:lnTo>
                  <a:lnTo>
                    <a:pt x="59" y="93"/>
                  </a:lnTo>
                  <a:lnTo>
                    <a:pt x="59" y="94"/>
                  </a:lnTo>
                  <a:lnTo>
                    <a:pt x="59" y="93"/>
                  </a:lnTo>
                  <a:lnTo>
                    <a:pt x="60" y="93"/>
                  </a:lnTo>
                  <a:lnTo>
                    <a:pt x="60" y="92"/>
                  </a:lnTo>
                  <a:lnTo>
                    <a:pt x="62" y="92"/>
                  </a:lnTo>
                  <a:lnTo>
                    <a:pt x="62" y="90"/>
                  </a:lnTo>
                  <a:lnTo>
                    <a:pt x="62" y="89"/>
                  </a:lnTo>
                  <a:lnTo>
                    <a:pt x="60" y="89"/>
                  </a:lnTo>
                  <a:lnTo>
                    <a:pt x="60" y="90"/>
                  </a:lnTo>
                  <a:lnTo>
                    <a:pt x="60" y="92"/>
                  </a:lnTo>
                  <a:lnTo>
                    <a:pt x="59" y="92"/>
                  </a:lnTo>
                  <a:lnTo>
                    <a:pt x="59" y="93"/>
                  </a:lnTo>
                  <a:lnTo>
                    <a:pt x="58" y="93"/>
                  </a:lnTo>
                  <a:lnTo>
                    <a:pt x="57" y="93"/>
                  </a:lnTo>
                  <a:lnTo>
                    <a:pt x="56" y="93"/>
                  </a:lnTo>
                  <a:lnTo>
                    <a:pt x="55" y="94"/>
                  </a:lnTo>
                  <a:lnTo>
                    <a:pt x="53" y="94"/>
                  </a:lnTo>
                  <a:lnTo>
                    <a:pt x="53" y="93"/>
                  </a:lnTo>
                  <a:lnTo>
                    <a:pt x="52" y="93"/>
                  </a:lnTo>
                  <a:lnTo>
                    <a:pt x="52" y="92"/>
                  </a:lnTo>
                  <a:lnTo>
                    <a:pt x="52" y="90"/>
                  </a:lnTo>
                  <a:lnTo>
                    <a:pt x="51" y="89"/>
                  </a:lnTo>
                  <a:lnTo>
                    <a:pt x="50" y="89"/>
                  </a:lnTo>
                  <a:lnTo>
                    <a:pt x="49" y="89"/>
                  </a:lnTo>
                  <a:lnTo>
                    <a:pt x="49" y="88"/>
                  </a:lnTo>
                  <a:lnTo>
                    <a:pt x="49" y="87"/>
                  </a:lnTo>
                  <a:lnTo>
                    <a:pt x="48" y="87"/>
                  </a:lnTo>
                  <a:lnTo>
                    <a:pt x="46" y="87"/>
                  </a:lnTo>
                  <a:lnTo>
                    <a:pt x="45" y="87"/>
                  </a:lnTo>
                  <a:lnTo>
                    <a:pt x="44" y="87"/>
                  </a:lnTo>
                  <a:lnTo>
                    <a:pt x="45" y="86"/>
                  </a:lnTo>
                  <a:lnTo>
                    <a:pt x="44" y="86"/>
                  </a:lnTo>
                  <a:lnTo>
                    <a:pt x="44" y="85"/>
                  </a:lnTo>
                  <a:lnTo>
                    <a:pt x="44" y="83"/>
                  </a:lnTo>
                  <a:lnTo>
                    <a:pt x="44" y="82"/>
                  </a:lnTo>
                  <a:lnTo>
                    <a:pt x="43" y="81"/>
                  </a:lnTo>
                  <a:lnTo>
                    <a:pt x="42" y="81"/>
                  </a:lnTo>
                  <a:lnTo>
                    <a:pt x="42" y="80"/>
                  </a:lnTo>
                  <a:lnTo>
                    <a:pt x="41" y="79"/>
                  </a:lnTo>
                  <a:lnTo>
                    <a:pt x="41" y="80"/>
                  </a:lnTo>
                  <a:lnTo>
                    <a:pt x="41" y="79"/>
                  </a:lnTo>
                  <a:lnTo>
                    <a:pt x="39" y="79"/>
                  </a:lnTo>
                  <a:lnTo>
                    <a:pt x="39" y="78"/>
                  </a:lnTo>
                  <a:lnTo>
                    <a:pt x="39" y="76"/>
                  </a:lnTo>
                  <a:lnTo>
                    <a:pt x="38" y="75"/>
                  </a:lnTo>
                  <a:lnTo>
                    <a:pt x="39" y="75"/>
                  </a:lnTo>
                  <a:lnTo>
                    <a:pt x="39" y="76"/>
                  </a:lnTo>
                  <a:lnTo>
                    <a:pt x="41" y="76"/>
                  </a:lnTo>
                  <a:lnTo>
                    <a:pt x="42" y="76"/>
                  </a:lnTo>
                  <a:lnTo>
                    <a:pt x="43" y="76"/>
                  </a:lnTo>
                  <a:lnTo>
                    <a:pt x="44" y="76"/>
                  </a:lnTo>
                  <a:lnTo>
                    <a:pt x="45" y="78"/>
                  </a:lnTo>
                  <a:lnTo>
                    <a:pt x="45" y="76"/>
                  </a:lnTo>
                  <a:lnTo>
                    <a:pt x="46" y="78"/>
                  </a:lnTo>
                  <a:lnTo>
                    <a:pt x="46" y="76"/>
                  </a:lnTo>
                  <a:lnTo>
                    <a:pt x="48" y="76"/>
                  </a:lnTo>
                  <a:lnTo>
                    <a:pt x="49" y="75"/>
                  </a:lnTo>
                  <a:lnTo>
                    <a:pt x="49" y="76"/>
                  </a:lnTo>
                  <a:lnTo>
                    <a:pt x="49" y="78"/>
                  </a:lnTo>
                  <a:lnTo>
                    <a:pt x="50" y="78"/>
                  </a:lnTo>
                  <a:lnTo>
                    <a:pt x="50" y="79"/>
                  </a:lnTo>
                  <a:lnTo>
                    <a:pt x="51" y="79"/>
                  </a:lnTo>
                  <a:lnTo>
                    <a:pt x="51" y="80"/>
                  </a:lnTo>
                  <a:lnTo>
                    <a:pt x="51" y="79"/>
                  </a:lnTo>
                  <a:lnTo>
                    <a:pt x="52" y="79"/>
                  </a:lnTo>
                  <a:lnTo>
                    <a:pt x="51" y="79"/>
                  </a:lnTo>
                  <a:lnTo>
                    <a:pt x="52" y="79"/>
                  </a:lnTo>
                  <a:lnTo>
                    <a:pt x="53" y="79"/>
                  </a:lnTo>
                  <a:lnTo>
                    <a:pt x="53" y="78"/>
                  </a:lnTo>
                  <a:lnTo>
                    <a:pt x="52" y="78"/>
                  </a:lnTo>
                  <a:lnTo>
                    <a:pt x="52" y="76"/>
                  </a:lnTo>
                  <a:lnTo>
                    <a:pt x="52" y="78"/>
                  </a:lnTo>
                  <a:lnTo>
                    <a:pt x="51" y="78"/>
                  </a:lnTo>
                  <a:lnTo>
                    <a:pt x="51" y="76"/>
                  </a:lnTo>
                  <a:lnTo>
                    <a:pt x="51" y="75"/>
                  </a:lnTo>
                  <a:lnTo>
                    <a:pt x="52" y="75"/>
                  </a:lnTo>
                  <a:lnTo>
                    <a:pt x="51" y="75"/>
                  </a:lnTo>
                  <a:lnTo>
                    <a:pt x="51" y="74"/>
                  </a:lnTo>
                  <a:lnTo>
                    <a:pt x="51" y="75"/>
                  </a:lnTo>
                  <a:lnTo>
                    <a:pt x="50" y="75"/>
                  </a:lnTo>
                  <a:lnTo>
                    <a:pt x="50" y="74"/>
                  </a:lnTo>
                  <a:lnTo>
                    <a:pt x="51" y="74"/>
                  </a:lnTo>
                  <a:lnTo>
                    <a:pt x="51" y="73"/>
                  </a:lnTo>
                  <a:lnTo>
                    <a:pt x="52" y="73"/>
                  </a:lnTo>
                  <a:lnTo>
                    <a:pt x="52" y="72"/>
                  </a:lnTo>
                  <a:lnTo>
                    <a:pt x="52" y="73"/>
                  </a:lnTo>
                  <a:lnTo>
                    <a:pt x="52" y="74"/>
                  </a:lnTo>
                  <a:lnTo>
                    <a:pt x="52" y="73"/>
                  </a:lnTo>
                  <a:lnTo>
                    <a:pt x="53" y="73"/>
                  </a:lnTo>
                  <a:lnTo>
                    <a:pt x="53" y="74"/>
                  </a:lnTo>
                  <a:lnTo>
                    <a:pt x="53" y="73"/>
                  </a:lnTo>
                  <a:lnTo>
                    <a:pt x="52" y="73"/>
                  </a:lnTo>
                  <a:lnTo>
                    <a:pt x="52" y="72"/>
                  </a:lnTo>
                  <a:lnTo>
                    <a:pt x="53" y="72"/>
                  </a:lnTo>
                  <a:lnTo>
                    <a:pt x="53" y="71"/>
                  </a:lnTo>
                  <a:lnTo>
                    <a:pt x="53" y="69"/>
                  </a:lnTo>
                  <a:lnTo>
                    <a:pt x="53" y="68"/>
                  </a:lnTo>
                  <a:lnTo>
                    <a:pt x="55" y="68"/>
                  </a:lnTo>
                  <a:lnTo>
                    <a:pt x="55" y="67"/>
                  </a:lnTo>
                  <a:lnTo>
                    <a:pt x="56" y="66"/>
                  </a:lnTo>
                  <a:lnTo>
                    <a:pt x="55" y="66"/>
                  </a:lnTo>
                  <a:lnTo>
                    <a:pt x="56" y="65"/>
                  </a:lnTo>
                  <a:lnTo>
                    <a:pt x="55" y="65"/>
                  </a:lnTo>
                  <a:lnTo>
                    <a:pt x="55" y="64"/>
                  </a:lnTo>
                  <a:lnTo>
                    <a:pt x="55" y="62"/>
                  </a:lnTo>
                  <a:lnTo>
                    <a:pt x="53" y="62"/>
                  </a:lnTo>
                  <a:lnTo>
                    <a:pt x="53" y="64"/>
                  </a:lnTo>
                  <a:lnTo>
                    <a:pt x="53" y="62"/>
                  </a:lnTo>
                  <a:lnTo>
                    <a:pt x="52" y="62"/>
                  </a:lnTo>
                  <a:lnTo>
                    <a:pt x="52" y="61"/>
                  </a:lnTo>
                  <a:lnTo>
                    <a:pt x="52" y="60"/>
                  </a:lnTo>
                  <a:lnTo>
                    <a:pt x="52" y="61"/>
                  </a:lnTo>
                  <a:lnTo>
                    <a:pt x="52" y="60"/>
                  </a:lnTo>
                  <a:lnTo>
                    <a:pt x="52" y="59"/>
                  </a:lnTo>
                  <a:lnTo>
                    <a:pt x="51" y="59"/>
                  </a:lnTo>
                  <a:lnTo>
                    <a:pt x="51" y="58"/>
                  </a:lnTo>
                  <a:lnTo>
                    <a:pt x="50" y="58"/>
                  </a:lnTo>
                  <a:lnTo>
                    <a:pt x="50" y="57"/>
                  </a:lnTo>
                  <a:lnTo>
                    <a:pt x="50" y="55"/>
                  </a:lnTo>
                  <a:lnTo>
                    <a:pt x="49" y="57"/>
                  </a:lnTo>
                  <a:lnTo>
                    <a:pt x="49" y="55"/>
                  </a:lnTo>
                  <a:lnTo>
                    <a:pt x="49" y="54"/>
                  </a:lnTo>
                  <a:lnTo>
                    <a:pt x="48" y="53"/>
                  </a:lnTo>
                  <a:lnTo>
                    <a:pt x="48" y="52"/>
                  </a:lnTo>
                  <a:lnTo>
                    <a:pt x="46" y="52"/>
                  </a:lnTo>
                  <a:lnTo>
                    <a:pt x="45" y="51"/>
                  </a:lnTo>
                  <a:lnTo>
                    <a:pt x="44" y="51"/>
                  </a:lnTo>
                  <a:lnTo>
                    <a:pt x="44" y="50"/>
                  </a:lnTo>
                  <a:lnTo>
                    <a:pt x="43" y="50"/>
                  </a:lnTo>
                  <a:lnTo>
                    <a:pt x="43" y="48"/>
                  </a:lnTo>
                  <a:lnTo>
                    <a:pt x="42" y="48"/>
                  </a:lnTo>
                  <a:lnTo>
                    <a:pt x="42" y="47"/>
                  </a:lnTo>
                  <a:lnTo>
                    <a:pt x="41" y="48"/>
                  </a:lnTo>
                  <a:lnTo>
                    <a:pt x="41" y="47"/>
                  </a:lnTo>
                  <a:lnTo>
                    <a:pt x="41" y="46"/>
                  </a:lnTo>
                  <a:lnTo>
                    <a:pt x="39" y="46"/>
                  </a:lnTo>
                  <a:lnTo>
                    <a:pt x="39" y="45"/>
                  </a:lnTo>
                  <a:lnTo>
                    <a:pt x="39" y="44"/>
                  </a:lnTo>
                  <a:lnTo>
                    <a:pt x="39" y="43"/>
                  </a:lnTo>
                  <a:lnTo>
                    <a:pt x="38" y="43"/>
                  </a:lnTo>
                  <a:lnTo>
                    <a:pt x="39" y="41"/>
                  </a:lnTo>
                  <a:lnTo>
                    <a:pt x="39" y="40"/>
                  </a:lnTo>
                  <a:lnTo>
                    <a:pt x="39" y="39"/>
                  </a:lnTo>
                  <a:lnTo>
                    <a:pt x="39" y="38"/>
                  </a:lnTo>
                  <a:lnTo>
                    <a:pt x="41" y="37"/>
                  </a:lnTo>
                  <a:lnTo>
                    <a:pt x="39" y="37"/>
                  </a:lnTo>
                  <a:lnTo>
                    <a:pt x="39" y="36"/>
                  </a:lnTo>
                  <a:lnTo>
                    <a:pt x="38" y="36"/>
                  </a:lnTo>
                  <a:lnTo>
                    <a:pt x="39" y="36"/>
                  </a:lnTo>
                  <a:lnTo>
                    <a:pt x="39" y="34"/>
                  </a:lnTo>
                  <a:lnTo>
                    <a:pt x="38" y="34"/>
                  </a:lnTo>
                  <a:lnTo>
                    <a:pt x="39" y="34"/>
                  </a:lnTo>
                  <a:lnTo>
                    <a:pt x="38" y="34"/>
                  </a:lnTo>
                  <a:lnTo>
                    <a:pt x="38" y="36"/>
                  </a:lnTo>
                  <a:lnTo>
                    <a:pt x="38" y="34"/>
                  </a:lnTo>
                  <a:lnTo>
                    <a:pt x="38" y="32"/>
                  </a:lnTo>
                  <a:lnTo>
                    <a:pt x="39" y="30"/>
                  </a:lnTo>
                  <a:lnTo>
                    <a:pt x="39" y="29"/>
                  </a:lnTo>
                  <a:lnTo>
                    <a:pt x="38" y="29"/>
                  </a:lnTo>
                  <a:lnTo>
                    <a:pt x="38" y="27"/>
                  </a:lnTo>
                  <a:lnTo>
                    <a:pt x="37" y="26"/>
                  </a:lnTo>
                  <a:lnTo>
                    <a:pt x="36" y="26"/>
                  </a:lnTo>
                  <a:lnTo>
                    <a:pt x="37" y="26"/>
                  </a:lnTo>
                  <a:lnTo>
                    <a:pt x="37" y="25"/>
                  </a:lnTo>
                  <a:lnTo>
                    <a:pt x="38" y="24"/>
                  </a:lnTo>
                  <a:lnTo>
                    <a:pt x="38" y="23"/>
                  </a:lnTo>
                  <a:lnTo>
                    <a:pt x="37" y="20"/>
                  </a:lnTo>
                  <a:lnTo>
                    <a:pt x="37" y="19"/>
                  </a:lnTo>
                  <a:lnTo>
                    <a:pt x="36" y="19"/>
                  </a:lnTo>
                  <a:lnTo>
                    <a:pt x="36" y="18"/>
                  </a:lnTo>
                  <a:lnTo>
                    <a:pt x="35" y="18"/>
                  </a:lnTo>
                  <a:lnTo>
                    <a:pt x="35" y="17"/>
                  </a:lnTo>
                  <a:lnTo>
                    <a:pt x="36" y="17"/>
                  </a:lnTo>
                  <a:lnTo>
                    <a:pt x="36" y="16"/>
                  </a:lnTo>
                  <a:lnTo>
                    <a:pt x="36" y="15"/>
                  </a:lnTo>
                  <a:lnTo>
                    <a:pt x="35" y="15"/>
                  </a:lnTo>
                  <a:lnTo>
                    <a:pt x="36" y="15"/>
                  </a:lnTo>
                  <a:lnTo>
                    <a:pt x="37" y="15"/>
                  </a:lnTo>
                  <a:lnTo>
                    <a:pt x="37" y="14"/>
                  </a:lnTo>
                  <a:lnTo>
                    <a:pt x="37" y="12"/>
                  </a:lnTo>
                  <a:lnTo>
                    <a:pt x="36" y="12"/>
                  </a:lnTo>
                  <a:lnTo>
                    <a:pt x="36" y="11"/>
                  </a:lnTo>
                  <a:lnTo>
                    <a:pt x="36" y="10"/>
                  </a:lnTo>
                  <a:lnTo>
                    <a:pt x="35" y="10"/>
                  </a:lnTo>
                  <a:lnTo>
                    <a:pt x="35" y="9"/>
                  </a:lnTo>
                  <a:lnTo>
                    <a:pt x="36" y="8"/>
                  </a:lnTo>
                  <a:lnTo>
                    <a:pt x="36" y="7"/>
                  </a:lnTo>
                  <a:lnTo>
                    <a:pt x="35" y="7"/>
                  </a:lnTo>
                  <a:lnTo>
                    <a:pt x="35" y="5"/>
                  </a:lnTo>
                  <a:lnTo>
                    <a:pt x="35" y="4"/>
                  </a:lnTo>
                  <a:lnTo>
                    <a:pt x="34" y="3"/>
                  </a:lnTo>
                  <a:lnTo>
                    <a:pt x="35" y="3"/>
                  </a:lnTo>
                  <a:lnTo>
                    <a:pt x="35" y="2"/>
                  </a:lnTo>
                  <a:lnTo>
                    <a:pt x="36" y="2"/>
                  </a:lnTo>
                  <a:lnTo>
                    <a:pt x="37" y="2"/>
                  </a:lnTo>
                  <a:lnTo>
                    <a:pt x="38" y="2"/>
                  </a:lnTo>
                  <a:lnTo>
                    <a:pt x="39" y="2"/>
                  </a:lnTo>
                  <a:lnTo>
                    <a:pt x="41" y="2"/>
                  </a:lnTo>
                  <a:lnTo>
                    <a:pt x="42" y="1"/>
                  </a:lnTo>
                  <a:lnTo>
                    <a:pt x="43" y="1"/>
                  </a:lnTo>
                  <a:lnTo>
                    <a:pt x="44" y="1"/>
                  </a:lnTo>
                  <a:lnTo>
                    <a:pt x="45" y="1"/>
                  </a:lnTo>
                  <a:lnTo>
                    <a:pt x="46" y="1"/>
                  </a:lnTo>
                  <a:lnTo>
                    <a:pt x="48" y="1"/>
                  </a:lnTo>
                  <a:lnTo>
                    <a:pt x="49" y="1"/>
                  </a:lnTo>
                  <a:lnTo>
                    <a:pt x="50" y="1"/>
                  </a:lnTo>
                  <a:lnTo>
                    <a:pt x="51" y="1"/>
                  </a:lnTo>
                  <a:lnTo>
                    <a:pt x="52" y="1"/>
                  </a:lnTo>
                  <a:lnTo>
                    <a:pt x="53" y="1"/>
                  </a:lnTo>
                  <a:lnTo>
                    <a:pt x="55" y="0"/>
                  </a:lnTo>
                  <a:lnTo>
                    <a:pt x="56" y="0"/>
                  </a:lnTo>
                  <a:lnTo>
                    <a:pt x="57" y="0"/>
                  </a:lnTo>
                  <a:lnTo>
                    <a:pt x="58" y="0"/>
                  </a:lnTo>
                  <a:lnTo>
                    <a:pt x="59" y="0"/>
                  </a:lnTo>
                  <a:lnTo>
                    <a:pt x="60" y="0"/>
                  </a:lnTo>
                  <a:lnTo>
                    <a:pt x="62" y="0"/>
                  </a:lnTo>
                  <a:lnTo>
                    <a:pt x="63" y="0"/>
                  </a:lnTo>
                  <a:lnTo>
                    <a:pt x="64" y="0"/>
                  </a:lnTo>
                  <a:lnTo>
                    <a:pt x="65" y="0"/>
                  </a:lnTo>
                  <a:lnTo>
                    <a:pt x="66" y="0"/>
                  </a:lnTo>
                  <a:lnTo>
                    <a:pt x="67" y="0"/>
                  </a:lnTo>
                  <a:lnTo>
                    <a:pt x="66" y="0"/>
                  </a:lnTo>
                  <a:lnTo>
                    <a:pt x="66" y="1"/>
                  </a:lnTo>
                  <a:lnTo>
                    <a:pt x="65" y="2"/>
                  </a:lnTo>
                  <a:lnTo>
                    <a:pt x="65" y="3"/>
                  </a:lnTo>
                  <a:lnTo>
                    <a:pt x="70" y="4"/>
                  </a:lnTo>
                  <a:lnTo>
                    <a:pt x="74" y="7"/>
                  </a:lnTo>
                  <a:lnTo>
                    <a:pt x="79" y="9"/>
                  </a:lnTo>
                  <a:lnTo>
                    <a:pt x="85" y="10"/>
                  </a:lnTo>
                  <a:close/>
                  <a:moveTo>
                    <a:pt x="268" y="114"/>
                  </a:moveTo>
                  <a:lnTo>
                    <a:pt x="268" y="115"/>
                  </a:lnTo>
                  <a:lnTo>
                    <a:pt x="266" y="115"/>
                  </a:lnTo>
                  <a:lnTo>
                    <a:pt x="266" y="116"/>
                  </a:lnTo>
                  <a:lnTo>
                    <a:pt x="265" y="116"/>
                  </a:lnTo>
                  <a:lnTo>
                    <a:pt x="265" y="115"/>
                  </a:lnTo>
                  <a:lnTo>
                    <a:pt x="264" y="116"/>
                  </a:lnTo>
                  <a:lnTo>
                    <a:pt x="264" y="117"/>
                  </a:lnTo>
                  <a:lnTo>
                    <a:pt x="264" y="116"/>
                  </a:lnTo>
                  <a:lnTo>
                    <a:pt x="263" y="116"/>
                  </a:lnTo>
                  <a:lnTo>
                    <a:pt x="263" y="117"/>
                  </a:lnTo>
                  <a:lnTo>
                    <a:pt x="264" y="117"/>
                  </a:lnTo>
                  <a:lnTo>
                    <a:pt x="264" y="118"/>
                  </a:lnTo>
                  <a:lnTo>
                    <a:pt x="263" y="121"/>
                  </a:lnTo>
                  <a:lnTo>
                    <a:pt x="263" y="122"/>
                  </a:lnTo>
                  <a:lnTo>
                    <a:pt x="263" y="121"/>
                  </a:lnTo>
                  <a:lnTo>
                    <a:pt x="263" y="122"/>
                  </a:lnTo>
                  <a:lnTo>
                    <a:pt x="264" y="122"/>
                  </a:lnTo>
                  <a:lnTo>
                    <a:pt x="264" y="123"/>
                  </a:lnTo>
                  <a:lnTo>
                    <a:pt x="263" y="123"/>
                  </a:lnTo>
                  <a:lnTo>
                    <a:pt x="263" y="124"/>
                  </a:lnTo>
                  <a:lnTo>
                    <a:pt x="263" y="125"/>
                  </a:lnTo>
                  <a:lnTo>
                    <a:pt x="263" y="127"/>
                  </a:lnTo>
                  <a:lnTo>
                    <a:pt x="263" y="125"/>
                  </a:lnTo>
                  <a:lnTo>
                    <a:pt x="263" y="127"/>
                  </a:lnTo>
                  <a:lnTo>
                    <a:pt x="262" y="129"/>
                  </a:lnTo>
                  <a:lnTo>
                    <a:pt x="261" y="129"/>
                  </a:lnTo>
                  <a:lnTo>
                    <a:pt x="262" y="129"/>
                  </a:lnTo>
                  <a:lnTo>
                    <a:pt x="262" y="128"/>
                  </a:lnTo>
                  <a:lnTo>
                    <a:pt x="261" y="128"/>
                  </a:lnTo>
                  <a:lnTo>
                    <a:pt x="261" y="129"/>
                  </a:lnTo>
                  <a:lnTo>
                    <a:pt x="261" y="130"/>
                  </a:lnTo>
                  <a:lnTo>
                    <a:pt x="262" y="130"/>
                  </a:lnTo>
                  <a:lnTo>
                    <a:pt x="261" y="134"/>
                  </a:lnTo>
                  <a:lnTo>
                    <a:pt x="261" y="135"/>
                  </a:lnTo>
                  <a:lnTo>
                    <a:pt x="261" y="136"/>
                  </a:lnTo>
                  <a:lnTo>
                    <a:pt x="261" y="135"/>
                  </a:lnTo>
                  <a:lnTo>
                    <a:pt x="259" y="135"/>
                  </a:lnTo>
                  <a:lnTo>
                    <a:pt x="259" y="136"/>
                  </a:lnTo>
                  <a:lnTo>
                    <a:pt x="261" y="136"/>
                  </a:lnTo>
                  <a:lnTo>
                    <a:pt x="261" y="137"/>
                  </a:lnTo>
                  <a:lnTo>
                    <a:pt x="259" y="137"/>
                  </a:lnTo>
                  <a:lnTo>
                    <a:pt x="259" y="138"/>
                  </a:lnTo>
                  <a:lnTo>
                    <a:pt x="259" y="139"/>
                  </a:lnTo>
                  <a:lnTo>
                    <a:pt x="262" y="132"/>
                  </a:lnTo>
                  <a:lnTo>
                    <a:pt x="262" y="131"/>
                  </a:lnTo>
                  <a:lnTo>
                    <a:pt x="263" y="128"/>
                  </a:lnTo>
                  <a:lnTo>
                    <a:pt x="264" y="125"/>
                  </a:lnTo>
                  <a:lnTo>
                    <a:pt x="264" y="123"/>
                  </a:lnTo>
                  <a:lnTo>
                    <a:pt x="265" y="123"/>
                  </a:lnTo>
                  <a:lnTo>
                    <a:pt x="265" y="122"/>
                  </a:lnTo>
                  <a:lnTo>
                    <a:pt x="265" y="121"/>
                  </a:lnTo>
                  <a:lnTo>
                    <a:pt x="265" y="120"/>
                  </a:lnTo>
                  <a:lnTo>
                    <a:pt x="266" y="120"/>
                  </a:lnTo>
                  <a:lnTo>
                    <a:pt x="266" y="117"/>
                  </a:lnTo>
                  <a:lnTo>
                    <a:pt x="266" y="118"/>
                  </a:lnTo>
                  <a:lnTo>
                    <a:pt x="268" y="117"/>
                  </a:lnTo>
                  <a:lnTo>
                    <a:pt x="268" y="116"/>
                  </a:lnTo>
                  <a:lnTo>
                    <a:pt x="269" y="116"/>
                  </a:lnTo>
                  <a:lnTo>
                    <a:pt x="269" y="115"/>
                  </a:lnTo>
                  <a:lnTo>
                    <a:pt x="269" y="114"/>
                  </a:lnTo>
                  <a:lnTo>
                    <a:pt x="268" y="114"/>
                  </a:lnTo>
                  <a:close/>
                </a:path>
              </a:pathLst>
            </a:custGeom>
            <a:solidFill>
              <a:srgbClr val="0053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90" name="Freeform 946">
              <a:extLst>
                <a:ext uri="{FF2B5EF4-FFF2-40B4-BE49-F238E27FC236}">
                  <a16:creationId xmlns:a16="http://schemas.microsoft.com/office/drawing/2014/main" id="{4D6C4F23-1D0A-4383-88EA-5C6C12D33D77}"/>
                </a:ext>
              </a:extLst>
            </p:cNvPr>
            <p:cNvSpPr>
              <a:spLocks noEditPoints="1"/>
            </p:cNvSpPr>
            <p:nvPr/>
          </p:nvSpPr>
          <p:spPr bwMode="auto">
            <a:xfrm>
              <a:off x="8864696" y="3038695"/>
              <a:ext cx="140227" cy="212343"/>
            </a:xfrm>
            <a:custGeom>
              <a:avLst/>
              <a:gdLst>
                <a:gd name="T0" fmla="*/ 61 w 105"/>
                <a:gd name="T1" fmla="*/ 159 h 159"/>
                <a:gd name="T2" fmla="*/ 61 w 105"/>
                <a:gd name="T3" fmla="*/ 159 h 159"/>
                <a:gd name="T4" fmla="*/ 51 w 105"/>
                <a:gd name="T5" fmla="*/ 143 h 159"/>
                <a:gd name="T6" fmla="*/ 51 w 105"/>
                <a:gd name="T7" fmla="*/ 143 h 159"/>
                <a:gd name="T8" fmla="*/ 51 w 105"/>
                <a:gd name="T9" fmla="*/ 143 h 159"/>
                <a:gd name="T10" fmla="*/ 64 w 105"/>
                <a:gd name="T11" fmla="*/ 143 h 159"/>
                <a:gd name="T12" fmla="*/ 71 w 105"/>
                <a:gd name="T13" fmla="*/ 140 h 159"/>
                <a:gd name="T14" fmla="*/ 71 w 105"/>
                <a:gd name="T15" fmla="*/ 139 h 159"/>
                <a:gd name="T16" fmla="*/ 73 w 105"/>
                <a:gd name="T17" fmla="*/ 137 h 159"/>
                <a:gd name="T18" fmla="*/ 73 w 105"/>
                <a:gd name="T19" fmla="*/ 137 h 159"/>
                <a:gd name="T20" fmla="*/ 71 w 105"/>
                <a:gd name="T21" fmla="*/ 139 h 159"/>
                <a:gd name="T22" fmla="*/ 104 w 105"/>
                <a:gd name="T23" fmla="*/ 136 h 159"/>
                <a:gd name="T24" fmla="*/ 104 w 105"/>
                <a:gd name="T25" fmla="*/ 136 h 159"/>
                <a:gd name="T26" fmla="*/ 101 w 105"/>
                <a:gd name="T27" fmla="*/ 136 h 159"/>
                <a:gd name="T28" fmla="*/ 101 w 105"/>
                <a:gd name="T29" fmla="*/ 136 h 159"/>
                <a:gd name="T30" fmla="*/ 101 w 105"/>
                <a:gd name="T31" fmla="*/ 136 h 159"/>
                <a:gd name="T32" fmla="*/ 98 w 105"/>
                <a:gd name="T33" fmla="*/ 120 h 159"/>
                <a:gd name="T34" fmla="*/ 98 w 105"/>
                <a:gd name="T35" fmla="*/ 120 h 159"/>
                <a:gd name="T36" fmla="*/ 97 w 105"/>
                <a:gd name="T37" fmla="*/ 120 h 159"/>
                <a:gd name="T38" fmla="*/ 99 w 105"/>
                <a:gd name="T39" fmla="*/ 120 h 159"/>
                <a:gd name="T40" fmla="*/ 101 w 105"/>
                <a:gd name="T41" fmla="*/ 120 h 159"/>
                <a:gd name="T42" fmla="*/ 101 w 105"/>
                <a:gd name="T43" fmla="*/ 120 h 159"/>
                <a:gd name="T44" fmla="*/ 102 w 105"/>
                <a:gd name="T45" fmla="*/ 119 h 159"/>
                <a:gd name="T46" fmla="*/ 102 w 105"/>
                <a:gd name="T47" fmla="*/ 119 h 159"/>
                <a:gd name="T48" fmla="*/ 102 w 105"/>
                <a:gd name="T49" fmla="*/ 119 h 159"/>
                <a:gd name="T50" fmla="*/ 92 w 105"/>
                <a:gd name="T51" fmla="*/ 119 h 159"/>
                <a:gd name="T52" fmla="*/ 94 w 105"/>
                <a:gd name="T53" fmla="*/ 119 h 159"/>
                <a:gd name="T54" fmla="*/ 92 w 105"/>
                <a:gd name="T55" fmla="*/ 119 h 159"/>
                <a:gd name="T56" fmla="*/ 90 w 105"/>
                <a:gd name="T57" fmla="*/ 118 h 159"/>
                <a:gd name="T58" fmla="*/ 57 w 105"/>
                <a:gd name="T59" fmla="*/ 116 h 159"/>
                <a:gd name="T60" fmla="*/ 57 w 105"/>
                <a:gd name="T61" fmla="*/ 116 h 159"/>
                <a:gd name="T62" fmla="*/ 56 w 105"/>
                <a:gd name="T63" fmla="*/ 116 h 159"/>
                <a:gd name="T64" fmla="*/ 55 w 105"/>
                <a:gd name="T65" fmla="*/ 115 h 159"/>
                <a:gd name="T66" fmla="*/ 54 w 105"/>
                <a:gd name="T67" fmla="*/ 113 h 159"/>
                <a:gd name="T68" fmla="*/ 60 w 105"/>
                <a:gd name="T69" fmla="*/ 112 h 159"/>
                <a:gd name="T70" fmla="*/ 60 w 105"/>
                <a:gd name="T71" fmla="*/ 111 h 159"/>
                <a:gd name="T72" fmla="*/ 60 w 105"/>
                <a:gd name="T73" fmla="*/ 111 h 159"/>
                <a:gd name="T74" fmla="*/ 60 w 105"/>
                <a:gd name="T75" fmla="*/ 111 h 159"/>
                <a:gd name="T76" fmla="*/ 37 w 105"/>
                <a:gd name="T77" fmla="*/ 101 h 159"/>
                <a:gd name="T78" fmla="*/ 41 w 105"/>
                <a:gd name="T79" fmla="*/ 94 h 159"/>
                <a:gd name="T80" fmla="*/ 41 w 105"/>
                <a:gd name="T81" fmla="*/ 94 h 159"/>
                <a:gd name="T82" fmla="*/ 84 w 105"/>
                <a:gd name="T83" fmla="*/ 91 h 159"/>
                <a:gd name="T84" fmla="*/ 84 w 105"/>
                <a:gd name="T85" fmla="*/ 91 h 159"/>
                <a:gd name="T86" fmla="*/ 84 w 105"/>
                <a:gd name="T87" fmla="*/ 91 h 159"/>
                <a:gd name="T88" fmla="*/ 75 w 105"/>
                <a:gd name="T89" fmla="*/ 82 h 159"/>
                <a:gd name="T90" fmla="*/ 82 w 105"/>
                <a:gd name="T91" fmla="*/ 69 h 159"/>
                <a:gd name="T92" fmla="*/ 25 w 105"/>
                <a:gd name="T93" fmla="*/ 55 h 159"/>
                <a:gd name="T94" fmla="*/ 25 w 105"/>
                <a:gd name="T95" fmla="*/ 55 h 159"/>
                <a:gd name="T96" fmla="*/ 5 w 105"/>
                <a:gd name="T97" fmla="*/ 48 h 159"/>
                <a:gd name="T98" fmla="*/ 2 w 105"/>
                <a:gd name="T99" fmla="*/ 47 h 159"/>
                <a:gd name="T100" fmla="*/ 2 w 105"/>
                <a:gd name="T101" fmla="*/ 47 h 159"/>
                <a:gd name="T102" fmla="*/ 45 w 105"/>
                <a:gd name="T103"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5" h="159">
                  <a:moveTo>
                    <a:pt x="61" y="159"/>
                  </a:moveTo>
                  <a:lnTo>
                    <a:pt x="60" y="159"/>
                  </a:lnTo>
                  <a:lnTo>
                    <a:pt x="61" y="159"/>
                  </a:lnTo>
                  <a:lnTo>
                    <a:pt x="61" y="159"/>
                  </a:lnTo>
                  <a:lnTo>
                    <a:pt x="61" y="159"/>
                  </a:lnTo>
                  <a:lnTo>
                    <a:pt x="61" y="159"/>
                  </a:lnTo>
                  <a:lnTo>
                    <a:pt x="61" y="159"/>
                  </a:lnTo>
                  <a:lnTo>
                    <a:pt x="61" y="159"/>
                  </a:lnTo>
                  <a:close/>
                  <a:moveTo>
                    <a:pt x="51" y="143"/>
                  </a:moveTo>
                  <a:lnTo>
                    <a:pt x="51" y="143"/>
                  </a:lnTo>
                  <a:lnTo>
                    <a:pt x="51" y="143"/>
                  </a:lnTo>
                  <a:lnTo>
                    <a:pt x="51" y="143"/>
                  </a:lnTo>
                  <a:lnTo>
                    <a:pt x="51" y="143"/>
                  </a:lnTo>
                  <a:lnTo>
                    <a:pt x="51" y="143"/>
                  </a:lnTo>
                  <a:lnTo>
                    <a:pt x="51" y="143"/>
                  </a:lnTo>
                  <a:lnTo>
                    <a:pt x="51" y="143"/>
                  </a:lnTo>
                  <a:lnTo>
                    <a:pt x="51" y="143"/>
                  </a:lnTo>
                  <a:lnTo>
                    <a:pt x="51" y="143"/>
                  </a:lnTo>
                  <a:lnTo>
                    <a:pt x="51" y="143"/>
                  </a:lnTo>
                  <a:lnTo>
                    <a:pt x="51" y="143"/>
                  </a:lnTo>
                  <a:lnTo>
                    <a:pt x="51" y="143"/>
                  </a:lnTo>
                  <a:close/>
                  <a:moveTo>
                    <a:pt x="64" y="143"/>
                  </a:moveTo>
                  <a:lnTo>
                    <a:pt x="64" y="143"/>
                  </a:lnTo>
                  <a:lnTo>
                    <a:pt x="64" y="143"/>
                  </a:lnTo>
                  <a:lnTo>
                    <a:pt x="64" y="143"/>
                  </a:lnTo>
                  <a:close/>
                  <a:moveTo>
                    <a:pt x="71" y="139"/>
                  </a:moveTo>
                  <a:lnTo>
                    <a:pt x="71" y="140"/>
                  </a:lnTo>
                  <a:lnTo>
                    <a:pt x="71" y="140"/>
                  </a:lnTo>
                  <a:lnTo>
                    <a:pt x="71" y="140"/>
                  </a:lnTo>
                  <a:lnTo>
                    <a:pt x="71" y="139"/>
                  </a:lnTo>
                  <a:lnTo>
                    <a:pt x="71" y="139"/>
                  </a:lnTo>
                  <a:lnTo>
                    <a:pt x="71" y="139"/>
                  </a:lnTo>
                  <a:lnTo>
                    <a:pt x="71" y="139"/>
                  </a:lnTo>
                  <a:lnTo>
                    <a:pt x="71" y="138"/>
                  </a:lnTo>
                  <a:lnTo>
                    <a:pt x="71" y="138"/>
                  </a:lnTo>
                  <a:lnTo>
                    <a:pt x="73" y="137"/>
                  </a:lnTo>
                  <a:lnTo>
                    <a:pt x="73" y="137"/>
                  </a:lnTo>
                  <a:lnTo>
                    <a:pt x="73" y="137"/>
                  </a:lnTo>
                  <a:lnTo>
                    <a:pt x="73" y="137"/>
                  </a:lnTo>
                  <a:lnTo>
                    <a:pt x="73" y="137"/>
                  </a:lnTo>
                  <a:lnTo>
                    <a:pt x="71" y="138"/>
                  </a:lnTo>
                  <a:lnTo>
                    <a:pt x="71" y="138"/>
                  </a:lnTo>
                  <a:lnTo>
                    <a:pt x="71" y="139"/>
                  </a:lnTo>
                  <a:lnTo>
                    <a:pt x="71" y="139"/>
                  </a:lnTo>
                  <a:close/>
                  <a:moveTo>
                    <a:pt x="104" y="136"/>
                  </a:moveTo>
                  <a:lnTo>
                    <a:pt x="105" y="136"/>
                  </a:lnTo>
                  <a:lnTo>
                    <a:pt x="104" y="136"/>
                  </a:lnTo>
                  <a:lnTo>
                    <a:pt x="104" y="136"/>
                  </a:lnTo>
                  <a:lnTo>
                    <a:pt x="104" y="136"/>
                  </a:lnTo>
                  <a:lnTo>
                    <a:pt x="104" y="136"/>
                  </a:lnTo>
                  <a:lnTo>
                    <a:pt x="104" y="136"/>
                  </a:lnTo>
                  <a:lnTo>
                    <a:pt x="104" y="136"/>
                  </a:lnTo>
                  <a:lnTo>
                    <a:pt x="104" y="136"/>
                  </a:lnTo>
                  <a:lnTo>
                    <a:pt x="104" y="136"/>
                  </a:lnTo>
                  <a:close/>
                  <a:moveTo>
                    <a:pt x="101" y="136"/>
                  </a:moveTo>
                  <a:lnTo>
                    <a:pt x="101" y="136"/>
                  </a:lnTo>
                  <a:lnTo>
                    <a:pt x="101" y="136"/>
                  </a:lnTo>
                  <a:lnTo>
                    <a:pt x="101" y="136"/>
                  </a:lnTo>
                  <a:lnTo>
                    <a:pt x="101" y="136"/>
                  </a:lnTo>
                  <a:lnTo>
                    <a:pt x="101" y="136"/>
                  </a:lnTo>
                  <a:lnTo>
                    <a:pt x="101" y="136"/>
                  </a:lnTo>
                  <a:lnTo>
                    <a:pt x="101" y="136"/>
                  </a:lnTo>
                  <a:lnTo>
                    <a:pt x="101" y="136"/>
                  </a:lnTo>
                  <a:lnTo>
                    <a:pt x="101" y="136"/>
                  </a:lnTo>
                  <a:close/>
                  <a:moveTo>
                    <a:pt x="97" y="120"/>
                  </a:moveTo>
                  <a:lnTo>
                    <a:pt x="97" y="120"/>
                  </a:lnTo>
                  <a:lnTo>
                    <a:pt x="98" y="120"/>
                  </a:lnTo>
                  <a:lnTo>
                    <a:pt x="98" y="120"/>
                  </a:lnTo>
                  <a:lnTo>
                    <a:pt x="99" y="122"/>
                  </a:lnTo>
                  <a:lnTo>
                    <a:pt x="99" y="122"/>
                  </a:lnTo>
                  <a:lnTo>
                    <a:pt x="99" y="122"/>
                  </a:lnTo>
                  <a:lnTo>
                    <a:pt x="98" y="120"/>
                  </a:lnTo>
                  <a:lnTo>
                    <a:pt x="98" y="120"/>
                  </a:lnTo>
                  <a:lnTo>
                    <a:pt x="98" y="120"/>
                  </a:lnTo>
                  <a:lnTo>
                    <a:pt x="97" y="120"/>
                  </a:lnTo>
                  <a:lnTo>
                    <a:pt x="97" y="120"/>
                  </a:lnTo>
                  <a:lnTo>
                    <a:pt x="97" y="120"/>
                  </a:lnTo>
                  <a:lnTo>
                    <a:pt x="97" y="120"/>
                  </a:lnTo>
                  <a:close/>
                  <a:moveTo>
                    <a:pt x="99" y="120"/>
                  </a:moveTo>
                  <a:lnTo>
                    <a:pt x="99" y="120"/>
                  </a:lnTo>
                  <a:lnTo>
                    <a:pt x="99" y="120"/>
                  </a:lnTo>
                  <a:lnTo>
                    <a:pt x="101" y="120"/>
                  </a:lnTo>
                  <a:lnTo>
                    <a:pt x="101" y="120"/>
                  </a:lnTo>
                  <a:lnTo>
                    <a:pt x="101" y="120"/>
                  </a:lnTo>
                  <a:lnTo>
                    <a:pt x="101" y="120"/>
                  </a:lnTo>
                  <a:lnTo>
                    <a:pt x="101" y="120"/>
                  </a:lnTo>
                  <a:lnTo>
                    <a:pt x="101" y="120"/>
                  </a:lnTo>
                  <a:lnTo>
                    <a:pt x="101" y="120"/>
                  </a:lnTo>
                  <a:lnTo>
                    <a:pt x="99" y="120"/>
                  </a:lnTo>
                  <a:close/>
                  <a:moveTo>
                    <a:pt x="102" y="119"/>
                  </a:moveTo>
                  <a:lnTo>
                    <a:pt x="102" y="119"/>
                  </a:lnTo>
                  <a:lnTo>
                    <a:pt x="102" y="119"/>
                  </a:lnTo>
                  <a:lnTo>
                    <a:pt x="102" y="119"/>
                  </a:lnTo>
                  <a:lnTo>
                    <a:pt x="102" y="119"/>
                  </a:lnTo>
                  <a:lnTo>
                    <a:pt x="102" y="119"/>
                  </a:lnTo>
                  <a:lnTo>
                    <a:pt x="102" y="119"/>
                  </a:lnTo>
                  <a:lnTo>
                    <a:pt x="102" y="119"/>
                  </a:lnTo>
                  <a:lnTo>
                    <a:pt x="102" y="119"/>
                  </a:lnTo>
                  <a:lnTo>
                    <a:pt x="102" y="119"/>
                  </a:lnTo>
                  <a:lnTo>
                    <a:pt x="102" y="119"/>
                  </a:lnTo>
                  <a:lnTo>
                    <a:pt x="102" y="119"/>
                  </a:lnTo>
                  <a:close/>
                  <a:moveTo>
                    <a:pt x="90" y="118"/>
                  </a:moveTo>
                  <a:lnTo>
                    <a:pt x="92" y="119"/>
                  </a:lnTo>
                  <a:lnTo>
                    <a:pt x="92" y="119"/>
                  </a:lnTo>
                  <a:lnTo>
                    <a:pt x="92" y="119"/>
                  </a:lnTo>
                  <a:lnTo>
                    <a:pt x="92" y="119"/>
                  </a:lnTo>
                  <a:lnTo>
                    <a:pt x="95" y="119"/>
                  </a:lnTo>
                  <a:lnTo>
                    <a:pt x="94" y="119"/>
                  </a:lnTo>
                  <a:lnTo>
                    <a:pt x="94" y="119"/>
                  </a:lnTo>
                  <a:lnTo>
                    <a:pt x="92" y="119"/>
                  </a:lnTo>
                  <a:lnTo>
                    <a:pt x="92" y="119"/>
                  </a:lnTo>
                  <a:lnTo>
                    <a:pt x="92" y="119"/>
                  </a:lnTo>
                  <a:lnTo>
                    <a:pt x="90" y="119"/>
                  </a:lnTo>
                  <a:lnTo>
                    <a:pt x="89" y="118"/>
                  </a:lnTo>
                  <a:lnTo>
                    <a:pt x="90" y="118"/>
                  </a:lnTo>
                  <a:lnTo>
                    <a:pt x="90" y="118"/>
                  </a:lnTo>
                  <a:lnTo>
                    <a:pt x="90" y="118"/>
                  </a:lnTo>
                  <a:lnTo>
                    <a:pt x="90" y="118"/>
                  </a:lnTo>
                  <a:close/>
                  <a:moveTo>
                    <a:pt x="57" y="116"/>
                  </a:moveTo>
                  <a:lnTo>
                    <a:pt x="57" y="116"/>
                  </a:lnTo>
                  <a:lnTo>
                    <a:pt x="59" y="116"/>
                  </a:lnTo>
                  <a:lnTo>
                    <a:pt x="59" y="116"/>
                  </a:lnTo>
                  <a:lnTo>
                    <a:pt x="57" y="116"/>
                  </a:lnTo>
                  <a:lnTo>
                    <a:pt x="57" y="116"/>
                  </a:lnTo>
                  <a:lnTo>
                    <a:pt x="56" y="116"/>
                  </a:lnTo>
                  <a:lnTo>
                    <a:pt x="56" y="116"/>
                  </a:lnTo>
                  <a:lnTo>
                    <a:pt x="56" y="116"/>
                  </a:lnTo>
                  <a:lnTo>
                    <a:pt x="56" y="116"/>
                  </a:lnTo>
                  <a:lnTo>
                    <a:pt x="57" y="116"/>
                  </a:lnTo>
                  <a:lnTo>
                    <a:pt x="57" y="116"/>
                  </a:lnTo>
                  <a:close/>
                  <a:moveTo>
                    <a:pt x="55" y="115"/>
                  </a:moveTo>
                  <a:lnTo>
                    <a:pt x="55" y="115"/>
                  </a:lnTo>
                  <a:lnTo>
                    <a:pt x="55" y="115"/>
                  </a:lnTo>
                  <a:lnTo>
                    <a:pt x="54" y="115"/>
                  </a:lnTo>
                  <a:lnTo>
                    <a:pt x="54" y="113"/>
                  </a:lnTo>
                  <a:lnTo>
                    <a:pt x="54" y="113"/>
                  </a:lnTo>
                  <a:lnTo>
                    <a:pt x="55" y="113"/>
                  </a:lnTo>
                  <a:lnTo>
                    <a:pt x="55" y="115"/>
                  </a:lnTo>
                  <a:close/>
                  <a:moveTo>
                    <a:pt x="60" y="112"/>
                  </a:moveTo>
                  <a:lnTo>
                    <a:pt x="60" y="112"/>
                  </a:lnTo>
                  <a:lnTo>
                    <a:pt x="60" y="112"/>
                  </a:lnTo>
                  <a:lnTo>
                    <a:pt x="60" y="112"/>
                  </a:lnTo>
                  <a:lnTo>
                    <a:pt x="60" y="111"/>
                  </a:lnTo>
                  <a:lnTo>
                    <a:pt x="60" y="111"/>
                  </a:lnTo>
                  <a:lnTo>
                    <a:pt x="60" y="111"/>
                  </a:lnTo>
                  <a:lnTo>
                    <a:pt x="60" y="111"/>
                  </a:lnTo>
                  <a:lnTo>
                    <a:pt x="60" y="111"/>
                  </a:lnTo>
                  <a:lnTo>
                    <a:pt x="60" y="111"/>
                  </a:lnTo>
                  <a:lnTo>
                    <a:pt x="60" y="111"/>
                  </a:lnTo>
                  <a:lnTo>
                    <a:pt x="60" y="111"/>
                  </a:lnTo>
                  <a:lnTo>
                    <a:pt x="60" y="111"/>
                  </a:lnTo>
                  <a:lnTo>
                    <a:pt x="60" y="111"/>
                  </a:lnTo>
                  <a:lnTo>
                    <a:pt x="60" y="112"/>
                  </a:lnTo>
                  <a:close/>
                  <a:moveTo>
                    <a:pt x="37" y="101"/>
                  </a:moveTo>
                  <a:lnTo>
                    <a:pt x="38" y="101"/>
                  </a:lnTo>
                  <a:lnTo>
                    <a:pt x="37" y="101"/>
                  </a:lnTo>
                  <a:lnTo>
                    <a:pt x="37" y="101"/>
                  </a:lnTo>
                  <a:close/>
                  <a:moveTo>
                    <a:pt x="41" y="94"/>
                  </a:moveTo>
                  <a:lnTo>
                    <a:pt x="41" y="94"/>
                  </a:lnTo>
                  <a:lnTo>
                    <a:pt x="41" y="94"/>
                  </a:lnTo>
                  <a:lnTo>
                    <a:pt x="41" y="94"/>
                  </a:lnTo>
                  <a:lnTo>
                    <a:pt x="41" y="94"/>
                  </a:lnTo>
                  <a:lnTo>
                    <a:pt x="41" y="94"/>
                  </a:lnTo>
                  <a:lnTo>
                    <a:pt x="41" y="94"/>
                  </a:lnTo>
                  <a:lnTo>
                    <a:pt x="41" y="94"/>
                  </a:lnTo>
                  <a:close/>
                  <a:moveTo>
                    <a:pt x="84" y="91"/>
                  </a:moveTo>
                  <a:lnTo>
                    <a:pt x="84" y="91"/>
                  </a:lnTo>
                  <a:lnTo>
                    <a:pt x="84" y="91"/>
                  </a:lnTo>
                  <a:lnTo>
                    <a:pt x="84" y="91"/>
                  </a:lnTo>
                  <a:lnTo>
                    <a:pt x="84" y="91"/>
                  </a:lnTo>
                  <a:lnTo>
                    <a:pt x="84" y="91"/>
                  </a:lnTo>
                  <a:lnTo>
                    <a:pt x="84" y="91"/>
                  </a:lnTo>
                  <a:lnTo>
                    <a:pt x="84" y="91"/>
                  </a:lnTo>
                  <a:lnTo>
                    <a:pt x="84" y="91"/>
                  </a:lnTo>
                  <a:lnTo>
                    <a:pt x="84" y="91"/>
                  </a:lnTo>
                  <a:lnTo>
                    <a:pt x="84" y="91"/>
                  </a:lnTo>
                  <a:close/>
                  <a:moveTo>
                    <a:pt x="75" y="82"/>
                  </a:moveTo>
                  <a:lnTo>
                    <a:pt x="75" y="82"/>
                  </a:lnTo>
                  <a:lnTo>
                    <a:pt x="75" y="82"/>
                  </a:lnTo>
                  <a:lnTo>
                    <a:pt x="75" y="82"/>
                  </a:lnTo>
                  <a:lnTo>
                    <a:pt x="75" y="82"/>
                  </a:lnTo>
                  <a:close/>
                  <a:moveTo>
                    <a:pt x="82" y="69"/>
                  </a:moveTo>
                  <a:lnTo>
                    <a:pt x="82" y="69"/>
                  </a:lnTo>
                  <a:lnTo>
                    <a:pt x="82" y="69"/>
                  </a:lnTo>
                  <a:lnTo>
                    <a:pt x="82" y="69"/>
                  </a:lnTo>
                  <a:lnTo>
                    <a:pt x="82" y="69"/>
                  </a:lnTo>
                  <a:close/>
                  <a:moveTo>
                    <a:pt x="25" y="55"/>
                  </a:moveTo>
                  <a:lnTo>
                    <a:pt x="25" y="55"/>
                  </a:lnTo>
                  <a:lnTo>
                    <a:pt x="24" y="55"/>
                  </a:lnTo>
                  <a:lnTo>
                    <a:pt x="24" y="55"/>
                  </a:lnTo>
                  <a:lnTo>
                    <a:pt x="24" y="55"/>
                  </a:lnTo>
                  <a:lnTo>
                    <a:pt x="25" y="55"/>
                  </a:lnTo>
                  <a:lnTo>
                    <a:pt x="25" y="55"/>
                  </a:lnTo>
                  <a:close/>
                  <a:moveTo>
                    <a:pt x="5" y="48"/>
                  </a:moveTo>
                  <a:lnTo>
                    <a:pt x="5" y="48"/>
                  </a:lnTo>
                  <a:lnTo>
                    <a:pt x="5" y="48"/>
                  </a:lnTo>
                  <a:lnTo>
                    <a:pt x="5" y="48"/>
                  </a:lnTo>
                  <a:lnTo>
                    <a:pt x="5" y="48"/>
                  </a:lnTo>
                  <a:lnTo>
                    <a:pt x="5" y="48"/>
                  </a:lnTo>
                  <a:close/>
                  <a:moveTo>
                    <a:pt x="2" y="47"/>
                  </a:moveTo>
                  <a:lnTo>
                    <a:pt x="0" y="47"/>
                  </a:lnTo>
                  <a:lnTo>
                    <a:pt x="0" y="46"/>
                  </a:lnTo>
                  <a:lnTo>
                    <a:pt x="0" y="46"/>
                  </a:lnTo>
                  <a:lnTo>
                    <a:pt x="2" y="47"/>
                  </a:lnTo>
                  <a:close/>
                  <a:moveTo>
                    <a:pt x="45" y="0"/>
                  </a:moveTo>
                  <a:lnTo>
                    <a:pt x="45" y="0"/>
                  </a:lnTo>
                  <a:lnTo>
                    <a:pt x="45" y="0"/>
                  </a:lnTo>
                  <a:lnTo>
                    <a:pt x="45" y="0"/>
                  </a:lnTo>
                  <a:lnTo>
                    <a:pt x="45" y="0"/>
                  </a:lnTo>
                  <a:lnTo>
                    <a:pt x="45" y="0"/>
                  </a:lnTo>
                  <a:lnTo>
                    <a:pt x="45"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91" name="Freeform 947">
              <a:extLst>
                <a:ext uri="{FF2B5EF4-FFF2-40B4-BE49-F238E27FC236}">
                  <a16:creationId xmlns:a16="http://schemas.microsoft.com/office/drawing/2014/main" id="{A040DA62-EE86-4A38-8F4E-A2F8DBA77FEB}"/>
                </a:ext>
              </a:extLst>
            </p:cNvPr>
            <p:cNvSpPr>
              <a:spLocks/>
            </p:cNvSpPr>
            <p:nvPr/>
          </p:nvSpPr>
          <p:spPr bwMode="auto">
            <a:xfrm>
              <a:off x="5580731" y="2819675"/>
              <a:ext cx="304491" cy="313840"/>
            </a:xfrm>
            <a:custGeom>
              <a:avLst/>
              <a:gdLst>
                <a:gd name="T0" fmla="*/ 228 w 228"/>
                <a:gd name="T1" fmla="*/ 114 h 235"/>
                <a:gd name="T2" fmla="*/ 226 w 228"/>
                <a:gd name="T3" fmla="*/ 133 h 235"/>
                <a:gd name="T4" fmla="*/ 219 w 228"/>
                <a:gd name="T5" fmla="*/ 149 h 235"/>
                <a:gd name="T6" fmla="*/ 204 w 228"/>
                <a:gd name="T7" fmla="*/ 153 h 235"/>
                <a:gd name="T8" fmla="*/ 188 w 228"/>
                <a:gd name="T9" fmla="*/ 154 h 235"/>
                <a:gd name="T10" fmla="*/ 172 w 228"/>
                <a:gd name="T11" fmla="*/ 160 h 235"/>
                <a:gd name="T12" fmla="*/ 151 w 228"/>
                <a:gd name="T13" fmla="*/ 163 h 235"/>
                <a:gd name="T14" fmla="*/ 133 w 228"/>
                <a:gd name="T15" fmla="*/ 171 h 235"/>
                <a:gd name="T16" fmla="*/ 124 w 228"/>
                <a:gd name="T17" fmla="*/ 178 h 235"/>
                <a:gd name="T18" fmla="*/ 116 w 228"/>
                <a:gd name="T19" fmla="*/ 184 h 235"/>
                <a:gd name="T20" fmla="*/ 110 w 228"/>
                <a:gd name="T21" fmla="*/ 186 h 235"/>
                <a:gd name="T22" fmla="*/ 109 w 228"/>
                <a:gd name="T23" fmla="*/ 195 h 235"/>
                <a:gd name="T24" fmla="*/ 107 w 228"/>
                <a:gd name="T25" fmla="*/ 202 h 235"/>
                <a:gd name="T26" fmla="*/ 100 w 228"/>
                <a:gd name="T27" fmla="*/ 206 h 235"/>
                <a:gd name="T28" fmla="*/ 97 w 228"/>
                <a:gd name="T29" fmla="*/ 213 h 235"/>
                <a:gd name="T30" fmla="*/ 94 w 228"/>
                <a:gd name="T31" fmla="*/ 224 h 235"/>
                <a:gd name="T32" fmla="*/ 90 w 228"/>
                <a:gd name="T33" fmla="*/ 231 h 235"/>
                <a:gd name="T34" fmla="*/ 83 w 228"/>
                <a:gd name="T35" fmla="*/ 233 h 235"/>
                <a:gd name="T36" fmla="*/ 81 w 228"/>
                <a:gd name="T37" fmla="*/ 226 h 235"/>
                <a:gd name="T38" fmla="*/ 76 w 228"/>
                <a:gd name="T39" fmla="*/ 231 h 235"/>
                <a:gd name="T40" fmla="*/ 67 w 228"/>
                <a:gd name="T41" fmla="*/ 233 h 235"/>
                <a:gd name="T42" fmla="*/ 59 w 228"/>
                <a:gd name="T43" fmla="*/ 234 h 235"/>
                <a:gd name="T44" fmla="*/ 54 w 228"/>
                <a:gd name="T45" fmla="*/ 225 h 235"/>
                <a:gd name="T46" fmla="*/ 48 w 228"/>
                <a:gd name="T47" fmla="*/ 223 h 235"/>
                <a:gd name="T48" fmla="*/ 53 w 228"/>
                <a:gd name="T49" fmla="*/ 216 h 235"/>
                <a:gd name="T50" fmla="*/ 46 w 228"/>
                <a:gd name="T51" fmla="*/ 211 h 235"/>
                <a:gd name="T52" fmla="*/ 43 w 228"/>
                <a:gd name="T53" fmla="*/ 198 h 235"/>
                <a:gd name="T54" fmla="*/ 36 w 228"/>
                <a:gd name="T55" fmla="*/ 204 h 235"/>
                <a:gd name="T56" fmla="*/ 26 w 228"/>
                <a:gd name="T57" fmla="*/ 203 h 235"/>
                <a:gd name="T58" fmla="*/ 19 w 228"/>
                <a:gd name="T59" fmla="*/ 204 h 235"/>
                <a:gd name="T60" fmla="*/ 10 w 228"/>
                <a:gd name="T61" fmla="*/ 204 h 235"/>
                <a:gd name="T62" fmla="*/ 11 w 228"/>
                <a:gd name="T63" fmla="*/ 197 h 235"/>
                <a:gd name="T64" fmla="*/ 10 w 228"/>
                <a:gd name="T65" fmla="*/ 189 h 235"/>
                <a:gd name="T66" fmla="*/ 4 w 228"/>
                <a:gd name="T67" fmla="*/ 184 h 235"/>
                <a:gd name="T68" fmla="*/ 4 w 228"/>
                <a:gd name="T69" fmla="*/ 177 h 235"/>
                <a:gd name="T70" fmla="*/ 1 w 228"/>
                <a:gd name="T71" fmla="*/ 163 h 235"/>
                <a:gd name="T72" fmla="*/ 7 w 228"/>
                <a:gd name="T73" fmla="*/ 158 h 235"/>
                <a:gd name="T74" fmla="*/ 8 w 228"/>
                <a:gd name="T75" fmla="*/ 150 h 235"/>
                <a:gd name="T76" fmla="*/ 19 w 228"/>
                <a:gd name="T77" fmla="*/ 155 h 235"/>
                <a:gd name="T78" fmla="*/ 30 w 228"/>
                <a:gd name="T79" fmla="*/ 153 h 235"/>
                <a:gd name="T80" fmla="*/ 40 w 228"/>
                <a:gd name="T81" fmla="*/ 148 h 235"/>
                <a:gd name="T82" fmla="*/ 57 w 228"/>
                <a:gd name="T83" fmla="*/ 150 h 235"/>
                <a:gd name="T84" fmla="*/ 82 w 228"/>
                <a:gd name="T85" fmla="*/ 150 h 235"/>
                <a:gd name="T86" fmla="*/ 95 w 228"/>
                <a:gd name="T87" fmla="*/ 142 h 235"/>
                <a:gd name="T88" fmla="*/ 91 w 228"/>
                <a:gd name="T89" fmla="*/ 128 h 235"/>
                <a:gd name="T90" fmla="*/ 89 w 228"/>
                <a:gd name="T91" fmla="*/ 111 h 235"/>
                <a:gd name="T92" fmla="*/ 88 w 228"/>
                <a:gd name="T93" fmla="*/ 93 h 235"/>
                <a:gd name="T94" fmla="*/ 86 w 228"/>
                <a:gd name="T95" fmla="*/ 71 h 235"/>
                <a:gd name="T96" fmla="*/ 84 w 228"/>
                <a:gd name="T97" fmla="*/ 50 h 235"/>
                <a:gd name="T98" fmla="*/ 82 w 228"/>
                <a:gd name="T99" fmla="*/ 29 h 235"/>
                <a:gd name="T100" fmla="*/ 81 w 228"/>
                <a:gd name="T101" fmla="*/ 8 h 235"/>
                <a:gd name="T102" fmla="*/ 97 w 228"/>
                <a:gd name="T103" fmla="*/ 0 h 235"/>
                <a:gd name="T104" fmla="*/ 115 w 228"/>
                <a:gd name="T105" fmla="*/ 8 h 235"/>
                <a:gd name="T106" fmla="*/ 128 w 228"/>
                <a:gd name="T107" fmla="*/ 18 h 235"/>
                <a:gd name="T108" fmla="*/ 141 w 228"/>
                <a:gd name="T109" fmla="*/ 29 h 235"/>
                <a:gd name="T110" fmla="*/ 155 w 228"/>
                <a:gd name="T111" fmla="*/ 39 h 235"/>
                <a:gd name="T112" fmla="*/ 171 w 228"/>
                <a:gd name="T113" fmla="*/ 51 h 235"/>
                <a:gd name="T114" fmla="*/ 185 w 228"/>
                <a:gd name="T115" fmla="*/ 62 h 235"/>
                <a:gd name="T116" fmla="*/ 192 w 228"/>
                <a:gd name="T117" fmla="*/ 71 h 235"/>
                <a:gd name="T118" fmla="*/ 202 w 228"/>
                <a:gd name="T119" fmla="*/ 78 h 235"/>
                <a:gd name="T120" fmla="*/ 214 w 228"/>
                <a:gd name="T121" fmla="*/ 90 h 235"/>
                <a:gd name="T122" fmla="*/ 221 w 228"/>
                <a:gd name="T123" fmla="*/ 9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8" h="235">
                  <a:moveTo>
                    <a:pt x="228" y="93"/>
                  </a:moveTo>
                  <a:lnTo>
                    <a:pt x="228" y="94"/>
                  </a:lnTo>
                  <a:lnTo>
                    <a:pt x="228" y="97"/>
                  </a:lnTo>
                  <a:lnTo>
                    <a:pt x="228" y="99"/>
                  </a:lnTo>
                  <a:lnTo>
                    <a:pt x="228" y="100"/>
                  </a:lnTo>
                  <a:lnTo>
                    <a:pt x="228" y="102"/>
                  </a:lnTo>
                  <a:lnTo>
                    <a:pt x="228" y="105"/>
                  </a:lnTo>
                  <a:lnTo>
                    <a:pt x="228" y="106"/>
                  </a:lnTo>
                  <a:lnTo>
                    <a:pt x="228" y="108"/>
                  </a:lnTo>
                  <a:lnTo>
                    <a:pt x="228" y="111"/>
                  </a:lnTo>
                  <a:lnTo>
                    <a:pt x="228" y="112"/>
                  </a:lnTo>
                  <a:lnTo>
                    <a:pt x="228" y="114"/>
                  </a:lnTo>
                  <a:lnTo>
                    <a:pt x="228" y="116"/>
                  </a:lnTo>
                  <a:lnTo>
                    <a:pt x="228" y="118"/>
                  </a:lnTo>
                  <a:lnTo>
                    <a:pt x="228" y="120"/>
                  </a:lnTo>
                  <a:lnTo>
                    <a:pt x="228" y="122"/>
                  </a:lnTo>
                  <a:lnTo>
                    <a:pt x="228" y="123"/>
                  </a:lnTo>
                  <a:lnTo>
                    <a:pt x="228" y="125"/>
                  </a:lnTo>
                  <a:lnTo>
                    <a:pt x="228" y="127"/>
                  </a:lnTo>
                  <a:lnTo>
                    <a:pt x="226" y="127"/>
                  </a:lnTo>
                  <a:lnTo>
                    <a:pt x="228" y="129"/>
                  </a:lnTo>
                  <a:lnTo>
                    <a:pt x="226" y="129"/>
                  </a:lnTo>
                  <a:lnTo>
                    <a:pt x="226" y="130"/>
                  </a:lnTo>
                  <a:lnTo>
                    <a:pt x="226" y="133"/>
                  </a:lnTo>
                  <a:lnTo>
                    <a:pt x="226" y="134"/>
                  </a:lnTo>
                  <a:lnTo>
                    <a:pt x="226" y="136"/>
                  </a:lnTo>
                  <a:lnTo>
                    <a:pt x="225" y="137"/>
                  </a:lnTo>
                  <a:lnTo>
                    <a:pt x="224" y="141"/>
                  </a:lnTo>
                  <a:lnTo>
                    <a:pt x="224" y="142"/>
                  </a:lnTo>
                  <a:lnTo>
                    <a:pt x="223" y="143"/>
                  </a:lnTo>
                  <a:lnTo>
                    <a:pt x="223" y="144"/>
                  </a:lnTo>
                  <a:lnTo>
                    <a:pt x="223" y="146"/>
                  </a:lnTo>
                  <a:lnTo>
                    <a:pt x="223" y="147"/>
                  </a:lnTo>
                  <a:lnTo>
                    <a:pt x="222" y="148"/>
                  </a:lnTo>
                  <a:lnTo>
                    <a:pt x="221" y="148"/>
                  </a:lnTo>
                  <a:lnTo>
                    <a:pt x="219" y="149"/>
                  </a:lnTo>
                  <a:lnTo>
                    <a:pt x="218" y="150"/>
                  </a:lnTo>
                  <a:lnTo>
                    <a:pt x="217" y="150"/>
                  </a:lnTo>
                  <a:lnTo>
                    <a:pt x="217" y="153"/>
                  </a:lnTo>
                  <a:lnTo>
                    <a:pt x="216" y="153"/>
                  </a:lnTo>
                  <a:lnTo>
                    <a:pt x="214" y="151"/>
                  </a:lnTo>
                  <a:lnTo>
                    <a:pt x="211" y="151"/>
                  </a:lnTo>
                  <a:lnTo>
                    <a:pt x="210" y="151"/>
                  </a:lnTo>
                  <a:lnTo>
                    <a:pt x="210" y="153"/>
                  </a:lnTo>
                  <a:lnTo>
                    <a:pt x="209" y="153"/>
                  </a:lnTo>
                  <a:lnTo>
                    <a:pt x="207" y="153"/>
                  </a:lnTo>
                  <a:lnTo>
                    <a:pt x="205" y="153"/>
                  </a:lnTo>
                  <a:lnTo>
                    <a:pt x="204" y="153"/>
                  </a:lnTo>
                  <a:lnTo>
                    <a:pt x="203" y="153"/>
                  </a:lnTo>
                  <a:lnTo>
                    <a:pt x="202" y="154"/>
                  </a:lnTo>
                  <a:lnTo>
                    <a:pt x="201" y="154"/>
                  </a:lnTo>
                  <a:lnTo>
                    <a:pt x="200" y="154"/>
                  </a:lnTo>
                  <a:lnTo>
                    <a:pt x="197" y="154"/>
                  </a:lnTo>
                  <a:lnTo>
                    <a:pt x="196" y="154"/>
                  </a:lnTo>
                  <a:lnTo>
                    <a:pt x="195" y="154"/>
                  </a:lnTo>
                  <a:lnTo>
                    <a:pt x="194" y="154"/>
                  </a:lnTo>
                  <a:lnTo>
                    <a:pt x="193" y="154"/>
                  </a:lnTo>
                  <a:lnTo>
                    <a:pt x="192" y="154"/>
                  </a:lnTo>
                  <a:lnTo>
                    <a:pt x="190" y="154"/>
                  </a:lnTo>
                  <a:lnTo>
                    <a:pt x="188" y="154"/>
                  </a:lnTo>
                  <a:lnTo>
                    <a:pt x="187" y="154"/>
                  </a:lnTo>
                  <a:lnTo>
                    <a:pt x="186" y="155"/>
                  </a:lnTo>
                  <a:lnTo>
                    <a:pt x="185" y="156"/>
                  </a:lnTo>
                  <a:lnTo>
                    <a:pt x="183" y="157"/>
                  </a:lnTo>
                  <a:lnTo>
                    <a:pt x="182" y="158"/>
                  </a:lnTo>
                  <a:lnTo>
                    <a:pt x="180" y="158"/>
                  </a:lnTo>
                  <a:lnTo>
                    <a:pt x="179" y="160"/>
                  </a:lnTo>
                  <a:lnTo>
                    <a:pt x="176" y="158"/>
                  </a:lnTo>
                  <a:lnTo>
                    <a:pt x="175" y="158"/>
                  </a:lnTo>
                  <a:lnTo>
                    <a:pt x="174" y="158"/>
                  </a:lnTo>
                  <a:lnTo>
                    <a:pt x="172" y="158"/>
                  </a:lnTo>
                  <a:lnTo>
                    <a:pt x="172" y="160"/>
                  </a:lnTo>
                  <a:lnTo>
                    <a:pt x="168" y="158"/>
                  </a:lnTo>
                  <a:lnTo>
                    <a:pt x="167" y="157"/>
                  </a:lnTo>
                  <a:lnTo>
                    <a:pt x="166" y="157"/>
                  </a:lnTo>
                  <a:lnTo>
                    <a:pt x="165" y="157"/>
                  </a:lnTo>
                  <a:lnTo>
                    <a:pt x="164" y="158"/>
                  </a:lnTo>
                  <a:lnTo>
                    <a:pt x="162" y="157"/>
                  </a:lnTo>
                  <a:lnTo>
                    <a:pt x="159" y="157"/>
                  </a:lnTo>
                  <a:lnTo>
                    <a:pt x="158" y="158"/>
                  </a:lnTo>
                  <a:lnTo>
                    <a:pt x="154" y="161"/>
                  </a:lnTo>
                  <a:lnTo>
                    <a:pt x="154" y="162"/>
                  </a:lnTo>
                  <a:lnTo>
                    <a:pt x="151" y="162"/>
                  </a:lnTo>
                  <a:lnTo>
                    <a:pt x="151" y="163"/>
                  </a:lnTo>
                  <a:lnTo>
                    <a:pt x="146" y="167"/>
                  </a:lnTo>
                  <a:lnTo>
                    <a:pt x="145" y="167"/>
                  </a:lnTo>
                  <a:lnTo>
                    <a:pt x="144" y="167"/>
                  </a:lnTo>
                  <a:lnTo>
                    <a:pt x="143" y="167"/>
                  </a:lnTo>
                  <a:lnTo>
                    <a:pt x="141" y="167"/>
                  </a:lnTo>
                  <a:lnTo>
                    <a:pt x="141" y="171"/>
                  </a:lnTo>
                  <a:lnTo>
                    <a:pt x="140" y="171"/>
                  </a:lnTo>
                  <a:lnTo>
                    <a:pt x="139" y="171"/>
                  </a:lnTo>
                  <a:lnTo>
                    <a:pt x="136" y="170"/>
                  </a:lnTo>
                  <a:lnTo>
                    <a:pt x="135" y="170"/>
                  </a:lnTo>
                  <a:lnTo>
                    <a:pt x="133" y="170"/>
                  </a:lnTo>
                  <a:lnTo>
                    <a:pt x="133" y="171"/>
                  </a:lnTo>
                  <a:lnTo>
                    <a:pt x="132" y="171"/>
                  </a:lnTo>
                  <a:lnTo>
                    <a:pt x="132" y="172"/>
                  </a:lnTo>
                  <a:lnTo>
                    <a:pt x="130" y="174"/>
                  </a:lnTo>
                  <a:lnTo>
                    <a:pt x="129" y="176"/>
                  </a:lnTo>
                  <a:lnTo>
                    <a:pt x="129" y="177"/>
                  </a:lnTo>
                  <a:lnTo>
                    <a:pt x="129" y="178"/>
                  </a:lnTo>
                  <a:lnTo>
                    <a:pt x="129" y="179"/>
                  </a:lnTo>
                  <a:lnTo>
                    <a:pt x="128" y="179"/>
                  </a:lnTo>
                  <a:lnTo>
                    <a:pt x="126" y="181"/>
                  </a:lnTo>
                  <a:lnTo>
                    <a:pt x="126" y="179"/>
                  </a:lnTo>
                  <a:lnTo>
                    <a:pt x="125" y="179"/>
                  </a:lnTo>
                  <a:lnTo>
                    <a:pt x="124" y="178"/>
                  </a:lnTo>
                  <a:lnTo>
                    <a:pt x="124" y="179"/>
                  </a:lnTo>
                  <a:lnTo>
                    <a:pt x="124" y="181"/>
                  </a:lnTo>
                  <a:lnTo>
                    <a:pt x="124" y="182"/>
                  </a:lnTo>
                  <a:lnTo>
                    <a:pt x="124" y="185"/>
                  </a:lnTo>
                  <a:lnTo>
                    <a:pt x="122" y="185"/>
                  </a:lnTo>
                  <a:lnTo>
                    <a:pt x="122" y="186"/>
                  </a:lnTo>
                  <a:lnTo>
                    <a:pt x="122" y="188"/>
                  </a:lnTo>
                  <a:lnTo>
                    <a:pt x="121" y="188"/>
                  </a:lnTo>
                  <a:lnTo>
                    <a:pt x="119" y="186"/>
                  </a:lnTo>
                  <a:lnTo>
                    <a:pt x="118" y="185"/>
                  </a:lnTo>
                  <a:lnTo>
                    <a:pt x="117" y="184"/>
                  </a:lnTo>
                  <a:lnTo>
                    <a:pt x="116" y="184"/>
                  </a:lnTo>
                  <a:lnTo>
                    <a:pt x="115" y="184"/>
                  </a:lnTo>
                  <a:lnTo>
                    <a:pt x="114" y="184"/>
                  </a:lnTo>
                  <a:lnTo>
                    <a:pt x="115" y="183"/>
                  </a:lnTo>
                  <a:lnTo>
                    <a:pt x="115" y="182"/>
                  </a:lnTo>
                  <a:lnTo>
                    <a:pt x="114" y="182"/>
                  </a:lnTo>
                  <a:lnTo>
                    <a:pt x="114" y="183"/>
                  </a:lnTo>
                  <a:lnTo>
                    <a:pt x="115" y="183"/>
                  </a:lnTo>
                  <a:lnTo>
                    <a:pt x="114" y="183"/>
                  </a:lnTo>
                  <a:lnTo>
                    <a:pt x="112" y="184"/>
                  </a:lnTo>
                  <a:lnTo>
                    <a:pt x="112" y="185"/>
                  </a:lnTo>
                  <a:lnTo>
                    <a:pt x="111" y="185"/>
                  </a:lnTo>
                  <a:lnTo>
                    <a:pt x="110" y="186"/>
                  </a:lnTo>
                  <a:lnTo>
                    <a:pt x="111" y="186"/>
                  </a:lnTo>
                  <a:lnTo>
                    <a:pt x="110" y="188"/>
                  </a:lnTo>
                  <a:lnTo>
                    <a:pt x="109" y="188"/>
                  </a:lnTo>
                  <a:lnTo>
                    <a:pt x="109" y="189"/>
                  </a:lnTo>
                  <a:lnTo>
                    <a:pt x="110" y="190"/>
                  </a:lnTo>
                  <a:lnTo>
                    <a:pt x="110" y="191"/>
                  </a:lnTo>
                  <a:lnTo>
                    <a:pt x="111" y="191"/>
                  </a:lnTo>
                  <a:lnTo>
                    <a:pt x="111" y="192"/>
                  </a:lnTo>
                  <a:lnTo>
                    <a:pt x="111" y="193"/>
                  </a:lnTo>
                  <a:lnTo>
                    <a:pt x="110" y="193"/>
                  </a:lnTo>
                  <a:lnTo>
                    <a:pt x="110" y="195"/>
                  </a:lnTo>
                  <a:lnTo>
                    <a:pt x="109" y="195"/>
                  </a:lnTo>
                  <a:lnTo>
                    <a:pt x="108" y="195"/>
                  </a:lnTo>
                  <a:lnTo>
                    <a:pt x="107" y="195"/>
                  </a:lnTo>
                  <a:lnTo>
                    <a:pt x="107" y="196"/>
                  </a:lnTo>
                  <a:lnTo>
                    <a:pt x="108" y="196"/>
                  </a:lnTo>
                  <a:lnTo>
                    <a:pt x="108" y="197"/>
                  </a:lnTo>
                  <a:lnTo>
                    <a:pt x="109" y="197"/>
                  </a:lnTo>
                  <a:lnTo>
                    <a:pt x="109" y="198"/>
                  </a:lnTo>
                  <a:lnTo>
                    <a:pt x="108" y="198"/>
                  </a:lnTo>
                  <a:lnTo>
                    <a:pt x="108" y="199"/>
                  </a:lnTo>
                  <a:lnTo>
                    <a:pt x="108" y="200"/>
                  </a:lnTo>
                  <a:lnTo>
                    <a:pt x="107" y="200"/>
                  </a:lnTo>
                  <a:lnTo>
                    <a:pt x="107" y="202"/>
                  </a:lnTo>
                  <a:lnTo>
                    <a:pt x="105" y="203"/>
                  </a:lnTo>
                  <a:lnTo>
                    <a:pt x="105" y="204"/>
                  </a:lnTo>
                  <a:lnTo>
                    <a:pt x="104" y="204"/>
                  </a:lnTo>
                  <a:lnTo>
                    <a:pt x="104" y="205"/>
                  </a:lnTo>
                  <a:lnTo>
                    <a:pt x="103" y="205"/>
                  </a:lnTo>
                  <a:lnTo>
                    <a:pt x="103" y="206"/>
                  </a:lnTo>
                  <a:lnTo>
                    <a:pt x="102" y="205"/>
                  </a:lnTo>
                  <a:lnTo>
                    <a:pt x="102" y="206"/>
                  </a:lnTo>
                  <a:lnTo>
                    <a:pt x="101" y="206"/>
                  </a:lnTo>
                  <a:lnTo>
                    <a:pt x="101" y="205"/>
                  </a:lnTo>
                  <a:lnTo>
                    <a:pt x="101" y="206"/>
                  </a:lnTo>
                  <a:lnTo>
                    <a:pt x="100" y="206"/>
                  </a:lnTo>
                  <a:lnTo>
                    <a:pt x="98" y="206"/>
                  </a:lnTo>
                  <a:lnTo>
                    <a:pt x="97" y="206"/>
                  </a:lnTo>
                  <a:lnTo>
                    <a:pt x="97" y="207"/>
                  </a:lnTo>
                  <a:lnTo>
                    <a:pt x="96" y="207"/>
                  </a:lnTo>
                  <a:lnTo>
                    <a:pt x="96" y="209"/>
                  </a:lnTo>
                  <a:lnTo>
                    <a:pt x="95" y="209"/>
                  </a:lnTo>
                  <a:lnTo>
                    <a:pt x="94" y="209"/>
                  </a:lnTo>
                  <a:lnTo>
                    <a:pt x="95" y="209"/>
                  </a:lnTo>
                  <a:lnTo>
                    <a:pt x="96" y="210"/>
                  </a:lnTo>
                  <a:lnTo>
                    <a:pt x="96" y="211"/>
                  </a:lnTo>
                  <a:lnTo>
                    <a:pt x="96" y="212"/>
                  </a:lnTo>
                  <a:lnTo>
                    <a:pt x="97" y="213"/>
                  </a:lnTo>
                  <a:lnTo>
                    <a:pt x="97" y="214"/>
                  </a:lnTo>
                  <a:lnTo>
                    <a:pt x="96" y="216"/>
                  </a:lnTo>
                  <a:lnTo>
                    <a:pt x="96" y="217"/>
                  </a:lnTo>
                  <a:lnTo>
                    <a:pt x="96" y="218"/>
                  </a:lnTo>
                  <a:lnTo>
                    <a:pt x="95" y="219"/>
                  </a:lnTo>
                  <a:lnTo>
                    <a:pt x="95" y="220"/>
                  </a:lnTo>
                  <a:lnTo>
                    <a:pt x="93" y="220"/>
                  </a:lnTo>
                  <a:lnTo>
                    <a:pt x="93" y="221"/>
                  </a:lnTo>
                  <a:lnTo>
                    <a:pt x="93" y="223"/>
                  </a:lnTo>
                  <a:lnTo>
                    <a:pt x="93" y="221"/>
                  </a:lnTo>
                  <a:lnTo>
                    <a:pt x="94" y="223"/>
                  </a:lnTo>
                  <a:lnTo>
                    <a:pt x="94" y="224"/>
                  </a:lnTo>
                  <a:lnTo>
                    <a:pt x="94" y="225"/>
                  </a:lnTo>
                  <a:lnTo>
                    <a:pt x="94" y="226"/>
                  </a:lnTo>
                  <a:lnTo>
                    <a:pt x="93" y="226"/>
                  </a:lnTo>
                  <a:lnTo>
                    <a:pt x="93" y="227"/>
                  </a:lnTo>
                  <a:lnTo>
                    <a:pt x="94" y="227"/>
                  </a:lnTo>
                  <a:lnTo>
                    <a:pt x="93" y="227"/>
                  </a:lnTo>
                  <a:lnTo>
                    <a:pt x="94" y="228"/>
                  </a:lnTo>
                  <a:lnTo>
                    <a:pt x="93" y="228"/>
                  </a:lnTo>
                  <a:lnTo>
                    <a:pt x="93" y="230"/>
                  </a:lnTo>
                  <a:lnTo>
                    <a:pt x="93" y="231"/>
                  </a:lnTo>
                  <a:lnTo>
                    <a:pt x="91" y="231"/>
                  </a:lnTo>
                  <a:lnTo>
                    <a:pt x="90" y="231"/>
                  </a:lnTo>
                  <a:lnTo>
                    <a:pt x="89" y="231"/>
                  </a:lnTo>
                  <a:lnTo>
                    <a:pt x="88" y="232"/>
                  </a:lnTo>
                  <a:lnTo>
                    <a:pt x="87" y="232"/>
                  </a:lnTo>
                  <a:lnTo>
                    <a:pt x="87" y="233"/>
                  </a:lnTo>
                  <a:lnTo>
                    <a:pt x="86" y="233"/>
                  </a:lnTo>
                  <a:lnTo>
                    <a:pt x="86" y="234"/>
                  </a:lnTo>
                  <a:lnTo>
                    <a:pt x="84" y="234"/>
                  </a:lnTo>
                  <a:lnTo>
                    <a:pt x="83" y="234"/>
                  </a:lnTo>
                  <a:lnTo>
                    <a:pt x="83" y="233"/>
                  </a:lnTo>
                  <a:lnTo>
                    <a:pt x="82" y="233"/>
                  </a:lnTo>
                  <a:lnTo>
                    <a:pt x="83" y="232"/>
                  </a:lnTo>
                  <a:lnTo>
                    <a:pt x="83" y="233"/>
                  </a:lnTo>
                  <a:lnTo>
                    <a:pt x="83" y="232"/>
                  </a:lnTo>
                  <a:lnTo>
                    <a:pt x="83" y="231"/>
                  </a:lnTo>
                  <a:lnTo>
                    <a:pt x="83" y="230"/>
                  </a:lnTo>
                  <a:lnTo>
                    <a:pt x="82" y="230"/>
                  </a:lnTo>
                  <a:lnTo>
                    <a:pt x="82" y="228"/>
                  </a:lnTo>
                  <a:lnTo>
                    <a:pt x="83" y="228"/>
                  </a:lnTo>
                  <a:lnTo>
                    <a:pt x="82" y="228"/>
                  </a:lnTo>
                  <a:lnTo>
                    <a:pt x="82" y="227"/>
                  </a:lnTo>
                  <a:lnTo>
                    <a:pt x="83" y="227"/>
                  </a:lnTo>
                  <a:lnTo>
                    <a:pt x="82" y="227"/>
                  </a:lnTo>
                  <a:lnTo>
                    <a:pt x="82" y="226"/>
                  </a:lnTo>
                  <a:lnTo>
                    <a:pt x="81" y="226"/>
                  </a:lnTo>
                  <a:lnTo>
                    <a:pt x="80" y="226"/>
                  </a:lnTo>
                  <a:lnTo>
                    <a:pt x="80" y="227"/>
                  </a:lnTo>
                  <a:lnTo>
                    <a:pt x="80" y="228"/>
                  </a:lnTo>
                  <a:lnTo>
                    <a:pt x="79" y="228"/>
                  </a:lnTo>
                  <a:lnTo>
                    <a:pt x="77" y="228"/>
                  </a:lnTo>
                  <a:lnTo>
                    <a:pt x="77" y="227"/>
                  </a:lnTo>
                  <a:lnTo>
                    <a:pt x="76" y="227"/>
                  </a:lnTo>
                  <a:lnTo>
                    <a:pt x="76" y="228"/>
                  </a:lnTo>
                  <a:lnTo>
                    <a:pt x="76" y="230"/>
                  </a:lnTo>
                  <a:lnTo>
                    <a:pt x="76" y="231"/>
                  </a:lnTo>
                  <a:lnTo>
                    <a:pt x="77" y="231"/>
                  </a:lnTo>
                  <a:lnTo>
                    <a:pt x="76" y="231"/>
                  </a:lnTo>
                  <a:lnTo>
                    <a:pt x="76" y="232"/>
                  </a:lnTo>
                  <a:lnTo>
                    <a:pt x="75" y="232"/>
                  </a:lnTo>
                  <a:lnTo>
                    <a:pt x="74" y="232"/>
                  </a:lnTo>
                  <a:lnTo>
                    <a:pt x="73" y="232"/>
                  </a:lnTo>
                  <a:lnTo>
                    <a:pt x="72" y="233"/>
                  </a:lnTo>
                  <a:lnTo>
                    <a:pt x="72" y="234"/>
                  </a:lnTo>
                  <a:lnTo>
                    <a:pt x="73" y="234"/>
                  </a:lnTo>
                  <a:lnTo>
                    <a:pt x="72" y="235"/>
                  </a:lnTo>
                  <a:lnTo>
                    <a:pt x="71" y="234"/>
                  </a:lnTo>
                  <a:lnTo>
                    <a:pt x="69" y="233"/>
                  </a:lnTo>
                  <a:lnTo>
                    <a:pt x="68" y="233"/>
                  </a:lnTo>
                  <a:lnTo>
                    <a:pt x="67" y="233"/>
                  </a:lnTo>
                  <a:lnTo>
                    <a:pt x="67" y="232"/>
                  </a:lnTo>
                  <a:lnTo>
                    <a:pt x="66" y="232"/>
                  </a:lnTo>
                  <a:lnTo>
                    <a:pt x="66" y="231"/>
                  </a:lnTo>
                  <a:lnTo>
                    <a:pt x="65" y="230"/>
                  </a:lnTo>
                  <a:lnTo>
                    <a:pt x="65" y="231"/>
                  </a:lnTo>
                  <a:lnTo>
                    <a:pt x="64" y="231"/>
                  </a:lnTo>
                  <a:lnTo>
                    <a:pt x="62" y="231"/>
                  </a:lnTo>
                  <a:lnTo>
                    <a:pt x="62" y="232"/>
                  </a:lnTo>
                  <a:lnTo>
                    <a:pt x="61" y="232"/>
                  </a:lnTo>
                  <a:lnTo>
                    <a:pt x="61" y="233"/>
                  </a:lnTo>
                  <a:lnTo>
                    <a:pt x="60" y="234"/>
                  </a:lnTo>
                  <a:lnTo>
                    <a:pt x="59" y="234"/>
                  </a:lnTo>
                  <a:lnTo>
                    <a:pt x="59" y="235"/>
                  </a:lnTo>
                  <a:lnTo>
                    <a:pt x="58" y="234"/>
                  </a:lnTo>
                  <a:lnTo>
                    <a:pt x="59" y="234"/>
                  </a:lnTo>
                  <a:lnTo>
                    <a:pt x="59" y="233"/>
                  </a:lnTo>
                  <a:lnTo>
                    <a:pt x="58" y="232"/>
                  </a:lnTo>
                  <a:lnTo>
                    <a:pt x="57" y="232"/>
                  </a:lnTo>
                  <a:lnTo>
                    <a:pt x="57" y="231"/>
                  </a:lnTo>
                  <a:lnTo>
                    <a:pt x="55" y="231"/>
                  </a:lnTo>
                  <a:lnTo>
                    <a:pt x="54" y="230"/>
                  </a:lnTo>
                  <a:lnTo>
                    <a:pt x="54" y="228"/>
                  </a:lnTo>
                  <a:lnTo>
                    <a:pt x="54" y="226"/>
                  </a:lnTo>
                  <a:lnTo>
                    <a:pt x="54" y="225"/>
                  </a:lnTo>
                  <a:lnTo>
                    <a:pt x="53" y="225"/>
                  </a:lnTo>
                  <a:lnTo>
                    <a:pt x="54" y="224"/>
                  </a:lnTo>
                  <a:lnTo>
                    <a:pt x="54" y="221"/>
                  </a:lnTo>
                  <a:lnTo>
                    <a:pt x="53" y="221"/>
                  </a:lnTo>
                  <a:lnTo>
                    <a:pt x="53" y="220"/>
                  </a:lnTo>
                  <a:lnTo>
                    <a:pt x="53" y="221"/>
                  </a:lnTo>
                  <a:lnTo>
                    <a:pt x="52" y="220"/>
                  </a:lnTo>
                  <a:lnTo>
                    <a:pt x="51" y="220"/>
                  </a:lnTo>
                  <a:lnTo>
                    <a:pt x="51" y="221"/>
                  </a:lnTo>
                  <a:lnTo>
                    <a:pt x="51" y="223"/>
                  </a:lnTo>
                  <a:lnTo>
                    <a:pt x="50" y="223"/>
                  </a:lnTo>
                  <a:lnTo>
                    <a:pt x="48" y="223"/>
                  </a:lnTo>
                  <a:lnTo>
                    <a:pt x="48" y="221"/>
                  </a:lnTo>
                  <a:lnTo>
                    <a:pt x="50" y="220"/>
                  </a:lnTo>
                  <a:lnTo>
                    <a:pt x="50" y="219"/>
                  </a:lnTo>
                  <a:lnTo>
                    <a:pt x="51" y="219"/>
                  </a:lnTo>
                  <a:lnTo>
                    <a:pt x="51" y="218"/>
                  </a:lnTo>
                  <a:lnTo>
                    <a:pt x="52" y="218"/>
                  </a:lnTo>
                  <a:lnTo>
                    <a:pt x="51" y="218"/>
                  </a:lnTo>
                  <a:lnTo>
                    <a:pt x="52" y="217"/>
                  </a:lnTo>
                  <a:lnTo>
                    <a:pt x="53" y="217"/>
                  </a:lnTo>
                  <a:lnTo>
                    <a:pt x="52" y="217"/>
                  </a:lnTo>
                  <a:lnTo>
                    <a:pt x="52" y="216"/>
                  </a:lnTo>
                  <a:lnTo>
                    <a:pt x="53" y="216"/>
                  </a:lnTo>
                  <a:lnTo>
                    <a:pt x="52" y="216"/>
                  </a:lnTo>
                  <a:lnTo>
                    <a:pt x="52" y="214"/>
                  </a:lnTo>
                  <a:lnTo>
                    <a:pt x="51" y="214"/>
                  </a:lnTo>
                  <a:lnTo>
                    <a:pt x="51" y="213"/>
                  </a:lnTo>
                  <a:lnTo>
                    <a:pt x="51" y="214"/>
                  </a:lnTo>
                  <a:lnTo>
                    <a:pt x="50" y="214"/>
                  </a:lnTo>
                  <a:lnTo>
                    <a:pt x="50" y="213"/>
                  </a:lnTo>
                  <a:lnTo>
                    <a:pt x="48" y="213"/>
                  </a:lnTo>
                  <a:lnTo>
                    <a:pt x="48" y="212"/>
                  </a:lnTo>
                  <a:lnTo>
                    <a:pt x="48" y="211"/>
                  </a:lnTo>
                  <a:lnTo>
                    <a:pt x="47" y="211"/>
                  </a:lnTo>
                  <a:lnTo>
                    <a:pt x="46" y="211"/>
                  </a:lnTo>
                  <a:lnTo>
                    <a:pt x="47" y="207"/>
                  </a:lnTo>
                  <a:lnTo>
                    <a:pt x="47" y="206"/>
                  </a:lnTo>
                  <a:lnTo>
                    <a:pt x="47" y="205"/>
                  </a:lnTo>
                  <a:lnTo>
                    <a:pt x="46" y="205"/>
                  </a:lnTo>
                  <a:lnTo>
                    <a:pt x="46" y="204"/>
                  </a:lnTo>
                  <a:lnTo>
                    <a:pt x="46" y="203"/>
                  </a:lnTo>
                  <a:lnTo>
                    <a:pt x="45" y="203"/>
                  </a:lnTo>
                  <a:lnTo>
                    <a:pt x="45" y="202"/>
                  </a:lnTo>
                  <a:lnTo>
                    <a:pt x="45" y="200"/>
                  </a:lnTo>
                  <a:lnTo>
                    <a:pt x="45" y="199"/>
                  </a:lnTo>
                  <a:lnTo>
                    <a:pt x="44" y="199"/>
                  </a:lnTo>
                  <a:lnTo>
                    <a:pt x="43" y="198"/>
                  </a:lnTo>
                  <a:lnTo>
                    <a:pt x="41" y="198"/>
                  </a:lnTo>
                  <a:lnTo>
                    <a:pt x="40" y="198"/>
                  </a:lnTo>
                  <a:lnTo>
                    <a:pt x="39" y="198"/>
                  </a:lnTo>
                  <a:lnTo>
                    <a:pt x="39" y="199"/>
                  </a:lnTo>
                  <a:lnTo>
                    <a:pt x="40" y="199"/>
                  </a:lnTo>
                  <a:lnTo>
                    <a:pt x="40" y="200"/>
                  </a:lnTo>
                  <a:lnTo>
                    <a:pt x="40" y="202"/>
                  </a:lnTo>
                  <a:lnTo>
                    <a:pt x="39" y="202"/>
                  </a:lnTo>
                  <a:lnTo>
                    <a:pt x="38" y="202"/>
                  </a:lnTo>
                  <a:lnTo>
                    <a:pt x="38" y="203"/>
                  </a:lnTo>
                  <a:lnTo>
                    <a:pt x="36" y="203"/>
                  </a:lnTo>
                  <a:lnTo>
                    <a:pt x="36" y="204"/>
                  </a:lnTo>
                  <a:lnTo>
                    <a:pt x="34" y="204"/>
                  </a:lnTo>
                  <a:lnTo>
                    <a:pt x="36" y="204"/>
                  </a:lnTo>
                  <a:lnTo>
                    <a:pt x="34" y="205"/>
                  </a:lnTo>
                  <a:lnTo>
                    <a:pt x="33" y="205"/>
                  </a:lnTo>
                  <a:lnTo>
                    <a:pt x="32" y="205"/>
                  </a:lnTo>
                  <a:lnTo>
                    <a:pt x="32" y="204"/>
                  </a:lnTo>
                  <a:lnTo>
                    <a:pt x="31" y="204"/>
                  </a:lnTo>
                  <a:lnTo>
                    <a:pt x="30" y="204"/>
                  </a:lnTo>
                  <a:lnTo>
                    <a:pt x="30" y="203"/>
                  </a:lnTo>
                  <a:lnTo>
                    <a:pt x="29" y="203"/>
                  </a:lnTo>
                  <a:lnTo>
                    <a:pt x="27" y="203"/>
                  </a:lnTo>
                  <a:lnTo>
                    <a:pt x="26" y="203"/>
                  </a:lnTo>
                  <a:lnTo>
                    <a:pt x="25" y="203"/>
                  </a:lnTo>
                  <a:lnTo>
                    <a:pt x="25" y="204"/>
                  </a:lnTo>
                  <a:lnTo>
                    <a:pt x="24" y="204"/>
                  </a:lnTo>
                  <a:lnTo>
                    <a:pt x="24" y="205"/>
                  </a:lnTo>
                  <a:lnTo>
                    <a:pt x="23" y="205"/>
                  </a:lnTo>
                  <a:lnTo>
                    <a:pt x="23" y="206"/>
                  </a:lnTo>
                  <a:lnTo>
                    <a:pt x="22" y="206"/>
                  </a:lnTo>
                  <a:lnTo>
                    <a:pt x="22" y="207"/>
                  </a:lnTo>
                  <a:lnTo>
                    <a:pt x="20" y="207"/>
                  </a:lnTo>
                  <a:lnTo>
                    <a:pt x="19" y="206"/>
                  </a:lnTo>
                  <a:lnTo>
                    <a:pt x="19" y="205"/>
                  </a:lnTo>
                  <a:lnTo>
                    <a:pt x="19" y="204"/>
                  </a:lnTo>
                  <a:lnTo>
                    <a:pt x="18" y="204"/>
                  </a:lnTo>
                  <a:lnTo>
                    <a:pt x="18" y="203"/>
                  </a:lnTo>
                  <a:lnTo>
                    <a:pt x="17" y="203"/>
                  </a:lnTo>
                  <a:lnTo>
                    <a:pt x="16" y="203"/>
                  </a:lnTo>
                  <a:lnTo>
                    <a:pt x="16" y="204"/>
                  </a:lnTo>
                  <a:lnTo>
                    <a:pt x="15" y="204"/>
                  </a:lnTo>
                  <a:lnTo>
                    <a:pt x="15" y="205"/>
                  </a:lnTo>
                  <a:lnTo>
                    <a:pt x="13" y="205"/>
                  </a:lnTo>
                  <a:lnTo>
                    <a:pt x="13" y="206"/>
                  </a:lnTo>
                  <a:lnTo>
                    <a:pt x="12" y="205"/>
                  </a:lnTo>
                  <a:lnTo>
                    <a:pt x="11" y="204"/>
                  </a:lnTo>
                  <a:lnTo>
                    <a:pt x="10" y="204"/>
                  </a:lnTo>
                  <a:lnTo>
                    <a:pt x="10" y="203"/>
                  </a:lnTo>
                  <a:lnTo>
                    <a:pt x="10" y="202"/>
                  </a:lnTo>
                  <a:lnTo>
                    <a:pt x="11" y="202"/>
                  </a:lnTo>
                  <a:lnTo>
                    <a:pt x="11" y="200"/>
                  </a:lnTo>
                  <a:lnTo>
                    <a:pt x="10" y="200"/>
                  </a:lnTo>
                  <a:lnTo>
                    <a:pt x="11" y="199"/>
                  </a:lnTo>
                  <a:lnTo>
                    <a:pt x="11" y="198"/>
                  </a:lnTo>
                  <a:lnTo>
                    <a:pt x="11" y="197"/>
                  </a:lnTo>
                  <a:lnTo>
                    <a:pt x="11" y="198"/>
                  </a:lnTo>
                  <a:lnTo>
                    <a:pt x="11" y="197"/>
                  </a:lnTo>
                  <a:lnTo>
                    <a:pt x="10" y="197"/>
                  </a:lnTo>
                  <a:lnTo>
                    <a:pt x="11" y="197"/>
                  </a:lnTo>
                  <a:lnTo>
                    <a:pt x="11" y="196"/>
                  </a:lnTo>
                  <a:lnTo>
                    <a:pt x="10" y="196"/>
                  </a:lnTo>
                  <a:lnTo>
                    <a:pt x="10" y="195"/>
                  </a:lnTo>
                  <a:lnTo>
                    <a:pt x="11" y="195"/>
                  </a:lnTo>
                  <a:lnTo>
                    <a:pt x="11" y="193"/>
                  </a:lnTo>
                  <a:lnTo>
                    <a:pt x="11" y="192"/>
                  </a:lnTo>
                  <a:lnTo>
                    <a:pt x="11" y="191"/>
                  </a:lnTo>
                  <a:lnTo>
                    <a:pt x="11" y="190"/>
                  </a:lnTo>
                  <a:lnTo>
                    <a:pt x="11" y="191"/>
                  </a:lnTo>
                  <a:lnTo>
                    <a:pt x="11" y="190"/>
                  </a:lnTo>
                  <a:lnTo>
                    <a:pt x="11" y="189"/>
                  </a:lnTo>
                  <a:lnTo>
                    <a:pt x="10" y="189"/>
                  </a:lnTo>
                  <a:lnTo>
                    <a:pt x="10" y="188"/>
                  </a:lnTo>
                  <a:lnTo>
                    <a:pt x="9" y="188"/>
                  </a:lnTo>
                  <a:lnTo>
                    <a:pt x="9" y="186"/>
                  </a:lnTo>
                  <a:lnTo>
                    <a:pt x="9" y="185"/>
                  </a:lnTo>
                  <a:lnTo>
                    <a:pt x="9" y="184"/>
                  </a:lnTo>
                  <a:lnTo>
                    <a:pt x="8" y="184"/>
                  </a:lnTo>
                  <a:lnTo>
                    <a:pt x="7" y="184"/>
                  </a:lnTo>
                  <a:lnTo>
                    <a:pt x="7" y="183"/>
                  </a:lnTo>
                  <a:lnTo>
                    <a:pt x="7" y="184"/>
                  </a:lnTo>
                  <a:lnTo>
                    <a:pt x="5" y="185"/>
                  </a:lnTo>
                  <a:lnTo>
                    <a:pt x="5" y="184"/>
                  </a:lnTo>
                  <a:lnTo>
                    <a:pt x="4" y="184"/>
                  </a:lnTo>
                  <a:lnTo>
                    <a:pt x="4" y="183"/>
                  </a:lnTo>
                  <a:lnTo>
                    <a:pt x="5" y="183"/>
                  </a:lnTo>
                  <a:lnTo>
                    <a:pt x="4" y="183"/>
                  </a:lnTo>
                  <a:lnTo>
                    <a:pt x="4" y="182"/>
                  </a:lnTo>
                  <a:lnTo>
                    <a:pt x="3" y="182"/>
                  </a:lnTo>
                  <a:lnTo>
                    <a:pt x="3" y="181"/>
                  </a:lnTo>
                  <a:lnTo>
                    <a:pt x="3" y="179"/>
                  </a:lnTo>
                  <a:lnTo>
                    <a:pt x="2" y="179"/>
                  </a:lnTo>
                  <a:lnTo>
                    <a:pt x="2" y="178"/>
                  </a:lnTo>
                  <a:lnTo>
                    <a:pt x="3" y="178"/>
                  </a:lnTo>
                  <a:lnTo>
                    <a:pt x="3" y="177"/>
                  </a:lnTo>
                  <a:lnTo>
                    <a:pt x="4" y="177"/>
                  </a:lnTo>
                  <a:lnTo>
                    <a:pt x="4" y="176"/>
                  </a:lnTo>
                  <a:lnTo>
                    <a:pt x="3" y="175"/>
                  </a:lnTo>
                  <a:lnTo>
                    <a:pt x="3" y="174"/>
                  </a:lnTo>
                  <a:lnTo>
                    <a:pt x="3" y="172"/>
                  </a:lnTo>
                  <a:lnTo>
                    <a:pt x="3" y="171"/>
                  </a:lnTo>
                  <a:lnTo>
                    <a:pt x="3" y="170"/>
                  </a:lnTo>
                  <a:lnTo>
                    <a:pt x="2" y="169"/>
                  </a:lnTo>
                  <a:lnTo>
                    <a:pt x="1" y="168"/>
                  </a:lnTo>
                  <a:lnTo>
                    <a:pt x="1" y="167"/>
                  </a:lnTo>
                  <a:lnTo>
                    <a:pt x="1" y="165"/>
                  </a:lnTo>
                  <a:lnTo>
                    <a:pt x="1" y="164"/>
                  </a:lnTo>
                  <a:lnTo>
                    <a:pt x="1" y="163"/>
                  </a:lnTo>
                  <a:lnTo>
                    <a:pt x="0" y="162"/>
                  </a:lnTo>
                  <a:lnTo>
                    <a:pt x="1" y="162"/>
                  </a:lnTo>
                  <a:lnTo>
                    <a:pt x="2" y="162"/>
                  </a:lnTo>
                  <a:lnTo>
                    <a:pt x="3" y="162"/>
                  </a:lnTo>
                  <a:lnTo>
                    <a:pt x="4" y="162"/>
                  </a:lnTo>
                  <a:lnTo>
                    <a:pt x="4" y="161"/>
                  </a:lnTo>
                  <a:lnTo>
                    <a:pt x="5" y="161"/>
                  </a:lnTo>
                  <a:lnTo>
                    <a:pt x="5" y="160"/>
                  </a:lnTo>
                  <a:lnTo>
                    <a:pt x="7" y="160"/>
                  </a:lnTo>
                  <a:lnTo>
                    <a:pt x="5" y="160"/>
                  </a:lnTo>
                  <a:lnTo>
                    <a:pt x="5" y="158"/>
                  </a:lnTo>
                  <a:lnTo>
                    <a:pt x="7" y="158"/>
                  </a:lnTo>
                  <a:lnTo>
                    <a:pt x="7" y="157"/>
                  </a:lnTo>
                  <a:lnTo>
                    <a:pt x="5" y="157"/>
                  </a:lnTo>
                  <a:lnTo>
                    <a:pt x="5" y="156"/>
                  </a:lnTo>
                  <a:lnTo>
                    <a:pt x="5" y="155"/>
                  </a:lnTo>
                  <a:lnTo>
                    <a:pt x="7" y="155"/>
                  </a:lnTo>
                  <a:lnTo>
                    <a:pt x="7" y="154"/>
                  </a:lnTo>
                  <a:lnTo>
                    <a:pt x="7" y="153"/>
                  </a:lnTo>
                  <a:lnTo>
                    <a:pt x="7" y="151"/>
                  </a:lnTo>
                  <a:lnTo>
                    <a:pt x="7" y="150"/>
                  </a:lnTo>
                  <a:lnTo>
                    <a:pt x="8" y="150"/>
                  </a:lnTo>
                  <a:lnTo>
                    <a:pt x="8" y="149"/>
                  </a:lnTo>
                  <a:lnTo>
                    <a:pt x="8" y="150"/>
                  </a:lnTo>
                  <a:lnTo>
                    <a:pt x="9" y="150"/>
                  </a:lnTo>
                  <a:lnTo>
                    <a:pt x="9" y="149"/>
                  </a:lnTo>
                  <a:lnTo>
                    <a:pt x="10" y="149"/>
                  </a:lnTo>
                  <a:lnTo>
                    <a:pt x="10" y="148"/>
                  </a:lnTo>
                  <a:lnTo>
                    <a:pt x="11" y="148"/>
                  </a:lnTo>
                  <a:lnTo>
                    <a:pt x="12" y="149"/>
                  </a:lnTo>
                  <a:lnTo>
                    <a:pt x="13" y="150"/>
                  </a:lnTo>
                  <a:lnTo>
                    <a:pt x="13" y="151"/>
                  </a:lnTo>
                  <a:lnTo>
                    <a:pt x="17" y="154"/>
                  </a:lnTo>
                  <a:lnTo>
                    <a:pt x="17" y="155"/>
                  </a:lnTo>
                  <a:lnTo>
                    <a:pt x="18" y="156"/>
                  </a:lnTo>
                  <a:lnTo>
                    <a:pt x="19" y="155"/>
                  </a:lnTo>
                  <a:lnTo>
                    <a:pt x="19" y="154"/>
                  </a:lnTo>
                  <a:lnTo>
                    <a:pt x="20" y="154"/>
                  </a:lnTo>
                  <a:lnTo>
                    <a:pt x="20" y="153"/>
                  </a:lnTo>
                  <a:lnTo>
                    <a:pt x="20" y="151"/>
                  </a:lnTo>
                  <a:lnTo>
                    <a:pt x="22" y="151"/>
                  </a:lnTo>
                  <a:lnTo>
                    <a:pt x="23" y="151"/>
                  </a:lnTo>
                  <a:lnTo>
                    <a:pt x="24" y="151"/>
                  </a:lnTo>
                  <a:lnTo>
                    <a:pt x="25" y="151"/>
                  </a:lnTo>
                  <a:lnTo>
                    <a:pt x="26" y="151"/>
                  </a:lnTo>
                  <a:lnTo>
                    <a:pt x="27" y="151"/>
                  </a:lnTo>
                  <a:lnTo>
                    <a:pt x="29" y="151"/>
                  </a:lnTo>
                  <a:lnTo>
                    <a:pt x="30" y="153"/>
                  </a:lnTo>
                  <a:lnTo>
                    <a:pt x="32" y="153"/>
                  </a:lnTo>
                  <a:lnTo>
                    <a:pt x="33" y="153"/>
                  </a:lnTo>
                  <a:lnTo>
                    <a:pt x="34" y="153"/>
                  </a:lnTo>
                  <a:lnTo>
                    <a:pt x="34" y="151"/>
                  </a:lnTo>
                  <a:lnTo>
                    <a:pt x="36" y="151"/>
                  </a:lnTo>
                  <a:lnTo>
                    <a:pt x="39" y="151"/>
                  </a:lnTo>
                  <a:lnTo>
                    <a:pt x="39" y="150"/>
                  </a:lnTo>
                  <a:lnTo>
                    <a:pt x="39" y="149"/>
                  </a:lnTo>
                  <a:lnTo>
                    <a:pt x="39" y="148"/>
                  </a:lnTo>
                  <a:lnTo>
                    <a:pt x="40" y="148"/>
                  </a:lnTo>
                  <a:lnTo>
                    <a:pt x="40" y="147"/>
                  </a:lnTo>
                  <a:lnTo>
                    <a:pt x="40" y="148"/>
                  </a:lnTo>
                  <a:lnTo>
                    <a:pt x="40" y="149"/>
                  </a:lnTo>
                  <a:lnTo>
                    <a:pt x="40" y="150"/>
                  </a:lnTo>
                  <a:lnTo>
                    <a:pt x="43" y="150"/>
                  </a:lnTo>
                  <a:lnTo>
                    <a:pt x="45" y="150"/>
                  </a:lnTo>
                  <a:lnTo>
                    <a:pt x="46" y="150"/>
                  </a:lnTo>
                  <a:lnTo>
                    <a:pt x="47" y="150"/>
                  </a:lnTo>
                  <a:lnTo>
                    <a:pt x="48" y="150"/>
                  </a:lnTo>
                  <a:lnTo>
                    <a:pt x="50" y="150"/>
                  </a:lnTo>
                  <a:lnTo>
                    <a:pt x="51" y="150"/>
                  </a:lnTo>
                  <a:lnTo>
                    <a:pt x="52" y="150"/>
                  </a:lnTo>
                  <a:lnTo>
                    <a:pt x="54" y="150"/>
                  </a:lnTo>
                  <a:lnTo>
                    <a:pt x="57" y="150"/>
                  </a:lnTo>
                  <a:lnTo>
                    <a:pt x="59" y="150"/>
                  </a:lnTo>
                  <a:lnTo>
                    <a:pt x="61" y="150"/>
                  </a:lnTo>
                  <a:lnTo>
                    <a:pt x="64" y="150"/>
                  </a:lnTo>
                  <a:lnTo>
                    <a:pt x="66" y="150"/>
                  </a:lnTo>
                  <a:lnTo>
                    <a:pt x="68" y="150"/>
                  </a:lnTo>
                  <a:lnTo>
                    <a:pt x="71" y="150"/>
                  </a:lnTo>
                  <a:lnTo>
                    <a:pt x="73" y="150"/>
                  </a:lnTo>
                  <a:lnTo>
                    <a:pt x="75" y="150"/>
                  </a:lnTo>
                  <a:lnTo>
                    <a:pt x="77" y="150"/>
                  </a:lnTo>
                  <a:lnTo>
                    <a:pt x="80" y="150"/>
                  </a:lnTo>
                  <a:lnTo>
                    <a:pt x="81" y="150"/>
                  </a:lnTo>
                  <a:lnTo>
                    <a:pt x="82" y="150"/>
                  </a:lnTo>
                  <a:lnTo>
                    <a:pt x="83" y="150"/>
                  </a:lnTo>
                  <a:lnTo>
                    <a:pt x="86" y="150"/>
                  </a:lnTo>
                  <a:lnTo>
                    <a:pt x="87" y="150"/>
                  </a:lnTo>
                  <a:lnTo>
                    <a:pt x="88" y="150"/>
                  </a:lnTo>
                  <a:lnTo>
                    <a:pt x="89" y="150"/>
                  </a:lnTo>
                  <a:lnTo>
                    <a:pt x="91" y="150"/>
                  </a:lnTo>
                  <a:lnTo>
                    <a:pt x="93" y="150"/>
                  </a:lnTo>
                  <a:lnTo>
                    <a:pt x="94" y="149"/>
                  </a:lnTo>
                  <a:lnTo>
                    <a:pt x="94" y="147"/>
                  </a:lnTo>
                  <a:lnTo>
                    <a:pt x="94" y="146"/>
                  </a:lnTo>
                  <a:lnTo>
                    <a:pt x="94" y="144"/>
                  </a:lnTo>
                  <a:lnTo>
                    <a:pt x="95" y="142"/>
                  </a:lnTo>
                  <a:lnTo>
                    <a:pt x="95" y="141"/>
                  </a:lnTo>
                  <a:lnTo>
                    <a:pt x="95" y="140"/>
                  </a:lnTo>
                  <a:lnTo>
                    <a:pt x="95" y="137"/>
                  </a:lnTo>
                  <a:lnTo>
                    <a:pt x="95" y="136"/>
                  </a:lnTo>
                  <a:lnTo>
                    <a:pt x="94" y="136"/>
                  </a:lnTo>
                  <a:lnTo>
                    <a:pt x="93" y="135"/>
                  </a:lnTo>
                  <a:lnTo>
                    <a:pt x="91" y="135"/>
                  </a:lnTo>
                  <a:lnTo>
                    <a:pt x="91" y="134"/>
                  </a:lnTo>
                  <a:lnTo>
                    <a:pt x="91" y="132"/>
                  </a:lnTo>
                  <a:lnTo>
                    <a:pt x="91" y="130"/>
                  </a:lnTo>
                  <a:lnTo>
                    <a:pt x="91" y="129"/>
                  </a:lnTo>
                  <a:lnTo>
                    <a:pt x="91" y="128"/>
                  </a:lnTo>
                  <a:lnTo>
                    <a:pt x="91" y="126"/>
                  </a:lnTo>
                  <a:lnTo>
                    <a:pt x="91" y="125"/>
                  </a:lnTo>
                  <a:lnTo>
                    <a:pt x="90" y="123"/>
                  </a:lnTo>
                  <a:lnTo>
                    <a:pt x="90" y="122"/>
                  </a:lnTo>
                  <a:lnTo>
                    <a:pt x="90" y="121"/>
                  </a:lnTo>
                  <a:lnTo>
                    <a:pt x="90" y="119"/>
                  </a:lnTo>
                  <a:lnTo>
                    <a:pt x="90" y="118"/>
                  </a:lnTo>
                  <a:lnTo>
                    <a:pt x="90" y="116"/>
                  </a:lnTo>
                  <a:lnTo>
                    <a:pt x="90" y="115"/>
                  </a:lnTo>
                  <a:lnTo>
                    <a:pt x="90" y="113"/>
                  </a:lnTo>
                  <a:lnTo>
                    <a:pt x="90" y="112"/>
                  </a:lnTo>
                  <a:lnTo>
                    <a:pt x="89" y="111"/>
                  </a:lnTo>
                  <a:lnTo>
                    <a:pt x="89" y="109"/>
                  </a:lnTo>
                  <a:lnTo>
                    <a:pt x="89" y="107"/>
                  </a:lnTo>
                  <a:lnTo>
                    <a:pt x="89" y="106"/>
                  </a:lnTo>
                  <a:lnTo>
                    <a:pt x="89" y="105"/>
                  </a:lnTo>
                  <a:lnTo>
                    <a:pt x="89" y="104"/>
                  </a:lnTo>
                  <a:lnTo>
                    <a:pt x="89" y="101"/>
                  </a:lnTo>
                  <a:lnTo>
                    <a:pt x="89" y="100"/>
                  </a:lnTo>
                  <a:lnTo>
                    <a:pt x="89" y="99"/>
                  </a:lnTo>
                  <a:lnTo>
                    <a:pt x="88" y="98"/>
                  </a:lnTo>
                  <a:lnTo>
                    <a:pt x="88" y="95"/>
                  </a:lnTo>
                  <a:lnTo>
                    <a:pt x="88" y="94"/>
                  </a:lnTo>
                  <a:lnTo>
                    <a:pt x="88" y="93"/>
                  </a:lnTo>
                  <a:lnTo>
                    <a:pt x="88" y="92"/>
                  </a:lnTo>
                  <a:lnTo>
                    <a:pt x="88" y="91"/>
                  </a:lnTo>
                  <a:lnTo>
                    <a:pt x="88" y="90"/>
                  </a:lnTo>
                  <a:lnTo>
                    <a:pt x="88" y="87"/>
                  </a:lnTo>
                  <a:lnTo>
                    <a:pt x="88" y="85"/>
                  </a:lnTo>
                  <a:lnTo>
                    <a:pt x="87" y="83"/>
                  </a:lnTo>
                  <a:lnTo>
                    <a:pt x="87" y="81"/>
                  </a:lnTo>
                  <a:lnTo>
                    <a:pt x="87" y="79"/>
                  </a:lnTo>
                  <a:lnTo>
                    <a:pt x="87" y="77"/>
                  </a:lnTo>
                  <a:lnTo>
                    <a:pt x="87" y="76"/>
                  </a:lnTo>
                  <a:lnTo>
                    <a:pt x="87" y="73"/>
                  </a:lnTo>
                  <a:lnTo>
                    <a:pt x="86" y="71"/>
                  </a:lnTo>
                  <a:lnTo>
                    <a:pt x="86" y="70"/>
                  </a:lnTo>
                  <a:lnTo>
                    <a:pt x="86" y="69"/>
                  </a:lnTo>
                  <a:lnTo>
                    <a:pt x="86" y="66"/>
                  </a:lnTo>
                  <a:lnTo>
                    <a:pt x="86" y="65"/>
                  </a:lnTo>
                  <a:lnTo>
                    <a:pt x="86" y="64"/>
                  </a:lnTo>
                  <a:lnTo>
                    <a:pt x="86" y="62"/>
                  </a:lnTo>
                  <a:lnTo>
                    <a:pt x="86" y="59"/>
                  </a:lnTo>
                  <a:lnTo>
                    <a:pt x="84" y="58"/>
                  </a:lnTo>
                  <a:lnTo>
                    <a:pt x="84" y="56"/>
                  </a:lnTo>
                  <a:lnTo>
                    <a:pt x="84" y="55"/>
                  </a:lnTo>
                  <a:lnTo>
                    <a:pt x="84" y="52"/>
                  </a:lnTo>
                  <a:lnTo>
                    <a:pt x="84" y="50"/>
                  </a:lnTo>
                  <a:lnTo>
                    <a:pt x="84" y="49"/>
                  </a:lnTo>
                  <a:lnTo>
                    <a:pt x="84" y="46"/>
                  </a:lnTo>
                  <a:lnTo>
                    <a:pt x="83" y="44"/>
                  </a:lnTo>
                  <a:lnTo>
                    <a:pt x="83" y="43"/>
                  </a:lnTo>
                  <a:lnTo>
                    <a:pt x="83" y="41"/>
                  </a:lnTo>
                  <a:lnTo>
                    <a:pt x="83" y="38"/>
                  </a:lnTo>
                  <a:lnTo>
                    <a:pt x="83" y="37"/>
                  </a:lnTo>
                  <a:lnTo>
                    <a:pt x="83" y="35"/>
                  </a:lnTo>
                  <a:lnTo>
                    <a:pt x="82" y="34"/>
                  </a:lnTo>
                  <a:lnTo>
                    <a:pt x="82" y="31"/>
                  </a:lnTo>
                  <a:lnTo>
                    <a:pt x="82" y="30"/>
                  </a:lnTo>
                  <a:lnTo>
                    <a:pt x="82" y="29"/>
                  </a:lnTo>
                  <a:lnTo>
                    <a:pt x="82" y="28"/>
                  </a:lnTo>
                  <a:lnTo>
                    <a:pt x="82" y="25"/>
                  </a:lnTo>
                  <a:lnTo>
                    <a:pt x="82" y="23"/>
                  </a:lnTo>
                  <a:lnTo>
                    <a:pt x="82" y="22"/>
                  </a:lnTo>
                  <a:lnTo>
                    <a:pt x="81" y="20"/>
                  </a:lnTo>
                  <a:lnTo>
                    <a:pt x="81" y="17"/>
                  </a:lnTo>
                  <a:lnTo>
                    <a:pt x="81" y="15"/>
                  </a:lnTo>
                  <a:lnTo>
                    <a:pt x="81" y="13"/>
                  </a:lnTo>
                  <a:lnTo>
                    <a:pt x="81" y="11"/>
                  </a:lnTo>
                  <a:lnTo>
                    <a:pt x="81" y="10"/>
                  </a:lnTo>
                  <a:lnTo>
                    <a:pt x="81" y="9"/>
                  </a:lnTo>
                  <a:lnTo>
                    <a:pt x="81" y="8"/>
                  </a:lnTo>
                  <a:lnTo>
                    <a:pt x="80" y="7"/>
                  </a:lnTo>
                  <a:lnTo>
                    <a:pt x="80" y="6"/>
                  </a:lnTo>
                  <a:lnTo>
                    <a:pt x="80" y="3"/>
                  </a:lnTo>
                  <a:lnTo>
                    <a:pt x="80" y="2"/>
                  </a:lnTo>
                  <a:lnTo>
                    <a:pt x="80" y="1"/>
                  </a:lnTo>
                  <a:lnTo>
                    <a:pt x="80" y="0"/>
                  </a:lnTo>
                  <a:lnTo>
                    <a:pt x="82" y="0"/>
                  </a:lnTo>
                  <a:lnTo>
                    <a:pt x="86" y="0"/>
                  </a:lnTo>
                  <a:lnTo>
                    <a:pt x="89" y="0"/>
                  </a:lnTo>
                  <a:lnTo>
                    <a:pt x="91" y="0"/>
                  </a:lnTo>
                  <a:lnTo>
                    <a:pt x="95" y="0"/>
                  </a:lnTo>
                  <a:lnTo>
                    <a:pt x="97" y="0"/>
                  </a:lnTo>
                  <a:lnTo>
                    <a:pt x="101" y="0"/>
                  </a:lnTo>
                  <a:lnTo>
                    <a:pt x="104" y="0"/>
                  </a:lnTo>
                  <a:lnTo>
                    <a:pt x="104" y="1"/>
                  </a:lnTo>
                  <a:lnTo>
                    <a:pt x="105" y="2"/>
                  </a:lnTo>
                  <a:lnTo>
                    <a:pt x="107" y="2"/>
                  </a:lnTo>
                  <a:lnTo>
                    <a:pt x="108" y="3"/>
                  </a:lnTo>
                  <a:lnTo>
                    <a:pt x="109" y="4"/>
                  </a:lnTo>
                  <a:lnTo>
                    <a:pt x="110" y="6"/>
                  </a:lnTo>
                  <a:lnTo>
                    <a:pt x="111" y="6"/>
                  </a:lnTo>
                  <a:lnTo>
                    <a:pt x="112" y="7"/>
                  </a:lnTo>
                  <a:lnTo>
                    <a:pt x="114" y="8"/>
                  </a:lnTo>
                  <a:lnTo>
                    <a:pt x="115" y="8"/>
                  </a:lnTo>
                  <a:lnTo>
                    <a:pt x="116" y="9"/>
                  </a:lnTo>
                  <a:lnTo>
                    <a:pt x="117" y="10"/>
                  </a:lnTo>
                  <a:lnTo>
                    <a:pt x="118" y="10"/>
                  </a:lnTo>
                  <a:lnTo>
                    <a:pt x="119" y="11"/>
                  </a:lnTo>
                  <a:lnTo>
                    <a:pt x="121" y="13"/>
                  </a:lnTo>
                  <a:lnTo>
                    <a:pt x="122" y="14"/>
                  </a:lnTo>
                  <a:lnTo>
                    <a:pt x="123" y="14"/>
                  </a:lnTo>
                  <a:lnTo>
                    <a:pt x="123" y="15"/>
                  </a:lnTo>
                  <a:lnTo>
                    <a:pt x="124" y="16"/>
                  </a:lnTo>
                  <a:lnTo>
                    <a:pt x="125" y="16"/>
                  </a:lnTo>
                  <a:lnTo>
                    <a:pt x="126" y="17"/>
                  </a:lnTo>
                  <a:lnTo>
                    <a:pt x="128" y="18"/>
                  </a:lnTo>
                  <a:lnTo>
                    <a:pt x="129" y="20"/>
                  </a:lnTo>
                  <a:lnTo>
                    <a:pt x="130" y="20"/>
                  </a:lnTo>
                  <a:lnTo>
                    <a:pt x="131" y="21"/>
                  </a:lnTo>
                  <a:lnTo>
                    <a:pt x="132" y="22"/>
                  </a:lnTo>
                  <a:lnTo>
                    <a:pt x="133" y="23"/>
                  </a:lnTo>
                  <a:lnTo>
                    <a:pt x="135" y="23"/>
                  </a:lnTo>
                  <a:lnTo>
                    <a:pt x="136" y="24"/>
                  </a:lnTo>
                  <a:lnTo>
                    <a:pt x="137" y="25"/>
                  </a:lnTo>
                  <a:lnTo>
                    <a:pt x="138" y="27"/>
                  </a:lnTo>
                  <a:lnTo>
                    <a:pt x="139" y="28"/>
                  </a:lnTo>
                  <a:lnTo>
                    <a:pt x="140" y="28"/>
                  </a:lnTo>
                  <a:lnTo>
                    <a:pt x="141" y="29"/>
                  </a:lnTo>
                  <a:lnTo>
                    <a:pt x="143" y="30"/>
                  </a:lnTo>
                  <a:lnTo>
                    <a:pt x="144" y="31"/>
                  </a:lnTo>
                  <a:lnTo>
                    <a:pt x="145" y="31"/>
                  </a:lnTo>
                  <a:lnTo>
                    <a:pt x="146" y="32"/>
                  </a:lnTo>
                  <a:lnTo>
                    <a:pt x="147" y="34"/>
                  </a:lnTo>
                  <a:lnTo>
                    <a:pt x="148" y="35"/>
                  </a:lnTo>
                  <a:lnTo>
                    <a:pt x="150" y="35"/>
                  </a:lnTo>
                  <a:lnTo>
                    <a:pt x="151" y="36"/>
                  </a:lnTo>
                  <a:lnTo>
                    <a:pt x="152" y="37"/>
                  </a:lnTo>
                  <a:lnTo>
                    <a:pt x="153" y="38"/>
                  </a:lnTo>
                  <a:lnTo>
                    <a:pt x="154" y="39"/>
                  </a:lnTo>
                  <a:lnTo>
                    <a:pt x="155" y="39"/>
                  </a:lnTo>
                  <a:lnTo>
                    <a:pt x="158" y="41"/>
                  </a:lnTo>
                  <a:lnTo>
                    <a:pt x="159" y="42"/>
                  </a:lnTo>
                  <a:lnTo>
                    <a:pt x="160" y="43"/>
                  </a:lnTo>
                  <a:lnTo>
                    <a:pt x="161" y="43"/>
                  </a:lnTo>
                  <a:lnTo>
                    <a:pt x="162" y="44"/>
                  </a:lnTo>
                  <a:lnTo>
                    <a:pt x="164" y="45"/>
                  </a:lnTo>
                  <a:lnTo>
                    <a:pt x="165" y="46"/>
                  </a:lnTo>
                  <a:lnTo>
                    <a:pt x="166" y="46"/>
                  </a:lnTo>
                  <a:lnTo>
                    <a:pt x="167" y="48"/>
                  </a:lnTo>
                  <a:lnTo>
                    <a:pt x="168" y="49"/>
                  </a:lnTo>
                  <a:lnTo>
                    <a:pt x="169" y="50"/>
                  </a:lnTo>
                  <a:lnTo>
                    <a:pt x="171" y="51"/>
                  </a:lnTo>
                  <a:lnTo>
                    <a:pt x="172" y="51"/>
                  </a:lnTo>
                  <a:lnTo>
                    <a:pt x="173" y="52"/>
                  </a:lnTo>
                  <a:lnTo>
                    <a:pt x="174" y="53"/>
                  </a:lnTo>
                  <a:lnTo>
                    <a:pt x="175" y="55"/>
                  </a:lnTo>
                  <a:lnTo>
                    <a:pt x="176" y="55"/>
                  </a:lnTo>
                  <a:lnTo>
                    <a:pt x="178" y="56"/>
                  </a:lnTo>
                  <a:lnTo>
                    <a:pt x="179" y="57"/>
                  </a:lnTo>
                  <a:lnTo>
                    <a:pt x="180" y="58"/>
                  </a:lnTo>
                  <a:lnTo>
                    <a:pt x="181" y="58"/>
                  </a:lnTo>
                  <a:lnTo>
                    <a:pt x="182" y="59"/>
                  </a:lnTo>
                  <a:lnTo>
                    <a:pt x="183" y="60"/>
                  </a:lnTo>
                  <a:lnTo>
                    <a:pt x="185" y="62"/>
                  </a:lnTo>
                  <a:lnTo>
                    <a:pt x="186" y="63"/>
                  </a:lnTo>
                  <a:lnTo>
                    <a:pt x="186" y="65"/>
                  </a:lnTo>
                  <a:lnTo>
                    <a:pt x="185" y="66"/>
                  </a:lnTo>
                  <a:lnTo>
                    <a:pt x="185" y="67"/>
                  </a:lnTo>
                  <a:lnTo>
                    <a:pt x="186" y="67"/>
                  </a:lnTo>
                  <a:lnTo>
                    <a:pt x="187" y="67"/>
                  </a:lnTo>
                  <a:lnTo>
                    <a:pt x="187" y="69"/>
                  </a:lnTo>
                  <a:lnTo>
                    <a:pt x="188" y="69"/>
                  </a:lnTo>
                  <a:lnTo>
                    <a:pt x="189" y="69"/>
                  </a:lnTo>
                  <a:lnTo>
                    <a:pt x="189" y="70"/>
                  </a:lnTo>
                  <a:lnTo>
                    <a:pt x="190" y="70"/>
                  </a:lnTo>
                  <a:lnTo>
                    <a:pt x="192" y="71"/>
                  </a:lnTo>
                  <a:lnTo>
                    <a:pt x="192" y="72"/>
                  </a:lnTo>
                  <a:lnTo>
                    <a:pt x="192" y="73"/>
                  </a:lnTo>
                  <a:lnTo>
                    <a:pt x="194" y="74"/>
                  </a:lnTo>
                  <a:lnTo>
                    <a:pt x="195" y="74"/>
                  </a:lnTo>
                  <a:lnTo>
                    <a:pt x="195" y="76"/>
                  </a:lnTo>
                  <a:lnTo>
                    <a:pt x="196" y="76"/>
                  </a:lnTo>
                  <a:lnTo>
                    <a:pt x="197" y="76"/>
                  </a:lnTo>
                  <a:lnTo>
                    <a:pt x="199" y="74"/>
                  </a:lnTo>
                  <a:lnTo>
                    <a:pt x="200" y="74"/>
                  </a:lnTo>
                  <a:lnTo>
                    <a:pt x="201" y="76"/>
                  </a:lnTo>
                  <a:lnTo>
                    <a:pt x="201" y="77"/>
                  </a:lnTo>
                  <a:lnTo>
                    <a:pt x="202" y="78"/>
                  </a:lnTo>
                  <a:lnTo>
                    <a:pt x="203" y="78"/>
                  </a:lnTo>
                  <a:lnTo>
                    <a:pt x="203" y="79"/>
                  </a:lnTo>
                  <a:lnTo>
                    <a:pt x="204" y="79"/>
                  </a:lnTo>
                  <a:lnTo>
                    <a:pt x="205" y="79"/>
                  </a:lnTo>
                  <a:lnTo>
                    <a:pt x="209" y="80"/>
                  </a:lnTo>
                  <a:lnTo>
                    <a:pt x="211" y="81"/>
                  </a:lnTo>
                  <a:lnTo>
                    <a:pt x="212" y="81"/>
                  </a:lnTo>
                  <a:lnTo>
                    <a:pt x="214" y="83"/>
                  </a:lnTo>
                  <a:lnTo>
                    <a:pt x="212" y="86"/>
                  </a:lnTo>
                  <a:lnTo>
                    <a:pt x="214" y="87"/>
                  </a:lnTo>
                  <a:lnTo>
                    <a:pt x="214" y="88"/>
                  </a:lnTo>
                  <a:lnTo>
                    <a:pt x="214" y="90"/>
                  </a:lnTo>
                  <a:lnTo>
                    <a:pt x="212" y="90"/>
                  </a:lnTo>
                  <a:lnTo>
                    <a:pt x="212" y="91"/>
                  </a:lnTo>
                  <a:lnTo>
                    <a:pt x="212" y="92"/>
                  </a:lnTo>
                  <a:lnTo>
                    <a:pt x="211" y="92"/>
                  </a:lnTo>
                  <a:lnTo>
                    <a:pt x="211" y="93"/>
                  </a:lnTo>
                  <a:lnTo>
                    <a:pt x="212" y="93"/>
                  </a:lnTo>
                  <a:lnTo>
                    <a:pt x="212" y="94"/>
                  </a:lnTo>
                  <a:lnTo>
                    <a:pt x="214" y="94"/>
                  </a:lnTo>
                  <a:lnTo>
                    <a:pt x="215" y="95"/>
                  </a:lnTo>
                  <a:lnTo>
                    <a:pt x="216" y="95"/>
                  </a:lnTo>
                  <a:lnTo>
                    <a:pt x="218" y="94"/>
                  </a:lnTo>
                  <a:lnTo>
                    <a:pt x="221" y="94"/>
                  </a:lnTo>
                  <a:lnTo>
                    <a:pt x="223" y="93"/>
                  </a:lnTo>
                  <a:lnTo>
                    <a:pt x="225" y="93"/>
                  </a:lnTo>
                  <a:lnTo>
                    <a:pt x="228" y="93"/>
                  </a:lnTo>
                  <a:close/>
                </a:path>
              </a:pathLst>
            </a:custGeom>
            <a:solidFill>
              <a:srgbClr val="D2D2D2"/>
            </a:solidFill>
            <a:ln w="9525"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it-IT" dirty="0"/>
            </a:p>
          </p:txBody>
        </p:sp>
        <p:sp>
          <p:nvSpPr>
            <p:cNvPr id="192" name="Freeform 948">
              <a:extLst>
                <a:ext uri="{FF2B5EF4-FFF2-40B4-BE49-F238E27FC236}">
                  <a16:creationId xmlns:a16="http://schemas.microsoft.com/office/drawing/2014/main" id="{E1900025-84AB-42C7-9FB2-CC4A53F6FD1A}"/>
                </a:ext>
              </a:extLst>
            </p:cNvPr>
            <p:cNvSpPr>
              <a:spLocks noEditPoints="1"/>
            </p:cNvSpPr>
            <p:nvPr/>
          </p:nvSpPr>
          <p:spPr bwMode="auto">
            <a:xfrm>
              <a:off x="7487808" y="2744888"/>
              <a:ext cx="164265" cy="396640"/>
            </a:xfrm>
            <a:custGeom>
              <a:avLst/>
              <a:gdLst>
                <a:gd name="T0" fmla="*/ 101 w 123"/>
                <a:gd name="T1" fmla="*/ 286 h 297"/>
                <a:gd name="T2" fmla="*/ 104 w 123"/>
                <a:gd name="T3" fmla="*/ 280 h 297"/>
                <a:gd name="T4" fmla="*/ 104 w 123"/>
                <a:gd name="T5" fmla="*/ 273 h 297"/>
                <a:gd name="T6" fmla="*/ 91 w 123"/>
                <a:gd name="T7" fmla="*/ 265 h 297"/>
                <a:gd name="T8" fmla="*/ 99 w 123"/>
                <a:gd name="T9" fmla="*/ 265 h 297"/>
                <a:gd name="T10" fmla="*/ 101 w 123"/>
                <a:gd name="T11" fmla="*/ 260 h 297"/>
                <a:gd name="T12" fmla="*/ 104 w 123"/>
                <a:gd name="T13" fmla="*/ 253 h 297"/>
                <a:gd name="T14" fmla="*/ 95 w 123"/>
                <a:gd name="T15" fmla="*/ 232 h 297"/>
                <a:gd name="T16" fmla="*/ 48 w 123"/>
                <a:gd name="T17" fmla="*/ 202 h 297"/>
                <a:gd name="T18" fmla="*/ 87 w 123"/>
                <a:gd name="T19" fmla="*/ 191 h 297"/>
                <a:gd name="T20" fmla="*/ 27 w 123"/>
                <a:gd name="T21" fmla="*/ 147 h 297"/>
                <a:gd name="T22" fmla="*/ 55 w 123"/>
                <a:gd name="T23" fmla="*/ 1 h 297"/>
                <a:gd name="T24" fmla="*/ 69 w 123"/>
                <a:gd name="T25" fmla="*/ 14 h 297"/>
                <a:gd name="T26" fmla="*/ 76 w 123"/>
                <a:gd name="T27" fmla="*/ 38 h 297"/>
                <a:gd name="T28" fmla="*/ 68 w 123"/>
                <a:gd name="T29" fmla="*/ 52 h 297"/>
                <a:gd name="T30" fmla="*/ 68 w 123"/>
                <a:gd name="T31" fmla="*/ 73 h 297"/>
                <a:gd name="T32" fmla="*/ 83 w 123"/>
                <a:gd name="T33" fmla="*/ 74 h 297"/>
                <a:gd name="T34" fmla="*/ 96 w 123"/>
                <a:gd name="T35" fmla="*/ 86 h 297"/>
                <a:gd name="T36" fmla="*/ 102 w 123"/>
                <a:gd name="T37" fmla="*/ 102 h 297"/>
                <a:gd name="T38" fmla="*/ 118 w 123"/>
                <a:gd name="T39" fmla="*/ 109 h 297"/>
                <a:gd name="T40" fmla="*/ 113 w 123"/>
                <a:gd name="T41" fmla="*/ 122 h 297"/>
                <a:gd name="T42" fmla="*/ 103 w 123"/>
                <a:gd name="T43" fmla="*/ 132 h 297"/>
                <a:gd name="T44" fmla="*/ 88 w 123"/>
                <a:gd name="T45" fmla="*/ 141 h 297"/>
                <a:gd name="T46" fmla="*/ 83 w 123"/>
                <a:gd name="T47" fmla="*/ 157 h 297"/>
                <a:gd name="T48" fmla="*/ 85 w 123"/>
                <a:gd name="T49" fmla="*/ 168 h 297"/>
                <a:gd name="T50" fmla="*/ 98 w 123"/>
                <a:gd name="T51" fmla="*/ 185 h 297"/>
                <a:gd name="T52" fmla="*/ 101 w 123"/>
                <a:gd name="T53" fmla="*/ 198 h 297"/>
                <a:gd name="T54" fmla="*/ 97 w 123"/>
                <a:gd name="T55" fmla="*/ 217 h 297"/>
                <a:gd name="T56" fmla="*/ 112 w 123"/>
                <a:gd name="T57" fmla="*/ 244 h 297"/>
                <a:gd name="T58" fmla="*/ 121 w 123"/>
                <a:gd name="T59" fmla="*/ 265 h 297"/>
                <a:gd name="T60" fmla="*/ 112 w 123"/>
                <a:gd name="T61" fmla="*/ 287 h 297"/>
                <a:gd name="T62" fmla="*/ 110 w 123"/>
                <a:gd name="T63" fmla="*/ 280 h 297"/>
                <a:gd name="T64" fmla="*/ 111 w 123"/>
                <a:gd name="T65" fmla="*/ 265 h 297"/>
                <a:gd name="T66" fmla="*/ 106 w 123"/>
                <a:gd name="T67" fmla="*/ 259 h 297"/>
                <a:gd name="T68" fmla="*/ 105 w 123"/>
                <a:gd name="T69" fmla="*/ 242 h 297"/>
                <a:gd name="T70" fmla="*/ 99 w 123"/>
                <a:gd name="T71" fmla="*/ 235 h 297"/>
                <a:gd name="T72" fmla="*/ 95 w 123"/>
                <a:gd name="T73" fmla="*/ 223 h 297"/>
                <a:gd name="T74" fmla="*/ 90 w 123"/>
                <a:gd name="T75" fmla="*/ 205 h 297"/>
                <a:gd name="T76" fmla="*/ 82 w 123"/>
                <a:gd name="T77" fmla="*/ 189 h 297"/>
                <a:gd name="T78" fmla="*/ 74 w 123"/>
                <a:gd name="T79" fmla="*/ 175 h 297"/>
                <a:gd name="T80" fmla="*/ 68 w 123"/>
                <a:gd name="T81" fmla="*/ 190 h 297"/>
                <a:gd name="T82" fmla="*/ 61 w 123"/>
                <a:gd name="T83" fmla="*/ 198 h 297"/>
                <a:gd name="T84" fmla="*/ 53 w 123"/>
                <a:gd name="T85" fmla="*/ 200 h 297"/>
                <a:gd name="T86" fmla="*/ 49 w 123"/>
                <a:gd name="T87" fmla="*/ 198 h 297"/>
                <a:gd name="T88" fmla="*/ 46 w 123"/>
                <a:gd name="T89" fmla="*/ 190 h 297"/>
                <a:gd name="T90" fmla="*/ 40 w 123"/>
                <a:gd name="T91" fmla="*/ 191 h 297"/>
                <a:gd name="T92" fmla="*/ 42 w 123"/>
                <a:gd name="T93" fmla="*/ 172 h 297"/>
                <a:gd name="T94" fmla="*/ 34 w 123"/>
                <a:gd name="T95" fmla="*/ 155 h 297"/>
                <a:gd name="T96" fmla="*/ 31 w 123"/>
                <a:gd name="T97" fmla="*/ 151 h 297"/>
                <a:gd name="T98" fmla="*/ 28 w 123"/>
                <a:gd name="T99" fmla="*/ 143 h 297"/>
                <a:gd name="T100" fmla="*/ 23 w 123"/>
                <a:gd name="T101" fmla="*/ 136 h 297"/>
                <a:gd name="T102" fmla="*/ 17 w 123"/>
                <a:gd name="T103" fmla="*/ 137 h 297"/>
                <a:gd name="T104" fmla="*/ 14 w 123"/>
                <a:gd name="T105" fmla="*/ 130 h 297"/>
                <a:gd name="T106" fmla="*/ 9 w 123"/>
                <a:gd name="T107" fmla="*/ 128 h 297"/>
                <a:gd name="T108" fmla="*/ 7 w 123"/>
                <a:gd name="T109" fmla="*/ 115 h 297"/>
                <a:gd name="T110" fmla="*/ 11 w 123"/>
                <a:gd name="T111" fmla="*/ 97 h 297"/>
                <a:gd name="T112" fmla="*/ 11 w 123"/>
                <a:gd name="T113" fmla="*/ 74 h 297"/>
                <a:gd name="T114" fmla="*/ 23 w 123"/>
                <a:gd name="T115" fmla="*/ 65 h 297"/>
                <a:gd name="T116" fmla="*/ 28 w 123"/>
                <a:gd name="T117" fmla="*/ 41 h 297"/>
                <a:gd name="T118" fmla="*/ 37 w 123"/>
                <a:gd name="T119" fmla="*/ 23 h 297"/>
                <a:gd name="T120" fmla="*/ 47 w 123"/>
                <a:gd name="T121" fmla="*/ 15 h 297"/>
                <a:gd name="T122" fmla="*/ 54 w 123"/>
                <a:gd name="T123" fmla="*/ 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3" h="297">
                  <a:moveTo>
                    <a:pt x="103" y="296"/>
                  </a:moveTo>
                  <a:lnTo>
                    <a:pt x="103" y="297"/>
                  </a:lnTo>
                  <a:lnTo>
                    <a:pt x="102" y="296"/>
                  </a:lnTo>
                  <a:lnTo>
                    <a:pt x="103" y="296"/>
                  </a:lnTo>
                  <a:close/>
                  <a:moveTo>
                    <a:pt x="105" y="293"/>
                  </a:moveTo>
                  <a:lnTo>
                    <a:pt x="105" y="294"/>
                  </a:lnTo>
                  <a:lnTo>
                    <a:pt x="104" y="295"/>
                  </a:lnTo>
                  <a:lnTo>
                    <a:pt x="104" y="296"/>
                  </a:lnTo>
                  <a:lnTo>
                    <a:pt x="103" y="295"/>
                  </a:lnTo>
                  <a:lnTo>
                    <a:pt x="103" y="294"/>
                  </a:lnTo>
                  <a:lnTo>
                    <a:pt x="104" y="294"/>
                  </a:lnTo>
                  <a:lnTo>
                    <a:pt x="104" y="293"/>
                  </a:lnTo>
                  <a:lnTo>
                    <a:pt x="105" y="293"/>
                  </a:lnTo>
                  <a:close/>
                  <a:moveTo>
                    <a:pt x="104" y="293"/>
                  </a:moveTo>
                  <a:lnTo>
                    <a:pt x="104" y="291"/>
                  </a:lnTo>
                  <a:lnTo>
                    <a:pt x="104" y="290"/>
                  </a:lnTo>
                  <a:lnTo>
                    <a:pt x="105" y="290"/>
                  </a:lnTo>
                  <a:lnTo>
                    <a:pt x="105" y="291"/>
                  </a:lnTo>
                  <a:lnTo>
                    <a:pt x="104" y="291"/>
                  </a:lnTo>
                  <a:lnTo>
                    <a:pt x="105" y="291"/>
                  </a:lnTo>
                  <a:lnTo>
                    <a:pt x="104" y="291"/>
                  </a:lnTo>
                  <a:lnTo>
                    <a:pt x="104" y="293"/>
                  </a:lnTo>
                  <a:close/>
                  <a:moveTo>
                    <a:pt x="99" y="286"/>
                  </a:moveTo>
                  <a:lnTo>
                    <a:pt x="101" y="286"/>
                  </a:lnTo>
                  <a:lnTo>
                    <a:pt x="101" y="287"/>
                  </a:lnTo>
                  <a:lnTo>
                    <a:pt x="99" y="287"/>
                  </a:lnTo>
                  <a:lnTo>
                    <a:pt x="99" y="286"/>
                  </a:lnTo>
                  <a:close/>
                  <a:moveTo>
                    <a:pt x="104" y="286"/>
                  </a:moveTo>
                  <a:lnTo>
                    <a:pt x="104" y="284"/>
                  </a:lnTo>
                  <a:lnTo>
                    <a:pt x="104" y="286"/>
                  </a:lnTo>
                  <a:close/>
                  <a:moveTo>
                    <a:pt x="109" y="280"/>
                  </a:moveTo>
                  <a:lnTo>
                    <a:pt x="109" y="281"/>
                  </a:lnTo>
                  <a:lnTo>
                    <a:pt x="108" y="281"/>
                  </a:lnTo>
                  <a:lnTo>
                    <a:pt x="108" y="280"/>
                  </a:lnTo>
                  <a:lnTo>
                    <a:pt x="108" y="281"/>
                  </a:lnTo>
                  <a:lnTo>
                    <a:pt x="108" y="280"/>
                  </a:lnTo>
                  <a:lnTo>
                    <a:pt x="109" y="280"/>
                  </a:lnTo>
                  <a:close/>
                  <a:moveTo>
                    <a:pt x="99" y="280"/>
                  </a:moveTo>
                  <a:lnTo>
                    <a:pt x="99" y="279"/>
                  </a:lnTo>
                  <a:lnTo>
                    <a:pt x="99" y="280"/>
                  </a:lnTo>
                  <a:close/>
                  <a:moveTo>
                    <a:pt x="104" y="279"/>
                  </a:moveTo>
                  <a:lnTo>
                    <a:pt x="104" y="280"/>
                  </a:lnTo>
                  <a:lnTo>
                    <a:pt x="104" y="281"/>
                  </a:lnTo>
                  <a:lnTo>
                    <a:pt x="105" y="281"/>
                  </a:lnTo>
                  <a:lnTo>
                    <a:pt x="105" y="282"/>
                  </a:lnTo>
                  <a:lnTo>
                    <a:pt x="104" y="282"/>
                  </a:lnTo>
                  <a:lnTo>
                    <a:pt x="104" y="281"/>
                  </a:lnTo>
                  <a:lnTo>
                    <a:pt x="104" y="280"/>
                  </a:lnTo>
                  <a:lnTo>
                    <a:pt x="103" y="280"/>
                  </a:lnTo>
                  <a:lnTo>
                    <a:pt x="103" y="279"/>
                  </a:lnTo>
                  <a:lnTo>
                    <a:pt x="103" y="280"/>
                  </a:lnTo>
                  <a:lnTo>
                    <a:pt x="103" y="279"/>
                  </a:lnTo>
                  <a:lnTo>
                    <a:pt x="102" y="280"/>
                  </a:lnTo>
                  <a:lnTo>
                    <a:pt x="102" y="279"/>
                  </a:lnTo>
                  <a:lnTo>
                    <a:pt x="103" y="279"/>
                  </a:lnTo>
                  <a:lnTo>
                    <a:pt x="103" y="277"/>
                  </a:lnTo>
                  <a:lnTo>
                    <a:pt x="103" y="279"/>
                  </a:lnTo>
                  <a:lnTo>
                    <a:pt x="104" y="279"/>
                  </a:lnTo>
                  <a:close/>
                  <a:moveTo>
                    <a:pt x="106" y="279"/>
                  </a:moveTo>
                  <a:lnTo>
                    <a:pt x="106" y="277"/>
                  </a:lnTo>
                  <a:lnTo>
                    <a:pt x="106" y="279"/>
                  </a:lnTo>
                  <a:close/>
                  <a:moveTo>
                    <a:pt x="108" y="277"/>
                  </a:moveTo>
                  <a:lnTo>
                    <a:pt x="108" y="279"/>
                  </a:lnTo>
                  <a:lnTo>
                    <a:pt x="108" y="277"/>
                  </a:lnTo>
                  <a:lnTo>
                    <a:pt x="108" y="279"/>
                  </a:lnTo>
                  <a:lnTo>
                    <a:pt x="108" y="277"/>
                  </a:lnTo>
                  <a:lnTo>
                    <a:pt x="108" y="276"/>
                  </a:lnTo>
                  <a:lnTo>
                    <a:pt x="108" y="277"/>
                  </a:lnTo>
                  <a:close/>
                  <a:moveTo>
                    <a:pt x="104" y="274"/>
                  </a:moveTo>
                  <a:lnTo>
                    <a:pt x="103" y="274"/>
                  </a:lnTo>
                  <a:lnTo>
                    <a:pt x="103" y="273"/>
                  </a:lnTo>
                  <a:lnTo>
                    <a:pt x="104" y="273"/>
                  </a:lnTo>
                  <a:lnTo>
                    <a:pt x="104" y="274"/>
                  </a:lnTo>
                  <a:close/>
                  <a:moveTo>
                    <a:pt x="104" y="269"/>
                  </a:moveTo>
                  <a:lnTo>
                    <a:pt x="104" y="270"/>
                  </a:lnTo>
                  <a:lnTo>
                    <a:pt x="104" y="269"/>
                  </a:lnTo>
                  <a:lnTo>
                    <a:pt x="103" y="270"/>
                  </a:lnTo>
                  <a:lnTo>
                    <a:pt x="103" y="269"/>
                  </a:lnTo>
                  <a:lnTo>
                    <a:pt x="103" y="270"/>
                  </a:lnTo>
                  <a:lnTo>
                    <a:pt x="102" y="270"/>
                  </a:lnTo>
                  <a:lnTo>
                    <a:pt x="103" y="270"/>
                  </a:lnTo>
                  <a:lnTo>
                    <a:pt x="103" y="269"/>
                  </a:lnTo>
                  <a:lnTo>
                    <a:pt x="102" y="269"/>
                  </a:lnTo>
                  <a:lnTo>
                    <a:pt x="103" y="269"/>
                  </a:lnTo>
                  <a:lnTo>
                    <a:pt x="103" y="268"/>
                  </a:lnTo>
                  <a:lnTo>
                    <a:pt x="103" y="267"/>
                  </a:lnTo>
                  <a:lnTo>
                    <a:pt x="103" y="266"/>
                  </a:lnTo>
                  <a:lnTo>
                    <a:pt x="103" y="265"/>
                  </a:lnTo>
                  <a:lnTo>
                    <a:pt x="104" y="266"/>
                  </a:lnTo>
                  <a:lnTo>
                    <a:pt x="104" y="267"/>
                  </a:lnTo>
                  <a:lnTo>
                    <a:pt x="104" y="268"/>
                  </a:lnTo>
                  <a:lnTo>
                    <a:pt x="104" y="269"/>
                  </a:lnTo>
                  <a:close/>
                  <a:moveTo>
                    <a:pt x="92" y="265"/>
                  </a:moveTo>
                  <a:lnTo>
                    <a:pt x="92" y="266"/>
                  </a:lnTo>
                  <a:lnTo>
                    <a:pt x="92" y="265"/>
                  </a:lnTo>
                  <a:lnTo>
                    <a:pt x="91" y="265"/>
                  </a:lnTo>
                  <a:lnTo>
                    <a:pt x="92" y="265"/>
                  </a:lnTo>
                  <a:close/>
                  <a:moveTo>
                    <a:pt x="106" y="265"/>
                  </a:moveTo>
                  <a:lnTo>
                    <a:pt x="108" y="266"/>
                  </a:lnTo>
                  <a:lnTo>
                    <a:pt x="108" y="267"/>
                  </a:lnTo>
                  <a:lnTo>
                    <a:pt x="108" y="268"/>
                  </a:lnTo>
                  <a:lnTo>
                    <a:pt x="108" y="269"/>
                  </a:lnTo>
                  <a:lnTo>
                    <a:pt x="106" y="269"/>
                  </a:lnTo>
                  <a:lnTo>
                    <a:pt x="106" y="268"/>
                  </a:lnTo>
                  <a:lnTo>
                    <a:pt x="105" y="268"/>
                  </a:lnTo>
                  <a:lnTo>
                    <a:pt x="105" y="267"/>
                  </a:lnTo>
                  <a:lnTo>
                    <a:pt x="105" y="266"/>
                  </a:lnTo>
                  <a:lnTo>
                    <a:pt x="104" y="266"/>
                  </a:lnTo>
                  <a:lnTo>
                    <a:pt x="104" y="265"/>
                  </a:lnTo>
                  <a:lnTo>
                    <a:pt x="105" y="265"/>
                  </a:lnTo>
                  <a:lnTo>
                    <a:pt x="106" y="265"/>
                  </a:lnTo>
                  <a:close/>
                  <a:moveTo>
                    <a:pt x="101" y="266"/>
                  </a:moveTo>
                  <a:lnTo>
                    <a:pt x="101" y="267"/>
                  </a:lnTo>
                  <a:lnTo>
                    <a:pt x="101" y="268"/>
                  </a:lnTo>
                  <a:lnTo>
                    <a:pt x="101" y="267"/>
                  </a:lnTo>
                  <a:lnTo>
                    <a:pt x="99" y="267"/>
                  </a:lnTo>
                  <a:lnTo>
                    <a:pt x="99" y="266"/>
                  </a:lnTo>
                  <a:lnTo>
                    <a:pt x="99" y="265"/>
                  </a:lnTo>
                  <a:lnTo>
                    <a:pt x="99" y="263"/>
                  </a:lnTo>
                  <a:lnTo>
                    <a:pt x="99" y="265"/>
                  </a:lnTo>
                  <a:lnTo>
                    <a:pt x="101" y="266"/>
                  </a:lnTo>
                  <a:close/>
                  <a:moveTo>
                    <a:pt x="95" y="263"/>
                  </a:moveTo>
                  <a:lnTo>
                    <a:pt x="95" y="265"/>
                  </a:lnTo>
                  <a:lnTo>
                    <a:pt x="95" y="263"/>
                  </a:lnTo>
                  <a:close/>
                  <a:moveTo>
                    <a:pt x="103" y="263"/>
                  </a:moveTo>
                  <a:lnTo>
                    <a:pt x="103" y="265"/>
                  </a:lnTo>
                  <a:lnTo>
                    <a:pt x="103" y="263"/>
                  </a:lnTo>
                  <a:close/>
                  <a:moveTo>
                    <a:pt x="103" y="263"/>
                  </a:moveTo>
                  <a:lnTo>
                    <a:pt x="102" y="262"/>
                  </a:lnTo>
                  <a:lnTo>
                    <a:pt x="103" y="262"/>
                  </a:lnTo>
                  <a:lnTo>
                    <a:pt x="103" y="263"/>
                  </a:lnTo>
                  <a:close/>
                  <a:moveTo>
                    <a:pt x="106" y="261"/>
                  </a:moveTo>
                  <a:lnTo>
                    <a:pt x="106" y="262"/>
                  </a:lnTo>
                  <a:lnTo>
                    <a:pt x="108" y="262"/>
                  </a:lnTo>
                  <a:lnTo>
                    <a:pt x="109" y="262"/>
                  </a:lnTo>
                  <a:lnTo>
                    <a:pt x="108" y="262"/>
                  </a:lnTo>
                  <a:lnTo>
                    <a:pt x="106" y="263"/>
                  </a:lnTo>
                  <a:lnTo>
                    <a:pt x="105" y="263"/>
                  </a:lnTo>
                  <a:lnTo>
                    <a:pt x="105" y="262"/>
                  </a:lnTo>
                  <a:lnTo>
                    <a:pt x="105" y="261"/>
                  </a:lnTo>
                  <a:lnTo>
                    <a:pt x="105" y="260"/>
                  </a:lnTo>
                  <a:lnTo>
                    <a:pt x="106" y="261"/>
                  </a:lnTo>
                  <a:close/>
                  <a:moveTo>
                    <a:pt x="101" y="259"/>
                  </a:moveTo>
                  <a:lnTo>
                    <a:pt x="101" y="260"/>
                  </a:lnTo>
                  <a:lnTo>
                    <a:pt x="101" y="259"/>
                  </a:lnTo>
                  <a:lnTo>
                    <a:pt x="99" y="259"/>
                  </a:lnTo>
                  <a:lnTo>
                    <a:pt x="99" y="258"/>
                  </a:lnTo>
                  <a:lnTo>
                    <a:pt x="101" y="258"/>
                  </a:lnTo>
                  <a:lnTo>
                    <a:pt x="101" y="259"/>
                  </a:lnTo>
                  <a:close/>
                  <a:moveTo>
                    <a:pt x="99" y="256"/>
                  </a:moveTo>
                  <a:lnTo>
                    <a:pt x="98" y="256"/>
                  </a:lnTo>
                  <a:lnTo>
                    <a:pt x="98" y="258"/>
                  </a:lnTo>
                  <a:lnTo>
                    <a:pt x="98" y="256"/>
                  </a:lnTo>
                  <a:lnTo>
                    <a:pt x="98" y="255"/>
                  </a:lnTo>
                  <a:lnTo>
                    <a:pt x="98" y="256"/>
                  </a:lnTo>
                  <a:lnTo>
                    <a:pt x="99" y="256"/>
                  </a:lnTo>
                  <a:lnTo>
                    <a:pt x="99" y="255"/>
                  </a:lnTo>
                  <a:lnTo>
                    <a:pt x="99" y="256"/>
                  </a:lnTo>
                  <a:close/>
                  <a:moveTo>
                    <a:pt x="105" y="255"/>
                  </a:moveTo>
                  <a:lnTo>
                    <a:pt x="105" y="254"/>
                  </a:lnTo>
                  <a:lnTo>
                    <a:pt x="105" y="255"/>
                  </a:lnTo>
                  <a:close/>
                  <a:moveTo>
                    <a:pt x="102" y="254"/>
                  </a:moveTo>
                  <a:lnTo>
                    <a:pt x="102" y="253"/>
                  </a:lnTo>
                  <a:lnTo>
                    <a:pt x="102" y="254"/>
                  </a:lnTo>
                  <a:close/>
                  <a:moveTo>
                    <a:pt x="96" y="253"/>
                  </a:moveTo>
                  <a:lnTo>
                    <a:pt x="96" y="252"/>
                  </a:lnTo>
                  <a:lnTo>
                    <a:pt x="96" y="253"/>
                  </a:lnTo>
                  <a:close/>
                  <a:moveTo>
                    <a:pt x="104" y="253"/>
                  </a:moveTo>
                  <a:lnTo>
                    <a:pt x="104" y="252"/>
                  </a:lnTo>
                  <a:lnTo>
                    <a:pt x="105" y="253"/>
                  </a:lnTo>
                  <a:lnTo>
                    <a:pt x="105" y="254"/>
                  </a:lnTo>
                  <a:lnTo>
                    <a:pt x="104" y="256"/>
                  </a:lnTo>
                  <a:lnTo>
                    <a:pt x="103" y="256"/>
                  </a:lnTo>
                  <a:lnTo>
                    <a:pt x="103" y="255"/>
                  </a:lnTo>
                  <a:lnTo>
                    <a:pt x="103" y="254"/>
                  </a:lnTo>
                  <a:lnTo>
                    <a:pt x="103" y="253"/>
                  </a:lnTo>
                  <a:lnTo>
                    <a:pt x="103" y="252"/>
                  </a:lnTo>
                  <a:lnTo>
                    <a:pt x="102" y="252"/>
                  </a:lnTo>
                  <a:lnTo>
                    <a:pt x="103" y="251"/>
                  </a:lnTo>
                  <a:lnTo>
                    <a:pt x="103" y="252"/>
                  </a:lnTo>
                  <a:lnTo>
                    <a:pt x="104" y="252"/>
                  </a:lnTo>
                  <a:lnTo>
                    <a:pt x="104" y="253"/>
                  </a:lnTo>
                  <a:close/>
                  <a:moveTo>
                    <a:pt x="102" y="245"/>
                  </a:moveTo>
                  <a:lnTo>
                    <a:pt x="102" y="246"/>
                  </a:lnTo>
                  <a:lnTo>
                    <a:pt x="102" y="247"/>
                  </a:lnTo>
                  <a:lnTo>
                    <a:pt x="102" y="246"/>
                  </a:lnTo>
                  <a:lnTo>
                    <a:pt x="102" y="245"/>
                  </a:lnTo>
                  <a:lnTo>
                    <a:pt x="101" y="244"/>
                  </a:lnTo>
                  <a:lnTo>
                    <a:pt x="101" y="242"/>
                  </a:lnTo>
                  <a:lnTo>
                    <a:pt x="102" y="245"/>
                  </a:lnTo>
                  <a:close/>
                  <a:moveTo>
                    <a:pt x="95" y="233"/>
                  </a:moveTo>
                  <a:lnTo>
                    <a:pt x="95" y="232"/>
                  </a:lnTo>
                  <a:lnTo>
                    <a:pt x="96" y="232"/>
                  </a:lnTo>
                  <a:lnTo>
                    <a:pt x="95" y="233"/>
                  </a:lnTo>
                  <a:close/>
                  <a:moveTo>
                    <a:pt x="32" y="228"/>
                  </a:moveTo>
                  <a:lnTo>
                    <a:pt x="32" y="230"/>
                  </a:lnTo>
                  <a:lnTo>
                    <a:pt x="32" y="228"/>
                  </a:lnTo>
                  <a:lnTo>
                    <a:pt x="32" y="227"/>
                  </a:lnTo>
                  <a:lnTo>
                    <a:pt x="32" y="228"/>
                  </a:lnTo>
                  <a:close/>
                  <a:moveTo>
                    <a:pt x="35" y="217"/>
                  </a:moveTo>
                  <a:lnTo>
                    <a:pt x="34" y="217"/>
                  </a:lnTo>
                  <a:lnTo>
                    <a:pt x="35" y="217"/>
                  </a:lnTo>
                  <a:lnTo>
                    <a:pt x="35" y="216"/>
                  </a:lnTo>
                  <a:lnTo>
                    <a:pt x="35" y="217"/>
                  </a:lnTo>
                  <a:close/>
                  <a:moveTo>
                    <a:pt x="89" y="206"/>
                  </a:moveTo>
                  <a:lnTo>
                    <a:pt x="89" y="205"/>
                  </a:lnTo>
                  <a:lnTo>
                    <a:pt x="89" y="206"/>
                  </a:lnTo>
                  <a:close/>
                  <a:moveTo>
                    <a:pt x="48" y="202"/>
                  </a:moveTo>
                  <a:lnTo>
                    <a:pt x="47" y="202"/>
                  </a:lnTo>
                  <a:lnTo>
                    <a:pt x="48" y="202"/>
                  </a:lnTo>
                  <a:lnTo>
                    <a:pt x="48" y="200"/>
                  </a:lnTo>
                  <a:lnTo>
                    <a:pt x="48" y="199"/>
                  </a:lnTo>
                  <a:lnTo>
                    <a:pt x="49" y="199"/>
                  </a:lnTo>
                  <a:lnTo>
                    <a:pt x="49" y="200"/>
                  </a:lnTo>
                  <a:lnTo>
                    <a:pt x="49" y="202"/>
                  </a:lnTo>
                  <a:lnTo>
                    <a:pt x="48" y="202"/>
                  </a:lnTo>
                  <a:close/>
                  <a:moveTo>
                    <a:pt x="44" y="200"/>
                  </a:moveTo>
                  <a:lnTo>
                    <a:pt x="42" y="199"/>
                  </a:lnTo>
                  <a:lnTo>
                    <a:pt x="42" y="198"/>
                  </a:lnTo>
                  <a:lnTo>
                    <a:pt x="44" y="198"/>
                  </a:lnTo>
                  <a:lnTo>
                    <a:pt x="44" y="197"/>
                  </a:lnTo>
                  <a:lnTo>
                    <a:pt x="45" y="197"/>
                  </a:lnTo>
                  <a:lnTo>
                    <a:pt x="45" y="196"/>
                  </a:lnTo>
                  <a:lnTo>
                    <a:pt x="45" y="195"/>
                  </a:lnTo>
                  <a:lnTo>
                    <a:pt x="46" y="195"/>
                  </a:lnTo>
                  <a:lnTo>
                    <a:pt x="46" y="196"/>
                  </a:lnTo>
                  <a:lnTo>
                    <a:pt x="46" y="197"/>
                  </a:lnTo>
                  <a:lnTo>
                    <a:pt x="45" y="198"/>
                  </a:lnTo>
                  <a:lnTo>
                    <a:pt x="45" y="199"/>
                  </a:lnTo>
                  <a:lnTo>
                    <a:pt x="44" y="199"/>
                  </a:lnTo>
                  <a:lnTo>
                    <a:pt x="44" y="200"/>
                  </a:lnTo>
                  <a:close/>
                  <a:moveTo>
                    <a:pt x="87" y="195"/>
                  </a:moveTo>
                  <a:lnTo>
                    <a:pt x="85" y="196"/>
                  </a:lnTo>
                  <a:lnTo>
                    <a:pt x="85" y="195"/>
                  </a:lnTo>
                  <a:lnTo>
                    <a:pt x="84" y="193"/>
                  </a:lnTo>
                  <a:lnTo>
                    <a:pt x="84" y="192"/>
                  </a:lnTo>
                  <a:lnTo>
                    <a:pt x="84" y="191"/>
                  </a:lnTo>
                  <a:lnTo>
                    <a:pt x="84" y="190"/>
                  </a:lnTo>
                  <a:lnTo>
                    <a:pt x="85" y="191"/>
                  </a:lnTo>
                  <a:lnTo>
                    <a:pt x="87" y="191"/>
                  </a:lnTo>
                  <a:lnTo>
                    <a:pt x="85" y="192"/>
                  </a:lnTo>
                  <a:lnTo>
                    <a:pt x="87" y="192"/>
                  </a:lnTo>
                  <a:lnTo>
                    <a:pt x="87" y="193"/>
                  </a:lnTo>
                  <a:lnTo>
                    <a:pt x="85" y="193"/>
                  </a:lnTo>
                  <a:lnTo>
                    <a:pt x="85" y="195"/>
                  </a:lnTo>
                  <a:lnTo>
                    <a:pt x="87" y="195"/>
                  </a:lnTo>
                  <a:close/>
                  <a:moveTo>
                    <a:pt x="27" y="153"/>
                  </a:moveTo>
                  <a:lnTo>
                    <a:pt x="28" y="153"/>
                  </a:lnTo>
                  <a:lnTo>
                    <a:pt x="28" y="154"/>
                  </a:lnTo>
                  <a:lnTo>
                    <a:pt x="28" y="155"/>
                  </a:lnTo>
                  <a:lnTo>
                    <a:pt x="28" y="156"/>
                  </a:lnTo>
                  <a:lnTo>
                    <a:pt x="27" y="156"/>
                  </a:lnTo>
                  <a:lnTo>
                    <a:pt x="26" y="155"/>
                  </a:lnTo>
                  <a:lnTo>
                    <a:pt x="25" y="154"/>
                  </a:lnTo>
                  <a:lnTo>
                    <a:pt x="24" y="153"/>
                  </a:lnTo>
                  <a:lnTo>
                    <a:pt x="26" y="153"/>
                  </a:lnTo>
                  <a:lnTo>
                    <a:pt x="27" y="153"/>
                  </a:lnTo>
                  <a:close/>
                  <a:moveTo>
                    <a:pt x="27" y="143"/>
                  </a:moveTo>
                  <a:lnTo>
                    <a:pt x="28" y="143"/>
                  </a:lnTo>
                  <a:lnTo>
                    <a:pt x="30" y="144"/>
                  </a:lnTo>
                  <a:lnTo>
                    <a:pt x="30" y="146"/>
                  </a:lnTo>
                  <a:lnTo>
                    <a:pt x="28" y="146"/>
                  </a:lnTo>
                  <a:lnTo>
                    <a:pt x="28" y="147"/>
                  </a:lnTo>
                  <a:lnTo>
                    <a:pt x="27" y="147"/>
                  </a:lnTo>
                  <a:lnTo>
                    <a:pt x="27" y="146"/>
                  </a:lnTo>
                  <a:lnTo>
                    <a:pt x="26" y="146"/>
                  </a:lnTo>
                  <a:lnTo>
                    <a:pt x="26" y="144"/>
                  </a:lnTo>
                  <a:lnTo>
                    <a:pt x="25" y="143"/>
                  </a:lnTo>
                  <a:lnTo>
                    <a:pt x="26" y="142"/>
                  </a:lnTo>
                  <a:lnTo>
                    <a:pt x="27" y="143"/>
                  </a:lnTo>
                  <a:close/>
                  <a:moveTo>
                    <a:pt x="23" y="139"/>
                  </a:moveTo>
                  <a:lnTo>
                    <a:pt x="21" y="139"/>
                  </a:lnTo>
                  <a:lnTo>
                    <a:pt x="21" y="136"/>
                  </a:lnTo>
                  <a:lnTo>
                    <a:pt x="20" y="136"/>
                  </a:lnTo>
                  <a:lnTo>
                    <a:pt x="21" y="136"/>
                  </a:lnTo>
                  <a:lnTo>
                    <a:pt x="23" y="137"/>
                  </a:lnTo>
                  <a:lnTo>
                    <a:pt x="23" y="139"/>
                  </a:lnTo>
                  <a:close/>
                  <a:moveTo>
                    <a:pt x="16" y="137"/>
                  </a:moveTo>
                  <a:lnTo>
                    <a:pt x="16" y="136"/>
                  </a:lnTo>
                  <a:lnTo>
                    <a:pt x="14" y="135"/>
                  </a:lnTo>
                  <a:lnTo>
                    <a:pt x="14" y="134"/>
                  </a:lnTo>
                  <a:lnTo>
                    <a:pt x="13" y="134"/>
                  </a:lnTo>
                  <a:lnTo>
                    <a:pt x="14" y="134"/>
                  </a:lnTo>
                  <a:lnTo>
                    <a:pt x="14" y="135"/>
                  </a:lnTo>
                  <a:lnTo>
                    <a:pt x="16" y="136"/>
                  </a:lnTo>
                  <a:lnTo>
                    <a:pt x="16" y="137"/>
                  </a:lnTo>
                  <a:close/>
                  <a:moveTo>
                    <a:pt x="54" y="1"/>
                  </a:moveTo>
                  <a:lnTo>
                    <a:pt x="55" y="1"/>
                  </a:lnTo>
                  <a:lnTo>
                    <a:pt x="56" y="2"/>
                  </a:lnTo>
                  <a:lnTo>
                    <a:pt x="56" y="3"/>
                  </a:lnTo>
                  <a:lnTo>
                    <a:pt x="57" y="3"/>
                  </a:lnTo>
                  <a:lnTo>
                    <a:pt x="57" y="2"/>
                  </a:lnTo>
                  <a:lnTo>
                    <a:pt x="59" y="3"/>
                  </a:lnTo>
                  <a:lnTo>
                    <a:pt x="60" y="4"/>
                  </a:lnTo>
                  <a:lnTo>
                    <a:pt x="60" y="6"/>
                  </a:lnTo>
                  <a:lnTo>
                    <a:pt x="61" y="6"/>
                  </a:lnTo>
                  <a:lnTo>
                    <a:pt x="62" y="6"/>
                  </a:lnTo>
                  <a:lnTo>
                    <a:pt x="62" y="7"/>
                  </a:lnTo>
                  <a:lnTo>
                    <a:pt x="62" y="8"/>
                  </a:lnTo>
                  <a:lnTo>
                    <a:pt x="62" y="9"/>
                  </a:lnTo>
                  <a:lnTo>
                    <a:pt x="63" y="9"/>
                  </a:lnTo>
                  <a:lnTo>
                    <a:pt x="63" y="10"/>
                  </a:lnTo>
                  <a:lnTo>
                    <a:pt x="63" y="11"/>
                  </a:lnTo>
                  <a:lnTo>
                    <a:pt x="64" y="11"/>
                  </a:lnTo>
                  <a:lnTo>
                    <a:pt x="64" y="13"/>
                  </a:lnTo>
                  <a:lnTo>
                    <a:pt x="66" y="14"/>
                  </a:lnTo>
                  <a:lnTo>
                    <a:pt x="67" y="15"/>
                  </a:lnTo>
                  <a:lnTo>
                    <a:pt x="67" y="16"/>
                  </a:lnTo>
                  <a:lnTo>
                    <a:pt x="68" y="16"/>
                  </a:lnTo>
                  <a:lnTo>
                    <a:pt x="68" y="15"/>
                  </a:lnTo>
                  <a:lnTo>
                    <a:pt x="68" y="14"/>
                  </a:lnTo>
                  <a:lnTo>
                    <a:pt x="69" y="14"/>
                  </a:lnTo>
                  <a:lnTo>
                    <a:pt x="70" y="15"/>
                  </a:lnTo>
                  <a:lnTo>
                    <a:pt x="71" y="15"/>
                  </a:lnTo>
                  <a:lnTo>
                    <a:pt x="71" y="16"/>
                  </a:lnTo>
                  <a:lnTo>
                    <a:pt x="71" y="17"/>
                  </a:lnTo>
                  <a:lnTo>
                    <a:pt x="73" y="18"/>
                  </a:lnTo>
                  <a:lnTo>
                    <a:pt x="73" y="20"/>
                  </a:lnTo>
                  <a:lnTo>
                    <a:pt x="73" y="21"/>
                  </a:lnTo>
                  <a:lnTo>
                    <a:pt x="73" y="22"/>
                  </a:lnTo>
                  <a:lnTo>
                    <a:pt x="74" y="23"/>
                  </a:lnTo>
                  <a:lnTo>
                    <a:pt x="74" y="24"/>
                  </a:lnTo>
                  <a:lnTo>
                    <a:pt x="75" y="25"/>
                  </a:lnTo>
                  <a:lnTo>
                    <a:pt x="75" y="27"/>
                  </a:lnTo>
                  <a:lnTo>
                    <a:pt x="75" y="28"/>
                  </a:lnTo>
                  <a:lnTo>
                    <a:pt x="75" y="29"/>
                  </a:lnTo>
                  <a:lnTo>
                    <a:pt x="76" y="29"/>
                  </a:lnTo>
                  <a:lnTo>
                    <a:pt x="76" y="30"/>
                  </a:lnTo>
                  <a:lnTo>
                    <a:pt x="76" y="31"/>
                  </a:lnTo>
                  <a:lnTo>
                    <a:pt x="76" y="34"/>
                  </a:lnTo>
                  <a:lnTo>
                    <a:pt x="76" y="35"/>
                  </a:lnTo>
                  <a:lnTo>
                    <a:pt x="76" y="36"/>
                  </a:lnTo>
                  <a:lnTo>
                    <a:pt x="77" y="37"/>
                  </a:lnTo>
                  <a:lnTo>
                    <a:pt x="76" y="37"/>
                  </a:lnTo>
                  <a:lnTo>
                    <a:pt x="77" y="38"/>
                  </a:lnTo>
                  <a:lnTo>
                    <a:pt x="76" y="38"/>
                  </a:lnTo>
                  <a:lnTo>
                    <a:pt x="75" y="38"/>
                  </a:lnTo>
                  <a:lnTo>
                    <a:pt x="75" y="39"/>
                  </a:lnTo>
                  <a:lnTo>
                    <a:pt x="76" y="39"/>
                  </a:lnTo>
                  <a:lnTo>
                    <a:pt x="76" y="41"/>
                  </a:lnTo>
                  <a:lnTo>
                    <a:pt x="77" y="42"/>
                  </a:lnTo>
                  <a:lnTo>
                    <a:pt x="77" y="43"/>
                  </a:lnTo>
                  <a:lnTo>
                    <a:pt x="76" y="43"/>
                  </a:lnTo>
                  <a:lnTo>
                    <a:pt x="75" y="43"/>
                  </a:lnTo>
                  <a:lnTo>
                    <a:pt x="75" y="44"/>
                  </a:lnTo>
                  <a:lnTo>
                    <a:pt x="75" y="45"/>
                  </a:lnTo>
                  <a:lnTo>
                    <a:pt x="74" y="45"/>
                  </a:lnTo>
                  <a:lnTo>
                    <a:pt x="74" y="46"/>
                  </a:lnTo>
                  <a:lnTo>
                    <a:pt x="74" y="48"/>
                  </a:lnTo>
                  <a:lnTo>
                    <a:pt x="73" y="48"/>
                  </a:lnTo>
                  <a:lnTo>
                    <a:pt x="73" y="46"/>
                  </a:lnTo>
                  <a:lnTo>
                    <a:pt x="71" y="46"/>
                  </a:lnTo>
                  <a:lnTo>
                    <a:pt x="71" y="48"/>
                  </a:lnTo>
                  <a:lnTo>
                    <a:pt x="70" y="48"/>
                  </a:lnTo>
                  <a:lnTo>
                    <a:pt x="71" y="49"/>
                  </a:lnTo>
                  <a:lnTo>
                    <a:pt x="71" y="50"/>
                  </a:lnTo>
                  <a:lnTo>
                    <a:pt x="70" y="50"/>
                  </a:lnTo>
                  <a:lnTo>
                    <a:pt x="70" y="51"/>
                  </a:lnTo>
                  <a:lnTo>
                    <a:pt x="69" y="52"/>
                  </a:lnTo>
                  <a:lnTo>
                    <a:pt x="68" y="52"/>
                  </a:lnTo>
                  <a:lnTo>
                    <a:pt x="68" y="53"/>
                  </a:lnTo>
                  <a:lnTo>
                    <a:pt x="67" y="55"/>
                  </a:lnTo>
                  <a:lnTo>
                    <a:pt x="67" y="56"/>
                  </a:lnTo>
                  <a:lnTo>
                    <a:pt x="67" y="57"/>
                  </a:lnTo>
                  <a:lnTo>
                    <a:pt x="68" y="58"/>
                  </a:lnTo>
                  <a:lnTo>
                    <a:pt x="68" y="59"/>
                  </a:lnTo>
                  <a:lnTo>
                    <a:pt x="67" y="58"/>
                  </a:lnTo>
                  <a:lnTo>
                    <a:pt x="67" y="59"/>
                  </a:lnTo>
                  <a:lnTo>
                    <a:pt x="66" y="59"/>
                  </a:lnTo>
                  <a:lnTo>
                    <a:pt x="66" y="60"/>
                  </a:lnTo>
                  <a:lnTo>
                    <a:pt x="66" y="63"/>
                  </a:lnTo>
                  <a:lnTo>
                    <a:pt x="66" y="64"/>
                  </a:lnTo>
                  <a:lnTo>
                    <a:pt x="66" y="65"/>
                  </a:lnTo>
                  <a:lnTo>
                    <a:pt x="67" y="65"/>
                  </a:lnTo>
                  <a:lnTo>
                    <a:pt x="68" y="65"/>
                  </a:lnTo>
                  <a:lnTo>
                    <a:pt x="68" y="66"/>
                  </a:lnTo>
                  <a:lnTo>
                    <a:pt x="69" y="66"/>
                  </a:lnTo>
                  <a:lnTo>
                    <a:pt x="68" y="66"/>
                  </a:lnTo>
                  <a:lnTo>
                    <a:pt x="68" y="67"/>
                  </a:lnTo>
                  <a:lnTo>
                    <a:pt x="69" y="67"/>
                  </a:lnTo>
                  <a:lnTo>
                    <a:pt x="69" y="69"/>
                  </a:lnTo>
                  <a:lnTo>
                    <a:pt x="69" y="70"/>
                  </a:lnTo>
                  <a:lnTo>
                    <a:pt x="67" y="72"/>
                  </a:lnTo>
                  <a:lnTo>
                    <a:pt x="68" y="73"/>
                  </a:lnTo>
                  <a:lnTo>
                    <a:pt x="69" y="73"/>
                  </a:lnTo>
                  <a:lnTo>
                    <a:pt x="69" y="74"/>
                  </a:lnTo>
                  <a:lnTo>
                    <a:pt x="69" y="73"/>
                  </a:lnTo>
                  <a:lnTo>
                    <a:pt x="70" y="73"/>
                  </a:lnTo>
                  <a:lnTo>
                    <a:pt x="70" y="72"/>
                  </a:lnTo>
                  <a:lnTo>
                    <a:pt x="71" y="72"/>
                  </a:lnTo>
                  <a:lnTo>
                    <a:pt x="73" y="71"/>
                  </a:lnTo>
                  <a:lnTo>
                    <a:pt x="75" y="70"/>
                  </a:lnTo>
                  <a:lnTo>
                    <a:pt x="76" y="70"/>
                  </a:lnTo>
                  <a:lnTo>
                    <a:pt x="77" y="70"/>
                  </a:lnTo>
                  <a:lnTo>
                    <a:pt x="78" y="70"/>
                  </a:lnTo>
                  <a:lnTo>
                    <a:pt x="80" y="70"/>
                  </a:lnTo>
                  <a:lnTo>
                    <a:pt x="81" y="70"/>
                  </a:lnTo>
                  <a:lnTo>
                    <a:pt x="81" y="71"/>
                  </a:lnTo>
                  <a:lnTo>
                    <a:pt x="82" y="71"/>
                  </a:lnTo>
                  <a:lnTo>
                    <a:pt x="82" y="70"/>
                  </a:lnTo>
                  <a:lnTo>
                    <a:pt x="83" y="70"/>
                  </a:lnTo>
                  <a:lnTo>
                    <a:pt x="84" y="70"/>
                  </a:lnTo>
                  <a:lnTo>
                    <a:pt x="85" y="70"/>
                  </a:lnTo>
                  <a:lnTo>
                    <a:pt x="85" y="71"/>
                  </a:lnTo>
                  <a:lnTo>
                    <a:pt x="84" y="71"/>
                  </a:lnTo>
                  <a:lnTo>
                    <a:pt x="83" y="72"/>
                  </a:lnTo>
                  <a:lnTo>
                    <a:pt x="83" y="73"/>
                  </a:lnTo>
                  <a:lnTo>
                    <a:pt x="83" y="74"/>
                  </a:lnTo>
                  <a:lnTo>
                    <a:pt x="83" y="76"/>
                  </a:lnTo>
                  <a:lnTo>
                    <a:pt x="84" y="76"/>
                  </a:lnTo>
                  <a:lnTo>
                    <a:pt x="85" y="76"/>
                  </a:lnTo>
                  <a:lnTo>
                    <a:pt x="85" y="77"/>
                  </a:lnTo>
                  <a:lnTo>
                    <a:pt x="87" y="78"/>
                  </a:lnTo>
                  <a:lnTo>
                    <a:pt x="85" y="79"/>
                  </a:lnTo>
                  <a:lnTo>
                    <a:pt x="85" y="80"/>
                  </a:lnTo>
                  <a:lnTo>
                    <a:pt x="87" y="80"/>
                  </a:lnTo>
                  <a:lnTo>
                    <a:pt x="88" y="81"/>
                  </a:lnTo>
                  <a:lnTo>
                    <a:pt x="88" y="83"/>
                  </a:lnTo>
                  <a:lnTo>
                    <a:pt x="87" y="83"/>
                  </a:lnTo>
                  <a:lnTo>
                    <a:pt x="88" y="83"/>
                  </a:lnTo>
                  <a:lnTo>
                    <a:pt x="88" y="84"/>
                  </a:lnTo>
                  <a:lnTo>
                    <a:pt x="88" y="85"/>
                  </a:lnTo>
                  <a:lnTo>
                    <a:pt x="89" y="85"/>
                  </a:lnTo>
                  <a:lnTo>
                    <a:pt x="90" y="85"/>
                  </a:lnTo>
                  <a:lnTo>
                    <a:pt x="90" y="86"/>
                  </a:lnTo>
                  <a:lnTo>
                    <a:pt x="91" y="86"/>
                  </a:lnTo>
                  <a:lnTo>
                    <a:pt x="92" y="86"/>
                  </a:lnTo>
                  <a:lnTo>
                    <a:pt x="92" y="87"/>
                  </a:lnTo>
                  <a:lnTo>
                    <a:pt x="92" y="86"/>
                  </a:lnTo>
                  <a:lnTo>
                    <a:pt x="94" y="86"/>
                  </a:lnTo>
                  <a:lnTo>
                    <a:pt x="95" y="86"/>
                  </a:lnTo>
                  <a:lnTo>
                    <a:pt x="96" y="86"/>
                  </a:lnTo>
                  <a:lnTo>
                    <a:pt x="96" y="87"/>
                  </a:lnTo>
                  <a:lnTo>
                    <a:pt x="97" y="87"/>
                  </a:lnTo>
                  <a:lnTo>
                    <a:pt x="97" y="88"/>
                  </a:lnTo>
                  <a:lnTo>
                    <a:pt x="97" y="90"/>
                  </a:lnTo>
                  <a:lnTo>
                    <a:pt x="96" y="88"/>
                  </a:lnTo>
                  <a:lnTo>
                    <a:pt x="96" y="90"/>
                  </a:lnTo>
                  <a:lnTo>
                    <a:pt x="96" y="91"/>
                  </a:lnTo>
                  <a:lnTo>
                    <a:pt x="95" y="91"/>
                  </a:lnTo>
                  <a:lnTo>
                    <a:pt x="95" y="92"/>
                  </a:lnTo>
                  <a:lnTo>
                    <a:pt x="96" y="94"/>
                  </a:lnTo>
                  <a:lnTo>
                    <a:pt x="96" y="95"/>
                  </a:lnTo>
                  <a:lnTo>
                    <a:pt x="95" y="97"/>
                  </a:lnTo>
                  <a:lnTo>
                    <a:pt x="95" y="98"/>
                  </a:lnTo>
                  <a:lnTo>
                    <a:pt x="95" y="99"/>
                  </a:lnTo>
                  <a:lnTo>
                    <a:pt x="95" y="100"/>
                  </a:lnTo>
                  <a:lnTo>
                    <a:pt x="95" y="101"/>
                  </a:lnTo>
                  <a:lnTo>
                    <a:pt x="94" y="101"/>
                  </a:lnTo>
                  <a:lnTo>
                    <a:pt x="95" y="101"/>
                  </a:lnTo>
                  <a:lnTo>
                    <a:pt x="96" y="101"/>
                  </a:lnTo>
                  <a:lnTo>
                    <a:pt x="97" y="102"/>
                  </a:lnTo>
                  <a:lnTo>
                    <a:pt x="98" y="101"/>
                  </a:lnTo>
                  <a:lnTo>
                    <a:pt x="99" y="101"/>
                  </a:lnTo>
                  <a:lnTo>
                    <a:pt x="101" y="102"/>
                  </a:lnTo>
                  <a:lnTo>
                    <a:pt x="102" y="102"/>
                  </a:lnTo>
                  <a:lnTo>
                    <a:pt x="103" y="102"/>
                  </a:lnTo>
                  <a:lnTo>
                    <a:pt x="104" y="104"/>
                  </a:lnTo>
                  <a:lnTo>
                    <a:pt x="104" y="102"/>
                  </a:lnTo>
                  <a:lnTo>
                    <a:pt x="105" y="102"/>
                  </a:lnTo>
                  <a:lnTo>
                    <a:pt x="105" y="104"/>
                  </a:lnTo>
                  <a:lnTo>
                    <a:pt x="105" y="105"/>
                  </a:lnTo>
                  <a:lnTo>
                    <a:pt x="105" y="106"/>
                  </a:lnTo>
                  <a:lnTo>
                    <a:pt x="106" y="107"/>
                  </a:lnTo>
                  <a:lnTo>
                    <a:pt x="106" y="108"/>
                  </a:lnTo>
                  <a:lnTo>
                    <a:pt x="108" y="108"/>
                  </a:lnTo>
                  <a:lnTo>
                    <a:pt x="109" y="108"/>
                  </a:lnTo>
                  <a:lnTo>
                    <a:pt x="109" y="109"/>
                  </a:lnTo>
                  <a:lnTo>
                    <a:pt x="109" y="111"/>
                  </a:lnTo>
                  <a:lnTo>
                    <a:pt x="109" y="112"/>
                  </a:lnTo>
                  <a:lnTo>
                    <a:pt x="110" y="113"/>
                  </a:lnTo>
                  <a:lnTo>
                    <a:pt x="111" y="112"/>
                  </a:lnTo>
                  <a:lnTo>
                    <a:pt x="112" y="111"/>
                  </a:lnTo>
                  <a:lnTo>
                    <a:pt x="113" y="112"/>
                  </a:lnTo>
                  <a:lnTo>
                    <a:pt x="115" y="112"/>
                  </a:lnTo>
                  <a:lnTo>
                    <a:pt x="116" y="112"/>
                  </a:lnTo>
                  <a:lnTo>
                    <a:pt x="117" y="112"/>
                  </a:lnTo>
                  <a:lnTo>
                    <a:pt x="117" y="111"/>
                  </a:lnTo>
                  <a:lnTo>
                    <a:pt x="118" y="111"/>
                  </a:lnTo>
                  <a:lnTo>
                    <a:pt x="118" y="109"/>
                  </a:lnTo>
                  <a:lnTo>
                    <a:pt x="119" y="108"/>
                  </a:lnTo>
                  <a:lnTo>
                    <a:pt x="120" y="108"/>
                  </a:lnTo>
                  <a:lnTo>
                    <a:pt x="121" y="107"/>
                  </a:lnTo>
                  <a:lnTo>
                    <a:pt x="123" y="107"/>
                  </a:lnTo>
                  <a:lnTo>
                    <a:pt x="123" y="108"/>
                  </a:lnTo>
                  <a:lnTo>
                    <a:pt x="123" y="109"/>
                  </a:lnTo>
                  <a:lnTo>
                    <a:pt x="123" y="111"/>
                  </a:lnTo>
                  <a:lnTo>
                    <a:pt x="121" y="113"/>
                  </a:lnTo>
                  <a:lnTo>
                    <a:pt x="120" y="114"/>
                  </a:lnTo>
                  <a:lnTo>
                    <a:pt x="119" y="114"/>
                  </a:lnTo>
                  <a:lnTo>
                    <a:pt x="118" y="114"/>
                  </a:lnTo>
                  <a:lnTo>
                    <a:pt x="118" y="115"/>
                  </a:lnTo>
                  <a:lnTo>
                    <a:pt x="118" y="116"/>
                  </a:lnTo>
                  <a:lnTo>
                    <a:pt x="117" y="118"/>
                  </a:lnTo>
                  <a:lnTo>
                    <a:pt x="117" y="119"/>
                  </a:lnTo>
                  <a:lnTo>
                    <a:pt x="116" y="119"/>
                  </a:lnTo>
                  <a:lnTo>
                    <a:pt x="116" y="120"/>
                  </a:lnTo>
                  <a:lnTo>
                    <a:pt x="116" y="121"/>
                  </a:lnTo>
                  <a:lnTo>
                    <a:pt x="117" y="121"/>
                  </a:lnTo>
                  <a:lnTo>
                    <a:pt x="118" y="121"/>
                  </a:lnTo>
                  <a:lnTo>
                    <a:pt x="117" y="122"/>
                  </a:lnTo>
                  <a:lnTo>
                    <a:pt x="116" y="122"/>
                  </a:lnTo>
                  <a:lnTo>
                    <a:pt x="115" y="122"/>
                  </a:lnTo>
                  <a:lnTo>
                    <a:pt x="113" y="122"/>
                  </a:lnTo>
                  <a:lnTo>
                    <a:pt x="113" y="123"/>
                  </a:lnTo>
                  <a:lnTo>
                    <a:pt x="112" y="123"/>
                  </a:lnTo>
                  <a:lnTo>
                    <a:pt x="112" y="125"/>
                  </a:lnTo>
                  <a:lnTo>
                    <a:pt x="112" y="126"/>
                  </a:lnTo>
                  <a:lnTo>
                    <a:pt x="112" y="127"/>
                  </a:lnTo>
                  <a:lnTo>
                    <a:pt x="112" y="128"/>
                  </a:lnTo>
                  <a:lnTo>
                    <a:pt x="112" y="129"/>
                  </a:lnTo>
                  <a:lnTo>
                    <a:pt x="111" y="129"/>
                  </a:lnTo>
                  <a:lnTo>
                    <a:pt x="111" y="130"/>
                  </a:lnTo>
                  <a:lnTo>
                    <a:pt x="111" y="129"/>
                  </a:lnTo>
                  <a:lnTo>
                    <a:pt x="110" y="129"/>
                  </a:lnTo>
                  <a:lnTo>
                    <a:pt x="110" y="128"/>
                  </a:lnTo>
                  <a:lnTo>
                    <a:pt x="109" y="128"/>
                  </a:lnTo>
                  <a:lnTo>
                    <a:pt x="108" y="128"/>
                  </a:lnTo>
                  <a:lnTo>
                    <a:pt x="108" y="129"/>
                  </a:lnTo>
                  <a:lnTo>
                    <a:pt x="108" y="130"/>
                  </a:lnTo>
                  <a:lnTo>
                    <a:pt x="106" y="130"/>
                  </a:lnTo>
                  <a:lnTo>
                    <a:pt x="105" y="130"/>
                  </a:lnTo>
                  <a:lnTo>
                    <a:pt x="104" y="130"/>
                  </a:lnTo>
                  <a:lnTo>
                    <a:pt x="103" y="129"/>
                  </a:lnTo>
                  <a:lnTo>
                    <a:pt x="102" y="129"/>
                  </a:lnTo>
                  <a:lnTo>
                    <a:pt x="103" y="129"/>
                  </a:lnTo>
                  <a:lnTo>
                    <a:pt x="103" y="130"/>
                  </a:lnTo>
                  <a:lnTo>
                    <a:pt x="103" y="132"/>
                  </a:lnTo>
                  <a:lnTo>
                    <a:pt x="104" y="132"/>
                  </a:lnTo>
                  <a:lnTo>
                    <a:pt x="104" y="133"/>
                  </a:lnTo>
                  <a:lnTo>
                    <a:pt x="103" y="134"/>
                  </a:lnTo>
                  <a:lnTo>
                    <a:pt x="102" y="134"/>
                  </a:lnTo>
                  <a:lnTo>
                    <a:pt x="101" y="134"/>
                  </a:lnTo>
                  <a:lnTo>
                    <a:pt x="101" y="133"/>
                  </a:lnTo>
                  <a:lnTo>
                    <a:pt x="99" y="133"/>
                  </a:lnTo>
                  <a:lnTo>
                    <a:pt x="98" y="133"/>
                  </a:lnTo>
                  <a:lnTo>
                    <a:pt x="98" y="134"/>
                  </a:lnTo>
                  <a:lnTo>
                    <a:pt x="97" y="134"/>
                  </a:lnTo>
                  <a:lnTo>
                    <a:pt x="97" y="135"/>
                  </a:lnTo>
                  <a:lnTo>
                    <a:pt x="97" y="136"/>
                  </a:lnTo>
                  <a:lnTo>
                    <a:pt x="97" y="137"/>
                  </a:lnTo>
                  <a:lnTo>
                    <a:pt x="98" y="137"/>
                  </a:lnTo>
                  <a:lnTo>
                    <a:pt x="97" y="139"/>
                  </a:lnTo>
                  <a:lnTo>
                    <a:pt x="96" y="139"/>
                  </a:lnTo>
                  <a:lnTo>
                    <a:pt x="95" y="139"/>
                  </a:lnTo>
                  <a:lnTo>
                    <a:pt x="94" y="139"/>
                  </a:lnTo>
                  <a:lnTo>
                    <a:pt x="92" y="140"/>
                  </a:lnTo>
                  <a:lnTo>
                    <a:pt x="91" y="140"/>
                  </a:lnTo>
                  <a:lnTo>
                    <a:pt x="90" y="140"/>
                  </a:lnTo>
                  <a:lnTo>
                    <a:pt x="89" y="140"/>
                  </a:lnTo>
                  <a:lnTo>
                    <a:pt x="88" y="140"/>
                  </a:lnTo>
                  <a:lnTo>
                    <a:pt x="88" y="141"/>
                  </a:lnTo>
                  <a:lnTo>
                    <a:pt x="88" y="140"/>
                  </a:lnTo>
                  <a:lnTo>
                    <a:pt x="87" y="140"/>
                  </a:lnTo>
                  <a:lnTo>
                    <a:pt x="85" y="139"/>
                  </a:lnTo>
                  <a:lnTo>
                    <a:pt x="84" y="139"/>
                  </a:lnTo>
                  <a:lnTo>
                    <a:pt x="84" y="140"/>
                  </a:lnTo>
                  <a:lnTo>
                    <a:pt x="84" y="141"/>
                  </a:lnTo>
                  <a:lnTo>
                    <a:pt x="83" y="142"/>
                  </a:lnTo>
                  <a:lnTo>
                    <a:pt x="82" y="142"/>
                  </a:lnTo>
                  <a:lnTo>
                    <a:pt x="83" y="143"/>
                  </a:lnTo>
                  <a:lnTo>
                    <a:pt x="82" y="144"/>
                  </a:lnTo>
                  <a:lnTo>
                    <a:pt x="82" y="146"/>
                  </a:lnTo>
                  <a:lnTo>
                    <a:pt x="83" y="146"/>
                  </a:lnTo>
                  <a:lnTo>
                    <a:pt x="83" y="147"/>
                  </a:lnTo>
                  <a:lnTo>
                    <a:pt x="82" y="147"/>
                  </a:lnTo>
                  <a:lnTo>
                    <a:pt x="83" y="147"/>
                  </a:lnTo>
                  <a:lnTo>
                    <a:pt x="83" y="148"/>
                  </a:lnTo>
                  <a:lnTo>
                    <a:pt x="83" y="149"/>
                  </a:lnTo>
                  <a:lnTo>
                    <a:pt x="82" y="150"/>
                  </a:lnTo>
                  <a:lnTo>
                    <a:pt x="82" y="151"/>
                  </a:lnTo>
                  <a:lnTo>
                    <a:pt x="82" y="153"/>
                  </a:lnTo>
                  <a:lnTo>
                    <a:pt x="83" y="154"/>
                  </a:lnTo>
                  <a:lnTo>
                    <a:pt x="83" y="155"/>
                  </a:lnTo>
                  <a:lnTo>
                    <a:pt x="83" y="156"/>
                  </a:lnTo>
                  <a:lnTo>
                    <a:pt x="83" y="157"/>
                  </a:lnTo>
                  <a:lnTo>
                    <a:pt x="83" y="158"/>
                  </a:lnTo>
                  <a:lnTo>
                    <a:pt x="82" y="158"/>
                  </a:lnTo>
                  <a:lnTo>
                    <a:pt x="81" y="158"/>
                  </a:lnTo>
                  <a:lnTo>
                    <a:pt x="80" y="158"/>
                  </a:lnTo>
                  <a:lnTo>
                    <a:pt x="80" y="160"/>
                  </a:lnTo>
                  <a:lnTo>
                    <a:pt x="80" y="158"/>
                  </a:lnTo>
                  <a:lnTo>
                    <a:pt x="78" y="158"/>
                  </a:lnTo>
                  <a:lnTo>
                    <a:pt x="78" y="160"/>
                  </a:lnTo>
                  <a:lnTo>
                    <a:pt x="80" y="160"/>
                  </a:lnTo>
                  <a:lnTo>
                    <a:pt x="80" y="161"/>
                  </a:lnTo>
                  <a:lnTo>
                    <a:pt x="80" y="162"/>
                  </a:lnTo>
                  <a:lnTo>
                    <a:pt x="81" y="162"/>
                  </a:lnTo>
                  <a:lnTo>
                    <a:pt x="81" y="163"/>
                  </a:lnTo>
                  <a:lnTo>
                    <a:pt x="81" y="162"/>
                  </a:lnTo>
                  <a:lnTo>
                    <a:pt x="82" y="162"/>
                  </a:lnTo>
                  <a:lnTo>
                    <a:pt x="83" y="162"/>
                  </a:lnTo>
                  <a:lnTo>
                    <a:pt x="83" y="163"/>
                  </a:lnTo>
                  <a:lnTo>
                    <a:pt x="82" y="163"/>
                  </a:lnTo>
                  <a:lnTo>
                    <a:pt x="83" y="163"/>
                  </a:lnTo>
                  <a:lnTo>
                    <a:pt x="83" y="164"/>
                  </a:lnTo>
                  <a:lnTo>
                    <a:pt x="84" y="165"/>
                  </a:lnTo>
                  <a:lnTo>
                    <a:pt x="84" y="167"/>
                  </a:lnTo>
                  <a:lnTo>
                    <a:pt x="85" y="167"/>
                  </a:lnTo>
                  <a:lnTo>
                    <a:pt x="85" y="168"/>
                  </a:lnTo>
                  <a:lnTo>
                    <a:pt x="84" y="168"/>
                  </a:lnTo>
                  <a:lnTo>
                    <a:pt x="84" y="169"/>
                  </a:lnTo>
                  <a:lnTo>
                    <a:pt x="84" y="170"/>
                  </a:lnTo>
                  <a:lnTo>
                    <a:pt x="85" y="170"/>
                  </a:lnTo>
                  <a:lnTo>
                    <a:pt x="85" y="171"/>
                  </a:lnTo>
                  <a:lnTo>
                    <a:pt x="88" y="174"/>
                  </a:lnTo>
                  <a:lnTo>
                    <a:pt x="89" y="174"/>
                  </a:lnTo>
                  <a:lnTo>
                    <a:pt x="89" y="175"/>
                  </a:lnTo>
                  <a:lnTo>
                    <a:pt x="90" y="176"/>
                  </a:lnTo>
                  <a:lnTo>
                    <a:pt x="90" y="177"/>
                  </a:lnTo>
                  <a:lnTo>
                    <a:pt x="91" y="177"/>
                  </a:lnTo>
                  <a:lnTo>
                    <a:pt x="91" y="178"/>
                  </a:lnTo>
                  <a:lnTo>
                    <a:pt x="92" y="179"/>
                  </a:lnTo>
                  <a:lnTo>
                    <a:pt x="94" y="179"/>
                  </a:lnTo>
                  <a:lnTo>
                    <a:pt x="94" y="181"/>
                  </a:lnTo>
                  <a:lnTo>
                    <a:pt x="95" y="181"/>
                  </a:lnTo>
                  <a:lnTo>
                    <a:pt x="94" y="182"/>
                  </a:lnTo>
                  <a:lnTo>
                    <a:pt x="95" y="182"/>
                  </a:lnTo>
                  <a:lnTo>
                    <a:pt x="96" y="182"/>
                  </a:lnTo>
                  <a:lnTo>
                    <a:pt x="96" y="183"/>
                  </a:lnTo>
                  <a:lnTo>
                    <a:pt x="97" y="183"/>
                  </a:lnTo>
                  <a:lnTo>
                    <a:pt x="97" y="184"/>
                  </a:lnTo>
                  <a:lnTo>
                    <a:pt x="98" y="184"/>
                  </a:lnTo>
                  <a:lnTo>
                    <a:pt x="98" y="185"/>
                  </a:lnTo>
                  <a:lnTo>
                    <a:pt x="97" y="185"/>
                  </a:lnTo>
                  <a:lnTo>
                    <a:pt x="98" y="185"/>
                  </a:lnTo>
                  <a:lnTo>
                    <a:pt x="98" y="186"/>
                  </a:lnTo>
                  <a:lnTo>
                    <a:pt x="97" y="186"/>
                  </a:lnTo>
                  <a:lnTo>
                    <a:pt x="98" y="188"/>
                  </a:lnTo>
                  <a:lnTo>
                    <a:pt x="98" y="189"/>
                  </a:lnTo>
                  <a:lnTo>
                    <a:pt x="99" y="189"/>
                  </a:lnTo>
                  <a:lnTo>
                    <a:pt x="99" y="190"/>
                  </a:lnTo>
                  <a:lnTo>
                    <a:pt x="101" y="191"/>
                  </a:lnTo>
                  <a:lnTo>
                    <a:pt x="101" y="192"/>
                  </a:lnTo>
                  <a:lnTo>
                    <a:pt x="101" y="193"/>
                  </a:lnTo>
                  <a:lnTo>
                    <a:pt x="102" y="195"/>
                  </a:lnTo>
                  <a:lnTo>
                    <a:pt x="102" y="193"/>
                  </a:lnTo>
                  <a:lnTo>
                    <a:pt x="103" y="192"/>
                  </a:lnTo>
                  <a:lnTo>
                    <a:pt x="103" y="191"/>
                  </a:lnTo>
                  <a:lnTo>
                    <a:pt x="103" y="192"/>
                  </a:lnTo>
                  <a:lnTo>
                    <a:pt x="104" y="192"/>
                  </a:lnTo>
                  <a:lnTo>
                    <a:pt x="104" y="193"/>
                  </a:lnTo>
                  <a:lnTo>
                    <a:pt x="104" y="195"/>
                  </a:lnTo>
                  <a:lnTo>
                    <a:pt x="104" y="196"/>
                  </a:lnTo>
                  <a:lnTo>
                    <a:pt x="103" y="197"/>
                  </a:lnTo>
                  <a:lnTo>
                    <a:pt x="102" y="197"/>
                  </a:lnTo>
                  <a:lnTo>
                    <a:pt x="101" y="197"/>
                  </a:lnTo>
                  <a:lnTo>
                    <a:pt x="101" y="198"/>
                  </a:lnTo>
                  <a:lnTo>
                    <a:pt x="99" y="198"/>
                  </a:lnTo>
                  <a:lnTo>
                    <a:pt x="101" y="198"/>
                  </a:lnTo>
                  <a:lnTo>
                    <a:pt x="101" y="199"/>
                  </a:lnTo>
                  <a:lnTo>
                    <a:pt x="101" y="200"/>
                  </a:lnTo>
                  <a:lnTo>
                    <a:pt x="101" y="203"/>
                  </a:lnTo>
                  <a:lnTo>
                    <a:pt x="101" y="204"/>
                  </a:lnTo>
                  <a:lnTo>
                    <a:pt x="101" y="205"/>
                  </a:lnTo>
                  <a:lnTo>
                    <a:pt x="102" y="207"/>
                  </a:lnTo>
                  <a:lnTo>
                    <a:pt x="102" y="209"/>
                  </a:lnTo>
                  <a:lnTo>
                    <a:pt x="101" y="209"/>
                  </a:lnTo>
                  <a:lnTo>
                    <a:pt x="99" y="209"/>
                  </a:lnTo>
                  <a:lnTo>
                    <a:pt x="99" y="210"/>
                  </a:lnTo>
                  <a:lnTo>
                    <a:pt x="98" y="210"/>
                  </a:lnTo>
                  <a:lnTo>
                    <a:pt x="97" y="210"/>
                  </a:lnTo>
                  <a:lnTo>
                    <a:pt x="97" y="211"/>
                  </a:lnTo>
                  <a:lnTo>
                    <a:pt x="96" y="211"/>
                  </a:lnTo>
                  <a:lnTo>
                    <a:pt x="97" y="211"/>
                  </a:lnTo>
                  <a:lnTo>
                    <a:pt x="97" y="212"/>
                  </a:lnTo>
                  <a:lnTo>
                    <a:pt x="96" y="212"/>
                  </a:lnTo>
                  <a:lnTo>
                    <a:pt x="96" y="213"/>
                  </a:lnTo>
                  <a:lnTo>
                    <a:pt x="97" y="213"/>
                  </a:lnTo>
                  <a:lnTo>
                    <a:pt x="97" y="214"/>
                  </a:lnTo>
                  <a:lnTo>
                    <a:pt x="97" y="216"/>
                  </a:lnTo>
                  <a:lnTo>
                    <a:pt x="97" y="217"/>
                  </a:lnTo>
                  <a:lnTo>
                    <a:pt x="98" y="217"/>
                  </a:lnTo>
                  <a:lnTo>
                    <a:pt x="99" y="219"/>
                  </a:lnTo>
                  <a:lnTo>
                    <a:pt x="101" y="220"/>
                  </a:lnTo>
                  <a:lnTo>
                    <a:pt x="101" y="221"/>
                  </a:lnTo>
                  <a:lnTo>
                    <a:pt x="102" y="221"/>
                  </a:lnTo>
                  <a:lnTo>
                    <a:pt x="103" y="224"/>
                  </a:lnTo>
                  <a:lnTo>
                    <a:pt x="104" y="225"/>
                  </a:lnTo>
                  <a:lnTo>
                    <a:pt x="105" y="226"/>
                  </a:lnTo>
                  <a:lnTo>
                    <a:pt x="106" y="227"/>
                  </a:lnTo>
                  <a:lnTo>
                    <a:pt x="108" y="228"/>
                  </a:lnTo>
                  <a:lnTo>
                    <a:pt x="109" y="228"/>
                  </a:lnTo>
                  <a:lnTo>
                    <a:pt x="109" y="230"/>
                  </a:lnTo>
                  <a:lnTo>
                    <a:pt x="110" y="231"/>
                  </a:lnTo>
                  <a:lnTo>
                    <a:pt x="111" y="232"/>
                  </a:lnTo>
                  <a:lnTo>
                    <a:pt x="111" y="233"/>
                  </a:lnTo>
                  <a:lnTo>
                    <a:pt x="112" y="234"/>
                  </a:lnTo>
                  <a:lnTo>
                    <a:pt x="112" y="235"/>
                  </a:lnTo>
                  <a:lnTo>
                    <a:pt x="112" y="237"/>
                  </a:lnTo>
                  <a:lnTo>
                    <a:pt x="113" y="239"/>
                  </a:lnTo>
                  <a:lnTo>
                    <a:pt x="113" y="240"/>
                  </a:lnTo>
                  <a:lnTo>
                    <a:pt x="113" y="241"/>
                  </a:lnTo>
                  <a:lnTo>
                    <a:pt x="113" y="242"/>
                  </a:lnTo>
                  <a:lnTo>
                    <a:pt x="112" y="242"/>
                  </a:lnTo>
                  <a:lnTo>
                    <a:pt x="112" y="244"/>
                  </a:lnTo>
                  <a:lnTo>
                    <a:pt x="112" y="245"/>
                  </a:lnTo>
                  <a:lnTo>
                    <a:pt x="113" y="246"/>
                  </a:lnTo>
                  <a:lnTo>
                    <a:pt x="113" y="247"/>
                  </a:lnTo>
                  <a:lnTo>
                    <a:pt x="113" y="248"/>
                  </a:lnTo>
                  <a:lnTo>
                    <a:pt x="115" y="248"/>
                  </a:lnTo>
                  <a:lnTo>
                    <a:pt x="115" y="249"/>
                  </a:lnTo>
                  <a:lnTo>
                    <a:pt x="115" y="251"/>
                  </a:lnTo>
                  <a:lnTo>
                    <a:pt x="116" y="251"/>
                  </a:lnTo>
                  <a:lnTo>
                    <a:pt x="116" y="252"/>
                  </a:lnTo>
                  <a:lnTo>
                    <a:pt x="117" y="252"/>
                  </a:lnTo>
                  <a:lnTo>
                    <a:pt x="118" y="253"/>
                  </a:lnTo>
                  <a:lnTo>
                    <a:pt x="118" y="254"/>
                  </a:lnTo>
                  <a:lnTo>
                    <a:pt x="118" y="255"/>
                  </a:lnTo>
                  <a:lnTo>
                    <a:pt x="118" y="256"/>
                  </a:lnTo>
                  <a:lnTo>
                    <a:pt x="118" y="258"/>
                  </a:lnTo>
                  <a:lnTo>
                    <a:pt x="119" y="258"/>
                  </a:lnTo>
                  <a:lnTo>
                    <a:pt x="119" y="259"/>
                  </a:lnTo>
                  <a:lnTo>
                    <a:pt x="119" y="260"/>
                  </a:lnTo>
                  <a:lnTo>
                    <a:pt x="120" y="260"/>
                  </a:lnTo>
                  <a:lnTo>
                    <a:pt x="120" y="261"/>
                  </a:lnTo>
                  <a:lnTo>
                    <a:pt x="120" y="262"/>
                  </a:lnTo>
                  <a:lnTo>
                    <a:pt x="120" y="263"/>
                  </a:lnTo>
                  <a:lnTo>
                    <a:pt x="121" y="263"/>
                  </a:lnTo>
                  <a:lnTo>
                    <a:pt x="121" y="265"/>
                  </a:lnTo>
                  <a:lnTo>
                    <a:pt x="121" y="266"/>
                  </a:lnTo>
                  <a:lnTo>
                    <a:pt x="121" y="267"/>
                  </a:lnTo>
                  <a:lnTo>
                    <a:pt x="120" y="268"/>
                  </a:lnTo>
                  <a:lnTo>
                    <a:pt x="119" y="268"/>
                  </a:lnTo>
                  <a:lnTo>
                    <a:pt x="119" y="269"/>
                  </a:lnTo>
                  <a:lnTo>
                    <a:pt x="119" y="270"/>
                  </a:lnTo>
                  <a:lnTo>
                    <a:pt x="119" y="272"/>
                  </a:lnTo>
                  <a:lnTo>
                    <a:pt x="118" y="273"/>
                  </a:lnTo>
                  <a:lnTo>
                    <a:pt x="118" y="274"/>
                  </a:lnTo>
                  <a:lnTo>
                    <a:pt x="117" y="274"/>
                  </a:lnTo>
                  <a:lnTo>
                    <a:pt x="117" y="276"/>
                  </a:lnTo>
                  <a:lnTo>
                    <a:pt x="116" y="277"/>
                  </a:lnTo>
                  <a:lnTo>
                    <a:pt x="116" y="279"/>
                  </a:lnTo>
                  <a:lnTo>
                    <a:pt x="115" y="279"/>
                  </a:lnTo>
                  <a:lnTo>
                    <a:pt x="115" y="280"/>
                  </a:lnTo>
                  <a:lnTo>
                    <a:pt x="115" y="281"/>
                  </a:lnTo>
                  <a:lnTo>
                    <a:pt x="113" y="281"/>
                  </a:lnTo>
                  <a:lnTo>
                    <a:pt x="112" y="281"/>
                  </a:lnTo>
                  <a:lnTo>
                    <a:pt x="112" y="282"/>
                  </a:lnTo>
                  <a:lnTo>
                    <a:pt x="111" y="282"/>
                  </a:lnTo>
                  <a:lnTo>
                    <a:pt x="111" y="283"/>
                  </a:lnTo>
                  <a:lnTo>
                    <a:pt x="112" y="284"/>
                  </a:lnTo>
                  <a:lnTo>
                    <a:pt x="112" y="286"/>
                  </a:lnTo>
                  <a:lnTo>
                    <a:pt x="112" y="287"/>
                  </a:lnTo>
                  <a:lnTo>
                    <a:pt x="111" y="288"/>
                  </a:lnTo>
                  <a:lnTo>
                    <a:pt x="111" y="289"/>
                  </a:lnTo>
                  <a:lnTo>
                    <a:pt x="111" y="290"/>
                  </a:lnTo>
                  <a:lnTo>
                    <a:pt x="110" y="291"/>
                  </a:lnTo>
                  <a:lnTo>
                    <a:pt x="110" y="293"/>
                  </a:lnTo>
                  <a:lnTo>
                    <a:pt x="110" y="294"/>
                  </a:lnTo>
                  <a:lnTo>
                    <a:pt x="109" y="294"/>
                  </a:lnTo>
                  <a:lnTo>
                    <a:pt x="109" y="293"/>
                  </a:lnTo>
                  <a:lnTo>
                    <a:pt x="109" y="291"/>
                  </a:lnTo>
                  <a:lnTo>
                    <a:pt x="109" y="290"/>
                  </a:lnTo>
                  <a:lnTo>
                    <a:pt x="109" y="289"/>
                  </a:lnTo>
                  <a:lnTo>
                    <a:pt x="109" y="288"/>
                  </a:lnTo>
                  <a:lnTo>
                    <a:pt x="109" y="287"/>
                  </a:lnTo>
                  <a:lnTo>
                    <a:pt x="108" y="287"/>
                  </a:lnTo>
                  <a:lnTo>
                    <a:pt x="108" y="286"/>
                  </a:lnTo>
                  <a:lnTo>
                    <a:pt x="108" y="284"/>
                  </a:lnTo>
                  <a:lnTo>
                    <a:pt x="108" y="283"/>
                  </a:lnTo>
                  <a:lnTo>
                    <a:pt x="108" y="282"/>
                  </a:lnTo>
                  <a:lnTo>
                    <a:pt x="109" y="282"/>
                  </a:lnTo>
                  <a:lnTo>
                    <a:pt x="108" y="282"/>
                  </a:lnTo>
                  <a:lnTo>
                    <a:pt x="109" y="282"/>
                  </a:lnTo>
                  <a:lnTo>
                    <a:pt x="109" y="281"/>
                  </a:lnTo>
                  <a:lnTo>
                    <a:pt x="109" y="280"/>
                  </a:lnTo>
                  <a:lnTo>
                    <a:pt x="110" y="280"/>
                  </a:lnTo>
                  <a:lnTo>
                    <a:pt x="109" y="280"/>
                  </a:lnTo>
                  <a:lnTo>
                    <a:pt x="109" y="279"/>
                  </a:lnTo>
                  <a:lnTo>
                    <a:pt x="110" y="279"/>
                  </a:lnTo>
                  <a:lnTo>
                    <a:pt x="110" y="277"/>
                  </a:lnTo>
                  <a:lnTo>
                    <a:pt x="110" y="276"/>
                  </a:lnTo>
                  <a:lnTo>
                    <a:pt x="110" y="275"/>
                  </a:lnTo>
                  <a:lnTo>
                    <a:pt x="110" y="274"/>
                  </a:lnTo>
                  <a:lnTo>
                    <a:pt x="111" y="274"/>
                  </a:lnTo>
                  <a:lnTo>
                    <a:pt x="111" y="273"/>
                  </a:lnTo>
                  <a:lnTo>
                    <a:pt x="110" y="273"/>
                  </a:lnTo>
                  <a:lnTo>
                    <a:pt x="110" y="272"/>
                  </a:lnTo>
                  <a:lnTo>
                    <a:pt x="110" y="270"/>
                  </a:lnTo>
                  <a:lnTo>
                    <a:pt x="111" y="270"/>
                  </a:lnTo>
                  <a:lnTo>
                    <a:pt x="110" y="270"/>
                  </a:lnTo>
                  <a:lnTo>
                    <a:pt x="110" y="269"/>
                  </a:lnTo>
                  <a:lnTo>
                    <a:pt x="110" y="268"/>
                  </a:lnTo>
                  <a:lnTo>
                    <a:pt x="110" y="267"/>
                  </a:lnTo>
                  <a:lnTo>
                    <a:pt x="111" y="267"/>
                  </a:lnTo>
                  <a:lnTo>
                    <a:pt x="111" y="266"/>
                  </a:lnTo>
                  <a:lnTo>
                    <a:pt x="111" y="267"/>
                  </a:lnTo>
                  <a:lnTo>
                    <a:pt x="112" y="267"/>
                  </a:lnTo>
                  <a:lnTo>
                    <a:pt x="111" y="266"/>
                  </a:lnTo>
                  <a:lnTo>
                    <a:pt x="110" y="266"/>
                  </a:lnTo>
                  <a:lnTo>
                    <a:pt x="111" y="265"/>
                  </a:lnTo>
                  <a:lnTo>
                    <a:pt x="110" y="265"/>
                  </a:lnTo>
                  <a:lnTo>
                    <a:pt x="110" y="266"/>
                  </a:lnTo>
                  <a:lnTo>
                    <a:pt x="109" y="266"/>
                  </a:lnTo>
                  <a:lnTo>
                    <a:pt x="109" y="267"/>
                  </a:lnTo>
                  <a:lnTo>
                    <a:pt x="108" y="266"/>
                  </a:lnTo>
                  <a:lnTo>
                    <a:pt x="108" y="265"/>
                  </a:lnTo>
                  <a:lnTo>
                    <a:pt x="109" y="265"/>
                  </a:lnTo>
                  <a:lnTo>
                    <a:pt x="109" y="263"/>
                  </a:lnTo>
                  <a:lnTo>
                    <a:pt x="108" y="263"/>
                  </a:lnTo>
                  <a:lnTo>
                    <a:pt x="106" y="263"/>
                  </a:lnTo>
                  <a:lnTo>
                    <a:pt x="108" y="263"/>
                  </a:lnTo>
                  <a:lnTo>
                    <a:pt x="109" y="263"/>
                  </a:lnTo>
                  <a:lnTo>
                    <a:pt x="109" y="262"/>
                  </a:lnTo>
                  <a:lnTo>
                    <a:pt x="109" y="261"/>
                  </a:lnTo>
                  <a:lnTo>
                    <a:pt x="108" y="261"/>
                  </a:lnTo>
                  <a:lnTo>
                    <a:pt x="108" y="260"/>
                  </a:lnTo>
                  <a:lnTo>
                    <a:pt x="108" y="259"/>
                  </a:lnTo>
                  <a:lnTo>
                    <a:pt x="109" y="259"/>
                  </a:lnTo>
                  <a:lnTo>
                    <a:pt x="108" y="259"/>
                  </a:lnTo>
                  <a:lnTo>
                    <a:pt x="109" y="259"/>
                  </a:lnTo>
                  <a:lnTo>
                    <a:pt x="109" y="258"/>
                  </a:lnTo>
                  <a:lnTo>
                    <a:pt x="108" y="258"/>
                  </a:lnTo>
                  <a:lnTo>
                    <a:pt x="108" y="259"/>
                  </a:lnTo>
                  <a:lnTo>
                    <a:pt x="106" y="259"/>
                  </a:lnTo>
                  <a:lnTo>
                    <a:pt x="106" y="258"/>
                  </a:lnTo>
                  <a:lnTo>
                    <a:pt x="108" y="256"/>
                  </a:lnTo>
                  <a:lnTo>
                    <a:pt x="109" y="256"/>
                  </a:lnTo>
                  <a:lnTo>
                    <a:pt x="108" y="255"/>
                  </a:lnTo>
                  <a:lnTo>
                    <a:pt x="106" y="255"/>
                  </a:lnTo>
                  <a:lnTo>
                    <a:pt x="106" y="254"/>
                  </a:lnTo>
                  <a:lnTo>
                    <a:pt x="108" y="254"/>
                  </a:lnTo>
                  <a:lnTo>
                    <a:pt x="109" y="254"/>
                  </a:lnTo>
                  <a:lnTo>
                    <a:pt x="108" y="254"/>
                  </a:lnTo>
                  <a:lnTo>
                    <a:pt x="108" y="253"/>
                  </a:lnTo>
                  <a:lnTo>
                    <a:pt x="106" y="253"/>
                  </a:lnTo>
                  <a:lnTo>
                    <a:pt x="108" y="252"/>
                  </a:lnTo>
                  <a:lnTo>
                    <a:pt x="108" y="251"/>
                  </a:lnTo>
                  <a:lnTo>
                    <a:pt x="106" y="251"/>
                  </a:lnTo>
                  <a:lnTo>
                    <a:pt x="106" y="249"/>
                  </a:lnTo>
                  <a:lnTo>
                    <a:pt x="108" y="249"/>
                  </a:lnTo>
                  <a:lnTo>
                    <a:pt x="106" y="249"/>
                  </a:lnTo>
                  <a:lnTo>
                    <a:pt x="106" y="248"/>
                  </a:lnTo>
                  <a:lnTo>
                    <a:pt x="106" y="247"/>
                  </a:lnTo>
                  <a:lnTo>
                    <a:pt x="106" y="246"/>
                  </a:lnTo>
                  <a:lnTo>
                    <a:pt x="105" y="246"/>
                  </a:lnTo>
                  <a:lnTo>
                    <a:pt x="105" y="245"/>
                  </a:lnTo>
                  <a:lnTo>
                    <a:pt x="105" y="244"/>
                  </a:lnTo>
                  <a:lnTo>
                    <a:pt x="105" y="242"/>
                  </a:lnTo>
                  <a:lnTo>
                    <a:pt x="104" y="242"/>
                  </a:lnTo>
                  <a:lnTo>
                    <a:pt x="104" y="241"/>
                  </a:lnTo>
                  <a:lnTo>
                    <a:pt x="103" y="240"/>
                  </a:lnTo>
                  <a:lnTo>
                    <a:pt x="104" y="240"/>
                  </a:lnTo>
                  <a:lnTo>
                    <a:pt x="104" y="239"/>
                  </a:lnTo>
                  <a:lnTo>
                    <a:pt x="103" y="239"/>
                  </a:lnTo>
                  <a:lnTo>
                    <a:pt x="103" y="240"/>
                  </a:lnTo>
                  <a:lnTo>
                    <a:pt x="103" y="239"/>
                  </a:lnTo>
                  <a:lnTo>
                    <a:pt x="103" y="238"/>
                  </a:lnTo>
                  <a:lnTo>
                    <a:pt x="102" y="238"/>
                  </a:lnTo>
                  <a:lnTo>
                    <a:pt x="102" y="237"/>
                  </a:lnTo>
                  <a:lnTo>
                    <a:pt x="101" y="235"/>
                  </a:lnTo>
                  <a:lnTo>
                    <a:pt x="101" y="234"/>
                  </a:lnTo>
                  <a:lnTo>
                    <a:pt x="99" y="234"/>
                  </a:lnTo>
                  <a:lnTo>
                    <a:pt x="99" y="233"/>
                  </a:lnTo>
                  <a:lnTo>
                    <a:pt x="99" y="232"/>
                  </a:lnTo>
                  <a:lnTo>
                    <a:pt x="99" y="231"/>
                  </a:lnTo>
                  <a:lnTo>
                    <a:pt x="99" y="230"/>
                  </a:lnTo>
                  <a:lnTo>
                    <a:pt x="98" y="230"/>
                  </a:lnTo>
                  <a:lnTo>
                    <a:pt x="98" y="231"/>
                  </a:lnTo>
                  <a:lnTo>
                    <a:pt x="99" y="232"/>
                  </a:lnTo>
                  <a:lnTo>
                    <a:pt x="99" y="233"/>
                  </a:lnTo>
                  <a:lnTo>
                    <a:pt x="99" y="234"/>
                  </a:lnTo>
                  <a:lnTo>
                    <a:pt x="99" y="235"/>
                  </a:lnTo>
                  <a:lnTo>
                    <a:pt x="99" y="237"/>
                  </a:lnTo>
                  <a:lnTo>
                    <a:pt x="99" y="238"/>
                  </a:lnTo>
                  <a:lnTo>
                    <a:pt x="98" y="237"/>
                  </a:lnTo>
                  <a:lnTo>
                    <a:pt x="98" y="238"/>
                  </a:lnTo>
                  <a:lnTo>
                    <a:pt x="98" y="237"/>
                  </a:lnTo>
                  <a:lnTo>
                    <a:pt x="98" y="235"/>
                  </a:lnTo>
                  <a:lnTo>
                    <a:pt x="99" y="235"/>
                  </a:lnTo>
                  <a:lnTo>
                    <a:pt x="98" y="235"/>
                  </a:lnTo>
                  <a:lnTo>
                    <a:pt x="98" y="234"/>
                  </a:lnTo>
                  <a:lnTo>
                    <a:pt x="97" y="234"/>
                  </a:lnTo>
                  <a:lnTo>
                    <a:pt x="97" y="233"/>
                  </a:lnTo>
                  <a:lnTo>
                    <a:pt x="98" y="233"/>
                  </a:lnTo>
                  <a:lnTo>
                    <a:pt x="97" y="232"/>
                  </a:lnTo>
                  <a:lnTo>
                    <a:pt x="98" y="232"/>
                  </a:lnTo>
                  <a:lnTo>
                    <a:pt x="97" y="232"/>
                  </a:lnTo>
                  <a:lnTo>
                    <a:pt x="97" y="231"/>
                  </a:lnTo>
                  <a:lnTo>
                    <a:pt x="97" y="230"/>
                  </a:lnTo>
                  <a:lnTo>
                    <a:pt x="97" y="228"/>
                  </a:lnTo>
                  <a:lnTo>
                    <a:pt x="97" y="227"/>
                  </a:lnTo>
                  <a:lnTo>
                    <a:pt x="96" y="226"/>
                  </a:lnTo>
                  <a:lnTo>
                    <a:pt x="96" y="225"/>
                  </a:lnTo>
                  <a:lnTo>
                    <a:pt x="95" y="225"/>
                  </a:lnTo>
                  <a:lnTo>
                    <a:pt x="95" y="224"/>
                  </a:lnTo>
                  <a:lnTo>
                    <a:pt x="95" y="223"/>
                  </a:lnTo>
                  <a:lnTo>
                    <a:pt x="94" y="221"/>
                  </a:lnTo>
                  <a:lnTo>
                    <a:pt x="94" y="220"/>
                  </a:lnTo>
                  <a:lnTo>
                    <a:pt x="94" y="219"/>
                  </a:lnTo>
                  <a:lnTo>
                    <a:pt x="95" y="219"/>
                  </a:lnTo>
                  <a:lnTo>
                    <a:pt x="95" y="220"/>
                  </a:lnTo>
                  <a:lnTo>
                    <a:pt x="95" y="219"/>
                  </a:lnTo>
                  <a:lnTo>
                    <a:pt x="95" y="218"/>
                  </a:lnTo>
                  <a:lnTo>
                    <a:pt x="94" y="218"/>
                  </a:lnTo>
                  <a:lnTo>
                    <a:pt x="94" y="219"/>
                  </a:lnTo>
                  <a:lnTo>
                    <a:pt x="92" y="219"/>
                  </a:lnTo>
                  <a:lnTo>
                    <a:pt x="92" y="218"/>
                  </a:lnTo>
                  <a:lnTo>
                    <a:pt x="92" y="217"/>
                  </a:lnTo>
                  <a:lnTo>
                    <a:pt x="91" y="216"/>
                  </a:lnTo>
                  <a:lnTo>
                    <a:pt x="91" y="214"/>
                  </a:lnTo>
                  <a:lnTo>
                    <a:pt x="91" y="213"/>
                  </a:lnTo>
                  <a:lnTo>
                    <a:pt x="91" y="211"/>
                  </a:lnTo>
                  <a:lnTo>
                    <a:pt x="90" y="210"/>
                  </a:lnTo>
                  <a:lnTo>
                    <a:pt x="90" y="209"/>
                  </a:lnTo>
                  <a:lnTo>
                    <a:pt x="90" y="207"/>
                  </a:lnTo>
                  <a:lnTo>
                    <a:pt x="90" y="209"/>
                  </a:lnTo>
                  <a:lnTo>
                    <a:pt x="91" y="207"/>
                  </a:lnTo>
                  <a:lnTo>
                    <a:pt x="90" y="207"/>
                  </a:lnTo>
                  <a:lnTo>
                    <a:pt x="90" y="206"/>
                  </a:lnTo>
                  <a:lnTo>
                    <a:pt x="90" y="205"/>
                  </a:lnTo>
                  <a:lnTo>
                    <a:pt x="90" y="204"/>
                  </a:lnTo>
                  <a:lnTo>
                    <a:pt x="89" y="204"/>
                  </a:lnTo>
                  <a:lnTo>
                    <a:pt x="90" y="204"/>
                  </a:lnTo>
                  <a:lnTo>
                    <a:pt x="89" y="204"/>
                  </a:lnTo>
                  <a:lnTo>
                    <a:pt x="89" y="203"/>
                  </a:lnTo>
                  <a:lnTo>
                    <a:pt x="89" y="202"/>
                  </a:lnTo>
                  <a:lnTo>
                    <a:pt x="89" y="200"/>
                  </a:lnTo>
                  <a:lnTo>
                    <a:pt x="88" y="199"/>
                  </a:lnTo>
                  <a:lnTo>
                    <a:pt x="87" y="198"/>
                  </a:lnTo>
                  <a:lnTo>
                    <a:pt x="87" y="197"/>
                  </a:lnTo>
                  <a:lnTo>
                    <a:pt x="87" y="195"/>
                  </a:lnTo>
                  <a:lnTo>
                    <a:pt x="87" y="193"/>
                  </a:lnTo>
                  <a:lnTo>
                    <a:pt x="87" y="192"/>
                  </a:lnTo>
                  <a:lnTo>
                    <a:pt x="87" y="191"/>
                  </a:lnTo>
                  <a:lnTo>
                    <a:pt x="87" y="190"/>
                  </a:lnTo>
                  <a:lnTo>
                    <a:pt x="88" y="190"/>
                  </a:lnTo>
                  <a:lnTo>
                    <a:pt x="88" y="189"/>
                  </a:lnTo>
                  <a:lnTo>
                    <a:pt x="87" y="189"/>
                  </a:lnTo>
                  <a:lnTo>
                    <a:pt x="87" y="190"/>
                  </a:lnTo>
                  <a:lnTo>
                    <a:pt x="85" y="190"/>
                  </a:lnTo>
                  <a:lnTo>
                    <a:pt x="84" y="190"/>
                  </a:lnTo>
                  <a:lnTo>
                    <a:pt x="83" y="190"/>
                  </a:lnTo>
                  <a:lnTo>
                    <a:pt x="83" y="191"/>
                  </a:lnTo>
                  <a:lnTo>
                    <a:pt x="82" y="189"/>
                  </a:lnTo>
                  <a:lnTo>
                    <a:pt x="82" y="188"/>
                  </a:lnTo>
                  <a:lnTo>
                    <a:pt x="81" y="188"/>
                  </a:lnTo>
                  <a:lnTo>
                    <a:pt x="81" y="186"/>
                  </a:lnTo>
                  <a:lnTo>
                    <a:pt x="81" y="185"/>
                  </a:lnTo>
                  <a:lnTo>
                    <a:pt x="80" y="185"/>
                  </a:lnTo>
                  <a:lnTo>
                    <a:pt x="80" y="184"/>
                  </a:lnTo>
                  <a:lnTo>
                    <a:pt x="80" y="185"/>
                  </a:lnTo>
                  <a:lnTo>
                    <a:pt x="80" y="184"/>
                  </a:lnTo>
                  <a:lnTo>
                    <a:pt x="80" y="183"/>
                  </a:lnTo>
                  <a:lnTo>
                    <a:pt x="80" y="182"/>
                  </a:lnTo>
                  <a:lnTo>
                    <a:pt x="78" y="182"/>
                  </a:lnTo>
                  <a:lnTo>
                    <a:pt x="78" y="181"/>
                  </a:lnTo>
                  <a:lnTo>
                    <a:pt x="80" y="181"/>
                  </a:lnTo>
                  <a:lnTo>
                    <a:pt x="78" y="181"/>
                  </a:lnTo>
                  <a:lnTo>
                    <a:pt x="78" y="182"/>
                  </a:lnTo>
                  <a:lnTo>
                    <a:pt x="78" y="181"/>
                  </a:lnTo>
                  <a:lnTo>
                    <a:pt x="77" y="181"/>
                  </a:lnTo>
                  <a:lnTo>
                    <a:pt x="77" y="179"/>
                  </a:lnTo>
                  <a:lnTo>
                    <a:pt x="77" y="178"/>
                  </a:lnTo>
                  <a:lnTo>
                    <a:pt x="76" y="178"/>
                  </a:lnTo>
                  <a:lnTo>
                    <a:pt x="75" y="177"/>
                  </a:lnTo>
                  <a:lnTo>
                    <a:pt x="75" y="176"/>
                  </a:lnTo>
                  <a:lnTo>
                    <a:pt x="74" y="176"/>
                  </a:lnTo>
                  <a:lnTo>
                    <a:pt x="74" y="175"/>
                  </a:lnTo>
                  <a:lnTo>
                    <a:pt x="74" y="176"/>
                  </a:lnTo>
                  <a:lnTo>
                    <a:pt x="74" y="177"/>
                  </a:lnTo>
                  <a:lnTo>
                    <a:pt x="75" y="177"/>
                  </a:lnTo>
                  <a:lnTo>
                    <a:pt x="75" y="178"/>
                  </a:lnTo>
                  <a:lnTo>
                    <a:pt x="74" y="178"/>
                  </a:lnTo>
                  <a:lnTo>
                    <a:pt x="74" y="179"/>
                  </a:lnTo>
                  <a:lnTo>
                    <a:pt x="75" y="181"/>
                  </a:lnTo>
                  <a:lnTo>
                    <a:pt x="75" y="182"/>
                  </a:lnTo>
                  <a:lnTo>
                    <a:pt x="75" y="183"/>
                  </a:lnTo>
                  <a:lnTo>
                    <a:pt x="75" y="184"/>
                  </a:lnTo>
                  <a:lnTo>
                    <a:pt x="74" y="184"/>
                  </a:lnTo>
                  <a:lnTo>
                    <a:pt x="75" y="184"/>
                  </a:lnTo>
                  <a:lnTo>
                    <a:pt x="75" y="185"/>
                  </a:lnTo>
                  <a:lnTo>
                    <a:pt x="75" y="186"/>
                  </a:lnTo>
                  <a:lnTo>
                    <a:pt x="74" y="186"/>
                  </a:lnTo>
                  <a:lnTo>
                    <a:pt x="75" y="186"/>
                  </a:lnTo>
                  <a:lnTo>
                    <a:pt x="74" y="188"/>
                  </a:lnTo>
                  <a:lnTo>
                    <a:pt x="74" y="189"/>
                  </a:lnTo>
                  <a:lnTo>
                    <a:pt x="73" y="189"/>
                  </a:lnTo>
                  <a:lnTo>
                    <a:pt x="73" y="190"/>
                  </a:lnTo>
                  <a:lnTo>
                    <a:pt x="71" y="191"/>
                  </a:lnTo>
                  <a:lnTo>
                    <a:pt x="70" y="191"/>
                  </a:lnTo>
                  <a:lnTo>
                    <a:pt x="69" y="190"/>
                  </a:lnTo>
                  <a:lnTo>
                    <a:pt x="68" y="190"/>
                  </a:lnTo>
                  <a:lnTo>
                    <a:pt x="68" y="189"/>
                  </a:lnTo>
                  <a:lnTo>
                    <a:pt x="67" y="189"/>
                  </a:lnTo>
                  <a:lnTo>
                    <a:pt x="67" y="188"/>
                  </a:lnTo>
                  <a:lnTo>
                    <a:pt x="67" y="186"/>
                  </a:lnTo>
                  <a:lnTo>
                    <a:pt x="67" y="185"/>
                  </a:lnTo>
                  <a:lnTo>
                    <a:pt x="66" y="186"/>
                  </a:lnTo>
                  <a:lnTo>
                    <a:pt x="67" y="188"/>
                  </a:lnTo>
                  <a:lnTo>
                    <a:pt x="67" y="189"/>
                  </a:lnTo>
                  <a:lnTo>
                    <a:pt x="67" y="190"/>
                  </a:lnTo>
                  <a:lnTo>
                    <a:pt x="68" y="191"/>
                  </a:lnTo>
                  <a:lnTo>
                    <a:pt x="69" y="191"/>
                  </a:lnTo>
                  <a:lnTo>
                    <a:pt x="68" y="192"/>
                  </a:lnTo>
                  <a:lnTo>
                    <a:pt x="67" y="193"/>
                  </a:lnTo>
                  <a:lnTo>
                    <a:pt x="66" y="193"/>
                  </a:lnTo>
                  <a:lnTo>
                    <a:pt x="66" y="192"/>
                  </a:lnTo>
                  <a:lnTo>
                    <a:pt x="64" y="192"/>
                  </a:lnTo>
                  <a:lnTo>
                    <a:pt x="66" y="193"/>
                  </a:lnTo>
                  <a:lnTo>
                    <a:pt x="64" y="195"/>
                  </a:lnTo>
                  <a:lnTo>
                    <a:pt x="63" y="195"/>
                  </a:lnTo>
                  <a:lnTo>
                    <a:pt x="62" y="196"/>
                  </a:lnTo>
                  <a:lnTo>
                    <a:pt x="61" y="196"/>
                  </a:lnTo>
                  <a:lnTo>
                    <a:pt x="61" y="195"/>
                  </a:lnTo>
                  <a:lnTo>
                    <a:pt x="61" y="197"/>
                  </a:lnTo>
                  <a:lnTo>
                    <a:pt x="61" y="198"/>
                  </a:lnTo>
                  <a:lnTo>
                    <a:pt x="60" y="199"/>
                  </a:lnTo>
                  <a:lnTo>
                    <a:pt x="59" y="202"/>
                  </a:lnTo>
                  <a:lnTo>
                    <a:pt x="57" y="203"/>
                  </a:lnTo>
                  <a:lnTo>
                    <a:pt x="56" y="203"/>
                  </a:lnTo>
                  <a:lnTo>
                    <a:pt x="55" y="203"/>
                  </a:lnTo>
                  <a:lnTo>
                    <a:pt x="55" y="200"/>
                  </a:lnTo>
                  <a:lnTo>
                    <a:pt x="56" y="199"/>
                  </a:lnTo>
                  <a:lnTo>
                    <a:pt x="56" y="198"/>
                  </a:lnTo>
                  <a:lnTo>
                    <a:pt x="55" y="197"/>
                  </a:lnTo>
                  <a:lnTo>
                    <a:pt x="55" y="196"/>
                  </a:lnTo>
                  <a:lnTo>
                    <a:pt x="55" y="197"/>
                  </a:lnTo>
                  <a:lnTo>
                    <a:pt x="55" y="198"/>
                  </a:lnTo>
                  <a:lnTo>
                    <a:pt x="56" y="198"/>
                  </a:lnTo>
                  <a:lnTo>
                    <a:pt x="55" y="199"/>
                  </a:lnTo>
                  <a:lnTo>
                    <a:pt x="55" y="200"/>
                  </a:lnTo>
                  <a:lnTo>
                    <a:pt x="54" y="200"/>
                  </a:lnTo>
                  <a:lnTo>
                    <a:pt x="54" y="199"/>
                  </a:lnTo>
                  <a:lnTo>
                    <a:pt x="55" y="199"/>
                  </a:lnTo>
                  <a:lnTo>
                    <a:pt x="55" y="198"/>
                  </a:lnTo>
                  <a:lnTo>
                    <a:pt x="54" y="199"/>
                  </a:lnTo>
                  <a:lnTo>
                    <a:pt x="54" y="200"/>
                  </a:lnTo>
                  <a:lnTo>
                    <a:pt x="54" y="202"/>
                  </a:lnTo>
                  <a:lnTo>
                    <a:pt x="53" y="202"/>
                  </a:lnTo>
                  <a:lnTo>
                    <a:pt x="53" y="200"/>
                  </a:lnTo>
                  <a:lnTo>
                    <a:pt x="53" y="198"/>
                  </a:lnTo>
                  <a:lnTo>
                    <a:pt x="53" y="197"/>
                  </a:lnTo>
                  <a:lnTo>
                    <a:pt x="54" y="197"/>
                  </a:lnTo>
                  <a:lnTo>
                    <a:pt x="53" y="196"/>
                  </a:lnTo>
                  <a:lnTo>
                    <a:pt x="52" y="197"/>
                  </a:lnTo>
                  <a:lnTo>
                    <a:pt x="52" y="198"/>
                  </a:lnTo>
                  <a:lnTo>
                    <a:pt x="52" y="199"/>
                  </a:lnTo>
                  <a:lnTo>
                    <a:pt x="52" y="200"/>
                  </a:lnTo>
                  <a:lnTo>
                    <a:pt x="52" y="202"/>
                  </a:lnTo>
                  <a:lnTo>
                    <a:pt x="51" y="202"/>
                  </a:lnTo>
                  <a:lnTo>
                    <a:pt x="49" y="202"/>
                  </a:lnTo>
                  <a:lnTo>
                    <a:pt x="49" y="200"/>
                  </a:lnTo>
                  <a:lnTo>
                    <a:pt x="49" y="199"/>
                  </a:lnTo>
                  <a:lnTo>
                    <a:pt x="49" y="198"/>
                  </a:lnTo>
                  <a:lnTo>
                    <a:pt x="49" y="197"/>
                  </a:lnTo>
                  <a:lnTo>
                    <a:pt x="49" y="196"/>
                  </a:lnTo>
                  <a:lnTo>
                    <a:pt x="51" y="196"/>
                  </a:lnTo>
                  <a:lnTo>
                    <a:pt x="51" y="195"/>
                  </a:lnTo>
                  <a:lnTo>
                    <a:pt x="49" y="195"/>
                  </a:lnTo>
                  <a:lnTo>
                    <a:pt x="49" y="196"/>
                  </a:lnTo>
                  <a:lnTo>
                    <a:pt x="48" y="196"/>
                  </a:lnTo>
                  <a:lnTo>
                    <a:pt x="48" y="197"/>
                  </a:lnTo>
                  <a:lnTo>
                    <a:pt x="49" y="197"/>
                  </a:lnTo>
                  <a:lnTo>
                    <a:pt x="49" y="198"/>
                  </a:lnTo>
                  <a:lnTo>
                    <a:pt x="48" y="199"/>
                  </a:lnTo>
                  <a:lnTo>
                    <a:pt x="48" y="200"/>
                  </a:lnTo>
                  <a:lnTo>
                    <a:pt x="47" y="200"/>
                  </a:lnTo>
                  <a:lnTo>
                    <a:pt x="46" y="200"/>
                  </a:lnTo>
                  <a:lnTo>
                    <a:pt x="46" y="199"/>
                  </a:lnTo>
                  <a:lnTo>
                    <a:pt x="47" y="199"/>
                  </a:lnTo>
                  <a:lnTo>
                    <a:pt x="47" y="198"/>
                  </a:lnTo>
                  <a:lnTo>
                    <a:pt x="47" y="197"/>
                  </a:lnTo>
                  <a:lnTo>
                    <a:pt x="48" y="197"/>
                  </a:lnTo>
                  <a:lnTo>
                    <a:pt x="48" y="196"/>
                  </a:lnTo>
                  <a:lnTo>
                    <a:pt x="47" y="196"/>
                  </a:lnTo>
                  <a:lnTo>
                    <a:pt x="47" y="197"/>
                  </a:lnTo>
                  <a:lnTo>
                    <a:pt x="47" y="198"/>
                  </a:lnTo>
                  <a:lnTo>
                    <a:pt x="46" y="199"/>
                  </a:lnTo>
                  <a:lnTo>
                    <a:pt x="45" y="199"/>
                  </a:lnTo>
                  <a:lnTo>
                    <a:pt x="46" y="198"/>
                  </a:lnTo>
                  <a:lnTo>
                    <a:pt x="46" y="197"/>
                  </a:lnTo>
                  <a:lnTo>
                    <a:pt x="46" y="196"/>
                  </a:lnTo>
                  <a:lnTo>
                    <a:pt x="46" y="195"/>
                  </a:lnTo>
                  <a:lnTo>
                    <a:pt x="46" y="193"/>
                  </a:lnTo>
                  <a:lnTo>
                    <a:pt x="46" y="192"/>
                  </a:lnTo>
                  <a:lnTo>
                    <a:pt x="47" y="192"/>
                  </a:lnTo>
                  <a:lnTo>
                    <a:pt x="46" y="191"/>
                  </a:lnTo>
                  <a:lnTo>
                    <a:pt x="46" y="190"/>
                  </a:lnTo>
                  <a:lnTo>
                    <a:pt x="46" y="192"/>
                  </a:lnTo>
                  <a:lnTo>
                    <a:pt x="46" y="193"/>
                  </a:lnTo>
                  <a:lnTo>
                    <a:pt x="46" y="195"/>
                  </a:lnTo>
                  <a:lnTo>
                    <a:pt x="45" y="195"/>
                  </a:lnTo>
                  <a:lnTo>
                    <a:pt x="45" y="193"/>
                  </a:lnTo>
                  <a:lnTo>
                    <a:pt x="46" y="193"/>
                  </a:lnTo>
                  <a:lnTo>
                    <a:pt x="45" y="193"/>
                  </a:lnTo>
                  <a:lnTo>
                    <a:pt x="45" y="195"/>
                  </a:lnTo>
                  <a:lnTo>
                    <a:pt x="45" y="193"/>
                  </a:lnTo>
                  <a:lnTo>
                    <a:pt x="44" y="193"/>
                  </a:lnTo>
                  <a:lnTo>
                    <a:pt x="44" y="195"/>
                  </a:lnTo>
                  <a:lnTo>
                    <a:pt x="44" y="196"/>
                  </a:lnTo>
                  <a:lnTo>
                    <a:pt x="44" y="197"/>
                  </a:lnTo>
                  <a:lnTo>
                    <a:pt x="42" y="197"/>
                  </a:lnTo>
                  <a:lnTo>
                    <a:pt x="42" y="198"/>
                  </a:lnTo>
                  <a:lnTo>
                    <a:pt x="41" y="198"/>
                  </a:lnTo>
                  <a:lnTo>
                    <a:pt x="41" y="199"/>
                  </a:lnTo>
                  <a:lnTo>
                    <a:pt x="40" y="199"/>
                  </a:lnTo>
                  <a:lnTo>
                    <a:pt x="40" y="198"/>
                  </a:lnTo>
                  <a:lnTo>
                    <a:pt x="40" y="196"/>
                  </a:lnTo>
                  <a:lnTo>
                    <a:pt x="40" y="195"/>
                  </a:lnTo>
                  <a:lnTo>
                    <a:pt x="40" y="193"/>
                  </a:lnTo>
                  <a:lnTo>
                    <a:pt x="40" y="192"/>
                  </a:lnTo>
                  <a:lnTo>
                    <a:pt x="40" y="191"/>
                  </a:lnTo>
                  <a:lnTo>
                    <a:pt x="40" y="190"/>
                  </a:lnTo>
                  <a:lnTo>
                    <a:pt x="41" y="190"/>
                  </a:lnTo>
                  <a:lnTo>
                    <a:pt x="41" y="189"/>
                  </a:lnTo>
                  <a:lnTo>
                    <a:pt x="40" y="189"/>
                  </a:lnTo>
                  <a:lnTo>
                    <a:pt x="41" y="189"/>
                  </a:lnTo>
                  <a:lnTo>
                    <a:pt x="41" y="188"/>
                  </a:lnTo>
                  <a:lnTo>
                    <a:pt x="41" y="186"/>
                  </a:lnTo>
                  <a:lnTo>
                    <a:pt x="41" y="185"/>
                  </a:lnTo>
                  <a:lnTo>
                    <a:pt x="41" y="184"/>
                  </a:lnTo>
                  <a:lnTo>
                    <a:pt x="42" y="183"/>
                  </a:lnTo>
                  <a:lnTo>
                    <a:pt x="41" y="183"/>
                  </a:lnTo>
                  <a:lnTo>
                    <a:pt x="41" y="182"/>
                  </a:lnTo>
                  <a:lnTo>
                    <a:pt x="41" y="181"/>
                  </a:lnTo>
                  <a:lnTo>
                    <a:pt x="42" y="181"/>
                  </a:lnTo>
                  <a:lnTo>
                    <a:pt x="41" y="181"/>
                  </a:lnTo>
                  <a:lnTo>
                    <a:pt x="41" y="179"/>
                  </a:lnTo>
                  <a:lnTo>
                    <a:pt x="42" y="179"/>
                  </a:lnTo>
                  <a:lnTo>
                    <a:pt x="42" y="178"/>
                  </a:lnTo>
                  <a:lnTo>
                    <a:pt x="42" y="177"/>
                  </a:lnTo>
                  <a:lnTo>
                    <a:pt x="42" y="178"/>
                  </a:lnTo>
                  <a:lnTo>
                    <a:pt x="42" y="177"/>
                  </a:lnTo>
                  <a:lnTo>
                    <a:pt x="42" y="175"/>
                  </a:lnTo>
                  <a:lnTo>
                    <a:pt x="42" y="174"/>
                  </a:lnTo>
                  <a:lnTo>
                    <a:pt x="42" y="172"/>
                  </a:lnTo>
                  <a:lnTo>
                    <a:pt x="41" y="172"/>
                  </a:lnTo>
                  <a:lnTo>
                    <a:pt x="41" y="171"/>
                  </a:lnTo>
                  <a:lnTo>
                    <a:pt x="40" y="170"/>
                  </a:lnTo>
                  <a:lnTo>
                    <a:pt x="40" y="169"/>
                  </a:lnTo>
                  <a:lnTo>
                    <a:pt x="40" y="168"/>
                  </a:lnTo>
                  <a:lnTo>
                    <a:pt x="40" y="167"/>
                  </a:lnTo>
                  <a:lnTo>
                    <a:pt x="39" y="167"/>
                  </a:lnTo>
                  <a:lnTo>
                    <a:pt x="40" y="167"/>
                  </a:lnTo>
                  <a:lnTo>
                    <a:pt x="40" y="165"/>
                  </a:lnTo>
                  <a:lnTo>
                    <a:pt x="39" y="164"/>
                  </a:lnTo>
                  <a:lnTo>
                    <a:pt x="39" y="163"/>
                  </a:lnTo>
                  <a:lnTo>
                    <a:pt x="38" y="163"/>
                  </a:lnTo>
                  <a:lnTo>
                    <a:pt x="38" y="162"/>
                  </a:lnTo>
                  <a:lnTo>
                    <a:pt x="39" y="162"/>
                  </a:lnTo>
                  <a:lnTo>
                    <a:pt x="38" y="162"/>
                  </a:lnTo>
                  <a:lnTo>
                    <a:pt x="38" y="161"/>
                  </a:lnTo>
                  <a:lnTo>
                    <a:pt x="37" y="161"/>
                  </a:lnTo>
                  <a:lnTo>
                    <a:pt x="37" y="160"/>
                  </a:lnTo>
                  <a:lnTo>
                    <a:pt x="35" y="158"/>
                  </a:lnTo>
                  <a:lnTo>
                    <a:pt x="35" y="157"/>
                  </a:lnTo>
                  <a:lnTo>
                    <a:pt x="35" y="156"/>
                  </a:lnTo>
                  <a:lnTo>
                    <a:pt x="34" y="155"/>
                  </a:lnTo>
                  <a:lnTo>
                    <a:pt x="35" y="155"/>
                  </a:lnTo>
                  <a:lnTo>
                    <a:pt x="34" y="155"/>
                  </a:lnTo>
                  <a:lnTo>
                    <a:pt x="34" y="154"/>
                  </a:lnTo>
                  <a:lnTo>
                    <a:pt x="33" y="154"/>
                  </a:lnTo>
                  <a:lnTo>
                    <a:pt x="33" y="153"/>
                  </a:lnTo>
                  <a:lnTo>
                    <a:pt x="33" y="154"/>
                  </a:lnTo>
                  <a:lnTo>
                    <a:pt x="32" y="154"/>
                  </a:lnTo>
                  <a:lnTo>
                    <a:pt x="32" y="153"/>
                  </a:lnTo>
                  <a:lnTo>
                    <a:pt x="32" y="151"/>
                  </a:lnTo>
                  <a:lnTo>
                    <a:pt x="32" y="150"/>
                  </a:lnTo>
                  <a:lnTo>
                    <a:pt x="32" y="149"/>
                  </a:lnTo>
                  <a:lnTo>
                    <a:pt x="31" y="149"/>
                  </a:lnTo>
                  <a:lnTo>
                    <a:pt x="32" y="149"/>
                  </a:lnTo>
                  <a:lnTo>
                    <a:pt x="31" y="148"/>
                  </a:lnTo>
                  <a:lnTo>
                    <a:pt x="32" y="148"/>
                  </a:lnTo>
                  <a:lnTo>
                    <a:pt x="31" y="146"/>
                  </a:lnTo>
                  <a:lnTo>
                    <a:pt x="31" y="144"/>
                  </a:lnTo>
                  <a:lnTo>
                    <a:pt x="31" y="146"/>
                  </a:lnTo>
                  <a:lnTo>
                    <a:pt x="31" y="147"/>
                  </a:lnTo>
                  <a:lnTo>
                    <a:pt x="31" y="148"/>
                  </a:lnTo>
                  <a:lnTo>
                    <a:pt x="31" y="149"/>
                  </a:lnTo>
                  <a:lnTo>
                    <a:pt x="30" y="148"/>
                  </a:lnTo>
                  <a:lnTo>
                    <a:pt x="30" y="149"/>
                  </a:lnTo>
                  <a:lnTo>
                    <a:pt x="31" y="149"/>
                  </a:lnTo>
                  <a:lnTo>
                    <a:pt x="31" y="150"/>
                  </a:lnTo>
                  <a:lnTo>
                    <a:pt x="31" y="151"/>
                  </a:lnTo>
                  <a:lnTo>
                    <a:pt x="31" y="153"/>
                  </a:lnTo>
                  <a:lnTo>
                    <a:pt x="30" y="153"/>
                  </a:lnTo>
                  <a:lnTo>
                    <a:pt x="28" y="151"/>
                  </a:lnTo>
                  <a:lnTo>
                    <a:pt x="27" y="151"/>
                  </a:lnTo>
                  <a:lnTo>
                    <a:pt x="27" y="150"/>
                  </a:lnTo>
                  <a:lnTo>
                    <a:pt x="26" y="150"/>
                  </a:lnTo>
                  <a:lnTo>
                    <a:pt x="26" y="149"/>
                  </a:lnTo>
                  <a:lnTo>
                    <a:pt x="25" y="148"/>
                  </a:lnTo>
                  <a:lnTo>
                    <a:pt x="25" y="147"/>
                  </a:lnTo>
                  <a:lnTo>
                    <a:pt x="24" y="146"/>
                  </a:lnTo>
                  <a:lnTo>
                    <a:pt x="23" y="144"/>
                  </a:lnTo>
                  <a:lnTo>
                    <a:pt x="24" y="144"/>
                  </a:lnTo>
                  <a:lnTo>
                    <a:pt x="25" y="144"/>
                  </a:lnTo>
                  <a:lnTo>
                    <a:pt x="25" y="146"/>
                  </a:lnTo>
                  <a:lnTo>
                    <a:pt x="26" y="146"/>
                  </a:lnTo>
                  <a:lnTo>
                    <a:pt x="26" y="147"/>
                  </a:lnTo>
                  <a:lnTo>
                    <a:pt x="27" y="147"/>
                  </a:lnTo>
                  <a:lnTo>
                    <a:pt x="28" y="147"/>
                  </a:lnTo>
                  <a:lnTo>
                    <a:pt x="30" y="146"/>
                  </a:lnTo>
                  <a:lnTo>
                    <a:pt x="30" y="144"/>
                  </a:lnTo>
                  <a:lnTo>
                    <a:pt x="30" y="143"/>
                  </a:lnTo>
                  <a:lnTo>
                    <a:pt x="28" y="143"/>
                  </a:lnTo>
                  <a:lnTo>
                    <a:pt x="30" y="143"/>
                  </a:lnTo>
                  <a:lnTo>
                    <a:pt x="28" y="143"/>
                  </a:lnTo>
                  <a:lnTo>
                    <a:pt x="28" y="142"/>
                  </a:lnTo>
                  <a:lnTo>
                    <a:pt x="27" y="142"/>
                  </a:lnTo>
                  <a:lnTo>
                    <a:pt x="27" y="141"/>
                  </a:lnTo>
                  <a:lnTo>
                    <a:pt x="26" y="141"/>
                  </a:lnTo>
                  <a:lnTo>
                    <a:pt x="27" y="141"/>
                  </a:lnTo>
                  <a:lnTo>
                    <a:pt x="27" y="140"/>
                  </a:lnTo>
                  <a:lnTo>
                    <a:pt x="27" y="139"/>
                  </a:lnTo>
                  <a:lnTo>
                    <a:pt x="27" y="140"/>
                  </a:lnTo>
                  <a:lnTo>
                    <a:pt x="26" y="140"/>
                  </a:lnTo>
                  <a:lnTo>
                    <a:pt x="25" y="140"/>
                  </a:lnTo>
                  <a:lnTo>
                    <a:pt x="26" y="139"/>
                  </a:lnTo>
                  <a:lnTo>
                    <a:pt x="25" y="139"/>
                  </a:lnTo>
                  <a:lnTo>
                    <a:pt x="25" y="140"/>
                  </a:lnTo>
                  <a:lnTo>
                    <a:pt x="25" y="139"/>
                  </a:lnTo>
                  <a:lnTo>
                    <a:pt x="24" y="140"/>
                  </a:lnTo>
                  <a:lnTo>
                    <a:pt x="24" y="139"/>
                  </a:lnTo>
                  <a:lnTo>
                    <a:pt x="25" y="137"/>
                  </a:lnTo>
                  <a:lnTo>
                    <a:pt x="25" y="136"/>
                  </a:lnTo>
                  <a:lnTo>
                    <a:pt x="26" y="136"/>
                  </a:lnTo>
                  <a:lnTo>
                    <a:pt x="25" y="136"/>
                  </a:lnTo>
                  <a:lnTo>
                    <a:pt x="24" y="136"/>
                  </a:lnTo>
                  <a:lnTo>
                    <a:pt x="24" y="137"/>
                  </a:lnTo>
                  <a:lnTo>
                    <a:pt x="23" y="137"/>
                  </a:lnTo>
                  <a:lnTo>
                    <a:pt x="23" y="136"/>
                  </a:lnTo>
                  <a:lnTo>
                    <a:pt x="23" y="135"/>
                  </a:lnTo>
                  <a:lnTo>
                    <a:pt x="21" y="135"/>
                  </a:lnTo>
                  <a:lnTo>
                    <a:pt x="21" y="136"/>
                  </a:lnTo>
                  <a:lnTo>
                    <a:pt x="21" y="135"/>
                  </a:lnTo>
                  <a:lnTo>
                    <a:pt x="20" y="135"/>
                  </a:lnTo>
                  <a:lnTo>
                    <a:pt x="20" y="134"/>
                  </a:lnTo>
                  <a:lnTo>
                    <a:pt x="20" y="135"/>
                  </a:lnTo>
                  <a:lnTo>
                    <a:pt x="20" y="134"/>
                  </a:lnTo>
                  <a:lnTo>
                    <a:pt x="19" y="134"/>
                  </a:lnTo>
                  <a:lnTo>
                    <a:pt x="18" y="134"/>
                  </a:lnTo>
                  <a:lnTo>
                    <a:pt x="17" y="134"/>
                  </a:lnTo>
                  <a:lnTo>
                    <a:pt x="17" y="135"/>
                  </a:lnTo>
                  <a:lnTo>
                    <a:pt x="18" y="136"/>
                  </a:lnTo>
                  <a:lnTo>
                    <a:pt x="19" y="137"/>
                  </a:lnTo>
                  <a:lnTo>
                    <a:pt x="18" y="137"/>
                  </a:lnTo>
                  <a:lnTo>
                    <a:pt x="18" y="136"/>
                  </a:lnTo>
                  <a:lnTo>
                    <a:pt x="18" y="135"/>
                  </a:lnTo>
                  <a:lnTo>
                    <a:pt x="17" y="135"/>
                  </a:lnTo>
                  <a:lnTo>
                    <a:pt x="17" y="136"/>
                  </a:lnTo>
                  <a:lnTo>
                    <a:pt x="17" y="137"/>
                  </a:lnTo>
                  <a:lnTo>
                    <a:pt x="18" y="137"/>
                  </a:lnTo>
                  <a:lnTo>
                    <a:pt x="18" y="139"/>
                  </a:lnTo>
                  <a:lnTo>
                    <a:pt x="18" y="137"/>
                  </a:lnTo>
                  <a:lnTo>
                    <a:pt x="17" y="137"/>
                  </a:lnTo>
                  <a:lnTo>
                    <a:pt x="16" y="136"/>
                  </a:lnTo>
                  <a:lnTo>
                    <a:pt x="16" y="135"/>
                  </a:lnTo>
                  <a:lnTo>
                    <a:pt x="16" y="134"/>
                  </a:lnTo>
                  <a:lnTo>
                    <a:pt x="14" y="134"/>
                  </a:lnTo>
                  <a:lnTo>
                    <a:pt x="14" y="133"/>
                  </a:lnTo>
                  <a:lnTo>
                    <a:pt x="16" y="133"/>
                  </a:lnTo>
                  <a:lnTo>
                    <a:pt x="17" y="132"/>
                  </a:lnTo>
                  <a:lnTo>
                    <a:pt x="16" y="132"/>
                  </a:lnTo>
                  <a:lnTo>
                    <a:pt x="16" y="133"/>
                  </a:lnTo>
                  <a:lnTo>
                    <a:pt x="14" y="133"/>
                  </a:lnTo>
                  <a:lnTo>
                    <a:pt x="14" y="132"/>
                  </a:lnTo>
                  <a:lnTo>
                    <a:pt x="14" y="129"/>
                  </a:lnTo>
                  <a:lnTo>
                    <a:pt x="16" y="129"/>
                  </a:lnTo>
                  <a:lnTo>
                    <a:pt x="16" y="128"/>
                  </a:lnTo>
                  <a:lnTo>
                    <a:pt x="16" y="129"/>
                  </a:lnTo>
                  <a:lnTo>
                    <a:pt x="14" y="129"/>
                  </a:lnTo>
                  <a:lnTo>
                    <a:pt x="14" y="128"/>
                  </a:lnTo>
                  <a:lnTo>
                    <a:pt x="14" y="127"/>
                  </a:lnTo>
                  <a:lnTo>
                    <a:pt x="16" y="127"/>
                  </a:lnTo>
                  <a:lnTo>
                    <a:pt x="14" y="126"/>
                  </a:lnTo>
                  <a:lnTo>
                    <a:pt x="14" y="127"/>
                  </a:lnTo>
                  <a:lnTo>
                    <a:pt x="14" y="128"/>
                  </a:lnTo>
                  <a:lnTo>
                    <a:pt x="14" y="129"/>
                  </a:lnTo>
                  <a:lnTo>
                    <a:pt x="14" y="130"/>
                  </a:lnTo>
                  <a:lnTo>
                    <a:pt x="13" y="132"/>
                  </a:lnTo>
                  <a:lnTo>
                    <a:pt x="13" y="133"/>
                  </a:lnTo>
                  <a:lnTo>
                    <a:pt x="12" y="133"/>
                  </a:lnTo>
                  <a:lnTo>
                    <a:pt x="12" y="132"/>
                  </a:lnTo>
                  <a:lnTo>
                    <a:pt x="11" y="132"/>
                  </a:lnTo>
                  <a:lnTo>
                    <a:pt x="12" y="132"/>
                  </a:lnTo>
                  <a:lnTo>
                    <a:pt x="12" y="130"/>
                  </a:lnTo>
                  <a:lnTo>
                    <a:pt x="13" y="130"/>
                  </a:lnTo>
                  <a:lnTo>
                    <a:pt x="13" y="129"/>
                  </a:lnTo>
                  <a:lnTo>
                    <a:pt x="12" y="129"/>
                  </a:lnTo>
                  <a:lnTo>
                    <a:pt x="12" y="127"/>
                  </a:lnTo>
                  <a:lnTo>
                    <a:pt x="11" y="127"/>
                  </a:lnTo>
                  <a:lnTo>
                    <a:pt x="11" y="128"/>
                  </a:lnTo>
                  <a:lnTo>
                    <a:pt x="11" y="127"/>
                  </a:lnTo>
                  <a:lnTo>
                    <a:pt x="10" y="126"/>
                  </a:lnTo>
                  <a:lnTo>
                    <a:pt x="9" y="125"/>
                  </a:lnTo>
                  <a:lnTo>
                    <a:pt x="10" y="126"/>
                  </a:lnTo>
                  <a:lnTo>
                    <a:pt x="10" y="127"/>
                  </a:lnTo>
                  <a:lnTo>
                    <a:pt x="11" y="128"/>
                  </a:lnTo>
                  <a:lnTo>
                    <a:pt x="11" y="129"/>
                  </a:lnTo>
                  <a:lnTo>
                    <a:pt x="11" y="130"/>
                  </a:lnTo>
                  <a:lnTo>
                    <a:pt x="10" y="130"/>
                  </a:lnTo>
                  <a:lnTo>
                    <a:pt x="10" y="128"/>
                  </a:lnTo>
                  <a:lnTo>
                    <a:pt x="9" y="128"/>
                  </a:lnTo>
                  <a:lnTo>
                    <a:pt x="7" y="127"/>
                  </a:lnTo>
                  <a:lnTo>
                    <a:pt x="7" y="126"/>
                  </a:lnTo>
                  <a:lnTo>
                    <a:pt x="6" y="125"/>
                  </a:lnTo>
                  <a:lnTo>
                    <a:pt x="5" y="125"/>
                  </a:lnTo>
                  <a:lnTo>
                    <a:pt x="5" y="123"/>
                  </a:lnTo>
                  <a:lnTo>
                    <a:pt x="4" y="121"/>
                  </a:lnTo>
                  <a:lnTo>
                    <a:pt x="3" y="120"/>
                  </a:lnTo>
                  <a:lnTo>
                    <a:pt x="3" y="119"/>
                  </a:lnTo>
                  <a:lnTo>
                    <a:pt x="2" y="118"/>
                  </a:lnTo>
                  <a:lnTo>
                    <a:pt x="2" y="116"/>
                  </a:lnTo>
                  <a:lnTo>
                    <a:pt x="2" y="115"/>
                  </a:lnTo>
                  <a:lnTo>
                    <a:pt x="0" y="115"/>
                  </a:lnTo>
                  <a:lnTo>
                    <a:pt x="0" y="114"/>
                  </a:lnTo>
                  <a:lnTo>
                    <a:pt x="2" y="114"/>
                  </a:lnTo>
                  <a:lnTo>
                    <a:pt x="2" y="113"/>
                  </a:lnTo>
                  <a:lnTo>
                    <a:pt x="3" y="112"/>
                  </a:lnTo>
                  <a:lnTo>
                    <a:pt x="3" y="113"/>
                  </a:lnTo>
                  <a:lnTo>
                    <a:pt x="4" y="113"/>
                  </a:lnTo>
                  <a:lnTo>
                    <a:pt x="5" y="114"/>
                  </a:lnTo>
                  <a:lnTo>
                    <a:pt x="5" y="113"/>
                  </a:lnTo>
                  <a:lnTo>
                    <a:pt x="5" y="114"/>
                  </a:lnTo>
                  <a:lnTo>
                    <a:pt x="6" y="114"/>
                  </a:lnTo>
                  <a:lnTo>
                    <a:pt x="6" y="115"/>
                  </a:lnTo>
                  <a:lnTo>
                    <a:pt x="7" y="115"/>
                  </a:lnTo>
                  <a:lnTo>
                    <a:pt x="7" y="114"/>
                  </a:lnTo>
                  <a:lnTo>
                    <a:pt x="6" y="113"/>
                  </a:lnTo>
                  <a:lnTo>
                    <a:pt x="6" y="112"/>
                  </a:lnTo>
                  <a:lnTo>
                    <a:pt x="5" y="107"/>
                  </a:lnTo>
                  <a:lnTo>
                    <a:pt x="5" y="105"/>
                  </a:lnTo>
                  <a:lnTo>
                    <a:pt x="5" y="104"/>
                  </a:lnTo>
                  <a:lnTo>
                    <a:pt x="6" y="104"/>
                  </a:lnTo>
                  <a:lnTo>
                    <a:pt x="6" y="102"/>
                  </a:lnTo>
                  <a:lnTo>
                    <a:pt x="5" y="102"/>
                  </a:lnTo>
                  <a:lnTo>
                    <a:pt x="6" y="102"/>
                  </a:lnTo>
                  <a:lnTo>
                    <a:pt x="6" y="101"/>
                  </a:lnTo>
                  <a:lnTo>
                    <a:pt x="7" y="101"/>
                  </a:lnTo>
                  <a:lnTo>
                    <a:pt x="9" y="102"/>
                  </a:lnTo>
                  <a:lnTo>
                    <a:pt x="9" y="104"/>
                  </a:lnTo>
                  <a:lnTo>
                    <a:pt x="10" y="104"/>
                  </a:lnTo>
                  <a:lnTo>
                    <a:pt x="10" y="102"/>
                  </a:lnTo>
                  <a:lnTo>
                    <a:pt x="10" y="101"/>
                  </a:lnTo>
                  <a:lnTo>
                    <a:pt x="11" y="101"/>
                  </a:lnTo>
                  <a:lnTo>
                    <a:pt x="11" y="100"/>
                  </a:lnTo>
                  <a:lnTo>
                    <a:pt x="12" y="100"/>
                  </a:lnTo>
                  <a:lnTo>
                    <a:pt x="12" y="99"/>
                  </a:lnTo>
                  <a:lnTo>
                    <a:pt x="12" y="98"/>
                  </a:lnTo>
                  <a:lnTo>
                    <a:pt x="12" y="97"/>
                  </a:lnTo>
                  <a:lnTo>
                    <a:pt x="11" y="97"/>
                  </a:lnTo>
                  <a:lnTo>
                    <a:pt x="11" y="95"/>
                  </a:lnTo>
                  <a:lnTo>
                    <a:pt x="11" y="94"/>
                  </a:lnTo>
                  <a:lnTo>
                    <a:pt x="10" y="93"/>
                  </a:lnTo>
                  <a:lnTo>
                    <a:pt x="10" y="92"/>
                  </a:lnTo>
                  <a:lnTo>
                    <a:pt x="10" y="91"/>
                  </a:lnTo>
                  <a:lnTo>
                    <a:pt x="11" y="90"/>
                  </a:lnTo>
                  <a:lnTo>
                    <a:pt x="11" y="88"/>
                  </a:lnTo>
                  <a:lnTo>
                    <a:pt x="10" y="88"/>
                  </a:lnTo>
                  <a:lnTo>
                    <a:pt x="10" y="87"/>
                  </a:lnTo>
                  <a:lnTo>
                    <a:pt x="11" y="86"/>
                  </a:lnTo>
                  <a:lnTo>
                    <a:pt x="11" y="87"/>
                  </a:lnTo>
                  <a:lnTo>
                    <a:pt x="12" y="87"/>
                  </a:lnTo>
                  <a:lnTo>
                    <a:pt x="13" y="86"/>
                  </a:lnTo>
                  <a:lnTo>
                    <a:pt x="13" y="85"/>
                  </a:lnTo>
                  <a:lnTo>
                    <a:pt x="13" y="84"/>
                  </a:lnTo>
                  <a:lnTo>
                    <a:pt x="12" y="83"/>
                  </a:lnTo>
                  <a:lnTo>
                    <a:pt x="13" y="83"/>
                  </a:lnTo>
                  <a:lnTo>
                    <a:pt x="13" y="81"/>
                  </a:lnTo>
                  <a:lnTo>
                    <a:pt x="12" y="81"/>
                  </a:lnTo>
                  <a:lnTo>
                    <a:pt x="12" y="80"/>
                  </a:lnTo>
                  <a:lnTo>
                    <a:pt x="12" y="78"/>
                  </a:lnTo>
                  <a:lnTo>
                    <a:pt x="12" y="77"/>
                  </a:lnTo>
                  <a:lnTo>
                    <a:pt x="11" y="76"/>
                  </a:lnTo>
                  <a:lnTo>
                    <a:pt x="11" y="74"/>
                  </a:lnTo>
                  <a:lnTo>
                    <a:pt x="11" y="73"/>
                  </a:lnTo>
                  <a:lnTo>
                    <a:pt x="10" y="72"/>
                  </a:lnTo>
                  <a:lnTo>
                    <a:pt x="10" y="71"/>
                  </a:lnTo>
                  <a:lnTo>
                    <a:pt x="11" y="71"/>
                  </a:lnTo>
                  <a:lnTo>
                    <a:pt x="12" y="72"/>
                  </a:lnTo>
                  <a:lnTo>
                    <a:pt x="13" y="72"/>
                  </a:lnTo>
                  <a:lnTo>
                    <a:pt x="14" y="72"/>
                  </a:lnTo>
                  <a:lnTo>
                    <a:pt x="16" y="72"/>
                  </a:lnTo>
                  <a:lnTo>
                    <a:pt x="17" y="72"/>
                  </a:lnTo>
                  <a:lnTo>
                    <a:pt x="17" y="73"/>
                  </a:lnTo>
                  <a:lnTo>
                    <a:pt x="18" y="72"/>
                  </a:lnTo>
                  <a:lnTo>
                    <a:pt x="18" y="73"/>
                  </a:lnTo>
                  <a:lnTo>
                    <a:pt x="19" y="73"/>
                  </a:lnTo>
                  <a:lnTo>
                    <a:pt x="20" y="73"/>
                  </a:lnTo>
                  <a:lnTo>
                    <a:pt x="20" y="74"/>
                  </a:lnTo>
                  <a:lnTo>
                    <a:pt x="21" y="74"/>
                  </a:lnTo>
                  <a:lnTo>
                    <a:pt x="21" y="73"/>
                  </a:lnTo>
                  <a:lnTo>
                    <a:pt x="21" y="72"/>
                  </a:lnTo>
                  <a:lnTo>
                    <a:pt x="21" y="71"/>
                  </a:lnTo>
                  <a:lnTo>
                    <a:pt x="23" y="71"/>
                  </a:lnTo>
                  <a:lnTo>
                    <a:pt x="23" y="70"/>
                  </a:lnTo>
                  <a:lnTo>
                    <a:pt x="23" y="67"/>
                  </a:lnTo>
                  <a:lnTo>
                    <a:pt x="23" y="66"/>
                  </a:lnTo>
                  <a:lnTo>
                    <a:pt x="23" y="65"/>
                  </a:lnTo>
                  <a:lnTo>
                    <a:pt x="23" y="64"/>
                  </a:lnTo>
                  <a:lnTo>
                    <a:pt x="24" y="64"/>
                  </a:lnTo>
                  <a:lnTo>
                    <a:pt x="24" y="63"/>
                  </a:lnTo>
                  <a:lnTo>
                    <a:pt x="25" y="62"/>
                  </a:lnTo>
                  <a:lnTo>
                    <a:pt x="25" y="60"/>
                  </a:lnTo>
                  <a:lnTo>
                    <a:pt x="25" y="59"/>
                  </a:lnTo>
                  <a:lnTo>
                    <a:pt x="26" y="58"/>
                  </a:lnTo>
                  <a:lnTo>
                    <a:pt x="26" y="56"/>
                  </a:lnTo>
                  <a:lnTo>
                    <a:pt x="26" y="55"/>
                  </a:lnTo>
                  <a:lnTo>
                    <a:pt x="26" y="53"/>
                  </a:lnTo>
                  <a:lnTo>
                    <a:pt x="25" y="53"/>
                  </a:lnTo>
                  <a:lnTo>
                    <a:pt x="24" y="53"/>
                  </a:lnTo>
                  <a:lnTo>
                    <a:pt x="24" y="52"/>
                  </a:lnTo>
                  <a:lnTo>
                    <a:pt x="24" y="50"/>
                  </a:lnTo>
                  <a:lnTo>
                    <a:pt x="24" y="49"/>
                  </a:lnTo>
                  <a:lnTo>
                    <a:pt x="25" y="49"/>
                  </a:lnTo>
                  <a:lnTo>
                    <a:pt x="26" y="48"/>
                  </a:lnTo>
                  <a:lnTo>
                    <a:pt x="27" y="46"/>
                  </a:lnTo>
                  <a:lnTo>
                    <a:pt x="26" y="46"/>
                  </a:lnTo>
                  <a:lnTo>
                    <a:pt x="27" y="46"/>
                  </a:lnTo>
                  <a:lnTo>
                    <a:pt x="27" y="44"/>
                  </a:lnTo>
                  <a:lnTo>
                    <a:pt x="28" y="44"/>
                  </a:lnTo>
                  <a:lnTo>
                    <a:pt x="27" y="42"/>
                  </a:lnTo>
                  <a:lnTo>
                    <a:pt x="28" y="41"/>
                  </a:lnTo>
                  <a:lnTo>
                    <a:pt x="30" y="39"/>
                  </a:lnTo>
                  <a:lnTo>
                    <a:pt x="28" y="38"/>
                  </a:lnTo>
                  <a:lnTo>
                    <a:pt x="27" y="37"/>
                  </a:lnTo>
                  <a:lnTo>
                    <a:pt x="28" y="37"/>
                  </a:lnTo>
                  <a:lnTo>
                    <a:pt x="27" y="37"/>
                  </a:lnTo>
                  <a:lnTo>
                    <a:pt x="27" y="36"/>
                  </a:lnTo>
                  <a:lnTo>
                    <a:pt x="27" y="35"/>
                  </a:lnTo>
                  <a:lnTo>
                    <a:pt x="27" y="34"/>
                  </a:lnTo>
                  <a:lnTo>
                    <a:pt x="26" y="32"/>
                  </a:lnTo>
                  <a:lnTo>
                    <a:pt x="27" y="31"/>
                  </a:lnTo>
                  <a:lnTo>
                    <a:pt x="27" y="30"/>
                  </a:lnTo>
                  <a:lnTo>
                    <a:pt x="28" y="30"/>
                  </a:lnTo>
                  <a:lnTo>
                    <a:pt x="28" y="29"/>
                  </a:lnTo>
                  <a:lnTo>
                    <a:pt x="28" y="30"/>
                  </a:lnTo>
                  <a:lnTo>
                    <a:pt x="30" y="30"/>
                  </a:lnTo>
                  <a:lnTo>
                    <a:pt x="31" y="29"/>
                  </a:lnTo>
                  <a:lnTo>
                    <a:pt x="31" y="28"/>
                  </a:lnTo>
                  <a:lnTo>
                    <a:pt x="32" y="27"/>
                  </a:lnTo>
                  <a:lnTo>
                    <a:pt x="32" y="28"/>
                  </a:lnTo>
                  <a:lnTo>
                    <a:pt x="33" y="27"/>
                  </a:lnTo>
                  <a:lnTo>
                    <a:pt x="34" y="25"/>
                  </a:lnTo>
                  <a:lnTo>
                    <a:pt x="34" y="24"/>
                  </a:lnTo>
                  <a:lnTo>
                    <a:pt x="35" y="24"/>
                  </a:lnTo>
                  <a:lnTo>
                    <a:pt x="37" y="23"/>
                  </a:lnTo>
                  <a:lnTo>
                    <a:pt x="37" y="22"/>
                  </a:lnTo>
                  <a:lnTo>
                    <a:pt x="37" y="21"/>
                  </a:lnTo>
                  <a:lnTo>
                    <a:pt x="38" y="21"/>
                  </a:lnTo>
                  <a:lnTo>
                    <a:pt x="39" y="21"/>
                  </a:lnTo>
                  <a:lnTo>
                    <a:pt x="42" y="20"/>
                  </a:lnTo>
                  <a:lnTo>
                    <a:pt x="44" y="20"/>
                  </a:lnTo>
                  <a:lnTo>
                    <a:pt x="45" y="18"/>
                  </a:lnTo>
                  <a:lnTo>
                    <a:pt x="46" y="18"/>
                  </a:lnTo>
                  <a:lnTo>
                    <a:pt x="47" y="18"/>
                  </a:lnTo>
                  <a:lnTo>
                    <a:pt x="47" y="20"/>
                  </a:lnTo>
                  <a:lnTo>
                    <a:pt x="48" y="20"/>
                  </a:lnTo>
                  <a:lnTo>
                    <a:pt x="48" y="21"/>
                  </a:lnTo>
                  <a:lnTo>
                    <a:pt x="48" y="22"/>
                  </a:lnTo>
                  <a:lnTo>
                    <a:pt x="51" y="22"/>
                  </a:lnTo>
                  <a:lnTo>
                    <a:pt x="51" y="23"/>
                  </a:lnTo>
                  <a:lnTo>
                    <a:pt x="52" y="23"/>
                  </a:lnTo>
                  <a:lnTo>
                    <a:pt x="53" y="23"/>
                  </a:lnTo>
                  <a:lnTo>
                    <a:pt x="53" y="22"/>
                  </a:lnTo>
                  <a:lnTo>
                    <a:pt x="52" y="22"/>
                  </a:lnTo>
                  <a:lnTo>
                    <a:pt x="52" y="21"/>
                  </a:lnTo>
                  <a:lnTo>
                    <a:pt x="48" y="17"/>
                  </a:lnTo>
                  <a:lnTo>
                    <a:pt x="48" y="16"/>
                  </a:lnTo>
                  <a:lnTo>
                    <a:pt x="47" y="16"/>
                  </a:lnTo>
                  <a:lnTo>
                    <a:pt x="47" y="15"/>
                  </a:lnTo>
                  <a:lnTo>
                    <a:pt x="47" y="14"/>
                  </a:lnTo>
                  <a:lnTo>
                    <a:pt x="48" y="14"/>
                  </a:lnTo>
                  <a:lnTo>
                    <a:pt x="48" y="13"/>
                  </a:lnTo>
                  <a:lnTo>
                    <a:pt x="49" y="13"/>
                  </a:lnTo>
                  <a:lnTo>
                    <a:pt x="49" y="11"/>
                  </a:lnTo>
                  <a:lnTo>
                    <a:pt x="51" y="11"/>
                  </a:lnTo>
                  <a:lnTo>
                    <a:pt x="51" y="10"/>
                  </a:lnTo>
                  <a:lnTo>
                    <a:pt x="52" y="10"/>
                  </a:lnTo>
                  <a:lnTo>
                    <a:pt x="53" y="10"/>
                  </a:lnTo>
                  <a:lnTo>
                    <a:pt x="53" y="9"/>
                  </a:lnTo>
                  <a:lnTo>
                    <a:pt x="52" y="8"/>
                  </a:lnTo>
                  <a:lnTo>
                    <a:pt x="52" y="7"/>
                  </a:lnTo>
                  <a:lnTo>
                    <a:pt x="51" y="7"/>
                  </a:lnTo>
                  <a:lnTo>
                    <a:pt x="52" y="6"/>
                  </a:lnTo>
                  <a:lnTo>
                    <a:pt x="51" y="6"/>
                  </a:lnTo>
                  <a:lnTo>
                    <a:pt x="52" y="4"/>
                  </a:lnTo>
                  <a:lnTo>
                    <a:pt x="53" y="4"/>
                  </a:lnTo>
                  <a:lnTo>
                    <a:pt x="53" y="3"/>
                  </a:lnTo>
                  <a:lnTo>
                    <a:pt x="52" y="3"/>
                  </a:lnTo>
                  <a:lnTo>
                    <a:pt x="52" y="2"/>
                  </a:lnTo>
                  <a:lnTo>
                    <a:pt x="53" y="2"/>
                  </a:lnTo>
                  <a:lnTo>
                    <a:pt x="53" y="1"/>
                  </a:lnTo>
                  <a:lnTo>
                    <a:pt x="53" y="0"/>
                  </a:lnTo>
                  <a:lnTo>
                    <a:pt x="54" y="1"/>
                  </a:lnTo>
                  <a:close/>
                </a:path>
              </a:pathLst>
            </a:custGeom>
            <a:solidFill>
              <a:srgbClr val="D2D2D2"/>
            </a:solidFill>
            <a:ln w="3175"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t-IT" sz="1200" dirty="0">
                <a:solidFill>
                  <a:schemeClr val="lt1"/>
                </a:solidFill>
              </a:endParaRPr>
            </a:p>
          </p:txBody>
        </p:sp>
        <p:sp>
          <p:nvSpPr>
            <p:cNvPr id="193" name="Freeform 949">
              <a:extLst>
                <a:ext uri="{FF2B5EF4-FFF2-40B4-BE49-F238E27FC236}">
                  <a16:creationId xmlns:a16="http://schemas.microsoft.com/office/drawing/2014/main" id="{35D1C191-03F8-4BFF-A6FD-1E046B24F521}"/>
                </a:ext>
              </a:extLst>
            </p:cNvPr>
            <p:cNvSpPr>
              <a:spLocks/>
            </p:cNvSpPr>
            <p:nvPr/>
          </p:nvSpPr>
          <p:spPr bwMode="auto">
            <a:xfrm>
              <a:off x="6117597" y="2428376"/>
              <a:ext cx="33388" cy="36059"/>
            </a:xfrm>
            <a:custGeom>
              <a:avLst/>
              <a:gdLst>
                <a:gd name="T0" fmla="*/ 12 w 25"/>
                <a:gd name="T1" fmla="*/ 2 h 27"/>
                <a:gd name="T2" fmla="*/ 14 w 25"/>
                <a:gd name="T3" fmla="*/ 6 h 27"/>
                <a:gd name="T4" fmla="*/ 16 w 25"/>
                <a:gd name="T5" fmla="*/ 6 h 27"/>
                <a:gd name="T6" fmla="*/ 19 w 25"/>
                <a:gd name="T7" fmla="*/ 7 h 27"/>
                <a:gd name="T8" fmla="*/ 20 w 25"/>
                <a:gd name="T9" fmla="*/ 7 h 27"/>
                <a:gd name="T10" fmla="*/ 22 w 25"/>
                <a:gd name="T11" fmla="*/ 9 h 27"/>
                <a:gd name="T12" fmla="*/ 25 w 25"/>
                <a:gd name="T13" fmla="*/ 12 h 27"/>
                <a:gd name="T14" fmla="*/ 23 w 25"/>
                <a:gd name="T15" fmla="*/ 13 h 27"/>
                <a:gd name="T16" fmla="*/ 21 w 25"/>
                <a:gd name="T17" fmla="*/ 13 h 27"/>
                <a:gd name="T18" fmla="*/ 22 w 25"/>
                <a:gd name="T19" fmla="*/ 14 h 27"/>
                <a:gd name="T20" fmla="*/ 21 w 25"/>
                <a:gd name="T21" fmla="*/ 16 h 27"/>
                <a:gd name="T22" fmla="*/ 20 w 25"/>
                <a:gd name="T23" fmla="*/ 16 h 27"/>
                <a:gd name="T24" fmla="*/ 18 w 25"/>
                <a:gd name="T25" fmla="*/ 18 h 27"/>
                <a:gd name="T26" fmla="*/ 18 w 25"/>
                <a:gd name="T27" fmla="*/ 15 h 27"/>
                <a:gd name="T28" fmla="*/ 16 w 25"/>
                <a:gd name="T29" fmla="*/ 14 h 27"/>
                <a:gd name="T30" fmla="*/ 15 w 25"/>
                <a:gd name="T31" fmla="*/ 16 h 27"/>
                <a:gd name="T32" fmla="*/ 15 w 25"/>
                <a:gd name="T33" fmla="*/ 18 h 27"/>
                <a:gd name="T34" fmla="*/ 13 w 25"/>
                <a:gd name="T35" fmla="*/ 19 h 27"/>
                <a:gd name="T36" fmla="*/ 13 w 25"/>
                <a:gd name="T37" fmla="*/ 20 h 27"/>
                <a:gd name="T38" fmla="*/ 13 w 25"/>
                <a:gd name="T39" fmla="*/ 21 h 27"/>
                <a:gd name="T40" fmla="*/ 11 w 25"/>
                <a:gd name="T41" fmla="*/ 20 h 27"/>
                <a:gd name="T42" fmla="*/ 9 w 25"/>
                <a:gd name="T43" fmla="*/ 20 h 27"/>
                <a:gd name="T44" fmla="*/ 12 w 25"/>
                <a:gd name="T45" fmla="*/ 22 h 27"/>
                <a:gd name="T46" fmla="*/ 13 w 25"/>
                <a:gd name="T47" fmla="*/ 25 h 27"/>
                <a:gd name="T48" fmla="*/ 13 w 25"/>
                <a:gd name="T49" fmla="*/ 25 h 27"/>
                <a:gd name="T50" fmla="*/ 13 w 25"/>
                <a:gd name="T51" fmla="*/ 26 h 27"/>
                <a:gd name="T52" fmla="*/ 13 w 25"/>
                <a:gd name="T53" fmla="*/ 26 h 27"/>
                <a:gd name="T54" fmla="*/ 11 w 25"/>
                <a:gd name="T55" fmla="*/ 26 h 27"/>
                <a:gd name="T56" fmla="*/ 11 w 25"/>
                <a:gd name="T57" fmla="*/ 25 h 27"/>
                <a:gd name="T58" fmla="*/ 9 w 25"/>
                <a:gd name="T59" fmla="*/ 22 h 27"/>
                <a:gd name="T60" fmla="*/ 8 w 25"/>
                <a:gd name="T61" fmla="*/ 21 h 27"/>
                <a:gd name="T62" fmla="*/ 7 w 25"/>
                <a:gd name="T63" fmla="*/ 20 h 27"/>
                <a:gd name="T64" fmla="*/ 6 w 25"/>
                <a:gd name="T65" fmla="*/ 20 h 27"/>
                <a:gd name="T66" fmla="*/ 5 w 25"/>
                <a:gd name="T67" fmla="*/ 20 h 27"/>
                <a:gd name="T68" fmla="*/ 5 w 25"/>
                <a:gd name="T69" fmla="*/ 19 h 27"/>
                <a:gd name="T70" fmla="*/ 4 w 25"/>
                <a:gd name="T71" fmla="*/ 19 h 27"/>
                <a:gd name="T72" fmla="*/ 2 w 25"/>
                <a:gd name="T73" fmla="*/ 19 h 27"/>
                <a:gd name="T74" fmla="*/ 5 w 25"/>
                <a:gd name="T75" fmla="*/ 19 h 27"/>
                <a:gd name="T76" fmla="*/ 4 w 25"/>
                <a:gd name="T77" fmla="*/ 18 h 27"/>
                <a:gd name="T78" fmla="*/ 2 w 25"/>
                <a:gd name="T79" fmla="*/ 19 h 27"/>
                <a:gd name="T80" fmla="*/ 1 w 25"/>
                <a:gd name="T81" fmla="*/ 18 h 27"/>
                <a:gd name="T82" fmla="*/ 1 w 25"/>
                <a:gd name="T83" fmla="*/ 15 h 27"/>
                <a:gd name="T84" fmla="*/ 2 w 25"/>
                <a:gd name="T85" fmla="*/ 15 h 27"/>
                <a:gd name="T86" fmla="*/ 1 w 25"/>
                <a:gd name="T87" fmla="*/ 13 h 27"/>
                <a:gd name="T88" fmla="*/ 1 w 25"/>
                <a:gd name="T89" fmla="*/ 11 h 27"/>
                <a:gd name="T90" fmla="*/ 1 w 25"/>
                <a:gd name="T91" fmla="*/ 8 h 27"/>
                <a:gd name="T92" fmla="*/ 2 w 25"/>
                <a:gd name="T93" fmla="*/ 6 h 27"/>
                <a:gd name="T94" fmla="*/ 5 w 25"/>
                <a:gd name="T95" fmla="*/ 4 h 27"/>
                <a:gd name="T96" fmla="*/ 6 w 25"/>
                <a:gd name="T97" fmla="*/ 4 h 27"/>
                <a:gd name="T98" fmla="*/ 7 w 25"/>
                <a:gd name="T99" fmla="*/ 5 h 27"/>
                <a:gd name="T100" fmla="*/ 8 w 25"/>
                <a:gd name="T101" fmla="*/ 4 h 27"/>
                <a:gd name="T102" fmla="*/ 6 w 25"/>
                <a:gd name="T103" fmla="*/ 1 h 27"/>
                <a:gd name="T104" fmla="*/ 6 w 25"/>
                <a:gd name="T105" fmla="*/ 1 h 27"/>
                <a:gd name="T106" fmla="*/ 7 w 25"/>
                <a:gd name="T107" fmla="*/ 1 h 27"/>
                <a:gd name="T108" fmla="*/ 9 w 25"/>
                <a:gd name="T10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 h="27">
                  <a:moveTo>
                    <a:pt x="9" y="0"/>
                  </a:moveTo>
                  <a:lnTo>
                    <a:pt x="9" y="1"/>
                  </a:lnTo>
                  <a:lnTo>
                    <a:pt x="9" y="1"/>
                  </a:lnTo>
                  <a:lnTo>
                    <a:pt x="9" y="1"/>
                  </a:lnTo>
                  <a:lnTo>
                    <a:pt x="9" y="2"/>
                  </a:lnTo>
                  <a:lnTo>
                    <a:pt x="12" y="2"/>
                  </a:lnTo>
                  <a:lnTo>
                    <a:pt x="12" y="2"/>
                  </a:lnTo>
                  <a:lnTo>
                    <a:pt x="12" y="4"/>
                  </a:lnTo>
                  <a:lnTo>
                    <a:pt x="13" y="5"/>
                  </a:lnTo>
                  <a:lnTo>
                    <a:pt x="13" y="5"/>
                  </a:lnTo>
                  <a:lnTo>
                    <a:pt x="13" y="5"/>
                  </a:lnTo>
                  <a:lnTo>
                    <a:pt x="14" y="5"/>
                  </a:lnTo>
                  <a:lnTo>
                    <a:pt x="14" y="6"/>
                  </a:lnTo>
                  <a:lnTo>
                    <a:pt x="14" y="6"/>
                  </a:lnTo>
                  <a:lnTo>
                    <a:pt x="14" y="6"/>
                  </a:lnTo>
                  <a:lnTo>
                    <a:pt x="15" y="6"/>
                  </a:lnTo>
                  <a:lnTo>
                    <a:pt x="15" y="6"/>
                  </a:lnTo>
                  <a:lnTo>
                    <a:pt x="15" y="6"/>
                  </a:lnTo>
                  <a:lnTo>
                    <a:pt x="16" y="6"/>
                  </a:lnTo>
                  <a:lnTo>
                    <a:pt x="16" y="6"/>
                  </a:lnTo>
                  <a:lnTo>
                    <a:pt x="16" y="6"/>
                  </a:lnTo>
                  <a:lnTo>
                    <a:pt x="16" y="6"/>
                  </a:lnTo>
                  <a:lnTo>
                    <a:pt x="16" y="7"/>
                  </a:lnTo>
                  <a:lnTo>
                    <a:pt x="16" y="7"/>
                  </a:lnTo>
                  <a:lnTo>
                    <a:pt x="18" y="7"/>
                  </a:lnTo>
                  <a:lnTo>
                    <a:pt x="18" y="7"/>
                  </a:lnTo>
                  <a:lnTo>
                    <a:pt x="18" y="7"/>
                  </a:lnTo>
                  <a:lnTo>
                    <a:pt x="19" y="7"/>
                  </a:lnTo>
                  <a:lnTo>
                    <a:pt x="19" y="7"/>
                  </a:lnTo>
                  <a:lnTo>
                    <a:pt x="19" y="7"/>
                  </a:lnTo>
                  <a:lnTo>
                    <a:pt x="19" y="7"/>
                  </a:lnTo>
                  <a:lnTo>
                    <a:pt x="19" y="7"/>
                  </a:lnTo>
                  <a:lnTo>
                    <a:pt x="19" y="7"/>
                  </a:lnTo>
                  <a:lnTo>
                    <a:pt x="19" y="7"/>
                  </a:lnTo>
                  <a:lnTo>
                    <a:pt x="20" y="7"/>
                  </a:lnTo>
                  <a:lnTo>
                    <a:pt x="20" y="7"/>
                  </a:lnTo>
                  <a:lnTo>
                    <a:pt x="20" y="8"/>
                  </a:lnTo>
                  <a:lnTo>
                    <a:pt x="21" y="8"/>
                  </a:lnTo>
                  <a:lnTo>
                    <a:pt x="21" y="8"/>
                  </a:lnTo>
                  <a:lnTo>
                    <a:pt x="21" y="9"/>
                  </a:lnTo>
                  <a:lnTo>
                    <a:pt x="22" y="9"/>
                  </a:lnTo>
                  <a:lnTo>
                    <a:pt x="22" y="9"/>
                  </a:lnTo>
                  <a:lnTo>
                    <a:pt x="22" y="9"/>
                  </a:lnTo>
                  <a:lnTo>
                    <a:pt x="23" y="9"/>
                  </a:lnTo>
                  <a:lnTo>
                    <a:pt x="23" y="9"/>
                  </a:lnTo>
                  <a:lnTo>
                    <a:pt x="25" y="11"/>
                  </a:lnTo>
                  <a:lnTo>
                    <a:pt x="25" y="11"/>
                  </a:lnTo>
                  <a:lnTo>
                    <a:pt x="25" y="11"/>
                  </a:lnTo>
                  <a:lnTo>
                    <a:pt x="25" y="12"/>
                  </a:lnTo>
                  <a:lnTo>
                    <a:pt x="23" y="12"/>
                  </a:lnTo>
                  <a:lnTo>
                    <a:pt x="23" y="12"/>
                  </a:lnTo>
                  <a:lnTo>
                    <a:pt x="23" y="12"/>
                  </a:lnTo>
                  <a:lnTo>
                    <a:pt x="23" y="12"/>
                  </a:lnTo>
                  <a:lnTo>
                    <a:pt x="23" y="12"/>
                  </a:lnTo>
                  <a:lnTo>
                    <a:pt x="23" y="13"/>
                  </a:lnTo>
                  <a:lnTo>
                    <a:pt x="23" y="13"/>
                  </a:lnTo>
                  <a:lnTo>
                    <a:pt x="22" y="13"/>
                  </a:lnTo>
                  <a:lnTo>
                    <a:pt x="22" y="13"/>
                  </a:lnTo>
                  <a:lnTo>
                    <a:pt x="22" y="13"/>
                  </a:lnTo>
                  <a:lnTo>
                    <a:pt x="21" y="13"/>
                  </a:lnTo>
                  <a:lnTo>
                    <a:pt x="21" y="13"/>
                  </a:lnTo>
                  <a:lnTo>
                    <a:pt x="21" y="13"/>
                  </a:lnTo>
                  <a:lnTo>
                    <a:pt x="21" y="13"/>
                  </a:lnTo>
                  <a:lnTo>
                    <a:pt x="21" y="13"/>
                  </a:lnTo>
                  <a:lnTo>
                    <a:pt x="21" y="13"/>
                  </a:lnTo>
                  <a:lnTo>
                    <a:pt x="21" y="13"/>
                  </a:lnTo>
                  <a:lnTo>
                    <a:pt x="21" y="13"/>
                  </a:lnTo>
                  <a:lnTo>
                    <a:pt x="22" y="14"/>
                  </a:lnTo>
                  <a:lnTo>
                    <a:pt x="22" y="14"/>
                  </a:lnTo>
                  <a:lnTo>
                    <a:pt x="22" y="14"/>
                  </a:lnTo>
                  <a:lnTo>
                    <a:pt x="22" y="15"/>
                  </a:lnTo>
                  <a:lnTo>
                    <a:pt x="22" y="15"/>
                  </a:lnTo>
                  <a:lnTo>
                    <a:pt x="21" y="15"/>
                  </a:lnTo>
                  <a:lnTo>
                    <a:pt x="21" y="15"/>
                  </a:lnTo>
                  <a:lnTo>
                    <a:pt x="22" y="15"/>
                  </a:lnTo>
                  <a:lnTo>
                    <a:pt x="22" y="15"/>
                  </a:lnTo>
                  <a:lnTo>
                    <a:pt x="21" y="16"/>
                  </a:lnTo>
                  <a:lnTo>
                    <a:pt x="21" y="15"/>
                  </a:lnTo>
                  <a:lnTo>
                    <a:pt x="21" y="16"/>
                  </a:lnTo>
                  <a:lnTo>
                    <a:pt x="21" y="16"/>
                  </a:lnTo>
                  <a:lnTo>
                    <a:pt x="20" y="16"/>
                  </a:lnTo>
                  <a:lnTo>
                    <a:pt x="20" y="16"/>
                  </a:lnTo>
                  <a:lnTo>
                    <a:pt x="20" y="16"/>
                  </a:lnTo>
                  <a:lnTo>
                    <a:pt x="20" y="16"/>
                  </a:lnTo>
                  <a:lnTo>
                    <a:pt x="20" y="16"/>
                  </a:lnTo>
                  <a:lnTo>
                    <a:pt x="19" y="16"/>
                  </a:lnTo>
                  <a:lnTo>
                    <a:pt x="19" y="18"/>
                  </a:lnTo>
                  <a:lnTo>
                    <a:pt x="19" y="18"/>
                  </a:lnTo>
                  <a:lnTo>
                    <a:pt x="19" y="18"/>
                  </a:lnTo>
                  <a:lnTo>
                    <a:pt x="19" y="18"/>
                  </a:lnTo>
                  <a:lnTo>
                    <a:pt x="18" y="18"/>
                  </a:lnTo>
                  <a:lnTo>
                    <a:pt x="18" y="16"/>
                  </a:lnTo>
                  <a:lnTo>
                    <a:pt x="18" y="16"/>
                  </a:lnTo>
                  <a:lnTo>
                    <a:pt x="18" y="16"/>
                  </a:lnTo>
                  <a:lnTo>
                    <a:pt x="18" y="16"/>
                  </a:lnTo>
                  <a:lnTo>
                    <a:pt x="18" y="16"/>
                  </a:lnTo>
                  <a:lnTo>
                    <a:pt x="18" y="15"/>
                  </a:lnTo>
                  <a:lnTo>
                    <a:pt x="18" y="15"/>
                  </a:lnTo>
                  <a:lnTo>
                    <a:pt x="18" y="15"/>
                  </a:lnTo>
                  <a:lnTo>
                    <a:pt x="18" y="15"/>
                  </a:lnTo>
                  <a:lnTo>
                    <a:pt x="18" y="15"/>
                  </a:lnTo>
                  <a:lnTo>
                    <a:pt x="18" y="15"/>
                  </a:lnTo>
                  <a:lnTo>
                    <a:pt x="18" y="15"/>
                  </a:lnTo>
                  <a:lnTo>
                    <a:pt x="18" y="14"/>
                  </a:lnTo>
                  <a:lnTo>
                    <a:pt x="16" y="14"/>
                  </a:lnTo>
                  <a:lnTo>
                    <a:pt x="16" y="14"/>
                  </a:lnTo>
                  <a:lnTo>
                    <a:pt x="16" y="14"/>
                  </a:lnTo>
                  <a:lnTo>
                    <a:pt x="16" y="15"/>
                  </a:lnTo>
                  <a:lnTo>
                    <a:pt x="16" y="15"/>
                  </a:lnTo>
                  <a:lnTo>
                    <a:pt x="15" y="15"/>
                  </a:lnTo>
                  <a:lnTo>
                    <a:pt x="15" y="15"/>
                  </a:lnTo>
                  <a:lnTo>
                    <a:pt x="15" y="16"/>
                  </a:lnTo>
                  <a:lnTo>
                    <a:pt x="15" y="16"/>
                  </a:lnTo>
                  <a:lnTo>
                    <a:pt x="15" y="16"/>
                  </a:lnTo>
                  <a:lnTo>
                    <a:pt x="15" y="16"/>
                  </a:lnTo>
                  <a:lnTo>
                    <a:pt x="15" y="16"/>
                  </a:lnTo>
                  <a:lnTo>
                    <a:pt x="15" y="16"/>
                  </a:lnTo>
                  <a:lnTo>
                    <a:pt x="15" y="16"/>
                  </a:lnTo>
                  <a:lnTo>
                    <a:pt x="15" y="18"/>
                  </a:lnTo>
                  <a:lnTo>
                    <a:pt x="15" y="18"/>
                  </a:lnTo>
                  <a:lnTo>
                    <a:pt x="14" y="18"/>
                  </a:lnTo>
                  <a:lnTo>
                    <a:pt x="14" y="18"/>
                  </a:lnTo>
                  <a:lnTo>
                    <a:pt x="14" y="18"/>
                  </a:lnTo>
                  <a:lnTo>
                    <a:pt x="14" y="19"/>
                  </a:lnTo>
                  <a:lnTo>
                    <a:pt x="14" y="19"/>
                  </a:lnTo>
                  <a:lnTo>
                    <a:pt x="13" y="19"/>
                  </a:lnTo>
                  <a:lnTo>
                    <a:pt x="13" y="19"/>
                  </a:lnTo>
                  <a:lnTo>
                    <a:pt x="13" y="20"/>
                  </a:lnTo>
                  <a:lnTo>
                    <a:pt x="13" y="20"/>
                  </a:lnTo>
                  <a:lnTo>
                    <a:pt x="13" y="20"/>
                  </a:lnTo>
                  <a:lnTo>
                    <a:pt x="13" y="20"/>
                  </a:lnTo>
                  <a:lnTo>
                    <a:pt x="13" y="20"/>
                  </a:lnTo>
                  <a:lnTo>
                    <a:pt x="13" y="20"/>
                  </a:lnTo>
                  <a:lnTo>
                    <a:pt x="13" y="20"/>
                  </a:lnTo>
                  <a:lnTo>
                    <a:pt x="13" y="20"/>
                  </a:lnTo>
                  <a:lnTo>
                    <a:pt x="13" y="20"/>
                  </a:lnTo>
                  <a:lnTo>
                    <a:pt x="13" y="20"/>
                  </a:lnTo>
                  <a:lnTo>
                    <a:pt x="13" y="20"/>
                  </a:lnTo>
                  <a:lnTo>
                    <a:pt x="13" y="21"/>
                  </a:lnTo>
                  <a:lnTo>
                    <a:pt x="13" y="21"/>
                  </a:lnTo>
                  <a:lnTo>
                    <a:pt x="12" y="20"/>
                  </a:lnTo>
                  <a:lnTo>
                    <a:pt x="11" y="20"/>
                  </a:lnTo>
                  <a:lnTo>
                    <a:pt x="11" y="20"/>
                  </a:lnTo>
                  <a:lnTo>
                    <a:pt x="11" y="20"/>
                  </a:lnTo>
                  <a:lnTo>
                    <a:pt x="11" y="20"/>
                  </a:lnTo>
                  <a:lnTo>
                    <a:pt x="11" y="20"/>
                  </a:lnTo>
                  <a:lnTo>
                    <a:pt x="11" y="20"/>
                  </a:lnTo>
                  <a:lnTo>
                    <a:pt x="9" y="20"/>
                  </a:lnTo>
                  <a:lnTo>
                    <a:pt x="9" y="20"/>
                  </a:lnTo>
                  <a:lnTo>
                    <a:pt x="9" y="20"/>
                  </a:lnTo>
                  <a:lnTo>
                    <a:pt x="9" y="20"/>
                  </a:lnTo>
                  <a:lnTo>
                    <a:pt x="9" y="20"/>
                  </a:lnTo>
                  <a:lnTo>
                    <a:pt x="9" y="20"/>
                  </a:lnTo>
                  <a:lnTo>
                    <a:pt x="9" y="20"/>
                  </a:lnTo>
                  <a:lnTo>
                    <a:pt x="9" y="20"/>
                  </a:lnTo>
                  <a:lnTo>
                    <a:pt x="9" y="21"/>
                  </a:lnTo>
                  <a:lnTo>
                    <a:pt x="9" y="21"/>
                  </a:lnTo>
                  <a:lnTo>
                    <a:pt x="9" y="21"/>
                  </a:lnTo>
                  <a:lnTo>
                    <a:pt x="11" y="21"/>
                  </a:lnTo>
                  <a:lnTo>
                    <a:pt x="11" y="21"/>
                  </a:lnTo>
                  <a:lnTo>
                    <a:pt x="12" y="22"/>
                  </a:lnTo>
                  <a:lnTo>
                    <a:pt x="12" y="22"/>
                  </a:lnTo>
                  <a:lnTo>
                    <a:pt x="12" y="22"/>
                  </a:lnTo>
                  <a:lnTo>
                    <a:pt x="13" y="23"/>
                  </a:lnTo>
                  <a:lnTo>
                    <a:pt x="13" y="23"/>
                  </a:lnTo>
                  <a:lnTo>
                    <a:pt x="13" y="23"/>
                  </a:lnTo>
                  <a:lnTo>
                    <a:pt x="13" y="25"/>
                  </a:lnTo>
                  <a:lnTo>
                    <a:pt x="13" y="25"/>
                  </a:lnTo>
                  <a:lnTo>
                    <a:pt x="13" y="25"/>
                  </a:lnTo>
                  <a:lnTo>
                    <a:pt x="13" y="25"/>
                  </a:lnTo>
                  <a:lnTo>
                    <a:pt x="14" y="25"/>
                  </a:lnTo>
                  <a:lnTo>
                    <a:pt x="13" y="25"/>
                  </a:lnTo>
                  <a:lnTo>
                    <a:pt x="13" y="25"/>
                  </a:lnTo>
                  <a:lnTo>
                    <a:pt x="13" y="25"/>
                  </a:lnTo>
                  <a:lnTo>
                    <a:pt x="13" y="25"/>
                  </a:lnTo>
                  <a:lnTo>
                    <a:pt x="13" y="26"/>
                  </a:lnTo>
                  <a:lnTo>
                    <a:pt x="13" y="26"/>
                  </a:lnTo>
                  <a:lnTo>
                    <a:pt x="13" y="26"/>
                  </a:lnTo>
                  <a:lnTo>
                    <a:pt x="13" y="26"/>
                  </a:lnTo>
                  <a:lnTo>
                    <a:pt x="13" y="26"/>
                  </a:lnTo>
                  <a:lnTo>
                    <a:pt x="13" y="26"/>
                  </a:lnTo>
                  <a:lnTo>
                    <a:pt x="13" y="26"/>
                  </a:lnTo>
                  <a:lnTo>
                    <a:pt x="13" y="26"/>
                  </a:lnTo>
                  <a:lnTo>
                    <a:pt x="14" y="26"/>
                  </a:lnTo>
                  <a:lnTo>
                    <a:pt x="14" y="27"/>
                  </a:lnTo>
                  <a:lnTo>
                    <a:pt x="14" y="27"/>
                  </a:lnTo>
                  <a:lnTo>
                    <a:pt x="14" y="27"/>
                  </a:lnTo>
                  <a:lnTo>
                    <a:pt x="13" y="27"/>
                  </a:lnTo>
                  <a:lnTo>
                    <a:pt x="13" y="26"/>
                  </a:lnTo>
                  <a:lnTo>
                    <a:pt x="13" y="26"/>
                  </a:lnTo>
                  <a:lnTo>
                    <a:pt x="12" y="26"/>
                  </a:lnTo>
                  <a:lnTo>
                    <a:pt x="12" y="26"/>
                  </a:lnTo>
                  <a:lnTo>
                    <a:pt x="11" y="26"/>
                  </a:lnTo>
                  <a:lnTo>
                    <a:pt x="11" y="26"/>
                  </a:lnTo>
                  <a:lnTo>
                    <a:pt x="11" y="26"/>
                  </a:lnTo>
                  <a:lnTo>
                    <a:pt x="11" y="26"/>
                  </a:lnTo>
                  <a:lnTo>
                    <a:pt x="11" y="26"/>
                  </a:lnTo>
                  <a:lnTo>
                    <a:pt x="11" y="25"/>
                  </a:lnTo>
                  <a:lnTo>
                    <a:pt x="11" y="25"/>
                  </a:lnTo>
                  <a:lnTo>
                    <a:pt x="11" y="25"/>
                  </a:lnTo>
                  <a:lnTo>
                    <a:pt x="11" y="25"/>
                  </a:lnTo>
                  <a:lnTo>
                    <a:pt x="11" y="25"/>
                  </a:lnTo>
                  <a:lnTo>
                    <a:pt x="11" y="25"/>
                  </a:lnTo>
                  <a:lnTo>
                    <a:pt x="11" y="23"/>
                  </a:lnTo>
                  <a:lnTo>
                    <a:pt x="9" y="23"/>
                  </a:lnTo>
                  <a:lnTo>
                    <a:pt x="9" y="23"/>
                  </a:lnTo>
                  <a:lnTo>
                    <a:pt x="9" y="22"/>
                  </a:lnTo>
                  <a:lnTo>
                    <a:pt x="9" y="22"/>
                  </a:lnTo>
                  <a:lnTo>
                    <a:pt x="9" y="22"/>
                  </a:lnTo>
                  <a:lnTo>
                    <a:pt x="9" y="22"/>
                  </a:lnTo>
                  <a:lnTo>
                    <a:pt x="8" y="22"/>
                  </a:lnTo>
                  <a:lnTo>
                    <a:pt x="8" y="22"/>
                  </a:lnTo>
                  <a:lnTo>
                    <a:pt x="8" y="22"/>
                  </a:lnTo>
                  <a:lnTo>
                    <a:pt x="8" y="22"/>
                  </a:lnTo>
                  <a:lnTo>
                    <a:pt x="8" y="22"/>
                  </a:lnTo>
                  <a:lnTo>
                    <a:pt x="8" y="22"/>
                  </a:lnTo>
                  <a:lnTo>
                    <a:pt x="8" y="21"/>
                  </a:lnTo>
                  <a:lnTo>
                    <a:pt x="8" y="21"/>
                  </a:lnTo>
                  <a:lnTo>
                    <a:pt x="7" y="21"/>
                  </a:lnTo>
                  <a:lnTo>
                    <a:pt x="7" y="21"/>
                  </a:lnTo>
                  <a:lnTo>
                    <a:pt x="7" y="20"/>
                  </a:lnTo>
                  <a:lnTo>
                    <a:pt x="7" y="20"/>
                  </a:lnTo>
                  <a:lnTo>
                    <a:pt x="7" y="20"/>
                  </a:lnTo>
                  <a:lnTo>
                    <a:pt x="7" y="20"/>
                  </a:lnTo>
                  <a:lnTo>
                    <a:pt x="6" y="20"/>
                  </a:lnTo>
                  <a:lnTo>
                    <a:pt x="6" y="20"/>
                  </a:lnTo>
                  <a:lnTo>
                    <a:pt x="6" y="20"/>
                  </a:lnTo>
                  <a:lnTo>
                    <a:pt x="6" y="20"/>
                  </a:lnTo>
                  <a:lnTo>
                    <a:pt x="6" y="20"/>
                  </a:lnTo>
                  <a:lnTo>
                    <a:pt x="6" y="20"/>
                  </a:lnTo>
                  <a:lnTo>
                    <a:pt x="6" y="20"/>
                  </a:lnTo>
                  <a:lnTo>
                    <a:pt x="6" y="20"/>
                  </a:lnTo>
                  <a:lnTo>
                    <a:pt x="6" y="20"/>
                  </a:lnTo>
                  <a:lnTo>
                    <a:pt x="6" y="20"/>
                  </a:lnTo>
                  <a:lnTo>
                    <a:pt x="6" y="20"/>
                  </a:lnTo>
                  <a:lnTo>
                    <a:pt x="6" y="20"/>
                  </a:lnTo>
                  <a:lnTo>
                    <a:pt x="5" y="20"/>
                  </a:lnTo>
                  <a:lnTo>
                    <a:pt x="5" y="20"/>
                  </a:lnTo>
                  <a:lnTo>
                    <a:pt x="5" y="19"/>
                  </a:lnTo>
                  <a:lnTo>
                    <a:pt x="5" y="19"/>
                  </a:lnTo>
                  <a:lnTo>
                    <a:pt x="5" y="19"/>
                  </a:lnTo>
                  <a:lnTo>
                    <a:pt x="5" y="19"/>
                  </a:lnTo>
                  <a:lnTo>
                    <a:pt x="5" y="19"/>
                  </a:lnTo>
                  <a:lnTo>
                    <a:pt x="5" y="19"/>
                  </a:lnTo>
                  <a:lnTo>
                    <a:pt x="5" y="19"/>
                  </a:lnTo>
                  <a:lnTo>
                    <a:pt x="4" y="19"/>
                  </a:lnTo>
                  <a:lnTo>
                    <a:pt x="4" y="19"/>
                  </a:lnTo>
                  <a:lnTo>
                    <a:pt x="4" y="19"/>
                  </a:lnTo>
                  <a:lnTo>
                    <a:pt x="4" y="19"/>
                  </a:lnTo>
                  <a:lnTo>
                    <a:pt x="4" y="19"/>
                  </a:lnTo>
                  <a:lnTo>
                    <a:pt x="4" y="19"/>
                  </a:lnTo>
                  <a:lnTo>
                    <a:pt x="4" y="19"/>
                  </a:lnTo>
                  <a:lnTo>
                    <a:pt x="4" y="19"/>
                  </a:lnTo>
                  <a:lnTo>
                    <a:pt x="2" y="19"/>
                  </a:lnTo>
                  <a:lnTo>
                    <a:pt x="2" y="19"/>
                  </a:lnTo>
                  <a:lnTo>
                    <a:pt x="2" y="19"/>
                  </a:lnTo>
                  <a:lnTo>
                    <a:pt x="2" y="19"/>
                  </a:lnTo>
                  <a:lnTo>
                    <a:pt x="2" y="19"/>
                  </a:lnTo>
                  <a:lnTo>
                    <a:pt x="2" y="19"/>
                  </a:lnTo>
                  <a:lnTo>
                    <a:pt x="2" y="18"/>
                  </a:lnTo>
                  <a:lnTo>
                    <a:pt x="2" y="18"/>
                  </a:lnTo>
                  <a:lnTo>
                    <a:pt x="2" y="18"/>
                  </a:lnTo>
                  <a:lnTo>
                    <a:pt x="2" y="18"/>
                  </a:lnTo>
                  <a:lnTo>
                    <a:pt x="4" y="18"/>
                  </a:lnTo>
                  <a:lnTo>
                    <a:pt x="4" y="18"/>
                  </a:lnTo>
                  <a:lnTo>
                    <a:pt x="5" y="19"/>
                  </a:lnTo>
                  <a:lnTo>
                    <a:pt x="5" y="19"/>
                  </a:lnTo>
                  <a:lnTo>
                    <a:pt x="5" y="18"/>
                  </a:lnTo>
                  <a:lnTo>
                    <a:pt x="5" y="18"/>
                  </a:lnTo>
                  <a:lnTo>
                    <a:pt x="4" y="18"/>
                  </a:lnTo>
                  <a:lnTo>
                    <a:pt x="4" y="18"/>
                  </a:lnTo>
                  <a:lnTo>
                    <a:pt x="4" y="16"/>
                  </a:lnTo>
                  <a:lnTo>
                    <a:pt x="4" y="18"/>
                  </a:lnTo>
                  <a:lnTo>
                    <a:pt x="4" y="18"/>
                  </a:lnTo>
                  <a:lnTo>
                    <a:pt x="2" y="18"/>
                  </a:lnTo>
                  <a:lnTo>
                    <a:pt x="2" y="18"/>
                  </a:lnTo>
                  <a:lnTo>
                    <a:pt x="2" y="18"/>
                  </a:lnTo>
                  <a:lnTo>
                    <a:pt x="2" y="18"/>
                  </a:lnTo>
                  <a:lnTo>
                    <a:pt x="2" y="19"/>
                  </a:lnTo>
                  <a:lnTo>
                    <a:pt x="2" y="19"/>
                  </a:lnTo>
                  <a:lnTo>
                    <a:pt x="1" y="18"/>
                  </a:lnTo>
                  <a:lnTo>
                    <a:pt x="1" y="18"/>
                  </a:lnTo>
                  <a:lnTo>
                    <a:pt x="1" y="18"/>
                  </a:lnTo>
                  <a:lnTo>
                    <a:pt x="1" y="18"/>
                  </a:lnTo>
                  <a:lnTo>
                    <a:pt x="1" y="18"/>
                  </a:lnTo>
                  <a:lnTo>
                    <a:pt x="1" y="18"/>
                  </a:lnTo>
                  <a:lnTo>
                    <a:pt x="1" y="18"/>
                  </a:lnTo>
                  <a:lnTo>
                    <a:pt x="1" y="16"/>
                  </a:lnTo>
                  <a:lnTo>
                    <a:pt x="1" y="16"/>
                  </a:lnTo>
                  <a:lnTo>
                    <a:pt x="1" y="16"/>
                  </a:lnTo>
                  <a:lnTo>
                    <a:pt x="1" y="15"/>
                  </a:lnTo>
                  <a:lnTo>
                    <a:pt x="1" y="15"/>
                  </a:lnTo>
                  <a:lnTo>
                    <a:pt x="1" y="15"/>
                  </a:lnTo>
                  <a:lnTo>
                    <a:pt x="1" y="15"/>
                  </a:lnTo>
                  <a:lnTo>
                    <a:pt x="1" y="15"/>
                  </a:lnTo>
                  <a:lnTo>
                    <a:pt x="1" y="15"/>
                  </a:lnTo>
                  <a:lnTo>
                    <a:pt x="1" y="15"/>
                  </a:lnTo>
                  <a:lnTo>
                    <a:pt x="1" y="15"/>
                  </a:lnTo>
                  <a:lnTo>
                    <a:pt x="1" y="15"/>
                  </a:lnTo>
                  <a:lnTo>
                    <a:pt x="1" y="15"/>
                  </a:lnTo>
                  <a:lnTo>
                    <a:pt x="2" y="15"/>
                  </a:lnTo>
                  <a:lnTo>
                    <a:pt x="2" y="15"/>
                  </a:lnTo>
                  <a:lnTo>
                    <a:pt x="2" y="15"/>
                  </a:lnTo>
                  <a:lnTo>
                    <a:pt x="2" y="14"/>
                  </a:lnTo>
                  <a:lnTo>
                    <a:pt x="2" y="14"/>
                  </a:lnTo>
                  <a:lnTo>
                    <a:pt x="2" y="14"/>
                  </a:lnTo>
                  <a:lnTo>
                    <a:pt x="1" y="13"/>
                  </a:lnTo>
                  <a:lnTo>
                    <a:pt x="1" y="13"/>
                  </a:lnTo>
                  <a:lnTo>
                    <a:pt x="1" y="13"/>
                  </a:lnTo>
                  <a:lnTo>
                    <a:pt x="1" y="12"/>
                  </a:lnTo>
                  <a:lnTo>
                    <a:pt x="0" y="12"/>
                  </a:lnTo>
                  <a:lnTo>
                    <a:pt x="0" y="12"/>
                  </a:lnTo>
                  <a:lnTo>
                    <a:pt x="1" y="12"/>
                  </a:lnTo>
                  <a:lnTo>
                    <a:pt x="1" y="12"/>
                  </a:lnTo>
                  <a:lnTo>
                    <a:pt x="1" y="11"/>
                  </a:lnTo>
                  <a:lnTo>
                    <a:pt x="1" y="11"/>
                  </a:lnTo>
                  <a:lnTo>
                    <a:pt x="0" y="11"/>
                  </a:lnTo>
                  <a:lnTo>
                    <a:pt x="0" y="9"/>
                  </a:lnTo>
                  <a:lnTo>
                    <a:pt x="0" y="9"/>
                  </a:lnTo>
                  <a:lnTo>
                    <a:pt x="0" y="9"/>
                  </a:lnTo>
                  <a:lnTo>
                    <a:pt x="1" y="8"/>
                  </a:lnTo>
                  <a:lnTo>
                    <a:pt x="1" y="8"/>
                  </a:lnTo>
                  <a:lnTo>
                    <a:pt x="2" y="8"/>
                  </a:lnTo>
                  <a:lnTo>
                    <a:pt x="2" y="8"/>
                  </a:lnTo>
                  <a:lnTo>
                    <a:pt x="2" y="7"/>
                  </a:lnTo>
                  <a:lnTo>
                    <a:pt x="2" y="7"/>
                  </a:lnTo>
                  <a:lnTo>
                    <a:pt x="2" y="7"/>
                  </a:lnTo>
                  <a:lnTo>
                    <a:pt x="2" y="6"/>
                  </a:lnTo>
                  <a:lnTo>
                    <a:pt x="2" y="6"/>
                  </a:lnTo>
                  <a:lnTo>
                    <a:pt x="4" y="6"/>
                  </a:lnTo>
                  <a:lnTo>
                    <a:pt x="2" y="5"/>
                  </a:lnTo>
                  <a:lnTo>
                    <a:pt x="4" y="5"/>
                  </a:lnTo>
                  <a:lnTo>
                    <a:pt x="5" y="4"/>
                  </a:lnTo>
                  <a:lnTo>
                    <a:pt x="5" y="4"/>
                  </a:lnTo>
                  <a:lnTo>
                    <a:pt x="5" y="4"/>
                  </a:lnTo>
                  <a:lnTo>
                    <a:pt x="5" y="4"/>
                  </a:lnTo>
                  <a:lnTo>
                    <a:pt x="5" y="4"/>
                  </a:lnTo>
                  <a:lnTo>
                    <a:pt x="5" y="4"/>
                  </a:lnTo>
                  <a:lnTo>
                    <a:pt x="6" y="4"/>
                  </a:lnTo>
                  <a:lnTo>
                    <a:pt x="6" y="4"/>
                  </a:lnTo>
                  <a:lnTo>
                    <a:pt x="6" y="4"/>
                  </a:lnTo>
                  <a:lnTo>
                    <a:pt x="6" y="4"/>
                  </a:lnTo>
                  <a:lnTo>
                    <a:pt x="6" y="4"/>
                  </a:lnTo>
                  <a:lnTo>
                    <a:pt x="6" y="4"/>
                  </a:lnTo>
                  <a:lnTo>
                    <a:pt x="7" y="4"/>
                  </a:lnTo>
                  <a:lnTo>
                    <a:pt x="7" y="5"/>
                  </a:lnTo>
                  <a:lnTo>
                    <a:pt x="7" y="5"/>
                  </a:lnTo>
                  <a:lnTo>
                    <a:pt x="7" y="5"/>
                  </a:lnTo>
                  <a:lnTo>
                    <a:pt x="7" y="5"/>
                  </a:lnTo>
                  <a:lnTo>
                    <a:pt x="7" y="5"/>
                  </a:lnTo>
                  <a:lnTo>
                    <a:pt x="7" y="5"/>
                  </a:lnTo>
                  <a:lnTo>
                    <a:pt x="7" y="5"/>
                  </a:lnTo>
                  <a:lnTo>
                    <a:pt x="7" y="5"/>
                  </a:lnTo>
                  <a:lnTo>
                    <a:pt x="7" y="5"/>
                  </a:lnTo>
                  <a:lnTo>
                    <a:pt x="7" y="4"/>
                  </a:lnTo>
                  <a:lnTo>
                    <a:pt x="8" y="4"/>
                  </a:lnTo>
                  <a:lnTo>
                    <a:pt x="8" y="4"/>
                  </a:lnTo>
                  <a:lnTo>
                    <a:pt x="7" y="4"/>
                  </a:lnTo>
                  <a:lnTo>
                    <a:pt x="7" y="2"/>
                  </a:lnTo>
                  <a:lnTo>
                    <a:pt x="7" y="2"/>
                  </a:lnTo>
                  <a:lnTo>
                    <a:pt x="6" y="2"/>
                  </a:lnTo>
                  <a:lnTo>
                    <a:pt x="6" y="2"/>
                  </a:lnTo>
                  <a:lnTo>
                    <a:pt x="6" y="2"/>
                  </a:lnTo>
                  <a:lnTo>
                    <a:pt x="6" y="1"/>
                  </a:lnTo>
                  <a:lnTo>
                    <a:pt x="6" y="1"/>
                  </a:lnTo>
                  <a:lnTo>
                    <a:pt x="6" y="1"/>
                  </a:lnTo>
                  <a:lnTo>
                    <a:pt x="6" y="1"/>
                  </a:lnTo>
                  <a:lnTo>
                    <a:pt x="6" y="1"/>
                  </a:lnTo>
                  <a:lnTo>
                    <a:pt x="6" y="1"/>
                  </a:lnTo>
                  <a:lnTo>
                    <a:pt x="6" y="1"/>
                  </a:lnTo>
                  <a:lnTo>
                    <a:pt x="6" y="1"/>
                  </a:lnTo>
                  <a:lnTo>
                    <a:pt x="6" y="1"/>
                  </a:lnTo>
                  <a:lnTo>
                    <a:pt x="6" y="1"/>
                  </a:lnTo>
                  <a:lnTo>
                    <a:pt x="6" y="0"/>
                  </a:lnTo>
                  <a:lnTo>
                    <a:pt x="6" y="0"/>
                  </a:lnTo>
                  <a:lnTo>
                    <a:pt x="7" y="0"/>
                  </a:lnTo>
                  <a:lnTo>
                    <a:pt x="7" y="0"/>
                  </a:lnTo>
                  <a:lnTo>
                    <a:pt x="7" y="1"/>
                  </a:lnTo>
                  <a:lnTo>
                    <a:pt x="7" y="1"/>
                  </a:lnTo>
                  <a:lnTo>
                    <a:pt x="7" y="1"/>
                  </a:lnTo>
                  <a:lnTo>
                    <a:pt x="8" y="1"/>
                  </a:lnTo>
                  <a:lnTo>
                    <a:pt x="8" y="1"/>
                  </a:lnTo>
                  <a:lnTo>
                    <a:pt x="8" y="0"/>
                  </a:lnTo>
                  <a:lnTo>
                    <a:pt x="8" y="0"/>
                  </a:lnTo>
                  <a:lnTo>
                    <a:pt x="9"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94" name="Freeform 950">
              <a:extLst>
                <a:ext uri="{FF2B5EF4-FFF2-40B4-BE49-F238E27FC236}">
                  <a16:creationId xmlns:a16="http://schemas.microsoft.com/office/drawing/2014/main" id="{61D0520E-C70A-4F77-B4CF-B8F1C41925CD}"/>
                </a:ext>
              </a:extLst>
            </p:cNvPr>
            <p:cNvSpPr>
              <a:spLocks/>
            </p:cNvSpPr>
            <p:nvPr/>
          </p:nvSpPr>
          <p:spPr bwMode="auto">
            <a:xfrm>
              <a:off x="7234065" y="2252092"/>
              <a:ext cx="552892" cy="219020"/>
            </a:xfrm>
            <a:custGeom>
              <a:avLst/>
              <a:gdLst>
                <a:gd name="T0" fmla="*/ 348 w 414"/>
                <a:gd name="T1" fmla="*/ 61 h 164"/>
                <a:gd name="T2" fmla="*/ 366 w 414"/>
                <a:gd name="T3" fmla="*/ 66 h 164"/>
                <a:gd name="T4" fmla="*/ 378 w 414"/>
                <a:gd name="T5" fmla="*/ 64 h 164"/>
                <a:gd name="T6" fmla="*/ 389 w 414"/>
                <a:gd name="T7" fmla="*/ 67 h 164"/>
                <a:gd name="T8" fmla="*/ 407 w 414"/>
                <a:gd name="T9" fmla="*/ 76 h 164"/>
                <a:gd name="T10" fmla="*/ 413 w 414"/>
                <a:gd name="T11" fmla="*/ 84 h 164"/>
                <a:gd name="T12" fmla="*/ 400 w 414"/>
                <a:gd name="T13" fmla="*/ 83 h 164"/>
                <a:gd name="T14" fmla="*/ 388 w 414"/>
                <a:gd name="T15" fmla="*/ 87 h 164"/>
                <a:gd name="T16" fmla="*/ 379 w 414"/>
                <a:gd name="T17" fmla="*/ 89 h 164"/>
                <a:gd name="T18" fmla="*/ 371 w 414"/>
                <a:gd name="T19" fmla="*/ 103 h 164"/>
                <a:gd name="T20" fmla="*/ 356 w 414"/>
                <a:gd name="T21" fmla="*/ 111 h 164"/>
                <a:gd name="T22" fmla="*/ 335 w 414"/>
                <a:gd name="T23" fmla="*/ 109 h 164"/>
                <a:gd name="T24" fmla="*/ 331 w 414"/>
                <a:gd name="T25" fmla="*/ 122 h 164"/>
                <a:gd name="T26" fmla="*/ 338 w 414"/>
                <a:gd name="T27" fmla="*/ 133 h 164"/>
                <a:gd name="T28" fmla="*/ 327 w 414"/>
                <a:gd name="T29" fmla="*/ 146 h 164"/>
                <a:gd name="T30" fmla="*/ 306 w 414"/>
                <a:gd name="T31" fmla="*/ 150 h 164"/>
                <a:gd name="T32" fmla="*/ 271 w 414"/>
                <a:gd name="T33" fmla="*/ 160 h 164"/>
                <a:gd name="T34" fmla="*/ 242 w 414"/>
                <a:gd name="T35" fmla="*/ 157 h 164"/>
                <a:gd name="T36" fmla="*/ 199 w 414"/>
                <a:gd name="T37" fmla="*/ 146 h 164"/>
                <a:gd name="T38" fmla="*/ 151 w 414"/>
                <a:gd name="T39" fmla="*/ 143 h 164"/>
                <a:gd name="T40" fmla="*/ 130 w 414"/>
                <a:gd name="T41" fmla="*/ 125 h 164"/>
                <a:gd name="T42" fmla="*/ 114 w 414"/>
                <a:gd name="T43" fmla="*/ 117 h 164"/>
                <a:gd name="T44" fmla="*/ 96 w 414"/>
                <a:gd name="T45" fmla="*/ 110 h 164"/>
                <a:gd name="T46" fmla="*/ 81 w 414"/>
                <a:gd name="T47" fmla="*/ 109 h 164"/>
                <a:gd name="T48" fmla="*/ 66 w 414"/>
                <a:gd name="T49" fmla="*/ 106 h 164"/>
                <a:gd name="T50" fmla="*/ 60 w 414"/>
                <a:gd name="T51" fmla="*/ 91 h 164"/>
                <a:gd name="T52" fmla="*/ 54 w 414"/>
                <a:gd name="T53" fmla="*/ 80 h 164"/>
                <a:gd name="T54" fmla="*/ 42 w 414"/>
                <a:gd name="T55" fmla="*/ 69 h 164"/>
                <a:gd name="T56" fmla="*/ 32 w 414"/>
                <a:gd name="T57" fmla="*/ 66 h 164"/>
                <a:gd name="T58" fmla="*/ 21 w 414"/>
                <a:gd name="T59" fmla="*/ 62 h 164"/>
                <a:gd name="T60" fmla="*/ 9 w 414"/>
                <a:gd name="T61" fmla="*/ 55 h 164"/>
                <a:gd name="T62" fmla="*/ 2 w 414"/>
                <a:gd name="T63" fmla="*/ 47 h 164"/>
                <a:gd name="T64" fmla="*/ 5 w 414"/>
                <a:gd name="T65" fmla="*/ 40 h 164"/>
                <a:gd name="T66" fmla="*/ 14 w 414"/>
                <a:gd name="T67" fmla="*/ 39 h 164"/>
                <a:gd name="T68" fmla="*/ 19 w 414"/>
                <a:gd name="T69" fmla="*/ 33 h 164"/>
                <a:gd name="T70" fmla="*/ 29 w 414"/>
                <a:gd name="T71" fmla="*/ 26 h 164"/>
                <a:gd name="T72" fmla="*/ 42 w 414"/>
                <a:gd name="T73" fmla="*/ 22 h 164"/>
                <a:gd name="T74" fmla="*/ 50 w 414"/>
                <a:gd name="T75" fmla="*/ 20 h 164"/>
                <a:gd name="T76" fmla="*/ 71 w 414"/>
                <a:gd name="T77" fmla="*/ 28 h 164"/>
                <a:gd name="T78" fmla="*/ 87 w 414"/>
                <a:gd name="T79" fmla="*/ 34 h 164"/>
                <a:gd name="T80" fmla="*/ 100 w 414"/>
                <a:gd name="T81" fmla="*/ 34 h 164"/>
                <a:gd name="T82" fmla="*/ 114 w 414"/>
                <a:gd name="T83" fmla="*/ 34 h 164"/>
                <a:gd name="T84" fmla="*/ 116 w 414"/>
                <a:gd name="T85" fmla="*/ 25 h 164"/>
                <a:gd name="T86" fmla="*/ 107 w 414"/>
                <a:gd name="T87" fmla="*/ 17 h 164"/>
                <a:gd name="T88" fmla="*/ 108 w 414"/>
                <a:gd name="T89" fmla="*/ 6 h 164"/>
                <a:gd name="T90" fmla="*/ 116 w 414"/>
                <a:gd name="T91" fmla="*/ 3 h 164"/>
                <a:gd name="T92" fmla="*/ 140 w 414"/>
                <a:gd name="T93" fmla="*/ 8 h 164"/>
                <a:gd name="T94" fmla="*/ 154 w 414"/>
                <a:gd name="T95" fmla="*/ 11 h 164"/>
                <a:gd name="T96" fmla="*/ 164 w 414"/>
                <a:gd name="T97" fmla="*/ 22 h 164"/>
                <a:gd name="T98" fmla="*/ 179 w 414"/>
                <a:gd name="T99" fmla="*/ 29 h 164"/>
                <a:gd name="T100" fmla="*/ 192 w 414"/>
                <a:gd name="T101" fmla="*/ 28 h 164"/>
                <a:gd name="T102" fmla="*/ 208 w 414"/>
                <a:gd name="T103" fmla="*/ 26 h 164"/>
                <a:gd name="T104" fmla="*/ 224 w 414"/>
                <a:gd name="T105" fmla="*/ 29 h 164"/>
                <a:gd name="T106" fmla="*/ 239 w 414"/>
                <a:gd name="T107" fmla="*/ 35 h 164"/>
                <a:gd name="T108" fmla="*/ 252 w 414"/>
                <a:gd name="T109" fmla="*/ 42 h 164"/>
                <a:gd name="T110" fmla="*/ 268 w 414"/>
                <a:gd name="T111" fmla="*/ 45 h 164"/>
                <a:gd name="T112" fmla="*/ 286 w 414"/>
                <a:gd name="T113" fmla="*/ 42 h 164"/>
                <a:gd name="T114" fmla="*/ 303 w 414"/>
                <a:gd name="T115" fmla="*/ 36 h 164"/>
                <a:gd name="T116" fmla="*/ 315 w 414"/>
                <a:gd name="T117" fmla="*/ 29 h 164"/>
                <a:gd name="T118" fmla="*/ 337 w 414"/>
                <a:gd name="T119" fmla="*/ 3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4" h="164">
                  <a:moveTo>
                    <a:pt x="345" y="35"/>
                  </a:moveTo>
                  <a:lnTo>
                    <a:pt x="345" y="40"/>
                  </a:lnTo>
                  <a:lnTo>
                    <a:pt x="346" y="45"/>
                  </a:lnTo>
                  <a:lnTo>
                    <a:pt x="346" y="49"/>
                  </a:lnTo>
                  <a:lnTo>
                    <a:pt x="346" y="50"/>
                  </a:lnTo>
                  <a:lnTo>
                    <a:pt x="348" y="50"/>
                  </a:lnTo>
                  <a:lnTo>
                    <a:pt x="348" y="52"/>
                  </a:lnTo>
                  <a:lnTo>
                    <a:pt x="346" y="55"/>
                  </a:lnTo>
                  <a:lnTo>
                    <a:pt x="348" y="56"/>
                  </a:lnTo>
                  <a:lnTo>
                    <a:pt x="349" y="59"/>
                  </a:lnTo>
                  <a:lnTo>
                    <a:pt x="350" y="60"/>
                  </a:lnTo>
                  <a:lnTo>
                    <a:pt x="349" y="60"/>
                  </a:lnTo>
                  <a:lnTo>
                    <a:pt x="348" y="61"/>
                  </a:lnTo>
                  <a:lnTo>
                    <a:pt x="346" y="61"/>
                  </a:lnTo>
                  <a:lnTo>
                    <a:pt x="348" y="61"/>
                  </a:lnTo>
                  <a:lnTo>
                    <a:pt x="349" y="63"/>
                  </a:lnTo>
                  <a:lnTo>
                    <a:pt x="350" y="64"/>
                  </a:lnTo>
                  <a:lnTo>
                    <a:pt x="355" y="68"/>
                  </a:lnTo>
                  <a:lnTo>
                    <a:pt x="356" y="68"/>
                  </a:lnTo>
                  <a:lnTo>
                    <a:pt x="357" y="68"/>
                  </a:lnTo>
                  <a:lnTo>
                    <a:pt x="357" y="67"/>
                  </a:lnTo>
                  <a:lnTo>
                    <a:pt x="358" y="66"/>
                  </a:lnTo>
                  <a:lnTo>
                    <a:pt x="360" y="66"/>
                  </a:lnTo>
                  <a:lnTo>
                    <a:pt x="362" y="66"/>
                  </a:lnTo>
                  <a:lnTo>
                    <a:pt x="365" y="66"/>
                  </a:lnTo>
                  <a:lnTo>
                    <a:pt x="366" y="66"/>
                  </a:lnTo>
                  <a:lnTo>
                    <a:pt x="367" y="66"/>
                  </a:lnTo>
                  <a:lnTo>
                    <a:pt x="369" y="66"/>
                  </a:lnTo>
                  <a:lnTo>
                    <a:pt x="373" y="69"/>
                  </a:lnTo>
                  <a:lnTo>
                    <a:pt x="374" y="69"/>
                  </a:lnTo>
                  <a:lnTo>
                    <a:pt x="374" y="68"/>
                  </a:lnTo>
                  <a:lnTo>
                    <a:pt x="374" y="67"/>
                  </a:lnTo>
                  <a:lnTo>
                    <a:pt x="375" y="68"/>
                  </a:lnTo>
                  <a:lnTo>
                    <a:pt x="377" y="68"/>
                  </a:lnTo>
                  <a:lnTo>
                    <a:pt x="377" y="69"/>
                  </a:lnTo>
                  <a:lnTo>
                    <a:pt x="378" y="68"/>
                  </a:lnTo>
                  <a:lnTo>
                    <a:pt x="379" y="67"/>
                  </a:lnTo>
                  <a:lnTo>
                    <a:pt x="379" y="66"/>
                  </a:lnTo>
                  <a:lnTo>
                    <a:pt x="378" y="64"/>
                  </a:lnTo>
                  <a:lnTo>
                    <a:pt x="377" y="64"/>
                  </a:lnTo>
                  <a:lnTo>
                    <a:pt x="377" y="63"/>
                  </a:lnTo>
                  <a:lnTo>
                    <a:pt x="375" y="63"/>
                  </a:lnTo>
                  <a:lnTo>
                    <a:pt x="377" y="63"/>
                  </a:lnTo>
                  <a:lnTo>
                    <a:pt x="378" y="63"/>
                  </a:lnTo>
                  <a:lnTo>
                    <a:pt x="379" y="63"/>
                  </a:lnTo>
                  <a:lnTo>
                    <a:pt x="380" y="63"/>
                  </a:lnTo>
                  <a:lnTo>
                    <a:pt x="381" y="63"/>
                  </a:lnTo>
                  <a:lnTo>
                    <a:pt x="382" y="63"/>
                  </a:lnTo>
                  <a:lnTo>
                    <a:pt x="385" y="63"/>
                  </a:lnTo>
                  <a:lnTo>
                    <a:pt x="386" y="63"/>
                  </a:lnTo>
                  <a:lnTo>
                    <a:pt x="387" y="64"/>
                  </a:lnTo>
                  <a:lnTo>
                    <a:pt x="389" y="67"/>
                  </a:lnTo>
                  <a:lnTo>
                    <a:pt x="391" y="67"/>
                  </a:lnTo>
                  <a:lnTo>
                    <a:pt x="393" y="68"/>
                  </a:lnTo>
                  <a:lnTo>
                    <a:pt x="395" y="68"/>
                  </a:lnTo>
                  <a:lnTo>
                    <a:pt x="395" y="69"/>
                  </a:lnTo>
                  <a:lnTo>
                    <a:pt x="396" y="70"/>
                  </a:lnTo>
                  <a:lnTo>
                    <a:pt x="398" y="70"/>
                  </a:lnTo>
                  <a:lnTo>
                    <a:pt x="399" y="71"/>
                  </a:lnTo>
                  <a:lnTo>
                    <a:pt x="400" y="71"/>
                  </a:lnTo>
                  <a:lnTo>
                    <a:pt x="400" y="73"/>
                  </a:lnTo>
                  <a:lnTo>
                    <a:pt x="403" y="74"/>
                  </a:lnTo>
                  <a:lnTo>
                    <a:pt x="405" y="75"/>
                  </a:lnTo>
                  <a:lnTo>
                    <a:pt x="406" y="75"/>
                  </a:lnTo>
                  <a:lnTo>
                    <a:pt x="407" y="76"/>
                  </a:lnTo>
                  <a:lnTo>
                    <a:pt x="408" y="76"/>
                  </a:lnTo>
                  <a:lnTo>
                    <a:pt x="409" y="77"/>
                  </a:lnTo>
                  <a:lnTo>
                    <a:pt x="409" y="78"/>
                  </a:lnTo>
                  <a:lnTo>
                    <a:pt x="410" y="78"/>
                  </a:lnTo>
                  <a:lnTo>
                    <a:pt x="410" y="80"/>
                  </a:lnTo>
                  <a:lnTo>
                    <a:pt x="412" y="80"/>
                  </a:lnTo>
                  <a:lnTo>
                    <a:pt x="413" y="80"/>
                  </a:lnTo>
                  <a:lnTo>
                    <a:pt x="413" y="81"/>
                  </a:lnTo>
                  <a:lnTo>
                    <a:pt x="413" y="82"/>
                  </a:lnTo>
                  <a:lnTo>
                    <a:pt x="414" y="82"/>
                  </a:lnTo>
                  <a:lnTo>
                    <a:pt x="414" y="83"/>
                  </a:lnTo>
                  <a:lnTo>
                    <a:pt x="414" y="84"/>
                  </a:lnTo>
                  <a:lnTo>
                    <a:pt x="413" y="84"/>
                  </a:lnTo>
                  <a:lnTo>
                    <a:pt x="413" y="85"/>
                  </a:lnTo>
                  <a:lnTo>
                    <a:pt x="412" y="84"/>
                  </a:lnTo>
                  <a:lnTo>
                    <a:pt x="410" y="84"/>
                  </a:lnTo>
                  <a:lnTo>
                    <a:pt x="409" y="84"/>
                  </a:lnTo>
                  <a:lnTo>
                    <a:pt x="408" y="84"/>
                  </a:lnTo>
                  <a:lnTo>
                    <a:pt x="405" y="84"/>
                  </a:lnTo>
                  <a:lnTo>
                    <a:pt x="403" y="84"/>
                  </a:lnTo>
                  <a:lnTo>
                    <a:pt x="403" y="83"/>
                  </a:lnTo>
                  <a:lnTo>
                    <a:pt x="402" y="83"/>
                  </a:lnTo>
                  <a:lnTo>
                    <a:pt x="401" y="83"/>
                  </a:lnTo>
                  <a:lnTo>
                    <a:pt x="401" y="82"/>
                  </a:lnTo>
                  <a:lnTo>
                    <a:pt x="400" y="82"/>
                  </a:lnTo>
                  <a:lnTo>
                    <a:pt x="400" y="83"/>
                  </a:lnTo>
                  <a:lnTo>
                    <a:pt x="399" y="83"/>
                  </a:lnTo>
                  <a:lnTo>
                    <a:pt x="398" y="83"/>
                  </a:lnTo>
                  <a:lnTo>
                    <a:pt x="396" y="83"/>
                  </a:lnTo>
                  <a:lnTo>
                    <a:pt x="395" y="83"/>
                  </a:lnTo>
                  <a:lnTo>
                    <a:pt x="394" y="83"/>
                  </a:lnTo>
                  <a:lnTo>
                    <a:pt x="393" y="83"/>
                  </a:lnTo>
                  <a:lnTo>
                    <a:pt x="393" y="84"/>
                  </a:lnTo>
                  <a:lnTo>
                    <a:pt x="392" y="84"/>
                  </a:lnTo>
                  <a:lnTo>
                    <a:pt x="391" y="84"/>
                  </a:lnTo>
                  <a:lnTo>
                    <a:pt x="391" y="85"/>
                  </a:lnTo>
                  <a:lnTo>
                    <a:pt x="389" y="85"/>
                  </a:lnTo>
                  <a:lnTo>
                    <a:pt x="389" y="87"/>
                  </a:lnTo>
                  <a:lnTo>
                    <a:pt x="388" y="87"/>
                  </a:lnTo>
                  <a:lnTo>
                    <a:pt x="387" y="85"/>
                  </a:lnTo>
                  <a:lnTo>
                    <a:pt x="386" y="85"/>
                  </a:lnTo>
                  <a:lnTo>
                    <a:pt x="386" y="84"/>
                  </a:lnTo>
                  <a:lnTo>
                    <a:pt x="386" y="85"/>
                  </a:lnTo>
                  <a:lnTo>
                    <a:pt x="385" y="85"/>
                  </a:lnTo>
                  <a:lnTo>
                    <a:pt x="385" y="87"/>
                  </a:lnTo>
                  <a:lnTo>
                    <a:pt x="385" y="88"/>
                  </a:lnTo>
                  <a:lnTo>
                    <a:pt x="386" y="88"/>
                  </a:lnTo>
                  <a:lnTo>
                    <a:pt x="386" y="89"/>
                  </a:lnTo>
                  <a:lnTo>
                    <a:pt x="385" y="89"/>
                  </a:lnTo>
                  <a:lnTo>
                    <a:pt x="381" y="89"/>
                  </a:lnTo>
                  <a:lnTo>
                    <a:pt x="379" y="88"/>
                  </a:lnTo>
                  <a:lnTo>
                    <a:pt x="379" y="89"/>
                  </a:lnTo>
                  <a:lnTo>
                    <a:pt x="378" y="89"/>
                  </a:lnTo>
                  <a:lnTo>
                    <a:pt x="377" y="89"/>
                  </a:lnTo>
                  <a:lnTo>
                    <a:pt x="377" y="90"/>
                  </a:lnTo>
                  <a:lnTo>
                    <a:pt x="375" y="92"/>
                  </a:lnTo>
                  <a:lnTo>
                    <a:pt x="375" y="96"/>
                  </a:lnTo>
                  <a:lnTo>
                    <a:pt x="377" y="96"/>
                  </a:lnTo>
                  <a:lnTo>
                    <a:pt x="377" y="97"/>
                  </a:lnTo>
                  <a:lnTo>
                    <a:pt x="377" y="98"/>
                  </a:lnTo>
                  <a:lnTo>
                    <a:pt x="377" y="99"/>
                  </a:lnTo>
                  <a:lnTo>
                    <a:pt x="375" y="99"/>
                  </a:lnTo>
                  <a:lnTo>
                    <a:pt x="373" y="102"/>
                  </a:lnTo>
                  <a:lnTo>
                    <a:pt x="373" y="103"/>
                  </a:lnTo>
                  <a:lnTo>
                    <a:pt x="371" y="103"/>
                  </a:lnTo>
                  <a:lnTo>
                    <a:pt x="370" y="104"/>
                  </a:lnTo>
                  <a:lnTo>
                    <a:pt x="366" y="104"/>
                  </a:lnTo>
                  <a:lnTo>
                    <a:pt x="365" y="104"/>
                  </a:lnTo>
                  <a:lnTo>
                    <a:pt x="364" y="104"/>
                  </a:lnTo>
                  <a:lnTo>
                    <a:pt x="362" y="103"/>
                  </a:lnTo>
                  <a:lnTo>
                    <a:pt x="360" y="103"/>
                  </a:lnTo>
                  <a:lnTo>
                    <a:pt x="359" y="104"/>
                  </a:lnTo>
                  <a:lnTo>
                    <a:pt x="359" y="105"/>
                  </a:lnTo>
                  <a:lnTo>
                    <a:pt x="359" y="106"/>
                  </a:lnTo>
                  <a:lnTo>
                    <a:pt x="358" y="109"/>
                  </a:lnTo>
                  <a:lnTo>
                    <a:pt x="358" y="110"/>
                  </a:lnTo>
                  <a:lnTo>
                    <a:pt x="357" y="111"/>
                  </a:lnTo>
                  <a:lnTo>
                    <a:pt x="356" y="111"/>
                  </a:lnTo>
                  <a:lnTo>
                    <a:pt x="356" y="112"/>
                  </a:lnTo>
                  <a:lnTo>
                    <a:pt x="355" y="112"/>
                  </a:lnTo>
                  <a:lnTo>
                    <a:pt x="353" y="113"/>
                  </a:lnTo>
                  <a:lnTo>
                    <a:pt x="352" y="113"/>
                  </a:lnTo>
                  <a:lnTo>
                    <a:pt x="351" y="113"/>
                  </a:lnTo>
                  <a:lnTo>
                    <a:pt x="346" y="113"/>
                  </a:lnTo>
                  <a:lnTo>
                    <a:pt x="345" y="112"/>
                  </a:lnTo>
                  <a:lnTo>
                    <a:pt x="342" y="112"/>
                  </a:lnTo>
                  <a:lnTo>
                    <a:pt x="339" y="111"/>
                  </a:lnTo>
                  <a:lnTo>
                    <a:pt x="338" y="111"/>
                  </a:lnTo>
                  <a:lnTo>
                    <a:pt x="337" y="110"/>
                  </a:lnTo>
                  <a:lnTo>
                    <a:pt x="336" y="109"/>
                  </a:lnTo>
                  <a:lnTo>
                    <a:pt x="335" y="109"/>
                  </a:lnTo>
                  <a:lnTo>
                    <a:pt x="331" y="109"/>
                  </a:lnTo>
                  <a:lnTo>
                    <a:pt x="330" y="109"/>
                  </a:lnTo>
                  <a:lnTo>
                    <a:pt x="329" y="109"/>
                  </a:lnTo>
                  <a:lnTo>
                    <a:pt x="328" y="110"/>
                  </a:lnTo>
                  <a:lnTo>
                    <a:pt x="328" y="115"/>
                  </a:lnTo>
                  <a:lnTo>
                    <a:pt x="329" y="116"/>
                  </a:lnTo>
                  <a:lnTo>
                    <a:pt x="329" y="117"/>
                  </a:lnTo>
                  <a:lnTo>
                    <a:pt x="329" y="118"/>
                  </a:lnTo>
                  <a:lnTo>
                    <a:pt x="329" y="119"/>
                  </a:lnTo>
                  <a:lnTo>
                    <a:pt x="329" y="120"/>
                  </a:lnTo>
                  <a:lnTo>
                    <a:pt x="330" y="120"/>
                  </a:lnTo>
                  <a:lnTo>
                    <a:pt x="331" y="120"/>
                  </a:lnTo>
                  <a:lnTo>
                    <a:pt x="331" y="122"/>
                  </a:lnTo>
                  <a:lnTo>
                    <a:pt x="332" y="123"/>
                  </a:lnTo>
                  <a:lnTo>
                    <a:pt x="335" y="124"/>
                  </a:lnTo>
                  <a:lnTo>
                    <a:pt x="335" y="125"/>
                  </a:lnTo>
                  <a:lnTo>
                    <a:pt x="337" y="125"/>
                  </a:lnTo>
                  <a:lnTo>
                    <a:pt x="337" y="126"/>
                  </a:lnTo>
                  <a:lnTo>
                    <a:pt x="338" y="126"/>
                  </a:lnTo>
                  <a:lnTo>
                    <a:pt x="341" y="129"/>
                  </a:lnTo>
                  <a:lnTo>
                    <a:pt x="341" y="130"/>
                  </a:lnTo>
                  <a:lnTo>
                    <a:pt x="342" y="130"/>
                  </a:lnTo>
                  <a:lnTo>
                    <a:pt x="341" y="130"/>
                  </a:lnTo>
                  <a:lnTo>
                    <a:pt x="341" y="131"/>
                  </a:lnTo>
                  <a:lnTo>
                    <a:pt x="339" y="131"/>
                  </a:lnTo>
                  <a:lnTo>
                    <a:pt x="338" y="133"/>
                  </a:lnTo>
                  <a:lnTo>
                    <a:pt x="337" y="133"/>
                  </a:lnTo>
                  <a:lnTo>
                    <a:pt x="336" y="133"/>
                  </a:lnTo>
                  <a:lnTo>
                    <a:pt x="336" y="134"/>
                  </a:lnTo>
                  <a:lnTo>
                    <a:pt x="334" y="136"/>
                  </a:lnTo>
                  <a:lnTo>
                    <a:pt x="332" y="136"/>
                  </a:lnTo>
                  <a:lnTo>
                    <a:pt x="332" y="137"/>
                  </a:lnTo>
                  <a:lnTo>
                    <a:pt x="331" y="139"/>
                  </a:lnTo>
                  <a:lnTo>
                    <a:pt x="330" y="140"/>
                  </a:lnTo>
                  <a:lnTo>
                    <a:pt x="330" y="141"/>
                  </a:lnTo>
                  <a:lnTo>
                    <a:pt x="330" y="143"/>
                  </a:lnTo>
                  <a:lnTo>
                    <a:pt x="329" y="144"/>
                  </a:lnTo>
                  <a:lnTo>
                    <a:pt x="329" y="145"/>
                  </a:lnTo>
                  <a:lnTo>
                    <a:pt x="327" y="146"/>
                  </a:lnTo>
                  <a:lnTo>
                    <a:pt x="325" y="146"/>
                  </a:lnTo>
                  <a:lnTo>
                    <a:pt x="324" y="147"/>
                  </a:lnTo>
                  <a:lnTo>
                    <a:pt x="322" y="148"/>
                  </a:lnTo>
                  <a:lnTo>
                    <a:pt x="321" y="150"/>
                  </a:lnTo>
                  <a:lnTo>
                    <a:pt x="320" y="150"/>
                  </a:lnTo>
                  <a:lnTo>
                    <a:pt x="318" y="150"/>
                  </a:lnTo>
                  <a:lnTo>
                    <a:pt x="317" y="150"/>
                  </a:lnTo>
                  <a:lnTo>
                    <a:pt x="314" y="150"/>
                  </a:lnTo>
                  <a:lnTo>
                    <a:pt x="313" y="150"/>
                  </a:lnTo>
                  <a:lnTo>
                    <a:pt x="313" y="151"/>
                  </a:lnTo>
                  <a:lnTo>
                    <a:pt x="311" y="151"/>
                  </a:lnTo>
                  <a:lnTo>
                    <a:pt x="308" y="150"/>
                  </a:lnTo>
                  <a:lnTo>
                    <a:pt x="306" y="150"/>
                  </a:lnTo>
                  <a:lnTo>
                    <a:pt x="305" y="150"/>
                  </a:lnTo>
                  <a:lnTo>
                    <a:pt x="303" y="150"/>
                  </a:lnTo>
                  <a:lnTo>
                    <a:pt x="302" y="150"/>
                  </a:lnTo>
                  <a:lnTo>
                    <a:pt x="298" y="151"/>
                  </a:lnTo>
                  <a:lnTo>
                    <a:pt x="292" y="151"/>
                  </a:lnTo>
                  <a:lnTo>
                    <a:pt x="287" y="152"/>
                  </a:lnTo>
                  <a:lnTo>
                    <a:pt x="282" y="154"/>
                  </a:lnTo>
                  <a:lnTo>
                    <a:pt x="278" y="157"/>
                  </a:lnTo>
                  <a:lnTo>
                    <a:pt x="274" y="159"/>
                  </a:lnTo>
                  <a:lnTo>
                    <a:pt x="273" y="159"/>
                  </a:lnTo>
                  <a:lnTo>
                    <a:pt x="273" y="160"/>
                  </a:lnTo>
                  <a:lnTo>
                    <a:pt x="272" y="160"/>
                  </a:lnTo>
                  <a:lnTo>
                    <a:pt x="271" y="160"/>
                  </a:lnTo>
                  <a:lnTo>
                    <a:pt x="270" y="162"/>
                  </a:lnTo>
                  <a:lnTo>
                    <a:pt x="270" y="164"/>
                  </a:lnTo>
                  <a:lnTo>
                    <a:pt x="268" y="162"/>
                  </a:lnTo>
                  <a:lnTo>
                    <a:pt x="267" y="162"/>
                  </a:lnTo>
                  <a:lnTo>
                    <a:pt x="264" y="162"/>
                  </a:lnTo>
                  <a:lnTo>
                    <a:pt x="263" y="162"/>
                  </a:lnTo>
                  <a:lnTo>
                    <a:pt x="263" y="161"/>
                  </a:lnTo>
                  <a:lnTo>
                    <a:pt x="261" y="159"/>
                  </a:lnTo>
                  <a:lnTo>
                    <a:pt x="257" y="159"/>
                  </a:lnTo>
                  <a:lnTo>
                    <a:pt x="252" y="160"/>
                  </a:lnTo>
                  <a:lnTo>
                    <a:pt x="247" y="159"/>
                  </a:lnTo>
                  <a:lnTo>
                    <a:pt x="243" y="157"/>
                  </a:lnTo>
                  <a:lnTo>
                    <a:pt x="242" y="157"/>
                  </a:lnTo>
                  <a:lnTo>
                    <a:pt x="237" y="155"/>
                  </a:lnTo>
                  <a:lnTo>
                    <a:pt x="232" y="154"/>
                  </a:lnTo>
                  <a:lnTo>
                    <a:pt x="228" y="153"/>
                  </a:lnTo>
                  <a:lnTo>
                    <a:pt x="227" y="153"/>
                  </a:lnTo>
                  <a:lnTo>
                    <a:pt x="225" y="152"/>
                  </a:lnTo>
                  <a:lnTo>
                    <a:pt x="222" y="150"/>
                  </a:lnTo>
                  <a:lnTo>
                    <a:pt x="221" y="148"/>
                  </a:lnTo>
                  <a:lnTo>
                    <a:pt x="218" y="148"/>
                  </a:lnTo>
                  <a:lnTo>
                    <a:pt x="217" y="148"/>
                  </a:lnTo>
                  <a:lnTo>
                    <a:pt x="215" y="148"/>
                  </a:lnTo>
                  <a:lnTo>
                    <a:pt x="209" y="147"/>
                  </a:lnTo>
                  <a:lnTo>
                    <a:pt x="204" y="147"/>
                  </a:lnTo>
                  <a:lnTo>
                    <a:pt x="199" y="146"/>
                  </a:lnTo>
                  <a:lnTo>
                    <a:pt x="197" y="146"/>
                  </a:lnTo>
                  <a:lnTo>
                    <a:pt x="194" y="147"/>
                  </a:lnTo>
                  <a:lnTo>
                    <a:pt x="193" y="147"/>
                  </a:lnTo>
                  <a:lnTo>
                    <a:pt x="187" y="147"/>
                  </a:lnTo>
                  <a:lnTo>
                    <a:pt x="181" y="146"/>
                  </a:lnTo>
                  <a:lnTo>
                    <a:pt x="177" y="146"/>
                  </a:lnTo>
                  <a:lnTo>
                    <a:pt x="171" y="145"/>
                  </a:lnTo>
                  <a:lnTo>
                    <a:pt x="166" y="145"/>
                  </a:lnTo>
                  <a:lnTo>
                    <a:pt x="161" y="144"/>
                  </a:lnTo>
                  <a:lnTo>
                    <a:pt x="158" y="145"/>
                  </a:lnTo>
                  <a:lnTo>
                    <a:pt x="153" y="145"/>
                  </a:lnTo>
                  <a:lnTo>
                    <a:pt x="152" y="145"/>
                  </a:lnTo>
                  <a:lnTo>
                    <a:pt x="151" y="143"/>
                  </a:lnTo>
                  <a:lnTo>
                    <a:pt x="150" y="143"/>
                  </a:lnTo>
                  <a:lnTo>
                    <a:pt x="150" y="141"/>
                  </a:lnTo>
                  <a:lnTo>
                    <a:pt x="143" y="138"/>
                  </a:lnTo>
                  <a:lnTo>
                    <a:pt x="142" y="137"/>
                  </a:lnTo>
                  <a:lnTo>
                    <a:pt x="142" y="136"/>
                  </a:lnTo>
                  <a:lnTo>
                    <a:pt x="140" y="136"/>
                  </a:lnTo>
                  <a:lnTo>
                    <a:pt x="140" y="134"/>
                  </a:lnTo>
                  <a:lnTo>
                    <a:pt x="137" y="131"/>
                  </a:lnTo>
                  <a:lnTo>
                    <a:pt x="135" y="127"/>
                  </a:lnTo>
                  <a:lnTo>
                    <a:pt x="132" y="126"/>
                  </a:lnTo>
                  <a:lnTo>
                    <a:pt x="132" y="125"/>
                  </a:lnTo>
                  <a:lnTo>
                    <a:pt x="131" y="125"/>
                  </a:lnTo>
                  <a:lnTo>
                    <a:pt x="130" y="125"/>
                  </a:lnTo>
                  <a:lnTo>
                    <a:pt x="129" y="124"/>
                  </a:lnTo>
                  <a:lnTo>
                    <a:pt x="129" y="123"/>
                  </a:lnTo>
                  <a:lnTo>
                    <a:pt x="129" y="122"/>
                  </a:lnTo>
                  <a:lnTo>
                    <a:pt x="129" y="120"/>
                  </a:lnTo>
                  <a:lnTo>
                    <a:pt x="124" y="122"/>
                  </a:lnTo>
                  <a:lnTo>
                    <a:pt x="123" y="120"/>
                  </a:lnTo>
                  <a:lnTo>
                    <a:pt x="119" y="120"/>
                  </a:lnTo>
                  <a:lnTo>
                    <a:pt x="119" y="119"/>
                  </a:lnTo>
                  <a:lnTo>
                    <a:pt x="118" y="119"/>
                  </a:lnTo>
                  <a:lnTo>
                    <a:pt x="117" y="118"/>
                  </a:lnTo>
                  <a:lnTo>
                    <a:pt x="116" y="118"/>
                  </a:lnTo>
                  <a:lnTo>
                    <a:pt x="115" y="117"/>
                  </a:lnTo>
                  <a:lnTo>
                    <a:pt x="114" y="117"/>
                  </a:lnTo>
                  <a:lnTo>
                    <a:pt x="113" y="117"/>
                  </a:lnTo>
                  <a:lnTo>
                    <a:pt x="113" y="116"/>
                  </a:lnTo>
                  <a:lnTo>
                    <a:pt x="111" y="115"/>
                  </a:lnTo>
                  <a:lnTo>
                    <a:pt x="110" y="115"/>
                  </a:lnTo>
                  <a:lnTo>
                    <a:pt x="109" y="115"/>
                  </a:lnTo>
                  <a:lnTo>
                    <a:pt x="108" y="115"/>
                  </a:lnTo>
                  <a:lnTo>
                    <a:pt x="107" y="115"/>
                  </a:lnTo>
                  <a:lnTo>
                    <a:pt x="103" y="111"/>
                  </a:lnTo>
                  <a:lnTo>
                    <a:pt x="101" y="110"/>
                  </a:lnTo>
                  <a:lnTo>
                    <a:pt x="100" y="110"/>
                  </a:lnTo>
                  <a:lnTo>
                    <a:pt x="99" y="110"/>
                  </a:lnTo>
                  <a:lnTo>
                    <a:pt x="97" y="110"/>
                  </a:lnTo>
                  <a:lnTo>
                    <a:pt x="96" y="110"/>
                  </a:lnTo>
                  <a:lnTo>
                    <a:pt x="95" y="110"/>
                  </a:lnTo>
                  <a:lnTo>
                    <a:pt x="94" y="110"/>
                  </a:lnTo>
                  <a:lnTo>
                    <a:pt x="93" y="110"/>
                  </a:lnTo>
                  <a:lnTo>
                    <a:pt x="92" y="109"/>
                  </a:lnTo>
                  <a:lnTo>
                    <a:pt x="90" y="109"/>
                  </a:lnTo>
                  <a:lnTo>
                    <a:pt x="89" y="110"/>
                  </a:lnTo>
                  <a:lnTo>
                    <a:pt x="88" y="110"/>
                  </a:lnTo>
                  <a:lnTo>
                    <a:pt x="87" y="110"/>
                  </a:lnTo>
                  <a:lnTo>
                    <a:pt x="86" y="110"/>
                  </a:lnTo>
                  <a:lnTo>
                    <a:pt x="85" y="110"/>
                  </a:lnTo>
                  <a:lnTo>
                    <a:pt x="83" y="110"/>
                  </a:lnTo>
                  <a:lnTo>
                    <a:pt x="82" y="109"/>
                  </a:lnTo>
                  <a:lnTo>
                    <a:pt x="81" y="109"/>
                  </a:lnTo>
                  <a:lnTo>
                    <a:pt x="80" y="109"/>
                  </a:lnTo>
                  <a:lnTo>
                    <a:pt x="78" y="109"/>
                  </a:lnTo>
                  <a:lnTo>
                    <a:pt x="76" y="109"/>
                  </a:lnTo>
                  <a:lnTo>
                    <a:pt x="75" y="109"/>
                  </a:lnTo>
                  <a:lnTo>
                    <a:pt x="74" y="109"/>
                  </a:lnTo>
                  <a:lnTo>
                    <a:pt x="73" y="108"/>
                  </a:lnTo>
                  <a:lnTo>
                    <a:pt x="72" y="108"/>
                  </a:lnTo>
                  <a:lnTo>
                    <a:pt x="71" y="108"/>
                  </a:lnTo>
                  <a:lnTo>
                    <a:pt x="69" y="108"/>
                  </a:lnTo>
                  <a:lnTo>
                    <a:pt x="69" y="106"/>
                  </a:lnTo>
                  <a:lnTo>
                    <a:pt x="68" y="106"/>
                  </a:lnTo>
                  <a:lnTo>
                    <a:pt x="67" y="106"/>
                  </a:lnTo>
                  <a:lnTo>
                    <a:pt x="66" y="106"/>
                  </a:lnTo>
                  <a:lnTo>
                    <a:pt x="65" y="106"/>
                  </a:lnTo>
                  <a:lnTo>
                    <a:pt x="65" y="105"/>
                  </a:lnTo>
                  <a:lnTo>
                    <a:pt x="64" y="105"/>
                  </a:lnTo>
                  <a:lnTo>
                    <a:pt x="64" y="104"/>
                  </a:lnTo>
                  <a:lnTo>
                    <a:pt x="62" y="104"/>
                  </a:lnTo>
                  <a:lnTo>
                    <a:pt x="62" y="103"/>
                  </a:lnTo>
                  <a:lnTo>
                    <a:pt x="61" y="102"/>
                  </a:lnTo>
                  <a:lnTo>
                    <a:pt x="60" y="98"/>
                  </a:lnTo>
                  <a:lnTo>
                    <a:pt x="61" y="95"/>
                  </a:lnTo>
                  <a:lnTo>
                    <a:pt x="61" y="94"/>
                  </a:lnTo>
                  <a:lnTo>
                    <a:pt x="61" y="92"/>
                  </a:lnTo>
                  <a:lnTo>
                    <a:pt x="60" y="92"/>
                  </a:lnTo>
                  <a:lnTo>
                    <a:pt x="60" y="91"/>
                  </a:lnTo>
                  <a:lnTo>
                    <a:pt x="59" y="90"/>
                  </a:lnTo>
                  <a:lnTo>
                    <a:pt x="58" y="89"/>
                  </a:lnTo>
                  <a:lnTo>
                    <a:pt x="59" y="89"/>
                  </a:lnTo>
                  <a:lnTo>
                    <a:pt x="59" y="88"/>
                  </a:lnTo>
                  <a:lnTo>
                    <a:pt x="58" y="87"/>
                  </a:lnTo>
                  <a:lnTo>
                    <a:pt x="59" y="85"/>
                  </a:lnTo>
                  <a:lnTo>
                    <a:pt x="58" y="85"/>
                  </a:lnTo>
                  <a:lnTo>
                    <a:pt x="58" y="84"/>
                  </a:lnTo>
                  <a:lnTo>
                    <a:pt x="57" y="84"/>
                  </a:lnTo>
                  <a:lnTo>
                    <a:pt x="57" y="83"/>
                  </a:lnTo>
                  <a:lnTo>
                    <a:pt x="55" y="82"/>
                  </a:lnTo>
                  <a:lnTo>
                    <a:pt x="54" y="81"/>
                  </a:lnTo>
                  <a:lnTo>
                    <a:pt x="54" y="80"/>
                  </a:lnTo>
                  <a:lnTo>
                    <a:pt x="53" y="80"/>
                  </a:lnTo>
                  <a:lnTo>
                    <a:pt x="53" y="78"/>
                  </a:lnTo>
                  <a:lnTo>
                    <a:pt x="52" y="78"/>
                  </a:lnTo>
                  <a:lnTo>
                    <a:pt x="51" y="78"/>
                  </a:lnTo>
                  <a:lnTo>
                    <a:pt x="46" y="74"/>
                  </a:lnTo>
                  <a:lnTo>
                    <a:pt x="46" y="73"/>
                  </a:lnTo>
                  <a:lnTo>
                    <a:pt x="45" y="73"/>
                  </a:lnTo>
                  <a:lnTo>
                    <a:pt x="45" y="71"/>
                  </a:lnTo>
                  <a:lnTo>
                    <a:pt x="44" y="71"/>
                  </a:lnTo>
                  <a:lnTo>
                    <a:pt x="44" y="70"/>
                  </a:lnTo>
                  <a:lnTo>
                    <a:pt x="43" y="70"/>
                  </a:lnTo>
                  <a:lnTo>
                    <a:pt x="43" y="69"/>
                  </a:lnTo>
                  <a:lnTo>
                    <a:pt x="42" y="69"/>
                  </a:lnTo>
                  <a:lnTo>
                    <a:pt x="42" y="68"/>
                  </a:lnTo>
                  <a:lnTo>
                    <a:pt x="40" y="68"/>
                  </a:lnTo>
                  <a:lnTo>
                    <a:pt x="39" y="68"/>
                  </a:lnTo>
                  <a:lnTo>
                    <a:pt x="38" y="68"/>
                  </a:lnTo>
                  <a:lnTo>
                    <a:pt x="38" y="67"/>
                  </a:lnTo>
                  <a:lnTo>
                    <a:pt x="37" y="67"/>
                  </a:lnTo>
                  <a:lnTo>
                    <a:pt x="37" y="66"/>
                  </a:lnTo>
                  <a:lnTo>
                    <a:pt x="36" y="66"/>
                  </a:lnTo>
                  <a:lnTo>
                    <a:pt x="36" y="64"/>
                  </a:lnTo>
                  <a:lnTo>
                    <a:pt x="36" y="66"/>
                  </a:lnTo>
                  <a:lnTo>
                    <a:pt x="35" y="66"/>
                  </a:lnTo>
                  <a:lnTo>
                    <a:pt x="33" y="66"/>
                  </a:lnTo>
                  <a:lnTo>
                    <a:pt x="32" y="66"/>
                  </a:lnTo>
                  <a:lnTo>
                    <a:pt x="32" y="64"/>
                  </a:lnTo>
                  <a:lnTo>
                    <a:pt x="31" y="64"/>
                  </a:lnTo>
                  <a:lnTo>
                    <a:pt x="30" y="63"/>
                  </a:lnTo>
                  <a:lnTo>
                    <a:pt x="29" y="63"/>
                  </a:lnTo>
                  <a:lnTo>
                    <a:pt x="28" y="63"/>
                  </a:lnTo>
                  <a:lnTo>
                    <a:pt x="28" y="62"/>
                  </a:lnTo>
                  <a:lnTo>
                    <a:pt x="26" y="63"/>
                  </a:lnTo>
                  <a:lnTo>
                    <a:pt x="25" y="63"/>
                  </a:lnTo>
                  <a:lnTo>
                    <a:pt x="24" y="63"/>
                  </a:lnTo>
                  <a:lnTo>
                    <a:pt x="22" y="62"/>
                  </a:lnTo>
                  <a:lnTo>
                    <a:pt x="21" y="62"/>
                  </a:lnTo>
                  <a:lnTo>
                    <a:pt x="21" y="61"/>
                  </a:lnTo>
                  <a:lnTo>
                    <a:pt x="21" y="62"/>
                  </a:lnTo>
                  <a:lnTo>
                    <a:pt x="19" y="62"/>
                  </a:lnTo>
                  <a:lnTo>
                    <a:pt x="19" y="61"/>
                  </a:lnTo>
                  <a:lnTo>
                    <a:pt x="18" y="61"/>
                  </a:lnTo>
                  <a:lnTo>
                    <a:pt x="17" y="61"/>
                  </a:lnTo>
                  <a:lnTo>
                    <a:pt x="17" y="60"/>
                  </a:lnTo>
                  <a:lnTo>
                    <a:pt x="16" y="60"/>
                  </a:lnTo>
                  <a:lnTo>
                    <a:pt x="16" y="59"/>
                  </a:lnTo>
                  <a:lnTo>
                    <a:pt x="15" y="57"/>
                  </a:lnTo>
                  <a:lnTo>
                    <a:pt x="14" y="57"/>
                  </a:lnTo>
                  <a:lnTo>
                    <a:pt x="12" y="57"/>
                  </a:lnTo>
                  <a:lnTo>
                    <a:pt x="11" y="56"/>
                  </a:lnTo>
                  <a:lnTo>
                    <a:pt x="10" y="55"/>
                  </a:lnTo>
                  <a:lnTo>
                    <a:pt x="9" y="55"/>
                  </a:lnTo>
                  <a:lnTo>
                    <a:pt x="8" y="55"/>
                  </a:lnTo>
                  <a:lnTo>
                    <a:pt x="7" y="55"/>
                  </a:lnTo>
                  <a:lnTo>
                    <a:pt x="5" y="54"/>
                  </a:lnTo>
                  <a:lnTo>
                    <a:pt x="7" y="54"/>
                  </a:lnTo>
                  <a:lnTo>
                    <a:pt x="7" y="53"/>
                  </a:lnTo>
                  <a:lnTo>
                    <a:pt x="5" y="52"/>
                  </a:lnTo>
                  <a:lnTo>
                    <a:pt x="4" y="52"/>
                  </a:lnTo>
                  <a:lnTo>
                    <a:pt x="3" y="52"/>
                  </a:lnTo>
                  <a:lnTo>
                    <a:pt x="3" y="50"/>
                  </a:lnTo>
                  <a:lnTo>
                    <a:pt x="2" y="50"/>
                  </a:lnTo>
                  <a:lnTo>
                    <a:pt x="1" y="49"/>
                  </a:lnTo>
                  <a:lnTo>
                    <a:pt x="2" y="48"/>
                  </a:lnTo>
                  <a:lnTo>
                    <a:pt x="2" y="47"/>
                  </a:lnTo>
                  <a:lnTo>
                    <a:pt x="1" y="47"/>
                  </a:lnTo>
                  <a:lnTo>
                    <a:pt x="1" y="46"/>
                  </a:lnTo>
                  <a:lnTo>
                    <a:pt x="0" y="46"/>
                  </a:lnTo>
                  <a:lnTo>
                    <a:pt x="1" y="46"/>
                  </a:lnTo>
                  <a:lnTo>
                    <a:pt x="2" y="46"/>
                  </a:lnTo>
                  <a:lnTo>
                    <a:pt x="2" y="45"/>
                  </a:lnTo>
                  <a:lnTo>
                    <a:pt x="3" y="43"/>
                  </a:lnTo>
                  <a:lnTo>
                    <a:pt x="3" y="42"/>
                  </a:lnTo>
                  <a:lnTo>
                    <a:pt x="2" y="42"/>
                  </a:lnTo>
                  <a:lnTo>
                    <a:pt x="2" y="41"/>
                  </a:lnTo>
                  <a:lnTo>
                    <a:pt x="3" y="41"/>
                  </a:lnTo>
                  <a:lnTo>
                    <a:pt x="4" y="40"/>
                  </a:lnTo>
                  <a:lnTo>
                    <a:pt x="5" y="40"/>
                  </a:lnTo>
                  <a:lnTo>
                    <a:pt x="5" y="41"/>
                  </a:lnTo>
                  <a:lnTo>
                    <a:pt x="7" y="41"/>
                  </a:lnTo>
                  <a:lnTo>
                    <a:pt x="8" y="40"/>
                  </a:lnTo>
                  <a:lnTo>
                    <a:pt x="9" y="41"/>
                  </a:lnTo>
                  <a:lnTo>
                    <a:pt x="11" y="41"/>
                  </a:lnTo>
                  <a:lnTo>
                    <a:pt x="10" y="41"/>
                  </a:lnTo>
                  <a:lnTo>
                    <a:pt x="10" y="40"/>
                  </a:lnTo>
                  <a:lnTo>
                    <a:pt x="11" y="40"/>
                  </a:lnTo>
                  <a:lnTo>
                    <a:pt x="11" y="41"/>
                  </a:lnTo>
                  <a:lnTo>
                    <a:pt x="12" y="41"/>
                  </a:lnTo>
                  <a:lnTo>
                    <a:pt x="14" y="40"/>
                  </a:lnTo>
                  <a:lnTo>
                    <a:pt x="15" y="40"/>
                  </a:lnTo>
                  <a:lnTo>
                    <a:pt x="14" y="39"/>
                  </a:lnTo>
                  <a:lnTo>
                    <a:pt x="14" y="38"/>
                  </a:lnTo>
                  <a:lnTo>
                    <a:pt x="15" y="38"/>
                  </a:lnTo>
                  <a:lnTo>
                    <a:pt x="15" y="39"/>
                  </a:lnTo>
                  <a:lnTo>
                    <a:pt x="16" y="39"/>
                  </a:lnTo>
                  <a:lnTo>
                    <a:pt x="16" y="38"/>
                  </a:lnTo>
                  <a:lnTo>
                    <a:pt x="17" y="38"/>
                  </a:lnTo>
                  <a:lnTo>
                    <a:pt x="18" y="38"/>
                  </a:lnTo>
                  <a:lnTo>
                    <a:pt x="19" y="36"/>
                  </a:lnTo>
                  <a:lnTo>
                    <a:pt x="18" y="36"/>
                  </a:lnTo>
                  <a:lnTo>
                    <a:pt x="17" y="35"/>
                  </a:lnTo>
                  <a:lnTo>
                    <a:pt x="17" y="34"/>
                  </a:lnTo>
                  <a:lnTo>
                    <a:pt x="17" y="33"/>
                  </a:lnTo>
                  <a:lnTo>
                    <a:pt x="19" y="33"/>
                  </a:lnTo>
                  <a:lnTo>
                    <a:pt x="21" y="33"/>
                  </a:lnTo>
                  <a:lnTo>
                    <a:pt x="21" y="32"/>
                  </a:lnTo>
                  <a:lnTo>
                    <a:pt x="21" y="31"/>
                  </a:lnTo>
                  <a:lnTo>
                    <a:pt x="22" y="31"/>
                  </a:lnTo>
                  <a:lnTo>
                    <a:pt x="23" y="31"/>
                  </a:lnTo>
                  <a:lnTo>
                    <a:pt x="23" y="29"/>
                  </a:lnTo>
                  <a:lnTo>
                    <a:pt x="24" y="29"/>
                  </a:lnTo>
                  <a:lnTo>
                    <a:pt x="25" y="29"/>
                  </a:lnTo>
                  <a:lnTo>
                    <a:pt x="26" y="29"/>
                  </a:lnTo>
                  <a:lnTo>
                    <a:pt x="28" y="29"/>
                  </a:lnTo>
                  <a:lnTo>
                    <a:pt x="28" y="28"/>
                  </a:lnTo>
                  <a:lnTo>
                    <a:pt x="29" y="27"/>
                  </a:lnTo>
                  <a:lnTo>
                    <a:pt x="29" y="26"/>
                  </a:lnTo>
                  <a:lnTo>
                    <a:pt x="30" y="26"/>
                  </a:lnTo>
                  <a:lnTo>
                    <a:pt x="31" y="26"/>
                  </a:lnTo>
                  <a:lnTo>
                    <a:pt x="32" y="25"/>
                  </a:lnTo>
                  <a:lnTo>
                    <a:pt x="33" y="26"/>
                  </a:lnTo>
                  <a:lnTo>
                    <a:pt x="35" y="26"/>
                  </a:lnTo>
                  <a:lnTo>
                    <a:pt x="35" y="25"/>
                  </a:lnTo>
                  <a:lnTo>
                    <a:pt x="36" y="24"/>
                  </a:lnTo>
                  <a:lnTo>
                    <a:pt x="36" y="22"/>
                  </a:lnTo>
                  <a:lnTo>
                    <a:pt x="37" y="22"/>
                  </a:lnTo>
                  <a:lnTo>
                    <a:pt x="37" y="21"/>
                  </a:lnTo>
                  <a:lnTo>
                    <a:pt x="38" y="21"/>
                  </a:lnTo>
                  <a:lnTo>
                    <a:pt x="40" y="22"/>
                  </a:lnTo>
                  <a:lnTo>
                    <a:pt x="42" y="22"/>
                  </a:lnTo>
                  <a:lnTo>
                    <a:pt x="42" y="21"/>
                  </a:lnTo>
                  <a:lnTo>
                    <a:pt x="42" y="20"/>
                  </a:lnTo>
                  <a:lnTo>
                    <a:pt x="42" y="19"/>
                  </a:lnTo>
                  <a:lnTo>
                    <a:pt x="43" y="19"/>
                  </a:lnTo>
                  <a:lnTo>
                    <a:pt x="44" y="20"/>
                  </a:lnTo>
                  <a:lnTo>
                    <a:pt x="45" y="21"/>
                  </a:lnTo>
                  <a:lnTo>
                    <a:pt x="46" y="22"/>
                  </a:lnTo>
                  <a:lnTo>
                    <a:pt x="47" y="22"/>
                  </a:lnTo>
                  <a:lnTo>
                    <a:pt x="49" y="21"/>
                  </a:lnTo>
                  <a:lnTo>
                    <a:pt x="47" y="21"/>
                  </a:lnTo>
                  <a:lnTo>
                    <a:pt x="47" y="20"/>
                  </a:lnTo>
                  <a:lnTo>
                    <a:pt x="49" y="20"/>
                  </a:lnTo>
                  <a:lnTo>
                    <a:pt x="50" y="20"/>
                  </a:lnTo>
                  <a:lnTo>
                    <a:pt x="51" y="21"/>
                  </a:lnTo>
                  <a:lnTo>
                    <a:pt x="52" y="22"/>
                  </a:lnTo>
                  <a:lnTo>
                    <a:pt x="52" y="24"/>
                  </a:lnTo>
                  <a:lnTo>
                    <a:pt x="53" y="24"/>
                  </a:lnTo>
                  <a:lnTo>
                    <a:pt x="54" y="24"/>
                  </a:lnTo>
                  <a:lnTo>
                    <a:pt x="57" y="24"/>
                  </a:lnTo>
                  <a:lnTo>
                    <a:pt x="59" y="24"/>
                  </a:lnTo>
                  <a:lnTo>
                    <a:pt x="62" y="24"/>
                  </a:lnTo>
                  <a:lnTo>
                    <a:pt x="67" y="24"/>
                  </a:lnTo>
                  <a:lnTo>
                    <a:pt x="68" y="24"/>
                  </a:lnTo>
                  <a:lnTo>
                    <a:pt x="68" y="25"/>
                  </a:lnTo>
                  <a:lnTo>
                    <a:pt x="69" y="26"/>
                  </a:lnTo>
                  <a:lnTo>
                    <a:pt x="71" y="28"/>
                  </a:lnTo>
                  <a:lnTo>
                    <a:pt x="72" y="29"/>
                  </a:lnTo>
                  <a:lnTo>
                    <a:pt x="73" y="29"/>
                  </a:lnTo>
                  <a:lnTo>
                    <a:pt x="74" y="31"/>
                  </a:lnTo>
                  <a:lnTo>
                    <a:pt x="75" y="32"/>
                  </a:lnTo>
                  <a:lnTo>
                    <a:pt x="76" y="32"/>
                  </a:lnTo>
                  <a:lnTo>
                    <a:pt x="78" y="32"/>
                  </a:lnTo>
                  <a:lnTo>
                    <a:pt x="80" y="32"/>
                  </a:lnTo>
                  <a:lnTo>
                    <a:pt x="81" y="32"/>
                  </a:lnTo>
                  <a:lnTo>
                    <a:pt x="81" y="33"/>
                  </a:lnTo>
                  <a:lnTo>
                    <a:pt x="82" y="33"/>
                  </a:lnTo>
                  <a:lnTo>
                    <a:pt x="86" y="33"/>
                  </a:lnTo>
                  <a:lnTo>
                    <a:pt x="87" y="33"/>
                  </a:lnTo>
                  <a:lnTo>
                    <a:pt x="87" y="34"/>
                  </a:lnTo>
                  <a:lnTo>
                    <a:pt x="88" y="34"/>
                  </a:lnTo>
                  <a:lnTo>
                    <a:pt x="88" y="33"/>
                  </a:lnTo>
                  <a:lnTo>
                    <a:pt x="89" y="33"/>
                  </a:lnTo>
                  <a:lnTo>
                    <a:pt x="90" y="33"/>
                  </a:lnTo>
                  <a:lnTo>
                    <a:pt x="90" y="32"/>
                  </a:lnTo>
                  <a:lnTo>
                    <a:pt x="92" y="32"/>
                  </a:lnTo>
                  <a:lnTo>
                    <a:pt x="92" y="33"/>
                  </a:lnTo>
                  <a:lnTo>
                    <a:pt x="93" y="33"/>
                  </a:lnTo>
                  <a:lnTo>
                    <a:pt x="94" y="33"/>
                  </a:lnTo>
                  <a:lnTo>
                    <a:pt x="96" y="33"/>
                  </a:lnTo>
                  <a:lnTo>
                    <a:pt x="97" y="34"/>
                  </a:lnTo>
                  <a:lnTo>
                    <a:pt x="99" y="34"/>
                  </a:lnTo>
                  <a:lnTo>
                    <a:pt x="100" y="34"/>
                  </a:lnTo>
                  <a:lnTo>
                    <a:pt x="101" y="34"/>
                  </a:lnTo>
                  <a:lnTo>
                    <a:pt x="102" y="34"/>
                  </a:lnTo>
                  <a:lnTo>
                    <a:pt x="106" y="34"/>
                  </a:lnTo>
                  <a:lnTo>
                    <a:pt x="107" y="34"/>
                  </a:lnTo>
                  <a:lnTo>
                    <a:pt x="107" y="35"/>
                  </a:lnTo>
                  <a:lnTo>
                    <a:pt x="108" y="35"/>
                  </a:lnTo>
                  <a:lnTo>
                    <a:pt x="109" y="36"/>
                  </a:lnTo>
                  <a:lnTo>
                    <a:pt x="110" y="36"/>
                  </a:lnTo>
                  <a:lnTo>
                    <a:pt x="111" y="36"/>
                  </a:lnTo>
                  <a:lnTo>
                    <a:pt x="113" y="36"/>
                  </a:lnTo>
                  <a:lnTo>
                    <a:pt x="113" y="35"/>
                  </a:lnTo>
                  <a:lnTo>
                    <a:pt x="114" y="35"/>
                  </a:lnTo>
                  <a:lnTo>
                    <a:pt x="114" y="34"/>
                  </a:lnTo>
                  <a:lnTo>
                    <a:pt x="113" y="34"/>
                  </a:lnTo>
                  <a:lnTo>
                    <a:pt x="114" y="34"/>
                  </a:lnTo>
                  <a:lnTo>
                    <a:pt x="115" y="33"/>
                  </a:lnTo>
                  <a:lnTo>
                    <a:pt x="116" y="33"/>
                  </a:lnTo>
                  <a:lnTo>
                    <a:pt x="116" y="34"/>
                  </a:lnTo>
                  <a:lnTo>
                    <a:pt x="116" y="33"/>
                  </a:lnTo>
                  <a:lnTo>
                    <a:pt x="118" y="32"/>
                  </a:lnTo>
                  <a:lnTo>
                    <a:pt x="118" y="28"/>
                  </a:lnTo>
                  <a:lnTo>
                    <a:pt x="118" y="27"/>
                  </a:lnTo>
                  <a:lnTo>
                    <a:pt x="117" y="27"/>
                  </a:lnTo>
                  <a:lnTo>
                    <a:pt x="117" y="26"/>
                  </a:lnTo>
                  <a:lnTo>
                    <a:pt x="117" y="25"/>
                  </a:lnTo>
                  <a:lnTo>
                    <a:pt x="116" y="25"/>
                  </a:lnTo>
                  <a:lnTo>
                    <a:pt x="116" y="24"/>
                  </a:lnTo>
                  <a:lnTo>
                    <a:pt x="115" y="24"/>
                  </a:lnTo>
                  <a:lnTo>
                    <a:pt x="114" y="24"/>
                  </a:lnTo>
                  <a:lnTo>
                    <a:pt x="113" y="24"/>
                  </a:lnTo>
                  <a:lnTo>
                    <a:pt x="113" y="22"/>
                  </a:lnTo>
                  <a:lnTo>
                    <a:pt x="111" y="21"/>
                  </a:lnTo>
                  <a:lnTo>
                    <a:pt x="110" y="20"/>
                  </a:lnTo>
                  <a:lnTo>
                    <a:pt x="110" y="19"/>
                  </a:lnTo>
                  <a:lnTo>
                    <a:pt x="109" y="19"/>
                  </a:lnTo>
                  <a:lnTo>
                    <a:pt x="108" y="19"/>
                  </a:lnTo>
                  <a:lnTo>
                    <a:pt x="108" y="18"/>
                  </a:lnTo>
                  <a:lnTo>
                    <a:pt x="107" y="18"/>
                  </a:lnTo>
                  <a:lnTo>
                    <a:pt x="107" y="17"/>
                  </a:lnTo>
                  <a:lnTo>
                    <a:pt x="107" y="15"/>
                  </a:lnTo>
                  <a:lnTo>
                    <a:pt x="107" y="14"/>
                  </a:lnTo>
                  <a:lnTo>
                    <a:pt x="106" y="13"/>
                  </a:lnTo>
                  <a:lnTo>
                    <a:pt x="106" y="12"/>
                  </a:lnTo>
                  <a:lnTo>
                    <a:pt x="106" y="11"/>
                  </a:lnTo>
                  <a:lnTo>
                    <a:pt x="106" y="10"/>
                  </a:lnTo>
                  <a:lnTo>
                    <a:pt x="107" y="10"/>
                  </a:lnTo>
                  <a:lnTo>
                    <a:pt x="108" y="10"/>
                  </a:lnTo>
                  <a:lnTo>
                    <a:pt x="107" y="10"/>
                  </a:lnTo>
                  <a:lnTo>
                    <a:pt x="107" y="8"/>
                  </a:lnTo>
                  <a:lnTo>
                    <a:pt x="107" y="7"/>
                  </a:lnTo>
                  <a:lnTo>
                    <a:pt x="107" y="6"/>
                  </a:lnTo>
                  <a:lnTo>
                    <a:pt x="108" y="6"/>
                  </a:lnTo>
                  <a:lnTo>
                    <a:pt x="109" y="5"/>
                  </a:lnTo>
                  <a:lnTo>
                    <a:pt x="110" y="5"/>
                  </a:lnTo>
                  <a:lnTo>
                    <a:pt x="110" y="4"/>
                  </a:lnTo>
                  <a:lnTo>
                    <a:pt x="110" y="3"/>
                  </a:lnTo>
                  <a:lnTo>
                    <a:pt x="110" y="1"/>
                  </a:lnTo>
                  <a:lnTo>
                    <a:pt x="109" y="0"/>
                  </a:lnTo>
                  <a:lnTo>
                    <a:pt x="110" y="0"/>
                  </a:lnTo>
                  <a:lnTo>
                    <a:pt x="111" y="0"/>
                  </a:lnTo>
                  <a:lnTo>
                    <a:pt x="111" y="1"/>
                  </a:lnTo>
                  <a:lnTo>
                    <a:pt x="113" y="1"/>
                  </a:lnTo>
                  <a:lnTo>
                    <a:pt x="115" y="1"/>
                  </a:lnTo>
                  <a:lnTo>
                    <a:pt x="115" y="3"/>
                  </a:lnTo>
                  <a:lnTo>
                    <a:pt x="116" y="3"/>
                  </a:lnTo>
                  <a:lnTo>
                    <a:pt x="119" y="4"/>
                  </a:lnTo>
                  <a:lnTo>
                    <a:pt x="121" y="4"/>
                  </a:lnTo>
                  <a:lnTo>
                    <a:pt x="122" y="4"/>
                  </a:lnTo>
                  <a:lnTo>
                    <a:pt x="123" y="5"/>
                  </a:lnTo>
                  <a:lnTo>
                    <a:pt x="124" y="5"/>
                  </a:lnTo>
                  <a:lnTo>
                    <a:pt x="125" y="6"/>
                  </a:lnTo>
                  <a:lnTo>
                    <a:pt x="126" y="6"/>
                  </a:lnTo>
                  <a:lnTo>
                    <a:pt x="128" y="6"/>
                  </a:lnTo>
                  <a:lnTo>
                    <a:pt x="129" y="6"/>
                  </a:lnTo>
                  <a:lnTo>
                    <a:pt x="132" y="6"/>
                  </a:lnTo>
                  <a:lnTo>
                    <a:pt x="133" y="6"/>
                  </a:lnTo>
                  <a:lnTo>
                    <a:pt x="135" y="6"/>
                  </a:lnTo>
                  <a:lnTo>
                    <a:pt x="140" y="8"/>
                  </a:lnTo>
                  <a:lnTo>
                    <a:pt x="142" y="10"/>
                  </a:lnTo>
                  <a:lnTo>
                    <a:pt x="143" y="10"/>
                  </a:lnTo>
                  <a:lnTo>
                    <a:pt x="144" y="10"/>
                  </a:lnTo>
                  <a:lnTo>
                    <a:pt x="145" y="10"/>
                  </a:lnTo>
                  <a:lnTo>
                    <a:pt x="145" y="11"/>
                  </a:lnTo>
                  <a:lnTo>
                    <a:pt x="146" y="10"/>
                  </a:lnTo>
                  <a:lnTo>
                    <a:pt x="147" y="10"/>
                  </a:lnTo>
                  <a:lnTo>
                    <a:pt x="149" y="11"/>
                  </a:lnTo>
                  <a:lnTo>
                    <a:pt x="150" y="11"/>
                  </a:lnTo>
                  <a:lnTo>
                    <a:pt x="151" y="11"/>
                  </a:lnTo>
                  <a:lnTo>
                    <a:pt x="152" y="11"/>
                  </a:lnTo>
                  <a:lnTo>
                    <a:pt x="153" y="11"/>
                  </a:lnTo>
                  <a:lnTo>
                    <a:pt x="154" y="11"/>
                  </a:lnTo>
                  <a:lnTo>
                    <a:pt x="154" y="12"/>
                  </a:lnTo>
                  <a:lnTo>
                    <a:pt x="157" y="12"/>
                  </a:lnTo>
                  <a:lnTo>
                    <a:pt x="157" y="13"/>
                  </a:lnTo>
                  <a:lnTo>
                    <a:pt x="157" y="14"/>
                  </a:lnTo>
                  <a:lnTo>
                    <a:pt x="158" y="15"/>
                  </a:lnTo>
                  <a:lnTo>
                    <a:pt x="158" y="17"/>
                  </a:lnTo>
                  <a:lnTo>
                    <a:pt x="159" y="17"/>
                  </a:lnTo>
                  <a:lnTo>
                    <a:pt x="160" y="18"/>
                  </a:lnTo>
                  <a:lnTo>
                    <a:pt x="160" y="19"/>
                  </a:lnTo>
                  <a:lnTo>
                    <a:pt x="161" y="20"/>
                  </a:lnTo>
                  <a:lnTo>
                    <a:pt x="163" y="21"/>
                  </a:lnTo>
                  <a:lnTo>
                    <a:pt x="164" y="21"/>
                  </a:lnTo>
                  <a:lnTo>
                    <a:pt x="164" y="22"/>
                  </a:lnTo>
                  <a:lnTo>
                    <a:pt x="164" y="24"/>
                  </a:lnTo>
                  <a:lnTo>
                    <a:pt x="165" y="24"/>
                  </a:lnTo>
                  <a:lnTo>
                    <a:pt x="166" y="25"/>
                  </a:lnTo>
                  <a:lnTo>
                    <a:pt x="167" y="25"/>
                  </a:lnTo>
                  <a:lnTo>
                    <a:pt x="170" y="26"/>
                  </a:lnTo>
                  <a:lnTo>
                    <a:pt x="172" y="27"/>
                  </a:lnTo>
                  <a:lnTo>
                    <a:pt x="174" y="27"/>
                  </a:lnTo>
                  <a:lnTo>
                    <a:pt x="174" y="28"/>
                  </a:lnTo>
                  <a:lnTo>
                    <a:pt x="175" y="28"/>
                  </a:lnTo>
                  <a:lnTo>
                    <a:pt x="177" y="28"/>
                  </a:lnTo>
                  <a:lnTo>
                    <a:pt x="178" y="28"/>
                  </a:lnTo>
                  <a:lnTo>
                    <a:pt x="179" y="28"/>
                  </a:lnTo>
                  <a:lnTo>
                    <a:pt x="179" y="29"/>
                  </a:lnTo>
                  <a:lnTo>
                    <a:pt x="180" y="29"/>
                  </a:lnTo>
                  <a:lnTo>
                    <a:pt x="181" y="29"/>
                  </a:lnTo>
                  <a:lnTo>
                    <a:pt x="182" y="29"/>
                  </a:lnTo>
                  <a:lnTo>
                    <a:pt x="183" y="31"/>
                  </a:lnTo>
                  <a:lnTo>
                    <a:pt x="185" y="31"/>
                  </a:lnTo>
                  <a:lnTo>
                    <a:pt x="186" y="29"/>
                  </a:lnTo>
                  <a:lnTo>
                    <a:pt x="187" y="29"/>
                  </a:lnTo>
                  <a:lnTo>
                    <a:pt x="188" y="31"/>
                  </a:lnTo>
                  <a:lnTo>
                    <a:pt x="189" y="31"/>
                  </a:lnTo>
                  <a:lnTo>
                    <a:pt x="190" y="31"/>
                  </a:lnTo>
                  <a:lnTo>
                    <a:pt x="190" y="29"/>
                  </a:lnTo>
                  <a:lnTo>
                    <a:pt x="192" y="29"/>
                  </a:lnTo>
                  <a:lnTo>
                    <a:pt x="192" y="28"/>
                  </a:lnTo>
                  <a:lnTo>
                    <a:pt x="193" y="27"/>
                  </a:lnTo>
                  <a:lnTo>
                    <a:pt x="194" y="28"/>
                  </a:lnTo>
                  <a:lnTo>
                    <a:pt x="195" y="27"/>
                  </a:lnTo>
                  <a:lnTo>
                    <a:pt x="196" y="27"/>
                  </a:lnTo>
                  <a:lnTo>
                    <a:pt x="197" y="27"/>
                  </a:lnTo>
                  <a:lnTo>
                    <a:pt x="197" y="26"/>
                  </a:lnTo>
                  <a:lnTo>
                    <a:pt x="200" y="27"/>
                  </a:lnTo>
                  <a:lnTo>
                    <a:pt x="200" y="26"/>
                  </a:lnTo>
                  <a:lnTo>
                    <a:pt x="201" y="26"/>
                  </a:lnTo>
                  <a:lnTo>
                    <a:pt x="201" y="25"/>
                  </a:lnTo>
                  <a:lnTo>
                    <a:pt x="202" y="25"/>
                  </a:lnTo>
                  <a:lnTo>
                    <a:pt x="206" y="26"/>
                  </a:lnTo>
                  <a:lnTo>
                    <a:pt x="208" y="26"/>
                  </a:lnTo>
                  <a:lnTo>
                    <a:pt x="209" y="26"/>
                  </a:lnTo>
                  <a:lnTo>
                    <a:pt x="210" y="26"/>
                  </a:lnTo>
                  <a:lnTo>
                    <a:pt x="211" y="27"/>
                  </a:lnTo>
                  <a:lnTo>
                    <a:pt x="213" y="27"/>
                  </a:lnTo>
                  <a:lnTo>
                    <a:pt x="214" y="27"/>
                  </a:lnTo>
                  <a:lnTo>
                    <a:pt x="214" y="28"/>
                  </a:lnTo>
                  <a:lnTo>
                    <a:pt x="215" y="28"/>
                  </a:lnTo>
                  <a:lnTo>
                    <a:pt x="216" y="27"/>
                  </a:lnTo>
                  <a:lnTo>
                    <a:pt x="217" y="27"/>
                  </a:lnTo>
                  <a:lnTo>
                    <a:pt x="220" y="27"/>
                  </a:lnTo>
                  <a:lnTo>
                    <a:pt x="221" y="28"/>
                  </a:lnTo>
                  <a:lnTo>
                    <a:pt x="223" y="29"/>
                  </a:lnTo>
                  <a:lnTo>
                    <a:pt x="224" y="29"/>
                  </a:lnTo>
                  <a:lnTo>
                    <a:pt x="225" y="31"/>
                  </a:lnTo>
                  <a:lnTo>
                    <a:pt x="227" y="31"/>
                  </a:lnTo>
                  <a:lnTo>
                    <a:pt x="227" y="32"/>
                  </a:lnTo>
                  <a:lnTo>
                    <a:pt x="228" y="32"/>
                  </a:lnTo>
                  <a:lnTo>
                    <a:pt x="229" y="33"/>
                  </a:lnTo>
                  <a:lnTo>
                    <a:pt x="230" y="32"/>
                  </a:lnTo>
                  <a:lnTo>
                    <a:pt x="231" y="33"/>
                  </a:lnTo>
                  <a:lnTo>
                    <a:pt x="236" y="33"/>
                  </a:lnTo>
                  <a:lnTo>
                    <a:pt x="237" y="33"/>
                  </a:lnTo>
                  <a:lnTo>
                    <a:pt x="238" y="33"/>
                  </a:lnTo>
                  <a:lnTo>
                    <a:pt x="238" y="34"/>
                  </a:lnTo>
                  <a:lnTo>
                    <a:pt x="239" y="34"/>
                  </a:lnTo>
                  <a:lnTo>
                    <a:pt x="239" y="35"/>
                  </a:lnTo>
                  <a:lnTo>
                    <a:pt x="241" y="36"/>
                  </a:lnTo>
                  <a:lnTo>
                    <a:pt x="241" y="38"/>
                  </a:lnTo>
                  <a:lnTo>
                    <a:pt x="242" y="38"/>
                  </a:lnTo>
                  <a:lnTo>
                    <a:pt x="242" y="39"/>
                  </a:lnTo>
                  <a:lnTo>
                    <a:pt x="243" y="39"/>
                  </a:lnTo>
                  <a:lnTo>
                    <a:pt x="244" y="39"/>
                  </a:lnTo>
                  <a:lnTo>
                    <a:pt x="244" y="40"/>
                  </a:lnTo>
                  <a:lnTo>
                    <a:pt x="245" y="40"/>
                  </a:lnTo>
                  <a:lnTo>
                    <a:pt x="246" y="40"/>
                  </a:lnTo>
                  <a:lnTo>
                    <a:pt x="247" y="41"/>
                  </a:lnTo>
                  <a:lnTo>
                    <a:pt x="250" y="42"/>
                  </a:lnTo>
                  <a:lnTo>
                    <a:pt x="251" y="42"/>
                  </a:lnTo>
                  <a:lnTo>
                    <a:pt x="252" y="42"/>
                  </a:lnTo>
                  <a:lnTo>
                    <a:pt x="253" y="42"/>
                  </a:lnTo>
                  <a:lnTo>
                    <a:pt x="254" y="42"/>
                  </a:lnTo>
                  <a:lnTo>
                    <a:pt x="256" y="42"/>
                  </a:lnTo>
                  <a:lnTo>
                    <a:pt x="257" y="42"/>
                  </a:lnTo>
                  <a:lnTo>
                    <a:pt x="258" y="42"/>
                  </a:lnTo>
                  <a:lnTo>
                    <a:pt x="260" y="42"/>
                  </a:lnTo>
                  <a:lnTo>
                    <a:pt x="261" y="43"/>
                  </a:lnTo>
                  <a:lnTo>
                    <a:pt x="263" y="43"/>
                  </a:lnTo>
                  <a:lnTo>
                    <a:pt x="264" y="43"/>
                  </a:lnTo>
                  <a:lnTo>
                    <a:pt x="266" y="43"/>
                  </a:lnTo>
                  <a:lnTo>
                    <a:pt x="267" y="43"/>
                  </a:lnTo>
                  <a:lnTo>
                    <a:pt x="267" y="45"/>
                  </a:lnTo>
                  <a:lnTo>
                    <a:pt x="268" y="45"/>
                  </a:lnTo>
                  <a:lnTo>
                    <a:pt x="272" y="46"/>
                  </a:lnTo>
                  <a:lnTo>
                    <a:pt x="273" y="46"/>
                  </a:lnTo>
                  <a:lnTo>
                    <a:pt x="273" y="45"/>
                  </a:lnTo>
                  <a:lnTo>
                    <a:pt x="274" y="45"/>
                  </a:lnTo>
                  <a:lnTo>
                    <a:pt x="275" y="45"/>
                  </a:lnTo>
                  <a:lnTo>
                    <a:pt x="277" y="45"/>
                  </a:lnTo>
                  <a:lnTo>
                    <a:pt x="278" y="46"/>
                  </a:lnTo>
                  <a:lnTo>
                    <a:pt x="279" y="46"/>
                  </a:lnTo>
                  <a:lnTo>
                    <a:pt x="280" y="46"/>
                  </a:lnTo>
                  <a:lnTo>
                    <a:pt x="281" y="45"/>
                  </a:lnTo>
                  <a:lnTo>
                    <a:pt x="282" y="43"/>
                  </a:lnTo>
                  <a:lnTo>
                    <a:pt x="285" y="42"/>
                  </a:lnTo>
                  <a:lnTo>
                    <a:pt x="286" y="42"/>
                  </a:lnTo>
                  <a:lnTo>
                    <a:pt x="287" y="42"/>
                  </a:lnTo>
                  <a:lnTo>
                    <a:pt x="288" y="42"/>
                  </a:lnTo>
                  <a:lnTo>
                    <a:pt x="293" y="41"/>
                  </a:lnTo>
                  <a:lnTo>
                    <a:pt x="294" y="41"/>
                  </a:lnTo>
                  <a:lnTo>
                    <a:pt x="296" y="40"/>
                  </a:lnTo>
                  <a:lnTo>
                    <a:pt x="299" y="40"/>
                  </a:lnTo>
                  <a:lnTo>
                    <a:pt x="300" y="40"/>
                  </a:lnTo>
                  <a:lnTo>
                    <a:pt x="301" y="40"/>
                  </a:lnTo>
                  <a:lnTo>
                    <a:pt x="302" y="40"/>
                  </a:lnTo>
                  <a:lnTo>
                    <a:pt x="302" y="39"/>
                  </a:lnTo>
                  <a:lnTo>
                    <a:pt x="303" y="39"/>
                  </a:lnTo>
                  <a:lnTo>
                    <a:pt x="303" y="38"/>
                  </a:lnTo>
                  <a:lnTo>
                    <a:pt x="303" y="36"/>
                  </a:lnTo>
                  <a:lnTo>
                    <a:pt x="303" y="35"/>
                  </a:lnTo>
                  <a:lnTo>
                    <a:pt x="305" y="34"/>
                  </a:lnTo>
                  <a:lnTo>
                    <a:pt x="305" y="33"/>
                  </a:lnTo>
                  <a:lnTo>
                    <a:pt x="306" y="33"/>
                  </a:lnTo>
                  <a:lnTo>
                    <a:pt x="306" y="32"/>
                  </a:lnTo>
                  <a:lnTo>
                    <a:pt x="307" y="32"/>
                  </a:lnTo>
                  <a:lnTo>
                    <a:pt x="308" y="32"/>
                  </a:lnTo>
                  <a:lnTo>
                    <a:pt x="309" y="29"/>
                  </a:lnTo>
                  <a:lnTo>
                    <a:pt x="310" y="29"/>
                  </a:lnTo>
                  <a:lnTo>
                    <a:pt x="311" y="28"/>
                  </a:lnTo>
                  <a:lnTo>
                    <a:pt x="313" y="28"/>
                  </a:lnTo>
                  <a:lnTo>
                    <a:pt x="314" y="28"/>
                  </a:lnTo>
                  <a:lnTo>
                    <a:pt x="315" y="29"/>
                  </a:lnTo>
                  <a:lnTo>
                    <a:pt x="316" y="28"/>
                  </a:lnTo>
                  <a:lnTo>
                    <a:pt x="317" y="28"/>
                  </a:lnTo>
                  <a:lnTo>
                    <a:pt x="322" y="31"/>
                  </a:lnTo>
                  <a:lnTo>
                    <a:pt x="323" y="31"/>
                  </a:lnTo>
                  <a:lnTo>
                    <a:pt x="323" y="32"/>
                  </a:lnTo>
                  <a:lnTo>
                    <a:pt x="325" y="33"/>
                  </a:lnTo>
                  <a:lnTo>
                    <a:pt x="329" y="34"/>
                  </a:lnTo>
                  <a:lnTo>
                    <a:pt x="330" y="34"/>
                  </a:lnTo>
                  <a:lnTo>
                    <a:pt x="331" y="34"/>
                  </a:lnTo>
                  <a:lnTo>
                    <a:pt x="332" y="34"/>
                  </a:lnTo>
                  <a:lnTo>
                    <a:pt x="334" y="34"/>
                  </a:lnTo>
                  <a:lnTo>
                    <a:pt x="336" y="33"/>
                  </a:lnTo>
                  <a:lnTo>
                    <a:pt x="337" y="32"/>
                  </a:lnTo>
                  <a:lnTo>
                    <a:pt x="338" y="32"/>
                  </a:lnTo>
                  <a:lnTo>
                    <a:pt x="339" y="33"/>
                  </a:lnTo>
                  <a:lnTo>
                    <a:pt x="343" y="34"/>
                  </a:lnTo>
                  <a:lnTo>
                    <a:pt x="344" y="34"/>
                  </a:lnTo>
                  <a:lnTo>
                    <a:pt x="345" y="35"/>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95" name="Freeform 951">
              <a:extLst>
                <a:ext uri="{FF2B5EF4-FFF2-40B4-BE49-F238E27FC236}">
                  <a16:creationId xmlns:a16="http://schemas.microsoft.com/office/drawing/2014/main" id="{43F3DC70-C6E3-430D-BCAB-AB14D39C35B0}"/>
                </a:ext>
              </a:extLst>
            </p:cNvPr>
            <p:cNvSpPr>
              <a:spLocks noEditPoints="1"/>
            </p:cNvSpPr>
            <p:nvPr/>
          </p:nvSpPr>
          <p:spPr bwMode="auto">
            <a:xfrm>
              <a:off x="8454701" y="2913159"/>
              <a:ext cx="38730" cy="136220"/>
            </a:xfrm>
            <a:custGeom>
              <a:avLst/>
              <a:gdLst>
                <a:gd name="T0" fmla="*/ 25 w 29"/>
                <a:gd name="T1" fmla="*/ 102 h 102"/>
                <a:gd name="T2" fmla="*/ 24 w 29"/>
                <a:gd name="T3" fmla="*/ 102 h 102"/>
                <a:gd name="T4" fmla="*/ 24 w 29"/>
                <a:gd name="T5" fmla="*/ 102 h 102"/>
                <a:gd name="T6" fmla="*/ 24 w 29"/>
                <a:gd name="T7" fmla="*/ 101 h 102"/>
                <a:gd name="T8" fmla="*/ 25 w 29"/>
                <a:gd name="T9" fmla="*/ 101 h 102"/>
                <a:gd name="T10" fmla="*/ 25 w 29"/>
                <a:gd name="T11" fmla="*/ 101 h 102"/>
                <a:gd name="T12" fmla="*/ 25 w 29"/>
                <a:gd name="T13" fmla="*/ 101 h 102"/>
                <a:gd name="T14" fmla="*/ 28 w 29"/>
                <a:gd name="T15" fmla="*/ 90 h 102"/>
                <a:gd name="T16" fmla="*/ 28 w 29"/>
                <a:gd name="T17" fmla="*/ 90 h 102"/>
                <a:gd name="T18" fmla="*/ 27 w 29"/>
                <a:gd name="T19" fmla="*/ 88 h 102"/>
                <a:gd name="T20" fmla="*/ 27 w 29"/>
                <a:gd name="T21" fmla="*/ 87 h 102"/>
                <a:gd name="T22" fmla="*/ 28 w 29"/>
                <a:gd name="T23" fmla="*/ 87 h 102"/>
                <a:gd name="T24" fmla="*/ 28 w 29"/>
                <a:gd name="T25" fmla="*/ 87 h 102"/>
                <a:gd name="T26" fmla="*/ 28 w 29"/>
                <a:gd name="T27" fmla="*/ 88 h 102"/>
                <a:gd name="T28" fmla="*/ 28 w 29"/>
                <a:gd name="T29" fmla="*/ 90 h 102"/>
                <a:gd name="T30" fmla="*/ 29 w 29"/>
                <a:gd name="T31" fmla="*/ 86 h 102"/>
                <a:gd name="T32" fmla="*/ 29 w 29"/>
                <a:gd name="T33" fmla="*/ 86 h 102"/>
                <a:gd name="T34" fmla="*/ 29 w 29"/>
                <a:gd name="T35" fmla="*/ 86 h 102"/>
                <a:gd name="T36" fmla="*/ 29 w 29"/>
                <a:gd name="T37" fmla="*/ 86 h 102"/>
                <a:gd name="T38" fmla="*/ 28 w 29"/>
                <a:gd name="T39" fmla="*/ 86 h 102"/>
                <a:gd name="T40" fmla="*/ 28 w 29"/>
                <a:gd name="T41" fmla="*/ 86 h 102"/>
                <a:gd name="T42" fmla="*/ 28 w 29"/>
                <a:gd name="T43" fmla="*/ 85 h 102"/>
                <a:gd name="T44" fmla="*/ 28 w 29"/>
                <a:gd name="T45" fmla="*/ 85 h 102"/>
                <a:gd name="T46" fmla="*/ 28 w 29"/>
                <a:gd name="T47" fmla="*/ 85 h 102"/>
                <a:gd name="T48" fmla="*/ 29 w 29"/>
                <a:gd name="T49" fmla="*/ 84 h 102"/>
                <a:gd name="T50" fmla="*/ 29 w 29"/>
                <a:gd name="T51" fmla="*/ 84 h 102"/>
                <a:gd name="T52" fmla="*/ 29 w 29"/>
                <a:gd name="T53" fmla="*/ 85 h 102"/>
                <a:gd name="T54" fmla="*/ 29 w 29"/>
                <a:gd name="T55" fmla="*/ 86 h 102"/>
                <a:gd name="T56" fmla="*/ 25 w 29"/>
                <a:gd name="T57" fmla="*/ 67 h 102"/>
                <a:gd name="T58" fmla="*/ 24 w 29"/>
                <a:gd name="T59" fmla="*/ 66 h 102"/>
                <a:gd name="T60" fmla="*/ 25 w 29"/>
                <a:gd name="T61" fmla="*/ 66 h 102"/>
                <a:gd name="T62" fmla="*/ 25 w 29"/>
                <a:gd name="T63" fmla="*/ 66 h 102"/>
                <a:gd name="T64" fmla="*/ 25 w 29"/>
                <a:gd name="T65" fmla="*/ 67 h 102"/>
                <a:gd name="T66" fmla="*/ 25 w 29"/>
                <a:gd name="T67" fmla="*/ 62 h 102"/>
                <a:gd name="T68" fmla="*/ 25 w 29"/>
                <a:gd name="T69" fmla="*/ 52 h 102"/>
                <a:gd name="T70" fmla="*/ 25 w 29"/>
                <a:gd name="T71" fmla="*/ 52 h 102"/>
                <a:gd name="T72" fmla="*/ 24 w 29"/>
                <a:gd name="T73" fmla="*/ 48 h 102"/>
                <a:gd name="T74" fmla="*/ 24 w 29"/>
                <a:gd name="T75" fmla="*/ 46 h 102"/>
                <a:gd name="T76" fmla="*/ 24 w 29"/>
                <a:gd name="T77" fmla="*/ 48 h 102"/>
                <a:gd name="T78" fmla="*/ 20 w 29"/>
                <a:gd name="T79" fmla="*/ 39 h 102"/>
                <a:gd name="T80" fmla="*/ 20 w 29"/>
                <a:gd name="T81" fmla="*/ 39 h 102"/>
                <a:gd name="T82" fmla="*/ 20 w 29"/>
                <a:gd name="T83" fmla="*/ 38 h 102"/>
                <a:gd name="T84" fmla="*/ 21 w 29"/>
                <a:gd name="T85" fmla="*/ 38 h 102"/>
                <a:gd name="T86" fmla="*/ 21 w 29"/>
                <a:gd name="T87" fmla="*/ 39 h 102"/>
                <a:gd name="T88" fmla="*/ 20 w 29"/>
                <a:gd name="T89" fmla="*/ 39 h 102"/>
                <a:gd name="T90" fmla="*/ 17 w 29"/>
                <a:gd name="T91" fmla="*/ 29 h 102"/>
                <a:gd name="T92" fmla="*/ 17 w 29"/>
                <a:gd name="T93" fmla="*/ 28 h 102"/>
                <a:gd name="T94" fmla="*/ 18 w 29"/>
                <a:gd name="T95" fmla="*/ 29 h 102"/>
                <a:gd name="T96" fmla="*/ 18 w 29"/>
                <a:gd name="T97" fmla="*/ 29 h 102"/>
                <a:gd name="T98" fmla="*/ 11 w 29"/>
                <a:gd name="T99" fmla="*/ 15 h 102"/>
                <a:gd name="T100" fmla="*/ 10 w 29"/>
                <a:gd name="T101" fmla="*/ 14 h 102"/>
                <a:gd name="T102" fmla="*/ 11 w 29"/>
                <a:gd name="T103" fmla="*/ 14 h 102"/>
                <a:gd name="T104" fmla="*/ 7 w 29"/>
                <a:gd name="T105" fmla="*/ 9 h 102"/>
                <a:gd name="T106" fmla="*/ 7 w 29"/>
                <a:gd name="T107" fmla="*/ 9 h 102"/>
                <a:gd name="T108" fmla="*/ 7 w 29"/>
                <a:gd name="T109" fmla="*/ 9 h 102"/>
                <a:gd name="T110" fmla="*/ 6 w 29"/>
                <a:gd name="T111" fmla="*/ 9 h 102"/>
                <a:gd name="T112" fmla="*/ 6 w 29"/>
                <a:gd name="T113" fmla="*/ 8 h 102"/>
                <a:gd name="T114" fmla="*/ 6 w 29"/>
                <a:gd name="T115" fmla="*/ 9 h 102"/>
                <a:gd name="T116" fmla="*/ 0 w 29"/>
                <a:gd name="T117" fmla="*/ 1 h 102"/>
                <a:gd name="T118" fmla="*/ 0 w 29"/>
                <a:gd name="T119" fmla="*/ 0 h 102"/>
                <a:gd name="T120" fmla="*/ 0 w 29"/>
                <a:gd name="T121" fmla="*/ 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 h="102">
                  <a:moveTo>
                    <a:pt x="25" y="102"/>
                  </a:moveTo>
                  <a:lnTo>
                    <a:pt x="25" y="102"/>
                  </a:lnTo>
                  <a:lnTo>
                    <a:pt x="25" y="102"/>
                  </a:lnTo>
                  <a:lnTo>
                    <a:pt x="25" y="102"/>
                  </a:lnTo>
                  <a:lnTo>
                    <a:pt x="24" y="102"/>
                  </a:lnTo>
                  <a:lnTo>
                    <a:pt x="24" y="102"/>
                  </a:lnTo>
                  <a:lnTo>
                    <a:pt x="24" y="102"/>
                  </a:lnTo>
                  <a:lnTo>
                    <a:pt x="24" y="102"/>
                  </a:lnTo>
                  <a:lnTo>
                    <a:pt x="24" y="102"/>
                  </a:lnTo>
                  <a:lnTo>
                    <a:pt x="24" y="101"/>
                  </a:lnTo>
                  <a:lnTo>
                    <a:pt x="24" y="101"/>
                  </a:lnTo>
                  <a:lnTo>
                    <a:pt x="24" y="101"/>
                  </a:lnTo>
                  <a:lnTo>
                    <a:pt x="24" y="101"/>
                  </a:lnTo>
                  <a:lnTo>
                    <a:pt x="25" y="101"/>
                  </a:lnTo>
                  <a:lnTo>
                    <a:pt x="25" y="101"/>
                  </a:lnTo>
                  <a:lnTo>
                    <a:pt x="26" y="101"/>
                  </a:lnTo>
                  <a:lnTo>
                    <a:pt x="25" y="101"/>
                  </a:lnTo>
                  <a:lnTo>
                    <a:pt x="25" y="101"/>
                  </a:lnTo>
                  <a:lnTo>
                    <a:pt x="25" y="101"/>
                  </a:lnTo>
                  <a:lnTo>
                    <a:pt x="25" y="101"/>
                  </a:lnTo>
                  <a:lnTo>
                    <a:pt x="25" y="101"/>
                  </a:lnTo>
                  <a:lnTo>
                    <a:pt x="25" y="101"/>
                  </a:lnTo>
                  <a:lnTo>
                    <a:pt x="25" y="102"/>
                  </a:lnTo>
                  <a:close/>
                  <a:moveTo>
                    <a:pt x="28" y="90"/>
                  </a:moveTo>
                  <a:lnTo>
                    <a:pt x="28" y="90"/>
                  </a:lnTo>
                  <a:lnTo>
                    <a:pt x="28" y="90"/>
                  </a:lnTo>
                  <a:lnTo>
                    <a:pt x="28" y="90"/>
                  </a:lnTo>
                  <a:lnTo>
                    <a:pt x="27" y="88"/>
                  </a:lnTo>
                  <a:lnTo>
                    <a:pt x="27" y="88"/>
                  </a:lnTo>
                  <a:lnTo>
                    <a:pt x="27" y="88"/>
                  </a:lnTo>
                  <a:lnTo>
                    <a:pt x="27" y="88"/>
                  </a:lnTo>
                  <a:lnTo>
                    <a:pt x="27" y="88"/>
                  </a:lnTo>
                  <a:lnTo>
                    <a:pt x="27" y="87"/>
                  </a:lnTo>
                  <a:lnTo>
                    <a:pt x="27" y="87"/>
                  </a:lnTo>
                  <a:lnTo>
                    <a:pt x="28" y="87"/>
                  </a:lnTo>
                  <a:lnTo>
                    <a:pt x="28" y="87"/>
                  </a:lnTo>
                  <a:lnTo>
                    <a:pt x="28" y="87"/>
                  </a:lnTo>
                  <a:lnTo>
                    <a:pt x="28" y="87"/>
                  </a:lnTo>
                  <a:lnTo>
                    <a:pt x="28" y="87"/>
                  </a:lnTo>
                  <a:lnTo>
                    <a:pt x="28" y="88"/>
                  </a:lnTo>
                  <a:lnTo>
                    <a:pt x="28" y="88"/>
                  </a:lnTo>
                  <a:lnTo>
                    <a:pt x="28" y="88"/>
                  </a:lnTo>
                  <a:lnTo>
                    <a:pt x="28" y="88"/>
                  </a:lnTo>
                  <a:lnTo>
                    <a:pt x="28" y="88"/>
                  </a:lnTo>
                  <a:lnTo>
                    <a:pt x="28" y="90"/>
                  </a:lnTo>
                  <a:close/>
                  <a:moveTo>
                    <a:pt x="29" y="86"/>
                  </a:moveTo>
                  <a:lnTo>
                    <a:pt x="29" y="86"/>
                  </a:lnTo>
                  <a:lnTo>
                    <a:pt x="29" y="86"/>
                  </a:lnTo>
                  <a:lnTo>
                    <a:pt x="29" y="86"/>
                  </a:lnTo>
                  <a:lnTo>
                    <a:pt x="29" y="86"/>
                  </a:lnTo>
                  <a:lnTo>
                    <a:pt x="29" y="86"/>
                  </a:lnTo>
                  <a:lnTo>
                    <a:pt x="29" y="86"/>
                  </a:lnTo>
                  <a:lnTo>
                    <a:pt x="29" y="86"/>
                  </a:lnTo>
                  <a:lnTo>
                    <a:pt x="29" y="86"/>
                  </a:lnTo>
                  <a:lnTo>
                    <a:pt x="29" y="87"/>
                  </a:lnTo>
                  <a:lnTo>
                    <a:pt x="29" y="87"/>
                  </a:lnTo>
                  <a:lnTo>
                    <a:pt x="29" y="86"/>
                  </a:lnTo>
                  <a:lnTo>
                    <a:pt x="29" y="86"/>
                  </a:lnTo>
                  <a:lnTo>
                    <a:pt x="28" y="86"/>
                  </a:lnTo>
                  <a:lnTo>
                    <a:pt x="28" y="86"/>
                  </a:lnTo>
                  <a:lnTo>
                    <a:pt x="28" y="86"/>
                  </a:lnTo>
                  <a:lnTo>
                    <a:pt x="28" y="86"/>
                  </a:lnTo>
                  <a:lnTo>
                    <a:pt x="28" y="86"/>
                  </a:lnTo>
                  <a:lnTo>
                    <a:pt x="28" y="85"/>
                  </a:lnTo>
                  <a:lnTo>
                    <a:pt x="28" y="85"/>
                  </a:lnTo>
                  <a:lnTo>
                    <a:pt x="28" y="85"/>
                  </a:lnTo>
                  <a:lnTo>
                    <a:pt x="28" y="85"/>
                  </a:lnTo>
                  <a:lnTo>
                    <a:pt x="28" y="85"/>
                  </a:lnTo>
                  <a:lnTo>
                    <a:pt x="28" y="85"/>
                  </a:lnTo>
                  <a:lnTo>
                    <a:pt x="28" y="85"/>
                  </a:lnTo>
                  <a:lnTo>
                    <a:pt x="28" y="85"/>
                  </a:lnTo>
                  <a:lnTo>
                    <a:pt x="28" y="85"/>
                  </a:lnTo>
                  <a:lnTo>
                    <a:pt x="29" y="84"/>
                  </a:lnTo>
                  <a:lnTo>
                    <a:pt x="29" y="84"/>
                  </a:lnTo>
                  <a:lnTo>
                    <a:pt x="29" y="84"/>
                  </a:lnTo>
                  <a:lnTo>
                    <a:pt x="29" y="84"/>
                  </a:lnTo>
                  <a:lnTo>
                    <a:pt x="29" y="84"/>
                  </a:lnTo>
                  <a:lnTo>
                    <a:pt x="29" y="84"/>
                  </a:lnTo>
                  <a:lnTo>
                    <a:pt x="29" y="84"/>
                  </a:lnTo>
                  <a:lnTo>
                    <a:pt x="29" y="85"/>
                  </a:lnTo>
                  <a:lnTo>
                    <a:pt x="29" y="85"/>
                  </a:lnTo>
                  <a:lnTo>
                    <a:pt x="29" y="85"/>
                  </a:lnTo>
                  <a:lnTo>
                    <a:pt x="29" y="85"/>
                  </a:lnTo>
                  <a:lnTo>
                    <a:pt x="29" y="86"/>
                  </a:lnTo>
                  <a:close/>
                  <a:moveTo>
                    <a:pt x="25" y="67"/>
                  </a:moveTo>
                  <a:lnTo>
                    <a:pt x="25" y="67"/>
                  </a:lnTo>
                  <a:lnTo>
                    <a:pt x="25" y="67"/>
                  </a:lnTo>
                  <a:lnTo>
                    <a:pt x="25" y="67"/>
                  </a:lnTo>
                  <a:lnTo>
                    <a:pt x="25" y="66"/>
                  </a:lnTo>
                  <a:lnTo>
                    <a:pt x="24" y="66"/>
                  </a:lnTo>
                  <a:lnTo>
                    <a:pt x="24" y="66"/>
                  </a:lnTo>
                  <a:lnTo>
                    <a:pt x="24" y="66"/>
                  </a:lnTo>
                  <a:lnTo>
                    <a:pt x="25" y="66"/>
                  </a:lnTo>
                  <a:lnTo>
                    <a:pt x="25" y="66"/>
                  </a:lnTo>
                  <a:lnTo>
                    <a:pt x="25" y="66"/>
                  </a:lnTo>
                  <a:lnTo>
                    <a:pt x="25" y="66"/>
                  </a:lnTo>
                  <a:lnTo>
                    <a:pt x="25" y="66"/>
                  </a:lnTo>
                  <a:lnTo>
                    <a:pt x="25" y="67"/>
                  </a:lnTo>
                  <a:lnTo>
                    <a:pt x="25" y="67"/>
                  </a:lnTo>
                  <a:close/>
                  <a:moveTo>
                    <a:pt x="26" y="62"/>
                  </a:moveTo>
                  <a:lnTo>
                    <a:pt x="26" y="62"/>
                  </a:lnTo>
                  <a:lnTo>
                    <a:pt x="25" y="62"/>
                  </a:lnTo>
                  <a:lnTo>
                    <a:pt x="25" y="62"/>
                  </a:lnTo>
                  <a:lnTo>
                    <a:pt x="26" y="62"/>
                  </a:lnTo>
                  <a:close/>
                  <a:moveTo>
                    <a:pt x="25" y="52"/>
                  </a:moveTo>
                  <a:lnTo>
                    <a:pt x="25" y="52"/>
                  </a:lnTo>
                  <a:lnTo>
                    <a:pt x="24" y="52"/>
                  </a:lnTo>
                  <a:lnTo>
                    <a:pt x="25" y="52"/>
                  </a:lnTo>
                  <a:lnTo>
                    <a:pt x="25" y="52"/>
                  </a:lnTo>
                  <a:close/>
                  <a:moveTo>
                    <a:pt x="24" y="48"/>
                  </a:moveTo>
                  <a:lnTo>
                    <a:pt x="24" y="48"/>
                  </a:lnTo>
                  <a:lnTo>
                    <a:pt x="24" y="48"/>
                  </a:lnTo>
                  <a:lnTo>
                    <a:pt x="24" y="48"/>
                  </a:lnTo>
                  <a:lnTo>
                    <a:pt x="24" y="46"/>
                  </a:lnTo>
                  <a:lnTo>
                    <a:pt x="24" y="46"/>
                  </a:lnTo>
                  <a:lnTo>
                    <a:pt x="24" y="48"/>
                  </a:lnTo>
                  <a:lnTo>
                    <a:pt x="24" y="48"/>
                  </a:lnTo>
                  <a:lnTo>
                    <a:pt x="24" y="48"/>
                  </a:lnTo>
                  <a:close/>
                  <a:moveTo>
                    <a:pt x="20" y="39"/>
                  </a:moveTo>
                  <a:lnTo>
                    <a:pt x="20" y="39"/>
                  </a:lnTo>
                  <a:lnTo>
                    <a:pt x="20" y="39"/>
                  </a:lnTo>
                  <a:lnTo>
                    <a:pt x="20" y="39"/>
                  </a:lnTo>
                  <a:lnTo>
                    <a:pt x="20" y="39"/>
                  </a:lnTo>
                  <a:lnTo>
                    <a:pt x="20" y="39"/>
                  </a:lnTo>
                  <a:lnTo>
                    <a:pt x="20" y="38"/>
                  </a:lnTo>
                  <a:lnTo>
                    <a:pt x="20" y="38"/>
                  </a:lnTo>
                  <a:lnTo>
                    <a:pt x="21" y="38"/>
                  </a:lnTo>
                  <a:lnTo>
                    <a:pt x="21" y="38"/>
                  </a:lnTo>
                  <a:lnTo>
                    <a:pt x="21" y="38"/>
                  </a:lnTo>
                  <a:lnTo>
                    <a:pt x="21" y="38"/>
                  </a:lnTo>
                  <a:lnTo>
                    <a:pt x="21" y="38"/>
                  </a:lnTo>
                  <a:lnTo>
                    <a:pt x="21" y="39"/>
                  </a:lnTo>
                  <a:lnTo>
                    <a:pt x="21" y="39"/>
                  </a:lnTo>
                  <a:lnTo>
                    <a:pt x="21" y="39"/>
                  </a:lnTo>
                  <a:lnTo>
                    <a:pt x="20" y="39"/>
                  </a:lnTo>
                  <a:close/>
                  <a:moveTo>
                    <a:pt x="18" y="29"/>
                  </a:moveTo>
                  <a:lnTo>
                    <a:pt x="18" y="29"/>
                  </a:lnTo>
                  <a:lnTo>
                    <a:pt x="17" y="29"/>
                  </a:lnTo>
                  <a:lnTo>
                    <a:pt x="17" y="29"/>
                  </a:lnTo>
                  <a:lnTo>
                    <a:pt x="17" y="28"/>
                  </a:lnTo>
                  <a:lnTo>
                    <a:pt x="17" y="28"/>
                  </a:lnTo>
                  <a:lnTo>
                    <a:pt x="17" y="28"/>
                  </a:lnTo>
                  <a:lnTo>
                    <a:pt x="18" y="28"/>
                  </a:lnTo>
                  <a:lnTo>
                    <a:pt x="18" y="29"/>
                  </a:lnTo>
                  <a:lnTo>
                    <a:pt x="18" y="29"/>
                  </a:lnTo>
                  <a:lnTo>
                    <a:pt x="18" y="29"/>
                  </a:lnTo>
                  <a:lnTo>
                    <a:pt x="18" y="29"/>
                  </a:lnTo>
                  <a:lnTo>
                    <a:pt x="18" y="29"/>
                  </a:lnTo>
                  <a:close/>
                  <a:moveTo>
                    <a:pt x="11" y="15"/>
                  </a:moveTo>
                  <a:lnTo>
                    <a:pt x="11" y="15"/>
                  </a:lnTo>
                  <a:lnTo>
                    <a:pt x="10" y="15"/>
                  </a:lnTo>
                  <a:lnTo>
                    <a:pt x="10" y="14"/>
                  </a:lnTo>
                  <a:lnTo>
                    <a:pt x="10" y="14"/>
                  </a:lnTo>
                  <a:lnTo>
                    <a:pt x="10" y="14"/>
                  </a:lnTo>
                  <a:lnTo>
                    <a:pt x="11" y="14"/>
                  </a:lnTo>
                  <a:lnTo>
                    <a:pt x="11" y="14"/>
                  </a:lnTo>
                  <a:lnTo>
                    <a:pt x="11" y="15"/>
                  </a:lnTo>
                  <a:close/>
                  <a:moveTo>
                    <a:pt x="6" y="9"/>
                  </a:moveTo>
                  <a:lnTo>
                    <a:pt x="7" y="9"/>
                  </a:lnTo>
                  <a:lnTo>
                    <a:pt x="7" y="9"/>
                  </a:lnTo>
                  <a:lnTo>
                    <a:pt x="7" y="9"/>
                  </a:lnTo>
                  <a:lnTo>
                    <a:pt x="7" y="9"/>
                  </a:lnTo>
                  <a:lnTo>
                    <a:pt x="7" y="9"/>
                  </a:lnTo>
                  <a:lnTo>
                    <a:pt x="7" y="9"/>
                  </a:lnTo>
                  <a:lnTo>
                    <a:pt x="7" y="9"/>
                  </a:lnTo>
                  <a:lnTo>
                    <a:pt x="7" y="9"/>
                  </a:lnTo>
                  <a:lnTo>
                    <a:pt x="7" y="9"/>
                  </a:lnTo>
                  <a:lnTo>
                    <a:pt x="6" y="9"/>
                  </a:lnTo>
                  <a:lnTo>
                    <a:pt x="6" y="9"/>
                  </a:lnTo>
                  <a:lnTo>
                    <a:pt x="6" y="9"/>
                  </a:lnTo>
                  <a:lnTo>
                    <a:pt x="6" y="8"/>
                  </a:lnTo>
                  <a:lnTo>
                    <a:pt x="6" y="8"/>
                  </a:lnTo>
                  <a:lnTo>
                    <a:pt x="6" y="8"/>
                  </a:lnTo>
                  <a:lnTo>
                    <a:pt x="6" y="9"/>
                  </a:lnTo>
                  <a:close/>
                  <a:moveTo>
                    <a:pt x="0" y="1"/>
                  </a:moveTo>
                  <a:lnTo>
                    <a:pt x="0" y="1"/>
                  </a:lnTo>
                  <a:lnTo>
                    <a:pt x="0" y="1"/>
                  </a:lnTo>
                  <a:lnTo>
                    <a:pt x="0" y="1"/>
                  </a:lnTo>
                  <a:lnTo>
                    <a:pt x="0" y="1"/>
                  </a:lnTo>
                  <a:lnTo>
                    <a:pt x="0" y="0"/>
                  </a:lnTo>
                  <a:lnTo>
                    <a:pt x="0" y="1"/>
                  </a:lnTo>
                  <a:lnTo>
                    <a:pt x="0" y="1"/>
                  </a:lnTo>
                  <a:lnTo>
                    <a:pt x="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96" name="Freeform 952">
              <a:extLst>
                <a:ext uri="{FF2B5EF4-FFF2-40B4-BE49-F238E27FC236}">
                  <a16:creationId xmlns:a16="http://schemas.microsoft.com/office/drawing/2014/main" id="{7B59B1DA-994C-41F4-897C-614C633CAB2B}"/>
                </a:ext>
              </a:extLst>
            </p:cNvPr>
            <p:cNvSpPr>
              <a:spLocks noEditPoints="1"/>
            </p:cNvSpPr>
            <p:nvPr/>
          </p:nvSpPr>
          <p:spPr bwMode="auto">
            <a:xfrm>
              <a:off x="6363327" y="3568883"/>
              <a:ext cx="197652" cy="347227"/>
            </a:xfrm>
            <a:custGeom>
              <a:avLst/>
              <a:gdLst>
                <a:gd name="T0" fmla="*/ 133 w 148"/>
                <a:gd name="T1" fmla="*/ 94 h 260"/>
                <a:gd name="T2" fmla="*/ 147 w 148"/>
                <a:gd name="T3" fmla="*/ 3 h 260"/>
                <a:gd name="T4" fmla="*/ 144 w 148"/>
                <a:gd name="T5" fmla="*/ 10 h 260"/>
                <a:gd name="T6" fmla="*/ 144 w 148"/>
                <a:gd name="T7" fmla="*/ 20 h 260"/>
                <a:gd name="T8" fmla="*/ 144 w 148"/>
                <a:gd name="T9" fmla="*/ 31 h 260"/>
                <a:gd name="T10" fmla="*/ 143 w 148"/>
                <a:gd name="T11" fmla="*/ 40 h 260"/>
                <a:gd name="T12" fmla="*/ 144 w 148"/>
                <a:gd name="T13" fmla="*/ 51 h 260"/>
                <a:gd name="T14" fmla="*/ 145 w 148"/>
                <a:gd name="T15" fmla="*/ 59 h 260"/>
                <a:gd name="T16" fmla="*/ 148 w 148"/>
                <a:gd name="T17" fmla="*/ 63 h 260"/>
                <a:gd name="T18" fmla="*/ 145 w 148"/>
                <a:gd name="T19" fmla="*/ 71 h 260"/>
                <a:gd name="T20" fmla="*/ 143 w 148"/>
                <a:gd name="T21" fmla="*/ 75 h 260"/>
                <a:gd name="T22" fmla="*/ 136 w 148"/>
                <a:gd name="T23" fmla="*/ 87 h 260"/>
                <a:gd name="T24" fmla="*/ 131 w 148"/>
                <a:gd name="T25" fmla="*/ 94 h 260"/>
                <a:gd name="T26" fmla="*/ 120 w 148"/>
                <a:gd name="T27" fmla="*/ 104 h 260"/>
                <a:gd name="T28" fmla="*/ 107 w 148"/>
                <a:gd name="T29" fmla="*/ 107 h 260"/>
                <a:gd name="T30" fmla="*/ 95 w 148"/>
                <a:gd name="T31" fmla="*/ 115 h 260"/>
                <a:gd name="T32" fmla="*/ 90 w 148"/>
                <a:gd name="T33" fmla="*/ 122 h 260"/>
                <a:gd name="T34" fmla="*/ 80 w 148"/>
                <a:gd name="T35" fmla="*/ 131 h 260"/>
                <a:gd name="T36" fmla="*/ 76 w 148"/>
                <a:gd name="T37" fmla="*/ 135 h 260"/>
                <a:gd name="T38" fmla="*/ 63 w 148"/>
                <a:gd name="T39" fmla="*/ 148 h 260"/>
                <a:gd name="T40" fmla="*/ 59 w 148"/>
                <a:gd name="T41" fmla="*/ 149 h 260"/>
                <a:gd name="T42" fmla="*/ 59 w 148"/>
                <a:gd name="T43" fmla="*/ 160 h 260"/>
                <a:gd name="T44" fmla="*/ 62 w 148"/>
                <a:gd name="T45" fmla="*/ 168 h 260"/>
                <a:gd name="T46" fmla="*/ 65 w 148"/>
                <a:gd name="T47" fmla="*/ 178 h 260"/>
                <a:gd name="T48" fmla="*/ 67 w 148"/>
                <a:gd name="T49" fmla="*/ 185 h 260"/>
                <a:gd name="T50" fmla="*/ 69 w 148"/>
                <a:gd name="T51" fmla="*/ 198 h 260"/>
                <a:gd name="T52" fmla="*/ 64 w 148"/>
                <a:gd name="T53" fmla="*/ 213 h 260"/>
                <a:gd name="T54" fmla="*/ 61 w 148"/>
                <a:gd name="T55" fmla="*/ 224 h 260"/>
                <a:gd name="T56" fmla="*/ 34 w 148"/>
                <a:gd name="T57" fmla="*/ 236 h 260"/>
                <a:gd name="T58" fmla="*/ 23 w 148"/>
                <a:gd name="T59" fmla="*/ 246 h 260"/>
                <a:gd name="T60" fmla="*/ 29 w 148"/>
                <a:gd name="T61" fmla="*/ 251 h 260"/>
                <a:gd name="T62" fmla="*/ 16 w 148"/>
                <a:gd name="T63" fmla="*/ 252 h 260"/>
                <a:gd name="T64" fmla="*/ 17 w 148"/>
                <a:gd name="T65" fmla="*/ 233 h 260"/>
                <a:gd name="T66" fmla="*/ 13 w 148"/>
                <a:gd name="T67" fmla="*/ 206 h 260"/>
                <a:gd name="T68" fmla="*/ 19 w 148"/>
                <a:gd name="T69" fmla="*/ 181 h 260"/>
                <a:gd name="T70" fmla="*/ 27 w 148"/>
                <a:gd name="T71" fmla="*/ 168 h 260"/>
                <a:gd name="T72" fmla="*/ 33 w 148"/>
                <a:gd name="T73" fmla="*/ 154 h 260"/>
                <a:gd name="T74" fmla="*/ 34 w 148"/>
                <a:gd name="T75" fmla="*/ 145 h 260"/>
                <a:gd name="T76" fmla="*/ 33 w 148"/>
                <a:gd name="T77" fmla="*/ 134 h 260"/>
                <a:gd name="T78" fmla="*/ 36 w 148"/>
                <a:gd name="T79" fmla="*/ 119 h 260"/>
                <a:gd name="T80" fmla="*/ 36 w 148"/>
                <a:gd name="T81" fmla="*/ 101 h 260"/>
                <a:gd name="T82" fmla="*/ 21 w 148"/>
                <a:gd name="T83" fmla="*/ 93 h 260"/>
                <a:gd name="T84" fmla="*/ 7 w 148"/>
                <a:gd name="T85" fmla="*/ 87 h 260"/>
                <a:gd name="T86" fmla="*/ 0 w 148"/>
                <a:gd name="T87" fmla="*/ 72 h 260"/>
                <a:gd name="T88" fmla="*/ 22 w 148"/>
                <a:gd name="T89" fmla="*/ 64 h 260"/>
                <a:gd name="T90" fmla="*/ 43 w 148"/>
                <a:gd name="T91" fmla="*/ 58 h 260"/>
                <a:gd name="T92" fmla="*/ 51 w 148"/>
                <a:gd name="T93" fmla="*/ 64 h 260"/>
                <a:gd name="T94" fmla="*/ 61 w 148"/>
                <a:gd name="T95" fmla="*/ 72 h 260"/>
                <a:gd name="T96" fmla="*/ 55 w 148"/>
                <a:gd name="T97" fmla="*/ 86 h 260"/>
                <a:gd name="T98" fmla="*/ 64 w 148"/>
                <a:gd name="T99" fmla="*/ 100 h 260"/>
                <a:gd name="T100" fmla="*/ 69 w 148"/>
                <a:gd name="T101" fmla="*/ 101 h 260"/>
                <a:gd name="T102" fmla="*/ 72 w 148"/>
                <a:gd name="T103" fmla="*/ 91 h 260"/>
                <a:gd name="T104" fmla="*/ 78 w 148"/>
                <a:gd name="T105" fmla="*/ 72 h 260"/>
                <a:gd name="T106" fmla="*/ 66 w 148"/>
                <a:gd name="T107" fmla="*/ 49 h 260"/>
                <a:gd name="T108" fmla="*/ 65 w 148"/>
                <a:gd name="T109" fmla="*/ 36 h 260"/>
                <a:gd name="T110" fmla="*/ 67 w 148"/>
                <a:gd name="T111" fmla="*/ 22 h 260"/>
                <a:gd name="T112" fmla="*/ 80 w 148"/>
                <a:gd name="T113" fmla="*/ 15 h 260"/>
                <a:gd name="T114" fmla="*/ 90 w 148"/>
                <a:gd name="T115" fmla="*/ 21 h 260"/>
                <a:gd name="T116" fmla="*/ 104 w 148"/>
                <a:gd name="T117" fmla="*/ 20 h 260"/>
                <a:gd name="T118" fmla="*/ 115 w 148"/>
                <a:gd name="T119" fmla="*/ 15 h 260"/>
                <a:gd name="T120" fmla="*/ 133 w 148"/>
                <a:gd name="T121" fmla="*/ 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 h="260">
                  <a:moveTo>
                    <a:pt x="29" y="246"/>
                  </a:moveTo>
                  <a:lnTo>
                    <a:pt x="29" y="247"/>
                  </a:lnTo>
                  <a:lnTo>
                    <a:pt x="28" y="247"/>
                  </a:lnTo>
                  <a:lnTo>
                    <a:pt x="29" y="246"/>
                  </a:lnTo>
                  <a:lnTo>
                    <a:pt x="30" y="246"/>
                  </a:lnTo>
                  <a:lnTo>
                    <a:pt x="29" y="246"/>
                  </a:lnTo>
                  <a:close/>
                  <a:moveTo>
                    <a:pt x="67" y="180"/>
                  </a:moveTo>
                  <a:lnTo>
                    <a:pt x="67" y="178"/>
                  </a:lnTo>
                  <a:lnTo>
                    <a:pt x="67" y="177"/>
                  </a:lnTo>
                  <a:lnTo>
                    <a:pt x="67" y="176"/>
                  </a:lnTo>
                  <a:lnTo>
                    <a:pt x="67" y="175"/>
                  </a:lnTo>
                  <a:lnTo>
                    <a:pt x="67" y="176"/>
                  </a:lnTo>
                  <a:lnTo>
                    <a:pt x="67" y="177"/>
                  </a:lnTo>
                  <a:lnTo>
                    <a:pt x="67" y="180"/>
                  </a:lnTo>
                  <a:close/>
                  <a:moveTo>
                    <a:pt x="133" y="94"/>
                  </a:moveTo>
                  <a:lnTo>
                    <a:pt x="131" y="94"/>
                  </a:lnTo>
                  <a:lnTo>
                    <a:pt x="131" y="93"/>
                  </a:lnTo>
                  <a:lnTo>
                    <a:pt x="133" y="93"/>
                  </a:lnTo>
                  <a:lnTo>
                    <a:pt x="133" y="92"/>
                  </a:lnTo>
                  <a:lnTo>
                    <a:pt x="134" y="92"/>
                  </a:lnTo>
                  <a:lnTo>
                    <a:pt x="134" y="93"/>
                  </a:lnTo>
                  <a:lnTo>
                    <a:pt x="133" y="93"/>
                  </a:lnTo>
                  <a:lnTo>
                    <a:pt x="133" y="94"/>
                  </a:lnTo>
                  <a:close/>
                  <a:moveTo>
                    <a:pt x="144" y="1"/>
                  </a:moveTo>
                  <a:lnTo>
                    <a:pt x="145" y="1"/>
                  </a:lnTo>
                  <a:lnTo>
                    <a:pt x="145" y="2"/>
                  </a:lnTo>
                  <a:lnTo>
                    <a:pt x="147" y="2"/>
                  </a:lnTo>
                  <a:lnTo>
                    <a:pt x="147" y="3"/>
                  </a:lnTo>
                  <a:lnTo>
                    <a:pt x="148" y="3"/>
                  </a:lnTo>
                  <a:lnTo>
                    <a:pt x="147" y="3"/>
                  </a:lnTo>
                  <a:lnTo>
                    <a:pt x="145" y="3"/>
                  </a:lnTo>
                  <a:lnTo>
                    <a:pt x="144" y="5"/>
                  </a:lnTo>
                  <a:lnTo>
                    <a:pt x="145" y="6"/>
                  </a:lnTo>
                  <a:lnTo>
                    <a:pt x="145" y="5"/>
                  </a:lnTo>
                  <a:lnTo>
                    <a:pt x="145" y="6"/>
                  </a:lnTo>
                  <a:lnTo>
                    <a:pt x="147" y="6"/>
                  </a:lnTo>
                  <a:lnTo>
                    <a:pt x="147" y="7"/>
                  </a:lnTo>
                  <a:lnTo>
                    <a:pt x="145" y="7"/>
                  </a:lnTo>
                  <a:lnTo>
                    <a:pt x="145" y="8"/>
                  </a:lnTo>
                  <a:lnTo>
                    <a:pt x="144" y="8"/>
                  </a:lnTo>
                  <a:lnTo>
                    <a:pt x="145" y="9"/>
                  </a:lnTo>
                  <a:lnTo>
                    <a:pt x="144" y="9"/>
                  </a:lnTo>
                  <a:lnTo>
                    <a:pt x="145" y="9"/>
                  </a:lnTo>
                  <a:lnTo>
                    <a:pt x="145" y="10"/>
                  </a:lnTo>
                  <a:lnTo>
                    <a:pt x="144" y="10"/>
                  </a:lnTo>
                  <a:lnTo>
                    <a:pt x="144" y="12"/>
                  </a:lnTo>
                  <a:lnTo>
                    <a:pt x="145" y="12"/>
                  </a:lnTo>
                  <a:lnTo>
                    <a:pt x="144" y="12"/>
                  </a:lnTo>
                  <a:lnTo>
                    <a:pt x="144" y="13"/>
                  </a:lnTo>
                  <a:lnTo>
                    <a:pt x="143" y="13"/>
                  </a:lnTo>
                  <a:lnTo>
                    <a:pt x="143" y="14"/>
                  </a:lnTo>
                  <a:lnTo>
                    <a:pt x="143" y="15"/>
                  </a:lnTo>
                  <a:lnTo>
                    <a:pt x="144" y="15"/>
                  </a:lnTo>
                  <a:lnTo>
                    <a:pt x="144" y="16"/>
                  </a:lnTo>
                  <a:lnTo>
                    <a:pt x="144" y="17"/>
                  </a:lnTo>
                  <a:lnTo>
                    <a:pt x="143" y="17"/>
                  </a:lnTo>
                  <a:lnTo>
                    <a:pt x="144" y="19"/>
                  </a:lnTo>
                  <a:lnTo>
                    <a:pt x="143" y="19"/>
                  </a:lnTo>
                  <a:lnTo>
                    <a:pt x="143" y="20"/>
                  </a:lnTo>
                  <a:lnTo>
                    <a:pt x="144" y="20"/>
                  </a:lnTo>
                  <a:lnTo>
                    <a:pt x="144" y="21"/>
                  </a:lnTo>
                  <a:lnTo>
                    <a:pt x="144" y="22"/>
                  </a:lnTo>
                  <a:lnTo>
                    <a:pt x="144" y="23"/>
                  </a:lnTo>
                  <a:lnTo>
                    <a:pt x="144" y="24"/>
                  </a:lnTo>
                  <a:lnTo>
                    <a:pt x="144" y="26"/>
                  </a:lnTo>
                  <a:lnTo>
                    <a:pt x="144" y="27"/>
                  </a:lnTo>
                  <a:lnTo>
                    <a:pt x="144" y="28"/>
                  </a:lnTo>
                  <a:lnTo>
                    <a:pt x="144" y="29"/>
                  </a:lnTo>
                  <a:lnTo>
                    <a:pt x="143" y="28"/>
                  </a:lnTo>
                  <a:lnTo>
                    <a:pt x="143" y="29"/>
                  </a:lnTo>
                  <a:lnTo>
                    <a:pt x="144" y="29"/>
                  </a:lnTo>
                  <a:lnTo>
                    <a:pt x="144" y="30"/>
                  </a:lnTo>
                  <a:lnTo>
                    <a:pt x="145" y="30"/>
                  </a:lnTo>
                  <a:lnTo>
                    <a:pt x="145" y="31"/>
                  </a:lnTo>
                  <a:lnTo>
                    <a:pt x="144" y="31"/>
                  </a:lnTo>
                  <a:lnTo>
                    <a:pt x="144" y="33"/>
                  </a:lnTo>
                  <a:lnTo>
                    <a:pt x="144" y="34"/>
                  </a:lnTo>
                  <a:lnTo>
                    <a:pt x="145" y="35"/>
                  </a:lnTo>
                  <a:lnTo>
                    <a:pt x="145" y="36"/>
                  </a:lnTo>
                  <a:lnTo>
                    <a:pt x="145" y="37"/>
                  </a:lnTo>
                  <a:lnTo>
                    <a:pt x="144" y="37"/>
                  </a:lnTo>
                  <a:lnTo>
                    <a:pt x="145" y="37"/>
                  </a:lnTo>
                  <a:lnTo>
                    <a:pt x="144" y="37"/>
                  </a:lnTo>
                  <a:lnTo>
                    <a:pt x="144" y="38"/>
                  </a:lnTo>
                  <a:lnTo>
                    <a:pt x="144" y="40"/>
                  </a:lnTo>
                  <a:lnTo>
                    <a:pt x="144" y="38"/>
                  </a:lnTo>
                  <a:lnTo>
                    <a:pt x="143" y="38"/>
                  </a:lnTo>
                  <a:lnTo>
                    <a:pt x="143" y="40"/>
                  </a:lnTo>
                  <a:lnTo>
                    <a:pt x="142" y="40"/>
                  </a:lnTo>
                  <a:lnTo>
                    <a:pt x="143" y="40"/>
                  </a:lnTo>
                  <a:lnTo>
                    <a:pt x="143" y="41"/>
                  </a:lnTo>
                  <a:lnTo>
                    <a:pt x="144" y="41"/>
                  </a:lnTo>
                  <a:lnTo>
                    <a:pt x="143" y="40"/>
                  </a:lnTo>
                  <a:lnTo>
                    <a:pt x="144" y="40"/>
                  </a:lnTo>
                  <a:lnTo>
                    <a:pt x="145" y="40"/>
                  </a:lnTo>
                  <a:lnTo>
                    <a:pt x="145" y="41"/>
                  </a:lnTo>
                  <a:lnTo>
                    <a:pt x="144" y="42"/>
                  </a:lnTo>
                  <a:lnTo>
                    <a:pt x="144" y="43"/>
                  </a:lnTo>
                  <a:lnTo>
                    <a:pt x="144" y="44"/>
                  </a:lnTo>
                  <a:lnTo>
                    <a:pt x="144" y="45"/>
                  </a:lnTo>
                  <a:lnTo>
                    <a:pt x="144" y="47"/>
                  </a:lnTo>
                  <a:lnTo>
                    <a:pt x="144" y="48"/>
                  </a:lnTo>
                  <a:lnTo>
                    <a:pt x="144" y="49"/>
                  </a:lnTo>
                  <a:lnTo>
                    <a:pt x="144" y="50"/>
                  </a:lnTo>
                  <a:lnTo>
                    <a:pt x="144" y="51"/>
                  </a:lnTo>
                  <a:lnTo>
                    <a:pt x="144" y="52"/>
                  </a:lnTo>
                  <a:lnTo>
                    <a:pt x="144" y="54"/>
                  </a:lnTo>
                  <a:lnTo>
                    <a:pt x="144" y="55"/>
                  </a:lnTo>
                  <a:lnTo>
                    <a:pt x="145" y="55"/>
                  </a:lnTo>
                  <a:lnTo>
                    <a:pt x="145" y="56"/>
                  </a:lnTo>
                  <a:lnTo>
                    <a:pt x="145" y="57"/>
                  </a:lnTo>
                  <a:lnTo>
                    <a:pt x="144" y="57"/>
                  </a:lnTo>
                  <a:lnTo>
                    <a:pt x="144" y="58"/>
                  </a:lnTo>
                  <a:lnTo>
                    <a:pt x="143" y="59"/>
                  </a:lnTo>
                  <a:lnTo>
                    <a:pt x="144" y="59"/>
                  </a:lnTo>
                  <a:lnTo>
                    <a:pt x="143" y="59"/>
                  </a:lnTo>
                  <a:lnTo>
                    <a:pt x="144" y="59"/>
                  </a:lnTo>
                  <a:lnTo>
                    <a:pt x="144" y="61"/>
                  </a:lnTo>
                  <a:lnTo>
                    <a:pt x="144" y="59"/>
                  </a:lnTo>
                  <a:lnTo>
                    <a:pt x="145" y="59"/>
                  </a:lnTo>
                  <a:lnTo>
                    <a:pt x="145" y="61"/>
                  </a:lnTo>
                  <a:lnTo>
                    <a:pt x="147" y="61"/>
                  </a:lnTo>
                  <a:lnTo>
                    <a:pt x="145" y="61"/>
                  </a:lnTo>
                  <a:lnTo>
                    <a:pt x="145" y="62"/>
                  </a:lnTo>
                  <a:lnTo>
                    <a:pt x="147" y="62"/>
                  </a:lnTo>
                  <a:lnTo>
                    <a:pt x="145" y="62"/>
                  </a:lnTo>
                  <a:lnTo>
                    <a:pt x="144" y="62"/>
                  </a:lnTo>
                  <a:lnTo>
                    <a:pt x="145" y="63"/>
                  </a:lnTo>
                  <a:lnTo>
                    <a:pt x="144" y="63"/>
                  </a:lnTo>
                  <a:lnTo>
                    <a:pt x="144" y="64"/>
                  </a:lnTo>
                  <a:lnTo>
                    <a:pt x="144" y="65"/>
                  </a:lnTo>
                  <a:lnTo>
                    <a:pt x="145" y="64"/>
                  </a:lnTo>
                  <a:lnTo>
                    <a:pt x="145" y="63"/>
                  </a:lnTo>
                  <a:lnTo>
                    <a:pt x="147" y="63"/>
                  </a:lnTo>
                  <a:lnTo>
                    <a:pt x="148" y="63"/>
                  </a:lnTo>
                  <a:lnTo>
                    <a:pt x="148" y="64"/>
                  </a:lnTo>
                  <a:lnTo>
                    <a:pt x="147" y="64"/>
                  </a:lnTo>
                  <a:lnTo>
                    <a:pt x="147" y="65"/>
                  </a:lnTo>
                  <a:lnTo>
                    <a:pt x="147" y="64"/>
                  </a:lnTo>
                  <a:lnTo>
                    <a:pt x="148" y="64"/>
                  </a:lnTo>
                  <a:lnTo>
                    <a:pt x="148" y="65"/>
                  </a:lnTo>
                  <a:lnTo>
                    <a:pt x="147" y="66"/>
                  </a:lnTo>
                  <a:lnTo>
                    <a:pt x="148" y="66"/>
                  </a:lnTo>
                  <a:lnTo>
                    <a:pt x="148" y="68"/>
                  </a:lnTo>
                  <a:lnTo>
                    <a:pt x="147" y="69"/>
                  </a:lnTo>
                  <a:lnTo>
                    <a:pt x="148" y="69"/>
                  </a:lnTo>
                  <a:lnTo>
                    <a:pt x="147" y="69"/>
                  </a:lnTo>
                  <a:lnTo>
                    <a:pt x="147" y="70"/>
                  </a:lnTo>
                  <a:lnTo>
                    <a:pt x="145" y="70"/>
                  </a:lnTo>
                  <a:lnTo>
                    <a:pt x="145" y="71"/>
                  </a:lnTo>
                  <a:lnTo>
                    <a:pt x="144" y="71"/>
                  </a:lnTo>
                  <a:lnTo>
                    <a:pt x="144" y="70"/>
                  </a:lnTo>
                  <a:lnTo>
                    <a:pt x="144" y="71"/>
                  </a:lnTo>
                  <a:lnTo>
                    <a:pt x="145" y="71"/>
                  </a:lnTo>
                  <a:lnTo>
                    <a:pt x="147" y="71"/>
                  </a:lnTo>
                  <a:lnTo>
                    <a:pt x="147" y="72"/>
                  </a:lnTo>
                  <a:lnTo>
                    <a:pt x="145" y="72"/>
                  </a:lnTo>
                  <a:lnTo>
                    <a:pt x="144" y="72"/>
                  </a:lnTo>
                  <a:lnTo>
                    <a:pt x="145" y="73"/>
                  </a:lnTo>
                  <a:lnTo>
                    <a:pt x="144" y="73"/>
                  </a:lnTo>
                  <a:lnTo>
                    <a:pt x="143" y="75"/>
                  </a:lnTo>
                  <a:lnTo>
                    <a:pt x="143" y="73"/>
                  </a:lnTo>
                  <a:lnTo>
                    <a:pt x="143" y="75"/>
                  </a:lnTo>
                  <a:lnTo>
                    <a:pt x="142" y="75"/>
                  </a:lnTo>
                  <a:lnTo>
                    <a:pt x="143" y="75"/>
                  </a:lnTo>
                  <a:lnTo>
                    <a:pt x="143" y="76"/>
                  </a:lnTo>
                  <a:lnTo>
                    <a:pt x="143" y="75"/>
                  </a:lnTo>
                  <a:lnTo>
                    <a:pt x="144" y="75"/>
                  </a:lnTo>
                  <a:lnTo>
                    <a:pt x="144" y="76"/>
                  </a:lnTo>
                  <a:lnTo>
                    <a:pt x="144" y="77"/>
                  </a:lnTo>
                  <a:lnTo>
                    <a:pt x="144" y="78"/>
                  </a:lnTo>
                  <a:lnTo>
                    <a:pt x="143" y="78"/>
                  </a:lnTo>
                  <a:lnTo>
                    <a:pt x="143" y="79"/>
                  </a:lnTo>
                  <a:lnTo>
                    <a:pt x="143" y="80"/>
                  </a:lnTo>
                  <a:lnTo>
                    <a:pt x="142" y="80"/>
                  </a:lnTo>
                  <a:lnTo>
                    <a:pt x="142" y="82"/>
                  </a:lnTo>
                  <a:lnTo>
                    <a:pt x="141" y="82"/>
                  </a:lnTo>
                  <a:lnTo>
                    <a:pt x="140" y="84"/>
                  </a:lnTo>
                  <a:lnTo>
                    <a:pt x="137" y="86"/>
                  </a:lnTo>
                  <a:lnTo>
                    <a:pt x="136" y="87"/>
                  </a:lnTo>
                  <a:lnTo>
                    <a:pt x="135" y="87"/>
                  </a:lnTo>
                  <a:lnTo>
                    <a:pt x="136" y="89"/>
                  </a:lnTo>
                  <a:lnTo>
                    <a:pt x="136" y="87"/>
                  </a:lnTo>
                  <a:lnTo>
                    <a:pt x="136" y="89"/>
                  </a:lnTo>
                  <a:lnTo>
                    <a:pt x="136" y="90"/>
                  </a:lnTo>
                  <a:lnTo>
                    <a:pt x="135" y="90"/>
                  </a:lnTo>
                  <a:lnTo>
                    <a:pt x="135" y="91"/>
                  </a:lnTo>
                  <a:lnTo>
                    <a:pt x="134" y="92"/>
                  </a:lnTo>
                  <a:lnTo>
                    <a:pt x="133" y="92"/>
                  </a:lnTo>
                  <a:lnTo>
                    <a:pt x="131" y="92"/>
                  </a:lnTo>
                  <a:lnTo>
                    <a:pt x="131" y="93"/>
                  </a:lnTo>
                  <a:lnTo>
                    <a:pt x="131" y="94"/>
                  </a:lnTo>
                  <a:lnTo>
                    <a:pt x="133" y="94"/>
                  </a:lnTo>
                  <a:lnTo>
                    <a:pt x="131" y="96"/>
                  </a:lnTo>
                  <a:lnTo>
                    <a:pt x="131" y="94"/>
                  </a:lnTo>
                  <a:lnTo>
                    <a:pt x="130" y="94"/>
                  </a:lnTo>
                  <a:lnTo>
                    <a:pt x="130" y="96"/>
                  </a:lnTo>
                  <a:lnTo>
                    <a:pt x="131" y="96"/>
                  </a:lnTo>
                  <a:lnTo>
                    <a:pt x="130" y="96"/>
                  </a:lnTo>
                  <a:lnTo>
                    <a:pt x="130" y="97"/>
                  </a:lnTo>
                  <a:lnTo>
                    <a:pt x="129" y="97"/>
                  </a:lnTo>
                  <a:lnTo>
                    <a:pt x="128" y="98"/>
                  </a:lnTo>
                  <a:lnTo>
                    <a:pt x="126" y="99"/>
                  </a:lnTo>
                  <a:lnTo>
                    <a:pt x="123" y="101"/>
                  </a:lnTo>
                  <a:lnTo>
                    <a:pt x="122" y="101"/>
                  </a:lnTo>
                  <a:lnTo>
                    <a:pt x="122" y="103"/>
                  </a:lnTo>
                  <a:lnTo>
                    <a:pt x="121" y="103"/>
                  </a:lnTo>
                  <a:lnTo>
                    <a:pt x="122" y="103"/>
                  </a:lnTo>
                  <a:lnTo>
                    <a:pt x="121" y="104"/>
                  </a:lnTo>
                  <a:lnTo>
                    <a:pt x="120" y="104"/>
                  </a:lnTo>
                  <a:lnTo>
                    <a:pt x="119" y="104"/>
                  </a:lnTo>
                  <a:lnTo>
                    <a:pt x="119" y="105"/>
                  </a:lnTo>
                  <a:lnTo>
                    <a:pt x="116" y="105"/>
                  </a:lnTo>
                  <a:lnTo>
                    <a:pt x="115" y="104"/>
                  </a:lnTo>
                  <a:lnTo>
                    <a:pt x="115" y="105"/>
                  </a:lnTo>
                  <a:lnTo>
                    <a:pt x="114" y="105"/>
                  </a:lnTo>
                  <a:lnTo>
                    <a:pt x="114" y="106"/>
                  </a:lnTo>
                  <a:lnTo>
                    <a:pt x="113" y="105"/>
                  </a:lnTo>
                  <a:lnTo>
                    <a:pt x="113" y="106"/>
                  </a:lnTo>
                  <a:lnTo>
                    <a:pt x="109" y="107"/>
                  </a:lnTo>
                  <a:lnTo>
                    <a:pt x="108" y="108"/>
                  </a:lnTo>
                  <a:lnTo>
                    <a:pt x="108" y="107"/>
                  </a:lnTo>
                  <a:lnTo>
                    <a:pt x="108" y="106"/>
                  </a:lnTo>
                  <a:lnTo>
                    <a:pt x="108" y="107"/>
                  </a:lnTo>
                  <a:lnTo>
                    <a:pt x="107" y="107"/>
                  </a:lnTo>
                  <a:lnTo>
                    <a:pt x="108" y="107"/>
                  </a:lnTo>
                  <a:lnTo>
                    <a:pt x="107" y="108"/>
                  </a:lnTo>
                  <a:lnTo>
                    <a:pt x="108" y="108"/>
                  </a:lnTo>
                  <a:lnTo>
                    <a:pt x="107" y="108"/>
                  </a:lnTo>
                  <a:lnTo>
                    <a:pt x="105" y="110"/>
                  </a:lnTo>
                  <a:lnTo>
                    <a:pt x="104" y="110"/>
                  </a:lnTo>
                  <a:lnTo>
                    <a:pt x="102" y="111"/>
                  </a:lnTo>
                  <a:lnTo>
                    <a:pt x="101" y="111"/>
                  </a:lnTo>
                  <a:lnTo>
                    <a:pt x="101" y="112"/>
                  </a:lnTo>
                  <a:lnTo>
                    <a:pt x="100" y="112"/>
                  </a:lnTo>
                  <a:lnTo>
                    <a:pt x="98" y="113"/>
                  </a:lnTo>
                  <a:lnTo>
                    <a:pt x="98" y="114"/>
                  </a:lnTo>
                  <a:lnTo>
                    <a:pt x="97" y="114"/>
                  </a:lnTo>
                  <a:lnTo>
                    <a:pt x="95" y="114"/>
                  </a:lnTo>
                  <a:lnTo>
                    <a:pt x="95" y="115"/>
                  </a:lnTo>
                  <a:lnTo>
                    <a:pt x="94" y="115"/>
                  </a:lnTo>
                  <a:lnTo>
                    <a:pt x="94" y="117"/>
                  </a:lnTo>
                  <a:lnTo>
                    <a:pt x="93" y="118"/>
                  </a:lnTo>
                  <a:lnTo>
                    <a:pt x="92" y="119"/>
                  </a:lnTo>
                  <a:lnTo>
                    <a:pt x="92" y="120"/>
                  </a:lnTo>
                  <a:lnTo>
                    <a:pt x="92" y="119"/>
                  </a:lnTo>
                  <a:lnTo>
                    <a:pt x="91" y="119"/>
                  </a:lnTo>
                  <a:lnTo>
                    <a:pt x="91" y="118"/>
                  </a:lnTo>
                  <a:lnTo>
                    <a:pt x="90" y="118"/>
                  </a:lnTo>
                  <a:lnTo>
                    <a:pt x="91" y="119"/>
                  </a:lnTo>
                  <a:lnTo>
                    <a:pt x="91" y="120"/>
                  </a:lnTo>
                  <a:lnTo>
                    <a:pt x="92" y="120"/>
                  </a:lnTo>
                  <a:lnTo>
                    <a:pt x="91" y="121"/>
                  </a:lnTo>
                  <a:lnTo>
                    <a:pt x="91" y="122"/>
                  </a:lnTo>
                  <a:lnTo>
                    <a:pt x="90" y="122"/>
                  </a:lnTo>
                  <a:lnTo>
                    <a:pt x="88" y="122"/>
                  </a:lnTo>
                  <a:lnTo>
                    <a:pt x="88" y="124"/>
                  </a:lnTo>
                  <a:lnTo>
                    <a:pt x="90" y="122"/>
                  </a:lnTo>
                  <a:lnTo>
                    <a:pt x="90" y="124"/>
                  </a:lnTo>
                  <a:lnTo>
                    <a:pt x="88" y="125"/>
                  </a:lnTo>
                  <a:lnTo>
                    <a:pt x="87" y="125"/>
                  </a:lnTo>
                  <a:lnTo>
                    <a:pt x="86" y="127"/>
                  </a:lnTo>
                  <a:lnTo>
                    <a:pt x="85" y="127"/>
                  </a:lnTo>
                  <a:lnTo>
                    <a:pt x="85" y="128"/>
                  </a:lnTo>
                  <a:lnTo>
                    <a:pt x="84" y="128"/>
                  </a:lnTo>
                  <a:lnTo>
                    <a:pt x="84" y="129"/>
                  </a:lnTo>
                  <a:lnTo>
                    <a:pt x="83" y="131"/>
                  </a:lnTo>
                  <a:lnTo>
                    <a:pt x="83" y="132"/>
                  </a:lnTo>
                  <a:lnTo>
                    <a:pt x="81" y="132"/>
                  </a:lnTo>
                  <a:lnTo>
                    <a:pt x="80" y="131"/>
                  </a:lnTo>
                  <a:lnTo>
                    <a:pt x="81" y="132"/>
                  </a:lnTo>
                  <a:lnTo>
                    <a:pt x="81" y="133"/>
                  </a:lnTo>
                  <a:lnTo>
                    <a:pt x="80" y="133"/>
                  </a:lnTo>
                  <a:lnTo>
                    <a:pt x="81" y="133"/>
                  </a:lnTo>
                  <a:lnTo>
                    <a:pt x="81" y="134"/>
                  </a:lnTo>
                  <a:lnTo>
                    <a:pt x="80" y="134"/>
                  </a:lnTo>
                  <a:lnTo>
                    <a:pt x="79" y="134"/>
                  </a:lnTo>
                  <a:lnTo>
                    <a:pt x="79" y="133"/>
                  </a:lnTo>
                  <a:lnTo>
                    <a:pt x="79" y="132"/>
                  </a:lnTo>
                  <a:lnTo>
                    <a:pt x="79" y="133"/>
                  </a:lnTo>
                  <a:lnTo>
                    <a:pt x="78" y="133"/>
                  </a:lnTo>
                  <a:lnTo>
                    <a:pt x="78" y="134"/>
                  </a:lnTo>
                  <a:lnTo>
                    <a:pt x="77" y="134"/>
                  </a:lnTo>
                  <a:lnTo>
                    <a:pt x="77" y="135"/>
                  </a:lnTo>
                  <a:lnTo>
                    <a:pt x="76" y="135"/>
                  </a:lnTo>
                  <a:lnTo>
                    <a:pt x="76" y="134"/>
                  </a:lnTo>
                  <a:lnTo>
                    <a:pt x="76" y="135"/>
                  </a:lnTo>
                  <a:lnTo>
                    <a:pt x="73" y="136"/>
                  </a:lnTo>
                  <a:lnTo>
                    <a:pt x="73" y="138"/>
                  </a:lnTo>
                  <a:lnTo>
                    <a:pt x="72" y="138"/>
                  </a:lnTo>
                  <a:lnTo>
                    <a:pt x="72" y="139"/>
                  </a:lnTo>
                  <a:lnTo>
                    <a:pt x="71" y="140"/>
                  </a:lnTo>
                  <a:lnTo>
                    <a:pt x="70" y="140"/>
                  </a:lnTo>
                  <a:lnTo>
                    <a:pt x="70" y="141"/>
                  </a:lnTo>
                  <a:lnTo>
                    <a:pt x="69" y="142"/>
                  </a:lnTo>
                  <a:lnTo>
                    <a:pt x="67" y="143"/>
                  </a:lnTo>
                  <a:lnTo>
                    <a:pt x="66" y="145"/>
                  </a:lnTo>
                  <a:lnTo>
                    <a:pt x="65" y="147"/>
                  </a:lnTo>
                  <a:lnTo>
                    <a:pt x="64" y="147"/>
                  </a:lnTo>
                  <a:lnTo>
                    <a:pt x="63" y="148"/>
                  </a:lnTo>
                  <a:lnTo>
                    <a:pt x="62" y="148"/>
                  </a:lnTo>
                  <a:lnTo>
                    <a:pt x="61" y="149"/>
                  </a:lnTo>
                  <a:lnTo>
                    <a:pt x="61" y="148"/>
                  </a:lnTo>
                  <a:lnTo>
                    <a:pt x="59" y="147"/>
                  </a:lnTo>
                  <a:lnTo>
                    <a:pt x="58" y="146"/>
                  </a:lnTo>
                  <a:lnTo>
                    <a:pt x="58" y="145"/>
                  </a:lnTo>
                  <a:lnTo>
                    <a:pt x="57" y="145"/>
                  </a:lnTo>
                  <a:lnTo>
                    <a:pt x="57" y="146"/>
                  </a:lnTo>
                  <a:lnTo>
                    <a:pt x="57" y="145"/>
                  </a:lnTo>
                  <a:lnTo>
                    <a:pt x="58" y="145"/>
                  </a:lnTo>
                  <a:lnTo>
                    <a:pt x="58" y="146"/>
                  </a:lnTo>
                  <a:lnTo>
                    <a:pt x="58" y="147"/>
                  </a:lnTo>
                  <a:lnTo>
                    <a:pt x="59" y="147"/>
                  </a:lnTo>
                  <a:lnTo>
                    <a:pt x="59" y="148"/>
                  </a:lnTo>
                  <a:lnTo>
                    <a:pt x="59" y="149"/>
                  </a:lnTo>
                  <a:lnTo>
                    <a:pt x="58" y="149"/>
                  </a:lnTo>
                  <a:lnTo>
                    <a:pt x="59" y="149"/>
                  </a:lnTo>
                  <a:lnTo>
                    <a:pt x="59" y="150"/>
                  </a:lnTo>
                  <a:lnTo>
                    <a:pt x="59" y="152"/>
                  </a:lnTo>
                  <a:lnTo>
                    <a:pt x="59" y="153"/>
                  </a:lnTo>
                  <a:lnTo>
                    <a:pt x="59" y="154"/>
                  </a:lnTo>
                  <a:lnTo>
                    <a:pt x="58" y="154"/>
                  </a:lnTo>
                  <a:lnTo>
                    <a:pt x="59" y="155"/>
                  </a:lnTo>
                  <a:lnTo>
                    <a:pt x="58" y="155"/>
                  </a:lnTo>
                  <a:lnTo>
                    <a:pt x="58" y="156"/>
                  </a:lnTo>
                  <a:lnTo>
                    <a:pt x="58" y="157"/>
                  </a:lnTo>
                  <a:lnTo>
                    <a:pt x="57" y="157"/>
                  </a:lnTo>
                  <a:lnTo>
                    <a:pt x="58" y="159"/>
                  </a:lnTo>
                  <a:lnTo>
                    <a:pt x="58" y="160"/>
                  </a:lnTo>
                  <a:lnTo>
                    <a:pt x="59" y="160"/>
                  </a:lnTo>
                  <a:lnTo>
                    <a:pt x="59" y="161"/>
                  </a:lnTo>
                  <a:lnTo>
                    <a:pt x="61" y="161"/>
                  </a:lnTo>
                  <a:lnTo>
                    <a:pt x="61" y="162"/>
                  </a:lnTo>
                  <a:lnTo>
                    <a:pt x="62" y="162"/>
                  </a:lnTo>
                  <a:lnTo>
                    <a:pt x="62" y="163"/>
                  </a:lnTo>
                  <a:lnTo>
                    <a:pt x="63" y="163"/>
                  </a:lnTo>
                  <a:lnTo>
                    <a:pt x="62" y="164"/>
                  </a:lnTo>
                  <a:lnTo>
                    <a:pt x="63" y="166"/>
                  </a:lnTo>
                  <a:lnTo>
                    <a:pt x="63" y="167"/>
                  </a:lnTo>
                  <a:lnTo>
                    <a:pt x="64" y="167"/>
                  </a:lnTo>
                  <a:lnTo>
                    <a:pt x="63" y="167"/>
                  </a:lnTo>
                  <a:lnTo>
                    <a:pt x="63" y="168"/>
                  </a:lnTo>
                  <a:lnTo>
                    <a:pt x="63" y="169"/>
                  </a:lnTo>
                  <a:lnTo>
                    <a:pt x="62" y="169"/>
                  </a:lnTo>
                  <a:lnTo>
                    <a:pt x="62" y="168"/>
                  </a:lnTo>
                  <a:lnTo>
                    <a:pt x="62" y="169"/>
                  </a:lnTo>
                  <a:lnTo>
                    <a:pt x="63" y="169"/>
                  </a:lnTo>
                  <a:lnTo>
                    <a:pt x="63" y="170"/>
                  </a:lnTo>
                  <a:lnTo>
                    <a:pt x="63" y="171"/>
                  </a:lnTo>
                  <a:lnTo>
                    <a:pt x="62" y="171"/>
                  </a:lnTo>
                  <a:lnTo>
                    <a:pt x="63" y="171"/>
                  </a:lnTo>
                  <a:lnTo>
                    <a:pt x="63" y="173"/>
                  </a:lnTo>
                  <a:lnTo>
                    <a:pt x="63" y="171"/>
                  </a:lnTo>
                  <a:lnTo>
                    <a:pt x="63" y="170"/>
                  </a:lnTo>
                  <a:lnTo>
                    <a:pt x="63" y="171"/>
                  </a:lnTo>
                  <a:lnTo>
                    <a:pt x="63" y="173"/>
                  </a:lnTo>
                  <a:lnTo>
                    <a:pt x="64" y="174"/>
                  </a:lnTo>
                  <a:lnTo>
                    <a:pt x="64" y="176"/>
                  </a:lnTo>
                  <a:lnTo>
                    <a:pt x="65" y="177"/>
                  </a:lnTo>
                  <a:lnTo>
                    <a:pt x="65" y="178"/>
                  </a:lnTo>
                  <a:lnTo>
                    <a:pt x="65" y="180"/>
                  </a:lnTo>
                  <a:lnTo>
                    <a:pt x="65" y="181"/>
                  </a:lnTo>
                  <a:lnTo>
                    <a:pt x="65" y="182"/>
                  </a:lnTo>
                  <a:lnTo>
                    <a:pt x="65" y="183"/>
                  </a:lnTo>
                  <a:lnTo>
                    <a:pt x="65" y="184"/>
                  </a:lnTo>
                  <a:lnTo>
                    <a:pt x="65" y="189"/>
                  </a:lnTo>
                  <a:lnTo>
                    <a:pt x="65" y="190"/>
                  </a:lnTo>
                  <a:lnTo>
                    <a:pt x="66" y="190"/>
                  </a:lnTo>
                  <a:lnTo>
                    <a:pt x="66" y="189"/>
                  </a:lnTo>
                  <a:lnTo>
                    <a:pt x="66" y="188"/>
                  </a:lnTo>
                  <a:lnTo>
                    <a:pt x="66" y="187"/>
                  </a:lnTo>
                  <a:lnTo>
                    <a:pt x="66" y="185"/>
                  </a:lnTo>
                  <a:lnTo>
                    <a:pt x="66" y="184"/>
                  </a:lnTo>
                  <a:lnTo>
                    <a:pt x="67" y="184"/>
                  </a:lnTo>
                  <a:lnTo>
                    <a:pt x="67" y="185"/>
                  </a:lnTo>
                  <a:lnTo>
                    <a:pt x="67" y="188"/>
                  </a:lnTo>
                  <a:lnTo>
                    <a:pt x="67" y="187"/>
                  </a:lnTo>
                  <a:lnTo>
                    <a:pt x="69" y="187"/>
                  </a:lnTo>
                  <a:lnTo>
                    <a:pt x="69" y="185"/>
                  </a:lnTo>
                  <a:lnTo>
                    <a:pt x="67" y="188"/>
                  </a:lnTo>
                  <a:lnTo>
                    <a:pt x="67" y="189"/>
                  </a:lnTo>
                  <a:lnTo>
                    <a:pt x="67" y="192"/>
                  </a:lnTo>
                  <a:lnTo>
                    <a:pt x="67" y="194"/>
                  </a:lnTo>
                  <a:lnTo>
                    <a:pt x="67" y="197"/>
                  </a:lnTo>
                  <a:lnTo>
                    <a:pt x="67" y="198"/>
                  </a:lnTo>
                  <a:lnTo>
                    <a:pt x="67" y="197"/>
                  </a:lnTo>
                  <a:lnTo>
                    <a:pt x="69" y="197"/>
                  </a:lnTo>
                  <a:lnTo>
                    <a:pt x="67" y="197"/>
                  </a:lnTo>
                  <a:lnTo>
                    <a:pt x="69" y="197"/>
                  </a:lnTo>
                  <a:lnTo>
                    <a:pt x="69" y="198"/>
                  </a:lnTo>
                  <a:lnTo>
                    <a:pt x="67" y="199"/>
                  </a:lnTo>
                  <a:lnTo>
                    <a:pt x="66" y="201"/>
                  </a:lnTo>
                  <a:lnTo>
                    <a:pt x="66" y="202"/>
                  </a:lnTo>
                  <a:lnTo>
                    <a:pt x="66" y="203"/>
                  </a:lnTo>
                  <a:lnTo>
                    <a:pt x="66" y="204"/>
                  </a:lnTo>
                  <a:lnTo>
                    <a:pt x="65" y="206"/>
                  </a:lnTo>
                  <a:lnTo>
                    <a:pt x="65" y="209"/>
                  </a:lnTo>
                  <a:lnTo>
                    <a:pt x="65" y="210"/>
                  </a:lnTo>
                  <a:lnTo>
                    <a:pt x="65" y="211"/>
                  </a:lnTo>
                  <a:lnTo>
                    <a:pt x="64" y="210"/>
                  </a:lnTo>
                  <a:lnTo>
                    <a:pt x="65" y="210"/>
                  </a:lnTo>
                  <a:lnTo>
                    <a:pt x="64" y="210"/>
                  </a:lnTo>
                  <a:lnTo>
                    <a:pt x="64" y="211"/>
                  </a:lnTo>
                  <a:lnTo>
                    <a:pt x="64" y="212"/>
                  </a:lnTo>
                  <a:lnTo>
                    <a:pt x="64" y="213"/>
                  </a:lnTo>
                  <a:lnTo>
                    <a:pt x="64" y="215"/>
                  </a:lnTo>
                  <a:lnTo>
                    <a:pt x="64" y="213"/>
                  </a:lnTo>
                  <a:lnTo>
                    <a:pt x="64" y="212"/>
                  </a:lnTo>
                  <a:lnTo>
                    <a:pt x="65" y="212"/>
                  </a:lnTo>
                  <a:lnTo>
                    <a:pt x="66" y="211"/>
                  </a:lnTo>
                  <a:lnTo>
                    <a:pt x="65" y="211"/>
                  </a:lnTo>
                  <a:lnTo>
                    <a:pt x="66" y="211"/>
                  </a:lnTo>
                  <a:lnTo>
                    <a:pt x="66" y="212"/>
                  </a:lnTo>
                  <a:lnTo>
                    <a:pt x="65" y="215"/>
                  </a:lnTo>
                  <a:lnTo>
                    <a:pt x="65" y="216"/>
                  </a:lnTo>
                  <a:lnTo>
                    <a:pt x="65" y="217"/>
                  </a:lnTo>
                  <a:lnTo>
                    <a:pt x="63" y="220"/>
                  </a:lnTo>
                  <a:lnTo>
                    <a:pt x="62" y="223"/>
                  </a:lnTo>
                  <a:lnTo>
                    <a:pt x="61" y="223"/>
                  </a:lnTo>
                  <a:lnTo>
                    <a:pt x="61" y="224"/>
                  </a:lnTo>
                  <a:lnTo>
                    <a:pt x="56" y="226"/>
                  </a:lnTo>
                  <a:lnTo>
                    <a:pt x="54" y="227"/>
                  </a:lnTo>
                  <a:lnTo>
                    <a:pt x="51" y="229"/>
                  </a:lnTo>
                  <a:lnTo>
                    <a:pt x="49" y="229"/>
                  </a:lnTo>
                  <a:lnTo>
                    <a:pt x="48" y="230"/>
                  </a:lnTo>
                  <a:lnTo>
                    <a:pt x="47" y="230"/>
                  </a:lnTo>
                  <a:lnTo>
                    <a:pt x="43" y="231"/>
                  </a:lnTo>
                  <a:lnTo>
                    <a:pt x="41" y="232"/>
                  </a:lnTo>
                  <a:lnTo>
                    <a:pt x="38" y="233"/>
                  </a:lnTo>
                  <a:lnTo>
                    <a:pt x="37" y="233"/>
                  </a:lnTo>
                  <a:lnTo>
                    <a:pt x="35" y="234"/>
                  </a:lnTo>
                  <a:lnTo>
                    <a:pt x="35" y="236"/>
                  </a:lnTo>
                  <a:lnTo>
                    <a:pt x="35" y="234"/>
                  </a:lnTo>
                  <a:lnTo>
                    <a:pt x="34" y="234"/>
                  </a:lnTo>
                  <a:lnTo>
                    <a:pt x="34" y="236"/>
                  </a:lnTo>
                  <a:lnTo>
                    <a:pt x="33" y="237"/>
                  </a:lnTo>
                  <a:lnTo>
                    <a:pt x="29" y="239"/>
                  </a:lnTo>
                  <a:lnTo>
                    <a:pt x="28" y="239"/>
                  </a:lnTo>
                  <a:lnTo>
                    <a:pt x="28" y="240"/>
                  </a:lnTo>
                  <a:lnTo>
                    <a:pt x="27" y="241"/>
                  </a:lnTo>
                  <a:lnTo>
                    <a:pt x="27" y="242"/>
                  </a:lnTo>
                  <a:lnTo>
                    <a:pt x="27" y="244"/>
                  </a:lnTo>
                  <a:lnTo>
                    <a:pt x="27" y="242"/>
                  </a:lnTo>
                  <a:lnTo>
                    <a:pt x="27" y="244"/>
                  </a:lnTo>
                  <a:lnTo>
                    <a:pt x="26" y="244"/>
                  </a:lnTo>
                  <a:lnTo>
                    <a:pt x="26" y="245"/>
                  </a:lnTo>
                  <a:lnTo>
                    <a:pt x="24" y="245"/>
                  </a:lnTo>
                  <a:lnTo>
                    <a:pt x="24" y="246"/>
                  </a:lnTo>
                  <a:lnTo>
                    <a:pt x="23" y="245"/>
                  </a:lnTo>
                  <a:lnTo>
                    <a:pt x="23" y="246"/>
                  </a:lnTo>
                  <a:lnTo>
                    <a:pt x="24" y="246"/>
                  </a:lnTo>
                  <a:lnTo>
                    <a:pt x="24" y="247"/>
                  </a:lnTo>
                  <a:lnTo>
                    <a:pt x="26" y="247"/>
                  </a:lnTo>
                  <a:lnTo>
                    <a:pt x="26" y="248"/>
                  </a:lnTo>
                  <a:lnTo>
                    <a:pt x="26" y="249"/>
                  </a:lnTo>
                  <a:lnTo>
                    <a:pt x="26" y="248"/>
                  </a:lnTo>
                  <a:lnTo>
                    <a:pt x="26" y="249"/>
                  </a:lnTo>
                  <a:lnTo>
                    <a:pt x="27" y="249"/>
                  </a:lnTo>
                  <a:lnTo>
                    <a:pt x="27" y="251"/>
                  </a:lnTo>
                  <a:lnTo>
                    <a:pt x="28" y="251"/>
                  </a:lnTo>
                  <a:lnTo>
                    <a:pt x="28" y="249"/>
                  </a:lnTo>
                  <a:lnTo>
                    <a:pt x="28" y="248"/>
                  </a:lnTo>
                  <a:lnTo>
                    <a:pt x="29" y="247"/>
                  </a:lnTo>
                  <a:lnTo>
                    <a:pt x="29" y="248"/>
                  </a:lnTo>
                  <a:lnTo>
                    <a:pt x="29" y="251"/>
                  </a:lnTo>
                  <a:lnTo>
                    <a:pt x="28" y="255"/>
                  </a:lnTo>
                  <a:lnTo>
                    <a:pt x="28" y="256"/>
                  </a:lnTo>
                  <a:lnTo>
                    <a:pt x="28" y="258"/>
                  </a:lnTo>
                  <a:lnTo>
                    <a:pt x="28" y="259"/>
                  </a:lnTo>
                  <a:lnTo>
                    <a:pt x="28" y="260"/>
                  </a:lnTo>
                  <a:lnTo>
                    <a:pt x="26" y="260"/>
                  </a:lnTo>
                  <a:lnTo>
                    <a:pt x="23" y="260"/>
                  </a:lnTo>
                  <a:lnTo>
                    <a:pt x="22" y="260"/>
                  </a:lnTo>
                  <a:lnTo>
                    <a:pt x="20" y="260"/>
                  </a:lnTo>
                  <a:lnTo>
                    <a:pt x="19" y="260"/>
                  </a:lnTo>
                  <a:lnTo>
                    <a:pt x="17" y="260"/>
                  </a:lnTo>
                  <a:lnTo>
                    <a:pt x="17" y="255"/>
                  </a:lnTo>
                  <a:lnTo>
                    <a:pt x="17" y="254"/>
                  </a:lnTo>
                  <a:lnTo>
                    <a:pt x="16" y="253"/>
                  </a:lnTo>
                  <a:lnTo>
                    <a:pt x="16" y="252"/>
                  </a:lnTo>
                  <a:lnTo>
                    <a:pt x="16" y="251"/>
                  </a:lnTo>
                  <a:lnTo>
                    <a:pt x="17" y="249"/>
                  </a:lnTo>
                  <a:lnTo>
                    <a:pt x="17" y="248"/>
                  </a:lnTo>
                  <a:lnTo>
                    <a:pt x="17" y="247"/>
                  </a:lnTo>
                  <a:lnTo>
                    <a:pt x="17" y="246"/>
                  </a:lnTo>
                  <a:lnTo>
                    <a:pt x="16" y="246"/>
                  </a:lnTo>
                  <a:lnTo>
                    <a:pt x="15" y="244"/>
                  </a:lnTo>
                  <a:lnTo>
                    <a:pt x="15" y="242"/>
                  </a:lnTo>
                  <a:lnTo>
                    <a:pt x="16" y="241"/>
                  </a:lnTo>
                  <a:lnTo>
                    <a:pt x="16" y="240"/>
                  </a:lnTo>
                  <a:lnTo>
                    <a:pt x="16" y="239"/>
                  </a:lnTo>
                  <a:lnTo>
                    <a:pt x="16" y="238"/>
                  </a:lnTo>
                  <a:lnTo>
                    <a:pt x="16" y="237"/>
                  </a:lnTo>
                  <a:lnTo>
                    <a:pt x="17" y="237"/>
                  </a:lnTo>
                  <a:lnTo>
                    <a:pt x="17" y="233"/>
                  </a:lnTo>
                  <a:lnTo>
                    <a:pt x="17" y="231"/>
                  </a:lnTo>
                  <a:lnTo>
                    <a:pt x="17" y="229"/>
                  </a:lnTo>
                  <a:lnTo>
                    <a:pt x="17" y="226"/>
                  </a:lnTo>
                  <a:lnTo>
                    <a:pt x="17" y="224"/>
                  </a:lnTo>
                  <a:lnTo>
                    <a:pt x="17" y="223"/>
                  </a:lnTo>
                  <a:lnTo>
                    <a:pt x="17" y="222"/>
                  </a:lnTo>
                  <a:lnTo>
                    <a:pt x="17" y="220"/>
                  </a:lnTo>
                  <a:lnTo>
                    <a:pt x="17" y="219"/>
                  </a:lnTo>
                  <a:lnTo>
                    <a:pt x="16" y="217"/>
                  </a:lnTo>
                  <a:lnTo>
                    <a:pt x="16" y="213"/>
                  </a:lnTo>
                  <a:lnTo>
                    <a:pt x="15" y="212"/>
                  </a:lnTo>
                  <a:lnTo>
                    <a:pt x="14" y="211"/>
                  </a:lnTo>
                  <a:lnTo>
                    <a:pt x="14" y="209"/>
                  </a:lnTo>
                  <a:lnTo>
                    <a:pt x="14" y="208"/>
                  </a:lnTo>
                  <a:lnTo>
                    <a:pt x="13" y="206"/>
                  </a:lnTo>
                  <a:lnTo>
                    <a:pt x="13" y="205"/>
                  </a:lnTo>
                  <a:lnTo>
                    <a:pt x="13" y="202"/>
                  </a:lnTo>
                  <a:lnTo>
                    <a:pt x="12" y="198"/>
                  </a:lnTo>
                  <a:lnTo>
                    <a:pt x="12" y="196"/>
                  </a:lnTo>
                  <a:lnTo>
                    <a:pt x="10" y="194"/>
                  </a:lnTo>
                  <a:lnTo>
                    <a:pt x="10" y="191"/>
                  </a:lnTo>
                  <a:lnTo>
                    <a:pt x="9" y="189"/>
                  </a:lnTo>
                  <a:lnTo>
                    <a:pt x="10" y="189"/>
                  </a:lnTo>
                  <a:lnTo>
                    <a:pt x="12" y="188"/>
                  </a:lnTo>
                  <a:lnTo>
                    <a:pt x="13" y="187"/>
                  </a:lnTo>
                  <a:lnTo>
                    <a:pt x="14" y="185"/>
                  </a:lnTo>
                  <a:lnTo>
                    <a:pt x="15" y="184"/>
                  </a:lnTo>
                  <a:lnTo>
                    <a:pt x="16" y="183"/>
                  </a:lnTo>
                  <a:lnTo>
                    <a:pt x="17" y="182"/>
                  </a:lnTo>
                  <a:lnTo>
                    <a:pt x="19" y="181"/>
                  </a:lnTo>
                  <a:lnTo>
                    <a:pt x="19" y="180"/>
                  </a:lnTo>
                  <a:lnTo>
                    <a:pt x="20" y="180"/>
                  </a:lnTo>
                  <a:lnTo>
                    <a:pt x="20" y="178"/>
                  </a:lnTo>
                  <a:lnTo>
                    <a:pt x="21" y="177"/>
                  </a:lnTo>
                  <a:lnTo>
                    <a:pt x="22" y="176"/>
                  </a:lnTo>
                  <a:lnTo>
                    <a:pt x="23" y="175"/>
                  </a:lnTo>
                  <a:lnTo>
                    <a:pt x="24" y="174"/>
                  </a:lnTo>
                  <a:lnTo>
                    <a:pt x="24" y="173"/>
                  </a:lnTo>
                  <a:lnTo>
                    <a:pt x="26" y="173"/>
                  </a:lnTo>
                  <a:lnTo>
                    <a:pt x="26" y="171"/>
                  </a:lnTo>
                  <a:lnTo>
                    <a:pt x="27" y="173"/>
                  </a:lnTo>
                  <a:lnTo>
                    <a:pt x="27" y="171"/>
                  </a:lnTo>
                  <a:lnTo>
                    <a:pt x="26" y="170"/>
                  </a:lnTo>
                  <a:lnTo>
                    <a:pt x="26" y="169"/>
                  </a:lnTo>
                  <a:lnTo>
                    <a:pt x="27" y="168"/>
                  </a:lnTo>
                  <a:lnTo>
                    <a:pt x="27" y="167"/>
                  </a:lnTo>
                  <a:lnTo>
                    <a:pt x="28" y="166"/>
                  </a:lnTo>
                  <a:lnTo>
                    <a:pt x="28" y="163"/>
                  </a:lnTo>
                  <a:lnTo>
                    <a:pt x="28" y="162"/>
                  </a:lnTo>
                  <a:lnTo>
                    <a:pt x="28" y="161"/>
                  </a:lnTo>
                  <a:lnTo>
                    <a:pt x="28" y="160"/>
                  </a:lnTo>
                  <a:lnTo>
                    <a:pt x="29" y="160"/>
                  </a:lnTo>
                  <a:lnTo>
                    <a:pt x="30" y="160"/>
                  </a:lnTo>
                  <a:lnTo>
                    <a:pt x="30" y="159"/>
                  </a:lnTo>
                  <a:lnTo>
                    <a:pt x="31" y="157"/>
                  </a:lnTo>
                  <a:lnTo>
                    <a:pt x="33" y="156"/>
                  </a:lnTo>
                  <a:lnTo>
                    <a:pt x="33" y="155"/>
                  </a:lnTo>
                  <a:lnTo>
                    <a:pt x="34" y="155"/>
                  </a:lnTo>
                  <a:lnTo>
                    <a:pt x="33" y="155"/>
                  </a:lnTo>
                  <a:lnTo>
                    <a:pt x="33" y="154"/>
                  </a:lnTo>
                  <a:lnTo>
                    <a:pt x="34" y="154"/>
                  </a:lnTo>
                  <a:lnTo>
                    <a:pt x="34" y="153"/>
                  </a:lnTo>
                  <a:lnTo>
                    <a:pt x="35" y="152"/>
                  </a:lnTo>
                  <a:lnTo>
                    <a:pt x="35" y="150"/>
                  </a:lnTo>
                  <a:lnTo>
                    <a:pt x="36" y="149"/>
                  </a:lnTo>
                  <a:lnTo>
                    <a:pt x="36" y="148"/>
                  </a:lnTo>
                  <a:lnTo>
                    <a:pt x="35" y="148"/>
                  </a:lnTo>
                  <a:lnTo>
                    <a:pt x="35" y="147"/>
                  </a:lnTo>
                  <a:lnTo>
                    <a:pt x="35" y="146"/>
                  </a:lnTo>
                  <a:lnTo>
                    <a:pt x="34" y="146"/>
                  </a:lnTo>
                  <a:lnTo>
                    <a:pt x="34" y="147"/>
                  </a:lnTo>
                  <a:lnTo>
                    <a:pt x="34" y="146"/>
                  </a:lnTo>
                  <a:lnTo>
                    <a:pt x="33" y="146"/>
                  </a:lnTo>
                  <a:lnTo>
                    <a:pt x="34" y="146"/>
                  </a:lnTo>
                  <a:lnTo>
                    <a:pt x="34" y="145"/>
                  </a:lnTo>
                  <a:lnTo>
                    <a:pt x="33" y="145"/>
                  </a:lnTo>
                  <a:lnTo>
                    <a:pt x="34" y="143"/>
                  </a:lnTo>
                  <a:lnTo>
                    <a:pt x="33" y="143"/>
                  </a:lnTo>
                  <a:lnTo>
                    <a:pt x="33" y="142"/>
                  </a:lnTo>
                  <a:lnTo>
                    <a:pt x="33" y="141"/>
                  </a:lnTo>
                  <a:lnTo>
                    <a:pt x="34" y="140"/>
                  </a:lnTo>
                  <a:lnTo>
                    <a:pt x="34" y="139"/>
                  </a:lnTo>
                  <a:lnTo>
                    <a:pt x="34" y="138"/>
                  </a:lnTo>
                  <a:lnTo>
                    <a:pt x="34" y="136"/>
                  </a:lnTo>
                  <a:lnTo>
                    <a:pt x="34" y="135"/>
                  </a:lnTo>
                  <a:lnTo>
                    <a:pt x="33" y="135"/>
                  </a:lnTo>
                  <a:lnTo>
                    <a:pt x="33" y="136"/>
                  </a:lnTo>
                  <a:lnTo>
                    <a:pt x="31" y="135"/>
                  </a:lnTo>
                  <a:lnTo>
                    <a:pt x="31" y="134"/>
                  </a:lnTo>
                  <a:lnTo>
                    <a:pt x="33" y="134"/>
                  </a:lnTo>
                  <a:lnTo>
                    <a:pt x="31" y="134"/>
                  </a:lnTo>
                  <a:lnTo>
                    <a:pt x="31" y="133"/>
                  </a:lnTo>
                  <a:lnTo>
                    <a:pt x="34" y="132"/>
                  </a:lnTo>
                  <a:lnTo>
                    <a:pt x="35" y="132"/>
                  </a:lnTo>
                  <a:lnTo>
                    <a:pt x="35" y="131"/>
                  </a:lnTo>
                  <a:lnTo>
                    <a:pt x="35" y="129"/>
                  </a:lnTo>
                  <a:lnTo>
                    <a:pt x="35" y="128"/>
                  </a:lnTo>
                  <a:lnTo>
                    <a:pt x="36" y="127"/>
                  </a:lnTo>
                  <a:lnTo>
                    <a:pt x="36" y="126"/>
                  </a:lnTo>
                  <a:lnTo>
                    <a:pt x="37" y="126"/>
                  </a:lnTo>
                  <a:lnTo>
                    <a:pt x="37" y="125"/>
                  </a:lnTo>
                  <a:lnTo>
                    <a:pt x="36" y="124"/>
                  </a:lnTo>
                  <a:lnTo>
                    <a:pt x="36" y="122"/>
                  </a:lnTo>
                  <a:lnTo>
                    <a:pt x="36" y="120"/>
                  </a:lnTo>
                  <a:lnTo>
                    <a:pt x="36" y="119"/>
                  </a:lnTo>
                  <a:lnTo>
                    <a:pt x="36" y="118"/>
                  </a:lnTo>
                  <a:lnTo>
                    <a:pt x="36" y="117"/>
                  </a:lnTo>
                  <a:lnTo>
                    <a:pt x="37" y="117"/>
                  </a:lnTo>
                  <a:lnTo>
                    <a:pt x="37" y="115"/>
                  </a:lnTo>
                  <a:lnTo>
                    <a:pt x="37" y="114"/>
                  </a:lnTo>
                  <a:lnTo>
                    <a:pt x="37" y="113"/>
                  </a:lnTo>
                  <a:lnTo>
                    <a:pt x="36" y="112"/>
                  </a:lnTo>
                  <a:lnTo>
                    <a:pt x="37" y="111"/>
                  </a:lnTo>
                  <a:lnTo>
                    <a:pt x="37" y="110"/>
                  </a:lnTo>
                  <a:lnTo>
                    <a:pt x="37" y="108"/>
                  </a:lnTo>
                  <a:lnTo>
                    <a:pt x="37" y="107"/>
                  </a:lnTo>
                  <a:lnTo>
                    <a:pt x="37" y="106"/>
                  </a:lnTo>
                  <a:lnTo>
                    <a:pt x="36" y="105"/>
                  </a:lnTo>
                  <a:lnTo>
                    <a:pt x="35" y="103"/>
                  </a:lnTo>
                  <a:lnTo>
                    <a:pt x="36" y="101"/>
                  </a:lnTo>
                  <a:lnTo>
                    <a:pt x="37" y="101"/>
                  </a:lnTo>
                  <a:lnTo>
                    <a:pt x="37" y="99"/>
                  </a:lnTo>
                  <a:lnTo>
                    <a:pt x="36" y="99"/>
                  </a:lnTo>
                  <a:lnTo>
                    <a:pt x="35" y="99"/>
                  </a:lnTo>
                  <a:lnTo>
                    <a:pt x="34" y="99"/>
                  </a:lnTo>
                  <a:lnTo>
                    <a:pt x="34" y="98"/>
                  </a:lnTo>
                  <a:lnTo>
                    <a:pt x="31" y="97"/>
                  </a:lnTo>
                  <a:lnTo>
                    <a:pt x="29" y="96"/>
                  </a:lnTo>
                  <a:lnTo>
                    <a:pt x="28" y="96"/>
                  </a:lnTo>
                  <a:lnTo>
                    <a:pt x="27" y="94"/>
                  </a:lnTo>
                  <a:lnTo>
                    <a:pt x="24" y="94"/>
                  </a:lnTo>
                  <a:lnTo>
                    <a:pt x="23" y="94"/>
                  </a:lnTo>
                  <a:lnTo>
                    <a:pt x="22" y="94"/>
                  </a:lnTo>
                  <a:lnTo>
                    <a:pt x="22" y="93"/>
                  </a:lnTo>
                  <a:lnTo>
                    <a:pt x="21" y="93"/>
                  </a:lnTo>
                  <a:lnTo>
                    <a:pt x="21" y="92"/>
                  </a:lnTo>
                  <a:lnTo>
                    <a:pt x="20" y="91"/>
                  </a:lnTo>
                  <a:lnTo>
                    <a:pt x="17" y="91"/>
                  </a:lnTo>
                  <a:lnTo>
                    <a:pt x="16" y="91"/>
                  </a:lnTo>
                  <a:lnTo>
                    <a:pt x="16" y="90"/>
                  </a:lnTo>
                  <a:lnTo>
                    <a:pt x="15" y="90"/>
                  </a:lnTo>
                  <a:lnTo>
                    <a:pt x="15" y="89"/>
                  </a:lnTo>
                  <a:lnTo>
                    <a:pt x="14" y="89"/>
                  </a:lnTo>
                  <a:lnTo>
                    <a:pt x="13" y="87"/>
                  </a:lnTo>
                  <a:lnTo>
                    <a:pt x="12" y="87"/>
                  </a:lnTo>
                  <a:lnTo>
                    <a:pt x="12" y="89"/>
                  </a:lnTo>
                  <a:lnTo>
                    <a:pt x="10" y="89"/>
                  </a:lnTo>
                  <a:lnTo>
                    <a:pt x="9" y="89"/>
                  </a:lnTo>
                  <a:lnTo>
                    <a:pt x="8" y="87"/>
                  </a:lnTo>
                  <a:lnTo>
                    <a:pt x="7" y="87"/>
                  </a:lnTo>
                  <a:lnTo>
                    <a:pt x="5" y="87"/>
                  </a:lnTo>
                  <a:lnTo>
                    <a:pt x="3" y="87"/>
                  </a:lnTo>
                  <a:lnTo>
                    <a:pt x="2" y="87"/>
                  </a:lnTo>
                  <a:lnTo>
                    <a:pt x="2" y="85"/>
                  </a:lnTo>
                  <a:lnTo>
                    <a:pt x="2" y="84"/>
                  </a:lnTo>
                  <a:lnTo>
                    <a:pt x="2" y="83"/>
                  </a:lnTo>
                  <a:lnTo>
                    <a:pt x="2" y="82"/>
                  </a:lnTo>
                  <a:lnTo>
                    <a:pt x="2" y="80"/>
                  </a:lnTo>
                  <a:lnTo>
                    <a:pt x="2" y="79"/>
                  </a:lnTo>
                  <a:lnTo>
                    <a:pt x="2" y="78"/>
                  </a:lnTo>
                  <a:lnTo>
                    <a:pt x="2" y="77"/>
                  </a:lnTo>
                  <a:lnTo>
                    <a:pt x="1" y="77"/>
                  </a:lnTo>
                  <a:lnTo>
                    <a:pt x="1" y="76"/>
                  </a:lnTo>
                  <a:lnTo>
                    <a:pt x="0" y="73"/>
                  </a:lnTo>
                  <a:lnTo>
                    <a:pt x="0" y="72"/>
                  </a:lnTo>
                  <a:lnTo>
                    <a:pt x="2" y="71"/>
                  </a:lnTo>
                  <a:lnTo>
                    <a:pt x="5" y="70"/>
                  </a:lnTo>
                  <a:lnTo>
                    <a:pt x="6" y="70"/>
                  </a:lnTo>
                  <a:lnTo>
                    <a:pt x="7" y="69"/>
                  </a:lnTo>
                  <a:lnTo>
                    <a:pt x="9" y="69"/>
                  </a:lnTo>
                  <a:lnTo>
                    <a:pt x="10" y="68"/>
                  </a:lnTo>
                  <a:lnTo>
                    <a:pt x="12" y="68"/>
                  </a:lnTo>
                  <a:lnTo>
                    <a:pt x="13" y="68"/>
                  </a:lnTo>
                  <a:lnTo>
                    <a:pt x="14" y="68"/>
                  </a:lnTo>
                  <a:lnTo>
                    <a:pt x="15" y="66"/>
                  </a:lnTo>
                  <a:lnTo>
                    <a:pt x="17" y="66"/>
                  </a:lnTo>
                  <a:lnTo>
                    <a:pt x="19" y="65"/>
                  </a:lnTo>
                  <a:lnTo>
                    <a:pt x="20" y="65"/>
                  </a:lnTo>
                  <a:lnTo>
                    <a:pt x="21" y="64"/>
                  </a:lnTo>
                  <a:lnTo>
                    <a:pt x="22" y="64"/>
                  </a:lnTo>
                  <a:lnTo>
                    <a:pt x="24" y="63"/>
                  </a:lnTo>
                  <a:lnTo>
                    <a:pt x="26" y="63"/>
                  </a:lnTo>
                  <a:lnTo>
                    <a:pt x="27" y="62"/>
                  </a:lnTo>
                  <a:lnTo>
                    <a:pt x="28" y="62"/>
                  </a:lnTo>
                  <a:lnTo>
                    <a:pt x="29" y="62"/>
                  </a:lnTo>
                  <a:lnTo>
                    <a:pt x="30" y="61"/>
                  </a:lnTo>
                  <a:lnTo>
                    <a:pt x="31" y="61"/>
                  </a:lnTo>
                  <a:lnTo>
                    <a:pt x="34" y="59"/>
                  </a:lnTo>
                  <a:lnTo>
                    <a:pt x="36" y="59"/>
                  </a:lnTo>
                  <a:lnTo>
                    <a:pt x="38" y="58"/>
                  </a:lnTo>
                  <a:lnTo>
                    <a:pt x="40" y="57"/>
                  </a:lnTo>
                  <a:lnTo>
                    <a:pt x="41" y="57"/>
                  </a:lnTo>
                  <a:lnTo>
                    <a:pt x="42" y="56"/>
                  </a:lnTo>
                  <a:lnTo>
                    <a:pt x="43" y="57"/>
                  </a:lnTo>
                  <a:lnTo>
                    <a:pt x="43" y="58"/>
                  </a:lnTo>
                  <a:lnTo>
                    <a:pt x="43" y="59"/>
                  </a:lnTo>
                  <a:lnTo>
                    <a:pt x="44" y="59"/>
                  </a:lnTo>
                  <a:lnTo>
                    <a:pt x="44" y="61"/>
                  </a:lnTo>
                  <a:lnTo>
                    <a:pt x="45" y="62"/>
                  </a:lnTo>
                  <a:lnTo>
                    <a:pt x="45" y="63"/>
                  </a:lnTo>
                  <a:lnTo>
                    <a:pt x="47" y="63"/>
                  </a:lnTo>
                  <a:lnTo>
                    <a:pt x="47" y="64"/>
                  </a:lnTo>
                  <a:lnTo>
                    <a:pt x="48" y="64"/>
                  </a:lnTo>
                  <a:lnTo>
                    <a:pt x="48" y="65"/>
                  </a:lnTo>
                  <a:lnTo>
                    <a:pt x="48" y="66"/>
                  </a:lnTo>
                  <a:lnTo>
                    <a:pt x="49" y="65"/>
                  </a:lnTo>
                  <a:lnTo>
                    <a:pt x="49" y="64"/>
                  </a:lnTo>
                  <a:lnTo>
                    <a:pt x="50" y="65"/>
                  </a:lnTo>
                  <a:lnTo>
                    <a:pt x="50" y="64"/>
                  </a:lnTo>
                  <a:lnTo>
                    <a:pt x="51" y="64"/>
                  </a:lnTo>
                  <a:lnTo>
                    <a:pt x="52" y="64"/>
                  </a:lnTo>
                  <a:lnTo>
                    <a:pt x="54" y="64"/>
                  </a:lnTo>
                  <a:lnTo>
                    <a:pt x="54" y="63"/>
                  </a:lnTo>
                  <a:lnTo>
                    <a:pt x="55" y="63"/>
                  </a:lnTo>
                  <a:lnTo>
                    <a:pt x="56" y="63"/>
                  </a:lnTo>
                  <a:lnTo>
                    <a:pt x="57" y="63"/>
                  </a:lnTo>
                  <a:lnTo>
                    <a:pt x="58" y="63"/>
                  </a:lnTo>
                  <a:lnTo>
                    <a:pt x="59" y="64"/>
                  </a:lnTo>
                  <a:lnTo>
                    <a:pt x="59" y="65"/>
                  </a:lnTo>
                  <a:lnTo>
                    <a:pt x="61" y="66"/>
                  </a:lnTo>
                  <a:lnTo>
                    <a:pt x="59" y="68"/>
                  </a:lnTo>
                  <a:lnTo>
                    <a:pt x="61" y="69"/>
                  </a:lnTo>
                  <a:lnTo>
                    <a:pt x="61" y="70"/>
                  </a:lnTo>
                  <a:lnTo>
                    <a:pt x="61" y="71"/>
                  </a:lnTo>
                  <a:lnTo>
                    <a:pt x="61" y="72"/>
                  </a:lnTo>
                  <a:lnTo>
                    <a:pt x="61" y="73"/>
                  </a:lnTo>
                  <a:lnTo>
                    <a:pt x="61" y="75"/>
                  </a:lnTo>
                  <a:lnTo>
                    <a:pt x="61" y="76"/>
                  </a:lnTo>
                  <a:lnTo>
                    <a:pt x="61" y="77"/>
                  </a:lnTo>
                  <a:lnTo>
                    <a:pt x="59" y="77"/>
                  </a:lnTo>
                  <a:lnTo>
                    <a:pt x="59" y="78"/>
                  </a:lnTo>
                  <a:lnTo>
                    <a:pt x="58" y="79"/>
                  </a:lnTo>
                  <a:lnTo>
                    <a:pt x="58" y="80"/>
                  </a:lnTo>
                  <a:lnTo>
                    <a:pt x="58" y="82"/>
                  </a:lnTo>
                  <a:lnTo>
                    <a:pt x="58" y="83"/>
                  </a:lnTo>
                  <a:lnTo>
                    <a:pt x="57" y="84"/>
                  </a:lnTo>
                  <a:lnTo>
                    <a:pt x="56" y="84"/>
                  </a:lnTo>
                  <a:lnTo>
                    <a:pt x="56" y="85"/>
                  </a:lnTo>
                  <a:lnTo>
                    <a:pt x="55" y="85"/>
                  </a:lnTo>
                  <a:lnTo>
                    <a:pt x="55" y="86"/>
                  </a:lnTo>
                  <a:lnTo>
                    <a:pt x="56" y="86"/>
                  </a:lnTo>
                  <a:lnTo>
                    <a:pt x="56" y="87"/>
                  </a:lnTo>
                  <a:lnTo>
                    <a:pt x="57" y="89"/>
                  </a:lnTo>
                  <a:lnTo>
                    <a:pt x="57" y="90"/>
                  </a:lnTo>
                  <a:lnTo>
                    <a:pt x="57" y="91"/>
                  </a:lnTo>
                  <a:lnTo>
                    <a:pt x="58" y="92"/>
                  </a:lnTo>
                  <a:lnTo>
                    <a:pt x="59" y="93"/>
                  </a:lnTo>
                  <a:lnTo>
                    <a:pt x="59" y="94"/>
                  </a:lnTo>
                  <a:lnTo>
                    <a:pt x="61" y="94"/>
                  </a:lnTo>
                  <a:lnTo>
                    <a:pt x="61" y="96"/>
                  </a:lnTo>
                  <a:lnTo>
                    <a:pt x="62" y="97"/>
                  </a:lnTo>
                  <a:lnTo>
                    <a:pt x="63" y="98"/>
                  </a:lnTo>
                  <a:lnTo>
                    <a:pt x="63" y="99"/>
                  </a:lnTo>
                  <a:lnTo>
                    <a:pt x="64" y="99"/>
                  </a:lnTo>
                  <a:lnTo>
                    <a:pt x="64" y="100"/>
                  </a:lnTo>
                  <a:lnTo>
                    <a:pt x="65" y="100"/>
                  </a:lnTo>
                  <a:lnTo>
                    <a:pt x="65" y="101"/>
                  </a:lnTo>
                  <a:lnTo>
                    <a:pt x="66" y="101"/>
                  </a:lnTo>
                  <a:lnTo>
                    <a:pt x="66" y="103"/>
                  </a:lnTo>
                  <a:lnTo>
                    <a:pt x="66" y="104"/>
                  </a:lnTo>
                  <a:lnTo>
                    <a:pt x="65" y="104"/>
                  </a:lnTo>
                  <a:lnTo>
                    <a:pt x="65" y="105"/>
                  </a:lnTo>
                  <a:lnTo>
                    <a:pt x="66" y="105"/>
                  </a:lnTo>
                  <a:lnTo>
                    <a:pt x="66" y="106"/>
                  </a:lnTo>
                  <a:lnTo>
                    <a:pt x="69" y="106"/>
                  </a:lnTo>
                  <a:lnTo>
                    <a:pt x="69" y="105"/>
                  </a:lnTo>
                  <a:lnTo>
                    <a:pt x="69" y="104"/>
                  </a:lnTo>
                  <a:lnTo>
                    <a:pt x="70" y="104"/>
                  </a:lnTo>
                  <a:lnTo>
                    <a:pt x="69" y="103"/>
                  </a:lnTo>
                  <a:lnTo>
                    <a:pt x="69" y="101"/>
                  </a:lnTo>
                  <a:lnTo>
                    <a:pt x="70" y="101"/>
                  </a:lnTo>
                  <a:lnTo>
                    <a:pt x="69" y="100"/>
                  </a:lnTo>
                  <a:lnTo>
                    <a:pt x="69" y="99"/>
                  </a:lnTo>
                  <a:lnTo>
                    <a:pt x="69" y="98"/>
                  </a:lnTo>
                  <a:lnTo>
                    <a:pt x="67" y="98"/>
                  </a:lnTo>
                  <a:lnTo>
                    <a:pt x="67" y="97"/>
                  </a:lnTo>
                  <a:lnTo>
                    <a:pt x="69" y="96"/>
                  </a:lnTo>
                  <a:lnTo>
                    <a:pt x="69" y="94"/>
                  </a:lnTo>
                  <a:lnTo>
                    <a:pt x="69" y="93"/>
                  </a:lnTo>
                  <a:lnTo>
                    <a:pt x="69" y="92"/>
                  </a:lnTo>
                  <a:lnTo>
                    <a:pt x="70" y="92"/>
                  </a:lnTo>
                  <a:lnTo>
                    <a:pt x="70" y="91"/>
                  </a:lnTo>
                  <a:lnTo>
                    <a:pt x="71" y="90"/>
                  </a:lnTo>
                  <a:lnTo>
                    <a:pt x="72" y="90"/>
                  </a:lnTo>
                  <a:lnTo>
                    <a:pt x="72" y="91"/>
                  </a:lnTo>
                  <a:lnTo>
                    <a:pt x="73" y="91"/>
                  </a:lnTo>
                  <a:lnTo>
                    <a:pt x="73" y="90"/>
                  </a:lnTo>
                  <a:lnTo>
                    <a:pt x="74" y="90"/>
                  </a:lnTo>
                  <a:lnTo>
                    <a:pt x="76" y="90"/>
                  </a:lnTo>
                  <a:lnTo>
                    <a:pt x="77" y="89"/>
                  </a:lnTo>
                  <a:lnTo>
                    <a:pt x="77" y="87"/>
                  </a:lnTo>
                  <a:lnTo>
                    <a:pt x="77" y="86"/>
                  </a:lnTo>
                  <a:lnTo>
                    <a:pt x="77" y="84"/>
                  </a:lnTo>
                  <a:lnTo>
                    <a:pt x="77" y="83"/>
                  </a:lnTo>
                  <a:lnTo>
                    <a:pt x="78" y="80"/>
                  </a:lnTo>
                  <a:lnTo>
                    <a:pt x="78" y="79"/>
                  </a:lnTo>
                  <a:lnTo>
                    <a:pt x="78" y="77"/>
                  </a:lnTo>
                  <a:lnTo>
                    <a:pt x="77" y="76"/>
                  </a:lnTo>
                  <a:lnTo>
                    <a:pt x="77" y="75"/>
                  </a:lnTo>
                  <a:lnTo>
                    <a:pt x="78" y="72"/>
                  </a:lnTo>
                  <a:lnTo>
                    <a:pt x="79" y="70"/>
                  </a:lnTo>
                  <a:lnTo>
                    <a:pt x="78" y="70"/>
                  </a:lnTo>
                  <a:lnTo>
                    <a:pt x="78" y="66"/>
                  </a:lnTo>
                  <a:lnTo>
                    <a:pt x="78" y="65"/>
                  </a:lnTo>
                  <a:lnTo>
                    <a:pt x="77" y="65"/>
                  </a:lnTo>
                  <a:lnTo>
                    <a:pt x="77" y="64"/>
                  </a:lnTo>
                  <a:lnTo>
                    <a:pt x="76" y="62"/>
                  </a:lnTo>
                  <a:lnTo>
                    <a:pt x="74" y="61"/>
                  </a:lnTo>
                  <a:lnTo>
                    <a:pt x="73" y="58"/>
                  </a:lnTo>
                  <a:lnTo>
                    <a:pt x="72" y="57"/>
                  </a:lnTo>
                  <a:lnTo>
                    <a:pt x="71" y="55"/>
                  </a:lnTo>
                  <a:lnTo>
                    <a:pt x="70" y="54"/>
                  </a:lnTo>
                  <a:lnTo>
                    <a:pt x="69" y="51"/>
                  </a:lnTo>
                  <a:lnTo>
                    <a:pt x="67" y="50"/>
                  </a:lnTo>
                  <a:lnTo>
                    <a:pt x="66" y="49"/>
                  </a:lnTo>
                  <a:lnTo>
                    <a:pt x="65" y="49"/>
                  </a:lnTo>
                  <a:lnTo>
                    <a:pt x="65" y="48"/>
                  </a:lnTo>
                  <a:lnTo>
                    <a:pt x="65" y="47"/>
                  </a:lnTo>
                  <a:lnTo>
                    <a:pt x="65" y="45"/>
                  </a:lnTo>
                  <a:lnTo>
                    <a:pt x="64" y="45"/>
                  </a:lnTo>
                  <a:lnTo>
                    <a:pt x="65" y="45"/>
                  </a:lnTo>
                  <a:lnTo>
                    <a:pt x="65" y="44"/>
                  </a:lnTo>
                  <a:lnTo>
                    <a:pt x="65" y="43"/>
                  </a:lnTo>
                  <a:lnTo>
                    <a:pt x="65" y="42"/>
                  </a:lnTo>
                  <a:lnTo>
                    <a:pt x="65" y="41"/>
                  </a:lnTo>
                  <a:lnTo>
                    <a:pt x="64" y="40"/>
                  </a:lnTo>
                  <a:lnTo>
                    <a:pt x="64" y="38"/>
                  </a:lnTo>
                  <a:lnTo>
                    <a:pt x="65" y="38"/>
                  </a:lnTo>
                  <a:lnTo>
                    <a:pt x="65" y="37"/>
                  </a:lnTo>
                  <a:lnTo>
                    <a:pt x="65" y="36"/>
                  </a:lnTo>
                  <a:lnTo>
                    <a:pt x="65" y="35"/>
                  </a:lnTo>
                  <a:lnTo>
                    <a:pt x="65" y="34"/>
                  </a:lnTo>
                  <a:lnTo>
                    <a:pt x="64" y="34"/>
                  </a:lnTo>
                  <a:lnTo>
                    <a:pt x="64" y="33"/>
                  </a:lnTo>
                  <a:lnTo>
                    <a:pt x="64" y="31"/>
                  </a:lnTo>
                  <a:lnTo>
                    <a:pt x="64" y="30"/>
                  </a:lnTo>
                  <a:lnTo>
                    <a:pt x="64" y="29"/>
                  </a:lnTo>
                  <a:lnTo>
                    <a:pt x="64" y="28"/>
                  </a:lnTo>
                  <a:lnTo>
                    <a:pt x="64" y="27"/>
                  </a:lnTo>
                  <a:lnTo>
                    <a:pt x="65" y="27"/>
                  </a:lnTo>
                  <a:lnTo>
                    <a:pt x="65" y="26"/>
                  </a:lnTo>
                  <a:lnTo>
                    <a:pt x="66" y="26"/>
                  </a:lnTo>
                  <a:lnTo>
                    <a:pt x="66" y="24"/>
                  </a:lnTo>
                  <a:lnTo>
                    <a:pt x="66" y="23"/>
                  </a:lnTo>
                  <a:lnTo>
                    <a:pt x="67" y="22"/>
                  </a:lnTo>
                  <a:lnTo>
                    <a:pt x="67" y="21"/>
                  </a:lnTo>
                  <a:lnTo>
                    <a:pt x="67" y="20"/>
                  </a:lnTo>
                  <a:lnTo>
                    <a:pt x="67" y="17"/>
                  </a:lnTo>
                  <a:lnTo>
                    <a:pt x="73" y="17"/>
                  </a:lnTo>
                  <a:lnTo>
                    <a:pt x="74" y="17"/>
                  </a:lnTo>
                  <a:lnTo>
                    <a:pt x="74" y="19"/>
                  </a:lnTo>
                  <a:lnTo>
                    <a:pt x="76" y="19"/>
                  </a:lnTo>
                  <a:lnTo>
                    <a:pt x="76" y="17"/>
                  </a:lnTo>
                  <a:lnTo>
                    <a:pt x="76" y="19"/>
                  </a:lnTo>
                  <a:lnTo>
                    <a:pt x="77" y="19"/>
                  </a:lnTo>
                  <a:lnTo>
                    <a:pt x="78" y="17"/>
                  </a:lnTo>
                  <a:lnTo>
                    <a:pt x="78" y="16"/>
                  </a:lnTo>
                  <a:lnTo>
                    <a:pt x="79" y="16"/>
                  </a:lnTo>
                  <a:lnTo>
                    <a:pt x="79" y="15"/>
                  </a:lnTo>
                  <a:lnTo>
                    <a:pt x="80" y="15"/>
                  </a:lnTo>
                  <a:lnTo>
                    <a:pt x="81" y="16"/>
                  </a:lnTo>
                  <a:lnTo>
                    <a:pt x="81" y="15"/>
                  </a:lnTo>
                  <a:lnTo>
                    <a:pt x="81" y="16"/>
                  </a:lnTo>
                  <a:lnTo>
                    <a:pt x="83" y="17"/>
                  </a:lnTo>
                  <a:lnTo>
                    <a:pt x="83" y="16"/>
                  </a:lnTo>
                  <a:lnTo>
                    <a:pt x="83" y="17"/>
                  </a:lnTo>
                  <a:lnTo>
                    <a:pt x="84" y="17"/>
                  </a:lnTo>
                  <a:lnTo>
                    <a:pt x="85" y="17"/>
                  </a:lnTo>
                  <a:lnTo>
                    <a:pt x="85" y="19"/>
                  </a:lnTo>
                  <a:lnTo>
                    <a:pt x="85" y="20"/>
                  </a:lnTo>
                  <a:lnTo>
                    <a:pt x="86" y="20"/>
                  </a:lnTo>
                  <a:lnTo>
                    <a:pt x="87" y="20"/>
                  </a:lnTo>
                  <a:lnTo>
                    <a:pt x="88" y="20"/>
                  </a:lnTo>
                  <a:lnTo>
                    <a:pt x="90" y="20"/>
                  </a:lnTo>
                  <a:lnTo>
                    <a:pt x="90" y="21"/>
                  </a:lnTo>
                  <a:lnTo>
                    <a:pt x="91" y="20"/>
                  </a:lnTo>
                  <a:lnTo>
                    <a:pt x="92" y="20"/>
                  </a:lnTo>
                  <a:lnTo>
                    <a:pt x="93" y="19"/>
                  </a:lnTo>
                  <a:lnTo>
                    <a:pt x="93" y="17"/>
                  </a:lnTo>
                  <a:lnTo>
                    <a:pt x="94" y="17"/>
                  </a:lnTo>
                  <a:lnTo>
                    <a:pt x="94" y="19"/>
                  </a:lnTo>
                  <a:lnTo>
                    <a:pt x="97" y="19"/>
                  </a:lnTo>
                  <a:lnTo>
                    <a:pt x="97" y="17"/>
                  </a:lnTo>
                  <a:lnTo>
                    <a:pt x="97" y="19"/>
                  </a:lnTo>
                  <a:lnTo>
                    <a:pt x="98" y="20"/>
                  </a:lnTo>
                  <a:lnTo>
                    <a:pt x="99" y="20"/>
                  </a:lnTo>
                  <a:lnTo>
                    <a:pt x="100" y="20"/>
                  </a:lnTo>
                  <a:lnTo>
                    <a:pt x="101" y="20"/>
                  </a:lnTo>
                  <a:lnTo>
                    <a:pt x="102" y="20"/>
                  </a:lnTo>
                  <a:lnTo>
                    <a:pt x="104" y="20"/>
                  </a:lnTo>
                  <a:lnTo>
                    <a:pt x="104" y="19"/>
                  </a:lnTo>
                  <a:lnTo>
                    <a:pt x="105" y="19"/>
                  </a:lnTo>
                  <a:lnTo>
                    <a:pt x="106" y="19"/>
                  </a:lnTo>
                  <a:lnTo>
                    <a:pt x="107" y="17"/>
                  </a:lnTo>
                  <a:lnTo>
                    <a:pt x="107" y="16"/>
                  </a:lnTo>
                  <a:lnTo>
                    <a:pt x="108" y="15"/>
                  </a:lnTo>
                  <a:lnTo>
                    <a:pt x="108" y="14"/>
                  </a:lnTo>
                  <a:lnTo>
                    <a:pt x="109" y="13"/>
                  </a:lnTo>
                  <a:lnTo>
                    <a:pt x="111" y="13"/>
                  </a:lnTo>
                  <a:lnTo>
                    <a:pt x="112" y="13"/>
                  </a:lnTo>
                  <a:lnTo>
                    <a:pt x="113" y="13"/>
                  </a:lnTo>
                  <a:lnTo>
                    <a:pt x="114" y="13"/>
                  </a:lnTo>
                  <a:lnTo>
                    <a:pt x="114" y="14"/>
                  </a:lnTo>
                  <a:lnTo>
                    <a:pt x="115" y="14"/>
                  </a:lnTo>
                  <a:lnTo>
                    <a:pt x="115" y="15"/>
                  </a:lnTo>
                  <a:lnTo>
                    <a:pt x="116" y="15"/>
                  </a:lnTo>
                  <a:lnTo>
                    <a:pt x="118" y="15"/>
                  </a:lnTo>
                  <a:lnTo>
                    <a:pt x="119" y="14"/>
                  </a:lnTo>
                  <a:lnTo>
                    <a:pt x="119" y="13"/>
                  </a:lnTo>
                  <a:lnTo>
                    <a:pt x="120" y="13"/>
                  </a:lnTo>
                  <a:lnTo>
                    <a:pt x="121" y="13"/>
                  </a:lnTo>
                  <a:lnTo>
                    <a:pt x="122" y="12"/>
                  </a:lnTo>
                  <a:lnTo>
                    <a:pt x="123" y="12"/>
                  </a:lnTo>
                  <a:lnTo>
                    <a:pt x="125" y="12"/>
                  </a:lnTo>
                  <a:lnTo>
                    <a:pt x="126" y="12"/>
                  </a:lnTo>
                  <a:lnTo>
                    <a:pt x="127" y="12"/>
                  </a:lnTo>
                  <a:lnTo>
                    <a:pt x="128" y="12"/>
                  </a:lnTo>
                  <a:lnTo>
                    <a:pt x="130" y="9"/>
                  </a:lnTo>
                  <a:lnTo>
                    <a:pt x="131" y="8"/>
                  </a:lnTo>
                  <a:lnTo>
                    <a:pt x="133" y="8"/>
                  </a:lnTo>
                  <a:lnTo>
                    <a:pt x="135" y="8"/>
                  </a:lnTo>
                  <a:lnTo>
                    <a:pt x="136" y="7"/>
                  </a:lnTo>
                  <a:lnTo>
                    <a:pt x="138" y="6"/>
                  </a:lnTo>
                  <a:lnTo>
                    <a:pt x="140" y="5"/>
                  </a:lnTo>
                  <a:lnTo>
                    <a:pt x="141" y="5"/>
                  </a:lnTo>
                  <a:lnTo>
                    <a:pt x="141" y="3"/>
                  </a:lnTo>
                  <a:lnTo>
                    <a:pt x="142" y="2"/>
                  </a:lnTo>
                  <a:lnTo>
                    <a:pt x="143" y="2"/>
                  </a:lnTo>
                  <a:lnTo>
                    <a:pt x="143" y="1"/>
                  </a:lnTo>
                  <a:lnTo>
                    <a:pt x="144" y="1"/>
                  </a:lnTo>
                  <a:lnTo>
                    <a:pt x="144" y="0"/>
                  </a:lnTo>
                  <a:lnTo>
                    <a:pt x="144" y="1"/>
                  </a:lnTo>
                  <a:close/>
                </a:path>
              </a:pathLst>
            </a:custGeom>
            <a:solidFill>
              <a:srgbClr val="005392"/>
            </a:solidFill>
            <a:ln w="3175"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t-IT" sz="1200" dirty="0">
                <a:solidFill>
                  <a:schemeClr val="lt1"/>
                </a:solidFill>
              </a:endParaRPr>
            </a:p>
          </p:txBody>
        </p:sp>
        <p:sp>
          <p:nvSpPr>
            <p:cNvPr id="197" name="Freeform 953">
              <a:extLst>
                <a:ext uri="{FF2B5EF4-FFF2-40B4-BE49-F238E27FC236}">
                  <a16:creationId xmlns:a16="http://schemas.microsoft.com/office/drawing/2014/main" id="{1E30E0EE-E79B-4923-8D25-1BA487731C89}"/>
                </a:ext>
              </a:extLst>
            </p:cNvPr>
            <p:cNvSpPr>
              <a:spLocks noEditPoints="1"/>
            </p:cNvSpPr>
            <p:nvPr/>
          </p:nvSpPr>
          <p:spPr bwMode="auto">
            <a:xfrm>
              <a:off x="5495259" y="2771597"/>
              <a:ext cx="224362" cy="264427"/>
            </a:xfrm>
            <a:custGeom>
              <a:avLst/>
              <a:gdLst>
                <a:gd name="T0" fmla="*/ 9 w 168"/>
                <a:gd name="T1" fmla="*/ 117 h 198"/>
                <a:gd name="T2" fmla="*/ 150 w 168"/>
                <a:gd name="T3" fmla="*/ 95 h 198"/>
                <a:gd name="T4" fmla="*/ 151 w 168"/>
                <a:gd name="T5" fmla="*/ 112 h 198"/>
                <a:gd name="T6" fmla="*/ 152 w 168"/>
                <a:gd name="T7" fmla="*/ 128 h 198"/>
                <a:gd name="T8" fmla="*/ 153 w 168"/>
                <a:gd name="T9" fmla="*/ 141 h 198"/>
                <a:gd name="T10" fmla="*/ 154 w 168"/>
                <a:gd name="T11" fmla="*/ 154 h 198"/>
                <a:gd name="T12" fmla="*/ 155 w 168"/>
                <a:gd name="T13" fmla="*/ 166 h 198"/>
                <a:gd name="T14" fmla="*/ 159 w 168"/>
                <a:gd name="T15" fmla="*/ 177 h 198"/>
                <a:gd name="T16" fmla="*/ 152 w 168"/>
                <a:gd name="T17" fmla="*/ 186 h 198"/>
                <a:gd name="T18" fmla="*/ 137 w 168"/>
                <a:gd name="T19" fmla="*/ 186 h 198"/>
                <a:gd name="T20" fmla="*/ 116 w 168"/>
                <a:gd name="T21" fmla="*/ 186 h 198"/>
                <a:gd name="T22" fmla="*/ 104 w 168"/>
                <a:gd name="T23" fmla="*/ 185 h 198"/>
                <a:gd name="T24" fmla="*/ 98 w 168"/>
                <a:gd name="T25" fmla="*/ 187 h 198"/>
                <a:gd name="T26" fmla="*/ 88 w 168"/>
                <a:gd name="T27" fmla="*/ 187 h 198"/>
                <a:gd name="T28" fmla="*/ 81 w 168"/>
                <a:gd name="T29" fmla="*/ 191 h 198"/>
                <a:gd name="T30" fmla="*/ 73 w 168"/>
                <a:gd name="T31" fmla="*/ 186 h 198"/>
                <a:gd name="T32" fmla="*/ 69 w 168"/>
                <a:gd name="T33" fmla="*/ 191 h 198"/>
                <a:gd name="T34" fmla="*/ 69 w 168"/>
                <a:gd name="T35" fmla="*/ 197 h 198"/>
                <a:gd name="T36" fmla="*/ 61 w 168"/>
                <a:gd name="T37" fmla="*/ 196 h 198"/>
                <a:gd name="T38" fmla="*/ 55 w 168"/>
                <a:gd name="T39" fmla="*/ 191 h 198"/>
                <a:gd name="T40" fmla="*/ 53 w 168"/>
                <a:gd name="T41" fmla="*/ 185 h 198"/>
                <a:gd name="T42" fmla="*/ 48 w 168"/>
                <a:gd name="T43" fmla="*/ 179 h 198"/>
                <a:gd name="T44" fmla="*/ 44 w 168"/>
                <a:gd name="T45" fmla="*/ 176 h 198"/>
                <a:gd name="T46" fmla="*/ 39 w 168"/>
                <a:gd name="T47" fmla="*/ 172 h 198"/>
                <a:gd name="T48" fmla="*/ 32 w 168"/>
                <a:gd name="T49" fmla="*/ 169 h 198"/>
                <a:gd name="T50" fmla="*/ 25 w 168"/>
                <a:gd name="T51" fmla="*/ 169 h 198"/>
                <a:gd name="T52" fmla="*/ 17 w 168"/>
                <a:gd name="T53" fmla="*/ 171 h 198"/>
                <a:gd name="T54" fmla="*/ 11 w 168"/>
                <a:gd name="T55" fmla="*/ 170 h 198"/>
                <a:gd name="T56" fmla="*/ 7 w 168"/>
                <a:gd name="T57" fmla="*/ 177 h 198"/>
                <a:gd name="T58" fmla="*/ 5 w 168"/>
                <a:gd name="T59" fmla="*/ 172 h 198"/>
                <a:gd name="T60" fmla="*/ 10 w 168"/>
                <a:gd name="T61" fmla="*/ 158 h 198"/>
                <a:gd name="T62" fmla="*/ 11 w 168"/>
                <a:gd name="T63" fmla="*/ 137 h 198"/>
                <a:gd name="T64" fmla="*/ 7 w 168"/>
                <a:gd name="T65" fmla="*/ 126 h 198"/>
                <a:gd name="T66" fmla="*/ 8 w 168"/>
                <a:gd name="T67" fmla="*/ 123 h 198"/>
                <a:gd name="T68" fmla="*/ 10 w 168"/>
                <a:gd name="T69" fmla="*/ 117 h 198"/>
                <a:gd name="T70" fmla="*/ 10 w 168"/>
                <a:gd name="T71" fmla="*/ 113 h 198"/>
                <a:gd name="T72" fmla="*/ 9 w 168"/>
                <a:gd name="T73" fmla="*/ 108 h 198"/>
                <a:gd name="T74" fmla="*/ 7 w 168"/>
                <a:gd name="T75" fmla="*/ 106 h 198"/>
                <a:gd name="T76" fmla="*/ 2 w 168"/>
                <a:gd name="T77" fmla="*/ 98 h 198"/>
                <a:gd name="T78" fmla="*/ 0 w 168"/>
                <a:gd name="T79" fmla="*/ 102 h 198"/>
                <a:gd name="T80" fmla="*/ 8 w 168"/>
                <a:gd name="T81" fmla="*/ 94 h 198"/>
                <a:gd name="T82" fmla="*/ 45 w 168"/>
                <a:gd name="T83" fmla="*/ 94 h 198"/>
                <a:gd name="T84" fmla="*/ 54 w 168"/>
                <a:gd name="T85" fmla="*/ 75 h 198"/>
                <a:gd name="T86" fmla="*/ 60 w 168"/>
                <a:gd name="T87" fmla="*/ 64 h 198"/>
                <a:gd name="T88" fmla="*/ 69 w 168"/>
                <a:gd name="T89" fmla="*/ 54 h 198"/>
                <a:gd name="T90" fmla="*/ 71 w 168"/>
                <a:gd name="T91" fmla="*/ 44 h 198"/>
                <a:gd name="T92" fmla="*/ 71 w 168"/>
                <a:gd name="T93" fmla="*/ 33 h 198"/>
                <a:gd name="T94" fmla="*/ 71 w 168"/>
                <a:gd name="T95" fmla="*/ 23 h 198"/>
                <a:gd name="T96" fmla="*/ 80 w 168"/>
                <a:gd name="T97" fmla="*/ 21 h 198"/>
                <a:gd name="T98" fmla="*/ 93 w 168"/>
                <a:gd name="T99" fmla="*/ 21 h 198"/>
                <a:gd name="T100" fmla="*/ 104 w 168"/>
                <a:gd name="T101" fmla="*/ 21 h 198"/>
                <a:gd name="T102" fmla="*/ 116 w 168"/>
                <a:gd name="T103" fmla="*/ 19 h 198"/>
                <a:gd name="T104" fmla="*/ 116 w 168"/>
                <a:gd name="T105" fmla="*/ 5 h 198"/>
                <a:gd name="T106" fmla="*/ 126 w 168"/>
                <a:gd name="T107" fmla="*/ 7 h 198"/>
                <a:gd name="T108" fmla="*/ 150 w 168"/>
                <a:gd name="T109" fmla="*/ 23 h 198"/>
                <a:gd name="T110" fmla="*/ 165 w 168"/>
                <a:gd name="T111" fmla="*/ 36 h 198"/>
                <a:gd name="T112" fmla="*/ 144 w 168"/>
                <a:gd name="T113" fmla="*/ 38 h 198"/>
                <a:gd name="T114" fmla="*/ 145 w 168"/>
                <a:gd name="T115" fmla="*/ 51 h 198"/>
                <a:gd name="T116" fmla="*/ 146 w 168"/>
                <a:gd name="T117" fmla="*/ 67 h 198"/>
                <a:gd name="T118" fmla="*/ 148 w 168"/>
                <a:gd name="T119" fmla="*/ 85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8" h="198">
                  <a:moveTo>
                    <a:pt x="9" y="121"/>
                  </a:moveTo>
                  <a:lnTo>
                    <a:pt x="9" y="120"/>
                  </a:lnTo>
                  <a:lnTo>
                    <a:pt x="10" y="120"/>
                  </a:lnTo>
                  <a:lnTo>
                    <a:pt x="9" y="120"/>
                  </a:lnTo>
                  <a:lnTo>
                    <a:pt x="9" y="121"/>
                  </a:lnTo>
                  <a:close/>
                  <a:moveTo>
                    <a:pt x="8" y="120"/>
                  </a:moveTo>
                  <a:lnTo>
                    <a:pt x="7" y="120"/>
                  </a:lnTo>
                  <a:lnTo>
                    <a:pt x="8" y="120"/>
                  </a:lnTo>
                  <a:close/>
                  <a:moveTo>
                    <a:pt x="9" y="117"/>
                  </a:moveTo>
                  <a:lnTo>
                    <a:pt x="9" y="120"/>
                  </a:lnTo>
                  <a:lnTo>
                    <a:pt x="9" y="121"/>
                  </a:lnTo>
                  <a:lnTo>
                    <a:pt x="8" y="121"/>
                  </a:lnTo>
                  <a:lnTo>
                    <a:pt x="8" y="120"/>
                  </a:lnTo>
                  <a:lnTo>
                    <a:pt x="8" y="119"/>
                  </a:lnTo>
                  <a:lnTo>
                    <a:pt x="9" y="117"/>
                  </a:lnTo>
                  <a:lnTo>
                    <a:pt x="9" y="119"/>
                  </a:lnTo>
                  <a:lnTo>
                    <a:pt x="9" y="117"/>
                  </a:lnTo>
                  <a:close/>
                  <a:moveTo>
                    <a:pt x="150" y="95"/>
                  </a:moveTo>
                  <a:lnTo>
                    <a:pt x="150" y="98"/>
                  </a:lnTo>
                  <a:lnTo>
                    <a:pt x="150" y="100"/>
                  </a:lnTo>
                  <a:lnTo>
                    <a:pt x="150" y="101"/>
                  </a:lnTo>
                  <a:lnTo>
                    <a:pt x="150" y="102"/>
                  </a:lnTo>
                  <a:lnTo>
                    <a:pt x="150" y="105"/>
                  </a:lnTo>
                  <a:lnTo>
                    <a:pt x="150" y="106"/>
                  </a:lnTo>
                  <a:lnTo>
                    <a:pt x="150" y="107"/>
                  </a:lnTo>
                  <a:lnTo>
                    <a:pt x="151" y="109"/>
                  </a:lnTo>
                  <a:lnTo>
                    <a:pt x="151" y="112"/>
                  </a:lnTo>
                  <a:lnTo>
                    <a:pt x="151" y="113"/>
                  </a:lnTo>
                  <a:lnTo>
                    <a:pt x="151" y="115"/>
                  </a:lnTo>
                  <a:lnTo>
                    <a:pt x="151" y="117"/>
                  </a:lnTo>
                  <a:lnTo>
                    <a:pt x="151" y="119"/>
                  </a:lnTo>
                  <a:lnTo>
                    <a:pt x="152" y="121"/>
                  </a:lnTo>
                  <a:lnTo>
                    <a:pt x="152" y="123"/>
                  </a:lnTo>
                  <a:lnTo>
                    <a:pt x="152" y="126"/>
                  </a:lnTo>
                  <a:lnTo>
                    <a:pt x="152" y="127"/>
                  </a:lnTo>
                  <a:lnTo>
                    <a:pt x="152" y="128"/>
                  </a:lnTo>
                  <a:lnTo>
                    <a:pt x="152" y="129"/>
                  </a:lnTo>
                  <a:lnTo>
                    <a:pt x="152" y="130"/>
                  </a:lnTo>
                  <a:lnTo>
                    <a:pt x="152" y="131"/>
                  </a:lnTo>
                  <a:lnTo>
                    <a:pt x="152" y="134"/>
                  </a:lnTo>
                  <a:lnTo>
                    <a:pt x="153" y="135"/>
                  </a:lnTo>
                  <a:lnTo>
                    <a:pt x="153" y="136"/>
                  </a:lnTo>
                  <a:lnTo>
                    <a:pt x="153" y="137"/>
                  </a:lnTo>
                  <a:lnTo>
                    <a:pt x="153" y="140"/>
                  </a:lnTo>
                  <a:lnTo>
                    <a:pt x="153" y="141"/>
                  </a:lnTo>
                  <a:lnTo>
                    <a:pt x="153" y="142"/>
                  </a:lnTo>
                  <a:lnTo>
                    <a:pt x="153" y="143"/>
                  </a:lnTo>
                  <a:lnTo>
                    <a:pt x="153" y="145"/>
                  </a:lnTo>
                  <a:lnTo>
                    <a:pt x="153" y="147"/>
                  </a:lnTo>
                  <a:lnTo>
                    <a:pt x="154" y="148"/>
                  </a:lnTo>
                  <a:lnTo>
                    <a:pt x="154" y="149"/>
                  </a:lnTo>
                  <a:lnTo>
                    <a:pt x="154" y="151"/>
                  </a:lnTo>
                  <a:lnTo>
                    <a:pt x="154" y="152"/>
                  </a:lnTo>
                  <a:lnTo>
                    <a:pt x="154" y="154"/>
                  </a:lnTo>
                  <a:lnTo>
                    <a:pt x="154" y="155"/>
                  </a:lnTo>
                  <a:lnTo>
                    <a:pt x="154" y="157"/>
                  </a:lnTo>
                  <a:lnTo>
                    <a:pt x="154" y="158"/>
                  </a:lnTo>
                  <a:lnTo>
                    <a:pt x="154" y="159"/>
                  </a:lnTo>
                  <a:lnTo>
                    <a:pt x="155" y="161"/>
                  </a:lnTo>
                  <a:lnTo>
                    <a:pt x="155" y="162"/>
                  </a:lnTo>
                  <a:lnTo>
                    <a:pt x="155" y="164"/>
                  </a:lnTo>
                  <a:lnTo>
                    <a:pt x="155" y="165"/>
                  </a:lnTo>
                  <a:lnTo>
                    <a:pt x="155" y="166"/>
                  </a:lnTo>
                  <a:lnTo>
                    <a:pt x="155" y="168"/>
                  </a:lnTo>
                  <a:lnTo>
                    <a:pt x="155" y="170"/>
                  </a:lnTo>
                  <a:lnTo>
                    <a:pt x="155" y="171"/>
                  </a:lnTo>
                  <a:lnTo>
                    <a:pt x="157" y="171"/>
                  </a:lnTo>
                  <a:lnTo>
                    <a:pt x="158" y="172"/>
                  </a:lnTo>
                  <a:lnTo>
                    <a:pt x="159" y="172"/>
                  </a:lnTo>
                  <a:lnTo>
                    <a:pt x="159" y="173"/>
                  </a:lnTo>
                  <a:lnTo>
                    <a:pt x="159" y="176"/>
                  </a:lnTo>
                  <a:lnTo>
                    <a:pt x="159" y="177"/>
                  </a:lnTo>
                  <a:lnTo>
                    <a:pt x="159" y="178"/>
                  </a:lnTo>
                  <a:lnTo>
                    <a:pt x="158" y="180"/>
                  </a:lnTo>
                  <a:lnTo>
                    <a:pt x="158" y="182"/>
                  </a:lnTo>
                  <a:lnTo>
                    <a:pt x="158" y="183"/>
                  </a:lnTo>
                  <a:lnTo>
                    <a:pt x="158" y="185"/>
                  </a:lnTo>
                  <a:lnTo>
                    <a:pt x="157" y="186"/>
                  </a:lnTo>
                  <a:lnTo>
                    <a:pt x="155" y="186"/>
                  </a:lnTo>
                  <a:lnTo>
                    <a:pt x="153" y="186"/>
                  </a:lnTo>
                  <a:lnTo>
                    <a:pt x="152" y="186"/>
                  </a:lnTo>
                  <a:lnTo>
                    <a:pt x="151" y="186"/>
                  </a:lnTo>
                  <a:lnTo>
                    <a:pt x="150" y="186"/>
                  </a:lnTo>
                  <a:lnTo>
                    <a:pt x="147" y="186"/>
                  </a:lnTo>
                  <a:lnTo>
                    <a:pt x="146" y="186"/>
                  </a:lnTo>
                  <a:lnTo>
                    <a:pt x="145" y="186"/>
                  </a:lnTo>
                  <a:lnTo>
                    <a:pt x="144" y="186"/>
                  </a:lnTo>
                  <a:lnTo>
                    <a:pt x="141" y="186"/>
                  </a:lnTo>
                  <a:lnTo>
                    <a:pt x="139" y="186"/>
                  </a:lnTo>
                  <a:lnTo>
                    <a:pt x="137" y="186"/>
                  </a:lnTo>
                  <a:lnTo>
                    <a:pt x="135" y="186"/>
                  </a:lnTo>
                  <a:lnTo>
                    <a:pt x="132" y="186"/>
                  </a:lnTo>
                  <a:lnTo>
                    <a:pt x="130" y="186"/>
                  </a:lnTo>
                  <a:lnTo>
                    <a:pt x="128" y="186"/>
                  </a:lnTo>
                  <a:lnTo>
                    <a:pt x="125" y="186"/>
                  </a:lnTo>
                  <a:lnTo>
                    <a:pt x="123" y="186"/>
                  </a:lnTo>
                  <a:lnTo>
                    <a:pt x="121" y="186"/>
                  </a:lnTo>
                  <a:lnTo>
                    <a:pt x="118" y="186"/>
                  </a:lnTo>
                  <a:lnTo>
                    <a:pt x="116" y="186"/>
                  </a:lnTo>
                  <a:lnTo>
                    <a:pt x="115" y="186"/>
                  </a:lnTo>
                  <a:lnTo>
                    <a:pt x="114" y="186"/>
                  </a:lnTo>
                  <a:lnTo>
                    <a:pt x="112" y="186"/>
                  </a:lnTo>
                  <a:lnTo>
                    <a:pt x="111" y="186"/>
                  </a:lnTo>
                  <a:lnTo>
                    <a:pt x="110" y="186"/>
                  </a:lnTo>
                  <a:lnTo>
                    <a:pt x="109" y="186"/>
                  </a:lnTo>
                  <a:lnTo>
                    <a:pt x="107" y="186"/>
                  </a:lnTo>
                  <a:lnTo>
                    <a:pt x="104" y="186"/>
                  </a:lnTo>
                  <a:lnTo>
                    <a:pt x="104" y="185"/>
                  </a:lnTo>
                  <a:lnTo>
                    <a:pt x="104" y="184"/>
                  </a:lnTo>
                  <a:lnTo>
                    <a:pt x="104" y="183"/>
                  </a:lnTo>
                  <a:lnTo>
                    <a:pt x="104" y="184"/>
                  </a:lnTo>
                  <a:lnTo>
                    <a:pt x="103" y="184"/>
                  </a:lnTo>
                  <a:lnTo>
                    <a:pt x="103" y="185"/>
                  </a:lnTo>
                  <a:lnTo>
                    <a:pt x="103" y="186"/>
                  </a:lnTo>
                  <a:lnTo>
                    <a:pt x="103" y="187"/>
                  </a:lnTo>
                  <a:lnTo>
                    <a:pt x="100" y="187"/>
                  </a:lnTo>
                  <a:lnTo>
                    <a:pt x="98" y="187"/>
                  </a:lnTo>
                  <a:lnTo>
                    <a:pt x="98" y="189"/>
                  </a:lnTo>
                  <a:lnTo>
                    <a:pt x="97" y="189"/>
                  </a:lnTo>
                  <a:lnTo>
                    <a:pt x="96" y="189"/>
                  </a:lnTo>
                  <a:lnTo>
                    <a:pt x="94" y="189"/>
                  </a:lnTo>
                  <a:lnTo>
                    <a:pt x="93" y="187"/>
                  </a:lnTo>
                  <a:lnTo>
                    <a:pt x="91" y="187"/>
                  </a:lnTo>
                  <a:lnTo>
                    <a:pt x="90" y="187"/>
                  </a:lnTo>
                  <a:lnTo>
                    <a:pt x="89" y="187"/>
                  </a:lnTo>
                  <a:lnTo>
                    <a:pt x="88" y="187"/>
                  </a:lnTo>
                  <a:lnTo>
                    <a:pt x="87" y="187"/>
                  </a:lnTo>
                  <a:lnTo>
                    <a:pt x="86" y="187"/>
                  </a:lnTo>
                  <a:lnTo>
                    <a:pt x="84" y="187"/>
                  </a:lnTo>
                  <a:lnTo>
                    <a:pt x="84" y="189"/>
                  </a:lnTo>
                  <a:lnTo>
                    <a:pt x="84" y="190"/>
                  </a:lnTo>
                  <a:lnTo>
                    <a:pt x="83" y="190"/>
                  </a:lnTo>
                  <a:lnTo>
                    <a:pt x="83" y="191"/>
                  </a:lnTo>
                  <a:lnTo>
                    <a:pt x="82" y="192"/>
                  </a:lnTo>
                  <a:lnTo>
                    <a:pt x="81" y="191"/>
                  </a:lnTo>
                  <a:lnTo>
                    <a:pt x="81" y="190"/>
                  </a:lnTo>
                  <a:lnTo>
                    <a:pt x="77" y="187"/>
                  </a:lnTo>
                  <a:lnTo>
                    <a:pt x="77" y="186"/>
                  </a:lnTo>
                  <a:lnTo>
                    <a:pt x="76" y="185"/>
                  </a:lnTo>
                  <a:lnTo>
                    <a:pt x="75" y="184"/>
                  </a:lnTo>
                  <a:lnTo>
                    <a:pt x="74" y="184"/>
                  </a:lnTo>
                  <a:lnTo>
                    <a:pt x="74" y="185"/>
                  </a:lnTo>
                  <a:lnTo>
                    <a:pt x="73" y="185"/>
                  </a:lnTo>
                  <a:lnTo>
                    <a:pt x="73" y="186"/>
                  </a:lnTo>
                  <a:lnTo>
                    <a:pt x="72" y="186"/>
                  </a:lnTo>
                  <a:lnTo>
                    <a:pt x="72" y="185"/>
                  </a:lnTo>
                  <a:lnTo>
                    <a:pt x="72" y="186"/>
                  </a:lnTo>
                  <a:lnTo>
                    <a:pt x="71" y="186"/>
                  </a:lnTo>
                  <a:lnTo>
                    <a:pt x="71" y="187"/>
                  </a:lnTo>
                  <a:lnTo>
                    <a:pt x="71" y="189"/>
                  </a:lnTo>
                  <a:lnTo>
                    <a:pt x="71" y="190"/>
                  </a:lnTo>
                  <a:lnTo>
                    <a:pt x="71" y="191"/>
                  </a:lnTo>
                  <a:lnTo>
                    <a:pt x="69" y="191"/>
                  </a:lnTo>
                  <a:lnTo>
                    <a:pt x="69" y="192"/>
                  </a:lnTo>
                  <a:lnTo>
                    <a:pt x="69" y="193"/>
                  </a:lnTo>
                  <a:lnTo>
                    <a:pt x="71" y="193"/>
                  </a:lnTo>
                  <a:lnTo>
                    <a:pt x="71" y="194"/>
                  </a:lnTo>
                  <a:lnTo>
                    <a:pt x="69" y="194"/>
                  </a:lnTo>
                  <a:lnTo>
                    <a:pt x="69" y="196"/>
                  </a:lnTo>
                  <a:lnTo>
                    <a:pt x="71" y="196"/>
                  </a:lnTo>
                  <a:lnTo>
                    <a:pt x="69" y="196"/>
                  </a:lnTo>
                  <a:lnTo>
                    <a:pt x="69" y="197"/>
                  </a:lnTo>
                  <a:lnTo>
                    <a:pt x="68" y="197"/>
                  </a:lnTo>
                  <a:lnTo>
                    <a:pt x="68" y="198"/>
                  </a:lnTo>
                  <a:lnTo>
                    <a:pt x="67" y="198"/>
                  </a:lnTo>
                  <a:lnTo>
                    <a:pt x="66" y="198"/>
                  </a:lnTo>
                  <a:lnTo>
                    <a:pt x="65" y="198"/>
                  </a:lnTo>
                  <a:lnTo>
                    <a:pt x="64" y="198"/>
                  </a:lnTo>
                  <a:lnTo>
                    <a:pt x="64" y="197"/>
                  </a:lnTo>
                  <a:lnTo>
                    <a:pt x="62" y="197"/>
                  </a:lnTo>
                  <a:lnTo>
                    <a:pt x="61" y="196"/>
                  </a:lnTo>
                  <a:lnTo>
                    <a:pt x="61" y="194"/>
                  </a:lnTo>
                  <a:lnTo>
                    <a:pt x="60" y="193"/>
                  </a:lnTo>
                  <a:lnTo>
                    <a:pt x="59" y="193"/>
                  </a:lnTo>
                  <a:lnTo>
                    <a:pt x="59" y="192"/>
                  </a:lnTo>
                  <a:lnTo>
                    <a:pt x="58" y="193"/>
                  </a:lnTo>
                  <a:lnTo>
                    <a:pt x="58" y="192"/>
                  </a:lnTo>
                  <a:lnTo>
                    <a:pt x="57" y="192"/>
                  </a:lnTo>
                  <a:lnTo>
                    <a:pt x="57" y="191"/>
                  </a:lnTo>
                  <a:lnTo>
                    <a:pt x="55" y="191"/>
                  </a:lnTo>
                  <a:lnTo>
                    <a:pt x="55" y="190"/>
                  </a:lnTo>
                  <a:lnTo>
                    <a:pt x="57" y="190"/>
                  </a:lnTo>
                  <a:lnTo>
                    <a:pt x="55" y="190"/>
                  </a:lnTo>
                  <a:lnTo>
                    <a:pt x="55" y="189"/>
                  </a:lnTo>
                  <a:lnTo>
                    <a:pt x="54" y="189"/>
                  </a:lnTo>
                  <a:lnTo>
                    <a:pt x="54" y="187"/>
                  </a:lnTo>
                  <a:lnTo>
                    <a:pt x="54" y="186"/>
                  </a:lnTo>
                  <a:lnTo>
                    <a:pt x="53" y="186"/>
                  </a:lnTo>
                  <a:lnTo>
                    <a:pt x="53" y="185"/>
                  </a:lnTo>
                  <a:lnTo>
                    <a:pt x="52" y="185"/>
                  </a:lnTo>
                  <a:lnTo>
                    <a:pt x="52" y="184"/>
                  </a:lnTo>
                  <a:lnTo>
                    <a:pt x="51" y="184"/>
                  </a:lnTo>
                  <a:lnTo>
                    <a:pt x="51" y="183"/>
                  </a:lnTo>
                  <a:lnTo>
                    <a:pt x="50" y="183"/>
                  </a:lnTo>
                  <a:lnTo>
                    <a:pt x="50" y="182"/>
                  </a:lnTo>
                  <a:lnTo>
                    <a:pt x="50" y="180"/>
                  </a:lnTo>
                  <a:lnTo>
                    <a:pt x="50" y="179"/>
                  </a:lnTo>
                  <a:lnTo>
                    <a:pt x="48" y="179"/>
                  </a:lnTo>
                  <a:lnTo>
                    <a:pt x="48" y="178"/>
                  </a:lnTo>
                  <a:lnTo>
                    <a:pt x="48" y="177"/>
                  </a:lnTo>
                  <a:lnTo>
                    <a:pt x="47" y="177"/>
                  </a:lnTo>
                  <a:lnTo>
                    <a:pt x="47" y="176"/>
                  </a:lnTo>
                  <a:lnTo>
                    <a:pt x="46" y="176"/>
                  </a:lnTo>
                  <a:lnTo>
                    <a:pt x="46" y="177"/>
                  </a:lnTo>
                  <a:lnTo>
                    <a:pt x="45" y="177"/>
                  </a:lnTo>
                  <a:lnTo>
                    <a:pt x="44" y="177"/>
                  </a:lnTo>
                  <a:lnTo>
                    <a:pt x="44" y="176"/>
                  </a:lnTo>
                  <a:lnTo>
                    <a:pt x="43" y="176"/>
                  </a:lnTo>
                  <a:lnTo>
                    <a:pt x="43" y="177"/>
                  </a:lnTo>
                  <a:lnTo>
                    <a:pt x="43" y="176"/>
                  </a:lnTo>
                  <a:lnTo>
                    <a:pt x="41" y="176"/>
                  </a:lnTo>
                  <a:lnTo>
                    <a:pt x="41" y="175"/>
                  </a:lnTo>
                  <a:lnTo>
                    <a:pt x="40" y="175"/>
                  </a:lnTo>
                  <a:lnTo>
                    <a:pt x="40" y="173"/>
                  </a:lnTo>
                  <a:lnTo>
                    <a:pt x="40" y="172"/>
                  </a:lnTo>
                  <a:lnTo>
                    <a:pt x="39" y="172"/>
                  </a:lnTo>
                  <a:lnTo>
                    <a:pt x="38" y="171"/>
                  </a:lnTo>
                  <a:lnTo>
                    <a:pt x="38" y="170"/>
                  </a:lnTo>
                  <a:lnTo>
                    <a:pt x="37" y="170"/>
                  </a:lnTo>
                  <a:lnTo>
                    <a:pt x="37" y="169"/>
                  </a:lnTo>
                  <a:lnTo>
                    <a:pt x="36" y="169"/>
                  </a:lnTo>
                  <a:lnTo>
                    <a:pt x="34" y="168"/>
                  </a:lnTo>
                  <a:lnTo>
                    <a:pt x="34" y="169"/>
                  </a:lnTo>
                  <a:lnTo>
                    <a:pt x="33" y="169"/>
                  </a:lnTo>
                  <a:lnTo>
                    <a:pt x="32" y="169"/>
                  </a:lnTo>
                  <a:lnTo>
                    <a:pt x="31" y="169"/>
                  </a:lnTo>
                  <a:lnTo>
                    <a:pt x="29" y="168"/>
                  </a:lnTo>
                  <a:lnTo>
                    <a:pt x="27" y="169"/>
                  </a:lnTo>
                  <a:lnTo>
                    <a:pt x="27" y="168"/>
                  </a:lnTo>
                  <a:lnTo>
                    <a:pt x="26" y="168"/>
                  </a:lnTo>
                  <a:lnTo>
                    <a:pt x="26" y="169"/>
                  </a:lnTo>
                  <a:lnTo>
                    <a:pt x="25" y="169"/>
                  </a:lnTo>
                  <a:lnTo>
                    <a:pt x="25" y="168"/>
                  </a:lnTo>
                  <a:lnTo>
                    <a:pt x="25" y="169"/>
                  </a:lnTo>
                  <a:lnTo>
                    <a:pt x="23" y="170"/>
                  </a:lnTo>
                  <a:lnTo>
                    <a:pt x="23" y="169"/>
                  </a:lnTo>
                  <a:lnTo>
                    <a:pt x="22" y="170"/>
                  </a:lnTo>
                  <a:lnTo>
                    <a:pt x="20" y="170"/>
                  </a:lnTo>
                  <a:lnTo>
                    <a:pt x="20" y="169"/>
                  </a:lnTo>
                  <a:lnTo>
                    <a:pt x="19" y="170"/>
                  </a:lnTo>
                  <a:lnTo>
                    <a:pt x="18" y="170"/>
                  </a:lnTo>
                  <a:lnTo>
                    <a:pt x="18" y="171"/>
                  </a:lnTo>
                  <a:lnTo>
                    <a:pt x="17" y="171"/>
                  </a:lnTo>
                  <a:lnTo>
                    <a:pt x="16" y="171"/>
                  </a:lnTo>
                  <a:lnTo>
                    <a:pt x="16" y="170"/>
                  </a:lnTo>
                  <a:lnTo>
                    <a:pt x="15" y="170"/>
                  </a:lnTo>
                  <a:lnTo>
                    <a:pt x="13" y="170"/>
                  </a:lnTo>
                  <a:lnTo>
                    <a:pt x="13" y="171"/>
                  </a:lnTo>
                  <a:lnTo>
                    <a:pt x="13" y="170"/>
                  </a:lnTo>
                  <a:lnTo>
                    <a:pt x="12" y="170"/>
                  </a:lnTo>
                  <a:lnTo>
                    <a:pt x="12" y="171"/>
                  </a:lnTo>
                  <a:lnTo>
                    <a:pt x="11" y="170"/>
                  </a:lnTo>
                  <a:lnTo>
                    <a:pt x="10" y="170"/>
                  </a:lnTo>
                  <a:lnTo>
                    <a:pt x="9" y="170"/>
                  </a:lnTo>
                  <a:lnTo>
                    <a:pt x="9" y="171"/>
                  </a:lnTo>
                  <a:lnTo>
                    <a:pt x="8" y="171"/>
                  </a:lnTo>
                  <a:lnTo>
                    <a:pt x="8" y="172"/>
                  </a:lnTo>
                  <a:lnTo>
                    <a:pt x="8" y="175"/>
                  </a:lnTo>
                  <a:lnTo>
                    <a:pt x="7" y="175"/>
                  </a:lnTo>
                  <a:lnTo>
                    <a:pt x="7" y="176"/>
                  </a:lnTo>
                  <a:lnTo>
                    <a:pt x="7" y="177"/>
                  </a:lnTo>
                  <a:lnTo>
                    <a:pt x="5" y="177"/>
                  </a:lnTo>
                  <a:lnTo>
                    <a:pt x="5" y="178"/>
                  </a:lnTo>
                  <a:lnTo>
                    <a:pt x="5" y="180"/>
                  </a:lnTo>
                  <a:lnTo>
                    <a:pt x="5" y="182"/>
                  </a:lnTo>
                  <a:lnTo>
                    <a:pt x="5" y="179"/>
                  </a:lnTo>
                  <a:lnTo>
                    <a:pt x="5" y="177"/>
                  </a:lnTo>
                  <a:lnTo>
                    <a:pt x="5" y="175"/>
                  </a:lnTo>
                  <a:lnTo>
                    <a:pt x="5" y="173"/>
                  </a:lnTo>
                  <a:lnTo>
                    <a:pt x="5" y="172"/>
                  </a:lnTo>
                  <a:lnTo>
                    <a:pt x="7" y="171"/>
                  </a:lnTo>
                  <a:lnTo>
                    <a:pt x="7" y="169"/>
                  </a:lnTo>
                  <a:lnTo>
                    <a:pt x="8" y="165"/>
                  </a:lnTo>
                  <a:lnTo>
                    <a:pt x="8" y="164"/>
                  </a:lnTo>
                  <a:lnTo>
                    <a:pt x="8" y="163"/>
                  </a:lnTo>
                  <a:lnTo>
                    <a:pt x="9" y="163"/>
                  </a:lnTo>
                  <a:lnTo>
                    <a:pt x="9" y="162"/>
                  </a:lnTo>
                  <a:lnTo>
                    <a:pt x="10" y="159"/>
                  </a:lnTo>
                  <a:lnTo>
                    <a:pt x="10" y="158"/>
                  </a:lnTo>
                  <a:lnTo>
                    <a:pt x="11" y="158"/>
                  </a:lnTo>
                  <a:lnTo>
                    <a:pt x="12" y="154"/>
                  </a:lnTo>
                  <a:lnTo>
                    <a:pt x="12" y="152"/>
                  </a:lnTo>
                  <a:lnTo>
                    <a:pt x="12" y="150"/>
                  </a:lnTo>
                  <a:lnTo>
                    <a:pt x="12" y="148"/>
                  </a:lnTo>
                  <a:lnTo>
                    <a:pt x="12" y="144"/>
                  </a:lnTo>
                  <a:lnTo>
                    <a:pt x="12" y="140"/>
                  </a:lnTo>
                  <a:lnTo>
                    <a:pt x="12" y="138"/>
                  </a:lnTo>
                  <a:lnTo>
                    <a:pt x="11" y="137"/>
                  </a:lnTo>
                  <a:lnTo>
                    <a:pt x="11" y="135"/>
                  </a:lnTo>
                  <a:lnTo>
                    <a:pt x="11" y="134"/>
                  </a:lnTo>
                  <a:lnTo>
                    <a:pt x="11" y="131"/>
                  </a:lnTo>
                  <a:lnTo>
                    <a:pt x="10" y="130"/>
                  </a:lnTo>
                  <a:lnTo>
                    <a:pt x="10" y="129"/>
                  </a:lnTo>
                  <a:lnTo>
                    <a:pt x="9" y="128"/>
                  </a:lnTo>
                  <a:lnTo>
                    <a:pt x="9" y="127"/>
                  </a:lnTo>
                  <a:lnTo>
                    <a:pt x="8" y="127"/>
                  </a:lnTo>
                  <a:lnTo>
                    <a:pt x="7" y="126"/>
                  </a:lnTo>
                  <a:lnTo>
                    <a:pt x="7" y="124"/>
                  </a:lnTo>
                  <a:lnTo>
                    <a:pt x="8" y="124"/>
                  </a:lnTo>
                  <a:lnTo>
                    <a:pt x="9" y="124"/>
                  </a:lnTo>
                  <a:lnTo>
                    <a:pt x="9" y="123"/>
                  </a:lnTo>
                  <a:lnTo>
                    <a:pt x="10" y="123"/>
                  </a:lnTo>
                  <a:lnTo>
                    <a:pt x="10" y="122"/>
                  </a:lnTo>
                  <a:lnTo>
                    <a:pt x="9" y="123"/>
                  </a:lnTo>
                  <a:lnTo>
                    <a:pt x="9" y="122"/>
                  </a:lnTo>
                  <a:lnTo>
                    <a:pt x="8" y="123"/>
                  </a:lnTo>
                  <a:lnTo>
                    <a:pt x="8" y="124"/>
                  </a:lnTo>
                  <a:lnTo>
                    <a:pt x="8" y="123"/>
                  </a:lnTo>
                  <a:lnTo>
                    <a:pt x="8" y="122"/>
                  </a:lnTo>
                  <a:lnTo>
                    <a:pt x="9" y="122"/>
                  </a:lnTo>
                  <a:lnTo>
                    <a:pt x="10" y="120"/>
                  </a:lnTo>
                  <a:lnTo>
                    <a:pt x="10" y="119"/>
                  </a:lnTo>
                  <a:lnTo>
                    <a:pt x="11" y="119"/>
                  </a:lnTo>
                  <a:lnTo>
                    <a:pt x="11" y="117"/>
                  </a:lnTo>
                  <a:lnTo>
                    <a:pt x="10" y="117"/>
                  </a:lnTo>
                  <a:lnTo>
                    <a:pt x="11" y="117"/>
                  </a:lnTo>
                  <a:lnTo>
                    <a:pt x="10" y="117"/>
                  </a:lnTo>
                  <a:lnTo>
                    <a:pt x="11" y="117"/>
                  </a:lnTo>
                  <a:lnTo>
                    <a:pt x="10" y="116"/>
                  </a:lnTo>
                  <a:lnTo>
                    <a:pt x="10" y="117"/>
                  </a:lnTo>
                  <a:lnTo>
                    <a:pt x="10" y="116"/>
                  </a:lnTo>
                  <a:lnTo>
                    <a:pt x="11" y="115"/>
                  </a:lnTo>
                  <a:lnTo>
                    <a:pt x="11" y="114"/>
                  </a:lnTo>
                  <a:lnTo>
                    <a:pt x="10" y="113"/>
                  </a:lnTo>
                  <a:lnTo>
                    <a:pt x="11" y="113"/>
                  </a:lnTo>
                  <a:lnTo>
                    <a:pt x="11" y="112"/>
                  </a:lnTo>
                  <a:lnTo>
                    <a:pt x="11" y="110"/>
                  </a:lnTo>
                  <a:lnTo>
                    <a:pt x="10" y="110"/>
                  </a:lnTo>
                  <a:lnTo>
                    <a:pt x="10" y="109"/>
                  </a:lnTo>
                  <a:lnTo>
                    <a:pt x="10" y="108"/>
                  </a:lnTo>
                  <a:lnTo>
                    <a:pt x="9" y="108"/>
                  </a:lnTo>
                  <a:lnTo>
                    <a:pt x="10" y="108"/>
                  </a:lnTo>
                  <a:lnTo>
                    <a:pt x="9" y="108"/>
                  </a:lnTo>
                  <a:lnTo>
                    <a:pt x="9" y="106"/>
                  </a:lnTo>
                  <a:lnTo>
                    <a:pt x="9" y="105"/>
                  </a:lnTo>
                  <a:lnTo>
                    <a:pt x="8" y="105"/>
                  </a:lnTo>
                  <a:lnTo>
                    <a:pt x="9" y="105"/>
                  </a:lnTo>
                  <a:lnTo>
                    <a:pt x="8" y="105"/>
                  </a:lnTo>
                  <a:lnTo>
                    <a:pt x="8" y="103"/>
                  </a:lnTo>
                  <a:lnTo>
                    <a:pt x="7" y="103"/>
                  </a:lnTo>
                  <a:lnTo>
                    <a:pt x="7" y="105"/>
                  </a:lnTo>
                  <a:lnTo>
                    <a:pt x="7" y="106"/>
                  </a:lnTo>
                  <a:lnTo>
                    <a:pt x="5" y="105"/>
                  </a:lnTo>
                  <a:lnTo>
                    <a:pt x="5" y="103"/>
                  </a:lnTo>
                  <a:lnTo>
                    <a:pt x="4" y="103"/>
                  </a:lnTo>
                  <a:lnTo>
                    <a:pt x="4" y="102"/>
                  </a:lnTo>
                  <a:lnTo>
                    <a:pt x="4" y="101"/>
                  </a:lnTo>
                  <a:lnTo>
                    <a:pt x="4" y="100"/>
                  </a:lnTo>
                  <a:lnTo>
                    <a:pt x="3" y="100"/>
                  </a:lnTo>
                  <a:lnTo>
                    <a:pt x="3" y="99"/>
                  </a:lnTo>
                  <a:lnTo>
                    <a:pt x="2" y="98"/>
                  </a:lnTo>
                  <a:lnTo>
                    <a:pt x="2" y="96"/>
                  </a:lnTo>
                  <a:lnTo>
                    <a:pt x="2" y="98"/>
                  </a:lnTo>
                  <a:lnTo>
                    <a:pt x="1" y="99"/>
                  </a:lnTo>
                  <a:lnTo>
                    <a:pt x="1" y="100"/>
                  </a:lnTo>
                  <a:lnTo>
                    <a:pt x="1" y="101"/>
                  </a:lnTo>
                  <a:lnTo>
                    <a:pt x="0" y="101"/>
                  </a:lnTo>
                  <a:lnTo>
                    <a:pt x="1" y="101"/>
                  </a:lnTo>
                  <a:lnTo>
                    <a:pt x="1" y="102"/>
                  </a:lnTo>
                  <a:lnTo>
                    <a:pt x="0" y="102"/>
                  </a:lnTo>
                  <a:lnTo>
                    <a:pt x="0" y="103"/>
                  </a:lnTo>
                  <a:lnTo>
                    <a:pt x="0" y="101"/>
                  </a:lnTo>
                  <a:lnTo>
                    <a:pt x="0" y="99"/>
                  </a:lnTo>
                  <a:lnTo>
                    <a:pt x="1" y="98"/>
                  </a:lnTo>
                  <a:lnTo>
                    <a:pt x="1" y="95"/>
                  </a:lnTo>
                  <a:lnTo>
                    <a:pt x="2" y="94"/>
                  </a:lnTo>
                  <a:lnTo>
                    <a:pt x="3" y="94"/>
                  </a:lnTo>
                  <a:lnTo>
                    <a:pt x="5" y="94"/>
                  </a:lnTo>
                  <a:lnTo>
                    <a:pt x="8" y="94"/>
                  </a:lnTo>
                  <a:lnTo>
                    <a:pt x="11" y="94"/>
                  </a:lnTo>
                  <a:lnTo>
                    <a:pt x="15" y="94"/>
                  </a:lnTo>
                  <a:lnTo>
                    <a:pt x="19" y="94"/>
                  </a:lnTo>
                  <a:lnTo>
                    <a:pt x="24" y="94"/>
                  </a:lnTo>
                  <a:lnTo>
                    <a:pt x="29" y="94"/>
                  </a:lnTo>
                  <a:lnTo>
                    <a:pt x="33" y="94"/>
                  </a:lnTo>
                  <a:lnTo>
                    <a:pt x="38" y="94"/>
                  </a:lnTo>
                  <a:lnTo>
                    <a:pt x="41" y="94"/>
                  </a:lnTo>
                  <a:lnTo>
                    <a:pt x="45" y="94"/>
                  </a:lnTo>
                  <a:lnTo>
                    <a:pt x="48" y="94"/>
                  </a:lnTo>
                  <a:lnTo>
                    <a:pt x="51" y="94"/>
                  </a:lnTo>
                  <a:lnTo>
                    <a:pt x="53" y="94"/>
                  </a:lnTo>
                  <a:lnTo>
                    <a:pt x="55" y="94"/>
                  </a:lnTo>
                  <a:lnTo>
                    <a:pt x="55" y="92"/>
                  </a:lnTo>
                  <a:lnTo>
                    <a:pt x="55" y="91"/>
                  </a:lnTo>
                  <a:lnTo>
                    <a:pt x="55" y="84"/>
                  </a:lnTo>
                  <a:lnTo>
                    <a:pt x="54" y="80"/>
                  </a:lnTo>
                  <a:lnTo>
                    <a:pt x="54" y="75"/>
                  </a:lnTo>
                  <a:lnTo>
                    <a:pt x="54" y="74"/>
                  </a:lnTo>
                  <a:lnTo>
                    <a:pt x="54" y="73"/>
                  </a:lnTo>
                  <a:lnTo>
                    <a:pt x="54" y="72"/>
                  </a:lnTo>
                  <a:lnTo>
                    <a:pt x="54" y="71"/>
                  </a:lnTo>
                  <a:lnTo>
                    <a:pt x="54" y="70"/>
                  </a:lnTo>
                  <a:lnTo>
                    <a:pt x="55" y="67"/>
                  </a:lnTo>
                  <a:lnTo>
                    <a:pt x="58" y="66"/>
                  </a:lnTo>
                  <a:lnTo>
                    <a:pt x="59" y="65"/>
                  </a:lnTo>
                  <a:lnTo>
                    <a:pt x="60" y="64"/>
                  </a:lnTo>
                  <a:lnTo>
                    <a:pt x="61" y="64"/>
                  </a:lnTo>
                  <a:lnTo>
                    <a:pt x="62" y="63"/>
                  </a:lnTo>
                  <a:lnTo>
                    <a:pt x="65" y="63"/>
                  </a:lnTo>
                  <a:lnTo>
                    <a:pt x="68" y="61"/>
                  </a:lnTo>
                  <a:lnTo>
                    <a:pt x="69" y="60"/>
                  </a:lnTo>
                  <a:lnTo>
                    <a:pt x="69" y="58"/>
                  </a:lnTo>
                  <a:lnTo>
                    <a:pt x="69" y="57"/>
                  </a:lnTo>
                  <a:lnTo>
                    <a:pt x="69" y="56"/>
                  </a:lnTo>
                  <a:lnTo>
                    <a:pt x="69" y="54"/>
                  </a:lnTo>
                  <a:lnTo>
                    <a:pt x="69" y="53"/>
                  </a:lnTo>
                  <a:lnTo>
                    <a:pt x="69" y="52"/>
                  </a:lnTo>
                  <a:lnTo>
                    <a:pt x="69" y="51"/>
                  </a:lnTo>
                  <a:lnTo>
                    <a:pt x="69" y="50"/>
                  </a:lnTo>
                  <a:lnTo>
                    <a:pt x="69" y="49"/>
                  </a:lnTo>
                  <a:lnTo>
                    <a:pt x="69" y="47"/>
                  </a:lnTo>
                  <a:lnTo>
                    <a:pt x="69" y="46"/>
                  </a:lnTo>
                  <a:lnTo>
                    <a:pt x="71" y="45"/>
                  </a:lnTo>
                  <a:lnTo>
                    <a:pt x="71" y="44"/>
                  </a:lnTo>
                  <a:lnTo>
                    <a:pt x="71" y="43"/>
                  </a:lnTo>
                  <a:lnTo>
                    <a:pt x="71" y="42"/>
                  </a:lnTo>
                  <a:lnTo>
                    <a:pt x="71" y="40"/>
                  </a:lnTo>
                  <a:lnTo>
                    <a:pt x="71" y="39"/>
                  </a:lnTo>
                  <a:lnTo>
                    <a:pt x="71" y="38"/>
                  </a:lnTo>
                  <a:lnTo>
                    <a:pt x="71" y="37"/>
                  </a:lnTo>
                  <a:lnTo>
                    <a:pt x="71" y="36"/>
                  </a:lnTo>
                  <a:lnTo>
                    <a:pt x="71" y="35"/>
                  </a:lnTo>
                  <a:lnTo>
                    <a:pt x="71" y="33"/>
                  </a:lnTo>
                  <a:lnTo>
                    <a:pt x="71" y="32"/>
                  </a:lnTo>
                  <a:lnTo>
                    <a:pt x="71" y="31"/>
                  </a:lnTo>
                  <a:lnTo>
                    <a:pt x="71" y="30"/>
                  </a:lnTo>
                  <a:lnTo>
                    <a:pt x="71" y="29"/>
                  </a:lnTo>
                  <a:lnTo>
                    <a:pt x="71" y="28"/>
                  </a:lnTo>
                  <a:lnTo>
                    <a:pt x="71" y="26"/>
                  </a:lnTo>
                  <a:lnTo>
                    <a:pt x="71" y="25"/>
                  </a:lnTo>
                  <a:lnTo>
                    <a:pt x="71" y="24"/>
                  </a:lnTo>
                  <a:lnTo>
                    <a:pt x="71" y="23"/>
                  </a:lnTo>
                  <a:lnTo>
                    <a:pt x="71" y="22"/>
                  </a:lnTo>
                  <a:lnTo>
                    <a:pt x="71" y="21"/>
                  </a:lnTo>
                  <a:lnTo>
                    <a:pt x="72" y="21"/>
                  </a:lnTo>
                  <a:lnTo>
                    <a:pt x="73" y="21"/>
                  </a:lnTo>
                  <a:lnTo>
                    <a:pt x="75" y="21"/>
                  </a:lnTo>
                  <a:lnTo>
                    <a:pt x="76" y="21"/>
                  </a:lnTo>
                  <a:lnTo>
                    <a:pt x="77" y="21"/>
                  </a:lnTo>
                  <a:lnTo>
                    <a:pt x="79" y="21"/>
                  </a:lnTo>
                  <a:lnTo>
                    <a:pt x="80" y="21"/>
                  </a:lnTo>
                  <a:lnTo>
                    <a:pt x="81" y="21"/>
                  </a:lnTo>
                  <a:lnTo>
                    <a:pt x="83" y="21"/>
                  </a:lnTo>
                  <a:lnTo>
                    <a:pt x="84" y="21"/>
                  </a:lnTo>
                  <a:lnTo>
                    <a:pt x="86" y="21"/>
                  </a:lnTo>
                  <a:lnTo>
                    <a:pt x="87" y="21"/>
                  </a:lnTo>
                  <a:lnTo>
                    <a:pt x="88" y="21"/>
                  </a:lnTo>
                  <a:lnTo>
                    <a:pt x="89" y="21"/>
                  </a:lnTo>
                  <a:lnTo>
                    <a:pt x="91" y="21"/>
                  </a:lnTo>
                  <a:lnTo>
                    <a:pt x="93" y="21"/>
                  </a:lnTo>
                  <a:lnTo>
                    <a:pt x="94" y="21"/>
                  </a:lnTo>
                  <a:lnTo>
                    <a:pt x="95" y="21"/>
                  </a:lnTo>
                  <a:lnTo>
                    <a:pt x="96" y="21"/>
                  </a:lnTo>
                  <a:lnTo>
                    <a:pt x="97" y="21"/>
                  </a:lnTo>
                  <a:lnTo>
                    <a:pt x="100" y="21"/>
                  </a:lnTo>
                  <a:lnTo>
                    <a:pt x="101" y="21"/>
                  </a:lnTo>
                  <a:lnTo>
                    <a:pt x="102" y="21"/>
                  </a:lnTo>
                  <a:lnTo>
                    <a:pt x="103" y="21"/>
                  </a:lnTo>
                  <a:lnTo>
                    <a:pt x="104" y="21"/>
                  </a:lnTo>
                  <a:lnTo>
                    <a:pt x="105" y="21"/>
                  </a:lnTo>
                  <a:lnTo>
                    <a:pt x="108" y="21"/>
                  </a:lnTo>
                  <a:lnTo>
                    <a:pt x="109" y="21"/>
                  </a:lnTo>
                  <a:lnTo>
                    <a:pt x="110" y="21"/>
                  </a:lnTo>
                  <a:lnTo>
                    <a:pt x="111" y="21"/>
                  </a:lnTo>
                  <a:lnTo>
                    <a:pt x="112" y="21"/>
                  </a:lnTo>
                  <a:lnTo>
                    <a:pt x="115" y="21"/>
                  </a:lnTo>
                  <a:lnTo>
                    <a:pt x="116" y="21"/>
                  </a:lnTo>
                  <a:lnTo>
                    <a:pt x="116" y="19"/>
                  </a:lnTo>
                  <a:lnTo>
                    <a:pt x="116" y="18"/>
                  </a:lnTo>
                  <a:lnTo>
                    <a:pt x="116" y="17"/>
                  </a:lnTo>
                  <a:lnTo>
                    <a:pt x="116" y="16"/>
                  </a:lnTo>
                  <a:lnTo>
                    <a:pt x="116" y="15"/>
                  </a:lnTo>
                  <a:lnTo>
                    <a:pt x="116" y="14"/>
                  </a:lnTo>
                  <a:lnTo>
                    <a:pt x="116" y="11"/>
                  </a:lnTo>
                  <a:lnTo>
                    <a:pt x="116" y="9"/>
                  </a:lnTo>
                  <a:lnTo>
                    <a:pt x="116" y="8"/>
                  </a:lnTo>
                  <a:lnTo>
                    <a:pt x="116" y="5"/>
                  </a:lnTo>
                  <a:lnTo>
                    <a:pt x="116" y="4"/>
                  </a:lnTo>
                  <a:lnTo>
                    <a:pt x="116" y="3"/>
                  </a:lnTo>
                  <a:lnTo>
                    <a:pt x="116" y="2"/>
                  </a:lnTo>
                  <a:lnTo>
                    <a:pt x="116" y="1"/>
                  </a:lnTo>
                  <a:lnTo>
                    <a:pt x="116" y="0"/>
                  </a:lnTo>
                  <a:lnTo>
                    <a:pt x="118" y="2"/>
                  </a:lnTo>
                  <a:lnTo>
                    <a:pt x="122" y="3"/>
                  </a:lnTo>
                  <a:lnTo>
                    <a:pt x="124" y="5"/>
                  </a:lnTo>
                  <a:lnTo>
                    <a:pt x="126" y="7"/>
                  </a:lnTo>
                  <a:lnTo>
                    <a:pt x="129" y="9"/>
                  </a:lnTo>
                  <a:lnTo>
                    <a:pt x="132" y="11"/>
                  </a:lnTo>
                  <a:lnTo>
                    <a:pt x="135" y="12"/>
                  </a:lnTo>
                  <a:lnTo>
                    <a:pt x="137" y="15"/>
                  </a:lnTo>
                  <a:lnTo>
                    <a:pt x="140" y="16"/>
                  </a:lnTo>
                  <a:lnTo>
                    <a:pt x="143" y="18"/>
                  </a:lnTo>
                  <a:lnTo>
                    <a:pt x="145" y="21"/>
                  </a:lnTo>
                  <a:lnTo>
                    <a:pt x="147" y="22"/>
                  </a:lnTo>
                  <a:lnTo>
                    <a:pt x="150" y="23"/>
                  </a:lnTo>
                  <a:lnTo>
                    <a:pt x="152" y="25"/>
                  </a:lnTo>
                  <a:lnTo>
                    <a:pt x="154" y="26"/>
                  </a:lnTo>
                  <a:lnTo>
                    <a:pt x="157" y="28"/>
                  </a:lnTo>
                  <a:lnTo>
                    <a:pt x="159" y="29"/>
                  </a:lnTo>
                  <a:lnTo>
                    <a:pt x="161" y="31"/>
                  </a:lnTo>
                  <a:lnTo>
                    <a:pt x="164" y="32"/>
                  </a:lnTo>
                  <a:lnTo>
                    <a:pt x="166" y="35"/>
                  </a:lnTo>
                  <a:lnTo>
                    <a:pt x="168" y="36"/>
                  </a:lnTo>
                  <a:lnTo>
                    <a:pt x="165" y="36"/>
                  </a:lnTo>
                  <a:lnTo>
                    <a:pt x="161" y="36"/>
                  </a:lnTo>
                  <a:lnTo>
                    <a:pt x="159" y="36"/>
                  </a:lnTo>
                  <a:lnTo>
                    <a:pt x="155" y="36"/>
                  </a:lnTo>
                  <a:lnTo>
                    <a:pt x="153" y="36"/>
                  </a:lnTo>
                  <a:lnTo>
                    <a:pt x="150" y="36"/>
                  </a:lnTo>
                  <a:lnTo>
                    <a:pt x="146" y="36"/>
                  </a:lnTo>
                  <a:lnTo>
                    <a:pt x="144" y="36"/>
                  </a:lnTo>
                  <a:lnTo>
                    <a:pt x="144" y="37"/>
                  </a:lnTo>
                  <a:lnTo>
                    <a:pt x="144" y="38"/>
                  </a:lnTo>
                  <a:lnTo>
                    <a:pt x="144" y="39"/>
                  </a:lnTo>
                  <a:lnTo>
                    <a:pt x="144" y="42"/>
                  </a:lnTo>
                  <a:lnTo>
                    <a:pt x="144" y="43"/>
                  </a:lnTo>
                  <a:lnTo>
                    <a:pt x="145" y="44"/>
                  </a:lnTo>
                  <a:lnTo>
                    <a:pt x="145" y="45"/>
                  </a:lnTo>
                  <a:lnTo>
                    <a:pt x="145" y="46"/>
                  </a:lnTo>
                  <a:lnTo>
                    <a:pt x="145" y="47"/>
                  </a:lnTo>
                  <a:lnTo>
                    <a:pt x="145" y="49"/>
                  </a:lnTo>
                  <a:lnTo>
                    <a:pt x="145" y="51"/>
                  </a:lnTo>
                  <a:lnTo>
                    <a:pt x="145" y="53"/>
                  </a:lnTo>
                  <a:lnTo>
                    <a:pt x="145" y="56"/>
                  </a:lnTo>
                  <a:lnTo>
                    <a:pt x="146" y="58"/>
                  </a:lnTo>
                  <a:lnTo>
                    <a:pt x="146" y="59"/>
                  </a:lnTo>
                  <a:lnTo>
                    <a:pt x="146" y="61"/>
                  </a:lnTo>
                  <a:lnTo>
                    <a:pt x="146" y="64"/>
                  </a:lnTo>
                  <a:lnTo>
                    <a:pt x="146" y="65"/>
                  </a:lnTo>
                  <a:lnTo>
                    <a:pt x="146" y="66"/>
                  </a:lnTo>
                  <a:lnTo>
                    <a:pt x="146" y="67"/>
                  </a:lnTo>
                  <a:lnTo>
                    <a:pt x="146" y="70"/>
                  </a:lnTo>
                  <a:lnTo>
                    <a:pt x="147" y="71"/>
                  </a:lnTo>
                  <a:lnTo>
                    <a:pt x="147" y="73"/>
                  </a:lnTo>
                  <a:lnTo>
                    <a:pt x="147" y="74"/>
                  </a:lnTo>
                  <a:lnTo>
                    <a:pt x="147" y="77"/>
                  </a:lnTo>
                  <a:lnTo>
                    <a:pt x="147" y="79"/>
                  </a:lnTo>
                  <a:lnTo>
                    <a:pt x="147" y="80"/>
                  </a:lnTo>
                  <a:lnTo>
                    <a:pt x="148" y="82"/>
                  </a:lnTo>
                  <a:lnTo>
                    <a:pt x="148" y="85"/>
                  </a:lnTo>
                  <a:lnTo>
                    <a:pt x="148" y="86"/>
                  </a:lnTo>
                  <a:lnTo>
                    <a:pt x="148" y="88"/>
                  </a:lnTo>
                  <a:lnTo>
                    <a:pt x="148" y="91"/>
                  </a:lnTo>
                  <a:lnTo>
                    <a:pt x="148" y="92"/>
                  </a:lnTo>
                  <a:lnTo>
                    <a:pt x="148" y="94"/>
                  </a:lnTo>
                  <a:lnTo>
                    <a:pt x="150" y="95"/>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98" name="Freeform 954">
              <a:extLst>
                <a:ext uri="{FF2B5EF4-FFF2-40B4-BE49-F238E27FC236}">
                  <a16:creationId xmlns:a16="http://schemas.microsoft.com/office/drawing/2014/main" id="{CCE864C5-53BE-4E5F-9D84-09ADC79D9264}"/>
                </a:ext>
              </a:extLst>
            </p:cNvPr>
            <p:cNvSpPr>
              <a:spLocks/>
            </p:cNvSpPr>
            <p:nvPr/>
          </p:nvSpPr>
          <p:spPr bwMode="auto">
            <a:xfrm>
              <a:off x="4661915" y="2991952"/>
              <a:ext cx="1336" cy="4007"/>
            </a:xfrm>
            <a:custGeom>
              <a:avLst/>
              <a:gdLst>
                <a:gd name="T0" fmla="*/ 1 w 1"/>
                <a:gd name="T1" fmla="*/ 0 h 3"/>
                <a:gd name="T2" fmla="*/ 1 w 1"/>
                <a:gd name="T3" fmla="*/ 0 h 3"/>
                <a:gd name="T4" fmla="*/ 1 w 1"/>
                <a:gd name="T5" fmla="*/ 0 h 3"/>
                <a:gd name="T6" fmla="*/ 1 w 1"/>
                <a:gd name="T7" fmla="*/ 0 h 3"/>
                <a:gd name="T8" fmla="*/ 1 w 1"/>
                <a:gd name="T9" fmla="*/ 1 h 3"/>
                <a:gd name="T10" fmla="*/ 1 w 1"/>
                <a:gd name="T11" fmla="*/ 1 h 3"/>
                <a:gd name="T12" fmla="*/ 1 w 1"/>
                <a:gd name="T13" fmla="*/ 1 h 3"/>
                <a:gd name="T14" fmla="*/ 1 w 1"/>
                <a:gd name="T15" fmla="*/ 1 h 3"/>
                <a:gd name="T16" fmla="*/ 1 w 1"/>
                <a:gd name="T17" fmla="*/ 1 h 3"/>
                <a:gd name="T18" fmla="*/ 1 w 1"/>
                <a:gd name="T19" fmla="*/ 1 h 3"/>
                <a:gd name="T20" fmla="*/ 1 w 1"/>
                <a:gd name="T21" fmla="*/ 3 h 3"/>
                <a:gd name="T22" fmla="*/ 1 w 1"/>
                <a:gd name="T23" fmla="*/ 3 h 3"/>
                <a:gd name="T24" fmla="*/ 1 w 1"/>
                <a:gd name="T25" fmla="*/ 3 h 3"/>
                <a:gd name="T26" fmla="*/ 1 w 1"/>
                <a:gd name="T27" fmla="*/ 3 h 3"/>
                <a:gd name="T28" fmla="*/ 1 w 1"/>
                <a:gd name="T29" fmla="*/ 3 h 3"/>
                <a:gd name="T30" fmla="*/ 1 w 1"/>
                <a:gd name="T31" fmla="*/ 3 h 3"/>
                <a:gd name="T32" fmla="*/ 1 w 1"/>
                <a:gd name="T33" fmla="*/ 3 h 3"/>
                <a:gd name="T34" fmla="*/ 1 w 1"/>
                <a:gd name="T35" fmla="*/ 3 h 3"/>
                <a:gd name="T36" fmla="*/ 0 w 1"/>
                <a:gd name="T37" fmla="*/ 3 h 3"/>
                <a:gd name="T38" fmla="*/ 0 w 1"/>
                <a:gd name="T39" fmla="*/ 1 h 3"/>
                <a:gd name="T40" fmla="*/ 0 w 1"/>
                <a:gd name="T41" fmla="*/ 1 h 3"/>
                <a:gd name="T42" fmla="*/ 1 w 1"/>
                <a:gd name="T43" fmla="*/ 0 h 3"/>
                <a:gd name="T44" fmla="*/ 1 w 1"/>
                <a:gd name="T4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 h="3">
                  <a:moveTo>
                    <a:pt x="1" y="0"/>
                  </a:moveTo>
                  <a:lnTo>
                    <a:pt x="1" y="0"/>
                  </a:lnTo>
                  <a:lnTo>
                    <a:pt x="1" y="0"/>
                  </a:lnTo>
                  <a:lnTo>
                    <a:pt x="1" y="0"/>
                  </a:lnTo>
                  <a:lnTo>
                    <a:pt x="1" y="1"/>
                  </a:lnTo>
                  <a:lnTo>
                    <a:pt x="1" y="1"/>
                  </a:lnTo>
                  <a:lnTo>
                    <a:pt x="1" y="1"/>
                  </a:lnTo>
                  <a:lnTo>
                    <a:pt x="1" y="1"/>
                  </a:lnTo>
                  <a:lnTo>
                    <a:pt x="1" y="1"/>
                  </a:lnTo>
                  <a:lnTo>
                    <a:pt x="1" y="1"/>
                  </a:lnTo>
                  <a:lnTo>
                    <a:pt x="1" y="3"/>
                  </a:lnTo>
                  <a:lnTo>
                    <a:pt x="1" y="3"/>
                  </a:lnTo>
                  <a:lnTo>
                    <a:pt x="1" y="3"/>
                  </a:lnTo>
                  <a:lnTo>
                    <a:pt x="1" y="3"/>
                  </a:lnTo>
                  <a:lnTo>
                    <a:pt x="1" y="3"/>
                  </a:lnTo>
                  <a:lnTo>
                    <a:pt x="1" y="3"/>
                  </a:lnTo>
                  <a:lnTo>
                    <a:pt x="1" y="3"/>
                  </a:lnTo>
                  <a:lnTo>
                    <a:pt x="1" y="3"/>
                  </a:lnTo>
                  <a:lnTo>
                    <a:pt x="0" y="3"/>
                  </a:lnTo>
                  <a:lnTo>
                    <a:pt x="0" y="1"/>
                  </a:lnTo>
                  <a:lnTo>
                    <a:pt x="0" y="1"/>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199" name="Freeform 955">
              <a:extLst>
                <a:ext uri="{FF2B5EF4-FFF2-40B4-BE49-F238E27FC236}">
                  <a16:creationId xmlns:a16="http://schemas.microsoft.com/office/drawing/2014/main" id="{852B690E-6162-4FD2-A560-722B4B31A190}"/>
                </a:ext>
              </a:extLst>
            </p:cNvPr>
            <p:cNvSpPr>
              <a:spLocks noEditPoints="1"/>
            </p:cNvSpPr>
            <p:nvPr/>
          </p:nvSpPr>
          <p:spPr bwMode="auto">
            <a:xfrm>
              <a:off x="6854786" y="3566212"/>
              <a:ext cx="114852" cy="216349"/>
            </a:xfrm>
            <a:custGeom>
              <a:avLst/>
              <a:gdLst>
                <a:gd name="T0" fmla="*/ 6 w 86"/>
                <a:gd name="T1" fmla="*/ 155 h 162"/>
                <a:gd name="T2" fmla="*/ 6 w 86"/>
                <a:gd name="T3" fmla="*/ 155 h 162"/>
                <a:gd name="T4" fmla="*/ 6 w 86"/>
                <a:gd name="T5" fmla="*/ 155 h 162"/>
                <a:gd name="T6" fmla="*/ 6 w 86"/>
                <a:gd name="T7" fmla="*/ 156 h 162"/>
                <a:gd name="T8" fmla="*/ 7 w 86"/>
                <a:gd name="T9" fmla="*/ 156 h 162"/>
                <a:gd name="T10" fmla="*/ 7 w 86"/>
                <a:gd name="T11" fmla="*/ 157 h 162"/>
                <a:gd name="T12" fmla="*/ 7 w 86"/>
                <a:gd name="T13" fmla="*/ 157 h 162"/>
                <a:gd name="T14" fmla="*/ 7 w 86"/>
                <a:gd name="T15" fmla="*/ 158 h 162"/>
                <a:gd name="T16" fmla="*/ 6 w 86"/>
                <a:gd name="T17" fmla="*/ 158 h 162"/>
                <a:gd name="T18" fmla="*/ 6 w 86"/>
                <a:gd name="T19" fmla="*/ 159 h 162"/>
                <a:gd name="T20" fmla="*/ 6 w 86"/>
                <a:gd name="T21" fmla="*/ 159 h 162"/>
                <a:gd name="T22" fmla="*/ 6 w 86"/>
                <a:gd name="T23" fmla="*/ 159 h 162"/>
                <a:gd name="T24" fmla="*/ 6 w 86"/>
                <a:gd name="T25" fmla="*/ 161 h 162"/>
                <a:gd name="T26" fmla="*/ 6 w 86"/>
                <a:gd name="T27" fmla="*/ 161 h 162"/>
                <a:gd name="T28" fmla="*/ 4 w 86"/>
                <a:gd name="T29" fmla="*/ 161 h 162"/>
                <a:gd name="T30" fmla="*/ 3 w 86"/>
                <a:gd name="T31" fmla="*/ 162 h 162"/>
                <a:gd name="T32" fmla="*/ 2 w 86"/>
                <a:gd name="T33" fmla="*/ 162 h 162"/>
                <a:gd name="T34" fmla="*/ 1 w 86"/>
                <a:gd name="T35" fmla="*/ 161 h 162"/>
                <a:gd name="T36" fmla="*/ 0 w 86"/>
                <a:gd name="T37" fmla="*/ 161 h 162"/>
                <a:gd name="T38" fmla="*/ 0 w 86"/>
                <a:gd name="T39" fmla="*/ 161 h 162"/>
                <a:gd name="T40" fmla="*/ 0 w 86"/>
                <a:gd name="T41" fmla="*/ 161 h 162"/>
                <a:gd name="T42" fmla="*/ 1 w 86"/>
                <a:gd name="T43" fmla="*/ 159 h 162"/>
                <a:gd name="T44" fmla="*/ 1 w 86"/>
                <a:gd name="T45" fmla="*/ 159 h 162"/>
                <a:gd name="T46" fmla="*/ 1 w 86"/>
                <a:gd name="T47" fmla="*/ 158 h 162"/>
                <a:gd name="T48" fmla="*/ 1 w 86"/>
                <a:gd name="T49" fmla="*/ 157 h 162"/>
                <a:gd name="T50" fmla="*/ 1 w 86"/>
                <a:gd name="T51" fmla="*/ 156 h 162"/>
                <a:gd name="T52" fmla="*/ 1 w 86"/>
                <a:gd name="T53" fmla="*/ 156 h 162"/>
                <a:gd name="T54" fmla="*/ 2 w 86"/>
                <a:gd name="T55" fmla="*/ 156 h 162"/>
                <a:gd name="T56" fmla="*/ 2 w 86"/>
                <a:gd name="T57" fmla="*/ 156 h 162"/>
                <a:gd name="T58" fmla="*/ 2 w 86"/>
                <a:gd name="T59" fmla="*/ 155 h 162"/>
                <a:gd name="T60" fmla="*/ 3 w 86"/>
                <a:gd name="T61" fmla="*/ 155 h 162"/>
                <a:gd name="T62" fmla="*/ 3 w 86"/>
                <a:gd name="T63" fmla="*/ 154 h 162"/>
                <a:gd name="T64" fmla="*/ 3 w 86"/>
                <a:gd name="T65" fmla="*/ 154 h 162"/>
                <a:gd name="T66" fmla="*/ 4 w 86"/>
                <a:gd name="T67" fmla="*/ 154 h 162"/>
                <a:gd name="T68" fmla="*/ 4 w 86"/>
                <a:gd name="T69" fmla="*/ 154 h 162"/>
                <a:gd name="T70" fmla="*/ 4 w 86"/>
                <a:gd name="T71" fmla="*/ 152 h 162"/>
                <a:gd name="T72" fmla="*/ 6 w 86"/>
                <a:gd name="T73" fmla="*/ 154 h 162"/>
                <a:gd name="T74" fmla="*/ 6 w 86"/>
                <a:gd name="T75" fmla="*/ 154 h 162"/>
                <a:gd name="T76" fmla="*/ 6 w 86"/>
                <a:gd name="T77" fmla="*/ 154 h 162"/>
                <a:gd name="T78" fmla="*/ 6 w 86"/>
                <a:gd name="T79" fmla="*/ 155 h 162"/>
                <a:gd name="T80" fmla="*/ 6 w 86"/>
                <a:gd name="T81" fmla="*/ 155 h 162"/>
                <a:gd name="T82" fmla="*/ 83 w 86"/>
                <a:gd name="T83" fmla="*/ 149 h 162"/>
                <a:gd name="T84" fmla="*/ 83 w 86"/>
                <a:gd name="T85" fmla="*/ 149 h 162"/>
                <a:gd name="T86" fmla="*/ 83 w 86"/>
                <a:gd name="T87" fmla="*/ 149 h 162"/>
                <a:gd name="T88" fmla="*/ 83 w 86"/>
                <a:gd name="T89" fmla="*/ 149 h 162"/>
                <a:gd name="T90" fmla="*/ 85 w 86"/>
                <a:gd name="T91" fmla="*/ 148 h 162"/>
                <a:gd name="T92" fmla="*/ 85 w 86"/>
                <a:gd name="T93" fmla="*/ 148 h 162"/>
                <a:gd name="T94" fmla="*/ 86 w 86"/>
                <a:gd name="T95" fmla="*/ 149 h 162"/>
                <a:gd name="T96" fmla="*/ 85 w 86"/>
                <a:gd name="T97" fmla="*/ 149 h 162"/>
                <a:gd name="T98" fmla="*/ 83 w 86"/>
                <a:gd name="T99" fmla="*/ 149 h 162"/>
                <a:gd name="T100" fmla="*/ 0 w 86"/>
                <a:gd name="T101" fmla="*/ 1 h 162"/>
                <a:gd name="T102" fmla="*/ 0 w 86"/>
                <a:gd name="T103" fmla="*/ 1 h 162"/>
                <a:gd name="T104" fmla="*/ 0 w 86"/>
                <a:gd name="T105" fmla="*/ 1 h 162"/>
                <a:gd name="T106" fmla="*/ 0 w 86"/>
                <a:gd name="T107" fmla="*/ 0 h 162"/>
                <a:gd name="T108" fmla="*/ 0 w 86"/>
                <a:gd name="T109" fmla="*/ 0 h 162"/>
                <a:gd name="T110" fmla="*/ 0 w 86"/>
                <a:gd name="T111" fmla="*/ 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162">
                  <a:moveTo>
                    <a:pt x="6" y="155"/>
                  </a:moveTo>
                  <a:lnTo>
                    <a:pt x="6" y="155"/>
                  </a:lnTo>
                  <a:lnTo>
                    <a:pt x="6" y="155"/>
                  </a:lnTo>
                  <a:lnTo>
                    <a:pt x="6" y="155"/>
                  </a:lnTo>
                  <a:lnTo>
                    <a:pt x="6" y="155"/>
                  </a:lnTo>
                  <a:lnTo>
                    <a:pt x="6" y="155"/>
                  </a:lnTo>
                  <a:lnTo>
                    <a:pt x="6" y="156"/>
                  </a:lnTo>
                  <a:lnTo>
                    <a:pt x="6" y="156"/>
                  </a:lnTo>
                  <a:lnTo>
                    <a:pt x="7" y="156"/>
                  </a:lnTo>
                  <a:lnTo>
                    <a:pt x="7" y="156"/>
                  </a:lnTo>
                  <a:lnTo>
                    <a:pt x="7" y="157"/>
                  </a:lnTo>
                  <a:lnTo>
                    <a:pt x="7" y="157"/>
                  </a:lnTo>
                  <a:lnTo>
                    <a:pt x="7" y="157"/>
                  </a:lnTo>
                  <a:lnTo>
                    <a:pt x="7" y="157"/>
                  </a:lnTo>
                  <a:lnTo>
                    <a:pt x="7" y="158"/>
                  </a:lnTo>
                  <a:lnTo>
                    <a:pt x="7" y="158"/>
                  </a:lnTo>
                  <a:lnTo>
                    <a:pt x="7" y="158"/>
                  </a:lnTo>
                  <a:lnTo>
                    <a:pt x="6" y="158"/>
                  </a:lnTo>
                  <a:lnTo>
                    <a:pt x="6" y="159"/>
                  </a:lnTo>
                  <a:lnTo>
                    <a:pt x="6" y="159"/>
                  </a:lnTo>
                  <a:lnTo>
                    <a:pt x="6" y="159"/>
                  </a:lnTo>
                  <a:lnTo>
                    <a:pt x="6" y="159"/>
                  </a:lnTo>
                  <a:lnTo>
                    <a:pt x="6" y="159"/>
                  </a:lnTo>
                  <a:lnTo>
                    <a:pt x="6" y="159"/>
                  </a:lnTo>
                  <a:lnTo>
                    <a:pt x="6" y="161"/>
                  </a:lnTo>
                  <a:lnTo>
                    <a:pt x="6" y="161"/>
                  </a:lnTo>
                  <a:lnTo>
                    <a:pt x="6" y="161"/>
                  </a:lnTo>
                  <a:lnTo>
                    <a:pt x="6" y="161"/>
                  </a:lnTo>
                  <a:lnTo>
                    <a:pt x="4" y="161"/>
                  </a:lnTo>
                  <a:lnTo>
                    <a:pt x="4" y="161"/>
                  </a:lnTo>
                  <a:lnTo>
                    <a:pt x="4" y="161"/>
                  </a:lnTo>
                  <a:lnTo>
                    <a:pt x="3" y="162"/>
                  </a:lnTo>
                  <a:lnTo>
                    <a:pt x="2" y="162"/>
                  </a:lnTo>
                  <a:lnTo>
                    <a:pt x="2" y="162"/>
                  </a:lnTo>
                  <a:lnTo>
                    <a:pt x="1" y="162"/>
                  </a:lnTo>
                  <a:lnTo>
                    <a:pt x="1" y="161"/>
                  </a:lnTo>
                  <a:lnTo>
                    <a:pt x="1" y="162"/>
                  </a:lnTo>
                  <a:lnTo>
                    <a:pt x="0" y="161"/>
                  </a:lnTo>
                  <a:lnTo>
                    <a:pt x="0" y="161"/>
                  </a:lnTo>
                  <a:lnTo>
                    <a:pt x="0" y="161"/>
                  </a:lnTo>
                  <a:lnTo>
                    <a:pt x="0" y="159"/>
                  </a:lnTo>
                  <a:lnTo>
                    <a:pt x="0" y="161"/>
                  </a:lnTo>
                  <a:lnTo>
                    <a:pt x="0" y="161"/>
                  </a:lnTo>
                  <a:lnTo>
                    <a:pt x="1" y="159"/>
                  </a:lnTo>
                  <a:lnTo>
                    <a:pt x="1" y="159"/>
                  </a:lnTo>
                  <a:lnTo>
                    <a:pt x="1" y="159"/>
                  </a:lnTo>
                  <a:lnTo>
                    <a:pt x="1" y="159"/>
                  </a:lnTo>
                  <a:lnTo>
                    <a:pt x="1" y="158"/>
                  </a:lnTo>
                  <a:lnTo>
                    <a:pt x="1" y="158"/>
                  </a:lnTo>
                  <a:lnTo>
                    <a:pt x="1" y="157"/>
                  </a:lnTo>
                  <a:lnTo>
                    <a:pt x="1" y="157"/>
                  </a:lnTo>
                  <a:lnTo>
                    <a:pt x="1" y="156"/>
                  </a:lnTo>
                  <a:lnTo>
                    <a:pt x="1" y="156"/>
                  </a:lnTo>
                  <a:lnTo>
                    <a:pt x="1" y="156"/>
                  </a:lnTo>
                  <a:lnTo>
                    <a:pt x="2" y="156"/>
                  </a:lnTo>
                  <a:lnTo>
                    <a:pt x="2" y="156"/>
                  </a:lnTo>
                  <a:lnTo>
                    <a:pt x="2" y="156"/>
                  </a:lnTo>
                  <a:lnTo>
                    <a:pt x="2" y="156"/>
                  </a:lnTo>
                  <a:lnTo>
                    <a:pt x="2" y="156"/>
                  </a:lnTo>
                  <a:lnTo>
                    <a:pt x="2" y="155"/>
                  </a:lnTo>
                  <a:lnTo>
                    <a:pt x="2" y="155"/>
                  </a:lnTo>
                  <a:lnTo>
                    <a:pt x="3" y="155"/>
                  </a:lnTo>
                  <a:lnTo>
                    <a:pt x="3" y="154"/>
                  </a:lnTo>
                  <a:lnTo>
                    <a:pt x="3" y="154"/>
                  </a:lnTo>
                  <a:lnTo>
                    <a:pt x="3" y="154"/>
                  </a:lnTo>
                  <a:lnTo>
                    <a:pt x="3" y="154"/>
                  </a:lnTo>
                  <a:lnTo>
                    <a:pt x="3" y="154"/>
                  </a:lnTo>
                  <a:lnTo>
                    <a:pt x="4" y="154"/>
                  </a:lnTo>
                  <a:lnTo>
                    <a:pt x="4" y="154"/>
                  </a:lnTo>
                  <a:lnTo>
                    <a:pt x="4" y="154"/>
                  </a:lnTo>
                  <a:lnTo>
                    <a:pt x="4" y="152"/>
                  </a:lnTo>
                  <a:lnTo>
                    <a:pt x="4" y="152"/>
                  </a:lnTo>
                  <a:lnTo>
                    <a:pt x="4" y="152"/>
                  </a:lnTo>
                  <a:lnTo>
                    <a:pt x="6" y="154"/>
                  </a:lnTo>
                  <a:lnTo>
                    <a:pt x="6" y="154"/>
                  </a:lnTo>
                  <a:lnTo>
                    <a:pt x="6" y="154"/>
                  </a:lnTo>
                  <a:lnTo>
                    <a:pt x="6" y="154"/>
                  </a:lnTo>
                  <a:lnTo>
                    <a:pt x="6" y="154"/>
                  </a:lnTo>
                  <a:lnTo>
                    <a:pt x="6" y="154"/>
                  </a:lnTo>
                  <a:lnTo>
                    <a:pt x="6" y="155"/>
                  </a:lnTo>
                  <a:lnTo>
                    <a:pt x="6" y="155"/>
                  </a:lnTo>
                  <a:lnTo>
                    <a:pt x="6" y="155"/>
                  </a:lnTo>
                  <a:lnTo>
                    <a:pt x="6" y="155"/>
                  </a:lnTo>
                  <a:close/>
                  <a:moveTo>
                    <a:pt x="83" y="149"/>
                  </a:moveTo>
                  <a:lnTo>
                    <a:pt x="83" y="150"/>
                  </a:lnTo>
                  <a:lnTo>
                    <a:pt x="83" y="149"/>
                  </a:lnTo>
                  <a:lnTo>
                    <a:pt x="83" y="149"/>
                  </a:lnTo>
                  <a:lnTo>
                    <a:pt x="83" y="149"/>
                  </a:lnTo>
                  <a:lnTo>
                    <a:pt x="83" y="149"/>
                  </a:lnTo>
                  <a:lnTo>
                    <a:pt x="83" y="149"/>
                  </a:lnTo>
                  <a:lnTo>
                    <a:pt x="83" y="148"/>
                  </a:lnTo>
                  <a:lnTo>
                    <a:pt x="85" y="148"/>
                  </a:lnTo>
                  <a:lnTo>
                    <a:pt x="85" y="148"/>
                  </a:lnTo>
                  <a:lnTo>
                    <a:pt x="85" y="148"/>
                  </a:lnTo>
                  <a:lnTo>
                    <a:pt x="86" y="148"/>
                  </a:lnTo>
                  <a:lnTo>
                    <a:pt x="86" y="149"/>
                  </a:lnTo>
                  <a:lnTo>
                    <a:pt x="85" y="149"/>
                  </a:lnTo>
                  <a:lnTo>
                    <a:pt x="85" y="149"/>
                  </a:lnTo>
                  <a:lnTo>
                    <a:pt x="85" y="149"/>
                  </a:lnTo>
                  <a:lnTo>
                    <a:pt x="83" y="149"/>
                  </a:lnTo>
                  <a:lnTo>
                    <a:pt x="83" y="149"/>
                  </a:lnTo>
                  <a:close/>
                  <a:moveTo>
                    <a:pt x="0" y="1"/>
                  </a:moveTo>
                  <a:lnTo>
                    <a:pt x="0" y="2"/>
                  </a:lnTo>
                  <a:lnTo>
                    <a:pt x="0" y="1"/>
                  </a:lnTo>
                  <a:lnTo>
                    <a:pt x="0" y="1"/>
                  </a:lnTo>
                  <a:lnTo>
                    <a:pt x="0" y="1"/>
                  </a:lnTo>
                  <a:lnTo>
                    <a:pt x="0" y="1"/>
                  </a:lnTo>
                  <a:lnTo>
                    <a:pt x="0" y="0"/>
                  </a:lnTo>
                  <a:lnTo>
                    <a:pt x="0" y="0"/>
                  </a:lnTo>
                  <a:lnTo>
                    <a:pt x="0" y="0"/>
                  </a:lnTo>
                  <a:lnTo>
                    <a:pt x="0" y="0"/>
                  </a:lnTo>
                  <a:lnTo>
                    <a:pt x="0" y="1"/>
                  </a:lnTo>
                  <a:lnTo>
                    <a:pt x="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00" name="Freeform 956">
              <a:extLst>
                <a:ext uri="{FF2B5EF4-FFF2-40B4-BE49-F238E27FC236}">
                  <a16:creationId xmlns:a16="http://schemas.microsoft.com/office/drawing/2014/main" id="{743D5B4E-94F0-4B43-AFD8-DAC3A4195C06}"/>
                </a:ext>
              </a:extLst>
            </p:cNvPr>
            <p:cNvSpPr>
              <a:spLocks noEditPoints="1"/>
            </p:cNvSpPr>
            <p:nvPr/>
          </p:nvSpPr>
          <p:spPr bwMode="auto">
            <a:xfrm>
              <a:off x="6410068" y="3547515"/>
              <a:ext cx="58761" cy="162930"/>
            </a:xfrm>
            <a:custGeom>
              <a:avLst/>
              <a:gdLst>
                <a:gd name="T0" fmla="*/ 23 w 44"/>
                <a:gd name="T1" fmla="*/ 3 h 122"/>
                <a:gd name="T2" fmla="*/ 9 w 44"/>
                <a:gd name="T3" fmla="*/ 1 h 122"/>
                <a:gd name="T4" fmla="*/ 15 w 44"/>
                <a:gd name="T5" fmla="*/ 3 h 122"/>
                <a:gd name="T6" fmla="*/ 19 w 44"/>
                <a:gd name="T7" fmla="*/ 5 h 122"/>
                <a:gd name="T8" fmla="*/ 21 w 44"/>
                <a:gd name="T9" fmla="*/ 12 h 122"/>
                <a:gd name="T10" fmla="*/ 23 w 44"/>
                <a:gd name="T11" fmla="*/ 17 h 122"/>
                <a:gd name="T12" fmla="*/ 23 w 44"/>
                <a:gd name="T13" fmla="*/ 24 h 122"/>
                <a:gd name="T14" fmla="*/ 23 w 44"/>
                <a:gd name="T15" fmla="*/ 32 h 122"/>
                <a:gd name="T16" fmla="*/ 22 w 44"/>
                <a:gd name="T17" fmla="*/ 37 h 122"/>
                <a:gd name="T18" fmla="*/ 20 w 44"/>
                <a:gd name="T19" fmla="*/ 43 h 122"/>
                <a:gd name="T20" fmla="*/ 21 w 44"/>
                <a:gd name="T21" fmla="*/ 46 h 122"/>
                <a:gd name="T22" fmla="*/ 23 w 44"/>
                <a:gd name="T23" fmla="*/ 52 h 122"/>
                <a:gd name="T24" fmla="*/ 23 w 44"/>
                <a:gd name="T25" fmla="*/ 57 h 122"/>
                <a:gd name="T26" fmla="*/ 24 w 44"/>
                <a:gd name="T27" fmla="*/ 65 h 122"/>
                <a:gd name="T28" fmla="*/ 27 w 44"/>
                <a:gd name="T29" fmla="*/ 67 h 122"/>
                <a:gd name="T30" fmla="*/ 26 w 44"/>
                <a:gd name="T31" fmla="*/ 73 h 122"/>
                <a:gd name="T32" fmla="*/ 29 w 44"/>
                <a:gd name="T33" fmla="*/ 75 h 122"/>
                <a:gd name="T34" fmla="*/ 31 w 44"/>
                <a:gd name="T35" fmla="*/ 73 h 122"/>
                <a:gd name="T36" fmla="*/ 35 w 44"/>
                <a:gd name="T37" fmla="*/ 78 h 122"/>
                <a:gd name="T38" fmla="*/ 35 w 44"/>
                <a:gd name="T39" fmla="*/ 73 h 122"/>
                <a:gd name="T40" fmla="*/ 31 w 44"/>
                <a:gd name="T41" fmla="*/ 68 h 122"/>
                <a:gd name="T42" fmla="*/ 34 w 44"/>
                <a:gd name="T43" fmla="*/ 67 h 122"/>
                <a:gd name="T44" fmla="*/ 41 w 44"/>
                <a:gd name="T45" fmla="*/ 78 h 122"/>
                <a:gd name="T46" fmla="*/ 44 w 44"/>
                <a:gd name="T47" fmla="*/ 86 h 122"/>
                <a:gd name="T48" fmla="*/ 43 w 44"/>
                <a:gd name="T49" fmla="*/ 96 h 122"/>
                <a:gd name="T50" fmla="*/ 41 w 44"/>
                <a:gd name="T51" fmla="*/ 106 h 122"/>
                <a:gd name="T52" fmla="*/ 36 w 44"/>
                <a:gd name="T53" fmla="*/ 106 h 122"/>
                <a:gd name="T54" fmla="*/ 34 w 44"/>
                <a:gd name="T55" fmla="*/ 112 h 122"/>
                <a:gd name="T56" fmla="*/ 35 w 44"/>
                <a:gd name="T57" fmla="*/ 117 h 122"/>
                <a:gd name="T58" fmla="*/ 34 w 44"/>
                <a:gd name="T59" fmla="*/ 122 h 122"/>
                <a:gd name="T60" fmla="*/ 31 w 44"/>
                <a:gd name="T61" fmla="*/ 119 h 122"/>
                <a:gd name="T62" fmla="*/ 28 w 44"/>
                <a:gd name="T63" fmla="*/ 115 h 122"/>
                <a:gd name="T64" fmla="*/ 24 w 44"/>
                <a:gd name="T65" fmla="*/ 109 h 122"/>
                <a:gd name="T66" fmla="*/ 21 w 44"/>
                <a:gd name="T67" fmla="*/ 102 h 122"/>
                <a:gd name="T68" fmla="*/ 23 w 44"/>
                <a:gd name="T69" fmla="*/ 99 h 122"/>
                <a:gd name="T70" fmla="*/ 26 w 44"/>
                <a:gd name="T71" fmla="*/ 93 h 122"/>
                <a:gd name="T72" fmla="*/ 26 w 44"/>
                <a:gd name="T73" fmla="*/ 86 h 122"/>
                <a:gd name="T74" fmla="*/ 23 w 44"/>
                <a:gd name="T75" fmla="*/ 79 h 122"/>
                <a:gd name="T76" fmla="*/ 17 w 44"/>
                <a:gd name="T77" fmla="*/ 80 h 122"/>
                <a:gd name="T78" fmla="*/ 13 w 44"/>
                <a:gd name="T79" fmla="*/ 82 h 122"/>
                <a:gd name="T80" fmla="*/ 10 w 44"/>
                <a:gd name="T81" fmla="*/ 78 h 122"/>
                <a:gd name="T82" fmla="*/ 7 w 44"/>
                <a:gd name="T83" fmla="*/ 72 h 122"/>
                <a:gd name="T84" fmla="*/ 3 w 44"/>
                <a:gd name="T85" fmla="*/ 72 h 122"/>
                <a:gd name="T86" fmla="*/ 2 w 44"/>
                <a:gd name="T87" fmla="*/ 68 h 122"/>
                <a:gd name="T88" fmla="*/ 1 w 44"/>
                <a:gd name="T89" fmla="*/ 66 h 122"/>
                <a:gd name="T90" fmla="*/ 3 w 44"/>
                <a:gd name="T91" fmla="*/ 61 h 122"/>
                <a:gd name="T92" fmla="*/ 5 w 44"/>
                <a:gd name="T93" fmla="*/ 56 h 122"/>
                <a:gd name="T94" fmla="*/ 6 w 44"/>
                <a:gd name="T95" fmla="*/ 50 h 122"/>
                <a:gd name="T96" fmla="*/ 10 w 44"/>
                <a:gd name="T97" fmla="*/ 49 h 122"/>
                <a:gd name="T98" fmla="*/ 10 w 44"/>
                <a:gd name="T99" fmla="*/ 45 h 122"/>
                <a:gd name="T100" fmla="*/ 9 w 44"/>
                <a:gd name="T101" fmla="*/ 38 h 122"/>
                <a:gd name="T102" fmla="*/ 9 w 44"/>
                <a:gd name="T103" fmla="*/ 33 h 122"/>
                <a:gd name="T104" fmla="*/ 12 w 44"/>
                <a:gd name="T105" fmla="*/ 28 h 122"/>
                <a:gd name="T106" fmla="*/ 10 w 44"/>
                <a:gd name="T107" fmla="*/ 22 h 122"/>
                <a:gd name="T108" fmla="*/ 15 w 44"/>
                <a:gd name="T109" fmla="*/ 18 h 122"/>
                <a:gd name="T110" fmla="*/ 14 w 44"/>
                <a:gd name="T111" fmla="*/ 12 h 122"/>
                <a:gd name="T112" fmla="*/ 12 w 44"/>
                <a:gd name="T113" fmla="*/ 8 h 122"/>
                <a:gd name="T114" fmla="*/ 8 w 44"/>
                <a:gd name="T115" fmla="*/ 3 h 122"/>
                <a:gd name="T116" fmla="*/ 7 w 44"/>
                <a:gd name="T117" fmla="*/ 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 h="122">
                  <a:moveTo>
                    <a:pt x="29" y="42"/>
                  </a:moveTo>
                  <a:lnTo>
                    <a:pt x="30" y="42"/>
                  </a:lnTo>
                  <a:lnTo>
                    <a:pt x="29" y="42"/>
                  </a:lnTo>
                  <a:close/>
                  <a:moveTo>
                    <a:pt x="23" y="3"/>
                  </a:moveTo>
                  <a:lnTo>
                    <a:pt x="24" y="4"/>
                  </a:lnTo>
                  <a:lnTo>
                    <a:pt x="23" y="3"/>
                  </a:lnTo>
                  <a:close/>
                  <a:moveTo>
                    <a:pt x="22" y="1"/>
                  </a:moveTo>
                  <a:lnTo>
                    <a:pt x="22" y="2"/>
                  </a:lnTo>
                  <a:lnTo>
                    <a:pt x="22" y="1"/>
                  </a:lnTo>
                  <a:close/>
                  <a:moveTo>
                    <a:pt x="7" y="0"/>
                  </a:moveTo>
                  <a:lnTo>
                    <a:pt x="8" y="1"/>
                  </a:lnTo>
                  <a:lnTo>
                    <a:pt x="9" y="1"/>
                  </a:lnTo>
                  <a:lnTo>
                    <a:pt x="10" y="1"/>
                  </a:lnTo>
                  <a:lnTo>
                    <a:pt x="12" y="2"/>
                  </a:lnTo>
                  <a:lnTo>
                    <a:pt x="12" y="3"/>
                  </a:lnTo>
                  <a:lnTo>
                    <a:pt x="13" y="3"/>
                  </a:lnTo>
                  <a:lnTo>
                    <a:pt x="14" y="3"/>
                  </a:lnTo>
                  <a:lnTo>
                    <a:pt x="15" y="3"/>
                  </a:lnTo>
                  <a:lnTo>
                    <a:pt x="16" y="3"/>
                  </a:lnTo>
                  <a:lnTo>
                    <a:pt x="16" y="2"/>
                  </a:lnTo>
                  <a:lnTo>
                    <a:pt x="17" y="3"/>
                  </a:lnTo>
                  <a:lnTo>
                    <a:pt x="19" y="3"/>
                  </a:lnTo>
                  <a:lnTo>
                    <a:pt x="19" y="4"/>
                  </a:lnTo>
                  <a:lnTo>
                    <a:pt x="19" y="5"/>
                  </a:lnTo>
                  <a:lnTo>
                    <a:pt x="19" y="7"/>
                  </a:lnTo>
                  <a:lnTo>
                    <a:pt x="20" y="7"/>
                  </a:lnTo>
                  <a:lnTo>
                    <a:pt x="20" y="8"/>
                  </a:lnTo>
                  <a:lnTo>
                    <a:pt x="20" y="9"/>
                  </a:lnTo>
                  <a:lnTo>
                    <a:pt x="20" y="10"/>
                  </a:lnTo>
                  <a:lnTo>
                    <a:pt x="21" y="12"/>
                  </a:lnTo>
                  <a:lnTo>
                    <a:pt x="22" y="12"/>
                  </a:lnTo>
                  <a:lnTo>
                    <a:pt x="22" y="14"/>
                  </a:lnTo>
                  <a:lnTo>
                    <a:pt x="23" y="14"/>
                  </a:lnTo>
                  <a:lnTo>
                    <a:pt x="23" y="15"/>
                  </a:lnTo>
                  <a:lnTo>
                    <a:pt x="23" y="16"/>
                  </a:lnTo>
                  <a:lnTo>
                    <a:pt x="23" y="17"/>
                  </a:lnTo>
                  <a:lnTo>
                    <a:pt x="23" y="18"/>
                  </a:lnTo>
                  <a:lnTo>
                    <a:pt x="22" y="18"/>
                  </a:lnTo>
                  <a:lnTo>
                    <a:pt x="23" y="18"/>
                  </a:lnTo>
                  <a:lnTo>
                    <a:pt x="23" y="19"/>
                  </a:lnTo>
                  <a:lnTo>
                    <a:pt x="23" y="21"/>
                  </a:lnTo>
                  <a:lnTo>
                    <a:pt x="23" y="24"/>
                  </a:lnTo>
                  <a:lnTo>
                    <a:pt x="23" y="25"/>
                  </a:lnTo>
                  <a:lnTo>
                    <a:pt x="23" y="26"/>
                  </a:lnTo>
                  <a:lnTo>
                    <a:pt x="23" y="28"/>
                  </a:lnTo>
                  <a:lnTo>
                    <a:pt x="23" y="29"/>
                  </a:lnTo>
                  <a:lnTo>
                    <a:pt x="23" y="30"/>
                  </a:lnTo>
                  <a:lnTo>
                    <a:pt x="23" y="32"/>
                  </a:lnTo>
                  <a:lnTo>
                    <a:pt x="23" y="33"/>
                  </a:lnTo>
                  <a:lnTo>
                    <a:pt x="23" y="35"/>
                  </a:lnTo>
                  <a:lnTo>
                    <a:pt x="24" y="35"/>
                  </a:lnTo>
                  <a:lnTo>
                    <a:pt x="24" y="36"/>
                  </a:lnTo>
                  <a:lnTo>
                    <a:pt x="23" y="37"/>
                  </a:lnTo>
                  <a:lnTo>
                    <a:pt x="22" y="37"/>
                  </a:lnTo>
                  <a:lnTo>
                    <a:pt x="22" y="38"/>
                  </a:lnTo>
                  <a:lnTo>
                    <a:pt x="22" y="39"/>
                  </a:lnTo>
                  <a:lnTo>
                    <a:pt x="21" y="40"/>
                  </a:lnTo>
                  <a:lnTo>
                    <a:pt x="20" y="40"/>
                  </a:lnTo>
                  <a:lnTo>
                    <a:pt x="20" y="42"/>
                  </a:lnTo>
                  <a:lnTo>
                    <a:pt x="20" y="43"/>
                  </a:lnTo>
                  <a:lnTo>
                    <a:pt x="20" y="44"/>
                  </a:lnTo>
                  <a:lnTo>
                    <a:pt x="20" y="45"/>
                  </a:lnTo>
                  <a:lnTo>
                    <a:pt x="20" y="46"/>
                  </a:lnTo>
                  <a:lnTo>
                    <a:pt x="21" y="46"/>
                  </a:lnTo>
                  <a:lnTo>
                    <a:pt x="20" y="46"/>
                  </a:lnTo>
                  <a:lnTo>
                    <a:pt x="21" y="46"/>
                  </a:lnTo>
                  <a:lnTo>
                    <a:pt x="22" y="47"/>
                  </a:lnTo>
                  <a:lnTo>
                    <a:pt x="22" y="49"/>
                  </a:lnTo>
                  <a:lnTo>
                    <a:pt x="22" y="50"/>
                  </a:lnTo>
                  <a:lnTo>
                    <a:pt x="22" y="51"/>
                  </a:lnTo>
                  <a:lnTo>
                    <a:pt x="22" y="52"/>
                  </a:lnTo>
                  <a:lnTo>
                    <a:pt x="23" y="52"/>
                  </a:lnTo>
                  <a:lnTo>
                    <a:pt x="22" y="53"/>
                  </a:lnTo>
                  <a:lnTo>
                    <a:pt x="23" y="54"/>
                  </a:lnTo>
                  <a:lnTo>
                    <a:pt x="23" y="56"/>
                  </a:lnTo>
                  <a:lnTo>
                    <a:pt x="23" y="54"/>
                  </a:lnTo>
                  <a:lnTo>
                    <a:pt x="23" y="56"/>
                  </a:lnTo>
                  <a:lnTo>
                    <a:pt x="23" y="57"/>
                  </a:lnTo>
                  <a:lnTo>
                    <a:pt x="23" y="59"/>
                  </a:lnTo>
                  <a:lnTo>
                    <a:pt x="23" y="60"/>
                  </a:lnTo>
                  <a:lnTo>
                    <a:pt x="23" y="61"/>
                  </a:lnTo>
                  <a:lnTo>
                    <a:pt x="23" y="63"/>
                  </a:lnTo>
                  <a:lnTo>
                    <a:pt x="23" y="64"/>
                  </a:lnTo>
                  <a:lnTo>
                    <a:pt x="24" y="65"/>
                  </a:lnTo>
                  <a:lnTo>
                    <a:pt x="24" y="66"/>
                  </a:lnTo>
                  <a:lnTo>
                    <a:pt x="26" y="66"/>
                  </a:lnTo>
                  <a:lnTo>
                    <a:pt x="26" y="65"/>
                  </a:lnTo>
                  <a:lnTo>
                    <a:pt x="26" y="66"/>
                  </a:lnTo>
                  <a:lnTo>
                    <a:pt x="27" y="66"/>
                  </a:lnTo>
                  <a:lnTo>
                    <a:pt x="27" y="67"/>
                  </a:lnTo>
                  <a:lnTo>
                    <a:pt x="27" y="68"/>
                  </a:lnTo>
                  <a:lnTo>
                    <a:pt x="27" y="70"/>
                  </a:lnTo>
                  <a:lnTo>
                    <a:pt x="27" y="71"/>
                  </a:lnTo>
                  <a:lnTo>
                    <a:pt x="26" y="71"/>
                  </a:lnTo>
                  <a:lnTo>
                    <a:pt x="26" y="72"/>
                  </a:lnTo>
                  <a:lnTo>
                    <a:pt x="26" y="73"/>
                  </a:lnTo>
                  <a:lnTo>
                    <a:pt x="27" y="74"/>
                  </a:lnTo>
                  <a:lnTo>
                    <a:pt x="27" y="75"/>
                  </a:lnTo>
                  <a:lnTo>
                    <a:pt x="28" y="75"/>
                  </a:lnTo>
                  <a:lnTo>
                    <a:pt x="28" y="77"/>
                  </a:lnTo>
                  <a:lnTo>
                    <a:pt x="29" y="77"/>
                  </a:lnTo>
                  <a:lnTo>
                    <a:pt x="29" y="75"/>
                  </a:lnTo>
                  <a:lnTo>
                    <a:pt x="29" y="74"/>
                  </a:lnTo>
                  <a:lnTo>
                    <a:pt x="30" y="74"/>
                  </a:lnTo>
                  <a:lnTo>
                    <a:pt x="30" y="73"/>
                  </a:lnTo>
                  <a:lnTo>
                    <a:pt x="30" y="72"/>
                  </a:lnTo>
                  <a:lnTo>
                    <a:pt x="30" y="73"/>
                  </a:lnTo>
                  <a:lnTo>
                    <a:pt x="31" y="73"/>
                  </a:lnTo>
                  <a:lnTo>
                    <a:pt x="31" y="74"/>
                  </a:lnTo>
                  <a:lnTo>
                    <a:pt x="32" y="74"/>
                  </a:lnTo>
                  <a:lnTo>
                    <a:pt x="32" y="75"/>
                  </a:lnTo>
                  <a:lnTo>
                    <a:pt x="34" y="77"/>
                  </a:lnTo>
                  <a:lnTo>
                    <a:pt x="34" y="78"/>
                  </a:lnTo>
                  <a:lnTo>
                    <a:pt x="35" y="78"/>
                  </a:lnTo>
                  <a:lnTo>
                    <a:pt x="35" y="79"/>
                  </a:lnTo>
                  <a:lnTo>
                    <a:pt x="36" y="79"/>
                  </a:lnTo>
                  <a:lnTo>
                    <a:pt x="36" y="78"/>
                  </a:lnTo>
                  <a:lnTo>
                    <a:pt x="35" y="75"/>
                  </a:lnTo>
                  <a:lnTo>
                    <a:pt x="35" y="74"/>
                  </a:lnTo>
                  <a:lnTo>
                    <a:pt x="35" y="73"/>
                  </a:lnTo>
                  <a:lnTo>
                    <a:pt x="34" y="72"/>
                  </a:lnTo>
                  <a:lnTo>
                    <a:pt x="34" y="71"/>
                  </a:lnTo>
                  <a:lnTo>
                    <a:pt x="34" y="70"/>
                  </a:lnTo>
                  <a:lnTo>
                    <a:pt x="34" y="68"/>
                  </a:lnTo>
                  <a:lnTo>
                    <a:pt x="32" y="68"/>
                  </a:lnTo>
                  <a:lnTo>
                    <a:pt x="31" y="68"/>
                  </a:lnTo>
                  <a:lnTo>
                    <a:pt x="30" y="67"/>
                  </a:lnTo>
                  <a:lnTo>
                    <a:pt x="30" y="66"/>
                  </a:lnTo>
                  <a:lnTo>
                    <a:pt x="30" y="65"/>
                  </a:lnTo>
                  <a:lnTo>
                    <a:pt x="31" y="65"/>
                  </a:lnTo>
                  <a:lnTo>
                    <a:pt x="32" y="66"/>
                  </a:lnTo>
                  <a:lnTo>
                    <a:pt x="34" y="67"/>
                  </a:lnTo>
                  <a:lnTo>
                    <a:pt x="35" y="70"/>
                  </a:lnTo>
                  <a:lnTo>
                    <a:pt x="36" y="71"/>
                  </a:lnTo>
                  <a:lnTo>
                    <a:pt x="37" y="73"/>
                  </a:lnTo>
                  <a:lnTo>
                    <a:pt x="38" y="74"/>
                  </a:lnTo>
                  <a:lnTo>
                    <a:pt x="39" y="77"/>
                  </a:lnTo>
                  <a:lnTo>
                    <a:pt x="41" y="78"/>
                  </a:lnTo>
                  <a:lnTo>
                    <a:pt x="42" y="80"/>
                  </a:lnTo>
                  <a:lnTo>
                    <a:pt x="42" y="81"/>
                  </a:lnTo>
                  <a:lnTo>
                    <a:pt x="43" y="81"/>
                  </a:lnTo>
                  <a:lnTo>
                    <a:pt x="43" y="82"/>
                  </a:lnTo>
                  <a:lnTo>
                    <a:pt x="43" y="86"/>
                  </a:lnTo>
                  <a:lnTo>
                    <a:pt x="44" y="86"/>
                  </a:lnTo>
                  <a:lnTo>
                    <a:pt x="43" y="88"/>
                  </a:lnTo>
                  <a:lnTo>
                    <a:pt x="42" y="91"/>
                  </a:lnTo>
                  <a:lnTo>
                    <a:pt x="42" y="92"/>
                  </a:lnTo>
                  <a:lnTo>
                    <a:pt x="43" y="93"/>
                  </a:lnTo>
                  <a:lnTo>
                    <a:pt x="43" y="95"/>
                  </a:lnTo>
                  <a:lnTo>
                    <a:pt x="43" y="96"/>
                  </a:lnTo>
                  <a:lnTo>
                    <a:pt x="42" y="99"/>
                  </a:lnTo>
                  <a:lnTo>
                    <a:pt x="42" y="100"/>
                  </a:lnTo>
                  <a:lnTo>
                    <a:pt x="42" y="102"/>
                  </a:lnTo>
                  <a:lnTo>
                    <a:pt x="42" y="103"/>
                  </a:lnTo>
                  <a:lnTo>
                    <a:pt x="42" y="105"/>
                  </a:lnTo>
                  <a:lnTo>
                    <a:pt x="41" y="106"/>
                  </a:lnTo>
                  <a:lnTo>
                    <a:pt x="39" y="106"/>
                  </a:lnTo>
                  <a:lnTo>
                    <a:pt x="38" y="106"/>
                  </a:lnTo>
                  <a:lnTo>
                    <a:pt x="38" y="107"/>
                  </a:lnTo>
                  <a:lnTo>
                    <a:pt x="37" y="107"/>
                  </a:lnTo>
                  <a:lnTo>
                    <a:pt x="37" y="106"/>
                  </a:lnTo>
                  <a:lnTo>
                    <a:pt x="36" y="106"/>
                  </a:lnTo>
                  <a:lnTo>
                    <a:pt x="35" y="107"/>
                  </a:lnTo>
                  <a:lnTo>
                    <a:pt x="35" y="108"/>
                  </a:lnTo>
                  <a:lnTo>
                    <a:pt x="34" y="108"/>
                  </a:lnTo>
                  <a:lnTo>
                    <a:pt x="34" y="109"/>
                  </a:lnTo>
                  <a:lnTo>
                    <a:pt x="34" y="110"/>
                  </a:lnTo>
                  <a:lnTo>
                    <a:pt x="34" y="112"/>
                  </a:lnTo>
                  <a:lnTo>
                    <a:pt x="32" y="113"/>
                  </a:lnTo>
                  <a:lnTo>
                    <a:pt x="32" y="114"/>
                  </a:lnTo>
                  <a:lnTo>
                    <a:pt x="34" y="114"/>
                  </a:lnTo>
                  <a:lnTo>
                    <a:pt x="34" y="115"/>
                  </a:lnTo>
                  <a:lnTo>
                    <a:pt x="34" y="116"/>
                  </a:lnTo>
                  <a:lnTo>
                    <a:pt x="35" y="117"/>
                  </a:lnTo>
                  <a:lnTo>
                    <a:pt x="34" y="117"/>
                  </a:lnTo>
                  <a:lnTo>
                    <a:pt x="34" y="119"/>
                  </a:lnTo>
                  <a:lnTo>
                    <a:pt x="35" y="120"/>
                  </a:lnTo>
                  <a:lnTo>
                    <a:pt x="34" y="120"/>
                  </a:lnTo>
                  <a:lnTo>
                    <a:pt x="34" y="121"/>
                  </a:lnTo>
                  <a:lnTo>
                    <a:pt x="34" y="122"/>
                  </a:lnTo>
                  <a:lnTo>
                    <a:pt x="31" y="122"/>
                  </a:lnTo>
                  <a:lnTo>
                    <a:pt x="31" y="121"/>
                  </a:lnTo>
                  <a:lnTo>
                    <a:pt x="30" y="121"/>
                  </a:lnTo>
                  <a:lnTo>
                    <a:pt x="30" y="120"/>
                  </a:lnTo>
                  <a:lnTo>
                    <a:pt x="31" y="120"/>
                  </a:lnTo>
                  <a:lnTo>
                    <a:pt x="31" y="119"/>
                  </a:lnTo>
                  <a:lnTo>
                    <a:pt x="31" y="117"/>
                  </a:lnTo>
                  <a:lnTo>
                    <a:pt x="30" y="117"/>
                  </a:lnTo>
                  <a:lnTo>
                    <a:pt x="30" y="116"/>
                  </a:lnTo>
                  <a:lnTo>
                    <a:pt x="29" y="116"/>
                  </a:lnTo>
                  <a:lnTo>
                    <a:pt x="29" y="115"/>
                  </a:lnTo>
                  <a:lnTo>
                    <a:pt x="28" y="115"/>
                  </a:lnTo>
                  <a:lnTo>
                    <a:pt x="28" y="114"/>
                  </a:lnTo>
                  <a:lnTo>
                    <a:pt x="27" y="113"/>
                  </a:lnTo>
                  <a:lnTo>
                    <a:pt x="26" y="112"/>
                  </a:lnTo>
                  <a:lnTo>
                    <a:pt x="26" y="110"/>
                  </a:lnTo>
                  <a:lnTo>
                    <a:pt x="24" y="110"/>
                  </a:lnTo>
                  <a:lnTo>
                    <a:pt x="24" y="109"/>
                  </a:lnTo>
                  <a:lnTo>
                    <a:pt x="23" y="108"/>
                  </a:lnTo>
                  <a:lnTo>
                    <a:pt x="22" y="107"/>
                  </a:lnTo>
                  <a:lnTo>
                    <a:pt x="22" y="106"/>
                  </a:lnTo>
                  <a:lnTo>
                    <a:pt x="22" y="105"/>
                  </a:lnTo>
                  <a:lnTo>
                    <a:pt x="21" y="103"/>
                  </a:lnTo>
                  <a:lnTo>
                    <a:pt x="21" y="102"/>
                  </a:lnTo>
                  <a:lnTo>
                    <a:pt x="20" y="102"/>
                  </a:lnTo>
                  <a:lnTo>
                    <a:pt x="20" y="101"/>
                  </a:lnTo>
                  <a:lnTo>
                    <a:pt x="21" y="101"/>
                  </a:lnTo>
                  <a:lnTo>
                    <a:pt x="21" y="100"/>
                  </a:lnTo>
                  <a:lnTo>
                    <a:pt x="22" y="100"/>
                  </a:lnTo>
                  <a:lnTo>
                    <a:pt x="23" y="99"/>
                  </a:lnTo>
                  <a:lnTo>
                    <a:pt x="23" y="98"/>
                  </a:lnTo>
                  <a:lnTo>
                    <a:pt x="23" y="96"/>
                  </a:lnTo>
                  <a:lnTo>
                    <a:pt x="23" y="95"/>
                  </a:lnTo>
                  <a:lnTo>
                    <a:pt x="24" y="94"/>
                  </a:lnTo>
                  <a:lnTo>
                    <a:pt x="24" y="93"/>
                  </a:lnTo>
                  <a:lnTo>
                    <a:pt x="26" y="93"/>
                  </a:lnTo>
                  <a:lnTo>
                    <a:pt x="26" y="92"/>
                  </a:lnTo>
                  <a:lnTo>
                    <a:pt x="26" y="91"/>
                  </a:lnTo>
                  <a:lnTo>
                    <a:pt x="26" y="89"/>
                  </a:lnTo>
                  <a:lnTo>
                    <a:pt x="26" y="88"/>
                  </a:lnTo>
                  <a:lnTo>
                    <a:pt x="26" y="87"/>
                  </a:lnTo>
                  <a:lnTo>
                    <a:pt x="26" y="86"/>
                  </a:lnTo>
                  <a:lnTo>
                    <a:pt x="26" y="85"/>
                  </a:lnTo>
                  <a:lnTo>
                    <a:pt x="24" y="84"/>
                  </a:lnTo>
                  <a:lnTo>
                    <a:pt x="26" y="82"/>
                  </a:lnTo>
                  <a:lnTo>
                    <a:pt x="24" y="81"/>
                  </a:lnTo>
                  <a:lnTo>
                    <a:pt x="24" y="80"/>
                  </a:lnTo>
                  <a:lnTo>
                    <a:pt x="23" y="79"/>
                  </a:lnTo>
                  <a:lnTo>
                    <a:pt x="22" y="79"/>
                  </a:lnTo>
                  <a:lnTo>
                    <a:pt x="21" y="79"/>
                  </a:lnTo>
                  <a:lnTo>
                    <a:pt x="20" y="79"/>
                  </a:lnTo>
                  <a:lnTo>
                    <a:pt x="19" y="79"/>
                  </a:lnTo>
                  <a:lnTo>
                    <a:pt x="19" y="80"/>
                  </a:lnTo>
                  <a:lnTo>
                    <a:pt x="17" y="80"/>
                  </a:lnTo>
                  <a:lnTo>
                    <a:pt x="16" y="80"/>
                  </a:lnTo>
                  <a:lnTo>
                    <a:pt x="15" y="80"/>
                  </a:lnTo>
                  <a:lnTo>
                    <a:pt x="15" y="81"/>
                  </a:lnTo>
                  <a:lnTo>
                    <a:pt x="14" y="80"/>
                  </a:lnTo>
                  <a:lnTo>
                    <a:pt x="14" y="81"/>
                  </a:lnTo>
                  <a:lnTo>
                    <a:pt x="13" y="82"/>
                  </a:lnTo>
                  <a:lnTo>
                    <a:pt x="13" y="81"/>
                  </a:lnTo>
                  <a:lnTo>
                    <a:pt x="13" y="80"/>
                  </a:lnTo>
                  <a:lnTo>
                    <a:pt x="12" y="80"/>
                  </a:lnTo>
                  <a:lnTo>
                    <a:pt x="12" y="79"/>
                  </a:lnTo>
                  <a:lnTo>
                    <a:pt x="10" y="79"/>
                  </a:lnTo>
                  <a:lnTo>
                    <a:pt x="10" y="78"/>
                  </a:lnTo>
                  <a:lnTo>
                    <a:pt x="9" y="77"/>
                  </a:lnTo>
                  <a:lnTo>
                    <a:pt x="9" y="75"/>
                  </a:lnTo>
                  <a:lnTo>
                    <a:pt x="8" y="75"/>
                  </a:lnTo>
                  <a:lnTo>
                    <a:pt x="8" y="74"/>
                  </a:lnTo>
                  <a:lnTo>
                    <a:pt x="8" y="73"/>
                  </a:lnTo>
                  <a:lnTo>
                    <a:pt x="7" y="72"/>
                  </a:lnTo>
                  <a:lnTo>
                    <a:pt x="7" y="71"/>
                  </a:lnTo>
                  <a:lnTo>
                    <a:pt x="6" y="71"/>
                  </a:lnTo>
                  <a:lnTo>
                    <a:pt x="6" y="72"/>
                  </a:lnTo>
                  <a:lnTo>
                    <a:pt x="5" y="72"/>
                  </a:lnTo>
                  <a:lnTo>
                    <a:pt x="5" y="73"/>
                  </a:lnTo>
                  <a:lnTo>
                    <a:pt x="3" y="72"/>
                  </a:lnTo>
                  <a:lnTo>
                    <a:pt x="5" y="72"/>
                  </a:lnTo>
                  <a:lnTo>
                    <a:pt x="5" y="71"/>
                  </a:lnTo>
                  <a:lnTo>
                    <a:pt x="3" y="71"/>
                  </a:lnTo>
                  <a:lnTo>
                    <a:pt x="2" y="70"/>
                  </a:lnTo>
                  <a:lnTo>
                    <a:pt x="1" y="68"/>
                  </a:lnTo>
                  <a:lnTo>
                    <a:pt x="2" y="68"/>
                  </a:lnTo>
                  <a:lnTo>
                    <a:pt x="2" y="67"/>
                  </a:lnTo>
                  <a:lnTo>
                    <a:pt x="1" y="67"/>
                  </a:lnTo>
                  <a:lnTo>
                    <a:pt x="1" y="66"/>
                  </a:lnTo>
                  <a:lnTo>
                    <a:pt x="0" y="66"/>
                  </a:lnTo>
                  <a:lnTo>
                    <a:pt x="0" y="65"/>
                  </a:lnTo>
                  <a:lnTo>
                    <a:pt x="1" y="66"/>
                  </a:lnTo>
                  <a:lnTo>
                    <a:pt x="1" y="65"/>
                  </a:lnTo>
                  <a:lnTo>
                    <a:pt x="2" y="65"/>
                  </a:lnTo>
                  <a:lnTo>
                    <a:pt x="2" y="64"/>
                  </a:lnTo>
                  <a:lnTo>
                    <a:pt x="3" y="64"/>
                  </a:lnTo>
                  <a:lnTo>
                    <a:pt x="3" y="63"/>
                  </a:lnTo>
                  <a:lnTo>
                    <a:pt x="3" y="61"/>
                  </a:lnTo>
                  <a:lnTo>
                    <a:pt x="3" y="60"/>
                  </a:lnTo>
                  <a:lnTo>
                    <a:pt x="5" y="60"/>
                  </a:lnTo>
                  <a:lnTo>
                    <a:pt x="5" y="59"/>
                  </a:lnTo>
                  <a:lnTo>
                    <a:pt x="5" y="58"/>
                  </a:lnTo>
                  <a:lnTo>
                    <a:pt x="5" y="57"/>
                  </a:lnTo>
                  <a:lnTo>
                    <a:pt x="5" y="56"/>
                  </a:lnTo>
                  <a:lnTo>
                    <a:pt x="6" y="56"/>
                  </a:lnTo>
                  <a:lnTo>
                    <a:pt x="5" y="54"/>
                  </a:lnTo>
                  <a:lnTo>
                    <a:pt x="5" y="53"/>
                  </a:lnTo>
                  <a:lnTo>
                    <a:pt x="5" y="52"/>
                  </a:lnTo>
                  <a:lnTo>
                    <a:pt x="5" y="51"/>
                  </a:lnTo>
                  <a:lnTo>
                    <a:pt x="6" y="50"/>
                  </a:lnTo>
                  <a:lnTo>
                    <a:pt x="7" y="50"/>
                  </a:lnTo>
                  <a:lnTo>
                    <a:pt x="7" y="51"/>
                  </a:lnTo>
                  <a:lnTo>
                    <a:pt x="8" y="51"/>
                  </a:lnTo>
                  <a:lnTo>
                    <a:pt x="8" y="50"/>
                  </a:lnTo>
                  <a:lnTo>
                    <a:pt x="9" y="49"/>
                  </a:lnTo>
                  <a:lnTo>
                    <a:pt x="10" y="49"/>
                  </a:lnTo>
                  <a:lnTo>
                    <a:pt x="12" y="47"/>
                  </a:lnTo>
                  <a:lnTo>
                    <a:pt x="12" y="46"/>
                  </a:lnTo>
                  <a:lnTo>
                    <a:pt x="13" y="46"/>
                  </a:lnTo>
                  <a:lnTo>
                    <a:pt x="12" y="45"/>
                  </a:lnTo>
                  <a:lnTo>
                    <a:pt x="10" y="46"/>
                  </a:lnTo>
                  <a:lnTo>
                    <a:pt x="10" y="45"/>
                  </a:lnTo>
                  <a:lnTo>
                    <a:pt x="9" y="44"/>
                  </a:lnTo>
                  <a:lnTo>
                    <a:pt x="9" y="43"/>
                  </a:lnTo>
                  <a:lnTo>
                    <a:pt x="9" y="42"/>
                  </a:lnTo>
                  <a:lnTo>
                    <a:pt x="9" y="40"/>
                  </a:lnTo>
                  <a:lnTo>
                    <a:pt x="9" y="39"/>
                  </a:lnTo>
                  <a:lnTo>
                    <a:pt x="9" y="38"/>
                  </a:lnTo>
                  <a:lnTo>
                    <a:pt x="10" y="38"/>
                  </a:lnTo>
                  <a:lnTo>
                    <a:pt x="10" y="37"/>
                  </a:lnTo>
                  <a:lnTo>
                    <a:pt x="9" y="35"/>
                  </a:lnTo>
                  <a:lnTo>
                    <a:pt x="9" y="33"/>
                  </a:lnTo>
                  <a:lnTo>
                    <a:pt x="8" y="33"/>
                  </a:lnTo>
                  <a:lnTo>
                    <a:pt x="9" y="33"/>
                  </a:lnTo>
                  <a:lnTo>
                    <a:pt x="9" y="32"/>
                  </a:lnTo>
                  <a:lnTo>
                    <a:pt x="9" y="31"/>
                  </a:lnTo>
                  <a:lnTo>
                    <a:pt x="9" y="30"/>
                  </a:lnTo>
                  <a:lnTo>
                    <a:pt x="10" y="30"/>
                  </a:lnTo>
                  <a:lnTo>
                    <a:pt x="10" y="29"/>
                  </a:lnTo>
                  <a:lnTo>
                    <a:pt x="12" y="28"/>
                  </a:lnTo>
                  <a:lnTo>
                    <a:pt x="10" y="26"/>
                  </a:lnTo>
                  <a:lnTo>
                    <a:pt x="10" y="25"/>
                  </a:lnTo>
                  <a:lnTo>
                    <a:pt x="10" y="24"/>
                  </a:lnTo>
                  <a:lnTo>
                    <a:pt x="9" y="23"/>
                  </a:lnTo>
                  <a:lnTo>
                    <a:pt x="10" y="23"/>
                  </a:lnTo>
                  <a:lnTo>
                    <a:pt x="10" y="22"/>
                  </a:lnTo>
                  <a:lnTo>
                    <a:pt x="12" y="22"/>
                  </a:lnTo>
                  <a:lnTo>
                    <a:pt x="13" y="22"/>
                  </a:lnTo>
                  <a:lnTo>
                    <a:pt x="13" y="21"/>
                  </a:lnTo>
                  <a:lnTo>
                    <a:pt x="14" y="21"/>
                  </a:lnTo>
                  <a:lnTo>
                    <a:pt x="14" y="19"/>
                  </a:lnTo>
                  <a:lnTo>
                    <a:pt x="15" y="18"/>
                  </a:lnTo>
                  <a:lnTo>
                    <a:pt x="15" y="17"/>
                  </a:lnTo>
                  <a:lnTo>
                    <a:pt x="15" y="16"/>
                  </a:lnTo>
                  <a:lnTo>
                    <a:pt x="14" y="16"/>
                  </a:lnTo>
                  <a:lnTo>
                    <a:pt x="14" y="15"/>
                  </a:lnTo>
                  <a:lnTo>
                    <a:pt x="14" y="14"/>
                  </a:lnTo>
                  <a:lnTo>
                    <a:pt x="14" y="12"/>
                  </a:lnTo>
                  <a:lnTo>
                    <a:pt x="13" y="12"/>
                  </a:lnTo>
                  <a:lnTo>
                    <a:pt x="13" y="11"/>
                  </a:lnTo>
                  <a:lnTo>
                    <a:pt x="12" y="11"/>
                  </a:lnTo>
                  <a:lnTo>
                    <a:pt x="10" y="10"/>
                  </a:lnTo>
                  <a:lnTo>
                    <a:pt x="10" y="9"/>
                  </a:lnTo>
                  <a:lnTo>
                    <a:pt x="12" y="8"/>
                  </a:lnTo>
                  <a:lnTo>
                    <a:pt x="12" y="7"/>
                  </a:lnTo>
                  <a:lnTo>
                    <a:pt x="10" y="5"/>
                  </a:lnTo>
                  <a:lnTo>
                    <a:pt x="9" y="5"/>
                  </a:lnTo>
                  <a:lnTo>
                    <a:pt x="9" y="4"/>
                  </a:lnTo>
                  <a:lnTo>
                    <a:pt x="9" y="3"/>
                  </a:lnTo>
                  <a:lnTo>
                    <a:pt x="8" y="3"/>
                  </a:lnTo>
                  <a:lnTo>
                    <a:pt x="8" y="2"/>
                  </a:lnTo>
                  <a:lnTo>
                    <a:pt x="8" y="3"/>
                  </a:lnTo>
                  <a:lnTo>
                    <a:pt x="7" y="3"/>
                  </a:lnTo>
                  <a:lnTo>
                    <a:pt x="6" y="3"/>
                  </a:lnTo>
                  <a:lnTo>
                    <a:pt x="7" y="2"/>
                  </a:lnTo>
                  <a:lnTo>
                    <a:pt x="7" y="1"/>
                  </a:lnTo>
                  <a:lnTo>
                    <a:pt x="6" y="1"/>
                  </a:lnTo>
                  <a:lnTo>
                    <a:pt x="6" y="0"/>
                  </a:lnTo>
                  <a:lnTo>
                    <a:pt x="7"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01" name="Freeform 957">
              <a:extLst>
                <a:ext uri="{FF2B5EF4-FFF2-40B4-BE49-F238E27FC236}">
                  <a16:creationId xmlns:a16="http://schemas.microsoft.com/office/drawing/2014/main" id="{A3892956-A511-43E4-A632-3DBDCB9EE6B2}"/>
                </a:ext>
              </a:extLst>
            </p:cNvPr>
            <p:cNvSpPr>
              <a:spLocks noEditPoints="1"/>
            </p:cNvSpPr>
            <p:nvPr/>
          </p:nvSpPr>
          <p:spPr bwMode="auto">
            <a:xfrm>
              <a:off x="7658750" y="3193612"/>
              <a:ext cx="365924" cy="136220"/>
            </a:xfrm>
            <a:custGeom>
              <a:avLst/>
              <a:gdLst>
                <a:gd name="T0" fmla="*/ 64 w 274"/>
                <a:gd name="T1" fmla="*/ 71 h 102"/>
                <a:gd name="T2" fmla="*/ 253 w 274"/>
                <a:gd name="T3" fmla="*/ 50 h 102"/>
                <a:gd name="T4" fmla="*/ 266 w 274"/>
                <a:gd name="T5" fmla="*/ 42 h 102"/>
                <a:gd name="T6" fmla="*/ 10 w 274"/>
                <a:gd name="T7" fmla="*/ 29 h 102"/>
                <a:gd name="T8" fmla="*/ 3 w 274"/>
                <a:gd name="T9" fmla="*/ 16 h 102"/>
                <a:gd name="T10" fmla="*/ 7 w 274"/>
                <a:gd name="T11" fmla="*/ 9 h 102"/>
                <a:gd name="T12" fmla="*/ 17 w 274"/>
                <a:gd name="T13" fmla="*/ 17 h 102"/>
                <a:gd name="T14" fmla="*/ 20 w 274"/>
                <a:gd name="T15" fmla="*/ 27 h 102"/>
                <a:gd name="T16" fmla="*/ 31 w 274"/>
                <a:gd name="T17" fmla="*/ 23 h 102"/>
                <a:gd name="T18" fmla="*/ 41 w 274"/>
                <a:gd name="T19" fmla="*/ 23 h 102"/>
                <a:gd name="T20" fmla="*/ 54 w 274"/>
                <a:gd name="T21" fmla="*/ 45 h 102"/>
                <a:gd name="T22" fmla="*/ 55 w 274"/>
                <a:gd name="T23" fmla="*/ 60 h 102"/>
                <a:gd name="T24" fmla="*/ 61 w 274"/>
                <a:gd name="T25" fmla="*/ 74 h 102"/>
                <a:gd name="T26" fmla="*/ 67 w 274"/>
                <a:gd name="T27" fmla="*/ 90 h 102"/>
                <a:gd name="T28" fmla="*/ 63 w 274"/>
                <a:gd name="T29" fmla="*/ 91 h 102"/>
                <a:gd name="T30" fmla="*/ 54 w 274"/>
                <a:gd name="T31" fmla="*/ 91 h 102"/>
                <a:gd name="T32" fmla="*/ 38 w 274"/>
                <a:gd name="T33" fmla="*/ 80 h 102"/>
                <a:gd name="T34" fmla="*/ 30 w 274"/>
                <a:gd name="T35" fmla="*/ 73 h 102"/>
                <a:gd name="T36" fmla="*/ 23 w 274"/>
                <a:gd name="T37" fmla="*/ 60 h 102"/>
                <a:gd name="T38" fmla="*/ 17 w 274"/>
                <a:gd name="T39" fmla="*/ 52 h 102"/>
                <a:gd name="T40" fmla="*/ 14 w 274"/>
                <a:gd name="T41" fmla="*/ 42 h 102"/>
                <a:gd name="T42" fmla="*/ 11 w 274"/>
                <a:gd name="T43" fmla="*/ 31 h 102"/>
                <a:gd name="T44" fmla="*/ 6 w 274"/>
                <a:gd name="T45" fmla="*/ 15 h 102"/>
                <a:gd name="T46" fmla="*/ 247 w 274"/>
                <a:gd name="T47" fmla="*/ 10 h 102"/>
                <a:gd name="T48" fmla="*/ 241 w 274"/>
                <a:gd name="T49" fmla="*/ 6 h 102"/>
                <a:gd name="T50" fmla="*/ 246 w 274"/>
                <a:gd name="T51" fmla="*/ 11 h 102"/>
                <a:gd name="T52" fmla="*/ 251 w 274"/>
                <a:gd name="T53" fmla="*/ 18 h 102"/>
                <a:gd name="T54" fmla="*/ 256 w 274"/>
                <a:gd name="T55" fmla="*/ 21 h 102"/>
                <a:gd name="T56" fmla="*/ 259 w 274"/>
                <a:gd name="T57" fmla="*/ 24 h 102"/>
                <a:gd name="T58" fmla="*/ 267 w 274"/>
                <a:gd name="T59" fmla="*/ 28 h 102"/>
                <a:gd name="T60" fmla="*/ 267 w 274"/>
                <a:gd name="T61" fmla="*/ 37 h 102"/>
                <a:gd name="T62" fmla="*/ 262 w 274"/>
                <a:gd name="T63" fmla="*/ 42 h 102"/>
                <a:gd name="T64" fmla="*/ 255 w 274"/>
                <a:gd name="T65" fmla="*/ 49 h 102"/>
                <a:gd name="T66" fmla="*/ 247 w 274"/>
                <a:gd name="T67" fmla="*/ 48 h 102"/>
                <a:gd name="T68" fmla="*/ 236 w 274"/>
                <a:gd name="T69" fmla="*/ 46 h 102"/>
                <a:gd name="T70" fmla="*/ 226 w 274"/>
                <a:gd name="T71" fmla="*/ 48 h 102"/>
                <a:gd name="T72" fmla="*/ 223 w 274"/>
                <a:gd name="T73" fmla="*/ 65 h 102"/>
                <a:gd name="T74" fmla="*/ 218 w 274"/>
                <a:gd name="T75" fmla="*/ 74 h 102"/>
                <a:gd name="T76" fmla="*/ 215 w 274"/>
                <a:gd name="T77" fmla="*/ 85 h 102"/>
                <a:gd name="T78" fmla="*/ 202 w 274"/>
                <a:gd name="T79" fmla="*/ 93 h 102"/>
                <a:gd name="T80" fmla="*/ 189 w 274"/>
                <a:gd name="T81" fmla="*/ 92 h 102"/>
                <a:gd name="T82" fmla="*/ 174 w 274"/>
                <a:gd name="T83" fmla="*/ 98 h 102"/>
                <a:gd name="T84" fmla="*/ 158 w 274"/>
                <a:gd name="T85" fmla="*/ 101 h 102"/>
                <a:gd name="T86" fmla="*/ 149 w 274"/>
                <a:gd name="T87" fmla="*/ 97 h 102"/>
                <a:gd name="T88" fmla="*/ 140 w 274"/>
                <a:gd name="T89" fmla="*/ 85 h 102"/>
                <a:gd name="T90" fmla="*/ 151 w 274"/>
                <a:gd name="T91" fmla="*/ 88 h 102"/>
                <a:gd name="T92" fmla="*/ 158 w 274"/>
                <a:gd name="T93" fmla="*/ 93 h 102"/>
                <a:gd name="T94" fmla="*/ 165 w 274"/>
                <a:gd name="T95" fmla="*/ 93 h 102"/>
                <a:gd name="T96" fmla="*/ 163 w 274"/>
                <a:gd name="T97" fmla="*/ 86 h 102"/>
                <a:gd name="T98" fmla="*/ 165 w 274"/>
                <a:gd name="T99" fmla="*/ 78 h 102"/>
                <a:gd name="T100" fmla="*/ 170 w 274"/>
                <a:gd name="T101" fmla="*/ 71 h 102"/>
                <a:gd name="T102" fmla="*/ 192 w 274"/>
                <a:gd name="T103" fmla="*/ 59 h 102"/>
                <a:gd name="T104" fmla="*/ 205 w 274"/>
                <a:gd name="T105" fmla="*/ 45 h 102"/>
                <a:gd name="T106" fmla="*/ 213 w 274"/>
                <a:gd name="T107" fmla="*/ 45 h 102"/>
                <a:gd name="T108" fmla="*/ 216 w 274"/>
                <a:gd name="T109" fmla="*/ 42 h 102"/>
                <a:gd name="T110" fmla="*/ 217 w 274"/>
                <a:gd name="T111" fmla="*/ 38 h 102"/>
                <a:gd name="T112" fmla="*/ 220 w 274"/>
                <a:gd name="T113" fmla="*/ 31 h 102"/>
                <a:gd name="T114" fmla="*/ 229 w 274"/>
                <a:gd name="T115" fmla="*/ 23 h 102"/>
                <a:gd name="T116" fmla="*/ 236 w 274"/>
                <a:gd name="T117" fmla="*/ 11 h 102"/>
                <a:gd name="T118" fmla="*/ 240 w 274"/>
                <a:gd name="T11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4" h="102">
                  <a:moveTo>
                    <a:pt x="167" y="78"/>
                  </a:moveTo>
                  <a:lnTo>
                    <a:pt x="166" y="78"/>
                  </a:lnTo>
                  <a:lnTo>
                    <a:pt x="166" y="77"/>
                  </a:lnTo>
                  <a:lnTo>
                    <a:pt x="165" y="77"/>
                  </a:lnTo>
                  <a:lnTo>
                    <a:pt x="165" y="76"/>
                  </a:lnTo>
                  <a:lnTo>
                    <a:pt x="165" y="73"/>
                  </a:lnTo>
                  <a:lnTo>
                    <a:pt x="165" y="72"/>
                  </a:lnTo>
                  <a:lnTo>
                    <a:pt x="166" y="72"/>
                  </a:lnTo>
                  <a:lnTo>
                    <a:pt x="166" y="73"/>
                  </a:lnTo>
                  <a:lnTo>
                    <a:pt x="166" y="76"/>
                  </a:lnTo>
                  <a:lnTo>
                    <a:pt x="166" y="77"/>
                  </a:lnTo>
                  <a:lnTo>
                    <a:pt x="167" y="78"/>
                  </a:lnTo>
                  <a:close/>
                  <a:moveTo>
                    <a:pt x="66" y="73"/>
                  </a:moveTo>
                  <a:lnTo>
                    <a:pt x="64" y="72"/>
                  </a:lnTo>
                  <a:lnTo>
                    <a:pt x="64" y="71"/>
                  </a:lnTo>
                  <a:lnTo>
                    <a:pt x="66" y="71"/>
                  </a:lnTo>
                  <a:lnTo>
                    <a:pt x="66" y="70"/>
                  </a:lnTo>
                  <a:lnTo>
                    <a:pt x="66" y="71"/>
                  </a:lnTo>
                  <a:lnTo>
                    <a:pt x="66" y="72"/>
                  </a:lnTo>
                  <a:lnTo>
                    <a:pt x="66" y="73"/>
                  </a:lnTo>
                  <a:close/>
                  <a:moveTo>
                    <a:pt x="25" y="69"/>
                  </a:moveTo>
                  <a:lnTo>
                    <a:pt x="25" y="67"/>
                  </a:lnTo>
                  <a:lnTo>
                    <a:pt x="26" y="67"/>
                  </a:lnTo>
                  <a:lnTo>
                    <a:pt x="26" y="69"/>
                  </a:lnTo>
                  <a:lnTo>
                    <a:pt x="25" y="69"/>
                  </a:lnTo>
                  <a:close/>
                  <a:moveTo>
                    <a:pt x="255" y="50"/>
                  </a:moveTo>
                  <a:lnTo>
                    <a:pt x="256" y="50"/>
                  </a:lnTo>
                  <a:lnTo>
                    <a:pt x="255" y="50"/>
                  </a:lnTo>
                  <a:lnTo>
                    <a:pt x="254" y="50"/>
                  </a:lnTo>
                  <a:lnTo>
                    <a:pt x="253" y="50"/>
                  </a:lnTo>
                  <a:lnTo>
                    <a:pt x="252" y="49"/>
                  </a:lnTo>
                  <a:lnTo>
                    <a:pt x="253" y="49"/>
                  </a:lnTo>
                  <a:lnTo>
                    <a:pt x="253" y="48"/>
                  </a:lnTo>
                  <a:lnTo>
                    <a:pt x="254" y="49"/>
                  </a:lnTo>
                  <a:lnTo>
                    <a:pt x="255" y="49"/>
                  </a:lnTo>
                  <a:lnTo>
                    <a:pt x="255" y="50"/>
                  </a:lnTo>
                  <a:close/>
                  <a:moveTo>
                    <a:pt x="267" y="45"/>
                  </a:moveTo>
                  <a:lnTo>
                    <a:pt x="266" y="45"/>
                  </a:lnTo>
                  <a:lnTo>
                    <a:pt x="266" y="44"/>
                  </a:lnTo>
                  <a:lnTo>
                    <a:pt x="267" y="44"/>
                  </a:lnTo>
                  <a:lnTo>
                    <a:pt x="268" y="45"/>
                  </a:lnTo>
                  <a:lnTo>
                    <a:pt x="267" y="45"/>
                  </a:lnTo>
                  <a:close/>
                  <a:moveTo>
                    <a:pt x="263" y="42"/>
                  </a:moveTo>
                  <a:lnTo>
                    <a:pt x="265" y="42"/>
                  </a:lnTo>
                  <a:lnTo>
                    <a:pt x="266" y="42"/>
                  </a:lnTo>
                  <a:lnTo>
                    <a:pt x="265" y="42"/>
                  </a:lnTo>
                  <a:lnTo>
                    <a:pt x="265" y="43"/>
                  </a:lnTo>
                  <a:lnTo>
                    <a:pt x="263" y="43"/>
                  </a:lnTo>
                  <a:lnTo>
                    <a:pt x="263" y="42"/>
                  </a:lnTo>
                  <a:lnTo>
                    <a:pt x="262" y="42"/>
                  </a:lnTo>
                  <a:lnTo>
                    <a:pt x="261" y="42"/>
                  </a:lnTo>
                  <a:lnTo>
                    <a:pt x="262" y="42"/>
                  </a:lnTo>
                  <a:lnTo>
                    <a:pt x="263" y="42"/>
                  </a:lnTo>
                  <a:close/>
                  <a:moveTo>
                    <a:pt x="218" y="32"/>
                  </a:moveTo>
                  <a:lnTo>
                    <a:pt x="217" y="32"/>
                  </a:lnTo>
                  <a:lnTo>
                    <a:pt x="217" y="31"/>
                  </a:lnTo>
                  <a:lnTo>
                    <a:pt x="218" y="30"/>
                  </a:lnTo>
                  <a:lnTo>
                    <a:pt x="218" y="31"/>
                  </a:lnTo>
                  <a:lnTo>
                    <a:pt x="218" y="32"/>
                  </a:lnTo>
                  <a:close/>
                  <a:moveTo>
                    <a:pt x="10" y="29"/>
                  </a:moveTo>
                  <a:lnTo>
                    <a:pt x="10" y="30"/>
                  </a:lnTo>
                  <a:lnTo>
                    <a:pt x="10" y="31"/>
                  </a:lnTo>
                  <a:lnTo>
                    <a:pt x="10" y="32"/>
                  </a:lnTo>
                  <a:lnTo>
                    <a:pt x="9" y="32"/>
                  </a:lnTo>
                  <a:lnTo>
                    <a:pt x="9" y="31"/>
                  </a:lnTo>
                  <a:lnTo>
                    <a:pt x="9" y="30"/>
                  </a:lnTo>
                  <a:lnTo>
                    <a:pt x="9" y="29"/>
                  </a:lnTo>
                  <a:lnTo>
                    <a:pt x="10" y="29"/>
                  </a:lnTo>
                  <a:close/>
                  <a:moveTo>
                    <a:pt x="259" y="23"/>
                  </a:moveTo>
                  <a:lnTo>
                    <a:pt x="258" y="23"/>
                  </a:lnTo>
                  <a:lnTo>
                    <a:pt x="259" y="23"/>
                  </a:lnTo>
                  <a:close/>
                  <a:moveTo>
                    <a:pt x="3" y="18"/>
                  </a:moveTo>
                  <a:lnTo>
                    <a:pt x="2" y="17"/>
                  </a:lnTo>
                  <a:lnTo>
                    <a:pt x="2" y="16"/>
                  </a:lnTo>
                  <a:lnTo>
                    <a:pt x="3" y="16"/>
                  </a:lnTo>
                  <a:lnTo>
                    <a:pt x="3" y="17"/>
                  </a:lnTo>
                  <a:lnTo>
                    <a:pt x="3" y="18"/>
                  </a:lnTo>
                  <a:close/>
                  <a:moveTo>
                    <a:pt x="3" y="14"/>
                  </a:moveTo>
                  <a:lnTo>
                    <a:pt x="4" y="14"/>
                  </a:lnTo>
                  <a:lnTo>
                    <a:pt x="4" y="15"/>
                  </a:lnTo>
                  <a:lnTo>
                    <a:pt x="4" y="16"/>
                  </a:lnTo>
                  <a:lnTo>
                    <a:pt x="3" y="16"/>
                  </a:lnTo>
                  <a:lnTo>
                    <a:pt x="2" y="16"/>
                  </a:lnTo>
                  <a:lnTo>
                    <a:pt x="0" y="16"/>
                  </a:lnTo>
                  <a:lnTo>
                    <a:pt x="0" y="15"/>
                  </a:lnTo>
                  <a:lnTo>
                    <a:pt x="0" y="14"/>
                  </a:lnTo>
                  <a:lnTo>
                    <a:pt x="2" y="14"/>
                  </a:lnTo>
                  <a:lnTo>
                    <a:pt x="3" y="14"/>
                  </a:lnTo>
                  <a:close/>
                  <a:moveTo>
                    <a:pt x="7" y="10"/>
                  </a:moveTo>
                  <a:lnTo>
                    <a:pt x="7" y="9"/>
                  </a:lnTo>
                  <a:lnTo>
                    <a:pt x="9" y="9"/>
                  </a:lnTo>
                  <a:lnTo>
                    <a:pt x="9" y="10"/>
                  </a:lnTo>
                  <a:lnTo>
                    <a:pt x="9" y="11"/>
                  </a:lnTo>
                  <a:lnTo>
                    <a:pt x="10" y="11"/>
                  </a:lnTo>
                  <a:lnTo>
                    <a:pt x="10" y="13"/>
                  </a:lnTo>
                  <a:lnTo>
                    <a:pt x="11" y="13"/>
                  </a:lnTo>
                  <a:lnTo>
                    <a:pt x="12" y="13"/>
                  </a:lnTo>
                  <a:lnTo>
                    <a:pt x="13" y="14"/>
                  </a:lnTo>
                  <a:lnTo>
                    <a:pt x="14" y="13"/>
                  </a:lnTo>
                  <a:lnTo>
                    <a:pt x="14" y="14"/>
                  </a:lnTo>
                  <a:lnTo>
                    <a:pt x="16" y="14"/>
                  </a:lnTo>
                  <a:lnTo>
                    <a:pt x="16" y="15"/>
                  </a:lnTo>
                  <a:lnTo>
                    <a:pt x="17" y="15"/>
                  </a:lnTo>
                  <a:lnTo>
                    <a:pt x="17" y="16"/>
                  </a:lnTo>
                  <a:lnTo>
                    <a:pt x="17" y="17"/>
                  </a:lnTo>
                  <a:lnTo>
                    <a:pt x="18" y="17"/>
                  </a:lnTo>
                  <a:lnTo>
                    <a:pt x="18" y="16"/>
                  </a:lnTo>
                  <a:lnTo>
                    <a:pt x="19" y="16"/>
                  </a:lnTo>
                  <a:lnTo>
                    <a:pt x="19" y="17"/>
                  </a:lnTo>
                  <a:lnTo>
                    <a:pt x="20" y="17"/>
                  </a:lnTo>
                  <a:lnTo>
                    <a:pt x="20" y="18"/>
                  </a:lnTo>
                  <a:lnTo>
                    <a:pt x="20" y="20"/>
                  </a:lnTo>
                  <a:lnTo>
                    <a:pt x="20" y="21"/>
                  </a:lnTo>
                  <a:lnTo>
                    <a:pt x="20" y="22"/>
                  </a:lnTo>
                  <a:lnTo>
                    <a:pt x="19" y="22"/>
                  </a:lnTo>
                  <a:lnTo>
                    <a:pt x="19" y="23"/>
                  </a:lnTo>
                  <a:lnTo>
                    <a:pt x="19" y="24"/>
                  </a:lnTo>
                  <a:lnTo>
                    <a:pt x="19" y="25"/>
                  </a:lnTo>
                  <a:lnTo>
                    <a:pt x="20" y="25"/>
                  </a:lnTo>
                  <a:lnTo>
                    <a:pt x="20" y="27"/>
                  </a:lnTo>
                  <a:lnTo>
                    <a:pt x="21" y="27"/>
                  </a:lnTo>
                  <a:lnTo>
                    <a:pt x="23" y="25"/>
                  </a:lnTo>
                  <a:lnTo>
                    <a:pt x="23" y="24"/>
                  </a:lnTo>
                  <a:lnTo>
                    <a:pt x="24" y="24"/>
                  </a:lnTo>
                  <a:lnTo>
                    <a:pt x="24" y="23"/>
                  </a:lnTo>
                  <a:lnTo>
                    <a:pt x="25" y="23"/>
                  </a:lnTo>
                  <a:lnTo>
                    <a:pt x="26" y="22"/>
                  </a:lnTo>
                  <a:lnTo>
                    <a:pt x="27" y="22"/>
                  </a:lnTo>
                  <a:lnTo>
                    <a:pt x="27" y="23"/>
                  </a:lnTo>
                  <a:lnTo>
                    <a:pt x="28" y="23"/>
                  </a:lnTo>
                  <a:lnTo>
                    <a:pt x="28" y="24"/>
                  </a:lnTo>
                  <a:lnTo>
                    <a:pt x="30" y="24"/>
                  </a:lnTo>
                  <a:lnTo>
                    <a:pt x="31" y="25"/>
                  </a:lnTo>
                  <a:lnTo>
                    <a:pt x="31" y="24"/>
                  </a:lnTo>
                  <a:lnTo>
                    <a:pt x="31" y="23"/>
                  </a:lnTo>
                  <a:lnTo>
                    <a:pt x="32" y="23"/>
                  </a:lnTo>
                  <a:lnTo>
                    <a:pt x="32" y="22"/>
                  </a:lnTo>
                  <a:lnTo>
                    <a:pt x="32" y="21"/>
                  </a:lnTo>
                  <a:lnTo>
                    <a:pt x="33" y="20"/>
                  </a:lnTo>
                  <a:lnTo>
                    <a:pt x="34" y="20"/>
                  </a:lnTo>
                  <a:lnTo>
                    <a:pt x="34" y="18"/>
                  </a:lnTo>
                  <a:lnTo>
                    <a:pt x="34" y="17"/>
                  </a:lnTo>
                  <a:lnTo>
                    <a:pt x="34" y="16"/>
                  </a:lnTo>
                  <a:lnTo>
                    <a:pt x="34" y="17"/>
                  </a:lnTo>
                  <a:lnTo>
                    <a:pt x="35" y="17"/>
                  </a:lnTo>
                  <a:lnTo>
                    <a:pt x="38" y="17"/>
                  </a:lnTo>
                  <a:lnTo>
                    <a:pt x="38" y="18"/>
                  </a:lnTo>
                  <a:lnTo>
                    <a:pt x="40" y="22"/>
                  </a:lnTo>
                  <a:lnTo>
                    <a:pt x="40" y="23"/>
                  </a:lnTo>
                  <a:lnTo>
                    <a:pt x="41" y="23"/>
                  </a:lnTo>
                  <a:lnTo>
                    <a:pt x="42" y="24"/>
                  </a:lnTo>
                  <a:lnTo>
                    <a:pt x="42" y="25"/>
                  </a:lnTo>
                  <a:lnTo>
                    <a:pt x="46" y="28"/>
                  </a:lnTo>
                  <a:lnTo>
                    <a:pt x="47" y="28"/>
                  </a:lnTo>
                  <a:lnTo>
                    <a:pt x="48" y="29"/>
                  </a:lnTo>
                  <a:lnTo>
                    <a:pt x="49" y="30"/>
                  </a:lnTo>
                  <a:lnTo>
                    <a:pt x="51" y="34"/>
                  </a:lnTo>
                  <a:lnTo>
                    <a:pt x="52" y="35"/>
                  </a:lnTo>
                  <a:lnTo>
                    <a:pt x="53" y="37"/>
                  </a:lnTo>
                  <a:lnTo>
                    <a:pt x="54" y="38"/>
                  </a:lnTo>
                  <a:lnTo>
                    <a:pt x="54" y="39"/>
                  </a:lnTo>
                  <a:lnTo>
                    <a:pt x="54" y="41"/>
                  </a:lnTo>
                  <a:lnTo>
                    <a:pt x="54" y="42"/>
                  </a:lnTo>
                  <a:lnTo>
                    <a:pt x="54" y="44"/>
                  </a:lnTo>
                  <a:lnTo>
                    <a:pt x="54" y="45"/>
                  </a:lnTo>
                  <a:lnTo>
                    <a:pt x="55" y="48"/>
                  </a:lnTo>
                  <a:lnTo>
                    <a:pt x="55" y="49"/>
                  </a:lnTo>
                  <a:lnTo>
                    <a:pt x="54" y="49"/>
                  </a:lnTo>
                  <a:lnTo>
                    <a:pt x="54" y="50"/>
                  </a:lnTo>
                  <a:lnTo>
                    <a:pt x="54" y="51"/>
                  </a:lnTo>
                  <a:lnTo>
                    <a:pt x="54" y="52"/>
                  </a:lnTo>
                  <a:lnTo>
                    <a:pt x="54" y="53"/>
                  </a:lnTo>
                  <a:lnTo>
                    <a:pt x="54" y="55"/>
                  </a:lnTo>
                  <a:lnTo>
                    <a:pt x="54" y="56"/>
                  </a:lnTo>
                  <a:lnTo>
                    <a:pt x="53" y="56"/>
                  </a:lnTo>
                  <a:lnTo>
                    <a:pt x="53" y="57"/>
                  </a:lnTo>
                  <a:lnTo>
                    <a:pt x="54" y="58"/>
                  </a:lnTo>
                  <a:lnTo>
                    <a:pt x="54" y="59"/>
                  </a:lnTo>
                  <a:lnTo>
                    <a:pt x="55" y="59"/>
                  </a:lnTo>
                  <a:lnTo>
                    <a:pt x="55" y="60"/>
                  </a:lnTo>
                  <a:lnTo>
                    <a:pt x="55" y="62"/>
                  </a:lnTo>
                  <a:lnTo>
                    <a:pt x="55" y="63"/>
                  </a:lnTo>
                  <a:lnTo>
                    <a:pt x="55" y="64"/>
                  </a:lnTo>
                  <a:lnTo>
                    <a:pt x="55" y="65"/>
                  </a:lnTo>
                  <a:lnTo>
                    <a:pt x="55" y="69"/>
                  </a:lnTo>
                  <a:lnTo>
                    <a:pt x="55" y="70"/>
                  </a:lnTo>
                  <a:lnTo>
                    <a:pt x="55" y="71"/>
                  </a:lnTo>
                  <a:lnTo>
                    <a:pt x="56" y="72"/>
                  </a:lnTo>
                  <a:lnTo>
                    <a:pt x="57" y="73"/>
                  </a:lnTo>
                  <a:lnTo>
                    <a:pt x="59" y="73"/>
                  </a:lnTo>
                  <a:lnTo>
                    <a:pt x="59" y="74"/>
                  </a:lnTo>
                  <a:lnTo>
                    <a:pt x="59" y="73"/>
                  </a:lnTo>
                  <a:lnTo>
                    <a:pt x="60" y="73"/>
                  </a:lnTo>
                  <a:lnTo>
                    <a:pt x="60" y="74"/>
                  </a:lnTo>
                  <a:lnTo>
                    <a:pt x="61" y="74"/>
                  </a:lnTo>
                  <a:lnTo>
                    <a:pt x="61" y="76"/>
                  </a:lnTo>
                  <a:lnTo>
                    <a:pt x="61" y="77"/>
                  </a:lnTo>
                  <a:lnTo>
                    <a:pt x="62" y="78"/>
                  </a:lnTo>
                  <a:lnTo>
                    <a:pt x="62" y="79"/>
                  </a:lnTo>
                  <a:lnTo>
                    <a:pt x="63" y="80"/>
                  </a:lnTo>
                  <a:lnTo>
                    <a:pt x="63" y="81"/>
                  </a:lnTo>
                  <a:lnTo>
                    <a:pt x="64" y="83"/>
                  </a:lnTo>
                  <a:lnTo>
                    <a:pt x="64" y="84"/>
                  </a:lnTo>
                  <a:lnTo>
                    <a:pt x="64" y="85"/>
                  </a:lnTo>
                  <a:lnTo>
                    <a:pt x="64" y="86"/>
                  </a:lnTo>
                  <a:lnTo>
                    <a:pt x="66" y="86"/>
                  </a:lnTo>
                  <a:lnTo>
                    <a:pt x="66" y="87"/>
                  </a:lnTo>
                  <a:lnTo>
                    <a:pt x="66" y="88"/>
                  </a:lnTo>
                  <a:lnTo>
                    <a:pt x="67" y="88"/>
                  </a:lnTo>
                  <a:lnTo>
                    <a:pt x="67" y="90"/>
                  </a:lnTo>
                  <a:lnTo>
                    <a:pt x="67" y="91"/>
                  </a:lnTo>
                  <a:lnTo>
                    <a:pt x="67" y="92"/>
                  </a:lnTo>
                  <a:lnTo>
                    <a:pt x="68" y="92"/>
                  </a:lnTo>
                  <a:lnTo>
                    <a:pt x="68" y="93"/>
                  </a:lnTo>
                  <a:lnTo>
                    <a:pt x="67" y="93"/>
                  </a:lnTo>
                  <a:lnTo>
                    <a:pt x="67" y="94"/>
                  </a:lnTo>
                  <a:lnTo>
                    <a:pt x="66" y="94"/>
                  </a:lnTo>
                  <a:lnTo>
                    <a:pt x="64" y="94"/>
                  </a:lnTo>
                  <a:lnTo>
                    <a:pt x="64" y="93"/>
                  </a:lnTo>
                  <a:lnTo>
                    <a:pt x="64" y="92"/>
                  </a:lnTo>
                  <a:lnTo>
                    <a:pt x="66" y="92"/>
                  </a:lnTo>
                  <a:lnTo>
                    <a:pt x="66" y="91"/>
                  </a:lnTo>
                  <a:lnTo>
                    <a:pt x="64" y="91"/>
                  </a:lnTo>
                  <a:lnTo>
                    <a:pt x="64" y="92"/>
                  </a:lnTo>
                  <a:lnTo>
                    <a:pt x="63" y="91"/>
                  </a:lnTo>
                  <a:lnTo>
                    <a:pt x="63" y="90"/>
                  </a:lnTo>
                  <a:lnTo>
                    <a:pt x="63" y="91"/>
                  </a:lnTo>
                  <a:lnTo>
                    <a:pt x="63" y="92"/>
                  </a:lnTo>
                  <a:lnTo>
                    <a:pt x="63" y="93"/>
                  </a:lnTo>
                  <a:lnTo>
                    <a:pt x="62" y="93"/>
                  </a:lnTo>
                  <a:lnTo>
                    <a:pt x="61" y="92"/>
                  </a:lnTo>
                  <a:lnTo>
                    <a:pt x="60" y="93"/>
                  </a:lnTo>
                  <a:lnTo>
                    <a:pt x="59" y="93"/>
                  </a:lnTo>
                  <a:lnTo>
                    <a:pt x="59" y="94"/>
                  </a:lnTo>
                  <a:lnTo>
                    <a:pt x="57" y="94"/>
                  </a:lnTo>
                  <a:lnTo>
                    <a:pt x="56" y="95"/>
                  </a:lnTo>
                  <a:lnTo>
                    <a:pt x="56" y="94"/>
                  </a:lnTo>
                  <a:lnTo>
                    <a:pt x="55" y="94"/>
                  </a:lnTo>
                  <a:lnTo>
                    <a:pt x="55" y="92"/>
                  </a:lnTo>
                  <a:lnTo>
                    <a:pt x="54" y="91"/>
                  </a:lnTo>
                  <a:lnTo>
                    <a:pt x="53" y="91"/>
                  </a:lnTo>
                  <a:lnTo>
                    <a:pt x="51" y="88"/>
                  </a:lnTo>
                  <a:lnTo>
                    <a:pt x="49" y="88"/>
                  </a:lnTo>
                  <a:lnTo>
                    <a:pt x="48" y="88"/>
                  </a:lnTo>
                  <a:lnTo>
                    <a:pt x="48" y="87"/>
                  </a:lnTo>
                  <a:lnTo>
                    <a:pt x="47" y="87"/>
                  </a:lnTo>
                  <a:lnTo>
                    <a:pt x="47" y="86"/>
                  </a:lnTo>
                  <a:lnTo>
                    <a:pt x="46" y="86"/>
                  </a:lnTo>
                  <a:lnTo>
                    <a:pt x="45" y="86"/>
                  </a:lnTo>
                  <a:lnTo>
                    <a:pt x="45" y="85"/>
                  </a:lnTo>
                  <a:lnTo>
                    <a:pt x="44" y="84"/>
                  </a:lnTo>
                  <a:lnTo>
                    <a:pt x="44" y="83"/>
                  </a:lnTo>
                  <a:lnTo>
                    <a:pt x="42" y="83"/>
                  </a:lnTo>
                  <a:lnTo>
                    <a:pt x="40" y="81"/>
                  </a:lnTo>
                  <a:lnTo>
                    <a:pt x="38" y="80"/>
                  </a:lnTo>
                  <a:lnTo>
                    <a:pt x="37" y="80"/>
                  </a:lnTo>
                  <a:lnTo>
                    <a:pt x="37" y="79"/>
                  </a:lnTo>
                  <a:lnTo>
                    <a:pt x="35" y="79"/>
                  </a:lnTo>
                  <a:lnTo>
                    <a:pt x="35" y="78"/>
                  </a:lnTo>
                  <a:lnTo>
                    <a:pt x="34" y="78"/>
                  </a:lnTo>
                  <a:lnTo>
                    <a:pt x="34" y="77"/>
                  </a:lnTo>
                  <a:lnTo>
                    <a:pt x="34" y="78"/>
                  </a:lnTo>
                  <a:lnTo>
                    <a:pt x="33" y="78"/>
                  </a:lnTo>
                  <a:lnTo>
                    <a:pt x="33" y="77"/>
                  </a:lnTo>
                  <a:lnTo>
                    <a:pt x="33" y="76"/>
                  </a:lnTo>
                  <a:lnTo>
                    <a:pt x="32" y="76"/>
                  </a:lnTo>
                  <a:lnTo>
                    <a:pt x="32" y="74"/>
                  </a:lnTo>
                  <a:lnTo>
                    <a:pt x="31" y="74"/>
                  </a:lnTo>
                  <a:lnTo>
                    <a:pt x="30" y="74"/>
                  </a:lnTo>
                  <a:lnTo>
                    <a:pt x="30" y="73"/>
                  </a:lnTo>
                  <a:lnTo>
                    <a:pt x="28" y="73"/>
                  </a:lnTo>
                  <a:lnTo>
                    <a:pt x="28" y="72"/>
                  </a:lnTo>
                  <a:lnTo>
                    <a:pt x="27" y="71"/>
                  </a:lnTo>
                  <a:lnTo>
                    <a:pt x="26" y="71"/>
                  </a:lnTo>
                  <a:lnTo>
                    <a:pt x="25" y="71"/>
                  </a:lnTo>
                  <a:lnTo>
                    <a:pt x="25" y="70"/>
                  </a:lnTo>
                  <a:lnTo>
                    <a:pt x="26" y="69"/>
                  </a:lnTo>
                  <a:lnTo>
                    <a:pt x="26" y="67"/>
                  </a:lnTo>
                  <a:lnTo>
                    <a:pt x="26" y="66"/>
                  </a:lnTo>
                  <a:lnTo>
                    <a:pt x="25" y="64"/>
                  </a:lnTo>
                  <a:lnTo>
                    <a:pt x="25" y="63"/>
                  </a:lnTo>
                  <a:lnTo>
                    <a:pt x="24" y="63"/>
                  </a:lnTo>
                  <a:lnTo>
                    <a:pt x="24" y="62"/>
                  </a:lnTo>
                  <a:lnTo>
                    <a:pt x="23" y="62"/>
                  </a:lnTo>
                  <a:lnTo>
                    <a:pt x="23" y="60"/>
                  </a:lnTo>
                  <a:lnTo>
                    <a:pt x="21" y="59"/>
                  </a:lnTo>
                  <a:lnTo>
                    <a:pt x="21" y="58"/>
                  </a:lnTo>
                  <a:lnTo>
                    <a:pt x="20" y="58"/>
                  </a:lnTo>
                  <a:lnTo>
                    <a:pt x="20" y="57"/>
                  </a:lnTo>
                  <a:lnTo>
                    <a:pt x="19" y="57"/>
                  </a:lnTo>
                  <a:lnTo>
                    <a:pt x="19" y="56"/>
                  </a:lnTo>
                  <a:lnTo>
                    <a:pt x="18" y="56"/>
                  </a:lnTo>
                  <a:lnTo>
                    <a:pt x="18" y="55"/>
                  </a:lnTo>
                  <a:lnTo>
                    <a:pt x="17" y="55"/>
                  </a:lnTo>
                  <a:lnTo>
                    <a:pt x="17" y="53"/>
                  </a:lnTo>
                  <a:lnTo>
                    <a:pt x="17" y="52"/>
                  </a:lnTo>
                  <a:lnTo>
                    <a:pt x="18" y="52"/>
                  </a:lnTo>
                  <a:lnTo>
                    <a:pt x="19" y="52"/>
                  </a:lnTo>
                  <a:lnTo>
                    <a:pt x="18" y="52"/>
                  </a:lnTo>
                  <a:lnTo>
                    <a:pt x="17" y="52"/>
                  </a:lnTo>
                  <a:lnTo>
                    <a:pt x="17" y="51"/>
                  </a:lnTo>
                  <a:lnTo>
                    <a:pt x="17" y="50"/>
                  </a:lnTo>
                  <a:lnTo>
                    <a:pt x="16" y="50"/>
                  </a:lnTo>
                  <a:lnTo>
                    <a:pt x="14" y="49"/>
                  </a:lnTo>
                  <a:lnTo>
                    <a:pt x="14" y="48"/>
                  </a:lnTo>
                  <a:lnTo>
                    <a:pt x="14" y="46"/>
                  </a:lnTo>
                  <a:lnTo>
                    <a:pt x="14" y="45"/>
                  </a:lnTo>
                  <a:lnTo>
                    <a:pt x="14" y="44"/>
                  </a:lnTo>
                  <a:lnTo>
                    <a:pt x="16" y="43"/>
                  </a:lnTo>
                  <a:lnTo>
                    <a:pt x="14" y="44"/>
                  </a:lnTo>
                  <a:lnTo>
                    <a:pt x="14" y="43"/>
                  </a:lnTo>
                  <a:lnTo>
                    <a:pt x="14" y="42"/>
                  </a:lnTo>
                  <a:lnTo>
                    <a:pt x="14" y="43"/>
                  </a:lnTo>
                  <a:lnTo>
                    <a:pt x="16" y="42"/>
                  </a:lnTo>
                  <a:lnTo>
                    <a:pt x="14" y="42"/>
                  </a:lnTo>
                  <a:lnTo>
                    <a:pt x="14" y="41"/>
                  </a:lnTo>
                  <a:lnTo>
                    <a:pt x="14" y="39"/>
                  </a:lnTo>
                  <a:lnTo>
                    <a:pt x="14" y="38"/>
                  </a:lnTo>
                  <a:lnTo>
                    <a:pt x="13" y="38"/>
                  </a:lnTo>
                  <a:lnTo>
                    <a:pt x="12" y="38"/>
                  </a:lnTo>
                  <a:lnTo>
                    <a:pt x="12" y="37"/>
                  </a:lnTo>
                  <a:lnTo>
                    <a:pt x="11" y="37"/>
                  </a:lnTo>
                  <a:lnTo>
                    <a:pt x="11" y="36"/>
                  </a:lnTo>
                  <a:lnTo>
                    <a:pt x="11" y="35"/>
                  </a:lnTo>
                  <a:lnTo>
                    <a:pt x="12" y="34"/>
                  </a:lnTo>
                  <a:lnTo>
                    <a:pt x="12" y="32"/>
                  </a:lnTo>
                  <a:lnTo>
                    <a:pt x="11" y="32"/>
                  </a:lnTo>
                  <a:lnTo>
                    <a:pt x="12" y="32"/>
                  </a:lnTo>
                  <a:lnTo>
                    <a:pt x="12" y="31"/>
                  </a:lnTo>
                  <a:lnTo>
                    <a:pt x="11" y="31"/>
                  </a:lnTo>
                  <a:lnTo>
                    <a:pt x="11" y="30"/>
                  </a:lnTo>
                  <a:lnTo>
                    <a:pt x="11" y="29"/>
                  </a:lnTo>
                  <a:lnTo>
                    <a:pt x="11" y="28"/>
                  </a:lnTo>
                  <a:lnTo>
                    <a:pt x="10" y="28"/>
                  </a:lnTo>
                  <a:lnTo>
                    <a:pt x="10" y="25"/>
                  </a:lnTo>
                  <a:lnTo>
                    <a:pt x="11" y="27"/>
                  </a:lnTo>
                  <a:lnTo>
                    <a:pt x="11" y="25"/>
                  </a:lnTo>
                  <a:lnTo>
                    <a:pt x="11" y="24"/>
                  </a:lnTo>
                  <a:lnTo>
                    <a:pt x="10" y="21"/>
                  </a:lnTo>
                  <a:lnTo>
                    <a:pt x="10" y="20"/>
                  </a:lnTo>
                  <a:lnTo>
                    <a:pt x="9" y="18"/>
                  </a:lnTo>
                  <a:lnTo>
                    <a:pt x="9" y="17"/>
                  </a:lnTo>
                  <a:lnTo>
                    <a:pt x="7" y="16"/>
                  </a:lnTo>
                  <a:lnTo>
                    <a:pt x="7" y="15"/>
                  </a:lnTo>
                  <a:lnTo>
                    <a:pt x="6" y="15"/>
                  </a:lnTo>
                  <a:lnTo>
                    <a:pt x="6" y="14"/>
                  </a:lnTo>
                  <a:lnTo>
                    <a:pt x="6" y="13"/>
                  </a:lnTo>
                  <a:lnTo>
                    <a:pt x="6" y="11"/>
                  </a:lnTo>
                  <a:lnTo>
                    <a:pt x="7" y="11"/>
                  </a:lnTo>
                  <a:lnTo>
                    <a:pt x="6" y="11"/>
                  </a:lnTo>
                  <a:lnTo>
                    <a:pt x="7" y="10"/>
                  </a:lnTo>
                  <a:lnTo>
                    <a:pt x="7" y="9"/>
                  </a:lnTo>
                  <a:lnTo>
                    <a:pt x="7" y="10"/>
                  </a:lnTo>
                  <a:close/>
                  <a:moveTo>
                    <a:pt x="247" y="10"/>
                  </a:moveTo>
                  <a:lnTo>
                    <a:pt x="246" y="10"/>
                  </a:lnTo>
                  <a:lnTo>
                    <a:pt x="247" y="10"/>
                  </a:lnTo>
                  <a:lnTo>
                    <a:pt x="247" y="9"/>
                  </a:lnTo>
                  <a:lnTo>
                    <a:pt x="248" y="9"/>
                  </a:lnTo>
                  <a:lnTo>
                    <a:pt x="248" y="10"/>
                  </a:lnTo>
                  <a:lnTo>
                    <a:pt x="247" y="10"/>
                  </a:lnTo>
                  <a:close/>
                  <a:moveTo>
                    <a:pt x="239" y="6"/>
                  </a:moveTo>
                  <a:lnTo>
                    <a:pt x="239" y="7"/>
                  </a:lnTo>
                  <a:lnTo>
                    <a:pt x="238" y="7"/>
                  </a:lnTo>
                  <a:lnTo>
                    <a:pt x="239" y="7"/>
                  </a:lnTo>
                  <a:lnTo>
                    <a:pt x="239" y="8"/>
                  </a:lnTo>
                  <a:lnTo>
                    <a:pt x="239" y="9"/>
                  </a:lnTo>
                  <a:lnTo>
                    <a:pt x="238" y="10"/>
                  </a:lnTo>
                  <a:lnTo>
                    <a:pt x="238" y="11"/>
                  </a:lnTo>
                  <a:lnTo>
                    <a:pt x="239" y="11"/>
                  </a:lnTo>
                  <a:lnTo>
                    <a:pt x="239" y="10"/>
                  </a:lnTo>
                  <a:lnTo>
                    <a:pt x="240" y="10"/>
                  </a:lnTo>
                  <a:lnTo>
                    <a:pt x="241" y="9"/>
                  </a:lnTo>
                  <a:lnTo>
                    <a:pt x="241" y="8"/>
                  </a:lnTo>
                  <a:lnTo>
                    <a:pt x="241" y="7"/>
                  </a:lnTo>
                  <a:lnTo>
                    <a:pt x="241" y="6"/>
                  </a:lnTo>
                  <a:lnTo>
                    <a:pt x="243" y="6"/>
                  </a:lnTo>
                  <a:lnTo>
                    <a:pt x="241" y="6"/>
                  </a:lnTo>
                  <a:lnTo>
                    <a:pt x="243" y="4"/>
                  </a:lnTo>
                  <a:lnTo>
                    <a:pt x="243" y="6"/>
                  </a:lnTo>
                  <a:lnTo>
                    <a:pt x="243" y="4"/>
                  </a:lnTo>
                  <a:lnTo>
                    <a:pt x="244" y="6"/>
                  </a:lnTo>
                  <a:lnTo>
                    <a:pt x="245" y="6"/>
                  </a:lnTo>
                  <a:lnTo>
                    <a:pt x="245" y="7"/>
                  </a:lnTo>
                  <a:lnTo>
                    <a:pt x="244" y="7"/>
                  </a:lnTo>
                  <a:lnTo>
                    <a:pt x="244" y="8"/>
                  </a:lnTo>
                  <a:lnTo>
                    <a:pt x="245" y="8"/>
                  </a:lnTo>
                  <a:lnTo>
                    <a:pt x="245" y="9"/>
                  </a:lnTo>
                  <a:lnTo>
                    <a:pt x="245" y="10"/>
                  </a:lnTo>
                  <a:lnTo>
                    <a:pt x="246" y="10"/>
                  </a:lnTo>
                  <a:lnTo>
                    <a:pt x="246" y="11"/>
                  </a:lnTo>
                  <a:lnTo>
                    <a:pt x="247" y="11"/>
                  </a:lnTo>
                  <a:lnTo>
                    <a:pt x="247" y="13"/>
                  </a:lnTo>
                  <a:lnTo>
                    <a:pt x="248" y="11"/>
                  </a:lnTo>
                  <a:lnTo>
                    <a:pt x="250" y="11"/>
                  </a:lnTo>
                  <a:lnTo>
                    <a:pt x="250" y="13"/>
                  </a:lnTo>
                  <a:lnTo>
                    <a:pt x="251" y="13"/>
                  </a:lnTo>
                  <a:lnTo>
                    <a:pt x="251" y="14"/>
                  </a:lnTo>
                  <a:lnTo>
                    <a:pt x="252" y="14"/>
                  </a:lnTo>
                  <a:lnTo>
                    <a:pt x="252" y="15"/>
                  </a:lnTo>
                  <a:lnTo>
                    <a:pt x="252" y="16"/>
                  </a:lnTo>
                  <a:lnTo>
                    <a:pt x="252" y="17"/>
                  </a:lnTo>
                  <a:lnTo>
                    <a:pt x="251" y="16"/>
                  </a:lnTo>
                  <a:lnTo>
                    <a:pt x="251" y="17"/>
                  </a:lnTo>
                  <a:lnTo>
                    <a:pt x="250" y="17"/>
                  </a:lnTo>
                  <a:lnTo>
                    <a:pt x="251" y="18"/>
                  </a:lnTo>
                  <a:lnTo>
                    <a:pt x="251" y="20"/>
                  </a:lnTo>
                  <a:lnTo>
                    <a:pt x="251" y="21"/>
                  </a:lnTo>
                  <a:lnTo>
                    <a:pt x="251" y="22"/>
                  </a:lnTo>
                  <a:lnTo>
                    <a:pt x="248" y="22"/>
                  </a:lnTo>
                  <a:lnTo>
                    <a:pt x="248" y="23"/>
                  </a:lnTo>
                  <a:lnTo>
                    <a:pt x="250" y="22"/>
                  </a:lnTo>
                  <a:lnTo>
                    <a:pt x="251" y="22"/>
                  </a:lnTo>
                  <a:lnTo>
                    <a:pt x="252" y="22"/>
                  </a:lnTo>
                  <a:lnTo>
                    <a:pt x="253" y="22"/>
                  </a:lnTo>
                  <a:lnTo>
                    <a:pt x="254" y="22"/>
                  </a:lnTo>
                  <a:lnTo>
                    <a:pt x="254" y="21"/>
                  </a:lnTo>
                  <a:lnTo>
                    <a:pt x="255" y="21"/>
                  </a:lnTo>
                  <a:lnTo>
                    <a:pt x="255" y="20"/>
                  </a:lnTo>
                  <a:lnTo>
                    <a:pt x="256" y="20"/>
                  </a:lnTo>
                  <a:lnTo>
                    <a:pt x="256" y="21"/>
                  </a:lnTo>
                  <a:lnTo>
                    <a:pt x="256" y="22"/>
                  </a:lnTo>
                  <a:lnTo>
                    <a:pt x="258" y="23"/>
                  </a:lnTo>
                  <a:lnTo>
                    <a:pt x="256" y="23"/>
                  </a:lnTo>
                  <a:lnTo>
                    <a:pt x="256" y="24"/>
                  </a:lnTo>
                  <a:lnTo>
                    <a:pt x="256" y="23"/>
                  </a:lnTo>
                  <a:lnTo>
                    <a:pt x="255" y="24"/>
                  </a:lnTo>
                  <a:lnTo>
                    <a:pt x="255" y="23"/>
                  </a:lnTo>
                  <a:lnTo>
                    <a:pt x="255" y="24"/>
                  </a:lnTo>
                  <a:lnTo>
                    <a:pt x="254" y="24"/>
                  </a:lnTo>
                  <a:lnTo>
                    <a:pt x="255" y="24"/>
                  </a:lnTo>
                  <a:lnTo>
                    <a:pt x="255" y="25"/>
                  </a:lnTo>
                  <a:lnTo>
                    <a:pt x="256" y="25"/>
                  </a:lnTo>
                  <a:lnTo>
                    <a:pt x="258" y="25"/>
                  </a:lnTo>
                  <a:lnTo>
                    <a:pt x="258" y="24"/>
                  </a:lnTo>
                  <a:lnTo>
                    <a:pt x="259" y="24"/>
                  </a:lnTo>
                  <a:lnTo>
                    <a:pt x="258" y="24"/>
                  </a:lnTo>
                  <a:lnTo>
                    <a:pt x="259" y="24"/>
                  </a:lnTo>
                  <a:lnTo>
                    <a:pt x="260" y="23"/>
                  </a:lnTo>
                  <a:lnTo>
                    <a:pt x="261" y="24"/>
                  </a:lnTo>
                  <a:lnTo>
                    <a:pt x="261" y="23"/>
                  </a:lnTo>
                  <a:lnTo>
                    <a:pt x="261" y="24"/>
                  </a:lnTo>
                  <a:lnTo>
                    <a:pt x="263" y="25"/>
                  </a:lnTo>
                  <a:lnTo>
                    <a:pt x="265" y="25"/>
                  </a:lnTo>
                  <a:lnTo>
                    <a:pt x="265" y="27"/>
                  </a:lnTo>
                  <a:lnTo>
                    <a:pt x="263" y="28"/>
                  </a:lnTo>
                  <a:lnTo>
                    <a:pt x="265" y="28"/>
                  </a:lnTo>
                  <a:lnTo>
                    <a:pt x="265" y="27"/>
                  </a:lnTo>
                  <a:lnTo>
                    <a:pt x="266" y="27"/>
                  </a:lnTo>
                  <a:lnTo>
                    <a:pt x="266" y="28"/>
                  </a:lnTo>
                  <a:lnTo>
                    <a:pt x="267" y="28"/>
                  </a:lnTo>
                  <a:lnTo>
                    <a:pt x="267" y="29"/>
                  </a:lnTo>
                  <a:lnTo>
                    <a:pt x="268" y="29"/>
                  </a:lnTo>
                  <a:lnTo>
                    <a:pt x="269" y="29"/>
                  </a:lnTo>
                  <a:lnTo>
                    <a:pt x="269" y="30"/>
                  </a:lnTo>
                  <a:lnTo>
                    <a:pt x="270" y="30"/>
                  </a:lnTo>
                  <a:lnTo>
                    <a:pt x="272" y="30"/>
                  </a:lnTo>
                  <a:lnTo>
                    <a:pt x="273" y="29"/>
                  </a:lnTo>
                  <a:lnTo>
                    <a:pt x="273" y="30"/>
                  </a:lnTo>
                  <a:lnTo>
                    <a:pt x="274" y="30"/>
                  </a:lnTo>
                  <a:lnTo>
                    <a:pt x="274" y="31"/>
                  </a:lnTo>
                  <a:lnTo>
                    <a:pt x="274" y="32"/>
                  </a:lnTo>
                  <a:lnTo>
                    <a:pt x="274" y="34"/>
                  </a:lnTo>
                  <a:lnTo>
                    <a:pt x="273" y="35"/>
                  </a:lnTo>
                  <a:lnTo>
                    <a:pt x="270" y="36"/>
                  </a:lnTo>
                  <a:lnTo>
                    <a:pt x="267" y="37"/>
                  </a:lnTo>
                  <a:lnTo>
                    <a:pt x="266" y="37"/>
                  </a:lnTo>
                  <a:lnTo>
                    <a:pt x="265" y="37"/>
                  </a:lnTo>
                  <a:lnTo>
                    <a:pt x="263" y="37"/>
                  </a:lnTo>
                  <a:lnTo>
                    <a:pt x="262" y="36"/>
                  </a:lnTo>
                  <a:lnTo>
                    <a:pt x="261" y="36"/>
                  </a:lnTo>
                  <a:lnTo>
                    <a:pt x="261" y="37"/>
                  </a:lnTo>
                  <a:lnTo>
                    <a:pt x="261" y="36"/>
                  </a:lnTo>
                  <a:lnTo>
                    <a:pt x="261" y="37"/>
                  </a:lnTo>
                  <a:lnTo>
                    <a:pt x="260" y="37"/>
                  </a:lnTo>
                  <a:lnTo>
                    <a:pt x="259" y="38"/>
                  </a:lnTo>
                  <a:lnTo>
                    <a:pt x="259" y="39"/>
                  </a:lnTo>
                  <a:lnTo>
                    <a:pt x="260" y="39"/>
                  </a:lnTo>
                  <a:lnTo>
                    <a:pt x="260" y="41"/>
                  </a:lnTo>
                  <a:lnTo>
                    <a:pt x="261" y="42"/>
                  </a:lnTo>
                  <a:lnTo>
                    <a:pt x="262" y="42"/>
                  </a:lnTo>
                  <a:lnTo>
                    <a:pt x="262" y="43"/>
                  </a:lnTo>
                  <a:lnTo>
                    <a:pt x="263" y="43"/>
                  </a:lnTo>
                  <a:lnTo>
                    <a:pt x="263" y="44"/>
                  </a:lnTo>
                  <a:lnTo>
                    <a:pt x="265" y="44"/>
                  </a:lnTo>
                  <a:lnTo>
                    <a:pt x="266" y="44"/>
                  </a:lnTo>
                  <a:lnTo>
                    <a:pt x="266" y="45"/>
                  </a:lnTo>
                  <a:lnTo>
                    <a:pt x="266" y="46"/>
                  </a:lnTo>
                  <a:lnTo>
                    <a:pt x="265" y="46"/>
                  </a:lnTo>
                  <a:lnTo>
                    <a:pt x="263" y="46"/>
                  </a:lnTo>
                  <a:lnTo>
                    <a:pt x="262" y="46"/>
                  </a:lnTo>
                  <a:lnTo>
                    <a:pt x="260" y="48"/>
                  </a:lnTo>
                  <a:lnTo>
                    <a:pt x="259" y="48"/>
                  </a:lnTo>
                  <a:lnTo>
                    <a:pt x="258" y="49"/>
                  </a:lnTo>
                  <a:lnTo>
                    <a:pt x="256" y="49"/>
                  </a:lnTo>
                  <a:lnTo>
                    <a:pt x="255" y="49"/>
                  </a:lnTo>
                  <a:lnTo>
                    <a:pt x="255" y="48"/>
                  </a:lnTo>
                  <a:lnTo>
                    <a:pt x="254" y="48"/>
                  </a:lnTo>
                  <a:lnTo>
                    <a:pt x="254" y="46"/>
                  </a:lnTo>
                  <a:lnTo>
                    <a:pt x="253" y="46"/>
                  </a:lnTo>
                  <a:lnTo>
                    <a:pt x="253" y="45"/>
                  </a:lnTo>
                  <a:lnTo>
                    <a:pt x="252" y="45"/>
                  </a:lnTo>
                  <a:lnTo>
                    <a:pt x="252" y="46"/>
                  </a:lnTo>
                  <a:lnTo>
                    <a:pt x="252" y="48"/>
                  </a:lnTo>
                  <a:lnTo>
                    <a:pt x="252" y="49"/>
                  </a:lnTo>
                  <a:lnTo>
                    <a:pt x="252" y="50"/>
                  </a:lnTo>
                  <a:lnTo>
                    <a:pt x="251" y="50"/>
                  </a:lnTo>
                  <a:lnTo>
                    <a:pt x="250" y="50"/>
                  </a:lnTo>
                  <a:lnTo>
                    <a:pt x="250" y="49"/>
                  </a:lnTo>
                  <a:lnTo>
                    <a:pt x="248" y="49"/>
                  </a:lnTo>
                  <a:lnTo>
                    <a:pt x="247" y="48"/>
                  </a:lnTo>
                  <a:lnTo>
                    <a:pt x="246" y="48"/>
                  </a:lnTo>
                  <a:lnTo>
                    <a:pt x="246" y="46"/>
                  </a:lnTo>
                  <a:lnTo>
                    <a:pt x="246" y="48"/>
                  </a:lnTo>
                  <a:lnTo>
                    <a:pt x="243" y="48"/>
                  </a:lnTo>
                  <a:lnTo>
                    <a:pt x="243" y="46"/>
                  </a:lnTo>
                  <a:lnTo>
                    <a:pt x="241" y="46"/>
                  </a:lnTo>
                  <a:lnTo>
                    <a:pt x="240" y="48"/>
                  </a:lnTo>
                  <a:lnTo>
                    <a:pt x="240" y="46"/>
                  </a:lnTo>
                  <a:lnTo>
                    <a:pt x="239" y="46"/>
                  </a:lnTo>
                  <a:lnTo>
                    <a:pt x="239" y="48"/>
                  </a:lnTo>
                  <a:lnTo>
                    <a:pt x="238" y="48"/>
                  </a:lnTo>
                  <a:lnTo>
                    <a:pt x="238" y="46"/>
                  </a:lnTo>
                  <a:lnTo>
                    <a:pt x="238" y="48"/>
                  </a:lnTo>
                  <a:lnTo>
                    <a:pt x="237" y="46"/>
                  </a:lnTo>
                  <a:lnTo>
                    <a:pt x="236" y="46"/>
                  </a:lnTo>
                  <a:lnTo>
                    <a:pt x="236" y="48"/>
                  </a:lnTo>
                  <a:lnTo>
                    <a:pt x="237" y="48"/>
                  </a:lnTo>
                  <a:lnTo>
                    <a:pt x="236" y="48"/>
                  </a:lnTo>
                  <a:lnTo>
                    <a:pt x="234" y="48"/>
                  </a:lnTo>
                  <a:lnTo>
                    <a:pt x="234" y="46"/>
                  </a:lnTo>
                  <a:lnTo>
                    <a:pt x="233" y="46"/>
                  </a:lnTo>
                  <a:lnTo>
                    <a:pt x="232" y="46"/>
                  </a:lnTo>
                  <a:lnTo>
                    <a:pt x="231" y="46"/>
                  </a:lnTo>
                  <a:lnTo>
                    <a:pt x="231" y="48"/>
                  </a:lnTo>
                  <a:lnTo>
                    <a:pt x="230" y="48"/>
                  </a:lnTo>
                  <a:lnTo>
                    <a:pt x="229" y="48"/>
                  </a:lnTo>
                  <a:lnTo>
                    <a:pt x="229" y="46"/>
                  </a:lnTo>
                  <a:lnTo>
                    <a:pt x="227" y="46"/>
                  </a:lnTo>
                  <a:lnTo>
                    <a:pt x="226" y="46"/>
                  </a:lnTo>
                  <a:lnTo>
                    <a:pt x="226" y="48"/>
                  </a:lnTo>
                  <a:lnTo>
                    <a:pt x="226" y="49"/>
                  </a:lnTo>
                  <a:lnTo>
                    <a:pt x="225" y="49"/>
                  </a:lnTo>
                  <a:lnTo>
                    <a:pt x="225" y="50"/>
                  </a:lnTo>
                  <a:lnTo>
                    <a:pt x="224" y="50"/>
                  </a:lnTo>
                  <a:lnTo>
                    <a:pt x="224" y="52"/>
                  </a:lnTo>
                  <a:lnTo>
                    <a:pt x="224" y="53"/>
                  </a:lnTo>
                  <a:lnTo>
                    <a:pt x="223" y="53"/>
                  </a:lnTo>
                  <a:lnTo>
                    <a:pt x="224" y="55"/>
                  </a:lnTo>
                  <a:lnTo>
                    <a:pt x="224" y="57"/>
                  </a:lnTo>
                  <a:lnTo>
                    <a:pt x="224" y="58"/>
                  </a:lnTo>
                  <a:lnTo>
                    <a:pt x="224" y="59"/>
                  </a:lnTo>
                  <a:lnTo>
                    <a:pt x="224" y="60"/>
                  </a:lnTo>
                  <a:lnTo>
                    <a:pt x="224" y="62"/>
                  </a:lnTo>
                  <a:lnTo>
                    <a:pt x="223" y="63"/>
                  </a:lnTo>
                  <a:lnTo>
                    <a:pt x="223" y="65"/>
                  </a:lnTo>
                  <a:lnTo>
                    <a:pt x="224" y="66"/>
                  </a:lnTo>
                  <a:lnTo>
                    <a:pt x="223" y="66"/>
                  </a:lnTo>
                  <a:lnTo>
                    <a:pt x="223" y="67"/>
                  </a:lnTo>
                  <a:lnTo>
                    <a:pt x="222" y="67"/>
                  </a:lnTo>
                  <a:lnTo>
                    <a:pt x="220" y="69"/>
                  </a:lnTo>
                  <a:lnTo>
                    <a:pt x="219" y="67"/>
                  </a:lnTo>
                  <a:lnTo>
                    <a:pt x="219" y="69"/>
                  </a:lnTo>
                  <a:lnTo>
                    <a:pt x="218" y="70"/>
                  </a:lnTo>
                  <a:lnTo>
                    <a:pt x="218" y="71"/>
                  </a:lnTo>
                  <a:lnTo>
                    <a:pt x="217" y="71"/>
                  </a:lnTo>
                  <a:lnTo>
                    <a:pt x="218" y="72"/>
                  </a:lnTo>
                  <a:lnTo>
                    <a:pt x="217" y="72"/>
                  </a:lnTo>
                  <a:lnTo>
                    <a:pt x="217" y="73"/>
                  </a:lnTo>
                  <a:lnTo>
                    <a:pt x="217" y="74"/>
                  </a:lnTo>
                  <a:lnTo>
                    <a:pt x="218" y="74"/>
                  </a:lnTo>
                  <a:lnTo>
                    <a:pt x="219" y="74"/>
                  </a:lnTo>
                  <a:lnTo>
                    <a:pt x="219" y="76"/>
                  </a:lnTo>
                  <a:lnTo>
                    <a:pt x="219" y="77"/>
                  </a:lnTo>
                  <a:lnTo>
                    <a:pt x="218" y="77"/>
                  </a:lnTo>
                  <a:lnTo>
                    <a:pt x="217" y="77"/>
                  </a:lnTo>
                  <a:lnTo>
                    <a:pt x="217" y="78"/>
                  </a:lnTo>
                  <a:lnTo>
                    <a:pt x="216" y="78"/>
                  </a:lnTo>
                  <a:lnTo>
                    <a:pt x="216" y="79"/>
                  </a:lnTo>
                  <a:lnTo>
                    <a:pt x="215" y="79"/>
                  </a:lnTo>
                  <a:lnTo>
                    <a:pt x="213" y="80"/>
                  </a:lnTo>
                  <a:lnTo>
                    <a:pt x="213" y="81"/>
                  </a:lnTo>
                  <a:lnTo>
                    <a:pt x="213" y="83"/>
                  </a:lnTo>
                  <a:lnTo>
                    <a:pt x="213" y="84"/>
                  </a:lnTo>
                  <a:lnTo>
                    <a:pt x="215" y="84"/>
                  </a:lnTo>
                  <a:lnTo>
                    <a:pt x="215" y="85"/>
                  </a:lnTo>
                  <a:lnTo>
                    <a:pt x="215" y="86"/>
                  </a:lnTo>
                  <a:lnTo>
                    <a:pt x="213" y="86"/>
                  </a:lnTo>
                  <a:lnTo>
                    <a:pt x="212" y="86"/>
                  </a:lnTo>
                  <a:lnTo>
                    <a:pt x="212" y="87"/>
                  </a:lnTo>
                  <a:lnTo>
                    <a:pt x="212" y="88"/>
                  </a:lnTo>
                  <a:lnTo>
                    <a:pt x="212" y="90"/>
                  </a:lnTo>
                  <a:lnTo>
                    <a:pt x="211" y="91"/>
                  </a:lnTo>
                  <a:lnTo>
                    <a:pt x="211" y="92"/>
                  </a:lnTo>
                  <a:lnTo>
                    <a:pt x="211" y="93"/>
                  </a:lnTo>
                  <a:lnTo>
                    <a:pt x="210" y="93"/>
                  </a:lnTo>
                  <a:lnTo>
                    <a:pt x="209" y="92"/>
                  </a:lnTo>
                  <a:lnTo>
                    <a:pt x="208" y="92"/>
                  </a:lnTo>
                  <a:lnTo>
                    <a:pt x="205" y="93"/>
                  </a:lnTo>
                  <a:lnTo>
                    <a:pt x="204" y="92"/>
                  </a:lnTo>
                  <a:lnTo>
                    <a:pt x="202" y="93"/>
                  </a:lnTo>
                  <a:lnTo>
                    <a:pt x="201" y="93"/>
                  </a:lnTo>
                  <a:lnTo>
                    <a:pt x="201" y="94"/>
                  </a:lnTo>
                  <a:lnTo>
                    <a:pt x="198" y="97"/>
                  </a:lnTo>
                  <a:lnTo>
                    <a:pt x="197" y="97"/>
                  </a:lnTo>
                  <a:lnTo>
                    <a:pt x="197" y="95"/>
                  </a:lnTo>
                  <a:lnTo>
                    <a:pt x="196" y="95"/>
                  </a:lnTo>
                  <a:lnTo>
                    <a:pt x="195" y="95"/>
                  </a:lnTo>
                  <a:lnTo>
                    <a:pt x="194" y="94"/>
                  </a:lnTo>
                  <a:lnTo>
                    <a:pt x="192" y="94"/>
                  </a:lnTo>
                  <a:lnTo>
                    <a:pt x="191" y="94"/>
                  </a:lnTo>
                  <a:lnTo>
                    <a:pt x="190" y="93"/>
                  </a:lnTo>
                  <a:lnTo>
                    <a:pt x="189" y="93"/>
                  </a:lnTo>
                  <a:lnTo>
                    <a:pt x="188" y="93"/>
                  </a:lnTo>
                  <a:lnTo>
                    <a:pt x="189" y="93"/>
                  </a:lnTo>
                  <a:lnTo>
                    <a:pt x="189" y="92"/>
                  </a:lnTo>
                  <a:lnTo>
                    <a:pt x="189" y="91"/>
                  </a:lnTo>
                  <a:lnTo>
                    <a:pt x="188" y="91"/>
                  </a:lnTo>
                  <a:lnTo>
                    <a:pt x="187" y="91"/>
                  </a:lnTo>
                  <a:lnTo>
                    <a:pt x="185" y="91"/>
                  </a:lnTo>
                  <a:lnTo>
                    <a:pt x="182" y="91"/>
                  </a:lnTo>
                  <a:lnTo>
                    <a:pt x="181" y="91"/>
                  </a:lnTo>
                  <a:lnTo>
                    <a:pt x="181" y="92"/>
                  </a:lnTo>
                  <a:lnTo>
                    <a:pt x="180" y="92"/>
                  </a:lnTo>
                  <a:lnTo>
                    <a:pt x="179" y="92"/>
                  </a:lnTo>
                  <a:lnTo>
                    <a:pt x="177" y="93"/>
                  </a:lnTo>
                  <a:lnTo>
                    <a:pt x="177" y="94"/>
                  </a:lnTo>
                  <a:lnTo>
                    <a:pt x="177" y="95"/>
                  </a:lnTo>
                  <a:lnTo>
                    <a:pt x="176" y="98"/>
                  </a:lnTo>
                  <a:lnTo>
                    <a:pt x="175" y="98"/>
                  </a:lnTo>
                  <a:lnTo>
                    <a:pt x="174" y="98"/>
                  </a:lnTo>
                  <a:lnTo>
                    <a:pt x="173" y="100"/>
                  </a:lnTo>
                  <a:lnTo>
                    <a:pt x="172" y="100"/>
                  </a:lnTo>
                  <a:lnTo>
                    <a:pt x="170" y="99"/>
                  </a:lnTo>
                  <a:lnTo>
                    <a:pt x="169" y="100"/>
                  </a:lnTo>
                  <a:lnTo>
                    <a:pt x="168" y="100"/>
                  </a:lnTo>
                  <a:lnTo>
                    <a:pt x="168" y="99"/>
                  </a:lnTo>
                  <a:lnTo>
                    <a:pt x="167" y="100"/>
                  </a:lnTo>
                  <a:lnTo>
                    <a:pt x="166" y="100"/>
                  </a:lnTo>
                  <a:lnTo>
                    <a:pt x="165" y="99"/>
                  </a:lnTo>
                  <a:lnTo>
                    <a:pt x="163" y="99"/>
                  </a:lnTo>
                  <a:lnTo>
                    <a:pt x="161" y="100"/>
                  </a:lnTo>
                  <a:lnTo>
                    <a:pt x="160" y="100"/>
                  </a:lnTo>
                  <a:lnTo>
                    <a:pt x="159" y="100"/>
                  </a:lnTo>
                  <a:lnTo>
                    <a:pt x="159" y="101"/>
                  </a:lnTo>
                  <a:lnTo>
                    <a:pt x="158" y="101"/>
                  </a:lnTo>
                  <a:lnTo>
                    <a:pt x="156" y="101"/>
                  </a:lnTo>
                  <a:lnTo>
                    <a:pt x="156" y="102"/>
                  </a:lnTo>
                  <a:lnTo>
                    <a:pt x="156" y="101"/>
                  </a:lnTo>
                  <a:lnTo>
                    <a:pt x="155" y="101"/>
                  </a:lnTo>
                  <a:lnTo>
                    <a:pt x="155" y="102"/>
                  </a:lnTo>
                  <a:lnTo>
                    <a:pt x="154" y="102"/>
                  </a:lnTo>
                  <a:lnTo>
                    <a:pt x="154" y="101"/>
                  </a:lnTo>
                  <a:lnTo>
                    <a:pt x="153" y="101"/>
                  </a:lnTo>
                  <a:lnTo>
                    <a:pt x="153" y="100"/>
                  </a:lnTo>
                  <a:lnTo>
                    <a:pt x="152" y="100"/>
                  </a:lnTo>
                  <a:lnTo>
                    <a:pt x="151" y="100"/>
                  </a:lnTo>
                  <a:lnTo>
                    <a:pt x="151" y="99"/>
                  </a:lnTo>
                  <a:lnTo>
                    <a:pt x="151" y="98"/>
                  </a:lnTo>
                  <a:lnTo>
                    <a:pt x="149" y="98"/>
                  </a:lnTo>
                  <a:lnTo>
                    <a:pt x="149" y="97"/>
                  </a:lnTo>
                  <a:lnTo>
                    <a:pt x="148" y="97"/>
                  </a:lnTo>
                  <a:lnTo>
                    <a:pt x="147" y="95"/>
                  </a:lnTo>
                  <a:lnTo>
                    <a:pt x="146" y="94"/>
                  </a:lnTo>
                  <a:lnTo>
                    <a:pt x="146" y="93"/>
                  </a:lnTo>
                  <a:lnTo>
                    <a:pt x="145" y="93"/>
                  </a:lnTo>
                  <a:lnTo>
                    <a:pt x="145" y="92"/>
                  </a:lnTo>
                  <a:lnTo>
                    <a:pt x="144" y="93"/>
                  </a:lnTo>
                  <a:lnTo>
                    <a:pt x="144" y="92"/>
                  </a:lnTo>
                  <a:lnTo>
                    <a:pt x="142" y="91"/>
                  </a:lnTo>
                  <a:lnTo>
                    <a:pt x="142" y="90"/>
                  </a:lnTo>
                  <a:lnTo>
                    <a:pt x="142" y="87"/>
                  </a:lnTo>
                  <a:lnTo>
                    <a:pt x="141" y="87"/>
                  </a:lnTo>
                  <a:lnTo>
                    <a:pt x="140" y="87"/>
                  </a:lnTo>
                  <a:lnTo>
                    <a:pt x="140" y="86"/>
                  </a:lnTo>
                  <a:lnTo>
                    <a:pt x="140" y="85"/>
                  </a:lnTo>
                  <a:lnTo>
                    <a:pt x="141" y="85"/>
                  </a:lnTo>
                  <a:lnTo>
                    <a:pt x="141" y="84"/>
                  </a:lnTo>
                  <a:lnTo>
                    <a:pt x="142" y="83"/>
                  </a:lnTo>
                  <a:lnTo>
                    <a:pt x="142" y="84"/>
                  </a:lnTo>
                  <a:lnTo>
                    <a:pt x="142" y="85"/>
                  </a:lnTo>
                  <a:lnTo>
                    <a:pt x="142" y="86"/>
                  </a:lnTo>
                  <a:lnTo>
                    <a:pt x="144" y="86"/>
                  </a:lnTo>
                  <a:lnTo>
                    <a:pt x="144" y="87"/>
                  </a:lnTo>
                  <a:lnTo>
                    <a:pt x="145" y="87"/>
                  </a:lnTo>
                  <a:lnTo>
                    <a:pt x="146" y="87"/>
                  </a:lnTo>
                  <a:lnTo>
                    <a:pt x="146" y="88"/>
                  </a:lnTo>
                  <a:lnTo>
                    <a:pt x="147" y="88"/>
                  </a:lnTo>
                  <a:lnTo>
                    <a:pt x="149" y="88"/>
                  </a:lnTo>
                  <a:lnTo>
                    <a:pt x="149" y="90"/>
                  </a:lnTo>
                  <a:lnTo>
                    <a:pt x="151" y="88"/>
                  </a:lnTo>
                  <a:lnTo>
                    <a:pt x="151" y="90"/>
                  </a:lnTo>
                  <a:lnTo>
                    <a:pt x="151" y="88"/>
                  </a:lnTo>
                  <a:lnTo>
                    <a:pt x="152" y="88"/>
                  </a:lnTo>
                  <a:lnTo>
                    <a:pt x="152" y="87"/>
                  </a:lnTo>
                  <a:lnTo>
                    <a:pt x="152" y="88"/>
                  </a:lnTo>
                  <a:lnTo>
                    <a:pt x="153" y="88"/>
                  </a:lnTo>
                  <a:lnTo>
                    <a:pt x="154" y="88"/>
                  </a:lnTo>
                  <a:lnTo>
                    <a:pt x="154" y="90"/>
                  </a:lnTo>
                  <a:lnTo>
                    <a:pt x="154" y="91"/>
                  </a:lnTo>
                  <a:lnTo>
                    <a:pt x="155" y="91"/>
                  </a:lnTo>
                  <a:lnTo>
                    <a:pt x="156" y="91"/>
                  </a:lnTo>
                  <a:lnTo>
                    <a:pt x="158" y="91"/>
                  </a:lnTo>
                  <a:lnTo>
                    <a:pt x="158" y="92"/>
                  </a:lnTo>
                  <a:lnTo>
                    <a:pt x="156" y="93"/>
                  </a:lnTo>
                  <a:lnTo>
                    <a:pt x="158" y="93"/>
                  </a:lnTo>
                  <a:lnTo>
                    <a:pt x="158" y="92"/>
                  </a:lnTo>
                  <a:lnTo>
                    <a:pt x="158" y="91"/>
                  </a:lnTo>
                  <a:lnTo>
                    <a:pt x="159" y="91"/>
                  </a:lnTo>
                  <a:lnTo>
                    <a:pt x="160" y="92"/>
                  </a:lnTo>
                  <a:lnTo>
                    <a:pt x="161" y="92"/>
                  </a:lnTo>
                  <a:lnTo>
                    <a:pt x="162" y="93"/>
                  </a:lnTo>
                  <a:lnTo>
                    <a:pt x="163" y="94"/>
                  </a:lnTo>
                  <a:lnTo>
                    <a:pt x="165" y="94"/>
                  </a:lnTo>
                  <a:lnTo>
                    <a:pt x="165" y="93"/>
                  </a:lnTo>
                  <a:lnTo>
                    <a:pt x="165" y="94"/>
                  </a:lnTo>
                  <a:lnTo>
                    <a:pt x="166" y="94"/>
                  </a:lnTo>
                  <a:lnTo>
                    <a:pt x="167" y="94"/>
                  </a:lnTo>
                  <a:lnTo>
                    <a:pt x="166" y="94"/>
                  </a:lnTo>
                  <a:lnTo>
                    <a:pt x="166" y="93"/>
                  </a:lnTo>
                  <a:lnTo>
                    <a:pt x="165" y="93"/>
                  </a:lnTo>
                  <a:lnTo>
                    <a:pt x="163" y="93"/>
                  </a:lnTo>
                  <a:lnTo>
                    <a:pt x="162" y="93"/>
                  </a:lnTo>
                  <a:lnTo>
                    <a:pt x="162" y="92"/>
                  </a:lnTo>
                  <a:lnTo>
                    <a:pt x="161" y="92"/>
                  </a:lnTo>
                  <a:lnTo>
                    <a:pt x="161" y="91"/>
                  </a:lnTo>
                  <a:lnTo>
                    <a:pt x="161" y="90"/>
                  </a:lnTo>
                  <a:lnTo>
                    <a:pt x="162" y="88"/>
                  </a:lnTo>
                  <a:lnTo>
                    <a:pt x="163" y="90"/>
                  </a:lnTo>
                  <a:lnTo>
                    <a:pt x="165" y="90"/>
                  </a:lnTo>
                  <a:lnTo>
                    <a:pt x="163" y="90"/>
                  </a:lnTo>
                  <a:lnTo>
                    <a:pt x="163" y="88"/>
                  </a:lnTo>
                  <a:lnTo>
                    <a:pt x="162" y="88"/>
                  </a:lnTo>
                  <a:lnTo>
                    <a:pt x="162" y="87"/>
                  </a:lnTo>
                  <a:lnTo>
                    <a:pt x="162" y="86"/>
                  </a:lnTo>
                  <a:lnTo>
                    <a:pt x="163" y="86"/>
                  </a:lnTo>
                  <a:lnTo>
                    <a:pt x="163" y="85"/>
                  </a:lnTo>
                  <a:lnTo>
                    <a:pt x="163" y="84"/>
                  </a:lnTo>
                  <a:lnTo>
                    <a:pt x="163" y="83"/>
                  </a:lnTo>
                  <a:lnTo>
                    <a:pt x="165" y="83"/>
                  </a:lnTo>
                  <a:lnTo>
                    <a:pt x="166" y="83"/>
                  </a:lnTo>
                  <a:lnTo>
                    <a:pt x="166" y="81"/>
                  </a:lnTo>
                  <a:lnTo>
                    <a:pt x="165" y="81"/>
                  </a:lnTo>
                  <a:lnTo>
                    <a:pt x="163" y="81"/>
                  </a:lnTo>
                  <a:lnTo>
                    <a:pt x="163" y="80"/>
                  </a:lnTo>
                  <a:lnTo>
                    <a:pt x="165" y="80"/>
                  </a:lnTo>
                  <a:lnTo>
                    <a:pt x="163" y="80"/>
                  </a:lnTo>
                  <a:lnTo>
                    <a:pt x="163" y="79"/>
                  </a:lnTo>
                  <a:lnTo>
                    <a:pt x="163" y="78"/>
                  </a:lnTo>
                  <a:lnTo>
                    <a:pt x="165" y="77"/>
                  </a:lnTo>
                  <a:lnTo>
                    <a:pt x="165" y="78"/>
                  </a:lnTo>
                  <a:lnTo>
                    <a:pt x="166" y="78"/>
                  </a:lnTo>
                  <a:lnTo>
                    <a:pt x="166" y="79"/>
                  </a:lnTo>
                  <a:lnTo>
                    <a:pt x="167" y="78"/>
                  </a:lnTo>
                  <a:lnTo>
                    <a:pt x="168" y="79"/>
                  </a:lnTo>
                  <a:lnTo>
                    <a:pt x="168" y="78"/>
                  </a:lnTo>
                  <a:lnTo>
                    <a:pt x="167" y="78"/>
                  </a:lnTo>
                  <a:lnTo>
                    <a:pt x="167" y="77"/>
                  </a:lnTo>
                  <a:lnTo>
                    <a:pt x="168" y="77"/>
                  </a:lnTo>
                  <a:lnTo>
                    <a:pt x="168" y="76"/>
                  </a:lnTo>
                  <a:lnTo>
                    <a:pt x="167" y="76"/>
                  </a:lnTo>
                  <a:lnTo>
                    <a:pt x="167" y="74"/>
                  </a:lnTo>
                  <a:lnTo>
                    <a:pt x="167" y="73"/>
                  </a:lnTo>
                  <a:lnTo>
                    <a:pt x="168" y="72"/>
                  </a:lnTo>
                  <a:lnTo>
                    <a:pt x="169" y="71"/>
                  </a:lnTo>
                  <a:lnTo>
                    <a:pt x="170" y="71"/>
                  </a:lnTo>
                  <a:lnTo>
                    <a:pt x="173" y="70"/>
                  </a:lnTo>
                  <a:lnTo>
                    <a:pt x="175" y="70"/>
                  </a:lnTo>
                  <a:lnTo>
                    <a:pt x="179" y="69"/>
                  </a:lnTo>
                  <a:lnTo>
                    <a:pt x="182" y="67"/>
                  </a:lnTo>
                  <a:lnTo>
                    <a:pt x="184" y="67"/>
                  </a:lnTo>
                  <a:lnTo>
                    <a:pt x="185" y="66"/>
                  </a:lnTo>
                  <a:lnTo>
                    <a:pt x="188" y="66"/>
                  </a:lnTo>
                  <a:lnTo>
                    <a:pt x="188" y="65"/>
                  </a:lnTo>
                  <a:lnTo>
                    <a:pt x="189" y="65"/>
                  </a:lnTo>
                  <a:lnTo>
                    <a:pt x="189" y="64"/>
                  </a:lnTo>
                  <a:lnTo>
                    <a:pt x="190" y="64"/>
                  </a:lnTo>
                  <a:lnTo>
                    <a:pt x="190" y="63"/>
                  </a:lnTo>
                  <a:lnTo>
                    <a:pt x="191" y="62"/>
                  </a:lnTo>
                  <a:lnTo>
                    <a:pt x="192" y="60"/>
                  </a:lnTo>
                  <a:lnTo>
                    <a:pt x="192" y="59"/>
                  </a:lnTo>
                  <a:lnTo>
                    <a:pt x="194" y="58"/>
                  </a:lnTo>
                  <a:lnTo>
                    <a:pt x="194" y="57"/>
                  </a:lnTo>
                  <a:lnTo>
                    <a:pt x="194" y="56"/>
                  </a:lnTo>
                  <a:lnTo>
                    <a:pt x="195" y="56"/>
                  </a:lnTo>
                  <a:lnTo>
                    <a:pt x="198" y="52"/>
                  </a:lnTo>
                  <a:lnTo>
                    <a:pt x="201" y="48"/>
                  </a:lnTo>
                  <a:lnTo>
                    <a:pt x="201" y="46"/>
                  </a:lnTo>
                  <a:lnTo>
                    <a:pt x="201" y="45"/>
                  </a:lnTo>
                  <a:lnTo>
                    <a:pt x="201" y="43"/>
                  </a:lnTo>
                  <a:lnTo>
                    <a:pt x="202" y="43"/>
                  </a:lnTo>
                  <a:lnTo>
                    <a:pt x="203" y="43"/>
                  </a:lnTo>
                  <a:lnTo>
                    <a:pt x="203" y="44"/>
                  </a:lnTo>
                  <a:lnTo>
                    <a:pt x="204" y="44"/>
                  </a:lnTo>
                  <a:lnTo>
                    <a:pt x="204" y="45"/>
                  </a:lnTo>
                  <a:lnTo>
                    <a:pt x="205" y="45"/>
                  </a:lnTo>
                  <a:lnTo>
                    <a:pt x="205" y="46"/>
                  </a:lnTo>
                  <a:lnTo>
                    <a:pt x="205" y="48"/>
                  </a:lnTo>
                  <a:lnTo>
                    <a:pt x="205" y="49"/>
                  </a:lnTo>
                  <a:lnTo>
                    <a:pt x="206" y="49"/>
                  </a:lnTo>
                  <a:lnTo>
                    <a:pt x="208" y="49"/>
                  </a:lnTo>
                  <a:lnTo>
                    <a:pt x="208" y="50"/>
                  </a:lnTo>
                  <a:lnTo>
                    <a:pt x="209" y="51"/>
                  </a:lnTo>
                  <a:lnTo>
                    <a:pt x="210" y="51"/>
                  </a:lnTo>
                  <a:lnTo>
                    <a:pt x="210" y="52"/>
                  </a:lnTo>
                  <a:lnTo>
                    <a:pt x="211" y="51"/>
                  </a:lnTo>
                  <a:lnTo>
                    <a:pt x="212" y="50"/>
                  </a:lnTo>
                  <a:lnTo>
                    <a:pt x="212" y="49"/>
                  </a:lnTo>
                  <a:lnTo>
                    <a:pt x="212" y="48"/>
                  </a:lnTo>
                  <a:lnTo>
                    <a:pt x="213" y="46"/>
                  </a:lnTo>
                  <a:lnTo>
                    <a:pt x="213" y="45"/>
                  </a:lnTo>
                  <a:lnTo>
                    <a:pt x="212" y="45"/>
                  </a:lnTo>
                  <a:lnTo>
                    <a:pt x="212" y="44"/>
                  </a:lnTo>
                  <a:lnTo>
                    <a:pt x="212" y="43"/>
                  </a:lnTo>
                  <a:lnTo>
                    <a:pt x="212" y="42"/>
                  </a:lnTo>
                  <a:lnTo>
                    <a:pt x="211" y="42"/>
                  </a:lnTo>
                  <a:lnTo>
                    <a:pt x="211" y="41"/>
                  </a:lnTo>
                  <a:lnTo>
                    <a:pt x="212" y="41"/>
                  </a:lnTo>
                  <a:lnTo>
                    <a:pt x="212" y="39"/>
                  </a:lnTo>
                  <a:lnTo>
                    <a:pt x="213" y="39"/>
                  </a:lnTo>
                  <a:lnTo>
                    <a:pt x="215" y="39"/>
                  </a:lnTo>
                  <a:lnTo>
                    <a:pt x="215" y="38"/>
                  </a:lnTo>
                  <a:lnTo>
                    <a:pt x="216" y="38"/>
                  </a:lnTo>
                  <a:lnTo>
                    <a:pt x="216" y="39"/>
                  </a:lnTo>
                  <a:lnTo>
                    <a:pt x="216" y="41"/>
                  </a:lnTo>
                  <a:lnTo>
                    <a:pt x="216" y="42"/>
                  </a:lnTo>
                  <a:lnTo>
                    <a:pt x="216" y="43"/>
                  </a:lnTo>
                  <a:lnTo>
                    <a:pt x="216" y="44"/>
                  </a:lnTo>
                  <a:lnTo>
                    <a:pt x="217" y="46"/>
                  </a:lnTo>
                  <a:lnTo>
                    <a:pt x="218" y="46"/>
                  </a:lnTo>
                  <a:lnTo>
                    <a:pt x="219" y="46"/>
                  </a:lnTo>
                  <a:lnTo>
                    <a:pt x="219" y="48"/>
                  </a:lnTo>
                  <a:lnTo>
                    <a:pt x="220" y="48"/>
                  </a:lnTo>
                  <a:lnTo>
                    <a:pt x="220" y="46"/>
                  </a:lnTo>
                  <a:lnTo>
                    <a:pt x="219" y="46"/>
                  </a:lnTo>
                  <a:lnTo>
                    <a:pt x="219" y="45"/>
                  </a:lnTo>
                  <a:lnTo>
                    <a:pt x="219" y="44"/>
                  </a:lnTo>
                  <a:lnTo>
                    <a:pt x="219" y="43"/>
                  </a:lnTo>
                  <a:lnTo>
                    <a:pt x="219" y="42"/>
                  </a:lnTo>
                  <a:lnTo>
                    <a:pt x="218" y="39"/>
                  </a:lnTo>
                  <a:lnTo>
                    <a:pt x="217" y="38"/>
                  </a:lnTo>
                  <a:lnTo>
                    <a:pt x="218" y="37"/>
                  </a:lnTo>
                  <a:lnTo>
                    <a:pt x="219" y="37"/>
                  </a:lnTo>
                  <a:lnTo>
                    <a:pt x="219" y="38"/>
                  </a:lnTo>
                  <a:lnTo>
                    <a:pt x="220" y="38"/>
                  </a:lnTo>
                  <a:lnTo>
                    <a:pt x="220" y="37"/>
                  </a:lnTo>
                  <a:lnTo>
                    <a:pt x="222" y="37"/>
                  </a:lnTo>
                  <a:lnTo>
                    <a:pt x="222" y="36"/>
                  </a:lnTo>
                  <a:lnTo>
                    <a:pt x="223" y="36"/>
                  </a:lnTo>
                  <a:lnTo>
                    <a:pt x="223" y="35"/>
                  </a:lnTo>
                  <a:lnTo>
                    <a:pt x="223" y="34"/>
                  </a:lnTo>
                  <a:lnTo>
                    <a:pt x="223" y="32"/>
                  </a:lnTo>
                  <a:lnTo>
                    <a:pt x="223" y="34"/>
                  </a:lnTo>
                  <a:lnTo>
                    <a:pt x="222" y="34"/>
                  </a:lnTo>
                  <a:lnTo>
                    <a:pt x="222" y="32"/>
                  </a:lnTo>
                  <a:lnTo>
                    <a:pt x="220" y="31"/>
                  </a:lnTo>
                  <a:lnTo>
                    <a:pt x="219" y="31"/>
                  </a:lnTo>
                  <a:lnTo>
                    <a:pt x="219" y="30"/>
                  </a:lnTo>
                  <a:lnTo>
                    <a:pt x="220" y="30"/>
                  </a:lnTo>
                  <a:lnTo>
                    <a:pt x="220" y="29"/>
                  </a:lnTo>
                  <a:lnTo>
                    <a:pt x="222" y="29"/>
                  </a:lnTo>
                  <a:lnTo>
                    <a:pt x="222" y="28"/>
                  </a:lnTo>
                  <a:lnTo>
                    <a:pt x="223" y="27"/>
                  </a:lnTo>
                  <a:lnTo>
                    <a:pt x="223" y="28"/>
                  </a:lnTo>
                  <a:lnTo>
                    <a:pt x="224" y="28"/>
                  </a:lnTo>
                  <a:lnTo>
                    <a:pt x="225" y="28"/>
                  </a:lnTo>
                  <a:lnTo>
                    <a:pt x="226" y="28"/>
                  </a:lnTo>
                  <a:lnTo>
                    <a:pt x="226" y="27"/>
                  </a:lnTo>
                  <a:lnTo>
                    <a:pt x="227" y="25"/>
                  </a:lnTo>
                  <a:lnTo>
                    <a:pt x="227" y="24"/>
                  </a:lnTo>
                  <a:lnTo>
                    <a:pt x="229" y="23"/>
                  </a:lnTo>
                  <a:lnTo>
                    <a:pt x="229" y="22"/>
                  </a:lnTo>
                  <a:lnTo>
                    <a:pt x="230" y="21"/>
                  </a:lnTo>
                  <a:lnTo>
                    <a:pt x="230" y="20"/>
                  </a:lnTo>
                  <a:lnTo>
                    <a:pt x="229" y="18"/>
                  </a:lnTo>
                  <a:lnTo>
                    <a:pt x="230" y="18"/>
                  </a:lnTo>
                  <a:lnTo>
                    <a:pt x="231" y="17"/>
                  </a:lnTo>
                  <a:lnTo>
                    <a:pt x="232" y="17"/>
                  </a:lnTo>
                  <a:lnTo>
                    <a:pt x="232" y="16"/>
                  </a:lnTo>
                  <a:lnTo>
                    <a:pt x="231" y="16"/>
                  </a:lnTo>
                  <a:lnTo>
                    <a:pt x="232" y="16"/>
                  </a:lnTo>
                  <a:lnTo>
                    <a:pt x="232" y="15"/>
                  </a:lnTo>
                  <a:lnTo>
                    <a:pt x="233" y="14"/>
                  </a:lnTo>
                  <a:lnTo>
                    <a:pt x="234" y="13"/>
                  </a:lnTo>
                  <a:lnTo>
                    <a:pt x="234" y="11"/>
                  </a:lnTo>
                  <a:lnTo>
                    <a:pt x="236" y="11"/>
                  </a:lnTo>
                  <a:lnTo>
                    <a:pt x="236" y="10"/>
                  </a:lnTo>
                  <a:lnTo>
                    <a:pt x="237" y="9"/>
                  </a:lnTo>
                  <a:lnTo>
                    <a:pt x="237" y="8"/>
                  </a:lnTo>
                  <a:lnTo>
                    <a:pt x="237" y="7"/>
                  </a:lnTo>
                  <a:lnTo>
                    <a:pt x="237" y="6"/>
                  </a:lnTo>
                  <a:lnTo>
                    <a:pt x="238" y="4"/>
                  </a:lnTo>
                  <a:lnTo>
                    <a:pt x="239" y="6"/>
                  </a:lnTo>
                  <a:close/>
                  <a:moveTo>
                    <a:pt x="241" y="0"/>
                  </a:moveTo>
                  <a:lnTo>
                    <a:pt x="240" y="1"/>
                  </a:lnTo>
                  <a:lnTo>
                    <a:pt x="240" y="0"/>
                  </a:lnTo>
                  <a:lnTo>
                    <a:pt x="240" y="1"/>
                  </a:lnTo>
                  <a:lnTo>
                    <a:pt x="239" y="1"/>
                  </a:lnTo>
                  <a:lnTo>
                    <a:pt x="239" y="2"/>
                  </a:lnTo>
                  <a:lnTo>
                    <a:pt x="239" y="0"/>
                  </a:lnTo>
                  <a:lnTo>
                    <a:pt x="240" y="0"/>
                  </a:lnTo>
                  <a:lnTo>
                    <a:pt x="241" y="0"/>
                  </a:lnTo>
                  <a:close/>
                  <a:moveTo>
                    <a:pt x="245" y="2"/>
                  </a:moveTo>
                  <a:lnTo>
                    <a:pt x="244" y="2"/>
                  </a:lnTo>
                  <a:lnTo>
                    <a:pt x="243" y="2"/>
                  </a:lnTo>
                  <a:lnTo>
                    <a:pt x="243" y="3"/>
                  </a:lnTo>
                  <a:lnTo>
                    <a:pt x="241" y="3"/>
                  </a:lnTo>
                  <a:lnTo>
                    <a:pt x="241" y="2"/>
                  </a:lnTo>
                  <a:lnTo>
                    <a:pt x="241" y="1"/>
                  </a:lnTo>
                  <a:lnTo>
                    <a:pt x="241" y="0"/>
                  </a:lnTo>
                  <a:lnTo>
                    <a:pt x="243" y="0"/>
                  </a:lnTo>
                  <a:lnTo>
                    <a:pt x="244" y="0"/>
                  </a:lnTo>
                  <a:lnTo>
                    <a:pt x="245" y="0"/>
                  </a:lnTo>
                  <a:lnTo>
                    <a:pt x="245" y="1"/>
                  </a:lnTo>
                  <a:lnTo>
                    <a:pt x="245"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02" name="Freeform 958">
              <a:extLst>
                <a:ext uri="{FF2B5EF4-FFF2-40B4-BE49-F238E27FC236}">
                  <a16:creationId xmlns:a16="http://schemas.microsoft.com/office/drawing/2014/main" id="{970885F7-C319-4682-9E1B-0EB2AE0BD81D}"/>
                </a:ext>
              </a:extLst>
            </p:cNvPr>
            <p:cNvSpPr>
              <a:spLocks/>
            </p:cNvSpPr>
            <p:nvPr/>
          </p:nvSpPr>
          <p:spPr bwMode="auto">
            <a:xfrm>
              <a:off x="6021442" y="3706439"/>
              <a:ext cx="248401" cy="253743"/>
            </a:xfrm>
            <a:custGeom>
              <a:avLst/>
              <a:gdLst>
                <a:gd name="T0" fmla="*/ 169 w 186"/>
                <a:gd name="T1" fmla="*/ 9 h 190"/>
                <a:gd name="T2" fmla="*/ 179 w 186"/>
                <a:gd name="T3" fmla="*/ 9 h 190"/>
                <a:gd name="T4" fmla="*/ 185 w 186"/>
                <a:gd name="T5" fmla="*/ 12 h 190"/>
                <a:gd name="T6" fmla="*/ 179 w 186"/>
                <a:gd name="T7" fmla="*/ 15 h 190"/>
                <a:gd name="T8" fmla="*/ 171 w 186"/>
                <a:gd name="T9" fmla="*/ 17 h 190"/>
                <a:gd name="T10" fmla="*/ 165 w 186"/>
                <a:gd name="T11" fmla="*/ 23 h 190"/>
                <a:gd name="T12" fmla="*/ 162 w 186"/>
                <a:gd name="T13" fmla="*/ 19 h 190"/>
                <a:gd name="T14" fmla="*/ 152 w 186"/>
                <a:gd name="T15" fmla="*/ 17 h 190"/>
                <a:gd name="T16" fmla="*/ 142 w 186"/>
                <a:gd name="T17" fmla="*/ 19 h 190"/>
                <a:gd name="T18" fmla="*/ 133 w 186"/>
                <a:gd name="T19" fmla="*/ 22 h 190"/>
                <a:gd name="T20" fmla="*/ 127 w 186"/>
                <a:gd name="T21" fmla="*/ 26 h 190"/>
                <a:gd name="T22" fmla="*/ 127 w 186"/>
                <a:gd name="T23" fmla="*/ 40 h 190"/>
                <a:gd name="T24" fmla="*/ 127 w 186"/>
                <a:gd name="T25" fmla="*/ 57 h 190"/>
                <a:gd name="T26" fmla="*/ 126 w 186"/>
                <a:gd name="T27" fmla="*/ 70 h 190"/>
                <a:gd name="T28" fmla="*/ 126 w 186"/>
                <a:gd name="T29" fmla="*/ 80 h 190"/>
                <a:gd name="T30" fmla="*/ 112 w 186"/>
                <a:gd name="T31" fmla="*/ 88 h 190"/>
                <a:gd name="T32" fmla="*/ 111 w 186"/>
                <a:gd name="T33" fmla="*/ 109 h 190"/>
                <a:gd name="T34" fmla="*/ 111 w 186"/>
                <a:gd name="T35" fmla="*/ 127 h 190"/>
                <a:gd name="T36" fmla="*/ 109 w 186"/>
                <a:gd name="T37" fmla="*/ 137 h 190"/>
                <a:gd name="T38" fmla="*/ 109 w 186"/>
                <a:gd name="T39" fmla="*/ 148 h 190"/>
                <a:gd name="T40" fmla="*/ 109 w 186"/>
                <a:gd name="T41" fmla="*/ 158 h 190"/>
                <a:gd name="T42" fmla="*/ 108 w 186"/>
                <a:gd name="T43" fmla="*/ 167 h 190"/>
                <a:gd name="T44" fmla="*/ 108 w 186"/>
                <a:gd name="T45" fmla="*/ 178 h 190"/>
                <a:gd name="T46" fmla="*/ 102 w 186"/>
                <a:gd name="T47" fmla="*/ 183 h 190"/>
                <a:gd name="T48" fmla="*/ 98 w 186"/>
                <a:gd name="T49" fmla="*/ 188 h 190"/>
                <a:gd name="T50" fmla="*/ 86 w 186"/>
                <a:gd name="T51" fmla="*/ 188 h 190"/>
                <a:gd name="T52" fmla="*/ 77 w 186"/>
                <a:gd name="T53" fmla="*/ 187 h 190"/>
                <a:gd name="T54" fmla="*/ 72 w 186"/>
                <a:gd name="T55" fmla="*/ 184 h 190"/>
                <a:gd name="T56" fmla="*/ 71 w 186"/>
                <a:gd name="T57" fmla="*/ 177 h 190"/>
                <a:gd name="T58" fmla="*/ 66 w 186"/>
                <a:gd name="T59" fmla="*/ 178 h 190"/>
                <a:gd name="T60" fmla="*/ 62 w 186"/>
                <a:gd name="T61" fmla="*/ 184 h 190"/>
                <a:gd name="T62" fmla="*/ 54 w 186"/>
                <a:gd name="T63" fmla="*/ 177 h 190"/>
                <a:gd name="T64" fmla="*/ 49 w 186"/>
                <a:gd name="T65" fmla="*/ 169 h 190"/>
                <a:gd name="T66" fmla="*/ 45 w 186"/>
                <a:gd name="T67" fmla="*/ 158 h 190"/>
                <a:gd name="T68" fmla="*/ 44 w 186"/>
                <a:gd name="T69" fmla="*/ 150 h 190"/>
                <a:gd name="T70" fmla="*/ 41 w 186"/>
                <a:gd name="T71" fmla="*/ 142 h 190"/>
                <a:gd name="T72" fmla="*/ 40 w 186"/>
                <a:gd name="T73" fmla="*/ 133 h 190"/>
                <a:gd name="T74" fmla="*/ 38 w 186"/>
                <a:gd name="T75" fmla="*/ 122 h 190"/>
                <a:gd name="T76" fmla="*/ 36 w 186"/>
                <a:gd name="T77" fmla="*/ 113 h 190"/>
                <a:gd name="T78" fmla="*/ 36 w 186"/>
                <a:gd name="T79" fmla="*/ 101 h 190"/>
                <a:gd name="T80" fmla="*/ 37 w 186"/>
                <a:gd name="T81" fmla="*/ 95 h 190"/>
                <a:gd name="T82" fmla="*/ 35 w 186"/>
                <a:gd name="T83" fmla="*/ 84 h 190"/>
                <a:gd name="T84" fmla="*/ 27 w 186"/>
                <a:gd name="T85" fmla="*/ 70 h 190"/>
                <a:gd name="T86" fmla="*/ 22 w 186"/>
                <a:gd name="T87" fmla="*/ 58 h 190"/>
                <a:gd name="T88" fmla="*/ 17 w 186"/>
                <a:gd name="T89" fmla="*/ 47 h 190"/>
                <a:gd name="T90" fmla="*/ 13 w 186"/>
                <a:gd name="T91" fmla="*/ 36 h 190"/>
                <a:gd name="T92" fmla="*/ 5 w 186"/>
                <a:gd name="T93" fmla="*/ 25 h 190"/>
                <a:gd name="T94" fmla="*/ 1 w 186"/>
                <a:gd name="T95" fmla="*/ 16 h 190"/>
                <a:gd name="T96" fmla="*/ 1 w 186"/>
                <a:gd name="T97" fmla="*/ 4 h 190"/>
                <a:gd name="T98" fmla="*/ 8 w 186"/>
                <a:gd name="T99" fmla="*/ 4 h 190"/>
                <a:gd name="T100" fmla="*/ 16 w 186"/>
                <a:gd name="T101" fmla="*/ 1 h 190"/>
                <a:gd name="T102" fmla="*/ 23 w 186"/>
                <a:gd name="T103" fmla="*/ 1 h 190"/>
                <a:gd name="T104" fmla="*/ 33 w 186"/>
                <a:gd name="T105" fmla="*/ 8 h 190"/>
                <a:gd name="T106" fmla="*/ 54 w 186"/>
                <a:gd name="T107" fmla="*/ 7 h 190"/>
                <a:gd name="T108" fmla="*/ 81 w 186"/>
                <a:gd name="T109" fmla="*/ 7 h 190"/>
                <a:gd name="T110" fmla="*/ 94 w 186"/>
                <a:gd name="T111" fmla="*/ 10 h 190"/>
                <a:gd name="T112" fmla="*/ 106 w 186"/>
                <a:gd name="T113" fmla="*/ 15 h 190"/>
                <a:gd name="T114" fmla="*/ 118 w 186"/>
                <a:gd name="T115" fmla="*/ 15 h 190"/>
                <a:gd name="T116" fmla="*/ 125 w 186"/>
                <a:gd name="T117" fmla="*/ 16 h 190"/>
                <a:gd name="T118" fmla="*/ 133 w 186"/>
                <a:gd name="T119" fmla="*/ 16 h 190"/>
                <a:gd name="T120" fmla="*/ 157 w 186"/>
                <a:gd name="T121" fmla="*/ 11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190">
                  <a:moveTo>
                    <a:pt x="161" y="11"/>
                  </a:moveTo>
                  <a:lnTo>
                    <a:pt x="162" y="11"/>
                  </a:lnTo>
                  <a:lnTo>
                    <a:pt x="163" y="10"/>
                  </a:lnTo>
                  <a:lnTo>
                    <a:pt x="164" y="10"/>
                  </a:lnTo>
                  <a:lnTo>
                    <a:pt x="165" y="10"/>
                  </a:lnTo>
                  <a:lnTo>
                    <a:pt x="166" y="10"/>
                  </a:lnTo>
                  <a:lnTo>
                    <a:pt x="168" y="10"/>
                  </a:lnTo>
                  <a:lnTo>
                    <a:pt x="168" y="9"/>
                  </a:lnTo>
                  <a:lnTo>
                    <a:pt x="169" y="9"/>
                  </a:lnTo>
                  <a:lnTo>
                    <a:pt x="170" y="9"/>
                  </a:lnTo>
                  <a:lnTo>
                    <a:pt x="171" y="9"/>
                  </a:lnTo>
                  <a:lnTo>
                    <a:pt x="172" y="9"/>
                  </a:lnTo>
                  <a:lnTo>
                    <a:pt x="173" y="9"/>
                  </a:lnTo>
                  <a:lnTo>
                    <a:pt x="175" y="8"/>
                  </a:lnTo>
                  <a:lnTo>
                    <a:pt x="176" y="9"/>
                  </a:lnTo>
                  <a:lnTo>
                    <a:pt x="177" y="9"/>
                  </a:lnTo>
                  <a:lnTo>
                    <a:pt x="178" y="9"/>
                  </a:lnTo>
                  <a:lnTo>
                    <a:pt x="179" y="9"/>
                  </a:lnTo>
                  <a:lnTo>
                    <a:pt x="180" y="9"/>
                  </a:lnTo>
                  <a:lnTo>
                    <a:pt x="182" y="9"/>
                  </a:lnTo>
                  <a:lnTo>
                    <a:pt x="183" y="10"/>
                  </a:lnTo>
                  <a:lnTo>
                    <a:pt x="183" y="9"/>
                  </a:lnTo>
                  <a:lnTo>
                    <a:pt x="183" y="10"/>
                  </a:lnTo>
                  <a:lnTo>
                    <a:pt x="184" y="10"/>
                  </a:lnTo>
                  <a:lnTo>
                    <a:pt x="184" y="11"/>
                  </a:lnTo>
                  <a:lnTo>
                    <a:pt x="185" y="11"/>
                  </a:lnTo>
                  <a:lnTo>
                    <a:pt x="185" y="12"/>
                  </a:lnTo>
                  <a:lnTo>
                    <a:pt x="186" y="12"/>
                  </a:lnTo>
                  <a:lnTo>
                    <a:pt x="186" y="14"/>
                  </a:lnTo>
                  <a:lnTo>
                    <a:pt x="185" y="14"/>
                  </a:lnTo>
                  <a:lnTo>
                    <a:pt x="184" y="14"/>
                  </a:lnTo>
                  <a:lnTo>
                    <a:pt x="183" y="14"/>
                  </a:lnTo>
                  <a:lnTo>
                    <a:pt x="182" y="14"/>
                  </a:lnTo>
                  <a:lnTo>
                    <a:pt x="180" y="14"/>
                  </a:lnTo>
                  <a:lnTo>
                    <a:pt x="180" y="15"/>
                  </a:lnTo>
                  <a:lnTo>
                    <a:pt x="179" y="15"/>
                  </a:lnTo>
                  <a:lnTo>
                    <a:pt x="179" y="16"/>
                  </a:lnTo>
                  <a:lnTo>
                    <a:pt x="178" y="16"/>
                  </a:lnTo>
                  <a:lnTo>
                    <a:pt x="177" y="17"/>
                  </a:lnTo>
                  <a:lnTo>
                    <a:pt x="176" y="17"/>
                  </a:lnTo>
                  <a:lnTo>
                    <a:pt x="175" y="16"/>
                  </a:lnTo>
                  <a:lnTo>
                    <a:pt x="173" y="16"/>
                  </a:lnTo>
                  <a:lnTo>
                    <a:pt x="173" y="17"/>
                  </a:lnTo>
                  <a:lnTo>
                    <a:pt x="172" y="17"/>
                  </a:lnTo>
                  <a:lnTo>
                    <a:pt x="171" y="17"/>
                  </a:lnTo>
                  <a:lnTo>
                    <a:pt x="171" y="18"/>
                  </a:lnTo>
                  <a:lnTo>
                    <a:pt x="170" y="18"/>
                  </a:lnTo>
                  <a:lnTo>
                    <a:pt x="170" y="19"/>
                  </a:lnTo>
                  <a:lnTo>
                    <a:pt x="169" y="19"/>
                  </a:lnTo>
                  <a:lnTo>
                    <a:pt x="168" y="19"/>
                  </a:lnTo>
                  <a:lnTo>
                    <a:pt x="168" y="21"/>
                  </a:lnTo>
                  <a:lnTo>
                    <a:pt x="166" y="21"/>
                  </a:lnTo>
                  <a:lnTo>
                    <a:pt x="166" y="22"/>
                  </a:lnTo>
                  <a:lnTo>
                    <a:pt x="165" y="23"/>
                  </a:lnTo>
                  <a:lnTo>
                    <a:pt x="164" y="23"/>
                  </a:lnTo>
                  <a:lnTo>
                    <a:pt x="164" y="24"/>
                  </a:lnTo>
                  <a:lnTo>
                    <a:pt x="163" y="24"/>
                  </a:lnTo>
                  <a:lnTo>
                    <a:pt x="163" y="23"/>
                  </a:lnTo>
                  <a:lnTo>
                    <a:pt x="163" y="22"/>
                  </a:lnTo>
                  <a:lnTo>
                    <a:pt x="162" y="22"/>
                  </a:lnTo>
                  <a:lnTo>
                    <a:pt x="163" y="21"/>
                  </a:lnTo>
                  <a:lnTo>
                    <a:pt x="162" y="21"/>
                  </a:lnTo>
                  <a:lnTo>
                    <a:pt x="162" y="19"/>
                  </a:lnTo>
                  <a:lnTo>
                    <a:pt x="161" y="19"/>
                  </a:lnTo>
                  <a:lnTo>
                    <a:pt x="161" y="18"/>
                  </a:lnTo>
                  <a:lnTo>
                    <a:pt x="159" y="18"/>
                  </a:lnTo>
                  <a:lnTo>
                    <a:pt x="159" y="17"/>
                  </a:lnTo>
                  <a:lnTo>
                    <a:pt x="158" y="17"/>
                  </a:lnTo>
                  <a:lnTo>
                    <a:pt x="157" y="17"/>
                  </a:lnTo>
                  <a:lnTo>
                    <a:pt x="155" y="17"/>
                  </a:lnTo>
                  <a:lnTo>
                    <a:pt x="154" y="17"/>
                  </a:lnTo>
                  <a:lnTo>
                    <a:pt x="152" y="17"/>
                  </a:lnTo>
                  <a:lnTo>
                    <a:pt x="151" y="17"/>
                  </a:lnTo>
                  <a:lnTo>
                    <a:pt x="150" y="18"/>
                  </a:lnTo>
                  <a:lnTo>
                    <a:pt x="149" y="18"/>
                  </a:lnTo>
                  <a:lnTo>
                    <a:pt x="148" y="18"/>
                  </a:lnTo>
                  <a:lnTo>
                    <a:pt x="147" y="18"/>
                  </a:lnTo>
                  <a:lnTo>
                    <a:pt x="145" y="19"/>
                  </a:lnTo>
                  <a:lnTo>
                    <a:pt x="144" y="19"/>
                  </a:lnTo>
                  <a:lnTo>
                    <a:pt x="143" y="19"/>
                  </a:lnTo>
                  <a:lnTo>
                    <a:pt x="142" y="19"/>
                  </a:lnTo>
                  <a:lnTo>
                    <a:pt x="141" y="19"/>
                  </a:lnTo>
                  <a:lnTo>
                    <a:pt x="140" y="21"/>
                  </a:lnTo>
                  <a:lnTo>
                    <a:pt x="138" y="21"/>
                  </a:lnTo>
                  <a:lnTo>
                    <a:pt x="137" y="21"/>
                  </a:lnTo>
                  <a:lnTo>
                    <a:pt x="136" y="21"/>
                  </a:lnTo>
                  <a:lnTo>
                    <a:pt x="135" y="21"/>
                  </a:lnTo>
                  <a:lnTo>
                    <a:pt x="135" y="22"/>
                  </a:lnTo>
                  <a:lnTo>
                    <a:pt x="134" y="22"/>
                  </a:lnTo>
                  <a:lnTo>
                    <a:pt x="133" y="22"/>
                  </a:lnTo>
                  <a:lnTo>
                    <a:pt x="131" y="22"/>
                  </a:lnTo>
                  <a:lnTo>
                    <a:pt x="130" y="22"/>
                  </a:lnTo>
                  <a:lnTo>
                    <a:pt x="129" y="22"/>
                  </a:lnTo>
                  <a:lnTo>
                    <a:pt x="128" y="22"/>
                  </a:lnTo>
                  <a:lnTo>
                    <a:pt x="127" y="22"/>
                  </a:lnTo>
                  <a:lnTo>
                    <a:pt x="127" y="23"/>
                  </a:lnTo>
                  <a:lnTo>
                    <a:pt x="127" y="24"/>
                  </a:lnTo>
                  <a:lnTo>
                    <a:pt x="127" y="25"/>
                  </a:lnTo>
                  <a:lnTo>
                    <a:pt x="127" y="26"/>
                  </a:lnTo>
                  <a:lnTo>
                    <a:pt x="127" y="28"/>
                  </a:lnTo>
                  <a:lnTo>
                    <a:pt x="127" y="29"/>
                  </a:lnTo>
                  <a:lnTo>
                    <a:pt x="127" y="30"/>
                  </a:lnTo>
                  <a:lnTo>
                    <a:pt x="127" y="31"/>
                  </a:lnTo>
                  <a:lnTo>
                    <a:pt x="127" y="32"/>
                  </a:lnTo>
                  <a:lnTo>
                    <a:pt x="127" y="35"/>
                  </a:lnTo>
                  <a:lnTo>
                    <a:pt x="127" y="37"/>
                  </a:lnTo>
                  <a:lnTo>
                    <a:pt x="127" y="38"/>
                  </a:lnTo>
                  <a:lnTo>
                    <a:pt x="127" y="40"/>
                  </a:lnTo>
                  <a:lnTo>
                    <a:pt x="127" y="43"/>
                  </a:lnTo>
                  <a:lnTo>
                    <a:pt x="127" y="44"/>
                  </a:lnTo>
                  <a:lnTo>
                    <a:pt x="127" y="46"/>
                  </a:lnTo>
                  <a:lnTo>
                    <a:pt x="127" y="49"/>
                  </a:lnTo>
                  <a:lnTo>
                    <a:pt x="127" y="50"/>
                  </a:lnTo>
                  <a:lnTo>
                    <a:pt x="127" y="52"/>
                  </a:lnTo>
                  <a:lnTo>
                    <a:pt x="127" y="53"/>
                  </a:lnTo>
                  <a:lnTo>
                    <a:pt x="127" y="54"/>
                  </a:lnTo>
                  <a:lnTo>
                    <a:pt x="127" y="57"/>
                  </a:lnTo>
                  <a:lnTo>
                    <a:pt x="126" y="58"/>
                  </a:lnTo>
                  <a:lnTo>
                    <a:pt x="126" y="60"/>
                  </a:lnTo>
                  <a:lnTo>
                    <a:pt x="126" y="63"/>
                  </a:lnTo>
                  <a:lnTo>
                    <a:pt x="126" y="64"/>
                  </a:lnTo>
                  <a:lnTo>
                    <a:pt x="126" y="65"/>
                  </a:lnTo>
                  <a:lnTo>
                    <a:pt x="126" y="66"/>
                  </a:lnTo>
                  <a:lnTo>
                    <a:pt x="126" y="67"/>
                  </a:lnTo>
                  <a:lnTo>
                    <a:pt x="126" y="68"/>
                  </a:lnTo>
                  <a:lnTo>
                    <a:pt x="126" y="70"/>
                  </a:lnTo>
                  <a:lnTo>
                    <a:pt x="126" y="71"/>
                  </a:lnTo>
                  <a:lnTo>
                    <a:pt x="126" y="72"/>
                  </a:lnTo>
                  <a:lnTo>
                    <a:pt x="126" y="73"/>
                  </a:lnTo>
                  <a:lnTo>
                    <a:pt x="126" y="74"/>
                  </a:lnTo>
                  <a:lnTo>
                    <a:pt x="126" y="75"/>
                  </a:lnTo>
                  <a:lnTo>
                    <a:pt x="126" y="77"/>
                  </a:lnTo>
                  <a:lnTo>
                    <a:pt x="126" y="78"/>
                  </a:lnTo>
                  <a:lnTo>
                    <a:pt x="126" y="79"/>
                  </a:lnTo>
                  <a:lnTo>
                    <a:pt x="126" y="80"/>
                  </a:lnTo>
                  <a:lnTo>
                    <a:pt x="125" y="80"/>
                  </a:lnTo>
                  <a:lnTo>
                    <a:pt x="121" y="80"/>
                  </a:lnTo>
                  <a:lnTo>
                    <a:pt x="119" y="80"/>
                  </a:lnTo>
                  <a:lnTo>
                    <a:pt x="115" y="80"/>
                  </a:lnTo>
                  <a:lnTo>
                    <a:pt x="112" y="80"/>
                  </a:lnTo>
                  <a:lnTo>
                    <a:pt x="112" y="81"/>
                  </a:lnTo>
                  <a:lnTo>
                    <a:pt x="112" y="84"/>
                  </a:lnTo>
                  <a:lnTo>
                    <a:pt x="112" y="86"/>
                  </a:lnTo>
                  <a:lnTo>
                    <a:pt x="112" y="88"/>
                  </a:lnTo>
                  <a:lnTo>
                    <a:pt x="112" y="91"/>
                  </a:lnTo>
                  <a:lnTo>
                    <a:pt x="112" y="94"/>
                  </a:lnTo>
                  <a:lnTo>
                    <a:pt x="112" y="96"/>
                  </a:lnTo>
                  <a:lnTo>
                    <a:pt x="112" y="99"/>
                  </a:lnTo>
                  <a:lnTo>
                    <a:pt x="112" y="101"/>
                  </a:lnTo>
                  <a:lnTo>
                    <a:pt x="112" y="102"/>
                  </a:lnTo>
                  <a:lnTo>
                    <a:pt x="111" y="105"/>
                  </a:lnTo>
                  <a:lnTo>
                    <a:pt x="111" y="107"/>
                  </a:lnTo>
                  <a:lnTo>
                    <a:pt x="111" y="109"/>
                  </a:lnTo>
                  <a:lnTo>
                    <a:pt x="111" y="110"/>
                  </a:lnTo>
                  <a:lnTo>
                    <a:pt x="111" y="113"/>
                  </a:lnTo>
                  <a:lnTo>
                    <a:pt x="111" y="115"/>
                  </a:lnTo>
                  <a:lnTo>
                    <a:pt x="111" y="119"/>
                  </a:lnTo>
                  <a:lnTo>
                    <a:pt x="111" y="121"/>
                  </a:lnTo>
                  <a:lnTo>
                    <a:pt x="111" y="123"/>
                  </a:lnTo>
                  <a:lnTo>
                    <a:pt x="111" y="124"/>
                  </a:lnTo>
                  <a:lnTo>
                    <a:pt x="111" y="126"/>
                  </a:lnTo>
                  <a:lnTo>
                    <a:pt x="111" y="127"/>
                  </a:lnTo>
                  <a:lnTo>
                    <a:pt x="111" y="128"/>
                  </a:lnTo>
                  <a:lnTo>
                    <a:pt x="111" y="129"/>
                  </a:lnTo>
                  <a:lnTo>
                    <a:pt x="111" y="130"/>
                  </a:lnTo>
                  <a:lnTo>
                    <a:pt x="111" y="131"/>
                  </a:lnTo>
                  <a:lnTo>
                    <a:pt x="111" y="133"/>
                  </a:lnTo>
                  <a:lnTo>
                    <a:pt x="111" y="134"/>
                  </a:lnTo>
                  <a:lnTo>
                    <a:pt x="111" y="135"/>
                  </a:lnTo>
                  <a:lnTo>
                    <a:pt x="111" y="136"/>
                  </a:lnTo>
                  <a:lnTo>
                    <a:pt x="109" y="137"/>
                  </a:lnTo>
                  <a:lnTo>
                    <a:pt x="109" y="138"/>
                  </a:lnTo>
                  <a:lnTo>
                    <a:pt x="109" y="139"/>
                  </a:lnTo>
                  <a:lnTo>
                    <a:pt x="109" y="141"/>
                  </a:lnTo>
                  <a:lnTo>
                    <a:pt x="109" y="142"/>
                  </a:lnTo>
                  <a:lnTo>
                    <a:pt x="109" y="143"/>
                  </a:lnTo>
                  <a:lnTo>
                    <a:pt x="109" y="144"/>
                  </a:lnTo>
                  <a:lnTo>
                    <a:pt x="109" y="145"/>
                  </a:lnTo>
                  <a:lnTo>
                    <a:pt x="109" y="146"/>
                  </a:lnTo>
                  <a:lnTo>
                    <a:pt x="109" y="148"/>
                  </a:lnTo>
                  <a:lnTo>
                    <a:pt x="109" y="149"/>
                  </a:lnTo>
                  <a:lnTo>
                    <a:pt x="109" y="150"/>
                  </a:lnTo>
                  <a:lnTo>
                    <a:pt x="109" y="151"/>
                  </a:lnTo>
                  <a:lnTo>
                    <a:pt x="109" y="152"/>
                  </a:lnTo>
                  <a:lnTo>
                    <a:pt x="109" y="153"/>
                  </a:lnTo>
                  <a:lnTo>
                    <a:pt x="109" y="155"/>
                  </a:lnTo>
                  <a:lnTo>
                    <a:pt x="109" y="156"/>
                  </a:lnTo>
                  <a:lnTo>
                    <a:pt x="109" y="157"/>
                  </a:lnTo>
                  <a:lnTo>
                    <a:pt x="109" y="158"/>
                  </a:lnTo>
                  <a:lnTo>
                    <a:pt x="109" y="159"/>
                  </a:lnTo>
                  <a:lnTo>
                    <a:pt x="109" y="160"/>
                  </a:lnTo>
                  <a:lnTo>
                    <a:pt x="109" y="162"/>
                  </a:lnTo>
                  <a:lnTo>
                    <a:pt x="109" y="163"/>
                  </a:lnTo>
                  <a:lnTo>
                    <a:pt x="109" y="164"/>
                  </a:lnTo>
                  <a:lnTo>
                    <a:pt x="108" y="164"/>
                  </a:lnTo>
                  <a:lnTo>
                    <a:pt x="108" y="165"/>
                  </a:lnTo>
                  <a:lnTo>
                    <a:pt x="108" y="166"/>
                  </a:lnTo>
                  <a:lnTo>
                    <a:pt x="108" y="167"/>
                  </a:lnTo>
                  <a:lnTo>
                    <a:pt x="108" y="169"/>
                  </a:lnTo>
                  <a:lnTo>
                    <a:pt x="108" y="170"/>
                  </a:lnTo>
                  <a:lnTo>
                    <a:pt x="108" y="171"/>
                  </a:lnTo>
                  <a:lnTo>
                    <a:pt x="108" y="172"/>
                  </a:lnTo>
                  <a:lnTo>
                    <a:pt x="108" y="173"/>
                  </a:lnTo>
                  <a:lnTo>
                    <a:pt x="108" y="174"/>
                  </a:lnTo>
                  <a:lnTo>
                    <a:pt x="108" y="176"/>
                  </a:lnTo>
                  <a:lnTo>
                    <a:pt x="108" y="177"/>
                  </a:lnTo>
                  <a:lnTo>
                    <a:pt x="108" y="178"/>
                  </a:lnTo>
                  <a:lnTo>
                    <a:pt x="108" y="179"/>
                  </a:lnTo>
                  <a:lnTo>
                    <a:pt x="108" y="180"/>
                  </a:lnTo>
                  <a:lnTo>
                    <a:pt x="108" y="181"/>
                  </a:lnTo>
                  <a:lnTo>
                    <a:pt x="107" y="181"/>
                  </a:lnTo>
                  <a:lnTo>
                    <a:pt x="106" y="181"/>
                  </a:lnTo>
                  <a:lnTo>
                    <a:pt x="106" y="183"/>
                  </a:lnTo>
                  <a:lnTo>
                    <a:pt x="105" y="183"/>
                  </a:lnTo>
                  <a:lnTo>
                    <a:pt x="104" y="183"/>
                  </a:lnTo>
                  <a:lnTo>
                    <a:pt x="102" y="183"/>
                  </a:lnTo>
                  <a:lnTo>
                    <a:pt x="102" y="184"/>
                  </a:lnTo>
                  <a:lnTo>
                    <a:pt x="101" y="184"/>
                  </a:lnTo>
                  <a:lnTo>
                    <a:pt x="101" y="185"/>
                  </a:lnTo>
                  <a:lnTo>
                    <a:pt x="101" y="186"/>
                  </a:lnTo>
                  <a:lnTo>
                    <a:pt x="100" y="186"/>
                  </a:lnTo>
                  <a:lnTo>
                    <a:pt x="99" y="186"/>
                  </a:lnTo>
                  <a:lnTo>
                    <a:pt x="98" y="186"/>
                  </a:lnTo>
                  <a:lnTo>
                    <a:pt x="98" y="187"/>
                  </a:lnTo>
                  <a:lnTo>
                    <a:pt x="98" y="188"/>
                  </a:lnTo>
                  <a:lnTo>
                    <a:pt x="98" y="190"/>
                  </a:lnTo>
                  <a:lnTo>
                    <a:pt x="97" y="190"/>
                  </a:lnTo>
                  <a:lnTo>
                    <a:pt x="95" y="190"/>
                  </a:lnTo>
                  <a:lnTo>
                    <a:pt x="94" y="190"/>
                  </a:lnTo>
                  <a:lnTo>
                    <a:pt x="94" y="188"/>
                  </a:lnTo>
                  <a:lnTo>
                    <a:pt x="91" y="188"/>
                  </a:lnTo>
                  <a:lnTo>
                    <a:pt x="88" y="188"/>
                  </a:lnTo>
                  <a:lnTo>
                    <a:pt x="87" y="188"/>
                  </a:lnTo>
                  <a:lnTo>
                    <a:pt x="86" y="188"/>
                  </a:lnTo>
                  <a:lnTo>
                    <a:pt x="85" y="188"/>
                  </a:lnTo>
                  <a:lnTo>
                    <a:pt x="84" y="188"/>
                  </a:lnTo>
                  <a:lnTo>
                    <a:pt x="84" y="190"/>
                  </a:lnTo>
                  <a:lnTo>
                    <a:pt x="83" y="188"/>
                  </a:lnTo>
                  <a:lnTo>
                    <a:pt x="81" y="188"/>
                  </a:lnTo>
                  <a:lnTo>
                    <a:pt x="80" y="187"/>
                  </a:lnTo>
                  <a:lnTo>
                    <a:pt x="78" y="186"/>
                  </a:lnTo>
                  <a:lnTo>
                    <a:pt x="77" y="186"/>
                  </a:lnTo>
                  <a:lnTo>
                    <a:pt x="77" y="187"/>
                  </a:lnTo>
                  <a:lnTo>
                    <a:pt x="76" y="187"/>
                  </a:lnTo>
                  <a:lnTo>
                    <a:pt x="76" y="186"/>
                  </a:lnTo>
                  <a:lnTo>
                    <a:pt x="76" y="185"/>
                  </a:lnTo>
                  <a:lnTo>
                    <a:pt x="76" y="186"/>
                  </a:lnTo>
                  <a:lnTo>
                    <a:pt x="74" y="186"/>
                  </a:lnTo>
                  <a:lnTo>
                    <a:pt x="73" y="186"/>
                  </a:lnTo>
                  <a:lnTo>
                    <a:pt x="73" y="185"/>
                  </a:lnTo>
                  <a:lnTo>
                    <a:pt x="73" y="184"/>
                  </a:lnTo>
                  <a:lnTo>
                    <a:pt x="72" y="184"/>
                  </a:lnTo>
                  <a:lnTo>
                    <a:pt x="72" y="183"/>
                  </a:lnTo>
                  <a:lnTo>
                    <a:pt x="72" y="181"/>
                  </a:lnTo>
                  <a:lnTo>
                    <a:pt x="73" y="181"/>
                  </a:lnTo>
                  <a:lnTo>
                    <a:pt x="73" y="180"/>
                  </a:lnTo>
                  <a:lnTo>
                    <a:pt x="73" y="179"/>
                  </a:lnTo>
                  <a:lnTo>
                    <a:pt x="72" y="179"/>
                  </a:lnTo>
                  <a:lnTo>
                    <a:pt x="72" y="178"/>
                  </a:lnTo>
                  <a:lnTo>
                    <a:pt x="71" y="178"/>
                  </a:lnTo>
                  <a:lnTo>
                    <a:pt x="71" y="177"/>
                  </a:lnTo>
                  <a:lnTo>
                    <a:pt x="70" y="177"/>
                  </a:lnTo>
                  <a:lnTo>
                    <a:pt x="70" y="176"/>
                  </a:lnTo>
                  <a:lnTo>
                    <a:pt x="69" y="176"/>
                  </a:lnTo>
                  <a:lnTo>
                    <a:pt x="67" y="176"/>
                  </a:lnTo>
                  <a:lnTo>
                    <a:pt x="66" y="176"/>
                  </a:lnTo>
                  <a:lnTo>
                    <a:pt x="66" y="177"/>
                  </a:lnTo>
                  <a:lnTo>
                    <a:pt x="66" y="178"/>
                  </a:lnTo>
                  <a:lnTo>
                    <a:pt x="66" y="177"/>
                  </a:lnTo>
                  <a:lnTo>
                    <a:pt x="66" y="178"/>
                  </a:lnTo>
                  <a:lnTo>
                    <a:pt x="65" y="178"/>
                  </a:lnTo>
                  <a:lnTo>
                    <a:pt x="65" y="179"/>
                  </a:lnTo>
                  <a:lnTo>
                    <a:pt x="65" y="180"/>
                  </a:lnTo>
                  <a:lnTo>
                    <a:pt x="65" y="181"/>
                  </a:lnTo>
                  <a:lnTo>
                    <a:pt x="64" y="181"/>
                  </a:lnTo>
                  <a:lnTo>
                    <a:pt x="64" y="183"/>
                  </a:lnTo>
                  <a:lnTo>
                    <a:pt x="64" y="181"/>
                  </a:lnTo>
                  <a:lnTo>
                    <a:pt x="63" y="183"/>
                  </a:lnTo>
                  <a:lnTo>
                    <a:pt x="62" y="184"/>
                  </a:lnTo>
                  <a:lnTo>
                    <a:pt x="61" y="184"/>
                  </a:lnTo>
                  <a:lnTo>
                    <a:pt x="61" y="185"/>
                  </a:lnTo>
                  <a:lnTo>
                    <a:pt x="59" y="184"/>
                  </a:lnTo>
                  <a:lnTo>
                    <a:pt x="58" y="183"/>
                  </a:lnTo>
                  <a:lnTo>
                    <a:pt x="57" y="181"/>
                  </a:lnTo>
                  <a:lnTo>
                    <a:pt x="56" y="180"/>
                  </a:lnTo>
                  <a:lnTo>
                    <a:pt x="55" y="179"/>
                  </a:lnTo>
                  <a:lnTo>
                    <a:pt x="54" y="178"/>
                  </a:lnTo>
                  <a:lnTo>
                    <a:pt x="54" y="177"/>
                  </a:lnTo>
                  <a:lnTo>
                    <a:pt x="52" y="176"/>
                  </a:lnTo>
                  <a:lnTo>
                    <a:pt x="51" y="176"/>
                  </a:lnTo>
                  <a:lnTo>
                    <a:pt x="51" y="174"/>
                  </a:lnTo>
                  <a:lnTo>
                    <a:pt x="50" y="174"/>
                  </a:lnTo>
                  <a:lnTo>
                    <a:pt x="50" y="173"/>
                  </a:lnTo>
                  <a:lnTo>
                    <a:pt x="50" y="172"/>
                  </a:lnTo>
                  <a:lnTo>
                    <a:pt x="49" y="171"/>
                  </a:lnTo>
                  <a:lnTo>
                    <a:pt x="49" y="170"/>
                  </a:lnTo>
                  <a:lnTo>
                    <a:pt x="49" y="169"/>
                  </a:lnTo>
                  <a:lnTo>
                    <a:pt x="48" y="166"/>
                  </a:lnTo>
                  <a:lnTo>
                    <a:pt x="47" y="166"/>
                  </a:lnTo>
                  <a:lnTo>
                    <a:pt x="47" y="165"/>
                  </a:lnTo>
                  <a:lnTo>
                    <a:pt x="45" y="164"/>
                  </a:lnTo>
                  <a:lnTo>
                    <a:pt x="45" y="163"/>
                  </a:lnTo>
                  <a:lnTo>
                    <a:pt x="45" y="162"/>
                  </a:lnTo>
                  <a:lnTo>
                    <a:pt x="45" y="160"/>
                  </a:lnTo>
                  <a:lnTo>
                    <a:pt x="45" y="159"/>
                  </a:lnTo>
                  <a:lnTo>
                    <a:pt x="45" y="158"/>
                  </a:lnTo>
                  <a:lnTo>
                    <a:pt x="44" y="158"/>
                  </a:lnTo>
                  <a:lnTo>
                    <a:pt x="44" y="157"/>
                  </a:lnTo>
                  <a:lnTo>
                    <a:pt x="43" y="156"/>
                  </a:lnTo>
                  <a:lnTo>
                    <a:pt x="43" y="155"/>
                  </a:lnTo>
                  <a:lnTo>
                    <a:pt x="43" y="153"/>
                  </a:lnTo>
                  <a:lnTo>
                    <a:pt x="44" y="153"/>
                  </a:lnTo>
                  <a:lnTo>
                    <a:pt x="44" y="152"/>
                  </a:lnTo>
                  <a:lnTo>
                    <a:pt x="44" y="151"/>
                  </a:lnTo>
                  <a:lnTo>
                    <a:pt x="44" y="150"/>
                  </a:lnTo>
                  <a:lnTo>
                    <a:pt x="43" y="150"/>
                  </a:lnTo>
                  <a:lnTo>
                    <a:pt x="43" y="149"/>
                  </a:lnTo>
                  <a:lnTo>
                    <a:pt x="42" y="149"/>
                  </a:lnTo>
                  <a:lnTo>
                    <a:pt x="42" y="148"/>
                  </a:lnTo>
                  <a:lnTo>
                    <a:pt x="42" y="146"/>
                  </a:lnTo>
                  <a:lnTo>
                    <a:pt x="42" y="145"/>
                  </a:lnTo>
                  <a:lnTo>
                    <a:pt x="42" y="144"/>
                  </a:lnTo>
                  <a:lnTo>
                    <a:pt x="42" y="143"/>
                  </a:lnTo>
                  <a:lnTo>
                    <a:pt x="41" y="142"/>
                  </a:lnTo>
                  <a:lnTo>
                    <a:pt x="41" y="141"/>
                  </a:lnTo>
                  <a:lnTo>
                    <a:pt x="41" y="139"/>
                  </a:lnTo>
                  <a:lnTo>
                    <a:pt x="41" y="138"/>
                  </a:lnTo>
                  <a:lnTo>
                    <a:pt x="41" y="137"/>
                  </a:lnTo>
                  <a:lnTo>
                    <a:pt x="41" y="136"/>
                  </a:lnTo>
                  <a:lnTo>
                    <a:pt x="41" y="135"/>
                  </a:lnTo>
                  <a:lnTo>
                    <a:pt x="41" y="134"/>
                  </a:lnTo>
                  <a:lnTo>
                    <a:pt x="40" y="134"/>
                  </a:lnTo>
                  <a:lnTo>
                    <a:pt x="40" y="133"/>
                  </a:lnTo>
                  <a:lnTo>
                    <a:pt x="40" y="131"/>
                  </a:lnTo>
                  <a:lnTo>
                    <a:pt x="41" y="130"/>
                  </a:lnTo>
                  <a:lnTo>
                    <a:pt x="41" y="129"/>
                  </a:lnTo>
                  <a:lnTo>
                    <a:pt x="41" y="128"/>
                  </a:lnTo>
                  <a:lnTo>
                    <a:pt x="40" y="127"/>
                  </a:lnTo>
                  <a:lnTo>
                    <a:pt x="40" y="126"/>
                  </a:lnTo>
                  <a:lnTo>
                    <a:pt x="40" y="124"/>
                  </a:lnTo>
                  <a:lnTo>
                    <a:pt x="40" y="123"/>
                  </a:lnTo>
                  <a:lnTo>
                    <a:pt x="38" y="122"/>
                  </a:lnTo>
                  <a:lnTo>
                    <a:pt x="38" y="121"/>
                  </a:lnTo>
                  <a:lnTo>
                    <a:pt x="37" y="121"/>
                  </a:lnTo>
                  <a:lnTo>
                    <a:pt x="37" y="120"/>
                  </a:lnTo>
                  <a:lnTo>
                    <a:pt x="37" y="119"/>
                  </a:lnTo>
                  <a:lnTo>
                    <a:pt x="37" y="117"/>
                  </a:lnTo>
                  <a:lnTo>
                    <a:pt x="36" y="116"/>
                  </a:lnTo>
                  <a:lnTo>
                    <a:pt x="36" y="115"/>
                  </a:lnTo>
                  <a:lnTo>
                    <a:pt x="36" y="114"/>
                  </a:lnTo>
                  <a:lnTo>
                    <a:pt x="36" y="113"/>
                  </a:lnTo>
                  <a:lnTo>
                    <a:pt x="36" y="112"/>
                  </a:lnTo>
                  <a:lnTo>
                    <a:pt x="36" y="110"/>
                  </a:lnTo>
                  <a:lnTo>
                    <a:pt x="36" y="109"/>
                  </a:lnTo>
                  <a:lnTo>
                    <a:pt x="36" y="108"/>
                  </a:lnTo>
                  <a:lnTo>
                    <a:pt x="36" y="106"/>
                  </a:lnTo>
                  <a:lnTo>
                    <a:pt x="36" y="105"/>
                  </a:lnTo>
                  <a:lnTo>
                    <a:pt x="36" y="103"/>
                  </a:lnTo>
                  <a:lnTo>
                    <a:pt x="36" y="102"/>
                  </a:lnTo>
                  <a:lnTo>
                    <a:pt x="36" y="101"/>
                  </a:lnTo>
                  <a:lnTo>
                    <a:pt x="36" y="102"/>
                  </a:lnTo>
                  <a:lnTo>
                    <a:pt x="36" y="101"/>
                  </a:lnTo>
                  <a:lnTo>
                    <a:pt x="36" y="99"/>
                  </a:lnTo>
                  <a:lnTo>
                    <a:pt x="36" y="98"/>
                  </a:lnTo>
                  <a:lnTo>
                    <a:pt x="36" y="96"/>
                  </a:lnTo>
                  <a:lnTo>
                    <a:pt x="36" y="95"/>
                  </a:lnTo>
                  <a:lnTo>
                    <a:pt x="36" y="94"/>
                  </a:lnTo>
                  <a:lnTo>
                    <a:pt x="36" y="95"/>
                  </a:lnTo>
                  <a:lnTo>
                    <a:pt x="37" y="95"/>
                  </a:lnTo>
                  <a:lnTo>
                    <a:pt x="37" y="94"/>
                  </a:lnTo>
                  <a:lnTo>
                    <a:pt x="37" y="93"/>
                  </a:lnTo>
                  <a:lnTo>
                    <a:pt x="37" y="91"/>
                  </a:lnTo>
                  <a:lnTo>
                    <a:pt x="37" y="88"/>
                  </a:lnTo>
                  <a:lnTo>
                    <a:pt x="36" y="87"/>
                  </a:lnTo>
                  <a:lnTo>
                    <a:pt x="36" y="86"/>
                  </a:lnTo>
                  <a:lnTo>
                    <a:pt x="36" y="85"/>
                  </a:lnTo>
                  <a:lnTo>
                    <a:pt x="35" y="85"/>
                  </a:lnTo>
                  <a:lnTo>
                    <a:pt x="35" y="84"/>
                  </a:lnTo>
                  <a:lnTo>
                    <a:pt x="34" y="82"/>
                  </a:lnTo>
                  <a:lnTo>
                    <a:pt x="33" y="79"/>
                  </a:lnTo>
                  <a:lnTo>
                    <a:pt x="31" y="78"/>
                  </a:lnTo>
                  <a:lnTo>
                    <a:pt x="30" y="77"/>
                  </a:lnTo>
                  <a:lnTo>
                    <a:pt x="30" y="75"/>
                  </a:lnTo>
                  <a:lnTo>
                    <a:pt x="29" y="73"/>
                  </a:lnTo>
                  <a:lnTo>
                    <a:pt x="29" y="72"/>
                  </a:lnTo>
                  <a:lnTo>
                    <a:pt x="28" y="71"/>
                  </a:lnTo>
                  <a:lnTo>
                    <a:pt x="27" y="70"/>
                  </a:lnTo>
                  <a:lnTo>
                    <a:pt x="26" y="67"/>
                  </a:lnTo>
                  <a:lnTo>
                    <a:pt x="26" y="66"/>
                  </a:lnTo>
                  <a:lnTo>
                    <a:pt x="24" y="64"/>
                  </a:lnTo>
                  <a:lnTo>
                    <a:pt x="23" y="64"/>
                  </a:lnTo>
                  <a:lnTo>
                    <a:pt x="23" y="63"/>
                  </a:lnTo>
                  <a:lnTo>
                    <a:pt x="22" y="63"/>
                  </a:lnTo>
                  <a:lnTo>
                    <a:pt x="22" y="61"/>
                  </a:lnTo>
                  <a:lnTo>
                    <a:pt x="22" y="60"/>
                  </a:lnTo>
                  <a:lnTo>
                    <a:pt x="22" y="58"/>
                  </a:lnTo>
                  <a:lnTo>
                    <a:pt x="21" y="56"/>
                  </a:lnTo>
                  <a:lnTo>
                    <a:pt x="21" y="54"/>
                  </a:lnTo>
                  <a:lnTo>
                    <a:pt x="20" y="54"/>
                  </a:lnTo>
                  <a:lnTo>
                    <a:pt x="20" y="52"/>
                  </a:lnTo>
                  <a:lnTo>
                    <a:pt x="20" y="51"/>
                  </a:lnTo>
                  <a:lnTo>
                    <a:pt x="19" y="51"/>
                  </a:lnTo>
                  <a:lnTo>
                    <a:pt x="19" y="50"/>
                  </a:lnTo>
                  <a:lnTo>
                    <a:pt x="17" y="50"/>
                  </a:lnTo>
                  <a:lnTo>
                    <a:pt x="17" y="47"/>
                  </a:lnTo>
                  <a:lnTo>
                    <a:pt x="16" y="45"/>
                  </a:lnTo>
                  <a:lnTo>
                    <a:pt x="15" y="44"/>
                  </a:lnTo>
                  <a:lnTo>
                    <a:pt x="15" y="42"/>
                  </a:lnTo>
                  <a:lnTo>
                    <a:pt x="14" y="42"/>
                  </a:lnTo>
                  <a:lnTo>
                    <a:pt x="14" y="40"/>
                  </a:lnTo>
                  <a:lnTo>
                    <a:pt x="14" y="39"/>
                  </a:lnTo>
                  <a:lnTo>
                    <a:pt x="13" y="38"/>
                  </a:lnTo>
                  <a:lnTo>
                    <a:pt x="13" y="37"/>
                  </a:lnTo>
                  <a:lnTo>
                    <a:pt x="13" y="36"/>
                  </a:lnTo>
                  <a:lnTo>
                    <a:pt x="12" y="35"/>
                  </a:lnTo>
                  <a:lnTo>
                    <a:pt x="12" y="33"/>
                  </a:lnTo>
                  <a:lnTo>
                    <a:pt x="10" y="33"/>
                  </a:lnTo>
                  <a:lnTo>
                    <a:pt x="10" y="32"/>
                  </a:lnTo>
                  <a:lnTo>
                    <a:pt x="10" y="31"/>
                  </a:lnTo>
                  <a:lnTo>
                    <a:pt x="8" y="28"/>
                  </a:lnTo>
                  <a:lnTo>
                    <a:pt x="6" y="26"/>
                  </a:lnTo>
                  <a:lnTo>
                    <a:pt x="6" y="25"/>
                  </a:lnTo>
                  <a:lnTo>
                    <a:pt x="5" y="25"/>
                  </a:lnTo>
                  <a:lnTo>
                    <a:pt x="5" y="24"/>
                  </a:lnTo>
                  <a:lnTo>
                    <a:pt x="5" y="23"/>
                  </a:lnTo>
                  <a:lnTo>
                    <a:pt x="3" y="23"/>
                  </a:lnTo>
                  <a:lnTo>
                    <a:pt x="3" y="22"/>
                  </a:lnTo>
                  <a:lnTo>
                    <a:pt x="3" y="21"/>
                  </a:lnTo>
                  <a:lnTo>
                    <a:pt x="2" y="19"/>
                  </a:lnTo>
                  <a:lnTo>
                    <a:pt x="2" y="18"/>
                  </a:lnTo>
                  <a:lnTo>
                    <a:pt x="1" y="17"/>
                  </a:lnTo>
                  <a:lnTo>
                    <a:pt x="1" y="16"/>
                  </a:lnTo>
                  <a:lnTo>
                    <a:pt x="1" y="15"/>
                  </a:lnTo>
                  <a:lnTo>
                    <a:pt x="1" y="14"/>
                  </a:lnTo>
                  <a:lnTo>
                    <a:pt x="1" y="11"/>
                  </a:lnTo>
                  <a:lnTo>
                    <a:pt x="0" y="11"/>
                  </a:lnTo>
                  <a:lnTo>
                    <a:pt x="0" y="10"/>
                  </a:lnTo>
                  <a:lnTo>
                    <a:pt x="0" y="9"/>
                  </a:lnTo>
                  <a:lnTo>
                    <a:pt x="0" y="8"/>
                  </a:lnTo>
                  <a:lnTo>
                    <a:pt x="1" y="5"/>
                  </a:lnTo>
                  <a:lnTo>
                    <a:pt x="1" y="4"/>
                  </a:lnTo>
                  <a:lnTo>
                    <a:pt x="1" y="5"/>
                  </a:lnTo>
                  <a:lnTo>
                    <a:pt x="2" y="5"/>
                  </a:lnTo>
                  <a:lnTo>
                    <a:pt x="2" y="4"/>
                  </a:lnTo>
                  <a:lnTo>
                    <a:pt x="3" y="3"/>
                  </a:lnTo>
                  <a:lnTo>
                    <a:pt x="5" y="3"/>
                  </a:lnTo>
                  <a:lnTo>
                    <a:pt x="6" y="3"/>
                  </a:lnTo>
                  <a:lnTo>
                    <a:pt x="7" y="3"/>
                  </a:lnTo>
                  <a:lnTo>
                    <a:pt x="7" y="4"/>
                  </a:lnTo>
                  <a:lnTo>
                    <a:pt x="8" y="4"/>
                  </a:lnTo>
                  <a:lnTo>
                    <a:pt x="9" y="4"/>
                  </a:lnTo>
                  <a:lnTo>
                    <a:pt x="10" y="4"/>
                  </a:lnTo>
                  <a:lnTo>
                    <a:pt x="12" y="4"/>
                  </a:lnTo>
                  <a:lnTo>
                    <a:pt x="13" y="4"/>
                  </a:lnTo>
                  <a:lnTo>
                    <a:pt x="14" y="3"/>
                  </a:lnTo>
                  <a:lnTo>
                    <a:pt x="15" y="3"/>
                  </a:lnTo>
                  <a:lnTo>
                    <a:pt x="15" y="2"/>
                  </a:lnTo>
                  <a:lnTo>
                    <a:pt x="16" y="2"/>
                  </a:lnTo>
                  <a:lnTo>
                    <a:pt x="16" y="1"/>
                  </a:lnTo>
                  <a:lnTo>
                    <a:pt x="17" y="1"/>
                  </a:lnTo>
                  <a:lnTo>
                    <a:pt x="19" y="1"/>
                  </a:lnTo>
                  <a:lnTo>
                    <a:pt x="20" y="0"/>
                  </a:lnTo>
                  <a:lnTo>
                    <a:pt x="21" y="0"/>
                  </a:lnTo>
                  <a:lnTo>
                    <a:pt x="21" y="1"/>
                  </a:lnTo>
                  <a:lnTo>
                    <a:pt x="21" y="0"/>
                  </a:lnTo>
                  <a:lnTo>
                    <a:pt x="21" y="1"/>
                  </a:lnTo>
                  <a:lnTo>
                    <a:pt x="22" y="1"/>
                  </a:lnTo>
                  <a:lnTo>
                    <a:pt x="23" y="1"/>
                  </a:lnTo>
                  <a:lnTo>
                    <a:pt x="24" y="1"/>
                  </a:lnTo>
                  <a:lnTo>
                    <a:pt x="26" y="2"/>
                  </a:lnTo>
                  <a:lnTo>
                    <a:pt x="26" y="3"/>
                  </a:lnTo>
                  <a:lnTo>
                    <a:pt x="27" y="3"/>
                  </a:lnTo>
                  <a:lnTo>
                    <a:pt x="28" y="4"/>
                  </a:lnTo>
                  <a:lnTo>
                    <a:pt x="29" y="5"/>
                  </a:lnTo>
                  <a:lnTo>
                    <a:pt x="30" y="7"/>
                  </a:lnTo>
                  <a:lnTo>
                    <a:pt x="31" y="8"/>
                  </a:lnTo>
                  <a:lnTo>
                    <a:pt x="33" y="8"/>
                  </a:lnTo>
                  <a:lnTo>
                    <a:pt x="34" y="8"/>
                  </a:lnTo>
                  <a:lnTo>
                    <a:pt x="35" y="8"/>
                  </a:lnTo>
                  <a:lnTo>
                    <a:pt x="35" y="7"/>
                  </a:lnTo>
                  <a:lnTo>
                    <a:pt x="36" y="7"/>
                  </a:lnTo>
                  <a:lnTo>
                    <a:pt x="40" y="7"/>
                  </a:lnTo>
                  <a:lnTo>
                    <a:pt x="43" y="7"/>
                  </a:lnTo>
                  <a:lnTo>
                    <a:pt x="47" y="7"/>
                  </a:lnTo>
                  <a:lnTo>
                    <a:pt x="50" y="7"/>
                  </a:lnTo>
                  <a:lnTo>
                    <a:pt x="54" y="7"/>
                  </a:lnTo>
                  <a:lnTo>
                    <a:pt x="57" y="7"/>
                  </a:lnTo>
                  <a:lnTo>
                    <a:pt x="61" y="7"/>
                  </a:lnTo>
                  <a:lnTo>
                    <a:pt x="64" y="7"/>
                  </a:lnTo>
                  <a:lnTo>
                    <a:pt x="67" y="7"/>
                  </a:lnTo>
                  <a:lnTo>
                    <a:pt x="71" y="7"/>
                  </a:lnTo>
                  <a:lnTo>
                    <a:pt x="74" y="7"/>
                  </a:lnTo>
                  <a:lnTo>
                    <a:pt x="77" y="7"/>
                  </a:lnTo>
                  <a:lnTo>
                    <a:pt x="78" y="7"/>
                  </a:lnTo>
                  <a:lnTo>
                    <a:pt x="81" y="7"/>
                  </a:lnTo>
                  <a:lnTo>
                    <a:pt x="85" y="7"/>
                  </a:lnTo>
                  <a:lnTo>
                    <a:pt x="87" y="7"/>
                  </a:lnTo>
                  <a:lnTo>
                    <a:pt x="88" y="7"/>
                  </a:lnTo>
                  <a:lnTo>
                    <a:pt x="92" y="7"/>
                  </a:lnTo>
                  <a:lnTo>
                    <a:pt x="93" y="7"/>
                  </a:lnTo>
                  <a:lnTo>
                    <a:pt x="93" y="8"/>
                  </a:lnTo>
                  <a:lnTo>
                    <a:pt x="94" y="8"/>
                  </a:lnTo>
                  <a:lnTo>
                    <a:pt x="94" y="9"/>
                  </a:lnTo>
                  <a:lnTo>
                    <a:pt x="94" y="10"/>
                  </a:lnTo>
                  <a:lnTo>
                    <a:pt x="95" y="10"/>
                  </a:lnTo>
                  <a:lnTo>
                    <a:pt x="95" y="11"/>
                  </a:lnTo>
                  <a:lnTo>
                    <a:pt x="97" y="12"/>
                  </a:lnTo>
                  <a:lnTo>
                    <a:pt x="98" y="12"/>
                  </a:lnTo>
                  <a:lnTo>
                    <a:pt x="99" y="14"/>
                  </a:lnTo>
                  <a:lnTo>
                    <a:pt x="101" y="14"/>
                  </a:lnTo>
                  <a:lnTo>
                    <a:pt x="102" y="14"/>
                  </a:lnTo>
                  <a:lnTo>
                    <a:pt x="104" y="14"/>
                  </a:lnTo>
                  <a:lnTo>
                    <a:pt x="106" y="15"/>
                  </a:lnTo>
                  <a:lnTo>
                    <a:pt x="108" y="15"/>
                  </a:lnTo>
                  <a:lnTo>
                    <a:pt x="109" y="14"/>
                  </a:lnTo>
                  <a:lnTo>
                    <a:pt x="109" y="15"/>
                  </a:lnTo>
                  <a:lnTo>
                    <a:pt x="111" y="15"/>
                  </a:lnTo>
                  <a:lnTo>
                    <a:pt x="112" y="15"/>
                  </a:lnTo>
                  <a:lnTo>
                    <a:pt x="114" y="15"/>
                  </a:lnTo>
                  <a:lnTo>
                    <a:pt x="115" y="15"/>
                  </a:lnTo>
                  <a:lnTo>
                    <a:pt x="116" y="15"/>
                  </a:lnTo>
                  <a:lnTo>
                    <a:pt x="118" y="15"/>
                  </a:lnTo>
                  <a:lnTo>
                    <a:pt x="119" y="15"/>
                  </a:lnTo>
                  <a:lnTo>
                    <a:pt x="120" y="15"/>
                  </a:lnTo>
                  <a:lnTo>
                    <a:pt x="121" y="15"/>
                  </a:lnTo>
                  <a:lnTo>
                    <a:pt x="121" y="16"/>
                  </a:lnTo>
                  <a:lnTo>
                    <a:pt x="122" y="16"/>
                  </a:lnTo>
                  <a:lnTo>
                    <a:pt x="123" y="16"/>
                  </a:lnTo>
                  <a:lnTo>
                    <a:pt x="123" y="17"/>
                  </a:lnTo>
                  <a:lnTo>
                    <a:pt x="125" y="17"/>
                  </a:lnTo>
                  <a:lnTo>
                    <a:pt x="125" y="16"/>
                  </a:lnTo>
                  <a:lnTo>
                    <a:pt x="125" y="17"/>
                  </a:lnTo>
                  <a:lnTo>
                    <a:pt x="126" y="17"/>
                  </a:lnTo>
                  <a:lnTo>
                    <a:pt x="127" y="17"/>
                  </a:lnTo>
                  <a:lnTo>
                    <a:pt x="127" y="16"/>
                  </a:lnTo>
                  <a:lnTo>
                    <a:pt x="128" y="16"/>
                  </a:lnTo>
                  <a:lnTo>
                    <a:pt x="129" y="16"/>
                  </a:lnTo>
                  <a:lnTo>
                    <a:pt x="130" y="16"/>
                  </a:lnTo>
                  <a:lnTo>
                    <a:pt x="131" y="16"/>
                  </a:lnTo>
                  <a:lnTo>
                    <a:pt x="133" y="16"/>
                  </a:lnTo>
                  <a:lnTo>
                    <a:pt x="133" y="17"/>
                  </a:lnTo>
                  <a:lnTo>
                    <a:pt x="134" y="17"/>
                  </a:lnTo>
                  <a:lnTo>
                    <a:pt x="137" y="16"/>
                  </a:lnTo>
                  <a:lnTo>
                    <a:pt x="141" y="15"/>
                  </a:lnTo>
                  <a:lnTo>
                    <a:pt x="144" y="15"/>
                  </a:lnTo>
                  <a:lnTo>
                    <a:pt x="148" y="14"/>
                  </a:lnTo>
                  <a:lnTo>
                    <a:pt x="151" y="12"/>
                  </a:lnTo>
                  <a:lnTo>
                    <a:pt x="154" y="12"/>
                  </a:lnTo>
                  <a:lnTo>
                    <a:pt x="157" y="11"/>
                  </a:lnTo>
                  <a:lnTo>
                    <a:pt x="159" y="11"/>
                  </a:lnTo>
                  <a:lnTo>
                    <a:pt x="161" y="1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03" name="Freeform 959">
              <a:extLst>
                <a:ext uri="{FF2B5EF4-FFF2-40B4-BE49-F238E27FC236}">
                  <a16:creationId xmlns:a16="http://schemas.microsoft.com/office/drawing/2014/main" id="{DFF6188A-AA98-4020-9A43-43E2B52A0A21}"/>
                </a:ext>
              </a:extLst>
            </p:cNvPr>
            <p:cNvSpPr>
              <a:spLocks noEditPoints="1"/>
            </p:cNvSpPr>
            <p:nvPr/>
          </p:nvSpPr>
          <p:spPr bwMode="auto">
            <a:xfrm>
              <a:off x="8801928" y="3763864"/>
              <a:ext cx="72116" cy="64103"/>
            </a:xfrm>
            <a:custGeom>
              <a:avLst/>
              <a:gdLst>
                <a:gd name="T0" fmla="*/ 40 w 54"/>
                <a:gd name="T1" fmla="*/ 46 h 48"/>
                <a:gd name="T2" fmla="*/ 40 w 54"/>
                <a:gd name="T3" fmla="*/ 45 h 48"/>
                <a:gd name="T4" fmla="*/ 31 w 54"/>
                <a:gd name="T5" fmla="*/ 44 h 48"/>
                <a:gd name="T6" fmla="*/ 52 w 54"/>
                <a:gd name="T7" fmla="*/ 27 h 48"/>
                <a:gd name="T8" fmla="*/ 54 w 54"/>
                <a:gd name="T9" fmla="*/ 28 h 48"/>
                <a:gd name="T10" fmla="*/ 52 w 54"/>
                <a:gd name="T11" fmla="*/ 31 h 48"/>
                <a:gd name="T12" fmla="*/ 51 w 54"/>
                <a:gd name="T13" fmla="*/ 30 h 48"/>
                <a:gd name="T14" fmla="*/ 51 w 54"/>
                <a:gd name="T15" fmla="*/ 27 h 48"/>
                <a:gd name="T16" fmla="*/ 52 w 54"/>
                <a:gd name="T17" fmla="*/ 27 h 48"/>
                <a:gd name="T18" fmla="*/ 34 w 54"/>
                <a:gd name="T19" fmla="*/ 16 h 48"/>
                <a:gd name="T20" fmla="*/ 45 w 54"/>
                <a:gd name="T21" fmla="*/ 17 h 48"/>
                <a:gd name="T22" fmla="*/ 46 w 54"/>
                <a:gd name="T23" fmla="*/ 21 h 48"/>
                <a:gd name="T24" fmla="*/ 45 w 54"/>
                <a:gd name="T25" fmla="*/ 23 h 48"/>
                <a:gd name="T26" fmla="*/ 42 w 54"/>
                <a:gd name="T27" fmla="*/ 21 h 48"/>
                <a:gd name="T28" fmla="*/ 44 w 54"/>
                <a:gd name="T29" fmla="*/ 18 h 48"/>
                <a:gd name="T30" fmla="*/ 44 w 54"/>
                <a:gd name="T31" fmla="*/ 16 h 48"/>
                <a:gd name="T32" fmla="*/ 38 w 54"/>
                <a:gd name="T33" fmla="*/ 13 h 48"/>
                <a:gd name="T34" fmla="*/ 37 w 54"/>
                <a:gd name="T35" fmla="*/ 16 h 48"/>
                <a:gd name="T36" fmla="*/ 36 w 54"/>
                <a:gd name="T37" fmla="*/ 15 h 48"/>
                <a:gd name="T38" fmla="*/ 38 w 54"/>
                <a:gd name="T39" fmla="*/ 11 h 48"/>
                <a:gd name="T40" fmla="*/ 6 w 54"/>
                <a:gd name="T41" fmla="*/ 9 h 48"/>
                <a:gd name="T42" fmla="*/ 9 w 54"/>
                <a:gd name="T43" fmla="*/ 10 h 48"/>
                <a:gd name="T44" fmla="*/ 13 w 54"/>
                <a:gd name="T45" fmla="*/ 14 h 48"/>
                <a:gd name="T46" fmla="*/ 15 w 54"/>
                <a:gd name="T47" fmla="*/ 16 h 48"/>
                <a:gd name="T48" fmla="*/ 17 w 54"/>
                <a:gd name="T49" fmla="*/ 20 h 48"/>
                <a:gd name="T50" fmla="*/ 18 w 54"/>
                <a:gd name="T51" fmla="*/ 21 h 48"/>
                <a:gd name="T52" fmla="*/ 21 w 54"/>
                <a:gd name="T53" fmla="*/ 23 h 48"/>
                <a:gd name="T54" fmla="*/ 23 w 54"/>
                <a:gd name="T55" fmla="*/ 25 h 48"/>
                <a:gd name="T56" fmla="*/ 24 w 54"/>
                <a:gd name="T57" fmla="*/ 27 h 48"/>
                <a:gd name="T58" fmla="*/ 24 w 54"/>
                <a:gd name="T59" fmla="*/ 29 h 48"/>
                <a:gd name="T60" fmla="*/ 25 w 54"/>
                <a:gd name="T61" fmla="*/ 29 h 48"/>
                <a:gd name="T62" fmla="*/ 28 w 54"/>
                <a:gd name="T63" fmla="*/ 30 h 48"/>
                <a:gd name="T64" fmla="*/ 30 w 54"/>
                <a:gd name="T65" fmla="*/ 32 h 48"/>
                <a:gd name="T66" fmla="*/ 32 w 54"/>
                <a:gd name="T67" fmla="*/ 36 h 48"/>
                <a:gd name="T68" fmla="*/ 34 w 54"/>
                <a:gd name="T69" fmla="*/ 37 h 48"/>
                <a:gd name="T70" fmla="*/ 35 w 54"/>
                <a:gd name="T71" fmla="*/ 39 h 48"/>
                <a:gd name="T72" fmla="*/ 35 w 54"/>
                <a:gd name="T73" fmla="*/ 42 h 48"/>
                <a:gd name="T74" fmla="*/ 34 w 54"/>
                <a:gd name="T75" fmla="*/ 43 h 48"/>
                <a:gd name="T76" fmla="*/ 32 w 54"/>
                <a:gd name="T77" fmla="*/ 42 h 48"/>
                <a:gd name="T78" fmla="*/ 31 w 54"/>
                <a:gd name="T79" fmla="*/ 43 h 48"/>
                <a:gd name="T80" fmla="*/ 29 w 54"/>
                <a:gd name="T81" fmla="*/ 41 h 48"/>
                <a:gd name="T82" fmla="*/ 28 w 54"/>
                <a:gd name="T83" fmla="*/ 42 h 48"/>
                <a:gd name="T84" fmla="*/ 27 w 54"/>
                <a:gd name="T85" fmla="*/ 41 h 48"/>
                <a:gd name="T86" fmla="*/ 24 w 54"/>
                <a:gd name="T87" fmla="*/ 38 h 48"/>
                <a:gd name="T88" fmla="*/ 25 w 54"/>
                <a:gd name="T89" fmla="*/ 37 h 48"/>
                <a:gd name="T90" fmla="*/ 24 w 54"/>
                <a:gd name="T91" fmla="*/ 36 h 48"/>
                <a:gd name="T92" fmla="*/ 21 w 54"/>
                <a:gd name="T93" fmla="*/ 35 h 48"/>
                <a:gd name="T94" fmla="*/ 20 w 54"/>
                <a:gd name="T95" fmla="*/ 34 h 48"/>
                <a:gd name="T96" fmla="*/ 15 w 54"/>
                <a:gd name="T97" fmla="*/ 30 h 48"/>
                <a:gd name="T98" fmla="*/ 14 w 54"/>
                <a:gd name="T99" fmla="*/ 27 h 48"/>
                <a:gd name="T100" fmla="*/ 13 w 54"/>
                <a:gd name="T101" fmla="*/ 28 h 48"/>
                <a:gd name="T102" fmla="*/ 11 w 54"/>
                <a:gd name="T103" fmla="*/ 25 h 48"/>
                <a:gd name="T104" fmla="*/ 9 w 54"/>
                <a:gd name="T105" fmla="*/ 22 h 48"/>
                <a:gd name="T106" fmla="*/ 9 w 54"/>
                <a:gd name="T107" fmla="*/ 20 h 48"/>
                <a:gd name="T108" fmla="*/ 6 w 54"/>
                <a:gd name="T109" fmla="*/ 17 h 48"/>
                <a:gd name="T110" fmla="*/ 6 w 54"/>
                <a:gd name="T111" fmla="*/ 15 h 48"/>
                <a:gd name="T112" fmla="*/ 3 w 54"/>
                <a:gd name="T113" fmla="*/ 11 h 48"/>
                <a:gd name="T114" fmla="*/ 3 w 54"/>
                <a:gd name="T115" fmla="*/ 9 h 48"/>
                <a:gd name="T116" fmla="*/ 3 w 54"/>
                <a:gd name="T117" fmla="*/ 9 h 48"/>
                <a:gd name="T118" fmla="*/ 6 w 54"/>
                <a:gd name="T119" fmla="*/ 8 h 48"/>
                <a:gd name="T120" fmla="*/ 3 w 54"/>
                <a:gd name="T121" fmla="*/ 7 h 48"/>
                <a:gd name="T122" fmla="*/ 1 w 54"/>
                <a:gd name="T123" fmla="*/ 2 h 48"/>
                <a:gd name="T124" fmla="*/ 1 w 54"/>
                <a:gd name="T125" fmla="*/ 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 h="48">
                  <a:moveTo>
                    <a:pt x="42" y="46"/>
                  </a:moveTo>
                  <a:lnTo>
                    <a:pt x="42" y="48"/>
                  </a:lnTo>
                  <a:lnTo>
                    <a:pt x="42" y="46"/>
                  </a:lnTo>
                  <a:lnTo>
                    <a:pt x="40" y="46"/>
                  </a:lnTo>
                  <a:lnTo>
                    <a:pt x="40" y="48"/>
                  </a:lnTo>
                  <a:lnTo>
                    <a:pt x="39" y="48"/>
                  </a:lnTo>
                  <a:lnTo>
                    <a:pt x="39" y="46"/>
                  </a:lnTo>
                  <a:lnTo>
                    <a:pt x="40" y="45"/>
                  </a:lnTo>
                  <a:lnTo>
                    <a:pt x="42" y="45"/>
                  </a:lnTo>
                  <a:lnTo>
                    <a:pt x="42" y="46"/>
                  </a:lnTo>
                  <a:close/>
                  <a:moveTo>
                    <a:pt x="32" y="44"/>
                  </a:moveTo>
                  <a:lnTo>
                    <a:pt x="31" y="44"/>
                  </a:lnTo>
                  <a:lnTo>
                    <a:pt x="32" y="44"/>
                  </a:lnTo>
                  <a:lnTo>
                    <a:pt x="32" y="43"/>
                  </a:lnTo>
                  <a:lnTo>
                    <a:pt x="32" y="44"/>
                  </a:lnTo>
                  <a:close/>
                  <a:moveTo>
                    <a:pt x="52" y="27"/>
                  </a:moveTo>
                  <a:lnTo>
                    <a:pt x="52" y="28"/>
                  </a:lnTo>
                  <a:lnTo>
                    <a:pt x="53" y="29"/>
                  </a:lnTo>
                  <a:lnTo>
                    <a:pt x="53" y="28"/>
                  </a:lnTo>
                  <a:lnTo>
                    <a:pt x="54" y="28"/>
                  </a:lnTo>
                  <a:lnTo>
                    <a:pt x="54" y="29"/>
                  </a:lnTo>
                  <a:lnTo>
                    <a:pt x="53" y="30"/>
                  </a:lnTo>
                  <a:lnTo>
                    <a:pt x="53" y="31"/>
                  </a:lnTo>
                  <a:lnTo>
                    <a:pt x="52" y="31"/>
                  </a:lnTo>
                  <a:lnTo>
                    <a:pt x="51" y="31"/>
                  </a:lnTo>
                  <a:lnTo>
                    <a:pt x="51" y="30"/>
                  </a:lnTo>
                  <a:lnTo>
                    <a:pt x="50" y="30"/>
                  </a:lnTo>
                  <a:lnTo>
                    <a:pt x="51" y="30"/>
                  </a:lnTo>
                  <a:lnTo>
                    <a:pt x="51" y="29"/>
                  </a:lnTo>
                  <a:lnTo>
                    <a:pt x="51" y="28"/>
                  </a:lnTo>
                  <a:lnTo>
                    <a:pt x="50" y="27"/>
                  </a:lnTo>
                  <a:lnTo>
                    <a:pt x="51" y="27"/>
                  </a:lnTo>
                  <a:lnTo>
                    <a:pt x="51" y="28"/>
                  </a:lnTo>
                  <a:lnTo>
                    <a:pt x="52" y="27"/>
                  </a:lnTo>
                  <a:lnTo>
                    <a:pt x="53" y="27"/>
                  </a:lnTo>
                  <a:lnTo>
                    <a:pt x="52" y="27"/>
                  </a:lnTo>
                  <a:close/>
                  <a:moveTo>
                    <a:pt x="35" y="16"/>
                  </a:moveTo>
                  <a:lnTo>
                    <a:pt x="35" y="17"/>
                  </a:lnTo>
                  <a:lnTo>
                    <a:pt x="34" y="17"/>
                  </a:lnTo>
                  <a:lnTo>
                    <a:pt x="34" y="16"/>
                  </a:lnTo>
                  <a:lnTo>
                    <a:pt x="35" y="16"/>
                  </a:lnTo>
                  <a:close/>
                  <a:moveTo>
                    <a:pt x="46" y="16"/>
                  </a:moveTo>
                  <a:lnTo>
                    <a:pt x="46" y="17"/>
                  </a:lnTo>
                  <a:lnTo>
                    <a:pt x="45" y="17"/>
                  </a:lnTo>
                  <a:lnTo>
                    <a:pt x="45" y="18"/>
                  </a:lnTo>
                  <a:lnTo>
                    <a:pt x="45" y="20"/>
                  </a:lnTo>
                  <a:lnTo>
                    <a:pt x="46" y="20"/>
                  </a:lnTo>
                  <a:lnTo>
                    <a:pt x="46" y="21"/>
                  </a:lnTo>
                  <a:lnTo>
                    <a:pt x="46" y="22"/>
                  </a:lnTo>
                  <a:lnTo>
                    <a:pt x="46" y="23"/>
                  </a:lnTo>
                  <a:lnTo>
                    <a:pt x="45" y="24"/>
                  </a:lnTo>
                  <a:lnTo>
                    <a:pt x="45" y="23"/>
                  </a:lnTo>
                  <a:lnTo>
                    <a:pt x="44" y="23"/>
                  </a:lnTo>
                  <a:lnTo>
                    <a:pt x="43" y="22"/>
                  </a:lnTo>
                  <a:lnTo>
                    <a:pt x="42" y="22"/>
                  </a:lnTo>
                  <a:lnTo>
                    <a:pt x="42" y="21"/>
                  </a:lnTo>
                  <a:lnTo>
                    <a:pt x="42" y="20"/>
                  </a:lnTo>
                  <a:lnTo>
                    <a:pt x="43" y="20"/>
                  </a:lnTo>
                  <a:lnTo>
                    <a:pt x="43" y="18"/>
                  </a:lnTo>
                  <a:lnTo>
                    <a:pt x="44" y="18"/>
                  </a:lnTo>
                  <a:lnTo>
                    <a:pt x="44" y="17"/>
                  </a:lnTo>
                  <a:lnTo>
                    <a:pt x="43" y="17"/>
                  </a:lnTo>
                  <a:lnTo>
                    <a:pt x="43" y="16"/>
                  </a:lnTo>
                  <a:lnTo>
                    <a:pt x="44" y="16"/>
                  </a:lnTo>
                  <a:lnTo>
                    <a:pt x="45" y="16"/>
                  </a:lnTo>
                  <a:lnTo>
                    <a:pt x="46" y="16"/>
                  </a:lnTo>
                  <a:close/>
                  <a:moveTo>
                    <a:pt x="38" y="11"/>
                  </a:moveTo>
                  <a:lnTo>
                    <a:pt x="38" y="13"/>
                  </a:lnTo>
                  <a:lnTo>
                    <a:pt x="37" y="13"/>
                  </a:lnTo>
                  <a:lnTo>
                    <a:pt x="37" y="14"/>
                  </a:lnTo>
                  <a:lnTo>
                    <a:pt x="37" y="15"/>
                  </a:lnTo>
                  <a:lnTo>
                    <a:pt x="37" y="16"/>
                  </a:lnTo>
                  <a:lnTo>
                    <a:pt x="36" y="16"/>
                  </a:lnTo>
                  <a:lnTo>
                    <a:pt x="35" y="16"/>
                  </a:lnTo>
                  <a:lnTo>
                    <a:pt x="36" y="16"/>
                  </a:lnTo>
                  <a:lnTo>
                    <a:pt x="36" y="15"/>
                  </a:lnTo>
                  <a:lnTo>
                    <a:pt x="37" y="14"/>
                  </a:lnTo>
                  <a:lnTo>
                    <a:pt x="37" y="13"/>
                  </a:lnTo>
                  <a:lnTo>
                    <a:pt x="37" y="11"/>
                  </a:lnTo>
                  <a:lnTo>
                    <a:pt x="38" y="11"/>
                  </a:lnTo>
                  <a:close/>
                  <a:moveTo>
                    <a:pt x="3" y="7"/>
                  </a:moveTo>
                  <a:lnTo>
                    <a:pt x="4" y="7"/>
                  </a:lnTo>
                  <a:lnTo>
                    <a:pt x="4" y="8"/>
                  </a:lnTo>
                  <a:lnTo>
                    <a:pt x="6" y="9"/>
                  </a:lnTo>
                  <a:lnTo>
                    <a:pt x="6" y="10"/>
                  </a:lnTo>
                  <a:lnTo>
                    <a:pt x="7" y="10"/>
                  </a:lnTo>
                  <a:lnTo>
                    <a:pt x="7" y="9"/>
                  </a:lnTo>
                  <a:lnTo>
                    <a:pt x="9" y="10"/>
                  </a:lnTo>
                  <a:lnTo>
                    <a:pt x="10" y="11"/>
                  </a:lnTo>
                  <a:lnTo>
                    <a:pt x="10" y="13"/>
                  </a:lnTo>
                  <a:lnTo>
                    <a:pt x="11" y="13"/>
                  </a:lnTo>
                  <a:lnTo>
                    <a:pt x="13" y="14"/>
                  </a:lnTo>
                  <a:lnTo>
                    <a:pt x="13" y="15"/>
                  </a:lnTo>
                  <a:lnTo>
                    <a:pt x="14" y="15"/>
                  </a:lnTo>
                  <a:lnTo>
                    <a:pt x="14" y="16"/>
                  </a:lnTo>
                  <a:lnTo>
                    <a:pt x="15" y="16"/>
                  </a:lnTo>
                  <a:lnTo>
                    <a:pt x="15" y="17"/>
                  </a:lnTo>
                  <a:lnTo>
                    <a:pt x="17" y="17"/>
                  </a:lnTo>
                  <a:lnTo>
                    <a:pt x="17" y="18"/>
                  </a:lnTo>
                  <a:lnTo>
                    <a:pt x="17" y="20"/>
                  </a:lnTo>
                  <a:lnTo>
                    <a:pt x="18" y="20"/>
                  </a:lnTo>
                  <a:lnTo>
                    <a:pt x="20" y="20"/>
                  </a:lnTo>
                  <a:lnTo>
                    <a:pt x="20" y="21"/>
                  </a:lnTo>
                  <a:lnTo>
                    <a:pt x="18" y="21"/>
                  </a:lnTo>
                  <a:lnTo>
                    <a:pt x="18" y="22"/>
                  </a:lnTo>
                  <a:lnTo>
                    <a:pt x="20" y="22"/>
                  </a:lnTo>
                  <a:lnTo>
                    <a:pt x="20" y="23"/>
                  </a:lnTo>
                  <a:lnTo>
                    <a:pt x="21" y="23"/>
                  </a:lnTo>
                  <a:lnTo>
                    <a:pt x="21" y="24"/>
                  </a:lnTo>
                  <a:lnTo>
                    <a:pt x="21" y="25"/>
                  </a:lnTo>
                  <a:lnTo>
                    <a:pt x="22" y="25"/>
                  </a:lnTo>
                  <a:lnTo>
                    <a:pt x="23" y="25"/>
                  </a:lnTo>
                  <a:lnTo>
                    <a:pt x="23" y="27"/>
                  </a:lnTo>
                  <a:lnTo>
                    <a:pt x="23" y="28"/>
                  </a:lnTo>
                  <a:lnTo>
                    <a:pt x="23" y="27"/>
                  </a:lnTo>
                  <a:lnTo>
                    <a:pt x="24" y="27"/>
                  </a:lnTo>
                  <a:lnTo>
                    <a:pt x="24" y="28"/>
                  </a:lnTo>
                  <a:lnTo>
                    <a:pt x="24" y="27"/>
                  </a:lnTo>
                  <a:lnTo>
                    <a:pt x="24" y="28"/>
                  </a:lnTo>
                  <a:lnTo>
                    <a:pt x="24" y="29"/>
                  </a:lnTo>
                  <a:lnTo>
                    <a:pt x="25" y="29"/>
                  </a:lnTo>
                  <a:lnTo>
                    <a:pt x="25" y="28"/>
                  </a:lnTo>
                  <a:lnTo>
                    <a:pt x="27" y="29"/>
                  </a:lnTo>
                  <a:lnTo>
                    <a:pt x="25" y="29"/>
                  </a:lnTo>
                  <a:lnTo>
                    <a:pt x="27" y="29"/>
                  </a:lnTo>
                  <a:lnTo>
                    <a:pt x="25" y="29"/>
                  </a:lnTo>
                  <a:lnTo>
                    <a:pt x="27" y="29"/>
                  </a:lnTo>
                  <a:lnTo>
                    <a:pt x="28" y="30"/>
                  </a:lnTo>
                  <a:lnTo>
                    <a:pt x="28" y="31"/>
                  </a:lnTo>
                  <a:lnTo>
                    <a:pt x="29" y="31"/>
                  </a:lnTo>
                  <a:lnTo>
                    <a:pt x="29" y="32"/>
                  </a:lnTo>
                  <a:lnTo>
                    <a:pt x="30" y="32"/>
                  </a:lnTo>
                  <a:lnTo>
                    <a:pt x="30" y="34"/>
                  </a:lnTo>
                  <a:lnTo>
                    <a:pt x="31" y="34"/>
                  </a:lnTo>
                  <a:lnTo>
                    <a:pt x="31" y="35"/>
                  </a:lnTo>
                  <a:lnTo>
                    <a:pt x="32" y="36"/>
                  </a:lnTo>
                  <a:lnTo>
                    <a:pt x="34" y="36"/>
                  </a:lnTo>
                  <a:lnTo>
                    <a:pt x="32" y="36"/>
                  </a:lnTo>
                  <a:lnTo>
                    <a:pt x="32" y="37"/>
                  </a:lnTo>
                  <a:lnTo>
                    <a:pt x="34" y="37"/>
                  </a:lnTo>
                  <a:lnTo>
                    <a:pt x="35" y="37"/>
                  </a:lnTo>
                  <a:lnTo>
                    <a:pt x="36" y="38"/>
                  </a:lnTo>
                  <a:lnTo>
                    <a:pt x="36" y="39"/>
                  </a:lnTo>
                  <a:lnTo>
                    <a:pt x="35" y="39"/>
                  </a:lnTo>
                  <a:lnTo>
                    <a:pt x="36" y="39"/>
                  </a:lnTo>
                  <a:lnTo>
                    <a:pt x="36" y="41"/>
                  </a:lnTo>
                  <a:lnTo>
                    <a:pt x="36" y="42"/>
                  </a:lnTo>
                  <a:lnTo>
                    <a:pt x="35" y="42"/>
                  </a:lnTo>
                  <a:lnTo>
                    <a:pt x="35" y="43"/>
                  </a:lnTo>
                  <a:lnTo>
                    <a:pt x="35" y="42"/>
                  </a:lnTo>
                  <a:lnTo>
                    <a:pt x="35" y="43"/>
                  </a:lnTo>
                  <a:lnTo>
                    <a:pt x="34" y="43"/>
                  </a:lnTo>
                  <a:lnTo>
                    <a:pt x="34" y="42"/>
                  </a:lnTo>
                  <a:lnTo>
                    <a:pt x="34" y="43"/>
                  </a:lnTo>
                  <a:lnTo>
                    <a:pt x="34" y="42"/>
                  </a:lnTo>
                  <a:lnTo>
                    <a:pt x="32" y="42"/>
                  </a:lnTo>
                  <a:lnTo>
                    <a:pt x="32" y="43"/>
                  </a:lnTo>
                  <a:lnTo>
                    <a:pt x="31" y="43"/>
                  </a:lnTo>
                  <a:lnTo>
                    <a:pt x="32" y="43"/>
                  </a:lnTo>
                  <a:lnTo>
                    <a:pt x="31" y="43"/>
                  </a:lnTo>
                  <a:lnTo>
                    <a:pt x="31" y="42"/>
                  </a:lnTo>
                  <a:lnTo>
                    <a:pt x="30" y="42"/>
                  </a:lnTo>
                  <a:lnTo>
                    <a:pt x="29" y="42"/>
                  </a:lnTo>
                  <a:lnTo>
                    <a:pt x="29" y="41"/>
                  </a:lnTo>
                  <a:lnTo>
                    <a:pt x="30" y="41"/>
                  </a:lnTo>
                  <a:lnTo>
                    <a:pt x="29" y="41"/>
                  </a:lnTo>
                  <a:lnTo>
                    <a:pt x="29" y="42"/>
                  </a:lnTo>
                  <a:lnTo>
                    <a:pt x="28" y="42"/>
                  </a:lnTo>
                  <a:lnTo>
                    <a:pt x="28" y="41"/>
                  </a:lnTo>
                  <a:lnTo>
                    <a:pt x="28" y="39"/>
                  </a:lnTo>
                  <a:lnTo>
                    <a:pt x="28" y="41"/>
                  </a:lnTo>
                  <a:lnTo>
                    <a:pt x="27" y="41"/>
                  </a:lnTo>
                  <a:lnTo>
                    <a:pt x="27" y="39"/>
                  </a:lnTo>
                  <a:lnTo>
                    <a:pt x="25" y="39"/>
                  </a:lnTo>
                  <a:lnTo>
                    <a:pt x="25" y="38"/>
                  </a:lnTo>
                  <a:lnTo>
                    <a:pt x="24" y="38"/>
                  </a:lnTo>
                  <a:lnTo>
                    <a:pt x="24" y="37"/>
                  </a:lnTo>
                  <a:lnTo>
                    <a:pt x="25" y="37"/>
                  </a:lnTo>
                  <a:lnTo>
                    <a:pt x="24" y="37"/>
                  </a:lnTo>
                  <a:lnTo>
                    <a:pt x="25" y="37"/>
                  </a:lnTo>
                  <a:lnTo>
                    <a:pt x="25" y="36"/>
                  </a:lnTo>
                  <a:lnTo>
                    <a:pt x="24" y="36"/>
                  </a:lnTo>
                  <a:lnTo>
                    <a:pt x="24" y="35"/>
                  </a:lnTo>
                  <a:lnTo>
                    <a:pt x="24" y="36"/>
                  </a:lnTo>
                  <a:lnTo>
                    <a:pt x="23" y="36"/>
                  </a:lnTo>
                  <a:lnTo>
                    <a:pt x="22" y="36"/>
                  </a:lnTo>
                  <a:lnTo>
                    <a:pt x="22" y="35"/>
                  </a:lnTo>
                  <a:lnTo>
                    <a:pt x="21" y="35"/>
                  </a:lnTo>
                  <a:lnTo>
                    <a:pt x="21" y="34"/>
                  </a:lnTo>
                  <a:lnTo>
                    <a:pt x="21" y="32"/>
                  </a:lnTo>
                  <a:lnTo>
                    <a:pt x="20" y="32"/>
                  </a:lnTo>
                  <a:lnTo>
                    <a:pt x="20" y="34"/>
                  </a:lnTo>
                  <a:lnTo>
                    <a:pt x="20" y="32"/>
                  </a:lnTo>
                  <a:lnTo>
                    <a:pt x="17" y="31"/>
                  </a:lnTo>
                  <a:lnTo>
                    <a:pt x="16" y="31"/>
                  </a:lnTo>
                  <a:lnTo>
                    <a:pt x="15" y="30"/>
                  </a:lnTo>
                  <a:lnTo>
                    <a:pt x="15" y="29"/>
                  </a:lnTo>
                  <a:lnTo>
                    <a:pt x="14" y="29"/>
                  </a:lnTo>
                  <a:lnTo>
                    <a:pt x="14" y="28"/>
                  </a:lnTo>
                  <a:lnTo>
                    <a:pt x="14" y="27"/>
                  </a:lnTo>
                  <a:lnTo>
                    <a:pt x="13" y="27"/>
                  </a:lnTo>
                  <a:lnTo>
                    <a:pt x="13" y="28"/>
                  </a:lnTo>
                  <a:lnTo>
                    <a:pt x="13" y="27"/>
                  </a:lnTo>
                  <a:lnTo>
                    <a:pt x="13" y="28"/>
                  </a:lnTo>
                  <a:lnTo>
                    <a:pt x="13" y="27"/>
                  </a:lnTo>
                  <a:lnTo>
                    <a:pt x="11" y="25"/>
                  </a:lnTo>
                  <a:lnTo>
                    <a:pt x="11" y="27"/>
                  </a:lnTo>
                  <a:lnTo>
                    <a:pt x="11" y="25"/>
                  </a:lnTo>
                  <a:lnTo>
                    <a:pt x="10" y="24"/>
                  </a:lnTo>
                  <a:lnTo>
                    <a:pt x="10" y="23"/>
                  </a:lnTo>
                  <a:lnTo>
                    <a:pt x="10" y="22"/>
                  </a:lnTo>
                  <a:lnTo>
                    <a:pt x="9" y="22"/>
                  </a:lnTo>
                  <a:lnTo>
                    <a:pt x="9" y="23"/>
                  </a:lnTo>
                  <a:lnTo>
                    <a:pt x="9" y="22"/>
                  </a:lnTo>
                  <a:lnTo>
                    <a:pt x="9" y="21"/>
                  </a:lnTo>
                  <a:lnTo>
                    <a:pt x="9" y="20"/>
                  </a:lnTo>
                  <a:lnTo>
                    <a:pt x="8" y="20"/>
                  </a:lnTo>
                  <a:lnTo>
                    <a:pt x="7" y="20"/>
                  </a:lnTo>
                  <a:lnTo>
                    <a:pt x="7" y="18"/>
                  </a:lnTo>
                  <a:lnTo>
                    <a:pt x="6" y="17"/>
                  </a:lnTo>
                  <a:lnTo>
                    <a:pt x="7" y="17"/>
                  </a:lnTo>
                  <a:lnTo>
                    <a:pt x="7" y="16"/>
                  </a:lnTo>
                  <a:lnTo>
                    <a:pt x="6" y="16"/>
                  </a:lnTo>
                  <a:lnTo>
                    <a:pt x="6" y="15"/>
                  </a:lnTo>
                  <a:lnTo>
                    <a:pt x="4" y="14"/>
                  </a:lnTo>
                  <a:lnTo>
                    <a:pt x="4" y="13"/>
                  </a:lnTo>
                  <a:lnTo>
                    <a:pt x="4" y="11"/>
                  </a:lnTo>
                  <a:lnTo>
                    <a:pt x="3" y="11"/>
                  </a:lnTo>
                  <a:lnTo>
                    <a:pt x="4" y="11"/>
                  </a:lnTo>
                  <a:lnTo>
                    <a:pt x="4" y="10"/>
                  </a:lnTo>
                  <a:lnTo>
                    <a:pt x="3" y="10"/>
                  </a:lnTo>
                  <a:lnTo>
                    <a:pt x="3" y="9"/>
                  </a:lnTo>
                  <a:lnTo>
                    <a:pt x="3" y="10"/>
                  </a:lnTo>
                  <a:lnTo>
                    <a:pt x="3" y="9"/>
                  </a:lnTo>
                  <a:lnTo>
                    <a:pt x="2" y="9"/>
                  </a:lnTo>
                  <a:lnTo>
                    <a:pt x="3" y="9"/>
                  </a:lnTo>
                  <a:lnTo>
                    <a:pt x="3" y="8"/>
                  </a:lnTo>
                  <a:lnTo>
                    <a:pt x="3" y="7"/>
                  </a:lnTo>
                  <a:close/>
                  <a:moveTo>
                    <a:pt x="7" y="8"/>
                  </a:moveTo>
                  <a:lnTo>
                    <a:pt x="6" y="8"/>
                  </a:lnTo>
                  <a:lnTo>
                    <a:pt x="6" y="7"/>
                  </a:lnTo>
                  <a:lnTo>
                    <a:pt x="7" y="7"/>
                  </a:lnTo>
                  <a:lnTo>
                    <a:pt x="7" y="8"/>
                  </a:lnTo>
                  <a:close/>
                  <a:moveTo>
                    <a:pt x="3" y="7"/>
                  </a:moveTo>
                  <a:lnTo>
                    <a:pt x="2" y="6"/>
                  </a:lnTo>
                  <a:lnTo>
                    <a:pt x="3" y="6"/>
                  </a:lnTo>
                  <a:lnTo>
                    <a:pt x="3" y="7"/>
                  </a:lnTo>
                  <a:close/>
                  <a:moveTo>
                    <a:pt x="1" y="2"/>
                  </a:moveTo>
                  <a:lnTo>
                    <a:pt x="0" y="2"/>
                  </a:lnTo>
                  <a:lnTo>
                    <a:pt x="0" y="1"/>
                  </a:lnTo>
                  <a:lnTo>
                    <a:pt x="0" y="0"/>
                  </a:lnTo>
                  <a:lnTo>
                    <a:pt x="1" y="1"/>
                  </a:lnTo>
                  <a:lnTo>
                    <a:pt x="1"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04" name="Freeform 960">
              <a:extLst>
                <a:ext uri="{FF2B5EF4-FFF2-40B4-BE49-F238E27FC236}">
                  <a16:creationId xmlns:a16="http://schemas.microsoft.com/office/drawing/2014/main" id="{FDDAE8F3-08EE-4D1A-A1CD-3DCE4B8AAE0E}"/>
                </a:ext>
              </a:extLst>
            </p:cNvPr>
            <p:cNvSpPr>
              <a:spLocks/>
            </p:cNvSpPr>
            <p:nvPr/>
          </p:nvSpPr>
          <p:spPr bwMode="auto">
            <a:xfrm>
              <a:off x="5810435" y="2850391"/>
              <a:ext cx="288465" cy="251072"/>
            </a:xfrm>
            <a:custGeom>
              <a:avLst/>
              <a:gdLst>
                <a:gd name="T0" fmla="*/ 203 w 216"/>
                <a:gd name="T1" fmla="*/ 18 h 188"/>
                <a:gd name="T2" fmla="*/ 205 w 216"/>
                <a:gd name="T3" fmla="*/ 28 h 188"/>
                <a:gd name="T4" fmla="*/ 208 w 216"/>
                <a:gd name="T5" fmla="*/ 36 h 188"/>
                <a:gd name="T6" fmla="*/ 210 w 216"/>
                <a:gd name="T7" fmla="*/ 43 h 188"/>
                <a:gd name="T8" fmla="*/ 215 w 216"/>
                <a:gd name="T9" fmla="*/ 51 h 188"/>
                <a:gd name="T10" fmla="*/ 213 w 216"/>
                <a:gd name="T11" fmla="*/ 61 h 188"/>
                <a:gd name="T12" fmla="*/ 212 w 216"/>
                <a:gd name="T13" fmla="*/ 70 h 188"/>
                <a:gd name="T14" fmla="*/ 212 w 216"/>
                <a:gd name="T15" fmla="*/ 81 h 188"/>
                <a:gd name="T16" fmla="*/ 212 w 216"/>
                <a:gd name="T17" fmla="*/ 91 h 188"/>
                <a:gd name="T18" fmla="*/ 210 w 216"/>
                <a:gd name="T19" fmla="*/ 102 h 188"/>
                <a:gd name="T20" fmla="*/ 206 w 216"/>
                <a:gd name="T21" fmla="*/ 111 h 188"/>
                <a:gd name="T22" fmla="*/ 199 w 216"/>
                <a:gd name="T23" fmla="*/ 120 h 188"/>
                <a:gd name="T24" fmla="*/ 193 w 216"/>
                <a:gd name="T25" fmla="*/ 128 h 188"/>
                <a:gd name="T26" fmla="*/ 187 w 216"/>
                <a:gd name="T27" fmla="*/ 137 h 188"/>
                <a:gd name="T28" fmla="*/ 182 w 216"/>
                <a:gd name="T29" fmla="*/ 144 h 188"/>
                <a:gd name="T30" fmla="*/ 185 w 216"/>
                <a:gd name="T31" fmla="*/ 154 h 188"/>
                <a:gd name="T32" fmla="*/ 179 w 216"/>
                <a:gd name="T33" fmla="*/ 159 h 188"/>
                <a:gd name="T34" fmla="*/ 173 w 216"/>
                <a:gd name="T35" fmla="*/ 161 h 188"/>
                <a:gd name="T36" fmla="*/ 166 w 216"/>
                <a:gd name="T37" fmla="*/ 166 h 188"/>
                <a:gd name="T38" fmla="*/ 146 w 216"/>
                <a:gd name="T39" fmla="*/ 161 h 188"/>
                <a:gd name="T40" fmla="*/ 131 w 216"/>
                <a:gd name="T41" fmla="*/ 169 h 188"/>
                <a:gd name="T42" fmla="*/ 116 w 216"/>
                <a:gd name="T43" fmla="*/ 167 h 188"/>
                <a:gd name="T44" fmla="*/ 104 w 216"/>
                <a:gd name="T45" fmla="*/ 161 h 188"/>
                <a:gd name="T46" fmla="*/ 93 w 216"/>
                <a:gd name="T47" fmla="*/ 167 h 188"/>
                <a:gd name="T48" fmla="*/ 74 w 216"/>
                <a:gd name="T49" fmla="*/ 153 h 188"/>
                <a:gd name="T50" fmla="*/ 64 w 216"/>
                <a:gd name="T51" fmla="*/ 155 h 188"/>
                <a:gd name="T52" fmla="*/ 52 w 216"/>
                <a:gd name="T53" fmla="*/ 170 h 188"/>
                <a:gd name="T54" fmla="*/ 47 w 216"/>
                <a:gd name="T55" fmla="*/ 186 h 188"/>
                <a:gd name="T56" fmla="*/ 43 w 216"/>
                <a:gd name="T57" fmla="*/ 183 h 188"/>
                <a:gd name="T58" fmla="*/ 36 w 216"/>
                <a:gd name="T59" fmla="*/ 176 h 188"/>
                <a:gd name="T60" fmla="*/ 30 w 216"/>
                <a:gd name="T61" fmla="*/ 180 h 188"/>
                <a:gd name="T62" fmla="*/ 28 w 216"/>
                <a:gd name="T63" fmla="*/ 181 h 188"/>
                <a:gd name="T64" fmla="*/ 28 w 216"/>
                <a:gd name="T65" fmla="*/ 175 h 188"/>
                <a:gd name="T66" fmla="*/ 21 w 216"/>
                <a:gd name="T67" fmla="*/ 173 h 188"/>
                <a:gd name="T68" fmla="*/ 11 w 216"/>
                <a:gd name="T69" fmla="*/ 167 h 188"/>
                <a:gd name="T70" fmla="*/ 13 w 216"/>
                <a:gd name="T71" fmla="*/ 162 h 188"/>
                <a:gd name="T72" fmla="*/ 9 w 216"/>
                <a:gd name="T73" fmla="*/ 156 h 188"/>
                <a:gd name="T74" fmla="*/ 3 w 216"/>
                <a:gd name="T75" fmla="*/ 151 h 188"/>
                <a:gd name="T76" fmla="*/ 0 w 216"/>
                <a:gd name="T77" fmla="*/ 138 h 188"/>
                <a:gd name="T78" fmla="*/ 11 w 216"/>
                <a:gd name="T79" fmla="*/ 134 h 188"/>
                <a:gd name="T80" fmla="*/ 23 w 216"/>
                <a:gd name="T81" fmla="*/ 131 h 188"/>
                <a:gd name="T82" fmla="*/ 35 w 216"/>
                <a:gd name="T83" fmla="*/ 130 h 188"/>
                <a:gd name="T84" fmla="*/ 46 w 216"/>
                <a:gd name="T85" fmla="*/ 127 h 188"/>
                <a:gd name="T86" fmla="*/ 52 w 216"/>
                <a:gd name="T87" fmla="*/ 118 h 188"/>
                <a:gd name="T88" fmla="*/ 56 w 216"/>
                <a:gd name="T89" fmla="*/ 104 h 188"/>
                <a:gd name="T90" fmla="*/ 56 w 216"/>
                <a:gd name="T91" fmla="*/ 88 h 188"/>
                <a:gd name="T92" fmla="*/ 56 w 216"/>
                <a:gd name="T93" fmla="*/ 70 h 188"/>
                <a:gd name="T94" fmla="*/ 77 w 216"/>
                <a:gd name="T95" fmla="*/ 65 h 188"/>
                <a:gd name="T96" fmla="*/ 84 w 216"/>
                <a:gd name="T97" fmla="*/ 58 h 188"/>
                <a:gd name="T98" fmla="*/ 92 w 216"/>
                <a:gd name="T99" fmla="*/ 50 h 188"/>
                <a:gd name="T100" fmla="*/ 100 w 216"/>
                <a:gd name="T101" fmla="*/ 42 h 188"/>
                <a:gd name="T102" fmla="*/ 109 w 216"/>
                <a:gd name="T103" fmla="*/ 35 h 188"/>
                <a:gd name="T104" fmla="*/ 118 w 216"/>
                <a:gd name="T105" fmla="*/ 29 h 188"/>
                <a:gd name="T106" fmla="*/ 129 w 216"/>
                <a:gd name="T107" fmla="*/ 22 h 188"/>
                <a:gd name="T108" fmla="*/ 137 w 216"/>
                <a:gd name="T109" fmla="*/ 16 h 188"/>
                <a:gd name="T110" fmla="*/ 146 w 216"/>
                <a:gd name="T111" fmla="*/ 9 h 188"/>
                <a:gd name="T112" fmla="*/ 157 w 216"/>
                <a:gd name="T113" fmla="*/ 2 h 188"/>
                <a:gd name="T114" fmla="*/ 167 w 216"/>
                <a:gd name="T115" fmla="*/ 2 h 188"/>
                <a:gd name="T116" fmla="*/ 178 w 216"/>
                <a:gd name="T117" fmla="*/ 5 h 188"/>
                <a:gd name="T118" fmla="*/ 192 w 216"/>
                <a:gd name="T119" fmla="*/ 1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6" h="188">
                  <a:moveTo>
                    <a:pt x="201" y="8"/>
                  </a:moveTo>
                  <a:lnTo>
                    <a:pt x="201" y="9"/>
                  </a:lnTo>
                  <a:lnTo>
                    <a:pt x="201" y="11"/>
                  </a:lnTo>
                  <a:lnTo>
                    <a:pt x="202" y="12"/>
                  </a:lnTo>
                  <a:lnTo>
                    <a:pt x="202" y="13"/>
                  </a:lnTo>
                  <a:lnTo>
                    <a:pt x="202" y="14"/>
                  </a:lnTo>
                  <a:lnTo>
                    <a:pt x="202" y="15"/>
                  </a:lnTo>
                  <a:lnTo>
                    <a:pt x="202" y="16"/>
                  </a:lnTo>
                  <a:lnTo>
                    <a:pt x="203" y="18"/>
                  </a:lnTo>
                  <a:lnTo>
                    <a:pt x="203" y="19"/>
                  </a:lnTo>
                  <a:lnTo>
                    <a:pt x="203" y="20"/>
                  </a:lnTo>
                  <a:lnTo>
                    <a:pt x="203" y="21"/>
                  </a:lnTo>
                  <a:lnTo>
                    <a:pt x="203" y="22"/>
                  </a:lnTo>
                  <a:lnTo>
                    <a:pt x="205" y="23"/>
                  </a:lnTo>
                  <a:lnTo>
                    <a:pt x="205" y="25"/>
                  </a:lnTo>
                  <a:lnTo>
                    <a:pt x="205" y="26"/>
                  </a:lnTo>
                  <a:lnTo>
                    <a:pt x="205" y="27"/>
                  </a:lnTo>
                  <a:lnTo>
                    <a:pt x="205" y="28"/>
                  </a:lnTo>
                  <a:lnTo>
                    <a:pt x="205" y="29"/>
                  </a:lnTo>
                  <a:lnTo>
                    <a:pt x="205" y="30"/>
                  </a:lnTo>
                  <a:lnTo>
                    <a:pt x="205" y="32"/>
                  </a:lnTo>
                  <a:lnTo>
                    <a:pt x="205" y="33"/>
                  </a:lnTo>
                  <a:lnTo>
                    <a:pt x="206" y="33"/>
                  </a:lnTo>
                  <a:lnTo>
                    <a:pt x="206" y="34"/>
                  </a:lnTo>
                  <a:lnTo>
                    <a:pt x="207" y="34"/>
                  </a:lnTo>
                  <a:lnTo>
                    <a:pt x="207" y="35"/>
                  </a:lnTo>
                  <a:lnTo>
                    <a:pt x="208" y="36"/>
                  </a:lnTo>
                  <a:lnTo>
                    <a:pt x="208" y="37"/>
                  </a:lnTo>
                  <a:lnTo>
                    <a:pt x="209" y="37"/>
                  </a:lnTo>
                  <a:lnTo>
                    <a:pt x="209" y="39"/>
                  </a:lnTo>
                  <a:lnTo>
                    <a:pt x="209" y="40"/>
                  </a:lnTo>
                  <a:lnTo>
                    <a:pt x="210" y="40"/>
                  </a:lnTo>
                  <a:lnTo>
                    <a:pt x="210" y="41"/>
                  </a:lnTo>
                  <a:lnTo>
                    <a:pt x="209" y="42"/>
                  </a:lnTo>
                  <a:lnTo>
                    <a:pt x="209" y="43"/>
                  </a:lnTo>
                  <a:lnTo>
                    <a:pt x="210" y="43"/>
                  </a:lnTo>
                  <a:lnTo>
                    <a:pt x="210" y="44"/>
                  </a:lnTo>
                  <a:lnTo>
                    <a:pt x="212" y="46"/>
                  </a:lnTo>
                  <a:lnTo>
                    <a:pt x="213" y="47"/>
                  </a:lnTo>
                  <a:lnTo>
                    <a:pt x="214" y="48"/>
                  </a:lnTo>
                  <a:lnTo>
                    <a:pt x="214" y="49"/>
                  </a:lnTo>
                  <a:lnTo>
                    <a:pt x="215" y="50"/>
                  </a:lnTo>
                  <a:lnTo>
                    <a:pt x="216" y="50"/>
                  </a:lnTo>
                  <a:lnTo>
                    <a:pt x="216" y="51"/>
                  </a:lnTo>
                  <a:lnTo>
                    <a:pt x="215" y="51"/>
                  </a:lnTo>
                  <a:lnTo>
                    <a:pt x="215" y="53"/>
                  </a:lnTo>
                  <a:lnTo>
                    <a:pt x="214" y="54"/>
                  </a:lnTo>
                  <a:lnTo>
                    <a:pt x="214" y="55"/>
                  </a:lnTo>
                  <a:lnTo>
                    <a:pt x="214" y="56"/>
                  </a:lnTo>
                  <a:lnTo>
                    <a:pt x="213" y="56"/>
                  </a:lnTo>
                  <a:lnTo>
                    <a:pt x="213" y="57"/>
                  </a:lnTo>
                  <a:lnTo>
                    <a:pt x="213" y="58"/>
                  </a:lnTo>
                  <a:lnTo>
                    <a:pt x="213" y="60"/>
                  </a:lnTo>
                  <a:lnTo>
                    <a:pt x="213" y="61"/>
                  </a:lnTo>
                  <a:lnTo>
                    <a:pt x="213" y="62"/>
                  </a:lnTo>
                  <a:lnTo>
                    <a:pt x="213" y="63"/>
                  </a:lnTo>
                  <a:lnTo>
                    <a:pt x="213" y="64"/>
                  </a:lnTo>
                  <a:lnTo>
                    <a:pt x="213" y="65"/>
                  </a:lnTo>
                  <a:lnTo>
                    <a:pt x="213" y="67"/>
                  </a:lnTo>
                  <a:lnTo>
                    <a:pt x="213" y="68"/>
                  </a:lnTo>
                  <a:lnTo>
                    <a:pt x="213" y="69"/>
                  </a:lnTo>
                  <a:lnTo>
                    <a:pt x="213" y="70"/>
                  </a:lnTo>
                  <a:lnTo>
                    <a:pt x="212" y="70"/>
                  </a:lnTo>
                  <a:lnTo>
                    <a:pt x="212" y="71"/>
                  </a:lnTo>
                  <a:lnTo>
                    <a:pt x="212" y="72"/>
                  </a:lnTo>
                  <a:lnTo>
                    <a:pt x="212" y="74"/>
                  </a:lnTo>
                  <a:lnTo>
                    <a:pt x="212" y="75"/>
                  </a:lnTo>
                  <a:lnTo>
                    <a:pt x="212" y="76"/>
                  </a:lnTo>
                  <a:lnTo>
                    <a:pt x="212" y="77"/>
                  </a:lnTo>
                  <a:lnTo>
                    <a:pt x="212" y="78"/>
                  </a:lnTo>
                  <a:lnTo>
                    <a:pt x="212" y="79"/>
                  </a:lnTo>
                  <a:lnTo>
                    <a:pt x="212" y="81"/>
                  </a:lnTo>
                  <a:lnTo>
                    <a:pt x="212" y="82"/>
                  </a:lnTo>
                  <a:lnTo>
                    <a:pt x="212" y="83"/>
                  </a:lnTo>
                  <a:lnTo>
                    <a:pt x="212" y="84"/>
                  </a:lnTo>
                  <a:lnTo>
                    <a:pt x="212" y="85"/>
                  </a:lnTo>
                  <a:lnTo>
                    <a:pt x="212" y="86"/>
                  </a:lnTo>
                  <a:lnTo>
                    <a:pt x="212" y="88"/>
                  </a:lnTo>
                  <a:lnTo>
                    <a:pt x="212" y="89"/>
                  </a:lnTo>
                  <a:lnTo>
                    <a:pt x="212" y="90"/>
                  </a:lnTo>
                  <a:lnTo>
                    <a:pt x="212" y="91"/>
                  </a:lnTo>
                  <a:lnTo>
                    <a:pt x="210" y="92"/>
                  </a:lnTo>
                  <a:lnTo>
                    <a:pt x="210" y="93"/>
                  </a:lnTo>
                  <a:lnTo>
                    <a:pt x="210" y="95"/>
                  </a:lnTo>
                  <a:lnTo>
                    <a:pt x="210" y="96"/>
                  </a:lnTo>
                  <a:lnTo>
                    <a:pt x="210" y="97"/>
                  </a:lnTo>
                  <a:lnTo>
                    <a:pt x="210" y="98"/>
                  </a:lnTo>
                  <a:lnTo>
                    <a:pt x="210" y="99"/>
                  </a:lnTo>
                  <a:lnTo>
                    <a:pt x="210" y="100"/>
                  </a:lnTo>
                  <a:lnTo>
                    <a:pt x="210" y="102"/>
                  </a:lnTo>
                  <a:lnTo>
                    <a:pt x="210" y="103"/>
                  </a:lnTo>
                  <a:lnTo>
                    <a:pt x="210" y="104"/>
                  </a:lnTo>
                  <a:lnTo>
                    <a:pt x="210" y="105"/>
                  </a:lnTo>
                  <a:lnTo>
                    <a:pt x="209" y="106"/>
                  </a:lnTo>
                  <a:lnTo>
                    <a:pt x="209" y="107"/>
                  </a:lnTo>
                  <a:lnTo>
                    <a:pt x="208" y="107"/>
                  </a:lnTo>
                  <a:lnTo>
                    <a:pt x="207" y="109"/>
                  </a:lnTo>
                  <a:lnTo>
                    <a:pt x="207" y="110"/>
                  </a:lnTo>
                  <a:lnTo>
                    <a:pt x="206" y="111"/>
                  </a:lnTo>
                  <a:lnTo>
                    <a:pt x="205" y="112"/>
                  </a:lnTo>
                  <a:lnTo>
                    <a:pt x="203" y="113"/>
                  </a:lnTo>
                  <a:lnTo>
                    <a:pt x="202" y="114"/>
                  </a:lnTo>
                  <a:lnTo>
                    <a:pt x="202" y="116"/>
                  </a:lnTo>
                  <a:lnTo>
                    <a:pt x="201" y="117"/>
                  </a:lnTo>
                  <a:lnTo>
                    <a:pt x="200" y="117"/>
                  </a:lnTo>
                  <a:lnTo>
                    <a:pt x="200" y="118"/>
                  </a:lnTo>
                  <a:lnTo>
                    <a:pt x="199" y="119"/>
                  </a:lnTo>
                  <a:lnTo>
                    <a:pt x="199" y="120"/>
                  </a:lnTo>
                  <a:lnTo>
                    <a:pt x="198" y="121"/>
                  </a:lnTo>
                  <a:lnTo>
                    <a:pt x="196" y="121"/>
                  </a:lnTo>
                  <a:lnTo>
                    <a:pt x="196" y="123"/>
                  </a:lnTo>
                  <a:lnTo>
                    <a:pt x="195" y="124"/>
                  </a:lnTo>
                  <a:lnTo>
                    <a:pt x="194" y="125"/>
                  </a:lnTo>
                  <a:lnTo>
                    <a:pt x="194" y="126"/>
                  </a:lnTo>
                  <a:lnTo>
                    <a:pt x="193" y="126"/>
                  </a:lnTo>
                  <a:lnTo>
                    <a:pt x="193" y="127"/>
                  </a:lnTo>
                  <a:lnTo>
                    <a:pt x="193" y="128"/>
                  </a:lnTo>
                  <a:lnTo>
                    <a:pt x="192" y="128"/>
                  </a:lnTo>
                  <a:lnTo>
                    <a:pt x="192" y="130"/>
                  </a:lnTo>
                  <a:lnTo>
                    <a:pt x="191" y="131"/>
                  </a:lnTo>
                  <a:lnTo>
                    <a:pt x="191" y="132"/>
                  </a:lnTo>
                  <a:lnTo>
                    <a:pt x="189" y="132"/>
                  </a:lnTo>
                  <a:lnTo>
                    <a:pt x="189" y="133"/>
                  </a:lnTo>
                  <a:lnTo>
                    <a:pt x="188" y="134"/>
                  </a:lnTo>
                  <a:lnTo>
                    <a:pt x="188" y="135"/>
                  </a:lnTo>
                  <a:lnTo>
                    <a:pt x="187" y="137"/>
                  </a:lnTo>
                  <a:lnTo>
                    <a:pt x="187" y="138"/>
                  </a:lnTo>
                  <a:lnTo>
                    <a:pt x="187" y="139"/>
                  </a:lnTo>
                  <a:lnTo>
                    <a:pt x="187" y="140"/>
                  </a:lnTo>
                  <a:lnTo>
                    <a:pt x="186" y="140"/>
                  </a:lnTo>
                  <a:lnTo>
                    <a:pt x="186" y="141"/>
                  </a:lnTo>
                  <a:lnTo>
                    <a:pt x="186" y="142"/>
                  </a:lnTo>
                  <a:lnTo>
                    <a:pt x="185" y="142"/>
                  </a:lnTo>
                  <a:lnTo>
                    <a:pt x="184" y="144"/>
                  </a:lnTo>
                  <a:lnTo>
                    <a:pt x="182" y="144"/>
                  </a:lnTo>
                  <a:lnTo>
                    <a:pt x="182" y="145"/>
                  </a:lnTo>
                  <a:lnTo>
                    <a:pt x="184" y="146"/>
                  </a:lnTo>
                  <a:lnTo>
                    <a:pt x="184" y="147"/>
                  </a:lnTo>
                  <a:lnTo>
                    <a:pt x="184" y="148"/>
                  </a:lnTo>
                  <a:lnTo>
                    <a:pt x="184" y="149"/>
                  </a:lnTo>
                  <a:lnTo>
                    <a:pt x="185" y="151"/>
                  </a:lnTo>
                  <a:lnTo>
                    <a:pt x="185" y="152"/>
                  </a:lnTo>
                  <a:lnTo>
                    <a:pt x="185" y="153"/>
                  </a:lnTo>
                  <a:lnTo>
                    <a:pt x="185" y="154"/>
                  </a:lnTo>
                  <a:lnTo>
                    <a:pt x="185" y="155"/>
                  </a:lnTo>
                  <a:lnTo>
                    <a:pt x="186" y="155"/>
                  </a:lnTo>
                  <a:lnTo>
                    <a:pt x="182" y="155"/>
                  </a:lnTo>
                  <a:lnTo>
                    <a:pt x="181" y="155"/>
                  </a:lnTo>
                  <a:lnTo>
                    <a:pt x="181" y="156"/>
                  </a:lnTo>
                  <a:lnTo>
                    <a:pt x="180" y="156"/>
                  </a:lnTo>
                  <a:lnTo>
                    <a:pt x="180" y="158"/>
                  </a:lnTo>
                  <a:lnTo>
                    <a:pt x="180" y="159"/>
                  </a:lnTo>
                  <a:lnTo>
                    <a:pt x="179" y="159"/>
                  </a:lnTo>
                  <a:lnTo>
                    <a:pt x="178" y="159"/>
                  </a:lnTo>
                  <a:lnTo>
                    <a:pt x="177" y="159"/>
                  </a:lnTo>
                  <a:lnTo>
                    <a:pt x="175" y="159"/>
                  </a:lnTo>
                  <a:lnTo>
                    <a:pt x="174" y="159"/>
                  </a:lnTo>
                  <a:lnTo>
                    <a:pt x="175" y="159"/>
                  </a:lnTo>
                  <a:lnTo>
                    <a:pt x="175" y="160"/>
                  </a:lnTo>
                  <a:lnTo>
                    <a:pt x="174" y="160"/>
                  </a:lnTo>
                  <a:lnTo>
                    <a:pt x="174" y="161"/>
                  </a:lnTo>
                  <a:lnTo>
                    <a:pt x="173" y="161"/>
                  </a:lnTo>
                  <a:lnTo>
                    <a:pt x="173" y="162"/>
                  </a:lnTo>
                  <a:lnTo>
                    <a:pt x="172" y="162"/>
                  </a:lnTo>
                  <a:lnTo>
                    <a:pt x="171" y="163"/>
                  </a:lnTo>
                  <a:lnTo>
                    <a:pt x="171" y="165"/>
                  </a:lnTo>
                  <a:lnTo>
                    <a:pt x="170" y="165"/>
                  </a:lnTo>
                  <a:lnTo>
                    <a:pt x="170" y="166"/>
                  </a:lnTo>
                  <a:lnTo>
                    <a:pt x="168" y="166"/>
                  </a:lnTo>
                  <a:lnTo>
                    <a:pt x="167" y="166"/>
                  </a:lnTo>
                  <a:lnTo>
                    <a:pt x="166" y="166"/>
                  </a:lnTo>
                  <a:lnTo>
                    <a:pt x="166" y="165"/>
                  </a:lnTo>
                  <a:lnTo>
                    <a:pt x="165" y="166"/>
                  </a:lnTo>
                  <a:lnTo>
                    <a:pt x="164" y="165"/>
                  </a:lnTo>
                  <a:lnTo>
                    <a:pt x="163" y="165"/>
                  </a:lnTo>
                  <a:lnTo>
                    <a:pt x="161" y="163"/>
                  </a:lnTo>
                  <a:lnTo>
                    <a:pt x="159" y="162"/>
                  </a:lnTo>
                  <a:lnTo>
                    <a:pt x="156" y="161"/>
                  </a:lnTo>
                  <a:lnTo>
                    <a:pt x="149" y="161"/>
                  </a:lnTo>
                  <a:lnTo>
                    <a:pt x="146" y="161"/>
                  </a:lnTo>
                  <a:lnTo>
                    <a:pt x="145" y="161"/>
                  </a:lnTo>
                  <a:lnTo>
                    <a:pt x="144" y="161"/>
                  </a:lnTo>
                  <a:lnTo>
                    <a:pt x="138" y="162"/>
                  </a:lnTo>
                  <a:lnTo>
                    <a:pt x="137" y="163"/>
                  </a:lnTo>
                  <a:lnTo>
                    <a:pt x="135" y="165"/>
                  </a:lnTo>
                  <a:lnTo>
                    <a:pt x="135" y="166"/>
                  </a:lnTo>
                  <a:lnTo>
                    <a:pt x="134" y="166"/>
                  </a:lnTo>
                  <a:lnTo>
                    <a:pt x="134" y="167"/>
                  </a:lnTo>
                  <a:lnTo>
                    <a:pt x="131" y="169"/>
                  </a:lnTo>
                  <a:lnTo>
                    <a:pt x="130" y="169"/>
                  </a:lnTo>
                  <a:lnTo>
                    <a:pt x="130" y="170"/>
                  </a:lnTo>
                  <a:lnTo>
                    <a:pt x="127" y="169"/>
                  </a:lnTo>
                  <a:lnTo>
                    <a:pt x="127" y="170"/>
                  </a:lnTo>
                  <a:lnTo>
                    <a:pt x="125" y="170"/>
                  </a:lnTo>
                  <a:lnTo>
                    <a:pt x="122" y="169"/>
                  </a:lnTo>
                  <a:lnTo>
                    <a:pt x="121" y="169"/>
                  </a:lnTo>
                  <a:lnTo>
                    <a:pt x="117" y="168"/>
                  </a:lnTo>
                  <a:lnTo>
                    <a:pt x="116" y="167"/>
                  </a:lnTo>
                  <a:lnTo>
                    <a:pt x="115" y="166"/>
                  </a:lnTo>
                  <a:lnTo>
                    <a:pt x="114" y="166"/>
                  </a:lnTo>
                  <a:lnTo>
                    <a:pt x="111" y="165"/>
                  </a:lnTo>
                  <a:lnTo>
                    <a:pt x="111" y="163"/>
                  </a:lnTo>
                  <a:lnTo>
                    <a:pt x="110" y="163"/>
                  </a:lnTo>
                  <a:lnTo>
                    <a:pt x="110" y="162"/>
                  </a:lnTo>
                  <a:lnTo>
                    <a:pt x="109" y="162"/>
                  </a:lnTo>
                  <a:lnTo>
                    <a:pt x="106" y="161"/>
                  </a:lnTo>
                  <a:lnTo>
                    <a:pt x="104" y="161"/>
                  </a:lnTo>
                  <a:lnTo>
                    <a:pt x="104" y="162"/>
                  </a:lnTo>
                  <a:lnTo>
                    <a:pt x="100" y="165"/>
                  </a:lnTo>
                  <a:lnTo>
                    <a:pt x="99" y="166"/>
                  </a:lnTo>
                  <a:lnTo>
                    <a:pt x="97" y="165"/>
                  </a:lnTo>
                  <a:lnTo>
                    <a:pt x="96" y="165"/>
                  </a:lnTo>
                  <a:lnTo>
                    <a:pt x="96" y="166"/>
                  </a:lnTo>
                  <a:lnTo>
                    <a:pt x="95" y="167"/>
                  </a:lnTo>
                  <a:lnTo>
                    <a:pt x="94" y="167"/>
                  </a:lnTo>
                  <a:lnTo>
                    <a:pt x="93" y="167"/>
                  </a:lnTo>
                  <a:lnTo>
                    <a:pt x="92" y="166"/>
                  </a:lnTo>
                  <a:lnTo>
                    <a:pt x="91" y="165"/>
                  </a:lnTo>
                  <a:lnTo>
                    <a:pt x="89" y="162"/>
                  </a:lnTo>
                  <a:lnTo>
                    <a:pt x="87" y="159"/>
                  </a:lnTo>
                  <a:lnTo>
                    <a:pt x="85" y="156"/>
                  </a:lnTo>
                  <a:lnTo>
                    <a:pt x="84" y="156"/>
                  </a:lnTo>
                  <a:lnTo>
                    <a:pt x="82" y="156"/>
                  </a:lnTo>
                  <a:lnTo>
                    <a:pt x="78" y="155"/>
                  </a:lnTo>
                  <a:lnTo>
                    <a:pt x="74" y="153"/>
                  </a:lnTo>
                  <a:lnTo>
                    <a:pt x="73" y="153"/>
                  </a:lnTo>
                  <a:lnTo>
                    <a:pt x="72" y="153"/>
                  </a:lnTo>
                  <a:lnTo>
                    <a:pt x="71" y="154"/>
                  </a:lnTo>
                  <a:lnTo>
                    <a:pt x="70" y="155"/>
                  </a:lnTo>
                  <a:lnTo>
                    <a:pt x="67" y="155"/>
                  </a:lnTo>
                  <a:lnTo>
                    <a:pt x="66" y="155"/>
                  </a:lnTo>
                  <a:lnTo>
                    <a:pt x="65" y="155"/>
                  </a:lnTo>
                  <a:lnTo>
                    <a:pt x="65" y="154"/>
                  </a:lnTo>
                  <a:lnTo>
                    <a:pt x="64" y="155"/>
                  </a:lnTo>
                  <a:lnTo>
                    <a:pt x="61" y="155"/>
                  </a:lnTo>
                  <a:lnTo>
                    <a:pt x="59" y="156"/>
                  </a:lnTo>
                  <a:lnTo>
                    <a:pt x="58" y="156"/>
                  </a:lnTo>
                  <a:lnTo>
                    <a:pt x="56" y="159"/>
                  </a:lnTo>
                  <a:lnTo>
                    <a:pt x="56" y="160"/>
                  </a:lnTo>
                  <a:lnTo>
                    <a:pt x="54" y="160"/>
                  </a:lnTo>
                  <a:lnTo>
                    <a:pt x="54" y="163"/>
                  </a:lnTo>
                  <a:lnTo>
                    <a:pt x="53" y="167"/>
                  </a:lnTo>
                  <a:lnTo>
                    <a:pt x="52" y="170"/>
                  </a:lnTo>
                  <a:lnTo>
                    <a:pt x="51" y="172"/>
                  </a:lnTo>
                  <a:lnTo>
                    <a:pt x="47" y="174"/>
                  </a:lnTo>
                  <a:lnTo>
                    <a:pt x="47" y="175"/>
                  </a:lnTo>
                  <a:lnTo>
                    <a:pt x="47" y="179"/>
                  </a:lnTo>
                  <a:lnTo>
                    <a:pt x="47" y="181"/>
                  </a:lnTo>
                  <a:lnTo>
                    <a:pt x="47" y="182"/>
                  </a:lnTo>
                  <a:lnTo>
                    <a:pt x="47" y="183"/>
                  </a:lnTo>
                  <a:lnTo>
                    <a:pt x="47" y="184"/>
                  </a:lnTo>
                  <a:lnTo>
                    <a:pt x="47" y="186"/>
                  </a:lnTo>
                  <a:lnTo>
                    <a:pt x="47" y="187"/>
                  </a:lnTo>
                  <a:lnTo>
                    <a:pt x="47" y="188"/>
                  </a:lnTo>
                  <a:lnTo>
                    <a:pt x="46" y="187"/>
                  </a:lnTo>
                  <a:lnTo>
                    <a:pt x="46" y="186"/>
                  </a:lnTo>
                  <a:lnTo>
                    <a:pt x="45" y="186"/>
                  </a:lnTo>
                  <a:lnTo>
                    <a:pt x="45" y="184"/>
                  </a:lnTo>
                  <a:lnTo>
                    <a:pt x="44" y="184"/>
                  </a:lnTo>
                  <a:lnTo>
                    <a:pt x="43" y="184"/>
                  </a:lnTo>
                  <a:lnTo>
                    <a:pt x="43" y="183"/>
                  </a:lnTo>
                  <a:lnTo>
                    <a:pt x="43" y="182"/>
                  </a:lnTo>
                  <a:lnTo>
                    <a:pt x="42" y="182"/>
                  </a:lnTo>
                  <a:lnTo>
                    <a:pt x="39" y="180"/>
                  </a:lnTo>
                  <a:lnTo>
                    <a:pt x="39" y="179"/>
                  </a:lnTo>
                  <a:lnTo>
                    <a:pt x="38" y="179"/>
                  </a:lnTo>
                  <a:lnTo>
                    <a:pt x="38" y="177"/>
                  </a:lnTo>
                  <a:lnTo>
                    <a:pt x="37" y="177"/>
                  </a:lnTo>
                  <a:lnTo>
                    <a:pt x="37" y="176"/>
                  </a:lnTo>
                  <a:lnTo>
                    <a:pt x="36" y="176"/>
                  </a:lnTo>
                  <a:lnTo>
                    <a:pt x="35" y="177"/>
                  </a:lnTo>
                  <a:lnTo>
                    <a:pt x="35" y="179"/>
                  </a:lnTo>
                  <a:lnTo>
                    <a:pt x="33" y="179"/>
                  </a:lnTo>
                  <a:lnTo>
                    <a:pt x="33" y="177"/>
                  </a:lnTo>
                  <a:lnTo>
                    <a:pt x="33" y="179"/>
                  </a:lnTo>
                  <a:lnTo>
                    <a:pt x="32" y="179"/>
                  </a:lnTo>
                  <a:lnTo>
                    <a:pt x="31" y="179"/>
                  </a:lnTo>
                  <a:lnTo>
                    <a:pt x="30" y="179"/>
                  </a:lnTo>
                  <a:lnTo>
                    <a:pt x="30" y="180"/>
                  </a:lnTo>
                  <a:lnTo>
                    <a:pt x="30" y="181"/>
                  </a:lnTo>
                  <a:lnTo>
                    <a:pt x="30" y="182"/>
                  </a:lnTo>
                  <a:lnTo>
                    <a:pt x="31" y="182"/>
                  </a:lnTo>
                  <a:lnTo>
                    <a:pt x="31" y="183"/>
                  </a:lnTo>
                  <a:lnTo>
                    <a:pt x="30" y="183"/>
                  </a:lnTo>
                  <a:lnTo>
                    <a:pt x="30" y="184"/>
                  </a:lnTo>
                  <a:lnTo>
                    <a:pt x="30" y="183"/>
                  </a:lnTo>
                  <a:lnTo>
                    <a:pt x="29" y="182"/>
                  </a:lnTo>
                  <a:lnTo>
                    <a:pt x="28" y="181"/>
                  </a:lnTo>
                  <a:lnTo>
                    <a:pt x="27" y="179"/>
                  </a:lnTo>
                  <a:lnTo>
                    <a:pt x="25" y="177"/>
                  </a:lnTo>
                  <a:lnTo>
                    <a:pt x="25" y="176"/>
                  </a:lnTo>
                  <a:lnTo>
                    <a:pt x="27" y="176"/>
                  </a:lnTo>
                  <a:lnTo>
                    <a:pt x="28" y="176"/>
                  </a:lnTo>
                  <a:lnTo>
                    <a:pt x="29" y="176"/>
                  </a:lnTo>
                  <a:lnTo>
                    <a:pt x="28" y="175"/>
                  </a:lnTo>
                  <a:lnTo>
                    <a:pt x="29" y="175"/>
                  </a:lnTo>
                  <a:lnTo>
                    <a:pt x="28" y="175"/>
                  </a:lnTo>
                  <a:lnTo>
                    <a:pt x="28" y="174"/>
                  </a:lnTo>
                  <a:lnTo>
                    <a:pt x="28" y="173"/>
                  </a:lnTo>
                  <a:lnTo>
                    <a:pt x="27" y="173"/>
                  </a:lnTo>
                  <a:lnTo>
                    <a:pt x="27" y="172"/>
                  </a:lnTo>
                  <a:lnTo>
                    <a:pt x="25" y="172"/>
                  </a:lnTo>
                  <a:lnTo>
                    <a:pt x="24" y="172"/>
                  </a:lnTo>
                  <a:lnTo>
                    <a:pt x="23" y="172"/>
                  </a:lnTo>
                  <a:lnTo>
                    <a:pt x="23" y="173"/>
                  </a:lnTo>
                  <a:lnTo>
                    <a:pt x="21" y="173"/>
                  </a:lnTo>
                  <a:lnTo>
                    <a:pt x="20" y="173"/>
                  </a:lnTo>
                  <a:lnTo>
                    <a:pt x="18" y="173"/>
                  </a:lnTo>
                  <a:lnTo>
                    <a:pt x="17" y="172"/>
                  </a:lnTo>
                  <a:lnTo>
                    <a:pt x="17" y="170"/>
                  </a:lnTo>
                  <a:lnTo>
                    <a:pt x="16" y="169"/>
                  </a:lnTo>
                  <a:lnTo>
                    <a:pt x="15" y="169"/>
                  </a:lnTo>
                  <a:lnTo>
                    <a:pt x="14" y="168"/>
                  </a:lnTo>
                  <a:lnTo>
                    <a:pt x="13" y="167"/>
                  </a:lnTo>
                  <a:lnTo>
                    <a:pt x="11" y="167"/>
                  </a:lnTo>
                  <a:lnTo>
                    <a:pt x="10" y="167"/>
                  </a:lnTo>
                  <a:lnTo>
                    <a:pt x="10" y="166"/>
                  </a:lnTo>
                  <a:lnTo>
                    <a:pt x="10" y="165"/>
                  </a:lnTo>
                  <a:lnTo>
                    <a:pt x="10" y="163"/>
                  </a:lnTo>
                  <a:lnTo>
                    <a:pt x="10" y="162"/>
                  </a:lnTo>
                  <a:lnTo>
                    <a:pt x="10" y="161"/>
                  </a:lnTo>
                  <a:lnTo>
                    <a:pt x="11" y="161"/>
                  </a:lnTo>
                  <a:lnTo>
                    <a:pt x="13" y="161"/>
                  </a:lnTo>
                  <a:lnTo>
                    <a:pt x="13" y="162"/>
                  </a:lnTo>
                  <a:lnTo>
                    <a:pt x="14" y="162"/>
                  </a:lnTo>
                  <a:lnTo>
                    <a:pt x="14" y="161"/>
                  </a:lnTo>
                  <a:lnTo>
                    <a:pt x="15" y="161"/>
                  </a:lnTo>
                  <a:lnTo>
                    <a:pt x="14" y="161"/>
                  </a:lnTo>
                  <a:lnTo>
                    <a:pt x="11" y="160"/>
                  </a:lnTo>
                  <a:lnTo>
                    <a:pt x="11" y="159"/>
                  </a:lnTo>
                  <a:lnTo>
                    <a:pt x="10" y="158"/>
                  </a:lnTo>
                  <a:lnTo>
                    <a:pt x="9" y="158"/>
                  </a:lnTo>
                  <a:lnTo>
                    <a:pt x="9" y="156"/>
                  </a:lnTo>
                  <a:lnTo>
                    <a:pt x="8" y="156"/>
                  </a:lnTo>
                  <a:lnTo>
                    <a:pt x="6" y="156"/>
                  </a:lnTo>
                  <a:lnTo>
                    <a:pt x="6" y="155"/>
                  </a:lnTo>
                  <a:lnTo>
                    <a:pt x="6" y="154"/>
                  </a:lnTo>
                  <a:lnTo>
                    <a:pt x="4" y="154"/>
                  </a:lnTo>
                  <a:lnTo>
                    <a:pt x="4" y="153"/>
                  </a:lnTo>
                  <a:lnTo>
                    <a:pt x="3" y="153"/>
                  </a:lnTo>
                  <a:lnTo>
                    <a:pt x="3" y="152"/>
                  </a:lnTo>
                  <a:lnTo>
                    <a:pt x="3" y="151"/>
                  </a:lnTo>
                  <a:lnTo>
                    <a:pt x="2" y="151"/>
                  </a:lnTo>
                  <a:lnTo>
                    <a:pt x="2" y="149"/>
                  </a:lnTo>
                  <a:lnTo>
                    <a:pt x="2" y="148"/>
                  </a:lnTo>
                  <a:lnTo>
                    <a:pt x="2" y="147"/>
                  </a:lnTo>
                  <a:lnTo>
                    <a:pt x="2" y="146"/>
                  </a:lnTo>
                  <a:lnTo>
                    <a:pt x="0" y="144"/>
                  </a:lnTo>
                  <a:lnTo>
                    <a:pt x="0" y="142"/>
                  </a:lnTo>
                  <a:lnTo>
                    <a:pt x="0" y="139"/>
                  </a:lnTo>
                  <a:lnTo>
                    <a:pt x="0" y="138"/>
                  </a:lnTo>
                  <a:lnTo>
                    <a:pt x="0" y="137"/>
                  </a:lnTo>
                  <a:lnTo>
                    <a:pt x="0" y="135"/>
                  </a:lnTo>
                  <a:lnTo>
                    <a:pt x="2" y="135"/>
                  </a:lnTo>
                  <a:lnTo>
                    <a:pt x="3" y="135"/>
                  </a:lnTo>
                  <a:lnTo>
                    <a:pt x="4" y="135"/>
                  </a:lnTo>
                  <a:lnTo>
                    <a:pt x="7" y="137"/>
                  </a:lnTo>
                  <a:lnTo>
                    <a:pt x="8" y="135"/>
                  </a:lnTo>
                  <a:lnTo>
                    <a:pt x="10" y="135"/>
                  </a:lnTo>
                  <a:lnTo>
                    <a:pt x="11" y="134"/>
                  </a:lnTo>
                  <a:lnTo>
                    <a:pt x="13" y="133"/>
                  </a:lnTo>
                  <a:lnTo>
                    <a:pt x="14" y="132"/>
                  </a:lnTo>
                  <a:lnTo>
                    <a:pt x="15" y="131"/>
                  </a:lnTo>
                  <a:lnTo>
                    <a:pt x="16" y="131"/>
                  </a:lnTo>
                  <a:lnTo>
                    <a:pt x="18" y="131"/>
                  </a:lnTo>
                  <a:lnTo>
                    <a:pt x="20" y="131"/>
                  </a:lnTo>
                  <a:lnTo>
                    <a:pt x="21" y="131"/>
                  </a:lnTo>
                  <a:lnTo>
                    <a:pt x="22" y="131"/>
                  </a:lnTo>
                  <a:lnTo>
                    <a:pt x="23" y="131"/>
                  </a:lnTo>
                  <a:lnTo>
                    <a:pt x="24" y="131"/>
                  </a:lnTo>
                  <a:lnTo>
                    <a:pt x="25" y="131"/>
                  </a:lnTo>
                  <a:lnTo>
                    <a:pt x="28" y="131"/>
                  </a:lnTo>
                  <a:lnTo>
                    <a:pt x="29" y="131"/>
                  </a:lnTo>
                  <a:lnTo>
                    <a:pt x="30" y="131"/>
                  </a:lnTo>
                  <a:lnTo>
                    <a:pt x="31" y="130"/>
                  </a:lnTo>
                  <a:lnTo>
                    <a:pt x="32" y="130"/>
                  </a:lnTo>
                  <a:lnTo>
                    <a:pt x="33" y="130"/>
                  </a:lnTo>
                  <a:lnTo>
                    <a:pt x="35" y="130"/>
                  </a:lnTo>
                  <a:lnTo>
                    <a:pt x="37" y="130"/>
                  </a:lnTo>
                  <a:lnTo>
                    <a:pt x="38" y="130"/>
                  </a:lnTo>
                  <a:lnTo>
                    <a:pt x="38" y="128"/>
                  </a:lnTo>
                  <a:lnTo>
                    <a:pt x="39" y="128"/>
                  </a:lnTo>
                  <a:lnTo>
                    <a:pt x="42" y="128"/>
                  </a:lnTo>
                  <a:lnTo>
                    <a:pt x="44" y="130"/>
                  </a:lnTo>
                  <a:lnTo>
                    <a:pt x="45" y="130"/>
                  </a:lnTo>
                  <a:lnTo>
                    <a:pt x="45" y="127"/>
                  </a:lnTo>
                  <a:lnTo>
                    <a:pt x="46" y="127"/>
                  </a:lnTo>
                  <a:lnTo>
                    <a:pt x="47" y="126"/>
                  </a:lnTo>
                  <a:lnTo>
                    <a:pt x="49" y="125"/>
                  </a:lnTo>
                  <a:lnTo>
                    <a:pt x="50" y="125"/>
                  </a:lnTo>
                  <a:lnTo>
                    <a:pt x="51" y="124"/>
                  </a:lnTo>
                  <a:lnTo>
                    <a:pt x="51" y="123"/>
                  </a:lnTo>
                  <a:lnTo>
                    <a:pt x="51" y="121"/>
                  </a:lnTo>
                  <a:lnTo>
                    <a:pt x="51" y="120"/>
                  </a:lnTo>
                  <a:lnTo>
                    <a:pt x="52" y="119"/>
                  </a:lnTo>
                  <a:lnTo>
                    <a:pt x="52" y="118"/>
                  </a:lnTo>
                  <a:lnTo>
                    <a:pt x="53" y="114"/>
                  </a:lnTo>
                  <a:lnTo>
                    <a:pt x="54" y="113"/>
                  </a:lnTo>
                  <a:lnTo>
                    <a:pt x="54" y="111"/>
                  </a:lnTo>
                  <a:lnTo>
                    <a:pt x="54" y="110"/>
                  </a:lnTo>
                  <a:lnTo>
                    <a:pt x="54" y="107"/>
                  </a:lnTo>
                  <a:lnTo>
                    <a:pt x="54" y="106"/>
                  </a:lnTo>
                  <a:lnTo>
                    <a:pt x="56" y="106"/>
                  </a:lnTo>
                  <a:lnTo>
                    <a:pt x="54" y="104"/>
                  </a:lnTo>
                  <a:lnTo>
                    <a:pt x="56" y="104"/>
                  </a:lnTo>
                  <a:lnTo>
                    <a:pt x="56" y="102"/>
                  </a:lnTo>
                  <a:lnTo>
                    <a:pt x="56" y="100"/>
                  </a:lnTo>
                  <a:lnTo>
                    <a:pt x="56" y="99"/>
                  </a:lnTo>
                  <a:lnTo>
                    <a:pt x="56" y="97"/>
                  </a:lnTo>
                  <a:lnTo>
                    <a:pt x="56" y="95"/>
                  </a:lnTo>
                  <a:lnTo>
                    <a:pt x="56" y="93"/>
                  </a:lnTo>
                  <a:lnTo>
                    <a:pt x="56" y="91"/>
                  </a:lnTo>
                  <a:lnTo>
                    <a:pt x="56" y="89"/>
                  </a:lnTo>
                  <a:lnTo>
                    <a:pt x="56" y="88"/>
                  </a:lnTo>
                  <a:lnTo>
                    <a:pt x="56" y="85"/>
                  </a:lnTo>
                  <a:lnTo>
                    <a:pt x="56" y="83"/>
                  </a:lnTo>
                  <a:lnTo>
                    <a:pt x="56" y="82"/>
                  </a:lnTo>
                  <a:lnTo>
                    <a:pt x="56" y="79"/>
                  </a:lnTo>
                  <a:lnTo>
                    <a:pt x="56" y="77"/>
                  </a:lnTo>
                  <a:lnTo>
                    <a:pt x="56" y="76"/>
                  </a:lnTo>
                  <a:lnTo>
                    <a:pt x="56" y="74"/>
                  </a:lnTo>
                  <a:lnTo>
                    <a:pt x="56" y="71"/>
                  </a:lnTo>
                  <a:lnTo>
                    <a:pt x="56" y="70"/>
                  </a:lnTo>
                  <a:lnTo>
                    <a:pt x="58" y="69"/>
                  </a:lnTo>
                  <a:lnTo>
                    <a:pt x="60" y="69"/>
                  </a:lnTo>
                  <a:lnTo>
                    <a:pt x="63" y="68"/>
                  </a:lnTo>
                  <a:lnTo>
                    <a:pt x="66" y="68"/>
                  </a:lnTo>
                  <a:lnTo>
                    <a:pt x="67" y="67"/>
                  </a:lnTo>
                  <a:lnTo>
                    <a:pt x="70" y="67"/>
                  </a:lnTo>
                  <a:lnTo>
                    <a:pt x="73" y="65"/>
                  </a:lnTo>
                  <a:lnTo>
                    <a:pt x="74" y="65"/>
                  </a:lnTo>
                  <a:lnTo>
                    <a:pt x="77" y="65"/>
                  </a:lnTo>
                  <a:lnTo>
                    <a:pt x="77" y="64"/>
                  </a:lnTo>
                  <a:lnTo>
                    <a:pt x="78" y="64"/>
                  </a:lnTo>
                  <a:lnTo>
                    <a:pt x="78" y="63"/>
                  </a:lnTo>
                  <a:lnTo>
                    <a:pt x="79" y="62"/>
                  </a:lnTo>
                  <a:lnTo>
                    <a:pt x="80" y="62"/>
                  </a:lnTo>
                  <a:lnTo>
                    <a:pt x="81" y="61"/>
                  </a:lnTo>
                  <a:lnTo>
                    <a:pt x="81" y="60"/>
                  </a:lnTo>
                  <a:lnTo>
                    <a:pt x="82" y="58"/>
                  </a:lnTo>
                  <a:lnTo>
                    <a:pt x="84" y="58"/>
                  </a:lnTo>
                  <a:lnTo>
                    <a:pt x="85" y="57"/>
                  </a:lnTo>
                  <a:lnTo>
                    <a:pt x="85" y="56"/>
                  </a:lnTo>
                  <a:lnTo>
                    <a:pt x="86" y="56"/>
                  </a:lnTo>
                  <a:lnTo>
                    <a:pt x="87" y="55"/>
                  </a:lnTo>
                  <a:lnTo>
                    <a:pt x="88" y="54"/>
                  </a:lnTo>
                  <a:lnTo>
                    <a:pt x="88" y="53"/>
                  </a:lnTo>
                  <a:lnTo>
                    <a:pt x="89" y="53"/>
                  </a:lnTo>
                  <a:lnTo>
                    <a:pt x="91" y="51"/>
                  </a:lnTo>
                  <a:lnTo>
                    <a:pt x="92" y="50"/>
                  </a:lnTo>
                  <a:lnTo>
                    <a:pt x="92" y="49"/>
                  </a:lnTo>
                  <a:lnTo>
                    <a:pt x="93" y="49"/>
                  </a:lnTo>
                  <a:lnTo>
                    <a:pt x="93" y="48"/>
                  </a:lnTo>
                  <a:lnTo>
                    <a:pt x="94" y="47"/>
                  </a:lnTo>
                  <a:lnTo>
                    <a:pt x="95" y="47"/>
                  </a:lnTo>
                  <a:lnTo>
                    <a:pt x="96" y="46"/>
                  </a:lnTo>
                  <a:lnTo>
                    <a:pt x="97" y="44"/>
                  </a:lnTo>
                  <a:lnTo>
                    <a:pt x="99" y="43"/>
                  </a:lnTo>
                  <a:lnTo>
                    <a:pt x="100" y="42"/>
                  </a:lnTo>
                  <a:lnTo>
                    <a:pt x="101" y="41"/>
                  </a:lnTo>
                  <a:lnTo>
                    <a:pt x="102" y="41"/>
                  </a:lnTo>
                  <a:lnTo>
                    <a:pt x="103" y="40"/>
                  </a:lnTo>
                  <a:lnTo>
                    <a:pt x="104" y="39"/>
                  </a:lnTo>
                  <a:lnTo>
                    <a:pt x="106" y="37"/>
                  </a:lnTo>
                  <a:lnTo>
                    <a:pt x="107" y="37"/>
                  </a:lnTo>
                  <a:lnTo>
                    <a:pt x="108" y="36"/>
                  </a:lnTo>
                  <a:lnTo>
                    <a:pt x="109" y="36"/>
                  </a:lnTo>
                  <a:lnTo>
                    <a:pt x="109" y="35"/>
                  </a:lnTo>
                  <a:lnTo>
                    <a:pt x="110" y="35"/>
                  </a:lnTo>
                  <a:lnTo>
                    <a:pt x="111" y="34"/>
                  </a:lnTo>
                  <a:lnTo>
                    <a:pt x="113" y="34"/>
                  </a:lnTo>
                  <a:lnTo>
                    <a:pt x="114" y="33"/>
                  </a:lnTo>
                  <a:lnTo>
                    <a:pt x="114" y="32"/>
                  </a:lnTo>
                  <a:lnTo>
                    <a:pt x="115" y="32"/>
                  </a:lnTo>
                  <a:lnTo>
                    <a:pt x="116" y="30"/>
                  </a:lnTo>
                  <a:lnTo>
                    <a:pt x="117" y="30"/>
                  </a:lnTo>
                  <a:lnTo>
                    <a:pt x="118" y="29"/>
                  </a:lnTo>
                  <a:lnTo>
                    <a:pt x="120" y="28"/>
                  </a:lnTo>
                  <a:lnTo>
                    <a:pt x="121" y="28"/>
                  </a:lnTo>
                  <a:lnTo>
                    <a:pt x="122" y="27"/>
                  </a:lnTo>
                  <a:lnTo>
                    <a:pt x="123" y="26"/>
                  </a:lnTo>
                  <a:lnTo>
                    <a:pt x="124" y="26"/>
                  </a:lnTo>
                  <a:lnTo>
                    <a:pt x="125" y="25"/>
                  </a:lnTo>
                  <a:lnTo>
                    <a:pt x="127" y="23"/>
                  </a:lnTo>
                  <a:lnTo>
                    <a:pt x="128" y="22"/>
                  </a:lnTo>
                  <a:lnTo>
                    <a:pt x="129" y="22"/>
                  </a:lnTo>
                  <a:lnTo>
                    <a:pt x="130" y="21"/>
                  </a:lnTo>
                  <a:lnTo>
                    <a:pt x="131" y="21"/>
                  </a:lnTo>
                  <a:lnTo>
                    <a:pt x="131" y="20"/>
                  </a:lnTo>
                  <a:lnTo>
                    <a:pt x="132" y="20"/>
                  </a:lnTo>
                  <a:lnTo>
                    <a:pt x="134" y="19"/>
                  </a:lnTo>
                  <a:lnTo>
                    <a:pt x="135" y="19"/>
                  </a:lnTo>
                  <a:lnTo>
                    <a:pt x="136" y="18"/>
                  </a:lnTo>
                  <a:lnTo>
                    <a:pt x="136" y="16"/>
                  </a:lnTo>
                  <a:lnTo>
                    <a:pt x="137" y="16"/>
                  </a:lnTo>
                  <a:lnTo>
                    <a:pt x="138" y="15"/>
                  </a:lnTo>
                  <a:lnTo>
                    <a:pt x="139" y="15"/>
                  </a:lnTo>
                  <a:lnTo>
                    <a:pt x="139" y="14"/>
                  </a:lnTo>
                  <a:lnTo>
                    <a:pt x="141" y="14"/>
                  </a:lnTo>
                  <a:lnTo>
                    <a:pt x="142" y="13"/>
                  </a:lnTo>
                  <a:lnTo>
                    <a:pt x="143" y="13"/>
                  </a:lnTo>
                  <a:lnTo>
                    <a:pt x="144" y="12"/>
                  </a:lnTo>
                  <a:lnTo>
                    <a:pt x="145" y="11"/>
                  </a:lnTo>
                  <a:lnTo>
                    <a:pt x="146" y="9"/>
                  </a:lnTo>
                  <a:lnTo>
                    <a:pt x="148" y="9"/>
                  </a:lnTo>
                  <a:lnTo>
                    <a:pt x="149" y="8"/>
                  </a:lnTo>
                  <a:lnTo>
                    <a:pt x="150" y="7"/>
                  </a:lnTo>
                  <a:lnTo>
                    <a:pt x="151" y="7"/>
                  </a:lnTo>
                  <a:lnTo>
                    <a:pt x="152" y="6"/>
                  </a:lnTo>
                  <a:lnTo>
                    <a:pt x="153" y="5"/>
                  </a:lnTo>
                  <a:lnTo>
                    <a:pt x="155" y="5"/>
                  </a:lnTo>
                  <a:lnTo>
                    <a:pt x="156" y="4"/>
                  </a:lnTo>
                  <a:lnTo>
                    <a:pt x="157" y="2"/>
                  </a:lnTo>
                  <a:lnTo>
                    <a:pt x="158" y="1"/>
                  </a:lnTo>
                  <a:lnTo>
                    <a:pt x="159" y="1"/>
                  </a:lnTo>
                  <a:lnTo>
                    <a:pt x="160" y="0"/>
                  </a:lnTo>
                  <a:lnTo>
                    <a:pt x="161" y="1"/>
                  </a:lnTo>
                  <a:lnTo>
                    <a:pt x="163" y="1"/>
                  </a:lnTo>
                  <a:lnTo>
                    <a:pt x="164" y="1"/>
                  </a:lnTo>
                  <a:lnTo>
                    <a:pt x="165" y="1"/>
                  </a:lnTo>
                  <a:lnTo>
                    <a:pt x="166" y="2"/>
                  </a:lnTo>
                  <a:lnTo>
                    <a:pt x="167" y="2"/>
                  </a:lnTo>
                  <a:lnTo>
                    <a:pt x="168" y="2"/>
                  </a:lnTo>
                  <a:lnTo>
                    <a:pt x="170" y="2"/>
                  </a:lnTo>
                  <a:lnTo>
                    <a:pt x="171" y="4"/>
                  </a:lnTo>
                  <a:lnTo>
                    <a:pt x="172" y="4"/>
                  </a:lnTo>
                  <a:lnTo>
                    <a:pt x="173" y="4"/>
                  </a:lnTo>
                  <a:lnTo>
                    <a:pt x="174" y="4"/>
                  </a:lnTo>
                  <a:lnTo>
                    <a:pt x="175" y="5"/>
                  </a:lnTo>
                  <a:lnTo>
                    <a:pt x="177" y="5"/>
                  </a:lnTo>
                  <a:lnTo>
                    <a:pt x="178" y="5"/>
                  </a:lnTo>
                  <a:lnTo>
                    <a:pt x="179" y="6"/>
                  </a:lnTo>
                  <a:lnTo>
                    <a:pt x="181" y="6"/>
                  </a:lnTo>
                  <a:lnTo>
                    <a:pt x="182" y="7"/>
                  </a:lnTo>
                  <a:lnTo>
                    <a:pt x="184" y="7"/>
                  </a:lnTo>
                  <a:lnTo>
                    <a:pt x="185" y="9"/>
                  </a:lnTo>
                  <a:lnTo>
                    <a:pt x="187" y="11"/>
                  </a:lnTo>
                  <a:lnTo>
                    <a:pt x="188" y="12"/>
                  </a:lnTo>
                  <a:lnTo>
                    <a:pt x="191" y="14"/>
                  </a:lnTo>
                  <a:lnTo>
                    <a:pt x="192" y="14"/>
                  </a:lnTo>
                  <a:lnTo>
                    <a:pt x="194" y="13"/>
                  </a:lnTo>
                  <a:lnTo>
                    <a:pt x="196" y="12"/>
                  </a:lnTo>
                  <a:lnTo>
                    <a:pt x="199" y="11"/>
                  </a:lnTo>
                  <a:lnTo>
                    <a:pt x="201" y="8"/>
                  </a:lnTo>
                  <a:close/>
                </a:path>
              </a:pathLst>
            </a:custGeom>
            <a:solidFill>
              <a:srgbClr val="D2D2D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t-IT" sz="1200" dirty="0">
                <a:solidFill>
                  <a:schemeClr val="lt1"/>
                </a:solidFill>
              </a:endParaRPr>
            </a:p>
          </p:txBody>
        </p:sp>
        <p:sp>
          <p:nvSpPr>
            <p:cNvPr id="205" name="Freeform 961">
              <a:extLst>
                <a:ext uri="{FF2B5EF4-FFF2-40B4-BE49-F238E27FC236}">
                  <a16:creationId xmlns:a16="http://schemas.microsoft.com/office/drawing/2014/main" id="{FBC635C3-503A-4673-87F5-41C04F08A32B}"/>
                </a:ext>
              </a:extLst>
            </p:cNvPr>
            <p:cNvSpPr>
              <a:spLocks/>
            </p:cNvSpPr>
            <p:nvPr/>
          </p:nvSpPr>
          <p:spPr bwMode="auto">
            <a:xfrm>
              <a:off x="8816618" y="3961517"/>
              <a:ext cx="2671" cy="1336"/>
            </a:xfrm>
            <a:custGeom>
              <a:avLst/>
              <a:gdLst>
                <a:gd name="T0" fmla="*/ 2 w 2"/>
                <a:gd name="T1" fmla="*/ 0 h 1"/>
                <a:gd name="T2" fmla="*/ 2 w 2"/>
                <a:gd name="T3" fmla="*/ 0 h 1"/>
                <a:gd name="T4" fmla="*/ 2 w 2"/>
                <a:gd name="T5" fmla="*/ 0 h 1"/>
                <a:gd name="T6" fmla="*/ 2 w 2"/>
                <a:gd name="T7" fmla="*/ 0 h 1"/>
                <a:gd name="T8" fmla="*/ 2 w 2"/>
                <a:gd name="T9" fmla="*/ 0 h 1"/>
                <a:gd name="T10" fmla="*/ 2 w 2"/>
                <a:gd name="T11" fmla="*/ 1 h 1"/>
                <a:gd name="T12" fmla="*/ 2 w 2"/>
                <a:gd name="T13" fmla="*/ 1 h 1"/>
                <a:gd name="T14" fmla="*/ 2 w 2"/>
                <a:gd name="T15" fmla="*/ 1 h 1"/>
                <a:gd name="T16" fmla="*/ 2 w 2"/>
                <a:gd name="T17" fmla="*/ 1 h 1"/>
                <a:gd name="T18" fmla="*/ 2 w 2"/>
                <a:gd name="T19" fmla="*/ 1 h 1"/>
                <a:gd name="T20" fmla="*/ 2 w 2"/>
                <a:gd name="T21" fmla="*/ 1 h 1"/>
                <a:gd name="T22" fmla="*/ 2 w 2"/>
                <a:gd name="T23" fmla="*/ 1 h 1"/>
                <a:gd name="T24" fmla="*/ 2 w 2"/>
                <a:gd name="T25" fmla="*/ 1 h 1"/>
                <a:gd name="T26" fmla="*/ 2 w 2"/>
                <a:gd name="T27" fmla="*/ 1 h 1"/>
                <a:gd name="T28" fmla="*/ 0 w 2"/>
                <a:gd name="T29" fmla="*/ 1 h 1"/>
                <a:gd name="T30" fmla="*/ 0 w 2"/>
                <a:gd name="T31" fmla="*/ 1 h 1"/>
                <a:gd name="T32" fmla="*/ 0 w 2"/>
                <a:gd name="T33" fmla="*/ 1 h 1"/>
                <a:gd name="T34" fmla="*/ 0 w 2"/>
                <a:gd name="T35" fmla="*/ 0 h 1"/>
                <a:gd name="T36" fmla="*/ 0 w 2"/>
                <a:gd name="T37" fmla="*/ 0 h 1"/>
                <a:gd name="T38" fmla="*/ 2 w 2"/>
                <a:gd name="T39" fmla="*/ 0 h 1"/>
                <a:gd name="T40" fmla="*/ 2 w 2"/>
                <a:gd name="T41" fmla="*/ 0 h 1"/>
                <a:gd name="T42" fmla="*/ 2 w 2"/>
                <a:gd name="T43" fmla="*/ 0 h 1"/>
                <a:gd name="T44" fmla="*/ 2 w 2"/>
                <a:gd name="T45" fmla="*/ 0 h 1"/>
                <a:gd name="T46" fmla="*/ 2 w 2"/>
                <a:gd name="T47" fmla="*/ 0 h 1"/>
                <a:gd name="T48" fmla="*/ 2 w 2"/>
                <a:gd name="T49" fmla="*/ 0 h 1"/>
                <a:gd name="T50" fmla="*/ 2 w 2"/>
                <a:gd name="T5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 h="1">
                  <a:moveTo>
                    <a:pt x="2" y="0"/>
                  </a:moveTo>
                  <a:lnTo>
                    <a:pt x="2" y="0"/>
                  </a:lnTo>
                  <a:lnTo>
                    <a:pt x="2" y="0"/>
                  </a:lnTo>
                  <a:lnTo>
                    <a:pt x="2" y="0"/>
                  </a:lnTo>
                  <a:lnTo>
                    <a:pt x="2" y="0"/>
                  </a:lnTo>
                  <a:lnTo>
                    <a:pt x="2" y="1"/>
                  </a:lnTo>
                  <a:lnTo>
                    <a:pt x="2" y="1"/>
                  </a:lnTo>
                  <a:lnTo>
                    <a:pt x="2" y="1"/>
                  </a:lnTo>
                  <a:lnTo>
                    <a:pt x="2" y="1"/>
                  </a:lnTo>
                  <a:lnTo>
                    <a:pt x="2" y="1"/>
                  </a:lnTo>
                  <a:lnTo>
                    <a:pt x="2" y="1"/>
                  </a:lnTo>
                  <a:lnTo>
                    <a:pt x="2" y="1"/>
                  </a:lnTo>
                  <a:lnTo>
                    <a:pt x="2" y="1"/>
                  </a:lnTo>
                  <a:lnTo>
                    <a:pt x="2" y="1"/>
                  </a:lnTo>
                  <a:lnTo>
                    <a:pt x="0" y="1"/>
                  </a:lnTo>
                  <a:lnTo>
                    <a:pt x="0" y="1"/>
                  </a:lnTo>
                  <a:lnTo>
                    <a:pt x="0" y="1"/>
                  </a:lnTo>
                  <a:lnTo>
                    <a:pt x="0" y="0"/>
                  </a:lnTo>
                  <a:lnTo>
                    <a:pt x="0" y="0"/>
                  </a:lnTo>
                  <a:lnTo>
                    <a:pt x="2" y="0"/>
                  </a:lnTo>
                  <a:lnTo>
                    <a:pt x="2" y="0"/>
                  </a:lnTo>
                  <a:lnTo>
                    <a:pt x="2" y="0"/>
                  </a:lnTo>
                  <a:lnTo>
                    <a:pt x="2"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06" name="Freeform 962">
              <a:extLst>
                <a:ext uri="{FF2B5EF4-FFF2-40B4-BE49-F238E27FC236}">
                  <a16:creationId xmlns:a16="http://schemas.microsoft.com/office/drawing/2014/main" id="{1BBFCE9F-C958-498A-9A76-87CC89FCE3A9}"/>
                </a:ext>
              </a:extLst>
            </p:cNvPr>
            <p:cNvSpPr>
              <a:spLocks noEditPoints="1"/>
            </p:cNvSpPr>
            <p:nvPr/>
          </p:nvSpPr>
          <p:spPr bwMode="auto">
            <a:xfrm>
              <a:off x="5857176" y="3054721"/>
              <a:ext cx="220356" cy="202994"/>
            </a:xfrm>
            <a:custGeom>
              <a:avLst/>
              <a:gdLst>
                <a:gd name="T0" fmla="*/ 64 w 165"/>
                <a:gd name="T1" fmla="*/ 148 h 152"/>
                <a:gd name="T2" fmla="*/ 47 w 165"/>
                <a:gd name="T3" fmla="*/ 3 h 152"/>
                <a:gd name="T4" fmla="*/ 61 w 165"/>
                <a:gd name="T5" fmla="*/ 12 h 152"/>
                <a:gd name="T6" fmla="*/ 76 w 165"/>
                <a:gd name="T7" fmla="*/ 12 h 152"/>
                <a:gd name="T8" fmla="*/ 95 w 165"/>
                <a:gd name="T9" fmla="*/ 16 h 152"/>
                <a:gd name="T10" fmla="*/ 114 w 165"/>
                <a:gd name="T11" fmla="*/ 8 h 152"/>
                <a:gd name="T12" fmla="*/ 135 w 165"/>
                <a:gd name="T13" fmla="*/ 13 h 152"/>
                <a:gd name="T14" fmla="*/ 139 w 165"/>
                <a:gd name="T15" fmla="*/ 6 h 152"/>
                <a:gd name="T16" fmla="*/ 151 w 165"/>
                <a:gd name="T17" fmla="*/ 2 h 152"/>
                <a:gd name="T18" fmla="*/ 164 w 165"/>
                <a:gd name="T19" fmla="*/ 26 h 152"/>
                <a:gd name="T20" fmla="*/ 165 w 165"/>
                <a:gd name="T21" fmla="*/ 36 h 152"/>
                <a:gd name="T22" fmla="*/ 157 w 165"/>
                <a:gd name="T23" fmla="*/ 42 h 152"/>
                <a:gd name="T24" fmla="*/ 150 w 165"/>
                <a:gd name="T25" fmla="*/ 54 h 152"/>
                <a:gd name="T26" fmla="*/ 146 w 165"/>
                <a:gd name="T27" fmla="*/ 66 h 152"/>
                <a:gd name="T28" fmla="*/ 140 w 165"/>
                <a:gd name="T29" fmla="*/ 75 h 152"/>
                <a:gd name="T30" fmla="*/ 135 w 165"/>
                <a:gd name="T31" fmla="*/ 84 h 152"/>
                <a:gd name="T32" fmla="*/ 132 w 165"/>
                <a:gd name="T33" fmla="*/ 93 h 152"/>
                <a:gd name="T34" fmla="*/ 126 w 165"/>
                <a:gd name="T35" fmla="*/ 105 h 152"/>
                <a:gd name="T36" fmla="*/ 122 w 165"/>
                <a:gd name="T37" fmla="*/ 115 h 152"/>
                <a:gd name="T38" fmla="*/ 115 w 165"/>
                <a:gd name="T39" fmla="*/ 113 h 152"/>
                <a:gd name="T40" fmla="*/ 108 w 165"/>
                <a:gd name="T41" fmla="*/ 111 h 152"/>
                <a:gd name="T42" fmla="*/ 94 w 165"/>
                <a:gd name="T43" fmla="*/ 118 h 152"/>
                <a:gd name="T44" fmla="*/ 86 w 165"/>
                <a:gd name="T45" fmla="*/ 127 h 152"/>
                <a:gd name="T46" fmla="*/ 85 w 165"/>
                <a:gd name="T47" fmla="*/ 139 h 152"/>
                <a:gd name="T48" fmla="*/ 79 w 165"/>
                <a:gd name="T49" fmla="*/ 145 h 152"/>
                <a:gd name="T50" fmla="*/ 78 w 165"/>
                <a:gd name="T51" fmla="*/ 145 h 152"/>
                <a:gd name="T52" fmla="*/ 71 w 165"/>
                <a:gd name="T53" fmla="*/ 148 h 152"/>
                <a:gd name="T54" fmla="*/ 66 w 165"/>
                <a:gd name="T55" fmla="*/ 147 h 152"/>
                <a:gd name="T56" fmla="*/ 60 w 165"/>
                <a:gd name="T57" fmla="*/ 145 h 152"/>
                <a:gd name="T58" fmla="*/ 61 w 165"/>
                <a:gd name="T59" fmla="*/ 149 h 152"/>
                <a:gd name="T60" fmla="*/ 58 w 165"/>
                <a:gd name="T61" fmla="*/ 146 h 152"/>
                <a:gd name="T62" fmla="*/ 57 w 165"/>
                <a:gd name="T63" fmla="*/ 147 h 152"/>
                <a:gd name="T64" fmla="*/ 57 w 165"/>
                <a:gd name="T65" fmla="*/ 149 h 152"/>
                <a:gd name="T66" fmla="*/ 54 w 165"/>
                <a:gd name="T67" fmla="*/ 148 h 152"/>
                <a:gd name="T68" fmla="*/ 54 w 165"/>
                <a:gd name="T69" fmla="*/ 150 h 152"/>
                <a:gd name="T70" fmla="*/ 50 w 165"/>
                <a:gd name="T71" fmla="*/ 150 h 152"/>
                <a:gd name="T72" fmla="*/ 47 w 165"/>
                <a:gd name="T73" fmla="*/ 150 h 152"/>
                <a:gd name="T74" fmla="*/ 44 w 165"/>
                <a:gd name="T75" fmla="*/ 150 h 152"/>
                <a:gd name="T76" fmla="*/ 38 w 165"/>
                <a:gd name="T77" fmla="*/ 141 h 152"/>
                <a:gd name="T78" fmla="*/ 38 w 165"/>
                <a:gd name="T79" fmla="*/ 135 h 152"/>
                <a:gd name="T80" fmla="*/ 38 w 165"/>
                <a:gd name="T81" fmla="*/ 134 h 152"/>
                <a:gd name="T82" fmla="*/ 38 w 165"/>
                <a:gd name="T83" fmla="*/ 131 h 152"/>
                <a:gd name="T84" fmla="*/ 35 w 165"/>
                <a:gd name="T85" fmla="*/ 128 h 152"/>
                <a:gd name="T86" fmla="*/ 30 w 165"/>
                <a:gd name="T87" fmla="*/ 124 h 152"/>
                <a:gd name="T88" fmla="*/ 10 w 165"/>
                <a:gd name="T89" fmla="*/ 118 h 152"/>
                <a:gd name="T90" fmla="*/ 14 w 165"/>
                <a:gd name="T91" fmla="*/ 115 h 152"/>
                <a:gd name="T92" fmla="*/ 7 w 165"/>
                <a:gd name="T93" fmla="*/ 119 h 152"/>
                <a:gd name="T94" fmla="*/ 0 w 165"/>
                <a:gd name="T95" fmla="*/ 112 h 152"/>
                <a:gd name="T96" fmla="*/ 1 w 165"/>
                <a:gd name="T97" fmla="*/ 100 h 152"/>
                <a:gd name="T98" fmla="*/ 0 w 165"/>
                <a:gd name="T99" fmla="*/ 87 h 152"/>
                <a:gd name="T100" fmla="*/ 3 w 165"/>
                <a:gd name="T101" fmla="*/ 76 h 152"/>
                <a:gd name="T102" fmla="*/ 8 w 165"/>
                <a:gd name="T103" fmla="*/ 68 h 152"/>
                <a:gd name="T104" fmla="*/ 14 w 165"/>
                <a:gd name="T105" fmla="*/ 59 h 152"/>
                <a:gd name="T106" fmla="*/ 16 w 165"/>
                <a:gd name="T107" fmla="*/ 52 h 152"/>
                <a:gd name="T108" fmla="*/ 12 w 165"/>
                <a:gd name="T109" fmla="*/ 43 h 152"/>
                <a:gd name="T110" fmla="*/ 12 w 165"/>
                <a:gd name="T111" fmla="*/ 29 h 152"/>
                <a:gd name="T112" fmla="*/ 21 w 165"/>
                <a:gd name="T113" fmla="*/ 6 h 152"/>
                <a:gd name="T114" fmla="*/ 37 w 165"/>
                <a:gd name="T115"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5" h="152">
                  <a:moveTo>
                    <a:pt x="66" y="149"/>
                  </a:moveTo>
                  <a:lnTo>
                    <a:pt x="67" y="149"/>
                  </a:lnTo>
                  <a:lnTo>
                    <a:pt x="67" y="148"/>
                  </a:lnTo>
                  <a:lnTo>
                    <a:pt x="68" y="149"/>
                  </a:lnTo>
                  <a:lnTo>
                    <a:pt x="67" y="149"/>
                  </a:lnTo>
                  <a:lnTo>
                    <a:pt x="66" y="149"/>
                  </a:lnTo>
                  <a:lnTo>
                    <a:pt x="65" y="149"/>
                  </a:lnTo>
                  <a:lnTo>
                    <a:pt x="65" y="148"/>
                  </a:lnTo>
                  <a:lnTo>
                    <a:pt x="66" y="148"/>
                  </a:lnTo>
                  <a:lnTo>
                    <a:pt x="66" y="149"/>
                  </a:lnTo>
                  <a:close/>
                  <a:moveTo>
                    <a:pt x="64" y="148"/>
                  </a:moveTo>
                  <a:lnTo>
                    <a:pt x="65" y="148"/>
                  </a:lnTo>
                  <a:lnTo>
                    <a:pt x="64" y="149"/>
                  </a:lnTo>
                  <a:lnTo>
                    <a:pt x="64" y="150"/>
                  </a:lnTo>
                  <a:lnTo>
                    <a:pt x="62" y="150"/>
                  </a:lnTo>
                  <a:lnTo>
                    <a:pt x="61" y="150"/>
                  </a:lnTo>
                  <a:lnTo>
                    <a:pt x="61" y="149"/>
                  </a:lnTo>
                  <a:lnTo>
                    <a:pt x="62" y="149"/>
                  </a:lnTo>
                  <a:lnTo>
                    <a:pt x="62" y="148"/>
                  </a:lnTo>
                  <a:lnTo>
                    <a:pt x="64" y="148"/>
                  </a:lnTo>
                  <a:close/>
                  <a:moveTo>
                    <a:pt x="43" y="2"/>
                  </a:moveTo>
                  <a:lnTo>
                    <a:pt x="47" y="3"/>
                  </a:lnTo>
                  <a:lnTo>
                    <a:pt x="49" y="3"/>
                  </a:lnTo>
                  <a:lnTo>
                    <a:pt x="50" y="3"/>
                  </a:lnTo>
                  <a:lnTo>
                    <a:pt x="52" y="6"/>
                  </a:lnTo>
                  <a:lnTo>
                    <a:pt x="54" y="9"/>
                  </a:lnTo>
                  <a:lnTo>
                    <a:pt x="56" y="12"/>
                  </a:lnTo>
                  <a:lnTo>
                    <a:pt x="57" y="13"/>
                  </a:lnTo>
                  <a:lnTo>
                    <a:pt x="58" y="14"/>
                  </a:lnTo>
                  <a:lnTo>
                    <a:pt x="59" y="14"/>
                  </a:lnTo>
                  <a:lnTo>
                    <a:pt x="60" y="14"/>
                  </a:lnTo>
                  <a:lnTo>
                    <a:pt x="61" y="13"/>
                  </a:lnTo>
                  <a:lnTo>
                    <a:pt x="61" y="12"/>
                  </a:lnTo>
                  <a:lnTo>
                    <a:pt x="62" y="12"/>
                  </a:lnTo>
                  <a:lnTo>
                    <a:pt x="64" y="13"/>
                  </a:lnTo>
                  <a:lnTo>
                    <a:pt x="65" y="12"/>
                  </a:lnTo>
                  <a:lnTo>
                    <a:pt x="69" y="9"/>
                  </a:lnTo>
                  <a:lnTo>
                    <a:pt x="69" y="8"/>
                  </a:lnTo>
                  <a:lnTo>
                    <a:pt x="71" y="8"/>
                  </a:lnTo>
                  <a:lnTo>
                    <a:pt x="74" y="9"/>
                  </a:lnTo>
                  <a:lnTo>
                    <a:pt x="75" y="9"/>
                  </a:lnTo>
                  <a:lnTo>
                    <a:pt x="75" y="10"/>
                  </a:lnTo>
                  <a:lnTo>
                    <a:pt x="76" y="10"/>
                  </a:lnTo>
                  <a:lnTo>
                    <a:pt x="76" y="12"/>
                  </a:lnTo>
                  <a:lnTo>
                    <a:pt x="79" y="13"/>
                  </a:lnTo>
                  <a:lnTo>
                    <a:pt x="80" y="13"/>
                  </a:lnTo>
                  <a:lnTo>
                    <a:pt x="81" y="14"/>
                  </a:lnTo>
                  <a:lnTo>
                    <a:pt x="82" y="15"/>
                  </a:lnTo>
                  <a:lnTo>
                    <a:pt x="86" y="16"/>
                  </a:lnTo>
                  <a:lnTo>
                    <a:pt x="87" y="16"/>
                  </a:lnTo>
                  <a:lnTo>
                    <a:pt x="90" y="17"/>
                  </a:lnTo>
                  <a:lnTo>
                    <a:pt x="92" y="17"/>
                  </a:lnTo>
                  <a:lnTo>
                    <a:pt x="92" y="16"/>
                  </a:lnTo>
                  <a:lnTo>
                    <a:pt x="95" y="17"/>
                  </a:lnTo>
                  <a:lnTo>
                    <a:pt x="95" y="16"/>
                  </a:lnTo>
                  <a:lnTo>
                    <a:pt x="96" y="16"/>
                  </a:lnTo>
                  <a:lnTo>
                    <a:pt x="99" y="14"/>
                  </a:lnTo>
                  <a:lnTo>
                    <a:pt x="99" y="13"/>
                  </a:lnTo>
                  <a:lnTo>
                    <a:pt x="100" y="13"/>
                  </a:lnTo>
                  <a:lnTo>
                    <a:pt x="100" y="12"/>
                  </a:lnTo>
                  <a:lnTo>
                    <a:pt x="102" y="10"/>
                  </a:lnTo>
                  <a:lnTo>
                    <a:pt x="103" y="9"/>
                  </a:lnTo>
                  <a:lnTo>
                    <a:pt x="109" y="8"/>
                  </a:lnTo>
                  <a:lnTo>
                    <a:pt x="110" y="8"/>
                  </a:lnTo>
                  <a:lnTo>
                    <a:pt x="111" y="8"/>
                  </a:lnTo>
                  <a:lnTo>
                    <a:pt x="114" y="8"/>
                  </a:lnTo>
                  <a:lnTo>
                    <a:pt x="121" y="8"/>
                  </a:lnTo>
                  <a:lnTo>
                    <a:pt x="124" y="9"/>
                  </a:lnTo>
                  <a:lnTo>
                    <a:pt x="126" y="10"/>
                  </a:lnTo>
                  <a:lnTo>
                    <a:pt x="128" y="12"/>
                  </a:lnTo>
                  <a:lnTo>
                    <a:pt x="129" y="12"/>
                  </a:lnTo>
                  <a:lnTo>
                    <a:pt x="130" y="13"/>
                  </a:lnTo>
                  <a:lnTo>
                    <a:pt x="131" y="12"/>
                  </a:lnTo>
                  <a:lnTo>
                    <a:pt x="131" y="13"/>
                  </a:lnTo>
                  <a:lnTo>
                    <a:pt x="132" y="13"/>
                  </a:lnTo>
                  <a:lnTo>
                    <a:pt x="133" y="13"/>
                  </a:lnTo>
                  <a:lnTo>
                    <a:pt x="135" y="13"/>
                  </a:lnTo>
                  <a:lnTo>
                    <a:pt x="135" y="12"/>
                  </a:lnTo>
                  <a:lnTo>
                    <a:pt x="136" y="12"/>
                  </a:lnTo>
                  <a:lnTo>
                    <a:pt x="136" y="10"/>
                  </a:lnTo>
                  <a:lnTo>
                    <a:pt x="137" y="9"/>
                  </a:lnTo>
                  <a:lnTo>
                    <a:pt x="138" y="9"/>
                  </a:lnTo>
                  <a:lnTo>
                    <a:pt x="138" y="8"/>
                  </a:lnTo>
                  <a:lnTo>
                    <a:pt x="139" y="8"/>
                  </a:lnTo>
                  <a:lnTo>
                    <a:pt x="139" y="7"/>
                  </a:lnTo>
                  <a:lnTo>
                    <a:pt x="140" y="7"/>
                  </a:lnTo>
                  <a:lnTo>
                    <a:pt x="140" y="6"/>
                  </a:lnTo>
                  <a:lnTo>
                    <a:pt x="139" y="6"/>
                  </a:lnTo>
                  <a:lnTo>
                    <a:pt x="140" y="6"/>
                  </a:lnTo>
                  <a:lnTo>
                    <a:pt x="142" y="6"/>
                  </a:lnTo>
                  <a:lnTo>
                    <a:pt x="143" y="6"/>
                  </a:lnTo>
                  <a:lnTo>
                    <a:pt x="144" y="6"/>
                  </a:lnTo>
                  <a:lnTo>
                    <a:pt x="145" y="6"/>
                  </a:lnTo>
                  <a:lnTo>
                    <a:pt x="145" y="5"/>
                  </a:lnTo>
                  <a:lnTo>
                    <a:pt x="145" y="3"/>
                  </a:lnTo>
                  <a:lnTo>
                    <a:pt x="146" y="3"/>
                  </a:lnTo>
                  <a:lnTo>
                    <a:pt x="146" y="2"/>
                  </a:lnTo>
                  <a:lnTo>
                    <a:pt x="147" y="2"/>
                  </a:lnTo>
                  <a:lnTo>
                    <a:pt x="151" y="2"/>
                  </a:lnTo>
                  <a:lnTo>
                    <a:pt x="153" y="8"/>
                  </a:lnTo>
                  <a:lnTo>
                    <a:pt x="157" y="13"/>
                  </a:lnTo>
                  <a:lnTo>
                    <a:pt x="158" y="17"/>
                  </a:lnTo>
                  <a:lnTo>
                    <a:pt x="159" y="21"/>
                  </a:lnTo>
                  <a:lnTo>
                    <a:pt x="159" y="22"/>
                  </a:lnTo>
                  <a:lnTo>
                    <a:pt x="159" y="23"/>
                  </a:lnTo>
                  <a:lnTo>
                    <a:pt x="159" y="24"/>
                  </a:lnTo>
                  <a:lnTo>
                    <a:pt x="161" y="24"/>
                  </a:lnTo>
                  <a:lnTo>
                    <a:pt x="163" y="24"/>
                  </a:lnTo>
                  <a:lnTo>
                    <a:pt x="164" y="24"/>
                  </a:lnTo>
                  <a:lnTo>
                    <a:pt x="164" y="26"/>
                  </a:lnTo>
                  <a:lnTo>
                    <a:pt x="164" y="27"/>
                  </a:lnTo>
                  <a:lnTo>
                    <a:pt x="165" y="27"/>
                  </a:lnTo>
                  <a:lnTo>
                    <a:pt x="165" y="28"/>
                  </a:lnTo>
                  <a:lnTo>
                    <a:pt x="165" y="29"/>
                  </a:lnTo>
                  <a:lnTo>
                    <a:pt x="165" y="30"/>
                  </a:lnTo>
                  <a:lnTo>
                    <a:pt x="165" y="31"/>
                  </a:lnTo>
                  <a:lnTo>
                    <a:pt x="165" y="33"/>
                  </a:lnTo>
                  <a:lnTo>
                    <a:pt x="164" y="34"/>
                  </a:lnTo>
                  <a:lnTo>
                    <a:pt x="164" y="35"/>
                  </a:lnTo>
                  <a:lnTo>
                    <a:pt x="165" y="35"/>
                  </a:lnTo>
                  <a:lnTo>
                    <a:pt x="165" y="36"/>
                  </a:lnTo>
                  <a:lnTo>
                    <a:pt x="165" y="37"/>
                  </a:lnTo>
                  <a:lnTo>
                    <a:pt x="164" y="37"/>
                  </a:lnTo>
                  <a:lnTo>
                    <a:pt x="164" y="38"/>
                  </a:lnTo>
                  <a:lnTo>
                    <a:pt x="163" y="38"/>
                  </a:lnTo>
                  <a:lnTo>
                    <a:pt x="163" y="40"/>
                  </a:lnTo>
                  <a:lnTo>
                    <a:pt x="161" y="40"/>
                  </a:lnTo>
                  <a:lnTo>
                    <a:pt x="160" y="41"/>
                  </a:lnTo>
                  <a:lnTo>
                    <a:pt x="159" y="41"/>
                  </a:lnTo>
                  <a:lnTo>
                    <a:pt x="159" y="42"/>
                  </a:lnTo>
                  <a:lnTo>
                    <a:pt x="158" y="42"/>
                  </a:lnTo>
                  <a:lnTo>
                    <a:pt x="157" y="42"/>
                  </a:lnTo>
                  <a:lnTo>
                    <a:pt x="157" y="41"/>
                  </a:lnTo>
                  <a:lnTo>
                    <a:pt x="156" y="41"/>
                  </a:lnTo>
                  <a:lnTo>
                    <a:pt x="156" y="42"/>
                  </a:lnTo>
                  <a:lnTo>
                    <a:pt x="154" y="43"/>
                  </a:lnTo>
                  <a:lnTo>
                    <a:pt x="154" y="44"/>
                  </a:lnTo>
                  <a:lnTo>
                    <a:pt x="153" y="44"/>
                  </a:lnTo>
                  <a:lnTo>
                    <a:pt x="153" y="45"/>
                  </a:lnTo>
                  <a:lnTo>
                    <a:pt x="153" y="47"/>
                  </a:lnTo>
                  <a:lnTo>
                    <a:pt x="151" y="50"/>
                  </a:lnTo>
                  <a:lnTo>
                    <a:pt x="150" y="51"/>
                  </a:lnTo>
                  <a:lnTo>
                    <a:pt x="150" y="54"/>
                  </a:lnTo>
                  <a:lnTo>
                    <a:pt x="149" y="57"/>
                  </a:lnTo>
                  <a:lnTo>
                    <a:pt x="149" y="58"/>
                  </a:lnTo>
                  <a:lnTo>
                    <a:pt x="149" y="59"/>
                  </a:lnTo>
                  <a:lnTo>
                    <a:pt x="147" y="59"/>
                  </a:lnTo>
                  <a:lnTo>
                    <a:pt x="146" y="59"/>
                  </a:lnTo>
                  <a:lnTo>
                    <a:pt x="146" y="61"/>
                  </a:lnTo>
                  <a:lnTo>
                    <a:pt x="146" y="62"/>
                  </a:lnTo>
                  <a:lnTo>
                    <a:pt x="145" y="63"/>
                  </a:lnTo>
                  <a:lnTo>
                    <a:pt x="146" y="64"/>
                  </a:lnTo>
                  <a:lnTo>
                    <a:pt x="146" y="65"/>
                  </a:lnTo>
                  <a:lnTo>
                    <a:pt x="146" y="66"/>
                  </a:lnTo>
                  <a:lnTo>
                    <a:pt x="146" y="68"/>
                  </a:lnTo>
                  <a:lnTo>
                    <a:pt x="145" y="69"/>
                  </a:lnTo>
                  <a:lnTo>
                    <a:pt x="144" y="69"/>
                  </a:lnTo>
                  <a:lnTo>
                    <a:pt x="143" y="70"/>
                  </a:lnTo>
                  <a:lnTo>
                    <a:pt x="142" y="70"/>
                  </a:lnTo>
                  <a:lnTo>
                    <a:pt x="142" y="71"/>
                  </a:lnTo>
                  <a:lnTo>
                    <a:pt x="140" y="71"/>
                  </a:lnTo>
                  <a:lnTo>
                    <a:pt x="142" y="71"/>
                  </a:lnTo>
                  <a:lnTo>
                    <a:pt x="142" y="72"/>
                  </a:lnTo>
                  <a:lnTo>
                    <a:pt x="142" y="73"/>
                  </a:lnTo>
                  <a:lnTo>
                    <a:pt x="140" y="75"/>
                  </a:lnTo>
                  <a:lnTo>
                    <a:pt x="140" y="76"/>
                  </a:lnTo>
                  <a:lnTo>
                    <a:pt x="140" y="77"/>
                  </a:lnTo>
                  <a:lnTo>
                    <a:pt x="140" y="80"/>
                  </a:lnTo>
                  <a:lnTo>
                    <a:pt x="139" y="82"/>
                  </a:lnTo>
                  <a:lnTo>
                    <a:pt x="138" y="82"/>
                  </a:lnTo>
                  <a:lnTo>
                    <a:pt x="138" y="83"/>
                  </a:lnTo>
                  <a:lnTo>
                    <a:pt x="137" y="84"/>
                  </a:lnTo>
                  <a:lnTo>
                    <a:pt x="136" y="84"/>
                  </a:lnTo>
                  <a:lnTo>
                    <a:pt x="136" y="83"/>
                  </a:lnTo>
                  <a:lnTo>
                    <a:pt x="135" y="83"/>
                  </a:lnTo>
                  <a:lnTo>
                    <a:pt x="135" y="84"/>
                  </a:lnTo>
                  <a:lnTo>
                    <a:pt x="135" y="85"/>
                  </a:lnTo>
                  <a:lnTo>
                    <a:pt x="133" y="85"/>
                  </a:lnTo>
                  <a:lnTo>
                    <a:pt x="133" y="86"/>
                  </a:lnTo>
                  <a:lnTo>
                    <a:pt x="132" y="86"/>
                  </a:lnTo>
                  <a:lnTo>
                    <a:pt x="132" y="87"/>
                  </a:lnTo>
                  <a:lnTo>
                    <a:pt x="132" y="89"/>
                  </a:lnTo>
                  <a:lnTo>
                    <a:pt x="132" y="90"/>
                  </a:lnTo>
                  <a:lnTo>
                    <a:pt x="131" y="91"/>
                  </a:lnTo>
                  <a:lnTo>
                    <a:pt x="131" y="92"/>
                  </a:lnTo>
                  <a:lnTo>
                    <a:pt x="131" y="93"/>
                  </a:lnTo>
                  <a:lnTo>
                    <a:pt x="132" y="93"/>
                  </a:lnTo>
                  <a:lnTo>
                    <a:pt x="131" y="93"/>
                  </a:lnTo>
                  <a:lnTo>
                    <a:pt x="131" y="94"/>
                  </a:lnTo>
                  <a:lnTo>
                    <a:pt x="130" y="97"/>
                  </a:lnTo>
                  <a:lnTo>
                    <a:pt x="129" y="98"/>
                  </a:lnTo>
                  <a:lnTo>
                    <a:pt x="130" y="99"/>
                  </a:lnTo>
                  <a:lnTo>
                    <a:pt x="129" y="100"/>
                  </a:lnTo>
                  <a:lnTo>
                    <a:pt x="128" y="101"/>
                  </a:lnTo>
                  <a:lnTo>
                    <a:pt x="126" y="103"/>
                  </a:lnTo>
                  <a:lnTo>
                    <a:pt x="126" y="104"/>
                  </a:lnTo>
                  <a:lnTo>
                    <a:pt x="125" y="105"/>
                  </a:lnTo>
                  <a:lnTo>
                    <a:pt x="126" y="105"/>
                  </a:lnTo>
                  <a:lnTo>
                    <a:pt x="126" y="106"/>
                  </a:lnTo>
                  <a:lnTo>
                    <a:pt x="128" y="107"/>
                  </a:lnTo>
                  <a:lnTo>
                    <a:pt x="126" y="107"/>
                  </a:lnTo>
                  <a:lnTo>
                    <a:pt x="125" y="108"/>
                  </a:lnTo>
                  <a:lnTo>
                    <a:pt x="125" y="110"/>
                  </a:lnTo>
                  <a:lnTo>
                    <a:pt x="124" y="110"/>
                  </a:lnTo>
                  <a:lnTo>
                    <a:pt x="123" y="111"/>
                  </a:lnTo>
                  <a:lnTo>
                    <a:pt x="123" y="112"/>
                  </a:lnTo>
                  <a:lnTo>
                    <a:pt x="123" y="113"/>
                  </a:lnTo>
                  <a:lnTo>
                    <a:pt x="123" y="114"/>
                  </a:lnTo>
                  <a:lnTo>
                    <a:pt x="122" y="115"/>
                  </a:lnTo>
                  <a:lnTo>
                    <a:pt x="121" y="115"/>
                  </a:lnTo>
                  <a:lnTo>
                    <a:pt x="121" y="117"/>
                  </a:lnTo>
                  <a:lnTo>
                    <a:pt x="121" y="118"/>
                  </a:lnTo>
                  <a:lnTo>
                    <a:pt x="120" y="118"/>
                  </a:lnTo>
                  <a:lnTo>
                    <a:pt x="118" y="118"/>
                  </a:lnTo>
                  <a:lnTo>
                    <a:pt x="117" y="118"/>
                  </a:lnTo>
                  <a:lnTo>
                    <a:pt x="116" y="117"/>
                  </a:lnTo>
                  <a:lnTo>
                    <a:pt x="116" y="115"/>
                  </a:lnTo>
                  <a:lnTo>
                    <a:pt x="116" y="114"/>
                  </a:lnTo>
                  <a:lnTo>
                    <a:pt x="116" y="113"/>
                  </a:lnTo>
                  <a:lnTo>
                    <a:pt x="115" y="113"/>
                  </a:lnTo>
                  <a:lnTo>
                    <a:pt x="114" y="112"/>
                  </a:lnTo>
                  <a:lnTo>
                    <a:pt x="114" y="111"/>
                  </a:lnTo>
                  <a:lnTo>
                    <a:pt x="113" y="111"/>
                  </a:lnTo>
                  <a:lnTo>
                    <a:pt x="113" y="110"/>
                  </a:lnTo>
                  <a:lnTo>
                    <a:pt x="111" y="108"/>
                  </a:lnTo>
                  <a:lnTo>
                    <a:pt x="110" y="108"/>
                  </a:lnTo>
                  <a:lnTo>
                    <a:pt x="109" y="107"/>
                  </a:lnTo>
                  <a:lnTo>
                    <a:pt x="109" y="108"/>
                  </a:lnTo>
                  <a:lnTo>
                    <a:pt x="109" y="110"/>
                  </a:lnTo>
                  <a:lnTo>
                    <a:pt x="108" y="110"/>
                  </a:lnTo>
                  <a:lnTo>
                    <a:pt x="108" y="111"/>
                  </a:lnTo>
                  <a:lnTo>
                    <a:pt x="104" y="111"/>
                  </a:lnTo>
                  <a:lnTo>
                    <a:pt x="103" y="111"/>
                  </a:lnTo>
                  <a:lnTo>
                    <a:pt x="103" y="110"/>
                  </a:lnTo>
                  <a:lnTo>
                    <a:pt x="103" y="108"/>
                  </a:lnTo>
                  <a:lnTo>
                    <a:pt x="100" y="112"/>
                  </a:lnTo>
                  <a:lnTo>
                    <a:pt x="99" y="112"/>
                  </a:lnTo>
                  <a:lnTo>
                    <a:pt x="97" y="117"/>
                  </a:lnTo>
                  <a:lnTo>
                    <a:pt x="96" y="117"/>
                  </a:lnTo>
                  <a:lnTo>
                    <a:pt x="95" y="117"/>
                  </a:lnTo>
                  <a:lnTo>
                    <a:pt x="95" y="118"/>
                  </a:lnTo>
                  <a:lnTo>
                    <a:pt x="94" y="118"/>
                  </a:lnTo>
                  <a:lnTo>
                    <a:pt x="94" y="119"/>
                  </a:lnTo>
                  <a:lnTo>
                    <a:pt x="93" y="119"/>
                  </a:lnTo>
                  <a:lnTo>
                    <a:pt x="93" y="120"/>
                  </a:lnTo>
                  <a:lnTo>
                    <a:pt x="92" y="120"/>
                  </a:lnTo>
                  <a:lnTo>
                    <a:pt x="92" y="121"/>
                  </a:lnTo>
                  <a:lnTo>
                    <a:pt x="89" y="124"/>
                  </a:lnTo>
                  <a:lnTo>
                    <a:pt x="88" y="125"/>
                  </a:lnTo>
                  <a:lnTo>
                    <a:pt x="88" y="126"/>
                  </a:lnTo>
                  <a:lnTo>
                    <a:pt x="87" y="126"/>
                  </a:lnTo>
                  <a:lnTo>
                    <a:pt x="86" y="126"/>
                  </a:lnTo>
                  <a:lnTo>
                    <a:pt x="86" y="127"/>
                  </a:lnTo>
                  <a:lnTo>
                    <a:pt x="86" y="128"/>
                  </a:lnTo>
                  <a:lnTo>
                    <a:pt x="86" y="129"/>
                  </a:lnTo>
                  <a:lnTo>
                    <a:pt x="85" y="129"/>
                  </a:lnTo>
                  <a:lnTo>
                    <a:pt x="86" y="131"/>
                  </a:lnTo>
                  <a:lnTo>
                    <a:pt x="86" y="132"/>
                  </a:lnTo>
                  <a:lnTo>
                    <a:pt x="86" y="133"/>
                  </a:lnTo>
                  <a:lnTo>
                    <a:pt x="86" y="134"/>
                  </a:lnTo>
                  <a:lnTo>
                    <a:pt x="85" y="135"/>
                  </a:lnTo>
                  <a:lnTo>
                    <a:pt x="85" y="136"/>
                  </a:lnTo>
                  <a:lnTo>
                    <a:pt x="85" y="138"/>
                  </a:lnTo>
                  <a:lnTo>
                    <a:pt x="85" y="139"/>
                  </a:lnTo>
                  <a:lnTo>
                    <a:pt x="83" y="139"/>
                  </a:lnTo>
                  <a:lnTo>
                    <a:pt x="83" y="140"/>
                  </a:lnTo>
                  <a:lnTo>
                    <a:pt x="83" y="141"/>
                  </a:lnTo>
                  <a:lnTo>
                    <a:pt x="82" y="141"/>
                  </a:lnTo>
                  <a:lnTo>
                    <a:pt x="82" y="142"/>
                  </a:lnTo>
                  <a:lnTo>
                    <a:pt x="82" y="143"/>
                  </a:lnTo>
                  <a:lnTo>
                    <a:pt x="81" y="143"/>
                  </a:lnTo>
                  <a:lnTo>
                    <a:pt x="81" y="145"/>
                  </a:lnTo>
                  <a:lnTo>
                    <a:pt x="81" y="146"/>
                  </a:lnTo>
                  <a:lnTo>
                    <a:pt x="80" y="145"/>
                  </a:lnTo>
                  <a:lnTo>
                    <a:pt x="79" y="145"/>
                  </a:lnTo>
                  <a:lnTo>
                    <a:pt x="80" y="143"/>
                  </a:lnTo>
                  <a:lnTo>
                    <a:pt x="79" y="143"/>
                  </a:lnTo>
                  <a:lnTo>
                    <a:pt x="78" y="143"/>
                  </a:lnTo>
                  <a:lnTo>
                    <a:pt x="78" y="142"/>
                  </a:lnTo>
                  <a:lnTo>
                    <a:pt x="76" y="141"/>
                  </a:lnTo>
                  <a:lnTo>
                    <a:pt x="76" y="142"/>
                  </a:lnTo>
                  <a:lnTo>
                    <a:pt x="78" y="142"/>
                  </a:lnTo>
                  <a:lnTo>
                    <a:pt x="78" y="143"/>
                  </a:lnTo>
                  <a:lnTo>
                    <a:pt x="78" y="145"/>
                  </a:lnTo>
                  <a:lnTo>
                    <a:pt x="79" y="145"/>
                  </a:lnTo>
                  <a:lnTo>
                    <a:pt x="78" y="145"/>
                  </a:lnTo>
                  <a:lnTo>
                    <a:pt x="78" y="146"/>
                  </a:lnTo>
                  <a:lnTo>
                    <a:pt x="79" y="146"/>
                  </a:lnTo>
                  <a:lnTo>
                    <a:pt x="79" y="147"/>
                  </a:lnTo>
                  <a:lnTo>
                    <a:pt x="78" y="147"/>
                  </a:lnTo>
                  <a:lnTo>
                    <a:pt x="78" y="148"/>
                  </a:lnTo>
                  <a:lnTo>
                    <a:pt x="76" y="148"/>
                  </a:lnTo>
                  <a:lnTo>
                    <a:pt x="75" y="148"/>
                  </a:lnTo>
                  <a:lnTo>
                    <a:pt x="74" y="147"/>
                  </a:lnTo>
                  <a:lnTo>
                    <a:pt x="74" y="148"/>
                  </a:lnTo>
                  <a:lnTo>
                    <a:pt x="73" y="148"/>
                  </a:lnTo>
                  <a:lnTo>
                    <a:pt x="71" y="148"/>
                  </a:lnTo>
                  <a:lnTo>
                    <a:pt x="69" y="148"/>
                  </a:lnTo>
                  <a:lnTo>
                    <a:pt x="71" y="148"/>
                  </a:lnTo>
                  <a:lnTo>
                    <a:pt x="69" y="148"/>
                  </a:lnTo>
                  <a:lnTo>
                    <a:pt x="68" y="148"/>
                  </a:lnTo>
                  <a:lnTo>
                    <a:pt x="67" y="148"/>
                  </a:lnTo>
                  <a:lnTo>
                    <a:pt x="67" y="147"/>
                  </a:lnTo>
                  <a:lnTo>
                    <a:pt x="67" y="146"/>
                  </a:lnTo>
                  <a:lnTo>
                    <a:pt x="67" y="145"/>
                  </a:lnTo>
                  <a:lnTo>
                    <a:pt x="67" y="146"/>
                  </a:lnTo>
                  <a:lnTo>
                    <a:pt x="67" y="147"/>
                  </a:lnTo>
                  <a:lnTo>
                    <a:pt x="66" y="147"/>
                  </a:lnTo>
                  <a:lnTo>
                    <a:pt x="66" y="148"/>
                  </a:lnTo>
                  <a:lnTo>
                    <a:pt x="65" y="147"/>
                  </a:lnTo>
                  <a:lnTo>
                    <a:pt x="64" y="147"/>
                  </a:lnTo>
                  <a:lnTo>
                    <a:pt x="64" y="148"/>
                  </a:lnTo>
                  <a:lnTo>
                    <a:pt x="65" y="148"/>
                  </a:lnTo>
                  <a:lnTo>
                    <a:pt x="64" y="148"/>
                  </a:lnTo>
                  <a:lnTo>
                    <a:pt x="62" y="147"/>
                  </a:lnTo>
                  <a:lnTo>
                    <a:pt x="62" y="146"/>
                  </a:lnTo>
                  <a:lnTo>
                    <a:pt x="61" y="146"/>
                  </a:lnTo>
                  <a:lnTo>
                    <a:pt x="61" y="145"/>
                  </a:lnTo>
                  <a:lnTo>
                    <a:pt x="60" y="145"/>
                  </a:lnTo>
                  <a:lnTo>
                    <a:pt x="61" y="145"/>
                  </a:lnTo>
                  <a:lnTo>
                    <a:pt x="61" y="146"/>
                  </a:lnTo>
                  <a:lnTo>
                    <a:pt x="62" y="147"/>
                  </a:lnTo>
                  <a:lnTo>
                    <a:pt x="61" y="147"/>
                  </a:lnTo>
                  <a:lnTo>
                    <a:pt x="62" y="148"/>
                  </a:lnTo>
                  <a:lnTo>
                    <a:pt x="61" y="149"/>
                  </a:lnTo>
                  <a:lnTo>
                    <a:pt x="60" y="149"/>
                  </a:lnTo>
                  <a:lnTo>
                    <a:pt x="61" y="148"/>
                  </a:lnTo>
                  <a:lnTo>
                    <a:pt x="60" y="148"/>
                  </a:lnTo>
                  <a:lnTo>
                    <a:pt x="60" y="149"/>
                  </a:lnTo>
                  <a:lnTo>
                    <a:pt x="61" y="149"/>
                  </a:lnTo>
                  <a:lnTo>
                    <a:pt x="60" y="149"/>
                  </a:lnTo>
                  <a:lnTo>
                    <a:pt x="60" y="148"/>
                  </a:lnTo>
                  <a:lnTo>
                    <a:pt x="60" y="147"/>
                  </a:lnTo>
                  <a:lnTo>
                    <a:pt x="60" y="146"/>
                  </a:lnTo>
                  <a:lnTo>
                    <a:pt x="60" y="145"/>
                  </a:lnTo>
                  <a:lnTo>
                    <a:pt x="59" y="146"/>
                  </a:lnTo>
                  <a:lnTo>
                    <a:pt x="59" y="145"/>
                  </a:lnTo>
                  <a:lnTo>
                    <a:pt x="59" y="146"/>
                  </a:lnTo>
                  <a:lnTo>
                    <a:pt x="59" y="147"/>
                  </a:lnTo>
                  <a:lnTo>
                    <a:pt x="59" y="146"/>
                  </a:lnTo>
                  <a:lnTo>
                    <a:pt x="58" y="146"/>
                  </a:lnTo>
                  <a:lnTo>
                    <a:pt x="59" y="147"/>
                  </a:lnTo>
                  <a:lnTo>
                    <a:pt x="59" y="148"/>
                  </a:lnTo>
                  <a:lnTo>
                    <a:pt x="59" y="149"/>
                  </a:lnTo>
                  <a:lnTo>
                    <a:pt x="60" y="149"/>
                  </a:lnTo>
                  <a:lnTo>
                    <a:pt x="60" y="150"/>
                  </a:lnTo>
                  <a:lnTo>
                    <a:pt x="59" y="150"/>
                  </a:lnTo>
                  <a:lnTo>
                    <a:pt x="58" y="150"/>
                  </a:lnTo>
                  <a:lnTo>
                    <a:pt x="58" y="149"/>
                  </a:lnTo>
                  <a:lnTo>
                    <a:pt x="58" y="148"/>
                  </a:lnTo>
                  <a:lnTo>
                    <a:pt x="57" y="148"/>
                  </a:lnTo>
                  <a:lnTo>
                    <a:pt x="57" y="147"/>
                  </a:lnTo>
                  <a:lnTo>
                    <a:pt x="58" y="147"/>
                  </a:lnTo>
                  <a:lnTo>
                    <a:pt x="58" y="146"/>
                  </a:lnTo>
                  <a:lnTo>
                    <a:pt x="57" y="146"/>
                  </a:lnTo>
                  <a:lnTo>
                    <a:pt x="57" y="145"/>
                  </a:lnTo>
                  <a:lnTo>
                    <a:pt x="57" y="143"/>
                  </a:lnTo>
                  <a:lnTo>
                    <a:pt x="56" y="143"/>
                  </a:lnTo>
                  <a:lnTo>
                    <a:pt x="56" y="145"/>
                  </a:lnTo>
                  <a:lnTo>
                    <a:pt x="57" y="145"/>
                  </a:lnTo>
                  <a:lnTo>
                    <a:pt x="57" y="146"/>
                  </a:lnTo>
                  <a:lnTo>
                    <a:pt x="57" y="147"/>
                  </a:lnTo>
                  <a:lnTo>
                    <a:pt x="57" y="149"/>
                  </a:lnTo>
                  <a:lnTo>
                    <a:pt x="58" y="149"/>
                  </a:lnTo>
                  <a:lnTo>
                    <a:pt x="58" y="150"/>
                  </a:lnTo>
                  <a:lnTo>
                    <a:pt x="57" y="150"/>
                  </a:lnTo>
                  <a:lnTo>
                    <a:pt x="56" y="150"/>
                  </a:lnTo>
                  <a:lnTo>
                    <a:pt x="56" y="149"/>
                  </a:lnTo>
                  <a:lnTo>
                    <a:pt x="56" y="148"/>
                  </a:lnTo>
                  <a:lnTo>
                    <a:pt x="56" y="147"/>
                  </a:lnTo>
                  <a:lnTo>
                    <a:pt x="56" y="148"/>
                  </a:lnTo>
                  <a:lnTo>
                    <a:pt x="56" y="149"/>
                  </a:lnTo>
                  <a:lnTo>
                    <a:pt x="56" y="148"/>
                  </a:lnTo>
                  <a:lnTo>
                    <a:pt x="54" y="148"/>
                  </a:lnTo>
                  <a:lnTo>
                    <a:pt x="56" y="148"/>
                  </a:lnTo>
                  <a:lnTo>
                    <a:pt x="56" y="149"/>
                  </a:lnTo>
                  <a:lnTo>
                    <a:pt x="56" y="150"/>
                  </a:lnTo>
                  <a:lnTo>
                    <a:pt x="56" y="152"/>
                  </a:lnTo>
                  <a:lnTo>
                    <a:pt x="54" y="152"/>
                  </a:lnTo>
                  <a:lnTo>
                    <a:pt x="54" y="150"/>
                  </a:lnTo>
                  <a:lnTo>
                    <a:pt x="54" y="149"/>
                  </a:lnTo>
                  <a:lnTo>
                    <a:pt x="54" y="148"/>
                  </a:lnTo>
                  <a:lnTo>
                    <a:pt x="53" y="148"/>
                  </a:lnTo>
                  <a:lnTo>
                    <a:pt x="54" y="149"/>
                  </a:lnTo>
                  <a:lnTo>
                    <a:pt x="54" y="150"/>
                  </a:lnTo>
                  <a:lnTo>
                    <a:pt x="53" y="150"/>
                  </a:lnTo>
                  <a:lnTo>
                    <a:pt x="53" y="152"/>
                  </a:lnTo>
                  <a:lnTo>
                    <a:pt x="52" y="152"/>
                  </a:lnTo>
                  <a:lnTo>
                    <a:pt x="52" y="150"/>
                  </a:lnTo>
                  <a:lnTo>
                    <a:pt x="52" y="152"/>
                  </a:lnTo>
                  <a:lnTo>
                    <a:pt x="51" y="152"/>
                  </a:lnTo>
                  <a:lnTo>
                    <a:pt x="50" y="152"/>
                  </a:lnTo>
                  <a:lnTo>
                    <a:pt x="50" y="150"/>
                  </a:lnTo>
                  <a:lnTo>
                    <a:pt x="51" y="149"/>
                  </a:lnTo>
                  <a:lnTo>
                    <a:pt x="50" y="149"/>
                  </a:lnTo>
                  <a:lnTo>
                    <a:pt x="50" y="150"/>
                  </a:lnTo>
                  <a:lnTo>
                    <a:pt x="50" y="149"/>
                  </a:lnTo>
                  <a:lnTo>
                    <a:pt x="50" y="148"/>
                  </a:lnTo>
                  <a:lnTo>
                    <a:pt x="49" y="148"/>
                  </a:lnTo>
                  <a:lnTo>
                    <a:pt x="49" y="149"/>
                  </a:lnTo>
                  <a:lnTo>
                    <a:pt x="50" y="149"/>
                  </a:lnTo>
                  <a:lnTo>
                    <a:pt x="50" y="150"/>
                  </a:lnTo>
                  <a:lnTo>
                    <a:pt x="49" y="149"/>
                  </a:lnTo>
                  <a:lnTo>
                    <a:pt x="49" y="150"/>
                  </a:lnTo>
                  <a:lnTo>
                    <a:pt x="49" y="152"/>
                  </a:lnTo>
                  <a:lnTo>
                    <a:pt x="47" y="152"/>
                  </a:lnTo>
                  <a:lnTo>
                    <a:pt x="47" y="150"/>
                  </a:lnTo>
                  <a:lnTo>
                    <a:pt x="47" y="149"/>
                  </a:lnTo>
                  <a:lnTo>
                    <a:pt x="46" y="149"/>
                  </a:lnTo>
                  <a:lnTo>
                    <a:pt x="46" y="150"/>
                  </a:lnTo>
                  <a:lnTo>
                    <a:pt x="46" y="152"/>
                  </a:lnTo>
                  <a:lnTo>
                    <a:pt x="46" y="150"/>
                  </a:lnTo>
                  <a:lnTo>
                    <a:pt x="45" y="150"/>
                  </a:lnTo>
                  <a:lnTo>
                    <a:pt x="45" y="149"/>
                  </a:lnTo>
                  <a:lnTo>
                    <a:pt x="45" y="150"/>
                  </a:lnTo>
                  <a:lnTo>
                    <a:pt x="45" y="152"/>
                  </a:lnTo>
                  <a:lnTo>
                    <a:pt x="45" y="150"/>
                  </a:lnTo>
                  <a:lnTo>
                    <a:pt x="44" y="150"/>
                  </a:lnTo>
                  <a:lnTo>
                    <a:pt x="44" y="149"/>
                  </a:lnTo>
                  <a:lnTo>
                    <a:pt x="43" y="149"/>
                  </a:lnTo>
                  <a:lnTo>
                    <a:pt x="42" y="148"/>
                  </a:lnTo>
                  <a:lnTo>
                    <a:pt x="40" y="146"/>
                  </a:lnTo>
                  <a:lnTo>
                    <a:pt x="39" y="146"/>
                  </a:lnTo>
                  <a:lnTo>
                    <a:pt x="39" y="145"/>
                  </a:lnTo>
                  <a:lnTo>
                    <a:pt x="39" y="143"/>
                  </a:lnTo>
                  <a:lnTo>
                    <a:pt x="38" y="143"/>
                  </a:lnTo>
                  <a:lnTo>
                    <a:pt x="39" y="143"/>
                  </a:lnTo>
                  <a:lnTo>
                    <a:pt x="38" y="142"/>
                  </a:lnTo>
                  <a:lnTo>
                    <a:pt x="38" y="141"/>
                  </a:lnTo>
                  <a:lnTo>
                    <a:pt x="38" y="140"/>
                  </a:lnTo>
                  <a:lnTo>
                    <a:pt x="37" y="139"/>
                  </a:lnTo>
                  <a:lnTo>
                    <a:pt x="38" y="139"/>
                  </a:lnTo>
                  <a:lnTo>
                    <a:pt x="38" y="138"/>
                  </a:lnTo>
                  <a:lnTo>
                    <a:pt x="38" y="139"/>
                  </a:lnTo>
                  <a:lnTo>
                    <a:pt x="39" y="139"/>
                  </a:lnTo>
                  <a:lnTo>
                    <a:pt x="38" y="138"/>
                  </a:lnTo>
                  <a:lnTo>
                    <a:pt x="37" y="138"/>
                  </a:lnTo>
                  <a:lnTo>
                    <a:pt x="37" y="136"/>
                  </a:lnTo>
                  <a:lnTo>
                    <a:pt x="37" y="135"/>
                  </a:lnTo>
                  <a:lnTo>
                    <a:pt x="38" y="135"/>
                  </a:lnTo>
                  <a:lnTo>
                    <a:pt x="39" y="134"/>
                  </a:lnTo>
                  <a:lnTo>
                    <a:pt x="40" y="134"/>
                  </a:lnTo>
                  <a:lnTo>
                    <a:pt x="39" y="134"/>
                  </a:lnTo>
                  <a:lnTo>
                    <a:pt x="39" y="133"/>
                  </a:lnTo>
                  <a:lnTo>
                    <a:pt x="40" y="133"/>
                  </a:lnTo>
                  <a:lnTo>
                    <a:pt x="40" y="132"/>
                  </a:lnTo>
                  <a:lnTo>
                    <a:pt x="40" y="133"/>
                  </a:lnTo>
                  <a:lnTo>
                    <a:pt x="40" y="132"/>
                  </a:lnTo>
                  <a:lnTo>
                    <a:pt x="39" y="133"/>
                  </a:lnTo>
                  <a:lnTo>
                    <a:pt x="39" y="134"/>
                  </a:lnTo>
                  <a:lnTo>
                    <a:pt x="38" y="134"/>
                  </a:lnTo>
                  <a:lnTo>
                    <a:pt x="37" y="134"/>
                  </a:lnTo>
                  <a:lnTo>
                    <a:pt x="36" y="134"/>
                  </a:lnTo>
                  <a:lnTo>
                    <a:pt x="36" y="133"/>
                  </a:lnTo>
                  <a:lnTo>
                    <a:pt x="35" y="133"/>
                  </a:lnTo>
                  <a:lnTo>
                    <a:pt x="35" y="132"/>
                  </a:lnTo>
                  <a:lnTo>
                    <a:pt x="37" y="132"/>
                  </a:lnTo>
                  <a:lnTo>
                    <a:pt x="38" y="131"/>
                  </a:lnTo>
                  <a:lnTo>
                    <a:pt x="38" y="132"/>
                  </a:lnTo>
                  <a:lnTo>
                    <a:pt x="39" y="132"/>
                  </a:lnTo>
                  <a:lnTo>
                    <a:pt x="39" y="131"/>
                  </a:lnTo>
                  <a:lnTo>
                    <a:pt x="38" y="131"/>
                  </a:lnTo>
                  <a:lnTo>
                    <a:pt x="37" y="131"/>
                  </a:lnTo>
                  <a:lnTo>
                    <a:pt x="36" y="131"/>
                  </a:lnTo>
                  <a:lnTo>
                    <a:pt x="37" y="129"/>
                  </a:lnTo>
                  <a:lnTo>
                    <a:pt x="36" y="131"/>
                  </a:lnTo>
                  <a:lnTo>
                    <a:pt x="35" y="131"/>
                  </a:lnTo>
                  <a:lnTo>
                    <a:pt x="35" y="132"/>
                  </a:lnTo>
                  <a:lnTo>
                    <a:pt x="35" y="131"/>
                  </a:lnTo>
                  <a:lnTo>
                    <a:pt x="33" y="131"/>
                  </a:lnTo>
                  <a:lnTo>
                    <a:pt x="33" y="129"/>
                  </a:lnTo>
                  <a:lnTo>
                    <a:pt x="33" y="128"/>
                  </a:lnTo>
                  <a:lnTo>
                    <a:pt x="35" y="128"/>
                  </a:lnTo>
                  <a:lnTo>
                    <a:pt x="33" y="128"/>
                  </a:lnTo>
                  <a:lnTo>
                    <a:pt x="33" y="127"/>
                  </a:lnTo>
                  <a:lnTo>
                    <a:pt x="35" y="127"/>
                  </a:lnTo>
                  <a:lnTo>
                    <a:pt x="36" y="127"/>
                  </a:lnTo>
                  <a:lnTo>
                    <a:pt x="36" y="126"/>
                  </a:lnTo>
                  <a:lnTo>
                    <a:pt x="35" y="127"/>
                  </a:lnTo>
                  <a:lnTo>
                    <a:pt x="33" y="127"/>
                  </a:lnTo>
                  <a:lnTo>
                    <a:pt x="32" y="128"/>
                  </a:lnTo>
                  <a:lnTo>
                    <a:pt x="32" y="127"/>
                  </a:lnTo>
                  <a:lnTo>
                    <a:pt x="30" y="125"/>
                  </a:lnTo>
                  <a:lnTo>
                    <a:pt x="30" y="124"/>
                  </a:lnTo>
                  <a:lnTo>
                    <a:pt x="29" y="124"/>
                  </a:lnTo>
                  <a:lnTo>
                    <a:pt x="29" y="122"/>
                  </a:lnTo>
                  <a:lnTo>
                    <a:pt x="28" y="122"/>
                  </a:lnTo>
                  <a:lnTo>
                    <a:pt x="26" y="121"/>
                  </a:lnTo>
                  <a:lnTo>
                    <a:pt x="25" y="120"/>
                  </a:lnTo>
                  <a:lnTo>
                    <a:pt x="23" y="119"/>
                  </a:lnTo>
                  <a:lnTo>
                    <a:pt x="19" y="118"/>
                  </a:lnTo>
                  <a:lnTo>
                    <a:pt x="16" y="118"/>
                  </a:lnTo>
                  <a:lnTo>
                    <a:pt x="10" y="118"/>
                  </a:lnTo>
                  <a:lnTo>
                    <a:pt x="9" y="118"/>
                  </a:lnTo>
                  <a:lnTo>
                    <a:pt x="10" y="118"/>
                  </a:lnTo>
                  <a:lnTo>
                    <a:pt x="11" y="118"/>
                  </a:lnTo>
                  <a:lnTo>
                    <a:pt x="11" y="117"/>
                  </a:lnTo>
                  <a:lnTo>
                    <a:pt x="12" y="117"/>
                  </a:lnTo>
                  <a:lnTo>
                    <a:pt x="11" y="117"/>
                  </a:lnTo>
                  <a:lnTo>
                    <a:pt x="12" y="117"/>
                  </a:lnTo>
                  <a:lnTo>
                    <a:pt x="14" y="117"/>
                  </a:lnTo>
                  <a:lnTo>
                    <a:pt x="15" y="117"/>
                  </a:lnTo>
                  <a:lnTo>
                    <a:pt x="15" y="115"/>
                  </a:lnTo>
                  <a:lnTo>
                    <a:pt x="16" y="115"/>
                  </a:lnTo>
                  <a:lnTo>
                    <a:pt x="15" y="115"/>
                  </a:lnTo>
                  <a:lnTo>
                    <a:pt x="14" y="115"/>
                  </a:lnTo>
                  <a:lnTo>
                    <a:pt x="12" y="115"/>
                  </a:lnTo>
                  <a:lnTo>
                    <a:pt x="11" y="117"/>
                  </a:lnTo>
                  <a:lnTo>
                    <a:pt x="10" y="117"/>
                  </a:lnTo>
                  <a:lnTo>
                    <a:pt x="10" y="115"/>
                  </a:lnTo>
                  <a:lnTo>
                    <a:pt x="9" y="115"/>
                  </a:lnTo>
                  <a:lnTo>
                    <a:pt x="9" y="117"/>
                  </a:lnTo>
                  <a:lnTo>
                    <a:pt x="10" y="117"/>
                  </a:lnTo>
                  <a:lnTo>
                    <a:pt x="9" y="117"/>
                  </a:lnTo>
                  <a:lnTo>
                    <a:pt x="9" y="118"/>
                  </a:lnTo>
                  <a:lnTo>
                    <a:pt x="9" y="119"/>
                  </a:lnTo>
                  <a:lnTo>
                    <a:pt x="7" y="119"/>
                  </a:lnTo>
                  <a:lnTo>
                    <a:pt x="5" y="119"/>
                  </a:lnTo>
                  <a:lnTo>
                    <a:pt x="3" y="119"/>
                  </a:lnTo>
                  <a:lnTo>
                    <a:pt x="0" y="119"/>
                  </a:lnTo>
                  <a:lnTo>
                    <a:pt x="0" y="118"/>
                  </a:lnTo>
                  <a:lnTo>
                    <a:pt x="0" y="117"/>
                  </a:lnTo>
                  <a:lnTo>
                    <a:pt x="1" y="115"/>
                  </a:lnTo>
                  <a:lnTo>
                    <a:pt x="0" y="115"/>
                  </a:lnTo>
                  <a:lnTo>
                    <a:pt x="0" y="114"/>
                  </a:lnTo>
                  <a:lnTo>
                    <a:pt x="1" y="114"/>
                  </a:lnTo>
                  <a:lnTo>
                    <a:pt x="1" y="113"/>
                  </a:lnTo>
                  <a:lnTo>
                    <a:pt x="0" y="112"/>
                  </a:lnTo>
                  <a:lnTo>
                    <a:pt x="1" y="111"/>
                  </a:lnTo>
                  <a:lnTo>
                    <a:pt x="0" y="111"/>
                  </a:lnTo>
                  <a:lnTo>
                    <a:pt x="0" y="110"/>
                  </a:lnTo>
                  <a:lnTo>
                    <a:pt x="1" y="108"/>
                  </a:lnTo>
                  <a:lnTo>
                    <a:pt x="1" y="107"/>
                  </a:lnTo>
                  <a:lnTo>
                    <a:pt x="0" y="107"/>
                  </a:lnTo>
                  <a:lnTo>
                    <a:pt x="1" y="107"/>
                  </a:lnTo>
                  <a:lnTo>
                    <a:pt x="1" y="106"/>
                  </a:lnTo>
                  <a:lnTo>
                    <a:pt x="1" y="103"/>
                  </a:lnTo>
                  <a:lnTo>
                    <a:pt x="1" y="101"/>
                  </a:lnTo>
                  <a:lnTo>
                    <a:pt x="1" y="100"/>
                  </a:lnTo>
                  <a:lnTo>
                    <a:pt x="0" y="99"/>
                  </a:lnTo>
                  <a:lnTo>
                    <a:pt x="0" y="98"/>
                  </a:lnTo>
                  <a:lnTo>
                    <a:pt x="0" y="97"/>
                  </a:lnTo>
                  <a:lnTo>
                    <a:pt x="0" y="96"/>
                  </a:lnTo>
                  <a:lnTo>
                    <a:pt x="0" y="94"/>
                  </a:lnTo>
                  <a:lnTo>
                    <a:pt x="0" y="93"/>
                  </a:lnTo>
                  <a:lnTo>
                    <a:pt x="0" y="92"/>
                  </a:lnTo>
                  <a:lnTo>
                    <a:pt x="0" y="91"/>
                  </a:lnTo>
                  <a:lnTo>
                    <a:pt x="0" y="90"/>
                  </a:lnTo>
                  <a:lnTo>
                    <a:pt x="0" y="89"/>
                  </a:lnTo>
                  <a:lnTo>
                    <a:pt x="0" y="87"/>
                  </a:lnTo>
                  <a:lnTo>
                    <a:pt x="0" y="86"/>
                  </a:lnTo>
                  <a:lnTo>
                    <a:pt x="1" y="85"/>
                  </a:lnTo>
                  <a:lnTo>
                    <a:pt x="0" y="80"/>
                  </a:lnTo>
                  <a:lnTo>
                    <a:pt x="1" y="80"/>
                  </a:lnTo>
                  <a:lnTo>
                    <a:pt x="1" y="79"/>
                  </a:lnTo>
                  <a:lnTo>
                    <a:pt x="1" y="78"/>
                  </a:lnTo>
                  <a:lnTo>
                    <a:pt x="1" y="77"/>
                  </a:lnTo>
                  <a:lnTo>
                    <a:pt x="1" y="76"/>
                  </a:lnTo>
                  <a:lnTo>
                    <a:pt x="2" y="77"/>
                  </a:lnTo>
                  <a:lnTo>
                    <a:pt x="2" y="76"/>
                  </a:lnTo>
                  <a:lnTo>
                    <a:pt x="3" y="76"/>
                  </a:lnTo>
                  <a:lnTo>
                    <a:pt x="4" y="76"/>
                  </a:lnTo>
                  <a:lnTo>
                    <a:pt x="5" y="76"/>
                  </a:lnTo>
                  <a:lnTo>
                    <a:pt x="5" y="73"/>
                  </a:lnTo>
                  <a:lnTo>
                    <a:pt x="5" y="72"/>
                  </a:lnTo>
                  <a:lnTo>
                    <a:pt x="5" y="71"/>
                  </a:lnTo>
                  <a:lnTo>
                    <a:pt x="5" y="70"/>
                  </a:lnTo>
                  <a:lnTo>
                    <a:pt x="7" y="69"/>
                  </a:lnTo>
                  <a:lnTo>
                    <a:pt x="7" y="68"/>
                  </a:lnTo>
                  <a:lnTo>
                    <a:pt x="8" y="68"/>
                  </a:lnTo>
                  <a:lnTo>
                    <a:pt x="7" y="68"/>
                  </a:lnTo>
                  <a:lnTo>
                    <a:pt x="8" y="68"/>
                  </a:lnTo>
                  <a:lnTo>
                    <a:pt x="9" y="66"/>
                  </a:lnTo>
                  <a:lnTo>
                    <a:pt x="8" y="65"/>
                  </a:lnTo>
                  <a:lnTo>
                    <a:pt x="8" y="64"/>
                  </a:lnTo>
                  <a:lnTo>
                    <a:pt x="9" y="64"/>
                  </a:lnTo>
                  <a:lnTo>
                    <a:pt x="10" y="64"/>
                  </a:lnTo>
                  <a:lnTo>
                    <a:pt x="11" y="64"/>
                  </a:lnTo>
                  <a:lnTo>
                    <a:pt x="11" y="63"/>
                  </a:lnTo>
                  <a:lnTo>
                    <a:pt x="12" y="62"/>
                  </a:lnTo>
                  <a:lnTo>
                    <a:pt x="12" y="61"/>
                  </a:lnTo>
                  <a:lnTo>
                    <a:pt x="12" y="59"/>
                  </a:lnTo>
                  <a:lnTo>
                    <a:pt x="14" y="59"/>
                  </a:lnTo>
                  <a:lnTo>
                    <a:pt x="14" y="58"/>
                  </a:lnTo>
                  <a:lnTo>
                    <a:pt x="12" y="58"/>
                  </a:lnTo>
                  <a:lnTo>
                    <a:pt x="12" y="57"/>
                  </a:lnTo>
                  <a:lnTo>
                    <a:pt x="11" y="57"/>
                  </a:lnTo>
                  <a:lnTo>
                    <a:pt x="12" y="56"/>
                  </a:lnTo>
                  <a:lnTo>
                    <a:pt x="12" y="55"/>
                  </a:lnTo>
                  <a:lnTo>
                    <a:pt x="14" y="55"/>
                  </a:lnTo>
                  <a:lnTo>
                    <a:pt x="15" y="55"/>
                  </a:lnTo>
                  <a:lnTo>
                    <a:pt x="15" y="54"/>
                  </a:lnTo>
                  <a:lnTo>
                    <a:pt x="15" y="52"/>
                  </a:lnTo>
                  <a:lnTo>
                    <a:pt x="16" y="52"/>
                  </a:lnTo>
                  <a:lnTo>
                    <a:pt x="16" y="51"/>
                  </a:lnTo>
                  <a:lnTo>
                    <a:pt x="15" y="50"/>
                  </a:lnTo>
                  <a:lnTo>
                    <a:pt x="15" y="49"/>
                  </a:lnTo>
                  <a:lnTo>
                    <a:pt x="14" y="49"/>
                  </a:lnTo>
                  <a:lnTo>
                    <a:pt x="14" y="48"/>
                  </a:lnTo>
                  <a:lnTo>
                    <a:pt x="15" y="48"/>
                  </a:lnTo>
                  <a:lnTo>
                    <a:pt x="15" y="47"/>
                  </a:lnTo>
                  <a:lnTo>
                    <a:pt x="14" y="45"/>
                  </a:lnTo>
                  <a:lnTo>
                    <a:pt x="14" y="44"/>
                  </a:lnTo>
                  <a:lnTo>
                    <a:pt x="14" y="43"/>
                  </a:lnTo>
                  <a:lnTo>
                    <a:pt x="12" y="43"/>
                  </a:lnTo>
                  <a:lnTo>
                    <a:pt x="10" y="40"/>
                  </a:lnTo>
                  <a:lnTo>
                    <a:pt x="10" y="38"/>
                  </a:lnTo>
                  <a:lnTo>
                    <a:pt x="10" y="37"/>
                  </a:lnTo>
                  <a:lnTo>
                    <a:pt x="11" y="37"/>
                  </a:lnTo>
                  <a:lnTo>
                    <a:pt x="11" y="35"/>
                  </a:lnTo>
                  <a:lnTo>
                    <a:pt x="12" y="35"/>
                  </a:lnTo>
                  <a:lnTo>
                    <a:pt x="12" y="34"/>
                  </a:lnTo>
                  <a:lnTo>
                    <a:pt x="12" y="33"/>
                  </a:lnTo>
                  <a:lnTo>
                    <a:pt x="12" y="31"/>
                  </a:lnTo>
                  <a:lnTo>
                    <a:pt x="12" y="30"/>
                  </a:lnTo>
                  <a:lnTo>
                    <a:pt x="12" y="29"/>
                  </a:lnTo>
                  <a:lnTo>
                    <a:pt x="12" y="28"/>
                  </a:lnTo>
                  <a:lnTo>
                    <a:pt x="12" y="26"/>
                  </a:lnTo>
                  <a:lnTo>
                    <a:pt x="12" y="22"/>
                  </a:lnTo>
                  <a:lnTo>
                    <a:pt x="12" y="21"/>
                  </a:lnTo>
                  <a:lnTo>
                    <a:pt x="16" y="19"/>
                  </a:lnTo>
                  <a:lnTo>
                    <a:pt x="17" y="17"/>
                  </a:lnTo>
                  <a:lnTo>
                    <a:pt x="18" y="14"/>
                  </a:lnTo>
                  <a:lnTo>
                    <a:pt x="19" y="10"/>
                  </a:lnTo>
                  <a:lnTo>
                    <a:pt x="19" y="7"/>
                  </a:lnTo>
                  <a:lnTo>
                    <a:pt x="21" y="7"/>
                  </a:lnTo>
                  <a:lnTo>
                    <a:pt x="21" y="6"/>
                  </a:lnTo>
                  <a:lnTo>
                    <a:pt x="23" y="3"/>
                  </a:lnTo>
                  <a:lnTo>
                    <a:pt x="24" y="3"/>
                  </a:lnTo>
                  <a:lnTo>
                    <a:pt x="26" y="2"/>
                  </a:lnTo>
                  <a:lnTo>
                    <a:pt x="29" y="2"/>
                  </a:lnTo>
                  <a:lnTo>
                    <a:pt x="30" y="1"/>
                  </a:lnTo>
                  <a:lnTo>
                    <a:pt x="30" y="2"/>
                  </a:lnTo>
                  <a:lnTo>
                    <a:pt x="31" y="2"/>
                  </a:lnTo>
                  <a:lnTo>
                    <a:pt x="32" y="2"/>
                  </a:lnTo>
                  <a:lnTo>
                    <a:pt x="35" y="2"/>
                  </a:lnTo>
                  <a:lnTo>
                    <a:pt x="36" y="1"/>
                  </a:lnTo>
                  <a:lnTo>
                    <a:pt x="37" y="0"/>
                  </a:lnTo>
                  <a:lnTo>
                    <a:pt x="38" y="0"/>
                  </a:lnTo>
                  <a:lnTo>
                    <a:pt x="39" y="0"/>
                  </a:lnTo>
                  <a:lnTo>
                    <a:pt x="43" y="2"/>
                  </a:lnTo>
                  <a:close/>
                </a:path>
              </a:pathLst>
            </a:custGeom>
            <a:solidFill>
              <a:srgbClr val="0053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07" name="Freeform 963">
              <a:extLst>
                <a:ext uri="{FF2B5EF4-FFF2-40B4-BE49-F238E27FC236}">
                  <a16:creationId xmlns:a16="http://schemas.microsoft.com/office/drawing/2014/main" id="{1D5C7130-615E-4BC8-9BB2-3411388835A3}"/>
                </a:ext>
              </a:extLst>
            </p:cNvPr>
            <p:cNvSpPr>
              <a:spLocks noEditPoints="1"/>
            </p:cNvSpPr>
            <p:nvPr/>
          </p:nvSpPr>
          <p:spPr bwMode="auto">
            <a:xfrm>
              <a:off x="4186481" y="3029346"/>
              <a:ext cx="93484" cy="92149"/>
            </a:xfrm>
            <a:custGeom>
              <a:avLst/>
              <a:gdLst>
                <a:gd name="T0" fmla="*/ 63 w 70"/>
                <a:gd name="T1" fmla="*/ 47 h 69"/>
                <a:gd name="T2" fmla="*/ 63 w 70"/>
                <a:gd name="T3" fmla="*/ 1 h 69"/>
                <a:gd name="T4" fmla="*/ 63 w 70"/>
                <a:gd name="T5" fmla="*/ 4 h 69"/>
                <a:gd name="T6" fmla="*/ 61 w 70"/>
                <a:gd name="T7" fmla="*/ 4 h 69"/>
                <a:gd name="T8" fmla="*/ 63 w 70"/>
                <a:gd name="T9" fmla="*/ 7 h 69"/>
                <a:gd name="T10" fmla="*/ 63 w 70"/>
                <a:gd name="T11" fmla="*/ 13 h 69"/>
                <a:gd name="T12" fmla="*/ 59 w 70"/>
                <a:gd name="T13" fmla="*/ 19 h 69"/>
                <a:gd name="T14" fmla="*/ 57 w 70"/>
                <a:gd name="T15" fmla="*/ 28 h 69"/>
                <a:gd name="T16" fmla="*/ 57 w 70"/>
                <a:gd name="T17" fmla="*/ 40 h 69"/>
                <a:gd name="T18" fmla="*/ 56 w 70"/>
                <a:gd name="T19" fmla="*/ 42 h 69"/>
                <a:gd name="T20" fmla="*/ 56 w 70"/>
                <a:gd name="T21" fmla="*/ 40 h 69"/>
                <a:gd name="T22" fmla="*/ 56 w 70"/>
                <a:gd name="T23" fmla="*/ 35 h 69"/>
                <a:gd name="T24" fmla="*/ 53 w 70"/>
                <a:gd name="T25" fmla="*/ 40 h 69"/>
                <a:gd name="T26" fmla="*/ 54 w 70"/>
                <a:gd name="T27" fmla="*/ 45 h 69"/>
                <a:gd name="T28" fmla="*/ 53 w 70"/>
                <a:gd name="T29" fmla="*/ 48 h 69"/>
                <a:gd name="T30" fmla="*/ 52 w 70"/>
                <a:gd name="T31" fmla="*/ 46 h 69"/>
                <a:gd name="T32" fmla="*/ 53 w 70"/>
                <a:gd name="T33" fmla="*/ 48 h 69"/>
                <a:gd name="T34" fmla="*/ 52 w 70"/>
                <a:gd name="T35" fmla="*/ 50 h 69"/>
                <a:gd name="T36" fmla="*/ 53 w 70"/>
                <a:gd name="T37" fmla="*/ 54 h 69"/>
                <a:gd name="T38" fmla="*/ 51 w 70"/>
                <a:gd name="T39" fmla="*/ 57 h 69"/>
                <a:gd name="T40" fmla="*/ 51 w 70"/>
                <a:gd name="T41" fmla="*/ 64 h 69"/>
                <a:gd name="T42" fmla="*/ 52 w 70"/>
                <a:gd name="T43" fmla="*/ 67 h 69"/>
                <a:gd name="T44" fmla="*/ 47 w 70"/>
                <a:gd name="T45" fmla="*/ 68 h 69"/>
                <a:gd name="T46" fmla="*/ 44 w 70"/>
                <a:gd name="T47" fmla="*/ 66 h 69"/>
                <a:gd name="T48" fmla="*/ 42 w 70"/>
                <a:gd name="T49" fmla="*/ 64 h 69"/>
                <a:gd name="T50" fmla="*/ 37 w 70"/>
                <a:gd name="T51" fmla="*/ 64 h 69"/>
                <a:gd name="T52" fmla="*/ 30 w 70"/>
                <a:gd name="T53" fmla="*/ 63 h 69"/>
                <a:gd name="T54" fmla="*/ 25 w 70"/>
                <a:gd name="T55" fmla="*/ 61 h 69"/>
                <a:gd name="T56" fmla="*/ 23 w 70"/>
                <a:gd name="T57" fmla="*/ 61 h 69"/>
                <a:gd name="T58" fmla="*/ 18 w 70"/>
                <a:gd name="T59" fmla="*/ 57 h 69"/>
                <a:gd name="T60" fmla="*/ 15 w 70"/>
                <a:gd name="T61" fmla="*/ 53 h 69"/>
                <a:gd name="T62" fmla="*/ 13 w 70"/>
                <a:gd name="T63" fmla="*/ 48 h 69"/>
                <a:gd name="T64" fmla="*/ 6 w 70"/>
                <a:gd name="T65" fmla="*/ 41 h 69"/>
                <a:gd name="T66" fmla="*/ 6 w 70"/>
                <a:gd name="T67" fmla="*/ 41 h 69"/>
                <a:gd name="T68" fmla="*/ 2 w 70"/>
                <a:gd name="T69" fmla="*/ 36 h 69"/>
                <a:gd name="T70" fmla="*/ 0 w 70"/>
                <a:gd name="T71" fmla="*/ 34 h 69"/>
                <a:gd name="T72" fmla="*/ 2 w 70"/>
                <a:gd name="T73" fmla="*/ 33 h 69"/>
                <a:gd name="T74" fmla="*/ 4 w 70"/>
                <a:gd name="T75" fmla="*/ 34 h 69"/>
                <a:gd name="T76" fmla="*/ 10 w 70"/>
                <a:gd name="T77" fmla="*/ 31 h 69"/>
                <a:gd name="T78" fmla="*/ 14 w 70"/>
                <a:gd name="T79" fmla="*/ 27 h 69"/>
                <a:gd name="T80" fmla="*/ 14 w 70"/>
                <a:gd name="T81" fmla="*/ 21 h 69"/>
                <a:gd name="T82" fmla="*/ 18 w 70"/>
                <a:gd name="T83" fmla="*/ 21 h 69"/>
                <a:gd name="T84" fmla="*/ 22 w 70"/>
                <a:gd name="T85" fmla="*/ 17 h 69"/>
                <a:gd name="T86" fmla="*/ 26 w 70"/>
                <a:gd name="T87" fmla="*/ 19 h 69"/>
                <a:gd name="T88" fmla="*/ 29 w 70"/>
                <a:gd name="T89" fmla="*/ 18 h 69"/>
                <a:gd name="T90" fmla="*/ 32 w 70"/>
                <a:gd name="T91" fmla="*/ 15 h 69"/>
                <a:gd name="T92" fmla="*/ 35 w 70"/>
                <a:gd name="T93" fmla="*/ 12 h 69"/>
                <a:gd name="T94" fmla="*/ 37 w 70"/>
                <a:gd name="T95" fmla="*/ 10 h 69"/>
                <a:gd name="T96" fmla="*/ 38 w 70"/>
                <a:gd name="T97" fmla="*/ 7 h 69"/>
                <a:gd name="T98" fmla="*/ 42 w 70"/>
                <a:gd name="T99" fmla="*/ 4 h 69"/>
                <a:gd name="T100" fmla="*/ 45 w 70"/>
                <a:gd name="T101" fmla="*/ 6 h 69"/>
                <a:gd name="T102" fmla="*/ 49 w 70"/>
                <a:gd name="T103" fmla="*/ 6 h 69"/>
                <a:gd name="T104" fmla="*/ 51 w 70"/>
                <a:gd name="T105" fmla="*/ 5 h 69"/>
                <a:gd name="T106" fmla="*/ 54 w 70"/>
                <a:gd name="T107" fmla="*/ 5 h 69"/>
                <a:gd name="T108" fmla="*/ 57 w 70"/>
                <a:gd name="T109" fmla="*/ 4 h 69"/>
                <a:gd name="T110" fmla="*/ 59 w 70"/>
                <a:gd name="T111" fmla="*/ 1 h 69"/>
                <a:gd name="T112" fmla="*/ 63 w 70"/>
                <a:gd name="T113" fmla="*/ 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0" h="69">
                  <a:moveTo>
                    <a:pt x="53" y="50"/>
                  </a:moveTo>
                  <a:lnTo>
                    <a:pt x="53" y="49"/>
                  </a:lnTo>
                  <a:lnTo>
                    <a:pt x="53" y="50"/>
                  </a:lnTo>
                  <a:close/>
                  <a:moveTo>
                    <a:pt x="63" y="46"/>
                  </a:moveTo>
                  <a:lnTo>
                    <a:pt x="63" y="47"/>
                  </a:lnTo>
                  <a:lnTo>
                    <a:pt x="63" y="46"/>
                  </a:lnTo>
                  <a:close/>
                  <a:moveTo>
                    <a:pt x="70" y="11"/>
                  </a:moveTo>
                  <a:lnTo>
                    <a:pt x="68" y="11"/>
                  </a:lnTo>
                  <a:lnTo>
                    <a:pt x="70" y="11"/>
                  </a:lnTo>
                  <a:close/>
                  <a:moveTo>
                    <a:pt x="63" y="1"/>
                  </a:moveTo>
                  <a:lnTo>
                    <a:pt x="64" y="1"/>
                  </a:lnTo>
                  <a:lnTo>
                    <a:pt x="65" y="1"/>
                  </a:lnTo>
                  <a:lnTo>
                    <a:pt x="64" y="3"/>
                  </a:lnTo>
                  <a:lnTo>
                    <a:pt x="64" y="4"/>
                  </a:lnTo>
                  <a:lnTo>
                    <a:pt x="63" y="4"/>
                  </a:lnTo>
                  <a:lnTo>
                    <a:pt x="63" y="5"/>
                  </a:lnTo>
                  <a:lnTo>
                    <a:pt x="63" y="4"/>
                  </a:lnTo>
                  <a:lnTo>
                    <a:pt x="63" y="3"/>
                  </a:lnTo>
                  <a:lnTo>
                    <a:pt x="61" y="3"/>
                  </a:lnTo>
                  <a:lnTo>
                    <a:pt x="61" y="4"/>
                  </a:lnTo>
                  <a:lnTo>
                    <a:pt x="61" y="5"/>
                  </a:lnTo>
                  <a:lnTo>
                    <a:pt x="63" y="5"/>
                  </a:lnTo>
                  <a:lnTo>
                    <a:pt x="61" y="5"/>
                  </a:lnTo>
                  <a:lnTo>
                    <a:pt x="63" y="5"/>
                  </a:lnTo>
                  <a:lnTo>
                    <a:pt x="63" y="7"/>
                  </a:lnTo>
                  <a:lnTo>
                    <a:pt x="63" y="8"/>
                  </a:lnTo>
                  <a:lnTo>
                    <a:pt x="64" y="8"/>
                  </a:lnTo>
                  <a:lnTo>
                    <a:pt x="64" y="11"/>
                  </a:lnTo>
                  <a:lnTo>
                    <a:pt x="64" y="12"/>
                  </a:lnTo>
                  <a:lnTo>
                    <a:pt x="63" y="13"/>
                  </a:lnTo>
                  <a:lnTo>
                    <a:pt x="61" y="15"/>
                  </a:lnTo>
                  <a:lnTo>
                    <a:pt x="61" y="17"/>
                  </a:lnTo>
                  <a:lnTo>
                    <a:pt x="60" y="17"/>
                  </a:lnTo>
                  <a:lnTo>
                    <a:pt x="60" y="18"/>
                  </a:lnTo>
                  <a:lnTo>
                    <a:pt x="59" y="19"/>
                  </a:lnTo>
                  <a:lnTo>
                    <a:pt x="59" y="21"/>
                  </a:lnTo>
                  <a:lnTo>
                    <a:pt x="58" y="24"/>
                  </a:lnTo>
                  <a:lnTo>
                    <a:pt x="58" y="25"/>
                  </a:lnTo>
                  <a:lnTo>
                    <a:pt x="57" y="26"/>
                  </a:lnTo>
                  <a:lnTo>
                    <a:pt x="57" y="28"/>
                  </a:lnTo>
                  <a:lnTo>
                    <a:pt x="57" y="29"/>
                  </a:lnTo>
                  <a:lnTo>
                    <a:pt x="57" y="33"/>
                  </a:lnTo>
                  <a:lnTo>
                    <a:pt x="57" y="34"/>
                  </a:lnTo>
                  <a:lnTo>
                    <a:pt x="57" y="39"/>
                  </a:lnTo>
                  <a:lnTo>
                    <a:pt x="57" y="40"/>
                  </a:lnTo>
                  <a:lnTo>
                    <a:pt x="57" y="41"/>
                  </a:lnTo>
                  <a:lnTo>
                    <a:pt x="57" y="42"/>
                  </a:lnTo>
                  <a:lnTo>
                    <a:pt x="56" y="42"/>
                  </a:lnTo>
                  <a:lnTo>
                    <a:pt x="54" y="42"/>
                  </a:lnTo>
                  <a:lnTo>
                    <a:pt x="56" y="42"/>
                  </a:lnTo>
                  <a:lnTo>
                    <a:pt x="56" y="41"/>
                  </a:lnTo>
                  <a:lnTo>
                    <a:pt x="54" y="41"/>
                  </a:lnTo>
                  <a:lnTo>
                    <a:pt x="56" y="40"/>
                  </a:lnTo>
                  <a:lnTo>
                    <a:pt x="54" y="40"/>
                  </a:lnTo>
                  <a:lnTo>
                    <a:pt x="56" y="40"/>
                  </a:lnTo>
                  <a:lnTo>
                    <a:pt x="57" y="39"/>
                  </a:lnTo>
                  <a:lnTo>
                    <a:pt x="56" y="38"/>
                  </a:lnTo>
                  <a:lnTo>
                    <a:pt x="57" y="38"/>
                  </a:lnTo>
                  <a:lnTo>
                    <a:pt x="57" y="36"/>
                  </a:lnTo>
                  <a:lnTo>
                    <a:pt x="56" y="35"/>
                  </a:lnTo>
                  <a:lnTo>
                    <a:pt x="56" y="36"/>
                  </a:lnTo>
                  <a:lnTo>
                    <a:pt x="56" y="38"/>
                  </a:lnTo>
                  <a:lnTo>
                    <a:pt x="56" y="39"/>
                  </a:lnTo>
                  <a:lnTo>
                    <a:pt x="54" y="40"/>
                  </a:lnTo>
                  <a:lnTo>
                    <a:pt x="53" y="40"/>
                  </a:lnTo>
                  <a:lnTo>
                    <a:pt x="53" y="41"/>
                  </a:lnTo>
                  <a:lnTo>
                    <a:pt x="53" y="42"/>
                  </a:lnTo>
                  <a:lnTo>
                    <a:pt x="53" y="43"/>
                  </a:lnTo>
                  <a:lnTo>
                    <a:pt x="54" y="43"/>
                  </a:lnTo>
                  <a:lnTo>
                    <a:pt x="54" y="45"/>
                  </a:lnTo>
                  <a:lnTo>
                    <a:pt x="54" y="43"/>
                  </a:lnTo>
                  <a:lnTo>
                    <a:pt x="56" y="43"/>
                  </a:lnTo>
                  <a:lnTo>
                    <a:pt x="54" y="45"/>
                  </a:lnTo>
                  <a:lnTo>
                    <a:pt x="53" y="47"/>
                  </a:lnTo>
                  <a:lnTo>
                    <a:pt x="53" y="48"/>
                  </a:lnTo>
                  <a:lnTo>
                    <a:pt x="53" y="49"/>
                  </a:lnTo>
                  <a:lnTo>
                    <a:pt x="53" y="48"/>
                  </a:lnTo>
                  <a:lnTo>
                    <a:pt x="53" y="47"/>
                  </a:lnTo>
                  <a:lnTo>
                    <a:pt x="53" y="46"/>
                  </a:lnTo>
                  <a:lnTo>
                    <a:pt x="52" y="46"/>
                  </a:lnTo>
                  <a:lnTo>
                    <a:pt x="53" y="46"/>
                  </a:lnTo>
                  <a:lnTo>
                    <a:pt x="53" y="47"/>
                  </a:lnTo>
                  <a:lnTo>
                    <a:pt x="53" y="48"/>
                  </a:lnTo>
                  <a:lnTo>
                    <a:pt x="52" y="48"/>
                  </a:lnTo>
                  <a:lnTo>
                    <a:pt x="53" y="48"/>
                  </a:lnTo>
                  <a:lnTo>
                    <a:pt x="53" y="49"/>
                  </a:lnTo>
                  <a:lnTo>
                    <a:pt x="52" y="49"/>
                  </a:lnTo>
                  <a:lnTo>
                    <a:pt x="52" y="50"/>
                  </a:lnTo>
                  <a:lnTo>
                    <a:pt x="51" y="50"/>
                  </a:lnTo>
                  <a:lnTo>
                    <a:pt x="52" y="50"/>
                  </a:lnTo>
                  <a:lnTo>
                    <a:pt x="52" y="52"/>
                  </a:lnTo>
                  <a:lnTo>
                    <a:pt x="53" y="52"/>
                  </a:lnTo>
                  <a:lnTo>
                    <a:pt x="53" y="50"/>
                  </a:lnTo>
                  <a:lnTo>
                    <a:pt x="53" y="52"/>
                  </a:lnTo>
                  <a:lnTo>
                    <a:pt x="53" y="54"/>
                  </a:lnTo>
                  <a:lnTo>
                    <a:pt x="53" y="55"/>
                  </a:lnTo>
                  <a:lnTo>
                    <a:pt x="52" y="55"/>
                  </a:lnTo>
                  <a:lnTo>
                    <a:pt x="52" y="56"/>
                  </a:lnTo>
                  <a:lnTo>
                    <a:pt x="52" y="57"/>
                  </a:lnTo>
                  <a:lnTo>
                    <a:pt x="51" y="57"/>
                  </a:lnTo>
                  <a:lnTo>
                    <a:pt x="51" y="59"/>
                  </a:lnTo>
                  <a:lnTo>
                    <a:pt x="50" y="60"/>
                  </a:lnTo>
                  <a:lnTo>
                    <a:pt x="51" y="62"/>
                  </a:lnTo>
                  <a:lnTo>
                    <a:pt x="51" y="63"/>
                  </a:lnTo>
                  <a:lnTo>
                    <a:pt x="51" y="64"/>
                  </a:lnTo>
                  <a:lnTo>
                    <a:pt x="52" y="64"/>
                  </a:lnTo>
                  <a:lnTo>
                    <a:pt x="52" y="66"/>
                  </a:lnTo>
                  <a:lnTo>
                    <a:pt x="53" y="66"/>
                  </a:lnTo>
                  <a:lnTo>
                    <a:pt x="52" y="66"/>
                  </a:lnTo>
                  <a:lnTo>
                    <a:pt x="52" y="67"/>
                  </a:lnTo>
                  <a:lnTo>
                    <a:pt x="52" y="68"/>
                  </a:lnTo>
                  <a:lnTo>
                    <a:pt x="51" y="68"/>
                  </a:lnTo>
                  <a:lnTo>
                    <a:pt x="50" y="69"/>
                  </a:lnTo>
                  <a:lnTo>
                    <a:pt x="49" y="69"/>
                  </a:lnTo>
                  <a:lnTo>
                    <a:pt x="47" y="68"/>
                  </a:lnTo>
                  <a:lnTo>
                    <a:pt x="46" y="68"/>
                  </a:lnTo>
                  <a:lnTo>
                    <a:pt x="45" y="68"/>
                  </a:lnTo>
                  <a:lnTo>
                    <a:pt x="45" y="67"/>
                  </a:lnTo>
                  <a:lnTo>
                    <a:pt x="44" y="67"/>
                  </a:lnTo>
                  <a:lnTo>
                    <a:pt x="44" y="66"/>
                  </a:lnTo>
                  <a:lnTo>
                    <a:pt x="43" y="66"/>
                  </a:lnTo>
                  <a:lnTo>
                    <a:pt x="43" y="64"/>
                  </a:lnTo>
                  <a:lnTo>
                    <a:pt x="43" y="66"/>
                  </a:lnTo>
                  <a:lnTo>
                    <a:pt x="42" y="66"/>
                  </a:lnTo>
                  <a:lnTo>
                    <a:pt x="42" y="64"/>
                  </a:lnTo>
                  <a:lnTo>
                    <a:pt x="40" y="64"/>
                  </a:lnTo>
                  <a:lnTo>
                    <a:pt x="39" y="64"/>
                  </a:lnTo>
                  <a:lnTo>
                    <a:pt x="39" y="63"/>
                  </a:lnTo>
                  <a:lnTo>
                    <a:pt x="38" y="63"/>
                  </a:lnTo>
                  <a:lnTo>
                    <a:pt x="37" y="64"/>
                  </a:lnTo>
                  <a:lnTo>
                    <a:pt x="36" y="66"/>
                  </a:lnTo>
                  <a:lnTo>
                    <a:pt x="35" y="66"/>
                  </a:lnTo>
                  <a:lnTo>
                    <a:pt x="33" y="64"/>
                  </a:lnTo>
                  <a:lnTo>
                    <a:pt x="31" y="63"/>
                  </a:lnTo>
                  <a:lnTo>
                    <a:pt x="30" y="63"/>
                  </a:lnTo>
                  <a:lnTo>
                    <a:pt x="29" y="63"/>
                  </a:lnTo>
                  <a:lnTo>
                    <a:pt x="28" y="62"/>
                  </a:lnTo>
                  <a:lnTo>
                    <a:pt x="26" y="62"/>
                  </a:lnTo>
                  <a:lnTo>
                    <a:pt x="26" y="61"/>
                  </a:lnTo>
                  <a:lnTo>
                    <a:pt x="25" y="61"/>
                  </a:lnTo>
                  <a:lnTo>
                    <a:pt x="25" y="62"/>
                  </a:lnTo>
                  <a:lnTo>
                    <a:pt x="24" y="63"/>
                  </a:lnTo>
                  <a:lnTo>
                    <a:pt x="23" y="63"/>
                  </a:lnTo>
                  <a:lnTo>
                    <a:pt x="23" y="62"/>
                  </a:lnTo>
                  <a:lnTo>
                    <a:pt x="23" y="61"/>
                  </a:lnTo>
                  <a:lnTo>
                    <a:pt x="22" y="60"/>
                  </a:lnTo>
                  <a:lnTo>
                    <a:pt x="21" y="59"/>
                  </a:lnTo>
                  <a:lnTo>
                    <a:pt x="20" y="59"/>
                  </a:lnTo>
                  <a:lnTo>
                    <a:pt x="20" y="57"/>
                  </a:lnTo>
                  <a:lnTo>
                    <a:pt x="18" y="57"/>
                  </a:lnTo>
                  <a:lnTo>
                    <a:pt x="18" y="56"/>
                  </a:lnTo>
                  <a:lnTo>
                    <a:pt x="17" y="55"/>
                  </a:lnTo>
                  <a:lnTo>
                    <a:pt x="16" y="55"/>
                  </a:lnTo>
                  <a:lnTo>
                    <a:pt x="16" y="54"/>
                  </a:lnTo>
                  <a:lnTo>
                    <a:pt x="15" y="53"/>
                  </a:lnTo>
                  <a:lnTo>
                    <a:pt x="14" y="52"/>
                  </a:lnTo>
                  <a:lnTo>
                    <a:pt x="14" y="50"/>
                  </a:lnTo>
                  <a:lnTo>
                    <a:pt x="13" y="50"/>
                  </a:lnTo>
                  <a:lnTo>
                    <a:pt x="13" y="49"/>
                  </a:lnTo>
                  <a:lnTo>
                    <a:pt x="13" y="48"/>
                  </a:lnTo>
                  <a:lnTo>
                    <a:pt x="11" y="47"/>
                  </a:lnTo>
                  <a:lnTo>
                    <a:pt x="11" y="46"/>
                  </a:lnTo>
                  <a:lnTo>
                    <a:pt x="8" y="43"/>
                  </a:lnTo>
                  <a:lnTo>
                    <a:pt x="7" y="42"/>
                  </a:lnTo>
                  <a:lnTo>
                    <a:pt x="6" y="41"/>
                  </a:lnTo>
                  <a:lnTo>
                    <a:pt x="7" y="41"/>
                  </a:lnTo>
                  <a:lnTo>
                    <a:pt x="7" y="42"/>
                  </a:lnTo>
                  <a:lnTo>
                    <a:pt x="7" y="41"/>
                  </a:lnTo>
                  <a:lnTo>
                    <a:pt x="6" y="40"/>
                  </a:lnTo>
                  <a:lnTo>
                    <a:pt x="6" y="41"/>
                  </a:lnTo>
                  <a:lnTo>
                    <a:pt x="6" y="40"/>
                  </a:lnTo>
                  <a:lnTo>
                    <a:pt x="4" y="40"/>
                  </a:lnTo>
                  <a:lnTo>
                    <a:pt x="4" y="39"/>
                  </a:lnTo>
                  <a:lnTo>
                    <a:pt x="3" y="39"/>
                  </a:lnTo>
                  <a:lnTo>
                    <a:pt x="2" y="36"/>
                  </a:lnTo>
                  <a:lnTo>
                    <a:pt x="2" y="35"/>
                  </a:lnTo>
                  <a:lnTo>
                    <a:pt x="2" y="36"/>
                  </a:lnTo>
                  <a:lnTo>
                    <a:pt x="1" y="36"/>
                  </a:lnTo>
                  <a:lnTo>
                    <a:pt x="0" y="35"/>
                  </a:lnTo>
                  <a:lnTo>
                    <a:pt x="0" y="34"/>
                  </a:lnTo>
                  <a:lnTo>
                    <a:pt x="0" y="33"/>
                  </a:lnTo>
                  <a:lnTo>
                    <a:pt x="1" y="33"/>
                  </a:lnTo>
                  <a:lnTo>
                    <a:pt x="1" y="32"/>
                  </a:lnTo>
                  <a:lnTo>
                    <a:pt x="2" y="32"/>
                  </a:lnTo>
                  <a:lnTo>
                    <a:pt x="2" y="33"/>
                  </a:lnTo>
                  <a:lnTo>
                    <a:pt x="2" y="34"/>
                  </a:lnTo>
                  <a:lnTo>
                    <a:pt x="3" y="34"/>
                  </a:lnTo>
                  <a:lnTo>
                    <a:pt x="4" y="34"/>
                  </a:lnTo>
                  <a:lnTo>
                    <a:pt x="3" y="34"/>
                  </a:lnTo>
                  <a:lnTo>
                    <a:pt x="4" y="34"/>
                  </a:lnTo>
                  <a:lnTo>
                    <a:pt x="4" y="33"/>
                  </a:lnTo>
                  <a:lnTo>
                    <a:pt x="8" y="33"/>
                  </a:lnTo>
                  <a:lnTo>
                    <a:pt x="9" y="33"/>
                  </a:lnTo>
                  <a:lnTo>
                    <a:pt x="10" y="32"/>
                  </a:lnTo>
                  <a:lnTo>
                    <a:pt x="10" y="31"/>
                  </a:lnTo>
                  <a:lnTo>
                    <a:pt x="10" y="29"/>
                  </a:lnTo>
                  <a:lnTo>
                    <a:pt x="11" y="28"/>
                  </a:lnTo>
                  <a:lnTo>
                    <a:pt x="13" y="28"/>
                  </a:lnTo>
                  <a:lnTo>
                    <a:pt x="14" y="28"/>
                  </a:lnTo>
                  <a:lnTo>
                    <a:pt x="14" y="27"/>
                  </a:lnTo>
                  <a:lnTo>
                    <a:pt x="14" y="26"/>
                  </a:lnTo>
                  <a:lnTo>
                    <a:pt x="14" y="24"/>
                  </a:lnTo>
                  <a:lnTo>
                    <a:pt x="14" y="22"/>
                  </a:lnTo>
                  <a:lnTo>
                    <a:pt x="13" y="22"/>
                  </a:lnTo>
                  <a:lnTo>
                    <a:pt x="14" y="21"/>
                  </a:lnTo>
                  <a:lnTo>
                    <a:pt x="15" y="21"/>
                  </a:lnTo>
                  <a:lnTo>
                    <a:pt x="16" y="20"/>
                  </a:lnTo>
                  <a:lnTo>
                    <a:pt x="17" y="21"/>
                  </a:lnTo>
                  <a:lnTo>
                    <a:pt x="17" y="20"/>
                  </a:lnTo>
                  <a:lnTo>
                    <a:pt x="18" y="21"/>
                  </a:lnTo>
                  <a:lnTo>
                    <a:pt x="20" y="21"/>
                  </a:lnTo>
                  <a:lnTo>
                    <a:pt x="20" y="20"/>
                  </a:lnTo>
                  <a:lnTo>
                    <a:pt x="21" y="19"/>
                  </a:lnTo>
                  <a:lnTo>
                    <a:pt x="22" y="18"/>
                  </a:lnTo>
                  <a:lnTo>
                    <a:pt x="22" y="17"/>
                  </a:lnTo>
                  <a:lnTo>
                    <a:pt x="23" y="17"/>
                  </a:lnTo>
                  <a:lnTo>
                    <a:pt x="24" y="17"/>
                  </a:lnTo>
                  <a:lnTo>
                    <a:pt x="25" y="18"/>
                  </a:lnTo>
                  <a:lnTo>
                    <a:pt x="25" y="19"/>
                  </a:lnTo>
                  <a:lnTo>
                    <a:pt x="26" y="19"/>
                  </a:lnTo>
                  <a:lnTo>
                    <a:pt x="26" y="20"/>
                  </a:lnTo>
                  <a:lnTo>
                    <a:pt x="28" y="20"/>
                  </a:lnTo>
                  <a:lnTo>
                    <a:pt x="28" y="19"/>
                  </a:lnTo>
                  <a:lnTo>
                    <a:pt x="28" y="18"/>
                  </a:lnTo>
                  <a:lnTo>
                    <a:pt x="29" y="18"/>
                  </a:lnTo>
                  <a:lnTo>
                    <a:pt x="29" y="17"/>
                  </a:lnTo>
                  <a:lnTo>
                    <a:pt x="30" y="17"/>
                  </a:lnTo>
                  <a:lnTo>
                    <a:pt x="31" y="17"/>
                  </a:lnTo>
                  <a:lnTo>
                    <a:pt x="31" y="15"/>
                  </a:lnTo>
                  <a:lnTo>
                    <a:pt x="32" y="15"/>
                  </a:lnTo>
                  <a:lnTo>
                    <a:pt x="32" y="14"/>
                  </a:lnTo>
                  <a:lnTo>
                    <a:pt x="33" y="14"/>
                  </a:lnTo>
                  <a:lnTo>
                    <a:pt x="33" y="13"/>
                  </a:lnTo>
                  <a:lnTo>
                    <a:pt x="35" y="13"/>
                  </a:lnTo>
                  <a:lnTo>
                    <a:pt x="35" y="12"/>
                  </a:lnTo>
                  <a:lnTo>
                    <a:pt x="36" y="12"/>
                  </a:lnTo>
                  <a:lnTo>
                    <a:pt x="37" y="12"/>
                  </a:lnTo>
                  <a:lnTo>
                    <a:pt x="36" y="11"/>
                  </a:lnTo>
                  <a:lnTo>
                    <a:pt x="36" y="10"/>
                  </a:lnTo>
                  <a:lnTo>
                    <a:pt x="37" y="10"/>
                  </a:lnTo>
                  <a:lnTo>
                    <a:pt x="37" y="8"/>
                  </a:lnTo>
                  <a:lnTo>
                    <a:pt x="38" y="8"/>
                  </a:lnTo>
                  <a:lnTo>
                    <a:pt x="38" y="7"/>
                  </a:lnTo>
                  <a:lnTo>
                    <a:pt x="39" y="7"/>
                  </a:lnTo>
                  <a:lnTo>
                    <a:pt x="38" y="7"/>
                  </a:lnTo>
                  <a:lnTo>
                    <a:pt x="38" y="6"/>
                  </a:lnTo>
                  <a:lnTo>
                    <a:pt x="39" y="6"/>
                  </a:lnTo>
                  <a:lnTo>
                    <a:pt x="39" y="5"/>
                  </a:lnTo>
                  <a:lnTo>
                    <a:pt x="40" y="4"/>
                  </a:lnTo>
                  <a:lnTo>
                    <a:pt x="42" y="4"/>
                  </a:lnTo>
                  <a:lnTo>
                    <a:pt x="43" y="4"/>
                  </a:lnTo>
                  <a:lnTo>
                    <a:pt x="43" y="5"/>
                  </a:lnTo>
                  <a:lnTo>
                    <a:pt x="43" y="6"/>
                  </a:lnTo>
                  <a:lnTo>
                    <a:pt x="44" y="6"/>
                  </a:lnTo>
                  <a:lnTo>
                    <a:pt x="45" y="6"/>
                  </a:lnTo>
                  <a:lnTo>
                    <a:pt x="45" y="7"/>
                  </a:lnTo>
                  <a:lnTo>
                    <a:pt x="46" y="7"/>
                  </a:lnTo>
                  <a:lnTo>
                    <a:pt x="47" y="7"/>
                  </a:lnTo>
                  <a:lnTo>
                    <a:pt x="47" y="6"/>
                  </a:lnTo>
                  <a:lnTo>
                    <a:pt x="49" y="6"/>
                  </a:lnTo>
                  <a:lnTo>
                    <a:pt x="50" y="6"/>
                  </a:lnTo>
                  <a:lnTo>
                    <a:pt x="50" y="5"/>
                  </a:lnTo>
                  <a:lnTo>
                    <a:pt x="50" y="6"/>
                  </a:lnTo>
                  <a:lnTo>
                    <a:pt x="51" y="6"/>
                  </a:lnTo>
                  <a:lnTo>
                    <a:pt x="51" y="5"/>
                  </a:lnTo>
                  <a:lnTo>
                    <a:pt x="52" y="5"/>
                  </a:lnTo>
                  <a:lnTo>
                    <a:pt x="51" y="5"/>
                  </a:lnTo>
                  <a:lnTo>
                    <a:pt x="52" y="5"/>
                  </a:lnTo>
                  <a:lnTo>
                    <a:pt x="53" y="5"/>
                  </a:lnTo>
                  <a:lnTo>
                    <a:pt x="54" y="5"/>
                  </a:lnTo>
                  <a:lnTo>
                    <a:pt x="54" y="4"/>
                  </a:lnTo>
                  <a:lnTo>
                    <a:pt x="54" y="5"/>
                  </a:lnTo>
                  <a:lnTo>
                    <a:pt x="56" y="5"/>
                  </a:lnTo>
                  <a:lnTo>
                    <a:pt x="56" y="4"/>
                  </a:lnTo>
                  <a:lnTo>
                    <a:pt x="57" y="4"/>
                  </a:lnTo>
                  <a:lnTo>
                    <a:pt x="57" y="3"/>
                  </a:lnTo>
                  <a:lnTo>
                    <a:pt x="58" y="3"/>
                  </a:lnTo>
                  <a:lnTo>
                    <a:pt x="58" y="4"/>
                  </a:lnTo>
                  <a:lnTo>
                    <a:pt x="59" y="3"/>
                  </a:lnTo>
                  <a:lnTo>
                    <a:pt x="59" y="1"/>
                  </a:lnTo>
                  <a:lnTo>
                    <a:pt x="60" y="3"/>
                  </a:lnTo>
                  <a:lnTo>
                    <a:pt x="60" y="1"/>
                  </a:lnTo>
                  <a:lnTo>
                    <a:pt x="61" y="1"/>
                  </a:lnTo>
                  <a:lnTo>
                    <a:pt x="61" y="0"/>
                  </a:lnTo>
                  <a:lnTo>
                    <a:pt x="63"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08" name="Freeform 965">
              <a:extLst>
                <a:ext uri="{FF2B5EF4-FFF2-40B4-BE49-F238E27FC236}">
                  <a16:creationId xmlns:a16="http://schemas.microsoft.com/office/drawing/2014/main" id="{84039591-5A57-43CC-8631-1D3393123FE1}"/>
                </a:ext>
              </a:extLst>
            </p:cNvPr>
            <p:cNvSpPr>
              <a:spLocks/>
            </p:cNvSpPr>
            <p:nvPr/>
          </p:nvSpPr>
          <p:spPr bwMode="auto">
            <a:xfrm>
              <a:off x="7243413" y="2706158"/>
              <a:ext cx="154917" cy="85471"/>
            </a:xfrm>
            <a:custGeom>
              <a:avLst/>
              <a:gdLst>
                <a:gd name="T0" fmla="*/ 111 w 116"/>
                <a:gd name="T1" fmla="*/ 46 h 64"/>
                <a:gd name="T2" fmla="*/ 112 w 116"/>
                <a:gd name="T3" fmla="*/ 52 h 64"/>
                <a:gd name="T4" fmla="*/ 115 w 116"/>
                <a:gd name="T5" fmla="*/ 57 h 64"/>
                <a:gd name="T6" fmla="*/ 115 w 116"/>
                <a:gd name="T7" fmla="*/ 63 h 64"/>
                <a:gd name="T8" fmla="*/ 111 w 116"/>
                <a:gd name="T9" fmla="*/ 63 h 64"/>
                <a:gd name="T10" fmla="*/ 107 w 116"/>
                <a:gd name="T11" fmla="*/ 63 h 64"/>
                <a:gd name="T12" fmla="*/ 102 w 116"/>
                <a:gd name="T13" fmla="*/ 63 h 64"/>
                <a:gd name="T14" fmla="*/ 99 w 116"/>
                <a:gd name="T15" fmla="*/ 61 h 64"/>
                <a:gd name="T16" fmla="*/ 94 w 116"/>
                <a:gd name="T17" fmla="*/ 60 h 64"/>
                <a:gd name="T18" fmla="*/ 89 w 116"/>
                <a:gd name="T19" fmla="*/ 60 h 64"/>
                <a:gd name="T20" fmla="*/ 85 w 116"/>
                <a:gd name="T21" fmla="*/ 59 h 64"/>
                <a:gd name="T22" fmla="*/ 80 w 116"/>
                <a:gd name="T23" fmla="*/ 56 h 64"/>
                <a:gd name="T24" fmla="*/ 74 w 116"/>
                <a:gd name="T25" fmla="*/ 56 h 64"/>
                <a:gd name="T26" fmla="*/ 69 w 116"/>
                <a:gd name="T27" fmla="*/ 53 h 64"/>
                <a:gd name="T28" fmla="*/ 66 w 116"/>
                <a:gd name="T29" fmla="*/ 50 h 64"/>
                <a:gd name="T30" fmla="*/ 59 w 116"/>
                <a:gd name="T31" fmla="*/ 45 h 64"/>
                <a:gd name="T32" fmla="*/ 54 w 116"/>
                <a:gd name="T33" fmla="*/ 47 h 64"/>
                <a:gd name="T34" fmla="*/ 48 w 116"/>
                <a:gd name="T35" fmla="*/ 49 h 64"/>
                <a:gd name="T36" fmla="*/ 43 w 116"/>
                <a:gd name="T37" fmla="*/ 46 h 64"/>
                <a:gd name="T38" fmla="*/ 38 w 116"/>
                <a:gd name="T39" fmla="*/ 42 h 64"/>
                <a:gd name="T40" fmla="*/ 31 w 116"/>
                <a:gd name="T41" fmla="*/ 40 h 64"/>
                <a:gd name="T42" fmla="*/ 25 w 116"/>
                <a:gd name="T43" fmla="*/ 38 h 64"/>
                <a:gd name="T44" fmla="*/ 21 w 116"/>
                <a:gd name="T45" fmla="*/ 35 h 64"/>
                <a:gd name="T46" fmla="*/ 17 w 116"/>
                <a:gd name="T47" fmla="*/ 32 h 64"/>
                <a:gd name="T48" fmla="*/ 12 w 116"/>
                <a:gd name="T49" fmla="*/ 30 h 64"/>
                <a:gd name="T50" fmla="*/ 7 w 116"/>
                <a:gd name="T51" fmla="*/ 28 h 64"/>
                <a:gd name="T52" fmla="*/ 3 w 116"/>
                <a:gd name="T53" fmla="*/ 26 h 64"/>
                <a:gd name="T54" fmla="*/ 0 w 116"/>
                <a:gd name="T55" fmla="*/ 22 h 64"/>
                <a:gd name="T56" fmla="*/ 1 w 116"/>
                <a:gd name="T57" fmla="*/ 17 h 64"/>
                <a:gd name="T58" fmla="*/ 2 w 116"/>
                <a:gd name="T59" fmla="*/ 12 h 64"/>
                <a:gd name="T60" fmla="*/ 3 w 116"/>
                <a:gd name="T61" fmla="*/ 8 h 64"/>
                <a:gd name="T62" fmla="*/ 7 w 116"/>
                <a:gd name="T63" fmla="*/ 3 h 64"/>
                <a:gd name="T64" fmla="*/ 9 w 116"/>
                <a:gd name="T65" fmla="*/ 3 h 64"/>
                <a:gd name="T66" fmla="*/ 12 w 116"/>
                <a:gd name="T67" fmla="*/ 4 h 64"/>
                <a:gd name="T68" fmla="*/ 14 w 116"/>
                <a:gd name="T69" fmla="*/ 1 h 64"/>
                <a:gd name="T70" fmla="*/ 19 w 116"/>
                <a:gd name="T71" fmla="*/ 0 h 64"/>
                <a:gd name="T72" fmla="*/ 24 w 116"/>
                <a:gd name="T73" fmla="*/ 3 h 64"/>
                <a:gd name="T74" fmla="*/ 26 w 116"/>
                <a:gd name="T75" fmla="*/ 5 h 64"/>
                <a:gd name="T76" fmla="*/ 31 w 116"/>
                <a:gd name="T77" fmla="*/ 9 h 64"/>
                <a:gd name="T78" fmla="*/ 37 w 116"/>
                <a:gd name="T79" fmla="*/ 12 h 64"/>
                <a:gd name="T80" fmla="*/ 40 w 116"/>
                <a:gd name="T81" fmla="*/ 14 h 64"/>
                <a:gd name="T82" fmla="*/ 44 w 116"/>
                <a:gd name="T83" fmla="*/ 17 h 64"/>
                <a:gd name="T84" fmla="*/ 47 w 116"/>
                <a:gd name="T85" fmla="*/ 18 h 64"/>
                <a:gd name="T86" fmla="*/ 52 w 116"/>
                <a:gd name="T87" fmla="*/ 17 h 64"/>
                <a:gd name="T88" fmla="*/ 54 w 116"/>
                <a:gd name="T89" fmla="*/ 21 h 64"/>
                <a:gd name="T90" fmla="*/ 59 w 116"/>
                <a:gd name="T91" fmla="*/ 24 h 64"/>
                <a:gd name="T92" fmla="*/ 62 w 116"/>
                <a:gd name="T93" fmla="*/ 28 h 64"/>
                <a:gd name="T94" fmla="*/ 68 w 116"/>
                <a:gd name="T95" fmla="*/ 28 h 64"/>
                <a:gd name="T96" fmla="*/ 69 w 116"/>
                <a:gd name="T97" fmla="*/ 32 h 64"/>
                <a:gd name="T98" fmla="*/ 74 w 116"/>
                <a:gd name="T99" fmla="*/ 33 h 64"/>
                <a:gd name="T100" fmla="*/ 78 w 116"/>
                <a:gd name="T101" fmla="*/ 32 h 64"/>
                <a:gd name="T102" fmla="*/ 81 w 116"/>
                <a:gd name="T103" fmla="*/ 37 h 64"/>
                <a:gd name="T104" fmla="*/ 83 w 116"/>
                <a:gd name="T105" fmla="*/ 38 h 64"/>
                <a:gd name="T106" fmla="*/ 85 w 116"/>
                <a:gd name="T107" fmla="*/ 37 h 64"/>
                <a:gd name="T108" fmla="*/ 89 w 116"/>
                <a:gd name="T109" fmla="*/ 37 h 64"/>
                <a:gd name="T110" fmla="*/ 94 w 116"/>
                <a:gd name="T111" fmla="*/ 37 h 64"/>
                <a:gd name="T112" fmla="*/ 99 w 116"/>
                <a:gd name="T113" fmla="*/ 40 h 64"/>
                <a:gd name="T114" fmla="*/ 101 w 116"/>
                <a:gd name="T115" fmla="*/ 40 h 64"/>
                <a:gd name="T116" fmla="*/ 107 w 116"/>
                <a:gd name="T117" fmla="*/ 3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6" h="64">
                  <a:moveTo>
                    <a:pt x="111" y="39"/>
                  </a:moveTo>
                  <a:lnTo>
                    <a:pt x="112" y="40"/>
                  </a:lnTo>
                  <a:lnTo>
                    <a:pt x="112" y="42"/>
                  </a:lnTo>
                  <a:lnTo>
                    <a:pt x="112" y="43"/>
                  </a:lnTo>
                  <a:lnTo>
                    <a:pt x="111" y="45"/>
                  </a:lnTo>
                  <a:lnTo>
                    <a:pt x="111" y="46"/>
                  </a:lnTo>
                  <a:lnTo>
                    <a:pt x="111" y="47"/>
                  </a:lnTo>
                  <a:lnTo>
                    <a:pt x="112" y="49"/>
                  </a:lnTo>
                  <a:lnTo>
                    <a:pt x="111" y="50"/>
                  </a:lnTo>
                  <a:lnTo>
                    <a:pt x="111" y="51"/>
                  </a:lnTo>
                  <a:lnTo>
                    <a:pt x="111" y="52"/>
                  </a:lnTo>
                  <a:lnTo>
                    <a:pt x="112" y="52"/>
                  </a:lnTo>
                  <a:lnTo>
                    <a:pt x="112" y="53"/>
                  </a:lnTo>
                  <a:lnTo>
                    <a:pt x="114" y="53"/>
                  </a:lnTo>
                  <a:lnTo>
                    <a:pt x="114" y="54"/>
                  </a:lnTo>
                  <a:lnTo>
                    <a:pt x="115" y="54"/>
                  </a:lnTo>
                  <a:lnTo>
                    <a:pt x="115" y="56"/>
                  </a:lnTo>
                  <a:lnTo>
                    <a:pt x="115" y="57"/>
                  </a:lnTo>
                  <a:lnTo>
                    <a:pt x="116" y="57"/>
                  </a:lnTo>
                  <a:lnTo>
                    <a:pt x="116" y="58"/>
                  </a:lnTo>
                  <a:lnTo>
                    <a:pt x="116" y="59"/>
                  </a:lnTo>
                  <a:lnTo>
                    <a:pt x="115" y="60"/>
                  </a:lnTo>
                  <a:lnTo>
                    <a:pt x="115" y="61"/>
                  </a:lnTo>
                  <a:lnTo>
                    <a:pt x="115" y="63"/>
                  </a:lnTo>
                  <a:lnTo>
                    <a:pt x="115" y="64"/>
                  </a:lnTo>
                  <a:lnTo>
                    <a:pt x="114" y="64"/>
                  </a:lnTo>
                  <a:lnTo>
                    <a:pt x="114" y="63"/>
                  </a:lnTo>
                  <a:lnTo>
                    <a:pt x="112" y="63"/>
                  </a:lnTo>
                  <a:lnTo>
                    <a:pt x="112" y="61"/>
                  </a:lnTo>
                  <a:lnTo>
                    <a:pt x="111" y="63"/>
                  </a:lnTo>
                  <a:lnTo>
                    <a:pt x="111" y="61"/>
                  </a:lnTo>
                  <a:lnTo>
                    <a:pt x="111" y="63"/>
                  </a:lnTo>
                  <a:lnTo>
                    <a:pt x="110" y="63"/>
                  </a:lnTo>
                  <a:lnTo>
                    <a:pt x="109" y="63"/>
                  </a:lnTo>
                  <a:lnTo>
                    <a:pt x="108" y="63"/>
                  </a:lnTo>
                  <a:lnTo>
                    <a:pt x="107" y="63"/>
                  </a:lnTo>
                  <a:lnTo>
                    <a:pt x="106" y="63"/>
                  </a:lnTo>
                  <a:lnTo>
                    <a:pt x="106" y="64"/>
                  </a:lnTo>
                  <a:lnTo>
                    <a:pt x="104" y="64"/>
                  </a:lnTo>
                  <a:lnTo>
                    <a:pt x="104" y="63"/>
                  </a:lnTo>
                  <a:lnTo>
                    <a:pt x="103" y="63"/>
                  </a:lnTo>
                  <a:lnTo>
                    <a:pt x="102" y="63"/>
                  </a:lnTo>
                  <a:lnTo>
                    <a:pt x="102" y="61"/>
                  </a:lnTo>
                  <a:lnTo>
                    <a:pt x="101" y="61"/>
                  </a:lnTo>
                  <a:lnTo>
                    <a:pt x="101" y="60"/>
                  </a:lnTo>
                  <a:lnTo>
                    <a:pt x="100" y="60"/>
                  </a:lnTo>
                  <a:lnTo>
                    <a:pt x="100" y="61"/>
                  </a:lnTo>
                  <a:lnTo>
                    <a:pt x="99" y="61"/>
                  </a:lnTo>
                  <a:lnTo>
                    <a:pt x="99" y="63"/>
                  </a:lnTo>
                  <a:lnTo>
                    <a:pt x="97" y="63"/>
                  </a:lnTo>
                  <a:lnTo>
                    <a:pt x="96" y="63"/>
                  </a:lnTo>
                  <a:lnTo>
                    <a:pt x="95" y="61"/>
                  </a:lnTo>
                  <a:lnTo>
                    <a:pt x="94" y="61"/>
                  </a:lnTo>
                  <a:lnTo>
                    <a:pt x="94" y="60"/>
                  </a:lnTo>
                  <a:lnTo>
                    <a:pt x="93" y="60"/>
                  </a:lnTo>
                  <a:lnTo>
                    <a:pt x="92" y="60"/>
                  </a:lnTo>
                  <a:lnTo>
                    <a:pt x="90" y="60"/>
                  </a:lnTo>
                  <a:lnTo>
                    <a:pt x="90" y="59"/>
                  </a:lnTo>
                  <a:lnTo>
                    <a:pt x="89" y="59"/>
                  </a:lnTo>
                  <a:lnTo>
                    <a:pt x="89" y="60"/>
                  </a:lnTo>
                  <a:lnTo>
                    <a:pt x="89" y="59"/>
                  </a:lnTo>
                  <a:lnTo>
                    <a:pt x="88" y="59"/>
                  </a:lnTo>
                  <a:lnTo>
                    <a:pt x="87" y="59"/>
                  </a:lnTo>
                  <a:lnTo>
                    <a:pt x="86" y="59"/>
                  </a:lnTo>
                  <a:lnTo>
                    <a:pt x="85" y="60"/>
                  </a:lnTo>
                  <a:lnTo>
                    <a:pt x="85" y="59"/>
                  </a:lnTo>
                  <a:lnTo>
                    <a:pt x="83" y="59"/>
                  </a:lnTo>
                  <a:lnTo>
                    <a:pt x="82" y="59"/>
                  </a:lnTo>
                  <a:lnTo>
                    <a:pt x="82" y="58"/>
                  </a:lnTo>
                  <a:lnTo>
                    <a:pt x="82" y="57"/>
                  </a:lnTo>
                  <a:lnTo>
                    <a:pt x="81" y="56"/>
                  </a:lnTo>
                  <a:lnTo>
                    <a:pt x="80" y="56"/>
                  </a:lnTo>
                  <a:lnTo>
                    <a:pt x="79" y="57"/>
                  </a:lnTo>
                  <a:lnTo>
                    <a:pt x="78" y="57"/>
                  </a:lnTo>
                  <a:lnTo>
                    <a:pt x="76" y="58"/>
                  </a:lnTo>
                  <a:lnTo>
                    <a:pt x="75" y="57"/>
                  </a:lnTo>
                  <a:lnTo>
                    <a:pt x="75" y="56"/>
                  </a:lnTo>
                  <a:lnTo>
                    <a:pt x="74" y="56"/>
                  </a:lnTo>
                  <a:lnTo>
                    <a:pt x="73" y="56"/>
                  </a:lnTo>
                  <a:lnTo>
                    <a:pt x="72" y="56"/>
                  </a:lnTo>
                  <a:lnTo>
                    <a:pt x="72" y="54"/>
                  </a:lnTo>
                  <a:lnTo>
                    <a:pt x="71" y="54"/>
                  </a:lnTo>
                  <a:lnTo>
                    <a:pt x="71" y="53"/>
                  </a:lnTo>
                  <a:lnTo>
                    <a:pt x="69" y="53"/>
                  </a:lnTo>
                  <a:lnTo>
                    <a:pt x="68" y="53"/>
                  </a:lnTo>
                  <a:lnTo>
                    <a:pt x="67" y="53"/>
                  </a:lnTo>
                  <a:lnTo>
                    <a:pt x="67" y="52"/>
                  </a:lnTo>
                  <a:lnTo>
                    <a:pt x="67" y="51"/>
                  </a:lnTo>
                  <a:lnTo>
                    <a:pt x="67" y="50"/>
                  </a:lnTo>
                  <a:lnTo>
                    <a:pt x="66" y="50"/>
                  </a:lnTo>
                  <a:lnTo>
                    <a:pt x="66" y="49"/>
                  </a:lnTo>
                  <a:lnTo>
                    <a:pt x="65" y="49"/>
                  </a:lnTo>
                  <a:lnTo>
                    <a:pt x="61" y="47"/>
                  </a:lnTo>
                  <a:lnTo>
                    <a:pt x="60" y="46"/>
                  </a:lnTo>
                  <a:lnTo>
                    <a:pt x="59" y="46"/>
                  </a:lnTo>
                  <a:lnTo>
                    <a:pt x="59" y="45"/>
                  </a:lnTo>
                  <a:lnTo>
                    <a:pt x="58" y="45"/>
                  </a:lnTo>
                  <a:lnTo>
                    <a:pt x="58" y="46"/>
                  </a:lnTo>
                  <a:lnTo>
                    <a:pt x="57" y="46"/>
                  </a:lnTo>
                  <a:lnTo>
                    <a:pt x="55" y="46"/>
                  </a:lnTo>
                  <a:lnTo>
                    <a:pt x="55" y="47"/>
                  </a:lnTo>
                  <a:lnTo>
                    <a:pt x="54" y="47"/>
                  </a:lnTo>
                  <a:lnTo>
                    <a:pt x="53" y="46"/>
                  </a:lnTo>
                  <a:lnTo>
                    <a:pt x="52" y="46"/>
                  </a:lnTo>
                  <a:lnTo>
                    <a:pt x="50" y="46"/>
                  </a:lnTo>
                  <a:lnTo>
                    <a:pt x="48" y="46"/>
                  </a:lnTo>
                  <a:lnTo>
                    <a:pt x="48" y="47"/>
                  </a:lnTo>
                  <a:lnTo>
                    <a:pt x="48" y="49"/>
                  </a:lnTo>
                  <a:lnTo>
                    <a:pt x="47" y="49"/>
                  </a:lnTo>
                  <a:lnTo>
                    <a:pt x="47" y="47"/>
                  </a:lnTo>
                  <a:lnTo>
                    <a:pt x="46" y="46"/>
                  </a:lnTo>
                  <a:lnTo>
                    <a:pt x="45" y="46"/>
                  </a:lnTo>
                  <a:lnTo>
                    <a:pt x="44" y="46"/>
                  </a:lnTo>
                  <a:lnTo>
                    <a:pt x="43" y="46"/>
                  </a:lnTo>
                  <a:lnTo>
                    <a:pt x="42" y="45"/>
                  </a:lnTo>
                  <a:lnTo>
                    <a:pt x="40" y="45"/>
                  </a:lnTo>
                  <a:lnTo>
                    <a:pt x="39" y="44"/>
                  </a:lnTo>
                  <a:lnTo>
                    <a:pt x="39" y="43"/>
                  </a:lnTo>
                  <a:lnTo>
                    <a:pt x="38" y="43"/>
                  </a:lnTo>
                  <a:lnTo>
                    <a:pt x="38" y="42"/>
                  </a:lnTo>
                  <a:lnTo>
                    <a:pt x="37" y="43"/>
                  </a:lnTo>
                  <a:lnTo>
                    <a:pt x="36" y="43"/>
                  </a:lnTo>
                  <a:lnTo>
                    <a:pt x="35" y="43"/>
                  </a:lnTo>
                  <a:lnTo>
                    <a:pt x="35" y="42"/>
                  </a:lnTo>
                  <a:lnTo>
                    <a:pt x="33" y="42"/>
                  </a:lnTo>
                  <a:lnTo>
                    <a:pt x="31" y="40"/>
                  </a:lnTo>
                  <a:lnTo>
                    <a:pt x="30" y="39"/>
                  </a:lnTo>
                  <a:lnTo>
                    <a:pt x="29" y="39"/>
                  </a:lnTo>
                  <a:lnTo>
                    <a:pt x="28" y="39"/>
                  </a:lnTo>
                  <a:lnTo>
                    <a:pt x="26" y="39"/>
                  </a:lnTo>
                  <a:lnTo>
                    <a:pt x="25" y="39"/>
                  </a:lnTo>
                  <a:lnTo>
                    <a:pt x="25" y="38"/>
                  </a:lnTo>
                  <a:lnTo>
                    <a:pt x="24" y="38"/>
                  </a:lnTo>
                  <a:lnTo>
                    <a:pt x="23" y="38"/>
                  </a:lnTo>
                  <a:lnTo>
                    <a:pt x="23" y="37"/>
                  </a:lnTo>
                  <a:lnTo>
                    <a:pt x="22" y="37"/>
                  </a:lnTo>
                  <a:lnTo>
                    <a:pt x="21" y="36"/>
                  </a:lnTo>
                  <a:lnTo>
                    <a:pt x="21" y="35"/>
                  </a:lnTo>
                  <a:lnTo>
                    <a:pt x="19" y="35"/>
                  </a:lnTo>
                  <a:lnTo>
                    <a:pt x="19" y="36"/>
                  </a:lnTo>
                  <a:lnTo>
                    <a:pt x="18" y="36"/>
                  </a:lnTo>
                  <a:lnTo>
                    <a:pt x="18" y="35"/>
                  </a:lnTo>
                  <a:lnTo>
                    <a:pt x="17" y="33"/>
                  </a:lnTo>
                  <a:lnTo>
                    <a:pt x="17" y="32"/>
                  </a:lnTo>
                  <a:lnTo>
                    <a:pt x="16" y="32"/>
                  </a:lnTo>
                  <a:lnTo>
                    <a:pt x="16" y="31"/>
                  </a:lnTo>
                  <a:lnTo>
                    <a:pt x="15" y="31"/>
                  </a:lnTo>
                  <a:lnTo>
                    <a:pt x="14" y="31"/>
                  </a:lnTo>
                  <a:lnTo>
                    <a:pt x="12" y="31"/>
                  </a:lnTo>
                  <a:lnTo>
                    <a:pt x="12" y="30"/>
                  </a:lnTo>
                  <a:lnTo>
                    <a:pt x="11" y="30"/>
                  </a:lnTo>
                  <a:lnTo>
                    <a:pt x="10" y="29"/>
                  </a:lnTo>
                  <a:lnTo>
                    <a:pt x="9" y="29"/>
                  </a:lnTo>
                  <a:lnTo>
                    <a:pt x="9" y="28"/>
                  </a:lnTo>
                  <a:lnTo>
                    <a:pt x="8" y="28"/>
                  </a:lnTo>
                  <a:lnTo>
                    <a:pt x="7" y="28"/>
                  </a:lnTo>
                  <a:lnTo>
                    <a:pt x="7" y="26"/>
                  </a:lnTo>
                  <a:lnTo>
                    <a:pt x="7" y="28"/>
                  </a:lnTo>
                  <a:lnTo>
                    <a:pt x="7" y="29"/>
                  </a:lnTo>
                  <a:lnTo>
                    <a:pt x="5" y="28"/>
                  </a:lnTo>
                  <a:lnTo>
                    <a:pt x="4" y="28"/>
                  </a:lnTo>
                  <a:lnTo>
                    <a:pt x="3" y="26"/>
                  </a:lnTo>
                  <a:lnTo>
                    <a:pt x="2" y="26"/>
                  </a:lnTo>
                  <a:lnTo>
                    <a:pt x="2" y="25"/>
                  </a:lnTo>
                  <a:lnTo>
                    <a:pt x="1" y="25"/>
                  </a:lnTo>
                  <a:lnTo>
                    <a:pt x="0" y="24"/>
                  </a:lnTo>
                  <a:lnTo>
                    <a:pt x="0" y="23"/>
                  </a:lnTo>
                  <a:lnTo>
                    <a:pt x="0" y="22"/>
                  </a:lnTo>
                  <a:lnTo>
                    <a:pt x="0" y="21"/>
                  </a:lnTo>
                  <a:lnTo>
                    <a:pt x="0" y="19"/>
                  </a:lnTo>
                  <a:lnTo>
                    <a:pt x="1" y="19"/>
                  </a:lnTo>
                  <a:lnTo>
                    <a:pt x="1" y="18"/>
                  </a:lnTo>
                  <a:lnTo>
                    <a:pt x="2" y="17"/>
                  </a:lnTo>
                  <a:lnTo>
                    <a:pt x="1" y="17"/>
                  </a:lnTo>
                  <a:lnTo>
                    <a:pt x="1" y="16"/>
                  </a:lnTo>
                  <a:lnTo>
                    <a:pt x="0" y="15"/>
                  </a:lnTo>
                  <a:lnTo>
                    <a:pt x="1" y="15"/>
                  </a:lnTo>
                  <a:lnTo>
                    <a:pt x="1" y="14"/>
                  </a:lnTo>
                  <a:lnTo>
                    <a:pt x="1" y="12"/>
                  </a:lnTo>
                  <a:lnTo>
                    <a:pt x="2" y="12"/>
                  </a:lnTo>
                  <a:lnTo>
                    <a:pt x="2" y="11"/>
                  </a:lnTo>
                  <a:lnTo>
                    <a:pt x="1" y="11"/>
                  </a:lnTo>
                  <a:lnTo>
                    <a:pt x="1" y="10"/>
                  </a:lnTo>
                  <a:lnTo>
                    <a:pt x="1" y="9"/>
                  </a:lnTo>
                  <a:lnTo>
                    <a:pt x="2" y="9"/>
                  </a:lnTo>
                  <a:lnTo>
                    <a:pt x="3" y="8"/>
                  </a:lnTo>
                  <a:lnTo>
                    <a:pt x="3" y="7"/>
                  </a:lnTo>
                  <a:lnTo>
                    <a:pt x="4" y="7"/>
                  </a:lnTo>
                  <a:lnTo>
                    <a:pt x="4" y="5"/>
                  </a:lnTo>
                  <a:lnTo>
                    <a:pt x="5" y="5"/>
                  </a:lnTo>
                  <a:lnTo>
                    <a:pt x="5" y="4"/>
                  </a:lnTo>
                  <a:lnTo>
                    <a:pt x="7" y="3"/>
                  </a:lnTo>
                  <a:lnTo>
                    <a:pt x="5" y="3"/>
                  </a:lnTo>
                  <a:lnTo>
                    <a:pt x="7" y="3"/>
                  </a:lnTo>
                  <a:lnTo>
                    <a:pt x="7" y="2"/>
                  </a:lnTo>
                  <a:lnTo>
                    <a:pt x="7" y="3"/>
                  </a:lnTo>
                  <a:lnTo>
                    <a:pt x="8" y="3"/>
                  </a:lnTo>
                  <a:lnTo>
                    <a:pt x="9" y="3"/>
                  </a:lnTo>
                  <a:lnTo>
                    <a:pt x="9" y="4"/>
                  </a:lnTo>
                  <a:lnTo>
                    <a:pt x="10" y="5"/>
                  </a:lnTo>
                  <a:lnTo>
                    <a:pt x="11" y="5"/>
                  </a:lnTo>
                  <a:lnTo>
                    <a:pt x="12" y="4"/>
                  </a:lnTo>
                  <a:lnTo>
                    <a:pt x="11" y="4"/>
                  </a:lnTo>
                  <a:lnTo>
                    <a:pt x="12" y="4"/>
                  </a:lnTo>
                  <a:lnTo>
                    <a:pt x="12" y="3"/>
                  </a:lnTo>
                  <a:lnTo>
                    <a:pt x="12" y="2"/>
                  </a:lnTo>
                  <a:lnTo>
                    <a:pt x="12" y="1"/>
                  </a:lnTo>
                  <a:lnTo>
                    <a:pt x="12" y="0"/>
                  </a:lnTo>
                  <a:lnTo>
                    <a:pt x="14" y="0"/>
                  </a:lnTo>
                  <a:lnTo>
                    <a:pt x="14" y="1"/>
                  </a:lnTo>
                  <a:lnTo>
                    <a:pt x="15" y="1"/>
                  </a:lnTo>
                  <a:lnTo>
                    <a:pt x="15" y="0"/>
                  </a:lnTo>
                  <a:lnTo>
                    <a:pt x="16" y="0"/>
                  </a:lnTo>
                  <a:lnTo>
                    <a:pt x="17" y="0"/>
                  </a:lnTo>
                  <a:lnTo>
                    <a:pt x="18" y="0"/>
                  </a:lnTo>
                  <a:lnTo>
                    <a:pt x="19" y="0"/>
                  </a:lnTo>
                  <a:lnTo>
                    <a:pt x="21" y="1"/>
                  </a:lnTo>
                  <a:lnTo>
                    <a:pt x="22" y="1"/>
                  </a:lnTo>
                  <a:lnTo>
                    <a:pt x="22" y="2"/>
                  </a:lnTo>
                  <a:lnTo>
                    <a:pt x="23" y="2"/>
                  </a:lnTo>
                  <a:lnTo>
                    <a:pt x="23" y="3"/>
                  </a:lnTo>
                  <a:lnTo>
                    <a:pt x="24" y="3"/>
                  </a:lnTo>
                  <a:lnTo>
                    <a:pt x="23" y="4"/>
                  </a:lnTo>
                  <a:lnTo>
                    <a:pt x="24" y="4"/>
                  </a:lnTo>
                  <a:lnTo>
                    <a:pt x="24" y="5"/>
                  </a:lnTo>
                  <a:lnTo>
                    <a:pt x="24" y="4"/>
                  </a:lnTo>
                  <a:lnTo>
                    <a:pt x="25" y="5"/>
                  </a:lnTo>
                  <a:lnTo>
                    <a:pt x="26" y="5"/>
                  </a:lnTo>
                  <a:lnTo>
                    <a:pt x="28" y="5"/>
                  </a:lnTo>
                  <a:lnTo>
                    <a:pt x="28" y="7"/>
                  </a:lnTo>
                  <a:lnTo>
                    <a:pt x="29" y="7"/>
                  </a:lnTo>
                  <a:lnTo>
                    <a:pt x="30" y="7"/>
                  </a:lnTo>
                  <a:lnTo>
                    <a:pt x="31" y="8"/>
                  </a:lnTo>
                  <a:lnTo>
                    <a:pt x="31" y="9"/>
                  </a:lnTo>
                  <a:lnTo>
                    <a:pt x="32" y="9"/>
                  </a:lnTo>
                  <a:lnTo>
                    <a:pt x="33" y="10"/>
                  </a:lnTo>
                  <a:lnTo>
                    <a:pt x="35" y="11"/>
                  </a:lnTo>
                  <a:lnTo>
                    <a:pt x="36" y="11"/>
                  </a:lnTo>
                  <a:lnTo>
                    <a:pt x="37" y="11"/>
                  </a:lnTo>
                  <a:lnTo>
                    <a:pt x="37" y="12"/>
                  </a:lnTo>
                  <a:lnTo>
                    <a:pt x="38" y="12"/>
                  </a:lnTo>
                  <a:lnTo>
                    <a:pt x="38" y="11"/>
                  </a:lnTo>
                  <a:lnTo>
                    <a:pt x="39" y="11"/>
                  </a:lnTo>
                  <a:lnTo>
                    <a:pt x="39" y="12"/>
                  </a:lnTo>
                  <a:lnTo>
                    <a:pt x="40" y="12"/>
                  </a:lnTo>
                  <a:lnTo>
                    <a:pt x="40" y="14"/>
                  </a:lnTo>
                  <a:lnTo>
                    <a:pt x="42" y="14"/>
                  </a:lnTo>
                  <a:lnTo>
                    <a:pt x="42" y="15"/>
                  </a:lnTo>
                  <a:lnTo>
                    <a:pt x="43" y="15"/>
                  </a:lnTo>
                  <a:lnTo>
                    <a:pt x="43" y="16"/>
                  </a:lnTo>
                  <a:lnTo>
                    <a:pt x="44" y="16"/>
                  </a:lnTo>
                  <a:lnTo>
                    <a:pt x="44" y="17"/>
                  </a:lnTo>
                  <a:lnTo>
                    <a:pt x="45" y="17"/>
                  </a:lnTo>
                  <a:lnTo>
                    <a:pt x="45" y="18"/>
                  </a:lnTo>
                  <a:lnTo>
                    <a:pt x="46" y="18"/>
                  </a:lnTo>
                  <a:lnTo>
                    <a:pt x="46" y="19"/>
                  </a:lnTo>
                  <a:lnTo>
                    <a:pt x="47" y="19"/>
                  </a:lnTo>
                  <a:lnTo>
                    <a:pt x="47" y="18"/>
                  </a:lnTo>
                  <a:lnTo>
                    <a:pt x="48" y="18"/>
                  </a:lnTo>
                  <a:lnTo>
                    <a:pt x="50" y="17"/>
                  </a:lnTo>
                  <a:lnTo>
                    <a:pt x="51" y="17"/>
                  </a:lnTo>
                  <a:lnTo>
                    <a:pt x="52" y="17"/>
                  </a:lnTo>
                  <a:lnTo>
                    <a:pt x="52" y="18"/>
                  </a:lnTo>
                  <a:lnTo>
                    <a:pt x="52" y="17"/>
                  </a:lnTo>
                  <a:lnTo>
                    <a:pt x="53" y="18"/>
                  </a:lnTo>
                  <a:lnTo>
                    <a:pt x="54" y="18"/>
                  </a:lnTo>
                  <a:lnTo>
                    <a:pt x="53" y="18"/>
                  </a:lnTo>
                  <a:lnTo>
                    <a:pt x="53" y="19"/>
                  </a:lnTo>
                  <a:lnTo>
                    <a:pt x="54" y="19"/>
                  </a:lnTo>
                  <a:lnTo>
                    <a:pt x="54" y="21"/>
                  </a:lnTo>
                  <a:lnTo>
                    <a:pt x="55" y="21"/>
                  </a:lnTo>
                  <a:lnTo>
                    <a:pt x="55" y="22"/>
                  </a:lnTo>
                  <a:lnTo>
                    <a:pt x="55" y="23"/>
                  </a:lnTo>
                  <a:lnTo>
                    <a:pt x="57" y="24"/>
                  </a:lnTo>
                  <a:lnTo>
                    <a:pt x="58" y="24"/>
                  </a:lnTo>
                  <a:lnTo>
                    <a:pt x="59" y="24"/>
                  </a:lnTo>
                  <a:lnTo>
                    <a:pt x="59" y="25"/>
                  </a:lnTo>
                  <a:lnTo>
                    <a:pt x="59" y="26"/>
                  </a:lnTo>
                  <a:lnTo>
                    <a:pt x="60" y="26"/>
                  </a:lnTo>
                  <a:lnTo>
                    <a:pt x="61" y="26"/>
                  </a:lnTo>
                  <a:lnTo>
                    <a:pt x="62" y="26"/>
                  </a:lnTo>
                  <a:lnTo>
                    <a:pt x="62" y="28"/>
                  </a:lnTo>
                  <a:lnTo>
                    <a:pt x="64" y="28"/>
                  </a:lnTo>
                  <a:lnTo>
                    <a:pt x="64" y="29"/>
                  </a:lnTo>
                  <a:lnTo>
                    <a:pt x="65" y="29"/>
                  </a:lnTo>
                  <a:lnTo>
                    <a:pt x="66" y="29"/>
                  </a:lnTo>
                  <a:lnTo>
                    <a:pt x="67" y="28"/>
                  </a:lnTo>
                  <a:lnTo>
                    <a:pt x="68" y="28"/>
                  </a:lnTo>
                  <a:lnTo>
                    <a:pt x="69" y="28"/>
                  </a:lnTo>
                  <a:lnTo>
                    <a:pt x="69" y="29"/>
                  </a:lnTo>
                  <a:lnTo>
                    <a:pt x="69" y="30"/>
                  </a:lnTo>
                  <a:lnTo>
                    <a:pt x="68" y="30"/>
                  </a:lnTo>
                  <a:lnTo>
                    <a:pt x="68" y="31"/>
                  </a:lnTo>
                  <a:lnTo>
                    <a:pt x="69" y="32"/>
                  </a:lnTo>
                  <a:lnTo>
                    <a:pt x="71" y="32"/>
                  </a:lnTo>
                  <a:lnTo>
                    <a:pt x="71" y="33"/>
                  </a:lnTo>
                  <a:lnTo>
                    <a:pt x="72" y="33"/>
                  </a:lnTo>
                  <a:lnTo>
                    <a:pt x="73" y="33"/>
                  </a:lnTo>
                  <a:lnTo>
                    <a:pt x="74" y="32"/>
                  </a:lnTo>
                  <a:lnTo>
                    <a:pt x="74" y="33"/>
                  </a:lnTo>
                  <a:lnTo>
                    <a:pt x="75" y="33"/>
                  </a:lnTo>
                  <a:lnTo>
                    <a:pt x="76" y="33"/>
                  </a:lnTo>
                  <a:lnTo>
                    <a:pt x="76" y="32"/>
                  </a:lnTo>
                  <a:lnTo>
                    <a:pt x="78" y="32"/>
                  </a:lnTo>
                  <a:lnTo>
                    <a:pt x="76" y="32"/>
                  </a:lnTo>
                  <a:lnTo>
                    <a:pt x="78" y="32"/>
                  </a:lnTo>
                  <a:lnTo>
                    <a:pt x="78" y="33"/>
                  </a:lnTo>
                  <a:lnTo>
                    <a:pt x="79" y="35"/>
                  </a:lnTo>
                  <a:lnTo>
                    <a:pt x="80" y="35"/>
                  </a:lnTo>
                  <a:lnTo>
                    <a:pt x="80" y="36"/>
                  </a:lnTo>
                  <a:lnTo>
                    <a:pt x="81" y="36"/>
                  </a:lnTo>
                  <a:lnTo>
                    <a:pt x="81" y="37"/>
                  </a:lnTo>
                  <a:lnTo>
                    <a:pt x="81" y="38"/>
                  </a:lnTo>
                  <a:lnTo>
                    <a:pt x="82" y="38"/>
                  </a:lnTo>
                  <a:lnTo>
                    <a:pt x="82" y="39"/>
                  </a:lnTo>
                  <a:lnTo>
                    <a:pt x="83" y="39"/>
                  </a:lnTo>
                  <a:lnTo>
                    <a:pt x="85" y="38"/>
                  </a:lnTo>
                  <a:lnTo>
                    <a:pt x="83" y="38"/>
                  </a:lnTo>
                  <a:lnTo>
                    <a:pt x="83" y="37"/>
                  </a:lnTo>
                  <a:lnTo>
                    <a:pt x="83" y="36"/>
                  </a:lnTo>
                  <a:lnTo>
                    <a:pt x="83" y="35"/>
                  </a:lnTo>
                  <a:lnTo>
                    <a:pt x="85" y="35"/>
                  </a:lnTo>
                  <a:lnTo>
                    <a:pt x="85" y="36"/>
                  </a:lnTo>
                  <a:lnTo>
                    <a:pt x="85" y="37"/>
                  </a:lnTo>
                  <a:lnTo>
                    <a:pt x="86" y="38"/>
                  </a:lnTo>
                  <a:lnTo>
                    <a:pt x="87" y="38"/>
                  </a:lnTo>
                  <a:lnTo>
                    <a:pt x="88" y="38"/>
                  </a:lnTo>
                  <a:lnTo>
                    <a:pt x="88" y="39"/>
                  </a:lnTo>
                  <a:lnTo>
                    <a:pt x="89" y="38"/>
                  </a:lnTo>
                  <a:lnTo>
                    <a:pt x="89" y="37"/>
                  </a:lnTo>
                  <a:lnTo>
                    <a:pt x="89" y="36"/>
                  </a:lnTo>
                  <a:lnTo>
                    <a:pt x="90" y="36"/>
                  </a:lnTo>
                  <a:lnTo>
                    <a:pt x="92" y="36"/>
                  </a:lnTo>
                  <a:lnTo>
                    <a:pt x="92" y="37"/>
                  </a:lnTo>
                  <a:lnTo>
                    <a:pt x="93" y="37"/>
                  </a:lnTo>
                  <a:lnTo>
                    <a:pt x="94" y="37"/>
                  </a:lnTo>
                  <a:lnTo>
                    <a:pt x="94" y="38"/>
                  </a:lnTo>
                  <a:lnTo>
                    <a:pt x="95" y="38"/>
                  </a:lnTo>
                  <a:lnTo>
                    <a:pt x="96" y="38"/>
                  </a:lnTo>
                  <a:lnTo>
                    <a:pt x="97" y="39"/>
                  </a:lnTo>
                  <a:lnTo>
                    <a:pt x="97" y="40"/>
                  </a:lnTo>
                  <a:lnTo>
                    <a:pt x="99" y="40"/>
                  </a:lnTo>
                  <a:lnTo>
                    <a:pt x="100" y="40"/>
                  </a:lnTo>
                  <a:lnTo>
                    <a:pt x="101" y="40"/>
                  </a:lnTo>
                  <a:lnTo>
                    <a:pt x="101" y="39"/>
                  </a:lnTo>
                  <a:lnTo>
                    <a:pt x="102" y="39"/>
                  </a:lnTo>
                  <a:lnTo>
                    <a:pt x="102" y="40"/>
                  </a:lnTo>
                  <a:lnTo>
                    <a:pt x="101" y="40"/>
                  </a:lnTo>
                  <a:lnTo>
                    <a:pt x="102" y="40"/>
                  </a:lnTo>
                  <a:lnTo>
                    <a:pt x="103" y="40"/>
                  </a:lnTo>
                  <a:lnTo>
                    <a:pt x="104" y="40"/>
                  </a:lnTo>
                  <a:lnTo>
                    <a:pt x="106" y="40"/>
                  </a:lnTo>
                  <a:lnTo>
                    <a:pt x="107" y="40"/>
                  </a:lnTo>
                  <a:lnTo>
                    <a:pt x="107" y="39"/>
                  </a:lnTo>
                  <a:lnTo>
                    <a:pt x="108" y="39"/>
                  </a:lnTo>
                  <a:lnTo>
                    <a:pt x="109" y="39"/>
                  </a:lnTo>
                  <a:lnTo>
                    <a:pt x="110" y="39"/>
                  </a:lnTo>
                  <a:lnTo>
                    <a:pt x="111" y="39"/>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09" name="Freeform 966">
              <a:extLst>
                <a:ext uri="{FF2B5EF4-FFF2-40B4-BE49-F238E27FC236}">
                  <a16:creationId xmlns:a16="http://schemas.microsoft.com/office/drawing/2014/main" id="{1D6D8103-1F0B-42CB-8860-9CDA41AF9361}"/>
                </a:ext>
              </a:extLst>
            </p:cNvPr>
            <p:cNvSpPr>
              <a:spLocks/>
            </p:cNvSpPr>
            <p:nvPr/>
          </p:nvSpPr>
          <p:spPr bwMode="auto">
            <a:xfrm>
              <a:off x="8915444" y="3357876"/>
              <a:ext cx="1336" cy="2671"/>
            </a:xfrm>
            <a:custGeom>
              <a:avLst/>
              <a:gdLst>
                <a:gd name="T0" fmla="*/ 1 w 1"/>
                <a:gd name="T1" fmla="*/ 2 h 2"/>
                <a:gd name="T2" fmla="*/ 1 w 1"/>
                <a:gd name="T3" fmla="*/ 2 h 2"/>
                <a:gd name="T4" fmla="*/ 0 w 1"/>
                <a:gd name="T5" fmla="*/ 2 h 2"/>
                <a:gd name="T6" fmla="*/ 0 w 1"/>
                <a:gd name="T7" fmla="*/ 0 h 2"/>
                <a:gd name="T8" fmla="*/ 0 w 1"/>
                <a:gd name="T9" fmla="*/ 0 h 2"/>
                <a:gd name="T10" fmla="*/ 1 w 1"/>
                <a:gd name="T11" fmla="*/ 0 h 2"/>
                <a:gd name="T12" fmla="*/ 1 w 1"/>
                <a:gd name="T13" fmla="*/ 0 h 2"/>
                <a:gd name="T14" fmla="*/ 1 w 1"/>
                <a:gd name="T15" fmla="*/ 0 h 2"/>
                <a:gd name="T16" fmla="*/ 1 w 1"/>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2"/>
                  </a:moveTo>
                  <a:lnTo>
                    <a:pt x="1" y="2"/>
                  </a:lnTo>
                  <a:lnTo>
                    <a:pt x="0" y="2"/>
                  </a:lnTo>
                  <a:lnTo>
                    <a:pt x="0" y="0"/>
                  </a:lnTo>
                  <a:lnTo>
                    <a:pt x="0" y="0"/>
                  </a:lnTo>
                  <a:lnTo>
                    <a:pt x="1" y="0"/>
                  </a:lnTo>
                  <a:lnTo>
                    <a:pt x="1" y="0"/>
                  </a:lnTo>
                  <a:lnTo>
                    <a:pt x="1" y="0"/>
                  </a:lnTo>
                  <a:lnTo>
                    <a:pt x="1"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10" name="Freeform 968">
              <a:extLst>
                <a:ext uri="{FF2B5EF4-FFF2-40B4-BE49-F238E27FC236}">
                  <a16:creationId xmlns:a16="http://schemas.microsoft.com/office/drawing/2014/main" id="{A6710A71-8CA5-450D-B680-FE9891CEDDEC}"/>
                </a:ext>
              </a:extLst>
            </p:cNvPr>
            <p:cNvSpPr>
              <a:spLocks noEditPoints="1"/>
            </p:cNvSpPr>
            <p:nvPr/>
          </p:nvSpPr>
          <p:spPr bwMode="auto">
            <a:xfrm>
              <a:off x="6759966" y="2790294"/>
              <a:ext cx="136220" cy="207001"/>
            </a:xfrm>
            <a:custGeom>
              <a:avLst/>
              <a:gdLst>
                <a:gd name="T0" fmla="*/ 58 w 102"/>
                <a:gd name="T1" fmla="*/ 140 h 155"/>
                <a:gd name="T2" fmla="*/ 89 w 102"/>
                <a:gd name="T3" fmla="*/ 94 h 155"/>
                <a:gd name="T4" fmla="*/ 92 w 102"/>
                <a:gd name="T5" fmla="*/ 91 h 155"/>
                <a:gd name="T6" fmla="*/ 90 w 102"/>
                <a:gd name="T7" fmla="*/ 96 h 155"/>
                <a:gd name="T8" fmla="*/ 56 w 102"/>
                <a:gd name="T9" fmla="*/ 30 h 155"/>
                <a:gd name="T10" fmla="*/ 64 w 102"/>
                <a:gd name="T11" fmla="*/ 38 h 155"/>
                <a:gd name="T12" fmla="*/ 73 w 102"/>
                <a:gd name="T13" fmla="*/ 42 h 155"/>
                <a:gd name="T14" fmla="*/ 79 w 102"/>
                <a:gd name="T15" fmla="*/ 44 h 155"/>
                <a:gd name="T16" fmla="*/ 85 w 102"/>
                <a:gd name="T17" fmla="*/ 44 h 155"/>
                <a:gd name="T18" fmla="*/ 89 w 102"/>
                <a:gd name="T19" fmla="*/ 50 h 155"/>
                <a:gd name="T20" fmla="*/ 94 w 102"/>
                <a:gd name="T21" fmla="*/ 54 h 155"/>
                <a:gd name="T22" fmla="*/ 97 w 102"/>
                <a:gd name="T23" fmla="*/ 60 h 155"/>
                <a:gd name="T24" fmla="*/ 102 w 102"/>
                <a:gd name="T25" fmla="*/ 63 h 155"/>
                <a:gd name="T26" fmla="*/ 100 w 102"/>
                <a:gd name="T27" fmla="*/ 71 h 155"/>
                <a:gd name="T28" fmla="*/ 95 w 102"/>
                <a:gd name="T29" fmla="*/ 80 h 155"/>
                <a:gd name="T30" fmla="*/ 89 w 102"/>
                <a:gd name="T31" fmla="*/ 87 h 155"/>
                <a:gd name="T32" fmla="*/ 88 w 102"/>
                <a:gd name="T33" fmla="*/ 89 h 155"/>
                <a:gd name="T34" fmla="*/ 85 w 102"/>
                <a:gd name="T35" fmla="*/ 95 h 155"/>
                <a:gd name="T36" fmla="*/ 82 w 102"/>
                <a:gd name="T37" fmla="*/ 92 h 155"/>
                <a:gd name="T38" fmla="*/ 79 w 102"/>
                <a:gd name="T39" fmla="*/ 96 h 155"/>
                <a:gd name="T40" fmla="*/ 78 w 102"/>
                <a:gd name="T41" fmla="*/ 102 h 155"/>
                <a:gd name="T42" fmla="*/ 78 w 102"/>
                <a:gd name="T43" fmla="*/ 109 h 155"/>
                <a:gd name="T44" fmla="*/ 79 w 102"/>
                <a:gd name="T45" fmla="*/ 115 h 155"/>
                <a:gd name="T46" fmla="*/ 72 w 102"/>
                <a:gd name="T47" fmla="*/ 119 h 155"/>
                <a:gd name="T48" fmla="*/ 64 w 102"/>
                <a:gd name="T49" fmla="*/ 126 h 155"/>
                <a:gd name="T50" fmla="*/ 60 w 102"/>
                <a:gd name="T51" fmla="*/ 134 h 155"/>
                <a:gd name="T52" fmla="*/ 50 w 102"/>
                <a:gd name="T53" fmla="*/ 135 h 155"/>
                <a:gd name="T54" fmla="*/ 46 w 102"/>
                <a:gd name="T55" fmla="*/ 141 h 155"/>
                <a:gd name="T56" fmla="*/ 45 w 102"/>
                <a:gd name="T57" fmla="*/ 148 h 155"/>
                <a:gd name="T58" fmla="*/ 40 w 102"/>
                <a:gd name="T59" fmla="*/ 149 h 155"/>
                <a:gd name="T60" fmla="*/ 32 w 102"/>
                <a:gd name="T61" fmla="*/ 149 h 155"/>
                <a:gd name="T62" fmla="*/ 26 w 102"/>
                <a:gd name="T63" fmla="*/ 151 h 155"/>
                <a:gd name="T64" fmla="*/ 21 w 102"/>
                <a:gd name="T65" fmla="*/ 152 h 155"/>
                <a:gd name="T66" fmla="*/ 13 w 102"/>
                <a:gd name="T67" fmla="*/ 144 h 155"/>
                <a:gd name="T68" fmla="*/ 8 w 102"/>
                <a:gd name="T69" fmla="*/ 135 h 155"/>
                <a:gd name="T70" fmla="*/ 3 w 102"/>
                <a:gd name="T71" fmla="*/ 124 h 155"/>
                <a:gd name="T72" fmla="*/ 3 w 102"/>
                <a:gd name="T73" fmla="*/ 115 h 155"/>
                <a:gd name="T74" fmla="*/ 20 w 102"/>
                <a:gd name="T75" fmla="*/ 109 h 155"/>
                <a:gd name="T76" fmla="*/ 35 w 102"/>
                <a:gd name="T77" fmla="*/ 103 h 155"/>
                <a:gd name="T78" fmla="*/ 40 w 102"/>
                <a:gd name="T79" fmla="*/ 93 h 155"/>
                <a:gd name="T80" fmla="*/ 44 w 102"/>
                <a:gd name="T81" fmla="*/ 77 h 155"/>
                <a:gd name="T82" fmla="*/ 42 w 102"/>
                <a:gd name="T83" fmla="*/ 64 h 155"/>
                <a:gd name="T84" fmla="*/ 39 w 102"/>
                <a:gd name="T85" fmla="*/ 50 h 155"/>
                <a:gd name="T86" fmla="*/ 42 w 102"/>
                <a:gd name="T87" fmla="*/ 42 h 155"/>
                <a:gd name="T88" fmla="*/ 44 w 102"/>
                <a:gd name="T89" fmla="*/ 37 h 155"/>
                <a:gd name="T90" fmla="*/ 44 w 102"/>
                <a:gd name="T91" fmla="*/ 35 h 155"/>
                <a:gd name="T92" fmla="*/ 44 w 102"/>
                <a:gd name="T93" fmla="*/ 26 h 155"/>
                <a:gd name="T94" fmla="*/ 46 w 102"/>
                <a:gd name="T95" fmla="*/ 24 h 155"/>
                <a:gd name="T96" fmla="*/ 50 w 102"/>
                <a:gd name="T97" fmla="*/ 24 h 155"/>
                <a:gd name="T98" fmla="*/ 50 w 102"/>
                <a:gd name="T99" fmla="*/ 17 h 155"/>
                <a:gd name="T100" fmla="*/ 50 w 102"/>
                <a:gd name="T101" fmla="*/ 17 h 155"/>
                <a:gd name="T102" fmla="*/ 50 w 102"/>
                <a:gd name="T103" fmla="*/ 2 h 155"/>
                <a:gd name="T104" fmla="*/ 50 w 102"/>
                <a:gd name="T105" fmla="*/ 4 h 155"/>
                <a:gd name="T106" fmla="*/ 49 w 102"/>
                <a:gd name="T107" fmla="*/ 4 h 155"/>
                <a:gd name="T108" fmla="*/ 50 w 102"/>
                <a:gd name="T109" fmla="*/ 7 h 155"/>
                <a:gd name="T110" fmla="*/ 47 w 102"/>
                <a:gd name="T111" fmla="*/ 11 h 155"/>
                <a:gd name="T112" fmla="*/ 45 w 102"/>
                <a:gd name="T113" fmla="*/ 5 h 155"/>
                <a:gd name="T114" fmla="*/ 50 w 102"/>
                <a:gd name="T115" fmla="*/ 3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2" h="155">
                  <a:moveTo>
                    <a:pt x="56" y="141"/>
                  </a:moveTo>
                  <a:lnTo>
                    <a:pt x="54" y="141"/>
                  </a:lnTo>
                  <a:lnTo>
                    <a:pt x="56" y="141"/>
                  </a:lnTo>
                  <a:close/>
                  <a:moveTo>
                    <a:pt x="57" y="141"/>
                  </a:moveTo>
                  <a:lnTo>
                    <a:pt x="56" y="141"/>
                  </a:lnTo>
                  <a:lnTo>
                    <a:pt x="57" y="140"/>
                  </a:lnTo>
                  <a:lnTo>
                    <a:pt x="58" y="140"/>
                  </a:lnTo>
                  <a:lnTo>
                    <a:pt x="58" y="141"/>
                  </a:lnTo>
                  <a:lnTo>
                    <a:pt x="57" y="141"/>
                  </a:lnTo>
                  <a:close/>
                  <a:moveTo>
                    <a:pt x="89" y="99"/>
                  </a:moveTo>
                  <a:lnTo>
                    <a:pt x="89" y="98"/>
                  </a:lnTo>
                  <a:lnTo>
                    <a:pt x="89" y="96"/>
                  </a:lnTo>
                  <a:lnTo>
                    <a:pt x="89" y="95"/>
                  </a:lnTo>
                  <a:lnTo>
                    <a:pt x="89" y="94"/>
                  </a:lnTo>
                  <a:lnTo>
                    <a:pt x="90" y="94"/>
                  </a:lnTo>
                  <a:lnTo>
                    <a:pt x="90" y="93"/>
                  </a:lnTo>
                  <a:lnTo>
                    <a:pt x="90" y="92"/>
                  </a:lnTo>
                  <a:lnTo>
                    <a:pt x="92" y="92"/>
                  </a:lnTo>
                  <a:lnTo>
                    <a:pt x="92" y="91"/>
                  </a:lnTo>
                  <a:lnTo>
                    <a:pt x="93" y="91"/>
                  </a:lnTo>
                  <a:lnTo>
                    <a:pt x="92" y="91"/>
                  </a:lnTo>
                  <a:lnTo>
                    <a:pt x="92" y="92"/>
                  </a:lnTo>
                  <a:lnTo>
                    <a:pt x="93" y="92"/>
                  </a:lnTo>
                  <a:lnTo>
                    <a:pt x="93" y="93"/>
                  </a:lnTo>
                  <a:lnTo>
                    <a:pt x="93" y="94"/>
                  </a:lnTo>
                  <a:lnTo>
                    <a:pt x="92" y="94"/>
                  </a:lnTo>
                  <a:lnTo>
                    <a:pt x="92" y="95"/>
                  </a:lnTo>
                  <a:lnTo>
                    <a:pt x="90" y="96"/>
                  </a:lnTo>
                  <a:lnTo>
                    <a:pt x="92" y="96"/>
                  </a:lnTo>
                  <a:lnTo>
                    <a:pt x="90" y="96"/>
                  </a:lnTo>
                  <a:lnTo>
                    <a:pt x="90" y="98"/>
                  </a:lnTo>
                  <a:lnTo>
                    <a:pt x="89" y="98"/>
                  </a:lnTo>
                  <a:lnTo>
                    <a:pt x="89" y="99"/>
                  </a:lnTo>
                  <a:close/>
                  <a:moveTo>
                    <a:pt x="53" y="26"/>
                  </a:moveTo>
                  <a:lnTo>
                    <a:pt x="56" y="30"/>
                  </a:lnTo>
                  <a:lnTo>
                    <a:pt x="57" y="31"/>
                  </a:lnTo>
                  <a:lnTo>
                    <a:pt x="58" y="33"/>
                  </a:lnTo>
                  <a:lnTo>
                    <a:pt x="59" y="33"/>
                  </a:lnTo>
                  <a:lnTo>
                    <a:pt x="59" y="35"/>
                  </a:lnTo>
                  <a:lnTo>
                    <a:pt x="60" y="36"/>
                  </a:lnTo>
                  <a:lnTo>
                    <a:pt x="61" y="37"/>
                  </a:lnTo>
                  <a:lnTo>
                    <a:pt x="64" y="38"/>
                  </a:lnTo>
                  <a:lnTo>
                    <a:pt x="64" y="39"/>
                  </a:lnTo>
                  <a:lnTo>
                    <a:pt x="66" y="39"/>
                  </a:lnTo>
                  <a:lnTo>
                    <a:pt x="68" y="40"/>
                  </a:lnTo>
                  <a:lnTo>
                    <a:pt x="70" y="40"/>
                  </a:lnTo>
                  <a:lnTo>
                    <a:pt x="71" y="42"/>
                  </a:lnTo>
                  <a:lnTo>
                    <a:pt x="72" y="42"/>
                  </a:lnTo>
                  <a:lnTo>
                    <a:pt x="73" y="42"/>
                  </a:lnTo>
                  <a:lnTo>
                    <a:pt x="74" y="43"/>
                  </a:lnTo>
                  <a:lnTo>
                    <a:pt x="75" y="42"/>
                  </a:lnTo>
                  <a:lnTo>
                    <a:pt x="77" y="42"/>
                  </a:lnTo>
                  <a:lnTo>
                    <a:pt x="77" y="43"/>
                  </a:lnTo>
                  <a:lnTo>
                    <a:pt x="78" y="43"/>
                  </a:lnTo>
                  <a:lnTo>
                    <a:pt x="79" y="43"/>
                  </a:lnTo>
                  <a:lnTo>
                    <a:pt x="79" y="44"/>
                  </a:lnTo>
                  <a:lnTo>
                    <a:pt x="80" y="44"/>
                  </a:lnTo>
                  <a:lnTo>
                    <a:pt x="81" y="44"/>
                  </a:lnTo>
                  <a:lnTo>
                    <a:pt x="82" y="44"/>
                  </a:lnTo>
                  <a:lnTo>
                    <a:pt x="82" y="43"/>
                  </a:lnTo>
                  <a:lnTo>
                    <a:pt x="84" y="43"/>
                  </a:lnTo>
                  <a:lnTo>
                    <a:pt x="84" y="44"/>
                  </a:lnTo>
                  <a:lnTo>
                    <a:pt x="85" y="44"/>
                  </a:lnTo>
                  <a:lnTo>
                    <a:pt x="85" y="45"/>
                  </a:lnTo>
                  <a:lnTo>
                    <a:pt x="86" y="45"/>
                  </a:lnTo>
                  <a:lnTo>
                    <a:pt x="86" y="46"/>
                  </a:lnTo>
                  <a:lnTo>
                    <a:pt x="87" y="46"/>
                  </a:lnTo>
                  <a:lnTo>
                    <a:pt x="87" y="47"/>
                  </a:lnTo>
                  <a:lnTo>
                    <a:pt x="88" y="49"/>
                  </a:lnTo>
                  <a:lnTo>
                    <a:pt x="89" y="50"/>
                  </a:lnTo>
                  <a:lnTo>
                    <a:pt x="89" y="51"/>
                  </a:lnTo>
                  <a:lnTo>
                    <a:pt x="90" y="52"/>
                  </a:lnTo>
                  <a:lnTo>
                    <a:pt x="90" y="53"/>
                  </a:lnTo>
                  <a:lnTo>
                    <a:pt x="92" y="53"/>
                  </a:lnTo>
                  <a:lnTo>
                    <a:pt x="93" y="53"/>
                  </a:lnTo>
                  <a:lnTo>
                    <a:pt x="93" y="54"/>
                  </a:lnTo>
                  <a:lnTo>
                    <a:pt x="94" y="54"/>
                  </a:lnTo>
                  <a:lnTo>
                    <a:pt x="94" y="57"/>
                  </a:lnTo>
                  <a:lnTo>
                    <a:pt x="95" y="57"/>
                  </a:lnTo>
                  <a:lnTo>
                    <a:pt x="95" y="58"/>
                  </a:lnTo>
                  <a:lnTo>
                    <a:pt x="96" y="58"/>
                  </a:lnTo>
                  <a:lnTo>
                    <a:pt x="96" y="59"/>
                  </a:lnTo>
                  <a:lnTo>
                    <a:pt x="97" y="59"/>
                  </a:lnTo>
                  <a:lnTo>
                    <a:pt x="97" y="60"/>
                  </a:lnTo>
                  <a:lnTo>
                    <a:pt x="99" y="60"/>
                  </a:lnTo>
                  <a:lnTo>
                    <a:pt x="100" y="60"/>
                  </a:lnTo>
                  <a:lnTo>
                    <a:pt x="100" y="61"/>
                  </a:lnTo>
                  <a:lnTo>
                    <a:pt x="101" y="60"/>
                  </a:lnTo>
                  <a:lnTo>
                    <a:pt x="101" y="61"/>
                  </a:lnTo>
                  <a:lnTo>
                    <a:pt x="102" y="61"/>
                  </a:lnTo>
                  <a:lnTo>
                    <a:pt x="102" y="63"/>
                  </a:lnTo>
                  <a:lnTo>
                    <a:pt x="102" y="65"/>
                  </a:lnTo>
                  <a:lnTo>
                    <a:pt x="102" y="66"/>
                  </a:lnTo>
                  <a:lnTo>
                    <a:pt x="101" y="67"/>
                  </a:lnTo>
                  <a:lnTo>
                    <a:pt x="101" y="68"/>
                  </a:lnTo>
                  <a:lnTo>
                    <a:pt x="101" y="70"/>
                  </a:lnTo>
                  <a:lnTo>
                    <a:pt x="101" y="71"/>
                  </a:lnTo>
                  <a:lnTo>
                    <a:pt x="100" y="71"/>
                  </a:lnTo>
                  <a:lnTo>
                    <a:pt x="100" y="72"/>
                  </a:lnTo>
                  <a:lnTo>
                    <a:pt x="99" y="73"/>
                  </a:lnTo>
                  <a:lnTo>
                    <a:pt x="99" y="74"/>
                  </a:lnTo>
                  <a:lnTo>
                    <a:pt x="99" y="75"/>
                  </a:lnTo>
                  <a:lnTo>
                    <a:pt x="97" y="78"/>
                  </a:lnTo>
                  <a:lnTo>
                    <a:pt x="95" y="79"/>
                  </a:lnTo>
                  <a:lnTo>
                    <a:pt x="95" y="80"/>
                  </a:lnTo>
                  <a:lnTo>
                    <a:pt x="93" y="81"/>
                  </a:lnTo>
                  <a:lnTo>
                    <a:pt x="92" y="82"/>
                  </a:lnTo>
                  <a:lnTo>
                    <a:pt x="92" y="84"/>
                  </a:lnTo>
                  <a:lnTo>
                    <a:pt x="90" y="84"/>
                  </a:lnTo>
                  <a:lnTo>
                    <a:pt x="90" y="85"/>
                  </a:lnTo>
                  <a:lnTo>
                    <a:pt x="90" y="86"/>
                  </a:lnTo>
                  <a:lnTo>
                    <a:pt x="89" y="87"/>
                  </a:lnTo>
                  <a:lnTo>
                    <a:pt x="89" y="88"/>
                  </a:lnTo>
                  <a:lnTo>
                    <a:pt x="88" y="88"/>
                  </a:lnTo>
                  <a:lnTo>
                    <a:pt x="88" y="89"/>
                  </a:lnTo>
                  <a:lnTo>
                    <a:pt x="89" y="89"/>
                  </a:lnTo>
                  <a:lnTo>
                    <a:pt x="89" y="88"/>
                  </a:lnTo>
                  <a:lnTo>
                    <a:pt x="89" y="89"/>
                  </a:lnTo>
                  <a:lnTo>
                    <a:pt x="88" y="89"/>
                  </a:lnTo>
                  <a:lnTo>
                    <a:pt x="88" y="91"/>
                  </a:lnTo>
                  <a:lnTo>
                    <a:pt x="88" y="92"/>
                  </a:lnTo>
                  <a:lnTo>
                    <a:pt x="87" y="93"/>
                  </a:lnTo>
                  <a:lnTo>
                    <a:pt x="87" y="94"/>
                  </a:lnTo>
                  <a:lnTo>
                    <a:pt x="87" y="95"/>
                  </a:lnTo>
                  <a:lnTo>
                    <a:pt x="86" y="95"/>
                  </a:lnTo>
                  <a:lnTo>
                    <a:pt x="85" y="95"/>
                  </a:lnTo>
                  <a:lnTo>
                    <a:pt x="84" y="95"/>
                  </a:lnTo>
                  <a:lnTo>
                    <a:pt x="82" y="95"/>
                  </a:lnTo>
                  <a:lnTo>
                    <a:pt x="82" y="94"/>
                  </a:lnTo>
                  <a:lnTo>
                    <a:pt x="84" y="94"/>
                  </a:lnTo>
                  <a:lnTo>
                    <a:pt x="84" y="93"/>
                  </a:lnTo>
                  <a:lnTo>
                    <a:pt x="84" y="92"/>
                  </a:lnTo>
                  <a:lnTo>
                    <a:pt x="82" y="92"/>
                  </a:lnTo>
                  <a:lnTo>
                    <a:pt x="81" y="92"/>
                  </a:lnTo>
                  <a:lnTo>
                    <a:pt x="81" y="93"/>
                  </a:lnTo>
                  <a:lnTo>
                    <a:pt x="81" y="94"/>
                  </a:lnTo>
                  <a:lnTo>
                    <a:pt x="80" y="94"/>
                  </a:lnTo>
                  <a:lnTo>
                    <a:pt x="80" y="95"/>
                  </a:lnTo>
                  <a:lnTo>
                    <a:pt x="80" y="96"/>
                  </a:lnTo>
                  <a:lnTo>
                    <a:pt x="79" y="96"/>
                  </a:lnTo>
                  <a:lnTo>
                    <a:pt x="79" y="98"/>
                  </a:lnTo>
                  <a:lnTo>
                    <a:pt x="78" y="98"/>
                  </a:lnTo>
                  <a:lnTo>
                    <a:pt x="78" y="99"/>
                  </a:lnTo>
                  <a:lnTo>
                    <a:pt x="79" y="99"/>
                  </a:lnTo>
                  <a:lnTo>
                    <a:pt x="78" y="100"/>
                  </a:lnTo>
                  <a:lnTo>
                    <a:pt x="78" y="101"/>
                  </a:lnTo>
                  <a:lnTo>
                    <a:pt x="78" y="102"/>
                  </a:lnTo>
                  <a:lnTo>
                    <a:pt x="78" y="103"/>
                  </a:lnTo>
                  <a:lnTo>
                    <a:pt x="77" y="105"/>
                  </a:lnTo>
                  <a:lnTo>
                    <a:pt x="77" y="106"/>
                  </a:lnTo>
                  <a:lnTo>
                    <a:pt x="78" y="106"/>
                  </a:lnTo>
                  <a:lnTo>
                    <a:pt x="78" y="107"/>
                  </a:lnTo>
                  <a:lnTo>
                    <a:pt x="78" y="108"/>
                  </a:lnTo>
                  <a:lnTo>
                    <a:pt x="78" y="109"/>
                  </a:lnTo>
                  <a:lnTo>
                    <a:pt x="79" y="110"/>
                  </a:lnTo>
                  <a:lnTo>
                    <a:pt x="79" y="112"/>
                  </a:lnTo>
                  <a:lnTo>
                    <a:pt x="78" y="112"/>
                  </a:lnTo>
                  <a:lnTo>
                    <a:pt x="78" y="113"/>
                  </a:lnTo>
                  <a:lnTo>
                    <a:pt x="79" y="113"/>
                  </a:lnTo>
                  <a:lnTo>
                    <a:pt x="79" y="114"/>
                  </a:lnTo>
                  <a:lnTo>
                    <a:pt x="79" y="115"/>
                  </a:lnTo>
                  <a:lnTo>
                    <a:pt x="80" y="116"/>
                  </a:lnTo>
                  <a:lnTo>
                    <a:pt x="80" y="117"/>
                  </a:lnTo>
                  <a:lnTo>
                    <a:pt x="79" y="117"/>
                  </a:lnTo>
                  <a:lnTo>
                    <a:pt x="78" y="117"/>
                  </a:lnTo>
                  <a:lnTo>
                    <a:pt x="75" y="117"/>
                  </a:lnTo>
                  <a:lnTo>
                    <a:pt x="74" y="117"/>
                  </a:lnTo>
                  <a:lnTo>
                    <a:pt x="72" y="119"/>
                  </a:lnTo>
                  <a:lnTo>
                    <a:pt x="70" y="119"/>
                  </a:lnTo>
                  <a:lnTo>
                    <a:pt x="67" y="120"/>
                  </a:lnTo>
                  <a:lnTo>
                    <a:pt x="66" y="121"/>
                  </a:lnTo>
                  <a:lnTo>
                    <a:pt x="66" y="122"/>
                  </a:lnTo>
                  <a:lnTo>
                    <a:pt x="64" y="123"/>
                  </a:lnTo>
                  <a:lnTo>
                    <a:pt x="64" y="124"/>
                  </a:lnTo>
                  <a:lnTo>
                    <a:pt x="64" y="126"/>
                  </a:lnTo>
                  <a:lnTo>
                    <a:pt x="64" y="127"/>
                  </a:lnTo>
                  <a:lnTo>
                    <a:pt x="64" y="128"/>
                  </a:lnTo>
                  <a:lnTo>
                    <a:pt x="64" y="130"/>
                  </a:lnTo>
                  <a:lnTo>
                    <a:pt x="63" y="131"/>
                  </a:lnTo>
                  <a:lnTo>
                    <a:pt x="61" y="133"/>
                  </a:lnTo>
                  <a:lnTo>
                    <a:pt x="61" y="134"/>
                  </a:lnTo>
                  <a:lnTo>
                    <a:pt x="60" y="134"/>
                  </a:lnTo>
                  <a:lnTo>
                    <a:pt x="59" y="134"/>
                  </a:lnTo>
                  <a:lnTo>
                    <a:pt x="58" y="134"/>
                  </a:lnTo>
                  <a:lnTo>
                    <a:pt x="57" y="134"/>
                  </a:lnTo>
                  <a:lnTo>
                    <a:pt x="56" y="134"/>
                  </a:lnTo>
                  <a:lnTo>
                    <a:pt x="54" y="134"/>
                  </a:lnTo>
                  <a:lnTo>
                    <a:pt x="51" y="135"/>
                  </a:lnTo>
                  <a:lnTo>
                    <a:pt x="50" y="135"/>
                  </a:lnTo>
                  <a:lnTo>
                    <a:pt x="49" y="135"/>
                  </a:lnTo>
                  <a:lnTo>
                    <a:pt x="49" y="136"/>
                  </a:lnTo>
                  <a:lnTo>
                    <a:pt x="47" y="136"/>
                  </a:lnTo>
                  <a:lnTo>
                    <a:pt x="47" y="137"/>
                  </a:lnTo>
                  <a:lnTo>
                    <a:pt x="46" y="138"/>
                  </a:lnTo>
                  <a:lnTo>
                    <a:pt x="46" y="140"/>
                  </a:lnTo>
                  <a:lnTo>
                    <a:pt x="46" y="141"/>
                  </a:lnTo>
                  <a:lnTo>
                    <a:pt x="47" y="142"/>
                  </a:lnTo>
                  <a:lnTo>
                    <a:pt x="47" y="143"/>
                  </a:lnTo>
                  <a:lnTo>
                    <a:pt x="46" y="144"/>
                  </a:lnTo>
                  <a:lnTo>
                    <a:pt x="46" y="145"/>
                  </a:lnTo>
                  <a:lnTo>
                    <a:pt x="46" y="147"/>
                  </a:lnTo>
                  <a:lnTo>
                    <a:pt x="45" y="147"/>
                  </a:lnTo>
                  <a:lnTo>
                    <a:pt x="45" y="148"/>
                  </a:lnTo>
                  <a:lnTo>
                    <a:pt x="44" y="148"/>
                  </a:lnTo>
                  <a:lnTo>
                    <a:pt x="44" y="149"/>
                  </a:lnTo>
                  <a:lnTo>
                    <a:pt x="44" y="148"/>
                  </a:lnTo>
                  <a:lnTo>
                    <a:pt x="43" y="148"/>
                  </a:lnTo>
                  <a:lnTo>
                    <a:pt x="43" y="149"/>
                  </a:lnTo>
                  <a:lnTo>
                    <a:pt x="42" y="149"/>
                  </a:lnTo>
                  <a:lnTo>
                    <a:pt x="40" y="149"/>
                  </a:lnTo>
                  <a:lnTo>
                    <a:pt x="39" y="149"/>
                  </a:lnTo>
                  <a:lnTo>
                    <a:pt x="39" y="148"/>
                  </a:lnTo>
                  <a:lnTo>
                    <a:pt x="38" y="148"/>
                  </a:lnTo>
                  <a:lnTo>
                    <a:pt x="37" y="148"/>
                  </a:lnTo>
                  <a:lnTo>
                    <a:pt x="36" y="148"/>
                  </a:lnTo>
                  <a:lnTo>
                    <a:pt x="35" y="148"/>
                  </a:lnTo>
                  <a:lnTo>
                    <a:pt x="32" y="149"/>
                  </a:lnTo>
                  <a:lnTo>
                    <a:pt x="31" y="149"/>
                  </a:lnTo>
                  <a:lnTo>
                    <a:pt x="30" y="149"/>
                  </a:lnTo>
                  <a:lnTo>
                    <a:pt x="30" y="150"/>
                  </a:lnTo>
                  <a:lnTo>
                    <a:pt x="29" y="150"/>
                  </a:lnTo>
                  <a:lnTo>
                    <a:pt x="28" y="150"/>
                  </a:lnTo>
                  <a:lnTo>
                    <a:pt x="26" y="150"/>
                  </a:lnTo>
                  <a:lnTo>
                    <a:pt x="26" y="151"/>
                  </a:lnTo>
                  <a:lnTo>
                    <a:pt x="26" y="150"/>
                  </a:lnTo>
                  <a:lnTo>
                    <a:pt x="26" y="151"/>
                  </a:lnTo>
                  <a:lnTo>
                    <a:pt x="25" y="151"/>
                  </a:lnTo>
                  <a:lnTo>
                    <a:pt x="25" y="152"/>
                  </a:lnTo>
                  <a:lnTo>
                    <a:pt x="24" y="152"/>
                  </a:lnTo>
                  <a:lnTo>
                    <a:pt x="22" y="152"/>
                  </a:lnTo>
                  <a:lnTo>
                    <a:pt x="21" y="152"/>
                  </a:lnTo>
                  <a:lnTo>
                    <a:pt x="18" y="154"/>
                  </a:lnTo>
                  <a:lnTo>
                    <a:pt x="17" y="155"/>
                  </a:lnTo>
                  <a:lnTo>
                    <a:pt x="16" y="152"/>
                  </a:lnTo>
                  <a:lnTo>
                    <a:pt x="16" y="150"/>
                  </a:lnTo>
                  <a:lnTo>
                    <a:pt x="15" y="148"/>
                  </a:lnTo>
                  <a:lnTo>
                    <a:pt x="14" y="145"/>
                  </a:lnTo>
                  <a:lnTo>
                    <a:pt x="13" y="144"/>
                  </a:lnTo>
                  <a:lnTo>
                    <a:pt x="11" y="144"/>
                  </a:lnTo>
                  <a:lnTo>
                    <a:pt x="11" y="143"/>
                  </a:lnTo>
                  <a:lnTo>
                    <a:pt x="10" y="141"/>
                  </a:lnTo>
                  <a:lnTo>
                    <a:pt x="10" y="140"/>
                  </a:lnTo>
                  <a:lnTo>
                    <a:pt x="9" y="138"/>
                  </a:lnTo>
                  <a:lnTo>
                    <a:pt x="9" y="136"/>
                  </a:lnTo>
                  <a:lnTo>
                    <a:pt x="8" y="135"/>
                  </a:lnTo>
                  <a:lnTo>
                    <a:pt x="7" y="134"/>
                  </a:lnTo>
                  <a:lnTo>
                    <a:pt x="7" y="131"/>
                  </a:lnTo>
                  <a:lnTo>
                    <a:pt x="6" y="130"/>
                  </a:lnTo>
                  <a:lnTo>
                    <a:pt x="6" y="129"/>
                  </a:lnTo>
                  <a:lnTo>
                    <a:pt x="4" y="128"/>
                  </a:lnTo>
                  <a:lnTo>
                    <a:pt x="3" y="126"/>
                  </a:lnTo>
                  <a:lnTo>
                    <a:pt x="3" y="124"/>
                  </a:lnTo>
                  <a:lnTo>
                    <a:pt x="2" y="123"/>
                  </a:lnTo>
                  <a:lnTo>
                    <a:pt x="1" y="121"/>
                  </a:lnTo>
                  <a:lnTo>
                    <a:pt x="1" y="120"/>
                  </a:lnTo>
                  <a:lnTo>
                    <a:pt x="0" y="119"/>
                  </a:lnTo>
                  <a:lnTo>
                    <a:pt x="0" y="117"/>
                  </a:lnTo>
                  <a:lnTo>
                    <a:pt x="1" y="116"/>
                  </a:lnTo>
                  <a:lnTo>
                    <a:pt x="3" y="115"/>
                  </a:lnTo>
                  <a:lnTo>
                    <a:pt x="6" y="115"/>
                  </a:lnTo>
                  <a:lnTo>
                    <a:pt x="8" y="114"/>
                  </a:lnTo>
                  <a:lnTo>
                    <a:pt x="10" y="113"/>
                  </a:lnTo>
                  <a:lnTo>
                    <a:pt x="13" y="112"/>
                  </a:lnTo>
                  <a:lnTo>
                    <a:pt x="15" y="110"/>
                  </a:lnTo>
                  <a:lnTo>
                    <a:pt x="17" y="110"/>
                  </a:lnTo>
                  <a:lnTo>
                    <a:pt x="20" y="109"/>
                  </a:lnTo>
                  <a:lnTo>
                    <a:pt x="22" y="108"/>
                  </a:lnTo>
                  <a:lnTo>
                    <a:pt x="24" y="107"/>
                  </a:lnTo>
                  <a:lnTo>
                    <a:pt x="26" y="107"/>
                  </a:lnTo>
                  <a:lnTo>
                    <a:pt x="28" y="106"/>
                  </a:lnTo>
                  <a:lnTo>
                    <a:pt x="30" y="105"/>
                  </a:lnTo>
                  <a:lnTo>
                    <a:pt x="32" y="103"/>
                  </a:lnTo>
                  <a:lnTo>
                    <a:pt x="35" y="103"/>
                  </a:lnTo>
                  <a:lnTo>
                    <a:pt x="37" y="102"/>
                  </a:lnTo>
                  <a:lnTo>
                    <a:pt x="39" y="101"/>
                  </a:lnTo>
                  <a:lnTo>
                    <a:pt x="39" y="100"/>
                  </a:lnTo>
                  <a:lnTo>
                    <a:pt x="39" y="99"/>
                  </a:lnTo>
                  <a:lnTo>
                    <a:pt x="40" y="98"/>
                  </a:lnTo>
                  <a:lnTo>
                    <a:pt x="40" y="95"/>
                  </a:lnTo>
                  <a:lnTo>
                    <a:pt x="40" y="93"/>
                  </a:lnTo>
                  <a:lnTo>
                    <a:pt x="42" y="91"/>
                  </a:lnTo>
                  <a:lnTo>
                    <a:pt x="42" y="88"/>
                  </a:lnTo>
                  <a:lnTo>
                    <a:pt x="43" y="86"/>
                  </a:lnTo>
                  <a:lnTo>
                    <a:pt x="43" y="84"/>
                  </a:lnTo>
                  <a:lnTo>
                    <a:pt x="44" y="80"/>
                  </a:lnTo>
                  <a:lnTo>
                    <a:pt x="44" y="78"/>
                  </a:lnTo>
                  <a:lnTo>
                    <a:pt x="44" y="77"/>
                  </a:lnTo>
                  <a:lnTo>
                    <a:pt x="45" y="74"/>
                  </a:lnTo>
                  <a:lnTo>
                    <a:pt x="45" y="73"/>
                  </a:lnTo>
                  <a:lnTo>
                    <a:pt x="45" y="72"/>
                  </a:lnTo>
                  <a:lnTo>
                    <a:pt x="45" y="70"/>
                  </a:lnTo>
                  <a:lnTo>
                    <a:pt x="45" y="67"/>
                  </a:lnTo>
                  <a:lnTo>
                    <a:pt x="43" y="66"/>
                  </a:lnTo>
                  <a:lnTo>
                    <a:pt x="42" y="64"/>
                  </a:lnTo>
                  <a:lnTo>
                    <a:pt x="40" y="61"/>
                  </a:lnTo>
                  <a:lnTo>
                    <a:pt x="39" y="60"/>
                  </a:lnTo>
                  <a:lnTo>
                    <a:pt x="38" y="58"/>
                  </a:lnTo>
                  <a:lnTo>
                    <a:pt x="38" y="56"/>
                  </a:lnTo>
                  <a:lnTo>
                    <a:pt x="38" y="53"/>
                  </a:lnTo>
                  <a:lnTo>
                    <a:pt x="38" y="52"/>
                  </a:lnTo>
                  <a:lnTo>
                    <a:pt x="39" y="50"/>
                  </a:lnTo>
                  <a:lnTo>
                    <a:pt x="39" y="49"/>
                  </a:lnTo>
                  <a:lnTo>
                    <a:pt x="39" y="46"/>
                  </a:lnTo>
                  <a:lnTo>
                    <a:pt x="40" y="46"/>
                  </a:lnTo>
                  <a:lnTo>
                    <a:pt x="40" y="45"/>
                  </a:lnTo>
                  <a:lnTo>
                    <a:pt x="40" y="43"/>
                  </a:lnTo>
                  <a:lnTo>
                    <a:pt x="42" y="43"/>
                  </a:lnTo>
                  <a:lnTo>
                    <a:pt x="42" y="42"/>
                  </a:lnTo>
                  <a:lnTo>
                    <a:pt x="42" y="40"/>
                  </a:lnTo>
                  <a:lnTo>
                    <a:pt x="42" y="39"/>
                  </a:lnTo>
                  <a:lnTo>
                    <a:pt x="40" y="39"/>
                  </a:lnTo>
                  <a:lnTo>
                    <a:pt x="40" y="38"/>
                  </a:lnTo>
                  <a:lnTo>
                    <a:pt x="42" y="38"/>
                  </a:lnTo>
                  <a:lnTo>
                    <a:pt x="43" y="37"/>
                  </a:lnTo>
                  <a:lnTo>
                    <a:pt x="44" y="37"/>
                  </a:lnTo>
                  <a:lnTo>
                    <a:pt x="45" y="38"/>
                  </a:lnTo>
                  <a:lnTo>
                    <a:pt x="46" y="37"/>
                  </a:lnTo>
                  <a:lnTo>
                    <a:pt x="47" y="37"/>
                  </a:lnTo>
                  <a:lnTo>
                    <a:pt x="47" y="36"/>
                  </a:lnTo>
                  <a:lnTo>
                    <a:pt x="46" y="35"/>
                  </a:lnTo>
                  <a:lnTo>
                    <a:pt x="45" y="35"/>
                  </a:lnTo>
                  <a:lnTo>
                    <a:pt x="44" y="35"/>
                  </a:lnTo>
                  <a:lnTo>
                    <a:pt x="44" y="33"/>
                  </a:lnTo>
                  <a:lnTo>
                    <a:pt x="44" y="32"/>
                  </a:lnTo>
                  <a:lnTo>
                    <a:pt x="44" y="31"/>
                  </a:lnTo>
                  <a:lnTo>
                    <a:pt x="44" y="30"/>
                  </a:lnTo>
                  <a:lnTo>
                    <a:pt x="44" y="29"/>
                  </a:lnTo>
                  <a:lnTo>
                    <a:pt x="44" y="28"/>
                  </a:lnTo>
                  <a:lnTo>
                    <a:pt x="44" y="26"/>
                  </a:lnTo>
                  <a:lnTo>
                    <a:pt x="44" y="25"/>
                  </a:lnTo>
                  <a:lnTo>
                    <a:pt x="44" y="24"/>
                  </a:lnTo>
                  <a:lnTo>
                    <a:pt x="44" y="23"/>
                  </a:lnTo>
                  <a:lnTo>
                    <a:pt x="45" y="23"/>
                  </a:lnTo>
                  <a:lnTo>
                    <a:pt x="45" y="22"/>
                  </a:lnTo>
                  <a:lnTo>
                    <a:pt x="46" y="23"/>
                  </a:lnTo>
                  <a:lnTo>
                    <a:pt x="46" y="24"/>
                  </a:lnTo>
                  <a:lnTo>
                    <a:pt x="46" y="25"/>
                  </a:lnTo>
                  <a:lnTo>
                    <a:pt x="47" y="25"/>
                  </a:lnTo>
                  <a:lnTo>
                    <a:pt x="47" y="26"/>
                  </a:lnTo>
                  <a:lnTo>
                    <a:pt x="49" y="26"/>
                  </a:lnTo>
                  <a:lnTo>
                    <a:pt x="49" y="25"/>
                  </a:lnTo>
                  <a:lnTo>
                    <a:pt x="49" y="24"/>
                  </a:lnTo>
                  <a:lnTo>
                    <a:pt x="50" y="24"/>
                  </a:lnTo>
                  <a:lnTo>
                    <a:pt x="51" y="24"/>
                  </a:lnTo>
                  <a:lnTo>
                    <a:pt x="51" y="23"/>
                  </a:lnTo>
                  <a:lnTo>
                    <a:pt x="51" y="22"/>
                  </a:lnTo>
                  <a:lnTo>
                    <a:pt x="52" y="24"/>
                  </a:lnTo>
                  <a:lnTo>
                    <a:pt x="53" y="25"/>
                  </a:lnTo>
                  <a:lnTo>
                    <a:pt x="53" y="26"/>
                  </a:lnTo>
                  <a:close/>
                  <a:moveTo>
                    <a:pt x="50" y="17"/>
                  </a:moveTo>
                  <a:lnTo>
                    <a:pt x="50" y="18"/>
                  </a:lnTo>
                  <a:lnTo>
                    <a:pt x="49" y="18"/>
                  </a:lnTo>
                  <a:lnTo>
                    <a:pt x="49" y="17"/>
                  </a:lnTo>
                  <a:lnTo>
                    <a:pt x="50" y="17"/>
                  </a:lnTo>
                  <a:close/>
                  <a:moveTo>
                    <a:pt x="49" y="17"/>
                  </a:moveTo>
                  <a:lnTo>
                    <a:pt x="50" y="18"/>
                  </a:lnTo>
                  <a:lnTo>
                    <a:pt x="50" y="17"/>
                  </a:lnTo>
                  <a:lnTo>
                    <a:pt x="49" y="17"/>
                  </a:lnTo>
                  <a:close/>
                  <a:moveTo>
                    <a:pt x="49" y="0"/>
                  </a:moveTo>
                  <a:lnTo>
                    <a:pt x="49" y="1"/>
                  </a:lnTo>
                  <a:lnTo>
                    <a:pt x="50" y="1"/>
                  </a:lnTo>
                  <a:lnTo>
                    <a:pt x="51" y="1"/>
                  </a:lnTo>
                  <a:lnTo>
                    <a:pt x="50" y="1"/>
                  </a:lnTo>
                  <a:lnTo>
                    <a:pt x="50" y="2"/>
                  </a:lnTo>
                  <a:lnTo>
                    <a:pt x="49" y="2"/>
                  </a:lnTo>
                  <a:lnTo>
                    <a:pt x="50" y="2"/>
                  </a:lnTo>
                  <a:lnTo>
                    <a:pt x="51" y="2"/>
                  </a:lnTo>
                  <a:lnTo>
                    <a:pt x="50" y="3"/>
                  </a:lnTo>
                  <a:lnTo>
                    <a:pt x="51" y="3"/>
                  </a:lnTo>
                  <a:lnTo>
                    <a:pt x="51" y="4"/>
                  </a:lnTo>
                  <a:lnTo>
                    <a:pt x="50" y="4"/>
                  </a:lnTo>
                  <a:lnTo>
                    <a:pt x="50" y="3"/>
                  </a:lnTo>
                  <a:lnTo>
                    <a:pt x="50" y="4"/>
                  </a:lnTo>
                  <a:lnTo>
                    <a:pt x="50" y="3"/>
                  </a:lnTo>
                  <a:lnTo>
                    <a:pt x="49" y="3"/>
                  </a:lnTo>
                  <a:lnTo>
                    <a:pt x="50" y="3"/>
                  </a:lnTo>
                  <a:lnTo>
                    <a:pt x="49" y="3"/>
                  </a:lnTo>
                  <a:lnTo>
                    <a:pt x="49" y="4"/>
                  </a:lnTo>
                  <a:lnTo>
                    <a:pt x="50" y="4"/>
                  </a:lnTo>
                  <a:lnTo>
                    <a:pt x="51" y="4"/>
                  </a:lnTo>
                  <a:lnTo>
                    <a:pt x="50" y="5"/>
                  </a:lnTo>
                  <a:lnTo>
                    <a:pt x="50" y="7"/>
                  </a:lnTo>
                  <a:lnTo>
                    <a:pt x="51" y="7"/>
                  </a:lnTo>
                  <a:lnTo>
                    <a:pt x="51" y="8"/>
                  </a:lnTo>
                  <a:lnTo>
                    <a:pt x="50" y="7"/>
                  </a:lnTo>
                  <a:lnTo>
                    <a:pt x="50" y="8"/>
                  </a:lnTo>
                  <a:lnTo>
                    <a:pt x="50" y="9"/>
                  </a:lnTo>
                  <a:lnTo>
                    <a:pt x="49" y="10"/>
                  </a:lnTo>
                  <a:lnTo>
                    <a:pt x="49" y="11"/>
                  </a:lnTo>
                  <a:lnTo>
                    <a:pt x="49" y="12"/>
                  </a:lnTo>
                  <a:lnTo>
                    <a:pt x="47" y="12"/>
                  </a:lnTo>
                  <a:lnTo>
                    <a:pt x="47" y="11"/>
                  </a:lnTo>
                  <a:lnTo>
                    <a:pt x="46" y="10"/>
                  </a:lnTo>
                  <a:lnTo>
                    <a:pt x="47" y="10"/>
                  </a:lnTo>
                  <a:lnTo>
                    <a:pt x="46" y="9"/>
                  </a:lnTo>
                  <a:lnTo>
                    <a:pt x="46" y="8"/>
                  </a:lnTo>
                  <a:lnTo>
                    <a:pt x="46" y="7"/>
                  </a:lnTo>
                  <a:lnTo>
                    <a:pt x="46" y="5"/>
                  </a:lnTo>
                  <a:lnTo>
                    <a:pt x="45" y="5"/>
                  </a:lnTo>
                  <a:lnTo>
                    <a:pt x="45" y="4"/>
                  </a:lnTo>
                  <a:lnTo>
                    <a:pt x="46" y="3"/>
                  </a:lnTo>
                  <a:lnTo>
                    <a:pt x="46" y="2"/>
                  </a:lnTo>
                  <a:lnTo>
                    <a:pt x="46" y="3"/>
                  </a:lnTo>
                  <a:lnTo>
                    <a:pt x="47" y="3"/>
                  </a:lnTo>
                  <a:lnTo>
                    <a:pt x="49" y="3"/>
                  </a:lnTo>
                  <a:lnTo>
                    <a:pt x="50" y="3"/>
                  </a:lnTo>
                  <a:lnTo>
                    <a:pt x="50" y="2"/>
                  </a:lnTo>
                  <a:lnTo>
                    <a:pt x="49" y="2"/>
                  </a:lnTo>
                  <a:lnTo>
                    <a:pt x="49" y="3"/>
                  </a:lnTo>
                  <a:lnTo>
                    <a:pt x="49" y="2"/>
                  </a:lnTo>
                  <a:lnTo>
                    <a:pt x="49" y="1"/>
                  </a:lnTo>
                  <a:lnTo>
                    <a:pt x="49"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11" name="Freeform 969">
              <a:extLst>
                <a:ext uri="{FF2B5EF4-FFF2-40B4-BE49-F238E27FC236}">
                  <a16:creationId xmlns:a16="http://schemas.microsoft.com/office/drawing/2014/main" id="{621575A0-4D82-4149-8B0D-84D251D5AA1F}"/>
                </a:ext>
              </a:extLst>
            </p:cNvPr>
            <p:cNvSpPr>
              <a:spLocks noEditPoints="1"/>
            </p:cNvSpPr>
            <p:nvPr/>
          </p:nvSpPr>
          <p:spPr bwMode="auto">
            <a:xfrm>
              <a:off x="6894851" y="2565932"/>
              <a:ext cx="264427" cy="281788"/>
            </a:xfrm>
            <a:custGeom>
              <a:avLst/>
              <a:gdLst>
                <a:gd name="T0" fmla="*/ 168 w 198"/>
                <a:gd name="T1" fmla="*/ 1 h 211"/>
                <a:gd name="T2" fmla="*/ 179 w 198"/>
                <a:gd name="T3" fmla="*/ 13 h 211"/>
                <a:gd name="T4" fmla="*/ 185 w 198"/>
                <a:gd name="T5" fmla="*/ 20 h 211"/>
                <a:gd name="T6" fmla="*/ 197 w 198"/>
                <a:gd name="T7" fmla="*/ 32 h 211"/>
                <a:gd name="T8" fmla="*/ 183 w 198"/>
                <a:gd name="T9" fmla="*/ 39 h 211"/>
                <a:gd name="T10" fmla="*/ 158 w 198"/>
                <a:gd name="T11" fmla="*/ 37 h 211"/>
                <a:gd name="T12" fmla="*/ 161 w 198"/>
                <a:gd name="T13" fmla="*/ 48 h 211"/>
                <a:gd name="T14" fmla="*/ 166 w 198"/>
                <a:gd name="T15" fmla="*/ 57 h 211"/>
                <a:gd name="T16" fmla="*/ 172 w 198"/>
                <a:gd name="T17" fmla="*/ 67 h 211"/>
                <a:gd name="T18" fmla="*/ 183 w 198"/>
                <a:gd name="T19" fmla="*/ 73 h 211"/>
                <a:gd name="T20" fmla="*/ 178 w 198"/>
                <a:gd name="T21" fmla="*/ 80 h 211"/>
                <a:gd name="T22" fmla="*/ 180 w 198"/>
                <a:gd name="T23" fmla="*/ 95 h 211"/>
                <a:gd name="T24" fmla="*/ 173 w 198"/>
                <a:gd name="T25" fmla="*/ 106 h 211"/>
                <a:gd name="T26" fmla="*/ 164 w 198"/>
                <a:gd name="T27" fmla="*/ 127 h 211"/>
                <a:gd name="T28" fmla="*/ 149 w 198"/>
                <a:gd name="T29" fmla="*/ 144 h 211"/>
                <a:gd name="T30" fmla="*/ 131 w 198"/>
                <a:gd name="T31" fmla="*/ 143 h 211"/>
                <a:gd name="T32" fmla="*/ 127 w 198"/>
                <a:gd name="T33" fmla="*/ 164 h 211"/>
                <a:gd name="T34" fmla="*/ 135 w 198"/>
                <a:gd name="T35" fmla="*/ 177 h 211"/>
                <a:gd name="T36" fmla="*/ 145 w 198"/>
                <a:gd name="T37" fmla="*/ 187 h 211"/>
                <a:gd name="T38" fmla="*/ 149 w 198"/>
                <a:gd name="T39" fmla="*/ 200 h 211"/>
                <a:gd name="T40" fmla="*/ 136 w 198"/>
                <a:gd name="T41" fmla="*/ 203 h 211"/>
                <a:gd name="T42" fmla="*/ 120 w 198"/>
                <a:gd name="T43" fmla="*/ 201 h 211"/>
                <a:gd name="T44" fmla="*/ 113 w 198"/>
                <a:gd name="T45" fmla="*/ 207 h 211"/>
                <a:gd name="T46" fmla="*/ 111 w 198"/>
                <a:gd name="T47" fmla="*/ 207 h 211"/>
                <a:gd name="T48" fmla="*/ 106 w 198"/>
                <a:gd name="T49" fmla="*/ 208 h 211"/>
                <a:gd name="T50" fmla="*/ 100 w 198"/>
                <a:gd name="T51" fmla="*/ 203 h 211"/>
                <a:gd name="T52" fmla="*/ 97 w 198"/>
                <a:gd name="T53" fmla="*/ 193 h 211"/>
                <a:gd name="T54" fmla="*/ 91 w 198"/>
                <a:gd name="T55" fmla="*/ 189 h 211"/>
                <a:gd name="T56" fmla="*/ 81 w 198"/>
                <a:gd name="T57" fmla="*/ 180 h 211"/>
                <a:gd name="T58" fmla="*/ 85 w 198"/>
                <a:gd name="T59" fmla="*/ 183 h 211"/>
                <a:gd name="T60" fmla="*/ 66 w 198"/>
                <a:gd name="T61" fmla="*/ 185 h 211"/>
                <a:gd name="T62" fmla="*/ 55 w 198"/>
                <a:gd name="T63" fmla="*/ 185 h 211"/>
                <a:gd name="T64" fmla="*/ 51 w 198"/>
                <a:gd name="T65" fmla="*/ 185 h 211"/>
                <a:gd name="T66" fmla="*/ 41 w 198"/>
                <a:gd name="T67" fmla="*/ 186 h 211"/>
                <a:gd name="T68" fmla="*/ 28 w 198"/>
                <a:gd name="T69" fmla="*/ 186 h 211"/>
                <a:gd name="T70" fmla="*/ 21 w 198"/>
                <a:gd name="T71" fmla="*/ 186 h 211"/>
                <a:gd name="T72" fmla="*/ 22 w 198"/>
                <a:gd name="T73" fmla="*/ 170 h 211"/>
                <a:gd name="T74" fmla="*/ 34 w 198"/>
                <a:gd name="T75" fmla="*/ 164 h 211"/>
                <a:gd name="T76" fmla="*/ 36 w 198"/>
                <a:gd name="T77" fmla="*/ 155 h 211"/>
                <a:gd name="T78" fmla="*/ 30 w 198"/>
                <a:gd name="T79" fmla="*/ 138 h 211"/>
                <a:gd name="T80" fmla="*/ 13 w 198"/>
                <a:gd name="T81" fmla="*/ 129 h 211"/>
                <a:gd name="T82" fmla="*/ 2 w 198"/>
                <a:gd name="T83" fmla="*/ 115 h 211"/>
                <a:gd name="T84" fmla="*/ 15 w 198"/>
                <a:gd name="T85" fmla="*/ 117 h 211"/>
                <a:gd name="T86" fmla="*/ 33 w 198"/>
                <a:gd name="T87" fmla="*/ 120 h 211"/>
                <a:gd name="T88" fmla="*/ 59 w 198"/>
                <a:gd name="T89" fmla="*/ 117 h 211"/>
                <a:gd name="T90" fmla="*/ 72 w 198"/>
                <a:gd name="T91" fmla="*/ 110 h 211"/>
                <a:gd name="T92" fmla="*/ 77 w 198"/>
                <a:gd name="T93" fmla="*/ 91 h 211"/>
                <a:gd name="T94" fmla="*/ 88 w 198"/>
                <a:gd name="T95" fmla="*/ 88 h 211"/>
                <a:gd name="T96" fmla="*/ 93 w 198"/>
                <a:gd name="T97" fmla="*/ 83 h 211"/>
                <a:gd name="T98" fmla="*/ 101 w 198"/>
                <a:gd name="T99" fmla="*/ 86 h 211"/>
                <a:gd name="T100" fmla="*/ 106 w 198"/>
                <a:gd name="T101" fmla="*/ 71 h 211"/>
                <a:gd name="T102" fmla="*/ 112 w 198"/>
                <a:gd name="T103" fmla="*/ 62 h 211"/>
                <a:gd name="T104" fmla="*/ 109 w 198"/>
                <a:gd name="T105" fmla="*/ 51 h 211"/>
                <a:gd name="T106" fmla="*/ 120 w 198"/>
                <a:gd name="T107" fmla="*/ 49 h 211"/>
                <a:gd name="T108" fmla="*/ 121 w 198"/>
                <a:gd name="T109" fmla="*/ 39 h 211"/>
                <a:gd name="T110" fmla="*/ 124 w 198"/>
                <a:gd name="T111" fmla="*/ 28 h 211"/>
                <a:gd name="T112" fmla="*/ 117 w 198"/>
                <a:gd name="T113" fmla="*/ 16 h 211"/>
                <a:gd name="T114" fmla="*/ 124 w 198"/>
                <a:gd name="T115" fmla="*/ 8 h 211"/>
                <a:gd name="T116" fmla="*/ 136 w 198"/>
                <a:gd name="T117" fmla="*/ 2 h 211"/>
                <a:gd name="T118" fmla="*/ 151 w 198"/>
                <a:gd name="T119" fmla="*/ 3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8" h="211">
                  <a:moveTo>
                    <a:pt x="102" y="205"/>
                  </a:moveTo>
                  <a:lnTo>
                    <a:pt x="102" y="206"/>
                  </a:lnTo>
                  <a:lnTo>
                    <a:pt x="101" y="206"/>
                  </a:lnTo>
                  <a:lnTo>
                    <a:pt x="101" y="205"/>
                  </a:lnTo>
                  <a:lnTo>
                    <a:pt x="102" y="205"/>
                  </a:lnTo>
                  <a:close/>
                  <a:moveTo>
                    <a:pt x="161" y="0"/>
                  </a:moveTo>
                  <a:lnTo>
                    <a:pt x="161" y="1"/>
                  </a:lnTo>
                  <a:lnTo>
                    <a:pt x="162" y="1"/>
                  </a:lnTo>
                  <a:lnTo>
                    <a:pt x="162" y="2"/>
                  </a:lnTo>
                  <a:lnTo>
                    <a:pt x="162" y="1"/>
                  </a:lnTo>
                  <a:lnTo>
                    <a:pt x="163" y="1"/>
                  </a:lnTo>
                  <a:lnTo>
                    <a:pt x="164" y="0"/>
                  </a:lnTo>
                  <a:lnTo>
                    <a:pt x="164" y="1"/>
                  </a:lnTo>
                  <a:lnTo>
                    <a:pt x="165" y="1"/>
                  </a:lnTo>
                  <a:lnTo>
                    <a:pt x="168" y="1"/>
                  </a:lnTo>
                  <a:lnTo>
                    <a:pt x="168" y="2"/>
                  </a:lnTo>
                  <a:lnTo>
                    <a:pt x="169" y="2"/>
                  </a:lnTo>
                  <a:lnTo>
                    <a:pt x="169" y="3"/>
                  </a:lnTo>
                  <a:lnTo>
                    <a:pt x="170" y="4"/>
                  </a:lnTo>
                  <a:lnTo>
                    <a:pt x="171" y="4"/>
                  </a:lnTo>
                  <a:lnTo>
                    <a:pt x="172" y="4"/>
                  </a:lnTo>
                  <a:lnTo>
                    <a:pt x="173" y="4"/>
                  </a:lnTo>
                  <a:lnTo>
                    <a:pt x="175" y="6"/>
                  </a:lnTo>
                  <a:lnTo>
                    <a:pt x="176" y="6"/>
                  </a:lnTo>
                  <a:lnTo>
                    <a:pt x="176" y="7"/>
                  </a:lnTo>
                  <a:lnTo>
                    <a:pt x="178" y="9"/>
                  </a:lnTo>
                  <a:lnTo>
                    <a:pt x="178" y="10"/>
                  </a:lnTo>
                  <a:lnTo>
                    <a:pt x="178" y="11"/>
                  </a:lnTo>
                  <a:lnTo>
                    <a:pt x="179" y="11"/>
                  </a:lnTo>
                  <a:lnTo>
                    <a:pt x="179" y="13"/>
                  </a:lnTo>
                  <a:lnTo>
                    <a:pt x="179" y="14"/>
                  </a:lnTo>
                  <a:lnTo>
                    <a:pt x="178" y="14"/>
                  </a:lnTo>
                  <a:lnTo>
                    <a:pt x="178" y="15"/>
                  </a:lnTo>
                  <a:lnTo>
                    <a:pt x="179" y="15"/>
                  </a:lnTo>
                  <a:lnTo>
                    <a:pt x="179" y="16"/>
                  </a:lnTo>
                  <a:lnTo>
                    <a:pt x="180" y="16"/>
                  </a:lnTo>
                  <a:lnTo>
                    <a:pt x="181" y="16"/>
                  </a:lnTo>
                  <a:lnTo>
                    <a:pt x="181" y="17"/>
                  </a:lnTo>
                  <a:lnTo>
                    <a:pt x="183" y="17"/>
                  </a:lnTo>
                  <a:lnTo>
                    <a:pt x="183" y="18"/>
                  </a:lnTo>
                  <a:lnTo>
                    <a:pt x="183" y="20"/>
                  </a:lnTo>
                  <a:lnTo>
                    <a:pt x="184" y="20"/>
                  </a:lnTo>
                  <a:lnTo>
                    <a:pt x="184" y="18"/>
                  </a:lnTo>
                  <a:lnTo>
                    <a:pt x="185" y="18"/>
                  </a:lnTo>
                  <a:lnTo>
                    <a:pt x="185" y="20"/>
                  </a:lnTo>
                  <a:lnTo>
                    <a:pt x="185" y="18"/>
                  </a:lnTo>
                  <a:lnTo>
                    <a:pt x="186" y="18"/>
                  </a:lnTo>
                  <a:lnTo>
                    <a:pt x="187" y="18"/>
                  </a:lnTo>
                  <a:lnTo>
                    <a:pt x="187" y="17"/>
                  </a:lnTo>
                  <a:lnTo>
                    <a:pt x="188" y="17"/>
                  </a:lnTo>
                  <a:lnTo>
                    <a:pt x="188" y="18"/>
                  </a:lnTo>
                  <a:lnTo>
                    <a:pt x="188" y="20"/>
                  </a:lnTo>
                  <a:lnTo>
                    <a:pt x="190" y="21"/>
                  </a:lnTo>
                  <a:lnTo>
                    <a:pt x="191" y="21"/>
                  </a:lnTo>
                  <a:lnTo>
                    <a:pt x="192" y="22"/>
                  </a:lnTo>
                  <a:lnTo>
                    <a:pt x="194" y="25"/>
                  </a:lnTo>
                  <a:lnTo>
                    <a:pt x="198" y="30"/>
                  </a:lnTo>
                  <a:lnTo>
                    <a:pt x="198" y="31"/>
                  </a:lnTo>
                  <a:lnTo>
                    <a:pt x="198" y="32"/>
                  </a:lnTo>
                  <a:lnTo>
                    <a:pt x="197" y="32"/>
                  </a:lnTo>
                  <a:lnTo>
                    <a:pt x="197" y="34"/>
                  </a:lnTo>
                  <a:lnTo>
                    <a:pt x="197" y="32"/>
                  </a:lnTo>
                  <a:lnTo>
                    <a:pt x="195" y="32"/>
                  </a:lnTo>
                  <a:lnTo>
                    <a:pt x="194" y="34"/>
                  </a:lnTo>
                  <a:lnTo>
                    <a:pt x="195" y="35"/>
                  </a:lnTo>
                  <a:lnTo>
                    <a:pt x="194" y="36"/>
                  </a:lnTo>
                  <a:lnTo>
                    <a:pt x="193" y="36"/>
                  </a:lnTo>
                  <a:lnTo>
                    <a:pt x="192" y="36"/>
                  </a:lnTo>
                  <a:lnTo>
                    <a:pt x="191" y="36"/>
                  </a:lnTo>
                  <a:lnTo>
                    <a:pt x="190" y="37"/>
                  </a:lnTo>
                  <a:lnTo>
                    <a:pt x="187" y="37"/>
                  </a:lnTo>
                  <a:lnTo>
                    <a:pt x="186" y="37"/>
                  </a:lnTo>
                  <a:lnTo>
                    <a:pt x="185" y="38"/>
                  </a:lnTo>
                  <a:lnTo>
                    <a:pt x="184" y="39"/>
                  </a:lnTo>
                  <a:lnTo>
                    <a:pt x="183" y="39"/>
                  </a:lnTo>
                  <a:lnTo>
                    <a:pt x="181" y="39"/>
                  </a:lnTo>
                  <a:lnTo>
                    <a:pt x="178" y="38"/>
                  </a:lnTo>
                  <a:lnTo>
                    <a:pt x="177" y="38"/>
                  </a:lnTo>
                  <a:lnTo>
                    <a:pt x="176" y="38"/>
                  </a:lnTo>
                  <a:lnTo>
                    <a:pt x="176" y="37"/>
                  </a:lnTo>
                  <a:lnTo>
                    <a:pt x="175" y="37"/>
                  </a:lnTo>
                  <a:lnTo>
                    <a:pt x="173" y="37"/>
                  </a:lnTo>
                  <a:lnTo>
                    <a:pt x="168" y="37"/>
                  </a:lnTo>
                  <a:lnTo>
                    <a:pt x="164" y="36"/>
                  </a:lnTo>
                  <a:lnTo>
                    <a:pt x="163" y="36"/>
                  </a:lnTo>
                  <a:lnTo>
                    <a:pt x="162" y="36"/>
                  </a:lnTo>
                  <a:lnTo>
                    <a:pt x="162" y="37"/>
                  </a:lnTo>
                  <a:lnTo>
                    <a:pt x="161" y="37"/>
                  </a:lnTo>
                  <a:lnTo>
                    <a:pt x="159" y="37"/>
                  </a:lnTo>
                  <a:lnTo>
                    <a:pt x="158" y="37"/>
                  </a:lnTo>
                  <a:lnTo>
                    <a:pt x="158" y="38"/>
                  </a:lnTo>
                  <a:lnTo>
                    <a:pt x="159" y="38"/>
                  </a:lnTo>
                  <a:lnTo>
                    <a:pt x="158" y="39"/>
                  </a:lnTo>
                  <a:lnTo>
                    <a:pt x="158" y="41"/>
                  </a:lnTo>
                  <a:lnTo>
                    <a:pt x="157" y="42"/>
                  </a:lnTo>
                  <a:lnTo>
                    <a:pt x="158" y="42"/>
                  </a:lnTo>
                  <a:lnTo>
                    <a:pt x="158" y="43"/>
                  </a:lnTo>
                  <a:lnTo>
                    <a:pt x="159" y="43"/>
                  </a:lnTo>
                  <a:lnTo>
                    <a:pt x="161" y="43"/>
                  </a:lnTo>
                  <a:lnTo>
                    <a:pt x="161" y="44"/>
                  </a:lnTo>
                  <a:lnTo>
                    <a:pt x="162" y="44"/>
                  </a:lnTo>
                  <a:lnTo>
                    <a:pt x="162" y="45"/>
                  </a:lnTo>
                  <a:lnTo>
                    <a:pt x="161" y="45"/>
                  </a:lnTo>
                  <a:lnTo>
                    <a:pt x="161" y="46"/>
                  </a:lnTo>
                  <a:lnTo>
                    <a:pt x="161" y="48"/>
                  </a:lnTo>
                  <a:lnTo>
                    <a:pt x="162" y="48"/>
                  </a:lnTo>
                  <a:lnTo>
                    <a:pt x="163" y="48"/>
                  </a:lnTo>
                  <a:lnTo>
                    <a:pt x="164" y="48"/>
                  </a:lnTo>
                  <a:lnTo>
                    <a:pt x="165" y="48"/>
                  </a:lnTo>
                  <a:lnTo>
                    <a:pt x="165" y="49"/>
                  </a:lnTo>
                  <a:lnTo>
                    <a:pt x="165" y="50"/>
                  </a:lnTo>
                  <a:lnTo>
                    <a:pt x="164" y="50"/>
                  </a:lnTo>
                  <a:lnTo>
                    <a:pt x="163" y="50"/>
                  </a:lnTo>
                  <a:lnTo>
                    <a:pt x="163" y="51"/>
                  </a:lnTo>
                  <a:lnTo>
                    <a:pt x="163" y="52"/>
                  </a:lnTo>
                  <a:lnTo>
                    <a:pt x="163" y="53"/>
                  </a:lnTo>
                  <a:lnTo>
                    <a:pt x="164" y="53"/>
                  </a:lnTo>
                  <a:lnTo>
                    <a:pt x="165" y="55"/>
                  </a:lnTo>
                  <a:lnTo>
                    <a:pt x="166" y="56"/>
                  </a:lnTo>
                  <a:lnTo>
                    <a:pt x="166" y="57"/>
                  </a:lnTo>
                  <a:lnTo>
                    <a:pt x="166" y="58"/>
                  </a:lnTo>
                  <a:lnTo>
                    <a:pt x="165" y="58"/>
                  </a:lnTo>
                  <a:lnTo>
                    <a:pt x="165" y="59"/>
                  </a:lnTo>
                  <a:lnTo>
                    <a:pt x="165" y="60"/>
                  </a:lnTo>
                  <a:lnTo>
                    <a:pt x="165" y="62"/>
                  </a:lnTo>
                  <a:lnTo>
                    <a:pt x="166" y="62"/>
                  </a:lnTo>
                  <a:lnTo>
                    <a:pt x="168" y="63"/>
                  </a:lnTo>
                  <a:lnTo>
                    <a:pt x="169" y="63"/>
                  </a:lnTo>
                  <a:lnTo>
                    <a:pt x="170" y="63"/>
                  </a:lnTo>
                  <a:lnTo>
                    <a:pt x="170" y="64"/>
                  </a:lnTo>
                  <a:lnTo>
                    <a:pt x="170" y="65"/>
                  </a:lnTo>
                  <a:lnTo>
                    <a:pt x="171" y="65"/>
                  </a:lnTo>
                  <a:lnTo>
                    <a:pt x="171" y="66"/>
                  </a:lnTo>
                  <a:lnTo>
                    <a:pt x="171" y="67"/>
                  </a:lnTo>
                  <a:lnTo>
                    <a:pt x="172" y="67"/>
                  </a:lnTo>
                  <a:lnTo>
                    <a:pt x="173" y="67"/>
                  </a:lnTo>
                  <a:lnTo>
                    <a:pt x="175" y="67"/>
                  </a:lnTo>
                  <a:lnTo>
                    <a:pt x="175" y="66"/>
                  </a:lnTo>
                  <a:lnTo>
                    <a:pt x="176" y="66"/>
                  </a:lnTo>
                  <a:lnTo>
                    <a:pt x="176" y="67"/>
                  </a:lnTo>
                  <a:lnTo>
                    <a:pt x="176" y="69"/>
                  </a:lnTo>
                  <a:lnTo>
                    <a:pt x="176" y="70"/>
                  </a:lnTo>
                  <a:lnTo>
                    <a:pt x="177" y="71"/>
                  </a:lnTo>
                  <a:lnTo>
                    <a:pt x="177" y="72"/>
                  </a:lnTo>
                  <a:lnTo>
                    <a:pt x="178" y="72"/>
                  </a:lnTo>
                  <a:lnTo>
                    <a:pt x="179" y="72"/>
                  </a:lnTo>
                  <a:lnTo>
                    <a:pt x="180" y="72"/>
                  </a:lnTo>
                  <a:lnTo>
                    <a:pt x="181" y="72"/>
                  </a:lnTo>
                  <a:lnTo>
                    <a:pt x="183" y="72"/>
                  </a:lnTo>
                  <a:lnTo>
                    <a:pt x="183" y="73"/>
                  </a:lnTo>
                  <a:lnTo>
                    <a:pt x="184" y="73"/>
                  </a:lnTo>
                  <a:lnTo>
                    <a:pt x="185" y="74"/>
                  </a:lnTo>
                  <a:lnTo>
                    <a:pt x="186" y="74"/>
                  </a:lnTo>
                  <a:lnTo>
                    <a:pt x="186" y="76"/>
                  </a:lnTo>
                  <a:lnTo>
                    <a:pt x="186" y="77"/>
                  </a:lnTo>
                  <a:lnTo>
                    <a:pt x="185" y="77"/>
                  </a:lnTo>
                  <a:lnTo>
                    <a:pt x="185" y="78"/>
                  </a:lnTo>
                  <a:lnTo>
                    <a:pt x="184" y="78"/>
                  </a:lnTo>
                  <a:lnTo>
                    <a:pt x="183" y="78"/>
                  </a:lnTo>
                  <a:lnTo>
                    <a:pt x="183" y="79"/>
                  </a:lnTo>
                  <a:lnTo>
                    <a:pt x="181" y="79"/>
                  </a:lnTo>
                  <a:lnTo>
                    <a:pt x="180" y="79"/>
                  </a:lnTo>
                  <a:lnTo>
                    <a:pt x="180" y="80"/>
                  </a:lnTo>
                  <a:lnTo>
                    <a:pt x="179" y="80"/>
                  </a:lnTo>
                  <a:lnTo>
                    <a:pt x="178" y="80"/>
                  </a:lnTo>
                  <a:lnTo>
                    <a:pt x="178" y="81"/>
                  </a:lnTo>
                  <a:lnTo>
                    <a:pt x="177" y="81"/>
                  </a:lnTo>
                  <a:lnTo>
                    <a:pt x="177" y="83"/>
                  </a:lnTo>
                  <a:lnTo>
                    <a:pt x="177" y="84"/>
                  </a:lnTo>
                  <a:lnTo>
                    <a:pt x="178" y="85"/>
                  </a:lnTo>
                  <a:lnTo>
                    <a:pt x="179" y="87"/>
                  </a:lnTo>
                  <a:lnTo>
                    <a:pt x="179" y="88"/>
                  </a:lnTo>
                  <a:lnTo>
                    <a:pt x="179" y="91"/>
                  </a:lnTo>
                  <a:lnTo>
                    <a:pt x="179" y="92"/>
                  </a:lnTo>
                  <a:lnTo>
                    <a:pt x="179" y="93"/>
                  </a:lnTo>
                  <a:lnTo>
                    <a:pt x="180" y="93"/>
                  </a:lnTo>
                  <a:lnTo>
                    <a:pt x="181" y="93"/>
                  </a:lnTo>
                  <a:lnTo>
                    <a:pt x="181" y="94"/>
                  </a:lnTo>
                  <a:lnTo>
                    <a:pt x="180" y="94"/>
                  </a:lnTo>
                  <a:lnTo>
                    <a:pt x="180" y="95"/>
                  </a:lnTo>
                  <a:lnTo>
                    <a:pt x="179" y="95"/>
                  </a:lnTo>
                  <a:lnTo>
                    <a:pt x="179" y="96"/>
                  </a:lnTo>
                  <a:lnTo>
                    <a:pt x="178" y="96"/>
                  </a:lnTo>
                  <a:lnTo>
                    <a:pt x="177" y="96"/>
                  </a:lnTo>
                  <a:lnTo>
                    <a:pt x="177" y="98"/>
                  </a:lnTo>
                  <a:lnTo>
                    <a:pt x="177" y="99"/>
                  </a:lnTo>
                  <a:lnTo>
                    <a:pt x="176" y="100"/>
                  </a:lnTo>
                  <a:lnTo>
                    <a:pt x="176" y="101"/>
                  </a:lnTo>
                  <a:lnTo>
                    <a:pt x="175" y="101"/>
                  </a:lnTo>
                  <a:lnTo>
                    <a:pt x="175" y="102"/>
                  </a:lnTo>
                  <a:lnTo>
                    <a:pt x="175" y="103"/>
                  </a:lnTo>
                  <a:lnTo>
                    <a:pt x="173" y="105"/>
                  </a:lnTo>
                  <a:lnTo>
                    <a:pt x="172" y="105"/>
                  </a:lnTo>
                  <a:lnTo>
                    <a:pt x="172" y="106"/>
                  </a:lnTo>
                  <a:lnTo>
                    <a:pt x="173" y="106"/>
                  </a:lnTo>
                  <a:lnTo>
                    <a:pt x="175" y="107"/>
                  </a:lnTo>
                  <a:lnTo>
                    <a:pt x="175" y="108"/>
                  </a:lnTo>
                  <a:lnTo>
                    <a:pt x="172" y="109"/>
                  </a:lnTo>
                  <a:lnTo>
                    <a:pt x="172" y="110"/>
                  </a:lnTo>
                  <a:lnTo>
                    <a:pt x="170" y="110"/>
                  </a:lnTo>
                  <a:lnTo>
                    <a:pt x="168" y="112"/>
                  </a:lnTo>
                  <a:lnTo>
                    <a:pt x="168" y="114"/>
                  </a:lnTo>
                  <a:lnTo>
                    <a:pt x="168" y="116"/>
                  </a:lnTo>
                  <a:lnTo>
                    <a:pt x="168" y="119"/>
                  </a:lnTo>
                  <a:lnTo>
                    <a:pt x="166" y="120"/>
                  </a:lnTo>
                  <a:lnTo>
                    <a:pt x="166" y="121"/>
                  </a:lnTo>
                  <a:lnTo>
                    <a:pt x="165" y="123"/>
                  </a:lnTo>
                  <a:lnTo>
                    <a:pt x="165" y="124"/>
                  </a:lnTo>
                  <a:lnTo>
                    <a:pt x="164" y="126"/>
                  </a:lnTo>
                  <a:lnTo>
                    <a:pt x="164" y="127"/>
                  </a:lnTo>
                  <a:lnTo>
                    <a:pt x="163" y="127"/>
                  </a:lnTo>
                  <a:lnTo>
                    <a:pt x="162" y="128"/>
                  </a:lnTo>
                  <a:lnTo>
                    <a:pt x="159" y="129"/>
                  </a:lnTo>
                  <a:lnTo>
                    <a:pt x="158" y="130"/>
                  </a:lnTo>
                  <a:lnTo>
                    <a:pt x="157" y="130"/>
                  </a:lnTo>
                  <a:lnTo>
                    <a:pt x="157" y="131"/>
                  </a:lnTo>
                  <a:lnTo>
                    <a:pt x="157" y="133"/>
                  </a:lnTo>
                  <a:lnTo>
                    <a:pt x="156" y="135"/>
                  </a:lnTo>
                  <a:lnTo>
                    <a:pt x="156" y="136"/>
                  </a:lnTo>
                  <a:lnTo>
                    <a:pt x="156" y="137"/>
                  </a:lnTo>
                  <a:lnTo>
                    <a:pt x="154" y="138"/>
                  </a:lnTo>
                  <a:lnTo>
                    <a:pt x="154" y="141"/>
                  </a:lnTo>
                  <a:lnTo>
                    <a:pt x="154" y="143"/>
                  </a:lnTo>
                  <a:lnTo>
                    <a:pt x="151" y="144"/>
                  </a:lnTo>
                  <a:lnTo>
                    <a:pt x="149" y="144"/>
                  </a:lnTo>
                  <a:lnTo>
                    <a:pt x="148" y="144"/>
                  </a:lnTo>
                  <a:lnTo>
                    <a:pt x="147" y="144"/>
                  </a:lnTo>
                  <a:lnTo>
                    <a:pt x="145" y="144"/>
                  </a:lnTo>
                  <a:lnTo>
                    <a:pt x="144" y="145"/>
                  </a:lnTo>
                  <a:lnTo>
                    <a:pt x="142" y="147"/>
                  </a:lnTo>
                  <a:lnTo>
                    <a:pt x="141" y="147"/>
                  </a:lnTo>
                  <a:lnTo>
                    <a:pt x="140" y="148"/>
                  </a:lnTo>
                  <a:lnTo>
                    <a:pt x="138" y="147"/>
                  </a:lnTo>
                  <a:lnTo>
                    <a:pt x="137" y="145"/>
                  </a:lnTo>
                  <a:lnTo>
                    <a:pt x="137" y="144"/>
                  </a:lnTo>
                  <a:lnTo>
                    <a:pt x="136" y="143"/>
                  </a:lnTo>
                  <a:lnTo>
                    <a:pt x="135" y="142"/>
                  </a:lnTo>
                  <a:lnTo>
                    <a:pt x="134" y="142"/>
                  </a:lnTo>
                  <a:lnTo>
                    <a:pt x="133" y="142"/>
                  </a:lnTo>
                  <a:lnTo>
                    <a:pt x="131" y="143"/>
                  </a:lnTo>
                  <a:lnTo>
                    <a:pt x="130" y="144"/>
                  </a:lnTo>
                  <a:lnTo>
                    <a:pt x="130" y="145"/>
                  </a:lnTo>
                  <a:lnTo>
                    <a:pt x="129" y="145"/>
                  </a:lnTo>
                  <a:lnTo>
                    <a:pt x="129" y="149"/>
                  </a:lnTo>
                  <a:lnTo>
                    <a:pt x="128" y="150"/>
                  </a:lnTo>
                  <a:lnTo>
                    <a:pt x="127" y="151"/>
                  </a:lnTo>
                  <a:lnTo>
                    <a:pt x="126" y="154"/>
                  </a:lnTo>
                  <a:lnTo>
                    <a:pt x="124" y="155"/>
                  </a:lnTo>
                  <a:lnTo>
                    <a:pt x="123" y="156"/>
                  </a:lnTo>
                  <a:lnTo>
                    <a:pt x="123" y="157"/>
                  </a:lnTo>
                  <a:lnTo>
                    <a:pt x="123" y="159"/>
                  </a:lnTo>
                  <a:lnTo>
                    <a:pt x="123" y="162"/>
                  </a:lnTo>
                  <a:lnTo>
                    <a:pt x="124" y="163"/>
                  </a:lnTo>
                  <a:lnTo>
                    <a:pt x="127" y="163"/>
                  </a:lnTo>
                  <a:lnTo>
                    <a:pt x="127" y="164"/>
                  </a:lnTo>
                  <a:lnTo>
                    <a:pt x="128" y="165"/>
                  </a:lnTo>
                  <a:lnTo>
                    <a:pt x="129" y="165"/>
                  </a:lnTo>
                  <a:lnTo>
                    <a:pt x="133" y="165"/>
                  </a:lnTo>
                  <a:lnTo>
                    <a:pt x="134" y="165"/>
                  </a:lnTo>
                  <a:lnTo>
                    <a:pt x="134" y="166"/>
                  </a:lnTo>
                  <a:lnTo>
                    <a:pt x="134" y="168"/>
                  </a:lnTo>
                  <a:lnTo>
                    <a:pt x="134" y="169"/>
                  </a:lnTo>
                  <a:lnTo>
                    <a:pt x="134" y="170"/>
                  </a:lnTo>
                  <a:lnTo>
                    <a:pt x="134" y="171"/>
                  </a:lnTo>
                  <a:lnTo>
                    <a:pt x="134" y="172"/>
                  </a:lnTo>
                  <a:lnTo>
                    <a:pt x="134" y="173"/>
                  </a:lnTo>
                  <a:lnTo>
                    <a:pt x="134" y="175"/>
                  </a:lnTo>
                  <a:lnTo>
                    <a:pt x="134" y="176"/>
                  </a:lnTo>
                  <a:lnTo>
                    <a:pt x="135" y="176"/>
                  </a:lnTo>
                  <a:lnTo>
                    <a:pt x="135" y="177"/>
                  </a:lnTo>
                  <a:lnTo>
                    <a:pt x="136" y="177"/>
                  </a:lnTo>
                  <a:lnTo>
                    <a:pt x="136" y="178"/>
                  </a:lnTo>
                  <a:lnTo>
                    <a:pt x="137" y="179"/>
                  </a:lnTo>
                  <a:lnTo>
                    <a:pt x="138" y="179"/>
                  </a:lnTo>
                  <a:lnTo>
                    <a:pt x="140" y="179"/>
                  </a:lnTo>
                  <a:lnTo>
                    <a:pt x="141" y="179"/>
                  </a:lnTo>
                  <a:lnTo>
                    <a:pt x="142" y="179"/>
                  </a:lnTo>
                  <a:lnTo>
                    <a:pt x="143" y="180"/>
                  </a:lnTo>
                  <a:lnTo>
                    <a:pt x="143" y="182"/>
                  </a:lnTo>
                  <a:lnTo>
                    <a:pt x="143" y="183"/>
                  </a:lnTo>
                  <a:lnTo>
                    <a:pt x="143" y="184"/>
                  </a:lnTo>
                  <a:lnTo>
                    <a:pt x="144" y="185"/>
                  </a:lnTo>
                  <a:lnTo>
                    <a:pt x="144" y="186"/>
                  </a:lnTo>
                  <a:lnTo>
                    <a:pt x="145" y="186"/>
                  </a:lnTo>
                  <a:lnTo>
                    <a:pt x="145" y="187"/>
                  </a:lnTo>
                  <a:lnTo>
                    <a:pt x="147" y="187"/>
                  </a:lnTo>
                  <a:lnTo>
                    <a:pt x="148" y="190"/>
                  </a:lnTo>
                  <a:lnTo>
                    <a:pt x="148" y="191"/>
                  </a:lnTo>
                  <a:lnTo>
                    <a:pt x="148" y="192"/>
                  </a:lnTo>
                  <a:lnTo>
                    <a:pt x="149" y="193"/>
                  </a:lnTo>
                  <a:lnTo>
                    <a:pt x="150" y="194"/>
                  </a:lnTo>
                  <a:lnTo>
                    <a:pt x="150" y="196"/>
                  </a:lnTo>
                  <a:lnTo>
                    <a:pt x="149" y="196"/>
                  </a:lnTo>
                  <a:lnTo>
                    <a:pt x="149" y="197"/>
                  </a:lnTo>
                  <a:lnTo>
                    <a:pt x="149" y="198"/>
                  </a:lnTo>
                  <a:lnTo>
                    <a:pt x="150" y="199"/>
                  </a:lnTo>
                  <a:lnTo>
                    <a:pt x="151" y="199"/>
                  </a:lnTo>
                  <a:lnTo>
                    <a:pt x="150" y="199"/>
                  </a:lnTo>
                  <a:lnTo>
                    <a:pt x="150" y="200"/>
                  </a:lnTo>
                  <a:lnTo>
                    <a:pt x="149" y="200"/>
                  </a:lnTo>
                  <a:lnTo>
                    <a:pt x="148" y="200"/>
                  </a:lnTo>
                  <a:lnTo>
                    <a:pt x="148" y="201"/>
                  </a:lnTo>
                  <a:lnTo>
                    <a:pt x="147" y="203"/>
                  </a:lnTo>
                  <a:lnTo>
                    <a:pt x="145" y="201"/>
                  </a:lnTo>
                  <a:lnTo>
                    <a:pt x="144" y="201"/>
                  </a:lnTo>
                  <a:lnTo>
                    <a:pt x="144" y="200"/>
                  </a:lnTo>
                  <a:lnTo>
                    <a:pt x="144" y="199"/>
                  </a:lnTo>
                  <a:lnTo>
                    <a:pt x="143" y="199"/>
                  </a:lnTo>
                  <a:lnTo>
                    <a:pt x="142" y="199"/>
                  </a:lnTo>
                  <a:lnTo>
                    <a:pt x="141" y="200"/>
                  </a:lnTo>
                  <a:lnTo>
                    <a:pt x="140" y="200"/>
                  </a:lnTo>
                  <a:lnTo>
                    <a:pt x="138" y="201"/>
                  </a:lnTo>
                  <a:lnTo>
                    <a:pt x="137" y="201"/>
                  </a:lnTo>
                  <a:lnTo>
                    <a:pt x="137" y="203"/>
                  </a:lnTo>
                  <a:lnTo>
                    <a:pt x="136" y="203"/>
                  </a:lnTo>
                  <a:lnTo>
                    <a:pt x="134" y="204"/>
                  </a:lnTo>
                  <a:lnTo>
                    <a:pt x="133" y="203"/>
                  </a:lnTo>
                  <a:lnTo>
                    <a:pt x="131" y="201"/>
                  </a:lnTo>
                  <a:lnTo>
                    <a:pt x="130" y="201"/>
                  </a:lnTo>
                  <a:lnTo>
                    <a:pt x="127" y="201"/>
                  </a:lnTo>
                  <a:lnTo>
                    <a:pt x="126" y="201"/>
                  </a:lnTo>
                  <a:lnTo>
                    <a:pt x="124" y="201"/>
                  </a:lnTo>
                  <a:lnTo>
                    <a:pt x="123" y="201"/>
                  </a:lnTo>
                  <a:lnTo>
                    <a:pt x="122" y="201"/>
                  </a:lnTo>
                  <a:lnTo>
                    <a:pt x="122" y="200"/>
                  </a:lnTo>
                  <a:lnTo>
                    <a:pt x="121" y="200"/>
                  </a:lnTo>
                  <a:lnTo>
                    <a:pt x="121" y="201"/>
                  </a:lnTo>
                  <a:lnTo>
                    <a:pt x="121" y="203"/>
                  </a:lnTo>
                  <a:lnTo>
                    <a:pt x="121" y="201"/>
                  </a:lnTo>
                  <a:lnTo>
                    <a:pt x="120" y="201"/>
                  </a:lnTo>
                  <a:lnTo>
                    <a:pt x="120" y="200"/>
                  </a:lnTo>
                  <a:lnTo>
                    <a:pt x="119" y="201"/>
                  </a:lnTo>
                  <a:lnTo>
                    <a:pt x="120" y="203"/>
                  </a:lnTo>
                  <a:lnTo>
                    <a:pt x="120" y="204"/>
                  </a:lnTo>
                  <a:lnTo>
                    <a:pt x="120" y="206"/>
                  </a:lnTo>
                  <a:lnTo>
                    <a:pt x="119" y="206"/>
                  </a:lnTo>
                  <a:lnTo>
                    <a:pt x="117" y="206"/>
                  </a:lnTo>
                  <a:lnTo>
                    <a:pt x="115" y="206"/>
                  </a:lnTo>
                  <a:lnTo>
                    <a:pt x="115" y="207"/>
                  </a:lnTo>
                  <a:lnTo>
                    <a:pt x="115" y="206"/>
                  </a:lnTo>
                  <a:lnTo>
                    <a:pt x="114" y="206"/>
                  </a:lnTo>
                  <a:lnTo>
                    <a:pt x="114" y="207"/>
                  </a:lnTo>
                  <a:lnTo>
                    <a:pt x="113" y="207"/>
                  </a:lnTo>
                  <a:lnTo>
                    <a:pt x="114" y="207"/>
                  </a:lnTo>
                  <a:lnTo>
                    <a:pt x="113" y="207"/>
                  </a:lnTo>
                  <a:lnTo>
                    <a:pt x="113" y="208"/>
                  </a:lnTo>
                  <a:lnTo>
                    <a:pt x="112" y="207"/>
                  </a:lnTo>
                  <a:lnTo>
                    <a:pt x="112" y="208"/>
                  </a:lnTo>
                  <a:lnTo>
                    <a:pt x="113" y="208"/>
                  </a:lnTo>
                  <a:lnTo>
                    <a:pt x="112" y="210"/>
                  </a:lnTo>
                  <a:lnTo>
                    <a:pt x="113" y="211"/>
                  </a:lnTo>
                  <a:lnTo>
                    <a:pt x="112" y="211"/>
                  </a:lnTo>
                  <a:lnTo>
                    <a:pt x="112" y="210"/>
                  </a:lnTo>
                  <a:lnTo>
                    <a:pt x="112" y="211"/>
                  </a:lnTo>
                  <a:lnTo>
                    <a:pt x="112" y="210"/>
                  </a:lnTo>
                  <a:lnTo>
                    <a:pt x="111" y="210"/>
                  </a:lnTo>
                  <a:lnTo>
                    <a:pt x="112" y="210"/>
                  </a:lnTo>
                  <a:lnTo>
                    <a:pt x="112" y="208"/>
                  </a:lnTo>
                  <a:lnTo>
                    <a:pt x="111" y="208"/>
                  </a:lnTo>
                  <a:lnTo>
                    <a:pt x="111" y="207"/>
                  </a:lnTo>
                  <a:lnTo>
                    <a:pt x="111" y="208"/>
                  </a:lnTo>
                  <a:lnTo>
                    <a:pt x="111" y="210"/>
                  </a:lnTo>
                  <a:lnTo>
                    <a:pt x="111" y="208"/>
                  </a:lnTo>
                  <a:lnTo>
                    <a:pt x="109" y="208"/>
                  </a:lnTo>
                  <a:lnTo>
                    <a:pt x="108" y="208"/>
                  </a:lnTo>
                  <a:lnTo>
                    <a:pt x="108" y="207"/>
                  </a:lnTo>
                  <a:lnTo>
                    <a:pt x="108" y="208"/>
                  </a:lnTo>
                  <a:lnTo>
                    <a:pt x="108" y="207"/>
                  </a:lnTo>
                  <a:lnTo>
                    <a:pt x="108" y="208"/>
                  </a:lnTo>
                  <a:lnTo>
                    <a:pt x="107" y="208"/>
                  </a:lnTo>
                  <a:lnTo>
                    <a:pt x="106" y="208"/>
                  </a:lnTo>
                  <a:lnTo>
                    <a:pt x="107" y="208"/>
                  </a:lnTo>
                  <a:lnTo>
                    <a:pt x="107" y="210"/>
                  </a:lnTo>
                  <a:lnTo>
                    <a:pt x="106" y="210"/>
                  </a:lnTo>
                  <a:lnTo>
                    <a:pt x="106" y="208"/>
                  </a:lnTo>
                  <a:lnTo>
                    <a:pt x="105" y="208"/>
                  </a:lnTo>
                  <a:lnTo>
                    <a:pt x="105" y="207"/>
                  </a:lnTo>
                  <a:lnTo>
                    <a:pt x="105" y="208"/>
                  </a:lnTo>
                  <a:lnTo>
                    <a:pt x="105" y="207"/>
                  </a:lnTo>
                  <a:lnTo>
                    <a:pt x="104" y="207"/>
                  </a:lnTo>
                  <a:lnTo>
                    <a:pt x="102" y="207"/>
                  </a:lnTo>
                  <a:lnTo>
                    <a:pt x="104" y="207"/>
                  </a:lnTo>
                  <a:lnTo>
                    <a:pt x="104" y="206"/>
                  </a:lnTo>
                  <a:lnTo>
                    <a:pt x="102" y="206"/>
                  </a:lnTo>
                  <a:lnTo>
                    <a:pt x="102" y="205"/>
                  </a:lnTo>
                  <a:lnTo>
                    <a:pt x="104" y="205"/>
                  </a:lnTo>
                  <a:lnTo>
                    <a:pt x="102" y="205"/>
                  </a:lnTo>
                  <a:lnTo>
                    <a:pt x="101" y="205"/>
                  </a:lnTo>
                  <a:lnTo>
                    <a:pt x="100" y="204"/>
                  </a:lnTo>
                  <a:lnTo>
                    <a:pt x="100" y="203"/>
                  </a:lnTo>
                  <a:lnTo>
                    <a:pt x="100" y="201"/>
                  </a:lnTo>
                  <a:lnTo>
                    <a:pt x="100" y="200"/>
                  </a:lnTo>
                  <a:lnTo>
                    <a:pt x="99" y="200"/>
                  </a:lnTo>
                  <a:lnTo>
                    <a:pt x="99" y="199"/>
                  </a:lnTo>
                  <a:lnTo>
                    <a:pt x="99" y="198"/>
                  </a:lnTo>
                  <a:lnTo>
                    <a:pt x="98" y="198"/>
                  </a:lnTo>
                  <a:lnTo>
                    <a:pt x="99" y="198"/>
                  </a:lnTo>
                  <a:lnTo>
                    <a:pt x="98" y="198"/>
                  </a:lnTo>
                  <a:lnTo>
                    <a:pt x="98" y="197"/>
                  </a:lnTo>
                  <a:lnTo>
                    <a:pt x="99" y="197"/>
                  </a:lnTo>
                  <a:lnTo>
                    <a:pt x="98" y="196"/>
                  </a:lnTo>
                  <a:lnTo>
                    <a:pt x="97" y="196"/>
                  </a:lnTo>
                  <a:lnTo>
                    <a:pt x="98" y="194"/>
                  </a:lnTo>
                  <a:lnTo>
                    <a:pt x="98" y="193"/>
                  </a:lnTo>
                  <a:lnTo>
                    <a:pt x="97" y="193"/>
                  </a:lnTo>
                  <a:lnTo>
                    <a:pt x="95" y="193"/>
                  </a:lnTo>
                  <a:lnTo>
                    <a:pt x="94" y="193"/>
                  </a:lnTo>
                  <a:lnTo>
                    <a:pt x="94" y="192"/>
                  </a:lnTo>
                  <a:lnTo>
                    <a:pt x="94" y="193"/>
                  </a:lnTo>
                  <a:lnTo>
                    <a:pt x="93" y="193"/>
                  </a:lnTo>
                  <a:lnTo>
                    <a:pt x="93" y="192"/>
                  </a:lnTo>
                  <a:lnTo>
                    <a:pt x="92" y="192"/>
                  </a:lnTo>
                  <a:lnTo>
                    <a:pt x="91" y="192"/>
                  </a:lnTo>
                  <a:lnTo>
                    <a:pt x="90" y="192"/>
                  </a:lnTo>
                  <a:lnTo>
                    <a:pt x="91" y="192"/>
                  </a:lnTo>
                  <a:lnTo>
                    <a:pt x="91" y="191"/>
                  </a:lnTo>
                  <a:lnTo>
                    <a:pt x="90" y="191"/>
                  </a:lnTo>
                  <a:lnTo>
                    <a:pt x="91" y="190"/>
                  </a:lnTo>
                  <a:lnTo>
                    <a:pt x="90" y="189"/>
                  </a:lnTo>
                  <a:lnTo>
                    <a:pt x="91" y="189"/>
                  </a:lnTo>
                  <a:lnTo>
                    <a:pt x="91" y="187"/>
                  </a:lnTo>
                  <a:lnTo>
                    <a:pt x="90" y="186"/>
                  </a:lnTo>
                  <a:lnTo>
                    <a:pt x="90" y="185"/>
                  </a:lnTo>
                  <a:lnTo>
                    <a:pt x="88" y="185"/>
                  </a:lnTo>
                  <a:lnTo>
                    <a:pt x="87" y="184"/>
                  </a:lnTo>
                  <a:lnTo>
                    <a:pt x="88" y="184"/>
                  </a:lnTo>
                  <a:lnTo>
                    <a:pt x="88" y="183"/>
                  </a:lnTo>
                  <a:lnTo>
                    <a:pt x="87" y="183"/>
                  </a:lnTo>
                  <a:lnTo>
                    <a:pt x="87" y="182"/>
                  </a:lnTo>
                  <a:lnTo>
                    <a:pt x="86" y="182"/>
                  </a:lnTo>
                  <a:lnTo>
                    <a:pt x="86" y="180"/>
                  </a:lnTo>
                  <a:lnTo>
                    <a:pt x="85" y="180"/>
                  </a:lnTo>
                  <a:lnTo>
                    <a:pt x="84" y="180"/>
                  </a:lnTo>
                  <a:lnTo>
                    <a:pt x="83" y="180"/>
                  </a:lnTo>
                  <a:lnTo>
                    <a:pt x="81" y="180"/>
                  </a:lnTo>
                  <a:lnTo>
                    <a:pt x="81" y="182"/>
                  </a:lnTo>
                  <a:lnTo>
                    <a:pt x="81" y="183"/>
                  </a:lnTo>
                  <a:lnTo>
                    <a:pt x="83" y="183"/>
                  </a:lnTo>
                  <a:lnTo>
                    <a:pt x="83" y="182"/>
                  </a:lnTo>
                  <a:lnTo>
                    <a:pt x="84" y="182"/>
                  </a:lnTo>
                  <a:lnTo>
                    <a:pt x="83" y="182"/>
                  </a:lnTo>
                  <a:lnTo>
                    <a:pt x="84" y="182"/>
                  </a:lnTo>
                  <a:lnTo>
                    <a:pt x="85" y="182"/>
                  </a:lnTo>
                  <a:lnTo>
                    <a:pt x="86" y="183"/>
                  </a:lnTo>
                  <a:lnTo>
                    <a:pt x="86" y="182"/>
                  </a:lnTo>
                  <a:lnTo>
                    <a:pt x="86" y="183"/>
                  </a:lnTo>
                  <a:lnTo>
                    <a:pt x="87" y="184"/>
                  </a:lnTo>
                  <a:lnTo>
                    <a:pt x="86" y="184"/>
                  </a:lnTo>
                  <a:lnTo>
                    <a:pt x="86" y="183"/>
                  </a:lnTo>
                  <a:lnTo>
                    <a:pt x="85" y="183"/>
                  </a:lnTo>
                  <a:lnTo>
                    <a:pt x="84" y="183"/>
                  </a:lnTo>
                  <a:lnTo>
                    <a:pt x="83" y="183"/>
                  </a:lnTo>
                  <a:lnTo>
                    <a:pt x="80" y="183"/>
                  </a:lnTo>
                  <a:lnTo>
                    <a:pt x="79" y="183"/>
                  </a:lnTo>
                  <a:lnTo>
                    <a:pt x="78" y="183"/>
                  </a:lnTo>
                  <a:lnTo>
                    <a:pt x="78" y="184"/>
                  </a:lnTo>
                  <a:lnTo>
                    <a:pt x="77" y="184"/>
                  </a:lnTo>
                  <a:lnTo>
                    <a:pt x="76" y="184"/>
                  </a:lnTo>
                  <a:lnTo>
                    <a:pt x="73" y="184"/>
                  </a:lnTo>
                  <a:lnTo>
                    <a:pt x="72" y="184"/>
                  </a:lnTo>
                  <a:lnTo>
                    <a:pt x="71" y="184"/>
                  </a:lnTo>
                  <a:lnTo>
                    <a:pt x="70" y="184"/>
                  </a:lnTo>
                  <a:lnTo>
                    <a:pt x="69" y="185"/>
                  </a:lnTo>
                  <a:lnTo>
                    <a:pt x="67" y="185"/>
                  </a:lnTo>
                  <a:lnTo>
                    <a:pt x="66" y="185"/>
                  </a:lnTo>
                  <a:lnTo>
                    <a:pt x="65" y="185"/>
                  </a:lnTo>
                  <a:lnTo>
                    <a:pt x="64" y="185"/>
                  </a:lnTo>
                  <a:lnTo>
                    <a:pt x="63" y="185"/>
                  </a:lnTo>
                  <a:lnTo>
                    <a:pt x="62" y="186"/>
                  </a:lnTo>
                  <a:lnTo>
                    <a:pt x="63" y="186"/>
                  </a:lnTo>
                  <a:lnTo>
                    <a:pt x="63" y="187"/>
                  </a:lnTo>
                  <a:lnTo>
                    <a:pt x="62" y="187"/>
                  </a:lnTo>
                  <a:lnTo>
                    <a:pt x="62" y="186"/>
                  </a:lnTo>
                  <a:lnTo>
                    <a:pt x="60" y="185"/>
                  </a:lnTo>
                  <a:lnTo>
                    <a:pt x="60" y="186"/>
                  </a:lnTo>
                  <a:lnTo>
                    <a:pt x="59" y="186"/>
                  </a:lnTo>
                  <a:lnTo>
                    <a:pt x="58" y="185"/>
                  </a:lnTo>
                  <a:lnTo>
                    <a:pt x="57" y="185"/>
                  </a:lnTo>
                  <a:lnTo>
                    <a:pt x="56" y="185"/>
                  </a:lnTo>
                  <a:lnTo>
                    <a:pt x="55" y="185"/>
                  </a:lnTo>
                  <a:lnTo>
                    <a:pt x="55" y="184"/>
                  </a:lnTo>
                  <a:lnTo>
                    <a:pt x="53" y="184"/>
                  </a:lnTo>
                  <a:lnTo>
                    <a:pt x="53" y="183"/>
                  </a:lnTo>
                  <a:lnTo>
                    <a:pt x="55" y="183"/>
                  </a:lnTo>
                  <a:lnTo>
                    <a:pt x="53" y="183"/>
                  </a:lnTo>
                  <a:lnTo>
                    <a:pt x="52" y="183"/>
                  </a:lnTo>
                  <a:lnTo>
                    <a:pt x="52" y="184"/>
                  </a:lnTo>
                  <a:lnTo>
                    <a:pt x="52" y="183"/>
                  </a:lnTo>
                  <a:lnTo>
                    <a:pt x="52" y="184"/>
                  </a:lnTo>
                  <a:lnTo>
                    <a:pt x="53" y="184"/>
                  </a:lnTo>
                  <a:lnTo>
                    <a:pt x="53" y="185"/>
                  </a:lnTo>
                  <a:lnTo>
                    <a:pt x="52" y="185"/>
                  </a:lnTo>
                  <a:lnTo>
                    <a:pt x="52" y="184"/>
                  </a:lnTo>
                  <a:lnTo>
                    <a:pt x="52" y="185"/>
                  </a:lnTo>
                  <a:lnTo>
                    <a:pt x="51" y="185"/>
                  </a:lnTo>
                  <a:lnTo>
                    <a:pt x="50" y="184"/>
                  </a:lnTo>
                  <a:lnTo>
                    <a:pt x="49" y="184"/>
                  </a:lnTo>
                  <a:lnTo>
                    <a:pt x="48" y="184"/>
                  </a:lnTo>
                  <a:lnTo>
                    <a:pt x="47" y="184"/>
                  </a:lnTo>
                  <a:lnTo>
                    <a:pt x="47" y="185"/>
                  </a:lnTo>
                  <a:lnTo>
                    <a:pt x="45" y="185"/>
                  </a:lnTo>
                  <a:lnTo>
                    <a:pt x="47" y="185"/>
                  </a:lnTo>
                  <a:lnTo>
                    <a:pt x="47" y="186"/>
                  </a:lnTo>
                  <a:lnTo>
                    <a:pt x="47" y="187"/>
                  </a:lnTo>
                  <a:lnTo>
                    <a:pt x="47" y="186"/>
                  </a:lnTo>
                  <a:lnTo>
                    <a:pt x="45" y="186"/>
                  </a:lnTo>
                  <a:lnTo>
                    <a:pt x="44" y="186"/>
                  </a:lnTo>
                  <a:lnTo>
                    <a:pt x="43" y="186"/>
                  </a:lnTo>
                  <a:lnTo>
                    <a:pt x="42" y="186"/>
                  </a:lnTo>
                  <a:lnTo>
                    <a:pt x="41" y="186"/>
                  </a:lnTo>
                  <a:lnTo>
                    <a:pt x="40" y="186"/>
                  </a:lnTo>
                  <a:lnTo>
                    <a:pt x="38" y="186"/>
                  </a:lnTo>
                  <a:lnTo>
                    <a:pt x="36" y="186"/>
                  </a:lnTo>
                  <a:lnTo>
                    <a:pt x="34" y="186"/>
                  </a:lnTo>
                  <a:lnTo>
                    <a:pt x="33" y="186"/>
                  </a:lnTo>
                  <a:lnTo>
                    <a:pt x="31" y="186"/>
                  </a:lnTo>
                  <a:lnTo>
                    <a:pt x="31" y="187"/>
                  </a:lnTo>
                  <a:lnTo>
                    <a:pt x="30" y="187"/>
                  </a:lnTo>
                  <a:lnTo>
                    <a:pt x="31" y="187"/>
                  </a:lnTo>
                  <a:lnTo>
                    <a:pt x="31" y="189"/>
                  </a:lnTo>
                  <a:lnTo>
                    <a:pt x="30" y="189"/>
                  </a:lnTo>
                  <a:lnTo>
                    <a:pt x="30" y="187"/>
                  </a:lnTo>
                  <a:lnTo>
                    <a:pt x="30" y="186"/>
                  </a:lnTo>
                  <a:lnTo>
                    <a:pt x="29" y="186"/>
                  </a:lnTo>
                  <a:lnTo>
                    <a:pt x="28" y="186"/>
                  </a:lnTo>
                  <a:lnTo>
                    <a:pt x="27" y="186"/>
                  </a:lnTo>
                  <a:lnTo>
                    <a:pt x="27" y="187"/>
                  </a:lnTo>
                  <a:lnTo>
                    <a:pt x="28" y="187"/>
                  </a:lnTo>
                  <a:lnTo>
                    <a:pt x="28" y="189"/>
                  </a:lnTo>
                  <a:lnTo>
                    <a:pt x="27" y="189"/>
                  </a:lnTo>
                  <a:lnTo>
                    <a:pt x="26" y="189"/>
                  </a:lnTo>
                  <a:lnTo>
                    <a:pt x="24" y="189"/>
                  </a:lnTo>
                  <a:lnTo>
                    <a:pt x="24" y="190"/>
                  </a:lnTo>
                  <a:lnTo>
                    <a:pt x="23" y="190"/>
                  </a:lnTo>
                  <a:lnTo>
                    <a:pt x="22" y="190"/>
                  </a:lnTo>
                  <a:lnTo>
                    <a:pt x="23" y="189"/>
                  </a:lnTo>
                  <a:lnTo>
                    <a:pt x="23" y="187"/>
                  </a:lnTo>
                  <a:lnTo>
                    <a:pt x="22" y="187"/>
                  </a:lnTo>
                  <a:lnTo>
                    <a:pt x="22" y="186"/>
                  </a:lnTo>
                  <a:lnTo>
                    <a:pt x="21" y="186"/>
                  </a:lnTo>
                  <a:lnTo>
                    <a:pt x="21" y="185"/>
                  </a:lnTo>
                  <a:lnTo>
                    <a:pt x="21" y="184"/>
                  </a:lnTo>
                  <a:lnTo>
                    <a:pt x="21" y="183"/>
                  </a:lnTo>
                  <a:lnTo>
                    <a:pt x="21" y="182"/>
                  </a:lnTo>
                  <a:lnTo>
                    <a:pt x="21" y="180"/>
                  </a:lnTo>
                  <a:lnTo>
                    <a:pt x="21" y="179"/>
                  </a:lnTo>
                  <a:lnTo>
                    <a:pt x="21" y="178"/>
                  </a:lnTo>
                  <a:lnTo>
                    <a:pt x="21" y="177"/>
                  </a:lnTo>
                  <a:lnTo>
                    <a:pt x="22" y="177"/>
                  </a:lnTo>
                  <a:lnTo>
                    <a:pt x="22" y="176"/>
                  </a:lnTo>
                  <a:lnTo>
                    <a:pt x="22" y="175"/>
                  </a:lnTo>
                  <a:lnTo>
                    <a:pt x="22" y="173"/>
                  </a:lnTo>
                  <a:lnTo>
                    <a:pt x="22" y="172"/>
                  </a:lnTo>
                  <a:lnTo>
                    <a:pt x="22" y="171"/>
                  </a:lnTo>
                  <a:lnTo>
                    <a:pt x="22" y="170"/>
                  </a:lnTo>
                  <a:lnTo>
                    <a:pt x="23" y="170"/>
                  </a:lnTo>
                  <a:lnTo>
                    <a:pt x="24" y="170"/>
                  </a:lnTo>
                  <a:lnTo>
                    <a:pt x="24" y="169"/>
                  </a:lnTo>
                  <a:lnTo>
                    <a:pt x="26" y="169"/>
                  </a:lnTo>
                  <a:lnTo>
                    <a:pt x="27" y="169"/>
                  </a:lnTo>
                  <a:lnTo>
                    <a:pt x="28" y="169"/>
                  </a:lnTo>
                  <a:lnTo>
                    <a:pt x="28" y="168"/>
                  </a:lnTo>
                  <a:lnTo>
                    <a:pt x="27" y="168"/>
                  </a:lnTo>
                  <a:lnTo>
                    <a:pt x="28" y="166"/>
                  </a:lnTo>
                  <a:lnTo>
                    <a:pt x="28" y="165"/>
                  </a:lnTo>
                  <a:lnTo>
                    <a:pt x="29" y="165"/>
                  </a:lnTo>
                  <a:lnTo>
                    <a:pt x="31" y="165"/>
                  </a:lnTo>
                  <a:lnTo>
                    <a:pt x="31" y="164"/>
                  </a:lnTo>
                  <a:lnTo>
                    <a:pt x="33" y="164"/>
                  </a:lnTo>
                  <a:lnTo>
                    <a:pt x="34" y="164"/>
                  </a:lnTo>
                  <a:lnTo>
                    <a:pt x="35" y="164"/>
                  </a:lnTo>
                  <a:lnTo>
                    <a:pt x="36" y="164"/>
                  </a:lnTo>
                  <a:lnTo>
                    <a:pt x="37" y="164"/>
                  </a:lnTo>
                  <a:lnTo>
                    <a:pt x="38" y="164"/>
                  </a:lnTo>
                  <a:lnTo>
                    <a:pt x="40" y="163"/>
                  </a:lnTo>
                  <a:lnTo>
                    <a:pt x="38" y="161"/>
                  </a:lnTo>
                  <a:lnTo>
                    <a:pt x="40" y="161"/>
                  </a:lnTo>
                  <a:lnTo>
                    <a:pt x="40" y="159"/>
                  </a:lnTo>
                  <a:lnTo>
                    <a:pt x="38" y="157"/>
                  </a:lnTo>
                  <a:lnTo>
                    <a:pt x="40" y="157"/>
                  </a:lnTo>
                  <a:lnTo>
                    <a:pt x="40" y="156"/>
                  </a:lnTo>
                  <a:lnTo>
                    <a:pt x="40" y="155"/>
                  </a:lnTo>
                  <a:lnTo>
                    <a:pt x="38" y="155"/>
                  </a:lnTo>
                  <a:lnTo>
                    <a:pt x="37" y="155"/>
                  </a:lnTo>
                  <a:lnTo>
                    <a:pt x="36" y="155"/>
                  </a:lnTo>
                  <a:lnTo>
                    <a:pt x="35" y="155"/>
                  </a:lnTo>
                  <a:lnTo>
                    <a:pt x="34" y="155"/>
                  </a:lnTo>
                  <a:lnTo>
                    <a:pt x="33" y="155"/>
                  </a:lnTo>
                  <a:lnTo>
                    <a:pt x="31" y="154"/>
                  </a:lnTo>
                  <a:lnTo>
                    <a:pt x="33" y="154"/>
                  </a:lnTo>
                  <a:lnTo>
                    <a:pt x="31" y="152"/>
                  </a:lnTo>
                  <a:lnTo>
                    <a:pt x="33" y="151"/>
                  </a:lnTo>
                  <a:lnTo>
                    <a:pt x="33" y="150"/>
                  </a:lnTo>
                  <a:lnTo>
                    <a:pt x="31" y="148"/>
                  </a:lnTo>
                  <a:lnTo>
                    <a:pt x="31" y="147"/>
                  </a:lnTo>
                  <a:lnTo>
                    <a:pt x="31" y="145"/>
                  </a:lnTo>
                  <a:lnTo>
                    <a:pt x="30" y="143"/>
                  </a:lnTo>
                  <a:lnTo>
                    <a:pt x="30" y="141"/>
                  </a:lnTo>
                  <a:lnTo>
                    <a:pt x="30" y="140"/>
                  </a:lnTo>
                  <a:lnTo>
                    <a:pt x="30" y="138"/>
                  </a:lnTo>
                  <a:lnTo>
                    <a:pt x="29" y="138"/>
                  </a:lnTo>
                  <a:lnTo>
                    <a:pt x="28" y="138"/>
                  </a:lnTo>
                  <a:lnTo>
                    <a:pt x="27" y="138"/>
                  </a:lnTo>
                  <a:lnTo>
                    <a:pt x="26" y="137"/>
                  </a:lnTo>
                  <a:lnTo>
                    <a:pt x="24" y="136"/>
                  </a:lnTo>
                  <a:lnTo>
                    <a:pt x="22" y="135"/>
                  </a:lnTo>
                  <a:lnTo>
                    <a:pt x="21" y="135"/>
                  </a:lnTo>
                  <a:lnTo>
                    <a:pt x="20" y="135"/>
                  </a:lnTo>
                  <a:lnTo>
                    <a:pt x="19" y="134"/>
                  </a:lnTo>
                  <a:lnTo>
                    <a:pt x="17" y="134"/>
                  </a:lnTo>
                  <a:lnTo>
                    <a:pt x="16" y="133"/>
                  </a:lnTo>
                  <a:lnTo>
                    <a:pt x="15" y="131"/>
                  </a:lnTo>
                  <a:lnTo>
                    <a:pt x="14" y="130"/>
                  </a:lnTo>
                  <a:lnTo>
                    <a:pt x="13" y="130"/>
                  </a:lnTo>
                  <a:lnTo>
                    <a:pt x="13" y="129"/>
                  </a:lnTo>
                  <a:lnTo>
                    <a:pt x="12" y="128"/>
                  </a:lnTo>
                  <a:lnTo>
                    <a:pt x="12" y="127"/>
                  </a:lnTo>
                  <a:lnTo>
                    <a:pt x="10" y="127"/>
                  </a:lnTo>
                  <a:lnTo>
                    <a:pt x="10" y="126"/>
                  </a:lnTo>
                  <a:lnTo>
                    <a:pt x="10" y="124"/>
                  </a:lnTo>
                  <a:lnTo>
                    <a:pt x="9" y="124"/>
                  </a:lnTo>
                  <a:lnTo>
                    <a:pt x="9" y="123"/>
                  </a:lnTo>
                  <a:lnTo>
                    <a:pt x="8" y="122"/>
                  </a:lnTo>
                  <a:lnTo>
                    <a:pt x="8" y="121"/>
                  </a:lnTo>
                  <a:lnTo>
                    <a:pt x="7" y="121"/>
                  </a:lnTo>
                  <a:lnTo>
                    <a:pt x="7" y="120"/>
                  </a:lnTo>
                  <a:lnTo>
                    <a:pt x="6" y="119"/>
                  </a:lnTo>
                  <a:lnTo>
                    <a:pt x="5" y="117"/>
                  </a:lnTo>
                  <a:lnTo>
                    <a:pt x="3" y="116"/>
                  </a:lnTo>
                  <a:lnTo>
                    <a:pt x="2" y="115"/>
                  </a:lnTo>
                  <a:lnTo>
                    <a:pt x="1" y="114"/>
                  </a:lnTo>
                  <a:lnTo>
                    <a:pt x="0" y="113"/>
                  </a:lnTo>
                  <a:lnTo>
                    <a:pt x="1" y="113"/>
                  </a:lnTo>
                  <a:lnTo>
                    <a:pt x="1" y="114"/>
                  </a:lnTo>
                  <a:lnTo>
                    <a:pt x="2" y="114"/>
                  </a:lnTo>
                  <a:lnTo>
                    <a:pt x="3" y="114"/>
                  </a:lnTo>
                  <a:lnTo>
                    <a:pt x="5" y="115"/>
                  </a:lnTo>
                  <a:lnTo>
                    <a:pt x="6" y="115"/>
                  </a:lnTo>
                  <a:lnTo>
                    <a:pt x="7" y="115"/>
                  </a:lnTo>
                  <a:lnTo>
                    <a:pt x="8" y="116"/>
                  </a:lnTo>
                  <a:lnTo>
                    <a:pt x="9" y="116"/>
                  </a:lnTo>
                  <a:lnTo>
                    <a:pt x="10" y="116"/>
                  </a:lnTo>
                  <a:lnTo>
                    <a:pt x="12" y="117"/>
                  </a:lnTo>
                  <a:lnTo>
                    <a:pt x="14" y="117"/>
                  </a:lnTo>
                  <a:lnTo>
                    <a:pt x="15" y="117"/>
                  </a:lnTo>
                  <a:lnTo>
                    <a:pt x="16" y="117"/>
                  </a:lnTo>
                  <a:lnTo>
                    <a:pt x="17" y="119"/>
                  </a:lnTo>
                  <a:lnTo>
                    <a:pt x="19" y="119"/>
                  </a:lnTo>
                  <a:lnTo>
                    <a:pt x="20" y="119"/>
                  </a:lnTo>
                  <a:lnTo>
                    <a:pt x="21" y="120"/>
                  </a:lnTo>
                  <a:lnTo>
                    <a:pt x="22" y="120"/>
                  </a:lnTo>
                  <a:lnTo>
                    <a:pt x="23" y="120"/>
                  </a:lnTo>
                  <a:lnTo>
                    <a:pt x="24" y="120"/>
                  </a:lnTo>
                  <a:lnTo>
                    <a:pt x="26" y="120"/>
                  </a:lnTo>
                  <a:lnTo>
                    <a:pt x="27" y="120"/>
                  </a:lnTo>
                  <a:lnTo>
                    <a:pt x="28" y="120"/>
                  </a:lnTo>
                  <a:lnTo>
                    <a:pt x="29" y="120"/>
                  </a:lnTo>
                  <a:lnTo>
                    <a:pt x="30" y="120"/>
                  </a:lnTo>
                  <a:lnTo>
                    <a:pt x="31" y="120"/>
                  </a:lnTo>
                  <a:lnTo>
                    <a:pt x="33" y="120"/>
                  </a:lnTo>
                  <a:lnTo>
                    <a:pt x="34" y="119"/>
                  </a:lnTo>
                  <a:lnTo>
                    <a:pt x="35" y="119"/>
                  </a:lnTo>
                  <a:lnTo>
                    <a:pt x="36" y="119"/>
                  </a:lnTo>
                  <a:lnTo>
                    <a:pt x="37" y="119"/>
                  </a:lnTo>
                  <a:lnTo>
                    <a:pt x="41" y="120"/>
                  </a:lnTo>
                  <a:lnTo>
                    <a:pt x="43" y="120"/>
                  </a:lnTo>
                  <a:lnTo>
                    <a:pt x="45" y="121"/>
                  </a:lnTo>
                  <a:lnTo>
                    <a:pt x="45" y="120"/>
                  </a:lnTo>
                  <a:lnTo>
                    <a:pt x="45" y="119"/>
                  </a:lnTo>
                  <a:lnTo>
                    <a:pt x="47" y="119"/>
                  </a:lnTo>
                  <a:lnTo>
                    <a:pt x="50" y="117"/>
                  </a:lnTo>
                  <a:lnTo>
                    <a:pt x="52" y="117"/>
                  </a:lnTo>
                  <a:lnTo>
                    <a:pt x="55" y="117"/>
                  </a:lnTo>
                  <a:lnTo>
                    <a:pt x="57" y="119"/>
                  </a:lnTo>
                  <a:lnTo>
                    <a:pt x="59" y="117"/>
                  </a:lnTo>
                  <a:lnTo>
                    <a:pt x="60" y="117"/>
                  </a:lnTo>
                  <a:lnTo>
                    <a:pt x="62" y="116"/>
                  </a:lnTo>
                  <a:lnTo>
                    <a:pt x="63" y="116"/>
                  </a:lnTo>
                  <a:lnTo>
                    <a:pt x="64" y="116"/>
                  </a:lnTo>
                  <a:lnTo>
                    <a:pt x="65" y="115"/>
                  </a:lnTo>
                  <a:lnTo>
                    <a:pt x="66" y="115"/>
                  </a:lnTo>
                  <a:lnTo>
                    <a:pt x="67" y="115"/>
                  </a:lnTo>
                  <a:lnTo>
                    <a:pt x="69" y="114"/>
                  </a:lnTo>
                  <a:lnTo>
                    <a:pt x="70" y="114"/>
                  </a:lnTo>
                  <a:lnTo>
                    <a:pt x="71" y="114"/>
                  </a:lnTo>
                  <a:lnTo>
                    <a:pt x="72" y="114"/>
                  </a:lnTo>
                  <a:lnTo>
                    <a:pt x="73" y="113"/>
                  </a:lnTo>
                  <a:lnTo>
                    <a:pt x="73" y="112"/>
                  </a:lnTo>
                  <a:lnTo>
                    <a:pt x="73" y="110"/>
                  </a:lnTo>
                  <a:lnTo>
                    <a:pt x="72" y="110"/>
                  </a:lnTo>
                  <a:lnTo>
                    <a:pt x="72" y="109"/>
                  </a:lnTo>
                  <a:lnTo>
                    <a:pt x="72" y="107"/>
                  </a:lnTo>
                  <a:lnTo>
                    <a:pt x="72" y="106"/>
                  </a:lnTo>
                  <a:lnTo>
                    <a:pt x="72" y="103"/>
                  </a:lnTo>
                  <a:lnTo>
                    <a:pt x="71" y="103"/>
                  </a:lnTo>
                  <a:lnTo>
                    <a:pt x="71" y="102"/>
                  </a:lnTo>
                  <a:lnTo>
                    <a:pt x="71" y="101"/>
                  </a:lnTo>
                  <a:lnTo>
                    <a:pt x="71" y="96"/>
                  </a:lnTo>
                  <a:lnTo>
                    <a:pt x="71" y="95"/>
                  </a:lnTo>
                  <a:lnTo>
                    <a:pt x="73" y="95"/>
                  </a:lnTo>
                  <a:lnTo>
                    <a:pt x="74" y="94"/>
                  </a:lnTo>
                  <a:lnTo>
                    <a:pt x="74" y="92"/>
                  </a:lnTo>
                  <a:lnTo>
                    <a:pt x="76" y="92"/>
                  </a:lnTo>
                  <a:lnTo>
                    <a:pt x="76" y="91"/>
                  </a:lnTo>
                  <a:lnTo>
                    <a:pt x="77" y="91"/>
                  </a:lnTo>
                  <a:lnTo>
                    <a:pt x="78" y="89"/>
                  </a:lnTo>
                  <a:lnTo>
                    <a:pt x="79" y="91"/>
                  </a:lnTo>
                  <a:lnTo>
                    <a:pt x="79" y="92"/>
                  </a:lnTo>
                  <a:lnTo>
                    <a:pt x="80" y="91"/>
                  </a:lnTo>
                  <a:lnTo>
                    <a:pt x="80" y="92"/>
                  </a:lnTo>
                  <a:lnTo>
                    <a:pt x="81" y="92"/>
                  </a:lnTo>
                  <a:lnTo>
                    <a:pt x="83" y="92"/>
                  </a:lnTo>
                  <a:lnTo>
                    <a:pt x="84" y="92"/>
                  </a:lnTo>
                  <a:lnTo>
                    <a:pt x="85" y="92"/>
                  </a:lnTo>
                  <a:lnTo>
                    <a:pt x="85" y="91"/>
                  </a:lnTo>
                  <a:lnTo>
                    <a:pt x="86" y="91"/>
                  </a:lnTo>
                  <a:lnTo>
                    <a:pt x="87" y="91"/>
                  </a:lnTo>
                  <a:lnTo>
                    <a:pt x="87" y="89"/>
                  </a:lnTo>
                  <a:lnTo>
                    <a:pt x="88" y="89"/>
                  </a:lnTo>
                  <a:lnTo>
                    <a:pt x="88" y="88"/>
                  </a:lnTo>
                  <a:lnTo>
                    <a:pt x="87" y="88"/>
                  </a:lnTo>
                  <a:lnTo>
                    <a:pt x="86" y="88"/>
                  </a:lnTo>
                  <a:lnTo>
                    <a:pt x="86" y="87"/>
                  </a:lnTo>
                  <a:lnTo>
                    <a:pt x="85" y="87"/>
                  </a:lnTo>
                  <a:lnTo>
                    <a:pt x="86" y="87"/>
                  </a:lnTo>
                  <a:lnTo>
                    <a:pt x="87" y="87"/>
                  </a:lnTo>
                  <a:lnTo>
                    <a:pt x="87" y="86"/>
                  </a:lnTo>
                  <a:lnTo>
                    <a:pt x="88" y="86"/>
                  </a:lnTo>
                  <a:lnTo>
                    <a:pt x="88" y="85"/>
                  </a:lnTo>
                  <a:lnTo>
                    <a:pt x="90" y="85"/>
                  </a:lnTo>
                  <a:lnTo>
                    <a:pt x="91" y="85"/>
                  </a:lnTo>
                  <a:lnTo>
                    <a:pt x="91" y="84"/>
                  </a:lnTo>
                  <a:lnTo>
                    <a:pt x="92" y="84"/>
                  </a:lnTo>
                  <a:lnTo>
                    <a:pt x="92" y="83"/>
                  </a:lnTo>
                  <a:lnTo>
                    <a:pt x="93" y="83"/>
                  </a:lnTo>
                  <a:lnTo>
                    <a:pt x="94" y="83"/>
                  </a:lnTo>
                  <a:lnTo>
                    <a:pt x="95" y="83"/>
                  </a:lnTo>
                  <a:lnTo>
                    <a:pt x="97" y="84"/>
                  </a:lnTo>
                  <a:lnTo>
                    <a:pt x="98" y="84"/>
                  </a:lnTo>
                  <a:lnTo>
                    <a:pt x="98" y="83"/>
                  </a:lnTo>
                  <a:lnTo>
                    <a:pt x="97" y="83"/>
                  </a:lnTo>
                  <a:lnTo>
                    <a:pt x="95" y="83"/>
                  </a:lnTo>
                  <a:lnTo>
                    <a:pt x="97" y="83"/>
                  </a:lnTo>
                  <a:lnTo>
                    <a:pt x="98" y="83"/>
                  </a:lnTo>
                  <a:lnTo>
                    <a:pt x="99" y="83"/>
                  </a:lnTo>
                  <a:lnTo>
                    <a:pt x="100" y="83"/>
                  </a:lnTo>
                  <a:lnTo>
                    <a:pt x="100" y="84"/>
                  </a:lnTo>
                  <a:lnTo>
                    <a:pt x="100" y="85"/>
                  </a:lnTo>
                  <a:lnTo>
                    <a:pt x="101" y="85"/>
                  </a:lnTo>
                  <a:lnTo>
                    <a:pt x="101" y="86"/>
                  </a:lnTo>
                  <a:lnTo>
                    <a:pt x="102" y="86"/>
                  </a:lnTo>
                  <a:lnTo>
                    <a:pt x="102" y="85"/>
                  </a:lnTo>
                  <a:lnTo>
                    <a:pt x="104" y="85"/>
                  </a:lnTo>
                  <a:lnTo>
                    <a:pt x="105" y="85"/>
                  </a:lnTo>
                  <a:lnTo>
                    <a:pt x="105" y="84"/>
                  </a:lnTo>
                  <a:lnTo>
                    <a:pt x="106" y="81"/>
                  </a:lnTo>
                  <a:lnTo>
                    <a:pt x="107" y="80"/>
                  </a:lnTo>
                  <a:lnTo>
                    <a:pt x="106" y="79"/>
                  </a:lnTo>
                  <a:lnTo>
                    <a:pt x="106" y="77"/>
                  </a:lnTo>
                  <a:lnTo>
                    <a:pt x="106" y="76"/>
                  </a:lnTo>
                  <a:lnTo>
                    <a:pt x="106" y="74"/>
                  </a:lnTo>
                  <a:lnTo>
                    <a:pt x="105" y="73"/>
                  </a:lnTo>
                  <a:lnTo>
                    <a:pt x="105" y="72"/>
                  </a:lnTo>
                  <a:lnTo>
                    <a:pt x="105" y="71"/>
                  </a:lnTo>
                  <a:lnTo>
                    <a:pt x="106" y="71"/>
                  </a:lnTo>
                  <a:lnTo>
                    <a:pt x="106" y="70"/>
                  </a:lnTo>
                  <a:lnTo>
                    <a:pt x="106" y="69"/>
                  </a:lnTo>
                  <a:lnTo>
                    <a:pt x="106" y="67"/>
                  </a:lnTo>
                  <a:lnTo>
                    <a:pt x="105" y="67"/>
                  </a:lnTo>
                  <a:lnTo>
                    <a:pt x="106" y="67"/>
                  </a:lnTo>
                  <a:lnTo>
                    <a:pt x="106" y="66"/>
                  </a:lnTo>
                  <a:lnTo>
                    <a:pt x="106" y="65"/>
                  </a:lnTo>
                  <a:lnTo>
                    <a:pt x="106" y="64"/>
                  </a:lnTo>
                  <a:lnTo>
                    <a:pt x="106" y="63"/>
                  </a:lnTo>
                  <a:lnTo>
                    <a:pt x="107" y="63"/>
                  </a:lnTo>
                  <a:lnTo>
                    <a:pt x="108" y="62"/>
                  </a:lnTo>
                  <a:lnTo>
                    <a:pt x="108" y="63"/>
                  </a:lnTo>
                  <a:lnTo>
                    <a:pt x="109" y="62"/>
                  </a:lnTo>
                  <a:lnTo>
                    <a:pt x="111" y="62"/>
                  </a:lnTo>
                  <a:lnTo>
                    <a:pt x="112" y="62"/>
                  </a:lnTo>
                  <a:lnTo>
                    <a:pt x="113" y="62"/>
                  </a:lnTo>
                  <a:lnTo>
                    <a:pt x="113" y="60"/>
                  </a:lnTo>
                  <a:lnTo>
                    <a:pt x="114" y="60"/>
                  </a:lnTo>
                  <a:lnTo>
                    <a:pt x="115" y="58"/>
                  </a:lnTo>
                  <a:lnTo>
                    <a:pt x="115" y="57"/>
                  </a:lnTo>
                  <a:lnTo>
                    <a:pt x="114" y="57"/>
                  </a:lnTo>
                  <a:lnTo>
                    <a:pt x="114" y="56"/>
                  </a:lnTo>
                  <a:lnTo>
                    <a:pt x="113" y="56"/>
                  </a:lnTo>
                  <a:lnTo>
                    <a:pt x="113" y="55"/>
                  </a:lnTo>
                  <a:lnTo>
                    <a:pt x="113" y="53"/>
                  </a:lnTo>
                  <a:lnTo>
                    <a:pt x="112" y="53"/>
                  </a:lnTo>
                  <a:lnTo>
                    <a:pt x="112" y="52"/>
                  </a:lnTo>
                  <a:lnTo>
                    <a:pt x="111" y="52"/>
                  </a:lnTo>
                  <a:lnTo>
                    <a:pt x="109" y="52"/>
                  </a:lnTo>
                  <a:lnTo>
                    <a:pt x="109" y="51"/>
                  </a:lnTo>
                  <a:lnTo>
                    <a:pt x="108" y="50"/>
                  </a:lnTo>
                  <a:lnTo>
                    <a:pt x="108" y="49"/>
                  </a:lnTo>
                  <a:lnTo>
                    <a:pt x="107" y="49"/>
                  </a:lnTo>
                  <a:lnTo>
                    <a:pt x="108" y="48"/>
                  </a:lnTo>
                  <a:lnTo>
                    <a:pt x="107" y="48"/>
                  </a:lnTo>
                  <a:lnTo>
                    <a:pt x="108" y="48"/>
                  </a:lnTo>
                  <a:lnTo>
                    <a:pt x="108" y="46"/>
                  </a:lnTo>
                  <a:lnTo>
                    <a:pt x="109" y="46"/>
                  </a:lnTo>
                  <a:lnTo>
                    <a:pt x="112" y="48"/>
                  </a:lnTo>
                  <a:lnTo>
                    <a:pt x="113" y="48"/>
                  </a:lnTo>
                  <a:lnTo>
                    <a:pt x="114" y="49"/>
                  </a:lnTo>
                  <a:lnTo>
                    <a:pt x="115" y="49"/>
                  </a:lnTo>
                  <a:lnTo>
                    <a:pt x="116" y="49"/>
                  </a:lnTo>
                  <a:lnTo>
                    <a:pt x="117" y="49"/>
                  </a:lnTo>
                  <a:lnTo>
                    <a:pt x="120" y="49"/>
                  </a:lnTo>
                  <a:lnTo>
                    <a:pt x="121" y="49"/>
                  </a:lnTo>
                  <a:lnTo>
                    <a:pt x="121" y="48"/>
                  </a:lnTo>
                  <a:lnTo>
                    <a:pt x="122" y="48"/>
                  </a:lnTo>
                  <a:lnTo>
                    <a:pt x="123" y="46"/>
                  </a:lnTo>
                  <a:lnTo>
                    <a:pt x="123" y="45"/>
                  </a:lnTo>
                  <a:lnTo>
                    <a:pt x="123" y="44"/>
                  </a:lnTo>
                  <a:lnTo>
                    <a:pt x="122" y="43"/>
                  </a:lnTo>
                  <a:lnTo>
                    <a:pt x="123" y="43"/>
                  </a:lnTo>
                  <a:lnTo>
                    <a:pt x="122" y="42"/>
                  </a:lnTo>
                  <a:lnTo>
                    <a:pt x="121" y="41"/>
                  </a:lnTo>
                  <a:lnTo>
                    <a:pt x="120" y="41"/>
                  </a:lnTo>
                  <a:lnTo>
                    <a:pt x="120" y="39"/>
                  </a:lnTo>
                  <a:lnTo>
                    <a:pt x="120" y="38"/>
                  </a:lnTo>
                  <a:lnTo>
                    <a:pt x="121" y="38"/>
                  </a:lnTo>
                  <a:lnTo>
                    <a:pt x="121" y="39"/>
                  </a:lnTo>
                  <a:lnTo>
                    <a:pt x="121" y="38"/>
                  </a:lnTo>
                  <a:lnTo>
                    <a:pt x="121" y="37"/>
                  </a:lnTo>
                  <a:lnTo>
                    <a:pt x="122" y="36"/>
                  </a:lnTo>
                  <a:lnTo>
                    <a:pt x="122" y="35"/>
                  </a:lnTo>
                  <a:lnTo>
                    <a:pt x="123" y="35"/>
                  </a:lnTo>
                  <a:lnTo>
                    <a:pt x="123" y="34"/>
                  </a:lnTo>
                  <a:lnTo>
                    <a:pt x="124" y="32"/>
                  </a:lnTo>
                  <a:lnTo>
                    <a:pt x="126" y="32"/>
                  </a:lnTo>
                  <a:lnTo>
                    <a:pt x="126" y="31"/>
                  </a:lnTo>
                  <a:lnTo>
                    <a:pt x="124" y="30"/>
                  </a:lnTo>
                  <a:lnTo>
                    <a:pt x="126" y="30"/>
                  </a:lnTo>
                  <a:lnTo>
                    <a:pt x="127" y="29"/>
                  </a:lnTo>
                  <a:lnTo>
                    <a:pt x="126" y="29"/>
                  </a:lnTo>
                  <a:lnTo>
                    <a:pt x="126" y="28"/>
                  </a:lnTo>
                  <a:lnTo>
                    <a:pt x="124" y="28"/>
                  </a:lnTo>
                  <a:lnTo>
                    <a:pt x="124" y="27"/>
                  </a:lnTo>
                  <a:lnTo>
                    <a:pt x="126" y="25"/>
                  </a:lnTo>
                  <a:lnTo>
                    <a:pt x="124" y="24"/>
                  </a:lnTo>
                  <a:lnTo>
                    <a:pt x="124" y="23"/>
                  </a:lnTo>
                  <a:lnTo>
                    <a:pt x="123" y="23"/>
                  </a:lnTo>
                  <a:lnTo>
                    <a:pt x="123" y="22"/>
                  </a:lnTo>
                  <a:lnTo>
                    <a:pt x="122" y="22"/>
                  </a:lnTo>
                  <a:lnTo>
                    <a:pt x="123" y="21"/>
                  </a:lnTo>
                  <a:lnTo>
                    <a:pt x="122" y="21"/>
                  </a:lnTo>
                  <a:lnTo>
                    <a:pt x="122" y="20"/>
                  </a:lnTo>
                  <a:lnTo>
                    <a:pt x="121" y="18"/>
                  </a:lnTo>
                  <a:lnTo>
                    <a:pt x="120" y="17"/>
                  </a:lnTo>
                  <a:lnTo>
                    <a:pt x="119" y="17"/>
                  </a:lnTo>
                  <a:lnTo>
                    <a:pt x="119" y="16"/>
                  </a:lnTo>
                  <a:lnTo>
                    <a:pt x="117" y="16"/>
                  </a:lnTo>
                  <a:lnTo>
                    <a:pt x="116" y="16"/>
                  </a:lnTo>
                  <a:lnTo>
                    <a:pt x="116" y="15"/>
                  </a:lnTo>
                  <a:lnTo>
                    <a:pt x="117" y="15"/>
                  </a:lnTo>
                  <a:lnTo>
                    <a:pt x="117" y="14"/>
                  </a:lnTo>
                  <a:lnTo>
                    <a:pt x="119" y="14"/>
                  </a:lnTo>
                  <a:lnTo>
                    <a:pt x="119" y="13"/>
                  </a:lnTo>
                  <a:lnTo>
                    <a:pt x="120" y="11"/>
                  </a:lnTo>
                  <a:lnTo>
                    <a:pt x="121" y="11"/>
                  </a:lnTo>
                  <a:lnTo>
                    <a:pt x="121" y="10"/>
                  </a:lnTo>
                  <a:lnTo>
                    <a:pt x="121" y="9"/>
                  </a:lnTo>
                  <a:lnTo>
                    <a:pt x="122" y="9"/>
                  </a:lnTo>
                  <a:lnTo>
                    <a:pt x="123" y="10"/>
                  </a:lnTo>
                  <a:lnTo>
                    <a:pt x="123" y="9"/>
                  </a:lnTo>
                  <a:lnTo>
                    <a:pt x="123" y="8"/>
                  </a:lnTo>
                  <a:lnTo>
                    <a:pt x="124" y="8"/>
                  </a:lnTo>
                  <a:lnTo>
                    <a:pt x="126" y="7"/>
                  </a:lnTo>
                  <a:lnTo>
                    <a:pt x="126" y="6"/>
                  </a:lnTo>
                  <a:lnTo>
                    <a:pt x="127" y="6"/>
                  </a:lnTo>
                  <a:lnTo>
                    <a:pt x="128" y="6"/>
                  </a:lnTo>
                  <a:lnTo>
                    <a:pt x="127" y="6"/>
                  </a:lnTo>
                  <a:lnTo>
                    <a:pt x="127" y="4"/>
                  </a:lnTo>
                  <a:lnTo>
                    <a:pt x="128" y="4"/>
                  </a:lnTo>
                  <a:lnTo>
                    <a:pt x="129" y="4"/>
                  </a:lnTo>
                  <a:lnTo>
                    <a:pt x="130" y="4"/>
                  </a:lnTo>
                  <a:lnTo>
                    <a:pt x="131" y="3"/>
                  </a:lnTo>
                  <a:lnTo>
                    <a:pt x="133" y="3"/>
                  </a:lnTo>
                  <a:lnTo>
                    <a:pt x="134" y="3"/>
                  </a:lnTo>
                  <a:lnTo>
                    <a:pt x="135" y="3"/>
                  </a:lnTo>
                  <a:lnTo>
                    <a:pt x="136" y="3"/>
                  </a:lnTo>
                  <a:lnTo>
                    <a:pt x="136" y="2"/>
                  </a:lnTo>
                  <a:lnTo>
                    <a:pt x="137" y="2"/>
                  </a:lnTo>
                  <a:lnTo>
                    <a:pt x="137" y="3"/>
                  </a:lnTo>
                  <a:lnTo>
                    <a:pt x="137" y="2"/>
                  </a:lnTo>
                  <a:lnTo>
                    <a:pt x="138" y="2"/>
                  </a:lnTo>
                  <a:lnTo>
                    <a:pt x="140" y="2"/>
                  </a:lnTo>
                  <a:lnTo>
                    <a:pt x="141" y="2"/>
                  </a:lnTo>
                  <a:lnTo>
                    <a:pt x="142" y="2"/>
                  </a:lnTo>
                  <a:lnTo>
                    <a:pt x="143" y="2"/>
                  </a:lnTo>
                  <a:lnTo>
                    <a:pt x="144" y="2"/>
                  </a:lnTo>
                  <a:lnTo>
                    <a:pt x="145" y="2"/>
                  </a:lnTo>
                  <a:lnTo>
                    <a:pt x="147" y="2"/>
                  </a:lnTo>
                  <a:lnTo>
                    <a:pt x="148" y="2"/>
                  </a:lnTo>
                  <a:lnTo>
                    <a:pt x="149" y="2"/>
                  </a:lnTo>
                  <a:lnTo>
                    <a:pt x="150" y="3"/>
                  </a:lnTo>
                  <a:lnTo>
                    <a:pt x="151" y="3"/>
                  </a:lnTo>
                  <a:lnTo>
                    <a:pt x="152" y="3"/>
                  </a:lnTo>
                  <a:lnTo>
                    <a:pt x="151" y="2"/>
                  </a:lnTo>
                  <a:lnTo>
                    <a:pt x="152" y="2"/>
                  </a:lnTo>
                  <a:lnTo>
                    <a:pt x="154" y="2"/>
                  </a:lnTo>
                  <a:lnTo>
                    <a:pt x="154" y="1"/>
                  </a:lnTo>
                  <a:lnTo>
                    <a:pt x="155" y="1"/>
                  </a:lnTo>
                  <a:lnTo>
                    <a:pt x="155" y="0"/>
                  </a:lnTo>
                  <a:lnTo>
                    <a:pt x="156" y="0"/>
                  </a:lnTo>
                  <a:lnTo>
                    <a:pt x="157" y="1"/>
                  </a:lnTo>
                  <a:lnTo>
                    <a:pt x="157" y="0"/>
                  </a:lnTo>
                  <a:lnTo>
                    <a:pt x="158" y="0"/>
                  </a:lnTo>
                  <a:lnTo>
                    <a:pt x="159" y="0"/>
                  </a:lnTo>
                  <a:lnTo>
                    <a:pt x="16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12" name="Freeform 970">
              <a:extLst>
                <a:ext uri="{FF2B5EF4-FFF2-40B4-BE49-F238E27FC236}">
                  <a16:creationId xmlns:a16="http://schemas.microsoft.com/office/drawing/2014/main" id="{6218EB0E-AC68-42FF-9E34-177EA47FC6AA}"/>
                </a:ext>
              </a:extLst>
            </p:cNvPr>
            <p:cNvSpPr>
              <a:spLocks noEditPoints="1"/>
            </p:cNvSpPr>
            <p:nvPr/>
          </p:nvSpPr>
          <p:spPr bwMode="auto">
            <a:xfrm>
              <a:off x="4265274" y="3145534"/>
              <a:ext cx="109510" cy="50749"/>
            </a:xfrm>
            <a:custGeom>
              <a:avLst/>
              <a:gdLst>
                <a:gd name="T0" fmla="*/ 27 w 82"/>
                <a:gd name="T1" fmla="*/ 31 h 38"/>
                <a:gd name="T2" fmla="*/ 20 w 82"/>
                <a:gd name="T3" fmla="*/ 36 h 38"/>
                <a:gd name="T4" fmla="*/ 9 w 82"/>
                <a:gd name="T5" fmla="*/ 24 h 38"/>
                <a:gd name="T6" fmla="*/ 9 w 82"/>
                <a:gd name="T7" fmla="*/ 22 h 38"/>
                <a:gd name="T8" fmla="*/ 55 w 82"/>
                <a:gd name="T9" fmla="*/ 21 h 38"/>
                <a:gd name="T10" fmla="*/ 57 w 82"/>
                <a:gd name="T11" fmla="*/ 21 h 38"/>
                <a:gd name="T12" fmla="*/ 58 w 82"/>
                <a:gd name="T13" fmla="*/ 17 h 38"/>
                <a:gd name="T14" fmla="*/ 12 w 82"/>
                <a:gd name="T15" fmla="*/ 4 h 38"/>
                <a:gd name="T16" fmla="*/ 12 w 82"/>
                <a:gd name="T17" fmla="*/ 4 h 38"/>
                <a:gd name="T18" fmla="*/ 55 w 82"/>
                <a:gd name="T19" fmla="*/ 1 h 38"/>
                <a:gd name="T20" fmla="*/ 58 w 82"/>
                <a:gd name="T21" fmla="*/ 3 h 38"/>
                <a:gd name="T22" fmla="*/ 64 w 82"/>
                <a:gd name="T23" fmla="*/ 3 h 38"/>
                <a:gd name="T24" fmla="*/ 72 w 82"/>
                <a:gd name="T25" fmla="*/ 8 h 38"/>
                <a:gd name="T26" fmla="*/ 76 w 82"/>
                <a:gd name="T27" fmla="*/ 11 h 38"/>
                <a:gd name="T28" fmla="*/ 79 w 82"/>
                <a:gd name="T29" fmla="*/ 15 h 38"/>
                <a:gd name="T30" fmla="*/ 79 w 82"/>
                <a:gd name="T31" fmla="*/ 22 h 38"/>
                <a:gd name="T32" fmla="*/ 78 w 82"/>
                <a:gd name="T33" fmla="*/ 30 h 38"/>
                <a:gd name="T34" fmla="*/ 72 w 82"/>
                <a:gd name="T35" fmla="*/ 30 h 38"/>
                <a:gd name="T36" fmla="*/ 70 w 82"/>
                <a:gd name="T37" fmla="*/ 36 h 38"/>
                <a:gd name="T38" fmla="*/ 65 w 82"/>
                <a:gd name="T39" fmla="*/ 29 h 38"/>
                <a:gd name="T40" fmla="*/ 66 w 82"/>
                <a:gd name="T41" fmla="*/ 22 h 38"/>
                <a:gd name="T42" fmla="*/ 70 w 82"/>
                <a:gd name="T43" fmla="*/ 21 h 38"/>
                <a:gd name="T44" fmla="*/ 72 w 82"/>
                <a:gd name="T45" fmla="*/ 22 h 38"/>
                <a:gd name="T46" fmla="*/ 69 w 82"/>
                <a:gd name="T47" fmla="*/ 17 h 38"/>
                <a:gd name="T48" fmla="*/ 66 w 82"/>
                <a:gd name="T49" fmla="*/ 16 h 38"/>
                <a:gd name="T50" fmla="*/ 65 w 82"/>
                <a:gd name="T51" fmla="*/ 17 h 38"/>
                <a:gd name="T52" fmla="*/ 63 w 82"/>
                <a:gd name="T53" fmla="*/ 18 h 38"/>
                <a:gd name="T54" fmla="*/ 59 w 82"/>
                <a:gd name="T55" fmla="*/ 12 h 38"/>
                <a:gd name="T56" fmla="*/ 56 w 82"/>
                <a:gd name="T57" fmla="*/ 8 h 38"/>
                <a:gd name="T58" fmla="*/ 55 w 82"/>
                <a:gd name="T59" fmla="*/ 9 h 38"/>
                <a:gd name="T60" fmla="*/ 48 w 82"/>
                <a:gd name="T61" fmla="*/ 11 h 38"/>
                <a:gd name="T62" fmla="*/ 45 w 82"/>
                <a:gd name="T63" fmla="*/ 15 h 38"/>
                <a:gd name="T64" fmla="*/ 40 w 82"/>
                <a:gd name="T65" fmla="*/ 21 h 38"/>
                <a:gd name="T66" fmla="*/ 37 w 82"/>
                <a:gd name="T67" fmla="*/ 25 h 38"/>
                <a:gd name="T68" fmla="*/ 38 w 82"/>
                <a:gd name="T69" fmla="*/ 35 h 38"/>
                <a:gd name="T70" fmla="*/ 31 w 82"/>
                <a:gd name="T71" fmla="*/ 37 h 38"/>
                <a:gd name="T72" fmla="*/ 29 w 82"/>
                <a:gd name="T73" fmla="*/ 35 h 38"/>
                <a:gd name="T74" fmla="*/ 27 w 82"/>
                <a:gd name="T75" fmla="*/ 29 h 38"/>
                <a:gd name="T76" fmla="*/ 26 w 82"/>
                <a:gd name="T77" fmla="*/ 26 h 38"/>
                <a:gd name="T78" fmla="*/ 26 w 82"/>
                <a:gd name="T79" fmla="*/ 30 h 38"/>
                <a:gd name="T80" fmla="*/ 20 w 82"/>
                <a:gd name="T81" fmla="*/ 26 h 38"/>
                <a:gd name="T82" fmla="*/ 19 w 82"/>
                <a:gd name="T83" fmla="*/ 24 h 38"/>
                <a:gd name="T84" fmla="*/ 16 w 82"/>
                <a:gd name="T85" fmla="*/ 23 h 38"/>
                <a:gd name="T86" fmla="*/ 11 w 82"/>
                <a:gd name="T87" fmla="*/ 21 h 38"/>
                <a:gd name="T88" fmla="*/ 5 w 82"/>
                <a:gd name="T89" fmla="*/ 19 h 38"/>
                <a:gd name="T90" fmla="*/ 1 w 82"/>
                <a:gd name="T91" fmla="*/ 21 h 38"/>
                <a:gd name="T92" fmla="*/ 2 w 82"/>
                <a:gd name="T93" fmla="*/ 12 h 38"/>
                <a:gd name="T94" fmla="*/ 2 w 82"/>
                <a:gd name="T95" fmla="*/ 3 h 38"/>
                <a:gd name="T96" fmla="*/ 7 w 82"/>
                <a:gd name="T97" fmla="*/ 2 h 38"/>
                <a:gd name="T98" fmla="*/ 11 w 82"/>
                <a:gd name="T99" fmla="*/ 4 h 38"/>
                <a:gd name="T100" fmla="*/ 12 w 82"/>
                <a:gd name="T101" fmla="*/ 5 h 38"/>
                <a:gd name="T102" fmla="*/ 13 w 82"/>
                <a:gd name="T103" fmla="*/ 10 h 38"/>
                <a:gd name="T104" fmla="*/ 16 w 82"/>
                <a:gd name="T105" fmla="*/ 7 h 38"/>
                <a:gd name="T106" fmla="*/ 23 w 82"/>
                <a:gd name="T107" fmla="*/ 12 h 38"/>
                <a:gd name="T108" fmla="*/ 33 w 82"/>
                <a:gd name="T109" fmla="*/ 10 h 38"/>
                <a:gd name="T110" fmla="*/ 41 w 82"/>
                <a:gd name="T111" fmla="*/ 5 h 38"/>
                <a:gd name="T112" fmla="*/ 45 w 82"/>
                <a:gd name="T113"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2" h="38">
                  <a:moveTo>
                    <a:pt x="16" y="36"/>
                  </a:moveTo>
                  <a:lnTo>
                    <a:pt x="16" y="37"/>
                  </a:lnTo>
                  <a:lnTo>
                    <a:pt x="16" y="36"/>
                  </a:lnTo>
                  <a:close/>
                  <a:moveTo>
                    <a:pt x="27" y="32"/>
                  </a:moveTo>
                  <a:lnTo>
                    <a:pt x="26" y="32"/>
                  </a:lnTo>
                  <a:lnTo>
                    <a:pt x="25" y="33"/>
                  </a:lnTo>
                  <a:lnTo>
                    <a:pt x="25" y="32"/>
                  </a:lnTo>
                  <a:lnTo>
                    <a:pt x="26" y="32"/>
                  </a:lnTo>
                  <a:lnTo>
                    <a:pt x="27" y="31"/>
                  </a:lnTo>
                  <a:lnTo>
                    <a:pt x="27" y="32"/>
                  </a:lnTo>
                  <a:close/>
                  <a:moveTo>
                    <a:pt x="18" y="31"/>
                  </a:moveTo>
                  <a:lnTo>
                    <a:pt x="18" y="32"/>
                  </a:lnTo>
                  <a:lnTo>
                    <a:pt x="19" y="32"/>
                  </a:lnTo>
                  <a:lnTo>
                    <a:pt x="19" y="33"/>
                  </a:lnTo>
                  <a:lnTo>
                    <a:pt x="18" y="33"/>
                  </a:lnTo>
                  <a:lnTo>
                    <a:pt x="18" y="35"/>
                  </a:lnTo>
                  <a:lnTo>
                    <a:pt x="19" y="35"/>
                  </a:lnTo>
                  <a:lnTo>
                    <a:pt x="20" y="36"/>
                  </a:lnTo>
                  <a:lnTo>
                    <a:pt x="19" y="36"/>
                  </a:lnTo>
                  <a:lnTo>
                    <a:pt x="18" y="36"/>
                  </a:lnTo>
                  <a:lnTo>
                    <a:pt x="16" y="35"/>
                  </a:lnTo>
                  <a:lnTo>
                    <a:pt x="15" y="33"/>
                  </a:lnTo>
                  <a:lnTo>
                    <a:pt x="15" y="32"/>
                  </a:lnTo>
                  <a:lnTo>
                    <a:pt x="16" y="32"/>
                  </a:lnTo>
                  <a:lnTo>
                    <a:pt x="16" y="31"/>
                  </a:lnTo>
                  <a:lnTo>
                    <a:pt x="18" y="31"/>
                  </a:lnTo>
                  <a:close/>
                  <a:moveTo>
                    <a:pt x="9" y="24"/>
                  </a:moveTo>
                  <a:lnTo>
                    <a:pt x="9" y="23"/>
                  </a:lnTo>
                  <a:lnTo>
                    <a:pt x="9" y="24"/>
                  </a:lnTo>
                  <a:close/>
                  <a:moveTo>
                    <a:pt x="12" y="22"/>
                  </a:moveTo>
                  <a:lnTo>
                    <a:pt x="11" y="22"/>
                  </a:lnTo>
                  <a:lnTo>
                    <a:pt x="9" y="22"/>
                  </a:lnTo>
                  <a:lnTo>
                    <a:pt x="11" y="22"/>
                  </a:lnTo>
                  <a:lnTo>
                    <a:pt x="12" y="22"/>
                  </a:lnTo>
                  <a:close/>
                  <a:moveTo>
                    <a:pt x="9" y="21"/>
                  </a:moveTo>
                  <a:lnTo>
                    <a:pt x="9" y="22"/>
                  </a:lnTo>
                  <a:lnTo>
                    <a:pt x="8" y="22"/>
                  </a:lnTo>
                  <a:lnTo>
                    <a:pt x="8" y="21"/>
                  </a:lnTo>
                  <a:lnTo>
                    <a:pt x="9" y="21"/>
                  </a:lnTo>
                  <a:close/>
                  <a:moveTo>
                    <a:pt x="55" y="21"/>
                  </a:moveTo>
                  <a:lnTo>
                    <a:pt x="55" y="22"/>
                  </a:lnTo>
                  <a:lnTo>
                    <a:pt x="54" y="21"/>
                  </a:lnTo>
                  <a:lnTo>
                    <a:pt x="55" y="21"/>
                  </a:lnTo>
                  <a:lnTo>
                    <a:pt x="55" y="19"/>
                  </a:lnTo>
                  <a:lnTo>
                    <a:pt x="55" y="21"/>
                  </a:lnTo>
                  <a:close/>
                  <a:moveTo>
                    <a:pt x="55" y="18"/>
                  </a:moveTo>
                  <a:lnTo>
                    <a:pt x="55" y="19"/>
                  </a:lnTo>
                  <a:lnTo>
                    <a:pt x="55" y="18"/>
                  </a:lnTo>
                  <a:close/>
                  <a:moveTo>
                    <a:pt x="58" y="18"/>
                  </a:moveTo>
                  <a:lnTo>
                    <a:pt x="58" y="19"/>
                  </a:lnTo>
                  <a:lnTo>
                    <a:pt x="58" y="21"/>
                  </a:lnTo>
                  <a:lnTo>
                    <a:pt x="57" y="21"/>
                  </a:lnTo>
                  <a:lnTo>
                    <a:pt x="57" y="22"/>
                  </a:lnTo>
                  <a:lnTo>
                    <a:pt x="57" y="21"/>
                  </a:lnTo>
                  <a:lnTo>
                    <a:pt x="56" y="21"/>
                  </a:lnTo>
                  <a:lnTo>
                    <a:pt x="57" y="19"/>
                  </a:lnTo>
                  <a:lnTo>
                    <a:pt x="57" y="18"/>
                  </a:lnTo>
                  <a:lnTo>
                    <a:pt x="56" y="18"/>
                  </a:lnTo>
                  <a:lnTo>
                    <a:pt x="57" y="18"/>
                  </a:lnTo>
                  <a:lnTo>
                    <a:pt x="57" y="17"/>
                  </a:lnTo>
                  <a:lnTo>
                    <a:pt x="57" y="18"/>
                  </a:lnTo>
                  <a:lnTo>
                    <a:pt x="57" y="17"/>
                  </a:lnTo>
                  <a:lnTo>
                    <a:pt x="58" y="17"/>
                  </a:lnTo>
                  <a:lnTo>
                    <a:pt x="58" y="18"/>
                  </a:lnTo>
                  <a:close/>
                  <a:moveTo>
                    <a:pt x="15" y="7"/>
                  </a:moveTo>
                  <a:lnTo>
                    <a:pt x="14" y="7"/>
                  </a:lnTo>
                  <a:lnTo>
                    <a:pt x="15" y="7"/>
                  </a:lnTo>
                  <a:close/>
                  <a:moveTo>
                    <a:pt x="13" y="4"/>
                  </a:moveTo>
                  <a:lnTo>
                    <a:pt x="14" y="4"/>
                  </a:lnTo>
                  <a:lnTo>
                    <a:pt x="13" y="5"/>
                  </a:lnTo>
                  <a:lnTo>
                    <a:pt x="13" y="4"/>
                  </a:lnTo>
                  <a:lnTo>
                    <a:pt x="12" y="4"/>
                  </a:lnTo>
                  <a:lnTo>
                    <a:pt x="13" y="3"/>
                  </a:lnTo>
                  <a:lnTo>
                    <a:pt x="13" y="4"/>
                  </a:lnTo>
                  <a:close/>
                  <a:moveTo>
                    <a:pt x="12" y="4"/>
                  </a:moveTo>
                  <a:lnTo>
                    <a:pt x="12" y="3"/>
                  </a:lnTo>
                  <a:lnTo>
                    <a:pt x="11" y="3"/>
                  </a:lnTo>
                  <a:lnTo>
                    <a:pt x="11" y="2"/>
                  </a:lnTo>
                  <a:lnTo>
                    <a:pt x="12" y="2"/>
                  </a:lnTo>
                  <a:lnTo>
                    <a:pt x="12" y="3"/>
                  </a:lnTo>
                  <a:lnTo>
                    <a:pt x="12" y="4"/>
                  </a:lnTo>
                  <a:close/>
                  <a:moveTo>
                    <a:pt x="50" y="0"/>
                  </a:moveTo>
                  <a:lnTo>
                    <a:pt x="50" y="1"/>
                  </a:lnTo>
                  <a:lnTo>
                    <a:pt x="50" y="0"/>
                  </a:lnTo>
                  <a:lnTo>
                    <a:pt x="50" y="1"/>
                  </a:lnTo>
                  <a:lnTo>
                    <a:pt x="50" y="0"/>
                  </a:lnTo>
                  <a:lnTo>
                    <a:pt x="51" y="0"/>
                  </a:lnTo>
                  <a:lnTo>
                    <a:pt x="52" y="0"/>
                  </a:lnTo>
                  <a:lnTo>
                    <a:pt x="54" y="1"/>
                  </a:lnTo>
                  <a:lnTo>
                    <a:pt x="55" y="1"/>
                  </a:lnTo>
                  <a:lnTo>
                    <a:pt x="56" y="1"/>
                  </a:lnTo>
                  <a:lnTo>
                    <a:pt x="57" y="1"/>
                  </a:lnTo>
                  <a:lnTo>
                    <a:pt x="57" y="0"/>
                  </a:lnTo>
                  <a:lnTo>
                    <a:pt x="57" y="1"/>
                  </a:lnTo>
                  <a:lnTo>
                    <a:pt x="56" y="1"/>
                  </a:lnTo>
                  <a:lnTo>
                    <a:pt x="56" y="2"/>
                  </a:lnTo>
                  <a:lnTo>
                    <a:pt x="57" y="2"/>
                  </a:lnTo>
                  <a:lnTo>
                    <a:pt x="58" y="2"/>
                  </a:lnTo>
                  <a:lnTo>
                    <a:pt x="58" y="3"/>
                  </a:lnTo>
                  <a:lnTo>
                    <a:pt x="58" y="2"/>
                  </a:lnTo>
                  <a:lnTo>
                    <a:pt x="58" y="3"/>
                  </a:lnTo>
                  <a:lnTo>
                    <a:pt x="59" y="2"/>
                  </a:lnTo>
                  <a:lnTo>
                    <a:pt x="61" y="2"/>
                  </a:lnTo>
                  <a:lnTo>
                    <a:pt x="62" y="2"/>
                  </a:lnTo>
                  <a:lnTo>
                    <a:pt x="62" y="3"/>
                  </a:lnTo>
                  <a:lnTo>
                    <a:pt x="63" y="3"/>
                  </a:lnTo>
                  <a:lnTo>
                    <a:pt x="63" y="2"/>
                  </a:lnTo>
                  <a:lnTo>
                    <a:pt x="64" y="3"/>
                  </a:lnTo>
                  <a:lnTo>
                    <a:pt x="65" y="3"/>
                  </a:lnTo>
                  <a:lnTo>
                    <a:pt x="66" y="3"/>
                  </a:lnTo>
                  <a:lnTo>
                    <a:pt x="66" y="4"/>
                  </a:lnTo>
                  <a:lnTo>
                    <a:pt x="68" y="4"/>
                  </a:lnTo>
                  <a:lnTo>
                    <a:pt x="69" y="4"/>
                  </a:lnTo>
                  <a:lnTo>
                    <a:pt x="69" y="5"/>
                  </a:lnTo>
                  <a:lnTo>
                    <a:pt x="70" y="5"/>
                  </a:lnTo>
                  <a:lnTo>
                    <a:pt x="71" y="7"/>
                  </a:lnTo>
                  <a:lnTo>
                    <a:pt x="72" y="8"/>
                  </a:lnTo>
                  <a:lnTo>
                    <a:pt x="72" y="9"/>
                  </a:lnTo>
                  <a:lnTo>
                    <a:pt x="72" y="8"/>
                  </a:lnTo>
                  <a:lnTo>
                    <a:pt x="73" y="8"/>
                  </a:lnTo>
                  <a:lnTo>
                    <a:pt x="73" y="9"/>
                  </a:lnTo>
                  <a:lnTo>
                    <a:pt x="75" y="10"/>
                  </a:lnTo>
                  <a:lnTo>
                    <a:pt x="73" y="10"/>
                  </a:lnTo>
                  <a:lnTo>
                    <a:pt x="75" y="10"/>
                  </a:lnTo>
                  <a:lnTo>
                    <a:pt x="75" y="11"/>
                  </a:lnTo>
                  <a:lnTo>
                    <a:pt x="76" y="11"/>
                  </a:lnTo>
                  <a:lnTo>
                    <a:pt x="76" y="12"/>
                  </a:lnTo>
                  <a:lnTo>
                    <a:pt x="76" y="11"/>
                  </a:lnTo>
                  <a:lnTo>
                    <a:pt x="76" y="12"/>
                  </a:lnTo>
                  <a:lnTo>
                    <a:pt x="77" y="14"/>
                  </a:lnTo>
                  <a:lnTo>
                    <a:pt x="77" y="12"/>
                  </a:lnTo>
                  <a:lnTo>
                    <a:pt x="77" y="14"/>
                  </a:lnTo>
                  <a:lnTo>
                    <a:pt x="77" y="15"/>
                  </a:lnTo>
                  <a:lnTo>
                    <a:pt x="78" y="15"/>
                  </a:lnTo>
                  <a:lnTo>
                    <a:pt x="79" y="15"/>
                  </a:lnTo>
                  <a:lnTo>
                    <a:pt x="78" y="15"/>
                  </a:lnTo>
                  <a:lnTo>
                    <a:pt x="78" y="16"/>
                  </a:lnTo>
                  <a:lnTo>
                    <a:pt x="78" y="17"/>
                  </a:lnTo>
                  <a:lnTo>
                    <a:pt x="77" y="17"/>
                  </a:lnTo>
                  <a:lnTo>
                    <a:pt x="78" y="17"/>
                  </a:lnTo>
                  <a:lnTo>
                    <a:pt x="78" y="18"/>
                  </a:lnTo>
                  <a:lnTo>
                    <a:pt x="78" y="19"/>
                  </a:lnTo>
                  <a:lnTo>
                    <a:pt x="79" y="21"/>
                  </a:lnTo>
                  <a:lnTo>
                    <a:pt x="79" y="22"/>
                  </a:lnTo>
                  <a:lnTo>
                    <a:pt x="80" y="23"/>
                  </a:lnTo>
                  <a:lnTo>
                    <a:pt x="80" y="25"/>
                  </a:lnTo>
                  <a:lnTo>
                    <a:pt x="82" y="25"/>
                  </a:lnTo>
                  <a:lnTo>
                    <a:pt x="82" y="26"/>
                  </a:lnTo>
                  <a:lnTo>
                    <a:pt x="80" y="26"/>
                  </a:lnTo>
                  <a:lnTo>
                    <a:pt x="79" y="26"/>
                  </a:lnTo>
                  <a:lnTo>
                    <a:pt x="79" y="28"/>
                  </a:lnTo>
                  <a:lnTo>
                    <a:pt x="78" y="29"/>
                  </a:lnTo>
                  <a:lnTo>
                    <a:pt x="78" y="30"/>
                  </a:lnTo>
                  <a:lnTo>
                    <a:pt x="79" y="30"/>
                  </a:lnTo>
                  <a:lnTo>
                    <a:pt x="78" y="30"/>
                  </a:lnTo>
                  <a:lnTo>
                    <a:pt x="76" y="31"/>
                  </a:lnTo>
                  <a:lnTo>
                    <a:pt x="76" y="32"/>
                  </a:lnTo>
                  <a:lnTo>
                    <a:pt x="75" y="32"/>
                  </a:lnTo>
                  <a:lnTo>
                    <a:pt x="75" y="31"/>
                  </a:lnTo>
                  <a:lnTo>
                    <a:pt x="75" y="30"/>
                  </a:lnTo>
                  <a:lnTo>
                    <a:pt x="73" y="30"/>
                  </a:lnTo>
                  <a:lnTo>
                    <a:pt x="72" y="30"/>
                  </a:lnTo>
                  <a:lnTo>
                    <a:pt x="72" y="31"/>
                  </a:lnTo>
                  <a:lnTo>
                    <a:pt x="73" y="31"/>
                  </a:lnTo>
                  <a:lnTo>
                    <a:pt x="73" y="32"/>
                  </a:lnTo>
                  <a:lnTo>
                    <a:pt x="73" y="33"/>
                  </a:lnTo>
                  <a:lnTo>
                    <a:pt x="72" y="33"/>
                  </a:lnTo>
                  <a:lnTo>
                    <a:pt x="71" y="35"/>
                  </a:lnTo>
                  <a:lnTo>
                    <a:pt x="71" y="37"/>
                  </a:lnTo>
                  <a:lnTo>
                    <a:pt x="70" y="37"/>
                  </a:lnTo>
                  <a:lnTo>
                    <a:pt x="70" y="36"/>
                  </a:lnTo>
                  <a:lnTo>
                    <a:pt x="69" y="36"/>
                  </a:lnTo>
                  <a:lnTo>
                    <a:pt x="69" y="35"/>
                  </a:lnTo>
                  <a:lnTo>
                    <a:pt x="68" y="33"/>
                  </a:lnTo>
                  <a:lnTo>
                    <a:pt x="68" y="32"/>
                  </a:lnTo>
                  <a:lnTo>
                    <a:pt x="66" y="32"/>
                  </a:lnTo>
                  <a:lnTo>
                    <a:pt x="66" y="31"/>
                  </a:lnTo>
                  <a:lnTo>
                    <a:pt x="66" y="30"/>
                  </a:lnTo>
                  <a:lnTo>
                    <a:pt x="65" y="30"/>
                  </a:lnTo>
                  <a:lnTo>
                    <a:pt x="65" y="29"/>
                  </a:lnTo>
                  <a:lnTo>
                    <a:pt x="65" y="28"/>
                  </a:lnTo>
                  <a:lnTo>
                    <a:pt x="64" y="26"/>
                  </a:lnTo>
                  <a:lnTo>
                    <a:pt x="64" y="25"/>
                  </a:lnTo>
                  <a:lnTo>
                    <a:pt x="64" y="24"/>
                  </a:lnTo>
                  <a:lnTo>
                    <a:pt x="64" y="23"/>
                  </a:lnTo>
                  <a:lnTo>
                    <a:pt x="64" y="24"/>
                  </a:lnTo>
                  <a:lnTo>
                    <a:pt x="65" y="24"/>
                  </a:lnTo>
                  <a:lnTo>
                    <a:pt x="66" y="23"/>
                  </a:lnTo>
                  <a:lnTo>
                    <a:pt x="66" y="22"/>
                  </a:lnTo>
                  <a:lnTo>
                    <a:pt x="65" y="22"/>
                  </a:lnTo>
                  <a:lnTo>
                    <a:pt x="65" y="21"/>
                  </a:lnTo>
                  <a:lnTo>
                    <a:pt x="66" y="21"/>
                  </a:lnTo>
                  <a:lnTo>
                    <a:pt x="68" y="21"/>
                  </a:lnTo>
                  <a:lnTo>
                    <a:pt x="68" y="19"/>
                  </a:lnTo>
                  <a:lnTo>
                    <a:pt x="68" y="18"/>
                  </a:lnTo>
                  <a:lnTo>
                    <a:pt x="69" y="18"/>
                  </a:lnTo>
                  <a:lnTo>
                    <a:pt x="69" y="19"/>
                  </a:lnTo>
                  <a:lnTo>
                    <a:pt x="70" y="21"/>
                  </a:lnTo>
                  <a:lnTo>
                    <a:pt x="70" y="22"/>
                  </a:lnTo>
                  <a:lnTo>
                    <a:pt x="71" y="22"/>
                  </a:lnTo>
                  <a:lnTo>
                    <a:pt x="70" y="21"/>
                  </a:lnTo>
                  <a:lnTo>
                    <a:pt x="71" y="21"/>
                  </a:lnTo>
                  <a:lnTo>
                    <a:pt x="71" y="22"/>
                  </a:lnTo>
                  <a:lnTo>
                    <a:pt x="72" y="22"/>
                  </a:lnTo>
                  <a:lnTo>
                    <a:pt x="72" y="23"/>
                  </a:lnTo>
                  <a:lnTo>
                    <a:pt x="73" y="23"/>
                  </a:lnTo>
                  <a:lnTo>
                    <a:pt x="72" y="22"/>
                  </a:lnTo>
                  <a:lnTo>
                    <a:pt x="71" y="22"/>
                  </a:lnTo>
                  <a:lnTo>
                    <a:pt x="71" y="21"/>
                  </a:lnTo>
                  <a:lnTo>
                    <a:pt x="70" y="21"/>
                  </a:lnTo>
                  <a:lnTo>
                    <a:pt x="70" y="19"/>
                  </a:lnTo>
                  <a:lnTo>
                    <a:pt x="69" y="19"/>
                  </a:lnTo>
                  <a:lnTo>
                    <a:pt x="69" y="18"/>
                  </a:lnTo>
                  <a:lnTo>
                    <a:pt x="69" y="17"/>
                  </a:lnTo>
                  <a:lnTo>
                    <a:pt x="69" y="16"/>
                  </a:lnTo>
                  <a:lnTo>
                    <a:pt x="69" y="17"/>
                  </a:lnTo>
                  <a:lnTo>
                    <a:pt x="69" y="18"/>
                  </a:lnTo>
                  <a:lnTo>
                    <a:pt x="68" y="17"/>
                  </a:lnTo>
                  <a:lnTo>
                    <a:pt x="68" y="18"/>
                  </a:lnTo>
                  <a:lnTo>
                    <a:pt x="66" y="19"/>
                  </a:lnTo>
                  <a:lnTo>
                    <a:pt x="66" y="18"/>
                  </a:lnTo>
                  <a:lnTo>
                    <a:pt x="68" y="18"/>
                  </a:lnTo>
                  <a:lnTo>
                    <a:pt x="68" y="17"/>
                  </a:lnTo>
                  <a:lnTo>
                    <a:pt x="68" y="16"/>
                  </a:lnTo>
                  <a:lnTo>
                    <a:pt x="66" y="16"/>
                  </a:lnTo>
                  <a:lnTo>
                    <a:pt x="66" y="17"/>
                  </a:lnTo>
                  <a:lnTo>
                    <a:pt x="68" y="17"/>
                  </a:lnTo>
                  <a:lnTo>
                    <a:pt x="66" y="17"/>
                  </a:lnTo>
                  <a:lnTo>
                    <a:pt x="66" y="18"/>
                  </a:lnTo>
                  <a:lnTo>
                    <a:pt x="66" y="17"/>
                  </a:lnTo>
                  <a:lnTo>
                    <a:pt x="66" y="18"/>
                  </a:lnTo>
                  <a:lnTo>
                    <a:pt x="65" y="17"/>
                  </a:lnTo>
                  <a:lnTo>
                    <a:pt x="65" y="18"/>
                  </a:lnTo>
                  <a:lnTo>
                    <a:pt x="65" y="17"/>
                  </a:lnTo>
                  <a:lnTo>
                    <a:pt x="64" y="17"/>
                  </a:lnTo>
                  <a:lnTo>
                    <a:pt x="65" y="17"/>
                  </a:lnTo>
                  <a:lnTo>
                    <a:pt x="64" y="17"/>
                  </a:lnTo>
                  <a:lnTo>
                    <a:pt x="64" y="16"/>
                  </a:lnTo>
                  <a:lnTo>
                    <a:pt x="64" y="17"/>
                  </a:lnTo>
                  <a:lnTo>
                    <a:pt x="65" y="18"/>
                  </a:lnTo>
                  <a:lnTo>
                    <a:pt x="64" y="19"/>
                  </a:lnTo>
                  <a:lnTo>
                    <a:pt x="64" y="18"/>
                  </a:lnTo>
                  <a:lnTo>
                    <a:pt x="63" y="18"/>
                  </a:lnTo>
                  <a:lnTo>
                    <a:pt x="63" y="17"/>
                  </a:lnTo>
                  <a:lnTo>
                    <a:pt x="63" y="16"/>
                  </a:lnTo>
                  <a:lnTo>
                    <a:pt x="63" y="15"/>
                  </a:lnTo>
                  <a:lnTo>
                    <a:pt x="62" y="15"/>
                  </a:lnTo>
                  <a:lnTo>
                    <a:pt x="62" y="14"/>
                  </a:lnTo>
                  <a:lnTo>
                    <a:pt x="62" y="12"/>
                  </a:lnTo>
                  <a:lnTo>
                    <a:pt x="62" y="14"/>
                  </a:lnTo>
                  <a:lnTo>
                    <a:pt x="61" y="14"/>
                  </a:lnTo>
                  <a:lnTo>
                    <a:pt x="59" y="12"/>
                  </a:lnTo>
                  <a:lnTo>
                    <a:pt x="59" y="11"/>
                  </a:lnTo>
                  <a:lnTo>
                    <a:pt x="59" y="12"/>
                  </a:lnTo>
                  <a:lnTo>
                    <a:pt x="58" y="12"/>
                  </a:lnTo>
                  <a:lnTo>
                    <a:pt x="58" y="11"/>
                  </a:lnTo>
                  <a:lnTo>
                    <a:pt x="56" y="10"/>
                  </a:lnTo>
                  <a:lnTo>
                    <a:pt x="56" y="9"/>
                  </a:lnTo>
                  <a:lnTo>
                    <a:pt x="56" y="8"/>
                  </a:lnTo>
                  <a:lnTo>
                    <a:pt x="55" y="8"/>
                  </a:lnTo>
                  <a:lnTo>
                    <a:pt x="56" y="8"/>
                  </a:lnTo>
                  <a:lnTo>
                    <a:pt x="57" y="8"/>
                  </a:lnTo>
                  <a:lnTo>
                    <a:pt x="57" y="7"/>
                  </a:lnTo>
                  <a:lnTo>
                    <a:pt x="56" y="8"/>
                  </a:lnTo>
                  <a:lnTo>
                    <a:pt x="56" y="7"/>
                  </a:lnTo>
                  <a:lnTo>
                    <a:pt x="56" y="8"/>
                  </a:lnTo>
                  <a:lnTo>
                    <a:pt x="55" y="8"/>
                  </a:lnTo>
                  <a:lnTo>
                    <a:pt x="56" y="8"/>
                  </a:lnTo>
                  <a:lnTo>
                    <a:pt x="56" y="9"/>
                  </a:lnTo>
                  <a:lnTo>
                    <a:pt x="55" y="9"/>
                  </a:lnTo>
                  <a:lnTo>
                    <a:pt x="54" y="9"/>
                  </a:lnTo>
                  <a:lnTo>
                    <a:pt x="52" y="9"/>
                  </a:lnTo>
                  <a:lnTo>
                    <a:pt x="51" y="9"/>
                  </a:lnTo>
                  <a:lnTo>
                    <a:pt x="50" y="9"/>
                  </a:lnTo>
                  <a:lnTo>
                    <a:pt x="49" y="10"/>
                  </a:lnTo>
                  <a:lnTo>
                    <a:pt x="49" y="11"/>
                  </a:lnTo>
                  <a:lnTo>
                    <a:pt x="49" y="10"/>
                  </a:lnTo>
                  <a:lnTo>
                    <a:pt x="49" y="11"/>
                  </a:lnTo>
                  <a:lnTo>
                    <a:pt x="48" y="11"/>
                  </a:lnTo>
                  <a:lnTo>
                    <a:pt x="47" y="11"/>
                  </a:lnTo>
                  <a:lnTo>
                    <a:pt x="47" y="12"/>
                  </a:lnTo>
                  <a:lnTo>
                    <a:pt x="45" y="12"/>
                  </a:lnTo>
                  <a:lnTo>
                    <a:pt x="45" y="14"/>
                  </a:lnTo>
                  <a:lnTo>
                    <a:pt x="47" y="14"/>
                  </a:lnTo>
                  <a:lnTo>
                    <a:pt x="45" y="14"/>
                  </a:lnTo>
                  <a:lnTo>
                    <a:pt x="45" y="15"/>
                  </a:lnTo>
                  <a:lnTo>
                    <a:pt x="44" y="15"/>
                  </a:lnTo>
                  <a:lnTo>
                    <a:pt x="45" y="15"/>
                  </a:lnTo>
                  <a:lnTo>
                    <a:pt x="47" y="15"/>
                  </a:lnTo>
                  <a:lnTo>
                    <a:pt x="45" y="16"/>
                  </a:lnTo>
                  <a:lnTo>
                    <a:pt x="44" y="16"/>
                  </a:lnTo>
                  <a:lnTo>
                    <a:pt x="44" y="17"/>
                  </a:lnTo>
                  <a:lnTo>
                    <a:pt x="43" y="17"/>
                  </a:lnTo>
                  <a:lnTo>
                    <a:pt x="43" y="18"/>
                  </a:lnTo>
                  <a:lnTo>
                    <a:pt x="42" y="18"/>
                  </a:lnTo>
                  <a:lnTo>
                    <a:pt x="41" y="19"/>
                  </a:lnTo>
                  <a:lnTo>
                    <a:pt x="40" y="21"/>
                  </a:lnTo>
                  <a:lnTo>
                    <a:pt x="38" y="21"/>
                  </a:lnTo>
                  <a:lnTo>
                    <a:pt x="37" y="21"/>
                  </a:lnTo>
                  <a:lnTo>
                    <a:pt x="36" y="21"/>
                  </a:lnTo>
                  <a:lnTo>
                    <a:pt x="35" y="22"/>
                  </a:lnTo>
                  <a:lnTo>
                    <a:pt x="35" y="23"/>
                  </a:lnTo>
                  <a:lnTo>
                    <a:pt x="35" y="24"/>
                  </a:lnTo>
                  <a:lnTo>
                    <a:pt x="36" y="24"/>
                  </a:lnTo>
                  <a:lnTo>
                    <a:pt x="36" y="25"/>
                  </a:lnTo>
                  <a:lnTo>
                    <a:pt x="37" y="25"/>
                  </a:lnTo>
                  <a:lnTo>
                    <a:pt x="37" y="26"/>
                  </a:lnTo>
                  <a:lnTo>
                    <a:pt x="38" y="28"/>
                  </a:lnTo>
                  <a:lnTo>
                    <a:pt x="40" y="29"/>
                  </a:lnTo>
                  <a:lnTo>
                    <a:pt x="41" y="31"/>
                  </a:lnTo>
                  <a:lnTo>
                    <a:pt x="42" y="32"/>
                  </a:lnTo>
                  <a:lnTo>
                    <a:pt x="42" y="33"/>
                  </a:lnTo>
                  <a:lnTo>
                    <a:pt x="41" y="33"/>
                  </a:lnTo>
                  <a:lnTo>
                    <a:pt x="40" y="35"/>
                  </a:lnTo>
                  <a:lnTo>
                    <a:pt x="38" y="35"/>
                  </a:lnTo>
                  <a:lnTo>
                    <a:pt x="38" y="33"/>
                  </a:lnTo>
                  <a:lnTo>
                    <a:pt x="37" y="33"/>
                  </a:lnTo>
                  <a:lnTo>
                    <a:pt x="37" y="35"/>
                  </a:lnTo>
                  <a:lnTo>
                    <a:pt x="36" y="35"/>
                  </a:lnTo>
                  <a:lnTo>
                    <a:pt x="36" y="36"/>
                  </a:lnTo>
                  <a:lnTo>
                    <a:pt x="36" y="37"/>
                  </a:lnTo>
                  <a:lnTo>
                    <a:pt x="35" y="37"/>
                  </a:lnTo>
                  <a:lnTo>
                    <a:pt x="33" y="37"/>
                  </a:lnTo>
                  <a:lnTo>
                    <a:pt x="31" y="37"/>
                  </a:lnTo>
                  <a:lnTo>
                    <a:pt x="30" y="37"/>
                  </a:lnTo>
                  <a:lnTo>
                    <a:pt x="30" y="38"/>
                  </a:lnTo>
                  <a:lnTo>
                    <a:pt x="29" y="37"/>
                  </a:lnTo>
                  <a:lnTo>
                    <a:pt x="29" y="38"/>
                  </a:lnTo>
                  <a:lnTo>
                    <a:pt x="29" y="37"/>
                  </a:lnTo>
                  <a:lnTo>
                    <a:pt x="28" y="37"/>
                  </a:lnTo>
                  <a:lnTo>
                    <a:pt x="29" y="37"/>
                  </a:lnTo>
                  <a:lnTo>
                    <a:pt x="29" y="36"/>
                  </a:lnTo>
                  <a:lnTo>
                    <a:pt x="29" y="35"/>
                  </a:lnTo>
                  <a:lnTo>
                    <a:pt x="29" y="33"/>
                  </a:lnTo>
                  <a:lnTo>
                    <a:pt x="28" y="33"/>
                  </a:lnTo>
                  <a:lnTo>
                    <a:pt x="28" y="32"/>
                  </a:lnTo>
                  <a:lnTo>
                    <a:pt x="28" y="31"/>
                  </a:lnTo>
                  <a:lnTo>
                    <a:pt x="27" y="30"/>
                  </a:lnTo>
                  <a:lnTo>
                    <a:pt x="28" y="30"/>
                  </a:lnTo>
                  <a:lnTo>
                    <a:pt x="27" y="30"/>
                  </a:lnTo>
                  <a:lnTo>
                    <a:pt x="28" y="29"/>
                  </a:lnTo>
                  <a:lnTo>
                    <a:pt x="27" y="29"/>
                  </a:lnTo>
                  <a:lnTo>
                    <a:pt x="27" y="28"/>
                  </a:lnTo>
                  <a:lnTo>
                    <a:pt x="28" y="28"/>
                  </a:lnTo>
                  <a:lnTo>
                    <a:pt x="27" y="28"/>
                  </a:lnTo>
                  <a:lnTo>
                    <a:pt x="27" y="26"/>
                  </a:lnTo>
                  <a:lnTo>
                    <a:pt x="27" y="28"/>
                  </a:lnTo>
                  <a:lnTo>
                    <a:pt x="27" y="26"/>
                  </a:lnTo>
                  <a:lnTo>
                    <a:pt x="27" y="28"/>
                  </a:lnTo>
                  <a:lnTo>
                    <a:pt x="26" y="28"/>
                  </a:lnTo>
                  <a:lnTo>
                    <a:pt x="26" y="26"/>
                  </a:lnTo>
                  <a:lnTo>
                    <a:pt x="25" y="26"/>
                  </a:lnTo>
                  <a:lnTo>
                    <a:pt x="25" y="28"/>
                  </a:lnTo>
                  <a:lnTo>
                    <a:pt x="26" y="28"/>
                  </a:lnTo>
                  <a:lnTo>
                    <a:pt x="26" y="29"/>
                  </a:lnTo>
                  <a:lnTo>
                    <a:pt x="25" y="29"/>
                  </a:lnTo>
                  <a:lnTo>
                    <a:pt x="25" y="30"/>
                  </a:lnTo>
                  <a:lnTo>
                    <a:pt x="25" y="29"/>
                  </a:lnTo>
                  <a:lnTo>
                    <a:pt x="25" y="30"/>
                  </a:lnTo>
                  <a:lnTo>
                    <a:pt x="26" y="30"/>
                  </a:lnTo>
                  <a:lnTo>
                    <a:pt x="25" y="30"/>
                  </a:lnTo>
                  <a:lnTo>
                    <a:pt x="25" y="31"/>
                  </a:lnTo>
                  <a:lnTo>
                    <a:pt x="23" y="31"/>
                  </a:lnTo>
                  <a:lnTo>
                    <a:pt x="22" y="30"/>
                  </a:lnTo>
                  <a:lnTo>
                    <a:pt x="21" y="30"/>
                  </a:lnTo>
                  <a:lnTo>
                    <a:pt x="21" y="29"/>
                  </a:lnTo>
                  <a:lnTo>
                    <a:pt x="20" y="29"/>
                  </a:lnTo>
                  <a:lnTo>
                    <a:pt x="20" y="28"/>
                  </a:lnTo>
                  <a:lnTo>
                    <a:pt x="20" y="26"/>
                  </a:lnTo>
                  <a:lnTo>
                    <a:pt x="19" y="26"/>
                  </a:lnTo>
                  <a:lnTo>
                    <a:pt x="20" y="26"/>
                  </a:lnTo>
                  <a:lnTo>
                    <a:pt x="20" y="25"/>
                  </a:lnTo>
                  <a:lnTo>
                    <a:pt x="19" y="25"/>
                  </a:lnTo>
                  <a:lnTo>
                    <a:pt x="20" y="25"/>
                  </a:lnTo>
                  <a:lnTo>
                    <a:pt x="20" y="26"/>
                  </a:lnTo>
                  <a:lnTo>
                    <a:pt x="19" y="26"/>
                  </a:lnTo>
                  <a:lnTo>
                    <a:pt x="19" y="25"/>
                  </a:lnTo>
                  <a:lnTo>
                    <a:pt x="19" y="24"/>
                  </a:lnTo>
                  <a:lnTo>
                    <a:pt x="19" y="25"/>
                  </a:lnTo>
                  <a:lnTo>
                    <a:pt x="19" y="24"/>
                  </a:lnTo>
                  <a:lnTo>
                    <a:pt x="18" y="24"/>
                  </a:lnTo>
                  <a:lnTo>
                    <a:pt x="19" y="24"/>
                  </a:lnTo>
                  <a:lnTo>
                    <a:pt x="19" y="23"/>
                  </a:lnTo>
                  <a:lnTo>
                    <a:pt x="18" y="23"/>
                  </a:lnTo>
                  <a:lnTo>
                    <a:pt x="18" y="22"/>
                  </a:lnTo>
                  <a:lnTo>
                    <a:pt x="18" y="23"/>
                  </a:lnTo>
                  <a:lnTo>
                    <a:pt x="16" y="23"/>
                  </a:lnTo>
                  <a:lnTo>
                    <a:pt x="16" y="22"/>
                  </a:lnTo>
                  <a:lnTo>
                    <a:pt x="15" y="22"/>
                  </a:lnTo>
                  <a:lnTo>
                    <a:pt x="14" y="22"/>
                  </a:lnTo>
                  <a:lnTo>
                    <a:pt x="13" y="22"/>
                  </a:lnTo>
                  <a:lnTo>
                    <a:pt x="12" y="23"/>
                  </a:lnTo>
                  <a:lnTo>
                    <a:pt x="12" y="22"/>
                  </a:lnTo>
                  <a:lnTo>
                    <a:pt x="12" y="21"/>
                  </a:lnTo>
                  <a:lnTo>
                    <a:pt x="12" y="19"/>
                  </a:lnTo>
                  <a:lnTo>
                    <a:pt x="11" y="21"/>
                  </a:lnTo>
                  <a:lnTo>
                    <a:pt x="11" y="19"/>
                  </a:lnTo>
                  <a:lnTo>
                    <a:pt x="9" y="19"/>
                  </a:lnTo>
                  <a:lnTo>
                    <a:pt x="9" y="21"/>
                  </a:lnTo>
                  <a:lnTo>
                    <a:pt x="8" y="21"/>
                  </a:lnTo>
                  <a:lnTo>
                    <a:pt x="8" y="19"/>
                  </a:lnTo>
                  <a:lnTo>
                    <a:pt x="8" y="21"/>
                  </a:lnTo>
                  <a:lnTo>
                    <a:pt x="7" y="21"/>
                  </a:lnTo>
                  <a:lnTo>
                    <a:pt x="6" y="21"/>
                  </a:lnTo>
                  <a:lnTo>
                    <a:pt x="5" y="19"/>
                  </a:lnTo>
                  <a:lnTo>
                    <a:pt x="4" y="21"/>
                  </a:lnTo>
                  <a:lnTo>
                    <a:pt x="2" y="21"/>
                  </a:lnTo>
                  <a:lnTo>
                    <a:pt x="2" y="22"/>
                  </a:lnTo>
                  <a:lnTo>
                    <a:pt x="2" y="23"/>
                  </a:lnTo>
                  <a:lnTo>
                    <a:pt x="2" y="24"/>
                  </a:lnTo>
                  <a:lnTo>
                    <a:pt x="1" y="24"/>
                  </a:lnTo>
                  <a:lnTo>
                    <a:pt x="2" y="23"/>
                  </a:lnTo>
                  <a:lnTo>
                    <a:pt x="1" y="22"/>
                  </a:lnTo>
                  <a:lnTo>
                    <a:pt x="1" y="21"/>
                  </a:lnTo>
                  <a:lnTo>
                    <a:pt x="0" y="21"/>
                  </a:lnTo>
                  <a:lnTo>
                    <a:pt x="0" y="19"/>
                  </a:lnTo>
                  <a:lnTo>
                    <a:pt x="1" y="18"/>
                  </a:lnTo>
                  <a:lnTo>
                    <a:pt x="2" y="18"/>
                  </a:lnTo>
                  <a:lnTo>
                    <a:pt x="2" y="17"/>
                  </a:lnTo>
                  <a:lnTo>
                    <a:pt x="2" y="16"/>
                  </a:lnTo>
                  <a:lnTo>
                    <a:pt x="2" y="15"/>
                  </a:lnTo>
                  <a:lnTo>
                    <a:pt x="2" y="14"/>
                  </a:lnTo>
                  <a:lnTo>
                    <a:pt x="2" y="12"/>
                  </a:lnTo>
                  <a:lnTo>
                    <a:pt x="2" y="11"/>
                  </a:lnTo>
                  <a:lnTo>
                    <a:pt x="5" y="11"/>
                  </a:lnTo>
                  <a:lnTo>
                    <a:pt x="5" y="10"/>
                  </a:lnTo>
                  <a:lnTo>
                    <a:pt x="5" y="9"/>
                  </a:lnTo>
                  <a:lnTo>
                    <a:pt x="4" y="9"/>
                  </a:lnTo>
                  <a:lnTo>
                    <a:pt x="2" y="9"/>
                  </a:lnTo>
                  <a:lnTo>
                    <a:pt x="2" y="8"/>
                  </a:lnTo>
                  <a:lnTo>
                    <a:pt x="2" y="5"/>
                  </a:lnTo>
                  <a:lnTo>
                    <a:pt x="2" y="3"/>
                  </a:lnTo>
                  <a:lnTo>
                    <a:pt x="2" y="2"/>
                  </a:lnTo>
                  <a:lnTo>
                    <a:pt x="4" y="2"/>
                  </a:lnTo>
                  <a:lnTo>
                    <a:pt x="4" y="1"/>
                  </a:lnTo>
                  <a:lnTo>
                    <a:pt x="4" y="0"/>
                  </a:lnTo>
                  <a:lnTo>
                    <a:pt x="5" y="0"/>
                  </a:lnTo>
                  <a:lnTo>
                    <a:pt x="5" y="1"/>
                  </a:lnTo>
                  <a:lnTo>
                    <a:pt x="6" y="1"/>
                  </a:lnTo>
                  <a:lnTo>
                    <a:pt x="6" y="2"/>
                  </a:lnTo>
                  <a:lnTo>
                    <a:pt x="7" y="2"/>
                  </a:lnTo>
                  <a:lnTo>
                    <a:pt x="7" y="1"/>
                  </a:lnTo>
                  <a:lnTo>
                    <a:pt x="7" y="0"/>
                  </a:lnTo>
                  <a:lnTo>
                    <a:pt x="7" y="1"/>
                  </a:lnTo>
                  <a:lnTo>
                    <a:pt x="9" y="2"/>
                  </a:lnTo>
                  <a:lnTo>
                    <a:pt x="11" y="3"/>
                  </a:lnTo>
                  <a:lnTo>
                    <a:pt x="11" y="2"/>
                  </a:lnTo>
                  <a:lnTo>
                    <a:pt x="11" y="3"/>
                  </a:lnTo>
                  <a:lnTo>
                    <a:pt x="9" y="4"/>
                  </a:lnTo>
                  <a:lnTo>
                    <a:pt x="11" y="4"/>
                  </a:lnTo>
                  <a:lnTo>
                    <a:pt x="9" y="4"/>
                  </a:lnTo>
                  <a:lnTo>
                    <a:pt x="9" y="5"/>
                  </a:lnTo>
                  <a:lnTo>
                    <a:pt x="11" y="5"/>
                  </a:lnTo>
                  <a:lnTo>
                    <a:pt x="11" y="7"/>
                  </a:lnTo>
                  <a:lnTo>
                    <a:pt x="12" y="7"/>
                  </a:lnTo>
                  <a:lnTo>
                    <a:pt x="11" y="5"/>
                  </a:lnTo>
                  <a:lnTo>
                    <a:pt x="12" y="5"/>
                  </a:lnTo>
                  <a:lnTo>
                    <a:pt x="12" y="7"/>
                  </a:lnTo>
                  <a:lnTo>
                    <a:pt x="12" y="5"/>
                  </a:lnTo>
                  <a:lnTo>
                    <a:pt x="12" y="7"/>
                  </a:lnTo>
                  <a:lnTo>
                    <a:pt x="12" y="5"/>
                  </a:lnTo>
                  <a:lnTo>
                    <a:pt x="13" y="5"/>
                  </a:lnTo>
                  <a:lnTo>
                    <a:pt x="13" y="7"/>
                  </a:lnTo>
                  <a:lnTo>
                    <a:pt x="12" y="7"/>
                  </a:lnTo>
                  <a:lnTo>
                    <a:pt x="12" y="8"/>
                  </a:lnTo>
                  <a:lnTo>
                    <a:pt x="12" y="9"/>
                  </a:lnTo>
                  <a:lnTo>
                    <a:pt x="13" y="9"/>
                  </a:lnTo>
                  <a:lnTo>
                    <a:pt x="13" y="10"/>
                  </a:lnTo>
                  <a:lnTo>
                    <a:pt x="14" y="10"/>
                  </a:lnTo>
                  <a:lnTo>
                    <a:pt x="15" y="10"/>
                  </a:lnTo>
                  <a:lnTo>
                    <a:pt x="16" y="10"/>
                  </a:lnTo>
                  <a:lnTo>
                    <a:pt x="18" y="10"/>
                  </a:lnTo>
                  <a:lnTo>
                    <a:pt x="18" y="9"/>
                  </a:lnTo>
                  <a:lnTo>
                    <a:pt x="16" y="8"/>
                  </a:lnTo>
                  <a:lnTo>
                    <a:pt x="16" y="7"/>
                  </a:lnTo>
                  <a:lnTo>
                    <a:pt x="18" y="7"/>
                  </a:lnTo>
                  <a:lnTo>
                    <a:pt x="16" y="7"/>
                  </a:lnTo>
                  <a:lnTo>
                    <a:pt x="18" y="7"/>
                  </a:lnTo>
                  <a:lnTo>
                    <a:pt x="18" y="8"/>
                  </a:lnTo>
                  <a:lnTo>
                    <a:pt x="19" y="8"/>
                  </a:lnTo>
                  <a:lnTo>
                    <a:pt x="19" y="9"/>
                  </a:lnTo>
                  <a:lnTo>
                    <a:pt x="20" y="11"/>
                  </a:lnTo>
                  <a:lnTo>
                    <a:pt x="21" y="11"/>
                  </a:lnTo>
                  <a:lnTo>
                    <a:pt x="21" y="12"/>
                  </a:lnTo>
                  <a:lnTo>
                    <a:pt x="22" y="12"/>
                  </a:lnTo>
                  <a:lnTo>
                    <a:pt x="23" y="12"/>
                  </a:lnTo>
                  <a:lnTo>
                    <a:pt x="25" y="12"/>
                  </a:lnTo>
                  <a:lnTo>
                    <a:pt x="26" y="12"/>
                  </a:lnTo>
                  <a:lnTo>
                    <a:pt x="27" y="12"/>
                  </a:lnTo>
                  <a:lnTo>
                    <a:pt x="28" y="12"/>
                  </a:lnTo>
                  <a:lnTo>
                    <a:pt x="29" y="11"/>
                  </a:lnTo>
                  <a:lnTo>
                    <a:pt x="30" y="11"/>
                  </a:lnTo>
                  <a:lnTo>
                    <a:pt x="31" y="11"/>
                  </a:lnTo>
                  <a:lnTo>
                    <a:pt x="31" y="10"/>
                  </a:lnTo>
                  <a:lnTo>
                    <a:pt x="33" y="10"/>
                  </a:lnTo>
                  <a:lnTo>
                    <a:pt x="33" y="9"/>
                  </a:lnTo>
                  <a:lnTo>
                    <a:pt x="34" y="9"/>
                  </a:lnTo>
                  <a:lnTo>
                    <a:pt x="35" y="8"/>
                  </a:lnTo>
                  <a:lnTo>
                    <a:pt x="36" y="8"/>
                  </a:lnTo>
                  <a:lnTo>
                    <a:pt x="37" y="7"/>
                  </a:lnTo>
                  <a:lnTo>
                    <a:pt x="38" y="7"/>
                  </a:lnTo>
                  <a:lnTo>
                    <a:pt x="40" y="7"/>
                  </a:lnTo>
                  <a:lnTo>
                    <a:pt x="41" y="7"/>
                  </a:lnTo>
                  <a:lnTo>
                    <a:pt x="41" y="5"/>
                  </a:lnTo>
                  <a:lnTo>
                    <a:pt x="42" y="5"/>
                  </a:lnTo>
                  <a:lnTo>
                    <a:pt x="43" y="4"/>
                  </a:lnTo>
                  <a:lnTo>
                    <a:pt x="43" y="3"/>
                  </a:lnTo>
                  <a:lnTo>
                    <a:pt x="44" y="3"/>
                  </a:lnTo>
                  <a:lnTo>
                    <a:pt x="44" y="4"/>
                  </a:lnTo>
                  <a:lnTo>
                    <a:pt x="44" y="3"/>
                  </a:lnTo>
                  <a:lnTo>
                    <a:pt x="44" y="4"/>
                  </a:lnTo>
                  <a:lnTo>
                    <a:pt x="44" y="3"/>
                  </a:lnTo>
                  <a:lnTo>
                    <a:pt x="45" y="3"/>
                  </a:lnTo>
                  <a:lnTo>
                    <a:pt x="45" y="4"/>
                  </a:lnTo>
                  <a:lnTo>
                    <a:pt x="45" y="3"/>
                  </a:lnTo>
                  <a:lnTo>
                    <a:pt x="47" y="2"/>
                  </a:lnTo>
                  <a:lnTo>
                    <a:pt x="48" y="2"/>
                  </a:lnTo>
                  <a:lnTo>
                    <a:pt x="48" y="1"/>
                  </a:lnTo>
                  <a:lnTo>
                    <a:pt x="48" y="0"/>
                  </a:lnTo>
                  <a:lnTo>
                    <a:pt x="49" y="0"/>
                  </a:lnTo>
                  <a:lnTo>
                    <a:pt x="5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13" name="Freeform 971">
              <a:extLst>
                <a:ext uri="{FF2B5EF4-FFF2-40B4-BE49-F238E27FC236}">
                  <a16:creationId xmlns:a16="http://schemas.microsoft.com/office/drawing/2014/main" id="{0C7B7473-1BF0-47AB-8A2F-ADAB6CF44B1F}"/>
                </a:ext>
              </a:extLst>
            </p:cNvPr>
            <p:cNvSpPr>
              <a:spLocks noEditPoints="1"/>
            </p:cNvSpPr>
            <p:nvPr/>
          </p:nvSpPr>
          <p:spPr bwMode="auto">
            <a:xfrm>
              <a:off x="3431930" y="3853343"/>
              <a:ext cx="112181" cy="25375"/>
            </a:xfrm>
            <a:custGeom>
              <a:avLst/>
              <a:gdLst>
                <a:gd name="T0" fmla="*/ 13 w 84"/>
                <a:gd name="T1" fmla="*/ 19 h 19"/>
                <a:gd name="T2" fmla="*/ 13 w 84"/>
                <a:gd name="T3" fmla="*/ 19 h 19"/>
                <a:gd name="T4" fmla="*/ 13 w 84"/>
                <a:gd name="T5" fmla="*/ 19 h 19"/>
                <a:gd name="T6" fmla="*/ 13 w 84"/>
                <a:gd name="T7" fmla="*/ 19 h 19"/>
                <a:gd name="T8" fmla="*/ 13 w 84"/>
                <a:gd name="T9" fmla="*/ 18 h 19"/>
                <a:gd name="T10" fmla="*/ 13 w 84"/>
                <a:gd name="T11" fmla="*/ 18 h 19"/>
                <a:gd name="T12" fmla="*/ 13 w 84"/>
                <a:gd name="T13" fmla="*/ 18 h 19"/>
                <a:gd name="T14" fmla="*/ 13 w 84"/>
                <a:gd name="T15" fmla="*/ 18 h 19"/>
                <a:gd name="T16" fmla="*/ 13 w 84"/>
                <a:gd name="T17" fmla="*/ 19 h 19"/>
                <a:gd name="T18" fmla="*/ 84 w 84"/>
                <a:gd name="T19" fmla="*/ 12 h 19"/>
                <a:gd name="T20" fmla="*/ 84 w 84"/>
                <a:gd name="T21" fmla="*/ 12 h 19"/>
                <a:gd name="T22" fmla="*/ 84 w 84"/>
                <a:gd name="T23" fmla="*/ 12 h 19"/>
                <a:gd name="T24" fmla="*/ 84 w 84"/>
                <a:gd name="T25" fmla="*/ 12 h 19"/>
                <a:gd name="T26" fmla="*/ 84 w 84"/>
                <a:gd name="T27" fmla="*/ 12 h 19"/>
                <a:gd name="T28" fmla="*/ 84 w 84"/>
                <a:gd name="T29" fmla="*/ 12 h 19"/>
                <a:gd name="T30" fmla="*/ 84 w 84"/>
                <a:gd name="T31" fmla="*/ 12 h 19"/>
                <a:gd name="T32" fmla="*/ 84 w 84"/>
                <a:gd name="T33" fmla="*/ 12 h 19"/>
                <a:gd name="T34" fmla="*/ 83 w 84"/>
                <a:gd name="T35" fmla="*/ 12 h 19"/>
                <a:gd name="T36" fmla="*/ 84 w 84"/>
                <a:gd name="T37" fmla="*/ 12 h 19"/>
                <a:gd name="T38" fmla="*/ 84 w 84"/>
                <a:gd name="T39" fmla="*/ 12 h 19"/>
                <a:gd name="T40" fmla="*/ 35 w 84"/>
                <a:gd name="T41" fmla="*/ 7 h 19"/>
                <a:gd name="T42" fmla="*/ 35 w 84"/>
                <a:gd name="T43" fmla="*/ 9 h 19"/>
                <a:gd name="T44" fmla="*/ 35 w 84"/>
                <a:gd name="T45" fmla="*/ 7 h 19"/>
                <a:gd name="T46" fmla="*/ 34 w 84"/>
                <a:gd name="T47" fmla="*/ 7 h 19"/>
                <a:gd name="T48" fmla="*/ 34 w 84"/>
                <a:gd name="T49" fmla="*/ 7 h 19"/>
                <a:gd name="T50" fmla="*/ 34 w 84"/>
                <a:gd name="T51" fmla="*/ 6 h 19"/>
                <a:gd name="T52" fmla="*/ 35 w 84"/>
                <a:gd name="T53" fmla="*/ 7 h 19"/>
                <a:gd name="T54" fmla="*/ 35 w 84"/>
                <a:gd name="T55" fmla="*/ 7 h 19"/>
                <a:gd name="T56" fmla="*/ 35 w 84"/>
                <a:gd name="T57" fmla="*/ 7 h 19"/>
                <a:gd name="T58" fmla="*/ 0 w 84"/>
                <a:gd name="T59" fmla="*/ 0 h 19"/>
                <a:gd name="T60" fmla="*/ 0 w 84"/>
                <a:gd name="T61" fmla="*/ 0 h 19"/>
                <a:gd name="T62" fmla="*/ 0 w 84"/>
                <a:gd name="T63" fmla="*/ 0 h 19"/>
                <a:gd name="T64" fmla="*/ 0 w 84"/>
                <a:gd name="T65" fmla="*/ 0 h 19"/>
                <a:gd name="T66" fmla="*/ 0 w 84"/>
                <a:gd name="T67" fmla="*/ 0 h 19"/>
                <a:gd name="T68" fmla="*/ 0 w 84"/>
                <a:gd name="T69" fmla="*/ 0 h 19"/>
                <a:gd name="T70" fmla="*/ 0 w 84"/>
                <a:gd name="T71" fmla="*/ 0 h 19"/>
                <a:gd name="T72" fmla="*/ 0 w 84"/>
                <a:gd name="T73" fmla="*/ 0 h 19"/>
                <a:gd name="T74" fmla="*/ 0 w 84"/>
                <a:gd name="T7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19">
                  <a:moveTo>
                    <a:pt x="13" y="19"/>
                  </a:moveTo>
                  <a:lnTo>
                    <a:pt x="13" y="19"/>
                  </a:lnTo>
                  <a:lnTo>
                    <a:pt x="13" y="19"/>
                  </a:lnTo>
                  <a:lnTo>
                    <a:pt x="13" y="19"/>
                  </a:lnTo>
                  <a:lnTo>
                    <a:pt x="13" y="18"/>
                  </a:lnTo>
                  <a:lnTo>
                    <a:pt x="13" y="18"/>
                  </a:lnTo>
                  <a:lnTo>
                    <a:pt x="13" y="18"/>
                  </a:lnTo>
                  <a:lnTo>
                    <a:pt x="13" y="18"/>
                  </a:lnTo>
                  <a:lnTo>
                    <a:pt x="13" y="19"/>
                  </a:lnTo>
                  <a:close/>
                  <a:moveTo>
                    <a:pt x="84" y="12"/>
                  </a:moveTo>
                  <a:lnTo>
                    <a:pt x="84" y="12"/>
                  </a:lnTo>
                  <a:lnTo>
                    <a:pt x="84" y="12"/>
                  </a:lnTo>
                  <a:lnTo>
                    <a:pt x="84" y="12"/>
                  </a:lnTo>
                  <a:lnTo>
                    <a:pt x="84" y="12"/>
                  </a:lnTo>
                  <a:lnTo>
                    <a:pt x="84" y="12"/>
                  </a:lnTo>
                  <a:lnTo>
                    <a:pt x="84" y="12"/>
                  </a:lnTo>
                  <a:lnTo>
                    <a:pt x="84" y="12"/>
                  </a:lnTo>
                  <a:lnTo>
                    <a:pt x="83" y="12"/>
                  </a:lnTo>
                  <a:lnTo>
                    <a:pt x="84" y="12"/>
                  </a:lnTo>
                  <a:lnTo>
                    <a:pt x="84" y="12"/>
                  </a:lnTo>
                  <a:close/>
                  <a:moveTo>
                    <a:pt x="35" y="7"/>
                  </a:moveTo>
                  <a:lnTo>
                    <a:pt x="35" y="9"/>
                  </a:lnTo>
                  <a:lnTo>
                    <a:pt x="35" y="7"/>
                  </a:lnTo>
                  <a:lnTo>
                    <a:pt x="34" y="7"/>
                  </a:lnTo>
                  <a:lnTo>
                    <a:pt x="34" y="7"/>
                  </a:lnTo>
                  <a:lnTo>
                    <a:pt x="34" y="6"/>
                  </a:lnTo>
                  <a:lnTo>
                    <a:pt x="35" y="7"/>
                  </a:lnTo>
                  <a:lnTo>
                    <a:pt x="35" y="7"/>
                  </a:lnTo>
                  <a:lnTo>
                    <a:pt x="35" y="7"/>
                  </a:lnTo>
                  <a:close/>
                  <a:moveTo>
                    <a:pt x="0" y="0"/>
                  </a:move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14" name="Freeform 972">
              <a:extLst>
                <a:ext uri="{FF2B5EF4-FFF2-40B4-BE49-F238E27FC236}">
                  <a16:creationId xmlns:a16="http://schemas.microsoft.com/office/drawing/2014/main" id="{7EDF6CB9-87E9-436F-9FA5-64CE36A8C9EA}"/>
                </a:ext>
              </a:extLst>
            </p:cNvPr>
            <p:cNvSpPr>
              <a:spLocks noEditPoints="1"/>
            </p:cNvSpPr>
            <p:nvPr/>
          </p:nvSpPr>
          <p:spPr bwMode="auto">
            <a:xfrm>
              <a:off x="4293320" y="3348528"/>
              <a:ext cx="244395" cy="387292"/>
            </a:xfrm>
            <a:custGeom>
              <a:avLst/>
              <a:gdLst>
                <a:gd name="T0" fmla="*/ 90 w 183"/>
                <a:gd name="T1" fmla="*/ 5 h 290"/>
                <a:gd name="T2" fmla="*/ 100 w 183"/>
                <a:gd name="T3" fmla="*/ 17 h 290"/>
                <a:gd name="T4" fmla="*/ 108 w 183"/>
                <a:gd name="T5" fmla="*/ 25 h 290"/>
                <a:gd name="T6" fmla="*/ 113 w 183"/>
                <a:gd name="T7" fmla="*/ 37 h 290"/>
                <a:gd name="T8" fmla="*/ 125 w 183"/>
                <a:gd name="T9" fmla="*/ 39 h 290"/>
                <a:gd name="T10" fmla="*/ 136 w 183"/>
                <a:gd name="T11" fmla="*/ 35 h 290"/>
                <a:gd name="T12" fmla="*/ 148 w 183"/>
                <a:gd name="T13" fmla="*/ 38 h 290"/>
                <a:gd name="T14" fmla="*/ 156 w 183"/>
                <a:gd name="T15" fmla="*/ 44 h 290"/>
                <a:gd name="T16" fmla="*/ 155 w 183"/>
                <a:gd name="T17" fmla="*/ 62 h 290"/>
                <a:gd name="T18" fmla="*/ 151 w 183"/>
                <a:gd name="T19" fmla="*/ 65 h 290"/>
                <a:gd name="T20" fmla="*/ 141 w 183"/>
                <a:gd name="T21" fmla="*/ 69 h 290"/>
                <a:gd name="T22" fmla="*/ 127 w 183"/>
                <a:gd name="T23" fmla="*/ 75 h 290"/>
                <a:gd name="T24" fmla="*/ 118 w 183"/>
                <a:gd name="T25" fmla="*/ 83 h 290"/>
                <a:gd name="T26" fmla="*/ 114 w 183"/>
                <a:gd name="T27" fmla="*/ 103 h 290"/>
                <a:gd name="T28" fmla="*/ 107 w 183"/>
                <a:gd name="T29" fmla="*/ 116 h 290"/>
                <a:gd name="T30" fmla="*/ 107 w 183"/>
                <a:gd name="T31" fmla="*/ 125 h 290"/>
                <a:gd name="T32" fmla="*/ 114 w 183"/>
                <a:gd name="T33" fmla="*/ 137 h 290"/>
                <a:gd name="T34" fmla="*/ 123 w 183"/>
                <a:gd name="T35" fmla="*/ 149 h 290"/>
                <a:gd name="T36" fmla="*/ 130 w 183"/>
                <a:gd name="T37" fmla="*/ 158 h 290"/>
                <a:gd name="T38" fmla="*/ 150 w 183"/>
                <a:gd name="T39" fmla="*/ 151 h 290"/>
                <a:gd name="T40" fmla="*/ 152 w 183"/>
                <a:gd name="T41" fmla="*/ 157 h 290"/>
                <a:gd name="T42" fmla="*/ 163 w 183"/>
                <a:gd name="T43" fmla="*/ 173 h 290"/>
                <a:gd name="T44" fmla="*/ 182 w 183"/>
                <a:gd name="T45" fmla="*/ 199 h 290"/>
                <a:gd name="T46" fmla="*/ 179 w 183"/>
                <a:gd name="T47" fmla="*/ 214 h 290"/>
                <a:gd name="T48" fmla="*/ 179 w 183"/>
                <a:gd name="T49" fmla="*/ 226 h 290"/>
                <a:gd name="T50" fmla="*/ 178 w 183"/>
                <a:gd name="T51" fmla="*/ 241 h 290"/>
                <a:gd name="T52" fmla="*/ 171 w 183"/>
                <a:gd name="T53" fmla="*/ 242 h 290"/>
                <a:gd name="T54" fmla="*/ 170 w 183"/>
                <a:gd name="T55" fmla="*/ 248 h 290"/>
                <a:gd name="T56" fmla="*/ 175 w 183"/>
                <a:gd name="T57" fmla="*/ 254 h 290"/>
                <a:gd name="T58" fmla="*/ 182 w 183"/>
                <a:gd name="T59" fmla="*/ 259 h 290"/>
                <a:gd name="T60" fmla="*/ 175 w 183"/>
                <a:gd name="T61" fmla="*/ 273 h 290"/>
                <a:gd name="T62" fmla="*/ 172 w 183"/>
                <a:gd name="T63" fmla="*/ 287 h 290"/>
                <a:gd name="T64" fmla="*/ 157 w 183"/>
                <a:gd name="T65" fmla="*/ 283 h 290"/>
                <a:gd name="T66" fmla="*/ 144 w 183"/>
                <a:gd name="T67" fmla="*/ 272 h 290"/>
                <a:gd name="T68" fmla="*/ 130 w 183"/>
                <a:gd name="T69" fmla="*/ 263 h 290"/>
                <a:gd name="T70" fmla="*/ 113 w 183"/>
                <a:gd name="T71" fmla="*/ 254 h 290"/>
                <a:gd name="T72" fmla="*/ 98 w 183"/>
                <a:gd name="T73" fmla="*/ 244 h 290"/>
                <a:gd name="T74" fmla="*/ 87 w 183"/>
                <a:gd name="T75" fmla="*/ 234 h 290"/>
                <a:gd name="T76" fmla="*/ 79 w 183"/>
                <a:gd name="T77" fmla="*/ 221 h 290"/>
                <a:gd name="T78" fmla="*/ 78 w 183"/>
                <a:gd name="T79" fmla="*/ 210 h 290"/>
                <a:gd name="T80" fmla="*/ 69 w 183"/>
                <a:gd name="T81" fmla="*/ 195 h 290"/>
                <a:gd name="T82" fmla="*/ 62 w 183"/>
                <a:gd name="T83" fmla="*/ 184 h 290"/>
                <a:gd name="T84" fmla="*/ 56 w 183"/>
                <a:gd name="T85" fmla="*/ 173 h 290"/>
                <a:gd name="T86" fmla="*/ 49 w 183"/>
                <a:gd name="T87" fmla="*/ 161 h 290"/>
                <a:gd name="T88" fmla="*/ 44 w 183"/>
                <a:gd name="T89" fmla="*/ 147 h 290"/>
                <a:gd name="T90" fmla="*/ 40 w 183"/>
                <a:gd name="T91" fmla="*/ 140 h 290"/>
                <a:gd name="T92" fmla="*/ 29 w 183"/>
                <a:gd name="T93" fmla="*/ 124 h 290"/>
                <a:gd name="T94" fmla="*/ 22 w 183"/>
                <a:gd name="T95" fmla="*/ 110 h 290"/>
                <a:gd name="T96" fmla="*/ 4 w 183"/>
                <a:gd name="T97" fmla="*/ 95 h 290"/>
                <a:gd name="T98" fmla="*/ 2 w 183"/>
                <a:gd name="T99" fmla="*/ 82 h 290"/>
                <a:gd name="T100" fmla="*/ 1 w 183"/>
                <a:gd name="T101" fmla="*/ 69 h 290"/>
                <a:gd name="T102" fmla="*/ 12 w 183"/>
                <a:gd name="T103" fmla="*/ 55 h 290"/>
                <a:gd name="T104" fmla="*/ 14 w 183"/>
                <a:gd name="T105" fmla="*/ 63 h 290"/>
                <a:gd name="T106" fmla="*/ 15 w 183"/>
                <a:gd name="T107" fmla="*/ 68 h 290"/>
                <a:gd name="T108" fmla="*/ 27 w 183"/>
                <a:gd name="T109" fmla="*/ 76 h 290"/>
                <a:gd name="T110" fmla="*/ 37 w 183"/>
                <a:gd name="T111" fmla="*/ 70 h 290"/>
                <a:gd name="T112" fmla="*/ 41 w 183"/>
                <a:gd name="T113" fmla="*/ 53 h 290"/>
                <a:gd name="T114" fmla="*/ 51 w 183"/>
                <a:gd name="T115" fmla="*/ 46 h 290"/>
                <a:gd name="T116" fmla="*/ 72 w 183"/>
                <a:gd name="T117" fmla="*/ 33 h 290"/>
                <a:gd name="T118" fmla="*/ 81 w 183"/>
                <a:gd name="T119" fmla="*/ 14 h 290"/>
                <a:gd name="T120" fmla="*/ 80 w 183"/>
                <a:gd name="T121" fmla="*/ 3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3" h="290">
                  <a:moveTo>
                    <a:pt x="76" y="219"/>
                  </a:moveTo>
                  <a:lnTo>
                    <a:pt x="77" y="219"/>
                  </a:lnTo>
                  <a:lnTo>
                    <a:pt x="76" y="219"/>
                  </a:lnTo>
                  <a:close/>
                  <a:moveTo>
                    <a:pt x="64" y="192"/>
                  </a:moveTo>
                  <a:lnTo>
                    <a:pt x="63" y="192"/>
                  </a:lnTo>
                  <a:lnTo>
                    <a:pt x="63" y="191"/>
                  </a:lnTo>
                  <a:lnTo>
                    <a:pt x="64" y="192"/>
                  </a:lnTo>
                  <a:close/>
                  <a:moveTo>
                    <a:pt x="8" y="102"/>
                  </a:moveTo>
                  <a:lnTo>
                    <a:pt x="8" y="101"/>
                  </a:lnTo>
                  <a:lnTo>
                    <a:pt x="8" y="102"/>
                  </a:lnTo>
                  <a:close/>
                  <a:moveTo>
                    <a:pt x="87" y="2"/>
                  </a:moveTo>
                  <a:lnTo>
                    <a:pt x="87" y="3"/>
                  </a:lnTo>
                  <a:lnTo>
                    <a:pt x="88" y="3"/>
                  </a:lnTo>
                  <a:lnTo>
                    <a:pt x="90" y="3"/>
                  </a:lnTo>
                  <a:lnTo>
                    <a:pt x="91" y="4"/>
                  </a:lnTo>
                  <a:lnTo>
                    <a:pt x="90" y="5"/>
                  </a:lnTo>
                  <a:lnTo>
                    <a:pt x="91" y="5"/>
                  </a:lnTo>
                  <a:lnTo>
                    <a:pt x="92" y="5"/>
                  </a:lnTo>
                  <a:lnTo>
                    <a:pt x="93" y="6"/>
                  </a:lnTo>
                  <a:lnTo>
                    <a:pt x="93" y="7"/>
                  </a:lnTo>
                  <a:lnTo>
                    <a:pt x="94" y="7"/>
                  </a:lnTo>
                  <a:lnTo>
                    <a:pt x="95" y="7"/>
                  </a:lnTo>
                  <a:lnTo>
                    <a:pt x="95" y="9"/>
                  </a:lnTo>
                  <a:lnTo>
                    <a:pt x="97" y="11"/>
                  </a:lnTo>
                  <a:lnTo>
                    <a:pt x="95" y="11"/>
                  </a:lnTo>
                  <a:lnTo>
                    <a:pt x="97" y="12"/>
                  </a:lnTo>
                  <a:lnTo>
                    <a:pt x="97" y="13"/>
                  </a:lnTo>
                  <a:lnTo>
                    <a:pt x="97" y="14"/>
                  </a:lnTo>
                  <a:lnTo>
                    <a:pt x="98" y="16"/>
                  </a:lnTo>
                  <a:lnTo>
                    <a:pt x="99" y="16"/>
                  </a:lnTo>
                  <a:lnTo>
                    <a:pt x="100" y="16"/>
                  </a:lnTo>
                  <a:lnTo>
                    <a:pt x="100" y="17"/>
                  </a:lnTo>
                  <a:lnTo>
                    <a:pt x="101" y="17"/>
                  </a:lnTo>
                  <a:lnTo>
                    <a:pt x="102" y="17"/>
                  </a:lnTo>
                  <a:lnTo>
                    <a:pt x="102" y="18"/>
                  </a:lnTo>
                  <a:lnTo>
                    <a:pt x="102" y="19"/>
                  </a:lnTo>
                  <a:lnTo>
                    <a:pt x="104" y="19"/>
                  </a:lnTo>
                  <a:lnTo>
                    <a:pt x="105" y="19"/>
                  </a:lnTo>
                  <a:lnTo>
                    <a:pt x="105" y="18"/>
                  </a:lnTo>
                  <a:lnTo>
                    <a:pt x="105" y="19"/>
                  </a:lnTo>
                  <a:lnTo>
                    <a:pt x="106" y="19"/>
                  </a:lnTo>
                  <a:lnTo>
                    <a:pt x="106" y="20"/>
                  </a:lnTo>
                  <a:lnTo>
                    <a:pt x="107" y="20"/>
                  </a:lnTo>
                  <a:lnTo>
                    <a:pt x="107" y="21"/>
                  </a:lnTo>
                  <a:lnTo>
                    <a:pt x="107" y="23"/>
                  </a:lnTo>
                  <a:lnTo>
                    <a:pt x="108" y="23"/>
                  </a:lnTo>
                  <a:lnTo>
                    <a:pt x="108" y="24"/>
                  </a:lnTo>
                  <a:lnTo>
                    <a:pt x="108" y="25"/>
                  </a:lnTo>
                  <a:lnTo>
                    <a:pt x="108" y="26"/>
                  </a:lnTo>
                  <a:lnTo>
                    <a:pt x="109" y="27"/>
                  </a:lnTo>
                  <a:lnTo>
                    <a:pt x="111" y="27"/>
                  </a:lnTo>
                  <a:lnTo>
                    <a:pt x="111" y="28"/>
                  </a:lnTo>
                  <a:lnTo>
                    <a:pt x="111" y="27"/>
                  </a:lnTo>
                  <a:lnTo>
                    <a:pt x="112" y="27"/>
                  </a:lnTo>
                  <a:lnTo>
                    <a:pt x="113" y="27"/>
                  </a:lnTo>
                  <a:lnTo>
                    <a:pt x="113" y="28"/>
                  </a:lnTo>
                  <a:lnTo>
                    <a:pt x="113" y="30"/>
                  </a:lnTo>
                  <a:lnTo>
                    <a:pt x="113" y="31"/>
                  </a:lnTo>
                  <a:lnTo>
                    <a:pt x="113" y="32"/>
                  </a:lnTo>
                  <a:lnTo>
                    <a:pt x="114" y="32"/>
                  </a:lnTo>
                  <a:lnTo>
                    <a:pt x="113" y="33"/>
                  </a:lnTo>
                  <a:lnTo>
                    <a:pt x="113" y="34"/>
                  </a:lnTo>
                  <a:lnTo>
                    <a:pt x="113" y="35"/>
                  </a:lnTo>
                  <a:lnTo>
                    <a:pt x="113" y="37"/>
                  </a:lnTo>
                  <a:lnTo>
                    <a:pt x="114" y="37"/>
                  </a:lnTo>
                  <a:lnTo>
                    <a:pt x="115" y="37"/>
                  </a:lnTo>
                  <a:lnTo>
                    <a:pt x="116" y="37"/>
                  </a:lnTo>
                  <a:lnTo>
                    <a:pt x="116" y="38"/>
                  </a:lnTo>
                  <a:lnTo>
                    <a:pt x="118" y="38"/>
                  </a:lnTo>
                  <a:lnTo>
                    <a:pt x="119" y="38"/>
                  </a:lnTo>
                  <a:lnTo>
                    <a:pt x="119" y="37"/>
                  </a:lnTo>
                  <a:lnTo>
                    <a:pt x="119" y="38"/>
                  </a:lnTo>
                  <a:lnTo>
                    <a:pt x="120" y="38"/>
                  </a:lnTo>
                  <a:lnTo>
                    <a:pt x="120" y="37"/>
                  </a:lnTo>
                  <a:lnTo>
                    <a:pt x="121" y="37"/>
                  </a:lnTo>
                  <a:lnTo>
                    <a:pt x="121" y="38"/>
                  </a:lnTo>
                  <a:lnTo>
                    <a:pt x="122" y="38"/>
                  </a:lnTo>
                  <a:lnTo>
                    <a:pt x="123" y="38"/>
                  </a:lnTo>
                  <a:lnTo>
                    <a:pt x="123" y="39"/>
                  </a:lnTo>
                  <a:lnTo>
                    <a:pt x="125" y="39"/>
                  </a:lnTo>
                  <a:lnTo>
                    <a:pt x="125" y="38"/>
                  </a:lnTo>
                  <a:lnTo>
                    <a:pt x="126" y="38"/>
                  </a:lnTo>
                  <a:lnTo>
                    <a:pt x="127" y="38"/>
                  </a:lnTo>
                  <a:lnTo>
                    <a:pt x="128" y="37"/>
                  </a:lnTo>
                  <a:lnTo>
                    <a:pt x="129" y="37"/>
                  </a:lnTo>
                  <a:lnTo>
                    <a:pt x="130" y="37"/>
                  </a:lnTo>
                  <a:lnTo>
                    <a:pt x="130" y="35"/>
                  </a:lnTo>
                  <a:lnTo>
                    <a:pt x="132" y="35"/>
                  </a:lnTo>
                  <a:lnTo>
                    <a:pt x="132" y="34"/>
                  </a:lnTo>
                  <a:lnTo>
                    <a:pt x="133" y="33"/>
                  </a:lnTo>
                  <a:lnTo>
                    <a:pt x="133" y="34"/>
                  </a:lnTo>
                  <a:lnTo>
                    <a:pt x="134" y="34"/>
                  </a:lnTo>
                  <a:lnTo>
                    <a:pt x="135" y="34"/>
                  </a:lnTo>
                  <a:lnTo>
                    <a:pt x="136" y="35"/>
                  </a:lnTo>
                  <a:lnTo>
                    <a:pt x="136" y="37"/>
                  </a:lnTo>
                  <a:lnTo>
                    <a:pt x="136" y="35"/>
                  </a:lnTo>
                  <a:lnTo>
                    <a:pt x="137" y="35"/>
                  </a:lnTo>
                  <a:lnTo>
                    <a:pt x="137" y="37"/>
                  </a:lnTo>
                  <a:lnTo>
                    <a:pt x="137" y="38"/>
                  </a:lnTo>
                  <a:lnTo>
                    <a:pt x="137" y="37"/>
                  </a:lnTo>
                  <a:lnTo>
                    <a:pt x="138" y="37"/>
                  </a:lnTo>
                  <a:lnTo>
                    <a:pt x="140" y="37"/>
                  </a:lnTo>
                  <a:lnTo>
                    <a:pt x="141" y="37"/>
                  </a:lnTo>
                  <a:lnTo>
                    <a:pt x="141" y="35"/>
                  </a:lnTo>
                  <a:lnTo>
                    <a:pt x="142" y="35"/>
                  </a:lnTo>
                  <a:lnTo>
                    <a:pt x="143" y="35"/>
                  </a:lnTo>
                  <a:lnTo>
                    <a:pt x="143" y="34"/>
                  </a:lnTo>
                  <a:lnTo>
                    <a:pt x="144" y="34"/>
                  </a:lnTo>
                  <a:lnTo>
                    <a:pt x="145" y="35"/>
                  </a:lnTo>
                  <a:lnTo>
                    <a:pt x="147" y="37"/>
                  </a:lnTo>
                  <a:lnTo>
                    <a:pt x="148" y="37"/>
                  </a:lnTo>
                  <a:lnTo>
                    <a:pt x="148" y="38"/>
                  </a:lnTo>
                  <a:lnTo>
                    <a:pt x="148" y="39"/>
                  </a:lnTo>
                  <a:lnTo>
                    <a:pt x="149" y="39"/>
                  </a:lnTo>
                  <a:lnTo>
                    <a:pt x="149" y="38"/>
                  </a:lnTo>
                  <a:lnTo>
                    <a:pt x="150" y="38"/>
                  </a:lnTo>
                  <a:lnTo>
                    <a:pt x="150" y="39"/>
                  </a:lnTo>
                  <a:lnTo>
                    <a:pt x="151" y="39"/>
                  </a:lnTo>
                  <a:lnTo>
                    <a:pt x="152" y="39"/>
                  </a:lnTo>
                  <a:lnTo>
                    <a:pt x="152" y="40"/>
                  </a:lnTo>
                  <a:lnTo>
                    <a:pt x="154" y="40"/>
                  </a:lnTo>
                  <a:lnTo>
                    <a:pt x="154" y="41"/>
                  </a:lnTo>
                  <a:lnTo>
                    <a:pt x="155" y="41"/>
                  </a:lnTo>
                  <a:lnTo>
                    <a:pt x="155" y="42"/>
                  </a:lnTo>
                  <a:lnTo>
                    <a:pt x="156" y="41"/>
                  </a:lnTo>
                  <a:lnTo>
                    <a:pt x="156" y="42"/>
                  </a:lnTo>
                  <a:lnTo>
                    <a:pt x="157" y="42"/>
                  </a:lnTo>
                  <a:lnTo>
                    <a:pt x="156" y="44"/>
                  </a:lnTo>
                  <a:lnTo>
                    <a:pt x="155" y="45"/>
                  </a:lnTo>
                  <a:lnTo>
                    <a:pt x="154" y="47"/>
                  </a:lnTo>
                  <a:lnTo>
                    <a:pt x="154" y="49"/>
                  </a:lnTo>
                  <a:lnTo>
                    <a:pt x="152" y="51"/>
                  </a:lnTo>
                  <a:lnTo>
                    <a:pt x="151" y="53"/>
                  </a:lnTo>
                  <a:lnTo>
                    <a:pt x="150" y="55"/>
                  </a:lnTo>
                  <a:lnTo>
                    <a:pt x="149" y="56"/>
                  </a:lnTo>
                  <a:lnTo>
                    <a:pt x="148" y="59"/>
                  </a:lnTo>
                  <a:lnTo>
                    <a:pt x="148" y="60"/>
                  </a:lnTo>
                  <a:lnTo>
                    <a:pt x="150" y="61"/>
                  </a:lnTo>
                  <a:lnTo>
                    <a:pt x="151" y="61"/>
                  </a:lnTo>
                  <a:lnTo>
                    <a:pt x="152" y="60"/>
                  </a:lnTo>
                  <a:lnTo>
                    <a:pt x="154" y="60"/>
                  </a:lnTo>
                  <a:lnTo>
                    <a:pt x="154" y="61"/>
                  </a:lnTo>
                  <a:lnTo>
                    <a:pt x="155" y="61"/>
                  </a:lnTo>
                  <a:lnTo>
                    <a:pt x="155" y="62"/>
                  </a:lnTo>
                  <a:lnTo>
                    <a:pt x="155" y="63"/>
                  </a:lnTo>
                  <a:lnTo>
                    <a:pt x="156" y="63"/>
                  </a:lnTo>
                  <a:lnTo>
                    <a:pt x="157" y="65"/>
                  </a:lnTo>
                  <a:lnTo>
                    <a:pt x="158" y="66"/>
                  </a:lnTo>
                  <a:lnTo>
                    <a:pt x="158" y="67"/>
                  </a:lnTo>
                  <a:lnTo>
                    <a:pt x="158" y="68"/>
                  </a:lnTo>
                  <a:lnTo>
                    <a:pt x="157" y="68"/>
                  </a:lnTo>
                  <a:lnTo>
                    <a:pt x="157" y="67"/>
                  </a:lnTo>
                  <a:lnTo>
                    <a:pt x="156" y="67"/>
                  </a:lnTo>
                  <a:lnTo>
                    <a:pt x="156" y="68"/>
                  </a:lnTo>
                  <a:lnTo>
                    <a:pt x="155" y="68"/>
                  </a:lnTo>
                  <a:lnTo>
                    <a:pt x="154" y="67"/>
                  </a:lnTo>
                  <a:lnTo>
                    <a:pt x="154" y="66"/>
                  </a:lnTo>
                  <a:lnTo>
                    <a:pt x="152" y="66"/>
                  </a:lnTo>
                  <a:lnTo>
                    <a:pt x="152" y="65"/>
                  </a:lnTo>
                  <a:lnTo>
                    <a:pt x="151" y="65"/>
                  </a:lnTo>
                  <a:lnTo>
                    <a:pt x="151" y="66"/>
                  </a:lnTo>
                  <a:lnTo>
                    <a:pt x="150" y="66"/>
                  </a:lnTo>
                  <a:lnTo>
                    <a:pt x="149" y="66"/>
                  </a:lnTo>
                  <a:lnTo>
                    <a:pt x="149" y="65"/>
                  </a:lnTo>
                  <a:lnTo>
                    <a:pt x="148" y="66"/>
                  </a:lnTo>
                  <a:lnTo>
                    <a:pt x="147" y="66"/>
                  </a:lnTo>
                  <a:lnTo>
                    <a:pt x="147" y="67"/>
                  </a:lnTo>
                  <a:lnTo>
                    <a:pt x="145" y="67"/>
                  </a:lnTo>
                  <a:lnTo>
                    <a:pt x="145" y="68"/>
                  </a:lnTo>
                  <a:lnTo>
                    <a:pt x="144" y="68"/>
                  </a:lnTo>
                  <a:lnTo>
                    <a:pt x="144" y="69"/>
                  </a:lnTo>
                  <a:lnTo>
                    <a:pt x="144" y="68"/>
                  </a:lnTo>
                  <a:lnTo>
                    <a:pt x="144" y="69"/>
                  </a:lnTo>
                  <a:lnTo>
                    <a:pt x="143" y="69"/>
                  </a:lnTo>
                  <a:lnTo>
                    <a:pt x="142" y="69"/>
                  </a:lnTo>
                  <a:lnTo>
                    <a:pt x="141" y="69"/>
                  </a:lnTo>
                  <a:lnTo>
                    <a:pt x="140" y="69"/>
                  </a:lnTo>
                  <a:lnTo>
                    <a:pt x="140" y="70"/>
                  </a:lnTo>
                  <a:lnTo>
                    <a:pt x="138" y="70"/>
                  </a:lnTo>
                  <a:lnTo>
                    <a:pt x="137" y="70"/>
                  </a:lnTo>
                  <a:lnTo>
                    <a:pt x="136" y="70"/>
                  </a:lnTo>
                  <a:lnTo>
                    <a:pt x="135" y="70"/>
                  </a:lnTo>
                  <a:lnTo>
                    <a:pt x="135" y="72"/>
                  </a:lnTo>
                  <a:lnTo>
                    <a:pt x="135" y="70"/>
                  </a:lnTo>
                  <a:lnTo>
                    <a:pt x="134" y="70"/>
                  </a:lnTo>
                  <a:lnTo>
                    <a:pt x="133" y="70"/>
                  </a:lnTo>
                  <a:lnTo>
                    <a:pt x="132" y="72"/>
                  </a:lnTo>
                  <a:lnTo>
                    <a:pt x="130" y="73"/>
                  </a:lnTo>
                  <a:lnTo>
                    <a:pt x="129" y="73"/>
                  </a:lnTo>
                  <a:lnTo>
                    <a:pt x="129" y="74"/>
                  </a:lnTo>
                  <a:lnTo>
                    <a:pt x="128" y="74"/>
                  </a:lnTo>
                  <a:lnTo>
                    <a:pt x="127" y="75"/>
                  </a:lnTo>
                  <a:lnTo>
                    <a:pt x="126" y="75"/>
                  </a:lnTo>
                  <a:lnTo>
                    <a:pt x="125" y="75"/>
                  </a:lnTo>
                  <a:lnTo>
                    <a:pt x="125" y="76"/>
                  </a:lnTo>
                  <a:lnTo>
                    <a:pt x="125" y="77"/>
                  </a:lnTo>
                  <a:lnTo>
                    <a:pt x="123" y="77"/>
                  </a:lnTo>
                  <a:lnTo>
                    <a:pt x="123" y="79"/>
                  </a:lnTo>
                  <a:lnTo>
                    <a:pt x="122" y="79"/>
                  </a:lnTo>
                  <a:lnTo>
                    <a:pt x="122" y="80"/>
                  </a:lnTo>
                  <a:lnTo>
                    <a:pt x="121" y="80"/>
                  </a:lnTo>
                  <a:lnTo>
                    <a:pt x="120" y="80"/>
                  </a:lnTo>
                  <a:lnTo>
                    <a:pt x="119" y="81"/>
                  </a:lnTo>
                  <a:lnTo>
                    <a:pt x="119" y="80"/>
                  </a:lnTo>
                  <a:lnTo>
                    <a:pt x="119" y="81"/>
                  </a:lnTo>
                  <a:lnTo>
                    <a:pt x="118" y="81"/>
                  </a:lnTo>
                  <a:lnTo>
                    <a:pt x="118" y="82"/>
                  </a:lnTo>
                  <a:lnTo>
                    <a:pt x="118" y="83"/>
                  </a:lnTo>
                  <a:lnTo>
                    <a:pt x="118" y="84"/>
                  </a:lnTo>
                  <a:lnTo>
                    <a:pt x="118" y="86"/>
                  </a:lnTo>
                  <a:lnTo>
                    <a:pt x="118" y="87"/>
                  </a:lnTo>
                  <a:lnTo>
                    <a:pt x="118" y="88"/>
                  </a:lnTo>
                  <a:lnTo>
                    <a:pt x="118" y="89"/>
                  </a:lnTo>
                  <a:lnTo>
                    <a:pt x="116" y="90"/>
                  </a:lnTo>
                  <a:lnTo>
                    <a:pt x="115" y="93"/>
                  </a:lnTo>
                  <a:lnTo>
                    <a:pt x="114" y="95"/>
                  </a:lnTo>
                  <a:lnTo>
                    <a:pt x="114" y="96"/>
                  </a:lnTo>
                  <a:lnTo>
                    <a:pt x="114" y="97"/>
                  </a:lnTo>
                  <a:lnTo>
                    <a:pt x="115" y="98"/>
                  </a:lnTo>
                  <a:lnTo>
                    <a:pt x="115" y="100"/>
                  </a:lnTo>
                  <a:lnTo>
                    <a:pt x="115" y="101"/>
                  </a:lnTo>
                  <a:lnTo>
                    <a:pt x="115" y="102"/>
                  </a:lnTo>
                  <a:lnTo>
                    <a:pt x="115" y="103"/>
                  </a:lnTo>
                  <a:lnTo>
                    <a:pt x="114" y="103"/>
                  </a:lnTo>
                  <a:lnTo>
                    <a:pt x="113" y="104"/>
                  </a:lnTo>
                  <a:lnTo>
                    <a:pt x="112" y="104"/>
                  </a:lnTo>
                  <a:lnTo>
                    <a:pt x="111" y="105"/>
                  </a:lnTo>
                  <a:lnTo>
                    <a:pt x="109" y="107"/>
                  </a:lnTo>
                  <a:lnTo>
                    <a:pt x="108" y="107"/>
                  </a:lnTo>
                  <a:lnTo>
                    <a:pt x="108" y="108"/>
                  </a:lnTo>
                  <a:lnTo>
                    <a:pt x="107" y="108"/>
                  </a:lnTo>
                  <a:lnTo>
                    <a:pt x="107" y="109"/>
                  </a:lnTo>
                  <a:lnTo>
                    <a:pt x="107" y="110"/>
                  </a:lnTo>
                  <a:lnTo>
                    <a:pt x="107" y="111"/>
                  </a:lnTo>
                  <a:lnTo>
                    <a:pt x="106" y="111"/>
                  </a:lnTo>
                  <a:lnTo>
                    <a:pt x="106" y="112"/>
                  </a:lnTo>
                  <a:lnTo>
                    <a:pt x="107" y="114"/>
                  </a:lnTo>
                  <a:lnTo>
                    <a:pt x="108" y="115"/>
                  </a:lnTo>
                  <a:lnTo>
                    <a:pt x="108" y="116"/>
                  </a:lnTo>
                  <a:lnTo>
                    <a:pt x="107" y="116"/>
                  </a:lnTo>
                  <a:lnTo>
                    <a:pt x="106" y="116"/>
                  </a:lnTo>
                  <a:lnTo>
                    <a:pt x="105" y="116"/>
                  </a:lnTo>
                  <a:lnTo>
                    <a:pt x="104" y="116"/>
                  </a:lnTo>
                  <a:lnTo>
                    <a:pt x="105" y="116"/>
                  </a:lnTo>
                  <a:lnTo>
                    <a:pt x="105" y="117"/>
                  </a:lnTo>
                  <a:lnTo>
                    <a:pt x="105" y="118"/>
                  </a:lnTo>
                  <a:lnTo>
                    <a:pt x="105" y="119"/>
                  </a:lnTo>
                  <a:lnTo>
                    <a:pt x="104" y="119"/>
                  </a:lnTo>
                  <a:lnTo>
                    <a:pt x="105" y="119"/>
                  </a:lnTo>
                  <a:lnTo>
                    <a:pt x="106" y="122"/>
                  </a:lnTo>
                  <a:lnTo>
                    <a:pt x="107" y="122"/>
                  </a:lnTo>
                  <a:lnTo>
                    <a:pt x="107" y="123"/>
                  </a:lnTo>
                  <a:lnTo>
                    <a:pt x="108" y="123"/>
                  </a:lnTo>
                  <a:lnTo>
                    <a:pt x="108" y="124"/>
                  </a:lnTo>
                  <a:lnTo>
                    <a:pt x="107" y="124"/>
                  </a:lnTo>
                  <a:lnTo>
                    <a:pt x="107" y="125"/>
                  </a:lnTo>
                  <a:lnTo>
                    <a:pt x="108" y="126"/>
                  </a:lnTo>
                  <a:lnTo>
                    <a:pt x="109" y="126"/>
                  </a:lnTo>
                  <a:lnTo>
                    <a:pt x="109" y="128"/>
                  </a:lnTo>
                  <a:lnTo>
                    <a:pt x="109" y="129"/>
                  </a:lnTo>
                  <a:lnTo>
                    <a:pt x="111" y="129"/>
                  </a:lnTo>
                  <a:lnTo>
                    <a:pt x="109" y="130"/>
                  </a:lnTo>
                  <a:lnTo>
                    <a:pt x="111" y="130"/>
                  </a:lnTo>
                  <a:lnTo>
                    <a:pt x="111" y="131"/>
                  </a:lnTo>
                  <a:lnTo>
                    <a:pt x="111" y="132"/>
                  </a:lnTo>
                  <a:lnTo>
                    <a:pt x="112" y="132"/>
                  </a:lnTo>
                  <a:lnTo>
                    <a:pt x="112" y="133"/>
                  </a:lnTo>
                  <a:lnTo>
                    <a:pt x="113" y="133"/>
                  </a:lnTo>
                  <a:lnTo>
                    <a:pt x="114" y="133"/>
                  </a:lnTo>
                  <a:lnTo>
                    <a:pt x="114" y="135"/>
                  </a:lnTo>
                  <a:lnTo>
                    <a:pt x="114" y="136"/>
                  </a:lnTo>
                  <a:lnTo>
                    <a:pt x="114" y="137"/>
                  </a:lnTo>
                  <a:lnTo>
                    <a:pt x="115" y="137"/>
                  </a:lnTo>
                  <a:lnTo>
                    <a:pt x="116" y="137"/>
                  </a:lnTo>
                  <a:lnTo>
                    <a:pt x="116" y="138"/>
                  </a:lnTo>
                  <a:lnTo>
                    <a:pt x="116" y="139"/>
                  </a:lnTo>
                  <a:lnTo>
                    <a:pt x="118" y="140"/>
                  </a:lnTo>
                  <a:lnTo>
                    <a:pt x="119" y="140"/>
                  </a:lnTo>
                  <a:lnTo>
                    <a:pt x="119" y="142"/>
                  </a:lnTo>
                  <a:lnTo>
                    <a:pt x="120" y="142"/>
                  </a:lnTo>
                  <a:lnTo>
                    <a:pt x="120" y="144"/>
                  </a:lnTo>
                  <a:lnTo>
                    <a:pt x="119" y="145"/>
                  </a:lnTo>
                  <a:lnTo>
                    <a:pt x="119" y="146"/>
                  </a:lnTo>
                  <a:lnTo>
                    <a:pt x="118" y="146"/>
                  </a:lnTo>
                  <a:lnTo>
                    <a:pt x="118" y="147"/>
                  </a:lnTo>
                  <a:lnTo>
                    <a:pt x="116" y="149"/>
                  </a:lnTo>
                  <a:lnTo>
                    <a:pt x="122" y="149"/>
                  </a:lnTo>
                  <a:lnTo>
                    <a:pt x="123" y="149"/>
                  </a:lnTo>
                  <a:lnTo>
                    <a:pt x="123" y="150"/>
                  </a:lnTo>
                  <a:lnTo>
                    <a:pt x="125" y="149"/>
                  </a:lnTo>
                  <a:lnTo>
                    <a:pt x="125" y="150"/>
                  </a:lnTo>
                  <a:lnTo>
                    <a:pt x="126" y="150"/>
                  </a:lnTo>
                  <a:lnTo>
                    <a:pt x="127" y="150"/>
                  </a:lnTo>
                  <a:lnTo>
                    <a:pt x="128" y="150"/>
                  </a:lnTo>
                  <a:lnTo>
                    <a:pt x="128" y="151"/>
                  </a:lnTo>
                  <a:lnTo>
                    <a:pt x="129" y="151"/>
                  </a:lnTo>
                  <a:lnTo>
                    <a:pt x="129" y="152"/>
                  </a:lnTo>
                  <a:lnTo>
                    <a:pt x="129" y="153"/>
                  </a:lnTo>
                  <a:lnTo>
                    <a:pt x="129" y="154"/>
                  </a:lnTo>
                  <a:lnTo>
                    <a:pt x="130" y="154"/>
                  </a:lnTo>
                  <a:lnTo>
                    <a:pt x="132" y="156"/>
                  </a:lnTo>
                  <a:lnTo>
                    <a:pt x="132" y="157"/>
                  </a:lnTo>
                  <a:lnTo>
                    <a:pt x="132" y="158"/>
                  </a:lnTo>
                  <a:lnTo>
                    <a:pt x="130" y="158"/>
                  </a:lnTo>
                  <a:lnTo>
                    <a:pt x="132" y="158"/>
                  </a:lnTo>
                  <a:lnTo>
                    <a:pt x="134" y="158"/>
                  </a:lnTo>
                  <a:lnTo>
                    <a:pt x="136" y="158"/>
                  </a:lnTo>
                  <a:lnTo>
                    <a:pt x="140" y="158"/>
                  </a:lnTo>
                  <a:lnTo>
                    <a:pt x="142" y="158"/>
                  </a:lnTo>
                  <a:lnTo>
                    <a:pt x="143" y="158"/>
                  </a:lnTo>
                  <a:lnTo>
                    <a:pt x="144" y="157"/>
                  </a:lnTo>
                  <a:lnTo>
                    <a:pt x="145" y="157"/>
                  </a:lnTo>
                  <a:lnTo>
                    <a:pt x="145" y="156"/>
                  </a:lnTo>
                  <a:lnTo>
                    <a:pt x="147" y="156"/>
                  </a:lnTo>
                  <a:lnTo>
                    <a:pt x="148" y="154"/>
                  </a:lnTo>
                  <a:lnTo>
                    <a:pt x="148" y="153"/>
                  </a:lnTo>
                  <a:lnTo>
                    <a:pt x="149" y="153"/>
                  </a:lnTo>
                  <a:lnTo>
                    <a:pt x="149" y="152"/>
                  </a:lnTo>
                  <a:lnTo>
                    <a:pt x="150" y="152"/>
                  </a:lnTo>
                  <a:lnTo>
                    <a:pt x="150" y="151"/>
                  </a:lnTo>
                  <a:lnTo>
                    <a:pt x="151" y="151"/>
                  </a:lnTo>
                  <a:lnTo>
                    <a:pt x="151" y="150"/>
                  </a:lnTo>
                  <a:lnTo>
                    <a:pt x="152" y="150"/>
                  </a:lnTo>
                  <a:lnTo>
                    <a:pt x="152" y="149"/>
                  </a:lnTo>
                  <a:lnTo>
                    <a:pt x="154" y="149"/>
                  </a:lnTo>
                  <a:lnTo>
                    <a:pt x="154" y="150"/>
                  </a:lnTo>
                  <a:lnTo>
                    <a:pt x="154" y="151"/>
                  </a:lnTo>
                  <a:lnTo>
                    <a:pt x="152" y="151"/>
                  </a:lnTo>
                  <a:lnTo>
                    <a:pt x="154" y="151"/>
                  </a:lnTo>
                  <a:lnTo>
                    <a:pt x="152" y="151"/>
                  </a:lnTo>
                  <a:lnTo>
                    <a:pt x="152" y="152"/>
                  </a:lnTo>
                  <a:lnTo>
                    <a:pt x="154" y="153"/>
                  </a:lnTo>
                  <a:lnTo>
                    <a:pt x="154" y="154"/>
                  </a:lnTo>
                  <a:lnTo>
                    <a:pt x="152" y="154"/>
                  </a:lnTo>
                  <a:lnTo>
                    <a:pt x="152" y="156"/>
                  </a:lnTo>
                  <a:lnTo>
                    <a:pt x="152" y="157"/>
                  </a:lnTo>
                  <a:lnTo>
                    <a:pt x="152" y="159"/>
                  </a:lnTo>
                  <a:lnTo>
                    <a:pt x="152" y="160"/>
                  </a:lnTo>
                  <a:lnTo>
                    <a:pt x="152" y="163"/>
                  </a:lnTo>
                  <a:lnTo>
                    <a:pt x="152" y="165"/>
                  </a:lnTo>
                  <a:lnTo>
                    <a:pt x="152" y="166"/>
                  </a:lnTo>
                  <a:lnTo>
                    <a:pt x="154" y="168"/>
                  </a:lnTo>
                  <a:lnTo>
                    <a:pt x="154" y="171"/>
                  </a:lnTo>
                  <a:lnTo>
                    <a:pt x="154" y="173"/>
                  </a:lnTo>
                  <a:lnTo>
                    <a:pt x="154" y="174"/>
                  </a:lnTo>
                  <a:lnTo>
                    <a:pt x="155" y="173"/>
                  </a:lnTo>
                  <a:lnTo>
                    <a:pt x="156" y="174"/>
                  </a:lnTo>
                  <a:lnTo>
                    <a:pt x="157" y="174"/>
                  </a:lnTo>
                  <a:lnTo>
                    <a:pt x="157" y="175"/>
                  </a:lnTo>
                  <a:lnTo>
                    <a:pt x="158" y="174"/>
                  </a:lnTo>
                  <a:lnTo>
                    <a:pt x="159" y="174"/>
                  </a:lnTo>
                  <a:lnTo>
                    <a:pt x="163" y="173"/>
                  </a:lnTo>
                  <a:lnTo>
                    <a:pt x="164" y="173"/>
                  </a:lnTo>
                  <a:lnTo>
                    <a:pt x="165" y="173"/>
                  </a:lnTo>
                  <a:lnTo>
                    <a:pt x="166" y="173"/>
                  </a:lnTo>
                  <a:lnTo>
                    <a:pt x="168" y="173"/>
                  </a:lnTo>
                  <a:lnTo>
                    <a:pt x="169" y="173"/>
                  </a:lnTo>
                  <a:lnTo>
                    <a:pt x="169" y="174"/>
                  </a:lnTo>
                  <a:lnTo>
                    <a:pt x="170" y="177"/>
                  </a:lnTo>
                  <a:lnTo>
                    <a:pt x="172" y="180"/>
                  </a:lnTo>
                  <a:lnTo>
                    <a:pt x="173" y="182"/>
                  </a:lnTo>
                  <a:lnTo>
                    <a:pt x="175" y="185"/>
                  </a:lnTo>
                  <a:lnTo>
                    <a:pt x="177" y="188"/>
                  </a:lnTo>
                  <a:lnTo>
                    <a:pt x="178" y="191"/>
                  </a:lnTo>
                  <a:lnTo>
                    <a:pt x="180" y="194"/>
                  </a:lnTo>
                  <a:lnTo>
                    <a:pt x="182" y="196"/>
                  </a:lnTo>
                  <a:lnTo>
                    <a:pt x="182" y="198"/>
                  </a:lnTo>
                  <a:lnTo>
                    <a:pt x="182" y="199"/>
                  </a:lnTo>
                  <a:lnTo>
                    <a:pt x="180" y="199"/>
                  </a:lnTo>
                  <a:lnTo>
                    <a:pt x="180" y="200"/>
                  </a:lnTo>
                  <a:lnTo>
                    <a:pt x="182" y="200"/>
                  </a:lnTo>
                  <a:lnTo>
                    <a:pt x="182" y="201"/>
                  </a:lnTo>
                  <a:lnTo>
                    <a:pt x="180" y="201"/>
                  </a:lnTo>
                  <a:lnTo>
                    <a:pt x="179" y="201"/>
                  </a:lnTo>
                  <a:lnTo>
                    <a:pt x="179" y="202"/>
                  </a:lnTo>
                  <a:lnTo>
                    <a:pt x="179" y="203"/>
                  </a:lnTo>
                  <a:lnTo>
                    <a:pt x="178" y="203"/>
                  </a:lnTo>
                  <a:lnTo>
                    <a:pt x="178" y="205"/>
                  </a:lnTo>
                  <a:lnTo>
                    <a:pt x="178" y="206"/>
                  </a:lnTo>
                  <a:lnTo>
                    <a:pt x="178" y="208"/>
                  </a:lnTo>
                  <a:lnTo>
                    <a:pt x="179" y="209"/>
                  </a:lnTo>
                  <a:lnTo>
                    <a:pt x="179" y="210"/>
                  </a:lnTo>
                  <a:lnTo>
                    <a:pt x="179" y="213"/>
                  </a:lnTo>
                  <a:lnTo>
                    <a:pt x="179" y="214"/>
                  </a:lnTo>
                  <a:lnTo>
                    <a:pt x="178" y="215"/>
                  </a:lnTo>
                  <a:lnTo>
                    <a:pt x="178" y="216"/>
                  </a:lnTo>
                  <a:lnTo>
                    <a:pt x="178" y="215"/>
                  </a:lnTo>
                  <a:lnTo>
                    <a:pt x="178" y="216"/>
                  </a:lnTo>
                  <a:lnTo>
                    <a:pt x="178" y="217"/>
                  </a:lnTo>
                  <a:lnTo>
                    <a:pt x="179" y="217"/>
                  </a:lnTo>
                  <a:lnTo>
                    <a:pt x="179" y="219"/>
                  </a:lnTo>
                  <a:lnTo>
                    <a:pt x="179" y="220"/>
                  </a:lnTo>
                  <a:lnTo>
                    <a:pt x="179" y="221"/>
                  </a:lnTo>
                  <a:lnTo>
                    <a:pt x="180" y="222"/>
                  </a:lnTo>
                  <a:lnTo>
                    <a:pt x="180" y="223"/>
                  </a:lnTo>
                  <a:lnTo>
                    <a:pt x="182" y="223"/>
                  </a:lnTo>
                  <a:lnTo>
                    <a:pt x="182" y="224"/>
                  </a:lnTo>
                  <a:lnTo>
                    <a:pt x="180" y="224"/>
                  </a:lnTo>
                  <a:lnTo>
                    <a:pt x="179" y="224"/>
                  </a:lnTo>
                  <a:lnTo>
                    <a:pt x="179" y="226"/>
                  </a:lnTo>
                  <a:lnTo>
                    <a:pt x="179" y="227"/>
                  </a:lnTo>
                  <a:lnTo>
                    <a:pt x="180" y="227"/>
                  </a:lnTo>
                  <a:lnTo>
                    <a:pt x="179" y="228"/>
                  </a:lnTo>
                  <a:lnTo>
                    <a:pt x="178" y="228"/>
                  </a:lnTo>
                  <a:lnTo>
                    <a:pt x="178" y="229"/>
                  </a:lnTo>
                  <a:lnTo>
                    <a:pt x="178" y="230"/>
                  </a:lnTo>
                  <a:lnTo>
                    <a:pt x="177" y="230"/>
                  </a:lnTo>
                  <a:lnTo>
                    <a:pt x="177" y="233"/>
                  </a:lnTo>
                  <a:lnTo>
                    <a:pt x="176" y="234"/>
                  </a:lnTo>
                  <a:lnTo>
                    <a:pt x="175" y="234"/>
                  </a:lnTo>
                  <a:lnTo>
                    <a:pt x="176" y="236"/>
                  </a:lnTo>
                  <a:lnTo>
                    <a:pt x="175" y="236"/>
                  </a:lnTo>
                  <a:lnTo>
                    <a:pt x="176" y="237"/>
                  </a:lnTo>
                  <a:lnTo>
                    <a:pt x="177" y="238"/>
                  </a:lnTo>
                  <a:lnTo>
                    <a:pt x="178" y="240"/>
                  </a:lnTo>
                  <a:lnTo>
                    <a:pt x="178" y="241"/>
                  </a:lnTo>
                  <a:lnTo>
                    <a:pt x="179" y="241"/>
                  </a:lnTo>
                  <a:lnTo>
                    <a:pt x="178" y="241"/>
                  </a:lnTo>
                  <a:lnTo>
                    <a:pt x="178" y="242"/>
                  </a:lnTo>
                  <a:lnTo>
                    <a:pt x="177" y="242"/>
                  </a:lnTo>
                  <a:lnTo>
                    <a:pt x="177" y="243"/>
                  </a:lnTo>
                  <a:lnTo>
                    <a:pt x="177" y="244"/>
                  </a:lnTo>
                  <a:lnTo>
                    <a:pt x="176" y="244"/>
                  </a:lnTo>
                  <a:lnTo>
                    <a:pt x="176" y="245"/>
                  </a:lnTo>
                  <a:lnTo>
                    <a:pt x="176" y="244"/>
                  </a:lnTo>
                  <a:lnTo>
                    <a:pt x="176" y="245"/>
                  </a:lnTo>
                  <a:lnTo>
                    <a:pt x="175" y="245"/>
                  </a:lnTo>
                  <a:lnTo>
                    <a:pt x="175" y="244"/>
                  </a:lnTo>
                  <a:lnTo>
                    <a:pt x="173" y="243"/>
                  </a:lnTo>
                  <a:lnTo>
                    <a:pt x="172" y="243"/>
                  </a:lnTo>
                  <a:lnTo>
                    <a:pt x="172" y="242"/>
                  </a:lnTo>
                  <a:lnTo>
                    <a:pt x="171" y="242"/>
                  </a:lnTo>
                  <a:lnTo>
                    <a:pt x="171" y="241"/>
                  </a:lnTo>
                  <a:lnTo>
                    <a:pt x="170" y="241"/>
                  </a:lnTo>
                  <a:lnTo>
                    <a:pt x="171" y="241"/>
                  </a:lnTo>
                  <a:lnTo>
                    <a:pt x="171" y="242"/>
                  </a:lnTo>
                  <a:lnTo>
                    <a:pt x="170" y="242"/>
                  </a:lnTo>
                  <a:lnTo>
                    <a:pt x="169" y="242"/>
                  </a:lnTo>
                  <a:lnTo>
                    <a:pt x="170" y="242"/>
                  </a:lnTo>
                  <a:lnTo>
                    <a:pt x="170" y="243"/>
                  </a:lnTo>
                  <a:lnTo>
                    <a:pt x="169" y="243"/>
                  </a:lnTo>
                  <a:lnTo>
                    <a:pt x="168" y="243"/>
                  </a:lnTo>
                  <a:lnTo>
                    <a:pt x="170" y="248"/>
                  </a:lnTo>
                  <a:lnTo>
                    <a:pt x="171" y="248"/>
                  </a:lnTo>
                  <a:lnTo>
                    <a:pt x="170" y="248"/>
                  </a:lnTo>
                  <a:lnTo>
                    <a:pt x="171" y="249"/>
                  </a:lnTo>
                  <a:lnTo>
                    <a:pt x="170" y="249"/>
                  </a:lnTo>
                  <a:lnTo>
                    <a:pt x="170" y="248"/>
                  </a:lnTo>
                  <a:lnTo>
                    <a:pt x="169" y="247"/>
                  </a:lnTo>
                  <a:lnTo>
                    <a:pt x="168" y="248"/>
                  </a:lnTo>
                  <a:lnTo>
                    <a:pt x="168" y="249"/>
                  </a:lnTo>
                  <a:lnTo>
                    <a:pt x="168" y="250"/>
                  </a:lnTo>
                  <a:lnTo>
                    <a:pt x="169" y="251"/>
                  </a:lnTo>
                  <a:lnTo>
                    <a:pt x="170" y="251"/>
                  </a:lnTo>
                  <a:lnTo>
                    <a:pt x="171" y="251"/>
                  </a:lnTo>
                  <a:lnTo>
                    <a:pt x="170" y="251"/>
                  </a:lnTo>
                  <a:lnTo>
                    <a:pt x="170" y="250"/>
                  </a:lnTo>
                  <a:lnTo>
                    <a:pt x="171" y="250"/>
                  </a:lnTo>
                  <a:lnTo>
                    <a:pt x="171" y="251"/>
                  </a:lnTo>
                  <a:lnTo>
                    <a:pt x="172" y="251"/>
                  </a:lnTo>
                  <a:lnTo>
                    <a:pt x="172" y="252"/>
                  </a:lnTo>
                  <a:lnTo>
                    <a:pt x="173" y="252"/>
                  </a:lnTo>
                  <a:lnTo>
                    <a:pt x="175" y="252"/>
                  </a:lnTo>
                  <a:lnTo>
                    <a:pt x="175" y="254"/>
                  </a:lnTo>
                  <a:lnTo>
                    <a:pt x="176" y="254"/>
                  </a:lnTo>
                  <a:lnTo>
                    <a:pt x="176" y="255"/>
                  </a:lnTo>
                  <a:lnTo>
                    <a:pt x="176" y="256"/>
                  </a:lnTo>
                  <a:lnTo>
                    <a:pt x="175" y="256"/>
                  </a:lnTo>
                  <a:lnTo>
                    <a:pt x="176" y="256"/>
                  </a:lnTo>
                  <a:lnTo>
                    <a:pt x="177" y="256"/>
                  </a:lnTo>
                  <a:lnTo>
                    <a:pt x="177" y="257"/>
                  </a:lnTo>
                  <a:lnTo>
                    <a:pt x="178" y="257"/>
                  </a:lnTo>
                  <a:lnTo>
                    <a:pt x="179" y="257"/>
                  </a:lnTo>
                  <a:lnTo>
                    <a:pt x="180" y="257"/>
                  </a:lnTo>
                  <a:lnTo>
                    <a:pt x="182" y="256"/>
                  </a:lnTo>
                  <a:lnTo>
                    <a:pt x="183" y="256"/>
                  </a:lnTo>
                  <a:lnTo>
                    <a:pt x="183" y="257"/>
                  </a:lnTo>
                  <a:lnTo>
                    <a:pt x="182" y="257"/>
                  </a:lnTo>
                  <a:lnTo>
                    <a:pt x="182" y="258"/>
                  </a:lnTo>
                  <a:lnTo>
                    <a:pt x="182" y="259"/>
                  </a:lnTo>
                  <a:lnTo>
                    <a:pt x="182" y="261"/>
                  </a:lnTo>
                  <a:lnTo>
                    <a:pt x="182" y="262"/>
                  </a:lnTo>
                  <a:lnTo>
                    <a:pt x="183" y="263"/>
                  </a:lnTo>
                  <a:lnTo>
                    <a:pt x="183" y="264"/>
                  </a:lnTo>
                  <a:lnTo>
                    <a:pt x="182" y="264"/>
                  </a:lnTo>
                  <a:lnTo>
                    <a:pt x="180" y="264"/>
                  </a:lnTo>
                  <a:lnTo>
                    <a:pt x="180" y="265"/>
                  </a:lnTo>
                  <a:lnTo>
                    <a:pt x="180" y="266"/>
                  </a:lnTo>
                  <a:lnTo>
                    <a:pt x="178" y="268"/>
                  </a:lnTo>
                  <a:lnTo>
                    <a:pt x="178" y="269"/>
                  </a:lnTo>
                  <a:lnTo>
                    <a:pt x="178" y="270"/>
                  </a:lnTo>
                  <a:lnTo>
                    <a:pt x="177" y="270"/>
                  </a:lnTo>
                  <a:lnTo>
                    <a:pt x="177" y="271"/>
                  </a:lnTo>
                  <a:lnTo>
                    <a:pt x="176" y="271"/>
                  </a:lnTo>
                  <a:lnTo>
                    <a:pt x="175" y="272"/>
                  </a:lnTo>
                  <a:lnTo>
                    <a:pt x="175" y="273"/>
                  </a:lnTo>
                  <a:lnTo>
                    <a:pt x="176" y="273"/>
                  </a:lnTo>
                  <a:lnTo>
                    <a:pt x="176" y="275"/>
                  </a:lnTo>
                  <a:lnTo>
                    <a:pt x="177" y="275"/>
                  </a:lnTo>
                  <a:lnTo>
                    <a:pt x="177" y="276"/>
                  </a:lnTo>
                  <a:lnTo>
                    <a:pt x="177" y="277"/>
                  </a:lnTo>
                  <a:lnTo>
                    <a:pt x="176" y="279"/>
                  </a:lnTo>
                  <a:lnTo>
                    <a:pt x="175" y="279"/>
                  </a:lnTo>
                  <a:lnTo>
                    <a:pt x="173" y="279"/>
                  </a:lnTo>
                  <a:lnTo>
                    <a:pt x="172" y="279"/>
                  </a:lnTo>
                  <a:lnTo>
                    <a:pt x="172" y="280"/>
                  </a:lnTo>
                  <a:lnTo>
                    <a:pt x="173" y="282"/>
                  </a:lnTo>
                  <a:lnTo>
                    <a:pt x="173" y="283"/>
                  </a:lnTo>
                  <a:lnTo>
                    <a:pt x="173" y="284"/>
                  </a:lnTo>
                  <a:lnTo>
                    <a:pt x="173" y="286"/>
                  </a:lnTo>
                  <a:lnTo>
                    <a:pt x="173" y="287"/>
                  </a:lnTo>
                  <a:lnTo>
                    <a:pt x="172" y="287"/>
                  </a:lnTo>
                  <a:lnTo>
                    <a:pt x="172" y="289"/>
                  </a:lnTo>
                  <a:lnTo>
                    <a:pt x="171" y="289"/>
                  </a:lnTo>
                  <a:lnTo>
                    <a:pt x="170" y="290"/>
                  </a:lnTo>
                  <a:lnTo>
                    <a:pt x="169" y="290"/>
                  </a:lnTo>
                  <a:lnTo>
                    <a:pt x="168" y="290"/>
                  </a:lnTo>
                  <a:lnTo>
                    <a:pt x="166" y="290"/>
                  </a:lnTo>
                  <a:lnTo>
                    <a:pt x="165" y="290"/>
                  </a:lnTo>
                  <a:lnTo>
                    <a:pt x="165" y="289"/>
                  </a:lnTo>
                  <a:lnTo>
                    <a:pt x="164" y="289"/>
                  </a:lnTo>
                  <a:lnTo>
                    <a:pt x="163" y="287"/>
                  </a:lnTo>
                  <a:lnTo>
                    <a:pt x="162" y="287"/>
                  </a:lnTo>
                  <a:lnTo>
                    <a:pt x="161" y="286"/>
                  </a:lnTo>
                  <a:lnTo>
                    <a:pt x="159" y="285"/>
                  </a:lnTo>
                  <a:lnTo>
                    <a:pt x="158" y="285"/>
                  </a:lnTo>
                  <a:lnTo>
                    <a:pt x="158" y="284"/>
                  </a:lnTo>
                  <a:lnTo>
                    <a:pt x="157" y="283"/>
                  </a:lnTo>
                  <a:lnTo>
                    <a:pt x="156" y="283"/>
                  </a:lnTo>
                  <a:lnTo>
                    <a:pt x="155" y="282"/>
                  </a:lnTo>
                  <a:lnTo>
                    <a:pt x="154" y="280"/>
                  </a:lnTo>
                  <a:lnTo>
                    <a:pt x="152" y="280"/>
                  </a:lnTo>
                  <a:lnTo>
                    <a:pt x="152" y="279"/>
                  </a:lnTo>
                  <a:lnTo>
                    <a:pt x="151" y="279"/>
                  </a:lnTo>
                  <a:lnTo>
                    <a:pt x="151" y="278"/>
                  </a:lnTo>
                  <a:lnTo>
                    <a:pt x="151" y="277"/>
                  </a:lnTo>
                  <a:lnTo>
                    <a:pt x="151" y="276"/>
                  </a:lnTo>
                  <a:lnTo>
                    <a:pt x="151" y="275"/>
                  </a:lnTo>
                  <a:lnTo>
                    <a:pt x="150" y="275"/>
                  </a:lnTo>
                  <a:lnTo>
                    <a:pt x="149" y="273"/>
                  </a:lnTo>
                  <a:lnTo>
                    <a:pt x="148" y="273"/>
                  </a:lnTo>
                  <a:lnTo>
                    <a:pt x="148" y="272"/>
                  </a:lnTo>
                  <a:lnTo>
                    <a:pt x="147" y="272"/>
                  </a:lnTo>
                  <a:lnTo>
                    <a:pt x="144" y="272"/>
                  </a:lnTo>
                  <a:lnTo>
                    <a:pt x="144" y="271"/>
                  </a:lnTo>
                  <a:lnTo>
                    <a:pt x="143" y="270"/>
                  </a:lnTo>
                  <a:lnTo>
                    <a:pt x="142" y="270"/>
                  </a:lnTo>
                  <a:lnTo>
                    <a:pt x="142" y="269"/>
                  </a:lnTo>
                  <a:lnTo>
                    <a:pt x="141" y="269"/>
                  </a:lnTo>
                  <a:lnTo>
                    <a:pt x="140" y="269"/>
                  </a:lnTo>
                  <a:lnTo>
                    <a:pt x="140" y="268"/>
                  </a:lnTo>
                  <a:lnTo>
                    <a:pt x="138" y="268"/>
                  </a:lnTo>
                  <a:lnTo>
                    <a:pt x="137" y="266"/>
                  </a:lnTo>
                  <a:lnTo>
                    <a:pt x="136" y="265"/>
                  </a:lnTo>
                  <a:lnTo>
                    <a:pt x="136" y="264"/>
                  </a:lnTo>
                  <a:lnTo>
                    <a:pt x="135" y="264"/>
                  </a:lnTo>
                  <a:lnTo>
                    <a:pt x="134" y="264"/>
                  </a:lnTo>
                  <a:lnTo>
                    <a:pt x="134" y="263"/>
                  </a:lnTo>
                  <a:lnTo>
                    <a:pt x="132" y="263"/>
                  </a:lnTo>
                  <a:lnTo>
                    <a:pt x="130" y="263"/>
                  </a:lnTo>
                  <a:lnTo>
                    <a:pt x="129" y="262"/>
                  </a:lnTo>
                  <a:lnTo>
                    <a:pt x="127" y="261"/>
                  </a:lnTo>
                  <a:lnTo>
                    <a:pt x="126" y="261"/>
                  </a:lnTo>
                  <a:lnTo>
                    <a:pt x="126" y="259"/>
                  </a:lnTo>
                  <a:lnTo>
                    <a:pt x="125" y="259"/>
                  </a:lnTo>
                  <a:lnTo>
                    <a:pt x="123" y="259"/>
                  </a:lnTo>
                  <a:lnTo>
                    <a:pt x="122" y="258"/>
                  </a:lnTo>
                  <a:lnTo>
                    <a:pt x="121" y="257"/>
                  </a:lnTo>
                  <a:lnTo>
                    <a:pt x="120" y="257"/>
                  </a:lnTo>
                  <a:lnTo>
                    <a:pt x="119" y="257"/>
                  </a:lnTo>
                  <a:lnTo>
                    <a:pt x="118" y="257"/>
                  </a:lnTo>
                  <a:lnTo>
                    <a:pt x="118" y="256"/>
                  </a:lnTo>
                  <a:lnTo>
                    <a:pt x="116" y="256"/>
                  </a:lnTo>
                  <a:lnTo>
                    <a:pt x="115" y="255"/>
                  </a:lnTo>
                  <a:lnTo>
                    <a:pt x="114" y="255"/>
                  </a:lnTo>
                  <a:lnTo>
                    <a:pt x="113" y="254"/>
                  </a:lnTo>
                  <a:lnTo>
                    <a:pt x="113" y="252"/>
                  </a:lnTo>
                  <a:lnTo>
                    <a:pt x="112" y="252"/>
                  </a:lnTo>
                  <a:lnTo>
                    <a:pt x="111" y="251"/>
                  </a:lnTo>
                  <a:lnTo>
                    <a:pt x="109" y="251"/>
                  </a:lnTo>
                  <a:lnTo>
                    <a:pt x="109" y="250"/>
                  </a:lnTo>
                  <a:lnTo>
                    <a:pt x="108" y="250"/>
                  </a:lnTo>
                  <a:lnTo>
                    <a:pt x="107" y="250"/>
                  </a:lnTo>
                  <a:lnTo>
                    <a:pt x="106" y="250"/>
                  </a:lnTo>
                  <a:lnTo>
                    <a:pt x="106" y="249"/>
                  </a:lnTo>
                  <a:lnTo>
                    <a:pt x="105" y="248"/>
                  </a:lnTo>
                  <a:lnTo>
                    <a:pt x="102" y="248"/>
                  </a:lnTo>
                  <a:lnTo>
                    <a:pt x="102" y="247"/>
                  </a:lnTo>
                  <a:lnTo>
                    <a:pt x="100" y="247"/>
                  </a:lnTo>
                  <a:lnTo>
                    <a:pt x="100" y="245"/>
                  </a:lnTo>
                  <a:lnTo>
                    <a:pt x="99" y="244"/>
                  </a:lnTo>
                  <a:lnTo>
                    <a:pt x="98" y="244"/>
                  </a:lnTo>
                  <a:lnTo>
                    <a:pt x="97" y="244"/>
                  </a:lnTo>
                  <a:lnTo>
                    <a:pt x="97" y="243"/>
                  </a:lnTo>
                  <a:lnTo>
                    <a:pt x="95" y="243"/>
                  </a:lnTo>
                  <a:lnTo>
                    <a:pt x="95" y="242"/>
                  </a:lnTo>
                  <a:lnTo>
                    <a:pt x="94" y="242"/>
                  </a:lnTo>
                  <a:lnTo>
                    <a:pt x="94" y="241"/>
                  </a:lnTo>
                  <a:lnTo>
                    <a:pt x="94" y="240"/>
                  </a:lnTo>
                  <a:lnTo>
                    <a:pt x="93" y="240"/>
                  </a:lnTo>
                  <a:lnTo>
                    <a:pt x="92" y="238"/>
                  </a:lnTo>
                  <a:lnTo>
                    <a:pt x="92" y="237"/>
                  </a:lnTo>
                  <a:lnTo>
                    <a:pt x="91" y="237"/>
                  </a:lnTo>
                  <a:lnTo>
                    <a:pt x="91" y="236"/>
                  </a:lnTo>
                  <a:lnTo>
                    <a:pt x="90" y="235"/>
                  </a:lnTo>
                  <a:lnTo>
                    <a:pt x="88" y="235"/>
                  </a:lnTo>
                  <a:lnTo>
                    <a:pt x="88" y="234"/>
                  </a:lnTo>
                  <a:lnTo>
                    <a:pt x="87" y="234"/>
                  </a:lnTo>
                  <a:lnTo>
                    <a:pt x="86" y="233"/>
                  </a:lnTo>
                  <a:lnTo>
                    <a:pt x="85" y="233"/>
                  </a:lnTo>
                  <a:lnTo>
                    <a:pt x="85" y="231"/>
                  </a:lnTo>
                  <a:lnTo>
                    <a:pt x="84" y="231"/>
                  </a:lnTo>
                  <a:lnTo>
                    <a:pt x="84" y="230"/>
                  </a:lnTo>
                  <a:lnTo>
                    <a:pt x="84" y="229"/>
                  </a:lnTo>
                  <a:lnTo>
                    <a:pt x="83" y="228"/>
                  </a:lnTo>
                  <a:lnTo>
                    <a:pt x="81" y="227"/>
                  </a:lnTo>
                  <a:lnTo>
                    <a:pt x="81" y="226"/>
                  </a:lnTo>
                  <a:lnTo>
                    <a:pt x="80" y="224"/>
                  </a:lnTo>
                  <a:lnTo>
                    <a:pt x="80" y="223"/>
                  </a:lnTo>
                  <a:lnTo>
                    <a:pt x="79" y="223"/>
                  </a:lnTo>
                  <a:lnTo>
                    <a:pt x="79" y="224"/>
                  </a:lnTo>
                  <a:lnTo>
                    <a:pt x="79" y="223"/>
                  </a:lnTo>
                  <a:lnTo>
                    <a:pt x="79" y="222"/>
                  </a:lnTo>
                  <a:lnTo>
                    <a:pt x="79" y="221"/>
                  </a:lnTo>
                  <a:lnTo>
                    <a:pt x="78" y="221"/>
                  </a:lnTo>
                  <a:lnTo>
                    <a:pt x="79" y="221"/>
                  </a:lnTo>
                  <a:lnTo>
                    <a:pt x="78" y="220"/>
                  </a:lnTo>
                  <a:lnTo>
                    <a:pt x="77" y="220"/>
                  </a:lnTo>
                  <a:lnTo>
                    <a:pt x="77" y="219"/>
                  </a:lnTo>
                  <a:lnTo>
                    <a:pt x="78" y="219"/>
                  </a:lnTo>
                  <a:lnTo>
                    <a:pt x="78" y="217"/>
                  </a:lnTo>
                  <a:lnTo>
                    <a:pt x="78" y="219"/>
                  </a:lnTo>
                  <a:lnTo>
                    <a:pt x="79" y="219"/>
                  </a:lnTo>
                  <a:lnTo>
                    <a:pt x="79" y="217"/>
                  </a:lnTo>
                  <a:lnTo>
                    <a:pt x="79" y="216"/>
                  </a:lnTo>
                  <a:lnTo>
                    <a:pt x="79" y="215"/>
                  </a:lnTo>
                  <a:lnTo>
                    <a:pt x="79" y="214"/>
                  </a:lnTo>
                  <a:lnTo>
                    <a:pt x="79" y="213"/>
                  </a:lnTo>
                  <a:lnTo>
                    <a:pt x="79" y="212"/>
                  </a:lnTo>
                  <a:lnTo>
                    <a:pt x="78" y="210"/>
                  </a:lnTo>
                  <a:lnTo>
                    <a:pt x="77" y="209"/>
                  </a:lnTo>
                  <a:lnTo>
                    <a:pt x="77" y="208"/>
                  </a:lnTo>
                  <a:lnTo>
                    <a:pt x="76" y="207"/>
                  </a:lnTo>
                  <a:lnTo>
                    <a:pt x="74" y="206"/>
                  </a:lnTo>
                  <a:lnTo>
                    <a:pt x="74" y="205"/>
                  </a:lnTo>
                  <a:lnTo>
                    <a:pt x="74" y="203"/>
                  </a:lnTo>
                  <a:lnTo>
                    <a:pt x="73" y="203"/>
                  </a:lnTo>
                  <a:lnTo>
                    <a:pt x="73" y="202"/>
                  </a:lnTo>
                  <a:lnTo>
                    <a:pt x="72" y="202"/>
                  </a:lnTo>
                  <a:lnTo>
                    <a:pt x="72" y="201"/>
                  </a:lnTo>
                  <a:lnTo>
                    <a:pt x="71" y="200"/>
                  </a:lnTo>
                  <a:lnTo>
                    <a:pt x="71" y="199"/>
                  </a:lnTo>
                  <a:lnTo>
                    <a:pt x="70" y="198"/>
                  </a:lnTo>
                  <a:lnTo>
                    <a:pt x="70" y="196"/>
                  </a:lnTo>
                  <a:lnTo>
                    <a:pt x="70" y="195"/>
                  </a:lnTo>
                  <a:lnTo>
                    <a:pt x="69" y="195"/>
                  </a:lnTo>
                  <a:lnTo>
                    <a:pt x="69" y="194"/>
                  </a:lnTo>
                  <a:lnTo>
                    <a:pt x="68" y="194"/>
                  </a:lnTo>
                  <a:lnTo>
                    <a:pt x="66" y="193"/>
                  </a:lnTo>
                  <a:lnTo>
                    <a:pt x="66" y="192"/>
                  </a:lnTo>
                  <a:lnTo>
                    <a:pt x="65" y="192"/>
                  </a:lnTo>
                  <a:lnTo>
                    <a:pt x="65" y="191"/>
                  </a:lnTo>
                  <a:lnTo>
                    <a:pt x="64" y="191"/>
                  </a:lnTo>
                  <a:lnTo>
                    <a:pt x="64" y="189"/>
                  </a:lnTo>
                  <a:lnTo>
                    <a:pt x="64" y="188"/>
                  </a:lnTo>
                  <a:lnTo>
                    <a:pt x="64" y="187"/>
                  </a:lnTo>
                  <a:lnTo>
                    <a:pt x="64" y="186"/>
                  </a:lnTo>
                  <a:lnTo>
                    <a:pt x="63" y="186"/>
                  </a:lnTo>
                  <a:lnTo>
                    <a:pt x="64" y="186"/>
                  </a:lnTo>
                  <a:lnTo>
                    <a:pt x="63" y="185"/>
                  </a:lnTo>
                  <a:lnTo>
                    <a:pt x="63" y="184"/>
                  </a:lnTo>
                  <a:lnTo>
                    <a:pt x="62" y="184"/>
                  </a:lnTo>
                  <a:lnTo>
                    <a:pt x="62" y="182"/>
                  </a:lnTo>
                  <a:lnTo>
                    <a:pt x="62" y="181"/>
                  </a:lnTo>
                  <a:lnTo>
                    <a:pt x="61" y="181"/>
                  </a:lnTo>
                  <a:lnTo>
                    <a:pt x="59" y="180"/>
                  </a:lnTo>
                  <a:lnTo>
                    <a:pt x="57" y="179"/>
                  </a:lnTo>
                  <a:lnTo>
                    <a:pt x="57" y="178"/>
                  </a:lnTo>
                  <a:lnTo>
                    <a:pt x="56" y="178"/>
                  </a:lnTo>
                  <a:lnTo>
                    <a:pt x="57" y="178"/>
                  </a:lnTo>
                  <a:lnTo>
                    <a:pt x="56" y="178"/>
                  </a:lnTo>
                  <a:lnTo>
                    <a:pt x="57" y="178"/>
                  </a:lnTo>
                  <a:lnTo>
                    <a:pt x="57" y="177"/>
                  </a:lnTo>
                  <a:lnTo>
                    <a:pt x="57" y="175"/>
                  </a:lnTo>
                  <a:lnTo>
                    <a:pt x="56" y="174"/>
                  </a:lnTo>
                  <a:lnTo>
                    <a:pt x="57" y="174"/>
                  </a:lnTo>
                  <a:lnTo>
                    <a:pt x="56" y="174"/>
                  </a:lnTo>
                  <a:lnTo>
                    <a:pt x="56" y="173"/>
                  </a:lnTo>
                  <a:lnTo>
                    <a:pt x="56" y="172"/>
                  </a:lnTo>
                  <a:lnTo>
                    <a:pt x="55" y="172"/>
                  </a:lnTo>
                  <a:lnTo>
                    <a:pt x="55" y="171"/>
                  </a:lnTo>
                  <a:lnTo>
                    <a:pt x="55" y="170"/>
                  </a:lnTo>
                  <a:lnTo>
                    <a:pt x="54" y="170"/>
                  </a:lnTo>
                  <a:lnTo>
                    <a:pt x="54" y="168"/>
                  </a:lnTo>
                  <a:lnTo>
                    <a:pt x="52" y="167"/>
                  </a:lnTo>
                  <a:lnTo>
                    <a:pt x="52" y="166"/>
                  </a:lnTo>
                  <a:lnTo>
                    <a:pt x="51" y="166"/>
                  </a:lnTo>
                  <a:lnTo>
                    <a:pt x="51" y="165"/>
                  </a:lnTo>
                  <a:lnTo>
                    <a:pt x="50" y="165"/>
                  </a:lnTo>
                  <a:lnTo>
                    <a:pt x="51" y="164"/>
                  </a:lnTo>
                  <a:lnTo>
                    <a:pt x="50" y="164"/>
                  </a:lnTo>
                  <a:lnTo>
                    <a:pt x="50" y="163"/>
                  </a:lnTo>
                  <a:lnTo>
                    <a:pt x="49" y="163"/>
                  </a:lnTo>
                  <a:lnTo>
                    <a:pt x="49" y="161"/>
                  </a:lnTo>
                  <a:lnTo>
                    <a:pt x="49" y="160"/>
                  </a:lnTo>
                  <a:lnTo>
                    <a:pt x="48" y="160"/>
                  </a:lnTo>
                  <a:lnTo>
                    <a:pt x="48" y="159"/>
                  </a:lnTo>
                  <a:lnTo>
                    <a:pt x="48" y="158"/>
                  </a:lnTo>
                  <a:lnTo>
                    <a:pt x="48" y="157"/>
                  </a:lnTo>
                  <a:lnTo>
                    <a:pt x="47" y="157"/>
                  </a:lnTo>
                  <a:lnTo>
                    <a:pt x="47" y="156"/>
                  </a:lnTo>
                  <a:lnTo>
                    <a:pt x="47" y="154"/>
                  </a:lnTo>
                  <a:lnTo>
                    <a:pt x="45" y="153"/>
                  </a:lnTo>
                  <a:lnTo>
                    <a:pt x="45" y="152"/>
                  </a:lnTo>
                  <a:lnTo>
                    <a:pt x="44" y="151"/>
                  </a:lnTo>
                  <a:lnTo>
                    <a:pt x="45" y="151"/>
                  </a:lnTo>
                  <a:lnTo>
                    <a:pt x="44" y="151"/>
                  </a:lnTo>
                  <a:lnTo>
                    <a:pt x="44" y="150"/>
                  </a:lnTo>
                  <a:lnTo>
                    <a:pt x="44" y="149"/>
                  </a:lnTo>
                  <a:lnTo>
                    <a:pt x="44" y="147"/>
                  </a:lnTo>
                  <a:lnTo>
                    <a:pt x="43" y="147"/>
                  </a:lnTo>
                  <a:lnTo>
                    <a:pt x="43" y="146"/>
                  </a:lnTo>
                  <a:lnTo>
                    <a:pt x="42" y="146"/>
                  </a:lnTo>
                  <a:lnTo>
                    <a:pt x="43" y="146"/>
                  </a:lnTo>
                  <a:lnTo>
                    <a:pt x="43" y="145"/>
                  </a:lnTo>
                  <a:lnTo>
                    <a:pt x="42" y="145"/>
                  </a:lnTo>
                  <a:lnTo>
                    <a:pt x="42" y="146"/>
                  </a:lnTo>
                  <a:lnTo>
                    <a:pt x="42" y="145"/>
                  </a:lnTo>
                  <a:lnTo>
                    <a:pt x="41" y="145"/>
                  </a:lnTo>
                  <a:lnTo>
                    <a:pt x="42" y="145"/>
                  </a:lnTo>
                  <a:lnTo>
                    <a:pt x="42" y="144"/>
                  </a:lnTo>
                  <a:lnTo>
                    <a:pt x="41" y="144"/>
                  </a:lnTo>
                  <a:lnTo>
                    <a:pt x="41" y="143"/>
                  </a:lnTo>
                  <a:lnTo>
                    <a:pt x="41" y="142"/>
                  </a:lnTo>
                  <a:lnTo>
                    <a:pt x="41" y="140"/>
                  </a:lnTo>
                  <a:lnTo>
                    <a:pt x="40" y="140"/>
                  </a:lnTo>
                  <a:lnTo>
                    <a:pt x="40" y="139"/>
                  </a:lnTo>
                  <a:lnTo>
                    <a:pt x="38" y="138"/>
                  </a:lnTo>
                  <a:lnTo>
                    <a:pt x="38" y="137"/>
                  </a:lnTo>
                  <a:lnTo>
                    <a:pt x="38" y="136"/>
                  </a:lnTo>
                  <a:lnTo>
                    <a:pt x="37" y="135"/>
                  </a:lnTo>
                  <a:lnTo>
                    <a:pt x="37" y="133"/>
                  </a:lnTo>
                  <a:lnTo>
                    <a:pt x="36" y="133"/>
                  </a:lnTo>
                  <a:lnTo>
                    <a:pt x="36" y="132"/>
                  </a:lnTo>
                  <a:lnTo>
                    <a:pt x="36" y="131"/>
                  </a:lnTo>
                  <a:lnTo>
                    <a:pt x="35" y="130"/>
                  </a:lnTo>
                  <a:lnTo>
                    <a:pt x="35" y="129"/>
                  </a:lnTo>
                  <a:lnTo>
                    <a:pt x="33" y="128"/>
                  </a:lnTo>
                  <a:lnTo>
                    <a:pt x="33" y="126"/>
                  </a:lnTo>
                  <a:lnTo>
                    <a:pt x="30" y="125"/>
                  </a:lnTo>
                  <a:lnTo>
                    <a:pt x="30" y="124"/>
                  </a:lnTo>
                  <a:lnTo>
                    <a:pt x="29" y="124"/>
                  </a:lnTo>
                  <a:lnTo>
                    <a:pt x="29" y="123"/>
                  </a:lnTo>
                  <a:lnTo>
                    <a:pt x="28" y="122"/>
                  </a:lnTo>
                  <a:lnTo>
                    <a:pt x="28" y="121"/>
                  </a:lnTo>
                  <a:lnTo>
                    <a:pt x="28" y="119"/>
                  </a:lnTo>
                  <a:lnTo>
                    <a:pt x="27" y="118"/>
                  </a:lnTo>
                  <a:lnTo>
                    <a:pt x="27" y="117"/>
                  </a:lnTo>
                  <a:lnTo>
                    <a:pt x="26" y="117"/>
                  </a:lnTo>
                  <a:lnTo>
                    <a:pt x="27" y="117"/>
                  </a:lnTo>
                  <a:lnTo>
                    <a:pt x="27" y="116"/>
                  </a:lnTo>
                  <a:lnTo>
                    <a:pt x="26" y="116"/>
                  </a:lnTo>
                  <a:lnTo>
                    <a:pt x="26" y="115"/>
                  </a:lnTo>
                  <a:lnTo>
                    <a:pt x="26" y="114"/>
                  </a:lnTo>
                  <a:lnTo>
                    <a:pt x="24" y="114"/>
                  </a:lnTo>
                  <a:lnTo>
                    <a:pt x="24" y="112"/>
                  </a:lnTo>
                  <a:lnTo>
                    <a:pt x="23" y="110"/>
                  </a:lnTo>
                  <a:lnTo>
                    <a:pt x="22" y="110"/>
                  </a:lnTo>
                  <a:lnTo>
                    <a:pt x="22" y="109"/>
                  </a:lnTo>
                  <a:lnTo>
                    <a:pt x="21" y="109"/>
                  </a:lnTo>
                  <a:lnTo>
                    <a:pt x="21" y="108"/>
                  </a:lnTo>
                  <a:lnTo>
                    <a:pt x="21" y="107"/>
                  </a:lnTo>
                  <a:lnTo>
                    <a:pt x="20" y="107"/>
                  </a:lnTo>
                  <a:lnTo>
                    <a:pt x="19" y="105"/>
                  </a:lnTo>
                  <a:lnTo>
                    <a:pt x="17" y="104"/>
                  </a:lnTo>
                  <a:lnTo>
                    <a:pt x="16" y="103"/>
                  </a:lnTo>
                  <a:lnTo>
                    <a:pt x="14" y="102"/>
                  </a:lnTo>
                  <a:lnTo>
                    <a:pt x="9" y="100"/>
                  </a:lnTo>
                  <a:lnTo>
                    <a:pt x="8" y="100"/>
                  </a:lnTo>
                  <a:lnTo>
                    <a:pt x="8" y="98"/>
                  </a:lnTo>
                  <a:lnTo>
                    <a:pt x="7" y="97"/>
                  </a:lnTo>
                  <a:lnTo>
                    <a:pt x="6" y="97"/>
                  </a:lnTo>
                  <a:lnTo>
                    <a:pt x="5" y="96"/>
                  </a:lnTo>
                  <a:lnTo>
                    <a:pt x="4" y="95"/>
                  </a:lnTo>
                  <a:lnTo>
                    <a:pt x="4" y="94"/>
                  </a:lnTo>
                  <a:lnTo>
                    <a:pt x="4" y="93"/>
                  </a:lnTo>
                  <a:lnTo>
                    <a:pt x="5" y="93"/>
                  </a:lnTo>
                  <a:lnTo>
                    <a:pt x="5" y="91"/>
                  </a:lnTo>
                  <a:lnTo>
                    <a:pt x="6" y="91"/>
                  </a:lnTo>
                  <a:lnTo>
                    <a:pt x="6" y="93"/>
                  </a:lnTo>
                  <a:lnTo>
                    <a:pt x="7" y="91"/>
                  </a:lnTo>
                  <a:lnTo>
                    <a:pt x="7" y="90"/>
                  </a:lnTo>
                  <a:lnTo>
                    <a:pt x="7" y="89"/>
                  </a:lnTo>
                  <a:lnTo>
                    <a:pt x="7" y="88"/>
                  </a:lnTo>
                  <a:lnTo>
                    <a:pt x="6" y="86"/>
                  </a:lnTo>
                  <a:lnTo>
                    <a:pt x="5" y="84"/>
                  </a:lnTo>
                  <a:lnTo>
                    <a:pt x="4" y="83"/>
                  </a:lnTo>
                  <a:lnTo>
                    <a:pt x="4" y="84"/>
                  </a:lnTo>
                  <a:lnTo>
                    <a:pt x="4" y="83"/>
                  </a:lnTo>
                  <a:lnTo>
                    <a:pt x="2" y="82"/>
                  </a:lnTo>
                  <a:lnTo>
                    <a:pt x="2" y="81"/>
                  </a:lnTo>
                  <a:lnTo>
                    <a:pt x="2" y="80"/>
                  </a:lnTo>
                  <a:lnTo>
                    <a:pt x="4" y="80"/>
                  </a:lnTo>
                  <a:lnTo>
                    <a:pt x="5" y="80"/>
                  </a:lnTo>
                  <a:lnTo>
                    <a:pt x="5" y="79"/>
                  </a:lnTo>
                  <a:lnTo>
                    <a:pt x="4" y="79"/>
                  </a:lnTo>
                  <a:lnTo>
                    <a:pt x="4" y="77"/>
                  </a:lnTo>
                  <a:lnTo>
                    <a:pt x="2" y="77"/>
                  </a:lnTo>
                  <a:lnTo>
                    <a:pt x="2" y="76"/>
                  </a:lnTo>
                  <a:lnTo>
                    <a:pt x="1" y="74"/>
                  </a:lnTo>
                  <a:lnTo>
                    <a:pt x="0" y="74"/>
                  </a:lnTo>
                  <a:lnTo>
                    <a:pt x="1" y="73"/>
                  </a:lnTo>
                  <a:lnTo>
                    <a:pt x="0" y="73"/>
                  </a:lnTo>
                  <a:lnTo>
                    <a:pt x="0" y="72"/>
                  </a:lnTo>
                  <a:lnTo>
                    <a:pt x="0" y="70"/>
                  </a:lnTo>
                  <a:lnTo>
                    <a:pt x="1" y="69"/>
                  </a:lnTo>
                  <a:lnTo>
                    <a:pt x="0" y="68"/>
                  </a:lnTo>
                  <a:lnTo>
                    <a:pt x="1" y="68"/>
                  </a:lnTo>
                  <a:lnTo>
                    <a:pt x="1" y="67"/>
                  </a:lnTo>
                  <a:lnTo>
                    <a:pt x="2" y="66"/>
                  </a:lnTo>
                  <a:lnTo>
                    <a:pt x="2" y="65"/>
                  </a:lnTo>
                  <a:lnTo>
                    <a:pt x="4" y="65"/>
                  </a:lnTo>
                  <a:lnTo>
                    <a:pt x="4" y="63"/>
                  </a:lnTo>
                  <a:lnTo>
                    <a:pt x="5" y="62"/>
                  </a:lnTo>
                  <a:lnTo>
                    <a:pt x="6" y="61"/>
                  </a:lnTo>
                  <a:lnTo>
                    <a:pt x="6" y="60"/>
                  </a:lnTo>
                  <a:lnTo>
                    <a:pt x="7" y="60"/>
                  </a:lnTo>
                  <a:lnTo>
                    <a:pt x="7" y="59"/>
                  </a:lnTo>
                  <a:lnTo>
                    <a:pt x="9" y="56"/>
                  </a:lnTo>
                  <a:lnTo>
                    <a:pt x="10" y="56"/>
                  </a:lnTo>
                  <a:lnTo>
                    <a:pt x="10" y="55"/>
                  </a:lnTo>
                  <a:lnTo>
                    <a:pt x="12" y="55"/>
                  </a:lnTo>
                  <a:lnTo>
                    <a:pt x="13" y="55"/>
                  </a:lnTo>
                  <a:lnTo>
                    <a:pt x="13" y="54"/>
                  </a:lnTo>
                  <a:lnTo>
                    <a:pt x="14" y="54"/>
                  </a:lnTo>
                  <a:lnTo>
                    <a:pt x="14" y="53"/>
                  </a:lnTo>
                  <a:lnTo>
                    <a:pt x="14" y="54"/>
                  </a:lnTo>
                  <a:lnTo>
                    <a:pt x="14" y="55"/>
                  </a:lnTo>
                  <a:lnTo>
                    <a:pt x="15" y="55"/>
                  </a:lnTo>
                  <a:lnTo>
                    <a:pt x="15" y="56"/>
                  </a:lnTo>
                  <a:lnTo>
                    <a:pt x="15" y="58"/>
                  </a:lnTo>
                  <a:lnTo>
                    <a:pt x="15" y="59"/>
                  </a:lnTo>
                  <a:lnTo>
                    <a:pt x="15" y="60"/>
                  </a:lnTo>
                  <a:lnTo>
                    <a:pt x="15" y="61"/>
                  </a:lnTo>
                  <a:lnTo>
                    <a:pt x="16" y="61"/>
                  </a:lnTo>
                  <a:lnTo>
                    <a:pt x="15" y="62"/>
                  </a:lnTo>
                  <a:lnTo>
                    <a:pt x="14" y="62"/>
                  </a:lnTo>
                  <a:lnTo>
                    <a:pt x="14" y="63"/>
                  </a:lnTo>
                  <a:lnTo>
                    <a:pt x="13" y="62"/>
                  </a:lnTo>
                  <a:lnTo>
                    <a:pt x="12" y="62"/>
                  </a:lnTo>
                  <a:lnTo>
                    <a:pt x="12" y="63"/>
                  </a:lnTo>
                  <a:lnTo>
                    <a:pt x="12" y="65"/>
                  </a:lnTo>
                  <a:lnTo>
                    <a:pt x="12" y="66"/>
                  </a:lnTo>
                  <a:lnTo>
                    <a:pt x="12" y="67"/>
                  </a:lnTo>
                  <a:lnTo>
                    <a:pt x="13" y="67"/>
                  </a:lnTo>
                  <a:lnTo>
                    <a:pt x="13" y="66"/>
                  </a:lnTo>
                  <a:lnTo>
                    <a:pt x="14" y="66"/>
                  </a:lnTo>
                  <a:lnTo>
                    <a:pt x="14" y="67"/>
                  </a:lnTo>
                  <a:lnTo>
                    <a:pt x="12" y="69"/>
                  </a:lnTo>
                  <a:lnTo>
                    <a:pt x="12" y="70"/>
                  </a:lnTo>
                  <a:lnTo>
                    <a:pt x="13" y="70"/>
                  </a:lnTo>
                  <a:lnTo>
                    <a:pt x="14" y="70"/>
                  </a:lnTo>
                  <a:lnTo>
                    <a:pt x="15" y="69"/>
                  </a:lnTo>
                  <a:lnTo>
                    <a:pt x="15" y="68"/>
                  </a:lnTo>
                  <a:lnTo>
                    <a:pt x="16" y="68"/>
                  </a:lnTo>
                  <a:lnTo>
                    <a:pt x="16" y="67"/>
                  </a:lnTo>
                  <a:lnTo>
                    <a:pt x="16" y="68"/>
                  </a:lnTo>
                  <a:lnTo>
                    <a:pt x="17" y="68"/>
                  </a:lnTo>
                  <a:lnTo>
                    <a:pt x="19" y="69"/>
                  </a:lnTo>
                  <a:lnTo>
                    <a:pt x="20" y="69"/>
                  </a:lnTo>
                  <a:lnTo>
                    <a:pt x="21" y="70"/>
                  </a:lnTo>
                  <a:lnTo>
                    <a:pt x="22" y="70"/>
                  </a:lnTo>
                  <a:lnTo>
                    <a:pt x="23" y="70"/>
                  </a:lnTo>
                  <a:lnTo>
                    <a:pt x="24" y="70"/>
                  </a:lnTo>
                  <a:lnTo>
                    <a:pt x="24" y="72"/>
                  </a:lnTo>
                  <a:lnTo>
                    <a:pt x="26" y="72"/>
                  </a:lnTo>
                  <a:lnTo>
                    <a:pt x="26" y="73"/>
                  </a:lnTo>
                  <a:lnTo>
                    <a:pt x="26" y="74"/>
                  </a:lnTo>
                  <a:lnTo>
                    <a:pt x="27" y="75"/>
                  </a:lnTo>
                  <a:lnTo>
                    <a:pt x="27" y="76"/>
                  </a:lnTo>
                  <a:lnTo>
                    <a:pt x="28" y="76"/>
                  </a:lnTo>
                  <a:lnTo>
                    <a:pt x="28" y="77"/>
                  </a:lnTo>
                  <a:lnTo>
                    <a:pt x="29" y="79"/>
                  </a:lnTo>
                  <a:lnTo>
                    <a:pt x="30" y="79"/>
                  </a:lnTo>
                  <a:lnTo>
                    <a:pt x="31" y="79"/>
                  </a:lnTo>
                  <a:lnTo>
                    <a:pt x="33" y="79"/>
                  </a:lnTo>
                  <a:lnTo>
                    <a:pt x="33" y="77"/>
                  </a:lnTo>
                  <a:lnTo>
                    <a:pt x="33" y="76"/>
                  </a:lnTo>
                  <a:lnTo>
                    <a:pt x="34" y="76"/>
                  </a:lnTo>
                  <a:lnTo>
                    <a:pt x="34" y="75"/>
                  </a:lnTo>
                  <a:lnTo>
                    <a:pt x="34" y="74"/>
                  </a:lnTo>
                  <a:lnTo>
                    <a:pt x="35" y="73"/>
                  </a:lnTo>
                  <a:lnTo>
                    <a:pt x="36" y="73"/>
                  </a:lnTo>
                  <a:lnTo>
                    <a:pt x="37" y="73"/>
                  </a:lnTo>
                  <a:lnTo>
                    <a:pt x="37" y="72"/>
                  </a:lnTo>
                  <a:lnTo>
                    <a:pt x="37" y="70"/>
                  </a:lnTo>
                  <a:lnTo>
                    <a:pt x="37" y="69"/>
                  </a:lnTo>
                  <a:lnTo>
                    <a:pt x="37" y="68"/>
                  </a:lnTo>
                  <a:lnTo>
                    <a:pt x="37" y="67"/>
                  </a:lnTo>
                  <a:lnTo>
                    <a:pt x="38" y="65"/>
                  </a:lnTo>
                  <a:lnTo>
                    <a:pt x="38" y="63"/>
                  </a:lnTo>
                  <a:lnTo>
                    <a:pt x="38" y="62"/>
                  </a:lnTo>
                  <a:lnTo>
                    <a:pt x="40" y="62"/>
                  </a:lnTo>
                  <a:lnTo>
                    <a:pt x="40" y="61"/>
                  </a:lnTo>
                  <a:lnTo>
                    <a:pt x="40" y="60"/>
                  </a:lnTo>
                  <a:lnTo>
                    <a:pt x="41" y="60"/>
                  </a:lnTo>
                  <a:lnTo>
                    <a:pt x="41" y="59"/>
                  </a:lnTo>
                  <a:lnTo>
                    <a:pt x="41" y="58"/>
                  </a:lnTo>
                  <a:lnTo>
                    <a:pt x="41" y="56"/>
                  </a:lnTo>
                  <a:lnTo>
                    <a:pt x="41" y="55"/>
                  </a:lnTo>
                  <a:lnTo>
                    <a:pt x="41" y="54"/>
                  </a:lnTo>
                  <a:lnTo>
                    <a:pt x="41" y="53"/>
                  </a:lnTo>
                  <a:lnTo>
                    <a:pt x="42" y="53"/>
                  </a:lnTo>
                  <a:lnTo>
                    <a:pt x="42" y="54"/>
                  </a:lnTo>
                  <a:lnTo>
                    <a:pt x="43" y="54"/>
                  </a:lnTo>
                  <a:lnTo>
                    <a:pt x="43" y="55"/>
                  </a:lnTo>
                  <a:lnTo>
                    <a:pt x="44" y="55"/>
                  </a:lnTo>
                  <a:lnTo>
                    <a:pt x="44" y="54"/>
                  </a:lnTo>
                  <a:lnTo>
                    <a:pt x="43" y="54"/>
                  </a:lnTo>
                  <a:lnTo>
                    <a:pt x="43" y="53"/>
                  </a:lnTo>
                  <a:lnTo>
                    <a:pt x="44" y="52"/>
                  </a:lnTo>
                  <a:lnTo>
                    <a:pt x="44" y="51"/>
                  </a:lnTo>
                  <a:lnTo>
                    <a:pt x="45" y="51"/>
                  </a:lnTo>
                  <a:lnTo>
                    <a:pt x="47" y="48"/>
                  </a:lnTo>
                  <a:lnTo>
                    <a:pt x="48" y="47"/>
                  </a:lnTo>
                  <a:lnTo>
                    <a:pt x="49" y="47"/>
                  </a:lnTo>
                  <a:lnTo>
                    <a:pt x="49" y="46"/>
                  </a:lnTo>
                  <a:lnTo>
                    <a:pt x="51" y="46"/>
                  </a:lnTo>
                  <a:lnTo>
                    <a:pt x="52" y="45"/>
                  </a:lnTo>
                  <a:lnTo>
                    <a:pt x="54" y="45"/>
                  </a:lnTo>
                  <a:lnTo>
                    <a:pt x="56" y="44"/>
                  </a:lnTo>
                  <a:lnTo>
                    <a:pt x="57" y="44"/>
                  </a:lnTo>
                  <a:lnTo>
                    <a:pt x="59" y="42"/>
                  </a:lnTo>
                  <a:lnTo>
                    <a:pt x="61" y="41"/>
                  </a:lnTo>
                  <a:lnTo>
                    <a:pt x="63" y="41"/>
                  </a:lnTo>
                  <a:lnTo>
                    <a:pt x="64" y="40"/>
                  </a:lnTo>
                  <a:lnTo>
                    <a:pt x="65" y="40"/>
                  </a:lnTo>
                  <a:lnTo>
                    <a:pt x="65" y="39"/>
                  </a:lnTo>
                  <a:lnTo>
                    <a:pt x="66" y="39"/>
                  </a:lnTo>
                  <a:lnTo>
                    <a:pt x="68" y="38"/>
                  </a:lnTo>
                  <a:lnTo>
                    <a:pt x="69" y="37"/>
                  </a:lnTo>
                  <a:lnTo>
                    <a:pt x="70" y="35"/>
                  </a:lnTo>
                  <a:lnTo>
                    <a:pt x="71" y="34"/>
                  </a:lnTo>
                  <a:lnTo>
                    <a:pt x="72" y="33"/>
                  </a:lnTo>
                  <a:lnTo>
                    <a:pt x="73" y="32"/>
                  </a:lnTo>
                  <a:lnTo>
                    <a:pt x="74" y="31"/>
                  </a:lnTo>
                  <a:lnTo>
                    <a:pt x="74" y="30"/>
                  </a:lnTo>
                  <a:lnTo>
                    <a:pt x="76" y="28"/>
                  </a:lnTo>
                  <a:lnTo>
                    <a:pt x="77" y="28"/>
                  </a:lnTo>
                  <a:lnTo>
                    <a:pt x="77" y="27"/>
                  </a:lnTo>
                  <a:lnTo>
                    <a:pt x="78" y="26"/>
                  </a:lnTo>
                  <a:lnTo>
                    <a:pt x="78" y="25"/>
                  </a:lnTo>
                  <a:lnTo>
                    <a:pt x="79" y="25"/>
                  </a:lnTo>
                  <a:lnTo>
                    <a:pt x="79" y="24"/>
                  </a:lnTo>
                  <a:lnTo>
                    <a:pt x="79" y="23"/>
                  </a:lnTo>
                  <a:lnTo>
                    <a:pt x="80" y="20"/>
                  </a:lnTo>
                  <a:lnTo>
                    <a:pt x="80" y="19"/>
                  </a:lnTo>
                  <a:lnTo>
                    <a:pt x="81" y="17"/>
                  </a:lnTo>
                  <a:lnTo>
                    <a:pt x="81" y="16"/>
                  </a:lnTo>
                  <a:lnTo>
                    <a:pt x="81" y="14"/>
                  </a:lnTo>
                  <a:lnTo>
                    <a:pt x="83" y="14"/>
                  </a:lnTo>
                  <a:lnTo>
                    <a:pt x="83" y="16"/>
                  </a:lnTo>
                  <a:lnTo>
                    <a:pt x="84" y="16"/>
                  </a:lnTo>
                  <a:lnTo>
                    <a:pt x="84" y="14"/>
                  </a:lnTo>
                  <a:lnTo>
                    <a:pt x="83" y="11"/>
                  </a:lnTo>
                  <a:lnTo>
                    <a:pt x="83" y="10"/>
                  </a:lnTo>
                  <a:lnTo>
                    <a:pt x="84" y="10"/>
                  </a:lnTo>
                  <a:lnTo>
                    <a:pt x="84" y="9"/>
                  </a:lnTo>
                  <a:lnTo>
                    <a:pt x="84" y="7"/>
                  </a:lnTo>
                  <a:lnTo>
                    <a:pt x="83" y="9"/>
                  </a:lnTo>
                  <a:lnTo>
                    <a:pt x="83" y="7"/>
                  </a:lnTo>
                  <a:lnTo>
                    <a:pt x="81" y="7"/>
                  </a:lnTo>
                  <a:lnTo>
                    <a:pt x="81" y="6"/>
                  </a:lnTo>
                  <a:lnTo>
                    <a:pt x="80" y="5"/>
                  </a:lnTo>
                  <a:lnTo>
                    <a:pt x="80" y="4"/>
                  </a:lnTo>
                  <a:lnTo>
                    <a:pt x="80" y="3"/>
                  </a:lnTo>
                  <a:lnTo>
                    <a:pt x="79" y="3"/>
                  </a:lnTo>
                  <a:lnTo>
                    <a:pt x="78" y="3"/>
                  </a:lnTo>
                  <a:lnTo>
                    <a:pt x="78" y="2"/>
                  </a:lnTo>
                  <a:lnTo>
                    <a:pt x="79" y="2"/>
                  </a:lnTo>
                  <a:lnTo>
                    <a:pt x="80" y="2"/>
                  </a:lnTo>
                  <a:lnTo>
                    <a:pt x="80" y="3"/>
                  </a:lnTo>
                  <a:lnTo>
                    <a:pt x="81" y="3"/>
                  </a:lnTo>
                  <a:lnTo>
                    <a:pt x="81" y="2"/>
                  </a:lnTo>
                  <a:lnTo>
                    <a:pt x="83" y="2"/>
                  </a:lnTo>
                  <a:lnTo>
                    <a:pt x="84" y="2"/>
                  </a:lnTo>
                  <a:lnTo>
                    <a:pt x="84" y="0"/>
                  </a:lnTo>
                  <a:lnTo>
                    <a:pt x="85" y="0"/>
                  </a:lnTo>
                  <a:lnTo>
                    <a:pt x="86" y="0"/>
                  </a:lnTo>
                  <a:lnTo>
                    <a:pt x="86" y="2"/>
                  </a:lnTo>
                  <a:lnTo>
                    <a:pt x="87" y="2"/>
                  </a:lnTo>
                  <a:close/>
                </a:path>
              </a:pathLst>
            </a:custGeom>
            <a:solidFill>
              <a:srgbClr val="0053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15" name="Freeform 973">
              <a:extLst>
                <a:ext uri="{FF2B5EF4-FFF2-40B4-BE49-F238E27FC236}">
                  <a16:creationId xmlns:a16="http://schemas.microsoft.com/office/drawing/2014/main" id="{DF4C75A1-9018-4DE3-B542-77F38715E53A}"/>
                </a:ext>
              </a:extLst>
            </p:cNvPr>
            <p:cNvSpPr>
              <a:spLocks noEditPoints="1"/>
            </p:cNvSpPr>
            <p:nvPr/>
          </p:nvSpPr>
          <p:spPr bwMode="auto">
            <a:xfrm>
              <a:off x="7920506" y="3113482"/>
              <a:ext cx="32052" cy="29381"/>
            </a:xfrm>
            <a:custGeom>
              <a:avLst/>
              <a:gdLst>
                <a:gd name="T0" fmla="*/ 6 w 24"/>
                <a:gd name="T1" fmla="*/ 22 h 22"/>
                <a:gd name="T2" fmla="*/ 6 w 24"/>
                <a:gd name="T3" fmla="*/ 22 h 22"/>
                <a:gd name="T4" fmla="*/ 6 w 24"/>
                <a:gd name="T5" fmla="*/ 22 h 22"/>
                <a:gd name="T6" fmla="*/ 6 w 24"/>
                <a:gd name="T7" fmla="*/ 22 h 22"/>
                <a:gd name="T8" fmla="*/ 6 w 24"/>
                <a:gd name="T9" fmla="*/ 22 h 22"/>
                <a:gd name="T10" fmla="*/ 6 w 24"/>
                <a:gd name="T11" fmla="*/ 22 h 22"/>
                <a:gd name="T12" fmla="*/ 5 w 24"/>
                <a:gd name="T13" fmla="*/ 21 h 22"/>
                <a:gd name="T14" fmla="*/ 5 w 24"/>
                <a:gd name="T15" fmla="*/ 21 h 22"/>
                <a:gd name="T16" fmla="*/ 0 w 24"/>
                <a:gd name="T17" fmla="*/ 18 h 22"/>
                <a:gd name="T18" fmla="*/ 0 w 24"/>
                <a:gd name="T19" fmla="*/ 17 h 22"/>
                <a:gd name="T20" fmla="*/ 0 w 24"/>
                <a:gd name="T21" fmla="*/ 17 h 22"/>
                <a:gd name="T22" fmla="*/ 5 w 24"/>
                <a:gd name="T23" fmla="*/ 14 h 22"/>
                <a:gd name="T24" fmla="*/ 5 w 24"/>
                <a:gd name="T25" fmla="*/ 14 h 22"/>
                <a:gd name="T26" fmla="*/ 5 w 24"/>
                <a:gd name="T27" fmla="*/ 14 h 22"/>
                <a:gd name="T28" fmla="*/ 5 w 24"/>
                <a:gd name="T29" fmla="*/ 14 h 22"/>
                <a:gd name="T30" fmla="*/ 5 w 24"/>
                <a:gd name="T31" fmla="*/ 14 h 22"/>
                <a:gd name="T32" fmla="*/ 19 w 24"/>
                <a:gd name="T33" fmla="*/ 13 h 22"/>
                <a:gd name="T34" fmla="*/ 19 w 24"/>
                <a:gd name="T35" fmla="*/ 13 h 22"/>
                <a:gd name="T36" fmla="*/ 6 w 24"/>
                <a:gd name="T37" fmla="*/ 12 h 22"/>
                <a:gd name="T38" fmla="*/ 6 w 24"/>
                <a:gd name="T39" fmla="*/ 12 h 22"/>
                <a:gd name="T40" fmla="*/ 6 w 24"/>
                <a:gd name="T41" fmla="*/ 12 h 22"/>
                <a:gd name="T42" fmla="*/ 6 w 24"/>
                <a:gd name="T43" fmla="*/ 12 h 22"/>
                <a:gd name="T44" fmla="*/ 5 w 24"/>
                <a:gd name="T45" fmla="*/ 12 h 22"/>
                <a:gd name="T46" fmla="*/ 5 w 24"/>
                <a:gd name="T47" fmla="*/ 12 h 22"/>
                <a:gd name="T48" fmla="*/ 5 w 24"/>
                <a:gd name="T49" fmla="*/ 12 h 22"/>
                <a:gd name="T50" fmla="*/ 5 w 24"/>
                <a:gd name="T51" fmla="*/ 12 h 22"/>
                <a:gd name="T52" fmla="*/ 6 w 24"/>
                <a:gd name="T53" fmla="*/ 11 h 22"/>
                <a:gd name="T54" fmla="*/ 6 w 24"/>
                <a:gd name="T55" fmla="*/ 11 h 22"/>
                <a:gd name="T56" fmla="*/ 6 w 24"/>
                <a:gd name="T57" fmla="*/ 11 h 22"/>
                <a:gd name="T58" fmla="*/ 6 w 24"/>
                <a:gd name="T59" fmla="*/ 11 h 22"/>
                <a:gd name="T60" fmla="*/ 24 w 24"/>
                <a:gd name="T61" fmla="*/ 6 h 22"/>
                <a:gd name="T62" fmla="*/ 24 w 24"/>
                <a:gd name="T63" fmla="*/ 6 h 22"/>
                <a:gd name="T64" fmla="*/ 24 w 24"/>
                <a:gd name="T65" fmla="*/ 6 h 22"/>
                <a:gd name="T66" fmla="*/ 24 w 24"/>
                <a:gd name="T67" fmla="*/ 6 h 22"/>
                <a:gd name="T68" fmla="*/ 24 w 24"/>
                <a:gd name="T69" fmla="*/ 6 h 22"/>
                <a:gd name="T70" fmla="*/ 24 w 24"/>
                <a:gd name="T71" fmla="*/ 6 h 22"/>
                <a:gd name="T72" fmla="*/ 24 w 24"/>
                <a:gd name="T73" fmla="*/ 5 h 22"/>
                <a:gd name="T74" fmla="*/ 24 w 24"/>
                <a:gd name="T75" fmla="*/ 5 h 22"/>
                <a:gd name="T76" fmla="*/ 24 w 24"/>
                <a:gd name="T77" fmla="*/ 4 h 22"/>
                <a:gd name="T78" fmla="*/ 24 w 24"/>
                <a:gd name="T79" fmla="*/ 4 h 22"/>
                <a:gd name="T80" fmla="*/ 24 w 24"/>
                <a:gd name="T81" fmla="*/ 4 h 22"/>
                <a:gd name="T82" fmla="*/ 24 w 24"/>
                <a:gd name="T83" fmla="*/ 4 h 22"/>
                <a:gd name="T84" fmla="*/ 2 w 24"/>
                <a:gd name="T85" fmla="*/ 1 h 22"/>
                <a:gd name="T86" fmla="*/ 2 w 24"/>
                <a:gd name="T87" fmla="*/ 1 h 22"/>
                <a:gd name="T88" fmla="*/ 2 w 24"/>
                <a:gd name="T89" fmla="*/ 0 h 22"/>
                <a:gd name="T90" fmla="*/ 2 w 24"/>
                <a:gd name="T91" fmla="*/ 0 h 22"/>
                <a:gd name="T92" fmla="*/ 13 w 24"/>
                <a:gd name="T93" fmla="*/ 0 h 22"/>
                <a:gd name="T94" fmla="*/ 13 w 24"/>
                <a:gd name="T95" fmla="*/ 0 h 22"/>
                <a:gd name="T96" fmla="*/ 13 w 24"/>
                <a:gd name="T97" fmla="*/ 0 h 22"/>
                <a:gd name="T98" fmla="*/ 12 w 24"/>
                <a:gd name="T99" fmla="*/ 0 h 22"/>
                <a:gd name="T100" fmla="*/ 13 w 24"/>
                <a:gd name="T10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 h="22">
                  <a:moveTo>
                    <a:pt x="6" y="22"/>
                  </a:moveTo>
                  <a:lnTo>
                    <a:pt x="6" y="22"/>
                  </a:lnTo>
                  <a:lnTo>
                    <a:pt x="6" y="22"/>
                  </a:lnTo>
                  <a:lnTo>
                    <a:pt x="6" y="22"/>
                  </a:lnTo>
                  <a:lnTo>
                    <a:pt x="6" y="22"/>
                  </a:lnTo>
                  <a:lnTo>
                    <a:pt x="6" y="22"/>
                  </a:lnTo>
                  <a:lnTo>
                    <a:pt x="6" y="22"/>
                  </a:lnTo>
                  <a:lnTo>
                    <a:pt x="6" y="22"/>
                  </a:lnTo>
                  <a:lnTo>
                    <a:pt x="6" y="22"/>
                  </a:lnTo>
                  <a:lnTo>
                    <a:pt x="6" y="22"/>
                  </a:lnTo>
                  <a:lnTo>
                    <a:pt x="6" y="22"/>
                  </a:lnTo>
                  <a:lnTo>
                    <a:pt x="6" y="22"/>
                  </a:lnTo>
                  <a:close/>
                  <a:moveTo>
                    <a:pt x="5" y="21"/>
                  </a:moveTo>
                  <a:lnTo>
                    <a:pt x="5" y="21"/>
                  </a:lnTo>
                  <a:lnTo>
                    <a:pt x="5" y="21"/>
                  </a:lnTo>
                  <a:lnTo>
                    <a:pt x="5" y="21"/>
                  </a:lnTo>
                  <a:close/>
                  <a:moveTo>
                    <a:pt x="0" y="18"/>
                  </a:moveTo>
                  <a:lnTo>
                    <a:pt x="0" y="18"/>
                  </a:lnTo>
                  <a:lnTo>
                    <a:pt x="0" y="17"/>
                  </a:lnTo>
                  <a:lnTo>
                    <a:pt x="0" y="17"/>
                  </a:lnTo>
                  <a:lnTo>
                    <a:pt x="0" y="17"/>
                  </a:lnTo>
                  <a:lnTo>
                    <a:pt x="0" y="17"/>
                  </a:lnTo>
                  <a:lnTo>
                    <a:pt x="0" y="18"/>
                  </a:lnTo>
                  <a:close/>
                  <a:moveTo>
                    <a:pt x="5" y="14"/>
                  </a:moveTo>
                  <a:lnTo>
                    <a:pt x="5" y="14"/>
                  </a:lnTo>
                  <a:lnTo>
                    <a:pt x="5" y="14"/>
                  </a:lnTo>
                  <a:lnTo>
                    <a:pt x="5" y="14"/>
                  </a:lnTo>
                  <a:lnTo>
                    <a:pt x="5" y="14"/>
                  </a:lnTo>
                  <a:lnTo>
                    <a:pt x="5" y="14"/>
                  </a:lnTo>
                  <a:lnTo>
                    <a:pt x="5" y="14"/>
                  </a:lnTo>
                  <a:lnTo>
                    <a:pt x="5" y="14"/>
                  </a:lnTo>
                  <a:lnTo>
                    <a:pt x="5" y="14"/>
                  </a:lnTo>
                  <a:close/>
                  <a:moveTo>
                    <a:pt x="19" y="13"/>
                  </a:moveTo>
                  <a:lnTo>
                    <a:pt x="19" y="13"/>
                  </a:lnTo>
                  <a:lnTo>
                    <a:pt x="19" y="13"/>
                  </a:lnTo>
                  <a:lnTo>
                    <a:pt x="19" y="13"/>
                  </a:lnTo>
                  <a:close/>
                  <a:moveTo>
                    <a:pt x="6" y="12"/>
                  </a:moveTo>
                  <a:lnTo>
                    <a:pt x="6" y="12"/>
                  </a:lnTo>
                  <a:lnTo>
                    <a:pt x="6" y="12"/>
                  </a:lnTo>
                  <a:lnTo>
                    <a:pt x="6" y="12"/>
                  </a:lnTo>
                  <a:lnTo>
                    <a:pt x="6" y="12"/>
                  </a:lnTo>
                  <a:lnTo>
                    <a:pt x="6" y="12"/>
                  </a:lnTo>
                  <a:lnTo>
                    <a:pt x="6" y="12"/>
                  </a:lnTo>
                  <a:lnTo>
                    <a:pt x="6" y="12"/>
                  </a:lnTo>
                  <a:close/>
                  <a:moveTo>
                    <a:pt x="5" y="12"/>
                  </a:moveTo>
                  <a:lnTo>
                    <a:pt x="5" y="12"/>
                  </a:lnTo>
                  <a:lnTo>
                    <a:pt x="5" y="12"/>
                  </a:lnTo>
                  <a:lnTo>
                    <a:pt x="5" y="12"/>
                  </a:lnTo>
                  <a:lnTo>
                    <a:pt x="5" y="12"/>
                  </a:lnTo>
                  <a:lnTo>
                    <a:pt x="5" y="12"/>
                  </a:lnTo>
                  <a:lnTo>
                    <a:pt x="5" y="12"/>
                  </a:lnTo>
                  <a:lnTo>
                    <a:pt x="5" y="12"/>
                  </a:lnTo>
                  <a:close/>
                  <a:moveTo>
                    <a:pt x="6" y="11"/>
                  </a:moveTo>
                  <a:lnTo>
                    <a:pt x="6" y="11"/>
                  </a:lnTo>
                  <a:lnTo>
                    <a:pt x="6" y="11"/>
                  </a:lnTo>
                  <a:lnTo>
                    <a:pt x="6" y="11"/>
                  </a:lnTo>
                  <a:lnTo>
                    <a:pt x="6" y="11"/>
                  </a:lnTo>
                  <a:lnTo>
                    <a:pt x="6" y="11"/>
                  </a:lnTo>
                  <a:lnTo>
                    <a:pt x="6" y="11"/>
                  </a:lnTo>
                  <a:lnTo>
                    <a:pt x="6" y="11"/>
                  </a:lnTo>
                  <a:close/>
                  <a:moveTo>
                    <a:pt x="24" y="6"/>
                  </a:moveTo>
                  <a:lnTo>
                    <a:pt x="24" y="6"/>
                  </a:lnTo>
                  <a:lnTo>
                    <a:pt x="24" y="6"/>
                  </a:lnTo>
                  <a:lnTo>
                    <a:pt x="24" y="6"/>
                  </a:lnTo>
                  <a:lnTo>
                    <a:pt x="24" y="6"/>
                  </a:lnTo>
                  <a:lnTo>
                    <a:pt x="24" y="6"/>
                  </a:lnTo>
                  <a:lnTo>
                    <a:pt x="24" y="6"/>
                  </a:lnTo>
                  <a:lnTo>
                    <a:pt x="24" y="6"/>
                  </a:lnTo>
                  <a:lnTo>
                    <a:pt x="24" y="6"/>
                  </a:lnTo>
                  <a:lnTo>
                    <a:pt x="24" y="6"/>
                  </a:lnTo>
                  <a:lnTo>
                    <a:pt x="24" y="6"/>
                  </a:lnTo>
                  <a:lnTo>
                    <a:pt x="24" y="6"/>
                  </a:lnTo>
                  <a:lnTo>
                    <a:pt x="24" y="6"/>
                  </a:lnTo>
                  <a:close/>
                  <a:moveTo>
                    <a:pt x="24" y="5"/>
                  </a:moveTo>
                  <a:lnTo>
                    <a:pt x="24" y="5"/>
                  </a:lnTo>
                  <a:lnTo>
                    <a:pt x="24" y="5"/>
                  </a:lnTo>
                  <a:lnTo>
                    <a:pt x="24" y="4"/>
                  </a:lnTo>
                  <a:lnTo>
                    <a:pt x="24" y="4"/>
                  </a:lnTo>
                  <a:lnTo>
                    <a:pt x="24" y="4"/>
                  </a:lnTo>
                  <a:lnTo>
                    <a:pt x="24" y="4"/>
                  </a:lnTo>
                  <a:lnTo>
                    <a:pt x="24" y="4"/>
                  </a:lnTo>
                  <a:lnTo>
                    <a:pt x="24" y="4"/>
                  </a:lnTo>
                  <a:lnTo>
                    <a:pt x="24" y="4"/>
                  </a:lnTo>
                  <a:lnTo>
                    <a:pt x="24" y="4"/>
                  </a:lnTo>
                  <a:lnTo>
                    <a:pt x="24" y="5"/>
                  </a:lnTo>
                  <a:close/>
                  <a:moveTo>
                    <a:pt x="2" y="1"/>
                  </a:moveTo>
                  <a:lnTo>
                    <a:pt x="2" y="1"/>
                  </a:lnTo>
                  <a:lnTo>
                    <a:pt x="2" y="1"/>
                  </a:lnTo>
                  <a:lnTo>
                    <a:pt x="2" y="0"/>
                  </a:lnTo>
                  <a:lnTo>
                    <a:pt x="2" y="0"/>
                  </a:lnTo>
                  <a:lnTo>
                    <a:pt x="2" y="0"/>
                  </a:lnTo>
                  <a:lnTo>
                    <a:pt x="2" y="0"/>
                  </a:lnTo>
                  <a:lnTo>
                    <a:pt x="2" y="1"/>
                  </a:lnTo>
                  <a:close/>
                  <a:moveTo>
                    <a:pt x="13" y="0"/>
                  </a:moveTo>
                  <a:lnTo>
                    <a:pt x="13" y="0"/>
                  </a:lnTo>
                  <a:lnTo>
                    <a:pt x="13" y="0"/>
                  </a:lnTo>
                  <a:lnTo>
                    <a:pt x="13" y="0"/>
                  </a:lnTo>
                  <a:lnTo>
                    <a:pt x="13" y="0"/>
                  </a:lnTo>
                  <a:lnTo>
                    <a:pt x="12" y="0"/>
                  </a:lnTo>
                  <a:lnTo>
                    <a:pt x="12" y="0"/>
                  </a:lnTo>
                  <a:lnTo>
                    <a:pt x="12" y="0"/>
                  </a:lnTo>
                  <a:lnTo>
                    <a:pt x="13"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16" name="Freeform 974">
              <a:extLst>
                <a:ext uri="{FF2B5EF4-FFF2-40B4-BE49-F238E27FC236}">
                  <a16:creationId xmlns:a16="http://schemas.microsoft.com/office/drawing/2014/main" id="{D7BC786B-2F03-46C3-BF1B-897E90D9348D}"/>
                </a:ext>
              </a:extLst>
            </p:cNvPr>
            <p:cNvSpPr>
              <a:spLocks noEditPoints="1"/>
            </p:cNvSpPr>
            <p:nvPr/>
          </p:nvSpPr>
          <p:spPr bwMode="auto">
            <a:xfrm>
              <a:off x="7977931" y="2902475"/>
              <a:ext cx="180291" cy="347227"/>
            </a:xfrm>
            <a:custGeom>
              <a:avLst/>
              <a:gdLst>
                <a:gd name="T0" fmla="*/ 120 w 135"/>
                <a:gd name="T1" fmla="*/ 248 h 260"/>
                <a:gd name="T2" fmla="*/ 63 w 135"/>
                <a:gd name="T3" fmla="*/ 240 h 260"/>
                <a:gd name="T4" fmla="*/ 76 w 135"/>
                <a:gd name="T5" fmla="*/ 229 h 260"/>
                <a:gd name="T6" fmla="*/ 0 w 135"/>
                <a:gd name="T7" fmla="*/ 208 h 260"/>
                <a:gd name="T8" fmla="*/ 93 w 135"/>
                <a:gd name="T9" fmla="*/ 190 h 260"/>
                <a:gd name="T10" fmla="*/ 125 w 135"/>
                <a:gd name="T11" fmla="*/ 185 h 260"/>
                <a:gd name="T12" fmla="*/ 130 w 135"/>
                <a:gd name="T13" fmla="*/ 204 h 260"/>
                <a:gd name="T14" fmla="*/ 130 w 135"/>
                <a:gd name="T15" fmla="*/ 227 h 260"/>
                <a:gd name="T16" fmla="*/ 123 w 135"/>
                <a:gd name="T17" fmla="*/ 233 h 260"/>
                <a:gd name="T18" fmla="*/ 102 w 135"/>
                <a:gd name="T19" fmla="*/ 235 h 260"/>
                <a:gd name="T20" fmla="*/ 91 w 135"/>
                <a:gd name="T21" fmla="*/ 214 h 260"/>
                <a:gd name="T22" fmla="*/ 78 w 135"/>
                <a:gd name="T23" fmla="*/ 214 h 260"/>
                <a:gd name="T24" fmla="*/ 76 w 135"/>
                <a:gd name="T25" fmla="*/ 206 h 260"/>
                <a:gd name="T26" fmla="*/ 93 w 135"/>
                <a:gd name="T27" fmla="*/ 207 h 260"/>
                <a:gd name="T28" fmla="*/ 113 w 135"/>
                <a:gd name="T29" fmla="*/ 194 h 260"/>
                <a:gd name="T30" fmla="*/ 123 w 135"/>
                <a:gd name="T31" fmla="*/ 175 h 260"/>
                <a:gd name="T32" fmla="*/ 95 w 135"/>
                <a:gd name="T33" fmla="*/ 176 h 260"/>
                <a:gd name="T34" fmla="*/ 118 w 135"/>
                <a:gd name="T35" fmla="*/ 173 h 260"/>
                <a:gd name="T36" fmla="*/ 77 w 135"/>
                <a:gd name="T37" fmla="*/ 166 h 260"/>
                <a:gd name="T38" fmla="*/ 87 w 135"/>
                <a:gd name="T39" fmla="*/ 164 h 260"/>
                <a:gd name="T40" fmla="*/ 80 w 135"/>
                <a:gd name="T41" fmla="*/ 186 h 260"/>
                <a:gd name="T42" fmla="*/ 33 w 135"/>
                <a:gd name="T43" fmla="*/ 158 h 260"/>
                <a:gd name="T44" fmla="*/ 87 w 135"/>
                <a:gd name="T45" fmla="*/ 179 h 260"/>
                <a:gd name="T46" fmla="*/ 31 w 135"/>
                <a:gd name="T47" fmla="*/ 158 h 260"/>
                <a:gd name="T48" fmla="*/ 23 w 135"/>
                <a:gd name="T49" fmla="*/ 180 h 260"/>
                <a:gd name="T50" fmla="*/ 7 w 135"/>
                <a:gd name="T51" fmla="*/ 193 h 260"/>
                <a:gd name="T52" fmla="*/ 26 w 135"/>
                <a:gd name="T53" fmla="*/ 170 h 260"/>
                <a:gd name="T54" fmla="*/ 31 w 135"/>
                <a:gd name="T55" fmla="*/ 152 h 260"/>
                <a:gd name="T56" fmla="*/ 108 w 135"/>
                <a:gd name="T57" fmla="*/ 162 h 260"/>
                <a:gd name="T58" fmla="*/ 105 w 135"/>
                <a:gd name="T59" fmla="*/ 169 h 260"/>
                <a:gd name="T60" fmla="*/ 100 w 135"/>
                <a:gd name="T61" fmla="*/ 152 h 260"/>
                <a:gd name="T62" fmla="*/ 77 w 135"/>
                <a:gd name="T63" fmla="*/ 150 h 260"/>
                <a:gd name="T64" fmla="*/ 68 w 135"/>
                <a:gd name="T65" fmla="*/ 169 h 260"/>
                <a:gd name="T66" fmla="*/ 41 w 135"/>
                <a:gd name="T67" fmla="*/ 147 h 260"/>
                <a:gd name="T68" fmla="*/ 37 w 135"/>
                <a:gd name="T69" fmla="*/ 140 h 260"/>
                <a:gd name="T70" fmla="*/ 70 w 135"/>
                <a:gd name="T71" fmla="*/ 137 h 260"/>
                <a:gd name="T72" fmla="*/ 114 w 135"/>
                <a:gd name="T73" fmla="*/ 149 h 260"/>
                <a:gd name="T74" fmla="*/ 109 w 135"/>
                <a:gd name="T75" fmla="*/ 156 h 260"/>
                <a:gd name="T76" fmla="*/ 104 w 135"/>
                <a:gd name="T77" fmla="*/ 135 h 260"/>
                <a:gd name="T78" fmla="*/ 88 w 135"/>
                <a:gd name="T79" fmla="*/ 145 h 260"/>
                <a:gd name="T80" fmla="*/ 68 w 135"/>
                <a:gd name="T81" fmla="*/ 136 h 260"/>
                <a:gd name="T82" fmla="*/ 86 w 135"/>
                <a:gd name="T83" fmla="*/ 134 h 260"/>
                <a:gd name="T84" fmla="*/ 90 w 135"/>
                <a:gd name="T85" fmla="*/ 123 h 260"/>
                <a:gd name="T86" fmla="*/ 55 w 135"/>
                <a:gd name="T87" fmla="*/ 138 h 260"/>
                <a:gd name="T88" fmla="*/ 41 w 135"/>
                <a:gd name="T89" fmla="*/ 120 h 260"/>
                <a:gd name="T90" fmla="*/ 36 w 135"/>
                <a:gd name="T91" fmla="*/ 116 h 260"/>
                <a:gd name="T92" fmla="*/ 61 w 135"/>
                <a:gd name="T93" fmla="*/ 109 h 260"/>
                <a:gd name="T94" fmla="*/ 56 w 135"/>
                <a:gd name="T95" fmla="*/ 95 h 260"/>
                <a:gd name="T96" fmla="*/ 55 w 135"/>
                <a:gd name="T97" fmla="*/ 46 h 260"/>
                <a:gd name="T98" fmla="*/ 56 w 135"/>
                <a:gd name="T99" fmla="*/ 80 h 260"/>
                <a:gd name="T100" fmla="*/ 52 w 135"/>
                <a:gd name="T101" fmla="*/ 98 h 260"/>
                <a:gd name="T102" fmla="*/ 65 w 135"/>
                <a:gd name="T103" fmla="*/ 107 h 260"/>
                <a:gd name="T104" fmla="*/ 83 w 135"/>
                <a:gd name="T105" fmla="*/ 113 h 260"/>
                <a:gd name="T106" fmla="*/ 93 w 135"/>
                <a:gd name="T107" fmla="*/ 127 h 260"/>
                <a:gd name="T108" fmla="*/ 85 w 135"/>
                <a:gd name="T109" fmla="*/ 129 h 260"/>
                <a:gd name="T110" fmla="*/ 69 w 135"/>
                <a:gd name="T111" fmla="*/ 117 h 260"/>
                <a:gd name="T112" fmla="*/ 54 w 135"/>
                <a:gd name="T113" fmla="*/ 117 h 260"/>
                <a:gd name="T114" fmla="*/ 45 w 135"/>
                <a:gd name="T115" fmla="*/ 103 h 260"/>
                <a:gd name="T116" fmla="*/ 31 w 135"/>
                <a:gd name="T117" fmla="*/ 98 h 260"/>
                <a:gd name="T118" fmla="*/ 34 w 135"/>
                <a:gd name="T119" fmla="*/ 79 h 260"/>
                <a:gd name="T120" fmla="*/ 33 w 135"/>
                <a:gd name="T121" fmla="*/ 39 h 260"/>
                <a:gd name="T122" fmla="*/ 38 w 135"/>
                <a:gd name="T123" fmla="*/ 2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5" h="260">
                  <a:moveTo>
                    <a:pt x="38" y="260"/>
                  </a:moveTo>
                  <a:lnTo>
                    <a:pt x="38" y="259"/>
                  </a:lnTo>
                  <a:lnTo>
                    <a:pt x="38" y="257"/>
                  </a:lnTo>
                  <a:lnTo>
                    <a:pt x="37" y="256"/>
                  </a:lnTo>
                  <a:lnTo>
                    <a:pt x="38" y="256"/>
                  </a:lnTo>
                  <a:lnTo>
                    <a:pt x="38" y="257"/>
                  </a:lnTo>
                  <a:lnTo>
                    <a:pt x="38" y="259"/>
                  </a:lnTo>
                  <a:lnTo>
                    <a:pt x="38" y="260"/>
                  </a:lnTo>
                  <a:close/>
                  <a:moveTo>
                    <a:pt x="43" y="254"/>
                  </a:moveTo>
                  <a:lnTo>
                    <a:pt x="42" y="254"/>
                  </a:lnTo>
                  <a:lnTo>
                    <a:pt x="42" y="253"/>
                  </a:lnTo>
                  <a:lnTo>
                    <a:pt x="43" y="253"/>
                  </a:lnTo>
                  <a:lnTo>
                    <a:pt x="43" y="254"/>
                  </a:lnTo>
                  <a:close/>
                  <a:moveTo>
                    <a:pt x="48" y="250"/>
                  </a:moveTo>
                  <a:lnTo>
                    <a:pt x="49" y="250"/>
                  </a:lnTo>
                  <a:lnTo>
                    <a:pt x="49" y="252"/>
                  </a:lnTo>
                  <a:lnTo>
                    <a:pt x="49" y="253"/>
                  </a:lnTo>
                  <a:lnTo>
                    <a:pt x="48" y="253"/>
                  </a:lnTo>
                  <a:lnTo>
                    <a:pt x="48" y="252"/>
                  </a:lnTo>
                  <a:lnTo>
                    <a:pt x="47" y="252"/>
                  </a:lnTo>
                  <a:lnTo>
                    <a:pt x="45" y="252"/>
                  </a:lnTo>
                  <a:lnTo>
                    <a:pt x="45" y="253"/>
                  </a:lnTo>
                  <a:lnTo>
                    <a:pt x="44" y="253"/>
                  </a:lnTo>
                  <a:lnTo>
                    <a:pt x="44" y="254"/>
                  </a:lnTo>
                  <a:lnTo>
                    <a:pt x="43" y="254"/>
                  </a:lnTo>
                  <a:lnTo>
                    <a:pt x="43" y="253"/>
                  </a:lnTo>
                  <a:lnTo>
                    <a:pt x="44" y="252"/>
                  </a:lnTo>
                  <a:lnTo>
                    <a:pt x="44" y="250"/>
                  </a:lnTo>
                  <a:lnTo>
                    <a:pt x="45" y="250"/>
                  </a:lnTo>
                  <a:lnTo>
                    <a:pt x="47" y="250"/>
                  </a:lnTo>
                  <a:lnTo>
                    <a:pt x="47" y="249"/>
                  </a:lnTo>
                  <a:lnTo>
                    <a:pt x="48" y="249"/>
                  </a:lnTo>
                  <a:lnTo>
                    <a:pt x="48" y="250"/>
                  </a:lnTo>
                  <a:close/>
                  <a:moveTo>
                    <a:pt x="121" y="248"/>
                  </a:moveTo>
                  <a:lnTo>
                    <a:pt x="121" y="249"/>
                  </a:lnTo>
                  <a:lnTo>
                    <a:pt x="120" y="249"/>
                  </a:lnTo>
                  <a:lnTo>
                    <a:pt x="120" y="248"/>
                  </a:lnTo>
                  <a:lnTo>
                    <a:pt x="120" y="249"/>
                  </a:lnTo>
                  <a:lnTo>
                    <a:pt x="120" y="248"/>
                  </a:lnTo>
                  <a:lnTo>
                    <a:pt x="121" y="248"/>
                  </a:lnTo>
                  <a:close/>
                  <a:moveTo>
                    <a:pt x="57" y="247"/>
                  </a:moveTo>
                  <a:lnTo>
                    <a:pt x="57" y="246"/>
                  </a:lnTo>
                  <a:lnTo>
                    <a:pt x="56" y="246"/>
                  </a:lnTo>
                  <a:lnTo>
                    <a:pt x="57" y="246"/>
                  </a:lnTo>
                  <a:lnTo>
                    <a:pt x="58" y="246"/>
                  </a:lnTo>
                  <a:lnTo>
                    <a:pt x="57" y="247"/>
                  </a:lnTo>
                  <a:close/>
                  <a:moveTo>
                    <a:pt x="56" y="243"/>
                  </a:moveTo>
                  <a:lnTo>
                    <a:pt x="56" y="245"/>
                  </a:lnTo>
                  <a:lnTo>
                    <a:pt x="56" y="243"/>
                  </a:lnTo>
                  <a:lnTo>
                    <a:pt x="57" y="243"/>
                  </a:lnTo>
                  <a:lnTo>
                    <a:pt x="56" y="243"/>
                  </a:lnTo>
                  <a:close/>
                  <a:moveTo>
                    <a:pt x="58" y="243"/>
                  </a:moveTo>
                  <a:lnTo>
                    <a:pt x="57" y="243"/>
                  </a:lnTo>
                  <a:lnTo>
                    <a:pt x="57" y="242"/>
                  </a:lnTo>
                  <a:lnTo>
                    <a:pt x="58" y="243"/>
                  </a:lnTo>
                  <a:close/>
                  <a:moveTo>
                    <a:pt x="62" y="242"/>
                  </a:moveTo>
                  <a:lnTo>
                    <a:pt x="61" y="242"/>
                  </a:lnTo>
                  <a:lnTo>
                    <a:pt x="61" y="241"/>
                  </a:lnTo>
                  <a:lnTo>
                    <a:pt x="62" y="241"/>
                  </a:lnTo>
                  <a:lnTo>
                    <a:pt x="62" y="242"/>
                  </a:lnTo>
                  <a:close/>
                  <a:moveTo>
                    <a:pt x="70" y="238"/>
                  </a:moveTo>
                  <a:lnTo>
                    <a:pt x="71" y="238"/>
                  </a:lnTo>
                  <a:lnTo>
                    <a:pt x="71" y="239"/>
                  </a:lnTo>
                  <a:lnTo>
                    <a:pt x="70" y="239"/>
                  </a:lnTo>
                  <a:lnTo>
                    <a:pt x="70" y="238"/>
                  </a:lnTo>
                  <a:lnTo>
                    <a:pt x="69" y="238"/>
                  </a:lnTo>
                  <a:lnTo>
                    <a:pt x="70" y="238"/>
                  </a:lnTo>
                  <a:close/>
                  <a:moveTo>
                    <a:pt x="59" y="238"/>
                  </a:moveTo>
                  <a:lnTo>
                    <a:pt x="61" y="238"/>
                  </a:lnTo>
                  <a:lnTo>
                    <a:pt x="62" y="239"/>
                  </a:lnTo>
                  <a:lnTo>
                    <a:pt x="63" y="239"/>
                  </a:lnTo>
                  <a:lnTo>
                    <a:pt x="64" y="239"/>
                  </a:lnTo>
                  <a:lnTo>
                    <a:pt x="64" y="240"/>
                  </a:lnTo>
                  <a:lnTo>
                    <a:pt x="63" y="240"/>
                  </a:lnTo>
                  <a:lnTo>
                    <a:pt x="63" y="241"/>
                  </a:lnTo>
                  <a:lnTo>
                    <a:pt x="62" y="241"/>
                  </a:lnTo>
                  <a:lnTo>
                    <a:pt x="62" y="240"/>
                  </a:lnTo>
                  <a:lnTo>
                    <a:pt x="61" y="240"/>
                  </a:lnTo>
                  <a:lnTo>
                    <a:pt x="59" y="240"/>
                  </a:lnTo>
                  <a:lnTo>
                    <a:pt x="58" y="240"/>
                  </a:lnTo>
                  <a:lnTo>
                    <a:pt x="57" y="240"/>
                  </a:lnTo>
                  <a:lnTo>
                    <a:pt x="57" y="239"/>
                  </a:lnTo>
                  <a:lnTo>
                    <a:pt x="58" y="239"/>
                  </a:lnTo>
                  <a:lnTo>
                    <a:pt x="58" y="238"/>
                  </a:lnTo>
                  <a:lnTo>
                    <a:pt x="59" y="238"/>
                  </a:lnTo>
                  <a:close/>
                  <a:moveTo>
                    <a:pt x="52" y="235"/>
                  </a:moveTo>
                  <a:lnTo>
                    <a:pt x="51" y="235"/>
                  </a:lnTo>
                  <a:lnTo>
                    <a:pt x="51" y="234"/>
                  </a:lnTo>
                  <a:lnTo>
                    <a:pt x="52" y="234"/>
                  </a:lnTo>
                  <a:lnTo>
                    <a:pt x="52" y="233"/>
                  </a:lnTo>
                  <a:lnTo>
                    <a:pt x="52" y="234"/>
                  </a:lnTo>
                  <a:lnTo>
                    <a:pt x="52" y="235"/>
                  </a:lnTo>
                  <a:close/>
                  <a:moveTo>
                    <a:pt x="66" y="229"/>
                  </a:moveTo>
                  <a:lnTo>
                    <a:pt x="66" y="228"/>
                  </a:lnTo>
                  <a:lnTo>
                    <a:pt x="66" y="229"/>
                  </a:lnTo>
                  <a:close/>
                  <a:moveTo>
                    <a:pt x="73" y="232"/>
                  </a:moveTo>
                  <a:lnTo>
                    <a:pt x="72" y="232"/>
                  </a:lnTo>
                  <a:lnTo>
                    <a:pt x="71" y="232"/>
                  </a:lnTo>
                  <a:lnTo>
                    <a:pt x="70" y="231"/>
                  </a:lnTo>
                  <a:lnTo>
                    <a:pt x="70" y="229"/>
                  </a:lnTo>
                  <a:lnTo>
                    <a:pt x="69" y="229"/>
                  </a:lnTo>
                  <a:lnTo>
                    <a:pt x="69" y="228"/>
                  </a:lnTo>
                  <a:lnTo>
                    <a:pt x="70" y="228"/>
                  </a:lnTo>
                  <a:lnTo>
                    <a:pt x="71" y="228"/>
                  </a:lnTo>
                  <a:lnTo>
                    <a:pt x="72" y="227"/>
                  </a:lnTo>
                  <a:lnTo>
                    <a:pt x="73" y="227"/>
                  </a:lnTo>
                  <a:lnTo>
                    <a:pt x="75" y="227"/>
                  </a:lnTo>
                  <a:lnTo>
                    <a:pt x="75" y="228"/>
                  </a:lnTo>
                  <a:lnTo>
                    <a:pt x="76" y="228"/>
                  </a:lnTo>
                  <a:lnTo>
                    <a:pt x="77" y="229"/>
                  </a:lnTo>
                  <a:lnTo>
                    <a:pt x="76" y="229"/>
                  </a:lnTo>
                  <a:lnTo>
                    <a:pt x="75" y="229"/>
                  </a:lnTo>
                  <a:lnTo>
                    <a:pt x="75" y="231"/>
                  </a:lnTo>
                  <a:lnTo>
                    <a:pt x="75" y="232"/>
                  </a:lnTo>
                  <a:lnTo>
                    <a:pt x="73" y="232"/>
                  </a:lnTo>
                  <a:close/>
                  <a:moveTo>
                    <a:pt x="23" y="222"/>
                  </a:moveTo>
                  <a:lnTo>
                    <a:pt x="23" y="224"/>
                  </a:lnTo>
                  <a:lnTo>
                    <a:pt x="22" y="224"/>
                  </a:lnTo>
                  <a:lnTo>
                    <a:pt x="22" y="222"/>
                  </a:lnTo>
                  <a:lnTo>
                    <a:pt x="23" y="222"/>
                  </a:lnTo>
                  <a:close/>
                  <a:moveTo>
                    <a:pt x="125" y="225"/>
                  </a:moveTo>
                  <a:lnTo>
                    <a:pt x="123" y="225"/>
                  </a:lnTo>
                  <a:lnTo>
                    <a:pt x="123" y="224"/>
                  </a:lnTo>
                  <a:lnTo>
                    <a:pt x="123" y="222"/>
                  </a:lnTo>
                  <a:lnTo>
                    <a:pt x="122" y="221"/>
                  </a:lnTo>
                  <a:lnTo>
                    <a:pt x="122" y="220"/>
                  </a:lnTo>
                  <a:lnTo>
                    <a:pt x="123" y="220"/>
                  </a:lnTo>
                  <a:lnTo>
                    <a:pt x="123" y="221"/>
                  </a:lnTo>
                  <a:lnTo>
                    <a:pt x="125" y="221"/>
                  </a:lnTo>
                  <a:lnTo>
                    <a:pt x="125" y="224"/>
                  </a:lnTo>
                  <a:lnTo>
                    <a:pt x="125" y="225"/>
                  </a:lnTo>
                  <a:close/>
                  <a:moveTo>
                    <a:pt x="85" y="217"/>
                  </a:moveTo>
                  <a:lnTo>
                    <a:pt x="84" y="217"/>
                  </a:lnTo>
                  <a:lnTo>
                    <a:pt x="84" y="218"/>
                  </a:lnTo>
                  <a:lnTo>
                    <a:pt x="83" y="218"/>
                  </a:lnTo>
                  <a:lnTo>
                    <a:pt x="83" y="217"/>
                  </a:lnTo>
                  <a:lnTo>
                    <a:pt x="84" y="217"/>
                  </a:lnTo>
                  <a:lnTo>
                    <a:pt x="84" y="215"/>
                  </a:lnTo>
                  <a:lnTo>
                    <a:pt x="84" y="217"/>
                  </a:lnTo>
                  <a:lnTo>
                    <a:pt x="85" y="217"/>
                  </a:lnTo>
                  <a:close/>
                  <a:moveTo>
                    <a:pt x="2" y="206"/>
                  </a:moveTo>
                  <a:lnTo>
                    <a:pt x="2" y="207"/>
                  </a:lnTo>
                  <a:lnTo>
                    <a:pt x="2" y="208"/>
                  </a:lnTo>
                  <a:lnTo>
                    <a:pt x="2" y="210"/>
                  </a:lnTo>
                  <a:lnTo>
                    <a:pt x="1" y="210"/>
                  </a:lnTo>
                  <a:lnTo>
                    <a:pt x="1" y="211"/>
                  </a:lnTo>
                  <a:lnTo>
                    <a:pt x="1" y="210"/>
                  </a:lnTo>
                  <a:lnTo>
                    <a:pt x="0" y="208"/>
                  </a:lnTo>
                  <a:lnTo>
                    <a:pt x="0" y="206"/>
                  </a:lnTo>
                  <a:lnTo>
                    <a:pt x="1" y="206"/>
                  </a:lnTo>
                  <a:lnTo>
                    <a:pt x="2" y="206"/>
                  </a:lnTo>
                  <a:close/>
                  <a:moveTo>
                    <a:pt x="1" y="206"/>
                  </a:moveTo>
                  <a:lnTo>
                    <a:pt x="1" y="205"/>
                  </a:lnTo>
                  <a:lnTo>
                    <a:pt x="1" y="206"/>
                  </a:lnTo>
                  <a:close/>
                  <a:moveTo>
                    <a:pt x="4" y="205"/>
                  </a:moveTo>
                  <a:lnTo>
                    <a:pt x="2" y="205"/>
                  </a:lnTo>
                  <a:lnTo>
                    <a:pt x="2" y="204"/>
                  </a:lnTo>
                  <a:lnTo>
                    <a:pt x="4" y="204"/>
                  </a:lnTo>
                  <a:lnTo>
                    <a:pt x="4" y="205"/>
                  </a:lnTo>
                  <a:close/>
                  <a:moveTo>
                    <a:pt x="5" y="201"/>
                  </a:moveTo>
                  <a:lnTo>
                    <a:pt x="6" y="203"/>
                  </a:lnTo>
                  <a:lnTo>
                    <a:pt x="6" y="204"/>
                  </a:lnTo>
                  <a:lnTo>
                    <a:pt x="5" y="204"/>
                  </a:lnTo>
                  <a:lnTo>
                    <a:pt x="5" y="203"/>
                  </a:lnTo>
                  <a:lnTo>
                    <a:pt x="5" y="201"/>
                  </a:lnTo>
                  <a:close/>
                  <a:moveTo>
                    <a:pt x="4" y="201"/>
                  </a:moveTo>
                  <a:lnTo>
                    <a:pt x="4" y="203"/>
                  </a:lnTo>
                  <a:lnTo>
                    <a:pt x="4" y="201"/>
                  </a:lnTo>
                  <a:lnTo>
                    <a:pt x="5" y="201"/>
                  </a:lnTo>
                  <a:lnTo>
                    <a:pt x="5" y="203"/>
                  </a:lnTo>
                  <a:lnTo>
                    <a:pt x="4" y="203"/>
                  </a:lnTo>
                  <a:lnTo>
                    <a:pt x="4" y="201"/>
                  </a:lnTo>
                  <a:close/>
                  <a:moveTo>
                    <a:pt x="107" y="190"/>
                  </a:moveTo>
                  <a:lnTo>
                    <a:pt x="106" y="190"/>
                  </a:lnTo>
                  <a:lnTo>
                    <a:pt x="106" y="189"/>
                  </a:lnTo>
                  <a:lnTo>
                    <a:pt x="106" y="187"/>
                  </a:lnTo>
                  <a:lnTo>
                    <a:pt x="107" y="187"/>
                  </a:lnTo>
                  <a:lnTo>
                    <a:pt x="107" y="189"/>
                  </a:lnTo>
                  <a:lnTo>
                    <a:pt x="108" y="189"/>
                  </a:lnTo>
                  <a:lnTo>
                    <a:pt x="108" y="190"/>
                  </a:lnTo>
                  <a:lnTo>
                    <a:pt x="107" y="190"/>
                  </a:lnTo>
                  <a:close/>
                  <a:moveTo>
                    <a:pt x="92" y="187"/>
                  </a:moveTo>
                  <a:lnTo>
                    <a:pt x="92" y="189"/>
                  </a:lnTo>
                  <a:lnTo>
                    <a:pt x="93" y="189"/>
                  </a:lnTo>
                  <a:lnTo>
                    <a:pt x="93" y="190"/>
                  </a:lnTo>
                  <a:lnTo>
                    <a:pt x="92" y="190"/>
                  </a:lnTo>
                  <a:lnTo>
                    <a:pt x="91" y="190"/>
                  </a:lnTo>
                  <a:lnTo>
                    <a:pt x="90" y="189"/>
                  </a:lnTo>
                  <a:lnTo>
                    <a:pt x="90" y="187"/>
                  </a:lnTo>
                  <a:lnTo>
                    <a:pt x="91" y="187"/>
                  </a:lnTo>
                  <a:lnTo>
                    <a:pt x="91" y="186"/>
                  </a:lnTo>
                  <a:lnTo>
                    <a:pt x="92" y="186"/>
                  </a:lnTo>
                  <a:lnTo>
                    <a:pt x="92" y="187"/>
                  </a:lnTo>
                  <a:close/>
                  <a:moveTo>
                    <a:pt x="93" y="183"/>
                  </a:moveTo>
                  <a:lnTo>
                    <a:pt x="92" y="182"/>
                  </a:lnTo>
                  <a:lnTo>
                    <a:pt x="93" y="182"/>
                  </a:lnTo>
                  <a:lnTo>
                    <a:pt x="94" y="182"/>
                  </a:lnTo>
                  <a:lnTo>
                    <a:pt x="93" y="183"/>
                  </a:lnTo>
                  <a:close/>
                  <a:moveTo>
                    <a:pt x="57" y="182"/>
                  </a:moveTo>
                  <a:lnTo>
                    <a:pt x="58" y="182"/>
                  </a:lnTo>
                  <a:lnTo>
                    <a:pt x="58" y="180"/>
                  </a:lnTo>
                  <a:lnTo>
                    <a:pt x="58" y="182"/>
                  </a:lnTo>
                  <a:lnTo>
                    <a:pt x="57" y="182"/>
                  </a:lnTo>
                  <a:close/>
                  <a:moveTo>
                    <a:pt x="123" y="179"/>
                  </a:moveTo>
                  <a:lnTo>
                    <a:pt x="123" y="180"/>
                  </a:lnTo>
                  <a:lnTo>
                    <a:pt x="123" y="182"/>
                  </a:lnTo>
                  <a:lnTo>
                    <a:pt x="123" y="183"/>
                  </a:lnTo>
                  <a:lnTo>
                    <a:pt x="123" y="182"/>
                  </a:lnTo>
                  <a:lnTo>
                    <a:pt x="122" y="182"/>
                  </a:lnTo>
                  <a:lnTo>
                    <a:pt x="123" y="180"/>
                  </a:lnTo>
                  <a:lnTo>
                    <a:pt x="122" y="180"/>
                  </a:lnTo>
                  <a:lnTo>
                    <a:pt x="122" y="179"/>
                  </a:lnTo>
                  <a:lnTo>
                    <a:pt x="123" y="179"/>
                  </a:lnTo>
                  <a:close/>
                  <a:moveTo>
                    <a:pt x="119" y="182"/>
                  </a:moveTo>
                  <a:lnTo>
                    <a:pt x="120" y="182"/>
                  </a:lnTo>
                  <a:lnTo>
                    <a:pt x="121" y="182"/>
                  </a:lnTo>
                  <a:lnTo>
                    <a:pt x="121" y="183"/>
                  </a:lnTo>
                  <a:lnTo>
                    <a:pt x="122" y="183"/>
                  </a:lnTo>
                  <a:lnTo>
                    <a:pt x="122" y="184"/>
                  </a:lnTo>
                  <a:lnTo>
                    <a:pt x="123" y="184"/>
                  </a:lnTo>
                  <a:lnTo>
                    <a:pt x="123" y="185"/>
                  </a:lnTo>
                  <a:lnTo>
                    <a:pt x="125" y="185"/>
                  </a:lnTo>
                  <a:lnTo>
                    <a:pt x="125" y="186"/>
                  </a:lnTo>
                  <a:lnTo>
                    <a:pt x="126" y="187"/>
                  </a:lnTo>
                  <a:lnTo>
                    <a:pt x="127" y="187"/>
                  </a:lnTo>
                  <a:lnTo>
                    <a:pt x="127" y="186"/>
                  </a:lnTo>
                  <a:lnTo>
                    <a:pt x="128" y="186"/>
                  </a:lnTo>
                  <a:lnTo>
                    <a:pt x="127" y="187"/>
                  </a:lnTo>
                  <a:lnTo>
                    <a:pt x="127" y="189"/>
                  </a:lnTo>
                  <a:lnTo>
                    <a:pt x="127" y="190"/>
                  </a:lnTo>
                  <a:lnTo>
                    <a:pt x="128" y="190"/>
                  </a:lnTo>
                  <a:lnTo>
                    <a:pt x="128" y="191"/>
                  </a:lnTo>
                  <a:lnTo>
                    <a:pt x="129" y="192"/>
                  </a:lnTo>
                  <a:lnTo>
                    <a:pt x="129" y="193"/>
                  </a:lnTo>
                  <a:lnTo>
                    <a:pt x="129" y="194"/>
                  </a:lnTo>
                  <a:lnTo>
                    <a:pt x="128" y="196"/>
                  </a:lnTo>
                  <a:lnTo>
                    <a:pt x="129" y="196"/>
                  </a:lnTo>
                  <a:lnTo>
                    <a:pt x="129" y="197"/>
                  </a:lnTo>
                  <a:lnTo>
                    <a:pt x="128" y="196"/>
                  </a:lnTo>
                  <a:lnTo>
                    <a:pt x="128" y="197"/>
                  </a:lnTo>
                  <a:lnTo>
                    <a:pt x="127" y="197"/>
                  </a:lnTo>
                  <a:lnTo>
                    <a:pt x="127" y="198"/>
                  </a:lnTo>
                  <a:lnTo>
                    <a:pt x="128" y="199"/>
                  </a:lnTo>
                  <a:lnTo>
                    <a:pt x="129" y="199"/>
                  </a:lnTo>
                  <a:lnTo>
                    <a:pt x="128" y="198"/>
                  </a:lnTo>
                  <a:lnTo>
                    <a:pt x="129" y="198"/>
                  </a:lnTo>
                  <a:lnTo>
                    <a:pt x="130" y="199"/>
                  </a:lnTo>
                  <a:lnTo>
                    <a:pt x="130" y="198"/>
                  </a:lnTo>
                  <a:lnTo>
                    <a:pt x="130" y="199"/>
                  </a:lnTo>
                  <a:lnTo>
                    <a:pt x="132" y="199"/>
                  </a:lnTo>
                  <a:lnTo>
                    <a:pt x="130" y="199"/>
                  </a:lnTo>
                  <a:lnTo>
                    <a:pt x="132" y="199"/>
                  </a:lnTo>
                  <a:lnTo>
                    <a:pt x="130" y="199"/>
                  </a:lnTo>
                  <a:lnTo>
                    <a:pt x="130" y="200"/>
                  </a:lnTo>
                  <a:lnTo>
                    <a:pt x="130" y="201"/>
                  </a:lnTo>
                  <a:lnTo>
                    <a:pt x="130" y="203"/>
                  </a:lnTo>
                  <a:lnTo>
                    <a:pt x="132" y="203"/>
                  </a:lnTo>
                  <a:lnTo>
                    <a:pt x="130" y="203"/>
                  </a:lnTo>
                  <a:lnTo>
                    <a:pt x="130" y="204"/>
                  </a:lnTo>
                  <a:lnTo>
                    <a:pt x="132" y="204"/>
                  </a:lnTo>
                  <a:lnTo>
                    <a:pt x="133" y="204"/>
                  </a:lnTo>
                  <a:lnTo>
                    <a:pt x="133" y="205"/>
                  </a:lnTo>
                  <a:lnTo>
                    <a:pt x="133" y="206"/>
                  </a:lnTo>
                  <a:lnTo>
                    <a:pt x="132" y="206"/>
                  </a:lnTo>
                  <a:lnTo>
                    <a:pt x="132" y="207"/>
                  </a:lnTo>
                  <a:lnTo>
                    <a:pt x="133" y="207"/>
                  </a:lnTo>
                  <a:lnTo>
                    <a:pt x="132" y="207"/>
                  </a:lnTo>
                  <a:lnTo>
                    <a:pt x="132" y="208"/>
                  </a:lnTo>
                  <a:lnTo>
                    <a:pt x="132" y="210"/>
                  </a:lnTo>
                  <a:lnTo>
                    <a:pt x="133" y="211"/>
                  </a:lnTo>
                  <a:lnTo>
                    <a:pt x="134" y="211"/>
                  </a:lnTo>
                  <a:lnTo>
                    <a:pt x="134" y="212"/>
                  </a:lnTo>
                  <a:lnTo>
                    <a:pt x="134" y="213"/>
                  </a:lnTo>
                  <a:lnTo>
                    <a:pt x="135" y="214"/>
                  </a:lnTo>
                  <a:lnTo>
                    <a:pt x="135" y="215"/>
                  </a:lnTo>
                  <a:lnTo>
                    <a:pt x="135" y="217"/>
                  </a:lnTo>
                  <a:lnTo>
                    <a:pt x="135" y="218"/>
                  </a:lnTo>
                  <a:lnTo>
                    <a:pt x="135" y="219"/>
                  </a:lnTo>
                  <a:lnTo>
                    <a:pt x="135" y="220"/>
                  </a:lnTo>
                  <a:lnTo>
                    <a:pt x="134" y="221"/>
                  </a:lnTo>
                  <a:lnTo>
                    <a:pt x="134" y="222"/>
                  </a:lnTo>
                  <a:lnTo>
                    <a:pt x="134" y="224"/>
                  </a:lnTo>
                  <a:lnTo>
                    <a:pt x="133" y="224"/>
                  </a:lnTo>
                  <a:lnTo>
                    <a:pt x="132" y="222"/>
                  </a:lnTo>
                  <a:lnTo>
                    <a:pt x="132" y="224"/>
                  </a:lnTo>
                  <a:lnTo>
                    <a:pt x="132" y="225"/>
                  </a:lnTo>
                  <a:lnTo>
                    <a:pt x="133" y="226"/>
                  </a:lnTo>
                  <a:lnTo>
                    <a:pt x="132" y="226"/>
                  </a:lnTo>
                  <a:lnTo>
                    <a:pt x="132" y="225"/>
                  </a:lnTo>
                  <a:lnTo>
                    <a:pt x="130" y="224"/>
                  </a:lnTo>
                  <a:lnTo>
                    <a:pt x="130" y="225"/>
                  </a:lnTo>
                  <a:lnTo>
                    <a:pt x="129" y="225"/>
                  </a:lnTo>
                  <a:lnTo>
                    <a:pt x="130" y="226"/>
                  </a:lnTo>
                  <a:lnTo>
                    <a:pt x="130" y="227"/>
                  </a:lnTo>
                  <a:lnTo>
                    <a:pt x="132" y="227"/>
                  </a:lnTo>
                  <a:lnTo>
                    <a:pt x="130" y="227"/>
                  </a:lnTo>
                  <a:lnTo>
                    <a:pt x="130" y="229"/>
                  </a:lnTo>
                  <a:lnTo>
                    <a:pt x="130" y="232"/>
                  </a:lnTo>
                  <a:lnTo>
                    <a:pt x="130" y="233"/>
                  </a:lnTo>
                  <a:lnTo>
                    <a:pt x="130" y="234"/>
                  </a:lnTo>
                  <a:lnTo>
                    <a:pt x="130" y="233"/>
                  </a:lnTo>
                  <a:lnTo>
                    <a:pt x="129" y="233"/>
                  </a:lnTo>
                  <a:lnTo>
                    <a:pt x="129" y="232"/>
                  </a:lnTo>
                  <a:lnTo>
                    <a:pt x="129" y="231"/>
                  </a:lnTo>
                  <a:lnTo>
                    <a:pt x="129" y="228"/>
                  </a:lnTo>
                  <a:lnTo>
                    <a:pt x="129" y="227"/>
                  </a:lnTo>
                  <a:lnTo>
                    <a:pt x="128" y="226"/>
                  </a:lnTo>
                  <a:lnTo>
                    <a:pt x="128" y="225"/>
                  </a:lnTo>
                  <a:lnTo>
                    <a:pt x="127" y="224"/>
                  </a:lnTo>
                  <a:lnTo>
                    <a:pt x="127" y="222"/>
                  </a:lnTo>
                  <a:lnTo>
                    <a:pt x="126" y="221"/>
                  </a:lnTo>
                  <a:lnTo>
                    <a:pt x="126" y="220"/>
                  </a:lnTo>
                  <a:lnTo>
                    <a:pt x="125" y="219"/>
                  </a:lnTo>
                  <a:lnTo>
                    <a:pt x="125" y="218"/>
                  </a:lnTo>
                  <a:lnTo>
                    <a:pt x="123" y="218"/>
                  </a:lnTo>
                  <a:lnTo>
                    <a:pt x="122" y="219"/>
                  </a:lnTo>
                  <a:lnTo>
                    <a:pt x="122" y="220"/>
                  </a:lnTo>
                  <a:lnTo>
                    <a:pt x="122" y="221"/>
                  </a:lnTo>
                  <a:lnTo>
                    <a:pt x="121" y="222"/>
                  </a:lnTo>
                  <a:lnTo>
                    <a:pt x="120" y="222"/>
                  </a:lnTo>
                  <a:lnTo>
                    <a:pt x="120" y="224"/>
                  </a:lnTo>
                  <a:lnTo>
                    <a:pt x="120" y="225"/>
                  </a:lnTo>
                  <a:lnTo>
                    <a:pt x="119" y="225"/>
                  </a:lnTo>
                  <a:lnTo>
                    <a:pt x="119" y="226"/>
                  </a:lnTo>
                  <a:lnTo>
                    <a:pt x="119" y="227"/>
                  </a:lnTo>
                  <a:lnTo>
                    <a:pt x="119" y="228"/>
                  </a:lnTo>
                  <a:lnTo>
                    <a:pt x="119" y="229"/>
                  </a:lnTo>
                  <a:lnTo>
                    <a:pt x="120" y="229"/>
                  </a:lnTo>
                  <a:lnTo>
                    <a:pt x="121" y="231"/>
                  </a:lnTo>
                  <a:lnTo>
                    <a:pt x="122" y="231"/>
                  </a:lnTo>
                  <a:lnTo>
                    <a:pt x="122" y="232"/>
                  </a:lnTo>
                  <a:lnTo>
                    <a:pt x="122" y="233"/>
                  </a:lnTo>
                  <a:lnTo>
                    <a:pt x="123" y="233"/>
                  </a:lnTo>
                  <a:lnTo>
                    <a:pt x="123" y="234"/>
                  </a:lnTo>
                  <a:lnTo>
                    <a:pt x="123" y="236"/>
                  </a:lnTo>
                  <a:lnTo>
                    <a:pt x="125" y="236"/>
                  </a:lnTo>
                  <a:lnTo>
                    <a:pt x="123" y="238"/>
                  </a:lnTo>
                  <a:lnTo>
                    <a:pt x="123" y="239"/>
                  </a:lnTo>
                  <a:lnTo>
                    <a:pt x="123" y="240"/>
                  </a:lnTo>
                  <a:lnTo>
                    <a:pt x="122" y="241"/>
                  </a:lnTo>
                  <a:lnTo>
                    <a:pt x="121" y="243"/>
                  </a:lnTo>
                  <a:lnTo>
                    <a:pt x="121" y="245"/>
                  </a:lnTo>
                  <a:lnTo>
                    <a:pt x="120" y="245"/>
                  </a:lnTo>
                  <a:lnTo>
                    <a:pt x="120" y="246"/>
                  </a:lnTo>
                  <a:lnTo>
                    <a:pt x="119" y="246"/>
                  </a:lnTo>
                  <a:lnTo>
                    <a:pt x="119" y="245"/>
                  </a:lnTo>
                  <a:lnTo>
                    <a:pt x="119" y="243"/>
                  </a:lnTo>
                  <a:lnTo>
                    <a:pt x="118" y="243"/>
                  </a:lnTo>
                  <a:lnTo>
                    <a:pt x="118" y="242"/>
                  </a:lnTo>
                  <a:lnTo>
                    <a:pt x="116" y="242"/>
                  </a:lnTo>
                  <a:lnTo>
                    <a:pt x="116" y="241"/>
                  </a:lnTo>
                  <a:lnTo>
                    <a:pt x="118" y="241"/>
                  </a:lnTo>
                  <a:lnTo>
                    <a:pt x="118" y="240"/>
                  </a:lnTo>
                  <a:lnTo>
                    <a:pt x="118" y="239"/>
                  </a:lnTo>
                  <a:lnTo>
                    <a:pt x="118" y="238"/>
                  </a:lnTo>
                  <a:lnTo>
                    <a:pt x="116" y="238"/>
                  </a:lnTo>
                  <a:lnTo>
                    <a:pt x="116" y="236"/>
                  </a:lnTo>
                  <a:lnTo>
                    <a:pt x="116" y="238"/>
                  </a:lnTo>
                  <a:lnTo>
                    <a:pt x="115" y="240"/>
                  </a:lnTo>
                  <a:lnTo>
                    <a:pt x="115" y="241"/>
                  </a:lnTo>
                  <a:lnTo>
                    <a:pt x="114" y="241"/>
                  </a:lnTo>
                  <a:lnTo>
                    <a:pt x="113" y="241"/>
                  </a:lnTo>
                  <a:lnTo>
                    <a:pt x="112" y="240"/>
                  </a:lnTo>
                  <a:lnTo>
                    <a:pt x="111" y="240"/>
                  </a:lnTo>
                  <a:lnTo>
                    <a:pt x="109" y="239"/>
                  </a:lnTo>
                  <a:lnTo>
                    <a:pt x="108" y="239"/>
                  </a:lnTo>
                  <a:lnTo>
                    <a:pt x="106" y="236"/>
                  </a:lnTo>
                  <a:lnTo>
                    <a:pt x="105" y="236"/>
                  </a:lnTo>
                  <a:lnTo>
                    <a:pt x="104" y="235"/>
                  </a:lnTo>
                  <a:lnTo>
                    <a:pt x="102" y="235"/>
                  </a:lnTo>
                  <a:lnTo>
                    <a:pt x="102" y="234"/>
                  </a:lnTo>
                  <a:lnTo>
                    <a:pt x="101" y="233"/>
                  </a:lnTo>
                  <a:lnTo>
                    <a:pt x="100" y="232"/>
                  </a:lnTo>
                  <a:lnTo>
                    <a:pt x="100" y="231"/>
                  </a:lnTo>
                  <a:lnTo>
                    <a:pt x="100" y="229"/>
                  </a:lnTo>
                  <a:lnTo>
                    <a:pt x="100" y="228"/>
                  </a:lnTo>
                  <a:lnTo>
                    <a:pt x="100" y="227"/>
                  </a:lnTo>
                  <a:lnTo>
                    <a:pt x="100" y="226"/>
                  </a:lnTo>
                  <a:lnTo>
                    <a:pt x="99" y="226"/>
                  </a:lnTo>
                  <a:lnTo>
                    <a:pt x="99" y="225"/>
                  </a:lnTo>
                  <a:lnTo>
                    <a:pt x="99" y="224"/>
                  </a:lnTo>
                  <a:lnTo>
                    <a:pt x="99" y="222"/>
                  </a:lnTo>
                  <a:lnTo>
                    <a:pt x="100" y="221"/>
                  </a:lnTo>
                  <a:lnTo>
                    <a:pt x="100" y="220"/>
                  </a:lnTo>
                  <a:lnTo>
                    <a:pt x="101" y="220"/>
                  </a:lnTo>
                  <a:lnTo>
                    <a:pt x="101" y="219"/>
                  </a:lnTo>
                  <a:lnTo>
                    <a:pt x="102" y="219"/>
                  </a:lnTo>
                  <a:lnTo>
                    <a:pt x="102" y="218"/>
                  </a:lnTo>
                  <a:lnTo>
                    <a:pt x="102" y="217"/>
                  </a:lnTo>
                  <a:lnTo>
                    <a:pt x="101" y="217"/>
                  </a:lnTo>
                  <a:lnTo>
                    <a:pt x="101" y="215"/>
                  </a:lnTo>
                  <a:lnTo>
                    <a:pt x="100" y="214"/>
                  </a:lnTo>
                  <a:lnTo>
                    <a:pt x="100" y="213"/>
                  </a:lnTo>
                  <a:lnTo>
                    <a:pt x="99" y="213"/>
                  </a:lnTo>
                  <a:lnTo>
                    <a:pt x="98" y="212"/>
                  </a:lnTo>
                  <a:lnTo>
                    <a:pt x="97" y="212"/>
                  </a:lnTo>
                  <a:lnTo>
                    <a:pt x="95" y="212"/>
                  </a:lnTo>
                  <a:lnTo>
                    <a:pt x="94" y="211"/>
                  </a:lnTo>
                  <a:lnTo>
                    <a:pt x="94" y="210"/>
                  </a:lnTo>
                  <a:lnTo>
                    <a:pt x="93" y="210"/>
                  </a:lnTo>
                  <a:lnTo>
                    <a:pt x="92" y="210"/>
                  </a:lnTo>
                  <a:lnTo>
                    <a:pt x="91" y="210"/>
                  </a:lnTo>
                  <a:lnTo>
                    <a:pt x="91" y="211"/>
                  </a:lnTo>
                  <a:lnTo>
                    <a:pt x="92" y="212"/>
                  </a:lnTo>
                  <a:lnTo>
                    <a:pt x="91" y="213"/>
                  </a:lnTo>
                  <a:lnTo>
                    <a:pt x="90" y="213"/>
                  </a:lnTo>
                  <a:lnTo>
                    <a:pt x="91" y="214"/>
                  </a:lnTo>
                  <a:lnTo>
                    <a:pt x="90" y="214"/>
                  </a:lnTo>
                  <a:lnTo>
                    <a:pt x="90" y="213"/>
                  </a:lnTo>
                  <a:lnTo>
                    <a:pt x="90" y="214"/>
                  </a:lnTo>
                  <a:lnTo>
                    <a:pt x="91" y="214"/>
                  </a:lnTo>
                  <a:lnTo>
                    <a:pt x="91" y="215"/>
                  </a:lnTo>
                  <a:lnTo>
                    <a:pt x="91" y="217"/>
                  </a:lnTo>
                  <a:lnTo>
                    <a:pt x="90" y="217"/>
                  </a:lnTo>
                  <a:lnTo>
                    <a:pt x="90" y="215"/>
                  </a:lnTo>
                  <a:lnTo>
                    <a:pt x="88" y="215"/>
                  </a:lnTo>
                  <a:lnTo>
                    <a:pt x="88" y="214"/>
                  </a:lnTo>
                  <a:lnTo>
                    <a:pt x="87" y="215"/>
                  </a:lnTo>
                  <a:lnTo>
                    <a:pt x="87" y="214"/>
                  </a:lnTo>
                  <a:lnTo>
                    <a:pt x="86" y="214"/>
                  </a:lnTo>
                  <a:lnTo>
                    <a:pt x="87" y="213"/>
                  </a:lnTo>
                  <a:lnTo>
                    <a:pt x="86" y="212"/>
                  </a:lnTo>
                  <a:lnTo>
                    <a:pt x="86" y="211"/>
                  </a:lnTo>
                  <a:lnTo>
                    <a:pt x="86" y="212"/>
                  </a:lnTo>
                  <a:lnTo>
                    <a:pt x="85" y="212"/>
                  </a:lnTo>
                  <a:lnTo>
                    <a:pt x="85" y="213"/>
                  </a:lnTo>
                  <a:lnTo>
                    <a:pt x="85" y="214"/>
                  </a:lnTo>
                  <a:lnTo>
                    <a:pt x="85" y="215"/>
                  </a:lnTo>
                  <a:lnTo>
                    <a:pt x="84" y="215"/>
                  </a:lnTo>
                  <a:lnTo>
                    <a:pt x="84" y="214"/>
                  </a:lnTo>
                  <a:lnTo>
                    <a:pt x="83" y="214"/>
                  </a:lnTo>
                  <a:lnTo>
                    <a:pt x="83" y="215"/>
                  </a:lnTo>
                  <a:lnTo>
                    <a:pt x="81" y="215"/>
                  </a:lnTo>
                  <a:lnTo>
                    <a:pt x="81" y="214"/>
                  </a:lnTo>
                  <a:lnTo>
                    <a:pt x="83" y="214"/>
                  </a:lnTo>
                  <a:lnTo>
                    <a:pt x="81" y="213"/>
                  </a:lnTo>
                  <a:lnTo>
                    <a:pt x="81" y="212"/>
                  </a:lnTo>
                  <a:lnTo>
                    <a:pt x="81" y="211"/>
                  </a:lnTo>
                  <a:lnTo>
                    <a:pt x="80" y="211"/>
                  </a:lnTo>
                  <a:lnTo>
                    <a:pt x="79" y="211"/>
                  </a:lnTo>
                  <a:lnTo>
                    <a:pt x="78" y="212"/>
                  </a:lnTo>
                  <a:lnTo>
                    <a:pt x="77" y="213"/>
                  </a:lnTo>
                  <a:lnTo>
                    <a:pt x="77" y="214"/>
                  </a:lnTo>
                  <a:lnTo>
                    <a:pt x="78" y="214"/>
                  </a:lnTo>
                  <a:lnTo>
                    <a:pt x="77" y="214"/>
                  </a:lnTo>
                  <a:lnTo>
                    <a:pt x="77" y="215"/>
                  </a:lnTo>
                  <a:lnTo>
                    <a:pt x="77" y="214"/>
                  </a:lnTo>
                  <a:lnTo>
                    <a:pt x="77" y="215"/>
                  </a:lnTo>
                  <a:lnTo>
                    <a:pt x="76" y="215"/>
                  </a:lnTo>
                  <a:lnTo>
                    <a:pt x="76" y="217"/>
                  </a:lnTo>
                  <a:lnTo>
                    <a:pt x="77" y="217"/>
                  </a:lnTo>
                  <a:lnTo>
                    <a:pt x="76" y="217"/>
                  </a:lnTo>
                  <a:lnTo>
                    <a:pt x="76" y="218"/>
                  </a:lnTo>
                  <a:lnTo>
                    <a:pt x="75" y="218"/>
                  </a:lnTo>
                  <a:lnTo>
                    <a:pt x="75" y="219"/>
                  </a:lnTo>
                  <a:lnTo>
                    <a:pt x="75" y="220"/>
                  </a:lnTo>
                  <a:lnTo>
                    <a:pt x="75" y="221"/>
                  </a:lnTo>
                  <a:lnTo>
                    <a:pt x="75" y="222"/>
                  </a:lnTo>
                  <a:lnTo>
                    <a:pt x="73" y="224"/>
                  </a:lnTo>
                  <a:lnTo>
                    <a:pt x="73" y="225"/>
                  </a:lnTo>
                  <a:lnTo>
                    <a:pt x="72" y="225"/>
                  </a:lnTo>
                  <a:lnTo>
                    <a:pt x="71" y="224"/>
                  </a:lnTo>
                  <a:lnTo>
                    <a:pt x="70" y="222"/>
                  </a:lnTo>
                  <a:lnTo>
                    <a:pt x="70" y="220"/>
                  </a:lnTo>
                  <a:lnTo>
                    <a:pt x="70" y="219"/>
                  </a:lnTo>
                  <a:lnTo>
                    <a:pt x="71" y="219"/>
                  </a:lnTo>
                  <a:lnTo>
                    <a:pt x="72" y="218"/>
                  </a:lnTo>
                  <a:lnTo>
                    <a:pt x="71" y="218"/>
                  </a:lnTo>
                  <a:lnTo>
                    <a:pt x="71" y="217"/>
                  </a:lnTo>
                  <a:lnTo>
                    <a:pt x="72" y="217"/>
                  </a:lnTo>
                  <a:lnTo>
                    <a:pt x="72" y="215"/>
                  </a:lnTo>
                  <a:lnTo>
                    <a:pt x="72" y="214"/>
                  </a:lnTo>
                  <a:lnTo>
                    <a:pt x="73" y="213"/>
                  </a:lnTo>
                  <a:lnTo>
                    <a:pt x="72" y="213"/>
                  </a:lnTo>
                  <a:lnTo>
                    <a:pt x="72" y="212"/>
                  </a:lnTo>
                  <a:lnTo>
                    <a:pt x="72" y="211"/>
                  </a:lnTo>
                  <a:lnTo>
                    <a:pt x="72" y="210"/>
                  </a:lnTo>
                  <a:lnTo>
                    <a:pt x="73" y="208"/>
                  </a:lnTo>
                  <a:lnTo>
                    <a:pt x="73" y="207"/>
                  </a:lnTo>
                  <a:lnTo>
                    <a:pt x="75" y="207"/>
                  </a:lnTo>
                  <a:lnTo>
                    <a:pt x="76" y="206"/>
                  </a:lnTo>
                  <a:lnTo>
                    <a:pt x="77" y="206"/>
                  </a:lnTo>
                  <a:lnTo>
                    <a:pt x="78" y="206"/>
                  </a:lnTo>
                  <a:lnTo>
                    <a:pt x="79" y="206"/>
                  </a:lnTo>
                  <a:lnTo>
                    <a:pt x="79" y="205"/>
                  </a:lnTo>
                  <a:lnTo>
                    <a:pt x="80" y="205"/>
                  </a:lnTo>
                  <a:lnTo>
                    <a:pt x="83" y="205"/>
                  </a:lnTo>
                  <a:lnTo>
                    <a:pt x="84" y="205"/>
                  </a:lnTo>
                  <a:lnTo>
                    <a:pt x="84" y="204"/>
                  </a:lnTo>
                  <a:lnTo>
                    <a:pt x="84" y="203"/>
                  </a:lnTo>
                  <a:lnTo>
                    <a:pt x="84" y="201"/>
                  </a:lnTo>
                  <a:lnTo>
                    <a:pt x="84" y="200"/>
                  </a:lnTo>
                  <a:lnTo>
                    <a:pt x="84" y="199"/>
                  </a:lnTo>
                  <a:lnTo>
                    <a:pt x="85" y="199"/>
                  </a:lnTo>
                  <a:lnTo>
                    <a:pt x="86" y="199"/>
                  </a:lnTo>
                  <a:lnTo>
                    <a:pt x="86" y="198"/>
                  </a:lnTo>
                  <a:lnTo>
                    <a:pt x="86" y="199"/>
                  </a:lnTo>
                  <a:lnTo>
                    <a:pt x="87" y="199"/>
                  </a:lnTo>
                  <a:lnTo>
                    <a:pt x="88" y="199"/>
                  </a:lnTo>
                  <a:lnTo>
                    <a:pt x="88" y="198"/>
                  </a:lnTo>
                  <a:lnTo>
                    <a:pt x="88" y="197"/>
                  </a:lnTo>
                  <a:lnTo>
                    <a:pt x="90" y="197"/>
                  </a:lnTo>
                  <a:lnTo>
                    <a:pt x="88" y="196"/>
                  </a:lnTo>
                  <a:lnTo>
                    <a:pt x="90" y="196"/>
                  </a:lnTo>
                  <a:lnTo>
                    <a:pt x="91" y="196"/>
                  </a:lnTo>
                  <a:lnTo>
                    <a:pt x="91" y="197"/>
                  </a:lnTo>
                  <a:lnTo>
                    <a:pt x="92" y="198"/>
                  </a:lnTo>
                  <a:lnTo>
                    <a:pt x="92" y="197"/>
                  </a:lnTo>
                  <a:lnTo>
                    <a:pt x="93" y="197"/>
                  </a:lnTo>
                  <a:lnTo>
                    <a:pt x="94" y="198"/>
                  </a:lnTo>
                  <a:lnTo>
                    <a:pt x="94" y="199"/>
                  </a:lnTo>
                  <a:lnTo>
                    <a:pt x="95" y="199"/>
                  </a:lnTo>
                  <a:lnTo>
                    <a:pt x="95" y="200"/>
                  </a:lnTo>
                  <a:lnTo>
                    <a:pt x="95" y="201"/>
                  </a:lnTo>
                  <a:lnTo>
                    <a:pt x="97" y="204"/>
                  </a:lnTo>
                  <a:lnTo>
                    <a:pt x="97" y="205"/>
                  </a:lnTo>
                  <a:lnTo>
                    <a:pt x="94" y="206"/>
                  </a:lnTo>
                  <a:lnTo>
                    <a:pt x="93" y="207"/>
                  </a:lnTo>
                  <a:lnTo>
                    <a:pt x="94" y="207"/>
                  </a:lnTo>
                  <a:lnTo>
                    <a:pt x="97" y="205"/>
                  </a:lnTo>
                  <a:lnTo>
                    <a:pt x="98" y="205"/>
                  </a:lnTo>
                  <a:lnTo>
                    <a:pt x="98" y="204"/>
                  </a:lnTo>
                  <a:lnTo>
                    <a:pt x="99" y="204"/>
                  </a:lnTo>
                  <a:lnTo>
                    <a:pt x="100" y="204"/>
                  </a:lnTo>
                  <a:lnTo>
                    <a:pt x="101" y="204"/>
                  </a:lnTo>
                  <a:lnTo>
                    <a:pt x="101" y="203"/>
                  </a:lnTo>
                  <a:lnTo>
                    <a:pt x="101" y="201"/>
                  </a:lnTo>
                  <a:lnTo>
                    <a:pt x="101" y="200"/>
                  </a:lnTo>
                  <a:lnTo>
                    <a:pt x="101" y="199"/>
                  </a:lnTo>
                  <a:lnTo>
                    <a:pt x="102" y="199"/>
                  </a:lnTo>
                  <a:lnTo>
                    <a:pt x="102" y="198"/>
                  </a:lnTo>
                  <a:lnTo>
                    <a:pt x="104" y="198"/>
                  </a:lnTo>
                  <a:lnTo>
                    <a:pt x="104" y="197"/>
                  </a:lnTo>
                  <a:lnTo>
                    <a:pt x="104" y="198"/>
                  </a:lnTo>
                  <a:lnTo>
                    <a:pt x="105" y="198"/>
                  </a:lnTo>
                  <a:lnTo>
                    <a:pt x="106" y="199"/>
                  </a:lnTo>
                  <a:lnTo>
                    <a:pt x="107" y="199"/>
                  </a:lnTo>
                  <a:lnTo>
                    <a:pt x="106" y="199"/>
                  </a:lnTo>
                  <a:lnTo>
                    <a:pt x="106" y="200"/>
                  </a:lnTo>
                  <a:lnTo>
                    <a:pt x="107" y="200"/>
                  </a:lnTo>
                  <a:lnTo>
                    <a:pt x="107" y="199"/>
                  </a:lnTo>
                  <a:lnTo>
                    <a:pt x="108" y="199"/>
                  </a:lnTo>
                  <a:lnTo>
                    <a:pt x="108" y="198"/>
                  </a:lnTo>
                  <a:lnTo>
                    <a:pt x="108" y="197"/>
                  </a:lnTo>
                  <a:lnTo>
                    <a:pt x="108" y="196"/>
                  </a:lnTo>
                  <a:lnTo>
                    <a:pt x="108" y="194"/>
                  </a:lnTo>
                  <a:lnTo>
                    <a:pt x="108" y="193"/>
                  </a:lnTo>
                  <a:lnTo>
                    <a:pt x="108" y="192"/>
                  </a:lnTo>
                  <a:lnTo>
                    <a:pt x="108" y="191"/>
                  </a:lnTo>
                  <a:lnTo>
                    <a:pt x="109" y="191"/>
                  </a:lnTo>
                  <a:lnTo>
                    <a:pt x="111" y="192"/>
                  </a:lnTo>
                  <a:lnTo>
                    <a:pt x="112" y="192"/>
                  </a:lnTo>
                  <a:lnTo>
                    <a:pt x="112" y="193"/>
                  </a:lnTo>
                  <a:lnTo>
                    <a:pt x="113" y="193"/>
                  </a:lnTo>
                  <a:lnTo>
                    <a:pt x="113" y="194"/>
                  </a:lnTo>
                  <a:lnTo>
                    <a:pt x="113" y="193"/>
                  </a:lnTo>
                  <a:lnTo>
                    <a:pt x="114" y="193"/>
                  </a:lnTo>
                  <a:lnTo>
                    <a:pt x="114" y="192"/>
                  </a:lnTo>
                  <a:lnTo>
                    <a:pt x="113" y="191"/>
                  </a:lnTo>
                  <a:lnTo>
                    <a:pt x="113" y="190"/>
                  </a:lnTo>
                  <a:lnTo>
                    <a:pt x="114" y="190"/>
                  </a:lnTo>
                  <a:lnTo>
                    <a:pt x="114" y="191"/>
                  </a:lnTo>
                  <a:lnTo>
                    <a:pt x="115" y="191"/>
                  </a:lnTo>
                  <a:lnTo>
                    <a:pt x="116" y="191"/>
                  </a:lnTo>
                  <a:lnTo>
                    <a:pt x="118" y="192"/>
                  </a:lnTo>
                  <a:lnTo>
                    <a:pt x="118" y="191"/>
                  </a:lnTo>
                  <a:lnTo>
                    <a:pt x="119" y="191"/>
                  </a:lnTo>
                  <a:lnTo>
                    <a:pt x="119" y="190"/>
                  </a:lnTo>
                  <a:lnTo>
                    <a:pt x="118" y="189"/>
                  </a:lnTo>
                  <a:lnTo>
                    <a:pt x="118" y="187"/>
                  </a:lnTo>
                  <a:lnTo>
                    <a:pt x="118" y="186"/>
                  </a:lnTo>
                  <a:lnTo>
                    <a:pt x="118" y="185"/>
                  </a:lnTo>
                  <a:lnTo>
                    <a:pt x="116" y="185"/>
                  </a:lnTo>
                  <a:lnTo>
                    <a:pt x="116" y="184"/>
                  </a:lnTo>
                  <a:lnTo>
                    <a:pt x="116" y="183"/>
                  </a:lnTo>
                  <a:lnTo>
                    <a:pt x="115" y="180"/>
                  </a:lnTo>
                  <a:lnTo>
                    <a:pt x="115" y="179"/>
                  </a:lnTo>
                  <a:lnTo>
                    <a:pt x="116" y="178"/>
                  </a:lnTo>
                  <a:lnTo>
                    <a:pt x="116" y="179"/>
                  </a:lnTo>
                  <a:lnTo>
                    <a:pt x="118" y="179"/>
                  </a:lnTo>
                  <a:lnTo>
                    <a:pt x="118" y="180"/>
                  </a:lnTo>
                  <a:lnTo>
                    <a:pt x="119" y="180"/>
                  </a:lnTo>
                  <a:lnTo>
                    <a:pt x="119" y="182"/>
                  </a:lnTo>
                  <a:close/>
                  <a:moveTo>
                    <a:pt x="126" y="178"/>
                  </a:moveTo>
                  <a:lnTo>
                    <a:pt x="126" y="179"/>
                  </a:lnTo>
                  <a:lnTo>
                    <a:pt x="125" y="179"/>
                  </a:lnTo>
                  <a:lnTo>
                    <a:pt x="123" y="179"/>
                  </a:lnTo>
                  <a:lnTo>
                    <a:pt x="123" y="178"/>
                  </a:lnTo>
                  <a:lnTo>
                    <a:pt x="123" y="177"/>
                  </a:lnTo>
                  <a:lnTo>
                    <a:pt x="125" y="176"/>
                  </a:lnTo>
                  <a:lnTo>
                    <a:pt x="125" y="175"/>
                  </a:lnTo>
                  <a:lnTo>
                    <a:pt x="123" y="175"/>
                  </a:lnTo>
                  <a:lnTo>
                    <a:pt x="125" y="175"/>
                  </a:lnTo>
                  <a:lnTo>
                    <a:pt x="126" y="176"/>
                  </a:lnTo>
                  <a:lnTo>
                    <a:pt x="126" y="177"/>
                  </a:lnTo>
                  <a:lnTo>
                    <a:pt x="125" y="178"/>
                  </a:lnTo>
                  <a:lnTo>
                    <a:pt x="126" y="178"/>
                  </a:lnTo>
                  <a:close/>
                  <a:moveTo>
                    <a:pt x="104" y="173"/>
                  </a:moveTo>
                  <a:lnTo>
                    <a:pt x="104" y="175"/>
                  </a:lnTo>
                  <a:lnTo>
                    <a:pt x="104" y="173"/>
                  </a:lnTo>
                  <a:lnTo>
                    <a:pt x="104" y="175"/>
                  </a:lnTo>
                  <a:lnTo>
                    <a:pt x="102" y="175"/>
                  </a:lnTo>
                  <a:lnTo>
                    <a:pt x="102" y="173"/>
                  </a:lnTo>
                  <a:lnTo>
                    <a:pt x="104" y="173"/>
                  </a:lnTo>
                  <a:close/>
                  <a:moveTo>
                    <a:pt x="100" y="173"/>
                  </a:moveTo>
                  <a:lnTo>
                    <a:pt x="101" y="173"/>
                  </a:lnTo>
                  <a:lnTo>
                    <a:pt x="102" y="175"/>
                  </a:lnTo>
                  <a:lnTo>
                    <a:pt x="104" y="175"/>
                  </a:lnTo>
                  <a:lnTo>
                    <a:pt x="104" y="176"/>
                  </a:lnTo>
                  <a:lnTo>
                    <a:pt x="104" y="177"/>
                  </a:lnTo>
                  <a:lnTo>
                    <a:pt x="104" y="178"/>
                  </a:lnTo>
                  <a:lnTo>
                    <a:pt x="105" y="178"/>
                  </a:lnTo>
                  <a:lnTo>
                    <a:pt x="105" y="179"/>
                  </a:lnTo>
                  <a:lnTo>
                    <a:pt x="104" y="179"/>
                  </a:lnTo>
                  <a:lnTo>
                    <a:pt x="102" y="179"/>
                  </a:lnTo>
                  <a:lnTo>
                    <a:pt x="102" y="180"/>
                  </a:lnTo>
                  <a:lnTo>
                    <a:pt x="101" y="180"/>
                  </a:lnTo>
                  <a:lnTo>
                    <a:pt x="101" y="182"/>
                  </a:lnTo>
                  <a:lnTo>
                    <a:pt x="100" y="182"/>
                  </a:lnTo>
                  <a:lnTo>
                    <a:pt x="99" y="182"/>
                  </a:lnTo>
                  <a:lnTo>
                    <a:pt x="97" y="182"/>
                  </a:lnTo>
                  <a:lnTo>
                    <a:pt x="95" y="182"/>
                  </a:lnTo>
                  <a:lnTo>
                    <a:pt x="94" y="182"/>
                  </a:lnTo>
                  <a:lnTo>
                    <a:pt x="94" y="180"/>
                  </a:lnTo>
                  <a:lnTo>
                    <a:pt x="94" y="179"/>
                  </a:lnTo>
                  <a:lnTo>
                    <a:pt x="93" y="179"/>
                  </a:lnTo>
                  <a:lnTo>
                    <a:pt x="93" y="178"/>
                  </a:lnTo>
                  <a:lnTo>
                    <a:pt x="94" y="177"/>
                  </a:lnTo>
                  <a:lnTo>
                    <a:pt x="95" y="176"/>
                  </a:lnTo>
                  <a:lnTo>
                    <a:pt x="97" y="176"/>
                  </a:lnTo>
                  <a:lnTo>
                    <a:pt x="97" y="175"/>
                  </a:lnTo>
                  <a:lnTo>
                    <a:pt x="97" y="173"/>
                  </a:lnTo>
                  <a:lnTo>
                    <a:pt x="98" y="173"/>
                  </a:lnTo>
                  <a:lnTo>
                    <a:pt x="99" y="173"/>
                  </a:lnTo>
                  <a:lnTo>
                    <a:pt x="100" y="172"/>
                  </a:lnTo>
                  <a:lnTo>
                    <a:pt x="100" y="173"/>
                  </a:lnTo>
                  <a:close/>
                  <a:moveTo>
                    <a:pt x="114" y="177"/>
                  </a:moveTo>
                  <a:lnTo>
                    <a:pt x="113" y="177"/>
                  </a:lnTo>
                  <a:lnTo>
                    <a:pt x="113" y="176"/>
                  </a:lnTo>
                  <a:lnTo>
                    <a:pt x="112" y="175"/>
                  </a:lnTo>
                  <a:lnTo>
                    <a:pt x="112" y="173"/>
                  </a:lnTo>
                  <a:lnTo>
                    <a:pt x="111" y="173"/>
                  </a:lnTo>
                  <a:lnTo>
                    <a:pt x="111" y="172"/>
                  </a:lnTo>
                  <a:lnTo>
                    <a:pt x="112" y="172"/>
                  </a:lnTo>
                  <a:lnTo>
                    <a:pt x="112" y="173"/>
                  </a:lnTo>
                  <a:lnTo>
                    <a:pt x="113" y="173"/>
                  </a:lnTo>
                  <a:lnTo>
                    <a:pt x="113" y="175"/>
                  </a:lnTo>
                  <a:lnTo>
                    <a:pt x="113" y="176"/>
                  </a:lnTo>
                  <a:lnTo>
                    <a:pt x="114" y="176"/>
                  </a:lnTo>
                  <a:lnTo>
                    <a:pt x="114" y="177"/>
                  </a:lnTo>
                  <a:close/>
                  <a:moveTo>
                    <a:pt x="119" y="169"/>
                  </a:moveTo>
                  <a:lnTo>
                    <a:pt x="119" y="170"/>
                  </a:lnTo>
                  <a:lnTo>
                    <a:pt x="119" y="171"/>
                  </a:lnTo>
                  <a:lnTo>
                    <a:pt x="118" y="171"/>
                  </a:lnTo>
                  <a:lnTo>
                    <a:pt x="119" y="172"/>
                  </a:lnTo>
                  <a:lnTo>
                    <a:pt x="119" y="173"/>
                  </a:lnTo>
                  <a:lnTo>
                    <a:pt x="119" y="175"/>
                  </a:lnTo>
                  <a:lnTo>
                    <a:pt x="119" y="176"/>
                  </a:lnTo>
                  <a:lnTo>
                    <a:pt x="120" y="177"/>
                  </a:lnTo>
                  <a:lnTo>
                    <a:pt x="119" y="177"/>
                  </a:lnTo>
                  <a:lnTo>
                    <a:pt x="119" y="176"/>
                  </a:lnTo>
                  <a:lnTo>
                    <a:pt x="118" y="176"/>
                  </a:lnTo>
                  <a:lnTo>
                    <a:pt x="119" y="176"/>
                  </a:lnTo>
                  <a:lnTo>
                    <a:pt x="118" y="176"/>
                  </a:lnTo>
                  <a:lnTo>
                    <a:pt x="118" y="175"/>
                  </a:lnTo>
                  <a:lnTo>
                    <a:pt x="118" y="173"/>
                  </a:lnTo>
                  <a:lnTo>
                    <a:pt x="118" y="175"/>
                  </a:lnTo>
                  <a:lnTo>
                    <a:pt x="116" y="175"/>
                  </a:lnTo>
                  <a:lnTo>
                    <a:pt x="116" y="173"/>
                  </a:lnTo>
                  <a:lnTo>
                    <a:pt x="116" y="172"/>
                  </a:lnTo>
                  <a:lnTo>
                    <a:pt x="116" y="171"/>
                  </a:lnTo>
                  <a:lnTo>
                    <a:pt x="116" y="170"/>
                  </a:lnTo>
                  <a:lnTo>
                    <a:pt x="118" y="170"/>
                  </a:lnTo>
                  <a:lnTo>
                    <a:pt x="118" y="169"/>
                  </a:lnTo>
                  <a:lnTo>
                    <a:pt x="118" y="168"/>
                  </a:lnTo>
                  <a:lnTo>
                    <a:pt x="118" y="169"/>
                  </a:lnTo>
                  <a:lnTo>
                    <a:pt x="119" y="169"/>
                  </a:lnTo>
                  <a:close/>
                  <a:moveTo>
                    <a:pt x="40" y="166"/>
                  </a:moveTo>
                  <a:lnTo>
                    <a:pt x="38" y="168"/>
                  </a:lnTo>
                  <a:lnTo>
                    <a:pt x="38" y="166"/>
                  </a:lnTo>
                  <a:lnTo>
                    <a:pt x="38" y="168"/>
                  </a:lnTo>
                  <a:lnTo>
                    <a:pt x="38" y="166"/>
                  </a:lnTo>
                  <a:lnTo>
                    <a:pt x="38" y="168"/>
                  </a:lnTo>
                  <a:lnTo>
                    <a:pt x="37" y="168"/>
                  </a:lnTo>
                  <a:lnTo>
                    <a:pt x="37" y="169"/>
                  </a:lnTo>
                  <a:lnTo>
                    <a:pt x="36" y="168"/>
                  </a:lnTo>
                  <a:lnTo>
                    <a:pt x="36" y="166"/>
                  </a:lnTo>
                  <a:lnTo>
                    <a:pt x="37" y="165"/>
                  </a:lnTo>
                  <a:lnTo>
                    <a:pt x="38" y="165"/>
                  </a:lnTo>
                  <a:lnTo>
                    <a:pt x="38" y="166"/>
                  </a:lnTo>
                  <a:lnTo>
                    <a:pt x="40" y="166"/>
                  </a:lnTo>
                  <a:close/>
                  <a:moveTo>
                    <a:pt x="100" y="165"/>
                  </a:moveTo>
                  <a:lnTo>
                    <a:pt x="99" y="166"/>
                  </a:lnTo>
                  <a:lnTo>
                    <a:pt x="99" y="165"/>
                  </a:lnTo>
                  <a:lnTo>
                    <a:pt x="99" y="164"/>
                  </a:lnTo>
                  <a:lnTo>
                    <a:pt x="100" y="164"/>
                  </a:lnTo>
                  <a:lnTo>
                    <a:pt x="100" y="165"/>
                  </a:lnTo>
                  <a:close/>
                  <a:moveTo>
                    <a:pt x="101" y="165"/>
                  </a:moveTo>
                  <a:lnTo>
                    <a:pt x="100" y="165"/>
                  </a:lnTo>
                  <a:lnTo>
                    <a:pt x="100" y="164"/>
                  </a:lnTo>
                  <a:lnTo>
                    <a:pt x="101" y="164"/>
                  </a:lnTo>
                  <a:lnTo>
                    <a:pt x="101" y="165"/>
                  </a:lnTo>
                  <a:close/>
                  <a:moveTo>
                    <a:pt x="77" y="166"/>
                  </a:moveTo>
                  <a:lnTo>
                    <a:pt x="77" y="168"/>
                  </a:lnTo>
                  <a:lnTo>
                    <a:pt x="76" y="169"/>
                  </a:lnTo>
                  <a:lnTo>
                    <a:pt x="76" y="168"/>
                  </a:lnTo>
                  <a:lnTo>
                    <a:pt x="76" y="169"/>
                  </a:lnTo>
                  <a:lnTo>
                    <a:pt x="75" y="169"/>
                  </a:lnTo>
                  <a:lnTo>
                    <a:pt x="75" y="168"/>
                  </a:lnTo>
                  <a:lnTo>
                    <a:pt x="73" y="168"/>
                  </a:lnTo>
                  <a:lnTo>
                    <a:pt x="75" y="168"/>
                  </a:lnTo>
                  <a:lnTo>
                    <a:pt x="75" y="166"/>
                  </a:lnTo>
                  <a:lnTo>
                    <a:pt x="75" y="165"/>
                  </a:lnTo>
                  <a:lnTo>
                    <a:pt x="76" y="164"/>
                  </a:lnTo>
                  <a:lnTo>
                    <a:pt x="76" y="163"/>
                  </a:lnTo>
                  <a:lnTo>
                    <a:pt x="77" y="164"/>
                  </a:lnTo>
                  <a:lnTo>
                    <a:pt x="77" y="165"/>
                  </a:lnTo>
                  <a:lnTo>
                    <a:pt x="77" y="166"/>
                  </a:lnTo>
                  <a:close/>
                  <a:moveTo>
                    <a:pt x="119" y="164"/>
                  </a:moveTo>
                  <a:lnTo>
                    <a:pt x="120" y="164"/>
                  </a:lnTo>
                  <a:lnTo>
                    <a:pt x="119" y="164"/>
                  </a:lnTo>
                  <a:lnTo>
                    <a:pt x="118" y="164"/>
                  </a:lnTo>
                  <a:lnTo>
                    <a:pt x="118" y="163"/>
                  </a:lnTo>
                  <a:lnTo>
                    <a:pt x="119" y="163"/>
                  </a:lnTo>
                  <a:lnTo>
                    <a:pt x="119" y="164"/>
                  </a:lnTo>
                  <a:close/>
                  <a:moveTo>
                    <a:pt x="54" y="163"/>
                  </a:moveTo>
                  <a:lnTo>
                    <a:pt x="52" y="162"/>
                  </a:lnTo>
                  <a:lnTo>
                    <a:pt x="54" y="162"/>
                  </a:lnTo>
                  <a:lnTo>
                    <a:pt x="54" y="161"/>
                  </a:lnTo>
                  <a:lnTo>
                    <a:pt x="54" y="162"/>
                  </a:lnTo>
                  <a:lnTo>
                    <a:pt x="54" y="163"/>
                  </a:lnTo>
                  <a:close/>
                  <a:moveTo>
                    <a:pt x="84" y="159"/>
                  </a:moveTo>
                  <a:lnTo>
                    <a:pt x="85" y="161"/>
                  </a:lnTo>
                  <a:lnTo>
                    <a:pt x="86" y="161"/>
                  </a:lnTo>
                  <a:lnTo>
                    <a:pt x="87" y="161"/>
                  </a:lnTo>
                  <a:lnTo>
                    <a:pt x="87" y="162"/>
                  </a:lnTo>
                  <a:lnTo>
                    <a:pt x="88" y="162"/>
                  </a:lnTo>
                  <a:lnTo>
                    <a:pt x="88" y="163"/>
                  </a:lnTo>
                  <a:lnTo>
                    <a:pt x="88" y="164"/>
                  </a:lnTo>
                  <a:lnTo>
                    <a:pt x="87" y="164"/>
                  </a:lnTo>
                  <a:lnTo>
                    <a:pt x="87" y="166"/>
                  </a:lnTo>
                  <a:lnTo>
                    <a:pt x="87" y="168"/>
                  </a:lnTo>
                  <a:lnTo>
                    <a:pt x="86" y="169"/>
                  </a:lnTo>
                  <a:lnTo>
                    <a:pt x="86" y="170"/>
                  </a:lnTo>
                  <a:lnTo>
                    <a:pt x="86" y="171"/>
                  </a:lnTo>
                  <a:lnTo>
                    <a:pt x="86" y="172"/>
                  </a:lnTo>
                  <a:lnTo>
                    <a:pt x="86" y="173"/>
                  </a:lnTo>
                  <a:lnTo>
                    <a:pt x="85" y="175"/>
                  </a:lnTo>
                  <a:lnTo>
                    <a:pt x="85" y="176"/>
                  </a:lnTo>
                  <a:lnTo>
                    <a:pt x="85" y="177"/>
                  </a:lnTo>
                  <a:lnTo>
                    <a:pt x="84" y="177"/>
                  </a:lnTo>
                  <a:lnTo>
                    <a:pt x="85" y="180"/>
                  </a:lnTo>
                  <a:lnTo>
                    <a:pt x="84" y="180"/>
                  </a:lnTo>
                  <a:lnTo>
                    <a:pt x="84" y="182"/>
                  </a:lnTo>
                  <a:lnTo>
                    <a:pt x="85" y="182"/>
                  </a:lnTo>
                  <a:lnTo>
                    <a:pt x="85" y="183"/>
                  </a:lnTo>
                  <a:lnTo>
                    <a:pt x="85" y="182"/>
                  </a:lnTo>
                  <a:lnTo>
                    <a:pt x="84" y="182"/>
                  </a:lnTo>
                  <a:lnTo>
                    <a:pt x="84" y="183"/>
                  </a:lnTo>
                  <a:lnTo>
                    <a:pt x="85" y="183"/>
                  </a:lnTo>
                  <a:lnTo>
                    <a:pt x="85" y="184"/>
                  </a:lnTo>
                  <a:lnTo>
                    <a:pt x="86" y="184"/>
                  </a:lnTo>
                  <a:lnTo>
                    <a:pt x="86" y="185"/>
                  </a:lnTo>
                  <a:lnTo>
                    <a:pt x="87" y="185"/>
                  </a:lnTo>
                  <a:lnTo>
                    <a:pt x="87" y="186"/>
                  </a:lnTo>
                  <a:lnTo>
                    <a:pt x="87" y="187"/>
                  </a:lnTo>
                  <a:lnTo>
                    <a:pt x="86" y="189"/>
                  </a:lnTo>
                  <a:lnTo>
                    <a:pt x="86" y="190"/>
                  </a:lnTo>
                  <a:lnTo>
                    <a:pt x="85" y="190"/>
                  </a:lnTo>
                  <a:lnTo>
                    <a:pt x="84" y="190"/>
                  </a:lnTo>
                  <a:lnTo>
                    <a:pt x="84" y="191"/>
                  </a:lnTo>
                  <a:lnTo>
                    <a:pt x="83" y="191"/>
                  </a:lnTo>
                  <a:lnTo>
                    <a:pt x="83" y="190"/>
                  </a:lnTo>
                  <a:lnTo>
                    <a:pt x="81" y="190"/>
                  </a:lnTo>
                  <a:lnTo>
                    <a:pt x="81" y="187"/>
                  </a:lnTo>
                  <a:lnTo>
                    <a:pt x="81" y="186"/>
                  </a:lnTo>
                  <a:lnTo>
                    <a:pt x="80" y="186"/>
                  </a:lnTo>
                  <a:lnTo>
                    <a:pt x="80" y="185"/>
                  </a:lnTo>
                  <a:lnTo>
                    <a:pt x="79" y="185"/>
                  </a:lnTo>
                  <a:lnTo>
                    <a:pt x="78" y="185"/>
                  </a:lnTo>
                  <a:lnTo>
                    <a:pt x="78" y="184"/>
                  </a:lnTo>
                  <a:lnTo>
                    <a:pt x="77" y="184"/>
                  </a:lnTo>
                  <a:lnTo>
                    <a:pt x="76" y="184"/>
                  </a:lnTo>
                  <a:lnTo>
                    <a:pt x="76" y="183"/>
                  </a:lnTo>
                  <a:lnTo>
                    <a:pt x="75" y="182"/>
                  </a:lnTo>
                  <a:lnTo>
                    <a:pt x="75" y="180"/>
                  </a:lnTo>
                  <a:lnTo>
                    <a:pt x="73" y="180"/>
                  </a:lnTo>
                  <a:lnTo>
                    <a:pt x="73" y="179"/>
                  </a:lnTo>
                  <a:lnTo>
                    <a:pt x="73" y="178"/>
                  </a:lnTo>
                  <a:lnTo>
                    <a:pt x="75" y="177"/>
                  </a:lnTo>
                  <a:lnTo>
                    <a:pt x="75" y="176"/>
                  </a:lnTo>
                  <a:lnTo>
                    <a:pt x="76" y="176"/>
                  </a:lnTo>
                  <a:lnTo>
                    <a:pt x="77" y="176"/>
                  </a:lnTo>
                  <a:lnTo>
                    <a:pt x="78" y="176"/>
                  </a:lnTo>
                  <a:lnTo>
                    <a:pt x="79" y="175"/>
                  </a:lnTo>
                  <a:lnTo>
                    <a:pt x="80" y="173"/>
                  </a:lnTo>
                  <a:lnTo>
                    <a:pt x="79" y="172"/>
                  </a:lnTo>
                  <a:lnTo>
                    <a:pt x="79" y="170"/>
                  </a:lnTo>
                  <a:lnTo>
                    <a:pt x="79" y="169"/>
                  </a:lnTo>
                  <a:lnTo>
                    <a:pt x="78" y="168"/>
                  </a:lnTo>
                  <a:lnTo>
                    <a:pt x="78" y="166"/>
                  </a:lnTo>
                  <a:lnTo>
                    <a:pt x="79" y="166"/>
                  </a:lnTo>
                  <a:lnTo>
                    <a:pt x="80" y="165"/>
                  </a:lnTo>
                  <a:lnTo>
                    <a:pt x="80" y="164"/>
                  </a:lnTo>
                  <a:lnTo>
                    <a:pt x="80" y="163"/>
                  </a:lnTo>
                  <a:lnTo>
                    <a:pt x="79" y="162"/>
                  </a:lnTo>
                  <a:lnTo>
                    <a:pt x="80" y="162"/>
                  </a:lnTo>
                  <a:lnTo>
                    <a:pt x="80" y="161"/>
                  </a:lnTo>
                  <a:lnTo>
                    <a:pt x="81" y="161"/>
                  </a:lnTo>
                  <a:lnTo>
                    <a:pt x="83" y="159"/>
                  </a:lnTo>
                  <a:lnTo>
                    <a:pt x="84" y="159"/>
                  </a:lnTo>
                  <a:close/>
                  <a:moveTo>
                    <a:pt x="34" y="159"/>
                  </a:moveTo>
                  <a:lnTo>
                    <a:pt x="33" y="159"/>
                  </a:lnTo>
                  <a:lnTo>
                    <a:pt x="33" y="158"/>
                  </a:lnTo>
                  <a:lnTo>
                    <a:pt x="34" y="158"/>
                  </a:lnTo>
                  <a:lnTo>
                    <a:pt x="34" y="159"/>
                  </a:lnTo>
                  <a:close/>
                  <a:moveTo>
                    <a:pt x="33" y="157"/>
                  </a:moveTo>
                  <a:lnTo>
                    <a:pt x="33" y="156"/>
                  </a:lnTo>
                  <a:lnTo>
                    <a:pt x="33" y="157"/>
                  </a:lnTo>
                  <a:close/>
                  <a:moveTo>
                    <a:pt x="94" y="158"/>
                  </a:moveTo>
                  <a:lnTo>
                    <a:pt x="94" y="159"/>
                  </a:lnTo>
                  <a:lnTo>
                    <a:pt x="95" y="159"/>
                  </a:lnTo>
                  <a:lnTo>
                    <a:pt x="95" y="161"/>
                  </a:lnTo>
                  <a:lnTo>
                    <a:pt x="95" y="162"/>
                  </a:lnTo>
                  <a:lnTo>
                    <a:pt x="95" y="163"/>
                  </a:lnTo>
                  <a:lnTo>
                    <a:pt x="94" y="163"/>
                  </a:lnTo>
                  <a:lnTo>
                    <a:pt x="94" y="164"/>
                  </a:lnTo>
                  <a:lnTo>
                    <a:pt x="95" y="165"/>
                  </a:lnTo>
                  <a:lnTo>
                    <a:pt x="95" y="166"/>
                  </a:lnTo>
                  <a:lnTo>
                    <a:pt x="95" y="168"/>
                  </a:lnTo>
                  <a:lnTo>
                    <a:pt x="95" y="169"/>
                  </a:lnTo>
                  <a:lnTo>
                    <a:pt x="95" y="170"/>
                  </a:lnTo>
                  <a:lnTo>
                    <a:pt x="94" y="170"/>
                  </a:lnTo>
                  <a:lnTo>
                    <a:pt x="94" y="171"/>
                  </a:lnTo>
                  <a:lnTo>
                    <a:pt x="93" y="171"/>
                  </a:lnTo>
                  <a:lnTo>
                    <a:pt x="92" y="172"/>
                  </a:lnTo>
                  <a:lnTo>
                    <a:pt x="92" y="173"/>
                  </a:lnTo>
                  <a:lnTo>
                    <a:pt x="91" y="173"/>
                  </a:lnTo>
                  <a:lnTo>
                    <a:pt x="91" y="175"/>
                  </a:lnTo>
                  <a:lnTo>
                    <a:pt x="91" y="176"/>
                  </a:lnTo>
                  <a:lnTo>
                    <a:pt x="91" y="177"/>
                  </a:lnTo>
                  <a:lnTo>
                    <a:pt x="90" y="180"/>
                  </a:lnTo>
                  <a:lnTo>
                    <a:pt x="90" y="182"/>
                  </a:lnTo>
                  <a:lnTo>
                    <a:pt x="90" y="183"/>
                  </a:lnTo>
                  <a:lnTo>
                    <a:pt x="88" y="183"/>
                  </a:lnTo>
                  <a:lnTo>
                    <a:pt x="88" y="184"/>
                  </a:lnTo>
                  <a:lnTo>
                    <a:pt x="87" y="184"/>
                  </a:lnTo>
                  <a:lnTo>
                    <a:pt x="87" y="185"/>
                  </a:lnTo>
                  <a:lnTo>
                    <a:pt x="87" y="184"/>
                  </a:lnTo>
                  <a:lnTo>
                    <a:pt x="87" y="183"/>
                  </a:lnTo>
                  <a:lnTo>
                    <a:pt x="87" y="179"/>
                  </a:lnTo>
                  <a:lnTo>
                    <a:pt x="87" y="177"/>
                  </a:lnTo>
                  <a:lnTo>
                    <a:pt x="87" y="176"/>
                  </a:lnTo>
                  <a:lnTo>
                    <a:pt x="87" y="175"/>
                  </a:lnTo>
                  <a:lnTo>
                    <a:pt x="88" y="175"/>
                  </a:lnTo>
                  <a:lnTo>
                    <a:pt x="88" y="173"/>
                  </a:lnTo>
                  <a:lnTo>
                    <a:pt x="88" y="172"/>
                  </a:lnTo>
                  <a:lnTo>
                    <a:pt x="90" y="171"/>
                  </a:lnTo>
                  <a:lnTo>
                    <a:pt x="90" y="170"/>
                  </a:lnTo>
                  <a:lnTo>
                    <a:pt x="91" y="168"/>
                  </a:lnTo>
                  <a:lnTo>
                    <a:pt x="91" y="166"/>
                  </a:lnTo>
                  <a:lnTo>
                    <a:pt x="91" y="165"/>
                  </a:lnTo>
                  <a:lnTo>
                    <a:pt x="92" y="165"/>
                  </a:lnTo>
                  <a:lnTo>
                    <a:pt x="92" y="164"/>
                  </a:lnTo>
                  <a:lnTo>
                    <a:pt x="92" y="163"/>
                  </a:lnTo>
                  <a:lnTo>
                    <a:pt x="93" y="161"/>
                  </a:lnTo>
                  <a:lnTo>
                    <a:pt x="93" y="159"/>
                  </a:lnTo>
                  <a:lnTo>
                    <a:pt x="93" y="158"/>
                  </a:lnTo>
                  <a:lnTo>
                    <a:pt x="93" y="157"/>
                  </a:lnTo>
                  <a:lnTo>
                    <a:pt x="93" y="156"/>
                  </a:lnTo>
                  <a:lnTo>
                    <a:pt x="94" y="156"/>
                  </a:lnTo>
                  <a:lnTo>
                    <a:pt x="94" y="155"/>
                  </a:lnTo>
                  <a:lnTo>
                    <a:pt x="94" y="156"/>
                  </a:lnTo>
                  <a:lnTo>
                    <a:pt x="94" y="157"/>
                  </a:lnTo>
                  <a:lnTo>
                    <a:pt x="94" y="158"/>
                  </a:lnTo>
                  <a:close/>
                  <a:moveTo>
                    <a:pt x="91" y="157"/>
                  </a:moveTo>
                  <a:lnTo>
                    <a:pt x="90" y="157"/>
                  </a:lnTo>
                  <a:lnTo>
                    <a:pt x="90" y="156"/>
                  </a:lnTo>
                  <a:lnTo>
                    <a:pt x="90" y="155"/>
                  </a:lnTo>
                  <a:lnTo>
                    <a:pt x="91" y="155"/>
                  </a:lnTo>
                  <a:lnTo>
                    <a:pt x="91" y="156"/>
                  </a:lnTo>
                  <a:lnTo>
                    <a:pt x="91" y="157"/>
                  </a:lnTo>
                  <a:close/>
                  <a:moveTo>
                    <a:pt x="31" y="154"/>
                  </a:moveTo>
                  <a:lnTo>
                    <a:pt x="31" y="155"/>
                  </a:lnTo>
                  <a:lnTo>
                    <a:pt x="33" y="155"/>
                  </a:lnTo>
                  <a:lnTo>
                    <a:pt x="33" y="156"/>
                  </a:lnTo>
                  <a:lnTo>
                    <a:pt x="31" y="157"/>
                  </a:lnTo>
                  <a:lnTo>
                    <a:pt x="31" y="158"/>
                  </a:lnTo>
                  <a:lnTo>
                    <a:pt x="33" y="158"/>
                  </a:lnTo>
                  <a:lnTo>
                    <a:pt x="33" y="159"/>
                  </a:lnTo>
                  <a:lnTo>
                    <a:pt x="31" y="159"/>
                  </a:lnTo>
                  <a:lnTo>
                    <a:pt x="31" y="161"/>
                  </a:lnTo>
                  <a:lnTo>
                    <a:pt x="31" y="162"/>
                  </a:lnTo>
                  <a:lnTo>
                    <a:pt x="33" y="162"/>
                  </a:lnTo>
                  <a:lnTo>
                    <a:pt x="33" y="163"/>
                  </a:lnTo>
                  <a:lnTo>
                    <a:pt x="33" y="162"/>
                  </a:lnTo>
                  <a:lnTo>
                    <a:pt x="34" y="162"/>
                  </a:lnTo>
                  <a:lnTo>
                    <a:pt x="34" y="163"/>
                  </a:lnTo>
                  <a:lnTo>
                    <a:pt x="34" y="164"/>
                  </a:lnTo>
                  <a:lnTo>
                    <a:pt x="34" y="165"/>
                  </a:lnTo>
                  <a:lnTo>
                    <a:pt x="35" y="165"/>
                  </a:lnTo>
                  <a:lnTo>
                    <a:pt x="34" y="165"/>
                  </a:lnTo>
                  <a:lnTo>
                    <a:pt x="35" y="166"/>
                  </a:lnTo>
                  <a:lnTo>
                    <a:pt x="35" y="168"/>
                  </a:lnTo>
                  <a:lnTo>
                    <a:pt x="35" y="169"/>
                  </a:lnTo>
                  <a:lnTo>
                    <a:pt x="34" y="169"/>
                  </a:lnTo>
                  <a:lnTo>
                    <a:pt x="34" y="170"/>
                  </a:lnTo>
                  <a:lnTo>
                    <a:pt x="33" y="170"/>
                  </a:lnTo>
                  <a:lnTo>
                    <a:pt x="31" y="170"/>
                  </a:lnTo>
                  <a:lnTo>
                    <a:pt x="30" y="170"/>
                  </a:lnTo>
                  <a:lnTo>
                    <a:pt x="30" y="171"/>
                  </a:lnTo>
                  <a:lnTo>
                    <a:pt x="29" y="172"/>
                  </a:lnTo>
                  <a:lnTo>
                    <a:pt x="29" y="175"/>
                  </a:lnTo>
                  <a:lnTo>
                    <a:pt x="28" y="175"/>
                  </a:lnTo>
                  <a:lnTo>
                    <a:pt x="27" y="176"/>
                  </a:lnTo>
                  <a:lnTo>
                    <a:pt x="26" y="176"/>
                  </a:lnTo>
                  <a:lnTo>
                    <a:pt x="24" y="176"/>
                  </a:lnTo>
                  <a:lnTo>
                    <a:pt x="23" y="177"/>
                  </a:lnTo>
                  <a:lnTo>
                    <a:pt x="23" y="176"/>
                  </a:lnTo>
                  <a:lnTo>
                    <a:pt x="23" y="177"/>
                  </a:lnTo>
                  <a:lnTo>
                    <a:pt x="23" y="178"/>
                  </a:lnTo>
                  <a:lnTo>
                    <a:pt x="23" y="179"/>
                  </a:lnTo>
                  <a:lnTo>
                    <a:pt x="22" y="179"/>
                  </a:lnTo>
                  <a:lnTo>
                    <a:pt x="22" y="180"/>
                  </a:lnTo>
                  <a:lnTo>
                    <a:pt x="23" y="180"/>
                  </a:lnTo>
                  <a:lnTo>
                    <a:pt x="23" y="182"/>
                  </a:lnTo>
                  <a:lnTo>
                    <a:pt x="22" y="182"/>
                  </a:lnTo>
                  <a:lnTo>
                    <a:pt x="22" y="183"/>
                  </a:lnTo>
                  <a:lnTo>
                    <a:pt x="21" y="184"/>
                  </a:lnTo>
                  <a:lnTo>
                    <a:pt x="21" y="185"/>
                  </a:lnTo>
                  <a:lnTo>
                    <a:pt x="20" y="186"/>
                  </a:lnTo>
                  <a:lnTo>
                    <a:pt x="19" y="187"/>
                  </a:lnTo>
                  <a:lnTo>
                    <a:pt x="19" y="189"/>
                  </a:lnTo>
                  <a:lnTo>
                    <a:pt x="17" y="189"/>
                  </a:lnTo>
                  <a:lnTo>
                    <a:pt x="16" y="189"/>
                  </a:lnTo>
                  <a:lnTo>
                    <a:pt x="15" y="189"/>
                  </a:lnTo>
                  <a:lnTo>
                    <a:pt x="15" y="190"/>
                  </a:lnTo>
                  <a:lnTo>
                    <a:pt x="15" y="191"/>
                  </a:lnTo>
                  <a:lnTo>
                    <a:pt x="14" y="192"/>
                  </a:lnTo>
                  <a:lnTo>
                    <a:pt x="14" y="193"/>
                  </a:lnTo>
                  <a:lnTo>
                    <a:pt x="13" y="194"/>
                  </a:lnTo>
                  <a:lnTo>
                    <a:pt x="12" y="194"/>
                  </a:lnTo>
                  <a:lnTo>
                    <a:pt x="11" y="196"/>
                  </a:lnTo>
                  <a:lnTo>
                    <a:pt x="11" y="197"/>
                  </a:lnTo>
                  <a:lnTo>
                    <a:pt x="9" y="197"/>
                  </a:lnTo>
                  <a:lnTo>
                    <a:pt x="8" y="197"/>
                  </a:lnTo>
                  <a:lnTo>
                    <a:pt x="8" y="198"/>
                  </a:lnTo>
                  <a:lnTo>
                    <a:pt x="7" y="198"/>
                  </a:lnTo>
                  <a:lnTo>
                    <a:pt x="7" y="199"/>
                  </a:lnTo>
                  <a:lnTo>
                    <a:pt x="6" y="199"/>
                  </a:lnTo>
                  <a:lnTo>
                    <a:pt x="5" y="199"/>
                  </a:lnTo>
                  <a:lnTo>
                    <a:pt x="5" y="200"/>
                  </a:lnTo>
                  <a:lnTo>
                    <a:pt x="4" y="200"/>
                  </a:lnTo>
                  <a:lnTo>
                    <a:pt x="4" y="201"/>
                  </a:lnTo>
                  <a:lnTo>
                    <a:pt x="4" y="200"/>
                  </a:lnTo>
                  <a:lnTo>
                    <a:pt x="4" y="199"/>
                  </a:lnTo>
                  <a:lnTo>
                    <a:pt x="4" y="198"/>
                  </a:lnTo>
                  <a:lnTo>
                    <a:pt x="5" y="197"/>
                  </a:lnTo>
                  <a:lnTo>
                    <a:pt x="5" y="196"/>
                  </a:lnTo>
                  <a:lnTo>
                    <a:pt x="6" y="196"/>
                  </a:lnTo>
                  <a:lnTo>
                    <a:pt x="6" y="194"/>
                  </a:lnTo>
                  <a:lnTo>
                    <a:pt x="7" y="193"/>
                  </a:lnTo>
                  <a:lnTo>
                    <a:pt x="7" y="192"/>
                  </a:lnTo>
                  <a:lnTo>
                    <a:pt x="8" y="191"/>
                  </a:lnTo>
                  <a:lnTo>
                    <a:pt x="8" y="190"/>
                  </a:lnTo>
                  <a:lnTo>
                    <a:pt x="9" y="190"/>
                  </a:lnTo>
                  <a:lnTo>
                    <a:pt x="11" y="190"/>
                  </a:lnTo>
                  <a:lnTo>
                    <a:pt x="11" y="189"/>
                  </a:lnTo>
                  <a:lnTo>
                    <a:pt x="12" y="189"/>
                  </a:lnTo>
                  <a:lnTo>
                    <a:pt x="12" y="187"/>
                  </a:lnTo>
                  <a:lnTo>
                    <a:pt x="13" y="187"/>
                  </a:lnTo>
                  <a:lnTo>
                    <a:pt x="14" y="187"/>
                  </a:lnTo>
                  <a:lnTo>
                    <a:pt x="14" y="186"/>
                  </a:lnTo>
                  <a:lnTo>
                    <a:pt x="15" y="186"/>
                  </a:lnTo>
                  <a:lnTo>
                    <a:pt x="15" y="185"/>
                  </a:lnTo>
                  <a:lnTo>
                    <a:pt x="16" y="184"/>
                  </a:lnTo>
                  <a:lnTo>
                    <a:pt x="16" y="183"/>
                  </a:lnTo>
                  <a:lnTo>
                    <a:pt x="17" y="183"/>
                  </a:lnTo>
                  <a:lnTo>
                    <a:pt x="17" y="182"/>
                  </a:lnTo>
                  <a:lnTo>
                    <a:pt x="17" y="180"/>
                  </a:lnTo>
                  <a:lnTo>
                    <a:pt x="19" y="180"/>
                  </a:lnTo>
                  <a:lnTo>
                    <a:pt x="20" y="179"/>
                  </a:lnTo>
                  <a:lnTo>
                    <a:pt x="20" y="178"/>
                  </a:lnTo>
                  <a:lnTo>
                    <a:pt x="21" y="178"/>
                  </a:lnTo>
                  <a:lnTo>
                    <a:pt x="21" y="177"/>
                  </a:lnTo>
                  <a:lnTo>
                    <a:pt x="21" y="176"/>
                  </a:lnTo>
                  <a:lnTo>
                    <a:pt x="22" y="176"/>
                  </a:lnTo>
                  <a:lnTo>
                    <a:pt x="21" y="176"/>
                  </a:lnTo>
                  <a:lnTo>
                    <a:pt x="22" y="176"/>
                  </a:lnTo>
                  <a:lnTo>
                    <a:pt x="22" y="175"/>
                  </a:lnTo>
                  <a:lnTo>
                    <a:pt x="22" y="173"/>
                  </a:lnTo>
                  <a:lnTo>
                    <a:pt x="23" y="173"/>
                  </a:lnTo>
                  <a:lnTo>
                    <a:pt x="23" y="175"/>
                  </a:lnTo>
                  <a:lnTo>
                    <a:pt x="23" y="173"/>
                  </a:lnTo>
                  <a:lnTo>
                    <a:pt x="23" y="172"/>
                  </a:lnTo>
                  <a:lnTo>
                    <a:pt x="24" y="172"/>
                  </a:lnTo>
                  <a:lnTo>
                    <a:pt x="26" y="172"/>
                  </a:lnTo>
                  <a:lnTo>
                    <a:pt x="26" y="171"/>
                  </a:lnTo>
                  <a:lnTo>
                    <a:pt x="26" y="170"/>
                  </a:lnTo>
                  <a:lnTo>
                    <a:pt x="26" y="169"/>
                  </a:lnTo>
                  <a:lnTo>
                    <a:pt x="27" y="169"/>
                  </a:lnTo>
                  <a:lnTo>
                    <a:pt x="27" y="168"/>
                  </a:lnTo>
                  <a:lnTo>
                    <a:pt x="27" y="169"/>
                  </a:lnTo>
                  <a:lnTo>
                    <a:pt x="28" y="169"/>
                  </a:lnTo>
                  <a:lnTo>
                    <a:pt x="28" y="168"/>
                  </a:lnTo>
                  <a:lnTo>
                    <a:pt x="29" y="168"/>
                  </a:lnTo>
                  <a:lnTo>
                    <a:pt x="29" y="166"/>
                  </a:lnTo>
                  <a:lnTo>
                    <a:pt x="30" y="166"/>
                  </a:lnTo>
                  <a:lnTo>
                    <a:pt x="30" y="164"/>
                  </a:lnTo>
                  <a:lnTo>
                    <a:pt x="29" y="163"/>
                  </a:lnTo>
                  <a:lnTo>
                    <a:pt x="29" y="162"/>
                  </a:lnTo>
                  <a:lnTo>
                    <a:pt x="28" y="162"/>
                  </a:lnTo>
                  <a:lnTo>
                    <a:pt x="28" y="161"/>
                  </a:lnTo>
                  <a:lnTo>
                    <a:pt x="29" y="161"/>
                  </a:lnTo>
                  <a:lnTo>
                    <a:pt x="29" y="162"/>
                  </a:lnTo>
                  <a:lnTo>
                    <a:pt x="29" y="163"/>
                  </a:lnTo>
                  <a:lnTo>
                    <a:pt x="29" y="162"/>
                  </a:lnTo>
                  <a:lnTo>
                    <a:pt x="30" y="162"/>
                  </a:lnTo>
                  <a:lnTo>
                    <a:pt x="30" y="163"/>
                  </a:lnTo>
                  <a:lnTo>
                    <a:pt x="31" y="163"/>
                  </a:lnTo>
                  <a:lnTo>
                    <a:pt x="31" y="164"/>
                  </a:lnTo>
                  <a:lnTo>
                    <a:pt x="31" y="163"/>
                  </a:lnTo>
                  <a:lnTo>
                    <a:pt x="31" y="162"/>
                  </a:lnTo>
                  <a:lnTo>
                    <a:pt x="30" y="162"/>
                  </a:lnTo>
                  <a:lnTo>
                    <a:pt x="29" y="161"/>
                  </a:lnTo>
                  <a:lnTo>
                    <a:pt x="30" y="161"/>
                  </a:lnTo>
                  <a:lnTo>
                    <a:pt x="29" y="161"/>
                  </a:lnTo>
                  <a:lnTo>
                    <a:pt x="29" y="159"/>
                  </a:lnTo>
                  <a:lnTo>
                    <a:pt x="29" y="158"/>
                  </a:lnTo>
                  <a:lnTo>
                    <a:pt x="30" y="158"/>
                  </a:lnTo>
                  <a:lnTo>
                    <a:pt x="30" y="157"/>
                  </a:lnTo>
                  <a:lnTo>
                    <a:pt x="30" y="156"/>
                  </a:lnTo>
                  <a:lnTo>
                    <a:pt x="30" y="155"/>
                  </a:lnTo>
                  <a:lnTo>
                    <a:pt x="30" y="154"/>
                  </a:lnTo>
                  <a:lnTo>
                    <a:pt x="30" y="152"/>
                  </a:lnTo>
                  <a:lnTo>
                    <a:pt x="31" y="152"/>
                  </a:lnTo>
                  <a:lnTo>
                    <a:pt x="31" y="154"/>
                  </a:lnTo>
                  <a:close/>
                  <a:moveTo>
                    <a:pt x="36" y="152"/>
                  </a:moveTo>
                  <a:lnTo>
                    <a:pt x="36" y="154"/>
                  </a:lnTo>
                  <a:lnTo>
                    <a:pt x="35" y="154"/>
                  </a:lnTo>
                  <a:lnTo>
                    <a:pt x="36" y="152"/>
                  </a:lnTo>
                  <a:lnTo>
                    <a:pt x="35" y="152"/>
                  </a:lnTo>
                  <a:lnTo>
                    <a:pt x="35" y="154"/>
                  </a:lnTo>
                  <a:lnTo>
                    <a:pt x="35" y="152"/>
                  </a:lnTo>
                  <a:lnTo>
                    <a:pt x="34" y="152"/>
                  </a:lnTo>
                  <a:lnTo>
                    <a:pt x="35" y="152"/>
                  </a:lnTo>
                  <a:lnTo>
                    <a:pt x="35" y="151"/>
                  </a:lnTo>
                  <a:lnTo>
                    <a:pt x="35" y="152"/>
                  </a:lnTo>
                  <a:lnTo>
                    <a:pt x="36" y="152"/>
                  </a:lnTo>
                  <a:lnTo>
                    <a:pt x="36" y="151"/>
                  </a:lnTo>
                  <a:lnTo>
                    <a:pt x="35" y="151"/>
                  </a:lnTo>
                  <a:lnTo>
                    <a:pt x="36" y="151"/>
                  </a:lnTo>
                  <a:lnTo>
                    <a:pt x="36" y="152"/>
                  </a:lnTo>
                  <a:close/>
                  <a:moveTo>
                    <a:pt x="99" y="152"/>
                  </a:moveTo>
                  <a:lnTo>
                    <a:pt x="100" y="154"/>
                  </a:lnTo>
                  <a:lnTo>
                    <a:pt x="100" y="152"/>
                  </a:lnTo>
                  <a:lnTo>
                    <a:pt x="101" y="152"/>
                  </a:lnTo>
                  <a:lnTo>
                    <a:pt x="101" y="154"/>
                  </a:lnTo>
                  <a:lnTo>
                    <a:pt x="101" y="155"/>
                  </a:lnTo>
                  <a:lnTo>
                    <a:pt x="102" y="155"/>
                  </a:lnTo>
                  <a:lnTo>
                    <a:pt x="104" y="155"/>
                  </a:lnTo>
                  <a:lnTo>
                    <a:pt x="105" y="154"/>
                  </a:lnTo>
                  <a:lnTo>
                    <a:pt x="105" y="152"/>
                  </a:lnTo>
                  <a:lnTo>
                    <a:pt x="106" y="152"/>
                  </a:lnTo>
                  <a:lnTo>
                    <a:pt x="107" y="154"/>
                  </a:lnTo>
                  <a:lnTo>
                    <a:pt x="107" y="155"/>
                  </a:lnTo>
                  <a:lnTo>
                    <a:pt x="107" y="156"/>
                  </a:lnTo>
                  <a:lnTo>
                    <a:pt x="108" y="156"/>
                  </a:lnTo>
                  <a:lnTo>
                    <a:pt x="108" y="157"/>
                  </a:lnTo>
                  <a:lnTo>
                    <a:pt x="108" y="158"/>
                  </a:lnTo>
                  <a:lnTo>
                    <a:pt x="108" y="159"/>
                  </a:lnTo>
                  <a:lnTo>
                    <a:pt x="108" y="161"/>
                  </a:lnTo>
                  <a:lnTo>
                    <a:pt x="108" y="162"/>
                  </a:lnTo>
                  <a:lnTo>
                    <a:pt x="108" y="163"/>
                  </a:lnTo>
                  <a:lnTo>
                    <a:pt x="108" y="164"/>
                  </a:lnTo>
                  <a:lnTo>
                    <a:pt x="109" y="164"/>
                  </a:lnTo>
                  <a:lnTo>
                    <a:pt x="111" y="164"/>
                  </a:lnTo>
                  <a:lnTo>
                    <a:pt x="111" y="165"/>
                  </a:lnTo>
                  <a:lnTo>
                    <a:pt x="112" y="165"/>
                  </a:lnTo>
                  <a:lnTo>
                    <a:pt x="112" y="166"/>
                  </a:lnTo>
                  <a:lnTo>
                    <a:pt x="112" y="168"/>
                  </a:lnTo>
                  <a:lnTo>
                    <a:pt x="112" y="169"/>
                  </a:lnTo>
                  <a:lnTo>
                    <a:pt x="113" y="169"/>
                  </a:lnTo>
                  <a:lnTo>
                    <a:pt x="113" y="170"/>
                  </a:lnTo>
                  <a:lnTo>
                    <a:pt x="113" y="171"/>
                  </a:lnTo>
                  <a:lnTo>
                    <a:pt x="112" y="171"/>
                  </a:lnTo>
                  <a:lnTo>
                    <a:pt x="111" y="171"/>
                  </a:lnTo>
                  <a:lnTo>
                    <a:pt x="111" y="172"/>
                  </a:lnTo>
                  <a:lnTo>
                    <a:pt x="112" y="172"/>
                  </a:lnTo>
                  <a:lnTo>
                    <a:pt x="111" y="172"/>
                  </a:lnTo>
                  <a:lnTo>
                    <a:pt x="111" y="171"/>
                  </a:lnTo>
                  <a:lnTo>
                    <a:pt x="109" y="171"/>
                  </a:lnTo>
                  <a:lnTo>
                    <a:pt x="109" y="170"/>
                  </a:lnTo>
                  <a:lnTo>
                    <a:pt x="109" y="169"/>
                  </a:lnTo>
                  <a:lnTo>
                    <a:pt x="108" y="170"/>
                  </a:lnTo>
                  <a:lnTo>
                    <a:pt x="109" y="170"/>
                  </a:lnTo>
                  <a:lnTo>
                    <a:pt x="109" y="172"/>
                  </a:lnTo>
                  <a:lnTo>
                    <a:pt x="109" y="173"/>
                  </a:lnTo>
                  <a:lnTo>
                    <a:pt x="109" y="175"/>
                  </a:lnTo>
                  <a:lnTo>
                    <a:pt x="111" y="175"/>
                  </a:lnTo>
                  <a:lnTo>
                    <a:pt x="109" y="175"/>
                  </a:lnTo>
                  <a:lnTo>
                    <a:pt x="108" y="175"/>
                  </a:lnTo>
                  <a:lnTo>
                    <a:pt x="108" y="173"/>
                  </a:lnTo>
                  <a:lnTo>
                    <a:pt x="107" y="173"/>
                  </a:lnTo>
                  <a:lnTo>
                    <a:pt x="106" y="173"/>
                  </a:lnTo>
                  <a:lnTo>
                    <a:pt x="106" y="172"/>
                  </a:lnTo>
                  <a:lnTo>
                    <a:pt x="106" y="171"/>
                  </a:lnTo>
                  <a:lnTo>
                    <a:pt x="106" y="170"/>
                  </a:lnTo>
                  <a:lnTo>
                    <a:pt x="106" y="169"/>
                  </a:lnTo>
                  <a:lnTo>
                    <a:pt x="105" y="169"/>
                  </a:lnTo>
                  <a:lnTo>
                    <a:pt x="105" y="168"/>
                  </a:lnTo>
                  <a:lnTo>
                    <a:pt x="106" y="168"/>
                  </a:lnTo>
                  <a:lnTo>
                    <a:pt x="106" y="166"/>
                  </a:lnTo>
                  <a:lnTo>
                    <a:pt x="106" y="165"/>
                  </a:lnTo>
                  <a:lnTo>
                    <a:pt x="106" y="164"/>
                  </a:lnTo>
                  <a:lnTo>
                    <a:pt x="105" y="163"/>
                  </a:lnTo>
                  <a:lnTo>
                    <a:pt x="105" y="162"/>
                  </a:lnTo>
                  <a:lnTo>
                    <a:pt x="104" y="161"/>
                  </a:lnTo>
                  <a:lnTo>
                    <a:pt x="102" y="159"/>
                  </a:lnTo>
                  <a:lnTo>
                    <a:pt x="101" y="159"/>
                  </a:lnTo>
                  <a:lnTo>
                    <a:pt x="101" y="161"/>
                  </a:lnTo>
                  <a:lnTo>
                    <a:pt x="102" y="161"/>
                  </a:lnTo>
                  <a:lnTo>
                    <a:pt x="101" y="161"/>
                  </a:lnTo>
                  <a:lnTo>
                    <a:pt x="101" y="162"/>
                  </a:lnTo>
                  <a:lnTo>
                    <a:pt x="101" y="161"/>
                  </a:lnTo>
                  <a:lnTo>
                    <a:pt x="100" y="161"/>
                  </a:lnTo>
                  <a:lnTo>
                    <a:pt x="100" y="159"/>
                  </a:lnTo>
                  <a:lnTo>
                    <a:pt x="99" y="159"/>
                  </a:lnTo>
                  <a:lnTo>
                    <a:pt x="99" y="158"/>
                  </a:lnTo>
                  <a:lnTo>
                    <a:pt x="100" y="157"/>
                  </a:lnTo>
                  <a:lnTo>
                    <a:pt x="99" y="157"/>
                  </a:lnTo>
                  <a:lnTo>
                    <a:pt x="99" y="156"/>
                  </a:lnTo>
                  <a:lnTo>
                    <a:pt x="99" y="155"/>
                  </a:lnTo>
                  <a:lnTo>
                    <a:pt x="98" y="154"/>
                  </a:lnTo>
                  <a:lnTo>
                    <a:pt x="99" y="154"/>
                  </a:lnTo>
                  <a:lnTo>
                    <a:pt x="98" y="154"/>
                  </a:lnTo>
                  <a:lnTo>
                    <a:pt x="98" y="152"/>
                  </a:lnTo>
                  <a:lnTo>
                    <a:pt x="98" y="151"/>
                  </a:lnTo>
                  <a:lnTo>
                    <a:pt x="99" y="152"/>
                  </a:lnTo>
                  <a:close/>
                  <a:moveTo>
                    <a:pt x="99" y="149"/>
                  </a:moveTo>
                  <a:lnTo>
                    <a:pt x="100" y="149"/>
                  </a:lnTo>
                  <a:lnTo>
                    <a:pt x="101" y="150"/>
                  </a:lnTo>
                  <a:lnTo>
                    <a:pt x="101" y="151"/>
                  </a:lnTo>
                  <a:lnTo>
                    <a:pt x="101" y="152"/>
                  </a:lnTo>
                  <a:lnTo>
                    <a:pt x="100" y="152"/>
                  </a:lnTo>
                  <a:lnTo>
                    <a:pt x="100" y="151"/>
                  </a:lnTo>
                  <a:lnTo>
                    <a:pt x="100" y="152"/>
                  </a:lnTo>
                  <a:lnTo>
                    <a:pt x="100" y="151"/>
                  </a:lnTo>
                  <a:lnTo>
                    <a:pt x="99" y="151"/>
                  </a:lnTo>
                  <a:lnTo>
                    <a:pt x="98" y="150"/>
                  </a:lnTo>
                  <a:lnTo>
                    <a:pt x="98" y="149"/>
                  </a:lnTo>
                  <a:lnTo>
                    <a:pt x="99" y="149"/>
                  </a:lnTo>
                  <a:close/>
                  <a:moveTo>
                    <a:pt x="105" y="150"/>
                  </a:moveTo>
                  <a:lnTo>
                    <a:pt x="105" y="151"/>
                  </a:lnTo>
                  <a:lnTo>
                    <a:pt x="105" y="150"/>
                  </a:lnTo>
                  <a:lnTo>
                    <a:pt x="104" y="150"/>
                  </a:lnTo>
                  <a:lnTo>
                    <a:pt x="104" y="149"/>
                  </a:lnTo>
                  <a:lnTo>
                    <a:pt x="102" y="149"/>
                  </a:lnTo>
                  <a:lnTo>
                    <a:pt x="102" y="148"/>
                  </a:lnTo>
                  <a:lnTo>
                    <a:pt x="104" y="148"/>
                  </a:lnTo>
                  <a:lnTo>
                    <a:pt x="104" y="149"/>
                  </a:lnTo>
                  <a:lnTo>
                    <a:pt x="105" y="149"/>
                  </a:lnTo>
                  <a:lnTo>
                    <a:pt x="105" y="150"/>
                  </a:lnTo>
                  <a:close/>
                  <a:moveTo>
                    <a:pt x="58" y="147"/>
                  </a:moveTo>
                  <a:lnTo>
                    <a:pt x="57" y="147"/>
                  </a:lnTo>
                  <a:lnTo>
                    <a:pt x="57" y="145"/>
                  </a:lnTo>
                  <a:lnTo>
                    <a:pt x="58" y="145"/>
                  </a:lnTo>
                  <a:lnTo>
                    <a:pt x="58" y="147"/>
                  </a:lnTo>
                  <a:close/>
                  <a:moveTo>
                    <a:pt x="69" y="148"/>
                  </a:moveTo>
                  <a:lnTo>
                    <a:pt x="70" y="148"/>
                  </a:lnTo>
                  <a:lnTo>
                    <a:pt x="71" y="148"/>
                  </a:lnTo>
                  <a:lnTo>
                    <a:pt x="71" y="149"/>
                  </a:lnTo>
                  <a:lnTo>
                    <a:pt x="72" y="149"/>
                  </a:lnTo>
                  <a:lnTo>
                    <a:pt x="72" y="150"/>
                  </a:lnTo>
                  <a:lnTo>
                    <a:pt x="73" y="150"/>
                  </a:lnTo>
                  <a:lnTo>
                    <a:pt x="73" y="151"/>
                  </a:lnTo>
                  <a:lnTo>
                    <a:pt x="75" y="151"/>
                  </a:lnTo>
                  <a:lnTo>
                    <a:pt x="75" y="150"/>
                  </a:lnTo>
                  <a:lnTo>
                    <a:pt x="75" y="151"/>
                  </a:lnTo>
                  <a:lnTo>
                    <a:pt x="76" y="151"/>
                  </a:lnTo>
                  <a:lnTo>
                    <a:pt x="75" y="151"/>
                  </a:lnTo>
                  <a:lnTo>
                    <a:pt x="75" y="150"/>
                  </a:lnTo>
                  <a:lnTo>
                    <a:pt x="76" y="150"/>
                  </a:lnTo>
                  <a:lnTo>
                    <a:pt x="77" y="150"/>
                  </a:lnTo>
                  <a:lnTo>
                    <a:pt x="77" y="151"/>
                  </a:lnTo>
                  <a:lnTo>
                    <a:pt x="78" y="151"/>
                  </a:lnTo>
                  <a:lnTo>
                    <a:pt x="78" y="152"/>
                  </a:lnTo>
                  <a:lnTo>
                    <a:pt x="79" y="152"/>
                  </a:lnTo>
                  <a:lnTo>
                    <a:pt x="79" y="151"/>
                  </a:lnTo>
                  <a:lnTo>
                    <a:pt x="80" y="151"/>
                  </a:lnTo>
                  <a:lnTo>
                    <a:pt x="81" y="150"/>
                  </a:lnTo>
                  <a:lnTo>
                    <a:pt x="81" y="151"/>
                  </a:lnTo>
                  <a:lnTo>
                    <a:pt x="81" y="152"/>
                  </a:lnTo>
                  <a:lnTo>
                    <a:pt x="81" y="154"/>
                  </a:lnTo>
                  <a:lnTo>
                    <a:pt x="81" y="155"/>
                  </a:lnTo>
                  <a:lnTo>
                    <a:pt x="81" y="156"/>
                  </a:lnTo>
                  <a:lnTo>
                    <a:pt x="81" y="157"/>
                  </a:lnTo>
                  <a:lnTo>
                    <a:pt x="80" y="157"/>
                  </a:lnTo>
                  <a:lnTo>
                    <a:pt x="80" y="158"/>
                  </a:lnTo>
                  <a:lnTo>
                    <a:pt x="79" y="158"/>
                  </a:lnTo>
                  <a:lnTo>
                    <a:pt x="79" y="159"/>
                  </a:lnTo>
                  <a:lnTo>
                    <a:pt x="79" y="158"/>
                  </a:lnTo>
                  <a:lnTo>
                    <a:pt x="79" y="159"/>
                  </a:lnTo>
                  <a:lnTo>
                    <a:pt x="78" y="159"/>
                  </a:lnTo>
                  <a:lnTo>
                    <a:pt x="77" y="159"/>
                  </a:lnTo>
                  <a:lnTo>
                    <a:pt x="77" y="161"/>
                  </a:lnTo>
                  <a:lnTo>
                    <a:pt x="78" y="161"/>
                  </a:lnTo>
                  <a:lnTo>
                    <a:pt x="78" y="162"/>
                  </a:lnTo>
                  <a:lnTo>
                    <a:pt x="77" y="163"/>
                  </a:lnTo>
                  <a:lnTo>
                    <a:pt x="76" y="163"/>
                  </a:lnTo>
                  <a:lnTo>
                    <a:pt x="75" y="164"/>
                  </a:lnTo>
                  <a:lnTo>
                    <a:pt x="76" y="164"/>
                  </a:lnTo>
                  <a:lnTo>
                    <a:pt x="75" y="164"/>
                  </a:lnTo>
                  <a:lnTo>
                    <a:pt x="73" y="164"/>
                  </a:lnTo>
                  <a:lnTo>
                    <a:pt x="72" y="165"/>
                  </a:lnTo>
                  <a:lnTo>
                    <a:pt x="71" y="165"/>
                  </a:lnTo>
                  <a:lnTo>
                    <a:pt x="70" y="165"/>
                  </a:lnTo>
                  <a:lnTo>
                    <a:pt x="70" y="166"/>
                  </a:lnTo>
                  <a:lnTo>
                    <a:pt x="69" y="166"/>
                  </a:lnTo>
                  <a:lnTo>
                    <a:pt x="68" y="168"/>
                  </a:lnTo>
                  <a:lnTo>
                    <a:pt x="68" y="169"/>
                  </a:lnTo>
                  <a:lnTo>
                    <a:pt x="66" y="169"/>
                  </a:lnTo>
                  <a:lnTo>
                    <a:pt x="66" y="168"/>
                  </a:lnTo>
                  <a:lnTo>
                    <a:pt x="66" y="166"/>
                  </a:lnTo>
                  <a:lnTo>
                    <a:pt x="66" y="165"/>
                  </a:lnTo>
                  <a:lnTo>
                    <a:pt x="66" y="164"/>
                  </a:lnTo>
                  <a:lnTo>
                    <a:pt x="66" y="163"/>
                  </a:lnTo>
                  <a:lnTo>
                    <a:pt x="65" y="163"/>
                  </a:lnTo>
                  <a:lnTo>
                    <a:pt x="66" y="163"/>
                  </a:lnTo>
                  <a:lnTo>
                    <a:pt x="66" y="162"/>
                  </a:lnTo>
                  <a:lnTo>
                    <a:pt x="66" y="161"/>
                  </a:lnTo>
                  <a:lnTo>
                    <a:pt x="66" y="159"/>
                  </a:lnTo>
                  <a:lnTo>
                    <a:pt x="66" y="158"/>
                  </a:lnTo>
                  <a:lnTo>
                    <a:pt x="66" y="156"/>
                  </a:lnTo>
                  <a:lnTo>
                    <a:pt x="66" y="155"/>
                  </a:lnTo>
                  <a:lnTo>
                    <a:pt x="66" y="154"/>
                  </a:lnTo>
                  <a:lnTo>
                    <a:pt x="66" y="152"/>
                  </a:lnTo>
                  <a:lnTo>
                    <a:pt x="66" y="151"/>
                  </a:lnTo>
                  <a:lnTo>
                    <a:pt x="66" y="149"/>
                  </a:lnTo>
                  <a:lnTo>
                    <a:pt x="66" y="148"/>
                  </a:lnTo>
                  <a:lnTo>
                    <a:pt x="65" y="148"/>
                  </a:lnTo>
                  <a:lnTo>
                    <a:pt x="64" y="148"/>
                  </a:lnTo>
                  <a:lnTo>
                    <a:pt x="63" y="148"/>
                  </a:lnTo>
                  <a:lnTo>
                    <a:pt x="63" y="147"/>
                  </a:lnTo>
                  <a:lnTo>
                    <a:pt x="63" y="145"/>
                  </a:lnTo>
                  <a:lnTo>
                    <a:pt x="64" y="145"/>
                  </a:lnTo>
                  <a:lnTo>
                    <a:pt x="64" y="144"/>
                  </a:lnTo>
                  <a:lnTo>
                    <a:pt x="64" y="145"/>
                  </a:lnTo>
                  <a:lnTo>
                    <a:pt x="65" y="145"/>
                  </a:lnTo>
                  <a:lnTo>
                    <a:pt x="66" y="147"/>
                  </a:lnTo>
                  <a:lnTo>
                    <a:pt x="69" y="147"/>
                  </a:lnTo>
                  <a:lnTo>
                    <a:pt x="69" y="148"/>
                  </a:lnTo>
                  <a:close/>
                  <a:moveTo>
                    <a:pt x="41" y="147"/>
                  </a:moveTo>
                  <a:lnTo>
                    <a:pt x="41" y="145"/>
                  </a:lnTo>
                  <a:lnTo>
                    <a:pt x="40" y="144"/>
                  </a:lnTo>
                  <a:lnTo>
                    <a:pt x="41" y="144"/>
                  </a:lnTo>
                  <a:lnTo>
                    <a:pt x="41" y="145"/>
                  </a:lnTo>
                  <a:lnTo>
                    <a:pt x="41" y="147"/>
                  </a:lnTo>
                  <a:close/>
                  <a:moveTo>
                    <a:pt x="36" y="144"/>
                  </a:moveTo>
                  <a:lnTo>
                    <a:pt x="37" y="145"/>
                  </a:lnTo>
                  <a:lnTo>
                    <a:pt x="38" y="145"/>
                  </a:lnTo>
                  <a:lnTo>
                    <a:pt x="37" y="147"/>
                  </a:lnTo>
                  <a:lnTo>
                    <a:pt x="38" y="147"/>
                  </a:lnTo>
                  <a:lnTo>
                    <a:pt x="37" y="147"/>
                  </a:lnTo>
                  <a:lnTo>
                    <a:pt x="38" y="147"/>
                  </a:lnTo>
                  <a:lnTo>
                    <a:pt x="38" y="148"/>
                  </a:lnTo>
                  <a:lnTo>
                    <a:pt x="37" y="149"/>
                  </a:lnTo>
                  <a:lnTo>
                    <a:pt x="36" y="148"/>
                  </a:lnTo>
                  <a:lnTo>
                    <a:pt x="37" y="148"/>
                  </a:lnTo>
                  <a:lnTo>
                    <a:pt x="37" y="147"/>
                  </a:lnTo>
                  <a:lnTo>
                    <a:pt x="37" y="148"/>
                  </a:lnTo>
                  <a:lnTo>
                    <a:pt x="36" y="148"/>
                  </a:lnTo>
                  <a:lnTo>
                    <a:pt x="36" y="147"/>
                  </a:lnTo>
                  <a:lnTo>
                    <a:pt x="35" y="145"/>
                  </a:lnTo>
                  <a:lnTo>
                    <a:pt x="35" y="144"/>
                  </a:lnTo>
                  <a:lnTo>
                    <a:pt x="36" y="144"/>
                  </a:lnTo>
                  <a:lnTo>
                    <a:pt x="35" y="144"/>
                  </a:lnTo>
                  <a:lnTo>
                    <a:pt x="36" y="144"/>
                  </a:lnTo>
                  <a:close/>
                  <a:moveTo>
                    <a:pt x="94" y="143"/>
                  </a:moveTo>
                  <a:lnTo>
                    <a:pt x="94" y="142"/>
                  </a:lnTo>
                  <a:lnTo>
                    <a:pt x="95" y="142"/>
                  </a:lnTo>
                  <a:lnTo>
                    <a:pt x="95" y="143"/>
                  </a:lnTo>
                  <a:lnTo>
                    <a:pt x="94" y="143"/>
                  </a:lnTo>
                  <a:close/>
                  <a:moveTo>
                    <a:pt x="56" y="144"/>
                  </a:moveTo>
                  <a:lnTo>
                    <a:pt x="56" y="143"/>
                  </a:lnTo>
                  <a:lnTo>
                    <a:pt x="56" y="142"/>
                  </a:lnTo>
                  <a:lnTo>
                    <a:pt x="56" y="143"/>
                  </a:lnTo>
                  <a:lnTo>
                    <a:pt x="56" y="144"/>
                  </a:lnTo>
                  <a:close/>
                  <a:moveTo>
                    <a:pt x="52" y="141"/>
                  </a:moveTo>
                  <a:lnTo>
                    <a:pt x="51" y="141"/>
                  </a:lnTo>
                  <a:lnTo>
                    <a:pt x="51" y="140"/>
                  </a:lnTo>
                  <a:lnTo>
                    <a:pt x="52" y="141"/>
                  </a:lnTo>
                  <a:close/>
                  <a:moveTo>
                    <a:pt x="35" y="140"/>
                  </a:moveTo>
                  <a:lnTo>
                    <a:pt x="36" y="140"/>
                  </a:lnTo>
                  <a:lnTo>
                    <a:pt x="37" y="140"/>
                  </a:lnTo>
                  <a:lnTo>
                    <a:pt x="37" y="141"/>
                  </a:lnTo>
                  <a:lnTo>
                    <a:pt x="38" y="141"/>
                  </a:lnTo>
                  <a:lnTo>
                    <a:pt x="40" y="142"/>
                  </a:lnTo>
                  <a:lnTo>
                    <a:pt x="40" y="141"/>
                  </a:lnTo>
                  <a:lnTo>
                    <a:pt x="40" y="142"/>
                  </a:lnTo>
                  <a:lnTo>
                    <a:pt x="41" y="142"/>
                  </a:lnTo>
                  <a:lnTo>
                    <a:pt x="42" y="142"/>
                  </a:lnTo>
                  <a:lnTo>
                    <a:pt x="42" y="143"/>
                  </a:lnTo>
                  <a:lnTo>
                    <a:pt x="41" y="143"/>
                  </a:lnTo>
                  <a:lnTo>
                    <a:pt x="42" y="143"/>
                  </a:lnTo>
                  <a:lnTo>
                    <a:pt x="42" y="144"/>
                  </a:lnTo>
                  <a:lnTo>
                    <a:pt x="41" y="144"/>
                  </a:lnTo>
                  <a:lnTo>
                    <a:pt x="41" y="143"/>
                  </a:lnTo>
                  <a:lnTo>
                    <a:pt x="41" y="144"/>
                  </a:lnTo>
                  <a:lnTo>
                    <a:pt x="40" y="144"/>
                  </a:lnTo>
                  <a:lnTo>
                    <a:pt x="40" y="143"/>
                  </a:lnTo>
                  <a:lnTo>
                    <a:pt x="40" y="144"/>
                  </a:lnTo>
                  <a:lnTo>
                    <a:pt x="40" y="143"/>
                  </a:lnTo>
                  <a:lnTo>
                    <a:pt x="38" y="143"/>
                  </a:lnTo>
                  <a:lnTo>
                    <a:pt x="38" y="144"/>
                  </a:lnTo>
                  <a:lnTo>
                    <a:pt x="37" y="144"/>
                  </a:lnTo>
                  <a:lnTo>
                    <a:pt x="37" y="143"/>
                  </a:lnTo>
                  <a:lnTo>
                    <a:pt x="36" y="143"/>
                  </a:lnTo>
                  <a:lnTo>
                    <a:pt x="36" y="142"/>
                  </a:lnTo>
                  <a:lnTo>
                    <a:pt x="35" y="141"/>
                  </a:lnTo>
                  <a:lnTo>
                    <a:pt x="35" y="140"/>
                  </a:lnTo>
                  <a:lnTo>
                    <a:pt x="35" y="138"/>
                  </a:lnTo>
                  <a:lnTo>
                    <a:pt x="35" y="140"/>
                  </a:lnTo>
                  <a:close/>
                  <a:moveTo>
                    <a:pt x="94" y="137"/>
                  </a:moveTo>
                  <a:lnTo>
                    <a:pt x="93" y="137"/>
                  </a:lnTo>
                  <a:lnTo>
                    <a:pt x="93" y="136"/>
                  </a:lnTo>
                  <a:lnTo>
                    <a:pt x="94" y="137"/>
                  </a:lnTo>
                  <a:close/>
                  <a:moveTo>
                    <a:pt x="72" y="140"/>
                  </a:moveTo>
                  <a:lnTo>
                    <a:pt x="72" y="138"/>
                  </a:lnTo>
                  <a:lnTo>
                    <a:pt x="71" y="138"/>
                  </a:lnTo>
                  <a:lnTo>
                    <a:pt x="71" y="137"/>
                  </a:lnTo>
                  <a:lnTo>
                    <a:pt x="70" y="137"/>
                  </a:lnTo>
                  <a:lnTo>
                    <a:pt x="70" y="136"/>
                  </a:lnTo>
                  <a:lnTo>
                    <a:pt x="72" y="136"/>
                  </a:lnTo>
                  <a:lnTo>
                    <a:pt x="73" y="136"/>
                  </a:lnTo>
                  <a:lnTo>
                    <a:pt x="73" y="137"/>
                  </a:lnTo>
                  <a:lnTo>
                    <a:pt x="73" y="138"/>
                  </a:lnTo>
                  <a:lnTo>
                    <a:pt x="73" y="140"/>
                  </a:lnTo>
                  <a:lnTo>
                    <a:pt x="72" y="140"/>
                  </a:lnTo>
                  <a:close/>
                  <a:moveTo>
                    <a:pt x="104" y="135"/>
                  </a:moveTo>
                  <a:lnTo>
                    <a:pt x="105" y="135"/>
                  </a:lnTo>
                  <a:lnTo>
                    <a:pt x="106" y="135"/>
                  </a:lnTo>
                  <a:lnTo>
                    <a:pt x="107" y="135"/>
                  </a:lnTo>
                  <a:lnTo>
                    <a:pt x="108" y="135"/>
                  </a:lnTo>
                  <a:lnTo>
                    <a:pt x="109" y="136"/>
                  </a:lnTo>
                  <a:lnTo>
                    <a:pt x="109" y="137"/>
                  </a:lnTo>
                  <a:lnTo>
                    <a:pt x="111" y="137"/>
                  </a:lnTo>
                  <a:lnTo>
                    <a:pt x="109" y="138"/>
                  </a:lnTo>
                  <a:lnTo>
                    <a:pt x="111" y="138"/>
                  </a:lnTo>
                  <a:lnTo>
                    <a:pt x="109" y="138"/>
                  </a:lnTo>
                  <a:lnTo>
                    <a:pt x="109" y="140"/>
                  </a:lnTo>
                  <a:lnTo>
                    <a:pt x="111" y="138"/>
                  </a:lnTo>
                  <a:lnTo>
                    <a:pt x="111" y="140"/>
                  </a:lnTo>
                  <a:lnTo>
                    <a:pt x="111" y="138"/>
                  </a:lnTo>
                  <a:lnTo>
                    <a:pt x="111" y="140"/>
                  </a:lnTo>
                  <a:lnTo>
                    <a:pt x="112" y="140"/>
                  </a:lnTo>
                  <a:lnTo>
                    <a:pt x="113" y="140"/>
                  </a:lnTo>
                  <a:lnTo>
                    <a:pt x="113" y="141"/>
                  </a:lnTo>
                  <a:lnTo>
                    <a:pt x="113" y="142"/>
                  </a:lnTo>
                  <a:lnTo>
                    <a:pt x="112" y="142"/>
                  </a:lnTo>
                  <a:lnTo>
                    <a:pt x="113" y="142"/>
                  </a:lnTo>
                  <a:lnTo>
                    <a:pt x="113" y="143"/>
                  </a:lnTo>
                  <a:lnTo>
                    <a:pt x="113" y="144"/>
                  </a:lnTo>
                  <a:lnTo>
                    <a:pt x="113" y="145"/>
                  </a:lnTo>
                  <a:lnTo>
                    <a:pt x="113" y="147"/>
                  </a:lnTo>
                  <a:lnTo>
                    <a:pt x="113" y="148"/>
                  </a:lnTo>
                  <a:lnTo>
                    <a:pt x="113" y="147"/>
                  </a:lnTo>
                  <a:lnTo>
                    <a:pt x="113" y="148"/>
                  </a:lnTo>
                  <a:lnTo>
                    <a:pt x="114" y="149"/>
                  </a:lnTo>
                  <a:lnTo>
                    <a:pt x="113" y="149"/>
                  </a:lnTo>
                  <a:lnTo>
                    <a:pt x="113" y="150"/>
                  </a:lnTo>
                  <a:lnTo>
                    <a:pt x="114" y="150"/>
                  </a:lnTo>
                  <a:lnTo>
                    <a:pt x="114" y="151"/>
                  </a:lnTo>
                  <a:lnTo>
                    <a:pt x="114" y="152"/>
                  </a:lnTo>
                  <a:lnTo>
                    <a:pt x="115" y="152"/>
                  </a:lnTo>
                  <a:lnTo>
                    <a:pt x="115" y="154"/>
                  </a:lnTo>
                  <a:lnTo>
                    <a:pt x="116" y="154"/>
                  </a:lnTo>
                  <a:lnTo>
                    <a:pt x="116" y="155"/>
                  </a:lnTo>
                  <a:lnTo>
                    <a:pt x="115" y="155"/>
                  </a:lnTo>
                  <a:lnTo>
                    <a:pt x="115" y="156"/>
                  </a:lnTo>
                  <a:lnTo>
                    <a:pt x="116" y="157"/>
                  </a:lnTo>
                  <a:lnTo>
                    <a:pt x="116" y="156"/>
                  </a:lnTo>
                  <a:lnTo>
                    <a:pt x="118" y="156"/>
                  </a:lnTo>
                  <a:lnTo>
                    <a:pt x="118" y="157"/>
                  </a:lnTo>
                  <a:lnTo>
                    <a:pt x="118" y="158"/>
                  </a:lnTo>
                  <a:lnTo>
                    <a:pt x="119" y="158"/>
                  </a:lnTo>
                  <a:lnTo>
                    <a:pt x="119" y="159"/>
                  </a:lnTo>
                  <a:lnTo>
                    <a:pt x="118" y="159"/>
                  </a:lnTo>
                  <a:lnTo>
                    <a:pt x="118" y="158"/>
                  </a:lnTo>
                  <a:lnTo>
                    <a:pt x="118" y="157"/>
                  </a:lnTo>
                  <a:lnTo>
                    <a:pt x="116" y="157"/>
                  </a:lnTo>
                  <a:lnTo>
                    <a:pt x="116" y="158"/>
                  </a:lnTo>
                  <a:lnTo>
                    <a:pt x="116" y="157"/>
                  </a:lnTo>
                  <a:lnTo>
                    <a:pt x="115" y="157"/>
                  </a:lnTo>
                  <a:lnTo>
                    <a:pt x="115" y="158"/>
                  </a:lnTo>
                  <a:lnTo>
                    <a:pt x="114" y="158"/>
                  </a:lnTo>
                  <a:lnTo>
                    <a:pt x="114" y="157"/>
                  </a:lnTo>
                  <a:lnTo>
                    <a:pt x="114" y="158"/>
                  </a:lnTo>
                  <a:lnTo>
                    <a:pt x="113" y="158"/>
                  </a:lnTo>
                  <a:lnTo>
                    <a:pt x="113" y="157"/>
                  </a:lnTo>
                  <a:lnTo>
                    <a:pt x="112" y="157"/>
                  </a:lnTo>
                  <a:lnTo>
                    <a:pt x="112" y="158"/>
                  </a:lnTo>
                  <a:lnTo>
                    <a:pt x="111" y="158"/>
                  </a:lnTo>
                  <a:lnTo>
                    <a:pt x="111" y="157"/>
                  </a:lnTo>
                  <a:lnTo>
                    <a:pt x="111" y="156"/>
                  </a:lnTo>
                  <a:lnTo>
                    <a:pt x="109" y="156"/>
                  </a:lnTo>
                  <a:lnTo>
                    <a:pt x="109" y="155"/>
                  </a:lnTo>
                  <a:lnTo>
                    <a:pt x="108" y="155"/>
                  </a:lnTo>
                  <a:lnTo>
                    <a:pt x="107" y="155"/>
                  </a:lnTo>
                  <a:lnTo>
                    <a:pt x="107" y="154"/>
                  </a:lnTo>
                  <a:lnTo>
                    <a:pt x="107" y="152"/>
                  </a:lnTo>
                  <a:lnTo>
                    <a:pt x="106" y="152"/>
                  </a:lnTo>
                  <a:lnTo>
                    <a:pt x="106" y="151"/>
                  </a:lnTo>
                  <a:lnTo>
                    <a:pt x="106" y="152"/>
                  </a:lnTo>
                  <a:lnTo>
                    <a:pt x="105" y="152"/>
                  </a:lnTo>
                  <a:lnTo>
                    <a:pt x="105" y="151"/>
                  </a:lnTo>
                  <a:lnTo>
                    <a:pt x="106" y="151"/>
                  </a:lnTo>
                  <a:lnTo>
                    <a:pt x="106" y="150"/>
                  </a:lnTo>
                  <a:lnTo>
                    <a:pt x="107" y="150"/>
                  </a:lnTo>
                  <a:lnTo>
                    <a:pt x="107" y="149"/>
                  </a:lnTo>
                  <a:lnTo>
                    <a:pt x="107" y="148"/>
                  </a:lnTo>
                  <a:lnTo>
                    <a:pt x="106" y="148"/>
                  </a:lnTo>
                  <a:lnTo>
                    <a:pt x="105" y="148"/>
                  </a:lnTo>
                  <a:lnTo>
                    <a:pt x="104" y="147"/>
                  </a:lnTo>
                  <a:lnTo>
                    <a:pt x="104" y="145"/>
                  </a:lnTo>
                  <a:lnTo>
                    <a:pt x="102" y="145"/>
                  </a:lnTo>
                  <a:lnTo>
                    <a:pt x="104" y="145"/>
                  </a:lnTo>
                  <a:lnTo>
                    <a:pt x="102" y="145"/>
                  </a:lnTo>
                  <a:lnTo>
                    <a:pt x="102" y="144"/>
                  </a:lnTo>
                  <a:lnTo>
                    <a:pt x="102" y="145"/>
                  </a:lnTo>
                  <a:lnTo>
                    <a:pt x="102" y="144"/>
                  </a:lnTo>
                  <a:lnTo>
                    <a:pt x="101" y="143"/>
                  </a:lnTo>
                  <a:lnTo>
                    <a:pt x="100" y="143"/>
                  </a:lnTo>
                  <a:lnTo>
                    <a:pt x="99" y="142"/>
                  </a:lnTo>
                  <a:lnTo>
                    <a:pt x="98" y="141"/>
                  </a:lnTo>
                  <a:lnTo>
                    <a:pt x="97" y="137"/>
                  </a:lnTo>
                  <a:lnTo>
                    <a:pt x="95" y="135"/>
                  </a:lnTo>
                  <a:lnTo>
                    <a:pt x="97" y="135"/>
                  </a:lnTo>
                  <a:lnTo>
                    <a:pt x="98" y="135"/>
                  </a:lnTo>
                  <a:lnTo>
                    <a:pt x="99" y="135"/>
                  </a:lnTo>
                  <a:lnTo>
                    <a:pt x="100" y="135"/>
                  </a:lnTo>
                  <a:lnTo>
                    <a:pt x="101" y="136"/>
                  </a:lnTo>
                  <a:lnTo>
                    <a:pt x="104" y="135"/>
                  </a:lnTo>
                  <a:close/>
                  <a:moveTo>
                    <a:pt x="83" y="135"/>
                  </a:moveTo>
                  <a:lnTo>
                    <a:pt x="83" y="136"/>
                  </a:lnTo>
                  <a:lnTo>
                    <a:pt x="83" y="137"/>
                  </a:lnTo>
                  <a:lnTo>
                    <a:pt x="83" y="136"/>
                  </a:lnTo>
                  <a:lnTo>
                    <a:pt x="83" y="135"/>
                  </a:lnTo>
                  <a:lnTo>
                    <a:pt x="84" y="135"/>
                  </a:lnTo>
                  <a:lnTo>
                    <a:pt x="84" y="136"/>
                  </a:lnTo>
                  <a:lnTo>
                    <a:pt x="85" y="136"/>
                  </a:lnTo>
                  <a:lnTo>
                    <a:pt x="85" y="137"/>
                  </a:lnTo>
                  <a:lnTo>
                    <a:pt x="86" y="137"/>
                  </a:lnTo>
                  <a:lnTo>
                    <a:pt x="86" y="138"/>
                  </a:lnTo>
                  <a:lnTo>
                    <a:pt x="87" y="138"/>
                  </a:lnTo>
                  <a:lnTo>
                    <a:pt x="88" y="141"/>
                  </a:lnTo>
                  <a:lnTo>
                    <a:pt x="90" y="141"/>
                  </a:lnTo>
                  <a:lnTo>
                    <a:pt x="88" y="140"/>
                  </a:lnTo>
                  <a:lnTo>
                    <a:pt x="90" y="140"/>
                  </a:lnTo>
                  <a:lnTo>
                    <a:pt x="90" y="141"/>
                  </a:lnTo>
                  <a:lnTo>
                    <a:pt x="91" y="141"/>
                  </a:lnTo>
                  <a:lnTo>
                    <a:pt x="92" y="142"/>
                  </a:lnTo>
                  <a:lnTo>
                    <a:pt x="92" y="143"/>
                  </a:lnTo>
                  <a:lnTo>
                    <a:pt x="93" y="144"/>
                  </a:lnTo>
                  <a:lnTo>
                    <a:pt x="92" y="143"/>
                  </a:lnTo>
                  <a:lnTo>
                    <a:pt x="92" y="144"/>
                  </a:lnTo>
                  <a:lnTo>
                    <a:pt x="93" y="144"/>
                  </a:lnTo>
                  <a:lnTo>
                    <a:pt x="92" y="144"/>
                  </a:lnTo>
                  <a:lnTo>
                    <a:pt x="93" y="144"/>
                  </a:lnTo>
                  <a:lnTo>
                    <a:pt x="93" y="145"/>
                  </a:lnTo>
                  <a:lnTo>
                    <a:pt x="93" y="147"/>
                  </a:lnTo>
                  <a:lnTo>
                    <a:pt x="93" y="148"/>
                  </a:lnTo>
                  <a:lnTo>
                    <a:pt x="94" y="148"/>
                  </a:lnTo>
                  <a:lnTo>
                    <a:pt x="93" y="148"/>
                  </a:lnTo>
                  <a:lnTo>
                    <a:pt x="93" y="147"/>
                  </a:lnTo>
                  <a:lnTo>
                    <a:pt x="92" y="147"/>
                  </a:lnTo>
                  <a:lnTo>
                    <a:pt x="92" y="145"/>
                  </a:lnTo>
                  <a:lnTo>
                    <a:pt x="91" y="145"/>
                  </a:lnTo>
                  <a:lnTo>
                    <a:pt x="90" y="145"/>
                  </a:lnTo>
                  <a:lnTo>
                    <a:pt x="88" y="145"/>
                  </a:lnTo>
                  <a:lnTo>
                    <a:pt x="88" y="144"/>
                  </a:lnTo>
                  <a:lnTo>
                    <a:pt x="88" y="143"/>
                  </a:lnTo>
                  <a:lnTo>
                    <a:pt x="88" y="144"/>
                  </a:lnTo>
                  <a:lnTo>
                    <a:pt x="88" y="143"/>
                  </a:lnTo>
                  <a:lnTo>
                    <a:pt x="87" y="143"/>
                  </a:lnTo>
                  <a:lnTo>
                    <a:pt x="87" y="142"/>
                  </a:lnTo>
                  <a:lnTo>
                    <a:pt x="87" y="143"/>
                  </a:lnTo>
                  <a:lnTo>
                    <a:pt x="87" y="142"/>
                  </a:lnTo>
                  <a:lnTo>
                    <a:pt x="86" y="142"/>
                  </a:lnTo>
                  <a:lnTo>
                    <a:pt x="86" y="141"/>
                  </a:lnTo>
                  <a:lnTo>
                    <a:pt x="85" y="141"/>
                  </a:lnTo>
                  <a:lnTo>
                    <a:pt x="84" y="141"/>
                  </a:lnTo>
                  <a:lnTo>
                    <a:pt x="84" y="142"/>
                  </a:lnTo>
                  <a:lnTo>
                    <a:pt x="83" y="142"/>
                  </a:lnTo>
                  <a:lnTo>
                    <a:pt x="83" y="143"/>
                  </a:lnTo>
                  <a:lnTo>
                    <a:pt x="81" y="144"/>
                  </a:lnTo>
                  <a:lnTo>
                    <a:pt x="80" y="145"/>
                  </a:lnTo>
                  <a:lnTo>
                    <a:pt x="80" y="144"/>
                  </a:lnTo>
                  <a:lnTo>
                    <a:pt x="81" y="143"/>
                  </a:lnTo>
                  <a:lnTo>
                    <a:pt x="81" y="142"/>
                  </a:lnTo>
                  <a:lnTo>
                    <a:pt x="81" y="141"/>
                  </a:lnTo>
                  <a:lnTo>
                    <a:pt x="83" y="141"/>
                  </a:lnTo>
                  <a:lnTo>
                    <a:pt x="83" y="140"/>
                  </a:lnTo>
                  <a:lnTo>
                    <a:pt x="81" y="140"/>
                  </a:lnTo>
                  <a:lnTo>
                    <a:pt x="81" y="138"/>
                  </a:lnTo>
                  <a:lnTo>
                    <a:pt x="81" y="137"/>
                  </a:lnTo>
                  <a:lnTo>
                    <a:pt x="81" y="136"/>
                  </a:lnTo>
                  <a:lnTo>
                    <a:pt x="80" y="135"/>
                  </a:lnTo>
                  <a:lnTo>
                    <a:pt x="80" y="134"/>
                  </a:lnTo>
                  <a:lnTo>
                    <a:pt x="80" y="135"/>
                  </a:lnTo>
                  <a:lnTo>
                    <a:pt x="81" y="135"/>
                  </a:lnTo>
                  <a:lnTo>
                    <a:pt x="83" y="135"/>
                  </a:lnTo>
                  <a:close/>
                  <a:moveTo>
                    <a:pt x="68" y="136"/>
                  </a:moveTo>
                  <a:lnTo>
                    <a:pt x="68" y="135"/>
                  </a:lnTo>
                  <a:lnTo>
                    <a:pt x="68" y="134"/>
                  </a:lnTo>
                  <a:lnTo>
                    <a:pt x="68" y="135"/>
                  </a:lnTo>
                  <a:lnTo>
                    <a:pt x="68" y="136"/>
                  </a:lnTo>
                  <a:close/>
                  <a:moveTo>
                    <a:pt x="65" y="134"/>
                  </a:moveTo>
                  <a:lnTo>
                    <a:pt x="65" y="135"/>
                  </a:lnTo>
                  <a:lnTo>
                    <a:pt x="65" y="136"/>
                  </a:lnTo>
                  <a:lnTo>
                    <a:pt x="65" y="137"/>
                  </a:lnTo>
                  <a:lnTo>
                    <a:pt x="65" y="138"/>
                  </a:lnTo>
                  <a:lnTo>
                    <a:pt x="65" y="140"/>
                  </a:lnTo>
                  <a:lnTo>
                    <a:pt x="65" y="141"/>
                  </a:lnTo>
                  <a:lnTo>
                    <a:pt x="64" y="141"/>
                  </a:lnTo>
                  <a:lnTo>
                    <a:pt x="65" y="142"/>
                  </a:lnTo>
                  <a:lnTo>
                    <a:pt x="64" y="142"/>
                  </a:lnTo>
                  <a:lnTo>
                    <a:pt x="64" y="141"/>
                  </a:lnTo>
                  <a:lnTo>
                    <a:pt x="64" y="140"/>
                  </a:lnTo>
                  <a:lnTo>
                    <a:pt x="64" y="141"/>
                  </a:lnTo>
                  <a:lnTo>
                    <a:pt x="64" y="140"/>
                  </a:lnTo>
                  <a:lnTo>
                    <a:pt x="63" y="140"/>
                  </a:lnTo>
                  <a:lnTo>
                    <a:pt x="63" y="138"/>
                  </a:lnTo>
                  <a:lnTo>
                    <a:pt x="63" y="137"/>
                  </a:lnTo>
                  <a:lnTo>
                    <a:pt x="64" y="137"/>
                  </a:lnTo>
                  <a:lnTo>
                    <a:pt x="64" y="136"/>
                  </a:lnTo>
                  <a:lnTo>
                    <a:pt x="63" y="135"/>
                  </a:lnTo>
                  <a:lnTo>
                    <a:pt x="64" y="134"/>
                  </a:lnTo>
                  <a:lnTo>
                    <a:pt x="65" y="134"/>
                  </a:lnTo>
                  <a:lnTo>
                    <a:pt x="65" y="133"/>
                  </a:lnTo>
                  <a:lnTo>
                    <a:pt x="65" y="134"/>
                  </a:lnTo>
                  <a:close/>
                  <a:moveTo>
                    <a:pt x="86" y="134"/>
                  </a:moveTo>
                  <a:lnTo>
                    <a:pt x="87" y="134"/>
                  </a:lnTo>
                  <a:lnTo>
                    <a:pt x="87" y="135"/>
                  </a:lnTo>
                  <a:lnTo>
                    <a:pt x="88" y="135"/>
                  </a:lnTo>
                  <a:lnTo>
                    <a:pt x="88" y="136"/>
                  </a:lnTo>
                  <a:lnTo>
                    <a:pt x="88" y="137"/>
                  </a:lnTo>
                  <a:lnTo>
                    <a:pt x="88" y="138"/>
                  </a:lnTo>
                  <a:lnTo>
                    <a:pt x="88" y="137"/>
                  </a:lnTo>
                  <a:lnTo>
                    <a:pt x="87" y="137"/>
                  </a:lnTo>
                  <a:lnTo>
                    <a:pt x="85" y="134"/>
                  </a:lnTo>
                  <a:lnTo>
                    <a:pt x="86" y="134"/>
                  </a:lnTo>
                  <a:lnTo>
                    <a:pt x="86" y="133"/>
                  </a:lnTo>
                  <a:lnTo>
                    <a:pt x="86" y="134"/>
                  </a:lnTo>
                  <a:close/>
                  <a:moveTo>
                    <a:pt x="58" y="129"/>
                  </a:moveTo>
                  <a:lnTo>
                    <a:pt x="59" y="129"/>
                  </a:lnTo>
                  <a:lnTo>
                    <a:pt x="58" y="129"/>
                  </a:lnTo>
                  <a:close/>
                  <a:moveTo>
                    <a:pt x="79" y="129"/>
                  </a:moveTo>
                  <a:lnTo>
                    <a:pt x="80" y="129"/>
                  </a:lnTo>
                  <a:lnTo>
                    <a:pt x="80" y="130"/>
                  </a:lnTo>
                  <a:lnTo>
                    <a:pt x="81" y="130"/>
                  </a:lnTo>
                  <a:lnTo>
                    <a:pt x="83" y="133"/>
                  </a:lnTo>
                  <a:lnTo>
                    <a:pt x="81" y="133"/>
                  </a:lnTo>
                  <a:lnTo>
                    <a:pt x="80" y="131"/>
                  </a:lnTo>
                  <a:lnTo>
                    <a:pt x="80" y="130"/>
                  </a:lnTo>
                  <a:lnTo>
                    <a:pt x="79" y="130"/>
                  </a:lnTo>
                  <a:lnTo>
                    <a:pt x="78" y="129"/>
                  </a:lnTo>
                  <a:lnTo>
                    <a:pt x="78" y="128"/>
                  </a:lnTo>
                  <a:lnTo>
                    <a:pt x="77" y="128"/>
                  </a:lnTo>
                  <a:lnTo>
                    <a:pt x="76" y="128"/>
                  </a:lnTo>
                  <a:lnTo>
                    <a:pt x="76" y="127"/>
                  </a:lnTo>
                  <a:lnTo>
                    <a:pt x="76" y="126"/>
                  </a:lnTo>
                  <a:lnTo>
                    <a:pt x="77" y="126"/>
                  </a:lnTo>
                  <a:lnTo>
                    <a:pt x="77" y="127"/>
                  </a:lnTo>
                  <a:lnTo>
                    <a:pt x="78" y="127"/>
                  </a:lnTo>
                  <a:lnTo>
                    <a:pt x="78" y="128"/>
                  </a:lnTo>
                  <a:lnTo>
                    <a:pt x="79" y="128"/>
                  </a:lnTo>
                  <a:lnTo>
                    <a:pt x="79" y="129"/>
                  </a:lnTo>
                  <a:close/>
                  <a:moveTo>
                    <a:pt x="93" y="126"/>
                  </a:moveTo>
                  <a:lnTo>
                    <a:pt x="92" y="126"/>
                  </a:lnTo>
                  <a:lnTo>
                    <a:pt x="92" y="124"/>
                  </a:lnTo>
                  <a:lnTo>
                    <a:pt x="91" y="124"/>
                  </a:lnTo>
                  <a:lnTo>
                    <a:pt x="92" y="124"/>
                  </a:lnTo>
                  <a:lnTo>
                    <a:pt x="93" y="124"/>
                  </a:lnTo>
                  <a:lnTo>
                    <a:pt x="93" y="126"/>
                  </a:lnTo>
                  <a:close/>
                  <a:moveTo>
                    <a:pt x="90" y="123"/>
                  </a:moveTo>
                  <a:lnTo>
                    <a:pt x="91" y="123"/>
                  </a:lnTo>
                  <a:lnTo>
                    <a:pt x="91" y="124"/>
                  </a:lnTo>
                  <a:lnTo>
                    <a:pt x="90" y="124"/>
                  </a:lnTo>
                  <a:lnTo>
                    <a:pt x="88" y="123"/>
                  </a:lnTo>
                  <a:lnTo>
                    <a:pt x="90" y="123"/>
                  </a:lnTo>
                  <a:close/>
                  <a:moveTo>
                    <a:pt x="88" y="124"/>
                  </a:moveTo>
                  <a:lnTo>
                    <a:pt x="87" y="123"/>
                  </a:lnTo>
                  <a:lnTo>
                    <a:pt x="87" y="122"/>
                  </a:lnTo>
                  <a:lnTo>
                    <a:pt x="88" y="122"/>
                  </a:lnTo>
                  <a:lnTo>
                    <a:pt x="88" y="123"/>
                  </a:lnTo>
                  <a:lnTo>
                    <a:pt x="88" y="124"/>
                  </a:lnTo>
                  <a:close/>
                  <a:moveTo>
                    <a:pt x="87" y="122"/>
                  </a:moveTo>
                  <a:lnTo>
                    <a:pt x="86" y="122"/>
                  </a:lnTo>
                  <a:lnTo>
                    <a:pt x="86" y="121"/>
                  </a:lnTo>
                  <a:lnTo>
                    <a:pt x="86" y="122"/>
                  </a:lnTo>
                  <a:lnTo>
                    <a:pt x="87" y="122"/>
                  </a:lnTo>
                  <a:close/>
                  <a:moveTo>
                    <a:pt x="48" y="120"/>
                  </a:moveTo>
                  <a:lnTo>
                    <a:pt x="48" y="121"/>
                  </a:lnTo>
                  <a:lnTo>
                    <a:pt x="49" y="121"/>
                  </a:lnTo>
                  <a:lnTo>
                    <a:pt x="50" y="121"/>
                  </a:lnTo>
                  <a:lnTo>
                    <a:pt x="50" y="122"/>
                  </a:lnTo>
                  <a:lnTo>
                    <a:pt x="50" y="121"/>
                  </a:lnTo>
                  <a:lnTo>
                    <a:pt x="51" y="121"/>
                  </a:lnTo>
                  <a:lnTo>
                    <a:pt x="52" y="123"/>
                  </a:lnTo>
                  <a:lnTo>
                    <a:pt x="54" y="124"/>
                  </a:lnTo>
                  <a:lnTo>
                    <a:pt x="55" y="124"/>
                  </a:lnTo>
                  <a:lnTo>
                    <a:pt x="55" y="126"/>
                  </a:lnTo>
                  <a:lnTo>
                    <a:pt x="56" y="126"/>
                  </a:lnTo>
                  <a:lnTo>
                    <a:pt x="56" y="127"/>
                  </a:lnTo>
                  <a:lnTo>
                    <a:pt x="56" y="128"/>
                  </a:lnTo>
                  <a:lnTo>
                    <a:pt x="56" y="129"/>
                  </a:lnTo>
                  <a:lnTo>
                    <a:pt x="56" y="130"/>
                  </a:lnTo>
                  <a:lnTo>
                    <a:pt x="56" y="131"/>
                  </a:lnTo>
                  <a:lnTo>
                    <a:pt x="57" y="133"/>
                  </a:lnTo>
                  <a:lnTo>
                    <a:pt x="57" y="134"/>
                  </a:lnTo>
                  <a:lnTo>
                    <a:pt x="57" y="135"/>
                  </a:lnTo>
                  <a:lnTo>
                    <a:pt x="56" y="135"/>
                  </a:lnTo>
                  <a:lnTo>
                    <a:pt x="56" y="136"/>
                  </a:lnTo>
                  <a:lnTo>
                    <a:pt x="56" y="137"/>
                  </a:lnTo>
                  <a:lnTo>
                    <a:pt x="56" y="138"/>
                  </a:lnTo>
                  <a:lnTo>
                    <a:pt x="56" y="140"/>
                  </a:lnTo>
                  <a:lnTo>
                    <a:pt x="55" y="138"/>
                  </a:lnTo>
                  <a:lnTo>
                    <a:pt x="55" y="140"/>
                  </a:lnTo>
                  <a:lnTo>
                    <a:pt x="54" y="140"/>
                  </a:lnTo>
                  <a:lnTo>
                    <a:pt x="54" y="141"/>
                  </a:lnTo>
                  <a:lnTo>
                    <a:pt x="54" y="140"/>
                  </a:lnTo>
                  <a:lnTo>
                    <a:pt x="52" y="140"/>
                  </a:lnTo>
                  <a:lnTo>
                    <a:pt x="51" y="140"/>
                  </a:lnTo>
                  <a:lnTo>
                    <a:pt x="51" y="138"/>
                  </a:lnTo>
                  <a:lnTo>
                    <a:pt x="52" y="138"/>
                  </a:lnTo>
                  <a:lnTo>
                    <a:pt x="51" y="138"/>
                  </a:lnTo>
                  <a:lnTo>
                    <a:pt x="50" y="138"/>
                  </a:lnTo>
                  <a:lnTo>
                    <a:pt x="50" y="137"/>
                  </a:lnTo>
                  <a:lnTo>
                    <a:pt x="49" y="136"/>
                  </a:lnTo>
                  <a:lnTo>
                    <a:pt x="49" y="135"/>
                  </a:lnTo>
                  <a:lnTo>
                    <a:pt x="49" y="134"/>
                  </a:lnTo>
                  <a:lnTo>
                    <a:pt x="48" y="134"/>
                  </a:lnTo>
                  <a:lnTo>
                    <a:pt x="48" y="133"/>
                  </a:lnTo>
                  <a:lnTo>
                    <a:pt x="47" y="133"/>
                  </a:lnTo>
                  <a:lnTo>
                    <a:pt x="47" y="131"/>
                  </a:lnTo>
                  <a:lnTo>
                    <a:pt x="45" y="130"/>
                  </a:lnTo>
                  <a:lnTo>
                    <a:pt x="47" y="130"/>
                  </a:lnTo>
                  <a:lnTo>
                    <a:pt x="45" y="129"/>
                  </a:lnTo>
                  <a:lnTo>
                    <a:pt x="45" y="128"/>
                  </a:lnTo>
                  <a:lnTo>
                    <a:pt x="44" y="127"/>
                  </a:lnTo>
                  <a:lnTo>
                    <a:pt x="44" y="126"/>
                  </a:lnTo>
                  <a:lnTo>
                    <a:pt x="43" y="124"/>
                  </a:lnTo>
                  <a:lnTo>
                    <a:pt x="42" y="124"/>
                  </a:lnTo>
                  <a:lnTo>
                    <a:pt x="42" y="123"/>
                  </a:lnTo>
                  <a:lnTo>
                    <a:pt x="41" y="123"/>
                  </a:lnTo>
                  <a:lnTo>
                    <a:pt x="41" y="122"/>
                  </a:lnTo>
                  <a:lnTo>
                    <a:pt x="41" y="121"/>
                  </a:lnTo>
                  <a:lnTo>
                    <a:pt x="40" y="121"/>
                  </a:lnTo>
                  <a:lnTo>
                    <a:pt x="40" y="122"/>
                  </a:lnTo>
                  <a:lnTo>
                    <a:pt x="38" y="122"/>
                  </a:lnTo>
                  <a:lnTo>
                    <a:pt x="38" y="121"/>
                  </a:lnTo>
                  <a:lnTo>
                    <a:pt x="38" y="120"/>
                  </a:lnTo>
                  <a:lnTo>
                    <a:pt x="40" y="120"/>
                  </a:lnTo>
                  <a:lnTo>
                    <a:pt x="41" y="120"/>
                  </a:lnTo>
                  <a:lnTo>
                    <a:pt x="42" y="120"/>
                  </a:lnTo>
                  <a:lnTo>
                    <a:pt x="43" y="120"/>
                  </a:lnTo>
                  <a:lnTo>
                    <a:pt x="44" y="120"/>
                  </a:lnTo>
                  <a:lnTo>
                    <a:pt x="44" y="121"/>
                  </a:lnTo>
                  <a:lnTo>
                    <a:pt x="45" y="120"/>
                  </a:lnTo>
                  <a:lnTo>
                    <a:pt x="47" y="120"/>
                  </a:lnTo>
                  <a:lnTo>
                    <a:pt x="48" y="120"/>
                  </a:lnTo>
                  <a:close/>
                  <a:moveTo>
                    <a:pt x="61" y="119"/>
                  </a:moveTo>
                  <a:lnTo>
                    <a:pt x="61" y="120"/>
                  </a:lnTo>
                  <a:lnTo>
                    <a:pt x="62" y="120"/>
                  </a:lnTo>
                  <a:lnTo>
                    <a:pt x="62" y="119"/>
                  </a:lnTo>
                  <a:lnTo>
                    <a:pt x="62" y="120"/>
                  </a:lnTo>
                  <a:lnTo>
                    <a:pt x="63" y="120"/>
                  </a:lnTo>
                  <a:lnTo>
                    <a:pt x="63" y="121"/>
                  </a:lnTo>
                  <a:lnTo>
                    <a:pt x="63" y="120"/>
                  </a:lnTo>
                  <a:lnTo>
                    <a:pt x="63" y="121"/>
                  </a:lnTo>
                  <a:lnTo>
                    <a:pt x="64" y="121"/>
                  </a:lnTo>
                  <a:lnTo>
                    <a:pt x="63" y="121"/>
                  </a:lnTo>
                  <a:lnTo>
                    <a:pt x="64" y="122"/>
                  </a:lnTo>
                  <a:lnTo>
                    <a:pt x="63" y="123"/>
                  </a:lnTo>
                  <a:lnTo>
                    <a:pt x="63" y="124"/>
                  </a:lnTo>
                  <a:lnTo>
                    <a:pt x="62" y="124"/>
                  </a:lnTo>
                  <a:lnTo>
                    <a:pt x="61" y="123"/>
                  </a:lnTo>
                  <a:lnTo>
                    <a:pt x="59" y="122"/>
                  </a:lnTo>
                  <a:lnTo>
                    <a:pt x="59" y="121"/>
                  </a:lnTo>
                  <a:lnTo>
                    <a:pt x="59" y="120"/>
                  </a:lnTo>
                  <a:lnTo>
                    <a:pt x="59" y="119"/>
                  </a:lnTo>
                  <a:lnTo>
                    <a:pt x="61" y="119"/>
                  </a:lnTo>
                  <a:close/>
                  <a:moveTo>
                    <a:pt x="49" y="119"/>
                  </a:moveTo>
                  <a:lnTo>
                    <a:pt x="49" y="120"/>
                  </a:lnTo>
                  <a:lnTo>
                    <a:pt x="49" y="119"/>
                  </a:lnTo>
                  <a:close/>
                  <a:moveTo>
                    <a:pt x="36" y="115"/>
                  </a:moveTo>
                  <a:lnTo>
                    <a:pt x="37" y="115"/>
                  </a:lnTo>
                  <a:lnTo>
                    <a:pt x="37" y="116"/>
                  </a:lnTo>
                  <a:lnTo>
                    <a:pt x="37" y="117"/>
                  </a:lnTo>
                  <a:lnTo>
                    <a:pt x="37" y="116"/>
                  </a:lnTo>
                  <a:lnTo>
                    <a:pt x="36" y="116"/>
                  </a:lnTo>
                  <a:lnTo>
                    <a:pt x="35" y="115"/>
                  </a:lnTo>
                  <a:lnTo>
                    <a:pt x="35" y="114"/>
                  </a:lnTo>
                  <a:lnTo>
                    <a:pt x="36" y="115"/>
                  </a:lnTo>
                  <a:close/>
                  <a:moveTo>
                    <a:pt x="92" y="110"/>
                  </a:moveTo>
                  <a:lnTo>
                    <a:pt x="92" y="112"/>
                  </a:lnTo>
                  <a:lnTo>
                    <a:pt x="92" y="113"/>
                  </a:lnTo>
                  <a:lnTo>
                    <a:pt x="93" y="113"/>
                  </a:lnTo>
                  <a:lnTo>
                    <a:pt x="93" y="114"/>
                  </a:lnTo>
                  <a:lnTo>
                    <a:pt x="93" y="113"/>
                  </a:lnTo>
                  <a:lnTo>
                    <a:pt x="94" y="114"/>
                  </a:lnTo>
                  <a:lnTo>
                    <a:pt x="94" y="115"/>
                  </a:lnTo>
                  <a:lnTo>
                    <a:pt x="94" y="116"/>
                  </a:lnTo>
                  <a:lnTo>
                    <a:pt x="94" y="117"/>
                  </a:lnTo>
                  <a:lnTo>
                    <a:pt x="94" y="119"/>
                  </a:lnTo>
                  <a:lnTo>
                    <a:pt x="93" y="119"/>
                  </a:lnTo>
                  <a:lnTo>
                    <a:pt x="92" y="119"/>
                  </a:lnTo>
                  <a:lnTo>
                    <a:pt x="92" y="120"/>
                  </a:lnTo>
                  <a:lnTo>
                    <a:pt x="91" y="119"/>
                  </a:lnTo>
                  <a:lnTo>
                    <a:pt x="90" y="119"/>
                  </a:lnTo>
                  <a:lnTo>
                    <a:pt x="90" y="117"/>
                  </a:lnTo>
                  <a:lnTo>
                    <a:pt x="90" y="116"/>
                  </a:lnTo>
                  <a:lnTo>
                    <a:pt x="91" y="116"/>
                  </a:lnTo>
                  <a:lnTo>
                    <a:pt x="91" y="115"/>
                  </a:lnTo>
                  <a:lnTo>
                    <a:pt x="91" y="114"/>
                  </a:lnTo>
                  <a:lnTo>
                    <a:pt x="91" y="113"/>
                  </a:lnTo>
                  <a:lnTo>
                    <a:pt x="90" y="113"/>
                  </a:lnTo>
                  <a:lnTo>
                    <a:pt x="90" y="112"/>
                  </a:lnTo>
                  <a:lnTo>
                    <a:pt x="91" y="112"/>
                  </a:lnTo>
                  <a:lnTo>
                    <a:pt x="90" y="112"/>
                  </a:lnTo>
                  <a:lnTo>
                    <a:pt x="90" y="110"/>
                  </a:lnTo>
                  <a:lnTo>
                    <a:pt x="91" y="112"/>
                  </a:lnTo>
                  <a:lnTo>
                    <a:pt x="91" y="110"/>
                  </a:lnTo>
                  <a:lnTo>
                    <a:pt x="92" y="110"/>
                  </a:lnTo>
                  <a:close/>
                  <a:moveTo>
                    <a:pt x="63" y="112"/>
                  </a:moveTo>
                  <a:lnTo>
                    <a:pt x="62" y="112"/>
                  </a:lnTo>
                  <a:lnTo>
                    <a:pt x="61" y="110"/>
                  </a:lnTo>
                  <a:lnTo>
                    <a:pt x="61" y="109"/>
                  </a:lnTo>
                  <a:lnTo>
                    <a:pt x="59" y="109"/>
                  </a:lnTo>
                  <a:lnTo>
                    <a:pt x="59" y="108"/>
                  </a:lnTo>
                  <a:lnTo>
                    <a:pt x="61" y="109"/>
                  </a:lnTo>
                  <a:lnTo>
                    <a:pt x="62" y="110"/>
                  </a:lnTo>
                  <a:lnTo>
                    <a:pt x="63" y="110"/>
                  </a:lnTo>
                  <a:lnTo>
                    <a:pt x="63" y="112"/>
                  </a:lnTo>
                  <a:close/>
                  <a:moveTo>
                    <a:pt x="64" y="101"/>
                  </a:moveTo>
                  <a:lnTo>
                    <a:pt x="65" y="100"/>
                  </a:lnTo>
                  <a:lnTo>
                    <a:pt x="65" y="101"/>
                  </a:lnTo>
                  <a:lnTo>
                    <a:pt x="64" y="101"/>
                  </a:lnTo>
                  <a:close/>
                  <a:moveTo>
                    <a:pt x="61" y="99"/>
                  </a:moveTo>
                  <a:lnTo>
                    <a:pt x="62" y="99"/>
                  </a:lnTo>
                  <a:lnTo>
                    <a:pt x="62" y="100"/>
                  </a:lnTo>
                  <a:lnTo>
                    <a:pt x="63" y="100"/>
                  </a:lnTo>
                  <a:lnTo>
                    <a:pt x="62" y="100"/>
                  </a:lnTo>
                  <a:lnTo>
                    <a:pt x="61" y="100"/>
                  </a:lnTo>
                  <a:lnTo>
                    <a:pt x="61" y="99"/>
                  </a:lnTo>
                  <a:close/>
                  <a:moveTo>
                    <a:pt x="58" y="95"/>
                  </a:moveTo>
                  <a:lnTo>
                    <a:pt x="58" y="96"/>
                  </a:lnTo>
                  <a:lnTo>
                    <a:pt x="59" y="96"/>
                  </a:lnTo>
                  <a:lnTo>
                    <a:pt x="58" y="96"/>
                  </a:lnTo>
                  <a:lnTo>
                    <a:pt x="59" y="98"/>
                  </a:lnTo>
                  <a:lnTo>
                    <a:pt x="58" y="98"/>
                  </a:lnTo>
                  <a:lnTo>
                    <a:pt x="58" y="99"/>
                  </a:lnTo>
                  <a:lnTo>
                    <a:pt x="59" y="99"/>
                  </a:lnTo>
                  <a:lnTo>
                    <a:pt x="59" y="100"/>
                  </a:lnTo>
                  <a:lnTo>
                    <a:pt x="59" y="101"/>
                  </a:lnTo>
                  <a:lnTo>
                    <a:pt x="59" y="102"/>
                  </a:lnTo>
                  <a:lnTo>
                    <a:pt x="58" y="102"/>
                  </a:lnTo>
                  <a:lnTo>
                    <a:pt x="58" y="101"/>
                  </a:lnTo>
                  <a:lnTo>
                    <a:pt x="58" y="100"/>
                  </a:lnTo>
                  <a:lnTo>
                    <a:pt x="58" y="99"/>
                  </a:lnTo>
                  <a:lnTo>
                    <a:pt x="57" y="99"/>
                  </a:lnTo>
                  <a:lnTo>
                    <a:pt x="57" y="98"/>
                  </a:lnTo>
                  <a:lnTo>
                    <a:pt x="56" y="98"/>
                  </a:lnTo>
                  <a:lnTo>
                    <a:pt x="56" y="96"/>
                  </a:lnTo>
                  <a:lnTo>
                    <a:pt x="56" y="95"/>
                  </a:lnTo>
                  <a:lnTo>
                    <a:pt x="57" y="95"/>
                  </a:lnTo>
                  <a:lnTo>
                    <a:pt x="57" y="96"/>
                  </a:lnTo>
                  <a:lnTo>
                    <a:pt x="57" y="95"/>
                  </a:lnTo>
                  <a:lnTo>
                    <a:pt x="58" y="95"/>
                  </a:lnTo>
                  <a:close/>
                  <a:moveTo>
                    <a:pt x="28" y="77"/>
                  </a:moveTo>
                  <a:lnTo>
                    <a:pt x="27" y="75"/>
                  </a:lnTo>
                  <a:lnTo>
                    <a:pt x="28" y="75"/>
                  </a:lnTo>
                  <a:lnTo>
                    <a:pt x="28" y="77"/>
                  </a:lnTo>
                  <a:close/>
                  <a:moveTo>
                    <a:pt x="35" y="39"/>
                  </a:moveTo>
                  <a:lnTo>
                    <a:pt x="36" y="39"/>
                  </a:lnTo>
                  <a:lnTo>
                    <a:pt x="37" y="39"/>
                  </a:lnTo>
                  <a:lnTo>
                    <a:pt x="37" y="38"/>
                  </a:lnTo>
                  <a:lnTo>
                    <a:pt x="37" y="39"/>
                  </a:lnTo>
                  <a:lnTo>
                    <a:pt x="38" y="39"/>
                  </a:lnTo>
                  <a:lnTo>
                    <a:pt x="40" y="39"/>
                  </a:lnTo>
                  <a:lnTo>
                    <a:pt x="40" y="40"/>
                  </a:lnTo>
                  <a:lnTo>
                    <a:pt x="41" y="40"/>
                  </a:lnTo>
                  <a:lnTo>
                    <a:pt x="42" y="42"/>
                  </a:lnTo>
                  <a:lnTo>
                    <a:pt x="43" y="42"/>
                  </a:lnTo>
                  <a:lnTo>
                    <a:pt x="44" y="43"/>
                  </a:lnTo>
                  <a:lnTo>
                    <a:pt x="45" y="43"/>
                  </a:lnTo>
                  <a:lnTo>
                    <a:pt x="45" y="44"/>
                  </a:lnTo>
                  <a:lnTo>
                    <a:pt x="45" y="43"/>
                  </a:lnTo>
                  <a:lnTo>
                    <a:pt x="49" y="44"/>
                  </a:lnTo>
                  <a:lnTo>
                    <a:pt x="50" y="44"/>
                  </a:lnTo>
                  <a:lnTo>
                    <a:pt x="51" y="44"/>
                  </a:lnTo>
                  <a:lnTo>
                    <a:pt x="51" y="43"/>
                  </a:lnTo>
                  <a:lnTo>
                    <a:pt x="51" y="42"/>
                  </a:lnTo>
                  <a:lnTo>
                    <a:pt x="51" y="40"/>
                  </a:lnTo>
                  <a:lnTo>
                    <a:pt x="52" y="40"/>
                  </a:lnTo>
                  <a:lnTo>
                    <a:pt x="54" y="40"/>
                  </a:lnTo>
                  <a:lnTo>
                    <a:pt x="54" y="42"/>
                  </a:lnTo>
                  <a:lnTo>
                    <a:pt x="54" y="43"/>
                  </a:lnTo>
                  <a:lnTo>
                    <a:pt x="55" y="43"/>
                  </a:lnTo>
                  <a:lnTo>
                    <a:pt x="55" y="44"/>
                  </a:lnTo>
                  <a:lnTo>
                    <a:pt x="55" y="45"/>
                  </a:lnTo>
                  <a:lnTo>
                    <a:pt x="55" y="46"/>
                  </a:lnTo>
                  <a:lnTo>
                    <a:pt x="54" y="46"/>
                  </a:lnTo>
                  <a:lnTo>
                    <a:pt x="54" y="47"/>
                  </a:lnTo>
                  <a:lnTo>
                    <a:pt x="54" y="49"/>
                  </a:lnTo>
                  <a:lnTo>
                    <a:pt x="54" y="52"/>
                  </a:lnTo>
                  <a:lnTo>
                    <a:pt x="54" y="53"/>
                  </a:lnTo>
                  <a:lnTo>
                    <a:pt x="55" y="54"/>
                  </a:lnTo>
                  <a:lnTo>
                    <a:pt x="55" y="56"/>
                  </a:lnTo>
                  <a:lnTo>
                    <a:pt x="55" y="57"/>
                  </a:lnTo>
                  <a:lnTo>
                    <a:pt x="56" y="57"/>
                  </a:lnTo>
                  <a:lnTo>
                    <a:pt x="56" y="58"/>
                  </a:lnTo>
                  <a:lnTo>
                    <a:pt x="56" y="59"/>
                  </a:lnTo>
                  <a:lnTo>
                    <a:pt x="57" y="59"/>
                  </a:lnTo>
                  <a:lnTo>
                    <a:pt x="58" y="59"/>
                  </a:lnTo>
                  <a:lnTo>
                    <a:pt x="58" y="60"/>
                  </a:lnTo>
                  <a:lnTo>
                    <a:pt x="58" y="59"/>
                  </a:lnTo>
                  <a:lnTo>
                    <a:pt x="59" y="60"/>
                  </a:lnTo>
                  <a:lnTo>
                    <a:pt x="58" y="60"/>
                  </a:lnTo>
                  <a:lnTo>
                    <a:pt x="59" y="60"/>
                  </a:lnTo>
                  <a:lnTo>
                    <a:pt x="59" y="61"/>
                  </a:lnTo>
                  <a:lnTo>
                    <a:pt x="59" y="63"/>
                  </a:lnTo>
                  <a:lnTo>
                    <a:pt x="61" y="63"/>
                  </a:lnTo>
                  <a:lnTo>
                    <a:pt x="61" y="64"/>
                  </a:lnTo>
                  <a:lnTo>
                    <a:pt x="61" y="65"/>
                  </a:lnTo>
                  <a:lnTo>
                    <a:pt x="61" y="66"/>
                  </a:lnTo>
                  <a:lnTo>
                    <a:pt x="61" y="67"/>
                  </a:lnTo>
                  <a:lnTo>
                    <a:pt x="59" y="70"/>
                  </a:lnTo>
                  <a:lnTo>
                    <a:pt x="59" y="71"/>
                  </a:lnTo>
                  <a:lnTo>
                    <a:pt x="59" y="72"/>
                  </a:lnTo>
                  <a:lnTo>
                    <a:pt x="58" y="72"/>
                  </a:lnTo>
                  <a:lnTo>
                    <a:pt x="58" y="73"/>
                  </a:lnTo>
                  <a:lnTo>
                    <a:pt x="58" y="74"/>
                  </a:lnTo>
                  <a:lnTo>
                    <a:pt x="58" y="75"/>
                  </a:lnTo>
                  <a:lnTo>
                    <a:pt x="58" y="77"/>
                  </a:lnTo>
                  <a:lnTo>
                    <a:pt x="58" y="78"/>
                  </a:lnTo>
                  <a:lnTo>
                    <a:pt x="57" y="78"/>
                  </a:lnTo>
                  <a:lnTo>
                    <a:pt x="57" y="79"/>
                  </a:lnTo>
                  <a:lnTo>
                    <a:pt x="56" y="80"/>
                  </a:lnTo>
                  <a:lnTo>
                    <a:pt x="56" y="79"/>
                  </a:lnTo>
                  <a:lnTo>
                    <a:pt x="57" y="79"/>
                  </a:lnTo>
                  <a:lnTo>
                    <a:pt x="57" y="78"/>
                  </a:lnTo>
                  <a:lnTo>
                    <a:pt x="57" y="77"/>
                  </a:lnTo>
                  <a:lnTo>
                    <a:pt x="58" y="77"/>
                  </a:lnTo>
                  <a:lnTo>
                    <a:pt x="57" y="77"/>
                  </a:lnTo>
                  <a:lnTo>
                    <a:pt x="57" y="78"/>
                  </a:lnTo>
                  <a:lnTo>
                    <a:pt x="56" y="78"/>
                  </a:lnTo>
                  <a:lnTo>
                    <a:pt x="55" y="78"/>
                  </a:lnTo>
                  <a:lnTo>
                    <a:pt x="55" y="79"/>
                  </a:lnTo>
                  <a:lnTo>
                    <a:pt x="54" y="79"/>
                  </a:lnTo>
                  <a:lnTo>
                    <a:pt x="52" y="79"/>
                  </a:lnTo>
                  <a:lnTo>
                    <a:pt x="52" y="80"/>
                  </a:lnTo>
                  <a:lnTo>
                    <a:pt x="51" y="81"/>
                  </a:lnTo>
                  <a:lnTo>
                    <a:pt x="50" y="81"/>
                  </a:lnTo>
                  <a:lnTo>
                    <a:pt x="50" y="82"/>
                  </a:lnTo>
                  <a:lnTo>
                    <a:pt x="50" y="84"/>
                  </a:lnTo>
                  <a:lnTo>
                    <a:pt x="51" y="84"/>
                  </a:lnTo>
                  <a:lnTo>
                    <a:pt x="51" y="85"/>
                  </a:lnTo>
                  <a:lnTo>
                    <a:pt x="52" y="85"/>
                  </a:lnTo>
                  <a:lnTo>
                    <a:pt x="51" y="86"/>
                  </a:lnTo>
                  <a:lnTo>
                    <a:pt x="52" y="86"/>
                  </a:lnTo>
                  <a:lnTo>
                    <a:pt x="51" y="86"/>
                  </a:lnTo>
                  <a:lnTo>
                    <a:pt x="51" y="87"/>
                  </a:lnTo>
                  <a:lnTo>
                    <a:pt x="50" y="88"/>
                  </a:lnTo>
                  <a:lnTo>
                    <a:pt x="50" y="89"/>
                  </a:lnTo>
                  <a:lnTo>
                    <a:pt x="50" y="91"/>
                  </a:lnTo>
                  <a:lnTo>
                    <a:pt x="49" y="91"/>
                  </a:lnTo>
                  <a:lnTo>
                    <a:pt x="49" y="92"/>
                  </a:lnTo>
                  <a:lnTo>
                    <a:pt x="50" y="92"/>
                  </a:lnTo>
                  <a:lnTo>
                    <a:pt x="50" y="93"/>
                  </a:lnTo>
                  <a:lnTo>
                    <a:pt x="51" y="93"/>
                  </a:lnTo>
                  <a:lnTo>
                    <a:pt x="51" y="94"/>
                  </a:lnTo>
                  <a:lnTo>
                    <a:pt x="51" y="95"/>
                  </a:lnTo>
                  <a:lnTo>
                    <a:pt x="52" y="95"/>
                  </a:lnTo>
                  <a:lnTo>
                    <a:pt x="52" y="96"/>
                  </a:lnTo>
                  <a:lnTo>
                    <a:pt x="52" y="98"/>
                  </a:lnTo>
                  <a:lnTo>
                    <a:pt x="54" y="98"/>
                  </a:lnTo>
                  <a:lnTo>
                    <a:pt x="54" y="99"/>
                  </a:lnTo>
                  <a:lnTo>
                    <a:pt x="54" y="100"/>
                  </a:lnTo>
                  <a:lnTo>
                    <a:pt x="55" y="100"/>
                  </a:lnTo>
                  <a:lnTo>
                    <a:pt x="56" y="100"/>
                  </a:lnTo>
                  <a:lnTo>
                    <a:pt x="56" y="101"/>
                  </a:lnTo>
                  <a:lnTo>
                    <a:pt x="55" y="101"/>
                  </a:lnTo>
                  <a:lnTo>
                    <a:pt x="54" y="101"/>
                  </a:lnTo>
                  <a:lnTo>
                    <a:pt x="54" y="102"/>
                  </a:lnTo>
                  <a:lnTo>
                    <a:pt x="55" y="105"/>
                  </a:lnTo>
                  <a:lnTo>
                    <a:pt x="55" y="106"/>
                  </a:lnTo>
                  <a:lnTo>
                    <a:pt x="56" y="106"/>
                  </a:lnTo>
                  <a:lnTo>
                    <a:pt x="56" y="107"/>
                  </a:lnTo>
                  <a:lnTo>
                    <a:pt x="57" y="108"/>
                  </a:lnTo>
                  <a:lnTo>
                    <a:pt x="57" y="109"/>
                  </a:lnTo>
                  <a:lnTo>
                    <a:pt x="57" y="110"/>
                  </a:lnTo>
                  <a:lnTo>
                    <a:pt x="58" y="110"/>
                  </a:lnTo>
                  <a:lnTo>
                    <a:pt x="59" y="112"/>
                  </a:lnTo>
                  <a:lnTo>
                    <a:pt x="62" y="113"/>
                  </a:lnTo>
                  <a:lnTo>
                    <a:pt x="64" y="114"/>
                  </a:lnTo>
                  <a:lnTo>
                    <a:pt x="64" y="113"/>
                  </a:lnTo>
                  <a:lnTo>
                    <a:pt x="63" y="113"/>
                  </a:lnTo>
                  <a:lnTo>
                    <a:pt x="64" y="112"/>
                  </a:lnTo>
                  <a:lnTo>
                    <a:pt x="65" y="113"/>
                  </a:lnTo>
                  <a:lnTo>
                    <a:pt x="65" y="112"/>
                  </a:lnTo>
                  <a:lnTo>
                    <a:pt x="64" y="110"/>
                  </a:lnTo>
                  <a:lnTo>
                    <a:pt x="63" y="110"/>
                  </a:lnTo>
                  <a:lnTo>
                    <a:pt x="63" y="109"/>
                  </a:lnTo>
                  <a:lnTo>
                    <a:pt x="64" y="109"/>
                  </a:lnTo>
                  <a:lnTo>
                    <a:pt x="64" y="108"/>
                  </a:lnTo>
                  <a:lnTo>
                    <a:pt x="64" y="109"/>
                  </a:lnTo>
                  <a:lnTo>
                    <a:pt x="64" y="110"/>
                  </a:lnTo>
                  <a:lnTo>
                    <a:pt x="64" y="109"/>
                  </a:lnTo>
                  <a:lnTo>
                    <a:pt x="65" y="110"/>
                  </a:lnTo>
                  <a:lnTo>
                    <a:pt x="65" y="109"/>
                  </a:lnTo>
                  <a:lnTo>
                    <a:pt x="65" y="108"/>
                  </a:lnTo>
                  <a:lnTo>
                    <a:pt x="65" y="107"/>
                  </a:lnTo>
                  <a:lnTo>
                    <a:pt x="66" y="107"/>
                  </a:lnTo>
                  <a:lnTo>
                    <a:pt x="68" y="107"/>
                  </a:lnTo>
                  <a:lnTo>
                    <a:pt x="69" y="107"/>
                  </a:lnTo>
                  <a:lnTo>
                    <a:pt x="69" y="108"/>
                  </a:lnTo>
                  <a:lnTo>
                    <a:pt x="69" y="107"/>
                  </a:lnTo>
                  <a:lnTo>
                    <a:pt x="70" y="107"/>
                  </a:lnTo>
                  <a:lnTo>
                    <a:pt x="71" y="107"/>
                  </a:lnTo>
                  <a:lnTo>
                    <a:pt x="71" y="108"/>
                  </a:lnTo>
                  <a:lnTo>
                    <a:pt x="72" y="108"/>
                  </a:lnTo>
                  <a:lnTo>
                    <a:pt x="73" y="108"/>
                  </a:lnTo>
                  <a:lnTo>
                    <a:pt x="73" y="109"/>
                  </a:lnTo>
                  <a:lnTo>
                    <a:pt x="75" y="110"/>
                  </a:lnTo>
                  <a:lnTo>
                    <a:pt x="75" y="112"/>
                  </a:lnTo>
                  <a:lnTo>
                    <a:pt x="76" y="112"/>
                  </a:lnTo>
                  <a:lnTo>
                    <a:pt x="76" y="113"/>
                  </a:lnTo>
                  <a:lnTo>
                    <a:pt x="76" y="114"/>
                  </a:lnTo>
                  <a:lnTo>
                    <a:pt x="76" y="115"/>
                  </a:lnTo>
                  <a:lnTo>
                    <a:pt x="76" y="116"/>
                  </a:lnTo>
                  <a:lnTo>
                    <a:pt x="77" y="116"/>
                  </a:lnTo>
                  <a:lnTo>
                    <a:pt x="78" y="116"/>
                  </a:lnTo>
                  <a:lnTo>
                    <a:pt x="79" y="116"/>
                  </a:lnTo>
                  <a:lnTo>
                    <a:pt x="79" y="115"/>
                  </a:lnTo>
                  <a:lnTo>
                    <a:pt x="79" y="114"/>
                  </a:lnTo>
                  <a:lnTo>
                    <a:pt x="79" y="113"/>
                  </a:lnTo>
                  <a:lnTo>
                    <a:pt x="78" y="113"/>
                  </a:lnTo>
                  <a:lnTo>
                    <a:pt x="78" y="112"/>
                  </a:lnTo>
                  <a:lnTo>
                    <a:pt x="78" y="110"/>
                  </a:lnTo>
                  <a:lnTo>
                    <a:pt x="78" y="112"/>
                  </a:lnTo>
                  <a:lnTo>
                    <a:pt x="79" y="112"/>
                  </a:lnTo>
                  <a:lnTo>
                    <a:pt x="79" y="110"/>
                  </a:lnTo>
                  <a:lnTo>
                    <a:pt x="79" y="112"/>
                  </a:lnTo>
                  <a:lnTo>
                    <a:pt x="80" y="112"/>
                  </a:lnTo>
                  <a:lnTo>
                    <a:pt x="80" y="113"/>
                  </a:lnTo>
                  <a:lnTo>
                    <a:pt x="80" y="114"/>
                  </a:lnTo>
                  <a:lnTo>
                    <a:pt x="80" y="113"/>
                  </a:lnTo>
                  <a:lnTo>
                    <a:pt x="81" y="113"/>
                  </a:lnTo>
                  <a:lnTo>
                    <a:pt x="83" y="113"/>
                  </a:lnTo>
                  <a:lnTo>
                    <a:pt x="84" y="114"/>
                  </a:lnTo>
                  <a:lnTo>
                    <a:pt x="85" y="113"/>
                  </a:lnTo>
                  <a:lnTo>
                    <a:pt x="85" y="114"/>
                  </a:lnTo>
                  <a:lnTo>
                    <a:pt x="86" y="115"/>
                  </a:lnTo>
                  <a:lnTo>
                    <a:pt x="87" y="115"/>
                  </a:lnTo>
                  <a:lnTo>
                    <a:pt x="88" y="115"/>
                  </a:lnTo>
                  <a:lnTo>
                    <a:pt x="88" y="116"/>
                  </a:lnTo>
                  <a:lnTo>
                    <a:pt x="87" y="116"/>
                  </a:lnTo>
                  <a:lnTo>
                    <a:pt x="86" y="117"/>
                  </a:lnTo>
                  <a:lnTo>
                    <a:pt x="85" y="116"/>
                  </a:lnTo>
                  <a:lnTo>
                    <a:pt x="84" y="116"/>
                  </a:lnTo>
                  <a:lnTo>
                    <a:pt x="83" y="116"/>
                  </a:lnTo>
                  <a:lnTo>
                    <a:pt x="83" y="117"/>
                  </a:lnTo>
                  <a:lnTo>
                    <a:pt x="83" y="119"/>
                  </a:lnTo>
                  <a:lnTo>
                    <a:pt x="84" y="120"/>
                  </a:lnTo>
                  <a:lnTo>
                    <a:pt x="85" y="120"/>
                  </a:lnTo>
                  <a:lnTo>
                    <a:pt x="85" y="121"/>
                  </a:lnTo>
                  <a:lnTo>
                    <a:pt x="86" y="121"/>
                  </a:lnTo>
                  <a:lnTo>
                    <a:pt x="86" y="122"/>
                  </a:lnTo>
                  <a:lnTo>
                    <a:pt x="86" y="123"/>
                  </a:lnTo>
                  <a:lnTo>
                    <a:pt x="87" y="123"/>
                  </a:lnTo>
                  <a:lnTo>
                    <a:pt x="87" y="124"/>
                  </a:lnTo>
                  <a:lnTo>
                    <a:pt x="87" y="123"/>
                  </a:lnTo>
                  <a:lnTo>
                    <a:pt x="87" y="124"/>
                  </a:lnTo>
                  <a:lnTo>
                    <a:pt x="88" y="124"/>
                  </a:lnTo>
                  <a:lnTo>
                    <a:pt x="87" y="124"/>
                  </a:lnTo>
                  <a:lnTo>
                    <a:pt x="86" y="124"/>
                  </a:lnTo>
                  <a:lnTo>
                    <a:pt x="86" y="126"/>
                  </a:lnTo>
                  <a:lnTo>
                    <a:pt x="87" y="126"/>
                  </a:lnTo>
                  <a:lnTo>
                    <a:pt x="87" y="127"/>
                  </a:lnTo>
                  <a:lnTo>
                    <a:pt x="88" y="126"/>
                  </a:lnTo>
                  <a:lnTo>
                    <a:pt x="90" y="126"/>
                  </a:lnTo>
                  <a:lnTo>
                    <a:pt x="90" y="127"/>
                  </a:lnTo>
                  <a:lnTo>
                    <a:pt x="91" y="127"/>
                  </a:lnTo>
                  <a:lnTo>
                    <a:pt x="92" y="128"/>
                  </a:lnTo>
                  <a:lnTo>
                    <a:pt x="92" y="127"/>
                  </a:lnTo>
                  <a:lnTo>
                    <a:pt x="93" y="127"/>
                  </a:lnTo>
                  <a:lnTo>
                    <a:pt x="93" y="128"/>
                  </a:lnTo>
                  <a:lnTo>
                    <a:pt x="92" y="128"/>
                  </a:lnTo>
                  <a:lnTo>
                    <a:pt x="92" y="129"/>
                  </a:lnTo>
                  <a:lnTo>
                    <a:pt x="92" y="130"/>
                  </a:lnTo>
                  <a:lnTo>
                    <a:pt x="93" y="130"/>
                  </a:lnTo>
                  <a:lnTo>
                    <a:pt x="93" y="131"/>
                  </a:lnTo>
                  <a:lnTo>
                    <a:pt x="93" y="133"/>
                  </a:lnTo>
                  <a:lnTo>
                    <a:pt x="93" y="134"/>
                  </a:lnTo>
                  <a:lnTo>
                    <a:pt x="92" y="134"/>
                  </a:lnTo>
                  <a:lnTo>
                    <a:pt x="92" y="135"/>
                  </a:lnTo>
                  <a:lnTo>
                    <a:pt x="93" y="135"/>
                  </a:lnTo>
                  <a:lnTo>
                    <a:pt x="92" y="135"/>
                  </a:lnTo>
                  <a:lnTo>
                    <a:pt x="91" y="135"/>
                  </a:lnTo>
                  <a:lnTo>
                    <a:pt x="91" y="134"/>
                  </a:lnTo>
                  <a:lnTo>
                    <a:pt x="90" y="134"/>
                  </a:lnTo>
                  <a:lnTo>
                    <a:pt x="90" y="133"/>
                  </a:lnTo>
                  <a:lnTo>
                    <a:pt x="88" y="133"/>
                  </a:lnTo>
                  <a:lnTo>
                    <a:pt x="88" y="131"/>
                  </a:lnTo>
                  <a:lnTo>
                    <a:pt x="88" y="130"/>
                  </a:lnTo>
                  <a:lnTo>
                    <a:pt x="90" y="130"/>
                  </a:lnTo>
                  <a:lnTo>
                    <a:pt x="91" y="130"/>
                  </a:lnTo>
                  <a:lnTo>
                    <a:pt x="91" y="129"/>
                  </a:lnTo>
                  <a:lnTo>
                    <a:pt x="91" y="128"/>
                  </a:lnTo>
                  <a:lnTo>
                    <a:pt x="90" y="129"/>
                  </a:lnTo>
                  <a:lnTo>
                    <a:pt x="90" y="128"/>
                  </a:lnTo>
                  <a:lnTo>
                    <a:pt x="88" y="128"/>
                  </a:lnTo>
                  <a:lnTo>
                    <a:pt x="88" y="129"/>
                  </a:lnTo>
                  <a:lnTo>
                    <a:pt x="88" y="130"/>
                  </a:lnTo>
                  <a:lnTo>
                    <a:pt x="87" y="130"/>
                  </a:lnTo>
                  <a:lnTo>
                    <a:pt x="86" y="130"/>
                  </a:lnTo>
                  <a:lnTo>
                    <a:pt x="87" y="130"/>
                  </a:lnTo>
                  <a:lnTo>
                    <a:pt x="87" y="129"/>
                  </a:lnTo>
                  <a:lnTo>
                    <a:pt x="86" y="129"/>
                  </a:lnTo>
                  <a:lnTo>
                    <a:pt x="86" y="130"/>
                  </a:lnTo>
                  <a:lnTo>
                    <a:pt x="86" y="129"/>
                  </a:lnTo>
                  <a:lnTo>
                    <a:pt x="86" y="130"/>
                  </a:lnTo>
                  <a:lnTo>
                    <a:pt x="85" y="129"/>
                  </a:lnTo>
                  <a:lnTo>
                    <a:pt x="84" y="129"/>
                  </a:lnTo>
                  <a:lnTo>
                    <a:pt x="84" y="128"/>
                  </a:lnTo>
                  <a:lnTo>
                    <a:pt x="83" y="128"/>
                  </a:lnTo>
                  <a:lnTo>
                    <a:pt x="83" y="127"/>
                  </a:lnTo>
                  <a:lnTo>
                    <a:pt x="81" y="127"/>
                  </a:lnTo>
                  <a:lnTo>
                    <a:pt x="81" y="128"/>
                  </a:lnTo>
                  <a:lnTo>
                    <a:pt x="80" y="128"/>
                  </a:lnTo>
                  <a:lnTo>
                    <a:pt x="80" y="127"/>
                  </a:lnTo>
                  <a:lnTo>
                    <a:pt x="80" y="126"/>
                  </a:lnTo>
                  <a:lnTo>
                    <a:pt x="80" y="124"/>
                  </a:lnTo>
                  <a:lnTo>
                    <a:pt x="79" y="123"/>
                  </a:lnTo>
                  <a:lnTo>
                    <a:pt x="79" y="122"/>
                  </a:lnTo>
                  <a:lnTo>
                    <a:pt x="78" y="122"/>
                  </a:lnTo>
                  <a:lnTo>
                    <a:pt x="78" y="121"/>
                  </a:lnTo>
                  <a:lnTo>
                    <a:pt x="77" y="121"/>
                  </a:lnTo>
                  <a:lnTo>
                    <a:pt x="77" y="120"/>
                  </a:lnTo>
                  <a:lnTo>
                    <a:pt x="76" y="120"/>
                  </a:lnTo>
                  <a:lnTo>
                    <a:pt x="75" y="120"/>
                  </a:lnTo>
                  <a:lnTo>
                    <a:pt x="73" y="119"/>
                  </a:lnTo>
                  <a:lnTo>
                    <a:pt x="73" y="117"/>
                  </a:lnTo>
                  <a:lnTo>
                    <a:pt x="72" y="117"/>
                  </a:lnTo>
                  <a:lnTo>
                    <a:pt x="73" y="117"/>
                  </a:lnTo>
                  <a:lnTo>
                    <a:pt x="72" y="116"/>
                  </a:lnTo>
                  <a:lnTo>
                    <a:pt x="72" y="115"/>
                  </a:lnTo>
                  <a:lnTo>
                    <a:pt x="71" y="115"/>
                  </a:lnTo>
                  <a:lnTo>
                    <a:pt x="70" y="115"/>
                  </a:lnTo>
                  <a:lnTo>
                    <a:pt x="70" y="114"/>
                  </a:lnTo>
                  <a:lnTo>
                    <a:pt x="69" y="114"/>
                  </a:lnTo>
                  <a:lnTo>
                    <a:pt x="69" y="113"/>
                  </a:lnTo>
                  <a:lnTo>
                    <a:pt x="68" y="113"/>
                  </a:lnTo>
                  <a:lnTo>
                    <a:pt x="66" y="113"/>
                  </a:lnTo>
                  <a:lnTo>
                    <a:pt x="68" y="114"/>
                  </a:lnTo>
                  <a:lnTo>
                    <a:pt x="68" y="115"/>
                  </a:lnTo>
                  <a:lnTo>
                    <a:pt x="69" y="115"/>
                  </a:lnTo>
                  <a:lnTo>
                    <a:pt x="69" y="116"/>
                  </a:lnTo>
                  <a:lnTo>
                    <a:pt x="68" y="116"/>
                  </a:lnTo>
                  <a:lnTo>
                    <a:pt x="69" y="117"/>
                  </a:lnTo>
                  <a:lnTo>
                    <a:pt x="69" y="119"/>
                  </a:lnTo>
                  <a:lnTo>
                    <a:pt x="70" y="119"/>
                  </a:lnTo>
                  <a:lnTo>
                    <a:pt x="71" y="120"/>
                  </a:lnTo>
                  <a:lnTo>
                    <a:pt x="70" y="120"/>
                  </a:lnTo>
                  <a:lnTo>
                    <a:pt x="70" y="119"/>
                  </a:lnTo>
                  <a:lnTo>
                    <a:pt x="70" y="120"/>
                  </a:lnTo>
                  <a:lnTo>
                    <a:pt x="71" y="121"/>
                  </a:lnTo>
                  <a:lnTo>
                    <a:pt x="71" y="122"/>
                  </a:lnTo>
                  <a:lnTo>
                    <a:pt x="71" y="123"/>
                  </a:lnTo>
                  <a:lnTo>
                    <a:pt x="72" y="123"/>
                  </a:lnTo>
                  <a:lnTo>
                    <a:pt x="72" y="124"/>
                  </a:lnTo>
                  <a:lnTo>
                    <a:pt x="71" y="124"/>
                  </a:lnTo>
                  <a:lnTo>
                    <a:pt x="71" y="126"/>
                  </a:lnTo>
                  <a:lnTo>
                    <a:pt x="70" y="124"/>
                  </a:lnTo>
                  <a:lnTo>
                    <a:pt x="70" y="123"/>
                  </a:lnTo>
                  <a:lnTo>
                    <a:pt x="69" y="122"/>
                  </a:lnTo>
                  <a:lnTo>
                    <a:pt x="68" y="120"/>
                  </a:lnTo>
                  <a:lnTo>
                    <a:pt x="66" y="120"/>
                  </a:lnTo>
                  <a:lnTo>
                    <a:pt x="66" y="119"/>
                  </a:lnTo>
                  <a:lnTo>
                    <a:pt x="65" y="119"/>
                  </a:lnTo>
                  <a:lnTo>
                    <a:pt x="64" y="119"/>
                  </a:lnTo>
                  <a:lnTo>
                    <a:pt x="64" y="117"/>
                  </a:lnTo>
                  <a:lnTo>
                    <a:pt x="63" y="116"/>
                  </a:lnTo>
                  <a:lnTo>
                    <a:pt x="63" y="115"/>
                  </a:lnTo>
                  <a:lnTo>
                    <a:pt x="62" y="115"/>
                  </a:lnTo>
                  <a:lnTo>
                    <a:pt x="61" y="115"/>
                  </a:lnTo>
                  <a:lnTo>
                    <a:pt x="61" y="114"/>
                  </a:lnTo>
                  <a:lnTo>
                    <a:pt x="59" y="114"/>
                  </a:lnTo>
                  <a:lnTo>
                    <a:pt x="58" y="114"/>
                  </a:lnTo>
                  <a:lnTo>
                    <a:pt x="58" y="113"/>
                  </a:lnTo>
                  <a:lnTo>
                    <a:pt x="57" y="113"/>
                  </a:lnTo>
                  <a:lnTo>
                    <a:pt x="56" y="114"/>
                  </a:lnTo>
                  <a:lnTo>
                    <a:pt x="55" y="114"/>
                  </a:lnTo>
                  <a:lnTo>
                    <a:pt x="54" y="114"/>
                  </a:lnTo>
                  <a:lnTo>
                    <a:pt x="54" y="115"/>
                  </a:lnTo>
                  <a:lnTo>
                    <a:pt x="54" y="116"/>
                  </a:lnTo>
                  <a:lnTo>
                    <a:pt x="54" y="117"/>
                  </a:lnTo>
                  <a:lnTo>
                    <a:pt x="52" y="117"/>
                  </a:lnTo>
                  <a:lnTo>
                    <a:pt x="52" y="119"/>
                  </a:lnTo>
                  <a:lnTo>
                    <a:pt x="51" y="119"/>
                  </a:lnTo>
                  <a:lnTo>
                    <a:pt x="50" y="117"/>
                  </a:lnTo>
                  <a:lnTo>
                    <a:pt x="49" y="117"/>
                  </a:lnTo>
                  <a:lnTo>
                    <a:pt x="49" y="119"/>
                  </a:lnTo>
                  <a:lnTo>
                    <a:pt x="49" y="117"/>
                  </a:lnTo>
                  <a:lnTo>
                    <a:pt x="48" y="117"/>
                  </a:lnTo>
                  <a:lnTo>
                    <a:pt x="48" y="116"/>
                  </a:lnTo>
                  <a:lnTo>
                    <a:pt x="48" y="115"/>
                  </a:lnTo>
                  <a:lnTo>
                    <a:pt x="47" y="115"/>
                  </a:lnTo>
                  <a:lnTo>
                    <a:pt x="47" y="117"/>
                  </a:lnTo>
                  <a:lnTo>
                    <a:pt x="45" y="116"/>
                  </a:lnTo>
                  <a:lnTo>
                    <a:pt x="47" y="116"/>
                  </a:lnTo>
                  <a:lnTo>
                    <a:pt x="47" y="115"/>
                  </a:lnTo>
                  <a:lnTo>
                    <a:pt x="47" y="114"/>
                  </a:lnTo>
                  <a:lnTo>
                    <a:pt x="45" y="114"/>
                  </a:lnTo>
                  <a:lnTo>
                    <a:pt x="44" y="113"/>
                  </a:lnTo>
                  <a:lnTo>
                    <a:pt x="43" y="113"/>
                  </a:lnTo>
                  <a:lnTo>
                    <a:pt x="43" y="114"/>
                  </a:lnTo>
                  <a:lnTo>
                    <a:pt x="42" y="114"/>
                  </a:lnTo>
                  <a:lnTo>
                    <a:pt x="43" y="115"/>
                  </a:lnTo>
                  <a:lnTo>
                    <a:pt x="42" y="115"/>
                  </a:lnTo>
                  <a:lnTo>
                    <a:pt x="42" y="114"/>
                  </a:lnTo>
                  <a:lnTo>
                    <a:pt x="42" y="113"/>
                  </a:lnTo>
                  <a:lnTo>
                    <a:pt x="42" y="112"/>
                  </a:lnTo>
                  <a:lnTo>
                    <a:pt x="42" y="110"/>
                  </a:lnTo>
                  <a:lnTo>
                    <a:pt x="41" y="110"/>
                  </a:lnTo>
                  <a:lnTo>
                    <a:pt x="41" y="109"/>
                  </a:lnTo>
                  <a:lnTo>
                    <a:pt x="41" y="108"/>
                  </a:lnTo>
                  <a:lnTo>
                    <a:pt x="42" y="108"/>
                  </a:lnTo>
                  <a:lnTo>
                    <a:pt x="42" y="107"/>
                  </a:lnTo>
                  <a:lnTo>
                    <a:pt x="43" y="107"/>
                  </a:lnTo>
                  <a:lnTo>
                    <a:pt x="43" y="106"/>
                  </a:lnTo>
                  <a:lnTo>
                    <a:pt x="44" y="105"/>
                  </a:lnTo>
                  <a:lnTo>
                    <a:pt x="45" y="105"/>
                  </a:lnTo>
                  <a:lnTo>
                    <a:pt x="45" y="103"/>
                  </a:lnTo>
                  <a:lnTo>
                    <a:pt x="45" y="102"/>
                  </a:lnTo>
                  <a:lnTo>
                    <a:pt x="44" y="102"/>
                  </a:lnTo>
                  <a:lnTo>
                    <a:pt x="44" y="101"/>
                  </a:lnTo>
                  <a:lnTo>
                    <a:pt x="43" y="100"/>
                  </a:lnTo>
                  <a:lnTo>
                    <a:pt x="42" y="100"/>
                  </a:lnTo>
                  <a:lnTo>
                    <a:pt x="41" y="100"/>
                  </a:lnTo>
                  <a:lnTo>
                    <a:pt x="40" y="99"/>
                  </a:lnTo>
                  <a:lnTo>
                    <a:pt x="40" y="98"/>
                  </a:lnTo>
                  <a:lnTo>
                    <a:pt x="40" y="99"/>
                  </a:lnTo>
                  <a:lnTo>
                    <a:pt x="38" y="99"/>
                  </a:lnTo>
                  <a:lnTo>
                    <a:pt x="38" y="100"/>
                  </a:lnTo>
                  <a:lnTo>
                    <a:pt x="40" y="101"/>
                  </a:lnTo>
                  <a:lnTo>
                    <a:pt x="40" y="102"/>
                  </a:lnTo>
                  <a:lnTo>
                    <a:pt x="41" y="103"/>
                  </a:lnTo>
                  <a:lnTo>
                    <a:pt x="41" y="105"/>
                  </a:lnTo>
                  <a:lnTo>
                    <a:pt x="40" y="105"/>
                  </a:lnTo>
                  <a:lnTo>
                    <a:pt x="40" y="106"/>
                  </a:lnTo>
                  <a:lnTo>
                    <a:pt x="40" y="105"/>
                  </a:lnTo>
                  <a:lnTo>
                    <a:pt x="38" y="105"/>
                  </a:lnTo>
                  <a:lnTo>
                    <a:pt x="38" y="106"/>
                  </a:lnTo>
                  <a:lnTo>
                    <a:pt x="38" y="105"/>
                  </a:lnTo>
                  <a:lnTo>
                    <a:pt x="37" y="105"/>
                  </a:lnTo>
                  <a:lnTo>
                    <a:pt x="37" y="103"/>
                  </a:lnTo>
                  <a:lnTo>
                    <a:pt x="37" y="102"/>
                  </a:lnTo>
                  <a:lnTo>
                    <a:pt x="36" y="102"/>
                  </a:lnTo>
                  <a:lnTo>
                    <a:pt x="35" y="101"/>
                  </a:lnTo>
                  <a:lnTo>
                    <a:pt x="35" y="100"/>
                  </a:lnTo>
                  <a:lnTo>
                    <a:pt x="35" y="99"/>
                  </a:lnTo>
                  <a:lnTo>
                    <a:pt x="35" y="100"/>
                  </a:lnTo>
                  <a:lnTo>
                    <a:pt x="35" y="99"/>
                  </a:lnTo>
                  <a:lnTo>
                    <a:pt x="34" y="99"/>
                  </a:lnTo>
                  <a:lnTo>
                    <a:pt x="34" y="98"/>
                  </a:lnTo>
                  <a:lnTo>
                    <a:pt x="34" y="99"/>
                  </a:lnTo>
                  <a:lnTo>
                    <a:pt x="34" y="100"/>
                  </a:lnTo>
                  <a:lnTo>
                    <a:pt x="33" y="100"/>
                  </a:lnTo>
                  <a:lnTo>
                    <a:pt x="33" y="99"/>
                  </a:lnTo>
                  <a:lnTo>
                    <a:pt x="31" y="98"/>
                  </a:lnTo>
                  <a:lnTo>
                    <a:pt x="31" y="96"/>
                  </a:lnTo>
                  <a:lnTo>
                    <a:pt x="31" y="95"/>
                  </a:lnTo>
                  <a:lnTo>
                    <a:pt x="30" y="93"/>
                  </a:lnTo>
                  <a:lnTo>
                    <a:pt x="30" y="92"/>
                  </a:lnTo>
                  <a:lnTo>
                    <a:pt x="30" y="91"/>
                  </a:lnTo>
                  <a:lnTo>
                    <a:pt x="29" y="91"/>
                  </a:lnTo>
                  <a:lnTo>
                    <a:pt x="29" y="89"/>
                  </a:lnTo>
                  <a:lnTo>
                    <a:pt x="28" y="89"/>
                  </a:lnTo>
                  <a:lnTo>
                    <a:pt x="29" y="89"/>
                  </a:lnTo>
                  <a:lnTo>
                    <a:pt x="29" y="88"/>
                  </a:lnTo>
                  <a:lnTo>
                    <a:pt x="29" y="87"/>
                  </a:lnTo>
                  <a:lnTo>
                    <a:pt x="28" y="87"/>
                  </a:lnTo>
                  <a:lnTo>
                    <a:pt x="28" y="86"/>
                  </a:lnTo>
                  <a:lnTo>
                    <a:pt x="28" y="85"/>
                  </a:lnTo>
                  <a:lnTo>
                    <a:pt x="28" y="84"/>
                  </a:lnTo>
                  <a:lnTo>
                    <a:pt x="28" y="82"/>
                  </a:lnTo>
                  <a:lnTo>
                    <a:pt x="27" y="81"/>
                  </a:lnTo>
                  <a:lnTo>
                    <a:pt x="26" y="81"/>
                  </a:lnTo>
                  <a:lnTo>
                    <a:pt x="26" y="79"/>
                  </a:lnTo>
                  <a:lnTo>
                    <a:pt x="26" y="78"/>
                  </a:lnTo>
                  <a:lnTo>
                    <a:pt x="24" y="78"/>
                  </a:lnTo>
                  <a:lnTo>
                    <a:pt x="24" y="77"/>
                  </a:lnTo>
                  <a:lnTo>
                    <a:pt x="24" y="75"/>
                  </a:lnTo>
                  <a:lnTo>
                    <a:pt x="26" y="74"/>
                  </a:lnTo>
                  <a:lnTo>
                    <a:pt x="27" y="74"/>
                  </a:lnTo>
                  <a:lnTo>
                    <a:pt x="27" y="75"/>
                  </a:lnTo>
                  <a:lnTo>
                    <a:pt x="27" y="77"/>
                  </a:lnTo>
                  <a:lnTo>
                    <a:pt x="28" y="77"/>
                  </a:lnTo>
                  <a:lnTo>
                    <a:pt x="28" y="78"/>
                  </a:lnTo>
                  <a:lnTo>
                    <a:pt x="29" y="78"/>
                  </a:lnTo>
                  <a:lnTo>
                    <a:pt x="30" y="79"/>
                  </a:lnTo>
                  <a:lnTo>
                    <a:pt x="30" y="80"/>
                  </a:lnTo>
                  <a:lnTo>
                    <a:pt x="31" y="80"/>
                  </a:lnTo>
                  <a:lnTo>
                    <a:pt x="33" y="80"/>
                  </a:lnTo>
                  <a:lnTo>
                    <a:pt x="33" y="79"/>
                  </a:lnTo>
                  <a:lnTo>
                    <a:pt x="34" y="80"/>
                  </a:lnTo>
                  <a:lnTo>
                    <a:pt x="34" y="79"/>
                  </a:lnTo>
                  <a:lnTo>
                    <a:pt x="33" y="79"/>
                  </a:lnTo>
                  <a:lnTo>
                    <a:pt x="34" y="79"/>
                  </a:lnTo>
                  <a:lnTo>
                    <a:pt x="34" y="78"/>
                  </a:lnTo>
                  <a:lnTo>
                    <a:pt x="34" y="77"/>
                  </a:lnTo>
                  <a:lnTo>
                    <a:pt x="33" y="75"/>
                  </a:lnTo>
                  <a:lnTo>
                    <a:pt x="33" y="77"/>
                  </a:lnTo>
                  <a:lnTo>
                    <a:pt x="33" y="75"/>
                  </a:lnTo>
                  <a:lnTo>
                    <a:pt x="31" y="73"/>
                  </a:lnTo>
                  <a:lnTo>
                    <a:pt x="31" y="72"/>
                  </a:lnTo>
                  <a:lnTo>
                    <a:pt x="31" y="71"/>
                  </a:lnTo>
                  <a:lnTo>
                    <a:pt x="31" y="70"/>
                  </a:lnTo>
                  <a:lnTo>
                    <a:pt x="31" y="68"/>
                  </a:lnTo>
                  <a:lnTo>
                    <a:pt x="31" y="67"/>
                  </a:lnTo>
                  <a:lnTo>
                    <a:pt x="33" y="65"/>
                  </a:lnTo>
                  <a:lnTo>
                    <a:pt x="31" y="61"/>
                  </a:lnTo>
                  <a:lnTo>
                    <a:pt x="31" y="60"/>
                  </a:lnTo>
                  <a:lnTo>
                    <a:pt x="31" y="59"/>
                  </a:lnTo>
                  <a:lnTo>
                    <a:pt x="31" y="58"/>
                  </a:lnTo>
                  <a:lnTo>
                    <a:pt x="30" y="57"/>
                  </a:lnTo>
                  <a:lnTo>
                    <a:pt x="29" y="56"/>
                  </a:lnTo>
                  <a:lnTo>
                    <a:pt x="29" y="53"/>
                  </a:lnTo>
                  <a:lnTo>
                    <a:pt x="30" y="53"/>
                  </a:lnTo>
                  <a:lnTo>
                    <a:pt x="30" y="52"/>
                  </a:lnTo>
                  <a:lnTo>
                    <a:pt x="29" y="52"/>
                  </a:lnTo>
                  <a:lnTo>
                    <a:pt x="30" y="52"/>
                  </a:lnTo>
                  <a:lnTo>
                    <a:pt x="30" y="51"/>
                  </a:lnTo>
                  <a:lnTo>
                    <a:pt x="30" y="50"/>
                  </a:lnTo>
                  <a:lnTo>
                    <a:pt x="30" y="49"/>
                  </a:lnTo>
                  <a:lnTo>
                    <a:pt x="30" y="47"/>
                  </a:lnTo>
                  <a:lnTo>
                    <a:pt x="30" y="45"/>
                  </a:lnTo>
                  <a:lnTo>
                    <a:pt x="30" y="44"/>
                  </a:lnTo>
                  <a:lnTo>
                    <a:pt x="30" y="43"/>
                  </a:lnTo>
                  <a:lnTo>
                    <a:pt x="30" y="42"/>
                  </a:lnTo>
                  <a:lnTo>
                    <a:pt x="30" y="40"/>
                  </a:lnTo>
                  <a:lnTo>
                    <a:pt x="31" y="40"/>
                  </a:lnTo>
                  <a:lnTo>
                    <a:pt x="33" y="40"/>
                  </a:lnTo>
                  <a:lnTo>
                    <a:pt x="33" y="39"/>
                  </a:lnTo>
                  <a:lnTo>
                    <a:pt x="33" y="38"/>
                  </a:lnTo>
                  <a:lnTo>
                    <a:pt x="34" y="38"/>
                  </a:lnTo>
                  <a:lnTo>
                    <a:pt x="34" y="39"/>
                  </a:lnTo>
                  <a:lnTo>
                    <a:pt x="35" y="39"/>
                  </a:lnTo>
                  <a:close/>
                  <a:moveTo>
                    <a:pt x="41" y="35"/>
                  </a:moveTo>
                  <a:lnTo>
                    <a:pt x="42" y="35"/>
                  </a:lnTo>
                  <a:lnTo>
                    <a:pt x="41" y="35"/>
                  </a:lnTo>
                  <a:lnTo>
                    <a:pt x="41" y="36"/>
                  </a:lnTo>
                  <a:lnTo>
                    <a:pt x="40" y="36"/>
                  </a:lnTo>
                  <a:lnTo>
                    <a:pt x="38" y="35"/>
                  </a:lnTo>
                  <a:lnTo>
                    <a:pt x="40" y="35"/>
                  </a:lnTo>
                  <a:lnTo>
                    <a:pt x="41" y="35"/>
                  </a:lnTo>
                  <a:close/>
                  <a:moveTo>
                    <a:pt x="48" y="33"/>
                  </a:moveTo>
                  <a:lnTo>
                    <a:pt x="49" y="33"/>
                  </a:lnTo>
                  <a:lnTo>
                    <a:pt x="48" y="33"/>
                  </a:lnTo>
                  <a:lnTo>
                    <a:pt x="48" y="35"/>
                  </a:lnTo>
                  <a:lnTo>
                    <a:pt x="47" y="36"/>
                  </a:lnTo>
                  <a:lnTo>
                    <a:pt x="47" y="35"/>
                  </a:lnTo>
                  <a:lnTo>
                    <a:pt x="47" y="33"/>
                  </a:lnTo>
                  <a:lnTo>
                    <a:pt x="47" y="32"/>
                  </a:lnTo>
                  <a:lnTo>
                    <a:pt x="47" y="33"/>
                  </a:lnTo>
                  <a:lnTo>
                    <a:pt x="48" y="33"/>
                  </a:lnTo>
                  <a:lnTo>
                    <a:pt x="48" y="32"/>
                  </a:lnTo>
                  <a:lnTo>
                    <a:pt x="48" y="33"/>
                  </a:lnTo>
                  <a:close/>
                  <a:moveTo>
                    <a:pt x="38" y="32"/>
                  </a:moveTo>
                  <a:lnTo>
                    <a:pt x="37" y="32"/>
                  </a:lnTo>
                  <a:lnTo>
                    <a:pt x="37" y="31"/>
                  </a:lnTo>
                  <a:lnTo>
                    <a:pt x="37" y="30"/>
                  </a:lnTo>
                  <a:lnTo>
                    <a:pt x="37" y="31"/>
                  </a:lnTo>
                  <a:lnTo>
                    <a:pt x="38" y="32"/>
                  </a:lnTo>
                  <a:close/>
                  <a:moveTo>
                    <a:pt x="40" y="26"/>
                  </a:moveTo>
                  <a:lnTo>
                    <a:pt x="41" y="26"/>
                  </a:lnTo>
                  <a:lnTo>
                    <a:pt x="41" y="28"/>
                  </a:lnTo>
                  <a:lnTo>
                    <a:pt x="41" y="29"/>
                  </a:lnTo>
                  <a:lnTo>
                    <a:pt x="40" y="29"/>
                  </a:lnTo>
                  <a:lnTo>
                    <a:pt x="40" y="28"/>
                  </a:lnTo>
                  <a:lnTo>
                    <a:pt x="38" y="28"/>
                  </a:lnTo>
                  <a:lnTo>
                    <a:pt x="38" y="26"/>
                  </a:lnTo>
                  <a:lnTo>
                    <a:pt x="40" y="26"/>
                  </a:lnTo>
                  <a:close/>
                  <a:moveTo>
                    <a:pt x="47" y="24"/>
                  </a:moveTo>
                  <a:lnTo>
                    <a:pt x="47" y="25"/>
                  </a:lnTo>
                  <a:lnTo>
                    <a:pt x="45" y="25"/>
                  </a:lnTo>
                  <a:lnTo>
                    <a:pt x="45" y="24"/>
                  </a:lnTo>
                  <a:lnTo>
                    <a:pt x="47" y="24"/>
                  </a:lnTo>
                  <a:close/>
                  <a:moveTo>
                    <a:pt x="43" y="12"/>
                  </a:moveTo>
                  <a:lnTo>
                    <a:pt x="42" y="12"/>
                  </a:lnTo>
                  <a:lnTo>
                    <a:pt x="42" y="11"/>
                  </a:lnTo>
                  <a:lnTo>
                    <a:pt x="43" y="11"/>
                  </a:lnTo>
                  <a:lnTo>
                    <a:pt x="43" y="12"/>
                  </a:lnTo>
                  <a:close/>
                  <a:moveTo>
                    <a:pt x="44" y="11"/>
                  </a:moveTo>
                  <a:lnTo>
                    <a:pt x="43" y="11"/>
                  </a:lnTo>
                  <a:lnTo>
                    <a:pt x="43" y="10"/>
                  </a:lnTo>
                  <a:lnTo>
                    <a:pt x="44" y="10"/>
                  </a:lnTo>
                  <a:lnTo>
                    <a:pt x="44" y="9"/>
                  </a:lnTo>
                  <a:lnTo>
                    <a:pt x="44" y="10"/>
                  </a:lnTo>
                  <a:lnTo>
                    <a:pt x="44" y="11"/>
                  </a:lnTo>
                  <a:close/>
                  <a:moveTo>
                    <a:pt x="41" y="7"/>
                  </a:moveTo>
                  <a:lnTo>
                    <a:pt x="41" y="5"/>
                  </a:lnTo>
                  <a:lnTo>
                    <a:pt x="41" y="4"/>
                  </a:lnTo>
                  <a:lnTo>
                    <a:pt x="42" y="4"/>
                  </a:lnTo>
                  <a:lnTo>
                    <a:pt x="42" y="5"/>
                  </a:lnTo>
                  <a:lnTo>
                    <a:pt x="41" y="5"/>
                  </a:lnTo>
                  <a:lnTo>
                    <a:pt x="41" y="7"/>
                  </a:lnTo>
                  <a:close/>
                  <a:moveTo>
                    <a:pt x="42" y="1"/>
                  </a:moveTo>
                  <a:lnTo>
                    <a:pt x="41" y="1"/>
                  </a:lnTo>
                  <a:lnTo>
                    <a:pt x="41" y="0"/>
                  </a:lnTo>
                  <a:lnTo>
                    <a:pt x="42" y="1"/>
                  </a:lnTo>
                  <a:close/>
                </a:path>
              </a:pathLst>
            </a:custGeom>
            <a:solidFill>
              <a:srgbClr val="00539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t-IT" sz="1200" dirty="0">
                <a:solidFill>
                  <a:schemeClr val="lt1"/>
                </a:solidFill>
              </a:endParaRPr>
            </a:p>
          </p:txBody>
        </p:sp>
        <p:sp>
          <p:nvSpPr>
            <p:cNvPr id="217" name="Freeform 975">
              <a:extLst>
                <a:ext uri="{FF2B5EF4-FFF2-40B4-BE49-F238E27FC236}">
                  <a16:creationId xmlns:a16="http://schemas.microsoft.com/office/drawing/2014/main" id="{6B27A872-92AF-4F51-85E7-69E4C60FBBFD}"/>
                </a:ext>
              </a:extLst>
            </p:cNvPr>
            <p:cNvSpPr>
              <a:spLocks noEditPoints="1"/>
            </p:cNvSpPr>
            <p:nvPr/>
          </p:nvSpPr>
          <p:spPr bwMode="auto">
            <a:xfrm>
              <a:off x="8249036" y="3177586"/>
              <a:ext cx="58761" cy="108175"/>
            </a:xfrm>
            <a:custGeom>
              <a:avLst/>
              <a:gdLst>
                <a:gd name="T0" fmla="*/ 8 w 44"/>
                <a:gd name="T1" fmla="*/ 81 h 81"/>
                <a:gd name="T2" fmla="*/ 9 w 44"/>
                <a:gd name="T3" fmla="*/ 81 h 81"/>
                <a:gd name="T4" fmla="*/ 0 w 44"/>
                <a:gd name="T5" fmla="*/ 79 h 81"/>
                <a:gd name="T6" fmla="*/ 0 w 44"/>
                <a:gd name="T7" fmla="*/ 79 h 81"/>
                <a:gd name="T8" fmla="*/ 0 w 44"/>
                <a:gd name="T9" fmla="*/ 79 h 81"/>
                <a:gd name="T10" fmla="*/ 12 w 44"/>
                <a:gd name="T11" fmla="*/ 43 h 81"/>
                <a:gd name="T12" fmla="*/ 12 w 44"/>
                <a:gd name="T13" fmla="*/ 43 h 81"/>
                <a:gd name="T14" fmla="*/ 38 w 44"/>
                <a:gd name="T15" fmla="*/ 19 h 81"/>
                <a:gd name="T16" fmla="*/ 38 w 44"/>
                <a:gd name="T17" fmla="*/ 18 h 81"/>
                <a:gd name="T18" fmla="*/ 38 w 44"/>
                <a:gd name="T19" fmla="*/ 19 h 81"/>
                <a:gd name="T20" fmla="*/ 39 w 44"/>
                <a:gd name="T21" fmla="*/ 18 h 81"/>
                <a:gd name="T22" fmla="*/ 39 w 44"/>
                <a:gd name="T23" fmla="*/ 15 h 81"/>
                <a:gd name="T24" fmla="*/ 39 w 44"/>
                <a:gd name="T25" fmla="*/ 16 h 81"/>
                <a:gd name="T26" fmla="*/ 39 w 44"/>
                <a:gd name="T27" fmla="*/ 16 h 81"/>
                <a:gd name="T28" fmla="*/ 39 w 44"/>
                <a:gd name="T29" fmla="*/ 16 h 81"/>
                <a:gd name="T30" fmla="*/ 41 w 44"/>
                <a:gd name="T31" fmla="*/ 13 h 81"/>
                <a:gd name="T32" fmla="*/ 40 w 44"/>
                <a:gd name="T33" fmla="*/ 13 h 81"/>
                <a:gd name="T34" fmla="*/ 40 w 44"/>
                <a:gd name="T35" fmla="*/ 13 h 81"/>
                <a:gd name="T36" fmla="*/ 40 w 44"/>
                <a:gd name="T37" fmla="*/ 13 h 81"/>
                <a:gd name="T38" fmla="*/ 41 w 44"/>
                <a:gd name="T39" fmla="*/ 13 h 81"/>
                <a:gd name="T40" fmla="*/ 41 w 44"/>
                <a:gd name="T41" fmla="*/ 12 h 81"/>
                <a:gd name="T42" fmla="*/ 41 w 44"/>
                <a:gd name="T43" fmla="*/ 12 h 81"/>
                <a:gd name="T44" fmla="*/ 41 w 44"/>
                <a:gd name="T45" fmla="*/ 12 h 81"/>
                <a:gd name="T46" fmla="*/ 41 w 44"/>
                <a:gd name="T47" fmla="*/ 13 h 81"/>
                <a:gd name="T48" fmla="*/ 41 w 44"/>
                <a:gd name="T49" fmla="*/ 13 h 81"/>
                <a:gd name="T50" fmla="*/ 43 w 44"/>
                <a:gd name="T51" fmla="*/ 12 h 81"/>
                <a:gd name="T52" fmla="*/ 43 w 44"/>
                <a:gd name="T53" fmla="*/ 12 h 81"/>
                <a:gd name="T54" fmla="*/ 41 w 44"/>
                <a:gd name="T55" fmla="*/ 12 h 81"/>
                <a:gd name="T56" fmla="*/ 41 w 44"/>
                <a:gd name="T57" fmla="*/ 12 h 81"/>
                <a:gd name="T58" fmla="*/ 41 w 44"/>
                <a:gd name="T59" fmla="*/ 11 h 81"/>
                <a:gd name="T60" fmla="*/ 43 w 44"/>
                <a:gd name="T61" fmla="*/ 12 h 81"/>
                <a:gd name="T62" fmla="*/ 44 w 44"/>
                <a:gd name="T63" fmla="*/ 8 h 81"/>
                <a:gd name="T64" fmla="*/ 44 w 44"/>
                <a:gd name="T65" fmla="*/ 9 h 81"/>
                <a:gd name="T66" fmla="*/ 44 w 44"/>
                <a:gd name="T67" fmla="*/ 9 h 81"/>
                <a:gd name="T68" fmla="*/ 44 w 44"/>
                <a:gd name="T69" fmla="*/ 11 h 81"/>
                <a:gd name="T70" fmla="*/ 43 w 44"/>
                <a:gd name="T71" fmla="*/ 11 h 81"/>
                <a:gd name="T72" fmla="*/ 43 w 44"/>
                <a:gd name="T73" fmla="*/ 11 h 81"/>
                <a:gd name="T74" fmla="*/ 43 w 44"/>
                <a:gd name="T75" fmla="*/ 12 h 81"/>
                <a:gd name="T76" fmla="*/ 43 w 44"/>
                <a:gd name="T77" fmla="*/ 11 h 81"/>
                <a:gd name="T78" fmla="*/ 41 w 44"/>
                <a:gd name="T79" fmla="*/ 9 h 81"/>
                <a:gd name="T80" fmla="*/ 41 w 44"/>
                <a:gd name="T81" fmla="*/ 9 h 81"/>
                <a:gd name="T82" fmla="*/ 41 w 44"/>
                <a:gd name="T83" fmla="*/ 9 h 81"/>
                <a:gd name="T84" fmla="*/ 43 w 44"/>
                <a:gd name="T85" fmla="*/ 9 h 81"/>
                <a:gd name="T86" fmla="*/ 43 w 44"/>
                <a:gd name="T87" fmla="*/ 8 h 81"/>
                <a:gd name="T88" fmla="*/ 43 w 44"/>
                <a:gd name="T89" fmla="*/ 8 h 81"/>
                <a:gd name="T90" fmla="*/ 43 w 44"/>
                <a:gd name="T91" fmla="*/ 8 h 81"/>
                <a:gd name="T92" fmla="*/ 43 w 44"/>
                <a:gd name="T93" fmla="*/ 7 h 81"/>
                <a:gd name="T94" fmla="*/ 43 w 44"/>
                <a:gd name="T95" fmla="*/ 7 h 81"/>
                <a:gd name="T96" fmla="*/ 44 w 44"/>
                <a:gd name="T97" fmla="*/ 7 h 81"/>
                <a:gd name="T98" fmla="*/ 44 w 44"/>
                <a:gd name="T99" fmla="*/ 5 h 81"/>
                <a:gd name="T100" fmla="*/ 44 w 44"/>
                <a:gd name="T101" fmla="*/ 6 h 81"/>
                <a:gd name="T102" fmla="*/ 44 w 44"/>
                <a:gd name="T103" fmla="*/ 7 h 81"/>
                <a:gd name="T104" fmla="*/ 44 w 44"/>
                <a:gd name="T105" fmla="*/ 0 h 81"/>
                <a:gd name="T106" fmla="*/ 44 w 44"/>
                <a:gd name="T107" fmla="*/ 0 h 81"/>
                <a:gd name="T108" fmla="*/ 44 w 44"/>
                <a:gd name="T109"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 h="81">
                  <a:moveTo>
                    <a:pt x="9" y="81"/>
                  </a:moveTo>
                  <a:lnTo>
                    <a:pt x="9" y="81"/>
                  </a:lnTo>
                  <a:lnTo>
                    <a:pt x="8" y="81"/>
                  </a:lnTo>
                  <a:lnTo>
                    <a:pt x="8" y="81"/>
                  </a:lnTo>
                  <a:lnTo>
                    <a:pt x="8" y="81"/>
                  </a:lnTo>
                  <a:lnTo>
                    <a:pt x="9" y="81"/>
                  </a:lnTo>
                  <a:lnTo>
                    <a:pt x="9" y="81"/>
                  </a:lnTo>
                  <a:lnTo>
                    <a:pt x="9" y="81"/>
                  </a:lnTo>
                  <a:close/>
                  <a:moveTo>
                    <a:pt x="0" y="79"/>
                  </a:moveTo>
                  <a:lnTo>
                    <a:pt x="0" y="79"/>
                  </a:lnTo>
                  <a:lnTo>
                    <a:pt x="0" y="79"/>
                  </a:lnTo>
                  <a:lnTo>
                    <a:pt x="0" y="79"/>
                  </a:lnTo>
                  <a:lnTo>
                    <a:pt x="0" y="79"/>
                  </a:lnTo>
                  <a:lnTo>
                    <a:pt x="0" y="79"/>
                  </a:lnTo>
                  <a:lnTo>
                    <a:pt x="0" y="79"/>
                  </a:lnTo>
                  <a:lnTo>
                    <a:pt x="0" y="79"/>
                  </a:lnTo>
                  <a:lnTo>
                    <a:pt x="0" y="79"/>
                  </a:lnTo>
                  <a:close/>
                  <a:moveTo>
                    <a:pt x="12" y="43"/>
                  </a:moveTo>
                  <a:lnTo>
                    <a:pt x="12" y="44"/>
                  </a:lnTo>
                  <a:lnTo>
                    <a:pt x="12" y="43"/>
                  </a:lnTo>
                  <a:lnTo>
                    <a:pt x="12" y="43"/>
                  </a:lnTo>
                  <a:lnTo>
                    <a:pt x="12" y="43"/>
                  </a:lnTo>
                  <a:close/>
                  <a:moveTo>
                    <a:pt x="38" y="19"/>
                  </a:moveTo>
                  <a:lnTo>
                    <a:pt x="38" y="19"/>
                  </a:lnTo>
                  <a:lnTo>
                    <a:pt x="38" y="19"/>
                  </a:lnTo>
                  <a:lnTo>
                    <a:pt x="38" y="18"/>
                  </a:lnTo>
                  <a:lnTo>
                    <a:pt x="38" y="18"/>
                  </a:lnTo>
                  <a:lnTo>
                    <a:pt x="38" y="18"/>
                  </a:lnTo>
                  <a:lnTo>
                    <a:pt x="38" y="18"/>
                  </a:lnTo>
                  <a:lnTo>
                    <a:pt x="38" y="19"/>
                  </a:lnTo>
                  <a:lnTo>
                    <a:pt x="38" y="19"/>
                  </a:lnTo>
                  <a:close/>
                  <a:moveTo>
                    <a:pt x="39" y="16"/>
                  </a:moveTo>
                  <a:lnTo>
                    <a:pt x="39" y="18"/>
                  </a:lnTo>
                  <a:lnTo>
                    <a:pt x="39" y="18"/>
                  </a:lnTo>
                  <a:lnTo>
                    <a:pt x="39" y="16"/>
                  </a:lnTo>
                  <a:lnTo>
                    <a:pt x="39" y="15"/>
                  </a:lnTo>
                  <a:lnTo>
                    <a:pt x="39" y="15"/>
                  </a:lnTo>
                  <a:lnTo>
                    <a:pt x="39" y="15"/>
                  </a:lnTo>
                  <a:lnTo>
                    <a:pt x="39" y="16"/>
                  </a:lnTo>
                  <a:lnTo>
                    <a:pt x="39" y="16"/>
                  </a:lnTo>
                  <a:lnTo>
                    <a:pt x="39" y="16"/>
                  </a:lnTo>
                  <a:lnTo>
                    <a:pt x="39" y="16"/>
                  </a:lnTo>
                  <a:lnTo>
                    <a:pt x="39" y="16"/>
                  </a:lnTo>
                  <a:lnTo>
                    <a:pt x="39" y="16"/>
                  </a:lnTo>
                  <a:lnTo>
                    <a:pt x="39" y="16"/>
                  </a:lnTo>
                  <a:lnTo>
                    <a:pt x="39" y="16"/>
                  </a:lnTo>
                  <a:lnTo>
                    <a:pt x="39" y="16"/>
                  </a:lnTo>
                  <a:close/>
                  <a:moveTo>
                    <a:pt x="41" y="13"/>
                  </a:moveTo>
                  <a:lnTo>
                    <a:pt x="40" y="13"/>
                  </a:lnTo>
                  <a:lnTo>
                    <a:pt x="40" y="13"/>
                  </a:lnTo>
                  <a:lnTo>
                    <a:pt x="40" y="13"/>
                  </a:lnTo>
                  <a:lnTo>
                    <a:pt x="40" y="13"/>
                  </a:lnTo>
                  <a:lnTo>
                    <a:pt x="40" y="13"/>
                  </a:lnTo>
                  <a:lnTo>
                    <a:pt x="40" y="13"/>
                  </a:lnTo>
                  <a:lnTo>
                    <a:pt x="40" y="13"/>
                  </a:lnTo>
                  <a:lnTo>
                    <a:pt x="40" y="13"/>
                  </a:lnTo>
                  <a:lnTo>
                    <a:pt x="40" y="13"/>
                  </a:lnTo>
                  <a:lnTo>
                    <a:pt x="40" y="13"/>
                  </a:lnTo>
                  <a:lnTo>
                    <a:pt x="40" y="13"/>
                  </a:lnTo>
                  <a:lnTo>
                    <a:pt x="41" y="13"/>
                  </a:lnTo>
                  <a:lnTo>
                    <a:pt x="41" y="12"/>
                  </a:lnTo>
                  <a:lnTo>
                    <a:pt x="41" y="12"/>
                  </a:lnTo>
                  <a:lnTo>
                    <a:pt x="41" y="12"/>
                  </a:lnTo>
                  <a:lnTo>
                    <a:pt x="41" y="12"/>
                  </a:lnTo>
                  <a:lnTo>
                    <a:pt x="41" y="12"/>
                  </a:lnTo>
                  <a:lnTo>
                    <a:pt x="41" y="12"/>
                  </a:lnTo>
                  <a:lnTo>
                    <a:pt x="41" y="12"/>
                  </a:lnTo>
                  <a:lnTo>
                    <a:pt x="41" y="12"/>
                  </a:lnTo>
                  <a:lnTo>
                    <a:pt x="41" y="12"/>
                  </a:lnTo>
                  <a:lnTo>
                    <a:pt x="41" y="12"/>
                  </a:lnTo>
                  <a:lnTo>
                    <a:pt x="41" y="13"/>
                  </a:lnTo>
                  <a:lnTo>
                    <a:pt x="41" y="13"/>
                  </a:lnTo>
                  <a:lnTo>
                    <a:pt x="41" y="13"/>
                  </a:lnTo>
                  <a:lnTo>
                    <a:pt x="41" y="13"/>
                  </a:lnTo>
                  <a:lnTo>
                    <a:pt x="41" y="13"/>
                  </a:lnTo>
                  <a:lnTo>
                    <a:pt x="41" y="13"/>
                  </a:lnTo>
                  <a:lnTo>
                    <a:pt x="41" y="13"/>
                  </a:lnTo>
                  <a:close/>
                  <a:moveTo>
                    <a:pt x="43" y="12"/>
                  </a:moveTo>
                  <a:lnTo>
                    <a:pt x="43" y="12"/>
                  </a:lnTo>
                  <a:lnTo>
                    <a:pt x="43" y="12"/>
                  </a:lnTo>
                  <a:lnTo>
                    <a:pt x="43" y="12"/>
                  </a:lnTo>
                  <a:lnTo>
                    <a:pt x="43" y="12"/>
                  </a:lnTo>
                  <a:lnTo>
                    <a:pt x="41" y="12"/>
                  </a:lnTo>
                  <a:lnTo>
                    <a:pt x="41" y="12"/>
                  </a:lnTo>
                  <a:lnTo>
                    <a:pt x="41" y="12"/>
                  </a:lnTo>
                  <a:lnTo>
                    <a:pt x="41" y="12"/>
                  </a:lnTo>
                  <a:lnTo>
                    <a:pt x="41" y="12"/>
                  </a:lnTo>
                  <a:lnTo>
                    <a:pt x="41" y="12"/>
                  </a:lnTo>
                  <a:lnTo>
                    <a:pt x="41" y="12"/>
                  </a:lnTo>
                  <a:lnTo>
                    <a:pt x="41" y="11"/>
                  </a:lnTo>
                  <a:lnTo>
                    <a:pt x="41" y="11"/>
                  </a:lnTo>
                  <a:lnTo>
                    <a:pt x="41" y="12"/>
                  </a:lnTo>
                  <a:lnTo>
                    <a:pt x="43" y="12"/>
                  </a:lnTo>
                  <a:close/>
                  <a:moveTo>
                    <a:pt x="44" y="7"/>
                  </a:moveTo>
                  <a:lnTo>
                    <a:pt x="44" y="8"/>
                  </a:lnTo>
                  <a:lnTo>
                    <a:pt x="44" y="8"/>
                  </a:lnTo>
                  <a:lnTo>
                    <a:pt x="44" y="8"/>
                  </a:lnTo>
                  <a:lnTo>
                    <a:pt x="44" y="8"/>
                  </a:lnTo>
                  <a:lnTo>
                    <a:pt x="44" y="9"/>
                  </a:lnTo>
                  <a:lnTo>
                    <a:pt x="44" y="9"/>
                  </a:lnTo>
                  <a:lnTo>
                    <a:pt x="44" y="9"/>
                  </a:lnTo>
                  <a:lnTo>
                    <a:pt x="44" y="9"/>
                  </a:lnTo>
                  <a:lnTo>
                    <a:pt x="44" y="11"/>
                  </a:lnTo>
                  <a:lnTo>
                    <a:pt x="44" y="11"/>
                  </a:lnTo>
                  <a:lnTo>
                    <a:pt x="44" y="11"/>
                  </a:lnTo>
                  <a:lnTo>
                    <a:pt x="44" y="11"/>
                  </a:lnTo>
                  <a:lnTo>
                    <a:pt x="43" y="11"/>
                  </a:lnTo>
                  <a:lnTo>
                    <a:pt x="43" y="11"/>
                  </a:lnTo>
                  <a:lnTo>
                    <a:pt x="43" y="11"/>
                  </a:lnTo>
                  <a:lnTo>
                    <a:pt x="43" y="11"/>
                  </a:lnTo>
                  <a:lnTo>
                    <a:pt x="43" y="11"/>
                  </a:lnTo>
                  <a:lnTo>
                    <a:pt x="43" y="12"/>
                  </a:lnTo>
                  <a:lnTo>
                    <a:pt x="43" y="12"/>
                  </a:lnTo>
                  <a:lnTo>
                    <a:pt x="43" y="12"/>
                  </a:lnTo>
                  <a:lnTo>
                    <a:pt x="43" y="11"/>
                  </a:lnTo>
                  <a:lnTo>
                    <a:pt x="43" y="11"/>
                  </a:lnTo>
                  <a:lnTo>
                    <a:pt x="43" y="11"/>
                  </a:lnTo>
                  <a:lnTo>
                    <a:pt x="41" y="11"/>
                  </a:lnTo>
                  <a:lnTo>
                    <a:pt x="41" y="9"/>
                  </a:lnTo>
                  <a:lnTo>
                    <a:pt x="41" y="9"/>
                  </a:lnTo>
                  <a:lnTo>
                    <a:pt x="41" y="9"/>
                  </a:lnTo>
                  <a:lnTo>
                    <a:pt x="41" y="9"/>
                  </a:lnTo>
                  <a:lnTo>
                    <a:pt x="41" y="9"/>
                  </a:lnTo>
                  <a:lnTo>
                    <a:pt x="41" y="9"/>
                  </a:lnTo>
                  <a:lnTo>
                    <a:pt x="41" y="9"/>
                  </a:lnTo>
                  <a:lnTo>
                    <a:pt x="41" y="9"/>
                  </a:lnTo>
                  <a:lnTo>
                    <a:pt x="41" y="9"/>
                  </a:lnTo>
                  <a:lnTo>
                    <a:pt x="43" y="9"/>
                  </a:lnTo>
                  <a:lnTo>
                    <a:pt x="43" y="9"/>
                  </a:lnTo>
                  <a:lnTo>
                    <a:pt x="43" y="9"/>
                  </a:lnTo>
                  <a:lnTo>
                    <a:pt x="43" y="9"/>
                  </a:lnTo>
                  <a:lnTo>
                    <a:pt x="43" y="8"/>
                  </a:lnTo>
                  <a:lnTo>
                    <a:pt x="43" y="8"/>
                  </a:lnTo>
                  <a:lnTo>
                    <a:pt x="41" y="8"/>
                  </a:lnTo>
                  <a:lnTo>
                    <a:pt x="43" y="8"/>
                  </a:lnTo>
                  <a:lnTo>
                    <a:pt x="43" y="8"/>
                  </a:lnTo>
                  <a:lnTo>
                    <a:pt x="43" y="8"/>
                  </a:lnTo>
                  <a:lnTo>
                    <a:pt x="43" y="8"/>
                  </a:lnTo>
                  <a:lnTo>
                    <a:pt x="43" y="8"/>
                  </a:lnTo>
                  <a:lnTo>
                    <a:pt x="43" y="8"/>
                  </a:lnTo>
                  <a:lnTo>
                    <a:pt x="43" y="7"/>
                  </a:lnTo>
                  <a:lnTo>
                    <a:pt x="43" y="7"/>
                  </a:lnTo>
                  <a:lnTo>
                    <a:pt x="43" y="7"/>
                  </a:lnTo>
                  <a:lnTo>
                    <a:pt x="43" y="7"/>
                  </a:lnTo>
                  <a:lnTo>
                    <a:pt x="44" y="7"/>
                  </a:lnTo>
                  <a:lnTo>
                    <a:pt x="44" y="7"/>
                  </a:lnTo>
                  <a:lnTo>
                    <a:pt x="44" y="7"/>
                  </a:lnTo>
                  <a:lnTo>
                    <a:pt x="44" y="6"/>
                  </a:lnTo>
                  <a:lnTo>
                    <a:pt x="44" y="6"/>
                  </a:lnTo>
                  <a:lnTo>
                    <a:pt x="44" y="5"/>
                  </a:lnTo>
                  <a:lnTo>
                    <a:pt x="44" y="5"/>
                  </a:lnTo>
                  <a:lnTo>
                    <a:pt x="44" y="5"/>
                  </a:lnTo>
                  <a:lnTo>
                    <a:pt x="44" y="6"/>
                  </a:lnTo>
                  <a:lnTo>
                    <a:pt x="44" y="6"/>
                  </a:lnTo>
                  <a:lnTo>
                    <a:pt x="44" y="6"/>
                  </a:lnTo>
                  <a:lnTo>
                    <a:pt x="44" y="7"/>
                  </a:lnTo>
                  <a:lnTo>
                    <a:pt x="44" y="7"/>
                  </a:lnTo>
                  <a:close/>
                  <a:moveTo>
                    <a:pt x="44" y="0"/>
                  </a:moveTo>
                  <a:lnTo>
                    <a:pt x="44" y="0"/>
                  </a:lnTo>
                  <a:lnTo>
                    <a:pt x="44" y="0"/>
                  </a:lnTo>
                  <a:lnTo>
                    <a:pt x="44" y="0"/>
                  </a:lnTo>
                  <a:lnTo>
                    <a:pt x="44" y="0"/>
                  </a:lnTo>
                  <a:lnTo>
                    <a:pt x="44" y="0"/>
                  </a:lnTo>
                  <a:lnTo>
                    <a:pt x="44" y="0"/>
                  </a:lnTo>
                  <a:lnTo>
                    <a:pt x="44"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18" name="Freeform 976">
              <a:extLst>
                <a:ext uri="{FF2B5EF4-FFF2-40B4-BE49-F238E27FC236}">
                  <a16:creationId xmlns:a16="http://schemas.microsoft.com/office/drawing/2014/main" id="{2854858B-BE2D-43A7-B5CA-13C941104920}"/>
                </a:ext>
              </a:extLst>
            </p:cNvPr>
            <p:cNvSpPr>
              <a:spLocks noEditPoints="1"/>
            </p:cNvSpPr>
            <p:nvPr/>
          </p:nvSpPr>
          <p:spPr bwMode="auto">
            <a:xfrm>
              <a:off x="8422649" y="3376573"/>
              <a:ext cx="283123" cy="217685"/>
            </a:xfrm>
            <a:custGeom>
              <a:avLst/>
              <a:gdLst>
                <a:gd name="T0" fmla="*/ 180 w 212"/>
                <a:gd name="T1" fmla="*/ 158 h 163"/>
                <a:gd name="T2" fmla="*/ 158 w 212"/>
                <a:gd name="T3" fmla="*/ 147 h 163"/>
                <a:gd name="T4" fmla="*/ 149 w 212"/>
                <a:gd name="T5" fmla="*/ 140 h 163"/>
                <a:gd name="T6" fmla="*/ 136 w 212"/>
                <a:gd name="T7" fmla="*/ 137 h 163"/>
                <a:gd name="T8" fmla="*/ 137 w 212"/>
                <a:gd name="T9" fmla="*/ 131 h 163"/>
                <a:gd name="T10" fmla="*/ 129 w 212"/>
                <a:gd name="T11" fmla="*/ 130 h 163"/>
                <a:gd name="T12" fmla="*/ 165 w 212"/>
                <a:gd name="T13" fmla="*/ 124 h 163"/>
                <a:gd name="T14" fmla="*/ 41 w 212"/>
                <a:gd name="T15" fmla="*/ 114 h 163"/>
                <a:gd name="T16" fmla="*/ 31 w 212"/>
                <a:gd name="T17" fmla="*/ 112 h 163"/>
                <a:gd name="T18" fmla="*/ 38 w 212"/>
                <a:gd name="T19" fmla="*/ 108 h 163"/>
                <a:gd name="T20" fmla="*/ 99 w 212"/>
                <a:gd name="T21" fmla="*/ 66 h 163"/>
                <a:gd name="T22" fmla="*/ 209 w 212"/>
                <a:gd name="T23" fmla="*/ 80 h 163"/>
                <a:gd name="T24" fmla="*/ 201 w 212"/>
                <a:gd name="T25" fmla="*/ 81 h 163"/>
                <a:gd name="T26" fmla="*/ 103 w 212"/>
                <a:gd name="T27" fmla="*/ 65 h 163"/>
                <a:gd name="T28" fmla="*/ 195 w 212"/>
                <a:gd name="T29" fmla="*/ 63 h 163"/>
                <a:gd name="T30" fmla="*/ 124 w 212"/>
                <a:gd name="T31" fmla="*/ 53 h 163"/>
                <a:gd name="T32" fmla="*/ 163 w 212"/>
                <a:gd name="T33" fmla="*/ 46 h 163"/>
                <a:gd name="T34" fmla="*/ 159 w 212"/>
                <a:gd name="T35" fmla="*/ 63 h 163"/>
                <a:gd name="T36" fmla="*/ 146 w 212"/>
                <a:gd name="T37" fmla="*/ 73 h 163"/>
                <a:gd name="T38" fmla="*/ 128 w 212"/>
                <a:gd name="T39" fmla="*/ 79 h 163"/>
                <a:gd name="T40" fmla="*/ 110 w 212"/>
                <a:gd name="T41" fmla="*/ 70 h 163"/>
                <a:gd name="T42" fmla="*/ 123 w 212"/>
                <a:gd name="T43" fmla="*/ 67 h 163"/>
                <a:gd name="T44" fmla="*/ 130 w 212"/>
                <a:gd name="T45" fmla="*/ 62 h 163"/>
                <a:gd name="T46" fmla="*/ 144 w 212"/>
                <a:gd name="T47" fmla="*/ 62 h 163"/>
                <a:gd name="T48" fmla="*/ 152 w 212"/>
                <a:gd name="T49" fmla="*/ 46 h 163"/>
                <a:gd name="T50" fmla="*/ 63 w 212"/>
                <a:gd name="T51" fmla="*/ 42 h 163"/>
                <a:gd name="T52" fmla="*/ 196 w 212"/>
                <a:gd name="T53" fmla="*/ 31 h 163"/>
                <a:gd name="T54" fmla="*/ 144 w 212"/>
                <a:gd name="T55" fmla="*/ 26 h 163"/>
                <a:gd name="T56" fmla="*/ 160 w 212"/>
                <a:gd name="T57" fmla="*/ 20 h 163"/>
                <a:gd name="T58" fmla="*/ 35 w 212"/>
                <a:gd name="T59" fmla="*/ 32 h 163"/>
                <a:gd name="T60" fmla="*/ 56 w 212"/>
                <a:gd name="T61" fmla="*/ 41 h 163"/>
                <a:gd name="T62" fmla="*/ 72 w 212"/>
                <a:gd name="T63" fmla="*/ 58 h 163"/>
                <a:gd name="T64" fmla="*/ 85 w 212"/>
                <a:gd name="T65" fmla="*/ 70 h 163"/>
                <a:gd name="T66" fmla="*/ 98 w 212"/>
                <a:gd name="T67" fmla="*/ 86 h 163"/>
                <a:gd name="T68" fmla="*/ 92 w 212"/>
                <a:gd name="T69" fmla="*/ 98 h 163"/>
                <a:gd name="T70" fmla="*/ 103 w 212"/>
                <a:gd name="T71" fmla="*/ 116 h 163"/>
                <a:gd name="T72" fmla="*/ 115 w 212"/>
                <a:gd name="T73" fmla="*/ 123 h 163"/>
                <a:gd name="T74" fmla="*/ 121 w 212"/>
                <a:gd name="T75" fmla="*/ 133 h 163"/>
                <a:gd name="T76" fmla="*/ 132 w 212"/>
                <a:gd name="T77" fmla="*/ 143 h 163"/>
                <a:gd name="T78" fmla="*/ 123 w 212"/>
                <a:gd name="T79" fmla="*/ 147 h 163"/>
                <a:gd name="T80" fmla="*/ 113 w 212"/>
                <a:gd name="T81" fmla="*/ 142 h 163"/>
                <a:gd name="T82" fmla="*/ 92 w 212"/>
                <a:gd name="T83" fmla="*/ 138 h 163"/>
                <a:gd name="T84" fmla="*/ 81 w 212"/>
                <a:gd name="T85" fmla="*/ 125 h 163"/>
                <a:gd name="T86" fmla="*/ 74 w 212"/>
                <a:gd name="T87" fmla="*/ 112 h 163"/>
                <a:gd name="T88" fmla="*/ 58 w 212"/>
                <a:gd name="T89" fmla="*/ 102 h 163"/>
                <a:gd name="T90" fmla="*/ 50 w 212"/>
                <a:gd name="T91" fmla="*/ 101 h 163"/>
                <a:gd name="T92" fmla="*/ 39 w 212"/>
                <a:gd name="T93" fmla="*/ 96 h 163"/>
                <a:gd name="T94" fmla="*/ 37 w 212"/>
                <a:gd name="T95" fmla="*/ 105 h 163"/>
                <a:gd name="T96" fmla="*/ 21 w 212"/>
                <a:gd name="T97" fmla="*/ 109 h 163"/>
                <a:gd name="T98" fmla="*/ 24 w 212"/>
                <a:gd name="T99" fmla="*/ 125 h 163"/>
                <a:gd name="T100" fmla="*/ 2 w 212"/>
                <a:gd name="T101" fmla="*/ 125 h 163"/>
                <a:gd name="T102" fmla="*/ 2 w 212"/>
                <a:gd name="T103" fmla="*/ 81 h 163"/>
                <a:gd name="T104" fmla="*/ 146 w 212"/>
                <a:gd name="T105" fmla="*/ 21 h 163"/>
                <a:gd name="T106" fmla="*/ 165 w 212"/>
                <a:gd name="T107" fmla="*/ 35 h 163"/>
                <a:gd name="T108" fmla="*/ 173 w 212"/>
                <a:gd name="T109" fmla="*/ 51 h 163"/>
                <a:gd name="T110" fmla="*/ 165 w 212"/>
                <a:gd name="T111" fmla="*/ 39 h 163"/>
                <a:gd name="T112" fmla="*/ 144 w 212"/>
                <a:gd name="T113" fmla="*/ 21 h 163"/>
                <a:gd name="T114" fmla="*/ 134 w 212"/>
                <a:gd name="T115" fmla="*/ 20 h 163"/>
                <a:gd name="T116" fmla="*/ 96 w 212"/>
                <a:gd name="T117" fmla="*/ 10 h 163"/>
                <a:gd name="T118" fmla="*/ 84 w 212"/>
                <a:gd name="T119" fmla="*/ 12 h 163"/>
                <a:gd name="T120" fmla="*/ 127 w 212"/>
                <a:gd name="T121"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2" h="163">
                  <a:moveTo>
                    <a:pt x="166" y="158"/>
                  </a:moveTo>
                  <a:lnTo>
                    <a:pt x="166" y="159"/>
                  </a:lnTo>
                  <a:lnTo>
                    <a:pt x="167" y="159"/>
                  </a:lnTo>
                  <a:lnTo>
                    <a:pt x="169" y="159"/>
                  </a:lnTo>
                  <a:lnTo>
                    <a:pt x="170" y="160"/>
                  </a:lnTo>
                  <a:lnTo>
                    <a:pt x="172" y="161"/>
                  </a:lnTo>
                  <a:lnTo>
                    <a:pt x="172" y="163"/>
                  </a:lnTo>
                  <a:lnTo>
                    <a:pt x="173" y="163"/>
                  </a:lnTo>
                  <a:lnTo>
                    <a:pt x="172" y="163"/>
                  </a:lnTo>
                  <a:lnTo>
                    <a:pt x="171" y="163"/>
                  </a:lnTo>
                  <a:lnTo>
                    <a:pt x="170" y="163"/>
                  </a:lnTo>
                  <a:lnTo>
                    <a:pt x="169" y="163"/>
                  </a:lnTo>
                  <a:lnTo>
                    <a:pt x="169" y="161"/>
                  </a:lnTo>
                  <a:lnTo>
                    <a:pt x="167" y="161"/>
                  </a:lnTo>
                  <a:lnTo>
                    <a:pt x="167" y="160"/>
                  </a:lnTo>
                  <a:lnTo>
                    <a:pt x="166" y="160"/>
                  </a:lnTo>
                  <a:lnTo>
                    <a:pt x="166" y="161"/>
                  </a:lnTo>
                  <a:lnTo>
                    <a:pt x="166" y="160"/>
                  </a:lnTo>
                  <a:lnTo>
                    <a:pt x="166" y="159"/>
                  </a:lnTo>
                  <a:lnTo>
                    <a:pt x="165" y="159"/>
                  </a:lnTo>
                  <a:lnTo>
                    <a:pt x="165" y="158"/>
                  </a:lnTo>
                  <a:lnTo>
                    <a:pt x="166" y="158"/>
                  </a:lnTo>
                  <a:close/>
                  <a:moveTo>
                    <a:pt x="179" y="158"/>
                  </a:moveTo>
                  <a:lnTo>
                    <a:pt x="180" y="158"/>
                  </a:lnTo>
                  <a:lnTo>
                    <a:pt x="180" y="159"/>
                  </a:lnTo>
                  <a:lnTo>
                    <a:pt x="179" y="159"/>
                  </a:lnTo>
                  <a:lnTo>
                    <a:pt x="178" y="159"/>
                  </a:lnTo>
                  <a:lnTo>
                    <a:pt x="177" y="159"/>
                  </a:lnTo>
                  <a:lnTo>
                    <a:pt x="177" y="158"/>
                  </a:lnTo>
                  <a:lnTo>
                    <a:pt x="178" y="159"/>
                  </a:lnTo>
                  <a:lnTo>
                    <a:pt x="178" y="158"/>
                  </a:lnTo>
                  <a:lnTo>
                    <a:pt x="179" y="158"/>
                  </a:lnTo>
                  <a:close/>
                  <a:moveTo>
                    <a:pt x="166" y="157"/>
                  </a:moveTo>
                  <a:lnTo>
                    <a:pt x="165" y="157"/>
                  </a:lnTo>
                  <a:lnTo>
                    <a:pt x="164" y="157"/>
                  </a:lnTo>
                  <a:lnTo>
                    <a:pt x="164" y="156"/>
                  </a:lnTo>
                  <a:lnTo>
                    <a:pt x="165" y="156"/>
                  </a:lnTo>
                  <a:lnTo>
                    <a:pt x="166" y="157"/>
                  </a:lnTo>
                  <a:close/>
                  <a:moveTo>
                    <a:pt x="158" y="146"/>
                  </a:moveTo>
                  <a:lnTo>
                    <a:pt x="159" y="147"/>
                  </a:lnTo>
                  <a:lnTo>
                    <a:pt x="160" y="147"/>
                  </a:lnTo>
                  <a:lnTo>
                    <a:pt x="160" y="146"/>
                  </a:lnTo>
                  <a:lnTo>
                    <a:pt x="162" y="147"/>
                  </a:lnTo>
                  <a:lnTo>
                    <a:pt x="160" y="147"/>
                  </a:lnTo>
                  <a:lnTo>
                    <a:pt x="160" y="149"/>
                  </a:lnTo>
                  <a:lnTo>
                    <a:pt x="159" y="149"/>
                  </a:lnTo>
                  <a:lnTo>
                    <a:pt x="159" y="147"/>
                  </a:lnTo>
                  <a:lnTo>
                    <a:pt x="158" y="147"/>
                  </a:lnTo>
                  <a:lnTo>
                    <a:pt x="158" y="146"/>
                  </a:lnTo>
                  <a:close/>
                  <a:moveTo>
                    <a:pt x="137" y="146"/>
                  </a:moveTo>
                  <a:lnTo>
                    <a:pt x="137" y="147"/>
                  </a:lnTo>
                  <a:lnTo>
                    <a:pt x="136" y="147"/>
                  </a:lnTo>
                  <a:lnTo>
                    <a:pt x="135" y="147"/>
                  </a:lnTo>
                  <a:lnTo>
                    <a:pt x="135" y="146"/>
                  </a:lnTo>
                  <a:lnTo>
                    <a:pt x="136" y="146"/>
                  </a:lnTo>
                  <a:lnTo>
                    <a:pt x="137" y="146"/>
                  </a:lnTo>
                  <a:close/>
                  <a:moveTo>
                    <a:pt x="134" y="145"/>
                  </a:moveTo>
                  <a:lnTo>
                    <a:pt x="134" y="146"/>
                  </a:lnTo>
                  <a:lnTo>
                    <a:pt x="134" y="145"/>
                  </a:lnTo>
                  <a:lnTo>
                    <a:pt x="135" y="145"/>
                  </a:lnTo>
                  <a:lnTo>
                    <a:pt x="135" y="146"/>
                  </a:lnTo>
                  <a:lnTo>
                    <a:pt x="135" y="147"/>
                  </a:lnTo>
                  <a:lnTo>
                    <a:pt x="134" y="147"/>
                  </a:lnTo>
                  <a:lnTo>
                    <a:pt x="134" y="146"/>
                  </a:lnTo>
                  <a:lnTo>
                    <a:pt x="132" y="146"/>
                  </a:lnTo>
                  <a:lnTo>
                    <a:pt x="134" y="146"/>
                  </a:lnTo>
                  <a:lnTo>
                    <a:pt x="134" y="147"/>
                  </a:lnTo>
                  <a:lnTo>
                    <a:pt x="135" y="147"/>
                  </a:lnTo>
                  <a:lnTo>
                    <a:pt x="135" y="146"/>
                  </a:lnTo>
                  <a:lnTo>
                    <a:pt x="134" y="146"/>
                  </a:lnTo>
                  <a:lnTo>
                    <a:pt x="134" y="145"/>
                  </a:lnTo>
                  <a:close/>
                  <a:moveTo>
                    <a:pt x="149" y="140"/>
                  </a:moveTo>
                  <a:lnTo>
                    <a:pt x="149" y="142"/>
                  </a:lnTo>
                  <a:lnTo>
                    <a:pt x="149" y="140"/>
                  </a:lnTo>
                  <a:close/>
                  <a:moveTo>
                    <a:pt x="138" y="136"/>
                  </a:moveTo>
                  <a:lnTo>
                    <a:pt x="138" y="137"/>
                  </a:lnTo>
                  <a:lnTo>
                    <a:pt x="138" y="138"/>
                  </a:lnTo>
                  <a:lnTo>
                    <a:pt x="139" y="138"/>
                  </a:lnTo>
                  <a:lnTo>
                    <a:pt x="139" y="137"/>
                  </a:lnTo>
                  <a:lnTo>
                    <a:pt x="139" y="136"/>
                  </a:lnTo>
                  <a:lnTo>
                    <a:pt x="141" y="136"/>
                  </a:lnTo>
                  <a:lnTo>
                    <a:pt x="142" y="136"/>
                  </a:lnTo>
                  <a:lnTo>
                    <a:pt x="142" y="137"/>
                  </a:lnTo>
                  <a:lnTo>
                    <a:pt x="141" y="137"/>
                  </a:lnTo>
                  <a:lnTo>
                    <a:pt x="141" y="138"/>
                  </a:lnTo>
                  <a:lnTo>
                    <a:pt x="141" y="139"/>
                  </a:lnTo>
                  <a:lnTo>
                    <a:pt x="141" y="140"/>
                  </a:lnTo>
                  <a:lnTo>
                    <a:pt x="139" y="140"/>
                  </a:lnTo>
                  <a:lnTo>
                    <a:pt x="139" y="139"/>
                  </a:lnTo>
                  <a:lnTo>
                    <a:pt x="138" y="139"/>
                  </a:lnTo>
                  <a:lnTo>
                    <a:pt x="137" y="139"/>
                  </a:lnTo>
                  <a:lnTo>
                    <a:pt x="137" y="138"/>
                  </a:lnTo>
                  <a:lnTo>
                    <a:pt x="137" y="137"/>
                  </a:lnTo>
                  <a:lnTo>
                    <a:pt x="137" y="136"/>
                  </a:lnTo>
                  <a:lnTo>
                    <a:pt x="137" y="137"/>
                  </a:lnTo>
                  <a:lnTo>
                    <a:pt x="136" y="137"/>
                  </a:lnTo>
                  <a:lnTo>
                    <a:pt x="136" y="136"/>
                  </a:lnTo>
                  <a:lnTo>
                    <a:pt x="136" y="135"/>
                  </a:lnTo>
                  <a:lnTo>
                    <a:pt x="135" y="135"/>
                  </a:lnTo>
                  <a:lnTo>
                    <a:pt x="135" y="133"/>
                  </a:lnTo>
                  <a:lnTo>
                    <a:pt x="135" y="132"/>
                  </a:lnTo>
                  <a:lnTo>
                    <a:pt x="136" y="133"/>
                  </a:lnTo>
                  <a:lnTo>
                    <a:pt x="136" y="135"/>
                  </a:lnTo>
                  <a:lnTo>
                    <a:pt x="137" y="136"/>
                  </a:lnTo>
                  <a:lnTo>
                    <a:pt x="138" y="136"/>
                  </a:lnTo>
                  <a:close/>
                  <a:moveTo>
                    <a:pt x="138" y="131"/>
                  </a:moveTo>
                  <a:lnTo>
                    <a:pt x="138" y="132"/>
                  </a:lnTo>
                  <a:lnTo>
                    <a:pt x="138" y="131"/>
                  </a:lnTo>
                  <a:lnTo>
                    <a:pt x="137" y="131"/>
                  </a:lnTo>
                  <a:lnTo>
                    <a:pt x="138" y="130"/>
                  </a:lnTo>
                  <a:lnTo>
                    <a:pt x="138" y="131"/>
                  </a:lnTo>
                  <a:close/>
                  <a:moveTo>
                    <a:pt x="134" y="128"/>
                  </a:moveTo>
                  <a:lnTo>
                    <a:pt x="135" y="128"/>
                  </a:lnTo>
                  <a:lnTo>
                    <a:pt x="136" y="128"/>
                  </a:lnTo>
                  <a:lnTo>
                    <a:pt x="136" y="129"/>
                  </a:lnTo>
                  <a:lnTo>
                    <a:pt x="137" y="129"/>
                  </a:lnTo>
                  <a:lnTo>
                    <a:pt x="137" y="130"/>
                  </a:lnTo>
                  <a:lnTo>
                    <a:pt x="136" y="130"/>
                  </a:lnTo>
                  <a:lnTo>
                    <a:pt x="137" y="130"/>
                  </a:lnTo>
                  <a:lnTo>
                    <a:pt x="137" y="131"/>
                  </a:lnTo>
                  <a:lnTo>
                    <a:pt x="137" y="132"/>
                  </a:lnTo>
                  <a:lnTo>
                    <a:pt x="136" y="132"/>
                  </a:lnTo>
                  <a:lnTo>
                    <a:pt x="136" y="131"/>
                  </a:lnTo>
                  <a:lnTo>
                    <a:pt x="135" y="131"/>
                  </a:lnTo>
                  <a:lnTo>
                    <a:pt x="135" y="132"/>
                  </a:lnTo>
                  <a:lnTo>
                    <a:pt x="135" y="131"/>
                  </a:lnTo>
                  <a:lnTo>
                    <a:pt x="134" y="131"/>
                  </a:lnTo>
                  <a:lnTo>
                    <a:pt x="132" y="131"/>
                  </a:lnTo>
                  <a:lnTo>
                    <a:pt x="131" y="131"/>
                  </a:lnTo>
                  <a:lnTo>
                    <a:pt x="130" y="131"/>
                  </a:lnTo>
                  <a:lnTo>
                    <a:pt x="131" y="130"/>
                  </a:lnTo>
                  <a:lnTo>
                    <a:pt x="131" y="129"/>
                  </a:lnTo>
                  <a:lnTo>
                    <a:pt x="130" y="129"/>
                  </a:lnTo>
                  <a:lnTo>
                    <a:pt x="130" y="128"/>
                  </a:lnTo>
                  <a:lnTo>
                    <a:pt x="130" y="126"/>
                  </a:lnTo>
                  <a:lnTo>
                    <a:pt x="131" y="126"/>
                  </a:lnTo>
                  <a:lnTo>
                    <a:pt x="132" y="126"/>
                  </a:lnTo>
                  <a:lnTo>
                    <a:pt x="132" y="128"/>
                  </a:lnTo>
                  <a:lnTo>
                    <a:pt x="134" y="128"/>
                  </a:lnTo>
                  <a:close/>
                  <a:moveTo>
                    <a:pt x="130" y="126"/>
                  </a:moveTo>
                  <a:lnTo>
                    <a:pt x="130" y="128"/>
                  </a:lnTo>
                  <a:lnTo>
                    <a:pt x="129" y="128"/>
                  </a:lnTo>
                  <a:lnTo>
                    <a:pt x="129" y="129"/>
                  </a:lnTo>
                  <a:lnTo>
                    <a:pt x="129" y="130"/>
                  </a:lnTo>
                  <a:lnTo>
                    <a:pt x="128" y="129"/>
                  </a:lnTo>
                  <a:lnTo>
                    <a:pt x="127" y="128"/>
                  </a:lnTo>
                  <a:lnTo>
                    <a:pt x="127" y="126"/>
                  </a:lnTo>
                  <a:lnTo>
                    <a:pt x="126" y="126"/>
                  </a:lnTo>
                  <a:lnTo>
                    <a:pt x="127" y="126"/>
                  </a:lnTo>
                  <a:lnTo>
                    <a:pt x="127" y="125"/>
                  </a:lnTo>
                  <a:lnTo>
                    <a:pt x="128" y="124"/>
                  </a:lnTo>
                  <a:lnTo>
                    <a:pt x="129" y="125"/>
                  </a:lnTo>
                  <a:lnTo>
                    <a:pt x="129" y="126"/>
                  </a:lnTo>
                  <a:lnTo>
                    <a:pt x="130" y="126"/>
                  </a:lnTo>
                  <a:close/>
                  <a:moveTo>
                    <a:pt x="159" y="121"/>
                  </a:moveTo>
                  <a:lnTo>
                    <a:pt x="160" y="121"/>
                  </a:lnTo>
                  <a:lnTo>
                    <a:pt x="162" y="121"/>
                  </a:lnTo>
                  <a:lnTo>
                    <a:pt x="163" y="121"/>
                  </a:lnTo>
                  <a:lnTo>
                    <a:pt x="163" y="122"/>
                  </a:lnTo>
                  <a:lnTo>
                    <a:pt x="163" y="121"/>
                  </a:lnTo>
                  <a:lnTo>
                    <a:pt x="164" y="121"/>
                  </a:lnTo>
                  <a:lnTo>
                    <a:pt x="164" y="122"/>
                  </a:lnTo>
                  <a:lnTo>
                    <a:pt x="165" y="122"/>
                  </a:lnTo>
                  <a:lnTo>
                    <a:pt x="165" y="123"/>
                  </a:lnTo>
                  <a:lnTo>
                    <a:pt x="165" y="122"/>
                  </a:lnTo>
                  <a:lnTo>
                    <a:pt x="166" y="123"/>
                  </a:lnTo>
                  <a:lnTo>
                    <a:pt x="166" y="124"/>
                  </a:lnTo>
                  <a:lnTo>
                    <a:pt x="165" y="124"/>
                  </a:lnTo>
                  <a:lnTo>
                    <a:pt x="166" y="124"/>
                  </a:lnTo>
                  <a:lnTo>
                    <a:pt x="166" y="125"/>
                  </a:lnTo>
                  <a:lnTo>
                    <a:pt x="165" y="125"/>
                  </a:lnTo>
                  <a:lnTo>
                    <a:pt x="164" y="125"/>
                  </a:lnTo>
                  <a:lnTo>
                    <a:pt x="164" y="124"/>
                  </a:lnTo>
                  <a:lnTo>
                    <a:pt x="163" y="124"/>
                  </a:lnTo>
                  <a:lnTo>
                    <a:pt x="163" y="125"/>
                  </a:lnTo>
                  <a:lnTo>
                    <a:pt x="162" y="124"/>
                  </a:lnTo>
                  <a:lnTo>
                    <a:pt x="163" y="124"/>
                  </a:lnTo>
                  <a:lnTo>
                    <a:pt x="163" y="123"/>
                  </a:lnTo>
                  <a:lnTo>
                    <a:pt x="162" y="123"/>
                  </a:lnTo>
                  <a:lnTo>
                    <a:pt x="162" y="122"/>
                  </a:lnTo>
                  <a:lnTo>
                    <a:pt x="160" y="123"/>
                  </a:lnTo>
                  <a:lnTo>
                    <a:pt x="160" y="122"/>
                  </a:lnTo>
                  <a:lnTo>
                    <a:pt x="159" y="122"/>
                  </a:lnTo>
                  <a:lnTo>
                    <a:pt x="160" y="122"/>
                  </a:lnTo>
                  <a:lnTo>
                    <a:pt x="159" y="121"/>
                  </a:lnTo>
                  <a:lnTo>
                    <a:pt x="159" y="122"/>
                  </a:lnTo>
                  <a:lnTo>
                    <a:pt x="158" y="123"/>
                  </a:lnTo>
                  <a:lnTo>
                    <a:pt x="158" y="122"/>
                  </a:lnTo>
                  <a:lnTo>
                    <a:pt x="158" y="121"/>
                  </a:lnTo>
                  <a:lnTo>
                    <a:pt x="159" y="121"/>
                  </a:lnTo>
                  <a:close/>
                  <a:moveTo>
                    <a:pt x="39" y="114"/>
                  </a:moveTo>
                  <a:lnTo>
                    <a:pt x="41" y="114"/>
                  </a:lnTo>
                  <a:lnTo>
                    <a:pt x="39" y="114"/>
                  </a:lnTo>
                  <a:close/>
                  <a:moveTo>
                    <a:pt x="142" y="112"/>
                  </a:moveTo>
                  <a:lnTo>
                    <a:pt x="142" y="114"/>
                  </a:lnTo>
                  <a:lnTo>
                    <a:pt x="142" y="115"/>
                  </a:lnTo>
                  <a:lnTo>
                    <a:pt x="141" y="117"/>
                  </a:lnTo>
                  <a:lnTo>
                    <a:pt x="142" y="118"/>
                  </a:lnTo>
                  <a:lnTo>
                    <a:pt x="141" y="118"/>
                  </a:lnTo>
                  <a:lnTo>
                    <a:pt x="141" y="117"/>
                  </a:lnTo>
                  <a:lnTo>
                    <a:pt x="141" y="116"/>
                  </a:lnTo>
                  <a:lnTo>
                    <a:pt x="142" y="115"/>
                  </a:lnTo>
                  <a:lnTo>
                    <a:pt x="141" y="115"/>
                  </a:lnTo>
                  <a:lnTo>
                    <a:pt x="141" y="114"/>
                  </a:lnTo>
                  <a:lnTo>
                    <a:pt x="139" y="114"/>
                  </a:lnTo>
                  <a:lnTo>
                    <a:pt x="141" y="114"/>
                  </a:lnTo>
                  <a:lnTo>
                    <a:pt x="141" y="112"/>
                  </a:lnTo>
                  <a:lnTo>
                    <a:pt x="142" y="112"/>
                  </a:lnTo>
                  <a:close/>
                  <a:moveTo>
                    <a:pt x="37" y="117"/>
                  </a:moveTo>
                  <a:lnTo>
                    <a:pt x="37" y="116"/>
                  </a:lnTo>
                  <a:lnTo>
                    <a:pt x="35" y="115"/>
                  </a:lnTo>
                  <a:lnTo>
                    <a:pt x="34" y="115"/>
                  </a:lnTo>
                  <a:lnTo>
                    <a:pt x="34" y="114"/>
                  </a:lnTo>
                  <a:lnTo>
                    <a:pt x="32" y="114"/>
                  </a:lnTo>
                  <a:lnTo>
                    <a:pt x="32" y="112"/>
                  </a:lnTo>
                  <a:lnTo>
                    <a:pt x="31" y="112"/>
                  </a:lnTo>
                  <a:lnTo>
                    <a:pt x="32" y="112"/>
                  </a:lnTo>
                  <a:lnTo>
                    <a:pt x="34" y="114"/>
                  </a:lnTo>
                  <a:lnTo>
                    <a:pt x="35" y="114"/>
                  </a:lnTo>
                  <a:lnTo>
                    <a:pt x="36" y="114"/>
                  </a:lnTo>
                  <a:lnTo>
                    <a:pt x="37" y="115"/>
                  </a:lnTo>
                  <a:lnTo>
                    <a:pt x="37" y="116"/>
                  </a:lnTo>
                  <a:lnTo>
                    <a:pt x="37" y="117"/>
                  </a:lnTo>
                  <a:close/>
                  <a:moveTo>
                    <a:pt x="34" y="111"/>
                  </a:moveTo>
                  <a:lnTo>
                    <a:pt x="35" y="111"/>
                  </a:lnTo>
                  <a:lnTo>
                    <a:pt x="36" y="111"/>
                  </a:lnTo>
                  <a:lnTo>
                    <a:pt x="37" y="111"/>
                  </a:lnTo>
                  <a:lnTo>
                    <a:pt x="37" y="112"/>
                  </a:lnTo>
                  <a:lnTo>
                    <a:pt x="37" y="114"/>
                  </a:lnTo>
                  <a:lnTo>
                    <a:pt x="36" y="112"/>
                  </a:lnTo>
                  <a:lnTo>
                    <a:pt x="35" y="112"/>
                  </a:lnTo>
                  <a:lnTo>
                    <a:pt x="34" y="112"/>
                  </a:lnTo>
                  <a:lnTo>
                    <a:pt x="34" y="111"/>
                  </a:lnTo>
                  <a:close/>
                  <a:moveTo>
                    <a:pt x="38" y="112"/>
                  </a:moveTo>
                  <a:lnTo>
                    <a:pt x="37" y="111"/>
                  </a:lnTo>
                  <a:lnTo>
                    <a:pt x="36" y="111"/>
                  </a:lnTo>
                  <a:lnTo>
                    <a:pt x="37" y="110"/>
                  </a:lnTo>
                  <a:lnTo>
                    <a:pt x="38" y="111"/>
                  </a:lnTo>
                  <a:lnTo>
                    <a:pt x="38" y="112"/>
                  </a:lnTo>
                  <a:close/>
                  <a:moveTo>
                    <a:pt x="38" y="108"/>
                  </a:moveTo>
                  <a:lnTo>
                    <a:pt x="37" y="107"/>
                  </a:lnTo>
                  <a:lnTo>
                    <a:pt x="38" y="107"/>
                  </a:lnTo>
                  <a:lnTo>
                    <a:pt x="38" y="108"/>
                  </a:lnTo>
                  <a:close/>
                  <a:moveTo>
                    <a:pt x="39" y="107"/>
                  </a:moveTo>
                  <a:lnTo>
                    <a:pt x="38" y="107"/>
                  </a:lnTo>
                  <a:lnTo>
                    <a:pt x="37" y="107"/>
                  </a:lnTo>
                  <a:lnTo>
                    <a:pt x="37" y="105"/>
                  </a:lnTo>
                  <a:lnTo>
                    <a:pt x="38" y="105"/>
                  </a:lnTo>
                  <a:lnTo>
                    <a:pt x="38" y="107"/>
                  </a:lnTo>
                  <a:lnTo>
                    <a:pt x="39" y="107"/>
                  </a:lnTo>
                  <a:close/>
                  <a:moveTo>
                    <a:pt x="100" y="66"/>
                  </a:moveTo>
                  <a:lnTo>
                    <a:pt x="101" y="67"/>
                  </a:lnTo>
                  <a:lnTo>
                    <a:pt x="102" y="67"/>
                  </a:lnTo>
                  <a:lnTo>
                    <a:pt x="102" y="68"/>
                  </a:lnTo>
                  <a:lnTo>
                    <a:pt x="102" y="69"/>
                  </a:lnTo>
                  <a:lnTo>
                    <a:pt x="102" y="70"/>
                  </a:lnTo>
                  <a:lnTo>
                    <a:pt x="102" y="72"/>
                  </a:lnTo>
                  <a:lnTo>
                    <a:pt x="101" y="72"/>
                  </a:lnTo>
                  <a:lnTo>
                    <a:pt x="101" y="70"/>
                  </a:lnTo>
                  <a:lnTo>
                    <a:pt x="100" y="70"/>
                  </a:lnTo>
                  <a:lnTo>
                    <a:pt x="100" y="69"/>
                  </a:lnTo>
                  <a:lnTo>
                    <a:pt x="99" y="68"/>
                  </a:lnTo>
                  <a:lnTo>
                    <a:pt x="99" y="67"/>
                  </a:lnTo>
                  <a:lnTo>
                    <a:pt x="99" y="66"/>
                  </a:lnTo>
                  <a:lnTo>
                    <a:pt x="100" y="66"/>
                  </a:lnTo>
                  <a:close/>
                  <a:moveTo>
                    <a:pt x="196" y="66"/>
                  </a:moveTo>
                  <a:lnTo>
                    <a:pt x="198" y="66"/>
                  </a:lnTo>
                  <a:lnTo>
                    <a:pt x="198" y="67"/>
                  </a:lnTo>
                  <a:lnTo>
                    <a:pt x="199" y="66"/>
                  </a:lnTo>
                  <a:lnTo>
                    <a:pt x="199" y="67"/>
                  </a:lnTo>
                  <a:lnTo>
                    <a:pt x="200" y="67"/>
                  </a:lnTo>
                  <a:lnTo>
                    <a:pt x="201" y="68"/>
                  </a:lnTo>
                  <a:lnTo>
                    <a:pt x="201" y="69"/>
                  </a:lnTo>
                  <a:lnTo>
                    <a:pt x="201" y="70"/>
                  </a:lnTo>
                  <a:lnTo>
                    <a:pt x="202" y="72"/>
                  </a:lnTo>
                  <a:lnTo>
                    <a:pt x="203" y="73"/>
                  </a:lnTo>
                  <a:lnTo>
                    <a:pt x="205" y="73"/>
                  </a:lnTo>
                  <a:lnTo>
                    <a:pt x="205" y="74"/>
                  </a:lnTo>
                  <a:lnTo>
                    <a:pt x="205" y="75"/>
                  </a:lnTo>
                  <a:lnTo>
                    <a:pt x="205" y="76"/>
                  </a:lnTo>
                  <a:lnTo>
                    <a:pt x="206" y="76"/>
                  </a:lnTo>
                  <a:lnTo>
                    <a:pt x="207" y="77"/>
                  </a:lnTo>
                  <a:lnTo>
                    <a:pt x="207" y="76"/>
                  </a:lnTo>
                  <a:lnTo>
                    <a:pt x="207" y="77"/>
                  </a:lnTo>
                  <a:lnTo>
                    <a:pt x="208" y="77"/>
                  </a:lnTo>
                  <a:lnTo>
                    <a:pt x="208" y="79"/>
                  </a:lnTo>
                  <a:lnTo>
                    <a:pt x="209" y="79"/>
                  </a:lnTo>
                  <a:lnTo>
                    <a:pt x="209" y="80"/>
                  </a:lnTo>
                  <a:lnTo>
                    <a:pt x="210" y="81"/>
                  </a:lnTo>
                  <a:lnTo>
                    <a:pt x="210" y="82"/>
                  </a:lnTo>
                  <a:lnTo>
                    <a:pt x="210" y="83"/>
                  </a:lnTo>
                  <a:lnTo>
                    <a:pt x="212" y="84"/>
                  </a:lnTo>
                  <a:lnTo>
                    <a:pt x="212" y="86"/>
                  </a:lnTo>
                  <a:lnTo>
                    <a:pt x="210" y="86"/>
                  </a:lnTo>
                  <a:lnTo>
                    <a:pt x="210" y="87"/>
                  </a:lnTo>
                  <a:lnTo>
                    <a:pt x="210" y="86"/>
                  </a:lnTo>
                  <a:lnTo>
                    <a:pt x="210" y="87"/>
                  </a:lnTo>
                  <a:lnTo>
                    <a:pt x="209" y="86"/>
                  </a:lnTo>
                  <a:lnTo>
                    <a:pt x="208" y="87"/>
                  </a:lnTo>
                  <a:lnTo>
                    <a:pt x="208" y="88"/>
                  </a:lnTo>
                  <a:lnTo>
                    <a:pt x="207" y="88"/>
                  </a:lnTo>
                  <a:lnTo>
                    <a:pt x="207" y="87"/>
                  </a:lnTo>
                  <a:lnTo>
                    <a:pt x="206" y="87"/>
                  </a:lnTo>
                  <a:lnTo>
                    <a:pt x="205" y="87"/>
                  </a:lnTo>
                  <a:lnTo>
                    <a:pt x="203" y="87"/>
                  </a:lnTo>
                  <a:lnTo>
                    <a:pt x="203" y="86"/>
                  </a:lnTo>
                  <a:lnTo>
                    <a:pt x="202" y="86"/>
                  </a:lnTo>
                  <a:lnTo>
                    <a:pt x="202" y="84"/>
                  </a:lnTo>
                  <a:lnTo>
                    <a:pt x="201" y="82"/>
                  </a:lnTo>
                  <a:lnTo>
                    <a:pt x="200" y="82"/>
                  </a:lnTo>
                  <a:lnTo>
                    <a:pt x="201" y="82"/>
                  </a:lnTo>
                  <a:lnTo>
                    <a:pt x="201" y="81"/>
                  </a:lnTo>
                  <a:lnTo>
                    <a:pt x="201" y="80"/>
                  </a:lnTo>
                  <a:lnTo>
                    <a:pt x="201" y="79"/>
                  </a:lnTo>
                  <a:lnTo>
                    <a:pt x="200" y="77"/>
                  </a:lnTo>
                  <a:lnTo>
                    <a:pt x="199" y="77"/>
                  </a:lnTo>
                  <a:lnTo>
                    <a:pt x="199" y="76"/>
                  </a:lnTo>
                  <a:lnTo>
                    <a:pt x="198" y="76"/>
                  </a:lnTo>
                  <a:lnTo>
                    <a:pt x="198" y="75"/>
                  </a:lnTo>
                  <a:lnTo>
                    <a:pt x="196" y="74"/>
                  </a:lnTo>
                  <a:lnTo>
                    <a:pt x="196" y="73"/>
                  </a:lnTo>
                  <a:lnTo>
                    <a:pt x="195" y="73"/>
                  </a:lnTo>
                  <a:lnTo>
                    <a:pt x="195" y="72"/>
                  </a:lnTo>
                  <a:lnTo>
                    <a:pt x="195" y="70"/>
                  </a:lnTo>
                  <a:lnTo>
                    <a:pt x="195" y="69"/>
                  </a:lnTo>
                  <a:lnTo>
                    <a:pt x="195" y="68"/>
                  </a:lnTo>
                  <a:lnTo>
                    <a:pt x="195" y="67"/>
                  </a:lnTo>
                  <a:lnTo>
                    <a:pt x="196" y="67"/>
                  </a:lnTo>
                  <a:lnTo>
                    <a:pt x="196" y="66"/>
                  </a:lnTo>
                  <a:lnTo>
                    <a:pt x="195" y="66"/>
                  </a:lnTo>
                  <a:lnTo>
                    <a:pt x="195" y="65"/>
                  </a:lnTo>
                  <a:lnTo>
                    <a:pt x="196" y="65"/>
                  </a:lnTo>
                  <a:lnTo>
                    <a:pt x="196" y="66"/>
                  </a:lnTo>
                  <a:close/>
                  <a:moveTo>
                    <a:pt x="105" y="65"/>
                  </a:moveTo>
                  <a:lnTo>
                    <a:pt x="103" y="66"/>
                  </a:lnTo>
                  <a:lnTo>
                    <a:pt x="103" y="65"/>
                  </a:lnTo>
                  <a:lnTo>
                    <a:pt x="103" y="63"/>
                  </a:lnTo>
                  <a:lnTo>
                    <a:pt x="103" y="65"/>
                  </a:lnTo>
                  <a:lnTo>
                    <a:pt x="105" y="65"/>
                  </a:lnTo>
                  <a:close/>
                  <a:moveTo>
                    <a:pt x="98" y="63"/>
                  </a:moveTo>
                  <a:lnTo>
                    <a:pt x="96" y="63"/>
                  </a:lnTo>
                  <a:lnTo>
                    <a:pt x="96" y="62"/>
                  </a:lnTo>
                  <a:lnTo>
                    <a:pt x="98" y="62"/>
                  </a:lnTo>
                  <a:lnTo>
                    <a:pt x="98" y="63"/>
                  </a:lnTo>
                  <a:close/>
                  <a:moveTo>
                    <a:pt x="91" y="65"/>
                  </a:moveTo>
                  <a:lnTo>
                    <a:pt x="89" y="65"/>
                  </a:lnTo>
                  <a:lnTo>
                    <a:pt x="89" y="63"/>
                  </a:lnTo>
                  <a:lnTo>
                    <a:pt x="88" y="63"/>
                  </a:lnTo>
                  <a:lnTo>
                    <a:pt x="88" y="62"/>
                  </a:lnTo>
                  <a:lnTo>
                    <a:pt x="88" y="61"/>
                  </a:lnTo>
                  <a:lnTo>
                    <a:pt x="89" y="61"/>
                  </a:lnTo>
                  <a:lnTo>
                    <a:pt x="91" y="61"/>
                  </a:lnTo>
                  <a:lnTo>
                    <a:pt x="91" y="62"/>
                  </a:lnTo>
                  <a:lnTo>
                    <a:pt x="91" y="63"/>
                  </a:lnTo>
                  <a:lnTo>
                    <a:pt x="92" y="63"/>
                  </a:lnTo>
                  <a:lnTo>
                    <a:pt x="92" y="65"/>
                  </a:lnTo>
                  <a:lnTo>
                    <a:pt x="91" y="65"/>
                  </a:lnTo>
                  <a:close/>
                  <a:moveTo>
                    <a:pt x="195" y="60"/>
                  </a:moveTo>
                  <a:lnTo>
                    <a:pt x="195" y="61"/>
                  </a:lnTo>
                  <a:lnTo>
                    <a:pt x="195" y="63"/>
                  </a:lnTo>
                  <a:lnTo>
                    <a:pt x="195" y="65"/>
                  </a:lnTo>
                  <a:lnTo>
                    <a:pt x="194" y="65"/>
                  </a:lnTo>
                  <a:lnTo>
                    <a:pt x="194" y="63"/>
                  </a:lnTo>
                  <a:lnTo>
                    <a:pt x="194" y="62"/>
                  </a:lnTo>
                  <a:lnTo>
                    <a:pt x="193" y="61"/>
                  </a:lnTo>
                  <a:lnTo>
                    <a:pt x="194" y="61"/>
                  </a:lnTo>
                  <a:lnTo>
                    <a:pt x="194" y="60"/>
                  </a:lnTo>
                  <a:lnTo>
                    <a:pt x="193" y="60"/>
                  </a:lnTo>
                  <a:lnTo>
                    <a:pt x="194" y="59"/>
                  </a:lnTo>
                  <a:lnTo>
                    <a:pt x="194" y="58"/>
                  </a:lnTo>
                  <a:lnTo>
                    <a:pt x="195" y="58"/>
                  </a:lnTo>
                  <a:lnTo>
                    <a:pt x="195" y="59"/>
                  </a:lnTo>
                  <a:lnTo>
                    <a:pt x="195" y="60"/>
                  </a:lnTo>
                  <a:close/>
                  <a:moveTo>
                    <a:pt x="146" y="58"/>
                  </a:moveTo>
                  <a:lnTo>
                    <a:pt x="146" y="56"/>
                  </a:lnTo>
                  <a:lnTo>
                    <a:pt x="148" y="56"/>
                  </a:lnTo>
                  <a:lnTo>
                    <a:pt x="146" y="58"/>
                  </a:lnTo>
                  <a:close/>
                  <a:moveTo>
                    <a:pt x="119" y="56"/>
                  </a:moveTo>
                  <a:lnTo>
                    <a:pt x="119" y="55"/>
                  </a:lnTo>
                  <a:lnTo>
                    <a:pt x="119" y="56"/>
                  </a:lnTo>
                  <a:close/>
                  <a:moveTo>
                    <a:pt x="78" y="55"/>
                  </a:moveTo>
                  <a:lnTo>
                    <a:pt x="78" y="54"/>
                  </a:lnTo>
                  <a:lnTo>
                    <a:pt x="78" y="55"/>
                  </a:lnTo>
                  <a:close/>
                  <a:moveTo>
                    <a:pt x="124" y="53"/>
                  </a:moveTo>
                  <a:lnTo>
                    <a:pt x="123" y="53"/>
                  </a:lnTo>
                  <a:lnTo>
                    <a:pt x="124" y="53"/>
                  </a:lnTo>
                  <a:lnTo>
                    <a:pt x="123" y="53"/>
                  </a:lnTo>
                  <a:lnTo>
                    <a:pt x="123" y="52"/>
                  </a:lnTo>
                  <a:lnTo>
                    <a:pt x="124" y="52"/>
                  </a:lnTo>
                  <a:lnTo>
                    <a:pt x="124" y="53"/>
                  </a:lnTo>
                  <a:close/>
                  <a:moveTo>
                    <a:pt x="74" y="54"/>
                  </a:moveTo>
                  <a:lnTo>
                    <a:pt x="73" y="53"/>
                  </a:lnTo>
                  <a:lnTo>
                    <a:pt x="73" y="52"/>
                  </a:lnTo>
                  <a:lnTo>
                    <a:pt x="74" y="51"/>
                  </a:lnTo>
                  <a:lnTo>
                    <a:pt x="75" y="51"/>
                  </a:lnTo>
                  <a:lnTo>
                    <a:pt x="75" y="52"/>
                  </a:lnTo>
                  <a:lnTo>
                    <a:pt x="75" y="53"/>
                  </a:lnTo>
                  <a:lnTo>
                    <a:pt x="74" y="54"/>
                  </a:lnTo>
                  <a:close/>
                  <a:moveTo>
                    <a:pt x="190" y="49"/>
                  </a:moveTo>
                  <a:lnTo>
                    <a:pt x="190" y="51"/>
                  </a:lnTo>
                  <a:lnTo>
                    <a:pt x="190" y="52"/>
                  </a:lnTo>
                  <a:lnTo>
                    <a:pt x="190" y="51"/>
                  </a:lnTo>
                  <a:lnTo>
                    <a:pt x="190" y="49"/>
                  </a:lnTo>
                  <a:close/>
                  <a:moveTo>
                    <a:pt x="188" y="49"/>
                  </a:moveTo>
                  <a:lnTo>
                    <a:pt x="188" y="48"/>
                  </a:lnTo>
                  <a:lnTo>
                    <a:pt x="188" y="49"/>
                  </a:lnTo>
                  <a:close/>
                  <a:moveTo>
                    <a:pt x="163" y="45"/>
                  </a:moveTo>
                  <a:lnTo>
                    <a:pt x="163" y="46"/>
                  </a:lnTo>
                  <a:lnTo>
                    <a:pt x="162" y="46"/>
                  </a:lnTo>
                  <a:lnTo>
                    <a:pt x="162" y="45"/>
                  </a:lnTo>
                  <a:lnTo>
                    <a:pt x="162" y="46"/>
                  </a:lnTo>
                  <a:lnTo>
                    <a:pt x="162" y="47"/>
                  </a:lnTo>
                  <a:lnTo>
                    <a:pt x="163" y="47"/>
                  </a:lnTo>
                  <a:lnTo>
                    <a:pt x="164" y="47"/>
                  </a:lnTo>
                  <a:lnTo>
                    <a:pt x="165" y="47"/>
                  </a:lnTo>
                  <a:lnTo>
                    <a:pt x="165" y="48"/>
                  </a:lnTo>
                  <a:lnTo>
                    <a:pt x="164" y="49"/>
                  </a:lnTo>
                  <a:lnTo>
                    <a:pt x="164" y="51"/>
                  </a:lnTo>
                  <a:lnTo>
                    <a:pt x="164" y="52"/>
                  </a:lnTo>
                  <a:lnTo>
                    <a:pt x="164" y="53"/>
                  </a:lnTo>
                  <a:lnTo>
                    <a:pt x="164" y="54"/>
                  </a:lnTo>
                  <a:lnTo>
                    <a:pt x="163" y="56"/>
                  </a:lnTo>
                  <a:lnTo>
                    <a:pt x="162" y="56"/>
                  </a:lnTo>
                  <a:lnTo>
                    <a:pt x="162" y="58"/>
                  </a:lnTo>
                  <a:lnTo>
                    <a:pt x="160" y="58"/>
                  </a:lnTo>
                  <a:lnTo>
                    <a:pt x="159" y="58"/>
                  </a:lnTo>
                  <a:lnTo>
                    <a:pt x="158" y="58"/>
                  </a:lnTo>
                  <a:lnTo>
                    <a:pt x="158" y="60"/>
                  </a:lnTo>
                  <a:lnTo>
                    <a:pt x="158" y="61"/>
                  </a:lnTo>
                  <a:lnTo>
                    <a:pt x="159" y="61"/>
                  </a:lnTo>
                  <a:lnTo>
                    <a:pt x="159" y="62"/>
                  </a:lnTo>
                  <a:lnTo>
                    <a:pt x="159" y="63"/>
                  </a:lnTo>
                  <a:lnTo>
                    <a:pt x="159" y="65"/>
                  </a:lnTo>
                  <a:lnTo>
                    <a:pt x="158" y="65"/>
                  </a:lnTo>
                  <a:lnTo>
                    <a:pt x="158" y="66"/>
                  </a:lnTo>
                  <a:lnTo>
                    <a:pt x="157" y="66"/>
                  </a:lnTo>
                  <a:lnTo>
                    <a:pt x="157" y="67"/>
                  </a:lnTo>
                  <a:lnTo>
                    <a:pt x="156" y="67"/>
                  </a:lnTo>
                  <a:lnTo>
                    <a:pt x="155" y="67"/>
                  </a:lnTo>
                  <a:lnTo>
                    <a:pt x="153" y="66"/>
                  </a:lnTo>
                  <a:lnTo>
                    <a:pt x="152" y="66"/>
                  </a:lnTo>
                  <a:lnTo>
                    <a:pt x="152" y="67"/>
                  </a:lnTo>
                  <a:lnTo>
                    <a:pt x="151" y="66"/>
                  </a:lnTo>
                  <a:lnTo>
                    <a:pt x="150" y="66"/>
                  </a:lnTo>
                  <a:lnTo>
                    <a:pt x="150" y="67"/>
                  </a:lnTo>
                  <a:lnTo>
                    <a:pt x="150" y="68"/>
                  </a:lnTo>
                  <a:lnTo>
                    <a:pt x="151" y="68"/>
                  </a:lnTo>
                  <a:lnTo>
                    <a:pt x="150" y="69"/>
                  </a:lnTo>
                  <a:lnTo>
                    <a:pt x="150" y="68"/>
                  </a:lnTo>
                  <a:lnTo>
                    <a:pt x="150" y="69"/>
                  </a:lnTo>
                  <a:lnTo>
                    <a:pt x="149" y="69"/>
                  </a:lnTo>
                  <a:lnTo>
                    <a:pt x="149" y="70"/>
                  </a:lnTo>
                  <a:lnTo>
                    <a:pt x="149" y="72"/>
                  </a:lnTo>
                  <a:lnTo>
                    <a:pt x="148" y="72"/>
                  </a:lnTo>
                  <a:lnTo>
                    <a:pt x="146" y="72"/>
                  </a:lnTo>
                  <a:lnTo>
                    <a:pt x="146" y="73"/>
                  </a:lnTo>
                  <a:lnTo>
                    <a:pt x="145" y="73"/>
                  </a:lnTo>
                  <a:lnTo>
                    <a:pt x="144" y="74"/>
                  </a:lnTo>
                  <a:lnTo>
                    <a:pt x="143" y="74"/>
                  </a:lnTo>
                  <a:lnTo>
                    <a:pt x="142" y="74"/>
                  </a:lnTo>
                  <a:lnTo>
                    <a:pt x="141" y="74"/>
                  </a:lnTo>
                  <a:lnTo>
                    <a:pt x="141" y="75"/>
                  </a:lnTo>
                  <a:lnTo>
                    <a:pt x="139" y="75"/>
                  </a:lnTo>
                  <a:lnTo>
                    <a:pt x="139" y="76"/>
                  </a:lnTo>
                  <a:lnTo>
                    <a:pt x="138" y="76"/>
                  </a:lnTo>
                  <a:lnTo>
                    <a:pt x="137" y="76"/>
                  </a:lnTo>
                  <a:lnTo>
                    <a:pt x="137" y="77"/>
                  </a:lnTo>
                  <a:lnTo>
                    <a:pt x="136" y="77"/>
                  </a:lnTo>
                  <a:lnTo>
                    <a:pt x="135" y="77"/>
                  </a:lnTo>
                  <a:lnTo>
                    <a:pt x="135" y="79"/>
                  </a:lnTo>
                  <a:lnTo>
                    <a:pt x="134" y="79"/>
                  </a:lnTo>
                  <a:lnTo>
                    <a:pt x="132" y="79"/>
                  </a:lnTo>
                  <a:lnTo>
                    <a:pt x="131" y="77"/>
                  </a:lnTo>
                  <a:lnTo>
                    <a:pt x="130" y="79"/>
                  </a:lnTo>
                  <a:lnTo>
                    <a:pt x="130" y="77"/>
                  </a:lnTo>
                  <a:lnTo>
                    <a:pt x="129" y="77"/>
                  </a:lnTo>
                  <a:lnTo>
                    <a:pt x="129" y="79"/>
                  </a:lnTo>
                  <a:lnTo>
                    <a:pt x="129" y="77"/>
                  </a:lnTo>
                  <a:lnTo>
                    <a:pt x="129" y="79"/>
                  </a:lnTo>
                  <a:lnTo>
                    <a:pt x="128" y="79"/>
                  </a:lnTo>
                  <a:lnTo>
                    <a:pt x="127" y="79"/>
                  </a:lnTo>
                  <a:lnTo>
                    <a:pt x="126" y="79"/>
                  </a:lnTo>
                  <a:lnTo>
                    <a:pt x="124" y="79"/>
                  </a:lnTo>
                  <a:lnTo>
                    <a:pt x="123" y="79"/>
                  </a:lnTo>
                  <a:lnTo>
                    <a:pt x="123" y="77"/>
                  </a:lnTo>
                  <a:lnTo>
                    <a:pt x="123" y="76"/>
                  </a:lnTo>
                  <a:lnTo>
                    <a:pt x="122" y="75"/>
                  </a:lnTo>
                  <a:lnTo>
                    <a:pt x="121" y="75"/>
                  </a:lnTo>
                  <a:lnTo>
                    <a:pt x="120" y="75"/>
                  </a:lnTo>
                  <a:lnTo>
                    <a:pt x="119" y="75"/>
                  </a:lnTo>
                  <a:lnTo>
                    <a:pt x="117" y="75"/>
                  </a:lnTo>
                  <a:lnTo>
                    <a:pt x="117" y="76"/>
                  </a:lnTo>
                  <a:lnTo>
                    <a:pt x="116" y="76"/>
                  </a:lnTo>
                  <a:lnTo>
                    <a:pt x="116" y="75"/>
                  </a:lnTo>
                  <a:lnTo>
                    <a:pt x="116" y="74"/>
                  </a:lnTo>
                  <a:lnTo>
                    <a:pt x="115" y="74"/>
                  </a:lnTo>
                  <a:lnTo>
                    <a:pt x="114" y="74"/>
                  </a:lnTo>
                  <a:lnTo>
                    <a:pt x="113" y="73"/>
                  </a:lnTo>
                  <a:lnTo>
                    <a:pt x="114" y="73"/>
                  </a:lnTo>
                  <a:lnTo>
                    <a:pt x="113" y="73"/>
                  </a:lnTo>
                  <a:lnTo>
                    <a:pt x="113" y="72"/>
                  </a:lnTo>
                  <a:lnTo>
                    <a:pt x="112" y="72"/>
                  </a:lnTo>
                  <a:lnTo>
                    <a:pt x="110" y="72"/>
                  </a:lnTo>
                  <a:lnTo>
                    <a:pt x="110" y="70"/>
                  </a:lnTo>
                  <a:lnTo>
                    <a:pt x="109" y="72"/>
                  </a:lnTo>
                  <a:lnTo>
                    <a:pt x="109" y="70"/>
                  </a:lnTo>
                  <a:lnTo>
                    <a:pt x="108" y="70"/>
                  </a:lnTo>
                  <a:lnTo>
                    <a:pt x="107" y="70"/>
                  </a:lnTo>
                  <a:lnTo>
                    <a:pt x="107" y="69"/>
                  </a:lnTo>
                  <a:lnTo>
                    <a:pt x="106" y="68"/>
                  </a:lnTo>
                  <a:lnTo>
                    <a:pt x="107" y="66"/>
                  </a:lnTo>
                  <a:lnTo>
                    <a:pt x="108" y="65"/>
                  </a:lnTo>
                  <a:lnTo>
                    <a:pt x="108" y="66"/>
                  </a:lnTo>
                  <a:lnTo>
                    <a:pt x="109" y="66"/>
                  </a:lnTo>
                  <a:lnTo>
                    <a:pt x="109" y="67"/>
                  </a:lnTo>
                  <a:lnTo>
                    <a:pt x="110" y="66"/>
                  </a:lnTo>
                  <a:lnTo>
                    <a:pt x="112" y="66"/>
                  </a:lnTo>
                  <a:lnTo>
                    <a:pt x="113" y="66"/>
                  </a:lnTo>
                  <a:lnTo>
                    <a:pt x="114" y="66"/>
                  </a:lnTo>
                  <a:lnTo>
                    <a:pt x="114" y="67"/>
                  </a:lnTo>
                  <a:lnTo>
                    <a:pt x="114" y="66"/>
                  </a:lnTo>
                  <a:lnTo>
                    <a:pt x="115" y="66"/>
                  </a:lnTo>
                  <a:lnTo>
                    <a:pt x="116" y="66"/>
                  </a:lnTo>
                  <a:lnTo>
                    <a:pt x="117" y="66"/>
                  </a:lnTo>
                  <a:lnTo>
                    <a:pt x="119" y="67"/>
                  </a:lnTo>
                  <a:lnTo>
                    <a:pt x="121" y="67"/>
                  </a:lnTo>
                  <a:lnTo>
                    <a:pt x="122" y="67"/>
                  </a:lnTo>
                  <a:lnTo>
                    <a:pt x="123" y="67"/>
                  </a:lnTo>
                  <a:lnTo>
                    <a:pt x="124" y="66"/>
                  </a:lnTo>
                  <a:lnTo>
                    <a:pt x="126" y="66"/>
                  </a:lnTo>
                  <a:lnTo>
                    <a:pt x="126" y="67"/>
                  </a:lnTo>
                  <a:lnTo>
                    <a:pt x="127" y="67"/>
                  </a:lnTo>
                  <a:lnTo>
                    <a:pt x="127" y="66"/>
                  </a:lnTo>
                  <a:lnTo>
                    <a:pt x="128" y="66"/>
                  </a:lnTo>
                  <a:lnTo>
                    <a:pt x="129" y="66"/>
                  </a:lnTo>
                  <a:lnTo>
                    <a:pt x="129" y="65"/>
                  </a:lnTo>
                  <a:lnTo>
                    <a:pt x="130" y="65"/>
                  </a:lnTo>
                  <a:lnTo>
                    <a:pt x="129" y="65"/>
                  </a:lnTo>
                  <a:lnTo>
                    <a:pt x="129" y="63"/>
                  </a:lnTo>
                  <a:lnTo>
                    <a:pt x="129" y="62"/>
                  </a:lnTo>
                  <a:lnTo>
                    <a:pt x="130" y="62"/>
                  </a:lnTo>
                  <a:lnTo>
                    <a:pt x="130" y="61"/>
                  </a:lnTo>
                  <a:lnTo>
                    <a:pt x="130" y="60"/>
                  </a:lnTo>
                  <a:lnTo>
                    <a:pt x="130" y="59"/>
                  </a:lnTo>
                  <a:lnTo>
                    <a:pt x="131" y="58"/>
                  </a:lnTo>
                  <a:lnTo>
                    <a:pt x="132" y="58"/>
                  </a:lnTo>
                  <a:lnTo>
                    <a:pt x="132" y="59"/>
                  </a:lnTo>
                  <a:lnTo>
                    <a:pt x="132" y="60"/>
                  </a:lnTo>
                  <a:lnTo>
                    <a:pt x="131" y="60"/>
                  </a:lnTo>
                  <a:lnTo>
                    <a:pt x="131" y="61"/>
                  </a:lnTo>
                  <a:lnTo>
                    <a:pt x="131" y="62"/>
                  </a:lnTo>
                  <a:lnTo>
                    <a:pt x="130" y="62"/>
                  </a:lnTo>
                  <a:lnTo>
                    <a:pt x="130" y="63"/>
                  </a:lnTo>
                  <a:lnTo>
                    <a:pt x="131" y="63"/>
                  </a:lnTo>
                  <a:lnTo>
                    <a:pt x="131" y="65"/>
                  </a:lnTo>
                  <a:lnTo>
                    <a:pt x="131" y="66"/>
                  </a:lnTo>
                  <a:lnTo>
                    <a:pt x="132" y="67"/>
                  </a:lnTo>
                  <a:lnTo>
                    <a:pt x="134" y="67"/>
                  </a:lnTo>
                  <a:lnTo>
                    <a:pt x="134" y="66"/>
                  </a:lnTo>
                  <a:lnTo>
                    <a:pt x="135" y="66"/>
                  </a:lnTo>
                  <a:lnTo>
                    <a:pt x="136" y="65"/>
                  </a:lnTo>
                  <a:lnTo>
                    <a:pt x="137" y="65"/>
                  </a:lnTo>
                  <a:lnTo>
                    <a:pt x="137" y="66"/>
                  </a:lnTo>
                  <a:lnTo>
                    <a:pt x="138" y="66"/>
                  </a:lnTo>
                  <a:lnTo>
                    <a:pt x="138" y="67"/>
                  </a:lnTo>
                  <a:lnTo>
                    <a:pt x="139" y="67"/>
                  </a:lnTo>
                  <a:lnTo>
                    <a:pt x="139" y="66"/>
                  </a:lnTo>
                  <a:lnTo>
                    <a:pt x="141" y="66"/>
                  </a:lnTo>
                  <a:lnTo>
                    <a:pt x="141" y="65"/>
                  </a:lnTo>
                  <a:lnTo>
                    <a:pt x="142" y="65"/>
                  </a:lnTo>
                  <a:lnTo>
                    <a:pt x="142" y="66"/>
                  </a:lnTo>
                  <a:lnTo>
                    <a:pt x="143" y="66"/>
                  </a:lnTo>
                  <a:lnTo>
                    <a:pt x="143" y="65"/>
                  </a:lnTo>
                  <a:lnTo>
                    <a:pt x="144" y="65"/>
                  </a:lnTo>
                  <a:lnTo>
                    <a:pt x="144" y="63"/>
                  </a:lnTo>
                  <a:lnTo>
                    <a:pt x="144" y="62"/>
                  </a:lnTo>
                  <a:lnTo>
                    <a:pt x="145" y="61"/>
                  </a:lnTo>
                  <a:lnTo>
                    <a:pt x="145" y="60"/>
                  </a:lnTo>
                  <a:lnTo>
                    <a:pt x="146" y="60"/>
                  </a:lnTo>
                  <a:lnTo>
                    <a:pt x="146" y="59"/>
                  </a:lnTo>
                  <a:lnTo>
                    <a:pt x="148" y="58"/>
                  </a:lnTo>
                  <a:lnTo>
                    <a:pt x="149" y="58"/>
                  </a:lnTo>
                  <a:lnTo>
                    <a:pt x="149" y="56"/>
                  </a:lnTo>
                  <a:lnTo>
                    <a:pt x="150" y="56"/>
                  </a:lnTo>
                  <a:lnTo>
                    <a:pt x="151" y="56"/>
                  </a:lnTo>
                  <a:lnTo>
                    <a:pt x="152" y="56"/>
                  </a:lnTo>
                  <a:lnTo>
                    <a:pt x="152" y="58"/>
                  </a:lnTo>
                  <a:lnTo>
                    <a:pt x="153" y="58"/>
                  </a:lnTo>
                  <a:lnTo>
                    <a:pt x="153" y="56"/>
                  </a:lnTo>
                  <a:lnTo>
                    <a:pt x="153" y="55"/>
                  </a:lnTo>
                  <a:lnTo>
                    <a:pt x="155" y="55"/>
                  </a:lnTo>
                  <a:lnTo>
                    <a:pt x="153" y="55"/>
                  </a:lnTo>
                  <a:lnTo>
                    <a:pt x="153" y="54"/>
                  </a:lnTo>
                  <a:lnTo>
                    <a:pt x="153" y="53"/>
                  </a:lnTo>
                  <a:lnTo>
                    <a:pt x="153" y="52"/>
                  </a:lnTo>
                  <a:lnTo>
                    <a:pt x="153" y="51"/>
                  </a:lnTo>
                  <a:lnTo>
                    <a:pt x="153" y="49"/>
                  </a:lnTo>
                  <a:lnTo>
                    <a:pt x="152" y="48"/>
                  </a:lnTo>
                  <a:lnTo>
                    <a:pt x="152" y="47"/>
                  </a:lnTo>
                  <a:lnTo>
                    <a:pt x="152" y="46"/>
                  </a:lnTo>
                  <a:lnTo>
                    <a:pt x="152" y="45"/>
                  </a:lnTo>
                  <a:lnTo>
                    <a:pt x="153" y="45"/>
                  </a:lnTo>
                  <a:lnTo>
                    <a:pt x="155" y="45"/>
                  </a:lnTo>
                  <a:lnTo>
                    <a:pt x="155" y="46"/>
                  </a:lnTo>
                  <a:lnTo>
                    <a:pt x="156" y="45"/>
                  </a:lnTo>
                  <a:lnTo>
                    <a:pt x="157" y="46"/>
                  </a:lnTo>
                  <a:lnTo>
                    <a:pt x="157" y="47"/>
                  </a:lnTo>
                  <a:lnTo>
                    <a:pt x="158" y="47"/>
                  </a:lnTo>
                  <a:lnTo>
                    <a:pt x="159" y="47"/>
                  </a:lnTo>
                  <a:lnTo>
                    <a:pt x="159" y="46"/>
                  </a:lnTo>
                  <a:lnTo>
                    <a:pt x="159" y="45"/>
                  </a:lnTo>
                  <a:lnTo>
                    <a:pt x="160" y="45"/>
                  </a:lnTo>
                  <a:lnTo>
                    <a:pt x="162" y="45"/>
                  </a:lnTo>
                  <a:lnTo>
                    <a:pt x="163" y="45"/>
                  </a:lnTo>
                  <a:close/>
                  <a:moveTo>
                    <a:pt x="166" y="45"/>
                  </a:moveTo>
                  <a:lnTo>
                    <a:pt x="165" y="45"/>
                  </a:lnTo>
                  <a:lnTo>
                    <a:pt x="165" y="44"/>
                  </a:lnTo>
                  <a:lnTo>
                    <a:pt x="166" y="44"/>
                  </a:lnTo>
                  <a:lnTo>
                    <a:pt x="166" y="45"/>
                  </a:lnTo>
                  <a:close/>
                  <a:moveTo>
                    <a:pt x="63" y="42"/>
                  </a:moveTo>
                  <a:lnTo>
                    <a:pt x="63" y="44"/>
                  </a:lnTo>
                  <a:lnTo>
                    <a:pt x="62" y="44"/>
                  </a:lnTo>
                  <a:lnTo>
                    <a:pt x="62" y="42"/>
                  </a:lnTo>
                  <a:lnTo>
                    <a:pt x="63" y="42"/>
                  </a:lnTo>
                  <a:close/>
                  <a:moveTo>
                    <a:pt x="183" y="44"/>
                  </a:moveTo>
                  <a:lnTo>
                    <a:pt x="181" y="44"/>
                  </a:lnTo>
                  <a:lnTo>
                    <a:pt x="181" y="42"/>
                  </a:lnTo>
                  <a:lnTo>
                    <a:pt x="183" y="42"/>
                  </a:lnTo>
                  <a:lnTo>
                    <a:pt x="183" y="44"/>
                  </a:lnTo>
                  <a:close/>
                  <a:moveTo>
                    <a:pt x="184" y="42"/>
                  </a:moveTo>
                  <a:lnTo>
                    <a:pt x="183" y="42"/>
                  </a:lnTo>
                  <a:lnTo>
                    <a:pt x="184" y="42"/>
                  </a:lnTo>
                  <a:close/>
                  <a:moveTo>
                    <a:pt x="177" y="34"/>
                  </a:moveTo>
                  <a:lnTo>
                    <a:pt x="177" y="33"/>
                  </a:lnTo>
                  <a:lnTo>
                    <a:pt x="177" y="34"/>
                  </a:lnTo>
                  <a:close/>
                  <a:moveTo>
                    <a:pt x="178" y="32"/>
                  </a:moveTo>
                  <a:lnTo>
                    <a:pt x="178" y="33"/>
                  </a:lnTo>
                  <a:lnTo>
                    <a:pt x="178" y="32"/>
                  </a:lnTo>
                  <a:lnTo>
                    <a:pt x="178" y="33"/>
                  </a:lnTo>
                  <a:lnTo>
                    <a:pt x="178" y="32"/>
                  </a:lnTo>
                  <a:close/>
                  <a:moveTo>
                    <a:pt x="43" y="32"/>
                  </a:moveTo>
                  <a:lnTo>
                    <a:pt x="42" y="32"/>
                  </a:lnTo>
                  <a:lnTo>
                    <a:pt x="42" y="31"/>
                  </a:lnTo>
                  <a:lnTo>
                    <a:pt x="42" y="32"/>
                  </a:lnTo>
                  <a:lnTo>
                    <a:pt x="43" y="32"/>
                  </a:lnTo>
                  <a:close/>
                  <a:moveTo>
                    <a:pt x="198" y="33"/>
                  </a:moveTo>
                  <a:lnTo>
                    <a:pt x="198" y="32"/>
                  </a:lnTo>
                  <a:lnTo>
                    <a:pt x="196" y="31"/>
                  </a:lnTo>
                  <a:lnTo>
                    <a:pt x="196" y="30"/>
                  </a:lnTo>
                  <a:lnTo>
                    <a:pt x="195" y="30"/>
                  </a:lnTo>
                  <a:lnTo>
                    <a:pt x="196" y="30"/>
                  </a:lnTo>
                  <a:lnTo>
                    <a:pt x="196" y="31"/>
                  </a:lnTo>
                  <a:lnTo>
                    <a:pt x="198" y="32"/>
                  </a:lnTo>
                  <a:lnTo>
                    <a:pt x="198" y="33"/>
                  </a:lnTo>
                  <a:close/>
                  <a:moveTo>
                    <a:pt x="50" y="30"/>
                  </a:moveTo>
                  <a:lnTo>
                    <a:pt x="49" y="30"/>
                  </a:lnTo>
                  <a:lnTo>
                    <a:pt x="50" y="30"/>
                  </a:lnTo>
                  <a:close/>
                  <a:moveTo>
                    <a:pt x="169" y="30"/>
                  </a:moveTo>
                  <a:lnTo>
                    <a:pt x="167" y="28"/>
                  </a:lnTo>
                  <a:lnTo>
                    <a:pt x="167" y="27"/>
                  </a:lnTo>
                  <a:lnTo>
                    <a:pt x="169" y="27"/>
                  </a:lnTo>
                  <a:lnTo>
                    <a:pt x="169" y="28"/>
                  </a:lnTo>
                  <a:lnTo>
                    <a:pt x="170" y="28"/>
                  </a:lnTo>
                  <a:lnTo>
                    <a:pt x="169" y="28"/>
                  </a:lnTo>
                  <a:lnTo>
                    <a:pt x="169" y="30"/>
                  </a:lnTo>
                  <a:close/>
                  <a:moveTo>
                    <a:pt x="145" y="25"/>
                  </a:moveTo>
                  <a:lnTo>
                    <a:pt x="146" y="25"/>
                  </a:lnTo>
                  <a:lnTo>
                    <a:pt x="146" y="26"/>
                  </a:lnTo>
                  <a:lnTo>
                    <a:pt x="146" y="25"/>
                  </a:lnTo>
                  <a:lnTo>
                    <a:pt x="146" y="26"/>
                  </a:lnTo>
                  <a:lnTo>
                    <a:pt x="145" y="26"/>
                  </a:lnTo>
                  <a:lnTo>
                    <a:pt x="144" y="26"/>
                  </a:lnTo>
                  <a:lnTo>
                    <a:pt x="143" y="26"/>
                  </a:lnTo>
                  <a:lnTo>
                    <a:pt x="143" y="25"/>
                  </a:lnTo>
                  <a:lnTo>
                    <a:pt x="144" y="25"/>
                  </a:lnTo>
                  <a:lnTo>
                    <a:pt x="145" y="25"/>
                  </a:lnTo>
                  <a:close/>
                  <a:moveTo>
                    <a:pt x="160" y="26"/>
                  </a:moveTo>
                  <a:lnTo>
                    <a:pt x="160" y="25"/>
                  </a:lnTo>
                  <a:lnTo>
                    <a:pt x="159" y="25"/>
                  </a:lnTo>
                  <a:lnTo>
                    <a:pt x="159" y="24"/>
                  </a:lnTo>
                  <a:lnTo>
                    <a:pt x="160" y="24"/>
                  </a:lnTo>
                  <a:lnTo>
                    <a:pt x="160" y="25"/>
                  </a:lnTo>
                  <a:lnTo>
                    <a:pt x="162" y="25"/>
                  </a:lnTo>
                  <a:lnTo>
                    <a:pt x="160" y="26"/>
                  </a:lnTo>
                  <a:close/>
                  <a:moveTo>
                    <a:pt x="160" y="23"/>
                  </a:moveTo>
                  <a:lnTo>
                    <a:pt x="160" y="24"/>
                  </a:lnTo>
                  <a:lnTo>
                    <a:pt x="160" y="23"/>
                  </a:lnTo>
                  <a:lnTo>
                    <a:pt x="160" y="24"/>
                  </a:lnTo>
                  <a:lnTo>
                    <a:pt x="159" y="24"/>
                  </a:lnTo>
                  <a:lnTo>
                    <a:pt x="159" y="23"/>
                  </a:lnTo>
                  <a:lnTo>
                    <a:pt x="159" y="21"/>
                  </a:lnTo>
                  <a:lnTo>
                    <a:pt x="160" y="21"/>
                  </a:lnTo>
                  <a:lnTo>
                    <a:pt x="160" y="23"/>
                  </a:lnTo>
                  <a:close/>
                  <a:moveTo>
                    <a:pt x="160" y="20"/>
                  </a:moveTo>
                  <a:lnTo>
                    <a:pt x="159" y="20"/>
                  </a:lnTo>
                  <a:lnTo>
                    <a:pt x="160" y="20"/>
                  </a:lnTo>
                  <a:close/>
                  <a:moveTo>
                    <a:pt x="9" y="20"/>
                  </a:moveTo>
                  <a:lnTo>
                    <a:pt x="10" y="20"/>
                  </a:lnTo>
                  <a:lnTo>
                    <a:pt x="11" y="21"/>
                  </a:lnTo>
                  <a:lnTo>
                    <a:pt x="13" y="21"/>
                  </a:lnTo>
                  <a:lnTo>
                    <a:pt x="15" y="23"/>
                  </a:lnTo>
                  <a:lnTo>
                    <a:pt x="17" y="25"/>
                  </a:lnTo>
                  <a:lnTo>
                    <a:pt x="18" y="25"/>
                  </a:lnTo>
                  <a:lnTo>
                    <a:pt x="18" y="26"/>
                  </a:lnTo>
                  <a:lnTo>
                    <a:pt x="20" y="26"/>
                  </a:lnTo>
                  <a:lnTo>
                    <a:pt x="21" y="25"/>
                  </a:lnTo>
                  <a:lnTo>
                    <a:pt x="21" y="26"/>
                  </a:lnTo>
                  <a:lnTo>
                    <a:pt x="22" y="26"/>
                  </a:lnTo>
                  <a:lnTo>
                    <a:pt x="22" y="27"/>
                  </a:lnTo>
                  <a:lnTo>
                    <a:pt x="23" y="27"/>
                  </a:lnTo>
                  <a:lnTo>
                    <a:pt x="24" y="27"/>
                  </a:lnTo>
                  <a:lnTo>
                    <a:pt x="24" y="28"/>
                  </a:lnTo>
                  <a:lnTo>
                    <a:pt x="25" y="28"/>
                  </a:lnTo>
                  <a:lnTo>
                    <a:pt x="28" y="30"/>
                  </a:lnTo>
                  <a:lnTo>
                    <a:pt x="29" y="30"/>
                  </a:lnTo>
                  <a:lnTo>
                    <a:pt x="31" y="31"/>
                  </a:lnTo>
                  <a:lnTo>
                    <a:pt x="32" y="31"/>
                  </a:lnTo>
                  <a:lnTo>
                    <a:pt x="34" y="31"/>
                  </a:lnTo>
                  <a:lnTo>
                    <a:pt x="34" y="32"/>
                  </a:lnTo>
                  <a:lnTo>
                    <a:pt x="35" y="32"/>
                  </a:lnTo>
                  <a:lnTo>
                    <a:pt x="36" y="32"/>
                  </a:lnTo>
                  <a:lnTo>
                    <a:pt x="37" y="32"/>
                  </a:lnTo>
                  <a:lnTo>
                    <a:pt x="38" y="32"/>
                  </a:lnTo>
                  <a:lnTo>
                    <a:pt x="41" y="33"/>
                  </a:lnTo>
                  <a:lnTo>
                    <a:pt x="42" y="33"/>
                  </a:lnTo>
                  <a:lnTo>
                    <a:pt x="43" y="34"/>
                  </a:lnTo>
                  <a:lnTo>
                    <a:pt x="43" y="35"/>
                  </a:lnTo>
                  <a:lnTo>
                    <a:pt x="44" y="35"/>
                  </a:lnTo>
                  <a:lnTo>
                    <a:pt x="45" y="35"/>
                  </a:lnTo>
                  <a:lnTo>
                    <a:pt x="46" y="37"/>
                  </a:lnTo>
                  <a:lnTo>
                    <a:pt x="46" y="38"/>
                  </a:lnTo>
                  <a:lnTo>
                    <a:pt x="48" y="38"/>
                  </a:lnTo>
                  <a:lnTo>
                    <a:pt x="48" y="39"/>
                  </a:lnTo>
                  <a:lnTo>
                    <a:pt x="49" y="39"/>
                  </a:lnTo>
                  <a:lnTo>
                    <a:pt x="50" y="39"/>
                  </a:lnTo>
                  <a:lnTo>
                    <a:pt x="50" y="40"/>
                  </a:lnTo>
                  <a:lnTo>
                    <a:pt x="51" y="39"/>
                  </a:lnTo>
                  <a:lnTo>
                    <a:pt x="51" y="40"/>
                  </a:lnTo>
                  <a:lnTo>
                    <a:pt x="52" y="39"/>
                  </a:lnTo>
                  <a:lnTo>
                    <a:pt x="53" y="39"/>
                  </a:lnTo>
                  <a:lnTo>
                    <a:pt x="55" y="39"/>
                  </a:lnTo>
                  <a:lnTo>
                    <a:pt x="56" y="39"/>
                  </a:lnTo>
                  <a:lnTo>
                    <a:pt x="56" y="40"/>
                  </a:lnTo>
                  <a:lnTo>
                    <a:pt x="56" y="41"/>
                  </a:lnTo>
                  <a:lnTo>
                    <a:pt x="56" y="42"/>
                  </a:lnTo>
                  <a:lnTo>
                    <a:pt x="58" y="42"/>
                  </a:lnTo>
                  <a:lnTo>
                    <a:pt x="59" y="42"/>
                  </a:lnTo>
                  <a:lnTo>
                    <a:pt x="59" y="44"/>
                  </a:lnTo>
                  <a:lnTo>
                    <a:pt x="60" y="44"/>
                  </a:lnTo>
                  <a:lnTo>
                    <a:pt x="59" y="44"/>
                  </a:lnTo>
                  <a:lnTo>
                    <a:pt x="59" y="45"/>
                  </a:lnTo>
                  <a:lnTo>
                    <a:pt x="60" y="45"/>
                  </a:lnTo>
                  <a:lnTo>
                    <a:pt x="62" y="46"/>
                  </a:lnTo>
                  <a:lnTo>
                    <a:pt x="62" y="47"/>
                  </a:lnTo>
                  <a:lnTo>
                    <a:pt x="63" y="47"/>
                  </a:lnTo>
                  <a:lnTo>
                    <a:pt x="64" y="48"/>
                  </a:lnTo>
                  <a:lnTo>
                    <a:pt x="65" y="48"/>
                  </a:lnTo>
                  <a:lnTo>
                    <a:pt x="66" y="48"/>
                  </a:lnTo>
                  <a:lnTo>
                    <a:pt x="66" y="49"/>
                  </a:lnTo>
                  <a:lnTo>
                    <a:pt x="67" y="49"/>
                  </a:lnTo>
                  <a:lnTo>
                    <a:pt x="67" y="51"/>
                  </a:lnTo>
                  <a:lnTo>
                    <a:pt x="68" y="51"/>
                  </a:lnTo>
                  <a:lnTo>
                    <a:pt x="68" y="52"/>
                  </a:lnTo>
                  <a:lnTo>
                    <a:pt x="71" y="54"/>
                  </a:lnTo>
                  <a:lnTo>
                    <a:pt x="71" y="55"/>
                  </a:lnTo>
                  <a:lnTo>
                    <a:pt x="72" y="55"/>
                  </a:lnTo>
                  <a:lnTo>
                    <a:pt x="72" y="56"/>
                  </a:lnTo>
                  <a:lnTo>
                    <a:pt x="72" y="58"/>
                  </a:lnTo>
                  <a:lnTo>
                    <a:pt x="72" y="59"/>
                  </a:lnTo>
                  <a:lnTo>
                    <a:pt x="72" y="60"/>
                  </a:lnTo>
                  <a:lnTo>
                    <a:pt x="72" y="61"/>
                  </a:lnTo>
                  <a:lnTo>
                    <a:pt x="71" y="61"/>
                  </a:lnTo>
                  <a:lnTo>
                    <a:pt x="71" y="62"/>
                  </a:lnTo>
                  <a:lnTo>
                    <a:pt x="71" y="63"/>
                  </a:lnTo>
                  <a:lnTo>
                    <a:pt x="71" y="65"/>
                  </a:lnTo>
                  <a:lnTo>
                    <a:pt x="71" y="66"/>
                  </a:lnTo>
                  <a:lnTo>
                    <a:pt x="72" y="66"/>
                  </a:lnTo>
                  <a:lnTo>
                    <a:pt x="73" y="66"/>
                  </a:lnTo>
                  <a:lnTo>
                    <a:pt x="74" y="66"/>
                  </a:lnTo>
                  <a:lnTo>
                    <a:pt x="75" y="66"/>
                  </a:lnTo>
                  <a:lnTo>
                    <a:pt x="77" y="66"/>
                  </a:lnTo>
                  <a:lnTo>
                    <a:pt x="77" y="67"/>
                  </a:lnTo>
                  <a:lnTo>
                    <a:pt x="78" y="67"/>
                  </a:lnTo>
                  <a:lnTo>
                    <a:pt x="79" y="67"/>
                  </a:lnTo>
                  <a:lnTo>
                    <a:pt x="80" y="67"/>
                  </a:lnTo>
                  <a:lnTo>
                    <a:pt x="79" y="67"/>
                  </a:lnTo>
                  <a:lnTo>
                    <a:pt x="80" y="67"/>
                  </a:lnTo>
                  <a:lnTo>
                    <a:pt x="80" y="68"/>
                  </a:lnTo>
                  <a:lnTo>
                    <a:pt x="81" y="68"/>
                  </a:lnTo>
                  <a:lnTo>
                    <a:pt x="82" y="69"/>
                  </a:lnTo>
                  <a:lnTo>
                    <a:pt x="84" y="70"/>
                  </a:lnTo>
                  <a:lnTo>
                    <a:pt x="85" y="70"/>
                  </a:lnTo>
                  <a:lnTo>
                    <a:pt x="85" y="72"/>
                  </a:lnTo>
                  <a:lnTo>
                    <a:pt x="86" y="70"/>
                  </a:lnTo>
                  <a:lnTo>
                    <a:pt x="86" y="72"/>
                  </a:lnTo>
                  <a:lnTo>
                    <a:pt x="87" y="72"/>
                  </a:lnTo>
                  <a:lnTo>
                    <a:pt x="87" y="73"/>
                  </a:lnTo>
                  <a:lnTo>
                    <a:pt x="88" y="73"/>
                  </a:lnTo>
                  <a:lnTo>
                    <a:pt x="89" y="73"/>
                  </a:lnTo>
                  <a:lnTo>
                    <a:pt x="91" y="73"/>
                  </a:lnTo>
                  <a:lnTo>
                    <a:pt x="92" y="73"/>
                  </a:lnTo>
                  <a:lnTo>
                    <a:pt x="93" y="73"/>
                  </a:lnTo>
                  <a:lnTo>
                    <a:pt x="94" y="73"/>
                  </a:lnTo>
                  <a:lnTo>
                    <a:pt x="94" y="74"/>
                  </a:lnTo>
                  <a:lnTo>
                    <a:pt x="95" y="74"/>
                  </a:lnTo>
                  <a:lnTo>
                    <a:pt x="96" y="75"/>
                  </a:lnTo>
                  <a:lnTo>
                    <a:pt x="96" y="76"/>
                  </a:lnTo>
                  <a:lnTo>
                    <a:pt x="96" y="77"/>
                  </a:lnTo>
                  <a:lnTo>
                    <a:pt x="98" y="77"/>
                  </a:lnTo>
                  <a:lnTo>
                    <a:pt x="99" y="79"/>
                  </a:lnTo>
                  <a:lnTo>
                    <a:pt x="99" y="80"/>
                  </a:lnTo>
                  <a:lnTo>
                    <a:pt x="99" y="81"/>
                  </a:lnTo>
                  <a:lnTo>
                    <a:pt x="99" y="82"/>
                  </a:lnTo>
                  <a:lnTo>
                    <a:pt x="99" y="83"/>
                  </a:lnTo>
                  <a:lnTo>
                    <a:pt x="99" y="84"/>
                  </a:lnTo>
                  <a:lnTo>
                    <a:pt x="98" y="86"/>
                  </a:lnTo>
                  <a:lnTo>
                    <a:pt x="95" y="86"/>
                  </a:lnTo>
                  <a:lnTo>
                    <a:pt x="94" y="86"/>
                  </a:lnTo>
                  <a:lnTo>
                    <a:pt x="93" y="86"/>
                  </a:lnTo>
                  <a:lnTo>
                    <a:pt x="92" y="86"/>
                  </a:lnTo>
                  <a:lnTo>
                    <a:pt x="89" y="86"/>
                  </a:lnTo>
                  <a:lnTo>
                    <a:pt x="88" y="84"/>
                  </a:lnTo>
                  <a:lnTo>
                    <a:pt x="87" y="84"/>
                  </a:lnTo>
                  <a:lnTo>
                    <a:pt x="87" y="86"/>
                  </a:lnTo>
                  <a:lnTo>
                    <a:pt x="86" y="86"/>
                  </a:lnTo>
                  <a:lnTo>
                    <a:pt x="86" y="87"/>
                  </a:lnTo>
                  <a:lnTo>
                    <a:pt x="86" y="88"/>
                  </a:lnTo>
                  <a:lnTo>
                    <a:pt x="86" y="89"/>
                  </a:lnTo>
                  <a:lnTo>
                    <a:pt x="86" y="90"/>
                  </a:lnTo>
                  <a:lnTo>
                    <a:pt x="87" y="90"/>
                  </a:lnTo>
                  <a:lnTo>
                    <a:pt x="87" y="91"/>
                  </a:lnTo>
                  <a:lnTo>
                    <a:pt x="88" y="93"/>
                  </a:lnTo>
                  <a:lnTo>
                    <a:pt x="88" y="94"/>
                  </a:lnTo>
                  <a:lnTo>
                    <a:pt x="88" y="95"/>
                  </a:lnTo>
                  <a:lnTo>
                    <a:pt x="88" y="96"/>
                  </a:lnTo>
                  <a:lnTo>
                    <a:pt x="88" y="97"/>
                  </a:lnTo>
                  <a:lnTo>
                    <a:pt x="89" y="97"/>
                  </a:lnTo>
                  <a:lnTo>
                    <a:pt x="91" y="97"/>
                  </a:lnTo>
                  <a:lnTo>
                    <a:pt x="91" y="98"/>
                  </a:lnTo>
                  <a:lnTo>
                    <a:pt x="92" y="98"/>
                  </a:lnTo>
                  <a:lnTo>
                    <a:pt x="92" y="100"/>
                  </a:lnTo>
                  <a:lnTo>
                    <a:pt x="93" y="100"/>
                  </a:lnTo>
                  <a:lnTo>
                    <a:pt x="93" y="101"/>
                  </a:lnTo>
                  <a:lnTo>
                    <a:pt x="94" y="102"/>
                  </a:lnTo>
                  <a:lnTo>
                    <a:pt x="95" y="102"/>
                  </a:lnTo>
                  <a:lnTo>
                    <a:pt x="95" y="103"/>
                  </a:lnTo>
                  <a:lnTo>
                    <a:pt x="95" y="104"/>
                  </a:lnTo>
                  <a:lnTo>
                    <a:pt x="96" y="104"/>
                  </a:lnTo>
                  <a:lnTo>
                    <a:pt x="98" y="104"/>
                  </a:lnTo>
                  <a:lnTo>
                    <a:pt x="98" y="105"/>
                  </a:lnTo>
                  <a:lnTo>
                    <a:pt x="99" y="105"/>
                  </a:lnTo>
                  <a:lnTo>
                    <a:pt x="99" y="107"/>
                  </a:lnTo>
                  <a:lnTo>
                    <a:pt x="100" y="107"/>
                  </a:lnTo>
                  <a:lnTo>
                    <a:pt x="101" y="107"/>
                  </a:lnTo>
                  <a:lnTo>
                    <a:pt x="101" y="108"/>
                  </a:lnTo>
                  <a:lnTo>
                    <a:pt x="101" y="109"/>
                  </a:lnTo>
                  <a:lnTo>
                    <a:pt x="101" y="110"/>
                  </a:lnTo>
                  <a:lnTo>
                    <a:pt x="101" y="111"/>
                  </a:lnTo>
                  <a:lnTo>
                    <a:pt x="101" y="112"/>
                  </a:lnTo>
                  <a:lnTo>
                    <a:pt x="101" y="114"/>
                  </a:lnTo>
                  <a:lnTo>
                    <a:pt x="101" y="115"/>
                  </a:lnTo>
                  <a:lnTo>
                    <a:pt x="102" y="115"/>
                  </a:lnTo>
                  <a:lnTo>
                    <a:pt x="103" y="115"/>
                  </a:lnTo>
                  <a:lnTo>
                    <a:pt x="103" y="116"/>
                  </a:lnTo>
                  <a:lnTo>
                    <a:pt x="105" y="116"/>
                  </a:lnTo>
                  <a:lnTo>
                    <a:pt x="105" y="117"/>
                  </a:lnTo>
                  <a:lnTo>
                    <a:pt x="105" y="118"/>
                  </a:lnTo>
                  <a:lnTo>
                    <a:pt x="105" y="119"/>
                  </a:lnTo>
                  <a:lnTo>
                    <a:pt x="105" y="121"/>
                  </a:lnTo>
                  <a:lnTo>
                    <a:pt x="105" y="122"/>
                  </a:lnTo>
                  <a:lnTo>
                    <a:pt x="106" y="122"/>
                  </a:lnTo>
                  <a:lnTo>
                    <a:pt x="106" y="123"/>
                  </a:lnTo>
                  <a:lnTo>
                    <a:pt x="107" y="123"/>
                  </a:lnTo>
                  <a:lnTo>
                    <a:pt x="108" y="123"/>
                  </a:lnTo>
                  <a:lnTo>
                    <a:pt x="109" y="123"/>
                  </a:lnTo>
                  <a:lnTo>
                    <a:pt x="109" y="122"/>
                  </a:lnTo>
                  <a:lnTo>
                    <a:pt x="110" y="122"/>
                  </a:lnTo>
                  <a:lnTo>
                    <a:pt x="112" y="122"/>
                  </a:lnTo>
                  <a:lnTo>
                    <a:pt x="113" y="122"/>
                  </a:lnTo>
                  <a:lnTo>
                    <a:pt x="113" y="121"/>
                  </a:lnTo>
                  <a:lnTo>
                    <a:pt x="114" y="122"/>
                  </a:lnTo>
                  <a:lnTo>
                    <a:pt x="115" y="121"/>
                  </a:lnTo>
                  <a:lnTo>
                    <a:pt x="115" y="122"/>
                  </a:lnTo>
                  <a:lnTo>
                    <a:pt x="116" y="122"/>
                  </a:lnTo>
                  <a:lnTo>
                    <a:pt x="115" y="122"/>
                  </a:lnTo>
                  <a:lnTo>
                    <a:pt x="115" y="123"/>
                  </a:lnTo>
                  <a:lnTo>
                    <a:pt x="116" y="123"/>
                  </a:lnTo>
                  <a:lnTo>
                    <a:pt x="115" y="123"/>
                  </a:lnTo>
                  <a:lnTo>
                    <a:pt x="116" y="123"/>
                  </a:lnTo>
                  <a:lnTo>
                    <a:pt x="115" y="124"/>
                  </a:lnTo>
                  <a:lnTo>
                    <a:pt x="114" y="124"/>
                  </a:lnTo>
                  <a:lnTo>
                    <a:pt x="114" y="125"/>
                  </a:lnTo>
                  <a:lnTo>
                    <a:pt x="114" y="126"/>
                  </a:lnTo>
                  <a:lnTo>
                    <a:pt x="113" y="126"/>
                  </a:lnTo>
                  <a:lnTo>
                    <a:pt x="113" y="128"/>
                  </a:lnTo>
                  <a:lnTo>
                    <a:pt x="114" y="128"/>
                  </a:lnTo>
                  <a:lnTo>
                    <a:pt x="114" y="129"/>
                  </a:lnTo>
                  <a:lnTo>
                    <a:pt x="115" y="129"/>
                  </a:lnTo>
                  <a:lnTo>
                    <a:pt x="115" y="130"/>
                  </a:lnTo>
                  <a:lnTo>
                    <a:pt x="116" y="130"/>
                  </a:lnTo>
                  <a:lnTo>
                    <a:pt x="116" y="131"/>
                  </a:lnTo>
                  <a:lnTo>
                    <a:pt x="117" y="131"/>
                  </a:lnTo>
                  <a:lnTo>
                    <a:pt x="119" y="131"/>
                  </a:lnTo>
                  <a:lnTo>
                    <a:pt x="120" y="131"/>
                  </a:lnTo>
                  <a:lnTo>
                    <a:pt x="121" y="131"/>
                  </a:lnTo>
                  <a:lnTo>
                    <a:pt x="122" y="131"/>
                  </a:lnTo>
                  <a:lnTo>
                    <a:pt x="123" y="131"/>
                  </a:lnTo>
                  <a:lnTo>
                    <a:pt x="124" y="131"/>
                  </a:lnTo>
                  <a:lnTo>
                    <a:pt x="124" y="132"/>
                  </a:lnTo>
                  <a:lnTo>
                    <a:pt x="123" y="133"/>
                  </a:lnTo>
                  <a:lnTo>
                    <a:pt x="122" y="133"/>
                  </a:lnTo>
                  <a:lnTo>
                    <a:pt x="121" y="133"/>
                  </a:lnTo>
                  <a:lnTo>
                    <a:pt x="120" y="133"/>
                  </a:lnTo>
                  <a:lnTo>
                    <a:pt x="120" y="135"/>
                  </a:lnTo>
                  <a:lnTo>
                    <a:pt x="121" y="135"/>
                  </a:lnTo>
                  <a:lnTo>
                    <a:pt x="121" y="136"/>
                  </a:lnTo>
                  <a:lnTo>
                    <a:pt x="122" y="137"/>
                  </a:lnTo>
                  <a:lnTo>
                    <a:pt x="122" y="138"/>
                  </a:lnTo>
                  <a:lnTo>
                    <a:pt x="123" y="138"/>
                  </a:lnTo>
                  <a:lnTo>
                    <a:pt x="124" y="138"/>
                  </a:lnTo>
                  <a:lnTo>
                    <a:pt x="126" y="138"/>
                  </a:lnTo>
                  <a:lnTo>
                    <a:pt x="127" y="138"/>
                  </a:lnTo>
                  <a:lnTo>
                    <a:pt x="127" y="139"/>
                  </a:lnTo>
                  <a:lnTo>
                    <a:pt x="128" y="139"/>
                  </a:lnTo>
                  <a:lnTo>
                    <a:pt x="128" y="140"/>
                  </a:lnTo>
                  <a:lnTo>
                    <a:pt x="129" y="140"/>
                  </a:lnTo>
                  <a:lnTo>
                    <a:pt x="130" y="140"/>
                  </a:lnTo>
                  <a:lnTo>
                    <a:pt x="131" y="140"/>
                  </a:lnTo>
                  <a:lnTo>
                    <a:pt x="131" y="142"/>
                  </a:lnTo>
                  <a:lnTo>
                    <a:pt x="132" y="142"/>
                  </a:lnTo>
                  <a:lnTo>
                    <a:pt x="134" y="142"/>
                  </a:lnTo>
                  <a:lnTo>
                    <a:pt x="134" y="140"/>
                  </a:lnTo>
                  <a:lnTo>
                    <a:pt x="135" y="140"/>
                  </a:lnTo>
                  <a:lnTo>
                    <a:pt x="135" y="142"/>
                  </a:lnTo>
                  <a:lnTo>
                    <a:pt x="132" y="142"/>
                  </a:lnTo>
                  <a:lnTo>
                    <a:pt x="132" y="143"/>
                  </a:lnTo>
                  <a:lnTo>
                    <a:pt x="131" y="143"/>
                  </a:lnTo>
                  <a:lnTo>
                    <a:pt x="130" y="142"/>
                  </a:lnTo>
                  <a:lnTo>
                    <a:pt x="129" y="142"/>
                  </a:lnTo>
                  <a:lnTo>
                    <a:pt x="128" y="142"/>
                  </a:lnTo>
                  <a:lnTo>
                    <a:pt x="128" y="143"/>
                  </a:lnTo>
                  <a:lnTo>
                    <a:pt x="129" y="143"/>
                  </a:lnTo>
                  <a:lnTo>
                    <a:pt x="129" y="144"/>
                  </a:lnTo>
                  <a:lnTo>
                    <a:pt x="130" y="144"/>
                  </a:lnTo>
                  <a:lnTo>
                    <a:pt x="131" y="145"/>
                  </a:lnTo>
                  <a:lnTo>
                    <a:pt x="132" y="145"/>
                  </a:lnTo>
                  <a:lnTo>
                    <a:pt x="132" y="146"/>
                  </a:lnTo>
                  <a:lnTo>
                    <a:pt x="131" y="146"/>
                  </a:lnTo>
                  <a:lnTo>
                    <a:pt x="130" y="146"/>
                  </a:lnTo>
                  <a:lnTo>
                    <a:pt x="129" y="146"/>
                  </a:lnTo>
                  <a:lnTo>
                    <a:pt x="129" y="147"/>
                  </a:lnTo>
                  <a:lnTo>
                    <a:pt x="128" y="147"/>
                  </a:lnTo>
                  <a:lnTo>
                    <a:pt x="127" y="147"/>
                  </a:lnTo>
                  <a:lnTo>
                    <a:pt x="126" y="147"/>
                  </a:lnTo>
                  <a:lnTo>
                    <a:pt x="126" y="149"/>
                  </a:lnTo>
                  <a:lnTo>
                    <a:pt x="126" y="147"/>
                  </a:lnTo>
                  <a:lnTo>
                    <a:pt x="124" y="147"/>
                  </a:lnTo>
                  <a:lnTo>
                    <a:pt x="126" y="147"/>
                  </a:lnTo>
                  <a:lnTo>
                    <a:pt x="124" y="147"/>
                  </a:lnTo>
                  <a:lnTo>
                    <a:pt x="123" y="147"/>
                  </a:lnTo>
                  <a:lnTo>
                    <a:pt x="123" y="146"/>
                  </a:lnTo>
                  <a:lnTo>
                    <a:pt x="122" y="146"/>
                  </a:lnTo>
                  <a:lnTo>
                    <a:pt x="123" y="146"/>
                  </a:lnTo>
                  <a:lnTo>
                    <a:pt x="122" y="146"/>
                  </a:lnTo>
                  <a:lnTo>
                    <a:pt x="121" y="145"/>
                  </a:lnTo>
                  <a:lnTo>
                    <a:pt x="121" y="146"/>
                  </a:lnTo>
                  <a:lnTo>
                    <a:pt x="121" y="145"/>
                  </a:lnTo>
                  <a:lnTo>
                    <a:pt x="122" y="145"/>
                  </a:lnTo>
                  <a:lnTo>
                    <a:pt x="123" y="145"/>
                  </a:lnTo>
                  <a:lnTo>
                    <a:pt x="123" y="144"/>
                  </a:lnTo>
                  <a:lnTo>
                    <a:pt x="124" y="144"/>
                  </a:lnTo>
                  <a:lnTo>
                    <a:pt x="123" y="144"/>
                  </a:lnTo>
                  <a:lnTo>
                    <a:pt x="122" y="144"/>
                  </a:lnTo>
                  <a:lnTo>
                    <a:pt x="122" y="145"/>
                  </a:lnTo>
                  <a:lnTo>
                    <a:pt x="121" y="144"/>
                  </a:lnTo>
                  <a:lnTo>
                    <a:pt x="121" y="143"/>
                  </a:lnTo>
                  <a:lnTo>
                    <a:pt x="120" y="143"/>
                  </a:lnTo>
                  <a:lnTo>
                    <a:pt x="119" y="143"/>
                  </a:lnTo>
                  <a:lnTo>
                    <a:pt x="117" y="143"/>
                  </a:lnTo>
                  <a:lnTo>
                    <a:pt x="116" y="143"/>
                  </a:lnTo>
                  <a:lnTo>
                    <a:pt x="115" y="143"/>
                  </a:lnTo>
                  <a:lnTo>
                    <a:pt x="115" y="142"/>
                  </a:lnTo>
                  <a:lnTo>
                    <a:pt x="114" y="142"/>
                  </a:lnTo>
                  <a:lnTo>
                    <a:pt x="113" y="142"/>
                  </a:lnTo>
                  <a:lnTo>
                    <a:pt x="112" y="140"/>
                  </a:lnTo>
                  <a:lnTo>
                    <a:pt x="110" y="140"/>
                  </a:lnTo>
                  <a:lnTo>
                    <a:pt x="109" y="140"/>
                  </a:lnTo>
                  <a:lnTo>
                    <a:pt x="109" y="142"/>
                  </a:lnTo>
                  <a:lnTo>
                    <a:pt x="108" y="142"/>
                  </a:lnTo>
                  <a:lnTo>
                    <a:pt x="107" y="140"/>
                  </a:lnTo>
                  <a:lnTo>
                    <a:pt x="106" y="140"/>
                  </a:lnTo>
                  <a:lnTo>
                    <a:pt x="106" y="139"/>
                  </a:lnTo>
                  <a:lnTo>
                    <a:pt x="105" y="138"/>
                  </a:lnTo>
                  <a:lnTo>
                    <a:pt x="105" y="139"/>
                  </a:lnTo>
                  <a:lnTo>
                    <a:pt x="105" y="140"/>
                  </a:lnTo>
                  <a:lnTo>
                    <a:pt x="105" y="139"/>
                  </a:lnTo>
                  <a:lnTo>
                    <a:pt x="103" y="139"/>
                  </a:lnTo>
                  <a:lnTo>
                    <a:pt x="102" y="140"/>
                  </a:lnTo>
                  <a:lnTo>
                    <a:pt x="101" y="140"/>
                  </a:lnTo>
                  <a:lnTo>
                    <a:pt x="100" y="139"/>
                  </a:lnTo>
                  <a:lnTo>
                    <a:pt x="99" y="139"/>
                  </a:lnTo>
                  <a:lnTo>
                    <a:pt x="99" y="138"/>
                  </a:lnTo>
                  <a:lnTo>
                    <a:pt x="98" y="138"/>
                  </a:lnTo>
                  <a:lnTo>
                    <a:pt x="96" y="139"/>
                  </a:lnTo>
                  <a:lnTo>
                    <a:pt x="95" y="139"/>
                  </a:lnTo>
                  <a:lnTo>
                    <a:pt x="94" y="138"/>
                  </a:lnTo>
                  <a:lnTo>
                    <a:pt x="93" y="138"/>
                  </a:lnTo>
                  <a:lnTo>
                    <a:pt x="92" y="138"/>
                  </a:lnTo>
                  <a:lnTo>
                    <a:pt x="92" y="137"/>
                  </a:lnTo>
                  <a:lnTo>
                    <a:pt x="91" y="137"/>
                  </a:lnTo>
                  <a:lnTo>
                    <a:pt x="89" y="136"/>
                  </a:lnTo>
                  <a:lnTo>
                    <a:pt x="89" y="135"/>
                  </a:lnTo>
                  <a:lnTo>
                    <a:pt x="89" y="133"/>
                  </a:lnTo>
                  <a:lnTo>
                    <a:pt x="88" y="131"/>
                  </a:lnTo>
                  <a:lnTo>
                    <a:pt x="87" y="131"/>
                  </a:lnTo>
                  <a:lnTo>
                    <a:pt x="87" y="130"/>
                  </a:lnTo>
                  <a:lnTo>
                    <a:pt x="87" y="129"/>
                  </a:lnTo>
                  <a:lnTo>
                    <a:pt x="86" y="129"/>
                  </a:lnTo>
                  <a:lnTo>
                    <a:pt x="86" y="130"/>
                  </a:lnTo>
                  <a:lnTo>
                    <a:pt x="85" y="129"/>
                  </a:lnTo>
                  <a:lnTo>
                    <a:pt x="85" y="128"/>
                  </a:lnTo>
                  <a:lnTo>
                    <a:pt x="84" y="128"/>
                  </a:lnTo>
                  <a:lnTo>
                    <a:pt x="84" y="129"/>
                  </a:lnTo>
                  <a:lnTo>
                    <a:pt x="85" y="129"/>
                  </a:lnTo>
                  <a:lnTo>
                    <a:pt x="84" y="129"/>
                  </a:lnTo>
                  <a:lnTo>
                    <a:pt x="84" y="128"/>
                  </a:lnTo>
                  <a:lnTo>
                    <a:pt x="82" y="128"/>
                  </a:lnTo>
                  <a:lnTo>
                    <a:pt x="82" y="126"/>
                  </a:lnTo>
                  <a:lnTo>
                    <a:pt x="82" y="125"/>
                  </a:lnTo>
                  <a:lnTo>
                    <a:pt x="81" y="125"/>
                  </a:lnTo>
                  <a:lnTo>
                    <a:pt x="82" y="125"/>
                  </a:lnTo>
                  <a:lnTo>
                    <a:pt x="81" y="125"/>
                  </a:lnTo>
                  <a:lnTo>
                    <a:pt x="81" y="124"/>
                  </a:lnTo>
                  <a:lnTo>
                    <a:pt x="82" y="124"/>
                  </a:lnTo>
                  <a:lnTo>
                    <a:pt x="81" y="123"/>
                  </a:lnTo>
                  <a:lnTo>
                    <a:pt x="82" y="123"/>
                  </a:lnTo>
                  <a:lnTo>
                    <a:pt x="84" y="123"/>
                  </a:lnTo>
                  <a:lnTo>
                    <a:pt x="84" y="122"/>
                  </a:lnTo>
                  <a:lnTo>
                    <a:pt x="82" y="122"/>
                  </a:lnTo>
                  <a:lnTo>
                    <a:pt x="82" y="123"/>
                  </a:lnTo>
                  <a:lnTo>
                    <a:pt x="81" y="123"/>
                  </a:lnTo>
                  <a:lnTo>
                    <a:pt x="81" y="122"/>
                  </a:lnTo>
                  <a:lnTo>
                    <a:pt x="80" y="122"/>
                  </a:lnTo>
                  <a:lnTo>
                    <a:pt x="79" y="122"/>
                  </a:lnTo>
                  <a:lnTo>
                    <a:pt x="78" y="122"/>
                  </a:lnTo>
                  <a:lnTo>
                    <a:pt x="78" y="121"/>
                  </a:lnTo>
                  <a:lnTo>
                    <a:pt x="78" y="119"/>
                  </a:lnTo>
                  <a:lnTo>
                    <a:pt x="78" y="118"/>
                  </a:lnTo>
                  <a:lnTo>
                    <a:pt x="78" y="119"/>
                  </a:lnTo>
                  <a:lnTo>
                    <a:pt x="78" y="118"/>
                  </a:lnTo>
                  <a:lnTo>
                    <a:pt x="78" y="117"/>
                  </a:lnTo>
                  <a:lnTo>
                    <a:pt x="77" y="117"/>
                  </a:lnTo>
                  <a:lnTo>
                    <a:pt x="77" y="116"/>
                  </a:lnTo>
                  <a:lnTo>
                    <a:pt x="77" y="115"/>
                  </a:lnTo>
                  <a:lnTo>
                    <a:pt x="75" y="115"/>
                  </a:lnTo>
                  <a:lnTo>
                    <a:pt x="74" y="112"/>
                  </a:lnTo>
                  <a:lnTo>
                    <a:pt x="74" y="111"/>
                  </a:lnTo>
                  <a:lnTo>
                    <a:pt x="74" y="110"/>
                  </a:lnTo>
                  <a:lnTo>
                    <a:pt x="74" y="109"/>
                  </a:lnTo>
                  <a:lnTo>
                    <a:pt x="73" y="109"/>
                  </a:lnTo>
                  <a:lnTo>
                    <a:pt x="72" y="109"/>
                  </a:lnTo>
                  <a:lnTo>
                    <a:pt x="72" y="108"/>
                  </a:lnTo>
                  <a:lnTo>
                    <a:pt x="72" y="107"/>
                  </a:lnTo>
                  <a:lnTo>
                    <a:pt x="71" y="107"/>
                  </a:lnTo>
                  <a:lnTo>
                    <a:pt x="70" y="105"/>
                  </a:lnTo>
                  <a:lnTo>
                    <a:pt x="68" y="105"/>
                  </a:lnTo>
                  <a:lnTo>
                    <a:pt x="67" y="104"/>
                  </a:lnTo>
                  <a:lnTo>
                    <a:pt x="68" y="104"/>
                  </a:lnTo>
                  <a:lnTo>
                    <a:pt x="67" y="104"/>
                  </a:lnTo>
                  <a:lnTo>
                    <a:pt x="66" y="104"/>
                  </a:lnTo>
                  <a:lnTo>
                    <a:pt x="65" y="104"/>
                  </a:lnTo>
                  <a:lnTo>
                    <a:pt x="64" y="104"/>
                  </a:lnTo>
                  <a:lnTo>
                    <a:pt x="63" y="104"/>
                  </a:lnTo>
                  <a:lnTo>
                    <a:pt x="63" y="103"/>
                  </a:lnTo>
                  <a:lnTo>
                    <a:pt x="62" y="103"/>
                  </a:lnTo>
                  <a:lnTo>
                    <a:pt x="60" y="103"/>
                  </a:lnTo>
                  <a:lnTo>
                    <a:pt x="60" y="102"/>
                  </a:lnTo>
                  <a:lnTo>
                    <a:pt x="59" y="103"/>
                  </a:lnTo>
                  <a:lnTo>
                    <a:pt x="59" y="102"/>
                  </a:lnTo>
                  <a:lnTo>
                    <a:pt x="58" y="102"/>
                  </a:lnTo>
                  <a:lnTo>
                    <a:pt x="57" y="102"/>
                  </a:lnTo>
                  <a:lnTo>
                    <a:pt x="56" y="102"/>
                  </a:lnTo>
                  <a:lnTo>
                    <a:pt x="56" y="101"/>
                  </a:lnTo>
                  <a:lnTo>
                    <a:pt x="56" y="100"/>
                  </a:lnTo>
                  <a:lnTo>
                    <a:pt x="56" y="98"/>
                  </a:lnTo>
                  <a:lnTo>
                    <a:pt x="56" y="100"/>
                  </a:lnTo>
                  <a:lnTo>
                    <a:pt x="56" y="101"/>
                  </a:lnTo>
                  <a:lnTo>
                    <a:pt x="55" y="101"/>
                  </a:lnTo>
                  <a:lnTo>
                    <a:pt x="55" y="100"/>
                  </a:lnTo>
                  <a:lnTo>
                    <a:pt x="53" y="100"/>
                  </a:lnTo>
                  <a:lnTo>
                    <a:pt x="53" y="98"/>
                  </a:lnTo>
                  <a:lnTo>
                    <a:pt x="53" y="100"/>
                  </a:lnTo>
                  <a:lnTo>
                    <a:pt x="52" y="100"/>
                  </a:lnTo>
                  <a:lnTo>
                    <a:pt x="51" y="100"/>
                  </a:lnTo>
                  <a:lnTo>
                    <a:pt x="51" y="98"/>
                  </a:lnTo>
                  <a:lnTo>
                    <a:pt x="51" y="97"/>
                  </a:lnTo>
                  <a:lnTo>
                    <a:pt x="51" y="98"/>
                  </a:lnTo>
                  <a:lnTo>
                    <a:pt x="51" y="100"/>
                  </a:lnTo>
                  <a:lnTo>
                    <a:pt x="50" y="100"/>
                  </a:lnTo>
                  <a:lnTo>
                    <a:pt x="50" y="98"/>
                  </a:lnTo>
                  <a:lnTo>
                    <a:pt x="50" y="97"/>
                  </a:lnTo>
                  <a:lnTo>
                    <a:pt x="50" y="98"/>
                  </a:lnTo>
                  <a:lnTo>
                    <a:pt x="50" y="100"/>
                  </a:lnTo>
                  <a:lnTo>
                    <a:pt x="50" y="101"/>
                  </a:lnTo>
                  <a:lnTo>
                    <a:pt x="51" y="102"/>
                  </a:lnTo>
                  <a:lnTo>
                    <a:pt x="50" y="102"/>
                  </a:lnTo>
                  <a:lnTo>
                    <a:pt x="50" y="101"/>
                  </a:lnTo>
                  <a:lnTo>
                    <a:pt x="49" y="101"/>
                  </a:lnTo>
                  <a:lnTo>
                    <a:pt x="49" y="102"/>
                  </a:lnTo>
                  <a:lnTo>
                    <a:pt x="49" y="101"/>
                  </a:lnTo>
                  <a:lnTo>
                    <a:pt x="49" y="100"/>
                  </a:lnTo>
                  <a:lnTo>
                    <a:pt x="48" y="100"/>
                  </a:lnTo>
                  <a:lnTo>
                    <a:pt x="49" y="100"/>
                  </a:lnTo>
                  <a:lnTo>
                    <a:pt x="49" y="101"/>
                  </a:lnTo>
                  <a:lnTo>
                    <a:pt x="48" y="101"/>
                  </a:lnTo>
                  <a:lnTo>
                    <a:pt x="48" y="100"/>
                  </a:lnTo>
                  <a:lnTo>
                    <a:pt x="46" y="100"/>
                  </a:lnTo>
                  <a:lnTo>
                    <a:pt x="48" y="100"/>
                  </a:lnTo>
                  <a:lnTo>
                    <a:pt x="48" y="101"/>
                  </a:lnTo>
                  <a:lnTo>
                    <a:pt x="48" y="102"/>
                  </a:lnTo>
                  <a:lnTo>
                    <a:pt x="46" y="102"/>
                  </a:lnTo>
                  <a:lnTo>
                    <a:pt x="45" y="102"/>
                  </a:lnTo>
                  <a:lnTo>
                    <a:pt x="43" y="101"/>
                  </a:lnTo>
                  <a:lnTo>
                    <a:pt x="42" y="100"/>
                  </a:lnTo>
                  <a:lnTo>
                    <a:pt x="42" y="98"/>
                  </a:lnTo>
                  <a:lnTo>
                    <a:pt x="41" y="97"/>
                  </a:lnTo>
                  <a:lnTo>
                    <a:pt x="39" y="97"/>
                  </a:lnTo>
                  <a:lnTo>
                    <a:pt x="39" y="96"/>
                  </a:lnTo>
                  <a:lnTo>
                    <a:pt x="39" y="97"/>
                  </a:lnTo>
                  <a:lnTo>
                    <a:pt x="41" y="97"/>
                  </a:lnTo>
                  <a:lnTo>
                    <a:pt x="41" y="98"/>
                  </a:lnTo>
                  <a:lnTo>
                    <a:pt x="42" y="101"/>
                  </a:lnTo>
                  <a:lnTo>
                    <a:pt x="42" y="102"/>
                  </a:lnTo>
                  <a:lnTo>
                    <a:pt x="42" y="103"/>
                  </a:lnTo>
                  <a:lnTo>
                    <a:pt x="43" y="104"/>
                  </a:lnTo>
                  <a:lnTo>
                    <a:pt x="43" y="105"/>
                  </a:lnTo>
                  <a:lnTo>
                    <a:pt x="42" y="105"/>
                  </a:lnTo>
                  <a:lnTo>
                    <a:pt x="42" y="104"/>
                  </a:lnTo>
                  <a:lnTo>
                    <a:pt x="41" y="104"/>
                  </a:lnTo>
                  <a:lnTo>
                    <a:pt x="42" y="104"/>
                  </a:lnTo>
                  <a:lnTo>
                    <a:pt x="42" y="105"/>
                  </a:lnTo>
                  <a:lnTo>
                    <a:pt x="39" y="105"/>
                  </a:lnTo>
                  <a:lnTo>
                    <a:pt x="38" y="105"/>
                  </a:lnTo>
                  <a:lnTo>
                    <a:pt x="37" y="105"/>
                  </a:lnTo>
                  <a:lnTo>
                    <a:pt x="36" y="105"/>
                  </a:lnTo>
                  <a:lnTo>
                    <a:pt x="36" y="104"/>
                  </a:lnTo>
                  <a:lnTo>
                    <a:pt x="35" y="104"/>
                  </a:lnTo>
                  <a:lnTo>
                    <a:pt x="35" y="103"/>
                  </a:lnTo>
                  <a:lnTo>
                    <a:pt x="35" y="104"/>
                  </a:lnTo>
                  <a:lnTo>
                    <a:pt x="36" y="104"/>
                  </a:lnTo>
                  <a:lnTo>
                    <a:pt x="36" y="105"/>
                  </a:lnTo>
                  <a:lnTo>
                    <a:pt x="37" y="105"/>
                  </a:lnTo>
                  <a:lnTo>
                    <a:pt x="37" y="107"/>
                  </a:lnTo>
                  <a:lnTo>
                    <a:pt x="38" y="108"/>
                  </a:lnTo>
                  <a:lnTo>
                    <a:pt x="38" y="109"/>
                  </a:lnTo>
                  <a:lnTo>
                    <a:pt x="37" y="109"/>
                  </a:lnTo>
                  <a:lnTo>
                    <a:pt x="34" y="109"/>
                  </a:lnTo>
                  <a:lnTo>
                    <a:pt x="34" y="110"/>
                  </a:lnTo>
                  <a:lnTo>
                    <a:pt x="32" y="110"/>
                  </a:lnTo>
                  <a:lnTo>
                    <a:pt x="29" y="110"/>
                  </a:lnTo>
                  <a:lnTo>
                    <a:pt x="28" y="110"/>
                  </a:lnTo>
                  <a:lnTo>
                    <a:pt x="27" y="110"/>
                  </a:lnTo>
                  <a:lnTo>
                    <a:pt x="25" y="110"/>
                  </a:lnTo>
                  <a:lnTo>
                    <a:pt x="24" y="109"/>
                  </a:lnTo>
                  <a:lnTo>
                    <a:pt x="24" y="110"/>
                  </a:lnTo>
                  <a:lnTo>
                    <a:pt x="23" y="110"/>
                  </a:lnTo>
                  <a:lnTo>
                    <a:pt x="22" y="110"/>
                  </a:lnTo>
                  <a:lnTo>
                    <a:pt x="21" y="110"/>
                  </a:lnTo>
                  <a:lnTo>
                    <a:pt x="21" y="109"/>
                  </a:lnTo>
                  <a:lnTo>
                    <a:pt x="21" y="108"/>
                  </a:lnTo>
                  <a:lnTo>
                    <a:pt x="20" y="108"/>
                  </a:lnTo>
                  <a:lnTo>
                    <a:pt x="18" y="108"/>
                  </a:lnTo>
                  <a:lnTo>
                    <a:pt x="17" y="109"/>
                  </a:lnTo>
                  <a:lnTo>
                    <a:pt x="18" y="109"/>
                  </a:lnTo>
                  <a:lnTo>
                    <a:pt x="20" y="108"/>
                  </a:lnTo>
                  <a:lnTo>
                    <a:pt x="21" y="109"/>
                  </a:lnTo>
                  <a:lnTo>
                    <a:pt x="21" y="110"/>
                  </a:lnTo>
                  <a:lnTo>
                    <a:pt x="21" y="111"/>
                  </a:lnTo>
                  <a:lnTo>
                    <a:pt x="22" y="111"/>
                  </a:lnTo>
                  <a:lnTo>
                    <a:pt x="23" y="110"/>
                  </a:lnTo>
                  <a:lnTo>
                    <a:pt x="24" y="110"/>
                  </a:lnTo>
                  <a:lnTo>
                    <a:pt x="25" y="110"/>
                  </a:lnTo>
                  <a:lnTo>
                    <a:pt x="27" y="111"/>
                  </a:lnTo>
                  <a:lnTo>
                    <a:pt x="28" y="112"/>
                  </a:lnTo>
                  <a:lnTo>
                    <a:pt x="30" y="112"/>
                  </a:lnTo>
                  <a:lnTo>
                    <a:pt x="32" y="115"/>
                  </a:lnTo>
                  <a:lnTo>
                    <a:pt x="32" y="116"/>
                  </a:lnTo>
                  <a:lnTo>
                    <a:pt x="34" y="117"/>
                  </a:lnTo>
                  <a:lnTo>
                    <a:pt x="34" y="118"/>
                  </a:lnTo>
                  <a:lnTo>
                    <a:pt x="34" y="119"/>
                  </a:lnTo>
                  <a:lnTo>
                    <a:pt x="34" y="121"/>
                  </a:lnTo>
                  <a:lnTo>
                    <a:pt x="32" y="122"/>
                  </a:lnTo>
                  <a:lnTo>
                    <a:pt x="31" y="122"/>
                  </a:lnTo>
                  <a:lnTo>
                    <a:pt x="30" y="122"/>
                  </a:lnTo>
                  <a:lnTo>
                    <a:pt x="29" y="123"/>
                  </a:lnTo>
                  <a:lnTo>
                    <a:pt x="28" y="123"/>
                  </a:lnTo>
                  <a:lnTo>
                    <a:pt x="27" y="124"/>
                  </a:lnTo>
                  <a:lnTo>
                    <a:pt x="25" y="124"/>
                  </a:lnTo>
                  <a:lnTo>
                    <a:pt x="25" y="125"/>
                  </a:lnTo>
                  <a:lnTo>
                    <a:pt x="24" y="125"/>
                  </a:lnTo>
                  <a:lnTo>
                    <a:pt x="23" y="125"/>
                  </a:lnTo>
                  <a:lnTo>
                    <a:pt x="23" y="126"/>
                  </a:lnTo>
                  <a:lnTo>
                    <a:pt x="22" y="126"/>
                  </a:lnTo>
                  <a:lnTo>
                    <a:pt x="21" y="126"/>
                  </a:lnTo>
                  <a:lnTo>
                    <a:pt x="21" y="125"/>
                  </a:lnTo>
                  <a:lnTo>
                    <a:pt x="20" y="125"/>
                  </a:lnTo>
                  <a:lnTo>
                    <a:pt x="18" y="124"/>
                  </a:lnTo>
                  <a:lnTo>
                    <a:pt x="17" y="124"/>
                  </a:lnTo>
                  <a:lnTo>
                    <a:pt x="16" y="124"/>
                  </a:lnTo>
                  <a:lnTo>
                    <a:pt x="14" y="124"/>
                  </a:lnTo>
                  <a:lnTo>
                    <a:pt x="13" y="124"/>
                  </a:lnTo>
                  <a:lnTo>
                    <a:pt x="11" y="124"/>
                  </a:lnTo>
                  <a:lnTo>
                    <a:pt x="10" y="124"/>
                  </a:lnTo>
                  <a:lnTo>
                    <a:pt x="9" y="124"/>
                  </a:lnTo>
                  <a:lnTo>
                    <a:pt x="9" y="125"/>
                  </a:lnTo>
                  <a:lnTo>
                    <a:pt x="8" y="125"/>
                  </a:lnTo>
                  <a:lnTo>
                    <a:pt x="8" y="124"/>
                  </a:lnTo>
                  <a:lnTo>
                    <a:pt x="7" y="124"/>
                  </a:lnTo>
                  <a:lnTo>
                    <a:pt x="6" y="124"/>
                  </a:lnTo>
                  <a:lnTo>
                    <a:pt x="6" y="123"/>
                  </a:lnTo>
                  <a:lnTo>
                    <a:pt x="4" y="123"/>
                  </a:lnTo>
                  <a:lnTo>
                    <a:pt x="4" y="124"/>
                  </a:lnTo>
                  <a:lnTo>
                    <a:pt x="3" y="124"/>
                  </a:lnTo>
                  <a:lnTo>
                    <a:pt x="2" y="125"/>
                  </a:lnTo>
                  <a:lnTo>
                    <a:pt x="1" y="124"/>
                  </a:lnTo>
                  <a:lnTo>
                    <a:pt x="0" y="123"/>
                  </a:lnTo>
                  <a:lnTo>
                    <a:pt x="0" y="121"/>
                  </a:lnTo>
                  <a:lnTo>
                    <a:pt x="0" y="118"/>
                  </a:lnTo>
                  <a:lnTo>
                    <a:pt x="0" y="115"/>
                  </a:lnTo>
                  <a:lnTo>
                    <a:pt x="1" y="112"/>
                  </a:lnTo>
                  <a:lnTo>
                    <a:pt x="1" y="108"/>
                  </a:lnTo>
                  <a:lnTo>
                    <a:pt x="1" y="105"/>
                  </a:lnTo>
                  <a:lnTo>
                    <a:pt x="1" y="104"/>
                  </a:lnTo>
                  <a:lnTo>
                    <a:pt x="1" y="102"/>
                  </a:lnTo>
                  <a:lnTo>
                    <a:pt x="2" y="98"/>
                  </a:lnTo>
                  <a:lnTo>
                    <a:pt x="2" y="95"/>
                  </a:lnTo>
                  <a:lnTo>
                    <a:pt x="2" y="94"/>
                  </a:lnTo>
                  <a:lnTo>
                    <a:pt x="2" y="91"/>
                  </a:lnTo>
                  <a:lnTo>
                    <a:pt x="2" y="89"/>
                  </a:lnTo>
                  <a:lnTo>
                    <a:pt x="2" y="88"/>
                  </a:lnTo>
                  <a:lnTo>
                    <a:pt x="2" y="87"/>
                  </a:lnTo>
                  <a:lnTo>
                    <a:pt x="1" y="87"/>
                  </a:lnTo>
                  <a:lnTo>
                    <a:pt x="1" y="86"/>
                  </a:lnTo>
                  <a:lnTo>
                    <a:pt x="1" y="84"/>
                  </a:lnTo>
                  <a:lnTo>
                    <a:pt x="1" y="83"/>
                  </a:lnTo>
                  <a:lnTo>
                    <a:pt x="2" y="83"/>
                  </a:lnTo>
                  <a:lnTo>
                    <a:pt x="2" y="82"/>
                  </a:lnTo>
                  <a:lnTo>
                    <a:pt x="2" y="81"/>
                  </a:lnTo>
                  <a:lnTo>
                    <a:pt x="3" y="81"/>
                  </a:lnTo>
                  <a:lnTo>
                    <a:pt x="3" y="80"/>
                  </a:lnTo>
                  <a:lnTo>
                    <a:pt x="3" y="79"/>
                  </a:lnTo>
                  <a:lnTo>
                    <a:pt x="3" y="77"/>
                  </a:lnTo>
                  <a:lnTo>
                    <a:pt x="3" y="74"/>
                  </a:lnTo>
                  <a:lnTo>
                    <a:pt x="3" y="70"/>
                  </a:lnTo>
                  <a:lnTo>
                    <a:pt x="4" y="68"/>
                  </a:lnTo>
                  <a:lnTo>
                    <a:pt x="4" y="63"/>
                  </a:lnTo>
                  <a:lnTo>
                    <a:pt x="4" y="61"/>
                  </a:lnTo>
                  <a:lnTo>
                    <a:pt x="4" y="58"/>
                  </a:lnTo>
                  <a:lnTo>
                    <a:pt x="4" y="54"/>
                  </a:lnTo>
                  <a:lnTo>
                    <a:pt x="4" y="52"/>
                  </a:lnTo>
                  <a:lnTo>
                    <a:pt x="6" y="45"/>
                  </a:lnTo>
                  <a:lnTo>
                    <a:pt x="6" y="42"/>
                  </a:lnTo>
                  <a:lnTo>
                    <a:pt x="6" y="39"/>
                  </a:lnTo>
                  <a:lnTo>
                    <a:pt x="6" y="35"/>
                  </a:lnTo>
                  <a:lnTo>
                    <a:pt x="6" y="30"/>
                  </a:lnTo>
                  <a:lnTo>
                    <a:pt x="7" y="26"/>
                  </a:lnTo>
                  <a:lnTo>
                    <a:pt x="7" y="23"/>
                  </a:lnTo>
                  <a:lnTo>
                    <a:pt x="7" y="20"/>
                  </a:lnTo>
                  <a:lnTo>
                    <a:pt x="8" y="19"/>
                  </a:lnTo>
                  <a:lnTo>
                    <a:pt x="8" y="20"/>
                  </a:lnTo>
                  <a:lnTo>
                    <a:pt x="9" y="20"/>
                  </a:lnTo>
                  <a:close/>
                  <a:moveTo>
                    <a:pt x="146" y="21"/>
                  </a:moveTo>
                  <a:lnTo>
                    <a:pt x="148" y="23"/>
                  </a:lnTo>
                  <a:lnTo>
                    <a:pt x="149" y="23"/>
                  </a:lnTo>
                  <a:lnTo>
                    <a:pt x="149" y="24"/>
                  </a:lnTo>
                  <a:lnTo>
                    <a:pt x="150" y="24"/>
                  </a:lnTo>
                  <a:lnTo>
                    <a:pt x="151" y="24"/>
                  </a:lnTo>
                  <a:lnTo>
                    <a:pt x="151" y="25"/>
                  </a:lnTo>
                  <a:lnTo>
                    <a:pt x="152" y="25"/>
                  </a:lnTo>
                  <a:lnTo>
                    <a:pt x="153" y="26"/>
                  </a:lnTo>
                  <a:lnTo>
                    <a:pt x="155" y="26"/>
                  </a:lnTo>
                  <a:lnTo>
                    <a:pt x="156" y="27"/>
                  </a:lnTo>
                  <a:lnTo>
                    <a:pt x="156" y="28"/>
                  </a:lnTo>
                  <a:lnTo>
                    <a:pt x="157" y="28"/>
                  </a:lnTo>
                  <a:lnTo>
                    <a:pt x="157" y="30"/>
                  </a:lnTo>
                  <a:lnTo>
                    <a:pt x="158" y="30"/>
                  </a:lnTo>
                  <a:lnTo>
                    <a:pt x="159" y="30"/>
                  </a:lnTo>
                  <a:lnTo>
                    <a:pt x="160" y="30"/>
                  </a:lnTo>
                  <a:lnTo>
                    <a:pt x="160" y="31"/>
                  </a:lnTo>
                  <a:lnTo>
                    <a:pt x="162" y="32"/>
                  </a:lnTo>
                  <a:lnTo>
                    <a:pt x="162" y="33"/>
                  </a:lnTo>
                  <a:lnTo>
                    <a:pt x="163" y="33"/>
                  </a:lnTo>
                  <a:lnTo>
                    <a:pt x="163" y="34"/>
                  </a:lnTo>
                  <a:lnTo>
                    <a:pt x="164" y="34"/>
                  </a:lnTo>
                  <a:lnTo>
                    <a:pt x="165" y="34"/>
                  </a:lnTo>
                  <a:lnTo>
                    <a:pt x="165" y="35"/>
                  </a:lnTo>
                  <a:lnTo>
                    <a:pt x="165" y="37"/>
                  </a:lnTo>
                  <a:lnTo>
                    <a:pt x="166" y="37"/>
                  </a:lnTo>
                  <a:lnTo>
                    <a:pt x="166" y="38"/>
                  </a:lnTo>
                  <a:lnTo>
                    <a:pt x="167" y="38"/>
                  </a:lnTo>
                  <a:lnTo>
                    <a:pt x="167" y="39"/>
                  </a:lnTo>
                  <a:lnTo>
                    <a:pt x="169" y="39"/>
                  </a:lnTo>
                  <a:lnTo>
                    <a:pt x="169" y="40"/>
                  </a:lnTo>
                  <a:lnTo>
                    <a:pt x="170" y="40"/>
                  </a:lnTo>
                  <a:lnTo>
                    <a:pt x="171" y="40"/>
                  </a:lnTo>
                  <a:lnTo>
                    <a:pt x="171" y="41"/>
                  </a:lnTo>
                  <a:lnTo>
                    <a:pt x="171" y="42"/>
                  </a:lnTo>
                  <a:lnTo>
                    <a:pt x="172" y="42"/>
                  </a:lnTo>
                  <a:lnTo>
                    <a:pt x="172" y="41"/>
                  </a:lnTo>
                  <a:lnTo>
                    <a:pt x="172" y="42"/>
                  </a:lnTo>
                  <a:lnTo>
                    <a:pt x="173" y="44"/>
                  </a:lnTo>
                  <a:lnTo>
                    <a:pt x="173" y="45"/>
                  </a:lnTo>
                  <a:lnTo>
                    <a:pt x="174" y="45"/>
                  </a:lnTo>
                  <a:lnTo>
                    <a:pt x="173" y="45"/>
                  </a:lnTo>
                  <a:lnTo>
                    <a:pt x="174" y="45"/>
                  </a:lnTo>
                  <a:lnTo>
                    <a:pt x="174" y="46"/>
                  </a:lnTo>
                  <a:lnTo>
                    <a:pt x="174" y="47"/>
                  </a:lnTo>
                  <a:lnTo>
                    <a:pt x="174" y="48"/>
                  </a:lnTo>
                  <a:lnTo>
                    <a:pt x="173" y="49"/>
                  </a:lnTo>
                  <a:lnTo>
                    <a:pt x="173" y="51"/>
                  </a:lnTo>
                  <a:lnTo>
                    <a:pt x="173" y="52"/>
                  </a:lnTo>
                  <a:lnTo>
                    <a:pt x="173" y="53"/>
                  </a:lnTo>
                  <a:lnTo>
                    <a:pt x="172" y="53"/>
                  </a:lnTo>
                  <a:lnTo>
                    <a:pt x="172" y="54"/>
                  </a:lnTo>
                  <a:lnTo>
                    <a:pt x="171" y="54"/>
                  </a:lnTo>
                  <a:lnTo>
                    <a:pt x="171" y="55"/>
                  </a:lnTo>
                  <a:lnTo>
                    <a:pt x="171" y="54"/>
                  </a:lnTo>
                  <a:lnTo>
                    <a:pt x="170" y="54"/>
                  </a:lnTo>
                  <a:lnTo>
                    <a:pt x="170" y="53"/>
                  </a:lnTo>
                  <a:lnTo>
                    <a:pt x="169" y="53"/>
                  </a:lnTo>
                  <a:lnTo>
                    <a:pt x="169" y="52"/>
                  </a:lnTo>
                  <a:lnTo>
                    <a:pt x="169" y="51"/>
                  </a:lnTo>
                  <a:lnTo>
                    <a:pt x="169" y="49"/>
                  </a:lnTo>
                  <a:lnTo>
                    <a:pt x="169" y="48"/>
                  </a:lnTo>
                  <a:lnTo>
                    <a:pt x="169" y="47"/>
                  </a:lnTo>
                  <a:lnTo>
                    <a:pt x="169" y="46"/>
                  </a:lnTo>
                  <a:lnTo>
                    <a:pt x="169" y="45"/>
                  </a:lnTo>
                  <a:lnTo>
                    <a:pt x="169" y="44"/>
                  </a:lnTo>
                  <a:lnTo>
                    <a:pt x="167" y="42"/>
                  </a:lnTo>
                  <a:lnTo>
                    <a:pt x="167" y="41"/>
                  </a:lnTo>
                  <a:lnTo>
                    <a:pt x="167" y="40"/>
                  </a:lnTo>
                  <a:lnTo>
                    <a:pt x="166" y="40"/>
                  </a:lnTo>
                  <a:lnTo>
                    <a:pt x="166" y="39"/>
                  </a:lnTo>
                  <a:lnTo>
                    <a:pt x="165" y="39"/>
                  </a:lnTo>
                  <a:lnTo>
                    <a:pt x="164" y="37"/>
                  </a:lnTo>
                  <a:lnTo>
                    <a:pt x="164" y="35"/>
                  </a:lnTo>
                  <a:lnTo>
                    <a:pt x="163" y="35"/>
                  </a:lnTo>
                  <a:lnTo>
                    <a:pt x="163" y="34"/>
                  </a:lnTo>
                  <a:lnTo>
                    <a:pt x="162" y="34"/>
                  </a:lnTo>
                  <a:lnTo>
                    <a:pt x="159" y="33"/>
                  </a:lnTo>
                  <a:lnTo>
                    <a:pt x="157" y="32"/>
                  </a:lnTo>
                  <a:lnTo>
                    <a:pt x="155" y="28"/>
                  </a:lnTo>
                  <a:lnTo>
                    <a:pt x="153" y="28"/>
                  </a:lnTo>
                  <a:lnTo>
                    <a:pt x="152" y="28"/>
                  </a:lnTo>
                  <a:lnTo>
                    <a:pt x="152" y="27"/>
                  </a:lnTo>
                  <a:lnTo>
                    <a:pt x="151" y="26"/>
                  </a:lnTo>
                  <a:lnTo>
                    <a:pt x="150" y="26"/>
                  </a:lnTo>
                  <a:lnTo>
                    <a:pt x="150" y="25"/>
                  </a:lnTo>
                  <a:lnTo>
                    <a:pt x="149" y="25"/>
                  </a:lnTo>
                  <a:lnTo>
                    <a:pt x="149" y="24"/>
                  </a:lnTo>
                  <a:lnTo>
                    <a:pt x="148" y="24"/>
                  </a:lnTo>
                  <a:lnTo>
                    <a:pt x="146" y="24"/>
                  </a:lnTo>
                  <a:lnTo>
                    <a:pt x="146" y="23"/>
                  </a:lnTo>
                  <a:lnTo>
                    <a:pt x="145" y="23"/>
                  </a:lnTo>
                  <a:lnTo>
                    <a:pt x="144" y="23"/>
                  </a:lnTo>
                  <a:lnTo>
                    <a:pt x="143" y="23"/>
                  </a:lnTo>
                  <a:lnTo>
                    <a:pt x="143" y="21"/>
                  </a:lnTo>
                  <a:lnTo>
                    <a:pt x="144" y="21"/>
                  </a:lnTo>
                  <a:lnTo>
                    <a:pt x="145" y="21"/>
                  </a:lnTo>
                  <a:lnTo>
                    <a:pt x="144" y="21"/>
                  </a:lnTo>
                  <a:lnTo>
                    <a:pt x="144" y="20"/>
                  </a:lnTo>
                  <a:lnTo>
                    <a:pt x="143" y="20"/>
                  </a:lnTo>
                  <a:lnTo>
                    <a:pt x="144" y="19"/>
                  </a:lnTo>
                  <a:lnTo>
                    <a:pt x="144" y="20"/>
                  </a:lnTo>
                  <a:lnTo>
                    <a:pt x="145" y="20"/>
                  </a:lnTo>
                  <a:lnTo>
                    <a:pt x="145" y="21"/>
                  </a:lnTo>
                  <a:lnTo>
                    <a:pt x="146" y="21"/>
                  </a:lnTo>
                  <a:close/>
                  <a:moveTo>
                    <a:pt x="136" y="17"/>
                  </a:moveTo>
                  <a:lnTo>
                    <a:pt x="137" y="17"/>
                  </a:lnTo>
                  <a:lnTo>
                    <a:pt x="137" y="18"/>
                  </a:lnTo>
                  <a:lnTo>
                    <a:pt x="138" y="18"/>
                  </a:lnTo>
                  <a:lnTo>
                    <a:pt x="138" y="19"/>
                  </a:lnTo>
                  <a:lnTo>
                    <a:pt x="139" y="19"/>
                  </a:lnTo>
                  <a:lnTo>
                    <a:pt x="138" y="19"/>
                  </a:lnTo>
                  <a:lnTo>
                    <a:pt x="138" y="20"/>
                  </a:lnTo>
                  <a:lnTo>
                    <a:pt x="138" y="21"/>
                  </a:lnTo>
                  <a:lnTo>
                    <a:pt x="137" y="21"/>
                  </a:lnTo>
                  <a:lnTo>
                    <a:pt x="137" y="20"/>
                  </a:lnTo>
                  <a:lnTo>
                    <a:pt x="137" y="21"/>
                  </a:lnTo>
                  <a:lnTo>
                    <a:pt x="136" y="21"/>
                  </a:lnTo>
                  <a:lnTo>
                    <a:pt x="135" y="21"/>
                  </a:lnTo>
                  <a:lnTo>
                    <a:pt x="134" y="20"/>
                  </a:lnTo>
                  <a:lnTo>
                    <a:pt x="134" y="19"/>
                  </a:lnTo>
                  <a:lnTo>
                    <a:pt x="132" y="18"/>
                  </a:lnTo>
                  <a:lnTo>
                    <a:pt x="131" y="18"/>
                  </a:lnTo>
                  <a:lnTo>
                    <a:pt x="132" y="18"/>
                  </a:lnTo>
                  <a:lnTo>
                    <a:pt x="134" y="17"/>
                  </a:lnTo>
                  <a:lnTo>
                    <a:pt x="135" y="17"/>
                  </a:lnTo>
                  <a:lnTo>
                    <a:pt x="136" y="17"/>
                  </a:lnTo>
                  <a:close/>
                  <a:moveTo>
                    <a:pt x="103" y="14"/>
                  </a:moveTo>
                  <a:lnTo>
                    <a:pt x="102" y="16"/>
                  </a:lnTo>
                  <a:lnTo>
                    <a:pt x="101" y="16"/>
                  </a:lnTo>
                  <a:lnTo>
                    <a:pt x="102" y="16"/>
                  </a:lnTo>
                  <a:lnTo>
                    <a:pt x="102" y="14"/>
                  </a:lnTo>
                  <a:lnTo>
                    <a:pt x="103" y="14"/>
                  </a:lnTo>
                  <a:close/>
                  <a:moveTo>
                    <a:pt x="89" y="10"/>
                  </a:moveTo>
                  <a:lnTo>
                    <a:pt x="91" y="10"/>
                  </a:lnTo>
                  <a:lnTo>
                    <a:pt x="93" y="10"/>
                  </a:lnTo>
                  <a:lnTo>
                    <a:pt x="93" y="11"/>
                  </a:lnTo>
                  <a:lnTo>
                    <a:pt x="93" y="10"/>
                  </a:lnTo>
                  <a:lnTo>
                    <a:pt x="94" y="10"/>
                  </a:lnTo>
                  <a:lnTo>
                    <a:pt x="94" y="11"/>
                  </a:lnTo>
                  <a:lnTo>
                    <a:pt x="94" y="10"/>
                  </a:lnTo>
                  <a:lnTo>
                    <a:pt x="95" y="11"/>
                  </a:lnTo>
                  <a:lnTo>
                    <a:pt x="96" y="11"/>
                  </a:lnTo>
                  <a:lnTo>
                    <a:pt x="96" y="10"/>
                  </a:lnTo>
                  <a:lnTo>
                    <a:pt x="98" y="10"/>
                  </a:lnTo>
                  <a:lnTo>
                    <a:pt x="98" y="11"/>
                  </a:lnTo>
                  <a:lnTo>
                    <a:pt x="96" y="11"/>
                  </a:lnTo>
                  <a:lnTo>
                    <a:pt x="95" y="11"/>
                  </a:lnTo>
                  <a:lnTo>
                    <a:pt x="95" y="12"/>
                  </a:lnTo>
                  <a:lnTo>
                    <a:pt x="95" y="11"/>
                  </a:lnTo>
                  <a:lnTo>
                    <a:pt x="95" y="12"/>
                  </a:lnTo>
                  <a:lnTo>
                    <a:pt x="94" y="12"/>
                  </a:lnTo>
                  <a:lnTo>
                    <a:pt x="94" y="13"/>
                  </a:lnTo>
                  <a:lnTo>
                    <a:pt x="93" y="13"/>
                  </a:lnTo>
                  <a:lnTo>
                    <a:pt x="92" y="13"/>
                  </a:lnTo>
                  <a:lnTo>
                    <a:pt x="91" y="13"/>
                  </a:lnTo>
                  <a:lnTo>
                    <a:pt x="88" y="13"/>
                  </a:lnTo>
                  <a:lnTo>
                    <a:pt x="87" y="13"/>
                  </a:lnTo>
                  <a:lnTo>
                    <a:pt x="87" y="12"/>
                  </a:lnTo>
                  <a:lnTo>
                    <a:pt x="86" y="12"/>
                  </a:lnTo>
                  <a:lnTo>
                    <a:pt x="87" y="12"/>
                  </a:lnTo>
                  <a:lnTo>
                    <a:pt x="87" y="13"/>
                  </a:lnTo>
                  <a:lnTo>
                    <a:pt x="86" y="13"/>
                  </a:lnTo>
                  <a:lnTo>
                    <a:pt x="85" y="13"/>
                  </a:lnTo>
                  <a:lnTo>
                    <a:pt x="85" y="14"/>
                  </a:lnTo>
                  <a:lnTo>
                    <a:pt x="85" y="13"/>
                  </a:lnTo>
                  <a:lnTo>
                    <a:pt x="84" y="13"/>
                  </a:lnTo>
                  <a:lnTo>
                    <a:pt x="84" y="12"/>
                  </a:lnTo>
                  <a:lnTo>
                    <a:pt x="85" y="12"/>
                  </a:lnTo>
                  <a:lnTo>
                    <a:pt x="86" y="12"/>
                  </a:lnTo>
                  <a:lnTo>
                    <a:pt x="86" y="11"/>
                  </a:lnTo>
                  <a:lnTo>
                    <a:pt x="85" y="11"/>
                  </a:lnTo>
                  <a:lnTo>
                    <a:pt x="85" y="10"/>
                  </a:lnTo>
                  <a:lnTo>
                    <a:pt x="85" y="11"/>
                  </a:lnTo>
                  <a:lnTo>
                    <a:pt x="86" y="11"/>
                  </a:lnTo>
                  <a:lnTo>
                    <a:pt x="86" y="10"/>
                  </a:lnTo>
                  <a:lnTo>
                    <a:pt x="87" y="10"/>
                  </a:lnTo>
                  <a:lnTo>
                    <a:pt x="88" y="10"/>
                  </a:lnTo>
                  <a:lnTo>
                    <a:pt x="89" y="10"/>
                  </a:lnTo>
                  <a:close/>
                  <a:moveTo>
                    <a:pt x="32" y="6"/>
                  </a:moveTo>
                  <a:lnTo>
                    <a:pt x="32" y="5"/>
                  </a:lnTo>
                  <a:lnTo>
                    <a:pt x="34" y="5"/>
                  </a:lnTo>
                  <a:lnTo>
                    <a:pt x="34" y="6"/>
                  </a:lnTo>
                  <a:lnTo>
                    <a:pt x="32" y="6"/>
                  </a:lnTo>
                  <a:close/>
                  <a:moveTo>
                    <a:pt x="132" y="5"/>
                  </a:moveTo>
                  <a:lnTo>
                    <a:pt x="134" y="5"/>
                  </a:lnTo>
                  <a:lnTo>
                    <a:pt x="132" y="5"/>
                  </a:lnTo>
                  <a:lnTo>
                    <a:pt x="131" y="5"/>
                  </a:lnTo>
                  <a:lnTo>
                    <a:pt x="132" y="5"/>
                  </a:lnTo>
                  <a:lnTo>
                    <a:pt x="132" y="4"/>
                  </a:lnTo>
                  <a:lnTo>
                    <a:pt x="132" y="5"/>
                  </a:lnTo>
                  <a:close/>
                  <a:moveTo>
                    <a:pt x="127" y="0"/>
                  </a:moveTo>
                  <a:lnTo>
                    <a:pt x="128" y="0"/>
                  </a:lnTo>
                  <a:lnTo>
                    <a:pt x="129" y="2"/>
                  </a:lnTo>
                  <a:lnTo>
                    <a:pt x="129" y="3"/>
                  </a:lnTo>
                  <a:lnTo>
                    <a:pt x="130" y="4"/>
                  </a:lnTo>
                  <a:lnTo>
                    <a:pt x="129" y="4"/>
                  </a:lnTo>
                  <a:lnTo>
                    <a:pt x="129" y="3"/>
                  </a:lnTo>
                  <a:lnTo>
                    <a:pt x="129" y="4"/>
                  </a:lnTo>
                  <a:lnTo>
                    <a:pt x="128" y="4"/>
                  </a:lnTo>
                  <a:lnTo>
                    <a:pt x="128" y="3"/>
                  </a:lnTo>
                  <a:lnTo>
                    <a:pt x="127" y="3"/>
                  </a:lnTo>
                  <a:lnTo>
                    <a:pt x="127" y="2"/>
                  </a:lnTo>
                  <a:lnTo>
                    <a:pt x="127"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19" name="Freeform 977">
              <a:extLst>
                <a:ext uri="{FF2B5EF4-FFF2-40B4-BE49-F238E27FC236}">
                  <a16:creationId xmlns:a16="http://schemas.microsoft.com/office/drawing/2014/main" id="{6F251374-9D0B-4064-B502-9EA0CC7B1138}"/>
                </a:ext>
              </a:extLst>
            </p:cNvPr>
            <p:cNvSpPr>
              <a:spLocks/>
            </p:cNvSpPr>
            <p:nvPr/>
          </p:nvSpPr>
          <p:spPr bwMode="auto">
            <a:xfrm>
              <a:off x="6029455" y="2197337"/>
              <a:ext cx="165601" cy="118859"/>
            </a:xfrm>
            <a:custGeom>
              <a:avLst/>
              <a:gdLst>
                <a:gd name="T0" fmla="*/ 60 w 124"/>
                <a:gd name="T1" fmla="*/ 10 h 89"/>
                <a:gd name="T2" fmla="*/ 67 w 124"/>
                <a:gd name="T3" fmla="*/ 6 h 89"/>
                <a:gd name="T4" fmla="*/ 94 w 124"/>
                <a:gd name="T5" fmla="*/ 7 h 89"/>
                <a:gd name="T6" fmla="*/ 102 w 124"/>
                <a:gd name="T7" fmla="*/ 7 h 89"/>
                <a:gd name="T8" fmla="*/ 108 w 124"/>
                <a:gd name="T9" fmla="*/ 11 h 89"/>
                <a:gd name="T10" fmla="*/ 110 w 124"/>
                <a:gd name="T11" fmla="*/ 17 h 89"/>
                <a:gd name="T12" fmla="*/ 116 w 124"/>
                <a:gd name="T13" fmla="*/ 26 h 89"/>
                <a:gd name="T14" fmla="*/ 117 w 124"/>
                <a:gd name="T15" fmla="*/ 32 h 89"/>
                <a:gd name="T16" fmla="*/ 109 w 124"/>
                <a:gd name="T17" fmla="*/ 38 h 89"/>
                <a:gd name="T18" fmla="*/ 115 w 124"/>
                <a:gd name="T19" fmla="*/ 42 h 89"/>
                <a:gd name="T20" fmla="*/ 115 w 124"/>
                <a:gd name="T21" fmla="*/ 49 h 89"/>
                <a:gd name="T22" fmla="*/ 116 w 124"/>
                <a:gd name="T23" fmla="*/ 54 h 89"/>
                <a:gd name="T24" fmla="*/ 122 w 124"/>
                <a:gd name="T25" fmla="*/ 59 h 89"/>
                <a:gd name="T26" fmla="*/ 123 w 124"/>
                <a:gd name="T27" fmla="*/ 63 h 89"/>
                <a:gd name="T28" fmla="*/ 120 w 124"/>
                <a:gd name="T29" fmla="*/ 67 h 89"/>
                <a:gd name="T30" fmla="*/ 114 w 124"/>
                <a:gd name="T31" fmla="*/ 74 h 89"/>
                <a:gd name="T32" fmla="*/ 109 w 124"/>
                <a:gd name="T33" fmla="*/ 79 h 89"/>
                <a:gd name="T34" fmla="*/ 109 w 124"/>
                <a:gd name="T35" fmla="*/ 87 h 89"/>
                <a:gd name="T36" fmla="*/ 108 w 124"/>
                <a:gd name="T37" fmla="*/ 88 h 89"/>
                <a:gd name="T38" fmla="*/ 102 w 124"/>
                <a:gd name="T39" fmla="*/ 86 h 89"/>
                <a:gd name="T40" fmla="*/ 96 w 124"/>
                <a:gd name="T41" fmla="*/ 82 h 89"/>
                <a:gd name="T42" fmla="*/ 91 w 124"/>
                <a:gd name="T43" fmla="*/ 82 h 89"/>
                <a:gd name="T44" fmla="*/ 86 w 124"/>
                <a:gd name="T45" fmla="*/ 84 h 89"/>
                <a:gd name="T46" fmla="*/ 81 w 124"/>
                <a:gd name="T47" fmla="*/ 82 h 89"/>
                <a:gd name="T48" fmla="*/ 77 w 124"/>
                <a:gd name="T49" fmla="*/ 86 h 89"/>
                <a:gd name="T50" fmla="*/ 72 w 124"/>
                <a:gd name="T51" fmla="*/ 82 h 89"/>
                <a:gd name="T52" fmla="*/ 67 w 124"/>
                <a:gd name="T53" fmla="*/ 81 h 89"/>
                <a:gd name="T54" fmla="*/ 64 w 124"/>
                <a:gd name="T55" fmla="*/ 82 h 89"/>
                <a:gd name="T56" fmla="*/ 59 w 124"/>
                <a:gd name="T57" fmla="*/ 79 h 89"/>
                <a:gd name="T58" fmla="*/ 56 w 124"/>
                <a:gd name="T59" fmla="*/ 74 h 89"/>
                <a:gd name="T60" fmla="*/ 51 w 124"/>
                <a:gd name="T61" fmla="*/ 73 h 89"/>
                <a:gd name="T62" fmla="*/ 46 w 124"/>
                <a:gd name="T63" fmla="*/ 72 h 89"/>
                <a:gd name="T64" fmla="*/ 45 w 124"/>
                <a:gd name="T65" fmla="*/ 69 h 89"/>
                <a:gd name="T66" fmla="*/ 39 w 124"/>
                <a:gd name="T67" fmla="*/ 67 h 89"/>
                <a:gd name="T68" fmla="*/ 38 w 124"/>
                <a:gd name="T69" fmla="*/ 70 h 89"/>
                <a:gd name="T70" fmla="*/ 32 w 124"/>
                <a:gd name="T71" fmla="*/ 70 h 89"/>
                <a:gd name="T72" fmla="*/ 29 w 124"/>
                <a:gd name="T73" fmla="*/ 66 h 89"/>
                <a:gd name="T74" fmla="*/ 27 w 124"/>
                <a:gd name="T75" fmla="*/ 63 h 89"/>
                <a:gd name="T76" fmla="*/ 18 w 124"/>
                <a:gd name="T77" fmla="*/ 61 h 89"/>
                <a:gd name="T78" fmla="*/ 15 w 124"/>
                <a:gd name="T79" fmla="*/ 59 h 89"/>
                <a:gd name="T80" fmla="*/ 14 w 124"/>
                <a:gd name="T81" fmla="*/ 60 h 89"/>
                <a:gd name="T82" fmla="*/ 14 w 124"/>
                <a:gd name="T83" fmla="*/ 54 h 89"/>
                <a:gd name="T84" fmla="*/ 9 w 124"/>
                <a:gd name="T85" fmla="*/ 49 h 89"/>
                <a:gd name="T86" fmla="*/ 8 w 124"/>
                <a:gd name="T87" fmla="*/ 45 h 89"/>
                <a:gd name="T88" fmla="*/ 8 w 124"/>
                <a:gd name="T89" fmla="*/ 39 h 89"/>
                <a:gd name="T90" fmla="*/ 7 w 124"/>
                <a:gd name="T91" fmla="*/ 34 h 89"/>
                <a:gd name="T92" fmla="*/ 1 w 124"/>
                <a:gd name="T93" fmla="*/ 30 h 89"/>
                <a:gd name="T94" fmla="*/ 3 w 124"/>
                <a:gd name="T95" fmla="*/ 23 h 89"/>
                <a:gd name="T96" fmla="*/ 2 w 124"/>
                <a:gd name="T97" fmla="*/ 17 h 89"/>
                <a:gd name="T98" fmla="*/ 4 w 124"/>
                <a:gd name="T99" fmla="*/ 17 h 89"/>
                <a:gd name="T100" fmla="*/ 3 w 124"/>
                <a:gd name="T101" fmla="*/ 14 h 89"/>
                <a:gd name="T102" fmla="*/ 0 w 124"/>
                <a:gd name="T103" fmla="*/ 13 h 89"/>
                <a:gd name="T104" fmla="*/ 13 w 124"/>
                <a:gd name="T105" fmla="*/ 11 h 89"/>
                <a:gd name="T106" fmla="*/ 22 w 124"/>
                <a:gd name="T107" fmla="*/ 9 h 89"/>
                <a:gd name="T108" fmla="*/ 25 w 124"/>
                <a:gd name="T109" fmla="*/ 5 h 89"/>
                <a:gd name="T110" fmla="*/ 31 w 124"/>
                <a:gd name="T111" fmla="*/ 4 h 89"/>
                <a:gd name="T112" fmla="*/ 48 w 124"/>
                <a:gd name="T113" fmla="*/ 0 h 89"/>
                <a:gd name="T114" fmla="*/ 51 w 124"/>
                <a:gd name="T115" fmla="*/ 2 h 89"/>
                <a:gd name="T116" fmla="*/ 49 w 124"/>
                <a:gd name="T117" fmla="*/ 3 h 89"/>
                <a:gd name="T118" fmla="*/ 55 w 124"/>
                <a:gd name="T119" fmla="*/ 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4" h="89">
                  <a:moveTo>
                    <a:pt x="63" y="6"/>
                  </a:moveTo>
                  <a:lnTo>
                    <a:pt x="60" y="7"/>
                  </a:lnTo>
                  <a:lnTo>
                    <a:pt x="59" y="7"/>
                  </a:lnTo>
                  <a:lnTo>
                    <a:pt x="58" y="7"/>
                  </a:lnTo>
                  <a:lnTo>
                    <a:pt x="59" y="9"/>
                  </a:lnTo>
                  <a:lnTo>
                    <a:pt x="60" y="9"/>
                  </a:lnTo>
                  <a:lnTo>
                    <a:pt x="60" y="10"/>
                  </a:lnTo>
                  <a:lnTo>
                    <a:pt x="60" y="9"/>
                  </a:lnTo>
                  <a:lnTo>
                    <a:pt x="61" y="9"/>
                  </a:lnTo>
                  <a:lnTo>
                    <a:pt x="61" y="7"/>
                  </a:lnTo>
                  <a:lnTo>
                    <a:pt x="63" y="7"/>
                  </a:lnTo>
                  <a:lnTo>
                    <a:pt x="64" y="7"/>
                  </a:lnTo>
                  <a:lnTo>
                    <a:pt x="64" y="6"/>
                  </a:lnTo>
                  <a:lnTo>
                    <a:pt x="67" y="6"/>
                  </a:lnTo>
                  <a:lnTo>
                    <a:pt x="71" y="6"/>
                  </a:lnTo>
                  <a:lnTo>
                    <a:pt x="74" y="6"/>
                  </a:lnTo>
                  <a:lnTo>
                    <a:pt x="78" y="6"/>
                  </a:lnTo>
                  <a:lnTo>
                    <a:pt x="82" y="7"/>
                  </a:lnTo>
                  <a:lnTo>
                    <a:pt x="87" y="7"/>
                  </a:lnTo>
                  <a:lnTo>
                    <a:pt x="91" y="7"/>
                  </a:lnTo>
                  <a:lnTo>
                    <a:pt x="94" y="7"/>
                  </a:lnTo>
                  <a:lnTo>
                    <a:pt x="96" y="7"/>
                  </a:lnTo>
                  <a:lnTo>
                    <a:pt x="99" y="7"/>
                  </a:lnTo>
                  <a:lnTo>
                    <a:pt x="100" y="7"/>
                  </a:lnTo>
                  <a:lnTo>
                    <a:pt x="100" y="6"/>
                  </a:lnTo>
                  <a:lnTo>
                    <a:pt x="101" y="6"/>
                  </a:lnTo>
                  <a:lnTo>
                    <a:pt x="101" y="7"/>
                  </a:lnTo>
                  <a:lnTo>
                    <a:pt x="102" y="7"/>
                  </a:lnTo>
                  <a:lnTo>
                    <a:pt x="103" y="7"/>
                  </a:lnTo>
                  <a:lnTo>
                    <a:pt x="103" y="9"/>
                  </a:lnTo>
                  <a:lnTo>
                    <a:pt x="105" y="9"/>
                  </a:lnTo>
                  <a:lnTo>
                    <a:pt x="106" y="9"/>
                  </a:lnTo>
                  <a:lnTo>
                    <a:pt x="107" y="10"/>
                  </a:lnTo>
                  <a:lnTo>
                    <a:pt x="108" y="10"/>
                  </a:lnTo>
                  <a:lnTo>
                    <a:pt x="108" y="11"/>
                  </a:lnTo>
                  <a:lnTo>
                    <a:pt x="109" y="11"/>
                  </a:lnTo>
                  <a:lnTo>
                    <a:pt x="109" y="12"/>
                  </a:lnTo>
                  <a:lnTo>
                    <a:pt x="109" y="13"/>
                  </a:lnTo>
                  <a:lnTo>
                    <a:pt x="109" y="14"/>
                  </a:lnTo>
                  <a:lnTo>
                    <a:pt x="109" y="16"/>
                  </a:lnTo>
                  <a:lnTo>
                    <a:pt x="110" y="16"/>
                  </a:lnTo>
                  <a:lnTo>
                    <a:pt x="110" y="17"/>
                  </a:lnTo>
                  <a:lnTo>
                    <a:pt x="110" y="18"/>
                  </a:lnTo>
                  <a:lnTo>
                    <a:pt x="112" y="19"/>
                  </a:lnTo>
                  <a:lnTo>
                    <a:pt x="113" y="21"/>
                  </a:lnTo>
                  <a:lnTo>
                    <a:pt x="114" y="23"/>
                  </a:lnTo>
                  <a:lnTo>
                    <a:pt x="114" y="24"/>
                  </a:lnTo>
                  <a:lnTo>
                    <a:pt x="115" y="25"/>
                  </a:lnTo>
                  <a:lnTo>
                    <a:pt x="116" y="26"/>
                  </a:lnTo>
                  <a:lnTo>
                    <a:pt x="115" y="26"/>
                  </a:lnTo>
                  <a:lnTo>
                    <a:pt x="115" y="27"/>
                  </a:lnTo>
                  <a:lnTo>
                    <a:pt x="116" y="27"/>
                  </a:lnTo>
                  <a:lnTo>
                    <a:pt x="116" y="28"/>
                  </a:lnTo>
                  <a:lnTo>
                    <a:pt x="116" y="30"/>
                  </a:lnTo>
                  <a:lnTo>
                    <a:pt x="117" y="31"/>
                  </a:lnTo>
                  <a:lnTo>
                    <a:pt x="117" y="32"/>
                  </a:lnTo>
                  <a:lnTo>
                    <a:pt x="116" y="33"/>
                  </a:lnTo>
                  <a:lnTo>
                    <a:pt x="115" y="33"/>
                  </a:lnTo>
                  <a:lnTo>
                    <a:pt x="113" y="34"/>
                  </a:lnTo>
                  <a:lnTo>
                    <a:pt x="112" y="34"/>
                  </a:lnTo>
                  <a:lnTo>
                    <a:pt x="112" y="35"/>
                  </a:lnTo>
                  <a:lnTo>
                    <a:pt x="110" y="37"/>
                  </a:lnTo>
                  <a:lnTo>
                    <a:pt x="109" y="38"/>
                  </a:lnTo>
                  <a:lnTo>
                    <a:pt x="109" y="39"/>
                  </a:lnTo>
                  <a:lnTo>
                    <a:pt x="110" y="40"/>
                  </a:lnTo>
                  <a:lnTo>
                    <a:pt x="112" y="40"/>
                  </a:lnTo>
                  <a:lnTo>
                    <a:pt x="113" y="40"/>
                  </a:lnTo>
                  <a:lnTo>
                    <a:pt x="114" y="41"/>
                  </a:lnTo>
                  <a:lnTo>
                    <a:pt x="115" y="41"/>
                  </a:lnTo>
                  <a:lnTo>
                    <a:pt x="115" y="42"/>
                  </a:lnTo>
                  <a:lnTo>
                    <a:pt x="116" y="44"/>
                  </a:lnTo>
                  <a:lnTo>
                    <a:pt x="115" y="44"/>
                  </a:lnTo>
                  <a:lnTo>
                    <a:pt x="115" y="45"/>
                  </a:lnTo>
                  <a:lnTo>
                    <a:pt x="115" y="46"/>
                  </a:lnTo>
                  <a:lnTo>
                    <a:pt x="115" y="47"/>
                  </a:lnTo>
                  <a:lnTo>
                    <a:pt x="115" y="48"/>
                  </a:lnTo>
                  <a:lnTo>
                    <a:pt x="115" y="49"/>
                  </a:lnTo>
                  <a:lnTo>
                    <a:pt x="115" y="51"/>
                  </a:lnTo>
                  <a:lnTo>
                    <a:pt x="116" y="51"/>
                  </a:lnTo>
                  <a:lnTo>
                    <a:pt x="116" y="52"/>
                  </a:lnTo>
                  <a:lnTo>
                    <a:pt x="117" y="52"/>
                  </a:lnTo>
                  <a:lnTo>
                    <a:pt x="117" y="53"/>
                  </a:lnTo>
                  <a:lnTo>
                    <a:pt x="116" y="53"/>
                  </a:lnTo>
                  <a:lnTo>
                    <a:pt x="116" y="54"/>
                  </a:lnTo>
                  <a:lnTo>
                    <a:pt x="117" y="54"/>
                  </a:lnTo>
                  <a:lnTo>
                    <a:pt x="119" y="55"/>
                  </a:lnTo>
                  <a:lnTo>
                    <a:pt x="120" y="56"/>
                  </a:lnTo>
                  <a:lnTo>
                    <a:pt x="120" y="58"/>
                  </a:lnTo>
                  <a:lnTo>
                    <a:pt x="121" y="58"/>
                  </a:lnTo>
                  <a:lnTo>
                    <a:pt x="121" y="59"/>
                  </a:lnTo>
                  <a:lnTo>
                    <a:pt x="122" y="59"/>
                  </a:lnTo>
                  <a:lnTo>
                    <a:pt x="122" y="60"/>
                  </a:lnTo>
                  <a:lnTo>
                    <a:pt x="123" y="60"/>
                  </a:lnTo>
                  <a:lnTo>
                    <a:pt x="123" y="61"/>
                  </a:lnTo>
                  <a:lnTo>
                    <a:pt x="122" y="61"/>
                  </a:lnTo>
                  <a:lnTo>
                    <a:pt x="122" y="62"/>
                  </a:lnTo>
                  <a:lnTo>
                    <a:pt x="123" y="62"/>
                  </a:lnTo>
                  <a:lnTo>
                    <a:pt x="123" y="63"/>
                  </a:lnTo>
                  <a:lnTo>
                    <a:pt x="123" y="65"/>
                  </a:lnTo>
                  <a:lnTo>
                    <a:pt x="124" y="65"/>
                  </a:lnTo>
                  <a:lnTo>
                    <a:pt x="124" y="66"/>
                  </a:lnTo>
                  <a:lnTo>
                    <a:pt x="123" y="66"/>
                  </a:lnTo>
                  <a:lnTo>
                    <a:pt x="123" y="67"/>
                  </a:lnTo>
                  <a:lnTo>
                    <a:pt x="122" y="67"/>
                  </a:lnTo>
                  <a:lnTo>
                    <a:pt x="120" y="67"/>
                  </a:lnTo>
                  <a:lnTo>
                    <a:pt x="120" y="68"/>
                  </a:lnTo>
                  <a:lnTo>
                    <a:pt x="119" y="68"/>
                  </a:lnTo>
                  <a:lnTo>
                    <a:pt x="117" y="69"/>
                  </a:lnTo>
                  <a:lnTo>
                    <a:pt x="117" y="70"/>
                  </a:lnTo>
                  <a:lnTo>
                    <a:pt x="116" y="70"/>
                  </a:lnTo>
                  <a:lnTo>
                    <a:pt x="114" y="73"/>
                  </a:lnTo>
                  <a:lnTo>
                    <a:pt x="114" y="74"/>
                  </a:lnTo>
                  <a:lnTo>
                    <a:pt x="113" y="74"/>
                  </a:lnTo>
                  <a:lnTo>
                    <a:pt x="112" y="75"/>
                  </a:lnTo>
                  <a:lnTo>
                    <a:pt x="112" y="76"/>
                  </a:lnTo>
                  <a:lnTo>
                    <a:pt x="110" y="76"/>
                  </a:lnTo>
                  <a:lnTo>
                    <a:pt x="110" y="77"/>
                  </a:lnTo>
                  <a:lnTo>
                    <a:pt x="110" y="79"/>
                  </a:lnTo>
                  <a:lnTo>
                    <a:pt x="109" y="79"/>
                  </a:lnTo>
                  <a:lnTo>
                    <a:pt x="108" y="80"/>
                  </a:lnTo>
                  <a:lnTo>
                    <a:pt x="108" y="81"/>
                  </a:lnTo>
                  <a:lnTo>
                    <a:pt x="109" y="82"/>
                  </a:lnTo>
                  <a:lnTo>
                    <a:pt x="109" y="83"/>
                  </a:lnTo>
                  <a:lnTo>
                    <a:pt x="109" y="84"/>
                  </a:lnTo>
                  <a:lnTo>
                    <a:pt x="109" y="86"/>
                  </a:lnTo>
                  <a:lnTo>
                    <a:pt x="109" y="87"/>
                  </a:lnTo>
                  <a:lnTo>
                    <a:pt x="110" y="87"/>
                  </a:lnTo>
                  <a:lnTo>
                    <a:pt x="112" y="87"/>
                  </a:lnTo>
                  <a:lnTo>
                    <a:pt x="112" y="88"/>
                  </a:lnTo>
                  <a:lnTo>
                    <a:pt x="112" y="89"/>
                  </a:lnTo>
                  <a:lnTo>
                    <a:pt x="110" y="88"/>
                  </a:lnTo>
                  <a:lnTo>
                    <a:pt x="109" y="88"/>
                  </a:lnTo>
                  <a:lnTo>
                    <a:pt x="108" y="88"/>
                  </a:lnTo>
                  <a:lnTo>
                    <a:pt x="107" y="88"/>
                  </a:lnTo>
                  <a:lnTo>
                    <a:pt x="106" y="88"/>
                  </a:lnTo>
                  <a:lnTo>
                    <a:pt x="106" y="87"/>
                  </a:lnTo>
                  <a:lnTo>
                    <a:pt x="105" y="87"/>
                  </a:lnTo>
                  <a:lnTo>
                    <a:pt x="103" y="87"/>
                  </a:lnTo>
                  <a:lnTo>
                    <a:pt x="103" y="86"/>
                  </a:lnTo>
                  <a:lnTo>
                    <a:pt x="102" y="86"/>
                  </a:lnTo>
                  <a:lnTo>
                    <a:pt x="101" y="86"/>
                  </a:lnTo>
                  <a:lnTo>
                    <a:pt x="101" y="84"/>
                  </a:lnTo>
                  <a:lnTo>
                    <a:pt x="100" y="84"/>
                  </a:lnTo>
                  <a:lnTo>
                    <a:pt x="100" y="83"/>
                  </a:lnTo>
                  <a:lnTo>
                    <a:pt x="99" y="83"/>
                  </a:lnTo>
                  <a:lnTo>
                    <a:pt x="98" y="83"/>
                  </a:lnTo>
                  <a:lnTo>
                    <a:pt x="96" y="82"/>
                  </a:lnTo>
                  <a:lnTo>
                    <a:pt x="95" y="82"/>
                  </a:lnTo>
                  <a:lnTo>
                    <a:pt x="94" y="82"/>
                  </a:lnTo>
                  <a:lnTo>
                    <a:pt x="93" y="82"/>
                  </a:lnTo>
                  <a:lnTo>
                    <a:pt x="92" y="82"/>
                  </a:lnTo>
                  <a:lnTo>
                    <a:pt x="91" y="82"/>
                  </a:lnTo>
                  <a:lnTo>
                    <a:pt x="91" y="83"/>
                  </a:lnTo>
                  <a:lnTo>
                    <a:pt x="91" y="82"/>
                  </a:lnTo>
                  <a:lnTo>
                    <a:pt x="89" y="82"/>
                  </a:lnTo>
                  <a:lnTo>
                    <a:pt x="88" y="82"/>
                  </a:lnTo>
                  <a:lnTo>
                    <a:pt x="89" y="83"/>
                  </a:lnTo>
                  <a:lnTo>
                    <a:pt x="88" y="83"/>
                  </a:lnTo>
                  <a:lnTo>
                    <a:pt x="88" y="84"/>
                  </a:lnTo>
                  <a:lnTo>
                    <a:pt x="87" y="84"/>
                  </a:lnTo>
                  <a:lnTo>
                    <a:pt x="86" y="84"/>
                  </a:lnTo>
                  <a:lnTo>
                    <a:pt x="86" y="83"/>
                  </a:lnTo>
                  <a:lnTo>
                    <a:pt x="85" y="82"/>
                  </a:lnTo>
                  <a:lnTo>
                    <a:pt x="84" y="83"/>
                  </a:lnTo>
                  <a:lnTo>
                    <a:pt x="84" y="82"/>
                  </a:lnTo>
                  <a:lnTo>
                    <a:pt x="84" y="83"/>
                  </a:lnTo>
                  <a:lnTo>
                    <a:pt x="82" y="83"/>
                  </a:lnTo>
                  <a:lnTo>
                    <a:pt x="81" y="82"/>
                  </a:lnTo>
                  <a:lnTo>
                    <a:pt x="81" y="83"/>
                  </a:lnTo>
                  <a:lnTo>
                    <a:pt x="80" y="83"/>
                  </a:lnTo>
                  <a:lnTo>
                    <a:pt x="79" y="83"/>
                  </a:lnTo>
                  <a:lnTo>
                    <a:pt x="79" y="84"/>
                  </a:lnTo>
                  <a:lnTo>
                    <a:pt x="78" y="84"/>
                  </a:lnTo>
                  <a:lnTo>
                    <a:pt x="78" y="86"/>
                  </a:lnTo>
                  <a:lnTo>
                    <a:pt x="77" y="86"/>
                  </a:lnTo>
                  <a:lnTo>
                    <a:pt x="75" y="86"/>
                  </a:lnTo>
                  <a:lnTo>
                    <a:pt x="74" y="86"/>
                  </a:lnTo>
                  <a:lnTo>
                    <a:pt x="73" y="86"/>
                  </a:lnTo>
                  <a:lnTo>
                    <a:pt x="74" y="84"/>
                  </a:lnTo>
                  <a:lnTo>
                    <a:pt x="73" y="83"/>
                  </a:lnTo>
                  <a:lnTo>
                    <a:pt x="72" y="83"/>
                  </a:lnTo>
                  <a:lnTo>
                    <a:pt x="72" y="82"/>
                  </a:lnTo>
                  <a:lnTo>
                    <a:pt x="71" y="82"/>
                  </a:lnTo>
                  <a:lnTo>
                    <a:pt x="71" y="81"/>
                  </a:lnTo>
                  <a:lnTo>
                    <a:pt x="70" y="81"/>
                  </a:lnTo>
                  <a:lnTo>
                    <a:pt x="70" y="80"/>
                  </a:lnTo>
                  <a:lnTo>
                    <a:pt x="68" y="80"/>
                  </a:lnTo>
                  <a:lnTo>
                    <a:pt x="68" y="81"/>
                  </a:lnTo>
                  <a:lnTo>
                    <a:pt x="67" y="81"/>
                  </a:lnTo>
                  <a:lnTo>
                    <a:pt x="66" y="81"/>
                  </a:lnTo>
                  <a:lnTo>
                    <a:pt x="66" y="82"/>
                  </a:lnTo>
                  <a:lnTo>
                    <a:pt x="66" y="83"/>
                  </a:lnTo>
                  <a:lnTo>
                    <a:pt x="65" y="83"/>
                  </a:lnTo>
                  <a:lnTo>
                    <a:pt x="65" y="82"/>
                  </a:lnTo>
                  <a:lnTo>
                    <a:pt x="64" y="83"/>
                  </a:lnTo>
                  <a:lnTo>
                    <a:pt x="64" y="82"/>
                  </a:lnTo>
                  <a:lnTo>
                    <a:pt x="64" y="81"/>
                  </a:lnTo>
                  <a:lnTo>
                    <a:pt x="63" y="81"/>
                  </a:lnTo>
                  <a:lnTo>
                    <a:pt x="61" y="81"/>
                  </a:lnTo>
                  <a:lnTo>
                    <a:pt x="61" y="80"/>
                  </a:lnTo>
                  <a:lnTo>
                    <a:pt x="61" y="79"/>
                  </a:lnTo>
                  <a:lnTo>
                    <a:pt x="60" y="79"/>
                  </a:lnTo>
                  <a:lnTo>
                    <a:pt x="59" y="79"/>
                  </a:lnTo>
                  <a:lnTo>
                    <a:pt x="59" y="77"/>
                  </a:lnTo>
                  <a:lnTo>
                    <a:pt x="58" y="77"/>
                  </a:lnTo>
                  <a:lnTo>
                    <a:pt x="58" y="76"/>
                  </a:lnTo>
                  <a:lnTo>
                    <a:pt x="58" y="75"/>
                  </a:lnTo>
                  <a:lnTo>
                    <a:pt x="57" y="75"/>
                  </a:lnTo>
                  <a:lnTo>
                    <a:pt x="56" y="75"/>
                  </a:lnTo>
                  <a:lnTo>
                    <a:pt x="56" y="74"/>
                  </a:lnTo>
                  <a:lnTo>
                    <a:pt x="56" y="75"/>
                  </a:lnTo>
                  <a:lnTo>
                    <a:pt x="55" y="75"/>
                  </a:lnTo>
                  <a:lnTo>
                    <a:pt x="55" y="74"/>
                  </a:lnTo>
                  <a:lnTo>
                    <a:pt x="53" y="74"/>
                  </a:lnTo>
                  <a:lnTo>
                    <a:pt x="52" y="74"/>
                  </a:lnTo>
                  <a:lnTo>
                    <a:pt x="52" y="73"/>
                  </a:lnTo>
                  <a:lnTo>
                    <a:pt x="51" y="73"/>
                  </a:lnTo>
                  <a:lnTo>
                    <a:pt x="51" y="74"/>
                  </a:lnTo>
                  <a:lnTo>
                    <a:pt x="50" y="74"/>
                  </a:lnTo>
                  <a:lnTo>
                    <a:pt x="49" y="74"/>
                  </a:lnTo>
                  <a:lnTo>
                    <a:pt x="49" y="73"/>
                  </a:lnTo>
                  <a:lnTo>
                    <a:pt x="48" y="73"/>
                  </a:lnTo>
                  <a:lnTo>
                    <a:pt x="48" y="72"/>
                  </a:lnTo>
                  <a:lnTo>
                    <a:pt x="46" y="72"/>
                  </a:lnTo>
                  <a:lnTo>
                    <a:pt x="45" y="72"/>
                  </a:lnTo>
                  <a:lnTo>
                    <a:pt x="46" y="70"/>
                  </a:lnTo>
                  <a:lnTo>
                    <a:pt x="48" y="70"/>
                  </a:lnTo>
                  <a:lnTo>
                    <a:pt x="48" y="69"/>
                  </a:lnTo>
                  <a:lnTo>
                    <a:pt x="46" y="68"/>
                  </a:lnTo>
                  <a:lnTo>
                    <a:pt x="46" y="69"/>
                  </a:lnTo>
                  <a:lnTo>
                    <a:pt x="45" y="69"/>
                  </a:lnTo>
                  <a:lnTo>
                    <a:pt x="44" y="69"/>
                  </a:lnTo>
                  <a:lnTo>
                    <a:pt x="43" y="69"/>
                  </a:lnTo>
                  <a:lnTo>
                    <a:pt x="43" y="68"/>
                  </a:lnTo>
                  <a:lnTo>
                    <a:pt x="42" y="68"/>
                  </a:lnTo>
                  <a:lnTo>
                    <a:pt x="41" y="68"/>
                  </a:lnTo>
                  <a:lnTo>
                    <a:pt x="39" y="68"/>
                  </a:lnTo>
                  <a:lnTo>
                    <a:pt x="39" y="67"/>
                  </a:lnTo>
                  <a:lnTo>
                    <a:pt x="38" y="67"/>
                  </a:lnTo>
                  <a:lnTo>
                    <a:pt x="37" y="67"/>
                  </a:lnTo>
                  <a:lnTo>
                    <a:pt x="37" y="68"/>
                  </a:lnTo>
                  <a:lnTo>
                    <a:pt x="38" y="69"/>
                  </a:lnTo>
                  <a:lnTo>
                    <a:pt x="38" y="70"/>
                  </a:lnTo>
                  <a:lnTo>
                    <a:pt x="39" y="70"/>
                  </a:lnTo>
                  <a:lnTo>
                    <a:pt x="38" y="70"/>
                  </a:lnTo>
                  <a:lnTo>
                    <a:pt x="37" y="70"/>
                  </a:lnTo>
                  <a:lnTo>
                    <a:pt x="36" y="70"/>
                  </a:lnTo>
                  <a:lnTo>
                    <a:pt x="36" y="72"/>
                  </a:lnTo>
                  <a:lnTo>
                    <a:pt x="35" y="72"/>
                  </a:lnTo>
                  <a:lnTo>
                    <a:pt x="34" y="72"/>
                  </a:lnTo>
                  <a:lnTo>
                    <a:pt x="34" y="70"/>
                  </a:lnTo>
                  <a:lnTo>
                    <a:pt x="32" y="70"/>
                  </a:lnTo>
                  <a:lnTo>
                    <a:pt x="32" y="69"/>
                  </a:lnTo>
                  <a:lnTo>
                    <a:pt x="31" y="69"/>
                  </a:lnTo>
                  <a:lnTo>
                    <a:pt x="31" y="68"/>
                  </a:lnTo>
                  <a:lnTo>
                    <a:pt x="30" y="68"/>
                  </a:lnTo>
                  <a:lnTo>
                    <a:pt x="29" y="68"/>
                  </a:lnTo>
                  <a:lnTo>
                    <a:pt x="29" y="67"/>
                  </a:lnTo>
                  <a:lnTo>
                    <a:pt x="29" y="66"/>
                  </a:lnTo>
                  <a:lnTo>
                    <a:pt x="30" y="66"/>
                  </a:lnTo>
                  <a:lnTo>
                    <a:pt x="31" y="66"/>
                  </a:lnTo>
                  <a:lnTo>
                    <a:pt x="31" y="65"/>
                  </a:lnTo>
                  <a:lnTo>
                    <a:pt x="30" y="63"/>
                  </a:lnTo>
                  <a:lnTo>
                    <a:pt x="29" y="63"/>
                  </a:lnTo>
                  <a:lnTo>
                    <a:pt x="28" y="63"/>
                  </a:lnTo>
                  <a:lnTo>
                    <a:pt x="27" y="63"/>
                  </a:lnTo>
                  <a:lnTo>
                    <a:pt x="27" y="65"/>
                  </a:lnTo>
                  <a:lnTo>
                    <a:pt x="25" y="65"/>
                  </a:lnTo>
                  <a:lnTo>
                    <a:pt x="25" y="63"/>
                  </a:lnTo>
                  <a:lnTo>
                    <a:pt x="24" y="63"/>
                  </a:lnTo>
                  <a:lnTo>
                    <a:pt x="23" y="62"/>
                  </a:lnTo>
                  <a:lnTo>
                    <a:pt x="22" y="62"/>
                  </a:lnTo>
                  <a:lnTo>
                    <a:pt x="18" y="61"/>
                  </a:lnTo>
                  <a:lnTo>
                    <a:pt x="17" y="61"/>
                  </a:lnTo>
                  <a:lnTo>
                    <a:pt x="17" y="60"/>
                  </a:lnTo>
                  <a:lnTo>
                    <a:pt x="16" y="60"/>
                  </a:lnTo>
                  <a:lnTo>
                    <a:pt x="16" y="59"/>
                  </a:lnTo>
                  <a:lnTo>
                    <a:pt x="17" y="59"/>
                  </a:lnTo>
                  <a:lnTo>
                    <a:pt x="16" y="59"/>
                  </a:lnTo>
                  <a:lnTo>
                    <a:pt x="15" y="59"/>
                  </a:lnTo>
                  <a:lnTo>
                    <a:pt x="15" y="58"/>
                  </a:lnTo>
                  <a:lnTo>
                    <a:pt x="15" y="59"/>
                  </a:lnTo>
                  <a:lnTo>
                    <a:pt x="14" y="58"/>
                  </a:lnTo>
                  <a:lnTo>
                    <a:pt x="13" y="58"/>
                  </a:lnTo>
                  <a:lnTo>
                    <a:pt x="13" y="59"/>
                  </a:lnTo>
                  <a:lnTo>
                    <a:pt x="14" y="59"/>
                  </a:lnTo>
                  <a:lnTo>
                    <a:pt x="14" y="60"/>
                  </a:lnTo>
                  <a:lnTo>
                    <a:pt x="11" y="60"/>
                  </a:lnTo>
                  <a:lnTo>
                    <a:pt x="13" y="59"/>
                  </a:lnTo>
                  <a:lnTo>
                    <a:pt x="13" y="58"/>
                  </a:lnTo>
                  <a:lnTo>
                    <a:pt x="13" y="56"/>
                  </a:lnTo>
                  <a:lnTo>
                    <a:pt x="13" y="55"/>
                  </a:lnTo>
                  <a:lnTo>
                    <a:pt x="14" y="55"/>
                  </a:lnTo>
                  <a:lnTo>
                    <a:pt x="14" y="54"/>
                  </a:lnTo>
                  <a:lnTo>
                    <a:pt x="13" y="54"/>
                  </a:lnTo>
                  <a:lnTo>
                    <a:pt x="13" y="53"/>
                  </a:lnTo>
                  <a:lnTo>
                    <a:pt x="13" y="52"/>
                  </a:lnTo>
                  <a:lnTo>
                    <a:pt x="11" y="51"/>
                  </a:lnTo>
                  <a:lnTo>
                    <a:pt x="10" y="51"/>
                  </a:lnTo>
                  <a:lnTo>
                    <a:pt x="9" y="51"/>
                  </a:lnTo>
                  <a:lnTo>
                    <a:pt x="9" y="49"/>
                  </a:lnTo>
                  <a:lnTo>
                    <a:pt x="9" y="48"/>
                  </a:lnTo>
                  <a:lnTo>
                    <a:pt x="9" y="47"/>
                  </a:lnTo>
                  <a:lnTo>
                    <a:pt x="8" y="47"/>
                  </a:lnTo>
                  <a:lnTo>
                    <a:pt x="8" y="46"/>
                  </a:lnTo>
                  <a:lnTo>
                    <a:pt x="7" y="46"/>
                  </a:lnTo>
                  <a:lnTo>
                    <a:pt x="8" y="46"/>
                  </a:lnTo>
                  <a:lnTo>
                    <a:pt x="8" y="45"/>
                  </a:lnTo>
                  <a:lnTo>
                    <a:pt x="9" y="44"/>
                  </a:lnTo>
                  <a:lnTo>
                    <a:pt x="8" y="44"/>
                  </a:lnTo>
                  <a:lnTo>
                    <a:pt x="9" y="42"/>
                  </a:lnTo>
                  <a:lnTo>
                    <a:pt x="9" y="41"/>
                  </a:lnTo>
                  <a:lnTo>
                    <a:pt x="8" y="41"/>
                  </a:lnTo>
                  <a:lnTo>
                    <a:pt x="8" y="40"/>
                  </a:lnTo>
                  <a:lnTo>
                    <a:pt x="8" y="39"/>
                  </a:lnTo>
                  <a:lnTo>
                    <a:pt x="7" y="39"/>
                  </a:lnTo>
                  <a:lnTo>
                    <a:pt x="7" y="38"/>
                  </a:lnTo>
                  <a:lnTo>
                    <a:pt x="6" y="38"/>
                  </a:lnTo>
                  <a:lnTo>
                    <a:pt x="6" y="37"/>
                  </a:lnTo>
                  <a:lnTo>
                    <a:pt x="7" y="37"/>
                  </a:lnTo>
                  <a:lnTo>
                    <a:pt x="7" y="35"/>
                  </a:lnTo>
                  <a:lnTo>
                    <a:pt x="7" y="34"/>
                  </a:lnTo>
                  <a:lnTo>
                    <a:pt x="6" y="33"/>
                  </a:lnTo>
                  <a:lnTo>
                    <a:pt x="4" y="33"/>
                  </a:lnTo>
                  <a:lnTo>
                    <a:pt x="4" y="32"/>
                  </a:lnTo>
                  <a:lnTo>
                    <a:pt x="3" y="32"/>
                  </a:lnTo>
                  <a:lnTo>
                    <a:pt x="2" y="31"/>
                  </a:lnTo>
                  <a:lnTo>
                    <a:pt x="1" y="31"/>
                  </a:lnTo>
                  <a:lnTo>
                    <a:pt x="1" y="30"/>
                  </a:lnTo>
                  <a:lnTo>
                    <a:pt x="1" y="28"/>
                  </a:lnTo>
                  <a:lnTo>
                    <a:pt x="2" y="27"/>
                  </a:lnTo>
                  <a:lnTo>
                    <a:pt x="3" y="27"/>
                  </a:lnTo>
                  <a:lnTo>
                    <a:pt x="3" y="26"/>
                  </a:lnTo>
                  <a:lnTo>
                    <a:pt x="3" y="25"/>
                  </a:lnTo>
                  <a:lnTo>
                    <a:pt x="3" y="24"/>
                  </a:lnTo>
                  <a:lnTo>
                    <a:pt x="3" y="23"/>
                  </a:lnTo>
                  <a:lnTo>
                    <a:pt x="3" y="21"/>
                  </a:lnTo>
                  <a:lnTo>
                    <a:pt x="2" y="21"/>
                  </a:lnTo>
                  <a:lnTo>
                    <a:pt x="2" y="20"/>
                  </a:lnTo>
                  <a:lnTo>
                    <a:pt x="2" y="19"/>
                  </a:lnTo>
                  <a:lnTo>
                    <a:pt x="1" y="18"/>
                  </a:lnTo>
                  <a:lnTo>
                    <a:pt x="1" y="17"/>
                  </a:lnTo>
                  <a:lnTo>
                    <a:pt x="2" y="17"/>
                  </a:lnTo>
                  <a:lnTo>
                    <a:pt x="3" y="18"/>
                  </a:lnTo>
                  <a:lnTo>
                    <a:pt x="4" y="18"/>
                  </a:lnTo>
                  <a:lnTo>
                    <a:pt x="4" y="19"/>
                  </a:lnTo>
                  <a:lnTo>
                    <a:pt x="6" y="19"/>
                  </a:lnTo>
                  <a:lnTo>
                    <a:pt x="6" y="18"/>
                  </a:lnTo>
                  <a:lnTo>
                    <a:pt x="4" y="18"/>
                  </a:lnTo>
                  <a:lnTo>
                    <a:pt x="4" y="17"/>
                  </a:lnTo>
                  <a:lnTo>
                    <a:pt x="6" y="17"/>
                  </a:lnTo>
                  <a:lnTo>
                    <a:pt x="6" y="16"/>
                  </a:lnTo>
                  <a:lnTo>
                    <a:pt x="6" y="14"/>
                  </a:lnTo>
                  <a:lnTo>
                    <a:pt x="6" y="16"/>
                  </a:lnTo>
                  <a:lnTo>
                    <a:pt x="4" y="16"/>
                  </a:lnTo>
                  <a:lnTo>
                    <a:pt x="4" y="14"/>
                  </a:lnTo>
                  <a:lnTo>
                    <a:pt x="3" y="14"/>
                  </a:lnTo>
                  <a:lnTo>
                    <a:pt x="2" y="14"/>
                  </a:lnTo>
                  <a:lnTo>
                    <a:pt x="3" y="14"/>
                  </a:lnTo>
                  <a:lnTo>
                    <a:pt x="2" y="14"/>
                  </a:lnTo>
                  <a:lnTo>
                    <a:pt x="2" y="16"/>
                  </a:lnTo>
                  <a:lnTo>
                    <a:pt x="1" y="16"/>
                  </a:lnTo>
                  <a:lnTo>
                    <a:pt x="0" y="14"/>
                  </a:lnTo>
                  <a:lnTo>
                    <a:pt x="0" y="13"/>
                  </a:lnTo>
                  <a:lnTo>
                    <a:pt x="1" y="13"/>
                  </a:lnTo>
                  <a:lnTo>
                    <a:pt x="1" y="14"/>
                  </a:lnTo>
                  <a:lnTo>
                    <a:pt x="2" y="14"/>
                  </a:lnTo>
                  <a:lnTo>
                    <a:pt x="3" y="13"/>
                  </a:lnTo>
                  <a:lnTo>
                    <a:pt x="7" y="12"/>
                  </a:lnTo>
                  <a:lnTo>
                    <a:pt x="9" y="12"/>
                  </a:lnTo>
                  <a:lnTo>
                    <a:pt x="13" y="11"/>
                  </a:lnTo>
                  <a:lnTo>
                    <a:pt x="15" y="10"/>
                  </a:lnTo>
                  <a:lnTo>
                    <a:pt x="17" y="10"/>
                  </a:lnTo>
                  <a:lnTo>
                    <a:pt x="18" y="9"/>
                  </a:lnTo>
                  <a:lnTo>
                    <a:pt x="21" y="9"/>
                  </a:lnTo>
                  <a:lnTo>
                    <a:pt x="22" y="9"/>
                  </a:lnTo>
                  <a:lnTo>
                    <a:pt x="23" y="9"/>
                  </a:lnTo>
                  <a:lnTo>
                    <a:pt x="22" y="9"/>
                  </a:lnTo>
                  <a:lnTo>
                    <a:pt x="23" y="9"/>
                  </a:lnTo>
                  <a:lnTo>
                    <a:pt x="23" y="7"/>
                  </a:lnTo>
                  <a:lnTo>
                    <a:pt x="24" y="7"/>
                  </a:lnTo>
                  <a:lnTo>
                    <a:pt x="23" y="7"/>
                  </a:lnTo>
                  <a:lnTo>
                    <a:pt x="24" y="7"/>
                  </a:lnTo>
                  <a:lnTo>
                    <a:pt x="24" y="6"/>
                  </a:lnTo>
                  <a:lnTo>
                    <a:pt x="25" y="5"/>
                  </a:lnTo>
                  <a:lnTo>
                    <a:pt x="25" y="6"/>
                  </a:lnTo>
                  <a:lnTo>
                    <a:pt x="25" y="5"/>
                  </a:lnTo>
                  <a:lnTo>
                    <a:pt x="27" y="5"/>
                  </a:lnTo>
                  <a:lnTo>
                    <a:pt x="27" y="4"/>
                  </a:lnTo>
                  <a:lnTo>
                    <a:pt x="29" y="4"/>
                  </a:lnTo>
                  <a:lnTo>
                    <a:pt x="30" y="4"/>
                  </a:lnTo>
                  <a:lnTo>
                    <a:pt x="31" y="4"/>
                  </a:lnTo>
                  <a:lnTo>
                    <a:pt x="32" y="3"/>
                  </a:lnTo>
                  <a:lnTo>
                    <a:pt x="36" y="2"/>
                  </a:lnTo>
                  <a:lnTo>
                    <a:pt x="39" y="0"/>
                  </a:lnTo>
                  <a:lnTo>
                    <a:pt x="42" y="0"/>
                  </a:lnTo>
                  <a:lnTo>
                    <a:pt x="45" y="0"/>
                  </a:lnTo>
                  <a:lnTo>
                    <a:pt x="46" y="0"/>
                  </a:lnTo>
                  <a:lnTo>
                    <a:pt x="48" y="0"/>
                  </a:lnTo>
                  <a:lnTo>
                    <a:pt x="52" y="3"/>
                  </a:lnTo>
                  <a:lnTo>
                    <a:pt x="53" y="3"/>
                  </a:lnTo>
                  <a:lnTo>
                    <a:pt x="53" y="4"/>
                  </a:lnTo>
                  <a:lnTo>
                    <a:pt x="52" y="4"/>
                  </a:lnTo>
                  <a:lnTo>
                    <a:pt x="52" y="3"/>
                  </a:lnTo>
                  <a:lnTo>
                    <a:pt x="51" y="3"/>
                  </a:lnTo>
                  <a:lnTo>
                    <a:pt x="51" y="2"/>
                  </a:lnTo>
                  <a:lnTo>
                    <a:pt x="50" y="2"/>
                  </a:lnTo>
                  <a:lnTo>
                    <a:pt x="49" y="2"/>
                  </a:lnTo>
                  <a:lnTo>
                    <a:pt x="49" y="0"/>
                  </a:lnTo>
                  <a:lnTo>
                    <a:pt x="49" y="2"/>
                  </a:lnTo>
                  <a:lnTo>
                    <a:pt x="48" y="2"/>
                  </a:lnTo>
                  <a:lnTo>
                    <a:pt x="49" y="2"/>
                  </a:lnTo>
                  <a:lnTo>
                    <a:pt x="49" y="3"/>
                  </a:lnTo>
                  <a:lnTo>
                    <a:pt x="50" y="3"/>
                  </a:lnTo>
                  <a:lnTo>
                    <a:pt x="50" y="4"/>
                  </a:lnTo>
                  <a:lnTo>
                    <a:pt x="50" y="5"/>
                  </a:lnTo>
                  <a:lnTo>
                    <a:pt x="51" y="6"/>
                  </a:lnTo>
                  <a:lnTo>
                    <a:pt x="52" y="6"/>
                  </a:lnTo>
                  <a:lnTo>
                    <a:pt x="52" y="7"/>
                  </a:lnTo>
                  <a:lnTo>
                    <a:pt x="55" y="7"/>
                  </a:lnTo>
                  <a:lnTo>
                    <a:pt x="56" y="7"/>
                  </a:lnTo>
                  <a:lnTo>
                    <a:pt x="60" y="7"/>
                  </a:lnTo>
                  <a:lnTo>
                    <a:pt x="61" y="6"/>
                  </a:lnTo>
                  <a:lnTo>
                    <a:pt x="63" y="6"/>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20" name="Freeform 978">
              <a:extLst>
                <a:ext uri="{FF2B5EF4-FFF2-40B4-BE49-F238E27FC236}">
                  <a16:creationId xmlns:a16="http://schemas.microsoft.com/office/drawing/2014/main" id="{AB57EFAB-0253-4D00-9F3A-94C378696A90}"/>
                </a:ext>
              </a:extLst>
            </p:cNvPr>
            <p:cNvSpPr>
              <a:spLocks noEditPoints="1"/>
            </p:cNvSpPr>
            <p:nvPr/>
          </p:nvSpPr>
          <p:spPr bwMode="auto">
            <a:xfrm>
              <a:off x="4559082" y="2955895"/>
              <a:ext cx="49413" cy="13355"/>
            </a:xfrm>
            <a:custGeom>
              <a:avLst/>
              <a:gdLst>
                <a:gd name="T0" fmla="*/ 1 w 37"/>
                <a:gd name="T1" fmla="*/ 7 h 10"/>
                <a:gd name="T2" fmla="*/ 1 w 37"/>
                <a:gd name="T3" fmla="*/ 7 h 10"/>
                <a:gd name="T4" fmla="*/ 1 w 37"/>
                <a:gd name="T5" fmla="*/ 7 h 10"/>
                <a:gd name="T6" fmla="*/ 37 w 37"/>
                <a:gd name="T7" fmla="*/ 6 h 10"/>
                <a:gd name="T8" fmla="*/ 36 w 37"/>
                <a:gd name="T9" fmla="*/ 7 h 10"/>
                <a:gd name="T10" fmla="*/ 35 w 37"/>
                <a:gd name="T11" fmla="*/ 7 h 10"/>
                <a:gd name="T12" fmla="*/ 33 w 37"/>
                <a:gd name="T13" fmla="*/ 6 h 10"/>
                <a:gd name="T14" fmla="*/ 34 w 37"/>
                <a:gd name="T15" fmla="*/ 6 h 10"/>
                <a:gd name="T16" fmla="*/ 36 w 37"/>
                <a:gd name="T17" fmla="*/ 6 h 10"/>
                <a:gd name="T18" fmla="*/ 37 w 37"/>
                <a:gd name="T19" fmla="*/ 4 h 10"/>
                <a:gd name="T20" fmla="*/ 37 w 37"/>
                <a:gd name="T21" fmla="*/ 4 h 10"/>
                <a:gd name="T22" fmla="*/ 37 w 37"/>
                <a:gd name="T23" fmla="*/ 4 h 10"/>
                <a:gd name="T24" fmla="*/ 37 w 37"/>
                <a:gd name="T25" fmla="*/ 4 h 10"/>
                <a:gd name="T26" fmla="*/ 16 w 37"/>
                <a:gd name="T27" fmla="*/ 0 h 10"/>
                <a:gd name="T28" fmla="*/ 19 w 37"/>
                <a:gd name="T29" fmla="*/ 0 h 10"/>
                <a:gd name="T30" fmla="*/ 21 w 37"/>
                <a:gd name="T31" fmla="*/ 2 h 10"/>
                <a:gd name="T32" fmla="*/ 24 w 37"/>
                <a:gd name="T33" fmla="*/ 2 h 10"/>
                <a:gd name="T34" fmla="*/ 26 w 37"/>
                <a:gd name="T35" fmla="*/ 2 h 10"/>
                <a:gd name="T36" fmla="*/ 26 w 37"/>
                <a:gd name="T37" fmla="*/ 2 h 10"/>
                <a:gd name="T38" fmla="*/ 27 w 37"/>
                <a:gd name="T39" fmla="*/ 2 h 10"/>
                <a:gd name="T40" fmla="*/ 27 w 37"/>
                <a:gd name="T41" fmla="*/ 2 h 10"/>
                <a:gd name="T42" fmla="*/ 28 w 37"/>
                <a:gd name="T43" fmla="*/ 2 h 10"/>
                <a:gd name="T44" fmla="*/ 30 w 37"/>
                <a:gd name="T45" fmla="*/ 2 h 10"/>
                <a:gd name="T46" fmla="*/ 30 w 37"/>
                <a:gd name="T47" fmla="*/ 2 h 10"/>
                <a:gd name="T48" fmla="*/ 30 w 37"/>
                <a:gd name="T49" fmla="*/ 3 h 10"/>
                <a:gd name="T50" fmla="*/ 31 w 37"/>
                <a:gd name="T51" fmla="*/ 3 h 10"/>
                <a:gd name="T52" fmla="*/ 33 w 37"/>
                <a:gd name="T53" fmla="*/ 3 h 10"/>
                <a:gd name="T54" fmla="*/ 33 w 37"/>
                <a:gd name="T55" fmla="*/ 5 h 10"/>
                <a:gd name="T56" fmla="*/ 33 w 37"/>
                <a:gd name="T57" fmla="*/ 5 h 10"/>
                <a:gd name="T58" fmla="*/ 33 w 37"/>
                <a:gd name="T59" fmla="*/ 5 h 10"/>
                <a:gd name="T60" fmla="*/ 33 w 37"/>
                <a:gd name="T61" fmla="*/ 5 h 10"/>
                <a:gd name="T62" fmla="*/ 30 w 37"/>
                <a:gd name="T63" fmla="*/ 6 h 10"/>
                <a:gd name="T64" fmla="*/ 29 w 37"/>
                <a:gd name="T65" fmla="*/ 7 h 10"/>
                <a:gd name="T66" fmla="*/ 28 w 37"/>
                <a:gd name="T67" fmla="*/ 9 h 10"/>
                <a:gd name="T68" fmla="*/ 27 w 37"/>
                <a:gd name="T69" fmla="*/ 9 h 10"/>
                <a:gd name="T70" fmla="*/ 24 w 37"/>
                <a:gd name="T71" fmla="*/ 10 h 10"/>
                <a:gd name="T72" fmla="*/ 24 w 37"/>
                <a:gd name="T73" fmla="*/ 10 h 10"/>
                <a:gd name="T74" fmla="*/ 24 w 37"/>
                <a:gd name="T75" fmla="*/ 10 h 10"/>
                <a:gd name="T76" fmla="*/ 23 w 37"/>
                <a:gd name="T77" fmla="*/ 10 h 10"/>
                <a:gd name="T78" fmla="*/ 22 w 37"/>
                <a:gd name="T79" fmla="*/ 10 h 10"/>
                <a:gd name="T80" fmla="*/ 21 w 37"/>
                <a:gd name="T81" fmla="*/ 10 h 10"/>
                <a:gd name="T82" fmla="*/ 20 w 37"/>
                <a:gd name="T83" fmla="*/ 9 h 10"/>
                <a:gd name="T84" fmla="*/ 19 w 37"/>
                <a:gd name="T85" fmla="*/ 10 h 10"/>
                <a:gd name="T86" fmla="*/ 19 w 37"/>
                <a:gd name="T87" fmla="*/ 9 h 10"/>
                <a:gd name="T88" fmla="*/ 16 w 37"/>
                <a:gd name="T89" fmla="*/ 9 h 10"/>
                <a:gd name="T90" fmla="*/ 16 w 37"/>
                <a:gd name="T91" fmla="*/ 9 h 10"/>
                <a:gd name="T92" fmla="*/ 15 w 37"/>
                <a:gd name="T93" fmla="*/ 10 h 10"/>
                <a:gd name="T94" fmla="*/ 14 w 37"/>
                <a:gd name="T95" fmla="*/ 10 h 10"/>
                <a:gd name="T96" fmla="*/ 13 w 37"/>
                <a:gd name="T97" fmla="*/ 10 h 10"/>
                <a:gd name="T98" fmla="*/ 12 w 37"/>
                <a:gd name="T99" fmla="*/ 10 h 10"/>
                <a:gd name="T100" fmla="*/ 10 w 37"/>
                <a:gd name="T101" fmla="*/ 10 h 10"/>
                <a:gd name="T102" fmla="*/ 10 w 37"/>
                <a:gd name="T103" fmla="*/ 10 h 10"/>
                <a:gd name="T104" fmla="*/ 10 w 37"/>
                <a:gd name="T105" fmla="*/ 9 h 10"/>
                <a:gd name="T106" fmla="*/ 10 w 37"/>
                <a:gd name="T107" fmla="*/ 9 h 10"/>
                <a:gd name="T108" fmla="*/ 10 w 37"/>
                <a:gd name="T109" fmla="*/ 7 h 10"/>
                <a:gd name="T110" fmla="*/ 12 w 37"/>
                <a:gd name="T111" fmla="*/ 6 h 10"/>
                <a:gd name="T112" fmla="*/ 10 w 37"/>
                <a:gd name="T113" fmla="*/ 4 h 10"/>
                <a:gd name="T114" fmla="*/ 10 w 37"/>
                <a:gd name="T115" fmla="*/ 3 h 10"/>
                <a:gd name="T116" fmla="*/ 12 w 37"/>
                <a:gd name="T117" fmla="*/ 3 h 10"/>
                <a:gd name="T118" fmla="*/ 12 w 37"/>
                <a:gd name="T1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 h="10">
                  <a:moveTo>
                    <a:pt x="1" y="7"/>
                  </a:moveTo>
                  <a:lnTo>
                    <a:pt x="1" y="7"/>
                  </a:lnTo>
                  <a:lnTo>
                    <a:pt x="1" y="7"/>
                  </a:lnTo>
                  <a:lnTo>
                    <a:pt x="1" y="7"/>
                  </a:lnTo>
                  <a:lnTo>
                    <a:pt x="1" y="7"/>
                  </a:lnTo>
                  <a:lnTo>
                    <a:pt x="0" y="7"/>
                  </a:lnTo>
                  <a:lnTo>
                    <a:pt x="0" y="7"/>
                  </a:lnTo>
                  <a:lnTo>
                    <a:pt x="0" y="7"/>
                  </a:lnTo>
                  <a:lnTo>
                    <a:pt x="1" y="7"/>
                  </a:lnTo>
                  <a:lnTo>
                    <a:pt x="1" y="7"/>
                  </a:lnTo>
                  <a:lnTo>
                    <a:pt x="1" y="7"/>
                  </a:lnTo>
                  <a:lnTo>
                    <a:pt x="2" y="7"/>
                  </a:lnTo>
                  <a:lnTo>
                    <a:pt x="1" y="7"/>
                  </a:lnTo>
                  <a:lnTo>
                    <a:pt x="1" y="7"/>
                  </a:lnTo>
                  <a:lnTo>
                    <a:pt x="1" y="7"/>
                  </a:lnTo>
                  <a:lnTo>
                    <a:pt x="1" y="7"/>
                  </a:lnTo>
                  <a:lnTo>
                    <a:pt x="1" y="7"/>
                  </a:lnTo>
                  <a:lnTo>
                    <a:pt x="1" y="7"/>
                  </a:lnTo>
                  <a:lnTo>
                    <a:pt x="1" y="7"/>
                  </a:lnTo>
                  <a:close/>
                  <a:moveTo>
                    <a:pt x="37" y="6"/>
                  </a:moveTo>
                  <a:lnTo>
                    <a:pt x="37" y="6"/>
                  </a:lnTo>
                  <a:lnTo>
                    <a:pt x="36" y="6"/>
                  </a:lnTo>
                  <a:lnTo>
                    <a:pt x="36" y="6"/>
                  </a:lnTo>
                  <a:lnTo>
                    <a:pt x="36" y="7"/>
                  </a:lnTo>
                  <a:lnTo>
                    <a:pt x="36" y="7"/>
                  </a:lnTo>
                  <a:lnTo>
                    <a:pt x="36" y="7"/>
                  </a:lnTo>
                  <a:lnTo>
                    <a:pt x="36" y="6"/>
                  </a:lnTo>
                  <a:lnTo>
                    <a:pt x="36" y="7"/>
                  </a:lnTo>
                  <a:lnTo>
                    <a:pt x="35" y="7"/>
                  </a:lnTo>
                  <a:lnTo>
                    <a:pt x="35" y="7"/>
                  </a:lnTo>
                  <a:lnTo>
                    <a:pt x="34" y="7"/>
                  </a:lnTo>
                  <a:lnTo>
                    <a:pt x="34" y="7"/>
                  </a:lnTo>
                  <a:lnTo>
                    <a:pt x="34" y="7"/>
                  </a:lnTo>
                  <a:lnTo>
                    <a:pt x="33" y="7"/>
                  </a:lnTo>
                  <a:lnTo>
                    <a:pt x="33" y="6"/>
                  </a:lnTo>
                  <a:lnTo>
                    <a:pt x="33" y="6"/>
                  </a:lnTo>
                  <a:lnTo>
                    <a:pt x="34" y="6"/>
                  </a:lnTo>
                  <a:lnTo>
                    <a:pt x="34" y="6"/>
                  </a:lnTo>
                  <a:lnTo>
                    <a:pt x="34" y="6"/>
                  </a:lnTo>
                  <a:lnTo>
                    <a:pt x="34" y="6"/>
                  </a:lnTo>
                  <a:lnTo>
                    <a:pt x="34" y="6"/>
                  </a:lnTo>
                  <a:lnTo>
                    <a:pt x="35" y="6"/>
                  </a:lnTo>
                  <a:lnTo>
                    <a:pt x="35" y="6"/>
                  </a:lnTo>
                  <a:lnTo>
                    <a:pt x="36" y="6"/>
                  </a:lnTo>
                  <a:lnTo>
                    <a:pt x="36" y="6"/>
                  </a:lnTo>
                  <a:lnTo>
                    <a:pt x="37" y="6"/>
                  </a:lnTo>
                  <a:lnTo>
                    <a:pt x="37" y="6"/>
                  </a:lnTo>
                  <a:lnTo>
                    <a:pt x="37" y="6"/>
                  </a:lnTo>
                  <a:close/>
                  <a:moveTo>
                    <a:pt x="37" y="4"/>
                  </a:moveTo>
                  <a:lnTo>
                    <a:pt x="37" y="4"/>
                  </a:lnTo>
                  <a:lnTo>
                    <a:pt x="37" y="4"/>
                  </a:lnTo>
                  <a:lnTo>
                    <a:pt x="37" y="4"/>
                  </a:lnTo>
                  <a:lnTo>
                    <a:pt x="37" y="4"/>
                  </a:lnTo>
                  <a:lnTo>
                    <a:pt x="37" y="4"/>
                  </a:lnTo>
                  <a:lnTo>
                    <a:pt x="37" y="4"/>
                  </a:lnTo>
                  <a:lnTo>
                    <a:pt x="37" y="4"/>
                  </a:lnTo>
                  <a:lnTo>
                    <a:pt x="37" y="4"/>
                  </a:lnTo>
                  <a:lnTo>
                    <a:pt x="37" y="4"/>
                  </a:lnTo>
                  <a:lnTo>
                    <a:pt x="37" y="4"/>
                  </a:lnTo>
                  <a:lnTo>
                    <a:pt x="37" y="4"/>
                  </a:lnTo>
                  <a:lnTo>
                    <a:pt x="37" y="4"/>
                  </a:lnTo>
                  <a:lnTo>
                    <a:pt x="37" y="4"/>
                  </a:lnTo>
                  <a:lnTo>
                    <a:pt x="36" y="4"/>
                  </a:lnTo>
                  <a:lnTo>
                    <a:pt x="36" y="4"/>
                  </a:lnTo>
                  <a:lnTo>
                    <a:pt x="37" y="4"/>
                  </a:lnTo>
                  <a:lnTo>
                    <a:pt x="37" y="4"/>
                  </a:lnTo>
                  <a:lnTo>
                    <a:pt x="37" y="4"/>
                  </a:lnTo>
                  <a:close/>
                  <a:moveTo>
                    <a:pt x="14" y="0"/>
                  </a:moveTo>
                  <a:lnTo>
                    <a:pt x="15" y="2"/>
                  </a:lnTo>
                  <a:lnTo>
                    <a:pt x="16" y="0"/>
                  </a:lnTo>
                  <a:lnTo>
                    <a:pt x="16" y="0"/>
                  </a:lnTo>
                  <a:lnTo>
                    <a:pt x="17" y="2"/>
                  </a:lnTo>
                  <a:lnTo>
                    <a:pt x="17" y="2"/>
                  </a:lnTo>
                  <a:lnTo>
                    <a:pt x="19" y="0"/>
                  </a:lnTo>
                  <a:lnTo>
                    <a:pt x="19" y="0"/>
                  </a:lnTo>
                  <a:lnTo>
                    <a:pt x="20" y="0"/>
                  </a:lnTo>
                  <a:lnTo>
                    <a:pt x="20" y="2"/>
                  </a:lnTo>
                  <a:lnTo>
                    <a:pt x="20" y="2"/>
                  </a:lnTo>
                  <a:lnTo>
                    <a:pt x="21" y="2"/>
                  </a:lnTo>
                  <a:lnTo>
                    <a:pt x="21" y="2"/>
                  </a:lnTo>
                  <a:lnTo>
                    <a:pt x="22" y="0"/>
                  </a:lnTo>
                  <a:lnTo>
                    <a:pt x="23" y="2"/>
                  </a:lnTo>
                  <a:lnTo>
                    <a:pt x="24" y="2"/>
                  </a:lnTo>
                  <a:lnTo>
                    <a:pt x="24" y="2"/>
                  </a:lnTo>
                  <a:lnTo>
                    <a:pt x="24" y="2"/>
                  </a:lnTo>
                  <a:lnTo>
                    <a:pt x="26" y="2"/>
                  </a:lnTo>
                  <a:lnTo>
                    <a:pt x="26" y="2"/>
                  </a:lnTo>
                  <a:lnTo>
                    <a:pt x="26" y="2"/>
                  </a:lnTo>
                  <a:lnTo>
                    <a:pt x="26" y="2"/>
                  </a:lnTo>
                  <a:lnTo>
                    <a:pt x="26" y="2"/>
                  </a:lnTo>
                  <a:lnTo>
                    <a:pt x="26" y="2"/>
                  </a:lnTo>
                  <a:lnTo>
                    <a:pt x="26" y="2"/>
                  </a:lnTo>
                  <a:lnTo>
                    <a:pt x="26" y="2"/>
                  </a:lnTo>
                  <a:lnTo>
                    <a:pt x="26" y="2"/>
                  </a:lnTo>
                  <a:lnTo>
                    <a:pt x="26" y="2"/>
                  </a:lnTo>
                  <a:lnTo>
                    <a:pt x="26" y="2"/>
                  </a:lnTo>
                  <a:lnTo>
                    <a:pt x="27" y="2"/>
                  </a:lnTo>
                  <a:lnTo>
                    <a:pt x="27" y="2"/>
                  </a:lnTo>
                  <a:lnTo>
                    <a:pt x="27" y="2"/>
                  </a:lnTo>
                  <a:lnTo>
                    <a:pt x="27" y="2"/>
                  </a:lnTo>
                  <a:lnTo>
                    <a:pt x="27" y="2"/>
                  </a:lnTo>
                  <a:lnTo>
                    <a:pt x="26" y="2"/>
                  </a:lnTo>
                  <a:lnTo>
                    <a:pt x="26" y="2"/>
                  </a:lnTo>
                  <a:lnTo>
                    <a:pt x="27" y="2"/>
                  </a:lnTo>
                  <a:lnTo>
                    <a:pt x="27" y="2"/>
                  </a:lnTo>
                  <a:lnTo>
                    <a:pt x="27" y="2"/>
                  </a:lnTo>
                  <a:lnTo>
                    <a:pt x="28" y="2"/>
                  </a:lnTo>
                  <a:lnTo>
                    <a:pt x="28" y="2"/>
                  </a:lnTo>
                  <a:lnTo>
                    <a:pt x="28" y="2"/>
                  </a:lnTo>
                  <a:lnTo>
                    <a:pt x="28" y="2"/>
                  </a:lnTo>
                  <a:lnTo>
                    <a:pt x="29" y="2"/>
                  </a:lnTo>
                  <a:lnTo>
                    <a:pt x="29" y="2"/>
                  </a:lnTo>
                  <a:lnTo>
                    <a:pt x="29" y="2"/>
                  </a:lnTo>
                  <a:lnTo>
                    <a:pt x="29" y="2"/>
                  </a:lnTo>
                  <a:lnTo>
                    <a:pt x="30" y="2"/>
                  </a:lnTo>
                  <a:lnTo>
                    <a:pt x="30" y="2"/>
                  </a:lnTo>
                  <a:lnTo>
                    <a:pt x="30" y="3"/>
                  </a:lnTo>
                  <a:lnTo>
                    <a:pt x="30" y="2"/>
                  </a:lnTo>
                  <a:lnTo>
                    <a:pt x="30" y="2"/>
                  </a:lnTo>
                  <a:lnTo>
                    <a:pt x="30" y="2"/>
                  </a:lnTo>
                  <a:lnTo>
                    <a:pt x="30" y="2"/>
                  </a:lnTo>
                  <a:lnTo>
                    <a:pt x="30" y="3"/>
                  </a:lnTo>
                  <a:lnTo>
                    <a:pt x="30" y="3"/>
                  </a:lnTo>
                  <a:lnTo>
                    <a:pt x="30" y="3"/>
                  </a:lnTo>
                  <a:lnTo>
                    <a:pt x="30" y="3"/>
                  </a:lnTo>
                  <a:lnTo>
                    <a:pt x="30" y="3"/>
                  </a:lnTo>
                  <a:lnTo>
                    <a:pt x="31" y="3"/>
                  </a:lnTo>
                  <a:lnTo>
                    <a:pt x="31" y="3"/>
                  </a:lnTo>
                  <a:lnTo>
                    <a:pt x="31" y="3"/>
                  </a:lnTo>
                  <a:lnTo>
                    <a:pt x="31" y="3"/>
                  </a:lnTo>
                  <a:lnTo>
                    <a:pt x="33" y="3"/>
                  </a:lnTo>
                  <a:lnTo>
                    <a:pt x="33" y="3"/>
                  </a:lnTo>
                  <a:lnTo>
                    <a:pt x="33" y="3"/>
                  </a:lnTo>
                  <a:lnTo>
                    <a:pt x="33" y="3"/>
                  </a:lnTo>
                  <a:lnTo>
                    <a:pt x="33" y="3"/>
                  </a:lnTo>
                  <a:lnTo>
                    <a:pt x="33" y="3"/>
                  </a:lnTo>
                  <a:lnTo>
                    <a:pt x="33" y="4"/>
                  </a:lnTo>
                  <a:lnTo>
                    <a:pt x="33" y="4"/>
                  </a:lnTo>
                  <a:lnTo>
                    <a:pt x="33" y="4"/>
                  </a:lnTo>
                  <a:lnTo>
                    <a:pt x="33" y="5"/>
                  </a:lnTo>
                  <a:lnTo>
                    <a:pt x="33" y="5"/>
                  </a:lnTo>
                  <a:lnTo>
                    <a:pt x="33" y="5"/>
                  </a:lnTo>
                  <a:lnTo>
                    <a:pt x="33" y="5"/>
                  </a:lnTo>
                  <a:lnTo>
                    <a:pt x="33" y="5"/>
                  </a:lnTo>
                  <a:lnTo>
                    <a:pt x="33" y="5"/>
                  </a:lnTo>
                  <a:lnTo>
                    <a:pt x="33" y="5"/>
                  </a:lnTo>
                  <a:lnTo>
                    <a:pt x="33" y="5"/>
                  </a:lnTo>
                  <a:lnTo>
                    <a:pt x="33" y="5"/>
                  </a:lnTo>
                  <a:lnTo>
                    <a:pt x="33" y="5"/>
                  </a:lnTo>
                  <a:lnTo>
                    <a:pt x="33" y="5"/>
                  </a:lnTo>
                  <a:lnTo>
                    <a:pt x="33" y="5"/>
                  </a:lnTo>
                  <a:lnTo>
                    <a:pt x="33" y="5"/>
                  </a:lnTo>
                  <a:lnTo>
                    <a:pt x="33" y="5"/>
                  </a:lnTo>
                  <a:lnTo>
                    <a:pt x="33" y="5"/>
                  </a:lnTo>
                  <a:lnTo>
                    <a:pt x="33" y="5"/>
                  </a:lnTo>
                  <a:lnTo>
                    <a:pt x="31" y="5"/>
                  </a:lnTo>
                  <a:lnTo>
                    <a:pt x="31" y="5"/>
                  </a:lnTo>
                  <a:lnTo>
                    <a:pt x="31" y="5"/>
                  </a:lnTo>
                  <a:lnTo>
                    <a:pt x="31" y="6"/>
                  </a:lnTo>
                  <a:lnTo>
                    <a:pt x="30" y="6"/>
                  </a:lnTo>
                  <a:lnTo>
                    <a:pt x="30" y="6"/>
                  </a:lnTo>
                  <a:lnTo>
                    <a:pt x="30" y="7"/>
                  </a:lnTo>
                  <a:lnTo>
                    <a:pt x="30" y="7"/>
                  </a:lnTo>
                  <a:lnTo>
                    <a:pt x="30" y="7"/>
                  </a:lnTo>
                  <a:lnTo>
                    <a:pt x="29" y="7"/>
                  </a:lnTo>
                  <a:lnTo>
                    <a:pt x="29" y="7"/>
                  </a:lnTo>
                  <a:lnTo>
                    <a:pt x="29" y="7"/>
                  </a:lnTo>
                  <a:lnTo>
                    <a:pt x="29" y="9"/>
                  </a:lnTo>
                  <a:lnTo>
                    <a:pt x="29" y="9"/>
                  </a:lnTo>
                  <a:lnTo>
                    <a:pt x="28" y="9"/>
                  </a:lnTo>
                  <a:lnTo>
                    <a:pt x="28" y="10"/>
                  </a:lnTo>
                  <a:lnTo>
                    <a:pt x="28" y="10"/>
                  </a:lnTo>
                  <a:lnTo>
                    <a:pt x="27" y="9"/>
                  </a:lnTo>
                  <a:lnTo>
                    <a:pt x="27" y="9"/>
                  </a:lnTo>
                  <a:lnTo>
                    <a:pt x="27" y="9"/>
                  </a:lnTo>
                  <a:lnTo>
                    <a:pt x="27" y="10"/>
                  </a:lnTo>
                  <a:lnTo>
                    <a:pt x="26" y="10"/>
                  </a:lnTo>
                  <a:lnTo>
                    <a:pt x="26" y="10"/>
                  </a:lnTo>
                  <a:lnTo>
                    <a:pt x="26" y="10"/>
                  </a:lnTo>
                  <a:lnTo>
                    <a:pt x="24" y="10"/>
                  </a:lnTo>
                  <a:lnTo>
                    <a:pt x="24" y="10"/>
                  </a:lnTo>
                  <a:lnTo>
                    <a:pt x="24" y="10"/>
                  </a:lnTo>
                  <a:lnTo>
                    <a:pt x="24" y="10"/>
                  </a:lnTo>
                  <a:lnTo>
                    <a:pt x="24" y="10"/>
                  </a:lnTo>
                  <a:lnTo>
                    <a:pt x="24" y="10"/>
                  </a:lnTo>
                  <a:lnTo>
                    <a:pt x="24" y="10"/>
                  </a:lnTo>
                  <a:lnTo>
                    <a:pt x="24" y="10"/>
                  </a:lnTo>
                  <a:lnTo>
                    <a:pt x="24" y="10"/>
                  </a:lnTo>
                  <a:lnTo>
                    <a:pt x="24" y="10"/>
                  </a:lnTo>
                  <a:lnTo>
                    <a:pt x="24" y="10"/>
                  </a:lnTo>
                  <a:lnTo>
                    <a:pt x="24" y="10"/>
                  </a:lnTo>
                  <a:lnTo>
                    <a:pt x="23" y="10"/>
                  </a:lnTo>
                  <a:lnTo>
                    <a:pt x="23" y="10"/>
                  </a:lnTo>
                  <a:lnTo>
                    <a:pt x="23" y="10"/>
                  </a:lnTo>
                  <a:lnTo>
                    <a:pt x="23" y="10"/>
                  </a:lnTo>
                  <a:lnTo>
                    <a:pt x="23" y="10"/>
                  </a:lnTo>
                  <a:lnTo>
                    <a:pt x="23" y="10"/>
                  </a:lnTo>
                  <a:lnTo>
                    <a:pt x="23" y="10"/>
                  </a:lnTo>
                  <a:lnTo>
                    <a:pt x="22" y="10"/>
                  </a:lnTo>
                  <a:lnTo>
                    <a:pt x="22" y="10"/>
                  </a:lnTo>
                  <a:lnTo>
                    <a:pt x="22" y="10"/>
                  </a:lnTo>
                  <a:lnTo>
                    <a:pt x="22" y="10"/>
                  </a:lnTo>
                  <a:lnTo>
                    <a:pt x="22" y="10"/>
                  </a:lnTo>
                  <a:lnTo>
                    <a:pt x="21" y="10"/>
                  </a:lnTo>
                  <a:lnTo>
                    <a:pt x="21" y="10"/>
                  </a:lnTo>
                  <a:lnTo>
                    <a:pt x="21" y="10"/>
                  </a:lnTo>
                  <a:lnTo>
                    <a:pt x="21" y="9"/>
                  </a:lnTo>
                  <a:lnTo>
                    <a:pt x="21" y="9"/>
                  </a:lnTo>
                  <a:lnTo>
                    <a:pt x="20" y="9"/>
                  </a:lnTo>
                  <a:lnTo>
                    <a:pt x="20" y="9"/>
                  </a:lnTo>
                  <a:lnTo>
                    <a:pt x="20" y="9"/>
                  </a:lnTo>
                  <a:lnTo>
                    <a:pt x="20" y="9"/>
                  </a:lnTo>
                  <a:lnTo>
                    <a:pt x="20" y="9"/>
                  </a:lnTo>
                  <a:lnTo>
                    <a:pt x="19" y="10"/>
                  </a:lnTo>
                  <a:lnTo>
                    <a:pt x="19" y="10"/>
                  </a:lnTo>
                  <a:lnTo>
                    <a:pt x="19" y="10"/>
                  </a:lnTo>
                  <a:lnTo>
                    <a:pt x="19" y="10"/>
                  </a:lnTo>
                  <a:lnTo>
                    <a:pt x="19" y="10"/>
                  </a:lnTo>
                  <a:lnTo>
                    <a:pt x="19" y="10"/>
                  </a:lnTo>
                  <a:lnTo>
                    <a:pt x="19" y="9"/>
                  </a:lnTo>
                  <a:lnTo>
                    <a:pt x="17" y="9"/>
                  </a:lnTo>
                  <a:lnTo>
                    <a:pt x="17" y="10"/>
                  </a:lnTo>
                  <a:lnTo>
                    <a:pt x="17" y="9"/>
                  </a:lnTo>
                  <a:lnTo>
                    <a:pt x="17" y="9"/>
                  </a:lnTo>
                  <a:lnTo>
                    <a:pt x="16" y="9"/>
                  </a:lnTo>
                  <a:lnTo>
                    <a:pt x="16" y="9"/>
                  </a:lnTo>
                  <a:lnTo>
                    <a:pt x="16" y="9"/>
                  </a:lnTo>
                  <a:lnTo>
                    <a:pt x="16" y="9"/>
                  </a:lnTo>
                  <a:lnTo>
                    <a:pt x="16" y="9"/>
                  </a:lnTo>
                  <a:lnTo>
                    <a:pt x="16" y="9"/>
                  </a:lnTo>
                  <a:lnTo>
                    <a:pt x="16" y="9"/>
                  </a:lnTo>
                  <a:lnTo>
                    <a:pt x="16" y="10"/>
                  </a:lnTo>
                  <a:lnTo>
                    <a:pt x="15" y="10"/>
                  </a:lnTo>
                  <a:lnTo>
                    <a:pt x="15" y="10"/>
                  </a:lnTo>
                  <a:lnTo>
                    <a:pt x="15" y="10"/>
                  </a:lnTo>
                  <a:lnTo>
                    <a:pt x="15" y="10"/>
                  </a:lnTo>
                  <a:lnTo>
                    <a:pt x="14" y="10"/>
                  </a:lnTo>
                  <a:lnTo>
                    <a:pt x="14" y="10"/>
                  </a:lnTo>
                  <a:lnTo>
                    <a:pt x="14" y="10"/>
                  </a:lnTo>
                  <a:lnTo>
                    <a:pt x="14" y="10"/>
                  </a:lnTo>
                  <a:lnTo>
                    <a:pt x="14" y="10"/>
                  </a:lnTo>
                  <a:lnTo>
                    <a:pt x="14" y="10"/>
                  </a:lnTo>
                  <a:lnTo>
                    <a:pt x="14" y="10"/>
                  </a:lnTo>
                  <a:lnTo>
                    <a:pt x="14" y="10"/>
                  </a:lnTo>
                  <a:lnTo>
                    <a:pt x="13" y="10"/>
                  </a:lnTo>
                  <a:lnTo>
                    <a:pt x="13" y="10"/>
                  </a:lnTo>
                  <a:lnTo>
                    <a:pt x="13" y="10"/>
                  </a:lnTo>
                  <a:lnTo>
                    <a:pt x="13" y="10"/>
                  </a:lnTo>
                  <a:lnTo>
                    <a:pt x="13" y="10"/>
                  </a:lnTo>
                  <a:lnTo>
                    <a:pt x="12" y="10"/>
                  </a:lnTo>
                  <a:lnTo>
                    <a:pt x="12" y="10"/>
                  </a:lnTo>
                  <a:lnTo>
                    <a:pt x="12" y="10"/>
                  </a:lnTo>
                  <a:lnTo>
                    <a:pt x="12" y="10"/>
                  </a:lnTo>
                  <a:lnTo>
                    <a:pt x="10" y="10"/>
                  </a:lnTo>
                  <a:lnTo>
                    <a:pt x="10" y="10"/>
                  </a:lnTo>
                  <a:lnTo>
                    <a:pt x="10" y="10"/>
                  </a:lnTo>
                  <a:lnTo>
                    <a:pt x="10" y="10"/>
                  </a:lnTo>
                  <a:lnTo>
                    <a:pt x="10" y="10"/>
                  </a:lnTo>
                  <a:lnTo>
                    <a:pt x="10" y="10"/>
                  </a:lnTo>
                  <a:lnTo>
                    <a:pt x="10" y="10"/>
                  </a:lnTo>
                  <a:lnTo>
                    <a:pt x="10" y="9"/>
                  </a:lnTo>
                  <a:lnTo>
                    <a:pt x="10" y="9"/>
                  </a:lnTo>
                  <a:lnTo>
                    <a:pt x="10" y="9"/>
                  </a:lnTo>
                  <a:lnTo>
                    <a:pt x="10" y="9"/>
                  </a:lnTo>
                  <a:lnTo>
                    <a:pt x="10" y="9"/>
                  </a:lnTo>
                  <a:lnTo>
                    <a:pt x="10" y="9"/>
                  </a:lnTo>
                  <a:lnTo>
                    <a:pt x="10" y="9"/>
                  </a:lnTo>
                  <a:lnTo>
                    <a:pt x="10" y="9"/>
                  </a:lnTo>
                  <a:lnTo>
                    <a:pt x="10" y="9"/>
                  </a:lnTo>
                  <a:lnTo>
                    <a:pt x="10" y="9"/>
                  </a:lnTo>
                  <a:lnTo>
                    <a:pt x="10" y="7"/>
                  </a:lnTo>
                  <a:lnTo>
                    <a:pt x="10" y="7"/>
                  </a:lnTo>
                  <a:lnTo>
                    <a:pt x="10" y="7"/>
                  </a:lnTo>
                  <a:lnTo>
                    <a:pt x="10" y="7"/>
                  </a:lnTo>
                  <a:lnTo>
                    <a:pt x="10" y="7"/>
                  </a:lnTo>
                  <a:lnTo>
                    <a:pt x="10" y="7"/>
                  </a:lnTo>
                  <a:lnTo>
                    <a:pt x="10" y="6"/>
                  </a:lnTo>
                  <a:lnTo>
                    <a:pt x="12" y="6"/>
                  </a:lnTo>
                  <a:lnTo>
                    <a:pt x="12" y="6"/>
                  </a:lnTo>
                  <a:lnTo>
                    <a:pt x="12" y="6"/>
                  </a:lnTo>
                  <a:lnTo>
                    <a:pt x="12" y="5"/>
                  </a:lnTo>
                  <a:lnTo>
                    <a:pt x="12" y="5"/>
                  </a:lnTo>
                  <a:lnTo>
                    <a:pt x="12" y="5"/>
                  </a:lnTo>
                  <a:lnTo>
                    <a:pt x="10" y="4"/>
                  </a:lnTo>
                  <a:lnTo>
                    <a:pt x="10" y="4"/>
                  </a:lnTo>
                  <a:lnTo>
                    <a:pt x="10" y="4"/>
                  </a:lnTo>
                  <a:lnTo>
                    <a:pt x="10" y="4"/>
                  </a:lnTo>
                  <a:lnTo>
                    <a:pt x="10" y="4"/>
                  </a:lnTo>
                  <a:lnTo>
                    <a:pt x="10" y="3"/>
                  </a:lnTo>
                  <a:lnTo>
                    <a:pt x="10" y="3"/>
                  </a:lnTo>
                  <a:lnTo>
                    <a:pt x="10" y="3"/>
                  </a:lnTo>
                  <a:lnTo>
                    <a:pt x="10" y="3"/>
                  </a:lnTo>
                  <a:lnTo>
                    <a:pt x="10" y="3"/>
                  </a:lnTo>
                  <a:lnTo>
                    <a:pt x="12" y="3"/>
                  </a:lnTo>
                  <a:lnTo>
                    <a:pt x="12" y="3"/>
                  </a:lnTo>
                  <a:lnTo>
                    <a:pt x="12" y="2"/>
                  </a:lnTo>
                  <a:lnTo>
                    <a:pt x="12" y="2"/>
                  </a:lnTo>
                  <a:lnTo>
                    <a:pt x="12" y="2"/>
                  </a:lnTo>
                  <a:lnTo>
                    <a:pt x="12" y="2"/>
                  </a:lnTo>
                  <a:lnTo>
                    <a:pt x="12" y="0"/>
                  </a:lnTo>
                  <a:lnTo>
                    <a:pt x="13" y="0"/>
                  </a:lnTo>
                  <a:lnTo>
                    <a:pt x="13" y="0"/>
                  </a:lnTo>
                  <a:lnTo>
                    <a:pt x="14"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21" name="Freeform 979">
              <a:extLst>
                <a:ext uri="{FF2B5EF4-FFF2-40B4-BE49-F238E27FC236}">
                  <a16:creationId xmlns:a16="http://schemas.microsoft.com/office/drawing/2014/main" id="{BFAE8302-5103-4280-BD2D-CFE2CC09BDDD}"/>
                </a:ext>
              </a:extLst>
            </p:cNvPr>
            <p:cNvSpPr>
              <a:spLocks noEditPoints="1"/>
            </p:cNvSpPr>
            <p:nvPr/>
          </p:nvSpPr>
          <p:spPr bwMode="auto">
            <a:xfrm>
              <a:off x="7940538" y="2439060"/>
              <a:ext cx="84136" cy="112181"/>
            </a:xfrm>
            <a:custGeom>
              <a:avLst/>
              <a:gdLst>
                <a:gd name="T0" fmla="*/ 28 w 63"/>
                <a:gd name="T1" fmla="*/ 83 h 84"/>
                <a:gd name="T2" fmla="*/ 18 w 63"/>
                <a:gd name="T3" fmla="*/ 70 h 84"/>
                <a:gd name="T4" fmla="*/ 8 w 63"/>
                <a:gd name="T5" fmla="*/ 56 h 84"/>
                <a:gd name="T6" fmla="*/ 11 w 63"/>
                <a:gd name="T7" fmla="*/ 55 h 84"/>
                <a:gd name="T8" fmla="*/ 48 w 63"/>
                <a:gd name="T9" fmla="*/ 1 h 84"/>
                <a:gd name="T10" fmla="*/ 52 w 63"/>
                <a:gd name="T11" fmla="*/ 5 h 84"/>
                <a:gd name="T12" fmla="*/ 58 w 63"/>
                <a:gd name="T13" fmla="*/ 8 h 84"/>
                <a:gd name="T14" fmla="*/ 59 w 63"/>
                <a:gd name="T15" fmla="*/ 11 h 84"/>
                <a:gd name="T16" fmla="*/ 57 w 63"/>
                <a:gd name="T17" fmla="*/ 13 h 84"/>
                <a:gd name="T18" fmla="*/ 56 w 63"/>
                <a:gd name="T19" fmla="*/ 19 h 84"/>
                <a:gd name="T20" fmla="*/ 57 w 63"/>
                <a:gd name="T21" fmla="*/ 26 h 84"/>
                <a:gd name="T22" fmla="*/ 61 w 63"/>
                <a:gd name="T23" fmla="*/ 32 h 84"/>
                <a:gd name="T24" fmla="*/ 59 w 63"/>
                <a:gd name="T25" fmla="*/ 35 h 84"/>
                <a:gd name="T26" fmla="*/ 56 w 63"/>
                <a:gd name="T27" fmla="*/ 41 h 84"/>
                <a:gd name="T28" fmla="*/ 54 w 63"/>
                <a:gd name="T29" fmla="*/ 45 h 84"/>
                <a:gd name="T30" fmla="*/ 47 w 63"/>
                <a:gd name="T31" fmla="*/ 49 h 84"/>
                <a:gd name="T32" fmla="*/ 44 w 63"/>
                <a:gd name="T33" fmla="*/ 54 h 84"/>
                <a:gd name="T34" fmla="*/ 45 w 63"/>
                <a:gd name="T35" fmla="*/ 57 h 84"/>
                <a:gd name="T36" fmla="*/ 44 w 63"/>
                <a:gd name="T37" fmla="*/ 59 h 84"/>
                <a:gd name="T38" fmla="*/ 49 w 63"/>
                <a:gd name="T39" fmla="*/ 61 h 84"/>
                <a:gd name="T40" fmla="*/ 55 w 63"/>
                <a:gd name="T41" fmla="*/ 64 h 84"/>
                <a:gd name="T42" fmla="*/ 63 w 63"/>
                <a:gd name="T43" fmla="*/ 70 h 84"/>
                <a:gd name="T44" fmla="*/ 59 w 63"/>
                <a:gd name="T45" fmla="*/ 75 h 84"/>
                <a:gd name="T46" fmla="*/ 50 w 63"/>
                <a:gd name="T47" fmla="*/ 75 h 84"/>
                <a:gd name="T48" fmla="*/ 48 w 63"/>
                <a:gd name="T49" fmla="*/ 82 h 84"/>
                <a:gd name="T50" fmla="*/ 41 w 63"/>
                <a:gd name="T51" fmla="*/ 83 h 84"/>
                <a:gd name="T52" fmla="*/ 37 w 63"/>
                <a:gd name="T53" fmla="*/ 82 h 84"/>
                <a:gd name="T54" fmla="*/ 32 w 63"/>
                <a:gd name="T55" fmla="*/ 80 h 84"/>
                <a:gd name="T56" fmla="*/ 33 w 63"/>
                <a:gd name="T57" fmla="*/ 81 h 84"/>
                <a:gd name="T58" fmla="*/ 30 w 63"/>
                <a:gd name="T59" fmla="*/ 83 h 84"/>
                <a:gd name="T60" fmla="*/ 30 w 63"/>
                <a:gd name="T61" fmla="*/ 82 h 84"/>
                <a:gd name="T62" fmla="*/ 25 w 63"/>
                <a:gd name="T63" fmla="*/ 80 h 84"/>
                <a:gd name="T64" fmla="*/ 26 w 63"/>
                <a:gd name="T65" fmla="*/ 78 h 84"/>
                <a:gd name="T66" fmla="*/ 20 w 63"/>
                <a:gd name="T67" fmla="*/ 76 h 84"/>
                <a:gd name="T68" fmla="*/ 21 w 63"/>
                <a:gd name="T69" fmla="*/ 71 h 84"/>
                <a:gd name="T70" fmla="*/ 23 w 63"/>
                <a:gd name="T71" fmla="*/ 69 h 84"/>
                <a:gd name="T72" fmla="*/ 26 w 63"/>
                <a:gd name="T73" fmla="*/ 68 h 84"/>
                <a:gd name="T74" fmla="*/ 23 w 63"/>
                <a:gd name="T75" fmla="*/ 68 h 84"/>
                <a:gd name="T76" fmla="*/ 20 w 63"/>
                <a:gd name="T77" fmla="*/ 64 h 84"/>
                <a:gd name="T78" fmla="*/ 19 w 63"/>
                <a:gd name="T79" fmla="*/ 59 h 84"/>
                <a:gd name="T80" fmla="*/ 18 w 63"/>
                <a:gd name="T81" fmla="*/ 57 h 84"/>
                <a:gd name="T82" fmla="*/ 14 w 63"/>
                <a:gd name="T83" fmla="*/ 54 h 84"/>
                <a:gd name="T84" fmla="*/ 9 w 63"/>
                <a:gd name="T85" fmla="*/ 53 h 84"/>
                <a:gd name="T86" fmla="*/ 7 w 63"/>
                <a:gd name="T87" fmla="*/ 53 h 84"/>
                <a:gd name="T88" fmla="*/ 1 w 63"/>
                <a:gd name="T89" fmla="*/ 49 h 84"/>
                <a:gd name="T90" fmla="*/ 0 w 63"/>
                <a:gd name="T91" fmla="*/ 46 h 84"/>
                <a:gd name="T92" fmla="*/ 4 w 63"/>
                <a:gd name="T93" fmla="*/ 41 h 84"/>
                <a:gd name="T94" fmla="*/ 7 w 63"/>
                <a:gd name="T95" fmla="*/ 38 h 84"/>
                <a:gd name="T96" fmla="*/ 11 w 63"/>
                <a:gd name="T97" fmla="*/ 36 h 84"/>
                <a:gd name="T98" fmla="*/ 14 w 63"/>
                <a:gd name="T99" fmla="*/ 32 h 84"/>
                <a:gd name="T100" fmla="*/ 18 w 63"/>
                <a:gd name="T101" fmla="*/ 27 h 84"/>
                <a:gd name="T102" fmla="*/ 16 w 63"/>
                <a:gd name="T103" fmla="*/ 20 h 84"/>
                <a:gd name="T104" fmla="*/ 21 w 63"/>
                <a:gd name="T105" fmla="*/ 22 h 84"/>
                <a:gd name="T106" fmla="*/ 28 w 63"/>
                <a:gd name="T107" fmla="*/ 25 h 84"/>
                <a:gd name="T108" fmla="*/ 33 w 63"/>
                <a:gd name="T109" fmla="*/ 26 h 84"/>
                <a:gd name="T110" fmla="*/ 37 w 63"/>
                <a:gd name="T111" fmla="*/ 22 h 84"/>
                <a:gd name="T112" fmla="*/ 32 w 63"/>
                <a:gd name="T113" fmla="*/ 17 h 84"/>
                <a:gd name="T114" fmla="*/ 41 w 63"/>
                <a:gd name="T115" fmla="*/ 17 h 84"/>
                <a:gd name="T116" fmla="*/ 43 w 63"/>
                <a:gd name="T117" fmla="*/ 11 h 84"/>
                <a:gd name="T118" fmla="*/ 47 w 63"/>
                <a:gd name="T119" fmla="*/ 10 h 84"/>
                <a:gd name="T120" fmla="*/ 45 w 63"/>
                <a:gd name="T121" fmla="*/ 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3" h="84">
                  <a:moveTo>
                    <a:pt x="30" y="83"/>
                  </a:moveTo>
                  <a:lnTo>
                    <a:pt x="30" y="84"/>
                  </a:lnTo>
                  <a:lnTo>
                    <a:pt x="29" y="84"/>
                  </a:lnTo>
                  <a:lnTo>
                    <a:pt x="29" y="83"/>
                  </a:lnTo>
                  <a:lnTo>
                    <a:pt x="30" y="83"/>
                  </a:lnTo>
                  <a:close/>
                  <a:moveTo>
                    <a:pt x="28" y="83"/>
                  </a:moveTo>
                  <a:lnTo>
                    <a:pt x="28" y="82"/>
                  </a:lnTo>
                  <a:lnTo>
                    <a:pt x="28" y="83"/>
                  </a:lnTo>
                  <a:close/>
                  <a:moveTo>
                    <a:pt x="26" y="82"/>
                  </a:moveTo>
                  <a:lnTo>
                    <a:pt x="26" y="83"/>
                  </a:lnTo>
                  <a:lnTo>
                    <a:pt x="26" y="82"/>
                  </a:lnTo>
                  <a:close/>
                  <a:moveTo>
                    <a:pt x="19" y="71"/>
                  </a:moveTo>
                  <a:lnTo>
                    <a:pt x="20" y="71"/>
                  </a:lnTo>
                  <a:lnTo>
                    <a:pt x="19" y="71"/>
                  </a:lnTo>
                  <a:lnTo>
                    <a:pt x="18" y="71"/>
                  </a:lnTo>
                  <a:lnTo>
                    <a:pt x="18" y="70"/>
                  </a:lnTo>
                  <a:lnTo>
                    <a:pt x="19" y="70"/>
                  </a:lnTo>
                  <a:lnTo>
                    <a:pt x="19" y="71"/>
                  </a:lnTo>
                  <a:close/>
                  <a:moveTo>
                    <a:pt x="8" y="57"/>
                  </a:moveTo>
                  <a:lnTo>
                    <a:pt x="8" y="56"/>
                  </a:lnTo>
                  <a:lnTo>
                    <a:pt x="8" y="57"/>
                  </a:lnTo>
                  <a:close/>
                  <a:moveTo>
                    <a:pt x="9" y="55"/>
                  </a:moveTo>
                  <a:lnTo>
                    <a:pt x="9" y="56"/>
                  </a:lnTo>
                  <a:lnTo>
                    <a:pt x="8" y="56"/>
                  </a:lnTo>
                  <a:lnTo>
                    <a:pt x="8" y="55"/>
                  </a:lnTo>
                  <a:lnTo>
                    <a:pt x="9" y="55"/>
                  </a:lnTo>
                  <a:close/>
                  <a:moveTo>
                    <a:pt x="8" y="55"/>
                  </a:moveTo>
                  <a:lnTo>
                    <a:pt x="7" y="55"/>
                  </a:lnTo>
                  <a:lnTo>
                    <a:pt x="8" y="55"/>
                  </a:lnTo>
                  <a:close/>
                  <a:moveTo>
                    <a:pt x="11" y="55"/>
                  </a:moveTo>
                  <a:lnTo>
                    <a:pt x="11" y="56"/>
                  </a:lnTo>
                  <a:lnTo>
                    <a:pt x="11" y="55"/>
                  </a:lnTo>
                  <a:lnTo>
                    <a:pt x="11" y="54"/>
                  </a:lnTo>
                  <a:lnTo>
                    <a:pt x="12" y="55"/>
                  </a:lnTo>
                  <a:lnTo>
                    <a:pt x="11" y="55"/>
                  </a:lnTo>
                  <a:close/>
                  <a:moveTo>
                    <a:pt x="0" y="52"/>
                  </a:moveTo>
                  <a:lnTo>
                    <a:pt x="0" y="50"/>
                  </a:lnTo>
                  <a:lnTo>
                    <a:pt x="0" y="52"/>
                  </a:lnTo>
                  <a:close/>
                  <a:moveTo>
                    <a:pt x="47" y="1"/>
                  </a:moveTo>
                  <a:lnTo>
                    <a:pt x="48" y="1"/>
                  </a:lnTo>
                  <a:lnTo>
                    <a:pt x="49" y="1"/>
                  </a:lnTo>
                  <a:lnTo>
                    <a:pt x="48" y="3"/>
                  </a:lnTo>
                  <a:lnTo>
                    <a:pt x="49" y="3"/>
                  </a:lnTo>
                  <a:lnTo>
                    <a:pt x="50" y="3"/>
                  </a:lnTo>
                  <a:lnTo>
                    <a:pt x="51" y="3"/>
                  </a:lnTo>
                  <a:lnTo>
                    <a:pt x="51" y="4"/>
                  </a:lnTo>
                  <a:lnTo>
                    <a:pt x="51" y="5"/>
                  </a:lnTo>
                  <a:lnTo>
                    <a:pt x="52" y="5"/>
                  </a:lnTo>
                  <a:lnTo>
                    <a:pt x="54" y="6"/>
                  </a:lnTo>
                  <a:lnTo>
                    <a:pt x="55" y="7"/>
                  </a:lnTo>
                  <a:lnTo>
                    <a:pt x="56" y="7"/>
                  </a:lnTo>
                  <a:lnTo>
                    <a:pt x="56" y="8"/>
                  </a:lnTo>
                  <a:lnTo>
                    <a:pt x="56" y="7"/>
                  </a:lnTo>
                  <a:lnTo>
                    <a:pt x="57" y="7"/>
                  </a:lnTo>
                  <a:lnTo>
                    <a:pt x="57" y="8"/>
                  </a:lnTo>
                  <a:lnTo>
                    <a:pt x="58" y="8"/>
                  </a:lnTo>
                  <a:lnTo>
                    <a:pt x="58" y="10"/>
                  </a:lnTo>
                  <a:lnTo>
                    <a:pt x="59" y="10"/>
                  </a:lnTo>
                  <a:lnTo>
                    <a:pt x="61" y="11"/>
                  </a:lnTo>
                  <a:lnTo>
                    <a:pt x="61" y="12"/>
                  </a:lnTo>
                  <a:lnTo>
                    <a:pt x="62" y="12"/>
                  </a:lnTo>
                  <a:lnTo>
                    <a:pt x="61" y="12"/>
                  </a:lnTo>
                  <a:lnTo>
                    <a:pt x="59" y="12"/>
                  </a:lnTo>
                  <a:lnTo>
                    <a:pt x="59" y="11"/>
                  </a:lnTo>
                  <a:lnTo>
                    <a:pt x="58" y="11"/>
                  </a:lnTo>
                  <a:lnTo>
                    <a:pt x="58" y="12"/>
                  </a:lnTo>
                  <a:lnTo>
                    <a:pt x="58" y="13"/>
                  </a:lnTo>
                  <a:lnTo>
                    <a:pt x="58" y="12"/>
                  </a:lnTo>
                  <a:lnTo>
                    <a:pt x="58" y="13"/>
                  </a:lnTo>
                  <a:lnTo>
                    <a:pt x="58" y="14"/>
                  </a:lnTo>
                  <a:lnTo>
                    <a:pt x="58" y="13"/>
                  </a:lnTo>
                  <a:lnTo>
                    <a:pt x="57" y="13"/>
                  </a:lnTo>
                  <a:lnTo>
                    <a:pt x="57" y="14"/>
                  </a:lnTo>
                  <a:lnTo>
                    <a:pt x="57" y="15"/>
                  </a:lnTo>
                  <a:lnTo>
                    <a:pt x="56" y="15"/>
                  </a:lnTo>
                  <a:lnTo>
                    <a:pt x="56" y="17"/>
                  </a:lnTo>
                  <a:lnTo>
                    <a:pt x="56" y="18"/>
                  </a:lnTo>
                  <a:lnTo>
                    <a:pt x="55" y="18"/>
                  </a:lnTo>
                  <a:lnTo>
                    <a:pt x="55" y="19"/>
                  </a:lnTo>
                  <a:lnTo>
                    <a:pt x="56" y="19"/>
                  </a:lnTo>
                  <a:lnTo>
                    <a:pt x="56" y="20"/>
                  </a:lnTo>
                  <a:lnTo>
                    <a:pt x="55" y="20"/>
                  </a:lnTo>
                  <a:lnTo>
                    <a:pt x="55" y="21"/>
                  </a:lnTo>
                  <a:lnTo>
                    <a:pt x="55" y="22"/>
                  </a:lnTo>
                  <a:lnTo>
                    <a:pt x="55" y="24"/>
                  </a:lnTo>
                  <a:lnTo>
                    <a:pt x="56" y="24"/>
                  </a:lnTo>
                  <a:lnTo>
                    <a:pt x="56" y="25"/>
                  </a:lnTo>
                  <a:lnTo>
                    <a:pt x="57" y="26"/>
                  </a:lnTo>
                  <a:lnTo>
                    <a:pt x="58" y="26"/>
                  </a:lnTo>
                  <a:lnTo>
                    <a:pt x="58" y="27"/>
                  </a:lnTo>
                  <a:lnTo>
                    <a:pt x="59" y="27"/>
                  </a:lnTo>
                  <a:lnTo>
                    <a:pt x="58" y="27"/>
                  </a:lnTo>
                  <a:lnTo>
                    <a:pt x="59" y="29"/>
                  </a:lnTo>
                  <a:lnTo>
                    <a:pt x="59" y="31"/>
                  </a:lnTo>
                  <a:lnTo>
                    <a:pt x="61" y="31"/>
                  </a:lnTo>
                  <a:lnTo>
                    <a:pt x="61" y="32"/>
                  </a:lnTo>
                  <a:lnTo>
                    <a:pt x="61" y="33"/>
                  </a:lnTo>
                  <a:lnTo>
                    <a:pt x="62" y="33"/>
                  </a:lnTo>
                  <a:lnTo>
                    <a:pt x="62" y="34"/>
                  </a:lnTo>
                  <a:lnTo>
                    <a:pt x="62" y="35"/>
                  </a:lnTo>
                  <a:lnTo>
                    <a:pt x="62" y="34"/>
                  </a:lnTo>
                  <a:lnTo>
                    <a:pt x="62" y="35"/>
                  </a:lnTo>
                  <a:lnTo>
                    <a:pt x="61" y="35"/>
                  </a:lnTo>
                  <a:lnTo>
                    <a:pt x="59" y="35"/>
                  </a:lnTo>
                  <a:lnTo>
                    <a:pt x="58" y="36"/>
                  </a:lnTo>
                  <a:lnTo>
                    <a:pt x="58" y="38"/>
                  </a:lnTo>
                  <a:lnTo>
                    <a:pt x="58" y="36"/>
                  </a:lnTo>
                  <a:lnTo>
                    <a:pt x="57" y="36"/>
                  </a:lnTo>
                  <a:lnTo>
                    <a:pt x="57" y="38"/>
                  </a:lnTo>
                  <a:lnTo>
                    <a:pt x="57" y="39"/>
                  </a:lnTo>
                  <a:lnTo>
                    <a:pt x="57" y="40"/>
                  </a:lnTo>
                  <a:lnTo>
                    <a:pt x="56" y="41"/>
                  </a:lnTo>
                  <a:lnTo>
                    <a:pt x="55" y="42"/>
                  </a:lnTo>
                  <a:lnTo>
                    <a:pt x="54" y="42"/>
                  </a:lnTo>
                  <a:lnTo>
                    <a:pt x="54" y="43"/>
                  </a:lnTo>
                  <a:lnTo>
                    <a:pt x="52" y="43"/>
                  </a:lnTo>
                  <a:lnTo>
                    <a:pt x="54" y="43"/>
                  </a:lnTo>
                  <a:lnTo>
                    <a:pt x="54" y="45"/>
                  </a:lnTo>
                  <a:lnTo>
                    <a:pt x="55" y="45"/>
                  </a:lnTo>
                  <a:lnTo>
                    <a:pt x="54" y="45"/>
                  </a:lnTo>
                  <a:lnTo>
                    <a:pt x="52" y="46"/>
                  </a:lnTo>
                  <a:lnTo>
                    <a:pt x="51" y="47"/>
                  </a:lnTo>
                  <a:lnTo>
                    <a:pt x="50" y="47"/>
                  </a:lnTo>
                  <a:lnTo>
                    <a:pt x="49" y="48"/>
                  </a:lnTo>
                  <a:lnTo>
                    <a:pt x="49" y="47"/>
                  </a:lnTo>
                  <a:lnTo>
                    <a:pt x="47" y="47"/>
                  </a:lnTo>
                  <a:lnTo>
                    <a:pt x="47" y="48"/>
                  </a:lnTo>
                  <a:lnTo>
                    <a:pt x="47" y="49"/>
                  </a:lnTo>
                  <a:lnTo>
                    <a:pt x="45" y="49"/>
                  </a:lnTo>
                  <a:lnTo>
                    <a:pt x="45" y="50"/>
                  </a:lnTo>
                  <a:lnTo>
                    <a:pt x="44" y="50"/>
                  </a:lnTo>
                  <a:lnTo>
                    <a:pt x="43" y="50"/>
                  </a:lnTo>
                  <a:lnTo>
                    <a:pt x="43" y="52"/>
                  </a:lnTo>
                  <a:lnTo>
                    <a:pt x="43" y="53"/>
                  </a:lnTo>
                  <a:lnTo>
                    <a:pt x="44" y="53"/>
                  </a:lnTo>
                  <a:lnTo>
                    <a:pt x="44" y="54"/>
                  </a:lnTo>
                  <a:lnTo>
                    <a:pt x="45" y="54"/>
                  </a:lnTo>
                  <a:lnTo>
                    <a:pt x="45" y="55"/>
                  </a:lnTo>
                  <a:lnTo>
                    <a:pt x="45" y="56"/>
                  </a:lnTo>
                  <a:lnTo>
                    <a:pt x="47" y="59"/>
                  </a:lnTo>
                  <a:lnTo>
                    <a:pt x="48" y="59"/>
                  </a:lnTo>
                  <a:lnTo>
                    <a:pt x="47" y="59"/>
                  </a:lnTo>
                  <a:lnTo>
                    <a:pt x="47" y="57"/>
                  </a:lnTo>
                  <a:lnTo>
                    <a:pt x="45" y="57"/>
                  </a:lnTo>
                  <a:lnTo>
                    <a:pt x="45" y="56"/>
                  </a:lnTo>
                  <a:lnTo>
                    <a:pt x="45" y="57"/>
                  </a:lnTo>
                  <a:lnTo>
                    <a:pt x="44" y="57"/>
                  </a:lnTo>
                  <a:lnTo>
                    <a:pt x="45" y="57"/>
                  </a:lnTo>
                  <a:lnTo>
                    <a:pt x="45" y="59"/>
                  </a:lnTo>
                  <a:lnTo>
                    <a:pt x="45" y="57"/>
                  </a:lnTo>
                  <a:lnTo>
                    <a:pt x="45" y="59"/>
                  </a:lnTo>
                  <a:lnTo>
                    <a:pt x="44" y="59"/>
                  </a:lnTo>
                  <a:lnTo>
                    <a:pt x="45" y="59"/>
                  </a:lnTo>
                  <a:lnTo>
                    <a:pt x="45" y="60"/>
                  </a:lnTo>
                  <a:lnTo>
                    <a:pt x="45" y="61"/>
                  </a:lnTo>
                  <a:lnTo>
                    <a:pt x="47" y="61"/>
                  </a:lnTo>
                  <a:lnTo>
                    <a:pt x="48" y="61"/>
                  </a:lnTo>
                  <a:lnTo>
                    <a:pt x="47" y="61"/>
                  </a:lnTo>
                  <a:lnTo>
                    <a:pt x="48" y="61"/>
                  </a:lnTo>
                  <a:lnTo>
                    <a:pt x="49" y="61"/>
                  </a:lnTo>
                  <a:lnTo>
                    <a:pt x="50" y="61"/>
                  </a:lnTo>
                  <a:lnTo>
                    <a:pt x="50" y="62"/>
                  </a:lnTo>
                  <a:lnTo>
                    <a:pt x="51" y="62"/>
                  </a:lnTo>
                  <a:lnTo>
                    <a:pt x="52" y="62"/>
                  </a:lnTo>
                  <a:lnTo>
                    <a:pt x="52" y="63"/>
                  </a:lnTo>
                  <a:lnTo>
                    <a:pt x="54" y="63"/>
                  </a:lnTo>
                  <a:lnTo>
                    <a:pt x="54" y="64"/>
                  </a:lnTo>
                  <a:lnTo>
                    <a:pt x="55" y="64"/>
                  </a:lnTo>
                  <a:lnTo>
                    <a:pt x="56" y="64"/>
                  </a:lnTo>
                  <a:lnTo>
                    <a:pt x="56" y="66"/>
                  </a:lnTo>
                  <a:lnTo>
                    <a:pt x="57" y="66"/>
                  </a:lnTo>
                  <a:lnTo>
                    <a:pt x="58" y="66"/>
                  </a:lnTo>
                  <a:lnTo>
                    <a:pt x="61" y="68"/>
                  </a:lnTo>
                  <a:lnTo>
                    <a:pt x="62" y="68"/>
                  </a:lnTo>
                  <a:lnTo>
                    <a:pt x="63" y="69"/>
                  </a:lnTo>
                  <a:lnTo>
                    <a:pt x="63" y="70"/>
                  </a:lnTo>
                  <a:lnTo>
                    <a:pt x="62" y="70"/>
                  </a:lnTo>
                  <a:lnTo>
                    <a:pt x="63" y="70"/>
                  </a:lnTo>
                  <a:lnTo>
                    <a:pt x="63" y="71"/>
                  </a:lnTo>
                  <a:lnTo>
                    <a:pt x="63" y="73"/>
                  </a:lnTo>
                  <a:lnTo>
                    <a:pt x="63" y="74"/>
                  </a:lnTo>
                  <a:lnTo>
                    <a:pt x="62" y="75"/>
                  </a:lnTo>
                  <a:lnTo>
                    <a:pt x="61" y="75"/>
                  </a:lnTo>
                  <a:lnTo>
                    <a:pt x="59" y="75"/>
                  </a:lnTo>
                  <a:lnTo>
                    <a:pt x="58" y="75"/>
                  </a:lnTo>
                  <a:lnTo>
                    <a:pt x="57" y="75"/>
                  </a:lnTo>
                  <a:lnTo>
                    <a:pt x="57" y="74"/>
                  </a:lnTo>
                  <a:lnTo>
                    <a:pt x="55" y="75"/>
                  </a:lnTo>
                  <a:lnTo>
                    <a:pt x="54" y="75"/>
                  </a:lnTo>
                  <a:lnTo>
                    <a:pt x="52" y="75"/>
                  </a:lnTo>
                  <a:lnTo>
                    <a:pt x="51" y="75"/>
                  </a:lnTo>
                  <a:lnTo>
                    <a:pt x="50" y="75"/>
                  </a:lnTo>
                  <a:lnTo>
                    <a:pt x="49" y="75"/>
                  </a:lnTo>
                  <a:lnTo>
                    <a:pt x="48" y="76"/>
                  </a:lnTo>
                  <a:lnTo>
                    <a:pt x="48" y="77"/>
                  </a:lnTo>
                  <a:lnTo>
                    <a:pt x="48" y="78"/>
                  </a:lnTo>
                  <a:lnTo>
                    <a:pt x="48" y="80"/>
                  </a:lnTo>
                  <a:lnTo>
                    <a:pt x="47" y="80"/>
                  </a:lnTo>
                  <a:lnTo>
                    <a:pt x="47" y="81"/>
                  </a:lnTo>
                  <a:lnTo>
                    <a:pt x="48" y="82"/>
                  </a:lnTo>
                  <a:lnTo>
                    <a:pt x="47" y="82"/>
                  </a:lnTo>
                  <a:lnTo>
                    <a:pt x="48" y="83"/>
                  </a:lnTo>
                  <a:lnTo>
                    <a:pt x="47" y="83"/>
                  </a:lnTo>
                  <a:lnTo>
                    <a:pt x="44" y="82"/>
                  </a:lnTo>
                  <a:lnTo>
                    <a:pt x="43" y="81"/>
                  </a:lnTo>
                  <a:lnTo>
                    <a:pt x="42" y="82"/>
                  </a:lnTo>
                  <a:lnTo>
                    <a:pt x="41" y="82"/>
                  </a:lnTo>
                  <a:lnTo>
                    <a:pt x="41" y="83"/>
                  </a:lnTo>
                  <a:lnTo>
                    <a:pt x="40" y="83"/>
                  </a:lnTo>
                  <a:lnTo>
                    <a:pt x="40" y="82"/>
                  </a:lnTo>
                  <a:lnTo>
                    <a:pt x="39" y="82"/>
                  </a:lnTo>
                  <a:lnTo>
                    <a:pt x="39" y="81"/>
                  </a:lnTo>
                  <a:lnTo>
                    <a:pt x="37" y="81"/>
                  </a:lnTo>
                  <a:lnTo>
                    <a:pt x="37" y="82"/>
                  </a:lnTo>
                  <a:lnTo>
                    <a:pt x="39" y="82"/>
                  </a:lnTo>
                  <a:lnTo>
                    <a:pt x="37" y="82"/>
                  </a:lnTo>
                  <a:lnTo>
                    <a:pt x="36" y="81"/>
                  </a:lnTo>
                  <a:lnTo>
                    <a:pt x="35" y="81"/>
                  </a:lnTo>
                  <a:lnTo>
                    <a:pt x="35" y="80"/>
                  </a:lnTo>
                  <a:lnTo>
                    <a:pt x="34" y="80"/>
                  </a:lnTo>
                  <a:lnTo>
                    <a:pt x="33" y="80"/>
                  </a:lnTo>
                  <a:lnTo>
                    <a:pt x="33" y="78"/>
                  </a:lnTo>
                  <a:lnTo>
                    <a:pt x="32" y="78"/>
                  </a:lnTo>
                  <a:lnTo>
                    <a:pt x="32" y="80"/>
                  </a:lnTo>
                  <a:lnTo>
                    <a:pt x="33" y="80"/>
                  </a:lnTo>
                  <a:lnTo>
                    <a:pt x="34" y="80"/>
                  </a:lnTo>
                  <a:lnTo>
                    <a:pt x="34" y="81"/>
                  </a:lnTo>
                  <a:lnTo>
                    <a:pt x="34" y="80"/>
                  </a:lnTo>
                  <a:lnTo>
                    <a:pt x="34" y="81"/>
                  </a:lnTo>
                  <a:lnTo>
                    <a:pt x="35" y="81"/>
                  </a:lnTo>
                  <a:lnTo>
                    <a:pt x="34" y="81"/>
                  </a:lnTo>
                  <a:lnTo>
                    <a:pt x="33" y="81"/>
                  </a:lnTo>
                  <a:lnTo>
                    <a:pt x="34" y="82"/>
                  </a:lnTo>
                  <a:lnTo>
                    <a:pt x="34" y="83"/>
                  </a:lnTo>
                  <a:lnTo>
                    <a:pt x="33" y="83"/>
                  </a:lnTo>
                  <a:lnTo>
                    <a:pt x="33" y="84"/>
                  </a:lnTo>
                  <a:lnTo>
                    <a:pt x="32" y="84"/>
                  </a:lnTo>
                  <a:lnTo>
                    <a:pt x="30" y="83"/>
                  </a:lnTo>
                  <a:lnTo>
                    <a:pt x="32" y="83"/>
                  </a:lnTo>
                  <a:lnTo>
                    <a:pt x="30" y="83"/>
                  </a:lnTo>
                  <a:lnTo>
                    <a:pt x="32" y="82"/>
                  </a:lnTo>
                  <a:lnTo>
                    <a:pt x="33" y="82"/>
                  </a:lnTo>
                  <a:lnTo>
                    <a:pt x="32" y="82"/>
                  </a:lnTo>
                  <a:lnTo>
                    <a:pt x="32" y="81"/>
                  </a:lnTo>
                  <a:lnTo>
                    <a:pt x="30" y="81"/>
                  </a:lnTo>
                  <a:lnTo>
                    <a:pt x="30" y="82"/>
                  </a:lnTo>
                  <a:lnTo>
                    <a:pt x="32" y="82"/>
                  </a:lnTo>
                  <a:lnTo>
                    <a:pt x="30" y="82"/>
                  </a:lnTo>
                  <a:lnTo>
                    <a:pt x="29" y="82"/>
                  </a:lnTo>
                  <a:lnTo>
                    <a:pt x="29" y="81"/>
                  </a:lnTo>
                  <a:lnTo>
                    <a:pt x="28" y="81"/>
                  </a:lnTo>
                  <a:lnTo>
                    <a:pt x="28" y="82"/>
                  </a:lnTo>
                  <a:lnTo>
                    <a:pt x="27" y="82"/>
                  </a:lnTo>
                  <a:lnTo>
                    <a:pt x="26" y="81"/>
                  </a:lnTo>
                  <a:lnTo>
                    <a:pt x="25" y="81"/>
                  </a:lnTo>
                  <a:lnTo>
                    <a:pt x="25" y="80"/>
                  </a:lnTo>
                  <a:lnTo>
                    <a:pt x="26" y="80"/>
                  </a:lnTo>
                  <a:lnTo>
                    <a:pt x="27" y="80"/>
                  </a:lnTo>
                  <a:lnTo>
                    <a:pt x="26" y="80"/>
                  </a:lnTo>
                  <a:lnTo>
                    <a:pt x="26" y="78"/>
                  </a:lnTo>
                  <a:lnTo>
                    <a:pt x="27" y="78"/>
                  </a:lnTo>
                  <a:lnTo>
                    <a:pt x="27" y="80"/>
                  </a:lnTo>
                  <a:lnTo>
                    <a:pt x="27" y="78"/>
                  </a:lnTo>
                  <a:lnTo>
                    <a:pt x="26" y="78"/>
                  </a:lnTo>
                  <a:lnTo>
                    <a:pt x="25" y="78"/>
                  </a:lnTo>
                  <a:lnTo>
                    <a:pt x="22" y="78"/>
                  </a:lnTo>
                  <a:lnTo>
                    <a:pt x="22" y="77"/>
                  </a:lnTo>
                  <a:lnTo>
                    <a:pt x="21" y="77"/>
                  </a:lnTo>
                  <a:lnTo>
                    <a:pt x="21" y="78"/>
                  </a:lnTo>
                  <a:lnTo>
                    <a:pt x="19" y="77"/>
                  </a:lnTo>
                  <a:lnTo>
                    <a:pt x="20" y="77"/>
                  </a:lnTo>
                  <a:lnTo>
                    <a:pt x="20" y="76"/>
                  </a:lnTo>
                  <a:lnTo>
                    <a:pt x="21" y="76"/>
                  </a:lnTo>
                  <a:lnTo>
                    <a:pt x="22" y="76"/>
                  </a:lnTo>
                  <a:lnTo>
                    <a:pt x="21" y="76"/>
                  </a:lnTo>
                  <a:lnTo>
                    <a:pt x="21" y="75"/>
                  </a:lnTo>
                  <a:lnTo>
                    <a:pt x="20" y="74"/>
                  </a:lnTo>
                  <a:lnTo>
                    <a:pt x="20" y="73"/>
                  </a:lnTo>
                  <a:lnTo>
                    <a:pt x="21" y="73"/>
                  </a:lnTo>
                  <a:lnTo>
                    <a:pt x="21" y="71"/>
                  </a:lnTo>
                  <a:lnTo>
                    <a:pt x="20" y="71"/>
                  </a:lnTo>
                  <a:lnTo>
                    <a:pt x="20" y="70"/>
                  </a:lnTo>
                  <a:lnTo>
                    <a:pt x="21" y="70"/>
                  </a:lnTo>
                  <a:lnTo>
                    <a:pt x="21" y="69"/>
                  </a:lnTo>
                  <a:lnTo>
                    <a:pt x="22" y="69"/>
                  </a:lnTo>
                  <a:lnTo>
                    <a:pt x="21" y="69"/>
                  </a:lnTo>
                  <a:lnTo>
                    <a:pt x="22" y="69"/>
                  </a:lnTo>
                  <a:lnTo>
                    <a:pt x="23" y="69"/>
                  </a:lnTo>
                  <a:lnTo>
                    <a:pt x="23" y="68"/>
                  </a:lnTo>
                  <a:lnTo>
                    <a:pt x="25" y="69"/>
                  </a:lnTo>
                  <a:lnTo>
                    <a:pt x="25" y="68"/>
                  </a:lnTo>
                  <a:lnTo>
                    <a:pt x="26" y="69"/>
                  </a:lnTo>
                  <a:lnTo>
                    <a:pt x="27" y="69"/>
                  </a:lnTo>
                  <a:lnTo>
                    <a:pt x="28" y="69"/>
                  </a:lnTo>
                  <a:lnTo>
                    <a:pt x="27" y="69"/>
                  </a:lnTo>
                  <a:lnTo>
                    <a:pt x="26" y="68"/>
                  </a:lnTo>
                  <a:lnTo>
                    <a:pt x="25" y="68"/>
                  </a:lnTo>
                  <a:lnTo>
                    <a:pt x="25" y="67"/>
                  </a:lnTo>
                  <a:lnTo>
                    <a:pt x="25" y="68"/>
                  </a:lnTo>
                  <a:lnTo>
                    <a:pt x="23" y="68"/>
                  </a:lnTo>
                  <a:lnTo>
                    <a:pt x="25" y="68"/>
                  </a:lnTo>
                  <a:lnTo>
                    <a:pt x="23" y="68"/>
                  </a:lnTo>
                  <a:lnTo>
                    <a:pt x="22" y="68"/>
                  </a:lnTo>
                  <a:lnTo>
                    <a:pt x="23" y="68"/>
                  </a:lnTo>
                  <a:lnTo>
                    <a:pt x="22" y="68"/>
                  </a:lnTo>
                  <a:lnTo>
                    <a:pt x="22" y="67"/>
                  </a:lnTo>
                  <a:lnTo>
                    <a:pt x="21" y="67"/>
                  </a:lnTo>
                  <a:lnTo>
                    <a:pt x="21" y="68"/>
                  </a:lnTo>
                  <a:lnTo>
                    <a:pt x="21" y="67"/>
                  </a:lnTo>
                  <a:lnTo>
                    <a:pt x="20" y="67"/>
                  </a:lnTo>
                  <a:lnTo>
                    <a:pt x="20" y="66"/>
                  </a:lnTo>
                  <a:lnTo>
                    <a:pt x="20" y="64"/>
                  </a:lnTo>
                  <a:lnTo>
                    <a:pt x="20" y="63"/>
                  </a:lnTo>
                  <a:lnTo>
                    <a:pt x="20" y="62"/>
                  </a:lnTo>
                  <a:lnTo>
                    <a:pt x="20" y="61"/>
                  </a:lnTo>
                  <a:lnTo>
                    <a:pt x="19" y="61"/>
                  </a:lnTo>
                  <a:lnTo>
                    <a:pt x="20" y="61"/>
                  </a:lnTo>
                  <a:lnTo>
                    <a:pt x="20" y="60"/>
                  </a:lnTo>
                  <a:lnTo>
                    <a:pt x="20" y="59"/>
                  </a:lnTo>
                  <a:lnTo>
                    <a:pt x="19" y="59"/>
                  </a:lnTo>
                  <a:lnTo>
                    <a:pt x="19" y="57"/>
                  </a:lnTo>
                  <a:lnTo>
                    <a:pt x="20" y="59"/>
                  </a:lnTo>
                  <a:lnTo>
                    <a:pt x="20" y="57"/>
                  </a:lnTo>
                  <a:lnTo>
                    <a:pt x="19" y="57"/>
                  </a:lnTo>
                  <a:lnTo>
                    <a:pt x="18" y="57"/>
                  </a:lnTo>
                  <a:lnTo>
                    <a:pt x="19" y="56"/>
                  </a:lnTo>
                  <a:lnTo>
                    <a:pt x="18" y="56"/>
                  </a:lnTo>
                  <a:lnTo>
                    <a:pt x="18" y="57"/>
                  </a:lnTo>
                  <a:lnTo>
                    <a:pt x="18" y="56"/>
                  </a:lnTo>
                  <a:lnTo>
                    <a:pt x="18" y="55"/>
                  </a:lnTo>
                  <a:lnTo>
                    <a:pt x="18" y="54"/>
                  </a:lnTo>
                  <a:lnTo>
                    <a:pt x="18" y="55"/>
                  </a:lnTo>
                  <a:lnTo>
                    <a:pt x="16" y="55"/>
                  </a:lnTo>
                  <a:lnTo>
                    <a:pt x="15" y="55"/>
                  </a:lnTo>
                  <a:lnTo>
                    <a:pt x="15" y="54"/>
                  </a:lnTo>
                  <a:lnTo>
                    <a:pt x="14" y="54"/>
                  </a:lnTo>
                  <a:lnTo>
                    <a:pt x="14" y="55"/>
                  </a:lnTo>
                  <a:lnTo>
                    <a:pt x="14" y="54"/>
                  </a:lnTo>
                  <a:lnTo>
                    <a:pt x="13" y="54"/>
                  </a:lnTo>
                  <a:lnTo>
                    <a:pt x="12" y="54"/>
                  </a:lnTo>
                  <a:lnTo>
                    <a:pt x="11" y="53"/>
                  </a:lnTo>
                  <a:lnTo>
                    <a:pt x="11" y="54"/>
                  </a:lnTo>
                  <a:lnTo>
                    <a:pt x="11" y="53"/>
                  </a:lnTo>
                  <a:lnTo>
                    <a:pt x="9" y="53"/>
                  </a:lnTo>
                  <a:lnTo>
                    <a:pt x="8" y="53"/>
                  </a:lnTo>
                  <a:lnTo>
                    <a:pt x="8" y="52"/>
                  </a:lnTo>
                  <a:lnTo>
                    <a:pt x="7" y="52"/>
                  </a:lnTo>
                  <a:lnTo>
                    <a:pt x="8" y="52"/>
                  </a:lnTo>
                  <a:lnTo>
                    <a:pt x="8" y="53"/>
                  </a:lnTo>
                  <a:lnTo>
                    <a:pt x="8" y="54"/>
                  </a:lnTo>
                  <a:lnTo>
                    <a:pt x="7" y="54"/>
                  </a:lnTo>
                  <a:lnTo>
                    <a:pt x="7" y="53"/>
                  </a:lnTo>
                  <a:lnTo>
                    <a:pt x="6" y="53"/>
                  </a:lnTo>
                  <a:lnTo>
                    <a:pt x="6" y="52"/>
                  </a:lnTo>
                  <a:lnTo>
                    <a:pt x="5" y="52"/>
                  </a:lnTo>
                  <a:lnTo>
                    <a:pt x="5" y="50"/>
                  </a:lnTo>
                  <a:lnTo>
                    <a:pt x="4" y="50"/>
                  </a:lnTo>
                  <a:lnTo>
                    <a:pt x="2" y="50"/>
                  </a:lnTo>
                  <a:lnTo>
                    <a:pt x="1" y="50"/>
                  </a:lnTo>
                  <a:lnTo>
                    <a:pt x="1" y="49"/>
                  </a:lnTo>
                  <a:lnTo>
                    <a:pt x="1" y="48"/>
                  </a:lnTo>
                  <a:lnTo>
                    <a:pt x="1" y="47"/>
                  </a:lnTo>
                  <a:lnTo>
                    <a:pt x="1" y="48"/>
                  </a:lnTo>
                  <a:lnTo>
                    <a:pt x="2" y="48"/>
                  </a:lnTo>
                  <a:lnTo>
                    <a:pt x="2" y="47"/>
                  </a:lnTo>
                  <a:lnTo>
                    <a:pt x="1" y="47"/>
                  </a:lnTo>
                  <a:lnTo>
                    <a:pt x="0" y="47"/>
                  </a:lnTo>
                  <a:lnTo>
                    <a:pt x="0" y="46"/>
                  </a:lnTo>
                  <a:lnTo>
                    <a:pt x="1" y="45"/>
                  </a:lnTo>
                  <a:lnTo>
                    <a:pt x="1" y="43"/>
                  </a:lnTo>
                  <a:lnTo>
                    <a:pt x="2" y="43"/>
                  </a:lnTo>
                  <a:lnTo>
                    <a:pt x="2" y="42"/>
                  </a:lnTo>
                  <a:lnTo>
                    <a:pt x="4" y="42"/>
                  </a:lnTo>
                  <a:lnTo>
                    <a:pt x="4" y="41"/>
                  </a:lnTo>
                  <a:lnTo>
                    <a:pt x="4" y="40"/>
                  </a:lnTo>
                  <a:lnTo>
                    <a:pt x="4" y="41"/>
                  </a:lnTo>
                  <a:lnTo>
                    <a:pt x="5" y="41"/>
                  </a:lnTo>
                  <a:lnTo>
                    <a:pt x="6" y="41"/>
                  </a:lnTo>
                  <a:lnTo>
                    <a:pt x="6" y="40"/>
                  </a:lnTo>
                  <a:lnTo>
                    <a:pt x="5" y="40"/>
                  </a:lnTo>
                  <a:lnTo>
                    <a:pt x="5" y="39"/>
                  </a:lnTo>
                  <a:lnTo>
                    <a:pt x="6" y="39"/>
                  </a:lnTo>
                  <a:lnTo>
                    <a:pt x="7" y="39"/>
                  </a:lnTo>
                  <a:lnTo>
                    <a:pt x="7" y="38"/>
                  </a:lnTo>
                  <a:lnTo>
                    <a:pt x="8" y="38"/>
                  </a:lnTo>
                  <a:lnTo>
                    <a:pt x="9" y="38"/>
                  </a:lnTo>
                  <a:lnTo>
                    <a:pt x="8" y="38"/>
                  </a:lnTo>
                  <a:lnTo>
                    <a:pt x="9" y="38"/>
                  </a:lnTo>
                  <a:lnTo>
                    <a:pt x="9" y="36"/>
                  </a:lnTo>
                  <a:lnTo>
                    <a:pt x="9" y="35"/>
                  </a:lnTo>
                  <a:lnTo>
                    <a:pt x="11" y="35"/>
                  </a:lnTo>
                  <a:lnTo>
                    <a:pt x="11" y="36"/>
                  </a:lnTo>
                  <a:lnTo>
                    <a:pt x="12" y="36"/>
                  </a:lnTo>
                  <a:lnTo>
                    <a:pt x="11" y="35"/>
                  </a:lnTo>
                  <a:lnTo>
                    <a:pt x="11" y="34"/>
                  </a:lnTo>
                  <a:lnTo>
                    <a:pt x="12" y="34"/>
                  </a:lnTo>
                  <a:lnTo>
                    <a:pt x="13" y="34"/>
                  </a:lnTo>
                  <a:lnTo>
                    <a:pt x="14" y="34"/>
                  </a:lnTo>
                  <a:lnTo>
                    <a:pt x="14" y="33"/>
                  </a:lnTo>
                  <a:lnTo>
                    <a:pt x="14" y="32"/>
                  </a:lnTo>
                  <a:lnTo>
                    <a:pt x="14" y="31"/>
                  </a:lnTo>
                  <a:lnTo>
                    <a:pt x="15" y="29"/>
                  </a:lnTo>
                  <a:lnTo>
                    <a:pt x="15" y="28"/>
                  </a:lnTo>
                  <a:lnTo>
                    <a:pt x="15" y="27"/>
                  </a:lnTo>
                  <a:lnTo>
                    <a:pt x="16" y="27"/>
                  </a:lnTo>
                  <a:lnTo>
                    <a:pt x="16" y="26"/>
                  </a:lnTo>
                  <a:lnTo>
                    <a:pt x="16" y="27"/>
                  </a:lnTo>
                  <a:lnTo>
                    <a:pt x="18" y="27"/>
                  </a:lnTo>
                  <a:lnTo>
                    <a:pt x="16" y="26"/>
                  </a:lnTo>
                  <a:lnTo>
                    <a:pt x="16" y="25"/>
                  </a:lnTo>
                  <a:lnTo>
                    <a:pt x="16" y="24"/>
                  </a:lnTo>
                  <a:lnTo>
                    <a:pt x="15" y="22"/>
                  </a:lnTo>
                  <a:lnTo>
                    <a:pt x="15" y="21"/>
                  </a:lnTo>
                  <a:lnTo>
                    <a:pt x="16" y="21"/>
                  </a:lnTo>
                  <a:lnTo>
                    <a:pt x="15" y="21"/>
                  </a:lnTo>
                  <a:lnTo>
                    <a:pt x="16" y="20"/>
                  </a:lnTo>
                  <a:lnTo>
                    <a:pt x="16" y="21"/>
                  </a:lnTo>
                  <a:lnTo>
                    <a:pt x="18" y="21"/>
                  </a:lnTo>
                  <a:lnTo>
                    <a:pt x="18" y="20"/>
                  </a:lnTo>
                  <a:lnTo>
                    <a:pt x="19" y="20"/>
                  </a:lnTo>
                  <a:lnTo>
                    <a:pt x="20" y="20"/>
                  </a:lnTo>
                  <a:lnTo>
                    <a:pt x="20" y="21"/>
                  </a:lnTo>
                  <a:lnTo>
                    <a:pt x="21" y="21"/>
                  </a:lnTo>
                  <a:lnTo>
                    <a:pt x="21" y="22"/>
                  </a:lnTo>
                  <a:lnTo>
                    <a:pt x="22" y="22"/>
                  </a:lnTo>
                  <a:lnTo>
                    <a:pt x="23" y="22"/>
                  </a:lnTo>
                  <a:lnTo>
                    <a:pt x="23" y="24"/>
                  </a:lnTo>
                  <a:lnTo>
                    <a:pt x="25" y="24"/>
                  </a:lnTo>
                  <a:lnTo>
                    <a:pt x="26" y="24"/>
                  </a:lnTo>
                  <a:lnTo>
                    <a:pt x="26" y="25"/>
                  </a:lnTo>
                  <a:lnTo>
                    <a:pt x="27" y="25"/>
                  </a:lnTo>
                  <a:lnTo>
                    <a:pt x="28" y="25"/>
                  </a:lnTo>
                  <a:lnTo>
                    <a:pt x="29" y="25"/>
                  </a:lnTo>
                  <a:lnTo>
                    <a:pt x="30" y="25"/>
                  </a:lnTo>
                  <a:lnTo>
                    <a:pt x="30" y="26"/>
                  </a:lnTo>
                  <a:lnTo>
                    <a:pt x="30" y="25"/>
                  </a:lnTo>
                  <a:lnTo>
                    <a:pt x="32" y="25"/>
                  </a:lnTo>
                  <a:lnTo>
                    <a:pt x="33" y="26"/>
                  </a:lnTo>
                  <a:lnTo>
                    <a:pt x="33" y="25"/>
                  </a:lnTo>
                  <a:lnTo>
                    <a:pt x="33" y="26"/>
                  </a:lnTo>
                  <a:lnTo>
                    <a:pt x="34" y="26"/>
                  </a:lnTo>
                  <a:lnTo>
                    <a:pt x="34" y="25"/>
                  </a:lnTo>
                  <a:lnTo>
                    <a:pt x="35" y="25"/>
                  </a:lnTo>
                  <a:lnTo>
                    <a:pt x="35" y="26"/>
                  </a:lnTo>
                  <a:lnTo>
                    <a:pt x="36" y="26"/>
                  </a:lnTo>
                  <a:lnTo>
                    <a:pt x="37" y="26"/>
                  </a:lnTo>
                  <a:lnTo>
                    <a:pt x="37" y="24"/>
                  </a:lnTo>
                  <a:lnTo>
                    <a:pt x="37" y="22"/>
                  </a:lnTo>
                  <a:lnTo>
                    <a:pt x="36" y="22"/>
                  </a:lnTo>
                  <a:lnTo>
                    <a:pt x="36" y="21"/>
                  </a:lnTo>
                  <a:lnTo>
                    <a:pt x="35" y="21"/>
                  </a:lnTo>
                  <a:lnTo>
                    <a:pt x="34" y="20"/>
                  </a:lnTo>
                  <a:lnTo>
                    <a:pt x="33" y="19"/>
                  </a:lnTo>
                  <a:lnTo>
                    <a:pt x="32" y="19"/>
                  </a:lnTo>
                  <a:lnTo>
                    <a:pt x="30" y="17"/>
                  </a:lnTo>
                  <a:lnTo>
                    <a:pt x="32" y="17"/>
                  </a:lnTo>
                  <a:lnTo>
                    <a:pt x="33" y="17"/>
                  </a:lnTo>
                  <a:lnTo>
                    <a:pt x="35" y="17"/>
                  </a:lnTo>
                  <a:lnTo>
                    <a:pt x="36" y="17"/>
                  </a:lnTo>
                  <a:lnTo>
                    <a:pt x="37" y="17"/>
                  </a:lnTo>
                  <a:lnTo>
                    <a:pt x="39" y="17"/>
                  </a:lnTo>
                  <a:lnTo>
                    <a:pt x="39" y="15"/>
                  </a:lnTo>
                  <a:lnTo>
                    <a:pt x="40" y="15"/>
                  </a:lnTo>
                  <a:lnTo>
                    <a:pt x="41" y="17"/>
                  </a:lnTo>
                  <a:lnTo>
                    <a:pt x="42" y="15"/>
                  </a:lnTo>
                  <a:lnTo>
                    <a:pt x="42" y="14"/>
                  </a:lnTo>
                  <a:lnTo>
                    <a:pt x="43" y="14"/>
                  </a:lnTo>
                  <a:lnTo>
                    <a:pt x="43" y="13"/>
                  </a:lnTo>
                  <a:lnTo>
                    <a:pt x="43" y="12"/>
                  </a:lnTo>
                  <a:lnTo>
                    <a:pt x="42" y="12"/>
                  </a:lnTo>
                  <a:lnTo>
                    <a:pt x="43" y="12"/>
                  </a:lnTo>
                  <a:lnTo>
                    <a:pt x="43" y="11"/>
                  </a:lnTo>
                  <a:lnTo>
                    <a:pt x="42" y="11"/>
                  </a:lnTo>
                  <a:lnTo>
                    <a:pt x="43" y="11"/>
                  </a:lnTo>
                  <a:lnTo>
                    <a:pt x="43" y="10"/>
                  </a:lnTo>
                  <a:lnTo>
                    <a:pt x="44" y="10"/>
                  </a:lnTo>
                  <a:lnTo>
                    <a:pt x="45" y="10"/>
                  </a:lnTo>
                  <a:lnTo>
                    <a:pt x="45" y="11"/>
                  </a:lnTo>
                  <a:lnTo>
                    <a:pt x="47" y="11"/>
                  </a:lnTo>
                  <a:lnTo>
                    <a:pt x="47" y="10"/>
                  </a:lnTo>
                  <a:lnTo>
                    <a:pt x="48" y="10"/>
                  </a:lnTo>
                  <a:lnTo>
                    <a:pt x="48" y="8"/>
                  </a:lnTo>
                  <a:lnTo>
                    <a:pt x="47" y="8"/>
                  </a:lnTo>
                  <a:lnTo>
                    <a:pt x="47" y="7"/>
                  </a:lnTo>
                  <a:lnTo>
                    <a:pt x="47" y="6"/>
                  </a:lnTo>
                  <a:lnTo>
                    <a:pt x="45" y="6"/>
                  </a:lnTo>
                  <a:lnTo>
                    <a:pt x="45" y="5"/>
                  </a:lnTo>
                  <a:lnTo>
                    <a:pt x="45" y="4"/>
                  </a:lnTo>
                  <a:lnTo>
                    <a:pt x="45" y="3"/>
                  </a:lnTo>
                  <a:lnTo>
                    <a:pt x="44" y="1"/>
                  </a:lnTo>
                  <a:lnTo>
                    <a:pt x="45" y="1"/>
                  </a:lnTo>
                  <a:lnTo>
                    <a:pt x="44" y="1"/>
                  </a:lnTo>
                  <a:lnTo>
                    <a:pt x="45" y="1"/>
                  </a:lnTo>
                  <a:lnTo>
                    <a:pt x="45" y="0"/>
                  </a:lnTo>
                  <a:lnTo>
                    <a:pt x="47"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22" name="Freeform 980">
              <a:extLst>
                <a:ext uri="{FF2B5EF4-FFF2-40B4-BE49-F238E27FC236}">
                  <a16:creationId xmlns:a16="http://schemas.microsoft.com/office/drawing/2014/main" id="{07B0AB90-CC2F-4399-9A19-6DDF624F6555}"/>
                </a:ext>
              </a:extLst>
            </p:cNvPr>
            <p:cNvSpPr>
              <a:spLocks/>
            </p:cNvSpPr>
            <p:nvPr/>
          </p:nvSpPr>
          <p:spPr bwMode="auto">
            <a:xfrm>
              <a:off x="4664586" y="3755852"/>
              <a:ext cx="157588" cy="176284"/>
            </a:xfrm>
            <a:custGeom>
              <a:avLst/>
              <a:gdLst>
                <a:gd name="T0" fmla="*/ 59 w 118"/>
                <a:gd name="T1" fmla="*/ 17 h 132"/>
                <a:gd name="T2" fmla="*/ 63 w 118"/>
                <a:gd name="T3" fmla="*/ 23 h 132"/>
                <a:gd name="T4" fmla="*/ 64 w 118"/>
                <a:gd name="T5" fmla="*/ 27 h 132"/>
                <a:gd name="T6" fmla="*/ 64 w 118"/>
                <a:gd name="T7" fmla="*/ 33 h 132"/>
                <a:gd name="T8" fmla="*/ 64 w 118"/>
                <a:gd name="T9" fmla="*/ 41 h 132"/>
                <a:gd name="T10" fmla="*/ 66 w 118"/>
                <a:gd name="T11" fmla="*/ 45 h 132"/>
                <a:gd name="T12" fmla="*/ 72 w 118"/>
                <a:gd name="T13" fmla="*/ 45 h 132"/>
                <a:gd name="T14" fmla="*/ 78 w 118"/>
                <a:gd name="T15" fmla="*/ 47 h 132"/>
                <a:gd name="T16" fmla="*/ 84 w 118"/>
                <a:gd name="T17" fmla="*/ 45 h 132"/>
                <a:gd name="T18" fmla="*/ 89 w 118"/>
                <a:gd name="T19" fmla="*/ 48 h 132"/>
                <a:gd name="T20" fmla="*/ 96 w 118"/>
                <a:gd name="T21" fmla="*/ 51 h 132"/>
                <a:gd name="T22" fmla="*/ 98 w 118"/>
                <a:gd name="T23" fmla="*/ 59 h 132"/>
                <a:gd name="T24" fmla="*/ 99 w 118"/>
                <a:gd name="T25" fmla="*/ 68 h 132"/>
                <a:gd name="T26" fmla="*/ 103 w 118"/>
                <a:gd name="T27" fmla="*/ 75 h 132"/>
                <a:gd name="T28" fmla="*/ 110 w 118"/>
                <a:gd name="T29" fmla="*/ 72 h 132"/>
                <a:gd name="T30" fmla="*/ 118 w 118"/>
                <a:gd name="T31" fmla="*/ 75 h 132"/>
                <a:gd name="T32" fmla="*/ 118 w 118"/>
                <a:gd name="T33" fmla="*/ 80 h 132"/>
                <a:gd name="T34" fmla="*/ 116 w 118"/>
                <a:gd name="T35" fmla="*/ 84 h 132"/>
                <a:gd name="T36" fmla="*/ 116 w 118"/>
                <a:gd name="T37" fmla="*/ 87 h 132"/>
                <a:gd name="T38" fmla="*/ 111 w 118"/>
                <a:gd name="T39" fmla="*/ 89 h 132"/>
                <a:gd name="T40" fmla="*/ 115 w 118"/>
                <a:gd name="T41" fmla="*/ 91 h 132"/>
                <a:gd name="T42" fmla="*/ 115 w 118"/>
                <a:gd name="T43" fmla="*/ 92 h 132"/>
                <a:gd name="T44" fmla="*/ 114 w 118"/>
                <a:gd name="T45" fmla="*/ 96 h 132"/>
                <a:gd name="T46" fmla="*/ 115 w 118"/>
                <a:gd name="T47" fmla="*/ 102 h 132"/>
                <a:gd name="T48" fmla="*/ 115 w 118"/>
                <a:gd name="T49" fmla="*/ 111 h 132"/>
                <a:gd name="T50" fmla="*/ 113 w 118"/>
                <a:gd name="T51" fmla="*/ 116 h 132"/>
                <a:gd name="T52" fmla="*/ 108 w 118"/>
                <a:gd name="T53" fmla="*/ 121 h 132"/>
                <a:gd name="T54" fmla="*/ 105 w 118"/>
                <a:gd name="T55" fmla="*/ 126 h 132"/>
                <a:gd name="T56" fmla="*/ 101 w 118"/>
                <a:gd name="T57" fmla="*/ 127 h 132"/>
                <a:gd name="T58" fmla="*/ 96 w 118"/>
                <a:gd name="T59" fmla="*/ 130 h 132"/>
                <a:gd name="T60" fmla="*/ 91 w 118"/>
                <a:gd name="T61" fmla="*/ 129 h 132"/>
                <a:gd name="T62" fmla="*/ 84 w 118"/>
                <a:gd name="T63" fmla="*/ 129 h 132"/>
                <a:gd name="T64" fmla="*/ 73 w 118"/>
                <a:gd name="T65" fmla="*/ 127 h 132"/>
                <a:gd name="T66" fmla="*/ 64 w 118"/>
                <a:gd name="T67" fmla="*/ 126 h 132"/>
                <a:gd name="T68" fmla="*/ 65 w 118"/>
                <a:gd name="T69" fmla="*/ 122 h 132"/>
                <a:gd name="T70" fmla="*/ 68 w 118"/>
                <a:gd name="T71" fmla="*/ 119 h 132"/>
                <a:gd name="T72" fmla="*/ 69 w 118"/>
                <a:gd name="T73" fmla="*/ 113 h 132"/>
                <a:gd name="T74" fmla="*/ 69 w 118"/>
                <a:gd name="T75" fmla="*/ 108 h 132"/>
                <a:gd name="T76" fmla="*/ 71 w 118"/>
                <a:gd name="T77" fmla="*/ 105 h 132"/>
                <a:gd name="T78" fmla="*/ 75 w 118"/>
                <a:gd name="T79" fmla="*/ 100 h 132"/>
                <a:gd name="T80" fmla="*/ 72 w 118"/>
                <a:gd name="T81" fmla="*/ 94 h 132"/>
                <a:gd name="T82" fmla="*/ 66 w 118"/>
                <a:gd name="T83" fmla="*/ 91 h 132"/>
                <a:gd name="T84" fmla="*/ 54 w 118"/>
                <a:gd name="T85" fmla="*/ 85 h 132"/>
                <a:gd name="T86" fmla="*/ 48 w 118"/>
                <a:gd name="T87" fmla="*/ 82 h 132"/>
                <a:gd name="T88" fmla="*/ 39 w 118"/>
                <a:gd name="T89" fmla="*/ 75 h 132"/>
                <a:gd name="T90" fmla="*/ 32 w 118"/>
                <a:gd name="T91" fmla="*/ 73 h 132"/>
                <a:gd name="T92" fmla="*/ 26 w 118"/>
                <a:gd name="T93" fmla="*/ 72 h 132"/>
                <a:gd name="T94" fmla="*/ 22 w 118"/>
                <a:gd name="T95" fmla="*/ 68 h 132"/>
                <a:gd name="T96" fmla="*/ 16 w 118"/>
                <a:gd name="T97" fmla="*/ 63 h 132"/>
                <a:gd name="T98" fmla="*/ 11 w 118"/>
                <a:gd name="T99" fmla="*/ 57 h 132"/>
                <a:gd name="T100" fmla="*/ 7 w 118"/>
                <a:gd name="T101" fmla="*/ 52 h 132"/>
                <a:gd name="T102" fmla="*/ 4 w 118"/>
                <a:gd name="T103" fmla="*/ 50 h 132"/>
                <a:gd name="T104" fmla="*/ 0 w 118"/>
                <a:gd name="T105" fmla="*/ 45 h 132"/>
                <a:gd name="T106" fmla="*/ 2 w 118"/>
                <a:gd name="T107" fmla="*/ 34 h 132"/>
                <a:gd name="T108" fmla="*/ 4 w 118"/>
                <a:gd name="T109" fmla="*/ 22 h 132"/>
                <a:gd name="T110" fmla="*/ 6 w 118"/>
                <a:gd name="T111" fmla="*/ 15 h 132"/>
                <a:gd name="T112" fmla="*/ 8 w 118"/>
                <a:gd name="T113" fmla="*/ 7 h 132"/>
                <a:gd name="T114" fmla="*/ 26 w 118"/>
                <a:gd name="T115" fmla="*/ 2 h 132"/>
                <a:gd name="T116" fmla="*/ 44 w 118"/>
                <a:gd name="T117" fmla="*/ 0 h 132"/>
                <a:gd name="T118" fmla="*/ 52 w 118"/>
                <a:gd name="T119" fmla="*/ 5 h 132"/>
                <a:gd name="T120" fmla="*/ 58 w 118"/>
                <a:gd name="T121" fmla="*/ 1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8" h="132">
                  <a:moveTo>
                    <a:pt x="58" y="14"/>
                  </a:moveTo>
                  <a:lnTo>
                    <a:pt x="59" y="14"/>
                  </a:lnTo>
                  <a:lnTo>
                    <a:pt x="59" y="15"/>
                  </a:lnTo>
                  <a:lnTo>
                    <a:pt x="58" y="15"/>
                  </a:lnTo>
                  <a:lnTo>
                    <a:pt x="59" y="15"/>
                  </a:lnTo>
                  <a:lnTo>
                    <a:pt x="59" y="16"/>
                  </a:lnTo>
                  <a:lnTo>
                    <a:pt x="59" y="17"/>
                  </a:lnTo>
                  <a:lnTo>
                    <a:pt x="61" y="17"/>
                  </a:lnTo>
                  <a:lnTo>
                    <a:pt x="62" y="19"/>
                  </a:lnTo>
                  <a:lnTo>
                    <a:pt x="62" y="20"/>
                  </a:lnTo>
                  <a:lnTo>
                    <a:pt x="62" y="21"/>
                  </a:lnTo>
                  <a:lnTo>
                    <a:pt x="62" y="22"/>
                  </a:lnTo>
                  <a:lnTo>
                    <a:pt x="63" y="22"/>
                  </a:lnTo>
                  <a:lnTo>
                    <a:pt x="63" y="23"/>
                  </a:lnTo>
                  <a:lnTo>
                    <a:pt x="64" y="23"/>
                  </a:lnTo>
                  <a:lnTo>
                    <a:pt x="63" y="23"/>
                  </a:lnTo>
                  <a:lnTo>
                    <a:pt x="63" y="24"/>
                  </a:lnTo>
                  <a:lnTo>
                    <a:pt x="64" y="24"/>
                  </a:lnTo>
                  <a:lnTo>
                    <a:pt x="63" y="26"/>
                  </a:lnTo>
                  <a:lnTo>
                    <a:pt x="64" y="26"/>
                  </a:lnTo>
                  <a:lnTo>
                    <a:pt x="64" y="27"/>
                  </a:lnTo>
                  <a:lnTo>
                    <a:pt x="64" y="26"/>
                  </a:lnTo>
                  <a:lnTo>
                    <a:pt x="64" y="27"/>
                  </a:lnTo>
                  <a:lnTo>
                    <a:pt x="64" y="28"/>
                  </a:lnTo>
                  <a:lnTo>
                    <a:pt x="64" y="29"/>
                  </a:lnTo>
                  <a:lnTo>
                    <a:pt x="64" y="30"/>
                  </a:lnTo>
                  <a:lnTo>
                    <a:pt x="64" y="31"/>
                  </a:lnTo>
                  <a:lnTo>
                    <a:pt x="64" y="33"/>
                  </a:lnTo>
                  <a:lnTo>
                    <a:pt x="64" y="34"/>
                  </a:lnTo>
                  <a:lnTo>
                    <a:pt x="63" y="35"/>
                  </a:lnTo>
                  <a:lnTo>
                    <a:pt x="64" y="36"/>
                  </a:lnTo>
                  <a:lnTo>
                    <a:pt x="64" y="37"/>
                  </a:lnTo>
                  <a:lnTo>
                    <a:pt x="64" y="38"/>
                  </a:lnTo>
                  <a:lnTo>
                    <a:pt x="64" y="40"/>
                  </a:lnTo>
                  <a:lnTo>
                    <a:pt x="64" y="41"/>
                  </a:lnTo>
                  <a:lnTo>
                    <a:pt x="64" y="42"/>
                  </a:lnTo>
                  <a:lnTo>
                    <a:pt x="64" y="43"/>
                  </a:lnTo>
                  <a:lnTo>
                    <a:pt x="64" y="44"/>
                  </a:lnTo>
                  <a:lnTo>
                    <a:pt x="65" y="45"/>
                  </a:lnTo>
                  <a:lnTo>
                    <a:pt x="65" y="44"/>
                  </a:lnTo>
                  <a:lnTo>
                    <a:pt x="65" y="45"/>
                  </a:lnTo>
                  <a:lnTo>
                    <a:pt x="66" y="45"/>
                  </a:lnTo>
                  <a:lnTo>
                    <a:pt x="66" y="44"/>
                  </a:lnTo>
                  <a:lnTo>
                    <a:pt x="68" y="44"/>
                  </a:lnTo>
                  <a:lnTo>
                    <a:pt x="69" y="44"/>
                  </a:lnTo>
                  <a:lnTo>
                    <a:pt x="69" y="45"/>
                  </a:lnTo>
                  <a:lnTo>
                    <a:pt x="70" y="45"/>
                  </a:lnTo>
                  <a:lnTo>
                    <a:pt x="71" y="45"/>
                  </a:lnTo>
                  <a:lnTo>
                    <a:pt x="72" y="45"/>
                  </a:lnTo>
                  <a:lnTo>
                    <a:pt x="72" y="47"/>
                  </a:lnTo>
                  <a:lnTo>
                    <a:pt x="73" y="47"/>
                  </a:lnTo>
                  <a:lnTo>
                    <a:pt x="75" y="45"/>
                  </a:lnTo>
                  <a:lnTo>
                    <a:pt x="75" y="47"/>
                  </a:lnTo>
                  <a:lnTo>
                    <a:pt x="76" y="47"/>
                  </a:lnTo>
                  <a:lnTo>
                    <a:pt x="77" y="47"/>
                  </a:lnTo>
                  <a:lnTo>
                    <a:pt x="78" y="47"/>
                  </a:lnTo>
                  <a:lnTo>
                    <a:pt x="79" y="47"/>
                  </a:lnTo>
                  <a:lnTo>
                    <a:pt x="79" y="48"/>
                  </a:lnTo>
                  <a:lnTo>
                    <a:pt x="80" y="47"/>
                  </a:lnTo>
                  <a:lnTo>
                    <a:pt x="82" y="47"/>
                  </a:lnTo>
                  <a:lnTo>
                    <a:pt x="83" y="47"/>
                  </a:lnTo>
                  <a:lnTo>
                    <a:pt x="83" y="45"/>
                  </a:lnTo>
                  <a:lnTo>
                    <a:pt x="84" y="45"/>
                  </a:lnTo>
                  <a:lnTo>
                    <a:pt x="84" y="44"/>
                  </a:lnTo>
                  <a:lnTo>
                    <a:pt x="85" y="44"/>
                  </a:lnTo>
                  <a:lnTo>
                    <a:pt x="86" y="45"/>
                  </a:lnTo>
                  <a:lnTo>
                    <a:pt x="86" y="47"/>
                  </a:lnTo>
                  <a:lnTo>
                    <a:pt x="87" y="47"/>
                  </a:lnTo>
                  <a:lnTo>
                    <a:pt x="89" y="47"/>
                  </a:lnTo>
                  <a:lnTo>
                    <a:pt x="89" y="48"/>
                  </a:lnTo>
                  <a:lnTo>
                    <a:pt x="91" y="48"/>
                  </a:lnTo>
                  <a:lnTo>
                    <a:pt x="92" y="48"/>
                  </a:lnTo>
                  <a:lnTo>
                    <a:pt x="93" y="48"/>
                  </a:lnTo>
                  <a:lnTo>
                    <a:pt x="94" y="49"/>
                  </a:lnTo>
                  <a:lnTo>
                    <a:pt x="94" y="50"/>
                  </a:lnTo>
                  <a:lnTo>
                    <a:pt x="94" y="51"/>
                  </a:lnTo>
                  <a:lnTo>
                    <a:pt x="96" y="51"/>
                  </a:lnTo>
                  <a:lnTo>
                    <a:pt x="96" y="52"/>
                  </a:lnTo>
                  <a:lnTo>
                    <a:pt x="97" y="52"/>
                  </a:lnTo>
                  <a:lnTo>
                    <a:pt x="97" y="54"/>
                  </a:lnTo>
                  <a:lnTo>
                    <a:pt x="97" y="55"/>
                  </a:lnTo>
                  <a:lnTo>
                    <a:pt x="97" y="56"/>
                  </a:lnTo>
                  <a:lnTo>
                    <a:pt x="97" y="58"/>
                  </a:lnTo>
                  <a:lnTo>
                    <a:pt x="98" y="59"/>
                  </a:lnTo>
                  <a:lnTo>
                    <a:pt x="98" y="61"/>
                  </a:lnTo>
                  <a:lnTo>
                    <a:pt x="99" y="62"/>
                  </a:lnTo>
                  <a:lnTo>
                    <a:pt x="99" y="63"/>
                  </a:lnTo>
                  <a:lnTo>
                    <a:pt x="99" y="64"/>
                  </a:lnTo>
                  <a:lnTo>
                    <a:pt x="99" y="65"/>
                  </a:lnTo>
                  <a:lnTo>
                    <a:pt x="99" y="66"/>
                  </a:lnTo>
                  <a:lnTo>
                    <a:pt x="99" y="68"/>
                  </a:lnTo>
                  <a:lnTo>
                    <a:pt x="99" y="69"/>
                  </a:lnTo>
                  <a:lnTo>
                    <a:pt x="100" y="69"/>
                  </a:lnTo>
                  <a:lnTo>
                    <a:pt x="100" y="70"/>
                  </a:lnTo>
                  <a:lnTo>
                    <a:pt x="101" y="70"/>
                  </a:lnTo>
                  <a:lnTo>
                    <a:pt x="101" y="73"/>
                  </a:lnTo>
                  <a:lnTo>
                    <a:pt x="101" y="75"/>
                  </a:lnTo>
                  <a:lnTo>
                    <a:pt x="103" y="75"/>
                  </a:lnTo>
                  <a:lnTo>
                    <a:pt x="104" y="75"/>
                  </a:lnTo>
                  <a:lnTo>
                    <a:pt x="105" y="75"/>
                  </a:lnTo>
                  <a:lnTo>
                    <a:pt x="106" y="75"/>
                  </a:lnTo>
                  <a:lnTo>
                    <a:pt x="107" y="75"/>
                  </a:lnTo>
                  <a:lnTo>
                    <a:pt x="108" y="75"/>
                  </a:lnTo>
                  <a:lnTo>
                    <a:pt x="108" y="73"/>
                  </a:lnTo>
                  <a:lnTo>
                    <a:pt x="110" y="72"/>
                  </a:lnTo>
                  <a:lnTo>
                    <a:pt x="111" y="72"/>
                  </a:lnTo>
                  <a:lnTo>
                    <a:pt x="112" y="72"/>
                  </a:lnTo>
                  <a:lnTo>
                    <a:pt x="112" y="71"/>
                  </a:lnTo>
                  <a:lnTo>
                    <a:pt x="114" y="73"/>
                  </a:lnTo>
                  <a:lnTo>
                    <a:pt x="115" y="73"/>
                  </a:lnTo>
                  <a:lnTo>
                    <a:pt x="115" y="75"/>
                  </a:lnTo>
                  <a:lnTo>
                    <a:pt x="118" y="75"/>
                  </a:lnTo>
                  <a:lnTo>
                    <a:pt x="118" y="76"/>
                  </a:lnTo>
                  <a:lnTo>
                    <a:pt x="116" y="76"/>
                  </a:lnTo>
                  <a:lnTo>
                    <a:pt x="116" y="77"/>
                  </a:lnTo>
                  <a:lnTo>
                    <a:pt x="116" y="78"/>
                  </a:lnTo>
                  <a:lnTo>
                    <a:pt x="116" y="79"/>
                  </a:lnTo>
                  <a:lnTo>
                    <a:pt x="118" y="79"/>
                  </a:lnTo>
                  <a:lnTo>
                    <a:pt x="118" y="80"/>
                  </a:lnTo>
                  <a:lnTo>
                    <a:pt x="116" y="82"/>
                  </a:lnTo>
                  <a:lnTo>
                    <a:pt x="115" y="80"/>
                  </a:lnTo>
                  <a:lnTo>
                    <a:pt x="116" y="82"/>
                  </a:lnTo>
                  <a:lnTo>
                    <a:pt x="116" y="83"/>
                  </a:lnTo>
                  <a:lnTo>
                    <a:pt x="115" y="83"/>
                  </a:lnTo>
                  <a:lnTo>
                    <a:pt x="115" y="84"/>
                  </a:lnTo>
                  <a:lnTo>
                    <a:pt x="116" y="84"/>
                  </a:lnTo>
                  <a:lnTo>
                    <a:pt x="116" y="85"/>
                  </a:lnTo>
                  <a:lnTo>
                    <a:pt x="116" y="86"/>
                  </a:lnTo>
                  <a:lnTo>
                    <a:pt x="115" y="86"/>
                  </a:lnTo>
                  <a:lnTo>
                    <a:pt x="113" y="86"/>
                  </a:lnTo>
                  <a:lnTo>
                    <a:pt x="115" y="86"/>
                  </a:lnTo>
                  <a:lnTo>
                    <a:pt x="116" y="86"/>
                  </a:lnTo>
                  <a:lnTo>
                    <a:pt x="116" y="87"/>
                  </a:lnTo>
                  <a:lnTo>
                    <a:pt x="115" y="87"/>
                  </a:lnTo>
                  <a:lnTo>
                    <a:pt x="116" y="89"/>
                  </a:lnTo>
                  <a:lnTo>
                    <a:pt x="115" y="89"/>
                  </a:lnTo>
                  <a:lnTo>
                    <a:pt x="114" y="89"/>
                  </a:lnTo>
                  <a:lnTo>
                    <a:pt x="113" y="89"/>
                  </a:lnTo>
                  <a:lnTo>
                    <a:pt x="112" y="89"/>
                  </a:lnTo>
                  <a:lnTo>
                    <a:pt x="111" y="89"/>
                  </a:lnTo>
                  <a:lnTo>
                    <a:pt x="112" y="89"/>
                  </a:lnTo>
                  <a:lnTo>
                    <a:pt x="113" y="89"/>
                  </a:lnTo>
                  <a:lnTo>
                    <a:pt x="114" y="89"/>
                  </a:lnTo>
                  <a:lnTo>
                    <a:pt x="115" y="90"/>
                  </a:lnTo>
                  <a:lnTo>
                    <a:pt x="115" y="91"/>
                  </a:lnTo>
                  <a:lnTo>
                    <a:pt x="115" y="92"/>
                  </a:lnTo>
                  <a:lnTo>
                    <a:pt x="115" y="91"/>
                  </a:lnTo>
                  <a:lnTo>
                    <a:pt x="114" y="91"/>
                  </a:lnTo>
                  <a:lnTo>
                    <a:pt x="113" y="91"/>
                  </a:lnTo>
                  <a:lnTo>
                    <a:pt x="112" y="91"/>
                  </a:lnTo>
                  <a:lnTo>
                    <a:pt x="112" y="92"/>
                  </a:lnTo>
                  <a:lnTo>
                    <a:pt x="113" y="92"/>
                  </a:lnTo>
                  <a:lnTo>
                    <a:pt x="114" y="92"/>
                  </a:lnTo>
                  <a:lnTo>
                    <a:pt x="115" y="92"/>
                  </a:lnTo>
                  <a:lnTo>
                    <a:pt x="114" y="92"/>
                  </a:lnTo>
                  <a:lnTo>
                    <a:pt x="115" y="92"/>
                  </a:lnTo>
                  <a:lnTo>
                    <a:pt x="116" y="93"/>
                  </a:lnTo>
                  <a:lnTo>
                    <a:pt x="115" y="93"/>
                  </a:lnTo>
                  <a:lnTo>
                    <a:pt x="115" y="94"/>
                  </a:lnTo>
                  <a:lnTo>
                    <a:pt x="114" y="94"/>
                  </a:lnTo>
                  <a:lnTo>
                    <a:pt x="114" y="96"/>
                  </a:lnTo>
                  <a:lnTo>
                    <a:pt x="114" y="97"/>
                  </a:lnTo>
                  <a:lnTo>
                    <a:pt x="115" y="97"/>
                  </a:lnTo>
                  <a:lnTo>
                    <a:pt x="115" y="98"/>
                  </a:lnTo>
                  <a:lnTo>
                    <a:pt x="115" y="99"/>
                  </a:lnTo>
                  <a:lnTo>
                    <a:pt x="115" y="100"/>
                  </a:lnTo>
                  <a:lnTo>
                    <a:pt x="115" y="101"/>
                  </a:lnTo>
                  <a:lnTo>
                    <a:pt x="115" y="102"/>
                  </a:lnTo>
                  <a:lnTo>
                    <a:pt x="115" y="104"/>
                  </a:lnTo>
                  <a:lnTo>
                    <a:pt x="115" y="105"/>
                  </a:lnTo>
                  <a:lnTo>
                    <a:pt x="115" y="106"/>
                  </a:lnTo>
                  <a:lnTo>
                    <a:pt x="115" y="107"/>
                  </a:lnTo>
                  <a:lnTo>
                    <a:pt x="115" y="108"/>
                  </a:lnTo>
                  <a:lnTo>
                    <a:pt x="115" y="109"/>
                  </a:lnTo>
                  <a:lnTo>
                    <a:pt x="115" y="111"/>
                  </a:lnTo>
                  <a:lnTo>
                    <a:pt x="115" y="112"/>
                  </a:lnTo>
                  <a:lnTo>
                    <a:pt x="115" y="113"/>
                  </a:lnTo>
                  <a:lnTo>
                    <a:pt x="115" y="114"/>
                  </a:lnTo>
                  <a:lnTo>
                    <a:pt x="114" y="114"/>
                  </a:lnTo>
                  <a:lnTo>
                    <a:pt x="114" y="115"/>
                  </a:lnTo>
                  <a:lnTo>
                    <a:pt x="114" y="116"/>
                  </a:lnTo>
                  <a:lnTo>
                    <a:pt x="113" y="116"/>
                  </a:lnTo>
                  <a:lnTo>
                    <a:pt x="113" y="118"/>
                  </a:lnTo>
                  <a:lnTo>
                    <a:pt x="113" y="119"/>
                  </a:lnTo>
                  <a:lnTo>
                    <a:pt x="112" y="119"/>
                  </a:lnTo>
                  <a:lnTo>
                    <a:pt x="111" y="120"/>
                  </a:lnTo>
                  <a:lnTo>
                    <a:pt x="111" y="121"/>
                  </a:lnTo>
                  <a:lnTo>
                    <a:pt x="110" y="121"/>
                  </a:lnTo>
                  <a:lnTo>
                    <a:pt x="108" y="121"/>
                  </a:lnTo>
                  <a:lnTo>
                    <a:pt x="107" y="121"/>
                  </a:lnTo>
                  <a:lnTo>
                    <a:pt x="107" y="122"/>
                  </a:lnTo>
                  <a:lnTo>
                    <a:pt x="106" y="122"/>
                  </a:lnTo>
                  <a:lnTo>
                    <a:pt x="106" y="123"/>
                  </a:lnTo>
                  <a:lnTo>
                    <a:pt x="105" y="123"/>
                  </a:lnTo>
                  <a:lnTo>
                    <a:pt x="105" y="125"/>
                  </a:lnTo>
                  <a:lnTo>
                    <a:pt x="105" y="126"/>
                  </a:lnTo>
                  <a:lnTo>
                    <a:pt x="105" y="127"/>
                  </a:lnTo>
                  <a:lnTo>
                    <a:pt x="105" y="128"/>
                  </a:lnTo>
                  <a:lnTo>
                    <a:pt x="104" y="128"/>
                  </a:lnTo>
                  <a:lnTo>
                    <a:pt x="104" y="129"/>
                  </a:lnTo>
                  <a:lnTo>
                    <a:pt x="103" y="128"/>
                  </a:lnTo>
                  <a:lnTo>
                    <a:pt x="101" y="128"/>
                  </a:lnTo>
                  <a:lnTo>
                    <a:pt x="101" y="127"/>
                  </a:lnTo>
                  <a:lnTo>
                    <a:pt x="100" y="127"/>
                  </a:lnTo>
                  <a:lnTo>
                    <a:pt x="99" y="127"/>
                  </a:lnTo>
                  <a:lnTo>
                    <a:pt x="98" y="127"/>
                  </a:lnTo>
                  <a:lnTo>
                    <a:pt x="97" y="128"/>
                  </a:lnTo>
                  <a:lnTo>
                    <a:pt x="96" y="128"/>
                  </a:lnTo>
                  <a:lnTo>
                    <a:pt x="96" y="129"/>
                  </a:lnTo>
                  <a:lnTo>
                    <a:pt x="96" y="130"/>
                  </a:lnTo>
                  <a:lnTo>
                    <a:pt x="96" y="132"/>
                  </a:lnTo>
                  <a:lnTo>
                    <a:pt x="94" y="132"/>
                  </a:lnTo>
                  <a:lnTo>
                    <a:pt x="94" y="130"/>
                  </a:lnTo>
                  <a:lnTo>
                    <a:pt x="93" y="130"/>
                  </a:lnTo>
                  <a:lnTo>
                    <a:pt x="93" y="129"/>
                  </a:lnTo>
                  <a:lnTo>
                    <a:pt x="92" y="129"/>
                  </a:lnTo>
                  <a:lnTo>
                    <a:pt x="91" y="129"/>
                  </a:lnTo>
                  <a:lnTo>
                    <a:pt x="90" y="129"/>
                  </a:lnTo>
                  <a:lnTo>
                    <a:pt x="90" y="130"/>
                  </a:lnTo>
                  <a:lnTo>
                    <a:pt x="89" y="129"/>
                  </a:lnTo>
                  <a:lnTo>
                    <a:pt x="87" y="128"/>
                  </a:lnTo>
                  <a:lnTo>
                    <a:pt x="86" y="129"/>
                  </a:lnTo>
                  <a:lnTo>
                    <a:pt x="85" y="129"/>
                  </a:lnTo>
                  <a:lnTo>
                    <a:pt x="84" y="129"/>
                  </a:lnTo>
                  <a:lnTo>
                    <a:pt x="83" y="129"/>
                  </a:lnTo>
                  <a:lnTo>
                    <a:pt x="82" y="129"/>
                  </a:lnTo>
                  <a:lnTo>
                    <a:pt x="82" y="128"/>
                  </a:lnTo>
                  <a:lnTo>
                    <a:pt x="79" y="128"/>
                  </a:lnTo>
                  <a:lnTo>
                    <a:pt x="77" y="127"/>
                  </a:lnTo>
                  <a:lnTo>
                    <a:pt x="75" y="127"/>
                  </a:lnTo>
                  <a:lnTo>
                    <a:pt x="73" y="127"/>
                  </a:lnTo>
                  <a:lnTo>
                    <a:pt x="73" y="126"/>
                  </a:lnTo>
                  <a:lnTo>
                    <a:pt x="72" y="126"/>
                  </a:lnTo>
                  <a:lnTo>
                    <a:pt x="71" y="126"/>
                  </a:lnTo>
                  <a:lnTo>
                    <a:pt x="69" y="126"/>
                  </a:lnTo>
                  <a:lnTo>
                    <a:pt x="65" y="126"/>
                  </a:lnTo>
                  <a:lnTo>
                    <a:pt x="64" y="127"/>
                  </a:lnTo>
                  <a:lnTo>
                    <a:pt x="64" y="126"/>
                  </a:lnTo>
                  <a:lnTo>
                    <a:pt x="63" y="125"/>
                  </a:lnTo>
                  <a:lnTo>
                    <a:pt x="64" y="125"/>
                  </a:lnTo>
                  <a:lnTo>
                    <a:pt x="64" y="123"/>
                  </a:lnTo>
                  <a:lnTo>
                    <a:pt x="64" y="122"/>
                  </a:lnTo>
                  <a:lnTo>
                    <a:pt x="65" y="122"/>
                  </a:lnTo>
                  <a:lnTo>
                    <a:pt x="65" y="123"/>
                  </a:lnTo>
                  <a:lnTo>
                    <a:pt x="65" y="122"/>
                  </a:lnTo>
                  <a:lnTo>
                    <a:pt x="65" y="121"/>
                  </a:lnTo>
                  <a:lnTo>
                    <a:pt x="66" y="121"/>
                  </a:lnTo>
                  <a:lnTo>
                    <a:pt x="66" y="120"/>
                  </a:lnTo>
                  <a:lnTo>
                    <a:pt x="68" y="120"/>
                  </a:lnTo>
                  <a:lnTo>
                    <a:pt x="66" y="120"/>
                  </a:lnTo>
                  <a:lnTo>
                    <a:pt x="66" y="119"/>
                  </a:lnTo>
                  <a:lnTo>
                    <a:pt x="68" y="119"/>
                  </a:lnTo>
                  <a:lnTo>
                    <a:pt x="68" y="118"/>
                  </a:lnTo>
                  <a:lnTo>
                    <a:pt x="68" y="116"/>
                  </a:lnTo>
                  <a:lnTo>
                    <a:pt x="69" y="116"/>
                  </a:lnTo>
                  <a:lnTo>
                    <a:pt x="69" y="115"/>
                  </a:lnTo>
                  <a:lnTo>
                    <a:pt x="68" y="115"/>
                  </a:lnTo>
                  <a:lnTo>
                    <a:pt x="68" y="114"/>
                  </a:lnTo>
                  <a:lnTo>
                    <a:pt x="69" y="113"/>
                  </a:lnTo>
                  <a:lnTo>
                    <a:pt x="68" y="113"/>
                  </a:lnTo>
                  <a:lnTo>
                    <a:pt x="69" y="112"/>
                  </a:lnTo>
                  <a:lnTo>
                    <a:pt x="69" y="111"/>
                  </a:lnTo>
                  <a:lnTo>
                    <a:pt x="68" y="111"/>
                  </a:lnTo>
                  <a:lnTo>
                    <a:pt x="69" y="111"/>
                  </a:lnTo>
                  <a:lnTo>
                    <a:pt x="69" y="109"/>
                  </a:lnTo>
                  <a:lnTo>
                    <a:pt x="69" y="108"/>
                  </a:lnTo>
                  <a:lnTo>
                    <a:pt x="70" y="108"/>
                  </a:lnTo>
                  <a:lnTo>
                    <a:pt x="70" y="107"/>
                  </a:lnTo>
                  <a:lnTo>
                    <a:pt x="72" y="106"/>
                  </a:lnTo>
                  <a:lnTo>
                    <a:pt x="71" y="106"/>
                  </a:lnTo>
                  <a:lnTo>
                    <a:pt x="71" y="105"/>
                  </a:lnTo>
                  <a:lnTo>
                    <a:pt x="72" y="105"/>
                  </a:lnTo>
                  <a:lnTo>
                    <a:pt x="71" y="105"/>
                  </a:lnTo>
                  <a:lnTo>
                    <a:pt x="71" y="104"/>
                  </a:lnTo>
                  <a:lnTo>
                    <a:pt x="72" y="104"/>
                  </a:lnTo>
                  <a:lnTo>
                    <a:pt x="72" y="102"/>
                  </a:lnTo>
                  <a:lnTo>
                    <a:pt x="73" y="101"/>
                  </a:lnTo>
                  <a:lnTo>
                    <a:pt x="72" y="101"/>
                  </a:lnTo>
                  <a:lnTo>
                    <a:pt x="73" y="100"/>
                  </a:lnTo>
                  <a:lnTo>
                    <a:pt x="75" y="100"/>
                  </a:lnTo>
                  <a:lnTo>
                    <a:pt x="75" y="99"/>
                  </a:lnTo>
                  <a:lnTo>
                    <a:pt x="75" y="98"/>
                  </a:lnTo>
                  <a:lnTo>
                    <a:pt x="75" y="97"/>
                  </a:lnTo>
                  <a:lnTo>
                    <a:pt x="73" y="97"/>
                  </a:lnTo>
                  <a:lnTo>
                    <a:pt x="73" y="96"/>
                  </a:lnTo>
                  <a:lnTo>
                    <a:pt x="73" y="94"/>
                  </a:lnTo>
                  <a:lnTo>
                    <a:pt x="72" y="94"/>
                  </a:lnTo>
                  <a:lnTo>
                    <a:pt x="72" y="93"/>
                  </a:lnTo>
                  <a:lnTo>
                    <a:pt x="71" y="93"/>
                  </a:lnTo>
                  <a:lnTo>
                    <a:pt x="70" y="92"/>
                  </a:lnTo>
                  <a:lnTo>
                    <a:pt x="69" y="92"/>
                  </a:lnTo>
                  <a:lnTo>
                    <a:pt x="69" y="91"/>
                  </a:lnTo>
                  <a:lnTo>
                    <a:pt x="68" y="91"/>
                  </a:lnTo>
                  <a:lnTo>
                    <a:pt x="66" y="91"/>
                  </a:lnTo>
                  <a:lnTo>
                    <a:pt x="65" y="90"/>
                  </a:lnTo>
                  <a:lnTo>
                    <a:pt x="64" y="90"/>
                  </a:lnTo>
                  <a:lnTo>
                    <a:pt x="63" y="90"/>
                  </a:lnTo>
                  <a:lnTo>
                    <a:pt x="62" y="89"/>
                  </a:lnTo>
                  <a:lnTo>
                    <a:pt x="58" y="87"/>
                  </a:lnTo>
                  <a:lnTo>
                    <a:pt x="57" y="87"/>
                  </a:lnTo>
                  <a:lnTo>
                    <a:pt x="54" y="85"/>
                  </a:lnTo>
                  <a:lnTo>
                    <a:pt x="52" y="84"/>
                  </a:lnTo>
                  <a:lnTo>
                    <a:pt x="51" y="84"/>
                  </a:lnTo>
                  <a:lnTo>
                    <a:pt x="51" y="83"/>
                  </a:lnTo>
                  <a:lnTo>
                    <a:pt x="50" y="83"/>
                  </a:lnTo>
                  <a:lnTo>
                    <a:pt x="49" y="83"/>
                  </a:lnTo>
                  <a:lnTo>
                    <a:pt x="49" y="82"/>
                  </a:lnTo>
                  <a:lnTo>
                    <a:pt x="48" y="82"/>
                  </a:lnTo>
                  <a:lnTo>
                    <a:pt x="48" y="80"/>
                  </a:lnTo>
                  <a:lnTo>
                    <a:pt x="47" y="80"/>
                  </a:lnTo>
                  <a:lnTo>
                    <a:pt x="47" y="79"/>
                  </a:lnTo>
                  <a:lnTo>
                    <a:pt x="46" y="79"/>
                  </a:lnTo>
                  <a:lnTo>
                    <a:pt x="44" y="79"/>
                  </a:lnTo>
                  <a:lnTo>
                    <a:pt x="44" y="78"/>
                  </a:lnTo>
                  <a:lnTo>
                    <a:pt x="39" y="75"/>
                  </a:lnTo>
                  <a:lnTo>
                    <a:pt x="37" y="75"/>
                  </a:lnTo>
                  <a:lnTo>
                    <a:pt x="36" y="75"/>
                  </a:lnTo>
                  <a:lnTo>
                    <a:pt x="35" y="75"/>
                  </a:lnTo>
                  <a:lnTo>
                    <a:pt x="34" y="75"/>
                  </a:lnTo>
                  <a:lnTo>
                    <a:pt x="33" y="75"/>
                  </a:lnTo>
                  <a:lnTo>
                    <a:pt x="33" y="73"/>
                  </a:lnTo>
                  <a:lnTo>
                    <a:pt x="32" y="73"/>
                  </a:lnTo>
                  <a:lnTo>
                    <a:pt x="30" y="73"/>
                  </a:lnTo>
                  <a:lnTo>
                    <a:pt x="29" y="73"/>
                  </a:lnTo>
                  <a:lnTo>
                    <a:pt x="29" y="72"/>
                  </a:lnTo>
                  <a:lnTo>
                    <a:pt x="28" y="72"/>
                  </a:lnTo>
                  <a:lnTo>
                    <a:pt x="27" y="72"/>
                  </a:lnTo>
                  <a:lnTo>
                    <a:pt x="26" y="71"/>
                  </a:lnTo>
                  <a:lnTo>
                    <a:pt x="26" y="72"/>
                  </a:lnTo>
                  <a:lnTo>
                    <a:pt x="26" y="71"/>
                  </a:lnTo>
                  <a:lnTo>
                    <a:pt x="25" y="71"/>
                  </a:lnTo>
                  <a:lnTo>
                    <a:pt x="25" y="70"/>
                  </a:lnTo>
                  <a:lnTo>
                    <a:pt x="23" y="70"/>
                  </a:lnTo>
                  <a:lnTo>
                    <a:pt x="23" y="69"/>
                  </a:lnTo>
                  <a:lnTo>
                    <a:pt x="23" y="68"/>
                  </a:lnTo>
                  <a:lnTo>
                    <a:pt x="22" y="68"/>
                  </a:lnTo>
                  <a:lnTo>
                    <a:pt x="21" y="68"/>
                  </a:lnTo>
                  <a:lnTo>
                    <a:pt x="21" y="66"/>
                  </a:lnTo>
                  <a:lnTo>
                    <a:pt x="20" y="66"/>
                  </a:lnTo>
                  <a:lnTo>
                    <a:pt x="19" y="65"/>
                  </a:lnTo>
                  <a:lnTo>
                    <a:pt x="18" y="65"/>
                  </a:lnTo>
                  <a:lnTo>
                    <a:pt x="18" y="64"/>
                  </a:lnTo>
                  <a:lnTo>
                    <a:pt x="16" y="63"/>
                  </a:lnTo>
                  <a:lnTo>
                    <a:pt x="15" y="63"/>
                  </a:lnTo>
                  <a:lnTo>
                    <a:pt x="14" y="63"/>
                  </a:lnTo>
                  <a:lnTo>
                    <a:pt x="14" y="62"/>
                  </a:lnTo>
                  <a:lnTo>
                    <a:pt x="13" y="61"/>
                  </a:lnTo>
                  <a:lnTo>
                    <a:pt x="11" y="59"/>
                  </a:lnTo>
                  <a:lnTo>
                    <a:pt x="11" y="58"/>
                  </a:lnTo>
                  <a:lnTo>
                    <a:pt x="11" y="57"/>
                  </a:lnTo>
                  <a:lnTo>
                    <a:pt x="9" y="57"/>
                  </a:lnTo>
                  <a:lnTo>
                    <a:pt x="9" y="56"/>
                  </a:lnTo>
                  <a:lnTo>
                    <a:pt x="8" y="56"/>
                  </a:lnTo>
                  <a:lnTo>
                    <a:pt x="8" y="55"/>
                  </a:lnTo>
                  <a:lnTo>
                    <a:pt x="7" y="55"/>
                  </a:lnTo>
                  <a:lnTo>
                    <a:pt x="7" y="54"/>
                  </a:lnTo>
                  <a:lnTo>
                    <a:pt x="7" y="52"/>
                  </a:lnTo>
                  <a:lnTo>
                    <a:pt x="6" y="52"/>
                  </a:lnTo>
                  <a:lnTo>
                    <a:pt x="7" y="52"/>
                  </a:lnTo>
                  <a:lnTo>
                    <a:pt x="7" y="51"/>
                  </a:lnTo>
                  <a:lnTo>
                    <a:pt x="6" y="51"/>
                  </a:lnTo>
                  <a:lnTo>
                    <a:pt x="6" y="50"/>
                  </a:lnTo>
                  <a:lnTo>
                    <a:pt x="5" y="50"/>
                  </a:lnTo>
                  <a:lnTo>
                    <a:pt x="4" y="50"/>
                  </a:lnTo>
                  <a:lnTo>
                    <a:pt x="4" y="49"/>
                  </a:lnTo>
                  <a:lnTo>
                    <a:pt x="2" y="49"/>
                  </a:lnTo>
                  <a:lnTo>
                    <a:pt x="2" y="48"/>
                  </a:lnTo>
                  <a:lnTo>
                    <a:pt x="1" y="48"/>
                  </a:lnTo>
                  <a:lnTo>
                    <a:pt x="1" y="47"/>
                  </a:lnTo>
                  <a:lnTo>
                    <a:pt x="0" y="47"/>
                  </a:lnTo>
                  <a:lnTo>
                    <a:pt x="0" y="45"/>
                  </a:lnTo>
                  <a:lnTo>
                    <a:pt x="1" y="44"/>
                  </a:lnTo>
                  <a:lnTo>
                    <a:pt x="1" y="43"/>
                  </a:lnTo>
                  <a:lnTo>
                    <a:pt x="1" y="41"/>
                  </a:lnTo>
                  <a:lnTo>
                    <a:pt x="1" y="38"/>
                  </a:lnTo>
                  <a:lnTo>
                    <a:pt x="2" y="37"/>
                  </a:lnTo>
                  <a:lnTo>
                    <a:pt x="2" y="35"/>
                  </a:lnTo>
                  <a:lnTo>
                    <a:pt x="2" y="34"/>
                  </a:lnTo>
                  <a:lnTo>
                    <a:pt x="4" y="31"/>
                  </a:lnTo>
                  <a:lnTo>
                    <a:pt x="4" y="30"/>
                  </a:lnTo>
                  <a:lnTo>
                    <a:pt x="4" y="28"/>
                  </a:lnTo>
                  <a:lnTo>
                    <a:pt x="4" y="27"/>
                  </a:lnTo>
                  <a:lnTo>
                    <a:pt x="4" y="24"/>
                  </a:lnTo>
                  <a:lnTo>
                    <a:pt x="4" y="23"/>
                  </a:lnTo>
                  <a:lnTo>
                    <a:pt x="4" y="22"/>
                  </a:lnTo>
                  <a:lnTo>
                    <a:pt x="2" y="21"/>
                  </a:lnTo>
                  <a:lnTo>
                    <a:pt x="2" y="20"/>
                  </a:lnTo>
                  <a:lnTo>
                    <a:pt x="4" y="20"/>
                  </a:lnTo>
                  <a:lnTo>
                    <a:pt x="4" y="19"/>
                  </a:lnTo>
                  <a:lnTo>
                    <a:pt x="5" y="17"/>
                  </a:lnTo>
                  <a:lnTo>
                    <a:pt x="5" y="16"/>
                  </a:lnTo>
                  <a:lnTo>
                    <a:pt x="6" y="15"/>
                  </a:lnTo>
                  <a:lnTo>
                    <a:pt x="6" y="14"/>
                  </a:lnTo>
                  <a:lnTo>
                    <a:pt x="7" y="13"/>
                  </a:lnTo>
                  <a:lnTo>
                    <a:pt x="7" y="12"/>
                  </a:lnTo>
                  <a:lnTo>
                    <a:pt x="7" y="10"/>
                  </a:lnTo>
                  <a:lnTo>
                    <a:pt x="8" y="9"/>
                  </a:lnTo>
                  <a:lnTo>
                    <a:pt x="8" y="8"/>
                  </a:lnTo>
                  <a:lnTo>
                    <a:pt x="8" y="7"/>
                  </a:lnTo>
                  <a:lnTo>
                    <a:pt x="8" y="6"/>
                  </a:lnTo>
                  <a:lnTo>
                    <a:pt x="9" y="6"/>
                  </a:lnTo>
                  <a:lnTo>
                    <a:pt x="11" y="6"/>
                  </a:lnTo>
                  <a:lnTo>
                    <a:pt x="12" y="5"/>
                  </a:lnTo>
                  <a:lnTo>
                    <a:pt x="16" y="3"/>
                  </a:lnTo>
                  <a:lnTo>
                    <a:pt x="21" y="2"/>
                  </a:lnTo>
                  <a:lnTo>
                    <a:pt x="26" y="2"/>
                  </a:lnTo>
                  <a:lnTo>
                    <a:pt x="30" y="1"/>
                  </a:lnTo>
                  <a:lnTo>
                    <a:pt x="33" y="0"/>
                  </a:lnTo>
                  <a:lnTo>
                    <a:pt x="36" y="0"/>
                  </a:lnTo>
                  <a:lnTo>
                    <a:pt x="39" y="0"/>
                  </a:lnTo>
                  <a:lnTo>
                    <a:pt x="41" y="0"/>
                  </a:lnTo>
                  <a:lnTo>
                    <a:pt x="43" y="0"/>
                  </a:lnTo>
                  <a:lnTo>
                    <a:pt x="44" y="0"/>
                  </a:lnTo>
                  <a:lnTo>
                    <a:pt x="46" y="0"/>
                  </a:lnTo>
                  <a:lnTo>
                    <a:pt x="46" y="1"/>
                  </a:lnTo>
                  <a:lnTo>
                    <a:pt x="47" y="1"/>
                  </a:lnTo>
                  <a:lnTo>
                    <a:pt x="48" y="2"/>
                  </a:lnTo>
                  <a:lnTo>
                    <a:pt x="49" y="3"/>
                  </a:lnTo>
                  <a:lnTo>
                    <a:pt x="50" y="3"/>
                  </a:lnTo>
                  <a:lnTo>
                    <a:pt x="52" y="5"/>
                  </a:lnTo>
                  <a:lnTo>
                    <a:pt x="54" y="6"/>
                  </a:lnTo>
                  <a:lnTo>
                    <a:pt x="55" y="6"/>
                  </a:lnTo>
                  <a:lnTo>
                    <a:pt x="56" y="7"/>
                  </a:lnTo>
                  <a:lnTo>
                    <a:pt x="57" y="8"/>
                  </a:lnTo>
                  <a:lnTo>
                    <a:pt x="58" y="8"/>
                  </a:lnTo>
                  <a:lnTo>
                    <a:pt x="58" y="9"/>
                  </a:lnTo>
                  <a:lnTo>
                    <a:pt x="58" y="10"/>
                  </a:lnTo>
                  <a:lnTo>
                    <a:pt x="58" y="12"/>
                  </a:lnTo>
                  <a:lnTo>
                    <a:pt x="58" y="13"/>
                  </a:lnTo>
                  <a:lnTo>
                    <a:pt x="58" y="14"/>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23" name="Freeform 981">
              <a:extLst>
                <a:ext uri="{FF2B5EF4-FFF2-40B4-BE49-F238E27FC236}">
                  <a16:creationId xmlns:a16="http://schemas.microsoft.com/office/drawing/2014/main" id="{CC459E8B-2439-408A-91B1-781802D33DAB}"/>
                </a:ext>
              </a:extLst>
            </p:cNvPr>
            <p:cNvSpPr>
              <a:spLocks noEditPoints="1"/>
            </p:cNvSpPr>
            <p:nvPr/>
          </p:nvSpPr>
          <p:spPr bwMode="auto">
            <a:xfrm>
              <a:off x="6416746" y="2660751"/>
              <a:ext cx="22704" cy="28046"/>
            </a:xfrm>
            <a:custGeom>
              <a:avLst/>
              <a:gdLst>
                <a:gd name="T0" fmla="*/ 0 w 17"/>
                <a:gd name="T1" fmla="*/ 20 h 21"/>
                <a:gd name="T2" fmla="*/ 0 w 17"/>
                <a:gd name="T3" fmla="*/ 18 h 21"/>
                <a:gd name="T4" fmla="*/ 0 w 17"/>
                <a:gd name="T5" fmla="*/ 18 h 21"/>
                <a:gd name="T6" fmla="*/ 1 w 17"/>
                <a:gd name="T7" fmla="*/ 16 h 21"/>
                <a:gd name="T8" fmla="*/ 2 w 17"/>
                <a:gd name="T9" fmla="*/ 15 h 21"/>
                <a:gd name="T10" fmla="*/ 3 w 17"/>
                <a:gd name="T11" fmla="*/ 16 h 21"/>
                <a:gd name="T12" fmla="*/ 3 w 17"/>
                <a:gd name="T13" fmla="*/ 16 h 21"/>
                <a:gd name="T14" fmla="*/ 1 w 17"/>
                <a:gd name="T15" fmla="*/ 18 h 21"/>
                <a:gd name="T16" fmla="*/ 1 w 17"/>
                <a:gd name="T17" fmla="*/ 20 h 21"/>
                <a:gd name="T18" fmla="*/ 11 w 17"/>
                <a:gd name="T19" fmla="*/ 0 h 21"/>
                <a:gd name="T20" fmla="*/ 14 w 17"/>
                <a:gd name="T21" fmla="*/ 0 h 21"/>
                <a:gd name="T22" fmla="*/ 14 w 17"/>
                <a:gd name="T23" fmla="*/ 2 h 21"/>
                <a:gd name="T24" fmla="*/ 15 w 17"/>
                <a:gd name="T25" fmla="*/ 2 h 21"/>
                <a:gd name="T26" fmla="*/ 16 w 17"/>
                <a:gd name="T27" fmla="*/ 2 h 21"/>
                <a:gd name="T28" fmla="*/ 16 w 17"/>
                <a:gd name="T29" fmla="*/ 2 h 21"/>
                <a:gd name="T30" fmla="*/ 16 w 17"/>
                <a:gd name="T31" fmla="*/ 3 h 21"/>
                <a:gd name="T32" fmla="*/ 16 w 17"/>
                <a:gd name="T33" fmla="*/ 3 h 21"/>
                <a:gd name="T34" fmla="*/ 16 w 17"/>
                <a:gd name="T35" fmla="*/ 5 h 21"/>
                <a:gd name="T36" fmla="*/ 16 w 17"/>
                <a:gd name="T37" fmla="*/ 5 h 21"/>
                <a:gd name="T38" fmla="*/ 16 w 17"/>
                <a:gd name="T39" fmla="*/ 6 h 21"/>
                <a:gd name="T40" fmla="*/ 16 w 17"/>
                <a:gd name="T41" fmla="*/ 6 h 21"/>
                <a:gd name="T42" fmla="*/ 16 w 17"/>
                <a:gd name="T43" fmla="*/ 6 h 21"/>
                <a:gd name="T44" fmla="*/ 16 w 17"/>
                <a:gd name="T45" fmla="*/ 7 h 21"/>
                <a:gd name="T46" fmla="*/ 16 w 17"/>
                <a:gd name="T47" fmla="*/ 8 h 21"/>
                <a:gd name="T48" fmla="*/ 16 w 17"/>
                <a:gd name="T49" fmla="*/ 9 h 21"/>
                <a:gd name="T50" fmla="*/ 16 w 17"/>
                <a:gd name="T51" fmla="*/ 9 h 21"/>
                <a:gd name="T52" fmla="*/ 16 w 17"/>
                <a:gd name="T53" fmla="*/ 9 h 21"/>
                <a:gd name="T54" fmla="*/ 16 w 17"/>
                <a:gd name="T55" fmla="*/ 12 h 21"/>
                <a:gd name="T56" fmla="*/ 17 w 17"/>
                <a:gd name="T57" fmla="*/ 12 h 21"/>
                <a:gd name="T58" fmla="*/ 16 w 17"/>
                <a:gd name="T59" fmla="*/ 13 h 21"/>
                <a:gd name="T60" fmla="*/ 15 w 17"/>
                <a:gd name="T61" fmla="*/ 14 h 21"/>
                <a:gd name="T62" fmla="*/ 15 w 17"/>
                <a:gd name="T63" fmla="*/ 15 h 21"/>
                <a:gd name="T64" fmla="*/ 15 w 17"/>
                <a:gd name="T65" fmla="*/ 16 h 21"/>
                <a:gd name="T66" fmla="*/ 15 w 17"/>
                <a:gd name="T67" fmla="*/ 16 h 21"/>
                <a:gd name="T68" fmla="*/ 12 w 17"/>
                <a:gd name="T69" fmla="*/ 18 h 21"/>
                <a:gd name="T70" fmla="*/ 9 w 17"/>
                <a:gd name="T71" fmla="*/ 18 h 21"/>
                <a:gd name="T72" fmla="*/ 8 w 17"/>
                <a:gd name="T73" fmla="*/ 18 h 21"/>
                <a:gd name="T74" fmla="*/ 9 w 17"/>
                <a:gd name="T75" fmla="*/ 16 h 21"/>
                <a:gd name="T76" fmla="*/ 9 w 17"/>
                <a:gd name="T77" fmla="*/ 15 h 21"/>
                <a:gd name="T78" fmla="*/ 9 w 17"/>
                <a:gd name="T79" fmla="*/ 14 h 21"/>
                <a:gd name="T80" fmla="*/ 10 w 17"/>
                <a:gd name="T81" fmla="*/ 13 h 21"/>
                <a:gd name="T82" fmla="*/ 11 w 17"/>
                <a:gd name="T83" fmla="*/ 13 h 21"/>
                <a:gd name="T84" fmla="*/ 12 w 17"/>
                <a:gd name="T85" fmla="*/ 13 h 21"/>
                <a:gd name="T86" fmla="*/ 11 w 17"/>
                <a:gd name="T87" fmla="*/ 12 h 21"/>
                <a:gd name="T88" fmla="*/ 10 w 17"/>
                <a:gd name="T89" fmla="*/ 10 h 21"/>
                <a:gd name="T90" fmla="*/ 9 w 17"/>
                <a:gd name="T91" fmla="*/ 12 h 21"/>
                <a:gd name="T92" fmla="*/ 9 w 17"/>
                <a:gd name="T93" fmla="*/ 12 h 21"/>
                <a:gd name="T94" fmla="*/ 8 w 17"/>
                <a:gd name="T95" fmla="*/ 10 h 21"/>
                <a:gd name="T96" fmla="*/ 9 w 17"/>
                <a:gd name="T97" fmla="*/ 10 h 21"/>
                <a:gd name="T98" fmla="*/ 9 w 17"/>
                <a:gd name="T99" fmla="*/ 8 h 21"/>
                <a:gd name="T100" fmla="*/ 9 w 17"/>
                <a:gd name="T101" fmla="*/ 8 h 21"/>
                <a:gd name="T102" fmla="*/ 9 w 17"/>
                <a:gd name="T103" fmla="*/ 8 h 21"/>
                <a:gd name="T104" fmla="*/ 9 w 17"/>
                <a:gd name="T105" fmla="*/ 8 h 21"/>
                <a:gd name="T106" fmla="*/ 8 w 17"/>
                <a:gd name="T107" fmla="*/ 6 h 21"/>
                <a:gd name="T108" fmla="*/ 8 w 17"/>
                <a:gd name="T109" fmla="*/ 5 h 21"/>
                <a:gd name="T110" fmla="*/ 9 w 17"/>
                <a:gd name="T111" fmla="*/ 5 h 21"/>
                <a:gd name="T112" fmla="*/ 8 w 17"/>
                <a:gd name="T113" fmla="*/ 3 h 21"/>
                <a:gd name="T114" fmla="*/ 8 w 17"/>
                <a:gd name="T115" fmla="*/ 3 h 21"/>
                <a:gd name="T116" fmla="*/ 9 w 17"/>
                <a:gd name="T117" fmla="*/ 3 h 21"/>
                <a:gd name="T118" fmla="*/ 9 w 17"/>
                <a:gd name="T119" fmla="*/ 1 h 21"/>
                <a:gd name="T120" fmla="*/ 9 w 17"/>
                <a:gd name="T121" fmla="*/ 1 h 21"/>
                <a:gd name="T122" fmla="*/ 10 w 17"/>
                <a:gd name="T123" fmla="*/ 0 h 21"/>
                <a:gd name="T124" fmla="*/ 11 w 17"/>
                <a:gd name="T12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 h="21">
                  <a:moveTo>
                    <a:pt x="0" y="21"/>
                  </a:moveTo>
                  <a:lnTo>
                    <a:pt x="0" y="21"/>
                  </a:lnTo>
                  <a:lnTo>
                    <a:pt x="0" y="20"/>
                  </a:lnTo>
                  <a:lnTo>
                    <a:pt x="0" y="20"/>
                  </a:lnTo>
                  <a:lnTo>
                    <a:pt x="0" y="18"/>
                  </a:lnTo>
                  <a:lnTo>
                    <a:pt x="0" y="18"/>
                  </a:lnTo>
                  <a:lnTo>
                    <a:pt x="0" y="18"/>
                  </a:lnTo>
                  <a:lnTo>
                    <a:pt x="0" y="18"/>
                  </a:lnTo>
                  <a:lnTo>
                    <a:pt x="0" y="18"/>
                  </a:lnTo>
                  <a:lnTo>
                    <a:pt x="1" y="17"/>
                  </a:lnTo>
                  <a:lnTo>
                    <a:pt x="1" y="17"/>
                  </a:lnTo>
                  <a:lnTo>
                    <a:pt x="1" y="16"/>
                  </a:lnTo>
                  <a:lnTo>
                    <a:pt x="2" y="15"/>
                  </a:lnTo>
                  <a:lnTo>
                    <a:pt x="2" y="15"/>
                  </a:lnTo>
                  <a:lnTo>
                    <a:pt x="2" y="15"/>
                  </a:lnTo>
                  <a:lnTo>
                    <a:pt x="3" y="15"/>
                  </a:lnTo>
                  <a:lnTo>
                    <a:pt x="3" y="15"/>
                  </a:lnTo>
                  <a:lnTo>
                    <a:pt x="3" y="16"/>
                  </a:lnTo>
                  <a:lnTo>
                    <a:pt x="3" y="16"/>
                  </a:lnTo>
                  <a:lnTo>
                    <a:pt x="3" y="16"/>
                  </a:lnTo>
                  <a:lnTo>
                    <a:pt x="3" y="16"/>
                  </a:lnTo>
                  <a:lnTo>
                    <a:pt x="1" y="17"/>
                  </a:lnTo>
                  <a:lnTo>
                    <a:pt x="1" y="18"/>
                  </a:lnTo>
                  <a:lnTo>
                    <a:pt x="1" y="18"/>
                  </a:lnTo>
                  <a:lnTo>
                    <a:pt x="1" y="20"/>
                  </a:lnTo>
                  <a:lnTo>
                    <a:pt x="1" y="20"/>
                  </a:lnTo>
                  <a:lnTo>
                    <a:pt x="1" y="20"/>
                  </a:lnTo>
                  <a:lnTo>
                    <a:pt x="0" y="21"/>
                  </a:lnTo>
                  <a:close/>
                  <a:moveTo>
                    <a:pt x="11" y="0"/>
                  </a:moveTo>
                  <a:lnTo>
                    <a:pt x="11" y="0"/>
                  </a:lnTo>
                  <a:lnTo>
                    <a:pt x="12" y="0"/>
                  </a:lnTo>
                  <a:lnTo>
                    <a:pt x="12" y="0"/>
                  </a:lnTo>
                  <a:lnTo>
                    <a:pt x="14" y="0"/>
                  </a:lnTo>
                  <a:lnTo>
                    <a:pt x="14" y="1"/>
                  </a:lnTo>
                  <a:lnTo>
                    <a:pt x="14" y="1"/>
                  </a:lnTo>
                  <a:lnTo>
                    <a:pt x="14" y="2"/>
                  </a:lnTo>
                  <a:lnTo>
                    <a:pt x="14" y="2"/>
                  </a:lnTo>
                  <a:lnTo>
                    <a:pt x="14" y="2"/>
                  </a:lnTo>
                  <a:lnTo>
                    <a:pt x="15" y="2"/>
                  </a:lnTo>
                  <a:lnTo>
                    <a:pt x="16" y="2"/>
                  </a:lnTo>
                  <a:lnTo>
                    <a:pt x="16" y="2"/>
                  </a:lnTo>
                  <a:lnTo>
                    <a:pt x="16" y="2"/>
                  </a:lnTo>
                  <a:lnTo>
                    <a:pt x="16" y="2"/>
                  </a:lnTo>
                  <a:lnTo>
                    <a:pt x="16" y="2"/>
                  </a:lnTo>
                  <a:lnTo>
                    <a:pt x="16" y="2"/>
                  </a:lnTo>
                  <a:lnTo>
                    <a:pt x="16" y="2"/>
                  </a:lnTo>
                  <a:lnTo>
                    <a:pt x="16" y="2"/>
                  </a:lnTo>
                  <a:lnTo>
                    <a:pt x="16" y="3"/>
                  </a:lnTo>
                  <a:lnTo>
                    <a:pt x="16" y="3"/>
                  </a:lnTo>
                  <a:lnTo>
                    <a:pt x="16" y="3"/>
                  </a:lnTo>
                  <a:lnTo>
                    <a:pt x="16" y="3"/>
                  </a:lnTo>
                  <a:lnTo>
                    <a:pt x="16" y="5"/>
                  </a:lnTo>
                  <a:lnTo>
                    <a:pt x="16" y="5"/>
                  </a:lnTo>
                  <a:lnTo>
                    <a:pt x="16" y="5"/>
                  </a:lnTo>
                  <a:lnTo>
                    <a:pt x="16" y="5"/>
                  </a:lnTo>
                  <a:lnTo>
                    <a:pt x="16" y="5"/>
                  </a:lnTo>
                  <a:lnTo>
                    <a:pt x="16" y="5"/>
                  </a:lnTo>
                  <a:lnTo>
                    <a:pt x="16" y="5"/>
                  </a:lnTo>
                  <a:lnTo>
                    <a:pt x="16" y="6"/>
                  </a:lnTo>
                  <a:lnTo>
                    <a:pt x="16" y="6"/>
                  </a:lnTo>
                  <a:lnTo>
                    <a:pt x="16" y="6"/>
                  </a:lnTo>
                  <a:lnTo>
                    <a:pt x="16" y="6"/>
                  </a:lnTo>
                  <a:lnTo>
                    <a:pt x="16" y="6"/>
                  </a:lnTo>
                  <a:lnTo>
                    <a:pt x="16" y="6"/>
                  </a:lnTo>
                  <a:lnTo>
                    <a:pt x="16" y="6"/>
                  </a:lnTo>
                  <a:lnTo>
                    <a:pt x="16" y="6"/>
                  </a:lnTo>
                  <a:lnTo>
                    <a:pt x="16" y="7"/>
                  </a:lnTo>
                  <a:lnTo>
                    <a:pt x="16" y="7"/>
                  </a:lnTo>
                  <a:lnTo>
                    <a:pt x="16" y="7"/>
                  </a:lnTo>
                  <a:lnTo>
                    <a:pt x="16" y="7"/>
                  </a:lnTo>
                  <a:lnTo>
                    <a:pt x="16" y="7"/>
                  </a:lnTo>
                  <a:lnTo>
                    <a:pt x="16" y="8"/>
                  </a:lnTo>
                  <a:lnTo>
                    <a:pt x="16" y="8"/>
                  </a:lnTo>
                  <a:lnTo>
                    <a:pt x="16" y="8"/>
                  </a:lnTo>
                  <a:lnTo>
                    <a:pt x="16" y="9"/>
                  </a:lnTo>
                  <a:lnTo>
                    <a:pt x="16" y="9"/>
                  </a:lnTo>
                  <a:lnTo>
                    <a:pt x="16" y="9"/>
                  </a:lnTo>
                  <a:lnTo>
                    <a:pt x="16" y="9"/>
                  </a:lnTo>
                  <a:lnTo>
                    <a:pt x="16" y="9"/>
                  </a:lnTo>
                  <a:lnTo>
                    <a:pt x="16" y="9"/>
                  </a:lnTo>
                  <a:lnTo>
                    <a:pt x="16" y="9"/>
                  </a:lnTo>
                  <a:lnTo>
                    <a:pt x="16" y="9"/>
                  </a:lnTo>
                  <a:lnTo>
                    <a:pt x="16" y="10"/>
                  </a:lnTo>
                  <a:lnTo>
                    <a:pt x="16" y="12"/>
                  </a:lnTo>
                  <a:lnTo>
                    <a:pt x="16" y="12"/>
                  </a:lnTo>
                  <a:lnTo>
                    <a:pt x="17" y="12"/>
                  </a:lnTo>
                  <a:lnTo>
                    <a:pt x="17" y="12"/>
                  </a:lnTo>
                  <a:lnTo>
                    <a:pt x="16" y="12"/>
                  </a:lnTo>
                  <a:lnTo>
                    <a:pt x="16" y="12"/>
                  </a:lnTo>
                  <a:lnTo>
                    <a:pt x="16" y="13"/>
                  </a:lnTo>
                  <a:lnTo>
                    <a:pt x="15" y="13"/>
                  </a:lnTo>
                  <a:lnTo>
                    <a:pt x="15" y="14"/>
                  </a:lnTo>
                  <a:lnTo>
                    <a:pt x="15" y="14"/>
                  </a:lnTo>
                  <a:lnTo>
                    <a:pt x="15" y="14"/>
                  </a:lnTo>
                  <a:lnTo>
                    <a:pt x="15" y="15"/>
                  </a:lnTo>
                  <a:lnTo>
                    <a:pt x="15" y="15"/>
                  </a:lnTo>
                  <a:lnTo>
                    <a:pt x="15" y="15"/>
                  </a:lnTo>
                  <a:lnTo>
                    <a:pt x="15" y="15"/>
                  </a:lnTo>
                  <a:lnTo>
                    <a:pt x="15" y="16"/>
                  </a:lnTo>
                  <a:lnTo>
                    <a:pt x="15" y="16"/>
                  </a:lnTo>
                  <a:lnTo>
                    <a:pt x="15" y="16"/>
                  </a:lnTo>
                  <a:lnTo>
                    <a:pt x="15" y="16"/>
                  </a:lnTo>
                  <a:lnTo>
                    <a:pt x="14" y="17"/>
                  </a:lnTo>
                  <a:lnTo>
                    <a:pt x="12" y="18"/>
                  </a:lnTo>
                  <a:lnTo>
                    <a:pt x="12" y="18"/>
                  </a:lnTo>
                  <a:lnTo>
                    <a:pt x="10" y="18"/>
                  </a:lnTo>
                  <a:lnTo>
                    <a:pt x="9" y="18"/>
                  </a:lnTo>
                  <a:lnTo>
                    <a:pt x="9" y="18"/>
                  </a:lnTo>
                  <a:lnTo>
                    <a:pt x="9" y="18"/>
                  </a:lnTo>
                  <a:lnTo>
                    <a:pt x="9" y="18"/>
                  </a:lnTo>
                  <a:lnTo>
                    <a:pt x="8" y="18"/>
                  </a:lnTo>
                  <a:lnTo>
                    <a:pt x="8" y="17"/>
                  </a:lnTo>
                  <a:lnTo>
                    <a:pt x="8" y="17"/>
                  </a:lnTo>
                  <a:lnTo>
                    <a:pt x="9" y="16"/>
                  </a:lnTo>
                  <a:lnTo>
                    <a:pt x="9" y="16"/>
                  </a:lnTo>
                  <a:lnTo>
                    <a:pt x="9" y="15"/>
                  </a:lnTo>
                  <a:lnTo>
                    <a:pt x="9" y="15"/>
                  </a:lnTo>
                  <a:lnTo>
                    <a:pt x="9" y="14"/>
                  </a:lnTo>
                  <a:lnTo>
                    <a:pt x="9" y="14"/>
                  </a:lnTo>
                  <a:lnTo>
                    <a:pt x="9" y="14"/>
                  </a:lnTo>
                  <a:lnTo>
                    <a:pt x="10" y="13"/>
                  </a:lnTo>
                  <a:lnTo>
                    <a:pt x="10" y="13"/>
                  </a:lnTo>
                  <a:lnTo>
                    <a:pt x="10" y="13"/>
                  </a:lnTo>
                  <a:lnTo>
                    <a:pt x="11" y="13"/>
                  </a:lnTo>
                  <a:lnTo>
                    <a:pt x="11" y="13"/>
                  </a:lnTo>
                  <a:lnTo>
                    <a:pt x="11" y="13"/>
                  </a:lnTo>
                  <a:lnTo>
                    <a:pt x="11" y="13"/>
                  </a:lnTo>
                  <a:lnTo>
                    <a:pt x="11" y="13"/>
                  </a:lnTo>
                  <a:lnTo>
                    <a:pt x="12" y="13"/>
                  </a:lnTo>
                  <a:lnTo>
                    <a:pt x="12" y="12"/>
                  </a:lnTo>
                  <a:lnTo>
                    <a:pt x="11" y="12"/>
                  </a:lnTo>
                  <a:lnTo>
                    <a:pt x="11" y="12"/>
                  </a:lnTo>
                  <a:lnTo>
                    <a:pt x="11" y="12"/>
                  </a:lnTo>
                  <a:lnTo>
                    <a:pt x="10" y="12"/>
                  </a:lnTo>
                  <a:lnTo>
                    <a:pt x="10" y="10"/>
                  </a:lnTo>
                  <a:lnTo>
                    <a:pt x="10" y="10"/>
                  </a:lnTo>
                  <a:lnTo>
                    <a:pt x="9" y="10"/>
                  </a:lnTo>
                  <a:lnTo>
                    <a:pt x="9" y="12"/>
                  </a:lnTo>
                  <a:lnTo>
                    <a:pt x="9" y="12"/>
                  </a:lnTo>
                  <a:lnTo>
                    <a:pt x="9" y="12"/>
                  </a:lnTo>
                  <a:lnTo>
                    <a:pt x="9" y="12"/>
                  </a:lnTo>
                  <a:lnTo>
                    <a:pt x="9" y="12"/>
                  </a:lnTo>
                  <a:lnTo>
                    <a:pt x="8" y="10"/>
                  </a:lnTo>
                  <a:lnTo>
                    <a:pt x="8" y="10"/>
                  </a:lnTo>
                  <a:lnTo>
                    <a:pt x="8" y="10"/>
                  </a:lnTo>
                  <a:lnTo>
                    <a:pt x="9" y="10"/>
                  </a:lnTo>
                  <a:lnTo>
                    <a:pt x="9" y="10"/>
                  </a:lnTo>
                  <a:lnTo>
                    <a:pt x="9" y="9"/>
                  </a:lnTo>
                  <a:lnTo>
                    <a:pt x="9" y="9"/>
                  </a:lnTo>
                  <a:lnTo>
                    <a:pt x="9" y="8"/>
                  </a:lnTo>
                  <a:lnTo>
                    <a:pt x="9" y="8"/>
                  </a:lnTo>
                  <a:lnTo>
                    <a:pt x="9" y="8"/>
                  </a:lnTo>
                  <a:lnTo>
                    <a:pt x="9" y="8"/>
                  </a:lnTo>
                  <a:lnTo>
                    <a:pt x="9" y="8"/>
                  </a:lnTo>
                  <a:lnTo>
                    <a:pt x="9" y="8"/>
                  </a:lnTo>
                  <a:lnTo>
                    <a:pt x="9" y="8"/>
                  </a:lnTo>
                  <a:lnTo>
                    <a:pt x="9" y="8"/>
                  </a:lnTo>
                  <a:lnTo>
                    <a:pt x="9" y="8"/>
                  </a:lnTo>
                  <a:lnTo>
                    <a:pt x="9" y="8"/>
                  </a:lnTo>
                  <a:lnTo>
                    <a:pt x="9" y="8"/>
                  </a:lnTo>
                  <a:lnTo>
                    <a:pt x="8" y="6"/>
                  </a:lnTo>
                  <a:lnTo>
                    <a:pt x="8" y="6"/>
                  </a:lnTo>
                  <a:lnTo>
                    <a:pt x="8" y="6"/>
                  </a:lnTo>
                  <a:lnTo>
                    <a:pt x="8" y="6"/>
                  </a:lnTo>
                  <a:lnTo>
                    <a:pt x="8" y="5"/>
                  </a:lnTo>
                  <a:lnTo>
                    <a:pt x="8" y="5"/>
                  </a:lnTo>
                  <a:lnTo>
                    <a:pt x="9" y="5"/>
                  </a:lnTo>
                  <a:lnTo>
                    <a:pt x="9" y="5"/>
                  </a:lnTo>
                  <a:lnTo>
                    <a:pt x="9" y="5"/>
                  </a:lnTo>
                  <a:lnTo>
                    <a:pt x="8" y="3"/>
                  </a:lnTo>
                  <a:lnTo>
                    <a:pt x="8" y="3"/>
                  </a:lnTo>
                  <a:lnTo>
                    <a:pt x="8" y="3"/>
                  </a:lnTo>
                  <a:lnTo>
                    <a:pt x="8" y="3"/>
                  </a:lnTo>
                  <a:lnTo>
                    <a:pt x="8" y="3"/>
                  </a:lnTo>
                  <a:lnTo>
                    <a:pt x="8" y="3"/>
                  </a:lnTo>
                  <a:lnTo>
                    <a:pt x="9" y="3"/>
                  </a:lnTo>
                  <a:lnTo>
                    <a:pt x="9" y="3"/>
                  </a:lnTo>
                  <a:lnTo>
                    <a:pt x="9" y="2"/>
                  </a:lnTo>
                  <a:lnTo>
                    <a:pt x="9" y="2"/>
                  </a:lnTo>
                  <a:lnTo>
                    <a:pt x="9" y="1"/>
                  </a:lnTo>
                  <a:lnTo>
                    <a:pt x="9" y="1"/>
                  </a:lnTo>
                  <a:lnTo>
                    <a:pt x="9" y="1"/>
                  </a:lnTo>
                  <a:lnTo>
                    <a:pt x="9" y="1"/>
                  </a:lnTo>
                  <a:lnTo>
                    <a:pt x="10" y="0"/>
                  </a:lnTo>
                  <a:lnTo>
                    <a:pt x="10" y="0"/>
                  </a:lnTo>
                  <a:lnTo>
                    <a:pt x="10" y="0"/>
                  </a:lnTo>
                  <a:lnTo>
                    <a:pt x="10" y="0"/>
                  </a:lnTo>
                  <a:lnTo>
                    <a:pt x="10" y="0"/>
                  </a:lnTo>
                  <a:lnTo>
                    <a:pt x="11" y="0"/>
                  </a:lnTo>
                  <a:lnTo>
                    <a:pt x="1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24" name="Freeform 983">
              <a:extLst>
                <a:ext uri="{FF2B5EF4-FFF2-40B4-BE49-F238E27FC236}">
                  <a16:creationId xmlns:a16="http://schemas.microsoft.com/office/drawing/2014/main" id="{2E9F67DB-E785-4E72-9CA1-F77CFD3279AE}"/>
                </a:ext>
              </a:extLst>
            </p:cNvPr>
            <p:cNvSpPr>
              <a:spLocks/>
            </p:cNvSpPr>
            <p:nvPr/>
          </p:nvSpPr>
          <p:spPr bwMode="auto">
            <a:xfrm>
              <a:off x="6725244" y="2794300"/>
              <a:ext cx="17362" cy="34723"/>
            </a:xfrm>
            <a:custGeom>
              <a:avLst/>
              <a:gdLst>
                <a:gd name="T0" fmla="*/ 6 w 13"/>
                <a:gd name="T1" fmla="*/ 26 h 26"/>
                <a:gd name="T2" fmla="*/ 2 w 13"/>
                <a:gd name="T3" fmla="*/ 23 h 26"/>
                <a:gd name="T4" fmla="*/ 2 w 13"/>
                <a:gd name="T5" fmla="*/ 21 h 26"/>
                <a:gd name="T6" fmla="*/ 1 w 13"/>
                <a:gd name="T7" fmla="*/ 19 h 26"/>
                <a:gd name="T8" fmla="*/ 1 w 13"/>
                <a:gd name="T9" fmla="*/ 18 h 26"/>
                <a:gd name="T10" fmla="*/ 1 w 13"/>
                <a:gd name="T11" fmla="*/ 15 h 26"/>
                <a:gd name="T12" fmla="*/ 0 w 13"/>
                <a:gd name="T13" fmla="*/ 14 h 26"/>
                <a:gd name="T14" fmla="*/ 0 w 13"/>
                <a:gd name="T15" fmla="*/ 12 h 26"/>
                <a:gd name="T16" fmla="*/ 1 w 13"/>
                <a:gd name="T17" fmla="*/ 11 h 26"/>
                <a:gd name="T18" fmla="*/ 1 w 13"/>
                <a:gd name="T19" fmla="*/ 12 h 26"/>
                <a:gd name="T20" fmla="*/ 1 w 13"/>
                <a:gd name="T21" fmla="*/ 11 h 26"/>
                <a:gd name="T22" fmla="*/ 1 w 13"/>
                <a:gd name="T23" fmla="*/ 9 h 26"/>
                <a:gd name="T24" fmla="*/ 0 w 13"/>
                <a:gd name="T25" fmla="*/ 9 h 26"/>
                <a:gd name="T26" fmla="*/ 1 w 13"/>
                <a:gd name="T27" fmla="*/ 8 h 26"/>
                <a:gd name="T28" fmla="*/ 1 w 13"/>
                <a:gd name="T29" fmla="*/ 8 h 26"/>
                <a:gd name="T30" fmla="*/ 1 w 13"/>
                <a:gd name="T31" fmla="*/ 9 h 26"/>
                <a:gd name="T32" fmla="*/ 1 w 13"/>
                <a:gd name="T33" fmla="*/ 11 h 26"/>
                <a:gd name="T34" fmla="*/ 2 w 13"/>
                <a:gd name="T35" fmla="*/ 11 h 26"/>
                <a:gd name="T36" fmla="*/ 2 w 13"/>
                <a:gd name="T37" fmla="*/ 9 h 26"/>
                <a:gd name="T38" fmla="*/ 2 w 13"/>
                <a:gd name="T39" fmla="*/ 9 h 26"/>
                <a:gd name="T40" fmla="*/ 2 w 13"/>
                <a:gd name="T41" fmla="*/ 8 h 26"/>
                <a:gd name="T42" fmla="*/ 1 w 13"/>
                <a:gd name="T43" fmla="*/ 7 h 26"/>
                <a:gd name="T44" fmla="*/ 1 w 13"/>
                <a:gd name="T45" fmla="*/ 7 h 26"/>
                <a:gd name="T46" fmla="*/ 1 w 13"/>
                <a:gd name="T47" fmla="*/ 6 h 26"/>
                <a:gd name="T48" fmla="*/ 2 w 13"/>
                <a:gd name="T49" fmla="*/ 6 h 26"/>
                <a:gd name="T50" fmla="*/ 2 w 13"/>
                <a:gd name="T51" fmla="*/ 6 h 26"/>
                <a:gd name="T52" fmla="*/ 2 w 13"/>
                <a:gd name="T53" fmla="*/ 6 h 26"/>
                <a:gd name="T54" fmla="*/ 2 w 13"/>
                <a:gd name="T55" fmla="*/ 4 h 26"/>
                <a:gd name="T56" fmla="*/ 2 w 13"/>
                <a:gd name="T57" fmla="*/ 4 h 26"/>
                <a:gd name="T58" fmla="*/ 4 w 13"/>
                <a:gd name="T59" fmla="*/ 2 h 26"/>
                <a:gd name="T60" fmla="*/ 5 w 13"/>
                <a:gd name="T61" fmla="*/ 1 h 26"/>
                <a:gd name="T62" fmla="*/ 6 w 13"/>
                <a:gd name="T63" fmla="*/ 0 h 26"/>
                <a:gd name="T64" fmla="*/ 7 w 13"/>
                <a:gd name="T65" fmla="*/ 2 h 26"/>
                <a:gd name="T66" fmla="*/ 8 w 13"/>
                <a:gd name="T67" fmla="*/ 4 h 26"/>
                <a:gd name="T68" fmla="*/ 8 w 13"/>
                <a:gd name="T69" fmla="*/ 4 h 26"/>
                <a:gd name="T70" fmla="*/ 9 w 13"/>
                <a:gd name="T71" fmla="*/ 4 h 26"/>
                <a:gd name="T72" fmla="*/ 11 w 13"/>
                <a:gd name="T73" fmla="*/ 5 h 26"/>
                <a:gd name="T74" fmla="*/ 11 w 13"/>
                <a:gd name="T75" fmla="*/ 7 h 26"/>
                <a:gd name="T76" fmla="*/ 11 w 13"/>
                <a:gd name="T77" fmla="*/ 7 h 26"/>
                <a:gd name="T78" fmla="*/ 11 w 13"/>
                <a:gd name="T79" fmla="*/ 7 h 26"/>
                <a:gd name="T80" fmla="*/ 11 w 13"/>
                <a:gd name="T81" fmla="*/ 7 h 26"/>
                <a:gd name="T82" fmla="*/ 11 w 13"/>
                <a:gd name="T83" fmla="*/ 8 h 26"/>
                <a:gd name="T84" fmla="*/ 11 w 13"/>
                <a:gd name="T85" fmla="*/ 8 h 26"/>
                <a:gd name="T86" fmla="*/ 11 w 13"/>
                <a:gd name="T87" fmla="*/ 9 h 26"/>
                <a:gd name="T88" fmla="*/ 9 w 13"/>
                <a:gd name="T89" fmla="*/ 9 h 26"/>
                <a:gd name="T90" fmla="*/ 9 w 13"/>
                <a:gd name="T91" fmla="*/ 11 h 26"/>
                <a:gd name="T92" fmla="*/ 11 w 13"/>
                <a:gd name="T93" fmla="*/ 12 h 26"/>
                <a:gd name="T94" fmla="*/ 11 w 13"/>
                <a:gd name="T95" fmla="*/ 14 h 26"/>
                <a:gd name="T96" fmla="*/ 12 w 13"/>
                <a:gd name="T97" fmla="*/ 14 h 26"/>
                <a:gd name="T98" fmla="*/ 12 w 13"/>
                <a:gd name="T99" fmla="*/ 15 h 26"/>
                <a:gd name="T100" fmla="*/ 13 w 13"/>
                <a:gd name="T101" fmla="*/ 19 h 26"/>
                <a:gd name="T102" fmla="*/ 12 w 13"/>
                <a:gd name="T103" fmla="*/ 21 h 26"/>
                <a:gd name="T104" fmla="*/ 12 w 13"/>
                <a:gd name="T105" fmla="*/ 21 h 26"/>
                <a:gd name="T106" fmla="*/ 11 w 13"/>
                <a:gd name="T107" fmla="*/ 23 h 26"/>
                <a:gd name="T108" fmla="*/ 11 w 13"/>
                <a:gd name="T109" fmla="*/ 25 h 26"/>
                <a:gd name="T110" fmla="*/ 9 w 13"/>
                <a:gd name="T111" fmla="*/ 26 h 26"/>
                <a:gd name="T112" fmla="*/ 9 w 13"/>
                <a:gd name="T113" fmla="*/ 25 h 26"/>
                <a:gd name="T114" fmla="*/ 8 w 13"/>
                <a:gd name="T115" fmla="*/ 25 h 26"/>
                <a:gd name="T116" fmla="*/ 8 w 13"/>
                <a:gd name="T117" fmla="*/ 25 h 26"/>
                <a:gd name="T118" fmla="*/ 7 w 13"/>
                <a:gd name="T11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 h="26">
                  <a:moveTo>
                    <a:pt x="7" y="25"/>
                  </a:moveTo>
                  <a:lnTo>
                    <a:pt x="7" y="26"/>
                  </a:lnTo>
                  <a:lnTo>
                    <a:pt x="6" y="26"/>
                  </a:lnTo>
                  <a:lnTo>
                    <a:pt x="6" y="26"/>
                  </a:lnTo>
                  <a:lnTo>
                    <a:pt x="5" y="26"/>
                  </a:lnTo>
                  <a:lnTo>
                    <a:pt x="4" y="26"/>
                  </a:lnTo>
                  <a:lnTo>
                    <a:pt x="4" y="25"/>
                  </a:lnTo>
                  <a:lnTo>
                    <a:pt x="2" y="23"/>
                  </a:lnTo>
                  <a:lnTo>
                    <a:pt x="2" y="23"/>
                  </a:lnTo>
                  <a:lnTo>
                    <a:pt x="2" y="22"/>
                  </a:lnTo>
                  <a:lnTo>
                    <a:pt x="2" y="22"/>
                  </a:lnTo>
                  <a:lnTo>
                    <a:pt x="2" y="21"/>
                  </a:lnTo>
                  <a:lnTo>
                    <a:pt x="2" y="20"/>
                  </a:lnTo>
                  <a:lnTo>
                    <a:pt x="1" y="19"/>
                  </a:lnTo>
                  <a:lnTo>
                    <a:pt x="1" y="19"/>
                  </a:lnTo>
                  <a:lnTo>
                    <a:pt x="1" y="19"/>
                  </a:lnTo>
                  <a:lnTo>
                    <a:pt x="1" y="18"/>
                  </a:lnTo>
                  <a:lnTo>
                    <a:pt x="1" y="18"/>
                  </a:lnTo>
                  <a:lnTo>
                    <a:pt x="1" y="18"/>
                  </a:lnTo>
                  <a:lnTo>
                    <a:pt x="1" y="18"/>
                  </a:lnTo>
                  <a:lnTo>
                    <a:pt x="1" y="16"/>
                  </a:lnTo>
                  <a:lnTo>
                    <a:pt x="1" y="16"/>
                  </a:lnTo>
                  <a:lnTo>
                    <a:pt x="0" y="16"/>
                  </a:lnTo>
                  <a:lnTo>
                    <a:pt x="1" y="15"/>
                  </a:lnTo>
                  <a:lnTo>
                    <a:pt x="0" y="15"/>
                  </a:lnTo>
                  <a:lnTo>
                    <a:pt x="0" y="15"/>
                  </a:lnTo>
                  <a:lnTo>
                    <a:pt x="0" y="15"/>
                  </a:lnTo>
                  <a:lnTo>
                    <a:pt x="0" y="14"/>
                  </a:lnTo>
                  <a:lnTo>
                    <a:pt x="0" y="13"/>
                  </a:lnTo>
                  <a:lnTo>
                    <a:pt x="0" y="12"/>
                  </a:lnTo>
                  <a:lnTo>
                    <a:pt x="0" y="12"/>
                  </a:lnTo>
                  <a:lnTo>
                    <a:pt x="0" y="12"/>
                  </a:lnTo>
                  <a:lnTo>
                    <a:pt x="0" y="11"/>
                  </a:lnTo>
                  <a:lnTo>
                    <a:pt x="0" y="11"/>
                  </a:lnTo>
                  <a:lnTo>
                    <a:pt x="0" y="11"/>
                  </a:lnTo>
                  <a:lnTo>
                    <a:pt x="1" y="11"/>
                  </a:lnTo>
                  <a:lnTo>
                    <a:pt x="1" y="11"/>
                  </a:lnTo>
                  <a:lnTo>
                    <a:pt x="1" y="11"/>
                  </a:lnTo>
                  <a:lnTo>
                    <a:pt x="1" y="12"/>
                  </a:lnTo>
                  <a:lnTo>
                    <a:pt x="1" y="12"/>
                  </a:lnTo>
                  <a:lnTo>
                    <a:pt x="1" y="11"/>
                  </a:lnTo>
                  <a:lnTo>
                    <a:pt x="1" y="11"/>
                  </a:lnTo>
                  <a:lnTo>
                    <a:pt x="1" y="11"/>
                  </a:lnTo>
                  <a:lnTo>
                    <a:pt x="1" y="11"/>
                  </a:lnTo>
                  <a:lnTo>
                    <a:pt x="1" y="9"/>
                  </a:lnTo>
                  <a:lnTo>
                    <a:pt x="1" y="9"/>
                  </a:lnTo>
                  <a:lnTo>
                    <a:pt x="1" y="9"/>
                  </a:lnTo>
                  <a:lnTo>
                    <a:pt x="1" y="9"/>
                  </a:lnTo>
                  <a:lnTo>
                    <a:pt x="0" y="9"/>
                  </a:lnTo>
                  <a:lnTo>
                    <a:pt x="0" y="9"/>
                  </a:lnTo>
                  <a:lnTo>
                    <a:pt x="0" y="9"/>
                  </a:lnTo>
                  <a:lnTo>
                    <a:pt x="0" y="9"/>
                  </a:lnTo>
                  <a:lnTo>
                    <a:pt x="1" y="9"/>
                  </a:lnTo>
                  <a:lnTo>
                    <a:pt x="1" y="9"/>
                  </a:lnTo>
                  <a:lnTo>
                    <a:pt x="1" y="9"/>
                  </a:lnTo>
                  <a:lnTo>
                    <a:pt x="1" y="8"/>
                  </a:lnTo>
                  <a:lnTo>
                    <a:pt x="1" y="8"/>
                  </a:lnTo>
                  <a:lnTo>
                    <a:pt x="1" y="8"/>
                  </a:lnTo>
                  <a:lnTo>
                    <a:pt x="1" y="8"/>
                  </a:lnTo>
                  <a:lnTo>
                    <a:pt x="1" y="8"/>
                  </a:lnTo>
                  <a:lnTo>
                    <a:pt x="1" y="9"/>
                  </a:lnTo>
                  <a:lnTo>
                    <a:pt x="1" y="9"/>
                  </a:lnTo>
                  <a:lnTo>
                    <a:pt x="1" y="9"/>
                  </a:lnTo>
                  <a:lnTo>
                    <a:pt x="1" y="9"/>
                  </a:lnTo>
                  <a:lnTo>
                    <a:pt x="1" y="11"/>
                  </a:lnTo>
                  <a:lnTo>
                    <a:pt x="1" y="11"/>
                  </a:lnTo>
                  <a:lnTo>
                    <a:pt x="1" y="11"/>
                  </a:lnTo>
                  <a:lnTo>
                    <a:pt x="1" y="11"/>
                  </a:lnTo>
                  <a:lnTo>
                    <a:pt x="2" y="11"/>
                  </a:lnTo>
                  <a:lnTo>
                    <a:pt x="2" y="11"/>
                  </a:lnTo>
                  <a:lnTo>
                    <a:pt x="2" y="11"/>
                  </a:lnTo>
                  <a:lnTo>
                    <a:pt x="2" y="11"/>
                  </a:lnTo>
                  <a:lnTo>
                    <a:pt x="2" y="9"/>
                  </a:lnTo>
                  <a:lnTo>
                    <a:pt x="2" y="9"/>
                  </a:lnTo>
                  <a:lnTo>
                    <a:pt x="2" y="9"/>
                  </a:lnTo>
                  <a:lnTo>
                    <a:pt x="2" y="9"/>
                  </a:lnTo>
                  <a:lnTo>
                    <a:pt x="2" y="9"/>
                  </a:lnTo>
                  <a:lnTo>
                    <a:pt x="2" y="9"/>
                  </a:lnTo>
                  <a:lnTo>
                    <a:pt x="2" y="9"/>
                  </a:lnTo>
                  <a:lnTo>
                    <a:pt x="2" y="9"/>
                  </a:lnTo>
                  <a:lnTo>
                    <a:pt x="2" y="8"/>
                  </a:lnTo>
                  <a:lnTo>
                    <a:pt x="2" y="9"/>
                  </a:lnTo>
                  <a:lnTo>
                    <a:pt x="2" y="9"/>
                  </a:lnTo>
                  <a:lnTo>
                    <a:pt x="2" y="8"/>
                  </a:lnTo>
                  <a:lnTo>
                    <a:pt x="1" y="8"/>
                  </a:lnTo>
                  <a:lnTo>
                    <a:pt x="1" y="8"/>
                  </a:lnTo>
                  <a:lnTo>
                    <a:pt x="1" y="7"/>
                  </a:lnTo>
                  <a:lnTo>
                    <a:pt x="1" y="7"/>
                  </a:lnTo>
                  <a:lnTo>
                    <a:pt x="1" y="7"/>
                  </a:lnTo>
                  <a:lnTo>
                    <a:pt x="1" y="7"/>
                  </a:lnTo>
                  <a:lnTo>
                    <a:pt x="1" y="7"/>
                  </a:lnTo>
                  <a:lnTo>
                    <a:pt x="1" y="7"/>
                  </a:lnTo>
                  <a:lnTo>
                    <a:pt x="1" y="7"/>
                  </a:lnTo>
                  <a:lnTo>
                    <a:pt x="1" y="6"/>
                  </a:lnTo>
                  <a:lnTo>
                    <a:pt x="1" y="6"/>
                  </a:lnTo>
                  <a:lnTo>
                    <a:pt x="1" y="6"/>
                  </a:lnTo>
                  <a:lnTo>
                    <a:pt x="2" y="6"/>
                  </a:lnTo>
                  <a:lnTo>
                    <a:pt x="2" y="6"/>
                  </a:lnTo>
                  <a:lnTo>
                    <a:pt x="2" y="6"/>
                  </a:lnTo>
                  <a:lnTo>
                    <a:pt x="2" y="6"/>
                  </a:lnTo>
                  <a:lnTo>
                    <a:pt x="2" y="6"/>
                  </a:lnTo>
                  <a:lnTo>
                    <a:pt x="2" y="7"/>
                  </a:lnTo>
                  <a:lnTo>
                    <a:pt x="2" y="7"/>
                  </a:lnTo>
                  <a:lnTo>
                    <a:pt x="2" y="6"/>
                  </a:lnTo>
                  <a:lnTo>
                    <a:pt x="2" y="6"/>
                  </a:lnTo>
                  <a:lnTo>
                    <a:pt x="2" y="6"/>
                  </a:lnTo>
                  <a:lnTo>
                    <a:pt x="2" y="6"/>
                  </a:lnTo>
                  <a:lnTo>
                    <a:pt x="2" y="6"/>
                  </a:lnTo>
                  <a:lnTo>
                    <a:pt x="2" y="5"/>
                  </a:lnTo>
                  <a:lnTo>
                    <a:pt x="2" y="5"/>
                  </a:lnTo>
                  <a:lnTo>
                    <a:pt x="2" y="4"/>
                  </a:lnTo>
                  <a:lnTo>
                    <a:pt x="2" y="4"/>
                  </a:lnTo>
                  <a:lnTo>
                    <a:pt x="2" y="4"/>
                  </a:lnTo>
                  <a:lnTo>
                    <a:pt x="2" y="4"/>
                  </a:lnTo>
                  <a:lnTo>
                    <a:pt x="2" y="4"/>
                  </a:lnTo>
                  <a:lnTo>
                    <a:pt x="2" y="4"/>
                  </a:lnTo>
                  <a:lnTo>
                    <a:pt x="2" y="2"/>
                  </a:lnTo>
                  <a:lnTo>
                    <a:pt x="4" y="2"/>
                  </a:lnTo>
                  <a:lnTo>
                    <a:pt x="4" y="2"/>
                  </a:lnTo>
                  <a:lnTo>
                    <a:pt x="4" y="2"/>
                  </a:lnTo>
                  <a:lnTo>
                    <a:pt x="5" y="1"/>
                  </a:lnTo>
                  <a:lnTo>
                    <a:pt x="5" y="1"/>
                  </a:lnTo>
                  <a:lnTo>
                    <a:pt x="5" y="1"/>
                  </a:lnTo>
                  <a:lnTo>
                    <a:pt x="5" y="1"/>
                  </a:lnTo>
                  <a:lnTo>
                    <a:pt x="5" y="1"/>
                  </a:lnTo>
                  <a:lnTo>
                    <a:pt x="5" y="1"/>
                  </a:lnTo>
                  <a:lnTo>
                    <a:pt x="5" y="1"/>
                  </a:lnTo>
                  <a:lnTo>
                    <a:pt x="6" y="0"/>
                  </a:lnTo>
                  <a:lnTo>
                    <a:pt x="7" y="1"/>
                  </a:lnTo>
                  <a:lnTo>
                    <a:pt x="7" y="1"/>
                  </a:lnTo>
                  <a:lnTo>
                    <a:pt x="7" y="1"/>
                  </a:lnTo>
                  <a:lnTo>
                    <a:pt x="7" y="2"/>
                  </a:lnTo>
                  <a:lnTo>
                    <a:pt x="7" y="2"/>
                  </a:lnTo>
                  <a:lnTo>
                    <a:pt x="7" y="2"/>
                  </a:lnTo>
                  <a:lnTo>
                    <a:pt x="7" y="2"/>
                  </a:lnTo>
                  <a:lnTo>
                    <a:pt x="8" y="4"/>
                  </a:lnTo>
                  <a:lnTo>
                    <a:pt x="8" y="4"/>
                  </a:lnTo>
                  <a:lnTo>
                    <a:pt x="8" y="4"/>
                  </a:lnTo>
                  <a:lnTo>
                    <a:pt x="8" y="4"/>
                  </a:lnTo>
                  <a:lnTo>
                    <a:pt x="8" y="4"/>
                  </a:lnTo>
                  <a:lnTo>
                    <a:pt x="8" y="4"/>
                  </a:lnTo>
                  <a:lnTo>
                    <a:pt x="9" y="4"/>
                  </a:lnTo>
                  <a:lnTo>
                    <a:pt x="9" y="4"/>
                  </a:lnTo>
                  <a:lnTo>
                    <a:pt x="9" y="4"/>
                  </a:lnTo>
                  <a:lnTo>
                    <a:pt x="9" y="4"/>
                  </a:lnTo>
                  <a:lnTo>
                    <a:pt x="11" y="5"/>
                  </a:lnTo>
                  <a:lnTo>
                    <a:pt x="11" y="5"/>
                  </a:lnTo>
                  <a:lnTo>
                    <a:pt x="11" y="5"/>
                  </a:lnTo>
                  <a:lnTo>
                    <a:pt x="11" y="5"/>
                  </a:lnTo>
                  <a:lnTo>
                    <a:pt x="11" y="7"/>
                  </a:lnTo>
                  <a:lnTo>
                    <a:pt x="11" y="7"/>
                  </a:lnTo>
                  <a:lnTo>
                    <a:pt x="11" y="7"/>
                  </a:lnTo>
                  <a:lnTo>
                    <a:pt x="11" y="7"/>
                  </a:lnTo>
                  <a:lnTo>
                    <a:pt x="11" y="7"/>
                  </a:lnTo>
                  <a:lnTo>
                    <a:pt x="11" y="7"/>
                  </a:lnTo>
                  <a:lnTo>
                    <a:pt x="11" y="7"/>
                  </a:lnTo>
                  <a:lnTo>
                    <a:pt x="11" y="7"/>
                  </a:lnTo>
                  <a:lnTo>
                    <a:pt x="11" y="7"/>
                  </a:lnTo>
                  <a:lnTo>
                    <a:pt x="11" y="7"/>
                  </a:lnTo>
                  <a:lnTo>
                    <a:pt x="11" y="7"/>
                  </a:lnTo>
                  <a:lnTo>
                    <a:pt x="11" y="7"/>
                  </a:lnTo>
                  <a:lnTo>
                    <a:pt x="11" y="7"/>
                  </a:lnTo>
                  <a:lnTo>
                    <a:pt x="11" y="7"/>
                  </a:lnTo>
                  <a:lnTo>
                    <a:pt x="11" y="7"/>
                  </a:lnTo>
                  <a:lnTo>
                    <a:pt x="11" y="7"/>
                  </a:lnTo>
                  <a:lnTo>
                    <a:pt x="11" y="8"/>
                  </a:lnTo>
                  <a:lnTo>
                    <a:pt x="11" y="8"/>
                  </a:lnTo>
                  <a:lnTo>
                    <a:pt x="11" y="8"/>
                  </a:lnTo>
                  <a:lnTo>
                    <a:pt x="11" y="8"/>
                  </a:lnTo>
                  <a:lnTo>
                    <a:pt x="9" y="8"/>
                  </a:lnTo>
                  <a:lnTo>
                    <a:pt x="11" y="8"/>
                  </a:lnTo>
                  <a:lnTo>
                    <a:pt x="11" y="8"/>
                  </a:lnTo>
                  <a:lnTo>
                    <a:pt x="11" y="8"/>
                  </a:lnTo>
                  <a:lnTo>
                    <a:pt x="11" y="8"/>
                  </a:lnTo>
                  <a:lnTo>
                    <a:pt x="11" y="9"/>
                  </a:lnTo>
                  <a:lnTo>
                    <a:pt x="11" y="9"/>
                  </a:lnTo>
                  <a:lnTo>
                    <a:pt x="11" y="9"/>
                  </a:lnTo>
                  <a:lnTo>
                    <a:pt x="11" y="9"/>
                  </a:lnTo>
                  <a:lnTo>
                    <a:pt x="9" y="9"/>
                  </a:lnTo>
                  <a:lnTo>
                    <a:pt x="9" y="9"/>
                  </a:lnTo>
                  <a:lnTo>
                    <a:pt x="9" y="9"/>
                  </a:lnTo>
                  <a:lnTo>
                    <a:pt x="9" y="11"/>
                  </a:lnTo>
                  <a:lnTo>
                    <a:pt x="9" y="11"/>
                  </a:lnTo>
                  <a:lnTo>
                    <a:pt x="9" y="11"/>
                  </a:lnTo>
                  <a:lnTo>
                    <a:pt x="9" y="11"/>
                  </a:lnTo>
                  <a:lnTo>
                    <a:pt x="9" y="11"/>
                  </a:lnTo>
                  <a:lnTo>
                    <a:pt x="9" y="11"/>
                  </a:lnTo>
                  <a:lnTo>
                    <a:pt x="11" y="12"/>
                  </a:lnTo>
                  <a:lnTo>
                    <a:pt x="11" y="12"/>
                  </a:lnTo>
                  <a:lnTo>
                    <a:pt x="11" y="12"/>
                  </a:lnTo>
                  <a:lnTo>
                    <a:pt x="11" y="13"/>
                  </a:lnTo>
                  <a:lnTo>
                    <a:pt x="11" y="14"/>
                  </a:lnTo>
                  <a:lnTo>
                    <a:pt x="11" y="14"/>
                  </a:lnTo>
                  <a:lnTo>
                    <a:pt x="11" y="14"/>
                  </a:lnTo>
                  <a:lnTo>
                    <a:pt x="11" y="14"/>
                  </a:lnTo>
                  <a:lnTo>
                    <a:pt x="12" y="14"/>
                  </a:lnTo>
                  <a:lnTo>
                    <a:pt x="12" y="14"/>
                  </a:lnTo>
                  <a:lnTo>
                    <a:pt x="12" y="15"/>
                  </a:lnTo>
                  <a:lnTo>
                    <a:pt x="12" y="15"/>
                  </a:lnTo>
                  <a:lnTo>
                    <a:pt x="12" y="15"/>
                  </a:lnTo>
                  <a:lnTo>
                    <a:pt x="13" y="16"/>
                  </a:lnTo>
                  <a:lnTo>
                    <a:pt x="13" y="19"/>
                  </a:lnTo>
                  <a:lnTo>
                    <a:pt x="13" y="19"/>
                  </a:lnTo>
                  <a:lnTo>
                    <a:pt x="13" y="19"/>
                  </a:lnTo>
                  <a:lnTo>
                    <a:pt x="12" y="20"/>
                  </a:lnTo>
                  <a:lnTo>
                    <a:pt x="12" y="20"/>
                  </a:lnTo>
                  <a:lnTo>
                    <a:pt x="12" y="21"/>
                  </a:lnTo>
                  <a:lnTo>
                    <a:pt x="12" y="21"/>
                  </a:lnTo>
                  <a:lnTo>
                    <a:pt x="12" y="21"/>
                  </a:lnTo>
                  <a:lnTo>
                    <a:pt x="12" y="21"/>
                  </a:lnTo>
                  <a:lnTo>
                    <a:pt x="12" y="21"/>
                  </a:lnTo>
                  <a:lnTo>
                    <a:pt x="12" y="21"/>
                  </a:lnTo>
                  <a:lnTo>
                    <a:pt x="11" y="22"/>
                  </a:lnTo>
                  <a:lnTo>
                    <a:pt x="11" y="22"/>
                  </a:lnTo>
                  <a:lnTo>
                    <a:pt x="11" y="23"/>
                  </a:lnTo>
                  <a:lnTo>
                    <a:pt x="11" y="23"/>
                  </a:lnTo>
                  <a:lnTo>
                    <a:pt x="11" y="23"/>
                  </a:lnTo>
                  <a:lnTo>
                    <a:pt x="11" y="25"/>
                  </a:lnTo>
                  <a:lnTo>
                    <a:pt x="11" y="25"/>
                  </a:lnTo>
                  <a:lnTo>
                    <a:pt x="11" y="25"/>
                  </a:lnTo>
                  <a:lnTo>
                    <a:pt x="9" y="25"/>
                  </a:lnTo>
                  <a:lnTo>
                    <a:pt x="9" y="25"/>
                  </a:lnTo>
                  <a:lnTo>
                    <a:pt x="9" y="26"/>
                  </a:lnTo>
                  <a:lnTo>
                    <a:pt x="9" y="26"/>
                  </a:lnTo>
                  <a:lnTo>
                    <a:pt x="9" y="26"/>
                  </a:lnTo>
                  <a:lnTo>
                    <a:pt x="9" y="26"/>
                  </a:lnTo>
                  <a:lnTo>
                    <a:pt x="9" y="26"/>
                  </a:lnTo>
                  <a:lnTo>
                    <a:pt x="9" y="25"/>
                  </a:lnTo>
                  <a:lnTo>
                    <a:pt x="9" y="25"/>
                  </a:lnTo>
                  <a:lnTo>
                    <a:pt x="9" y="25"/>
                  </a:lnTo>
                  <a:lnTo>
                    <a:pt x="9" y="25"/>
                  </a:lnTo>
                  <a:lnTo>
                    <a:pt x="8" y="25"/>
                  </a:lnTo>
                  <a:lnTo>
                    <a:pt x="8" y="25"/>
                  </a:lnTo>
                  <a:lnTo>
                    <a:pt x="8" y="25"/>
                  </a:lnTo>
                  <a:lnTo>
                    <a:pt x="8" y="25"/>
                  </a:lnTo>
                  <a:lnTo>
                    <a:pt x="8" y="25"/>
                  </a:lnTo>
                  <a:lnTo>
                    <a:pt x="8" y="25"/>
                  </a:lnTo>
                  <a:lnTo>
                    <a:pt x="8" y="25"/>
                  </a:lnTo>
                  <a:lnTo>
                    <a:pt x="7" y="25"/>
                  </a:lnTo>
                  <a:lnTo>
                    <a:pt x="7" y="25"/>
                  </a:lnTo>
                  <a:lnTo>
                    <a:pt x="7" y="25"/>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25" name="Freeform 984">
              <a:extLst>
                <a:ext uri="{FF2B5EF4-FFF2-40B4-BE49-F238E27FC236}">
                  <a16:creationId xmlns:a16="http://schemas.microsoft.com/office/drawing/2014/main" id="{E9879296-C3B1-401F-A916-0A1FDCF94639}"/>
                </a:ext>
              </a:extLst>
            </p:cNvPr>
            <p:cNvSpPr>
              <a:spLocks/>
            </p:cNvSpPr>
            <p:nvPr/>
          </p:nvSpPr>
          <p:spPr bwMode="auto">
            <a:xfrm>
              <a:off x="6142971" y="2330886"/>
              <a:ext cx="157588" cy="96155"/>
            </a:xfrm>
            <a:custGeom>
              <a:avLst/>
              <a:gdLst>
                <a:gd name="T0" fmla="*/ 107 w 118"/>
                <a:gd name="T1" fmla="*/ 47 h 72"/>
                <a:gd name="T2" fmla="*/ 109 w 118"/>
                <a:gd name="T3" fmla="*/ 45 h 72"/>
                <a:gd name="T4" fmla="*/ 117 w 118"/>
                <a:gd name="T5" fmla="*/ 45 h 72"/>
                <a:gd name="T6" fmla="*/ 118 w 118"/>
                <a:gd name="T7" fmla="*/ 52 h 72"/>
                <a:gd name="T8" fmla="*/ 111 w 118"/>
                <a:gd name="T9" fmla="*/ 56 h 72"/>
                <a:gd name="T10" fmla="*/ 113 w 118"/>
                <a:gd name="T11" fmla="*/ 53 h 72"/>
                <a:gd name="T12" fmla="*/ 109 w 118"/>
                <a:gd name="T13" fmla="*/ 51 h 72"/>
                <a:gd name="T14" fmla="*/ 109 w 118"/>
                <a:gd name="T15" fmla="*/ 57 h 72"/>
                <a:gd name="T16" fmla="*/ 111 w 118"/>
                <a:gd name="T17" fmla="*/ 56 h 72"/>
                <a:gd name="T18" fmla="*/ 108 w 118"/>
                <a:gd name="T19" fmla="*/ 57 h 72"/>
                <a:gd name="T20" fmla="*/ 110 w 118"/>
                <a:gd name="T21" fmla="*/ 59 h 72"/>
                <a:gd name="T22" fmla="*/ 108 w 118"/>
                <a:gd name="T23" fmla="*/ 64 h 72"/>
                <a:gd name="T24" fmla="*/ 108 w 118"/>
                <a:gd name="T25" fmla="*/ 71 h 72"/>
                <a:gd name="T26" fmla="*/ 98 w 118"/>
                <a:gd name="T27" fmla="*/ 67 h 72"/>
                <a:gd name="T28" fmla="*/ 91 w 118"/>
                <a:gd name="T29" fmla="*/ 65 h 72"/>
                <a:gd name="T30" fmla="*/ 82 w 118"/>
                <a:gd name="T31" fmla="*/ 65 h 72"/>
                <a:gd name="T32" fmla="*/ 74 w 118"/>
                <a:gd name="T33" fmla="*/ 68 h 72"/>
                <a:gd name="T34" fmla="*/ 68 w 118"/>
                <a:gd name="T35" fmla="*/ 72 h 72"/>
                <a:gd name="T36" fmla="*/ 59 w 118"/>
                <a:gd name="T37" fmla="*/ 71 h 72"/>
                <a:gd name="T38" fmla="*/ 47 w 118"/>
                <a:gd name="T39" fmla="*/ 68 h 72"/>
                <a:gd name="T40" fmla="*/ 38 w 118"/>
                <a:gd name="T41" fmla="*/ 68 h 72"/>
                <a:gd name="T42" fmla="*/ 38 w 118"/>
                <a:gd name="T43" fmla="*/ 65 h 72"/>
                <a:gd name="T44" fmla="*/ 31 w 118"/>
                <a:gd name="T45" fmla="*/ 60 h 72"/>
                <a:gd name="T46" fmla="*/ 34 w 118"/>
                <a:gd name="T47" fmla="*/ 57 h 72"/>
                <a:gd name="T48" fmla="*/ 28 w 118"/>
                <a:gd name="T49" fmla="*/ 56 h 72"/>
                <a:gd name="T50" fmla="*/ 22 w 118"/>
                <a:gd name="T51" fmla="*/ 56 h 72"/>
                <a:gd name="T52" fmla="*/ 16 w 118"/>
                <a:gd name="T53" fmla="*/ 53 h 72"/>
                <a:gd name="T54" fmla="*/ 15 w 118"/>
                <a:gd name="T55" fmla="*/ 51 h 72"/>
                <a:gd name="T56" fmla="*/ 14 w 118"/>
                <a:gd name="T57" fmla="*/ 47 h 72"/>
                <a:gd name="T58" fmla="*/ 7 w 118"/>
                <a:gd name="T59" fmla="*/ 43 h 72"/>
                <a:gd name="T60" fmla="*/ 4 w 118"/>
                <a:gd name="T61" fmla="*/ 37 h 72"/>
                <a:gd name="T62" fmla="*/ 2 w 118"/>
                <a:gd name="T63" fmla="*/ 32 h 72"/>
                <a:gd name="T64" fmla="*/ 8 w 118"/>
                <a:gd name="T65" fmla="*/ 31 h 72"/>
                <a:gd name="T66" fmla="*/ 11 w 118"/>
                <a:gd name="T67" fmla="*/ 26 h 72"/>
                <a:gd name="T68" fmla="*/ 15 w 118"/>
                <a:gd name="T69" fmla="*/ 21 h 72"/>
                <a:gd name="T70" fmla="*/ 17 w 118"/>
                <a:gd name="T71" fmla="*/ 16 h 72"/>
                <a:gd name="T72" fmla="*/ 21 w 118"/>
                <a:gd name="T73" fmla="*/ 11 h 72"/>
                <a:gd name="T74" fmla="*/ 23 w 118"/>
                <a:gd name="T75" fmla="*/ 8 h 72"/>
                <a:gd name="T76" fmla="*/ 29 w 118"/>
                <a:gd name="T77" fmla="*/ 4 h 72"/>
                <a:gd name="T78" fmla="*/ 36 w 118"/>
                <a:gd name="T79" fmla="*/ 4 h 72"/>
                <a:gd name="T80" fmla="*/ 43 w 118"/>
                <a:gd name="T81" fmla="*/ 4 h 72"/>
                <a:gd name="T82" fmla="*/ 50 w 118"/>
                <a:gd name="T83" fmla="*/ 5 h 72"/>
                <a:gd name="T84" fmla="*/ 56 w 118"/>
                <a:gd name="T85" fmla="*/ 9 h 72"/>
                <a:gd name="T86" fmla="*/ 66 w 118"/>
                <a:gd name="T87" fmla="*/ 4 h 72"/>
                <a:gd name="T88" fmla="*/ 71 w 118"/>
                <a:gd name="T89" fmla="*/ 1 h 72"/>
                <a:gd name="T90" fmla="*/ 75 w 118"/>
                <a:gd name="T91" fmla="*/ 1 h 72"/>
                <a:gd name="T92" fmla="*/ 80 w 118"/>
                <a:gd name="T93" fmla="*/ 2 h 72"/>
                <a:gd name="T94" fmla="*/ 82 w 118"/>
                <a:gd name="T95" fmla="*/ 7 h 72"/>
                <a:gd name="T96" fmla="*/ 86 w 118"/>
                <a:gd name="T97" fmla="*/ 12 h 72"/>
                <a:gd name="T98" fmla="*/ 89 w 118"/>
                <a:gd name="T99" fmla="*/ 15 h 72"/>
                <a:gd name="T100" fmla="*/ 93 w 118"/>
                <a:gd name="T101" fmla="*/ 18 h 72"/>
                <a:gd name="T102" fmla="*/ 96 w 118"/>
                <a:gd name="T103" fmla="*/ 24 h 72"/>
                <a:gd name="T104" fmla="*/ 98 w 118"/>
                <a:gd name="T105" fmla="*/ 31 h 72"/>
                <a:gd name="T106" fmla="*/ 98 w 118"/>
                <a:gd name="T107" fmla="*/ 38 h 72"/>
                <a:gd name="T108" fmla="*/ 100 w 118"/>
                <a:gd name="T109" fmla="*/ 4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8" h="72">
                  <a:moveTo>
                    <a:pt x="100" y="44"/>
                  </a:moveTo>
                  <a:lnTo>
                    <a:pt x="101" y="44"/>
                  </a:lnTo>
                  <a:lnTo>
                    <a:pt x="101" y="45"/>
                  </a:lnTo>
                  <a:lnTo>
                    <a:pt x="102" y="46"/>
                  </a:lnTo>
                  <a:lnTo>
                    <a:pt x="103" y="46"/>
                  </a:lnTo>
                  <a:lnTo>
                    <a:pt x="104" y="46"/>
                  </a:lnTo>
                  <a:lnTo>
                    <a:pt x="107" y="47"/>
                  </a:lnTo>
                  <a:lnTo>
                    <a:pt x="108" y="47"/>
                  </a:lnTo>
                  <a:lnTo>
                    <a:pt x="107" y="46"/>
                  </a:lnTo>
                  <a:lnTo>
                    <a:pt x="107" y="45"/>
                  </a:lnTo>
                  <a:lnTo>
                    <a:pt x="108" y="45"/>
                  </a:lnTo>
                  <a:lnTo>
                    <a:pt x="108" y="46"/>
                  </a:lnTo>
                  <a:lnTo>
                    <a:pt x="109" y="46"/>
                  </a:lnTo>
                  <a:lnTo>
                    <a:pt x="109" y="45"/>
                  </a:lnTo>
                  <a:lnTo>
                    <a:pt x="110" y="45"/>
                  </a:lnTo>
                  <a:lnTo>
                    <a:pt x="111" y="45"/>
                  </a:lnTo>
                  <a:lnTo>
                    <a:pt x="111" y="44"/>
                  </a:lnTo>
                  <a:lnTo>
                    <a:pt x="113" y="44"/>
                  </a:lnTo>
                  <a:lnTo>
                    <a:pt x="114" y="44"/>
                  </a:lnTo>
                  <a:lnTo>
                    <a:pt x="115" y="44"/>
                  </a:lnTo>
                  <a:lnTo>
                    <a:pt x="117" y="45"/>
                  </a:lnTo>
                  <a:lnTo>
                    <a:pt x="118" y="45"/>
                  </a:lnTo>
                  <a:lnTo>
                    <a:pt x="118" y="46"/>
                  </a:lnTo>
                  <a:lnTo>
                    <a:pt x="118" y="47"/>
                  </a:lnTo>
                  <a:lnTo>
                    <a:pt x="118" y="49"/>
                  </a:lnTo>
                  <a:lnTo>
                    <a:pt x="118" y="50"/>
                  </a:lnTo>
                  <a:lnTo>
                    <a:pt x="118" y="51"/>
                  </a:lnTo>
                  <a:lnTo>
                    <a:pt x="118" y="52"/>
                  </a:lnTo>
                  <a:lnTo>
                    <a:pt x="118" y="53"/>
                  </a:lnTo>
                  <a:lnTo>
                    <a:pt x="117" y="53"/>
                  </a:lnTo>
                  <a:lnTo>
                    <a:pt x="115" y="53"/>
                  </a:lnTo>
                  <a:lnTo>
                    <a:pt x="114" y="54"/>
                  </a:lnTo>
                  <a:lnTo>
                    <a:pt x="113" y="54"/>
                  </a:lnTo>
                  <a:lnTo>
                    <a:pt x="111" y="54"/>
                  </a:lnTo>
                  <a:lnTo>
                    <a:pt x="111" y="56"/>
                  </a:lnTo>
                  <a:lnTo>
                    <a:pt x="111" y="54"/>
                  </a:lnTo>
                  <a:lnTo>
                    <a:pt x="110" y="54"/>
                  </a:lnTo>
                  <a:lnTo>
                    <a:pt x="111" y="54"/>
                  </a:lnTo>
                  <a:lnTo>
                    <a:pt x="113" y="54"/>
                  </a:lnTo>
                  <a:lnTo>
                    <a:pt x="113" y="53"/>
                  </a:lnTo>
                  <a:lnTo>
                    <a:pt x="113" y="52"/>
                  </a:lnTo>
                  <a:lnTo>
                    <a:pt x="113" y="53"/>
                  </a:lnTo>
                  <a:lnTo>
                    <a:pt x="111" y="53"/>
                  </a:lnTo>
                  <a:lnTo>
                    <a:pt x="111" y="52"/>
                  </a:lnTo>
                  <a:lnTo>
                    <a:pt x="111" y="51"/>
                  </a:lnTo>
                  <a:lnTo>
                    <a:pt x="113" y="51"/>
                  </a:lnTo>
                  <a:lnTo>
                    <a:pt x="111" y="51"/>
                  </a:lnTo>
                  <a:lnTo>
                    <a:pt x="110" y="51"/>
                  </a:lnTo>
                  <a:lnTo>
                    <a:pt x="109" y="51"/>
                  </a:lnTo>
                  <a:lnTo>
                    <a:pt x="109" y="52"/>
                  </a:lnTo>
                  <a:lnTo>
                    <a:pt x="109" y="53"/>
                  </a:lnTo>
                  <a:lnTo>
                    <a:pt x="110" y="53"/>
                  </a:lnTo>
                  <a:lnTo>
                    <a:pt x="110" y="54"/>
                  </a:lnTo>
                  <a:lnTo>
                    <a:pt x="109" y="54"/>
                  </a:lnTo>
                  <a:lnTo>
                    <a:pt x="109" y="56"/>
                  </a:lnTo>
                  <a:lnTo>
                    <a:pt x="109" y="57"/>
                  </a:lnTo>
                  <a:lnTo>
                    <a:pt x="109" y="56"/>
                  </a:lnTo>
                  <a:lnTo>
                    <a:pt x="110" y="56"/>
                  </a:lnTo>
                  <a:lnTo>
                    <a:pt x="111" y="56"/>
                  </a:lnTo>
                  <a:lnTo>
                    <a:pt x="111" y="57"/>
                  </a:lnTo>
                  <a:lnTo>
                    <a:pt x="110" y="57"/>
                  </a:lnTo>
                  <a:lnTo>
                    <a:pt x="110" y="56"/>
                  </a:lnTo>
                  <a:lnTo>
                    <a:pt x="111" y="56"/>
                  </a:lnTo>
                  <a:lnTo>
                    <a:pt x="110" y="56"/>
                  </a:lnTo>
                  <a:lnTo>
                    <a:pt x="109" y="57"/>
                  </a:lnTo>
                  <a:lnTo>
                    <a:pt x="108" y="57"/>
                  </a:lnTo>
                  <a:lnTo>
                    <a:pt x="109" y="57"/>
                  </a:lnTo>
                  <a:lnTo>
                    <a:pt x="108" y="57"/>
                  </a:lnTo>
                  <a:lnTo>
                    <a:pt x="109" y="57"/>
                  </a:lnTo>
                  <a:lnTo>
                    <a:pt x="108" y="57"/>
                  </a:lnTo>
                  <a:lnTo>
                    <a:pt x="108" y="58"/>
                  </a:lnTo>
                  <a:lnTo>
                    <a:pt x="109" y="58"/>
                  </a:lnTo>
                  <a:lnTo>
                    <a:pt x="109" y="59"/>
                  </a:lnTo>
                  <a:lnTo>
                    <a:pt x="109" y="58"/>
                  </a:lnTo>
                  <a:lnTo>
                    <a:pt x="110" y="58"/>
                  </a:lnTo>
                  <a:lnTo>
                    <a:pt x="110" y="57"/>
                  </a:lnTo>
                  <a:lnTo>
                    <a:pt x="110" y="59"/>
                  </a:lnTo>
                  <a:lnTo>
                    <a:pt x="109" y="59"/>
                  </a:lnTo>
                  <a:lnTo>
                    <a:pt x="108" y="60"/>
                  </a:lnTo>
                  <a:lnTo>
                    <a:pt x="108" y="61"/>
                  </a:lnTo>
                  <a:lnTo>
                    <a:pt x="108" y="60"/>
                  </a:lnTo>
                  <a:lnTo>
                    <a:pt x="108" y="61"/>
                  </a:lnTo>
                  <a:lnTo>
                    <a:pt x="108" y="63"/>
                  </a:lnTo>
                  <a:lnTo>
                    <a:pt x="108" y="64"/>
                  </a:lnTo>
                  <a:lnTo>
                    <a:pt x="108" y="65"/>
                  </a:lnTo>
                  <a:lnTo>
                    <a:pt x="109" y="66"/>
                  </a:lnTo>
                  <a:lnTo>
                    <a:pt x="109" y="67"/>
                  </a:lnTo>
                  <a:lnTo>
                    <a:pt x="108" y="67"/>
                  </a:lnTo>
                  <a:lnTo>
                    <a:pt x="108" y="68"/>
                  </a:lnTo>
                  <a:lnTo>
                    <a:pt x="108" y="70"/>
                  </a:lnTo>
                  <a:lnTo>
                    <a:pt x="108" y="71"/>
                  </a:lnTo>
                  <a:lnTo>
                    <a:pt x="107" y="71"/>
                  </a:lnTo>
                  <a:lnTo>
                    <a:pt x="103" y="70"/>
                  </a:lnTo>
                  <a:lnTo>
                    <a:pt x="101" y="68"/>
                  </a:lnTo>
                  <a:lnTo>
                    <a:pt x="100" y="68"/>
                  </a:lnTo>
                  <a:lnTo>
                    <a:pt x="100" y="67"/>
                  </a:lnTo>
                  <a:lnTo>
                    <a:pt x="99" y="66"/>
                  </a:lnTo>
                  <a:lnTo>
                    <a:pt x="98" y="67"/>
                  </a:lnTo>
                  <a:lnTo>
                    <a:pt x="96" y="67"/>
                  </a:lnTo>
                  <a:lnTo>
                    <a:pt x="96" y="66"/>
                  </a:lnTo>
                  <a:lnTo>
                    <a:pt x="95" y="66"/>
                  </a:lnTo>
                  <a:lnTo>
                    <a:pt x="93" y="66"/>
                  </a:lnTo>
                  <a:lnTo>
                    <a:pt x="92" y="66"/>
                  </a:lnTo>
                  <a:lnTo>
                    <a:pt x="92" y="65"/>
                  </a:lnTo>
                  <a:lnTo>
                    <a:pt x="91" y="65"/>
                  </a:lnTo>
                  <a:lnTo>
                    <a:pt x="91" y="64"/>
                  </a:lnTo>
                  <a:lnTo>
                    <a:pt x="88" y="64"/>
                  </a:lnTo>
                  <a:lnTo>
                    <a:pt x="87" y="64"/>
                  </a:lnTo>
                  <a:lnTo>
                    <a:pt x="86" y="64"/>
                  </a:lnTo>
                  <a:lnTo>
                    <a:pt x="85" y="65"/>
                  </a:lnTo>
                  <a:lnTo>
                    <a:pt x="84" y="65"/>
                  </a:lnTo>
                  <a:lnTo>
                    <a:pt x="82" y="65"/>
                  </a:lnTo>
                  <a:lnTo>
                    <a:pt x="80" y="65"/>
                  </a:lnTo>
                  <a:lnTo>
                    <a:pt x="79" y="65"/>
                  </a:lnTo>
                  <a:lnTo>
                    <a:pt x="78" y="66"/>
                  </a:lnTo>
                  <a:lnTo>
                    <a:pt x="77" y="66"/>
                  </a:lnTo>
                  <a:lnTo>
                    <a:pt x="77" y="67"/>
                  </a:lnTo>
                  <a:lnTo>
                    <a:pt x="75" y="67"/>
                  </a:lnTo>
                  <a:lnTo>
                    <a:pt x="74" y="68"/>
                  </a:lnTo>
                  <a:lnTo>
                    <a:pt x="74" y="70"/>
                  </a:lnTo>
                  <a:lnTo>
                    <a:pt x="73" y="70"/>
                  </a:lnTo>
                  <a:lnTo>
                    <a:pt x="73" y="71"/>
                  </a:lnTo>
                  <a:lnTo>
                    <a:pt x="72" y="71"/>
                  </a:lnTo>
                  <a:lnTo>
                    <a:pt x="71" y="71"/>
                  </a:lnTo>
                  <a:lnTo>
                    <a:pt x="70" y="72"/>
                  </a:lnTo>
                  <a:lnTo>
                    <a:pt x="68" y="72"/>
                  </a:lnTo>
                  <a:lnTo>
                    <a:pt x="67" y="72"/>
                  </a:lnTo>
                  <a:lnTo>
                    <a:pt x="67" y="71"/>
                  </a:lnTo>
                  <a:lnTo>
                    <a:pt x="66" y="71"/>
                  </a:lnTo>
                  <a:lnTo>
                    <a:pt x="64" y="71"/>
                  </a:lnTo>
                  <a:lnTo>
                    <a:pt x="63" y="71"/>
                  </a:lnTo>
                  <a:lnTo>
                    <a:pt x="60" y="71"/>
                  </a:lnTo>
                  <a:lnTo>
                    <a:pt x="59" y="71"/>
                  </a:lnTo>
                  <a:lnTo>
                    <a:pt x="59" y="70"/>
                  </a:lnTo>
                  <a:lnTo>
                    <a:pt x="57" y="70"/>
                  </a:lnTo>
                  <a:lnTo>
                    <a:pt x="56" y="70"/>
                  </a:lnTo>
                  <a:lnTo>
                    <a:pt x="54" y="70"/>
                  </a:lnTo>
                  <a:lnTo>
                    <a:pt x="52" y="70"/>
                  </a:lnTo>
                  <a:lnTo>
                    <a:pt x="47" y="70"/>
                  </a:lnTo>
                  <a:lnTo>
                    <a:pt x="47" y="68"/>
                  </a:lnTo>
                  <a:lnTo>
                    <a:pt x="46" y="68"/>
                  </a:lnTo>
                  <a:lnTo>
                    <a:pt x="45" y="68"/>
                  </a:lnTo>
                  <a:lnTo>
                    <a:pt x="44" y="68"/>
                  </a:lnTo>
                  <a:lnTo>
                    <a:pt x="42" y="68"/>
                  </a:lnTo>
                  <a:lnTo>
                    <a:pt x="40" y="68"/>
                  </a:lnTo>
                  <a:lnTo>
                    <a:pt x="39" y="68"/>
                  </a:lnTo>
                  <a:lnTo>
                    <a:pt x="38" y="68"/>
                  </a:lnTo>
                  <a:lnTo>
                    <a:pt x="37" y="68"/>
                  </a:lnTo>
                  <a:lnTo>
                    <a:pt x="36" y="68"/>
                  </a:lnTo>
                  <a:lnTo>
                    <a:pt x="36" y="67"/>
                  </a:lnTo>
                  <a:lnTo>
                    <a:pt x="36" y="66"/>
                  </a:lnTo>
                  <a:lnTo>
                    <a:pt x="37" y="66"/>
                  </a:lnTo>
                  <a:lnTo>
                    <a:pt x="38" y="66"/>
                  </a:lnTo>
                  <a:lnTo>
                    <a:pt x="38" y="65"/>
                  </a:lnTo>
                  <a:lnTo>
                    <a:pt x="37" y="65"/>
                  </a:lnTo>
                  <a:lnTo>
                    <a:pt x="36" y="65"/>
                  </a:lnTo>
                  <a:lnTo>
                    <a:pt x="34" y="63"/>
                  </a:lnTo>
                  <a:lnTo>
                    <a:pt x="34" y="61"/>
                  </a:lnTo>
                  <a:lnTo>
                    <a:pt x="32" y="61"/>
                  </a:lnTo>
                  <a:lnTo>
                    <a:pt x="31" y="61"/>
                  </a:lnTo>
                  <a:lnTo>
                    <a:pt x="31" y="60"/>
                  </a:lnTo>
                  <a:lnTo>
                    <a:pt x="30" y="60"/>
                  </a:lnTo>
                  <a:lnTo>
                    <a:pt x="30" y="59"/>
                  </a:lnTo>
                  <a:lnTo>
                    <a:pt x="30" y="58"/>
                  </a:lnTo>
                  <a:lnTo>
                    <a:pt x="31" y="58"/>
                  </a:lnTo>
                  <a:lnTo>
                    <a:pt x="32" y="58"/>
                  </a:lnTo>
                  <a:lnTo>
                    <a:pt x="34" y="58"/>
                  </a:lnTo>
                  <a:lnTo>
                    <a:pt x="34" y="57"/>
                  </a:lnTo>
                  <a:lnTo>
                    <a:pt x="32" y="57"/>
                  </a:lnTo>
                  <a:lnTo>
                    <a:pt x="31" y="57"/>
                  </a:lnTo>
                  <a:lnTo>
                    <a:pt x="31" y="56"/>
                  </a:lnTo>
                  <a:lnTo>
                    <a:pt x="30" y="54"/>
                  </a:lnTo>
                  <a:lnTo>
                    <a:pt x="29" y="54"/>
                  </a:lnTo>
                  <a:lnTo>
                    <a:pt x="29" y="56"/>
                  </a:lnTo>
                  <a:lnTo>
                    <a:pt x="28" y="56"/>
                  </a:lnTo>
                  <a:lnTo>
                    <a:pt x="27" y="58"/>
                  </a:lnTo>
                  <a:lnTo>
                    <a:pt x="25" y="58"/>
                  </a:lnTo>
                  <a:lnTo>
                    <a:pt x="24" y="58"/>
                  </a:lnTo>
                  <a:lnTo>
                    <a:pt x="24" y="57"/>
                  </a:lnTo>
                  <a:lnTo>
                    <a:pt x="24" y="56"/>
                  </a:lnTo>
                  <a:lnTo>
                    <a:pt x="23" y="56"/>
                  </a:lnTo>
                  <a:lnTo>
                    <a:pt x="22" y="56"/>
                  </a:lnTo>
                  <a:lnTo>
                    <a:pt x="21" y="56"/>
                  </a:lnTo>
                  <a:lnTo>
                    <a:pt x="20" y="56"/>
                  </a:lnTo>
                  <a:lnTo>
                    <a:pt x="18" y="56"/>
                  </a:lnTo>
                  <a:lnTo>
                    <a:pt x="18" y="54"/>
                  </a:lnTo>
                  <a:lnTo>
                    <a:pt x="17" y="54"/>
                  </a:lnTo>
                  <a:lnTo>
                    <a:pt x="16" y="54"/>
                  </a:lnTo>
                  <a:lnTo>
                    <a:pt x="16" y="53"/>
                  </a:lnTo>
                  <a:lnTo>
                    <a:pt x="15" y="53"/>
                  </a:lnTo>
                  <a:lnTo>
                    <a:pt x="16" y="53"/>
                  </a:lnTo>
                  <a:lnTo>
                    <a:pt x="16" y="52"/>
                  </a:lnTo>
                  <a:lnTo>
                    <a:pt x="16" y="53"/>
                  </a:lnTo>
                  <a:lnTo>
                    <a:pt x="17" y="52"/>
                  </a:lnTo>
                  <a:lnTo>
                    <a:pt x="16" y="51"/>
                  </a:lnTo>
                  <a:lnTo>
                    <a:pt x="15" y="51"/>
                  </a:lnTo>
                  <a:lnTo>
                    <a:pt x="16" y="50"/>
                  </a:lnTo>
                  <a:lnTo>
                    <a:pt x="16" y="49"/>
                  </a:lnTo>
                  <a:lnTo>
                    <a:pt x="17" y="49"/>
                  </a:lnTo>
                  <a:lnTo>
                    <a:pt x="16" y="49"/>
                  </a:lnTo>
                  <a:lnTo>
                    <a:pt x="16" y="47"/>
                  </a:lnTo>
                  <a:lnTo>
                    <a:pt x="15" y="47"/>
                  </a:lnTo>
                  <a:lnTo>
                    <a:pt x="14" y="47"/>
                  </a:lnTo>
                  <a:lnTo>
                    <a:pt x="13" y="47"/>
                  </a:lnTo>
                  <a:lnTo>
                    <a:pt x="13" y="46"/>
                  </a:lnTo>
                  <a:lnTo>
                    <a:pt x="11" y="46"/>
                  </a:lnTo>
                  <a:lnTo>
                    <a:pt x="10" y="45"/>
                  </a:lnTo>
                  <a:lnTo>
                    <a:pt x="9" y="45"/>
                  </a:lnTo>
                  <a:lnTo>
                    <a:pt x="8" y="44"/>
                  </a:lnTo>
                  <a:lnTo>
                    <a:pt x="7" y="43"/>
                  </a:lnTo>
                  <a:lnTo>
                    <a:pt x="7" y="42"/>
                  </a:lnTo>
                  <a:lnTo>
                    <a:pt x="7" y="40"/>
                  </a:lnTo>
                  <a:lnTo>
                    <a:pt x="7" y="39"/>
                  </a:lnTo>
                  <a:lnTo>
                    <a:pt x="6" y="39"/>
                  </a:lnTo>
                  <a:lnTo>
                    <a:pt x="6" y="38"/>
                  </a:lnTo>
                  <a:lnTo>
                    <a:pt x="4" y="38"/>
                  </a:lnTo>
                  <a:lnTo>
                    <a:pt x="4" y="37"/>
                  </a:lnTo>
                  <a:lnTo>
                    <a:pt x="3" y="37"/>
                  </a:lnTo>
                  <a:lnTo>
                    <a:pt x="2" y="36"/>
                  </a:lnTo>
                  <a:lnTo>
                    <a:pt x="1" y="36"/>
                  </a:lnTo>
                  <a:lnTo>
                    <a:pt x="1" y="35"/>
                  </a:lnTo>
                  <a:lnTo>
                    <a:pt x="0" y="33"/>
                  </a:lnTo>
                  <a:lnTo>
                    <a:pt x="2" y="33"/>
                  </a:lnTo>
                  <a:lnTo>
                    <a:pt x="2" y="32"/>
                  </a:lnTo>
                  <a:lnTo>
                    <a:pt x="3" y="32"/>
                  </a:lnTo>
                  <a:lnTo>
                    <a:pt x="3" y="33"/>
                  </a:lnTo>
                  <a:lnTo>
                    <a:pt x="4" y="33"/>
                  </a:lnTo>
                  <a:lnTo>
                    <a:pt x="6" y="32"/>
                  </a:lnTo>
                  <a:lnTo>
                    <a:pt x="6" y="31"/>
                  </a:lnTo>
                  <a:lnTo>
                    <a:pt x="7" y="31"/>
                  </a:lnTo>
                  <a:lnTo>
                    <a:pt x="8" y="31"/>
                  </a:lnTo>
                  <a:lnTo>
                    <a:pt x="9" y="31"/>
                  </a:lnTo>
                  <a:lnTo>
                    <a:pt x="10" y="31"/>
                  </a:lnTo>
                  <a:lnTo>
                    <a:pt x="10" y="30"/>
                  </a:lnTo>
                  <a:lnTo>
                    <a:pt x="10" y="29"/>
                  </a:lnTo>
                  <a:lnTo>
                    <a:pt x="11" y="29"/>
                  </a:lnTo>
                  <a:lnTo>
                    <a:pt x="11" y="28"/>
                  </a:lnTo>
                  <a:lnTo>
                    <a:pt x="11" y="26"/>
                  </a:lnTo>
                  <a:lnTo>
                    <a:pt x="11" y="25"/>
                  </a:lnTo>
                  <a:lnTo>
                    <a:pt x="13" y="25"/>
                  </a:lnTo>
                  <a:lnTo>
                    <a:pt x="14" y="25"/>
                  </a:lnTo>
                  <a:lnTo>
                    <a:pt x="14" y="24"/>
                  </a:lnTo>
                  <a:lnTo>
                    <a:pt x="14" y="23"/>
                  </a:lnTo>
                  <a:lnTo>
                    <a:pt x="15" y="22"/>
                  </a:lnTo>
                  <a:lnTo>
                    <a:pt x="15" y="21"/>
                  </a:lnTo>
                  <a:lnTo>
                    <a:pt x="16" y="21"/>
                  </a:lnTo>
                  <a:lnTo>
                    <a:pt x="16" y="19"/>
                  </a:lnTo>
                  <a:lnTo>
                    <a:pt x="15" y="19"/>
                  </a:lnTo>
                  <a:lnTo>
                    <a:pt x="16" y="18"/>
                  </a:lnTo>
                  <a:lnTo>
                    <a:pt x="17" y="18"/>
                  </a:lnTo>
                  <a:lnTo>
                    <a:pt x="17" y="17"/>
                  </a:lnTo>
                  <a:lnTo>
                    <a:pt x="17" y="16"/>
                  </a:lnTo>
                  <a:lnTo>
                    <a:pt x="17" y="15"/>
                  </a:lnTo>
                  <a:lnTo>
                    <a:pt x="18" y="15"/>
                  </a:lnTo>
                  <a:lnTo>
                    <a:pt x="18" y="14"/>
                  </a:lnTo>
                  <a:lnTo>
                    <a:pt x="20" y="14"/>
                  </a:lnTo>
                  <a:lnTo>
                    <a:pt x="18" y="12"/>
                  </a:lnTo>
                  <a:lnTo>
                    <a:pt x="20" y="11"/>
                  </a:lnTo>
                  <a:lnTo>
                    <a:pt x="21" y="11"/>
                  </a:lnTo>
                  <a:lnTo>
                    <a:pt x="21" y="10"/>
                  </a:lnTo>
                  <a:lnTo>
                    <a:pt x="21" y="9"/>
                  </a:lnTo>
                  <a:lnTo>
                    <a:pt x="22" y="9"/>
                  </a:lnTo>
                  <a:lnTo>
                    <a:pt x="22" y="8"/>
                  </a:lnTo>
                  <a:lnTo>
                    <a:pt x="23" y="8"/>
                  </a:lnTo>
                  <a:lnTo>
                    <a:pt x="23" y="9"/>
                  </a:lnTo>
                  <a:lnTo>
                    <a:pt x="23" y="8"/>
                  </a:lnTo>
                  <a:lnTo>
                    <a:pt x="24" y="8"/>
                  </a:lnTo>
                  <a:lnTo>
                    <a:pt x="25" y="8"/>
                  </a:lnTo>
                  <a:lnTo>
                    <a:pt x="27" y="8"/>
                  </a:lnTo>
                  <a:lnTo>
                    <a:pt x="27" y="7"/>
                  </a:lnTo>
                  <a:lnTo>
                    <a:pt x="28" y="7"/>
                  </a:lnTo>
                  <a:lnTo>
                    <a:pt x="29" y="5"/>
                  </a:lnTo>
                  <a:lnTo>
                    <a:pt x="29" y="4"/>
                  </a:lnTo>
                  <a:lnTo>
                    <a:pt x="30" y="4"/>
                  </a:lnTo>
                  <a:lnTo>
                    <a:pt x="31" y="4"/>
                  </a:lnTo>
                  <a:lnTo>
                    <a:pt x="31" y="3"/>
                  </a:lnTo>
                  <a:lnTo>
                    <a:pt x="32" y="3"/>
                  </a:lnTo>
                  <a:lnTo>
                    <a:pt x="34" y="3"/>
                  </a:lnTo>
                  <a:lnTo>
                    <a:pt x="35" y="4"/>
                  </a:lnTo>
                  <a:lnTo>
                    <a:pt x="36" y="4"/>
                  </a:lnTo>
                  <a:lnTo>
                    <a:pt x="37" y="4"/>
                  </a:lnTo>
                  <a:lnTo>
                    <a:pt x="38" y="4"/>
                  </a:lnTo>
                  <a:lnTo>
                    <a:pt x="39" y="4"/>
                  </a:lnTo>
                  <a:lnTo>
                    <a:pt x="40" y="4"/>
                  </a:lnTo>
                  <a:lnTo>
                    <a:pt x="40" y="5"/>
                  </a:lnTo>
                  <a:lnTo>
                    <a:pt x="42" y="5"/>
                  </a:lnTo>
                  <a:lnTo>
                    <a:pt x="43" y="4"/>
                  </a:lnTo>
                  <a:lnTo>
                    <a:pt x="43" y="5"/>
                  </a:lnTo>
                  <a:lnTo>
                    <a:pt x="44" y="5"/>
                  </a:lnTo>
                  <a:lnTo>
                    <a:pt x="45" y="5"/>
                  </a:lnTo>
                  <a:lnTo>
                    <a:pt x="46" y="5"/>
                  </a:lnTo>
                  <a:lnTo>
                    <a:pt x="47" y="5"/>
                  </a:lnTo>
                  <a:lnTo>
                    <a:pt x="49" y="5"/>
                  </a:lnTo>
                  <a:lnTo>
                    <a:pt x="50" y="5"/>
                  </a:lnTo>
                  <a:lnTo>
                    <a:pt x="51" y="5"/>
                  </a:lnTo>
                  <a:lnTo>
                    <a:pt x="51" y="7"/>
                  </a:lnTo>
                  <a:lnTo>
                    <a:pt x="52" y="7"/>
                  </a:lnTo>
                  <a:lnTo>
                    <a:pt x="52" y="8"/>
                  </a:lnTo>
                  <a:lnTo>
                    <a:pt x="53" y="8"/>
                  </a:lnTo>
                  <a:lnTo>
                    <a:pt x="54" y="9"/>
                  </a:lnTo>
                  <a:lnTo>
                    <a:pt x="56" y="9"/>
                  </a:lnTo>
                  <a:lnTo>
                    <a:pt x="57" y="8"/>
                  </a:lnTo>
                  <a:lnTo>
                    <a:pt x="58" y="7"/>
                  </a:lnTo>
                  <a:lnTo>
                    <a:pt x="58" y="5"/>
                  </a:lnTo>
                  <a:lnTo>
                    <a:pt x="64" y="5"/>
                  </a:lnTo>
                  <a:lnTo>
                    <a:pt x="65" y="5"/>
                  </a:lnTo>
                  <a:lnTo>
                    <a:pt x="66" y="5"/>
                  </a:lnTo>
                  <a:lnTo>
                    <a:pt x="66" y="4"/>
                  </a:lnTo>
                  <a:lnTo>
                    <a:pt x="67" y="4"/>
                  </a:lnTo>
                  <a:lnTo>
                    <a:pt x="68" y="4"/>
                  </a:lnTo>
                  <a:lnTo>
                    <a:pt x="70" y="4"/>
                  </a:lnTo>
                  <a:lnTo>
                    <a:pt x="70" y="3"/>
                  </a:lnTo>
                  <a:lnTo>
                    <a:pt x="71" y="3"/>
                  </a:lnTo>
                  <a:lnTo>
                    <a:pt x="71" y="2"/>
                  </a:lnTo>
                  <a:lnTo>
                    <a:pt x="71" y="1"/>
                  </a:lnTo>
                  <a:lnTo>
                    <a:pt x="72" y="1"/>
                  </a:lnTo>
                  <a:lnTo>
                    <a:pt x="74" y="1"/>
                  </a:lnTo>
                  <a:lnTo>
                    <a:pt x="74" y="0"/>
                  </a:lnTo>
                  <a:lnTo>
                    <a:pt x="75" y="0"/>
                  </a:lnTo>
                  <a:lnTo>
                    <a:pt x="75" y="1"/>
                  </a:lnTo>
                  <a:lnTo>
                    <a:pt x="75" y="0"/>
                  </a:lnTo>
                  <a:lnTo>
                    <a:pt x="75" y="1"/>
                  </a:lnTo>
                  <a:lnTo>
                    <a:pt x="77" y="1"/>
                  </a:lnTo>
                  <a:lnTo>
                    <a:pt x="78" y="1"/>
                  </a:lnTo>
                  <a:lnTo>
                    <a:pt x="78" y="2"/>
                  </a:lnTo>
                  <a:lnTo>
                    <a:pt x="78" y="1"/>
                  </a:lnTo>
                  <a:lnTo>
                    <a:pt x="79" y="1"/>
                  </a:lnTo>
                  <a:lnTo>
                    <a:pt x="79" y="2"/>
                  </a:lnTo>
                  <a:lnTo>
                    <a:pt x="80" y="2"/>
                  </a:lnTo>
                  <a:lnTo>
                    <a:pt x="80" y="3"/>
                  </a:lnTo>
                  <a:lnTo>
                    <a:pt x="81" y="4"/>
                  </a:lnTo>
                  <a:lnTo>
                    <a:pt x="80" y="4"/>
                  </a:lnTo>
                  <a:lnTo>
                    <a:pt x="81" y="4"/>
                  </a:lnTo>
                  <a:lnTo>
                    <a:pt x="81" y="5"/>
                  </a:lnTo>
                  <a:lnTo>
                    <a:pt x="82" y="5"/>
                  </a:lnTo>
                  <a:lnTo>
                    <a:pt x="82" y="7"/>
                  </a:lnTo>
                  <a:lnTo>
                    <a:pt x="82" y="8"/>
                  </a:lnTo>
                  <a:lnTo>
                    <a:pt x="84" y="8"/>
                  </a:lnTo>
                  <a:lnTo>
                    <a:pt x="84" y="9"/>
                  </a:lnTo>
                  <a:lnTo>
                    <a:pt x="85" y="10"/>
                  </a:lnTo>
                  <a:lnTo>
                    <a:pt x="86" y="10"/>
                  </a:lnTo>
                  <a:lnTo>
                    <a:pt x="86" y="11"/>
                  </a:lnTo>
                  <a:lnTo>
                    <a:pt x="86" y="12"/>
                  </a:lnTo>
                  <a:lnTo>
                    <a:pt x="87" y="12"/>
                  </a:lnTo>
                  <a:lnTo>
                    <a:pt x="88" y="12"/>
                  </a:lnTo>
                  <a:lnTo>
                    <a:pt x="87" y="12"/>
                  </a:lnTo>
                  <a:lnTo>
                    <a:pt x="87" y="14"/>
                  </a:lnTo>
                  <a:lnTo>
                    <a:pt x="88" y="14"/>
                  </a:lnTo>
                  <a:lnTo>
                    <a:pt x="88" y="15"/>
                  </a:lnTo>
                  <a:lnTo>
                    <a:pt x="89" y="15"/>
                  </a:lnTo>
                  <a:lnTo>
                    <a:pt x="91" y="16"/>
                  </a:lnTo>
                  <a:lnTo>
                    <a:pt x="91" y="17"/>
                  </a:lnTo>
                  <a:lnTo>
                    <a:pt x="92" y="17"/>
                  </a:lnTo>
                  <a:lnTo>
                    <a:pt x="91" y="17"/>
                  </a:lnTo>
                  <a:lnTo>
                    <a:pt x="92" y="17"/>
                  </a:lnTo>
                  <a:lnTo>
                    <a:pt x="92" y="18"/>
                  </a:lnTo>
                  <a:lnTo>
                    <a:pt x="93" y="18"/>
                  </a:lnTo>
                  <a:lnTo>
                    <a:pt x="93" y="19"/>
                  </a:lnTo>
                  <a:lnTo>
                    <a:pt x="94" y="19"/>
                  </a:lnTo>
                  <a:lnTo>
                    <a:pt x="95" y="19"/>
                  </a:lnTo>
                  <a:lnTo>
                    <a:pt x="95" y="21"/>
                  </a:lnTo>
                  <a:lnTo>
                    <a:pt x="95" y="22"/>
                  </a:lnTo>
                  <a:lnTo>
                    <a:pt x="96" y="23"/>
                  </a:lnTo>
                  <a:lnTo>
                    <a:pt x="96" y="24"/>
                  </a:lnTo>
                  <a:lnTo>
                    <a:pt x="98" y="25"/>
                  </a:lnTo>
                  <a:lnTo>
                    <a:pt x="98" y="26"/>
                  </a:lnTo>
                  <a:lnTo>
                    <a:pt x="98" y="28"/>
                  </a:lnTo>
                  <a:lnTo>
                    <a:pt x="99" y="29"/>
                  </a:lnTo>
                  <a:lnTo>
                    <a:pt x="98" y="29"/>
                  </a:lnTo>
                  <a:lnTo>
                    <a:pt x="98" y="30"/>
                  </a:lnTo>
                  <a:lnTo>
                    <a:pt x="98" y="31"/>
                  </a:lnTo>
                  <a:lnTo>
                    <a:pt x="96" y="31"/>
                  </a:lnTo>
                  <a:lnTo>
                    <a:pt x="98" y="32"/>
                  </a:lnTo>
                  <a:lnTo>
                    <a:pt x="98" y="33"/>
                  </a:lnTo>
                  <a:lnTo>
                    <a:pt x="98" y="35"/>
                  </a:lnTo>
                  <a:lnTo>
                    <a:pt x="98" y="36"/>
                  </a:lnTo>
                  <a:lnTo>
                    <a:pt x="98" y="37"/>
                  </a:lnTo>
                  <a:lnTo>
                    <a:pt x="98" y="38"/>
                  </a:lnTo>
                  <a:lnTo>
                    <a:pt x="99" y="39"/>
                  </a:lnTo>
                  <a:lnTo>
                    <a:pt x="99" y="40"/>
                  </a:lnTo>
                  <a:lnTo>
                    <a:pt x="98" y="42"/>
                  </a:lnTo>
                  <a:lnTo>
                    <a:pt x="99" y="42"/>
                  </a:lnTo>
                  <a:lnTo>
                    <a:pt x="99" y="43"/>
                  </a:lnTo>
                  <a:lnTo>
                    <a:pt x="100" y="43"/>
                  </a:lnTo>
                  <a:lnTo>
                    <a:pt x="100" y="44"/>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26" name="Freeform 985">
              <a:extLst>
                <a:ext uri="{FF2B5EF4-FFF2-40B4-BE49-F238E27FC236}">
                  <a16:creationId xmlns:a16="http://schemas.microsoft.com/office/drawing/2014/main" id="{DA47E456-579B-4AF5-BE5A-F7CE4981FFEF}"/>
                </a:ext>
              </a:extLst>
            </p:cNvPr>
            <p:cNvSpPr>
              <a:spLocks noEditPoints="1"/>
            </p:cNvSpPr>
            <p:nvPr/>
          </p:nvSpPr>
          <p:spPr bwMode="auto">
            <a:xfrm>
              <a:off x="3260987" y="1720568"/>
              <a:ext cx="5171010" cy="757222"/>
            </a:xfrm>
            <a:custGeom>
              <a:avLst/>
              <a:gdLst>
                <a:gd name="T0" fmla="*/ 113 w 3872"/>
                <a:gd name="T1" fmla="*/ 182 h 567"/>
                <a:gd name="T2" fmla="*/ 47 w 3872"/>
                <a:gd name="T3" fmla="*/ 213 h 567"/>
                <a:gd name="T4" fmla="*/ 3776 w 3872"/>
                <a:gd name="T5" fmla="*/ 209 h 567"/>
                <a:gd name="T6" fmla="*/ 3826 w 3872"/>
                <a:gd name="T7" fmla="*/ 244 h 567"/>
                <a:gd name="T8" fmla="*/ 3743 w 3872"/>
                <a:gd name="T9" fmla="*/ 279 h 567"/>
                <a:gd name="T10" fmla="*/ 3797 w 3872"/>
                <a:gd name="T11" fmla="*/ 362 h 567"/>
                <a:gd name="T12" fmla="*/ 3700 w 3872"/>
                <a:gd name="T13" fmla="*/ 311 h 567"/>
                <a:gd name="T14" fmla="*/ 3680 w 3872"/>
                <a:gd name="T15" fmla="*/ 271 h 567"/>
                <a:gd name="T16" fmla="*/ 3618 w 3872"/>
                <a:gd name="T17" fmla="*/ 294 h 567"/>
                <a:gd name="T18" fmla="*/ 3495 w 3872"/>
                <a:gd name="T19" fmla="*/ 329 h 567"/>
                <a:gd name="T20" fmla="*/ 3580 w 3872"/>
                <a:gd name="T21" fmla="*/ 387 h 567"/>
                <a:gd name="T22" fmla="*/ 3584 w 3872"/>
                <a:gd name="T23" fmla="*/ 541 h 567"/>
                <a:gd name="T24" fmla="*/ 3556 w 3872"/>
                <a:gd name="T25" fmla="*/ 458 h 567"/>
                <a:gd name="T26" fmla="*/ 3360 w 3872"/>
                <a:gd name="T27" fmla="*/ 376 h 567"/>
                <a:gd name="T28" fmla="*/ 3168 w 3872"/>
                <a:gd name="T29" fmla="*/ 425 h 567"/>
                <a:gd name="T30" fmla="*/ 2978 w 3872"/>
                <a:gd name="T31" fmla="*/ 439 h 567"/>
                <a:gd name="T32" fmla="*/ 2771 w 3872"/>
                <a:gd name="T33" fmla="*/ 378 h 567"/>
                <a:gd name="T34" fmla="*/ 2631 w 3872"/>
                <a:gd name="T35" fmla="*/ 376 h 567"/>
                <a:gd name="T36" fmla="*/ 2529 w 3872"/>
                <a:gd name="T37" fmla="*/ 405 h 567"/>
                <a:gd name="T38" fmla="*/ 2496 w 3872"/>
                <a:gd name="T39" fmla="*/ 501 h 567"/>
                <a:gd name="T40" fmla="*/ 2395 w 3872"/>
                <a:gd name="T41" fmla="*/ 521 h 567"/>
                <a:gd name="T42" fmla="*/ 2394 w 3872"/>
                <a:gd name="T43" fmla="*/ 448 h 567"/>
                <a:gd name="T44" fmla="*/ 2273 w 3872"/>
                <a:gd name="T45" fmla="*/ 366 h 567"/>
                <a:gd name="T46" fmla="*/ 2216 w 3872"/>
                <a:gd name="T47" fmla="*/ 272 h 567"/>
                <a:gd name="T48" fmla="*/ 2244 w 3872"/>
                <a:gd name="T49" fmla="*/ 151 h 567"/>
                <a:gd name="T50" fmla="*/ 2246 w 3872"/>
                <a:gd name="T51" fmla="*/ 185 h 567"/>
                <a:gd name="T52" fmla="*/ 2337 w 3872"/>
                <a:gd name="T53" fmla="*/ 215 h 567"/>
                <a:gd name="T54" fmla="*/ 2411 w 3872"/>
                <a:gd name="T55" fmla="*/ 171 h 567"/>
                <a:gd name="T56" fmla="*/ 2574 w 3872"/>
                <a:gd name="T57" fmla="*/ 154 h 567"/>
                <a:gd name="T58" fmla="*/ 2638 w 3872"/>
                <a:gd name="T59" fmla="*/ 150 h 567"/>
                <a:gd name="T60" fmla="*/ 2720 w 3872"/>
                <a:gd name="T61" fmla="*/ 175 h 567"/>
                <a:gd name="T62" fmla="*/ 2679 w 3872"/>
                <a:gd name="T63" fmla="*/ 125 h 567"/>
                <a:gd name="T64" fmla="*/ 2686 w 3872"/>
                <a:gd name="T65" fmla="*/ 103 h 567"/>
                <a:gd name="T66" fmla="*/ 2745 w 3872"/>
                <a:gd name="T67" fmla="*/ 72 h 567"/>
                <a:gd name="T68" fmla="*/ 2849 w 3872"/>
                <a:gd name="T69" fmla="*/ 46 h 567"/>
                <a:gd name="T70" fmla="*/ 2951 w 3872"/>
                <a:gd name="T71" fmla="*/ 84 h 567"/>
                <a:gd name="T72" fmla="*/ 3027 w 3872"/>
                <a:gd name="T73" fmla="*/ 95 h 567"/>
                <a:gd name="T74" fmla="*/ 3156 w 3872"/>
                <a:gd name="T75" fmla="*/ 110 h 567"/>
                <a:gd name="T76" fmla="*/ 3267 w 3872"/>
                <a:gd name="T77" fmla="*/ 122 h 567"/>
                <a:gd name="T78" fmla="*/ 3367 w 3872"/>
                <a:gd name="T79" fmla="*/ 118 h 567"/>
                <a:gd name="T80" fmla="*/ 3618 w 3872"/>
                <a:gd name="T81" fmla="*/ 154 h 567"/>
                <a:gd name="T82" fmla="*/ 3740 w 3872"/>
                <a:gd name="T83" fmla="*/ 521 h 567"/>
                <a:gd name="T84" fmla="*/ 2330 w 3872"/>
                <a:gd name="T85" fmla="*/ 517 h 567"/>
                <a:gd name="T86" fmla="*/ 3790 w 3872"/>
                <a:gd name="T87" fmla="*/ 420 h 567"/>
                <a:gd name="T88" fmla="*/ 3681 w 3872"/>
                <a:gd name="T89" fmla="*/ 485 h 567"/>
                <a:gd name="T90" fmla="*/ 3858 w 3872"/>
                <a:gd name="T91" fmla="*/ 356 h 567"/>
                <a:gd name="T92" fmla="*/ 3754 w 3872"/>
                <a:gd name="T93" fmla="*/ 299 h 567"/>
                <a:gd name="T94" fmla="*/ 2470 w 3872"/>
                <a:gd name="T95" fmla="*/ 157 h 567"/>
                <a:gd name="T96" fmla="*/ 2494 w 3872"/>
                <a:gd name="T97" fmla="*/ 136 h 567"/>
                <a:gd name="T98" fmla="*/ 3062 w 3872"/>
                <a:gd name="T99" fmla="*/ 103 h 567"/>
                <a:gd name="T100" fmla="*/ 2435 w 3872"/>
                <a:gd name="T101" fmla="*/ 131 h 567"/>
                <a:gd name="T102" fmla="*/ 2629 w 3872"/>
                <a:gd name="T103" fmla="*/ 97 h 567"/>
                <a:gd name="T104" fmla="*/ 2653 w 3872"/>
                <a:gd name="T105" fmla="*/ 83 h 567"/>
                <a:gd name="T106" fmla="*/ 3317 w 3872"/>
                <a:gd name="T107" fmla="*/ 65 h 567"/>
                <a:gd name="T108" fmla="*/ 3179 w 3872"/>
                <a:gd name="T109" fmla="*/ 66 h 567"/>
                <a:gd name="T110" fmla="*/ 2496 w 3872"/>
                <a:gd name="T111" fmla="*/ 70 h 567"/>
                <a:gd name="T112" fmla="*/ 2432 w 3872"/>
                <a:gd name="T113" fmla="*/ 87 h 567"/>
                <a:gd name="T114" fmla="*/ 2879 w 3872"/>
                <a:gd name="T115" fmla="*/ 51 h 567"/>
                <a:gd name="T116" fmla="*/ 2570 w 3872"/>
                <a:gd name="T117" fmla="*/ 24 h 567"/>
                <a:gd name="T118" fmla="*/ 2724 w 3872"/>
                <a:gd name="T119" fmla="*/ 25 h 567"/>
                <a:gd name="T120" fmla="*/ 2315 w 3872"/>
                <a:gd name="T121" fmla="*/ 12 h 567"/>
                <a:gd name="T122" fmla="*/ 2330 w 3872"/>
                <a:gd name="T123" fmla="*/ 13 h 567"/>
                <a:gd name="T124" fmla="*/ 2723 w 3872"/>
                <a:gd name="T125" fmla="*/ 18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72" h="567">
                  <a:moveTo>
                    <a:pt x="81" y="156"/>
                  </a:moveTo>
                  <a:lnTo>
                    <a:pt x="82" y="157"/>
                  </a:lnTo>
                  <a:lnTo>
                    <a:pt x="83" y="157"/>
                  </a:lnTo>
                  <a:lnTo>
                    <a:pt x="84" y="157"/>
                  </a:lnTo>
                  <a:lnTo>
                    <a:pt x="84" y="156"/>
                  </a:lnTo>
                  <a:lnTo>
                    <a:pt x="85" y="156"/>
                  </a:lnTo>
                  <a:lnTo>
                    <a:pt x="85" y="157"/>
                  </a:lnTo>
                  <a:lnTo>
                    <a:pt x="84" y="157"/>
                  </a:lnTo>
                  <a:lnTo>
                    <a:pt x="84" y="158"/>
                  </a:lnTo>
                  <a:lnTo>
                    <a:pt x="85" y="158"/>
                  </a:lnTo>
                  <a:lnTo>
                    <a:pt x="86" y="158"/>
                  </a:lnTo>
                  <a:lnTo>
                    <a:pt x="88" y="158"/>
                  </a:lnTo>
                  <a:lnTo>
                    <a:pt x="88" y="159"/>
                  </a:lnTo>
                  <a:lnTo>
                    <a:pt x="88" y="160"/>
                  </a:lnTo>
                  <a:lnTo>
                    <a:pt x="88" y="161"/>
                  </a:lnTo>
                  <a:lnTo>
                    <a:pt x="88" y="160"/>
                  </a:lnTo>
                  <a:lnTo>
                    <a:pt x="86" y="160"/>
                  </a:lnTo>
                  <a:lnTo>
                    <a:pt x="85" y="160"/>
                  </a:lnTo>
                  <a:lnTo>
                    <a:pt x="85" y="161"/>
                  </a:lnTo>
                  <a:lnTo>
                    <a:pt x="86" y="161"/>
                  </a:lnTo>
                  <a:lnTo>
                    <a:pt x="86" y="163"/>
                  </a:lnTo>
                  <a:lnTo>
                    <a:pt x="88" y="163"/>
                  </a:lnTo>
                  <a:lnTo>
                    <a:pt x="89" y="163"/>
                  </a:lnTo>
                  <a:lnTo>
                    <a:pt x="89" y="164"/>
                  </a:lnTo>
                  <a:lnTo>
                    <a:pt x="88" y="164"/>
                  </a:lnTo>
                  <a:lnTo>
                    <a:pt x="89" y="164"/>
                  </a:lnTo>
                  <a:lnTo>
                    <a:pt x="88" y="165"/>
                  </a:lnTo>
                  <a:lnTo>
                    <a:pt x="85" y="165"/>
                  </a:lnTo>
                  <a:lnTo>
                    <a:pt x="86" y="165"/>
                  </a:lnTo>
                  <a:lnTo>
                    <a:pt x="88" y="165"/>
                  </a:lnTo>
                  <a:lnTo>
                    <a:pt x="89" y="165"/>
                  </a:lnTo>
                  <a:lnTo>
                    <a:pt x="90" y="165"/>
                  </a:lnTo>
                  <a:lnTo>
                    <a:pt x="91" y="164"/>
                  </a:lnTo>
                  <a:lnTo>
                    <a:pt x="90" y="163"/>
                  </a:lnTo>
                  <a:lnTo>
                    <a:pt x="89" y="163"/>
                  </a:lnTo>
                  <a:lnTo>
                    <a:pt x="89" y="161"/>
                  </a:lnTo>
                  <a:lnTo>
                    <a:pt x="90" y="163"/>
                  </a:lnTo>
                  <a:lnTo>
                    <a:pt x="91" y="164"/>
                  </a:lnTo>
                  <a:lnTo>
                    <a:pt x="92" y="165"/>
                  </a:lnTo>
                  <a:lnTo>
                    <a:pt x="91" y="165"/>
                  </a:lnTo>
                  <a:lnTo>
                    <a:pt x="90" y="165"/>
                  </a:lnTo>
                  <a:lnTo>
                    <a:pt x="89" y="165"/>
                  </a:lnTo>
                  <a:lnTo>
                    <a:pt x="89" y="166"/>
                  </a:lnTo>
                  <a:lnTo>
                    <a:pt x="91" y="166"/>
                  </a:lnTo>
                  <a:lnTo>
                    <a:pt x="92" y="165"/>
                  </a:lnTo>
                  <a:lnTo>
                    <a:pt x="92" y="166"/>
                  </a:lnTo>
                  <a:lnTo>
                    <a:pt x="93" y="166"/>
                  </a:lnTo>
                  <a:lnTo>
                    <a:pt x="92" y="166"/>
                  </a:lnTo>
                  <a:lnTo>
                    <a:pt x="91" y="167"/>
                  </a:lnTo>
                  <a:lnTo>
                    <a:pt x="92" y="167"/>
                  </a:lnTo>
                  <a:lnTo>
                    <a:pt x="93" y="167"/>
                  </a:lnTo>
                  <a:lnTo>
                    <a:pt x="93" y="166"/>
                  </a:lnTo>
                  <a:lnTo>
                    <a:pt x="95" y="167"/>
                  </a:lnTo>
                  <a:lnTo>
                    <a:pt x="96" y="168"/>
                  </a:lnTo>
                  <a:lnTo>
                    <a:pt x="95" y="168"/>
                  </a:lnTo>
                  <a:lnTo>
                    <a:pt x="93" y="168"/>
                  </a:lnTo>
                  <a:lnTo>
                    <a:pt x="92" y="170"/>
                  </a:lnTo>
                  <a:lnTo>
                    <a:pt x="93" y="170"/>
                  </a:lnTo>
                  <a:lnTo>
                    <a:pt x="93" y="171"/>
                  </a:lnTo>
                  <a:lnTo>
                    <a:pt x="95" y="171"/>
                  </a:lnTo>
                  <a:lnTo>
                    <a:pt x="96" y="171"/>
                  </a:lnTo>
                  <a:lnTo>
                    <a:pt x="97" y="171"/>
                  </a:lnTo>
                  <a:lnTo>
                    <a:pt x="97" y="170"/>
                  </a:lnTo>
                  <a:lnTo>
                    <a:pt x="96" y="170"/>
                  </a:lnTo>
                  <a:lnTo>
                    <a:pt x="96" y="168"/>
                  </a:lnTo>
                  <a:lnTo>
                    <a:pt x="97" y="170"/>
                  </a:lnTo>
                  <a:lnTo>
                    <a:pt x="98" y="171"/>
                  </a:lnTo>
                  <a:lnTo>
                    <a:pt x="99" y="171"/>
                  </a:lnTo>
                  <a:lnTo>
                    <a:pt x="98" y="171"/>
                  </a:lnTo>
                  <a:lnTo>
                    <a:pt x="97" y="171"/>
                  </a:lnTo>
                  <a:lnTo>
                    <a:pt x="96" y="172"/>
                  </a:lnTo>
                  <a:lnTo>
                    <a:pt x="95" y="173"/>
                  </a:lnTo>
                  <a:lnTo>
                    <a:pt x="95" y="172"/>
                  </a:lnTo>
                  <a:lnTo>
                    <a:pt x="93" y="172"/>
                  </a:lnTo>
                  <a:lnTo>
                    <a:pt x="93" y="173"/>
                  </a:lnTo>
                  <a:lnTo>
                    <a:pt x="92" y="173"/>
                  </a:lnTo>
                  <a:lnTo>
                    <a:pt x="91" y="173"/>
                  </a:lnTo>
                  <a:lnTo>
                    <a:pt x="92" y="173"/>
                  </a:lnTo>
                  <a:lnTo>
                    <a:pt x="92" y="174"/>
                  </a:lnTo>
                  <a:lnTo>
                    <a:pt x="93" y="174"/>
                  </a:lnTo>
                  <a:lnTo>
                    <a:pt x="95" y="174"/>
                  </a:lnTo>
                  <a:lnTo>
                    <a:pt x="93" y="174"/>
                  </a:lnTo>
                  <a:lnTo>
                    <a:pt x="95" y="174"/>
                  </a:lnTo>
                  <a:lnTo>
                    <a:pt x="96" y="174"/>
                  </a:lnTo>
                  <a:lnTo>
                    <a:pt x="97" y="174"/>
                  </a:lnTo>
                  <a:lnTo>
                    <a:pt x="97" y="173"/>
                  </a:lnTo>
                  <a:lnTo>
                    <a:pt x="96" y="173"/>
                  </a:lnTo>
                  <a:lnTo>
                    <a:pt x="97" y="173"/>
                  </a:lnTo>
                  <a:lnTo>
                    <a:pt x="96" y="173"/>
                  </a:lnTo>
                  <a:lnTo>
                    <a:pt x="97" y="172"/>
                  </a:lnTo>
                  <a:lnTo>
                    <a:pt x="98" y="172"/>
                  </a:lnTo>
                  <a:lnTo>
                    <a:pt x="99" y="172"/>
                  </a:lnTo>
                  <a:lnTo>
                    <a:pt x="100" y="173"/>
                  </a:lnTo>
                  <a:lnTo>
                    <a:pt x="102" y="173"/>
                  </a:lnTo>
                  <a:lnTo>
                    <a:pt x="100" y="174"/>
                  </a:lnTo>
                  <a:lnTo>
                    <a:pt x="100" y="175"/>
                  </a:lnTo>
                  <a:lnTo>
                    <a:pt x="99" y="175"/>
                  </a:lnTo>
                  <a:lnTo>
                    <a:pt x="98" y="177"/>
                  </a:lnTo>
                  <a:lnTo>
                    <a:pt x="97" y="177"/>
                  </a:lnTo>
                  <a:lnTo>
                    <a:pt x="96" y="178"/>
                  </a:lnTo>
                  <a:lnTo>
                    <a:pt x="95" y="178"/>
                  </a:lnTo>
                  <a:lnTo>
                    <a:pt x="96" y="178"/>
                  </a:lnTo>
                  <a:lnTo>
                    <a:pt x="97" y="178"/>
                  </a:lnTo>
                  <a:lnTo>
                    <a:pt x="98" y="178"/>
                  </a:lnTo>
                  <a:lnTo>
                    <a:pt x="99" y="178"/>
                  </a:lnTo>
                  <a:lnTo>
                    <a:pt x="99" y="177"/>
                  </a:lnTo>
                  <a:lnTo>
                    <a:pt x="100" y="177"/>
                  </a:lnTo>
                  <a:lnTo>
                    <a:pt x="100" y="175"/>
                  </a:lnTo>
                  <a:lnTo>
                    <a:pt x="100" y="177"/>
                  </a:lnTo>
                  <a:lnTo>
                    <a:pt x="100" y="178"/>
                  </a:lnTo>
                  <a:lnTo>
                    <a:pt x="100" y="177"/>
                  </a:lnTo>
                  <a:lnTo>
                    <a:pt x="100" y="178"/>
                  </a:lnTo>
                  <a:lnTo>
                    <a:pt x="99" y="179"/>
                  </a:lnTo>
                  <a:lnTo>
                    <a:pt x="98" y="179"/>
                  </a:lnTo>
                  <a:lnTo>
                    <a:pt x="97" y="179"/>
                  </a:lnTo>
                  <a:lnTo>
                    <a:pt x="97" y="180"/>
                  </a:lnTo>
                  <a:lnTo>
                    <a:pt x="96" y="180"/>
                  </a:lnTo>
                  <a:lnTo>
                    <a:pt x="95" y="181"/>
                  </a:lnTo>
                  <a:lnTo>
                    <a:pt x="93" y="181"/>
                  </a:lnTo>
                  <a:lnTo>
                    <a:pt x="93" y="182"/>
                  </a:lnTo>
                  <a:lnTo>
                    <a:pt x="92" y="182"/>
                  </a:lnTo>
                  <a:lnTo>
                    <a:pt x="92" y="184"/>
                  </a:lnTo>
                  <a:lnTo>
                    <a:pt x="93" y="184"/>
                  </a:lnTo>
                  <a:lnTo>
                    <a:pt x="92" y="184"/>
                  </a:lnTo>
                  <a:lnTo>
                    <a:pt x="91" y="185"/>
                  </a:lnTo>
                  <a:lnTo>
                    <a:pt x="90" y="185"/>
                  </a:lnTo>
                  <a:lnTo>
                    <a:pt x="90" y="186"/>
                  </a:lnTo>
                  <a:lnTo>
                    <a:pt x="89" y="186"/>
                  </a:lnTo>
                  <a:lnTo>
                    <a:pt x="90" y="186"/>
                  </a:lnTo>
                  <a:lnTo>
                    <a:pt x="89" y="186"/>
                  </a:lnTo>
                  <a:lnTo>
                    <a:pt x="88" y="186"/>
                  </a:lnTo>
                  <a:lnTo>
                    <a:pt x="86" y="187"/>
                  </a:lnTo>
                  <a:lnTo>
                    <a:pt x="85" y="187"/>
                  </a:lnTo>
                  <a:lnTo>
                    <a:pt x="85" y="188"/>
                  </a:lnTo>
                  <a:lnTo>
                    <a:pt x="86" y="188"/>
                  </a:lnTo>
                  <a:lnTo>
                    <a:pt x="88" y="188"/>
                  </a:lnTo>
                  <a:lnTo>
                    <a:pt x="88" y="189"/>
                  </a:lnTo>
                  <a:lnTo>
                    <a:pt x="86" y="189"/>
                  </a:lnTo>
                  <a:lnTo>
                    <a:pt x="85" y="191"/>
                  </a:lnTo>
                  <a:lnTo>
                    <a:pt x="84" y="191"/>
                  </a:lnTo>
                  <a:lnTo>
                    <a:pt x="84" y="192"/>
                  </a:lnTo>
                  <a:lnTo>
                    <a:pt x="85" y="192"/>
                  </a:lnTo>
                  <a:lnTo>
                    <a:pt x="84" y="192"/>
                  </a:lnTo>
                  <a:lnTo>
                    <a:pt x="83" y="192"/>
                  </a:lnTo>
                  <a:lnTo>
                    <a:pt x="83" y="193"/>
                  </a:lnTo>
                  <a:lnTo>
                    <a:pt x="84" y="192"/>
                  </a:lnTo>
                  <a:lnTo>
                    <a:pt x="85" y="192"/>
                  </a:lnTo>
                  <a:lnTo>
                    <a:pt x="86" y="192"/>
                  </a:lnTo>
                  <a:lnTo>
                    <a:pt x="86" y="191"/>
                  </a:lnTo>
                  <a:lnTo>
                    <a:pt x="88" y="191"/>
                  </a:lnTo>
                  <a:lnTo>
                    <a:pt x="89" y="191"/>
                  </a:lnTo>
                  <a:lnTo>
                    <a:pt x="89" y="189"/>
                  </a:lnTo>
                  <a:lnTo>
                    <a:pt x="89" y="191"/>
                  </a:lnTo>
                  <a:lnTo>
                    <a:pt x="89" y="189"/>
                  </a:lnTo>
                  <a:lnTo>
                    <a:pt x="90" y="189"/>
                  </a:lnTo>
                  <a:lnTo>
                    <a:pt x="91" y="189"/>
                  </a:lnTo>
                  <a:lnTo>
                    <a:pt x="91" y="191"/>
                  </a:lnTo>
                  <a:lnTo>
                    <a:pt x="90" y="191"/>
                  </a:lnTo>
                  <a:lnTo>
                    <a:pt x="90" y="192"/>
                  </a:lnTo>
                  <a:lnTo>
                    <a:pt x="89" y="192"/>
                  </a:lnTo>
                  <a:lnTo>
                    <a:pt x="88" y="192"/>
                  </a:lnTo>
                  <a:lnTo>
                    <a:pt x="88" y="193"/>
                  </a:lnTo>
                  <a:lnTo>
                    <a:pt x="86" y="193"/>
                  </a:lnTo>
                  <a:lnTo>
                    <a:pt x="88" y="193"/>
                  </a:lnTo>
                  <a:lnTo>
                    <a:pt x="89" y="192"/>
                  </a:lnTo>
                  <a:lnTo>
                    <a:pt x="90" y="192"/>
                  </a:lnTo>
                  <a:lnTo>
                    <a:pt x="91" y="192"/>
                  </a:lnTo>
                  <a:lnTo>
                    <a:pt x="92" y="192"/>
                  </a:lnTo>
                  <a:lnTo>
                    <a:pt x="92" y="191"/>
                  </a:lnTo>
                  <a:lnTo>
                    <a:pt x="93" y="191"/>
                  </a:lnTo>
                  <a:lnTo>
                    <a:pt x="93" y="189"/>
                  </a:lnTo>
                  <a:lnTo>
                    <a:pt x="92" y="189"/>
                  </a:lnTo>
                  <a:lnTo>
                    <a:pt x="91" y="188"/>
                  </a:lnTo>
                  <a:lnTo>
                    <a:pt x="90" y="188"/>
                  </a:lnTo>
                  <a:lnTo>
                    <a:pt x="91" y="188"/>
                  </a:lnTo>
                  <a:lnTo>
                    <a:pt x="93" y="188"/>
                  </a:lnTo>
                  <a:lnTo>
                    <a:pt x="95" y="187"/>
                  </a:lnTo>
                  <a:lnTo>
                    <a:pt x="96" y="187"/>
                  </a:lnTo>
                  <a:lnTo>
                    <a:pt x="97" y="187"/>
                  </a:lnTo>
                  <a:lnTo>
                    <a:pt x="97" y="186"/>
                  </a:lnTo>
                  <a:lnTo>
                    <a:pt x="98" y="186"/>
                  </a:lnTo>
                  <a:lnTo>
                    <a:pt x="98" y="185"/>
                  </a:lnTo>
                  <a:lnTo>
                    <a:pt x="99" y="185"/>
                  </a:lnTo>
                  <a:lnTo>
                    <a:pt x="99" y="184"/>
                  </a:lnTo>
                  <a:lnTo>
                    <a:pt x="100" y="184"/>
                  </a:lnTo>
                  <a:lnTo>
                    <a:pt x="100" y="182"/>
                  </a:lnTo>
                  <a:lnTo>
                    <a:pt x="99" y="182"/>
                  </a:lnTo>
                  <a:lnTo>
                    <a:pt x="100" y="182"/>
                  </a:lnTo>
                  <a:lnTo>
                    <a:pt x="100" y="181"/>
                  </a:lnTo>
                  <a:lnTo>
                    <a:pt x="98" y="182"/>
                  </a:lnTo>
                  <a:lnTo>
                    <a:pt x="97" y="182"/>
                  </a:lnTo>
                  <a:lnTo>
                    <a:pt x="99" y="181"/>
                  </a:lnTo>
                  <a:lnTo>
                    <a:pt x="97" y="182"/>
                  </a:lnTo>
                  <a:lnTo>
                    <a:pt x="96" y="182"/>
                  </a:lnTo>
                  <a:lnTo>
                    <a:pt x="97" y="181"/>
                  </a:lnTo>
                  <a:lnTo>
                    <a:pt x="102" y="181"/>
                  </a:lnTo>
                  <a:lnTo>
                    <a:pt x="104" y="181"/>
                  </a:lnTo>
                  <a:lnTo>
                    <a:pt x="106" y="181"/>
                  </a:lnTo>
                  <a:lnTo>
                    <a:pt x="107" y="181"/>
                  </a:lnTo>
                  <a:lnTo>
                    <a:pt x="109" y="181"/>
                  </a:lnTo>
                  <a:lnTo>
                    <a:pt x="107" y="181"/>
                  </a:lnTo>
                  <a:lnTo>
                    <a:pt x="109" y="182"/>
                  </a:lnTo>
                  <a:lnTo>
                    <a:pt x="109" y="181"/>
                  </a:lnTo>
                  <a:lnTo>
                    <a:pt x="110" y="181"/>
                  </a:lnTo>
                  <a:lnTo>
                    <a:pt x="111" y="181"/>
                  </a:lnTo>
                  <a:lnTo>
                    <a:pt x="112" y="181"/>
                  </a:lnTo>
                  <a:lnTo>
                    <a:pt x="112" y="182"/>
                  </a:lnTo>
                  <a:lnTo>
                    <a:pt x="111" y="182"/>
                  </a:lnTo>
                  <a:lnTo>
                    <a:pt x="111" y="181"/>
                  </a:lnTo>
                  <a:lnTo>
                    <a:pt x="110" y="181"/>
                  </a:lnTo>
                  <a:lnTo>
                    <a:pt x="110" y="182"/>
                  </a:lnTo>
                  <a:lnTo>
                    <a:pt x="111" y="182"/>
                  </a:lnTo>
                  <a:lnTo>
                    <a:pt x="110" y="182"/>
                  </a:lnTo>
                  <a:lnTo>
                    <a:pt x="109" y="182"/>
                  </a:lnTo>
                  <a:lnTo>
                    <a:pt x="109" y="184"/>
                  </a:lnTo>
                  <a:lnTo>
                    <a:pt x="107" y="184"/>
                  </a:lnTo>
                  <a:lnTo>
                    <a:pt x="106" y="185"/>
                  </a:lnTo>
                  <a:lnTo>
                    <a:pt x="105" y="185"/>
                  </a:lnTo>
                  <a:lnTo>
                    <a:pt x="106" y="185"/>
                  </a:lnTo>
                  <a:lnTo>
                    <a:pt x="107" y="185"/>
                  </a:lnTo>
                  <a:lnTo>
                    <a:pt x="109" y="185"/>
                  </a:lnTo>
                  <a:lnTo>
                    <a:pt x="107" y="185"/>
                  </a:lnTo>
                  <a:lnTo>
                    <a:pt x="109" y="184"/>
                  </a:lnTo>
                  <a:lnTo>
                    <a:pt x="110" y="184"/>
                  </a:lnTo>
                  <a:lnTo>
                    <a:pt x="110" y="182"/>
                  </a:lnTo>
                  <a:lnTo>
                    <a:pt x="111" y="182"/>
                  </a:lnTo>
                  <a:lnTo>
                    <a:pt x="111" y="184"/>
                  </a:lnTo>
                  <a:lnTo>
                    <a:pt x="112" y="184"/>
                  </a:lnTo>
                  <a:lnTo>
                    <a:pt x="113" y="184"/>
                  </a:lnTo>
                  <a:lnTo>
                    <a:pt x="114" y="184"/>
                  </a:lnTo>
                  <a:lnTo>
                    <a:pt x="116" y="184"/>
                  </a:lnTo>
                  <a:lnTo>
                    <a:pt x="117" y="184"/>
                  </a:lnTo>
                  <a:lnTo>
                    <a:pt x="118" y="184"/>
                  </a:lnTo>
                  <a:lnTo>
                    <a:pt x="117" y="182"/>
                  </a:lnTo>
                  <a:lnTo>
                    <a:pt x="116" y="182"/>
                  </a:lnTo>
                  <a:lnTo>
                    <a:pt x="114" y="182"/>
                  </a:lnTo>
                  <a:lnTo>
                    <a:pt x="113" y="182"/>
                  </a:lnTo>
                  <a:lnTo>
                    <a:pt x="112" y="182"/>
                  </a:lnTo>
                  <a:lnTo>
                    <a:pt x="113" y="182"/>
                  </a:lnTo>
                  <a:lnTo>
                    <a:pt x="116" y="182"/>
                  </a:lnTo>
                  <a:lnTo>
                    <a:pt x="117" y="182"/>
                  </a:lnTo>
                  <a:lnTo>
                    <a:pt x="118" y="182"/>
                  </a:lnTo>
                  <a:lnTo>
                    <a:pt x="120" y="182"/>
                  </a:lnTo>
                  <a:lnTo>
                    <a:pt x="121" y="184"/>
                  </a:lnTo>
                  <a:lnTo>
                    <a:pt x="123" y="182"/>
                  </a:lnTo>
                  <a:lnTo>
                    <a:pt x="124" y="184"/>
                  </a:lnTo>
                  <a:lnTo>
                    <a:pt x="125" y="184"/>
                  </a:lnTo>
                  <a:lnTo>
                    <a:pt x="124" y="184"/>
                  </a:lnTo>
                  <a:lnTo>
                    <a:pt x="123" y="185"/>
                  </a:lnTo>
                  <a:lnTo>
                    <a:pt x="124" y="185"/>
                  </a:lnTo>
                  <a:lnTo>
                    <a:pt x="124" y="186"/>
                  </a:lnTo>
                  <a:lnTo>
                    <a:pt x="125" y="186"/>
                  </a:lnTo>
                  <a:lnTo>
                    <a:pt x="124" y="186"/>
                  </a:lnTo>
                  <a:lnTo>
                    <a:pt x="123" y="187"/>
                  </a:lnTo>
                  <a:lnTo>
                    <a:pt x="124" y="187"/>
                  </a:lnTo>
                  <a:lnTo>
                    <a:pt x="124" y="188"/>
                  </a:lnTo>
                  <a:lnTo>
                    <a:pt x="125" y="189"/>
                  </a:lnTo>
                  <a:lnTo>
                    <a:pt x="125" y="191"/>
                  </a:lnTo>
                  <a:lnTo>
                    <a:pt x="125" y="192"/>
                  </a:lnTo>
                  <a:lnTo>
                    <a:pt x="126" y="192"/>
                  </a:lnTo>
                  <a:lnTo>
                    <a:pt x="125" y="192"/>
                  </a:lnTo>
                  <a:lnTo>
                    <a:pt x="124" y="192"/>
                  </a:lnTo>
                  <a:lnTo>
                    <a:pt x="124" y="193"/>
                  </a:lnTo>
                  <a:lnTo>
                    <a:pt x="123" y="193"/>
                  </a:lnTo>
                  <a:lnTo>
                    <a:pt x="124" y="193"/>
                  </a:lnTo>
                  <a:lnTo>
                    <a:pt x="125" y="193"/>
                  </a:lnTo>
                  <a:lnTo>
                    <a:pt x="126" y="192"/>
                  </a:lnTo>
                  <a:lnTo>
                    <a:pt x="127" y="192"/>
                  </a:lnTo>
                  <a:lnTo>
                    <a:pt x="127" y="193"/>
                  </a:lnTo>
                  <a:lnTo>
                    <a:pt x="126" y="194"/>
                  </a:lnTo>
                  <a:lnTo>
                    <a:pt x="125" y="194"/>
                  </a:lnTo>
                  <a:lnTo>
                    <a:pt x="124" y="194"/>
                  </a:lnTo>
                  <a:lnTo>
                    <a:pt x="125" y="194"/>
                  </a:lnTo>
                  <a:lnTo>
                    <a:pt x="126" y="194"/>
                  </a:lnTo>
                  <a:lnTo>
                    <a:pt x="127" y="194"/>
                  </a:lnTo>
                  <a:lnTo>
                    <a:pt x="128" y="194"/>
                  </a:lnTo>
                  <a:lnTo>
                    <a:pt x="127" y="194"/>
                  </a:lnTo>
                  <a:lnTo>
                    <a:pt x="127" y="193"/>
                  </a:lnTo>
                  <a:lnTo>
                    <a:pt x="128" y="194"/>
                  </a:lnTo>
                  <a:lnTo>
                    <a:pt x="130" y="194"/>
                  </a:lnTo>
                  <a:lnTo>
                    <a:pt x="130" y="195"/>
                  </a:lnTo>
                  <a:lnTo>
                    <a:pt x="128" y="195"/>
                  </a:lnTo>
                  <a:lnTo>
                    <a:pt x="127" y="195"/>
                  </a:lnTo>
                  <a:lnTo>
                    <a:pt x="127" y="196"/>
                  </a:lnTo>
                  <a:lnTo>
                    <a:pt x="126" y="196"/>
                  </a:lnTo>
                  <a:lnTo>
                    <a:pt x="126" y="195"/>
                  </a:lnTo>
                  <a:lnTo>
                    <a:pt x="125" y="195"/>
                  </a:lnTo>
                  <a:lnTo>
                    <a:pt x="124" y="196"/>
                  </a:lnTo>
                  <a:lnTo>
                    <a:pt x="123" y="196"/>
                  </a:lnTo>
                  <a:lnTo>
                    <a:pt x="120" y="196"/>
                  </a:lnTo>
                  <a:lnTo>
                    <a:pt x="119" y="198"/>
                  </a:lnTo>
                  <a:lnTo>
                    <a:pt x="118" y="198"/>
                  </a:lnTo>
                  <a:lnTo>
                    <a:pt x="117" y="198"/>
                  </a:lnTo>
                  <a:lnTo>
                    <a:pt x="116" y="198"/>
                  </a:lnTo>
                  <a:lnTo>
                    <a:pt x="114" y="199"/>
                  </a:lnTo>
                  <a:lnTo>
                    <a:pt x="116" y="198"/>
                  </a:lnTo>
                  <a:lnTo>
                    <a:pt x="116" y="199"/>
                  </a:lnTo>
                  <a:lnTo>
                    <a:pt x="113" y="200"/>
                  </a:lnTo>
                  <a:lnTo>
                    <a:pt x="112" y="200"/>
                  </a:lnTo>
                  <a:lnTo>
                    <a:pt x="112" y="201"/>
                  </a:lnTo>
                  <a:lnTo>
                    <a:pt x="111" y="201"/>
                  </a:lnTo>
                  <a:lnTo>
                    <a:pt x="110" y="201"/>
                  </a:lnTo>
                  <a:lnTo>
                    <a:pt x="107" y="201"/>
                  </a:lnTo>
                  <a:lnTo>
                    <a:pt x="107" y="200"/>
                  </a:lnTo>
                  <a:lnTo>
                    <a:pt x="106" y="200"/>
                  </a:lnTo>
                  <a:lnTo>
                    <a:pt x="106" y="199"/>
                  </a:lnTo>
                  <a:lnTo>
                    <a:pt x="105" y="199"/>
                  </a:lnTo>
                  <a:lnTo>
                    <a:pt x="105" y="200"/>
                  </a:lnTo>
                  <a:lnTo>
                    <a:pt x="104" y="200"/>
                  </a:lnTo>
                  <a:lnTo>
                    <a:pt x="104" y="201"/>
                  </a:lnTo>
                  <a:lnTo>
                    <a:pt x="105" y="201"/>
                  </a:lnTo>
                  <a:lnTo>
                    <a:pt x="106" y="201"/>
                  </a:lnTo>
                  <a:lnTo>
                    <a:pt x="105" y="202"/>
                  </a:lnTo>
                  <a:lnTo>
                    <a:pt x="106" y="202"/>
                  </a:lnTo>
                  <a:lnTo>
                    <a:pt x="105" y="202"/>
                  </a:lnTo>
                  <a:lnTo>
                    <a:pt x="104" y="203"/>
                  </a:lnTo>
                  <a:lnTo>
                    <a:pt x="103" y="203"/>
                  </a:lnTo>
                  <a:lnTo>
                    <a:pt x="102" y="203"/>
                  </a:lnTo>
                  <a:lnTo>
                    <a:pt x="102" y="202"/>
                  </a:lnTo>
                  <a:lnTo>
                    <a:pt x="100" y="202"/>
                  </a:lnTo>
                  <a:lnTo>
                    <a:pt x="98" y="203"/>
                  </a:lnTo>
                  <a:lnTo>
                    <a:pt x="93" y="203"/>
                  </a:lnTo>
                  <a:lnTo>
                    <a:pt x="92" y="203"/>
                  </a:lnTo>
                  <a:lnTo>
                    <a:pt x="96" y="203"/>
                  </a:lnTo>
                  <a:lnTo>
                    <a:pt x="96" y="202"/>
                  </a:lnTo>
                  <a:lnTo>
                    <a:pt x="95" y="202"/>
                  </a:lnTo>
                  <a:lnTo>
                    <a:pt x="93" y="202"/>
                  </a:lnTo>
                  <a:lnTo>
                    <a:pt x="92" y="202"/>
                  </a:lnTo>
                  <a:lnTo>
                    <a:pt x="91" y="202"/>
                  </a:lnTo>
                  <a:lnTo>
                    <a:pt x="92" y="202"/>
                  </a:lnTo>
                  <a:lnTo>
                    <a:pt x="93" y="202"/>
                  </a:lnTo>
                  <a:lnTo>
                    <a:pt x="92" y="201"/>
                  </a:lnTo>
                  <a:lnTo>
                    <a:pt x="93" y="201"/>
                  </a:lnTo>
                  <a:lnTo>
                    <a:pt x="92" y="201"/>
                  </a:lnTo>
                  <a:lnTo>
                    <a:pt x="93" y="201"/>
                  </a:lnTo>
                  <a:lnTo>
                    <a:pt x="92" y="201"/>
                  </a:lnTo>
                  <a:lnTo>
                    <a:pt x="92" y="200"/>
                  </a:lnTo>
                  <a:lnTo>
                    <a:pt x="90" y="200"/>
                  </a:lnTo>
                  <a:lnTo>
                    <a:pt x="89" y="200"/>
                  </a:lnTo>
                  <a:lnTo>
                    <a:pt x="88" y="201"/>
                  </a:lnTo>
                  <a:lnTo>
                    <a:pt x="89" y="201"/>
                  </a:lnTo>
                  <a:lnTo>
                    <a:pt x="90" y="201"/>
                  </a:lnTo>
                  <a:lnTo>
                    <a:pt x="89" y="201"/>
                  </a:lnTo>
                  <a:lnTo>
                    <a:pt x="90" y="201"/>
                  </a:lnTo>
                  <a:lnTo>
                    <a:pt x="91" y="202"/>
                  </a:lnTo>
                  <a:lnTo>
                    <a:pt x="90" y="202"/>
                  </a:lnTo>
                  <a:lnTo>
                    <a:pt x="90" y="203"/>
                  </a:lnTo>
                  <a:lnTo>
                    <a:pt x="89" y="203"/>
                  </a:lnTo>
                  <a:lnTo>
                    <a:pt x="88" y="203"/>
                  </a:lnTo>
                  <a:lnTo>
                    <a:pt x="88" y="205"/>
                  </a:lnTo>
                  <a:lnTo>
                    <a:pt x="89" y="205"/>
                  </a:lnTo>
                  <a:lnTo>
                    <a:pt x="91" y="203"/>
                  </a:lnTo>
                  <a:lnTo>
                    <a:pt x="92" y="203"/>
                  </a:lnTo>
                  <a:lnTo>
                    <a:pt x="90" y="205"/>
                  </a:lnTo>
                  <a:lnTo>
                    <a:pt x="89" y="205"/>
                  </a:lnTo>
                  <a:lnTo>
                    <a:pt x="88" y="206"/>
                  </a:lnTo>
                  <a:lnTo>
                    <a:pt x="86" y="206"/>
                  </a:lnTo>
                  <a:lnTo>
                    <a:pt x="86" y="207"/>
                  </a:lnTo>
                  <a:lnTo>
                    <a:pt x="85" y="207"/>
                  </a:lnTo>
                  <a:lnTo>
                    <a:pt x="85" y="206"/>
                  </a:lnTo>
                  <a:lnTo>
                    <a:pt x="84" y="206"/>
                  </a:lnTo>
                  <a:lnTo>
                    <a:pt x="83" y="207"/>
                  </a:lnTo>
                  <a:lnTo>
                    <a:pt x="82" y="206"/>
                  </a:lnTo>
                  <a:lnTo>
                    <a:pt x="82" y="207"/>
                  </a:lnTo>
                  <a:lnTo>
                    <a:pt x="81" y="207"/>
                  </a:lnTo>
                  <a:lnTo>
                    <a:pt x="82" y="207"/>
                  </a:lnTo>
                  <a:lnTo>
                    <a:pt x="83" y="207"/>
                  </a:lnTo>
                  <a:lnTo>
                    <a:pt x="84" y="207"/>
                  </a:lnTo>
                  <a:lnTo>
                    <a:pt x="85" y="207"/>
                  </a:lnTo>
                  <a:lnTo>
                    <a:pt x="85" y="208"/>
                  </a:lnTo>
                  <a:lnTo>
                    <a:pt x="84" y="208"/>
                  </a:lnTo>
                  <a:lnTo>
                    <a:pt x="83" y="208"/>
                  </a:lnTo>
                  <a:lnTo>
                    <a:pt x="83" y="209"/>
                  </a:lnTo>
                  <a:lnTo>
                    <a:pt x="84" y="209"/>
                  </a:lnTo>
                  <a:lnTo>
                    <a:pt x="84" y="208"/>
                  </a:lnTo>
                  <a:lnTo>
                    <a:pt x="84" y="209"/>
                  </a:lnTo>
                  <a:lnTo>
                    <a:pt x="82" y="209"/>
                  </a:lnTo>
                  <a:lnTo>
                    <a:pt x="81" y="210"/>
                  </a:lnTo>
                  <a:lnTo>
                    <a:pt x="79" y="210"/>
                  </a:lnTo>
                  <a:lnTo>
                    <a:pt x="77" y="212"/>
                  </a:lnTo>
                  <a:lnTo>
                    <a:pt x="77" y="210"/>
                  </a:lnTo>
                  <a:lnTo>
                    <a:pt x="76" y="212"/>
                  </a:lnTo>
                  <a:lnTo>
                    <a:pt x="75" y="212"/>
                  </a:lnTo>
                  <a:lnTo>
                    <a:pt x="74" y="212"/>
                  </a:lnTo>
                  <a:lnTo>
                    <a:pt x="73" y="213"/>
                  </a:lnTo>
                  <a:lnTo>
                    <a:pt x="73" y="212"/>
                  </a:lnTo>
                  <a:lnTo>
                    <a:pt x="71" y="212"/>
                  </a:lnTo>
                  <a:lnTo>
                    <a:pt x="70" y="212"/>
                  </a:lnTo>
                  <a:lnTo>
                    <a:pt x="69" y="213"/>
                  </a:lnTo>
                  <a:lnTo>
                    <a:pt x="68" y="213"/>
                  </a:lnTo>
                  <a:lnTo>
                    <a:pt x="67" y="213"/>
                  </a:lnTo>
                  <a:lnTo>
                    <a:pt x="68" y="213"/>
                  </a:lnTo>
                  <a:lnTo>
                    <a:pt x="69" y="213"/>
                  </a:lnTo>
                  <a:lnTo>
                    <a:pt x="70" y="213"/>
                  </a:lnTo>
                  <a:lnTo>
                    <a:pt x="71" y="213"/>
                  </a:lnTo>
                  <a:lnTo>
                    <a:pt x="70" y="214"/>
                  </a:lnTo>
                  <a:lnTo>
                    <a:pt x="69" y="214"/>
                  </a:lnTo>
                  <a:lnTo>
                    <a:pt x="68" y="214"/>
                  </a:lnTo>
                  <a:lnTo>
                    <a:pt x="67" y="215"/>
                  </a:lnTo>
                  <a:lnTo>
                    <a:pt x="66" y="215"/>
                  </a:lnTo>
                  <a:lnTo>
                    <a:pt x="67" y="215"/>
                  </a:lnTo>
                  <a:lnTo>
                    <a:pt x="68" y="215"/>
                  </a:lnTo>
                  <a:lnTo>
                    <a:pt x="67" y="215"/>
                  </a:lnTo>
                  <a:lnTo>
                    <a:pt x="66" y="216"/>
                  </a:lnTo>
                  <a:lnTo>
                    <a:pt x="67" y="216"/>
                  </a:lnTo>
                  <a:lnTo>
                    <a:pt x="67" y="215"/>
                  </a:lnTo>
                  <a:lnTo>
                    <a:pt x="68" y="215"/>
                  </a:lnTo>
                  <a:lnTo>
                    <a:pt x="69" y="215"/>
                  </a:lnTo>
                  <a:lnTo>
                    <a:pt x="69" y="216"/>
                  </a:lnTo>
                  <a:lnTo>
                    <a:pt x="70" y="216"/>
                  </a:lnTo>
                  <a:lnTo>
                    <a:pt x="70" y="217"/>
                  </a:lnTo>
                  <a:lnTo>
                    <a:pt x="70" y="219"/>
                  </a:lnTo>
                  <a:lnTo>
                    <a:pt x="69" y="219"/>
                  </a:lnTo>
                  <a:lnTo>
                    <a:pt x="68" y="219"/>
                  </a:lnTo>
                  <a:lnTo>
                    <a:pt x="67" y="219"/>
                  </a:lnTo>
                  <a:lnTo>
                    <a:pt x="66" y="219"/>
                  </a:lnTo>
                  <a:lnTo>
                    <a:pt x="64" y="219"/>
                  </a:lnTo>
                  <a:lnTo>
                    <a:pt x="66" y="219"/>
                  </a:lnTo>
                  <a:lnTo>
                    <a:pt x="66" y="217"/>
                  </a:lnTo>
                  <a:lnTo>
                    <a:pt x="64" y="217"/>
                  </a:lnTo>
                  <a:lnTo>
                    <a:pt x="63" y="217"/>
                  </a:lnTo>
                  <a:lnTo>
                    <a:pt x="62" y="217"/>
                  </a:lnTo>
                  <a:lnTo>
                    <a:pt x="63" y="217"/>
                  </a:lnTo>
                  <a:lnTo>
                    <a:pt x="64" y="217"/>
                  </a:lnTo>
                  <a:lnTo>
                    <a:pt x="64" y="219"/>
                  </a:lnTo>
                  <a:lnTo>
                    <a:pt x="63" y="219"/>
                  </a:lnTo>
                  <a:lnTo>
                    <a:pt x="62" y="220"/>
                  </a:lnTo>
                  <a:lnTo>
                    <a:pt x="61" y="220"/>
                  </a:lnTo>
                  <a:lnTo>
                    <a:pt x="60" y="220"/>
                  </a:lnTo>
                  <a:lnTo>
                    <a:pt x="59" y="220"/>
                  </a:lnTo>
                  <a:lnTo>
                    <a:pt x="57" y="221"/>
                  </a:lnTo>
                  <a:lnTo>
                    <a:pt x="56" y="220"/>
                  </a:lnTo>
                  <a:lnTo>
                    <a:pt x="55" y="220"/>
                  </a:lnTo>
                  <a:lnTo>
                    <a:pt x="56" y="220"/>
                  </a:lnTo>
                  <a:lnTo>
                    <a:pt x="57" y="219"/>
                  </a:lnTo>
                  <a:lnTo>
                    <a:pt x="59" y="219"/>
                  </a:lnTo>
                  <a:lnTo>
                    <a:pt x="60" y="217"/>
                  </a:lnTo>
                  <a:lnTo>
                    <a:pt x="61" y="217"/>
                  </a:lnTo>
                  <a:lnTo>
                    <a:pt x="61" y="216"/>
                  </a:lnTo>
                  <a:lnTo>
                    <a:pt x="62" y="216"/>
                  </a:lnTo>
                  <a:lnTo>
                    <a:pt x="62" y="215"/>
                  </a:lnTo>
                  <a:lnTo>
                    <a:pt x="61" y="215"/>
                  </a:lnTo>
                  <a:lnTo>
                    <a:pt x="61" y="216"/>
                  </a:lnTo>
                  <a:lnTo>
                    <a:pt x="60" y="216"/>
                  </a:lnTo>
                  <a:lnTo>
                    <a:pt x="60" y="217"/>
                  </a:lnTo>
                  <a:lnTo>
                    <a:pt x="59" y="217"/>
                  </a:lnTo>
                  <a:lnTo>
                    <a:pt x="59" y="219"/>
                  </a:lnTo>
                  <a:lnTo>
                    <a:pt x="57" y="219"/>
                  </a:lnTo>
                  <a:lnTo>
                    <a:pt x="56" y="219"/>
                  </a:lnTo>
                  <a:lnTo>
                    <a:pt x="55" y="219"/>
                  </a:lnTo>
                  <a:lnTo>
                    <a:pt x="54" y="220"/>
                  </a:lnTo>
                  <a:lnTo>
                    <a:pt x="54" y="219"/>
                  </a:lnTo>
                  <a:lnTo>
                    <a:pt x="53" y="219"/>
                  </a:lnTo>
                  <a:lnTo>
                    <a:pt x="52" y="219"/>
                  </a:lnTo>
                  <a:lnTo>
                    <a:pt x="52" y="217"/>
                  </a:lnTo>
                  <a:lnTo>
                    <a:pt x="53" y="217"/>
                  </a:lnTo>
                  <a:lnTo>
                    <a:pt x="53" y="216"/>
                  </a:lnTo>
                  <a:lnTo>
                    <a:pt x="53" y="215"/>
                  </a:lnTo>
                  <a:lnTo>
                    <a:pt x="52" y="215"/>
                  </a:lnTo>
                  <a:lnTo>
                    <a:pt x="53" y="215"/>
                  </a:lnTo>
                  <a:lnTo>
                    <a:pt x="52" y="215"/>
                  </a:lnTo>
                  <a:lnTo>
                    <a:pt x="50" y="214"/>
                  </a:lnTo>
                  <a:lnTo>
                    <a:pt x="52" y="213"/>
                  </a:lnTo>
                  <a:lnTo>
                    <a:pt x="53" y="213"/>
                  </a:lnTo>
                  <a:lnTo>
                    <a:pt x="54" y="212"/>
                  </a:lnTo>
                  <a:lnTo>
                    <a:pt x="53" y="212"/>
                  </a:lnTo>
                  <a:lnTo>
                    <a:pt x="52" y="213"/>
                  </a:lnTo>
                  <a:lnTo>
                    <a:pt x="50" y="213"/>
                  </a:lnTo>
                  <a:lnTo>
                    <a:pt x="49" y="213"/>
                  </a:lnTo>
                  <a:lnTo>
                    <a:pt x="50" y="212"/>
                  </a:lnTo>
                  <a:lnTo>
                    <a:pt x="49" y="212"/>
                  </a:lnTo>
                  <a:lnTo>
                    <a:pt x="49" y="213"/>
                  </a:lnTo>
                  <a:lnTo>
                    <a:pt x="48" y="213"/>
                  </a:lnTo>
                  <a:lnTo>
                    <a:pt x="47" y="213"/>
                  </a:lnTo>
                  <a:lnTo>
                    <a:pt x="46" y="213"/>
                  </a:lnTo>
                  <a:lnTo>
                    <a:pt x="45" y="213"/>
                  </a:lnTo>
                  <a:lnTo>
                    <a:pt x="43" y="213"/>
                  </a:lnTo>
                  <a:lnTo>
                    <a:pt x="45" y="213"/>
                  </a:lnTo>
                  <a:lnTo>
                    <a:pt x="45" y="212"/>
                  </a:lnTo>
                  <a:lnTo>
                    <a:pt x="45" y="213"/>
                  </a:lnTo>
                  <a:lnTo>
                    <a:pt x="43" y="212"/>
                  </a:lnTo>
                  <a:lnTo>
                    <a:pt x="45" y="212"/>
                  </a:lnTo>
                  <a:lnTo>
                    <a:pt x="43" y="212"/>
                  </a:lnTo>
                  <a:lnTo>
                    <a:pt x="43" y="210"/>
                  </a:lnTo>
                  <a:lnTo>
                    <a:pt x="42" y="210"/>
                  </a:lnTo>
                  <a:lnTo>
                    <a:pt x="43" y="210"/>
                  </a:lnTo>
                  <a:lnTo>
                    <a:pt x="42" y="210"/>
                  </a:lnTo>
                  <a:lnTo>
                    <a:pt x="43" y="210"/>
                  </a:lnTo>
                  <a:lnTo>
                    <a:pt x="43" y="209"/>
                  </a:lnTo>
                  <a:lnTo>
                    <a:pt x="45" y="209"/>
                  </a:lnTo>
                  <a:lnTo>
                    <a:pt x="46" y="208"/>
                  </a:lnTo>
                  <a:lnTo>
                    <a:pt x="47" y="208"/>
                  </a:lnTo>
                  <a:lnTo>
                    <a:pt x="47" y="207"/>
                  </a:lnTo>
                  <a:lnTo>
                    <a:pt x="48" y="207"/>
                  </a:lnTo>
                  <a:lnTo>
                    <a:pt x="48" y="206"/>
                  </a:lnTo>
                  <a:lnTo>
                    <a:pt x="49" y="206"/>
                  </a:lnTo>
                  <a:lnTo>
                    <a:pt x="50" y="205"/>
                  </a:lnTo>
                  <a:lnTo>
                    <a:pt x="50" y="203"/>
                  </a:lnTo>
                  <a:lnTo>
                    <a:pt x="49" y="203"/>
                  </a:lnTo>
                  <a:lnTo>
                    <a:pt x="48" y="203"/>
                  </a:lnTo>
                  <a:lnTo>
                    <a:pt x="46" y="202"/>
                  </a:lnTo>
                  <a:lnTo>
                    <a:pt x="43" y="201"/>
                  </a:lnTo>
                  <a:lnTo>
                    <a:pt x="42" y="202"/>
                  </a:lnTo>
                  <a:lnTo>
                    <a:pt x="40" y="202"/>
                  </a:lnTo>
                  <a:lnTo>
                    <a:pt x="39" y="202"/>
                  </a:lnTo>
                  <a:lnTo>
                    <a:pt x="38" y="203"/>
                  </a:lnTo>
                  <a:lnTo>
                    <a:pt x="35" y="203"/>
                  </a:lnTo>
                  <a:lnTo>
                    <a:pt x="32" y="203"/>
                  </a:lnTo>
                  <a:lnTo>
                    <a:pt x="28" y="203"/>
                  </a:lnTo>
                  <a:lnTo>
                    <a:pt x="26" y="203"/>
                  </a:lnTo>
                  <a:lnTo>
                    <a:pt x="25" y="203"/>
                  </a:lnTo>
                  <a:lnTo>
                    <a:pt x="25" y="202"/>
                  </a:lnTo>
                  <a:lnTo>
                    <a:pt x="26" y="202"/>
                  </a:lnTo>
                  <a:lnTo>
                    <a:pt x="27" y="201"/>
                  </a:lnTo>
                  <a:lnTo>
                    <a:pt x="28" y="201"/>
                  </a:lnTo>
                  <a:lnTo>
                    <a:pt x="29" y="201"/>
                  </a:lnTo>
                  <a:lnTo>
                    <a:pt x="29" y="200"/>
                  </a:lnTo>
                  <a:lnTo>
                    <a:pt x="31" y="200"/>
                  </a:lnTo>
                  <a:lnTo>
                    <a:pt x="28" y="200"/>
                  </a:lnTo>
                  <a:lnTo>
                    <a:pt x="28" y="199"/>
                  </a:lnTo>
                  <a:lnTo>
                    <a:pt x="29" y="199"/>
                  </a:lnTo>
                  <a:lnTo>
                    <a:pt x="28" y="199"/>
                  </a:lnTo>
                  <a:lnTo>
                    <a:pt x="29" y="199"/>
                  </a:lnTo>
                  <a:lnTo>
                    <a:pt x="29" y="198"/>
                  </a:lnTo>
                  <a:lnTo>
                    <a:pt x="29" y="196"/>
                  </a:lnTo>
                  <a:lnTo>
                    <a:pt x="31" y="196"/>
                  </a:lnTo>
                  <a:lnTo>
                    <a:pt x="31" y="195"/>
                  </a:lnTo>
                  <a:lnTo>
                    <a:pt x="32" y="195"/>
                  </a:lnTo>
                  <a:lnTo>
                    <a:pt x="32" y="196"/>
                  </a:lnTo>
                  <a:lnTo>
                    <a:pt x="33" y="196"/>
                  </a:lnTo>
                  <a:lnTo>
                    <a:pt x="34" y="195"/>
                  </a:lnTo>
                  <a:lnTo>
                    <a:pt x="35" y="195"/>
                  </a:lnTo>
                  <a:lnTo>
                    <a:pt x="36" y="194"/>
                  </a:lnTo>
                  <a:lnTo>
                    <a:pt x="36" y="195"/>
                  </a:lnTo>
                  <a:lnTo>
                    <a:pt x="38" y="194"/>
                  </a:lnTo>
                  <a:lnTo>
                    <a:pt x="39" y="194"/>
                  </a:lnTo>
                  <a:lnTo>
                    <a:pt x="39" y="193"/>
                  </a:lnTo>
                  <a:lnTo>
                    <a:pt x="40" y="193"/>
                  </a:lnTo>
                  <a:lnTo>
                    <a:pt x="39" y="193"/>
                  </a:lnTo>
                  <a:lnTo>
                    <a:pt x="40" y="193"/>
                  </a:lnTo>
                  <a:lnTo>
                    <a:pt x="40" y="192"/>
                  </a:lnTo>
                  <a:lnTo>
                    <a:pt x="41" y="192"/>
                  </a:lnTo>
                  <a:lnTo>
                    <a:pt x="42" y="191"/>
                  </a:lnTo>
                  <a:lnTo>
                    <a:pt x="43" y="191"/>
                  </a:lnTo>
                  <a:lnTo>
                    <a:pt x="42" y="191"/>
                  </a:lnTo>
                  <a:lnTo>
                    <a:pt x="41" y="192"/>
                  </a:lnTo>
                  <a:lnTo>
                    <a:pt x="40" y="192"/>
                  </a:lnTo>
                  <a:lnTo>
                    <a:pt x="39" y="193"/>
                  </a:lnTo>
                  <a:lnTo>
                    <a:pt x="36" y="193"/>
                  </a:lnTo>
                  <a:lnTo>
                    <a:pt x="35" y="194"/>
                  </a:lnTo>
                  <a:lnTo>
                    <a:pt x="34" y="194"/>
                  </a:lnTo>
                  <a:lnTo>
                    <a:pt x="33" y="194"/>
                  </a:lnTo>
                  <a:lnTo>
                    <a:pt x="33" y="193"/>
                  </a:lnTo>
                  <a:lnTo>
                    <a:pt x="34" y="193"/>
                  </a:lnTo>
                  <a:lnTo>
                    <a:pt x="35" y="192"/>
                  </a:lnTo>
                  <a:lnTo>
                    <a:pt x="36" y="191"/>
                  </a:lnTo>
                  <a:lnTo>
                    <a:pt x="35" y="191"/>
                  </a:lnTo>
                  <a:lnTo>
                    <a:pt x="35" y="192"/>
                  </a:lnTo>
                  <a:lnTo>
                    <a:pt x="34" y="192"/>
                  </a:lnTo>
                  <a:lnTo>
                    <a:pt x="33" y="192"/>
                  </a:lnTo>
                  <a:lnTo>
                    <a:pt x="32" y="192"/>
                  </a:lnTo>
                  <a:lnTo>
                    <a:pt x="32" y="193"/>
                  </a:lnTo>
                  <a:lnTo>
                    <a:pt x="31" y="194"/>
                  </a:lnTo>
                  <a:lnTo>
                    <a:pt x="29" y="194"/>
                  </a:lnTo>
                  <a:lnTo>
                    <a:pt x="28" y="194"/>
                  </a:lnTo>
                  <a:lnTo>
                    <a:pt x="26" y="194"/>
                  </a:lnTo>
                  <a:lnTo>
                    <a:pt x="25" y="194"/>
                  </a:lnTo>
                  <a:lnTo>
                    <a:pt x="26" y="194"/>
                  </a:lnTo>
                  <a:lnTo>
                    <a:pt x="27" y="194"/>
                  </a:lnTo>
                  <a:lnTo>
                    <a:pt x="26" y="194"/>
                  </a:lnTo>
                  <a:lnTo>
                    <a:pt x="24" y="195"/>
                  </a:lnTo>
                  <a:lnTo>
                    <a:pt x="22" y="195"/>
                  </a:lnTo>
                  <a:lnTo>
                    <a:pt x="21" y="196"/>
                  </a:lnTo>
                  <a:lnTo>
                    <a:pt x="20" y="196"/>
                  </a:lnTo>
                  <a:lnTo>
                    <a:pt x="20" y="198"/>
                  </a:lnTo>
                  <a:lnTo>
                    <a:pt x="18" y="199"/>
                  </a:lnTo>
                  <a:lnTo>
                    <a:pt x="18" y="201"/>
                  </a:lnTo>
                  <a:lnTo>
                    <a:pt x="19" y="201"/>
                  </a:lnTo>
                  <a:lnTo>
                    <a:pt x="18" y="202"/>
                  </a:lnTo>
                  <a:lnTo>
                    <a:pt x="17" y="203"/>
                  </a:lnTo>
                  <a:lnTo>
                    <a:pt x="15" y="203"/>
                  </a:lnTo>
                  <a:lnTo>
                    <a:pt x="14" y="203"/>
                  </a:lnTo>
                  <a:lnTo>
                    <a:pt x="13" y="205"/>
                  </a:lnTo>
                  <a:lnTo>
                    <a:pt x="12" y="205"/>
                  </a:lnTo>
                  <a:lnTo>
                    <a:pt x="11" y="206"/>
                  </a:lnTo>
                  <a:lnTo>
                    <a:pt x="10" y="206"/>
                  </a:lnTo>
                  <a:lnTo>
                    <a:pt x="9" y="207"/>
                  </a:lnTo>
                  <a:lnTo>
                    <a:pt x="7" y="207"/>
                  </a:lnTo>
                  <a:lnTo>
                    <a:pt x="6" y="208"/>
                  </a:lnTo>
                  <a:lnTo>
                    <a:pt x="5" y="208"/>
                  </a:lnTo>
                  <a:lnTo>
                    <a:pt x="4" y="208"/>
                  </a:lnTo>
                  <a:lnTo>
                    <a:pt x="3" y="209"/>
                  </a:lnTo>
                  <a:lnTo>
                    <a:pt x="2" y="209"/>
                  </a:lnTo>
                  <a:lnTo>
                    <a:pt x="0" y="209"/>
                  </a:lnTo>
                  <a:lnTo>
                    <a:pt x="10" y="202"/>
                  </a:lnTo>
                  <a:lnTo>
                    <a:pt x="20" y="195"/>
                  </a:lnTo>
                  <a:lnTo>
                    <a:pt x="31" y="188"/>
                  </a:lnTo>
                  <a:lnTo>
                    <a:pt x="40" y="182"/>
                  </a:lnTo>
                  <a:lnTo>
                    <a:pt x="50" y="175"/>
                  </a:lnTo>
                  <a:lnTo>
                    <a:pt x="61" y="168"/>
                  </a:lnTo>
                  <a:lnTo>
                    <a:pt x="70" y="163"/>
                  </a:lnTo>
                  <a:lnTo>
                    <a:pt x="81" y="156"/>
                  </a:lnTo>
                  <a:close/>
                  <a:moveTo>
                    <a:pt x="3688" y="129"/>
                  </a:moveTo>
                  <a:lnTo>
                    <a:pt x="3688" y="130"/>
                  </a:lnTo>
                  <a:lnTo>
                    <a:pt x="3688" y="131"/>
                  </a:lnTo>
                  <a:lnTo>
                    <a:pt x="3686" y="131"/>
                  </a:lnTo>
                  <a:lnTo>
                    <a:pt x="3684" y="131"/>
                  </a:lnTo>
                  <a:lnTo>
                    <a:pt x="3683" y="131"/>
                  </a:lnTo>
                  <a:lnTo>
                    <a:pt x="3682" y="131"/>
                  </a:lnTo>
                  <a:lnTo>
                    <a:pt x="3681" y="131"/>
                  </a:lnTo>
                  <a:lnTo>
                    <a:pt x="3680" y="131"/>
                  </a:lnTo>
                  <a:lnTo>
                    <a:pt x="3679" y="130"/>
                  </a:lnTo>
                  <a:lnTo>
                    <a:pt x="3677" y="130"/>
                  </a:lnTo>
                  <a:lnTo>
                    <a:pt x="3676" y="130"/>
                  </a:lnTo>
                  <a:lnTo>
                    <a:pt x="3675" y="129"/>
                  </a:lnTo>
                  <a:lnTo>
                    <a:pt x="3674" y="129"/>
                  </a:lnTo>
                  <a:lnTo>
                    <a:pt x="3673" y="128"/>
                  </a:lnTo>
                  <a:lnTo>
                    <a:pt x="3673" y="126"/>
                  </a:lnTo>
                  <a:lnTo>
                    <a:pt x="3672" y="126"/>
                  </a:lnTo>
                  <a:lnTo>
                    <a:pt x="3673" y="125"/>
                  </a:lnTo>
                  <a:lnTo>
                    <a:pt x="3674" y="124"/>
                  </a:lnTo>
                  <a:lnTo>
                    <a:pt x="3674" y="123"/>
                  </a:lnTo>
                  <a:lnTo>
                    <a:pt x="3675" y="123"/>
                  </a:lnTo>
                  <a:lnTo>
                    <a:pt x="3676" y="123"/>
                  </a:lnTo>
                  <a:lnTo>
                    <a:pt x="3675" y="123"/>
                  </a:lnTo>
                  <a:lnTo>
                    <a:pt x="3675" y="122"/>
                  </a:lnTo>
                  <a:lnTo>
                    <a:pt x="3676" y="122"/>
                  </a:lnTo>
                  <a:lnTo>
                    <a:pt x="3682" y="125"/>
                  </a:lnTo>
                  <a:lnTo>
                    <a:pt x="3688" y="129"/>
                  </a:lnTo>
                  <a:close/>
                  <a:moveTo>
                    <a:pt x="137" y="122"/>
                  </a:moveTo>
                  <a:lnTo>
                    <a:pt x="138" y="122"/>
                  </a:lnTo>
                  <a:lnTo>
                    <a:pt x="139" y="122"/>
                  </a:lnTo>
                  <a:lnTo>
                    <a:pt x="140" y="122"/>
                  </a:lnTo>
                  <a:lnTo>
                    <a:pt x="141" y="122"/>
                  </a:lnTo>
                  <a:lnTo>
                    <a:pt x="143" y="122"/>
                  </a:lnTo>
                  <a:lnTo>
                    <a:pt x="145" y="122"/>
                  </a:lnTo>
                  <a:lnTo>
                    <a:pt x="147" y="121"/>
                  </a:lnTo>
                  <a:lnTo>
                    <a:pt x="149" y="122"/>
                  </a:lnTo>
                  <a:lnTo>
                    <a:pt x="152" y="122"/>
                  </a:lnTo>
                  <a:lnTo>
                    <a:pt x="153" y="122"/>
                  </a:lnTo>
                  <a:lnTo>
                    <a:pt x="152" y="122"/>
                  </a:lnTo>
                  <a:lnTo>
                    <a:pt x="152" y="123"/>
                  </a:lnTo>
                  <a:lnTo>
                    <a:pt x="153" y="123"/>
                  </a:lnTo>
                  <a:lnTo>
                    <a:pt x="154" y="123"/>
                  </a:lnTo>
                  <a:lnTo>
                    <a:pt x="153" y="123"/>
                  </a:lnTo>
                  <a:lnTo>
                    <a:pt x="153" y="124"/>
                  </a:lnTo>
                  <a:lnTo>
                    <a:pt x="154" y="124"/>
                  </a:lnTo>
                  <a:lnTo>
                    <a:pt x="154" y="125"/>
                  </a:lnTo>
                  <a:lnTo>
                    <a:pt x="155" y="125"/>
                  </a:lnTo>
                  <a:lnTo>
                    <a:pt x="155" y="126"/>
                  </a:lnTo>
                  <a:lnTo>
                    <a:pt x="154" y="126"/>
                  </a:lnTo>
                  <a:lnTo>
                    <a:pt x="153" y="126"/>
                  </a:lnTo>
                  <a:lnTo>
                    <a:pt x="152" y="128"/>
                  </a:lnTo>
                  <a:lnTo>
                    <a:pt x="150" y="128"/>
                  </a:lnTo>
                  <a:lnTo>
                    <a:pt x="149" y="128"/>
                  </a:lnTo>
                  <a:lnTo>
                    <a:pt x="148" y="128"/>
                  </a:lnTo>
                  <a:lnTo>
                    <a:pt x="146" y="129"/>
                  </a:lnTo>
                  <a:lnTo>
                    <a:pt x="142" y="129"/>
                  </a:lnTo>
                  <a:lnTo>
                    <a:pt x="141" y="129"/>
                  </a:lnTo>
                  <a:lnTo>
                    <a:pt x="138" y="129"/>
                  </a:lnTo>
                  <a:lnTo>
                    <a:pt x="135" y="129"/>
                  </a:lnTo>
                  <a:lnTo>
                    <a:pt x="133" y="130"/>
                  </a:lnTo>
                  <a:lnTo>
                    <a:pt x="128" y="130"/>
                  </a:lnTo>
                  <a:lnTo>
                    <a:pt x="130" y="130"/>
                  </a:lnTo>
                  <a:lnTo>
                    <a:pt x="128" y="130"/>
                  </a:lnTo>
                  <a:lnTo>
                    <a:pt x="127" y="130"/>
                  </a:lnTo>
                  <a:lnTo>
                    <a:pt x="125" y="129"/>
                  </a:lnTo>
                  <a:lnTo>
                    <a:pt x="124" y="129"/>
                  </a:lnTo>
                  <a:lnTo>
                    <a:pt x="130" y="125"/>
                  </a:lnTo>
                  <a:lnTo>
                    <a:pt x="137" y="122"/>
                  </a:lnTo>
                  <a:close/>
                  <a:moveTo>
                    <a:pt x="3812" y="209"/>
                  </a:moveTo>
                  <a:lnTo>
                    <a:pt x="3811" y="209"/>
                  </a:lnTo>
                  <a:lnTo>
                    <a:pt x="3810" y="209"/>
                  </a:lnTo>
                  <a:lnTo>
                    <a:pt x="3811" y="210"/>
                  </a:lnTo>
                  <a:lnTo>
                    <a:pt x="3811" y="213"/>
                  </a:lnTo>
                  <a:lnTo>
                    <a:pt x="3810" y="213"/>
                  </a:lnTo>
                  <a:lnTo>
                    <a:pt x="3809" y="213"/>
                  </a:lnTo>
                  <a:lnTo>
                    <a:pt x="3808" y="214"/>
                  </a:lnTo>
                  <a:lnTo>
                    <a:pt x="3808" y="215"/>
                  </a:lnTo>
                  <a:lnTo>
                    <a:pt x="3807" y="216"/>
                  </a:lnTo>
                  <a:lnTo>
                    <a:pt x="3805" y="216"/>
                  </a:lnTo>
                  <a:lnTo>
                    <a:pt x="3805" y="215"/>
                  </a:lnTo>
                  <a:lnTo>
                    <a:pt x="3807" y="215"/>
                  </a:lnTo>
                  <a:lnTo>
                    <a:pt x="3807" y="214"/>
                  </a:lnTo>
                  <a:lnTo>
                    <a:pt x="3805" y="214"/>
                  </a:lnTo>
                  <a:lnTo>
                    <a:pt x="3804" y="214"/>
                  </a:lnTo>
                  <a:lnTo>
                    <a:pt x="3801" y="215"/>
                  </a:lnTo>
                  <a:lnTo>
                    <a:pt x="3802" y="215"/>
                  </a:lnTo>
                  <a:lnTo>
                    <a:pt x="3801" y="214"/>
                  </a:lnTo>
                  <a:lnTo>
                    <a:pt x="3800" y="214"/>
                  </a:lnTo>
                  <a:lnTo>
                    <a:pt x="3799" y="215"/>
                  </a:lnTo>
                  <a:lnTo>
                    <a:pt x="3799" y="214"/>
                  </a:lnTo>
                  <a:lnTo>
                    <a:pt x="3797" y="214"/>
                  </a:lnTo>
                  <a:lnTo>
                    <a:pt x="3795" y="214"/>
                  </a:lnTo>
                  <a:lnTo>
                    <a:pt x="3794" y="214"/>
                  </a:lnTo>
                  <a:lnTo>
                    <a:pt x="3793" y="214"/>
                  </a:lnTo>
                  <a:lnTo>
                    <a:pt x="3792" y="213"/>
                  </a:lnTo>
                  <a:lnTo>
                    <a:pt x="3790" y="213"/>
                  </a:lnTo>
                  <a:lnTo>
                    <a:pt x="3789" y="213"/>
                  </a:lnTo>
                  <a:lnTo>
                    <a:pt x="3789" y="212"/>
                  </a:lnTo>
                  <a:lnTo>
                    <a:pt x="3788" y="212"/>
                  </a:lnTo>
                  <a:lnTo>
                    <a:pt x="3788" y="210"/>
                  </a:lnTo>
                  <a:lnTo>
                    <a:pt x="3787" y="210"/>
                  </a:lnTo>
                  <a:lnTo>
                    <a:pt x="3786" y="210"/>
                  </a:lnTo>
                  <a:lnTo>
                    <a:pt x="3785" y="210"/>
                  </a:lnTo>
                  <a:lnTo>
                    <a:pt x="3783" y="210"/>
                  </a:lnTo>
                  <a:lnTo>
                    <a:pt x="3782" y="209"/>
                  </a:lnTo>
                  <a:lnTo>
                    <a:pt x="3780" y="209"/>
                  </a:lnTo>
                  <a:lnTo>
                    <a:pt x="3779" y="209"/>
                  </a:lnTo>
                  <a:lnTo>
                    <a:pt x="3778" y="209"/>
                  </a:lnTo>
                  <a:lnTo>
                    <a:pt x="3776" y="209"/>
                  </a:lnTo>
                  <a:lnTo>
                    <a:pt x="3775" y="209"/>
                  </a:lnTo>
                  <a:lnTo>
                    <a:pt x="3774" y="209"/>
                  </a:lnTo>
                  <a:lnTo>
                    <a:pt x="3773" y="209"/>
                  </a:lnTo>
                  <a:lnTo>
                    <a:pt x="3774" y="209"/>
                  </a:lnTo>
                  <a:lnTo>
                    <a:pt x="3773" y="209"/>
                  </a:lnTo>
                  <a:lnTo>
                    <a:pt x="3774" y="209"/>
                  </a:lnTo>
                  <a:lnTo>
                    <a:pt x="3775" y="209"/>
                  </a:lnTo>
                  <a:lnTo>
                    <a:pt x="3776" y="210"/>
                  </a:lnTo>
                  <a:lnTo>
                    <a:pt x="3780" y="209"/>
                  </a:lnTo>
                  <a:lnTo>
                    <a:pt x="3781" y="209"/>
                  </a:lnTo>
                  <a:lnTo>
                    <a:pt x="3782" y="210"/>
                  </a:lnTo>
                  <a:lnTo>
                    <a:pt x="3783" y="210"/>
                  </a:lnTo>
                  <a:lnTo>
                    <a:pt x="3785" y="210"/>
                  </a:lnTo>
                  <a:lnTo>
                    <a:pt x="3785" y="212"/>
                  </a:lnTo>
                  <a:lnTo>
                    <a:pt x="3786" y="212"/>
                  </a:lnTo>
                  <a:lnTo>
                    <a:pt x="3787" y="212"/>
                  </a:lnTo>
                  <a:lnTo>
                    <a:pt x="3788" y="213"/>
                  </a:lnTo>
                  <a:lnTo>
                    <a:pt x="3787" y="213"/>
                  </a:lnTo>
                  <a:lnTo>
                    <a:pt x="3786" y="213"/>
                  </a:lnTo>
                  <a:lnTo>
                    <a:pt x="3785" y="213"/>
                  </a:lnTo>
                  <a:lnTo>
                    <a:pt x="3783" y="213"/>
                  </a:lnTo>
                  <a:lnTo>
                    <a:pt x="3783" y="212"/>
                  </a:lnTo>
                  <a:lnTo>
                    <a:pt x="3780" y="212"/>
                  </a:lnTo>
                  <a:lnTo>
                    <a:pt x="3780" y="213"/>
                  </a:lnTo>
                  <a:lnTo>
                    <a:pt x="3779" y="213"/>
                  </a:lnTo>
                  <a:lnTo>
                    <a:pt x="3778" y="212"/>
                  </a:lnTo>
                  <a:lnTo>
                    <a:pt x="3775" y="212"/>
                  </a:lnTo>
                  <a:lnTo>
                    <a:pt x="3774" y="212"/>
                  </a:lnTo>
                  <a:lnTo>
                    <a:pt x="3774" y="210"/>
                  </a:lnTo>
                  <a:lnTo>
                    <a:pt x="3774" y="212"/>
                  </a:lnTo>
                  <a:lnTo>
                    <a:pt x="3773" y="210"/>
                  </a:lnTo>
                  <a:lnTo>
                    <a:pt x="3772" y="210"/>
                  </a:lnTo>
                  <a:lnTo>
                    <a:pt x="3772" y="212"/>
                  </a:lnTo>
                  <a:lnTo>
                    <a:pt x="3773" y="212"/>
                  </a:lnTo>
                  <a:lnTo>
                    <a:pt x="3772" y="213"/>
                  </a:lnTo>
                  <a:lnTo>
                    <a:pt x="3769" y="213"/>
                  </a:lnTo>
                  <a:lnTo>
                    <a:pt x="3768" y="213"/>
                  </a:lnTo>
                  <a:lnTo>
                    <a:pt x="3767" y="213"/>
                  </a:lnTo>
                  <a:lnTo>
                    <a:pt x="3765" y="213"/>
                  </a:lnTo>
                  <a:lnTo>
                    <a:pt x="3765" y="214"/>
                  </a:lnTo>
                  <a:lnTo>
                    <a:pt x="3764" y="214"/>
                  </a:lnTo>
                  <a:lnTo>
                    <a:pt x="3760" y="214"/>
                  </a:lnTo>
                  <a:lnTo>
                    <a:pt x="3761" y="214"/>
                  </a:lnTo>
                  <a:lnTo>
                    <a:pt x="3761" y="215"/>
                  </a:lnTo>
                  <a:lnTo>
                    <a:pt x="3764" y="214"/>
                  </a:lnTo>
                  <a:lnTo>
                    <a:pt x="3766" y="214"/>
                  </a:lnTo>
                  <a:lnTo>
                    <a:pt x="3766" y="213"/>
                  </a:lnTo>
                  <a:lnTo>
                    <a:pt x="3768" y="214"/>
                  </a:lnTo>
                  <a:lnTo>
                    <a:pt x="3771" y="213"/>
                  </a:lnTo>
                  <a:lnTo>
                    <a:pt x="3772" y="213"/>
                  </a:lnTo>
                  <a:lnTo>
                    <a:pt x="3773" y="213"/>
                  </a:lnTo>
                  <a:lnTo>
                    <a:pt x="3773" y="212"/>
                  </a:lnTo>
                  <a:lnTo>
                    <a:pt x="3774" y="212"/>
                  </a:lnTo>
                  <a:lnTo>
                    <a:pt x="3775" y="212"/>
                  </a:lnTo>
                  <a:lnTo>
                    <a:pt x="3778" y="213"/>
                  </a:lnTo>
                  <a:lnTo>
                    <a:pt x="3779" y="213"/>
                  </a:lnTo>
                  <a:lnTo>
                    <a:pt x="3779" y="214"/>
                  </a:lnTo>
                  <a:lnTo>
                    <a:pt x="3780" y="214"/>
                  </a:lnTo>
                  <a:lnTo>
                    <a:pt x="3781" y="214"/>
                  </a:lnTo>
                  <a:lnTo>
                    <a:pt x="3781" y="215"/>
                  </a:lnTo>
                  <a:lnTo>
                    <a:pt x="3780" y="215"/>
                  </a:lnTo>
                  <a:lnTo>
                    <a:pt x="3780" y="216"/>
                  </a:lnTo>
                  <a:lnTo>
                    <a:pt x="3781" y="216"/>
                  </a:lnTo>
                  <a:lnTo>
                    <a:pt x="3781" y="215"/>
                  </a:lnTo>
                  <a:lnTo>
                    <a:pt x="3782" y="215"/>
                  </a:lnTo>
                  <a:lnTo>
                    <a:pt x="3782" y="214"/>
                  </a:lnTo>
                  <a:lnTo>
                    <a:pt x="3783" y="214"/>
                  </a:lnTo>
                  <a:lnTo>
                    <a:pt x="3783" y="215"/>
                  </a:lnTo>
                  <a:lnTo>
                    <a:pt x="3786" y="215"/>
                  </a:lnTo>
                  <a:lnTo>
                    <a:pt x="3787" y="216"/>
                  </a:lnTo>
                  <a:lnTo>
                    <a:pt x="3788" y="215"/>
                  </a:lnTo>
                  <a:lnTo>
                    <a:pt x="3787" y="215"/>
                  </a:lnTo>
                  <a:lnTo>
                    <a:pt x="3787" y="214"/>
                  </a:lnTo>
                  <a:lnTo>
                    <a:pt x="3788" y="214"/>
                  </a:lnTo>
                  <a:lnTo>
                    <a:pt x="3789" y="214"/>
                  </a:lnTo>
                  <a:lnTo>
                    <a:pt x="3789" y="213"/>
                  </a:lnTo>
                  <a:lnTo>
                    <a:pt x="3792" y="213"/>
                  </a:lnTo>
                  <a:lnTo>
                    <a:pt x="3792" y="214"/>
                  </a:lnTo>
                  <a:lnTo>
                    <a:pt x="3793" y="214"/>
                  </a:lnTo>
                  <a:lnTo>
                    <a:pt x="3793" y="215"/>
                  </a:lnTo>
                  <a:lnTo>
                    <a:pt x="3794" y="215"/>
                  </a:lnTo>
                  <a:lnTo>
                    <a:pt x="3794" y="216"/>
                  </a:lnTo>
                  <a:lnTo>
                    <a:pt x="3795" y="216"/>
                  </a:lnTo>
                  <a:lnTo>
                    <a:pt x="3796" y="217"/>
                  </a:lnTo>
                  <a:lnTo>
                    <a:pt x="3797" y="217"/>
                  </a:lnTo>
                  <a:lnTo>
                    <a:pt x="3797" y="219"/>
                  </a:lnTo>
                  <a:lnTo>
                    <a:pt x="3800" y="219"/>
                  </a:lnTo>
                  <a:lnTo>
                    <a:pt x="3801" y="220"/>
                  </a:lnTo>
                  <a:lnTo>
                    <a:pt x="3802" y="220"/>
                  </a:lnTo>
                  <a:lnTo>
                    <a:pt x="3803" y="220"/>
                  </a:lnTo>
                  <a:lnTo>
                    <a:pt x="3805" y="221"/>
                  </a:lnTo>
                  <a:lnTo>
                    <a:pt x="3808" y="221"/>
                  </a:lnTo>
                  <a:lnTo>
                    <a:pt x="3810" y="221"/>
                  </a:lnTo>
                  <a:lnTo>
                    <a:pt x="3808" y="221"/>
                  </a:lnTo>
                  <a:lnTo>
                    <a:pt x="3808" y="220"/>
                  </a:lnTo>
                  <a:lnTo>
                    <a:pt x="3808" y="219"/>
                  </a:lnTo>
                  <a:lnTo>
                    <a:pt x="3807" y="219"/>
                  </a:lnTo>
                  <a:lnTo>
                    <a:pt x="3805" y="217"/>
                  </a:lnTo>
                  <a:lnTo>
                    <a:pt x="3805" y="219"/>
                  </a:lnTo>
                  <a:lnTo>
                    <a:pt x="3805" y="217"/>
                  </a:lnTo>
                  <a:lnTo>
                    <a:pt x="3811" y="221"/>
                  </a:lnTo>
                  <a:lnTo>
                    <a:pt x="3812" y="221"/>
                  </a:lnTo>
                  <a:lnTo>
                    <a:pt x="3814" y="222"/>
                  </a:lnTo>
                  <a:lnTo>
                    <a:pt x="3817" y="223"/>
                  </a:lnTo>
                  <a:lnTo>
                    <a:pt x="3816" y="223"/>
                  </a:lnTo>
                  <a:lnTo>
                    <a:pt x="3816" y="224"/>
                  </a:lnTo>
                  <a:lnTo>
                    <a:pt x="3817" y="224"/>
                  </a:lnTo>
                  <a:lnTo>
                    <a:pt x="3816" y="224"/>
                  </a:lnTo>
                  <a:lnTo>
                    <a:pt x="3817" y="224"/>
                  </a:lnTo>
                  <a:lnTo>
                    <a:pt x="3818" y="224"/>
                  </a:lnTo>
                  <a:lnTo>
                    <a:pt x="3819" y="224"/>
                  </a:lnTo>
                  <a:lnTo>
                    <a:pt x="3818" y="224"/>
                  </a:lnTo>
                  <a:lnTo>
                    <a:pt x="3821" y="226"/>
                  </a:lnTo>
                  <a:lnTo>
                    <a:pt x="3822" y="226"/>
                  </a:lnTo>
                  <a:lnTo>
                    <a:pt x="3823" y="226"/>
                  </a:lnTo>
                  <a:lnTo>
                    <a:pt x="3823" y="227"/>
                  </a:lnTo>
                  <a:lnTo>
                    <a:pt x="3824" y="227"/>
                  </a:lnTo>
                  <a:lnTo>
                    <a:pt x="3825" y="228"/>
                  </a:lnTo>
                  <a:lnTo>
                    <a:pt x="3828" y="229"/>
                  </a:lnTo>
                  <a:lnTo>
                    <a:pt x="3826" y="229"/>
                  </a:lnTo>
                  <a:lnTo>
                    <a:pt x="3825" y="229"/>
                  </a:lnTo>
                  <a:lnTo>
                    <a:pt x="3826" y="229"/>
                  </a:lnTo>
                  <a:lnTo>
                    <a:pt x="3828" y="229"/>
                  </a:lnTo>
                  <a:lnTo>
                    <a:pt x="3828" y="230"/>
                  </a:lnTo>
                  <a:lnTo>
                    <a:pt x="3826" y="230"/>
                  </a:lnTo>
                  <a:lnTo>
                    <a:pt x="3826" y="229"/>
                  </a:lnTo>
                  <a:lnTo>
                    <a:pt x="3825" y="229"/>
                  </a:lnTo>
                  <a:lnTo>
                    <a:pt x="3824" y="229"/>
                  </a:lnTo>
                  <a:lnTo>
                    <a:pt x="3825" y="229"/>
                  </a:lnTo>
                  <a:lnTo>
                    <a:pt x="3825" y="230"/>
                  </a:lnTo>
                  <a:lnTo>
                    <a:pt x="3825" y="229"/>
                  </a:lnTo>
                  <a:lnTo>
                    <a:pt x="3824" y="229"/>
                  </a:lnTo>
                  <a:lnTo>
                    <a:pt x="3823" y="229"/>
                  </a:lnTo>
                  <a:lnTo>
                    <a:pt x="3823" y="230"/>
                  </a:lnTo>
                  <a:lnTo>
                    <a:pt x="3824" y="230"/>
                  </a:lnTo>
                  <a:lnTo>
                    <a:pt x="3825" y="230"/>
                  </a:lnTo>
                  <a:lnTo>
                    <a:pt x="3828" y="230"/>
                  </a:lnTo>
                  <a:lnTo>
                    <a:pt x="3829" y="230"/>
                  </a:lnTo>
                  <a:lnTo>
                    <a:pt x="3830" y="231"/>
                  </a:lnTo>
                  <a:lnTo>
                    <a:pt x="3830" y="233"/>
                  </a:lnTo>
                  <a:lnTo>
                    <a:pt x="3831" y="233"/>
                  </a:lnTo>
                  <a:lnTo>
                    <a:pt x="3832" y="233"/>
                  </a:lnTo>
                  <a:lnTo>
                    <a:pt x="3832" y="231"/>
                  </a:lnTo>
                  <a:lnTo>
                    <a:pt x="3831" y="231"/>
                  </a:lnTo>
                  <a:lnTo>
                    <a:pt x="3830" y="231"/>
                  </a:lnTo>
                  <a:lnTo>
                    <a:pt x="3829" y="230"/>
                  </a:lnTo>
                  <a:lnTo>
                    <a:pt x="3828" y="230"/>
                  </a:lnTo>
                  <a:lnTo>
                    <a:pt x="3829" y="230"/>
                  </a:lnTo>
                  <a:lnTo>
                    <a:pt x="3830" y="230"/>
                  </a:lnTo>
                  <a:lnTo>
                    <a:pt x="3830" y="231"/>
                  </a:lnTo>
                  <a:lnTo>
                    <a:pt x="3831" y="231"/>
                  </a:lnTo>
                  <a:lnTo>
                    <a:pt x="3836" y="234"/>
                  </a:lnTo>
                  <a:lnTo>
                    <a:pt x="3833" y="233"/>
                  </a:lnTo>
                  <a:lnTo>
                    <a:pt x="3832" y="233"/>
                  </a:lnTo>
                  <a:lnTo>
                    <a:pt x="3833" y="233"/>
                  </a:lnTo>
                  <a:lnTo>
                    <a:pt x="3835" y="234"/>
                  </a:lnTo>
                  <a:lnTo>
                    <a:pt x="3836" y="234"/>
                  </a:lnTo>
                  <a:lnTo>
                    <a:pt x="3837" y="234"/>
                  </a:lnTo>
                  <a:lnTo>
                    <a:pt x="3839" y="235"/>
                  </a:lnTo>
                  <a:lnTo>
                    <a:pt x="3840" y="235"/>
                  </a:lnTo>
                  <a:lnTo>
                    <a:pt x="3842" y="235"/>
                  </a:lnTo>
                  <a:lnTo>
                    <a:pt x="3843" y="235"/>
                  </a:lnTo>
                  <a:lnTo>
                    <a:pt x="3843" y="236"/>
                  </a:lnTo>
                  <a:lnTo>
                    <a:pt x="3844" y="236"/>
                  </a:lnTo>
                  <a:lnTo>
                    <a:pt x="3845" y="236"/>
                  </a:lnTo>
                  <a:lnTo>
                    <a:pt x="3845" y="237"/>
                  </a:lnTo>
                  <a:lnTo>
                    <a:pt x="3844" y="237"/>
                  </a:lnTo>
                  <a:lnTo>
                    <a:pt x="3845" y="237"/>
                  </a:lnTo>
                  <a:lnTo>
                    <a:pt x="3845" y="238"/>
                  </a:lnTo>
                  <a:lnTo>
                    <a:pt x="3847" y="240"/>
                  </a:lnTo>
                  <a:lnTo>
                    <a:pt x="3849" y="240"/>
                  </a:lnTo>
                  <a:lnTo>
                    <a:pt x="3850" y="240"/>
                  </a:lnTo>
                  <a:lnTo>
                    <a:pt x="3851" y="240"/>
                  </a:lnTo>
                  <a:lnTo>
                    <a:pt x="3851" y="241"/>
                  </a:lnTo>
                  <a:lnTo>
                    <a:pt x="3852" y="241"/>
                  </a:lnTo>
                  <a:lnTo>
                    <a:pt x="3853" y="241"/>
                  </a:lnTo>
                  <a:lnTo>
                    <a:pt x="3853" y="242"/>
                  </a:lnTo>
                  <a:lnTo>
                    <a:pt x="3854" y="242"/>
                  </a:lnTo>
                  <a:lnTo>
                    <a:pt x="3854" y="243"/>
                  </a:lnTo>
                  <a:lnTo>
                    <a:pt x="3856" y="243"/>
                  </a:lnTo>
                  <a:lnTo>
                    <a:pt x="3854" y="243"/>
                  </a:lnTo>
                  <a:lnTo>
                    <a:pt x="3854" y="244"/>
                  </a:lnTo>
                  <a:lnTo>
                    <a:pt x="3856" y="244"/>
                  </a:lnTo>
                  <a:lnTo>
                    <a:pt x="3856" y="245"/>
                  </a:lnTo>
                  <a:lnTo>
                    <a:pt x="3854" y="245"/>
                  </a:lnTo>
                  <a:lnTo>
                    <a:pt x="3853" y="245"/>
                  </a:lnTo>
                  <a:lnTo>
                    <a:pt x="3854" y="245"/>
                  </a:lnTo>
                  <a:lnTo>
                    <a:pt x="3856" y="247"/>
                  </a:lnTo>
                  <a:lnTo>
                    <a:pt x="3857" y="247"/>
                  </a:lnTo>
                  <a:lnTo>
                    <a:pt x="3857" y="248"/>
                  </a:lnTo>
                  <a:lnTo>
                    <a:pt x="3856" y="248"/>
                  </a:lnTo>
                  <a:lnTo>
                    <a:pt x="3854" y="248"/>
                  </a:lnTo>
                  <a:lnTo>
                    <a:pt x="3854" y="247"/>
                  </a:lnTo>
                  <a:lnTo>
                    <a:pt x="3852" y="247"/>
                  </a:lnTo>
                  <a:lnTo>
                    <a:pt x="3851" y="247"/>
                  </a:lnTo>
                  <a:lnTo>
                    <a:pt x="3847" y="247"/>
                  </a:lnTo>
                  <a:lnTo>
                    <a:pt x="3846" y="245"/>
                  </a:lnTo>
                  <a:lnTo>
                    <a:pt x="3845" y="245"/>
                  </a:lnTo>
                  <a:lnTo>
                    <a:pt x="3844" y="245"/>
                  </a:lnTo>
                  <a:lnTo>
                    <a:pt x="3843" y="245"/>
                  </a:lnTo>
                  <a:lnTo>
                    <a:pt x="3842" y="244"/>
                  </a:lnTo>
                  <a:lnTo>
                    <a:pt x="3839" y="244"/>
                  </a:lnTo>
                  <a:lnTo>
                    <a:pt x="3836" y="244"/>
                  </a:lnTo>
                  <a:lnTo>
                    <a:pt x="3832" y="244"/>
                  </a:lnTo>
                  <a:lnTo>
                    <a:pt x="3831" y="244"/>
                  </a:lnTo>
                  <a:lnTo>
                    <a:pt x="3831" y="243"/>
                  </a:lnTo>
                  <a:lnTo>
                    <a:pt x="3830" y="243"/>
                  </a:lnTo>
                  <a:lnTo>
                    <a:pt x="3830" y="242"/>
                  </a:lnTo>
                  <a:lnTo>
                    <a:pt x="3829" y="242"/>
                  </a:lnTo>
                  <a:lnTo>
                    <a:pt x="3830" y="241"/>
                  </a:lnTo>
                  <a:lnTo>
                    <a:pt x="3830" y="242"/>
                  </a:lnTo>
                  <a:lnTo>
                    <a:pt x="3830" y="241"/>
                  </a:lnTo>
                  <a:lnTo>
                    <a:pt x="3829" y="241"/>
                  </a:lnTo>
                  <a:lnTo>
                    <a:pt x="3828" y="241"/>
                  </a:lnTo>
                  <a:lnTo>
                    <a:pt x="3829" y="242"/>
                  </a:lnTo>
                  <a:lnTo>
                    <a:pt x="3828" y="242"/>
                  </a:lnTo>
                  <a:lnTo>
                    <a:pt x="3826" y="242"/>
                  </a:lnTo>
                  <a:lnTo>
                    <a:pt x="3826" y="241"/>
                  </a:lnTo>
                  <a:lnTo>
                    <a:pt x="3825" y="241"/>
                  </a:lnTo>
                  <a:lnTo>
                    <a:pt x="3824" y="241"/>
                  </a:lnTo>
                  <a:lnTo>
                    <a:pt x="3824" y="240"/>
                  </a:lnTo>
                  <a:lnTo>
                    <a:pt x="3823" y="240"/>
                  </a:lnTo>
                  <a:lnTo>
                    <a:pt x="3823" y="241"/>
                  </a:lnTo>
                  <a:lnTo>
                    <a:pt x="3824" y="241"/>
                  </a:lnTo>
                  <a:lnTo>
                    <a:pt x="3825" y="241"/>
                  </a:lnTo>
                  <a:lnTo>
                    <a:pt x="3825" y="242"/>
                  </a:lnTo>
                  <a:lnTo>
                    <a:pt x="3826" y="243"/>
                  </a:lnTo>
                  <a:lnTo>
                    <a:pt x="3828" y="243"/>
                  </a:lnTo>
                  <a:lnTo>
                    <a:pt x="3829" y="243"/>
                  </a:lnTo>
                  <a:lnTo>
                    <a:pt x="3829" y="244"/>
                  </a:lnTo>
                  <a:lnTo>
                    <a:pt x="3830" y="244"/>
                  </a:lnTo>
                  <a:lnTo>
                    <a:pt x="3831" y="244"/>
                  </a:lnTo>
                  <a:lnTo>
                    <a:pt x="3830" y="244"/>
                  </a:lnTo>
                  <a:lnTo>
                    <a:pt x="3829" y="245"/>
                  </a:lnTo>
                  <a:lnTo>
                    <a:pt x="3828" y="245"/>
                  </a:lnTo>
                  <a:lnTo>
                    <a:pt x="3826" y="245"/>
                  </a:lnTo>
                  <a:lnTo>
                    <a:pt x="3826" y="244"/>
                  </a:lnTo>
                  <a:lnTo>
                    <a:pt x="3826" y="245"/>
                  </a:lnTo>
                  <a:lnTo>
                    <a:pt x="3826" y="247"/>
                  </a:lnTo>
                  <a:lnTo>
                    <a:pt x="3825" y="247"/>
                  </a:lnTo>
                  <a:lnTo>
                    <a:pt x="3826" y="248"/>
                  </a:lnTo>
                  <a:lnTo>
                    <a:pt x="3824" y="249"/>
                  </a:lnTo>
                  <a:lnTo>
                    <a:pt x="3822" y="250"/>
                  </a:lnTo>
                  <a:lnTo>
                    <a:pt x="3821" y="250"/>
                  </a:lnTo>
                  <a:lnTo>
                    <a:pt x="3821" y="251"/>
                  </a:lnTo>
                  <a:lnTo>
                    <a:pt x="3819" y="251"/>
                  </a:lnTo>
                  <a:lnTo>
                    <a:pt x="3821" y="251"/>
                  </a:lnTo>
                  <a:lnTo>
                    <a:pt x="3819" y="250"/>
                  </a:lnTo>
                  <a:lnTo>
                    <a:pt x="3819" y="251"/>
                  </a:lnTo>
                  <a:lnTo>
                    <a:pt x="3819" y="250"/>
                  </a:lnTo>
                  <a:lnTo>
                    <a:pt x="3818" y="250"/>
                  </a:lnTo>
                  <a:lnTo>
                    <a:pt x="3817" y="250"/>
                  </a:lnTo>
                  <a:lnTo>
                    <a:pt x="3818" y="250"/>
                  </a:lnTo>
                  <a:lnTo>
                    <a:pt x="3819" y="251"/>
                  </a:lnTo>
                  <a:lnTo>
                    <a:pt x="3819" y="252"/>
                  </a:lnTo>
                  <a:lnTo>
                    <a:pt x="3817" y="254"/>
                  </a:lnTo>
                  <a:lnTo>
                    <a:pt x="3816" y="252"/>
                  </a:lnTo>
                  <a:lnTo>
                    <a:pt x="3815" y="252"/>
                  </a:lnTo>
                  <a:lnTo>
                    <a:pt x="3814" y="252"/>
                  </a:lnTo>
                  <a:lnTo>
                    <a:pt x="3815" y="252"/>
                  </a:lnTo>
                  <a:lnTo>
                    <a:pt x="3815" y="254"/>
                  </a:lnTo>
                  <a:lnTo>
                    <a:pt x="3816" y="254"/>
                  </a:lnTo>
                  <a:lnTo>
                    <a:pt x="3817" y="254"/>
                  </a:lnTo>
                  <a:lnTo>
                    <a:pt x="3817" y="255"/>
                  </a:lnTo>
                  <a:lnTo>
                    <a:pt x="3816" y="255"/>
                  </a:lnTo>
                  <a:lnTo>
                    <a:pt x="3815" y="255"/>
                  </a:lnTo>
                  <a:lnTo>
                    <a:pt x="3814" y="255"/>
                  </a:lnTo>
                  <a:lnTo>
                    <a:pt x="3812" y="255"/>
                  </a:lnTo>
                  <a:lnTo>
                    <a:pt x="3811" y="255"/>
                  </a:lnTo>
                  <a:lnTo>
                    <a:pt x="3810" y="255"/>
                  </a:lnTo>
                  <a:lnTo>
                    <a:pt x="3811" y="255"/>
                  </a:lnTo>
                  <a:lnTo>
                    <a:pt x="3811" y="256"/>
                  </a:lnTo>
                  <a:lnTo>
                    <a:pt x="3812" y="256"/>
                  </a:lnTo>
                  <a:lnTo>
                    <a:pt x="3811" y="257"/>
                  </a:lnTo>
                  <a:lnTo>
                    <a:pt x="3810" y="257"/>
                  </a:lnTo>
                  <a:lnTo>
                    <a:pt x="3809" y="256"/>
                  </a:lnTo>
                  <a:lnTo>
                    <a:pt x="3808" y="256"/>
                  </a:lnTo>
                  <a:lnTo>
                    <a:pt x="3807" y="256"/>
                  </a:lnTo>
                  <a:lnTo>
                    <a:pt x="3808" y="257"/>
                  </a:lnTo>
                  <a:lnTo>
                    <a:pt x="3809" y="258"/>
                  </a:lnTo>
                  <a:lnTo>
                    <a:pt x="3810" y="258"/>
                  </a:lnTo>
                  <a:lnTo>
                    <a:pt x="3809" y="258"/>
                  </a:lnTo>
                  <a:lnTo>
                    <a:pt x="3808" y="258"/>
                  </a:lnTo>
                  <a:lnTo>
                    <a:pt x="3808" y="259"/>
                  </a:lnTo>
                  <a:lnTo>
                    <a:pt x="3809" y="259"/>
                  </a:lnTo>
                  <a:lnTo>
                    <a:pt x="3809" y="261"/>
                  </a:lnTo>
                  <a:lnTo>
                    <a:pt x="3808" y="261"/>
                  </a:lnTo>
                  <a:lnTo>
                    <a:pt x="3807" y="261"/>
                  </a:lnTo>
                  <a:lnTo>
                    <a:pt x="3805" y="261"/>
                  </a:lnTo>
                  <a:lnTo>
                    <a:pt x="3805" y="259"/>
                  </a:lnTo>
                  <a:lnTo>
                    <a:pt x="3804" y="259"/>
                  </a:lnTo>
                  <a:lnTo>
                    <a:pt x="3803" y="261"/>
                  </a:lnTo>
                  <a:lnTo>
                    <a:pt x="3804" y="261"/>
                  </a:lnTo>
                  <a:lnTo>
                    <a:pt x="3805" y="261"/>
                  </a:lnTo>
                  <a:lnTo>
                    <a:pt x="3807" y="262"/>
                  </a:lnTo>
                  <a:lnTo>
                    <a:pt x="3808" y="262"/>
                  </a:lnTo>
                  <a:lnTo>
                    <a:pt x="3809" y="262"/>
                  </a:lnTo>
                  <a:lnTo>
                    <a:pt x="3809" y="263"/>
                  </a:lnTo>
                  <a:lnTo>
                    <a:pt x="3808" y="263"/>
                  </a:lnTo>
                  <a:lnTo>
                    <a:pt x="3805" y="262"/>
                  </a:lnTo>
                  <a:lnTo>
                    <a:pt x="3804" y="262"/>
                  </a:lnTo>
                  <a:lnTo>
                    <a:pt x="3807" y="262"/>
                  </a:lnTo>
                  <a:lnTo>
                    <a:pt x="3807" y="263"/>
                  </a:lnTo>
                  <a:lnTo>
                    <a:pt x="3808" y="263"/>
                  </a:lnTo>
                  <a:lnTo>
                    <a:pt x="3807" y="263"/>
                  </a:lnTo>
                  <a:lnTo>
                    <a:pt x="3807" y="264"/>
                  </a:lnTo>
                  <a:lnTo>
                    <a:pt x="3808" y="264"/>
                  </a:lnTo>
                  <a:lnTo>
                    <a:pt x="3807" y="264"/>
                  </a:lnTo>
                  <a:lnTo>
                    <a:pt x="3804" y="263"/>
                  </a:lnTo>
                  <a:lnTo>
                    <a:pt x="3803" y="264"/>
                  </a:lnTo>
                  <a:lnTo>
                    <a:pt x="3804" y="264"/>
                  </a:lnTo>
                  <a:lnTo>
                    <a:pt x="3805" y="264"/>
                  </a:lnTo>
                  <a:lnTo>
                    <a:pt x="3805" y="265"/>
                  </a:lnTo>
                  <a:lnTo>
                    <a:pt x="3804" y="265"/>
                  </a:lnTo>
                  <a:lnTo>
                    <a:pt x="3803" y="264"/>
                  </a:lnTo>
                  <a:lnTo>
                    <a:pt x="3804" y="265"/>
                  </a:lnTo>
                  <a:lnTo>
                    <a:pt x="3805" y="265"/>
                  </a:lnTo>
                  <a:lnTo>
                    <a:pt x="3807" y="265"/>
                  </a:lnTo>
                  <a:lnTo>
                    <a:pt x="3808" y="265"/>
                  </a:lnTo>
                  <a:lnTo>
                    <a:pt x="3808" y="266"/>
                  </a:lnTo>
                  <a:lnTo>
                    <a:pt x="3807" y="266"/>
                  </a:lnTo>
                  <a:lnTo>
                    <a:pt x="3805" y="266"/>
                  </a:lnTo>
                  <a:lnTo>
                    <a:pt x="3804" y="265"/>
                  </a:lnTo>
                  <a:lnTo>
                    <a:pt x="3802" y="265"/>
                  </a:lnTo>
                  <a:lnTo>
                    <a:pt x="3805" y="266"/>
                  </a:lnTo>
                  <a:lnTo>
                    <a:pt x="3807" y="266"/>
                  </a:lnTo>
                  <a:lnTo>
                    <a:pt x="3807" y="268"/>
                  </a:lnTo>
                  <a:lnTo>
                    <a:pt x="3805" y="268"/>
                  </a:lnTo>
                  <a:lnTo>
                    <a:pt x="3807" y="268"/>
                  </a:lnTo>
                  <a:lnTo>
                    <a:pt x="3807" y="269"/>
                  </a:lnTo>
                  <a:lnTo>
                    <a:pt x="3805" y="269"/>
                  </a:lnTo>
                  <a:lnTo>
                    <a:pt x="3805" y="268"/>
                  </a:lnTo>
                  <a:lnTo>
                    <a:pt x="3804" y="268"/>
                  </a:lnTo>
                  <a:lnTo>
                    <a:pt x="3805" y="268"/>
                  </a:lnTo>
                  <a:lnTo>
                    <a:pt x="3805" y="269"/>
                  </a:lnTo>
                  <a:lnTo>
                    <a:pt x="3804" y="269"/>
                  </a:lnTo>
                  <a:lnTo>
                    <a:pt x="3803" y="269"/>
                  </a:lnTo>
                  <a:lnTo>
                    <a:pt x="3803" y="270"/>
                  </a:lnTo>
                  <a:lnTo>
                    <a:pt x="3802" y="270"/>
                  </a:lnTo>
                  <a:lnTo>
                    <a:pt x="3803" y="270"/>
                  </a:lnTo>
                  <a:lnTo>
                    <a:pt x="3804" y="270"/>
                  </a:lnTo>
                  <a:lnTo>
                    <a:pt x="3803" y="271"/>
                  </a:lnTo>
                  <a:lnTo>
                    <a:pt x="3802" y="270"/>
                  </a:lnTo>
                  <a:lnTo>
                    <a:pt x="3801" y="270"/>
                  </a:lnTo>
                  <a:lnTo>
                    <a:pt x="3802" y="270"/>
                  </a:lnTo>
                  <a:lnTo>
                    <a:pt x="3802" y="271"/>
                  </a:lnTo>
                  <a:lnTo>
                    <a:pt x="3803" y="271"/>
                  </a:lnTo>
                  <a:lnTo>
                    <a:pt x="3803" y="272"/>
                  </a:lnTo>
                  <a:lnTo>
                    <a:pt x="3803" y="273"/>
                  </a:lnTo>
                  <a:lnTo>
                    <a:pt x="3802" y="273"/>
                  </a:lnTo>
                  <a:lnTo>
                    <a:pt x="3801" y="273"/>
                  </a:lnTo>
                  <a:lnTo>
                    <a:pt x="3800" y="273"/>
                  </a:lnTo>
                  <a:lnTo>
                    <a:pt x="3799" y="273"/>
                  </a:lnTo>
                  <a:lnTo>
                    <a:pt x="3800" y="273"/>
                  </a:lnTo>
                  <a:lnTo>
                    <a:pt x="3800" y="275"/>
                  </a:lnTo>
                  <a:lnTo>
                    <a:pt x="3801" y="275"/>
                  </a:lnTo>
                  <a:lnTo>
                    <a:pt x="3800" y="275"/>
                  </a:lnTo>
                  <a:lnTo>
                    <a:pt x="3799" y="275"/>
                  </a:lnTo>
                  <a:lnTo>
                    <a:pt x="3797" y="275"/>
                  </a:lnTo>
                  <a:lnTo>
                    <a:pt x="3799" y="275"/>
                  </a:lnTo>
                  <a:lnTo>
                    <a:pt x="3800" y="276"/>
                  </a:lnTo>
                  <a:lnTo>
                    <a:pt x="3801" y="276"/>
                  </a:lnTo>
                  <a:lnTo>
                    <a:pt x="3801" y="277"/>
                  </a:lnTo>
                  <a:lnTo>
                    <a:pt x="3801" y="278"/>
                  </a:lnTo>
                  <a:lnTo>
                    <a:pt x="3803" y="280"/>
                  </a:lnTo>
                  <a:lnTo>
                    <a:pt x="3804" y="280"/>
                  </a:lnTo>
                  <a:lnTo>
                    <a:pt x="3804" y="282"/>
                  </a:lnTo>
                  <a:lnTo>
                    <a:pt x="3804" y="283"/>
                  </a:lnTo>
                  <a:lnTo>
                    <a:pt x="3803" y="283"/>
                  </a:lnTo>
                  <a:lnTo>
                    <a:pt x="3803" y="282"/>
                  </a:lnTo>
                  <a:lnTo>
                    <a:pt x="3802" y="282"/>
                  </a:lnTo>
                  <a:lnTo>
                    <a:pt x="3801" y="282"/>
                  </a:lnTo>
                  <a:lnTo>
                    <a:pt x="3801" y="280"/>
                  </a:lnTo>
                  <a:lnTo>
                    <a:pt x="3800" y="280"/>
                  </a:lnTo>
                  <a:lnTo>
                    <a:pt x="3799" y="280"/>
                  </a:lnTo>
                  <a:lnTo>
                    <a:pt x="3797" y="280"/>
                  </a:lnTo>
                  <a:lnTo>
                    <a:pt x="3796" y="279"/>
                  </a:lnTo>
                  <a:lnTo>
                    <a:pt x="3795" y="279"/>
                  </a:lnTo>
                  <a:lnTo>
                    <a:pt x="3795" y="278"/>
                  </a:lnTo>
                  <a:lnTo>
                    <a:pt x="3794" y="278"/>
                  </a:lnTo>
                  <a:lnTo>
                    <a:pt x="3795" y="278"/>
                  </a:lnTo>
                  <a:lnTo>
                    <a:pt x="3794" y="277"/>
                  </a:lnTo>
                  <a:lnTo>
                    <a:pt x="3794" y="278"/>
                  </a:lnTo>
                  <a:lnTo>
                    <a:pt x="3793" y="277"/>
                  </a:lnTo>
                  <a:lnTo>
                    <a:pt x="3792" y="277"/>
                  </a:lnTo>
                  <a:lnTo>
                    <a:pt x="3790" y="277"/>
                  </a:lnTo>
                  <a:lnTo>
                    <a:pt x="3790" y="276"/>
                  </a:lnTo>
                  <a:lnTo>
                    <a:pt x="3789" y="276"/>
                  </a:lnTo>
                  <a:lnTo>
                    <a:pt x="3789" y="275"/>
                  </a:lnTo>
                  <a:lnTo>
                    <a:pt x="3788" y="275"/>
                  </a:lnTo>
                  <a:lnTo>
                    <a:pt x="3787" y="275"/>
                  </a:lnTo>
                  <a:lnTo>
                    <a:pt x="3786" y="275"/>
                  </a:lnTo>
                  <a:lnTo>
                    <a:pt x="3783" y="273"/>
                  </a:lnTo>
                  <a:lnTo>
                    <a:pt x="3782" y="273"/>
                  </a:lnTo>
                  <a:lnTo>
                    <a:pt x="3781" y="273"/>
                  </a:lnTo>
                  <a:lnTo>
                    <a:pt x="3782" y="273"/>
                  </a:lnTo>
                  <a:lnTo>
                    <a:pt x="3781" y="272"/>
                  </a:lnTo>
                  <a:lnTo>
                    <a:pt x="3780" y="272"/>
                  </a:lnTo>
                  <a:lnTo>
                    <a:pt x="3780" y="273"/>
                  </a:lnTo>
                  <a:lnTo>
                    <a:pt x="3778" y="272"/>
                  </a:lnTo>
                  <a:lnTo>
                    <a:pt x="3775" y="273"/>
                  </a:lnTo>
                  <a:lnTo>
                    <a:pt x="3774" y="273"/>
                  </a:lnTo>
                  <a:lnTo>
                    <a:pt x="3773" y="272"/>
                  </a:lnTo>
                  <a:lnTo>
                    <a:pt x="3772" y="272"/>
                  </a:lnTo>
                  <a:lnTo>
                    <a:pt x="3769" y="272"/>
                  </a:lnTo>
                  <a:lnTo>
                    <a:pt x="3768" y="272"/>
                  </a:lnTo>
                  <a:lnTo>
                    <a:pt x="3766" y="273"/>
                  </a:lnTo>
                  <a:lnTo>
                    <a:pt x="3765" y="273"/>
                  </a:lnTo>
                  <a:lnTo>
                    <a:pt x="3766" y="273"/>
                  </a:lnTo>
                  <a:lnTo>
                    <a:pt x="3766" y="275"/>
                  </a:lnTo>
                  <a:lnTo>
                    <a:pt x="3765" y="275"/>
                  </a:lnTo>
                  <a:lnTo>
                    <a:pt x="3764" y="275"/>
                  </a:lnTo>
                  <a:lnTo>
                    <a:pt x="3762" y="275"/>
                  </a:lnTo>
                  <a:lnTo>
                    <a:pt x="3761" y="275"/>
                  </a:lnTo>
                  <a:lnTo>
                    <a:pt x="3762" y="275"/>
                  </a:lnTo>
                  <a:lnTo>
                    <a:pt x="3764" y="276"/>
                  </a:lnTo>
                  <a:lnTo>
                    <a:pt x="3762" y="276"/>
                  </a:lnTo>
                  <a:lnTo>
                    <a:pt x="3762" y="275"/>
                  </a:lnTo>
                  <a:lnTo>
                    <a:pt x="3762" y="276"/>
                  </a:lnTo>
                  <a:lnTo>
                    <a:pt x="3761" y="276"/>
                  </a:lnTo>
                  <a:lnTo>
                    <a:pt x="3760" y="276"/>
                  </a:lnTo>
                  <a:lnTo>
                    <a:pt x="3760" y="275"/>
                  </a:lnTo>
                  <a:lnTo>
                    <a:pt x="3759" y="275"/>
                  </a:lnTo>
                  <a:lnTo>
                    <a:pt x="3760" y="276"/>
                  </a:lnTo>
                  <a:lnTo>
                    <a:pt x="3761" y="276"/>
                  </a:lnTo>
                  <a:lnTo>
                    <a:pt x="3761" y="277"/>
                  </a:lnTo>
                  <a:lnTo>
                    <a:pt x="3760" y="277"/>
                  </a:lnTo>
                  <a:lnTo>
                    <a:pt x="3761" y="277"/>
                  </a:lnTo>
                  <a:lnTo>
                    <a:pt x="3760" y="278"/>
                  </a:lnTo>
                  <a:lnTo>
                    <a:pt x="3761" y="279"/>
                  </a:lnTo>
                  <a:lnTo>
                    <a:pt x="3761" y="282"/>
                  </a:lnTo>
                  <a:lnTo>
                    <a:pt x="3761" y="283"/>
                  </a:lnTo>
                  <a:lnTo>
                    <a:pt x="3761" y="284"/>
                  </a:lnTo>
                  <a:lnTo>
                    <a:pt x="3760" y="284"/>
                  </a:lnTo>
                  <a:lnTo>
                    <a:pt x="3759" y="284"/>
                  </a:lnTo>
                  <a:lnTo>
                    <a:pt x="3759" y="283"/>
                  </a:lnTo>
                  <a:lnTo>
                    <a:pt x="3758" y="283"/>
                  </a:lnTo>
                  <a:lnTo>
                    <a:pt x="3758" y="282"/>
                  </a:lnTo>
                  <a:lnTo>
                    <a:pt x="3757" y="282"/>
                  </a:lnTo>
                  <a:lnTo>
                    <a:pt x="3757" y="280"/>
                  </a:lnTo>
                  <a:lnTo>
                    <a:pt x="3755" y="280"/>
                  </a:lnTo>
                  <a:lnTo>
                    <a:pt x="3755" y="279"/>
                  </a:lnTo>
                  <a:lnTo>
                    <a:pt x="3754" y="279"/>
                  </a:lnTo>
                  <a:lnTo>
                    <a:pt x="3755" y="278"/>
                  </a:lnTo>
                  <a:lnTo>
                    <a:pt x="3754" y="278"/>
                  </a:lnTo>
                  <a:lnTo>
                    <a:pt x="3753" y="277"/>
                  </a:lnTo>
                  <a:lnTo>
                    <a:pt x="3752" y="276"/>
                  </a:lnTo>
                  <a:lnTo>
                    <a:pt x="3751" y="276"/>
                  </a:lnTo>
                  <a:lnTo>
                    <a:pt x="3752" y="276"/>
                  </a:lnTo>
                  <a:lnTo>
                    <a:pt x="3752" y="275"/>
                  </a:lnTo>
                  <a:lnTo>
                    <a:pt x="3751" y="275"/>
                  </a:lnTo>
                  <a:lnTo>
                    <a:pt x="3751" y="273"/>
                  </a:lnTo>
                  <a:lnTo>
                    <a:pt x="3751" y="275"/>
                  </a:lnTo>
                  <a:lnTo>
                    <a:pt x="3750" y="275"/>
                  </a:lnTo>
                  <a:lnTo>
                    <a:pt x="3747" y="275"/>
                  </a:lnTo>
                  <a:lnTo>
                    <a:pt x="3747" y="276"/>
                  </a:lnTo>
                  <a:lnTo>
                    <a:pt x="3748" y="276"/>
                  </a:lnTo>
                  <a:lnTo>
                    <a:pt x="3748" y="275"/>
                  </a:lnTo>
                  <a:lnTo>
                    <a:pt x="3750" y="275"/>
                  </a:lnTo>
                  <a:lnTo>
                    <a:pt x="3748" y="275"/>
                  </a:lnTo>
                  <a:lnTo>
                    <a:pt x="3748" y="276"/>
                  </a:lnTo>
                  <a:lnTo>
                    <a:pt x="3747" y="276"/>
                  </a:lnTo>
                  <a:lnTo>
                    <a:pt x="3747" y="277"/>
                  </a:lnTo>
                  <a:lnTo>
                    <a:pt x="3746" y="278"/>
                  </a:lnTo>
                  <a:lnTo>
                    <a:pt x="3745" y="278"/>
                  </a:lnTo>
                  <a:lnTo>
                    <a:pt x="3744" y="277"/>
                  </a:lnTo>
                  <a:lnTo>
                    <a:pt x="3745" y="278"/>
                  </a:lnTo>
                  <a:lnTo>
                    <a:pt x="3745" y="279"/>
                  </a:lnTo>
                  <a:lnTo>
                    <a:pt x="3744" y="279"/>
                  </a:lnTo>
                  <a:lnTo>
                    <a:pt x="3743" y="279"/>
                  </a:lnTo>
                  <a:lnTo>
                    <a:pt x="3743" y="278"/>
                  </a:lnTo>
                  <a:lnTo>
                    <a:pt x="3743" y="279"/>
                  </a:lnTo>
                  <a:lnTo>
                    <a:pt x="3741" y="279"/>
                  </a:lnTo>
                  <a:lnTo>
                    <a:pt x="3743" y="279"/>
                  </a:lnTo>
                  <a:lnTo>
                    <a:pt x="3743" y="280"/>
                  </a:lnTo>
                  <a:lnTo>
                    <a:pt x="3743" y="279"/>
                  </a:lnTo>
                  <a:lnTo>
                    <a:pt x="3744" y="279"/>
                  </a:lnTo>
                  <a:lnTo>
                    <a:pt x="3744" y="280"/>
                  </a:lnTo>
                  <a:lnTo>
                    <a:pt x="3745" y="280"/>
                  </a:lnTo>
                  <a:lnTo>
                    <a:pt x="3746" y="280"/>
                  </a:lnTo>
                  <a:lnTo>
                    <a:pt x="3746" y="282"/>
                  </a:lnTo>
                  <a:lnTo>
                    <a:pt x="3746" y="283"/>
                  </a:lnTo>
                  <a:lnTo>
                    <a:pt x="3746" y="284"/>
                  </a:lnTo>
                  <a:lnTo>
                    <a:pt x="3745" y="284"/>
                  </a:lnTo>
                  <a:lnTo>
                    <a:pt x="3744" y="284"/>
                  </a:lnTo>
                  <a:lnTo>
                    <a:pt x="3744" y="283"/>
                  </a:lnTo>
                  <a:lnTo>
                    <a:pt x="3743" y="283"/>
                  </a:lnTo>
                  <a:lnTo>
                    <a:pt x="3741" y="282"/>
                  </a:lnTo>
                  <a:lnTo>
                    <a:pt x="3740" y="282"/>
                  </a:lnTo>
                  <a:lnTo>
                    <a:pt x="3739" y="280"/>
                  </a:lnTo>
                  <a:lnTo>
                    <a:pt x="3738" y="280"/>
                  </a:lnTo>
                  <a:lnTo>
                    <a:pt x="3737" y="279"/>
                  </a:lnTo>
                  <a:lnTo>
                    <a:pt x="3736" y="279"/>
                  </a:lnTo>
                  <a:lnTo>
                    <a:pt x="3736" y="280"/>
                  </a:lnTo>
                  <a:lnTo>
                    <a:pt x="3735" y="279"/>
                  </a:lnTo>
                  <a:lnTo>
                    <a:pt x="3736" y="280"/>
                  </a:lnTo>
                  <a:lnTo>
                    <a:pt x="3737" y="280"/>
                  </a:lnTo>
                  <a:lnTo>
                    <a:pt x="3737" y="282"/>
                  </a:lnTo>
                  <a:lnTo>
                    <a:pt x="3736" y="282"/>
                  </a:lnTo>
                  <a:lnTo>
                    <a:pt x="3735" y="282"/>
                  </a:lnTo>
                  <a:lnTo>
                    <a:pt x="3736" y="282"/>
                  </a:lnTo>
                  <a:lnTo>
                    <a:pt x="3736" y="283"/>
                  </a:lnTo>
                  <a:lnTo>
                    <a:pt x="3737" y="283"/>
                  </a:lnTo>
                  <a:lnTo>
                    <a:pt x="3736" y="283"/>
                  </a:lnTo>
                  <a:lnTo>
                    <a:pt x="3735" y="283"/>
                  </a:lnTo>
                  <a:lnTo>
                    <a:pt x="3736" y="283"/>
                  </a:lnTo>
                  <a:lnTo>
                    <a:pt x="3735" y="282"/>
                  </a:lnTo>
                  <a:lnTo>
                    <a:pt x="3733" y="282"/>
                  </a:lnTo>
                  <a:lnTo>
                    <a:pt x="3733" y="280"/>
                  </a:lnTo>
                  <a:lnTo>
                    <a:pt x="3732" y="280"/>
                  </a:lnTo>
                  <a:lnTo>
                    <a:pt x="3731" y="280"/>
                  </a:lnTo>
                  <a:lnTo>
                    <a:pt x="3730" y="280"/>
                  </a:lnTo>
                  <a:lnTo>
                    <a:pt x="3729" y="280"/>
                  </a:lnTo>
                  <a:lnTo>
                    <a:pt x="3728" y="280"/>
                  </a:lnTo>
                  <a:lnTo>
                    <a:pt x="3729" y="280"/>
                  </a:lnTo>
                  <a:lnTo>
                    <a:pt x="3729" y="282"/>
                  </a:lnTo>
                  <a:lnTo>
                    <a:pt x="3730" y="282"/>
                  </a:lnTo>
                  <a:lnTo>
                    <a:pt x="3731" y="282"/>
                  </a:lnTo>
                  <a:lnTo>
                    <a:pt x="3731" y="283"/>
                  </a:lnTo>
                  <a:lnTo>
                    <a:pt x="3730" y="283"/>
                  </a:lnTo>
                  <a:lnTo>
                    <a:pt x="3729" y="283"/>
                  </a:lnTo>
                  <a:lnTo>
                    <a:pt x="3729" y="284"/>
                  </a:lnTo>
                  <a:lnTo>
                    <a:pt x="3730" y="284"/>
                  </a:lnTo>
                  <a:lnTo>
                    <a:pt x="3730" y="285"/>
                  </a:lnTo>
                  <a:lnTo>
                    <a:pt x="3731" y="285"/>
                  </a:lnTo>
                  <a:lnTo>
                    <a:pt x="3731" y="286"/>
                  </a:lnTo>
                  <a:lnTo>
                    <a:pt x="3732" y="286"/>
                  </a:lnTo>
                  <a:lnTo>
                    <a:pt x="3732" y="287"/>
                  </a:lnTo>
                  <a:lnTo>
                    <a:pt x="3731" y="287"/>
                  </a:lnTo>
                  <a:lnTo>
                    <a:pt x="3732" y="287"/>
                  </a:lnTo>
                  <a:lnTo>
                    <a:pt x="3732" y="289"/>
                  </a:lnTo>
                  <a:lnTo>
                    <a:pt x="3733" y="289"/>
                  </a:lnTo>
                  <a:lnTo>
                    <a:pt x="3735" y="289"/>
                  </a:lnTo>
                  <a:lnTo>
                    <a:pt x="3735" y="290"/>
                  </a:lnTo>
                  <a:lnTo>
                    <a:pt x="3736" y="290"/>
                  </a:lnTo>
                  <a:lnTo>
                    <a:pt x="3737" y="291"/>
                  </a:lnTo>
                  <a:lnTo>
                    <a:pt x="3738" y="292"/>
                  </a:lnTo>
                  <a:lnTo>
                    <a:pt x="3737" y="292"/>
                  </a:lnTo>
                  <a:lnTo>
                    <a:pt x="3737" y="291"/>
                  </a:lnTo>
                  <a:lnTo>
                    <a:pt x="3736" y="291"/>
                  </a:lnTo>
                  <a:lnTo>
                    <a:pt x="3736" y="292"/>
                  </a:lnTo>
                  <a:lnTo>
                    <a:pt x="3735" y="292"/>
                  </a:lnTo>
                  <a:lnTo>
                    <a:pt x="3736" y="292"/>
                  </a:lnTo>
                  <a:lnTo>
                    <a:pt x="3737" y="293"/>
                  </a:lnTo>
                  <a:lnTo>
                    <a:pt x="3738" y="293"/>
                  </a:lnTo>
                  <a:lnTo>
                    <a:pt x="3739" y="293"/>
                  </a:lnTo>
                  <a:lnTo>
                    <a:pt x="3740" y="294"/>
                  </a:lnTo>
                  <a:lnTo>
                    <a:pt x="3740" y="296"/>
                  </a:lnTo>
                  <a:lnTo>
                    <a:pt x="3739" y="294"/>
                  </a:lnTo>
                  <a:lnTo>
                    <a:pt x="3738" y="294"/>
                  </a:lnTo>
                  <a:lnTo>
                    <a:pt x="3738" y="293"/>
                  </a:lnTo>
                  <a:lnTo>
                    <a:pt x="3737" y="293"/>
                  </a:lnTo>
                  <a:lnTo>
                    <a:pt x="3736" y="293"/>
                  </a:lnTo>
                  <a:lnTo>
                    <a:pt x="3736" y="294"/>
                  </a:lnTo>
                  <a:lnTo>
                    <a:pt x="3738" y="294"/>
                  </a:lnTo>
                  <a:lnTo>
                    <a:pt x="3738" y="296"/>
                  </a:lnTo>
                  <a:lnTo>
                    <a:pt x="3739" y="296"/>
                  </a:lnTo>
                  <a:lnTo>
                    <a:pt x="3740" y="296"/>
                  </a:lnTo>
                  <a:lnTo>
                    <a:pt x="3740" y="297"/>
                  </a:lnTo>
                  <a:lnTo>
                    <a:pt x="3739" y="297"/>
                  </a:lnTo>
                  <a:lnTo>
                    <a:pt x="3738" y="296"/>
                  </a:lnTo>
                  <a:lnTo>
                    <a:pt x="3739" y="297"/>
                  </a:lnTo>
                  <a:lnTo>
                    <a:pt x="3738" y="297"/>
                  </a:lnTo>
                  <a:lnTo>
                    <a:pt x="3738" y="298"/>
                  </a:lnTo>
                  <a:lnTo>
                    <a:pt x="3737" y="298"/>
                  </a:lnTo>
                  <a:lnTo>
                    <a:pt x="3738" y="298"/>
                  </a:lnTo>
                  <a:lnTo>
                    <a:pt x="3739" y="298"/>
                  </a:lnTo>
                  <a:lnTo>
                    <a:pt x="3738" y="298"/>
                  </a:lnTo>
                  <a:lnTo>
                    <a:pt x="3739" y="298"/>
                  </a:lnTo>
                  <a:lnTo>
                    <a:pt x="3738" y="300"/>
                  </a:lnTo>
                  <a:lnTo>
                    <a:pt x="3738" y="301"/>
                  </a:lnTo>
                  <a:lnTo>
                    <a:pt x="3739" y="304"/>
                  </a:lnTo>
                  <a:lnTo>
                    <a:pt x="3741" y="307"/>
                  </a:lnTo>
                  <a:lnTo>
                    <a:pt x="3741" y="308"/>
                  </a:lnTo>
                  <a:lnTo>
                    <a:pt x="3743" y="310"/>
                  </a:lnTo>
                  <a:lnTo>
                    <a:pt x="3744" y="310"/>
                  </a:lnTo>
                  <a:lnTo>
                    <a:pt x="3744" y="311"/>
                  </a:lnTo>
                  <a:lnTo>
                    <a:pt x="3746" y="312"/>
                  </a:lnTo>
                  <a:lnTo>
                    <a:pt x="3747" y="312"/>
                  </a:lnTo>
                  <a:lnTo>
                    <a:pt x="3748" y="313"/>
                  </a:lnTo>
                  <a:lnTo>
                    <a:pt x="3750" y="313"/>
                  </a:lnTo>
                  <a:lnTo>
                    <a:pt x="3751" y="313"/>
                  </a:lnTo>
                  <a:lnTo>
                    <a:pt x="3752" y="313"/>
                  </a:lnTo>
                  <a:lnTo>
                    <a:pt x="3753" y="313"/>
                  </a:lnTo>
                  <a:lnTo>
                    <a:pt x="3753" y="314"/>
                  </a:lnTo>
                  <a:lnTo>
                    <a:pt x="3753" y="315"/>
                  </a:lnTo>
                  <a:lnTo>
                    <a:pt x="3754" y="314"/>
                  </a:lnTo>
                  <a:lnTo>
                    <a:pt x="3753" y="313"/>
                  </a:lnTo>
                  <a:lnTo>
                    <a:pt x="3752" y="313"/>
                  </a:lnTo>
                  <a:lnTo>
                    <a:pt x="3752" y="312"/>
                  </a:lnTo>
                  <a:lnTo>
                    <a:pt x="3752" y="311"/>
                  </a:lnTo>
                  <a:lnTo>
                    <a:pt x="3753" y="311"/>
                  </a:lnTo>
                  <a:lnTo>
                    <a:pt x="3754" y="311"/>
                  </a:lnTo>
                  <a:lnTo>
                    <a:pt x="3754" y="312"/>
                  </a:lnTo>
                  <a:lnTo>
                    <a:pt x="3754" y="311"/>
                  </a:lnTo>
                  <a:lnTo>
                    <a:pt x="3755" y="312"/>
                  </a:lnTo>
                  <a:lnTo>
                    <a:pt x="3759" y="313"/>
                  </a:lnTo>
                  <a:lnTo>
                    <a:pt x="3760" y="313"/>
                  </a:lnTo>
                  <a:lnTo>
                    <a:pt x="3761" y="313"/>
                  </a:lnTo>
                  <a:lnTo>
                    <a:pt x="3762" y="313"/>
                  </a:lnTo>
                  <a:lnTo>
                    <a:pt x="3762" y="314"/>
                  </a:lnTo>
                  <a:lnTo>
                    <a:pt x="3765" y="314"/>
                  </a:lnTo>
                  <a:lnTo>
                    <a:pt x="3764" y="315"/>
                  </a:lnTo>
                  <a:lnTo>
                    <a:pt x="3765" y="315"/>
                  </a:lnTo>
                  <a:lnTo>
                    <a:pt x="3765" y="317"/>
                  </a:lnTo>
                  <a:lnTo>
                    <a:pt x="3765" y="318"/>
                  </a:lnTo>
                  <a:lnTo>
                    <a:pt x="3766" y="318"/>
                  </a:lnTo>
                  <a:lnTo>
                    <a:pt x="3765" y="319"/>
                  </a:lnTo>
                  <a:lnTo>
                    <a:pt x="3764" y="319"/>
                  </a:lnTo>
                  <a:lnTo>
                    <a:pt x="3765" y="320"/>
                  </a:lnTo>
                  <a:lnTo>
                    <a:pt x="3766" y="321"/>
                  </a:lnTo>
                  <a:lnTo>
                    <a:pt x="3767" y="322"/>
                  </a:lnTo>
                  <a:lnTo>
                    <a:pt x="3768" y="324"/>
                  </a:lnTo>
                  <a:lnTo>
                    <a:pt x="3769" y="325"/>
                  </a:lnTo>
                  <a:lnTo>
                    <a:pt x="3771" y="325"/>
                  </a:lnTo>
                  <a:lnTo>
                    <a:pt x="3771" y="326"/>
                  </a:lnTo>
                  <a:lnTo>
                    <a:pt x="3772" y="327"/>
                  </a:lnTo>
                  <a:lnTo>
                    <a:pt x="3773" y="327"/>
                  </a:lnTo>
                  <a:lnTo>
                    <a:pt x="3774" y="328"/>
                  </a:lnTo>
                  <a:lnTo>
                    <a:pt x="3775" y="329"/>
                  </a:lnTo>
                  <a:lnTo>
                    <a:pt x="3776" y="329"/>
                  </a:lnTo>
                  <a:lnTo>
                    <a:pt x="3778" y="329"/>
                  </a:lnTo>
                  <a:lnTo>
                    <a:pt x="3779" y="329"/>
                  </a:lnTo>
                  <a:lnTo>
                    <a:pt x="3779" y="328"/>
                  </a:lnTo>
                  <a:lnTo>
                    <a:pt x="3780" y="329"/>
                  </a:lnTo>
                  <a:lnTo>
                    <a:pt x="3781" y="329"/>
                  </a:lnTo>
                  <a:lnTo>
                    <a:pt x="3781" y="331"/>
                  </a:lnTo>
                  <a:lnTo>
                    <a:pt x="3782" y="332"/>
                  </a:lnTo>
                  <a:lnTo>
                    <a:pt x="3783" y="332"/>
                  </a:lnTo>
                  <a:lnTo>
                    <a:pt x="3783" y="333"/>
                  </a:lnTo>
                  <a:lnTo>
                    <a:pt x="3785" y="333"/>
                  </a:lnTo>
                  <a:lnTo>
                    <a:pt x="3785" y="334"/>
                  </a:lnTo>
                  <a:lnTo>
                    <a:pt x="3786" y="334"/>
                  </a:lnTo>
                  <a:lnTo>
                    <a:pt x="3787" y="334"/>
                  </a:lnTo>
                  <a:lnTo>
                    <a:pt x="3787" y="335"/>
                  </a:lnTo>
                  <a:lnTo>
                    <a:pt x="3788" y="335"/>
                  </a:lnTo>
                  <a:lnTo>
                    <a:pt x="3789" y="336"/>
                  </a:lnTo>
                  <a:lnTo>
                    <a:pt x="3789" y="338"/>
                  </a:lnTo>
                  <a:lnTo>
                    <a:pt x="3788" y="338"/>
                  </a:lnTo>
                  <a:lnTo>
                    <a:pt x="3788" y="339"/>
                  </a:lnTo>
                  <a:lnTo>
                    <a:pt x="3788" y="340"/>
                  </a:lnTo>
                  <a:lnTo>
                    <a:pt x="3789" y="340"/>
                  </a:lnTo>
                  <a:lnTo>
                    <a:pt x="3788" y="340"/>
                  </a:lnTo>
                  <a:lnTo>
                    <a:pt x="3787" y="340"/>
                  </a:lnTo>
                  <a:lnTo>
                    <a:pt x="3787" y="339"/>
                  </a:lnTo>
                  <a:lnTo>
                    <a:pt x="3786" y="339"/>
                  </a:lnTo>
                  <a:lnTo>
                    <a:pt x="3785" y="339"/>
                  </a:lnTo>
                  <a:lnTo>
                    <a:pt x="3783" y="339"/>
                  </a:lnTo>
                  <a:lnTo>
                    <a:pt x="3783" y="338"/>
                  </a:lnTo>
                  <a:lnTo>
                    <a:pt x="3782" y="338"/>
                  </a:lnTo>
                  <a:lnTo>
                    <a:pt x="3781" y="336"/>
                  </a:lnTo>
                  <a:lnTo>
                    <a:pt x="3780" y="336"/>
                  </a:lnTo>
                  <a:lnTo>
                    <a:pt x="3781" y="336"/>
                  </a:lnTo>
                  <a:lnTo>
                    <a:pt x="3781" y="335"/>
                  </a:lnTo>
                  <a:lnTo>
                    <a:pt x="3780" y="335"/>
                  </a:lnTo>
                  <a:lnTo>
                    <a:pt x="3780" y="334"/>
                  </a:lnTo>
                  <a:lnTo>
                    <a:pt x="3781" y="334"/>
                  </a:lnTo>
                  <a:lnTo>
                    <a:pt x="3781" y="333"/>
                  </a:lnTo>
                  <a:lnTo>
                    <a:pt x="3782" y="333"/>
                  </a:lnTo>
                  <a:lnTo>
                    <a:pt x="3781" y="332"/>
                  </a:lnTo>
                  <a:lnTo>
                    <a:pt x="3780" y="332"/>
                  </a:lnTo>
                  <a:lnTo>
                    <a:pt x="3780" y="333"/>
                  </a:lnTo>
                  <a:lnTo>
                    <a:pt x="3781" y="333"/>
                  </a:lnTo>
                  <a:lnTo>
                    <a:pt x="3781" y="334"/>
                  </a:lnTo>
                  <a:lnTo>
                    <a:pt x="3780" y="333"/>
                  </a:lnTo>
                  <a:lnTo>
                    <a:pt x="3778" y="333"/>
                  </a:lnTo>
                  <a:lnTo>
                    <a:pt x="3776" y="333"/>
                  </a:lnTo>
                  <a:lnTo>
                    <a:pt x="3778" y="333"/>
                  </a:lnTo>
                  <a:lnTo>
                    <a:pt x="3776" y="334"/>
                  </a:lnTo>
                  <a:lnTo>
                    <a:pt x="3776" y="333"/>
                  </a:lnTo>
                  <a:lnTo>
                    <a:pt x="3775" y="333"/>
                  </a:lnTo>
                  <a:lnTo>
                    <a:pt x="3775" y="334"/>
                  </a:lnTo>
                  <a:lnTo>
                    <a:pt x="3778" y="335"/>
                  </a:lnTo>
                  <a:lnTo>
                    <a:pt x="3779" y="335"/>
                  </a:lnTo>
                  <a:lnTo>
                    <a:pt x="3780" y="336"/>
                  </a:lnTo>
                  <a:lnTo>
                    <a:pt x="3779" y="336"/>
                  </a:lnTo>
                  <a:lnTo>
                    <a:pt x="3778" y="338"/>
                  </a:lnTo>
                  <a:lnTo>
                    <a:pt x="3776" y="338"/>
                  </a:lnTo>
                  <a:lnTo>
                    <a:pt x="3776" y="339"/>
                  </a:lnTo>
                  <a:lnTo>
                    <a:pt x="3778" y="340"/>
                  </a:lnTo>
                  <a:lnTo>
                    <a:pt x="3779" y="341"/>
                  </a:lnTo>
                  <a:lnTo>
                    <a:pt x="3779" y="342"/>
                  </a:lnTo>
                  <a:lnTo>
                    <a:pt x="3780" y="343"/>
                  </a:lnTo>
                  <a:lnTo>
                    <a:pt x="3780" y="345"/>
                  </a:lnTo>
                  <a:lnTo>
                    <a:pt x="3780" y="346"/>
                  </a:lnTo>
                  <a:lnTo>
                    <a:pt x="3781" y="346"/>
                  </a:lnTo>
                  <a:lnTo>
                    <a:pt x="3781" y="347"/>
                  </a:lnTo>
                  <a:lnTo>
                    <a:pt x="3782" y="347"/>
                  </a:lnTo>
                  <a:lnTo>
                    <a:pt x="3782" y="348"/>
                  </a:lnTo>
                  <a:lnTo>
                    <a:pt x="3783" y="349"/>
                  </a:lnTo>
                  <a:lnTo>
                    <a:pt x="3785" y="349"/>
                  </a:lnTo>
                  <a:lnTo>
                    <a:pt x="3785" y="350"/>
                  </a:lnTo>
                  <a:lnTo>
                    <a:pt x="3786" y="350"/>
                  </a:lnTo>
                  <a:lnTo>
                    <a:pt x="3787" y="352"/>
                  </a:lnTo>
                  <a:lnTo>
                    <a:pt x="3788" y="352"/>
                  </a:lnTo>
                  <a:lnTo>
                    <a:pt x="3789" y="353"/>
                  </a:lnTo>
                  <a:lnTo>
                    <a:pt x="3790" y="354"/>
                  </a:lnTo>
                  <a:lnTo>
                    <a:pt x="3792" y="354"/>
                  </a:lnTo>
                  <a:lnTo>
                    <a:pt x="3793" y="355"/>
                  </a:lnTo>
                  <a:lnTo>
                    <a:pt x="3794" y="355"/>
                  </a:lnTo>
                  <a:lnTo>
                    <a:pt x="3795" y="356"/>
                  </a:lnTo>
                  <a:lnTo>
                    <a:pt x="3796" y="356"/>
                  </a:lnTo>
                  <a:lnTo>
                    <a:pt x="3797" y="357"/>
                  </a:lnTo>
                  <a:lnTo>
                    <a:pt x="3796" y="357"/>
                  </a:lnTo>
                  <a:lnTo>
                    <a:pt x="3797" y="357"/>
                  </a:lnTo>
                  <a:lnTo>
                    <a:pt x="3797" y="359"/>
                  </a:lnTo>
                  <a:lnTo>
                    <a:pt x="3799" y="359"/>
                  </a:lnTo>
                  <a:lnTo>
                    <a:pt x="3797" y="359"/>
                  </a:lnTo>
                  <a:lnTo>
                    <a:pt x="3797" y="360"/>
                  </a:lnTo>
                  <a:lnTo>
                    <a:pt x="3797" y="361"/>
                  </a:lnTo>
                  <a:lnTo>
                    <a:pt x="3797" y="362"/>
                  </a:lnTo>
                  <a:lnTo>
                    <a:pt x="3796" y="362"/>
                  </a:lnTo>
                  <a:lnTo>
                    <a:pt x="3795" y="362"/>
                  </a:lnTo>
                  <a:lnTo>
                    <a:pt x="3794" y="362"/>
                  </a:lnTo>
                  <a:lnTo>
                    <a:pt x="3793" y="362"/>
                  </a:lnTo>
                  <a:lnTo>
                    <a:pt x="3792" y="362"/>
                  </a:lnTo>
                  <a:lnTo>
                    <a:pt x="3790" y="362"/>
                  </a:lnTo>
                  <a:lnTo>
                    <a:pt x="3790" y="361"/>
                  </a:lnTo>
                  <a:lnTo>
                    <a:pt x="3789" y="361"/>
                  </a:lnTo>
                  <a:lnTo>
                    <a:pt x="3788" y="361"/>
                  </a:lnTo>
                  <a:lnTo>
                    <a:pt x="3787" y="361"/>
                  </a:lnTo>
                  <a:lnTo>
                    <a:pt x="3786" y="362"/>
                  </a:lnTo>
                  <a:lnTo>
                    <a:pt x="3785" y="363"/>
                  </a:lnTo>
                  <a:lnTo>
                    <a:pt x="3785" y="364"/>
                  </a:lnTo>
                  <a:lnTo>
                    <a:pt x="3783" y="366"/>
                  </a:lnTo>
                  <a:lnTo>
                    <a:pt x="3783" y="367"/>
                  </a:lnTo>
                  <a:lnTo>
                    <a:pt x="3783" y="368"/>
                  </a:lnTo>
                  <a:lnTo>
                    <a:pt x="3783" y="369"/>
                  </a:lnTo>
                  <a:lnTo>
                    <a:pt x="3785" y="370"/>
                  </a:lnTo>
                  <a:lnTo>
                    <a:pt x="3786" y="373"/>
                  </a:lnTo>
                  <a:lnTo>
                    <a:pt x="3787" y="374"/>
                  </a:lnTo>
                  <a:lnTo>
                    <a:pt x="3788" y="375"/>
                  </a:lnTo>
                  <a:lnTo>
                    <a:pt x="3789" y="375"/>
                  </a:lnTo>
                  <a:lnTo>
                    <a:pt x="3789" y="376"/>
                  </a:lnTo>
                  <a:lnTo>
                    <a:pt x="3790" y="376"/>
                  </a:lnTo>
                  <a:lnTo>
                    <a:pt x="3789" y="375"/>
                  </a:lnTo>
                  <a:lnTo>
                    <a:pt x="3788" y="375"/>
                  </a:lnTo>
                  <a:lnTo>
                    <a:pt x="3789" y="375"/>
                  </a:lnTo>
                  <a:lnTo>
                    <a:pt x="3792" y="376"/>
                  </a:lnTo>
                  <a:lnTo>
                    <a:pt x="3792" y="377"/>
                  </a:lnTo>
                  <a:lnTo>
                    <a:pt x="3793" y="377"/>
                  </a:lnTo>
                  <a:lnTo>
                    <a:pt x="3792" y="377"/>
                  </a:lnTo>
                  <a:lnTo>
                    <a:pt x="3790" y="377"/>
                  </a:lnTo>
                  <a:lnTo>
                    <a:pt x="3792" y="377"/>
                  </a:lnTo>
                  <a:lnTo>
                    <a:pt x="3792" y="378"/>
                  </a:lnTo>
                  <a:lnTo>
                    <a:pt x="3793" y="378"/>
                  </a:lnTo>
                  <a:lnTo>
                    <a:pt x="3794" y="378"/>
                  </a:lnTo>
                  <a:lnTo>
                    <a:pt x="3794" y="380"/>
                  </a:lnTo>
                  <a:lnTo>
                    <a:pt x="3795" y="380"/>
                  </a:lnTo>
                  <a:lnTo>
                    <a:pt x="3795" y="381"/>
                  </a:lnTo>
                  <a:lnTo>
                    <a:pt x="3796" y="382"/>
                  </a:lnTo>
                  <a:lnTo>
                    <a:pt x="3796" y="381"/>
                  </a:lnTo>
                  <a:lnTo>
                    <a:pt x="3797" y="382"/>
                  </a:lnTo>
                  <a:lnTo>
                    <a:pt x="3799" y="382"/>
                  </a:lnTo>
                  <a:lnTo>
                    <a:pt x="3799" y="383"/>
                  </a:lnTo>
                  <a:lnTo>
                    <a:pt x="3800" y="383"/>
                  </a:lnTo>
                  <a:lnTo>
                    <a:pt x="3799" y="383"/>
                  </a:lnTo>
                  <a:lnTo>
                    <a:pt x="3797" y="383"/>
                  </a:lnTo>
                  <a:lnTo>
                    <a:pt x="3795" y="382"/>
                  </a:lnTo>
                  <a:lnTo>
                    <a:pt x="3794" y="382"/>
                  </a:lnTo>
                  <a:lnTo>
                    <a:pt x="3794" y="381"/>
                  </a:lnTo>
                  <a:lnTo>
                    <a:pt x="3793" y="381"/>
                  </a:lnTo>
                  <a:lnTo>
                    <a:pt x="3792" y="381"/>
                  </a:lnTo>
                  <a:lnTo>
                    <a:pt x="3790" y="382"/>
                  </a:lnTo>
                  <a:lnTo>
                    <a:pt x="3789" y="382"/>
                  </a:lnTo>
                  <a:lnTo>
                    <a:pt x="3789" y="383"/>
                  </a:lnTo>
                  <a:lnTo>
                    <a:pt x="3788" y="383"/>
                  </a:lnTo>
                  <a:lnTo>
                    <a:pt x="3787" y="383"/>
                  </a:lnTo>
                  <a:lnTo>
                    <a:pt x="3787" y="385"/>
                  </a:lnTo>
                  <a:lnTo>
                    <a:pt x="3787" y="387"/>
                  </a:lnTo>
                  <a:lnTo>
                    <a:pt x="3786" y="387"/>
                  </a:lnTo>
                  <a:lnTo>
                    <a:pt x="3786" y="385"/>
                  </a:lnTo>
                  <a:lnTo>
                    <a:pt x="3785" y="385"/>
                  </a:lnTo>
                  <a:lnTo>
                    <a:pt x="3785" y="384"/>
                  </a:lnTo>
                  <a:lnTo>
                    <a:pt x="3783" y="384"/>
                  </a:lnTo>
                  <a:lnTo>
                    <a:pt x="3782" y="384"/>
                  </a:lnTo>
                  <a:lnTo>
                    <a:pt x="3781" y="384"/>
                  </a:lnTo>
                  <a:lnTo>
                    <a:pt x="3781" y="385"/>
                  </a:lnTo>
                  <a:lnTo>
                    <a:pt x="3782" y="385"/>
                  </a:lnTo>
                  <a:lnTo>
                    <a:pt x="3782" y="387"/>
                  </a:lnTo>
                  <a:lnTo>
                    <a:pt x="3783" y="387"/>
                  </a:lnTo>
                  <a:lnTo>
                    <a:pt x="3785" y="387"/>
                  </a:lnTo>
                  <a:lnTo>
                    <a:pt x="3783" y="387"/>
                  </a:lnTo>
                  <a:lnTo>
                    <a:pt x="3783" y="385"/>
                  </a:lnTo>
                  <a:lnTo>
                    <a:pt x="3785" y="385"/>
                  </a:lnTo>
                  <a:lnTo>
                    <a:pt x="3785" y="387"/>
                  </a:lnTo>
                  <a:lnTo>
                    <a:pt x="3786" y="387"/>
                  </a:lnTo>
                  <a:lnTo>
                    <a:pt x="3786" y="388"/>
                  </a:lnTo>
                  <a:lnTo>
                    <a:pt x="3786" y="389"/>
                  </a:lnTo>
                  <a:lnTo>
                    <a:pt x="3787" y="389"/>
                  </a:lnTo>
                  <a:lnTo>
                    <a:pt x="3788" y="389"/>
                  </a:lnTo>
                  <a:lnTo>
                    <a:pt x="3788" y="390"/>
                  </a:lnTo>
                  <a:lnTo>
                    <a:pt x="3787" y="390"/>
                  </a:lnTo>
                  <a:lnTo>
                    <a:pt x="3787" y="391"/>
                  </a:lnTo>
                  <a:lnTo>
                    <a:pt x="3788" y="391"/>
                  </a:lnTo>
                  <a:lnTo>
                    <a:pt x="3789" y="391"/>
                  </a:lnTo>
                  <a:lnTo>
                    <a:pt x="3789" y="392"/>
                  </a:lnTo>
                  <a:lnTo>
                    <a:pt x="3790" y="392"/>
                  </a:lnTo>
                  <a:lnTo>
                    <a:pt x="3789" y="392"/>
                  </a:lnTo>
                  <a:lnTo>
                    <a:pt x="3789" y="394"/>
                  </a:lnTo>
                  <a:lnTo>
                    <a:pt x="3790" y="394"/>
                  </a:lnTo>
                  <a:lnTo>
                    <a:pt x="3792" y="394"/>
                  </a:lnTo>
                  <a:lnTo>
                    <a:pt x="3792" y="395"/>
                  </a:lnTo>
                  <a:lnTo>
                    <a:pt x="3793" y="395"/>
                  </a:lnTo>
                  <a:lnTo>
                    <a:pt x="3793" y="396"/>
                  </a:lnTo>
                  <a:lnTo>
                    <a:pt x="3792" y="396"/>
                  </a:lnTo>
                  <a:lnTo>
                    <a:pt x="3793" y="396"/>
                  </a:lnTo>
                  <a:lnTo>
                    <a:pt x="3793" y="397"/>
                  </a:lnTo>
                  <a:lnTo>
                    <a:pt x="3794" y="397"/>
                  </a:lnTo>
                  <a:lnTo>
                    <a:pt x="3794" y="398"/>
                  </a:lnTo>
                  <a:lnTo>
                    <a:pt x="3793" y="398"/>
                  </a:lnTo>
                  <a:lnTo>
                    <a:pt x="3794" y="398"/>
                  </a:lnTo>
                  <a:lnTo>
                    <a:pt x="3794" y="399"/>
                  </a:lnTo>
                  <a:lnTo>
                    <a:pt x="3795" y="401"/>
                  </a:lnTo>
                  <a:lnTo>
                    <a:pt x="3795" y="402"/>
                  </a:lnTo>
                  <a:lnTo>
                    <a:pt x="3795" y="403"/>
                  </a:lnTo>
                  <a:lnTo>
                    <a:pt x="3794" y="403"/>
                  </a:lnTo>
                  <a:lnTo>
                    <a:pt x="3794" y="404"/>
                  </a:lnTo>
                  <a:lnTo>
                    <a:pt x="3795" y="404"/>
                  </a:lnTo>
                  <a:lnTo>
                    <a:pt x="3795" y="405"/>
                  </a:lnTo>
                  <a:lnTo>
                    <a:pt x="3795" y="406"/>
                  </a:lnTo>
                  <a:lnTo>
                    <a:pt x="3794" y="406"/>
                  </a:lnTo>
                  <a:lnTo>
                    <a:pt x="3795" y="406"/>
                  </a:lnTo>
                  <a:lnTo>
                    <a:pt x="3794" y="406"/>
                  </a:lnTo>
                  <a:lnTo>
                    <a:pt x="3793" y="408"/>
                  </a:lnTo>
                  <a:lnTo>
                    <a:pt x="3793" y="409"/>
                  </a:lnTo>
                  <a:lnTo>
                    <a:pt x="3794" y="409"/>
                  </a:lnTo>
                  <a:lnTo>
                    <a:pt x="3794" y="410"/>
                  </a:lnTo>
                  <a:lnTo>
                    <a:pt x="3793" y="410"/>
                  </a:lnTo>
                  <a:lnTo>
                    <a:pt x="3793" y="411"/>
                  </a:lnTo>
                  <a:lnTo>
                    <a:pt x="3793" y="412"/>
                  </a:lnTo>
                  <a:lnTo>
                    <a:pt x="3792" y="412"/>
                  </a:lnTo>
                  <a:lnTo>
                    <a:pt x="3792" y="413"/>
                  </a:lnTo>
                  <a:lnTo>
                    <a:pt x="3792" y="415"/>
                  </a:lnTo>
                  <a:lnTo>
                    <a:pt x="3792" y="416"/>
                  </a:lnTo>
                  <a:lnTo>
                    <a:pt x="3792" y="417"/>
                  </a:lnTo>
                  <a:lnTo>
                    <a:pt x="3790" y="417"/>
                  </a:lnTo>
                  <a:lnTo>
                    <a:pt x="3790" y="416"/>
                  </a:lnTo>
                  <a:lnTo>
                    <a:pt x="3790" y="415"/>
                  </a:lnTo>
                  <a:lnTo>
                    <a:pt x="3789" y="415"/>
                  </a:lnTo>
                  <a:lnTo>
                    <a:pt x="3789" y="413"/>
                  </a:lnTo>
                  <a:lnTo>
                    <a:pt x="3788" y="413"/>
                  </a:lnTo>
                  <a:lnTo>
                    <a:pt x="3787" y="412"/>
                  </a:lnTo>
                  <a:lnTo>
                    <a:pt x="3786" y="411"/>
                  </a:lnTo>
                  <a:lnTo>
                    <a:pt x="3785" y="411"/>
                  </a:lnTo>
                  <a:lnTo>
                    <a:pt x="3783" y="411"/>
                  </a:lnTo>
                  <a:lnTo>
                    <a:pt x="3783" y="410"/>
                  </a:lnTo>
                  <a:lnTo>
                    <a:pt x="3782" y="410"/>
                  </a:lnTo>
                  <a:lnTo>
                    <a:pt x="3781" y="409"/>
                  </a:lnTo>
                  <a:lnTo>
                    <a:pt x="3780" y="409"/>
                  </a:lnTo>
                  <a:lnTo>
                    <a:pt x="3780" y="408"/>
                  </a:lnTo>
                  <a:lnTo>
                    <a:pt x="3779" y="406"/>
                  </a:lnTo>
                  <a:lnTo>
                    <a:pt x="3779" y="405"/>
                  </a:lnTo>
                  <a:lnTo>
                    <a:pt x="3778" y="405"/>
                  </a:lnTo>
                  <a:lnTo>
                    <a:pt x="3776" y="403"/>
                  </a:lnTo>
                  <a:lnTo>
                    <a:pt x="3773" y="401"/>
                  </a:lnTo>
                  <a:lnTo>
                    <a:pt x="3769" y="397"/>
                  </a:lnTo>
                  <a:lnTo>
                    <a:pt x="3766" y="394"/>
                  </a:lnTo>
                  <a:lnTo>
                    <a:pt x="3765" y="394"/>
                  </a:lnTo>
                  <a:lnTo>
                    <a:pt x="3764" y="392"/>
                  </a:lnTo>
                  <a:lnTo>
                    <a:pt x="3762" y="392"/>
                  </a:lnTo>
                  <a:lnTo>
                    <a:pt x="3764" y="392"/>
                  </a:lnTo>
                  <a:lnTo>
                    <a:pt x="3765" y="392"/>
                  </a:lnTo>
                  <a:lnTo>
                    <a:pt x="3765" y="394"/>
                  </a:lnTo>
                  <a:lnTo>
                    <a:pt x="3765" y="392"/>
                  </a:lnTo>
                  <a:lnTo>
                    <a:pt x="3764" y="392"/>
                  </a:lnTo>
                  <a:lnTo>
                    <a:pt x="3762" y="391"/>
                  </a:lnTo>
                  <a:lnTo>
                    <a:pt x="3761" y="391"/>
                  </a:lnTo>
                  <a:lnTo>
                    <a:pt x="3761" y="390"/>
                  </a:lnTo>
                  <a:lnTo>
                    <a:pt x="3760" y="390"/>
                  </a:lnTo>
                  <a:lnTo>
                    <a:pt x="3758" y="388"/>
                  </a:lnTo>
                  <a:lnTo>
                    <a:pt x="3755" y="385"/>
                  </a:lnTo>
                  <a:lnTo>
                    <a:pt x="3753" y="384"/>
                  </a:lnTo>
                  <a:lnTo>
                    <a:pt x="3750" y="382"/>
                  </a:lnTo>
                  <a:lnTo>
                    <a:pt x="3750" y="381"/>
                  </a:lnTo>
                  <a:lnTo>
                    <a:pt x="3747" y="380"/>
                  </a:lnTo>
                  <a:lnTo>
                    <a:pt x="3744" y="376"/>
                  </a:lnTo>
                  <a:lnTo>
                    <a:pt x="3743" y="375"/>
                  </a:lnTo>
                  <a:lnTo>
                    <a:pt x="3741" y="374"/>
                  </a:lnTo>
                  <a:lnTo>
                    <a:pt x="3740" y="373"/>
                  </a:lnTo>
                  <a:lnTo>
                    <a:pt x="3739" y="373"/>
                  </a:lnTo>
                  <a:lnTo>
                    <a:pt x="3739" y="371"/>
                  </a:lnTo>
                  <a:lnTo>
                    <a:pt x="3738" y="371"/>
                  </a:lnTo>
                  <a:lnTo>
                    <a:pt x="3737" y="370"/>
                  </a:lnTo>
                  <a:lnTo>
                    <a:pt x="3736" y="369"/>
                  </a:lnTo>
                  <a:lnTo>
                    <a:pt x="3732" y="367"/>
                  </a:lnTo>
                  <a:lnTo>
                    <a:pt x="3729" y="363"/>
                  </a:lnTo>
                  <a:lnTo>
                    <a:pt x="3722" y="359"/>
                  </a:lnTo>
                  <a:lnTo>
                    <a:pt x="3722" y="357"/>
                  </a:lnTo>
                  <a:lnTo>
                    <a:pt x="3721" y="356"/>
                  </a:lnTo>
                  <a:lnTo>
                    <a:pt x="3719" y="356"/>
                  </a:lnTo>
                  <a:lnTo>
                    <a:pt x="3714" y="350"/>
                  </a:lnTo>
                  <a:lnTo>
                    <a:pt x="3712" y="349"/>
                  </a:lnTo>
                  <a:lnTo>
                    <a:pt x="3711" y="348"/>
                  </a:lnTo>
                  <a:lnTo>
                    <a:pt x="3710" y="347"/>
                  </a:lnTo>
                  <a:lnTo>
                    <a:pt x="3709" y="346"/>
                  </a:lnTo>
                  <a:lnTo>
                    <a:pt x="3704" y="341"/>
                  </a:lnTo>
                  <a:lnTo>
                    <a:pt x="3704" y="340"/>
                  </a:lnTo>
                  <a:lnTo>
                    <a:pt x="3703" y="340"/>
                  </a:lnTo>
                  <a:lnTo>
                    <a:pt x="3703" y="339"/>
                  </a:lnTo>
                  <a:lnTo>
                    <a:pt x="3703" y="338"/>
                  </a:lnTo>
                  <a:lnTo>
                    <a:pt x="3702" y="338"/>
                  </a:lnTo>
                  <a:lnTo>
                    <a:pt x="3701" y="336"/>
                  </a:lnTo>
                  <a:lnTo>
                    <a:pt x="3701" y="335"/>
                  </a:lnTo>
                  <a:lnTo>
                    <a:pt x="3697" y="331"/>
                  </a:lnTo>
                  <a:lnTo>
                    <a:pt x="3697" y="329"/>
                  </a:lnTo>
                  <a:lnTo>
                    <a:pt x="3696" y="328"/>
                  </a:lnTo>
                  <a:lnTo>
                    <a:pt x="3696" y="327"/>
                  </a:lnTo>
                  <a:lnTo>
                    <a:pt x="3696" y="328"/>
                  </a:lnTo>
                  <a:lnTo>
                    <a:pt x="3697" y="328"/>
                  </a:lnTo>
                  <a:lnTo>
                    <a:pt x="3697" y="329"/>
                  </a:lnTo>
                  <a:lnTo>
                    <a:pt x="3697" y="328"/>
                  </a:lnTo>
                  <a:lnTo>
                    <a:pt x="3697" y="327"/>
                  </a:lnTo>
                  <a:lnTo>
                    <a:pt x="3698" y="326"/>
                  </a:lnTo>
                  <a:lnTo>
                    <a:pt x="3698" y="325"/>
                  </a:lnTo>
                  <a:lnTo>
                    <a:pt x="3697" y="325"/>
                  </a:lnTo>
                  <a:lnTo>
                    <a:pt x="3697" y="324"/>
                  </a:lnTo>
                  <a:lnTo>
                    <a:pt x="3696" y="324"/>
                  </a:lnTo>
                  <a:lnTo>
                    <a:pt x="3697" y="324"/>
                  </a:lnTo>
                  <a:lnTo>
                    <a:pt x="3698" y="324"/>
                  </a:lnTo>
                  <a:lnTo>
                    <a:pt x="3698" y="325"/>
                  </a:lnTo>
                  <a:lnTo>
                    <a:pt x="3700" y="325"/>
                  </a:lnTo>
                  <a:lnTo>
                    <a:pt x="3698" y="324"/>
                  </a:lnTo>
                  <a:lnTo>
                    <a:pt x="3698" y="322"/>
                  </a:lnTo>
                  <a:lnTo>
                    <a:pt x="3698" y="321"/>
                  </a:lnTo>
                  <a:lnTo>
                    <a:pt x="3697" y="320"/>
                  </a:lnTo>
                  <a:lnTo>
                    <a:pt x="3697" y="319"/>
                  </a:lnTo>
                  <a:lnTo>
                    <a:pt x="3696" y="318"/>
                  </a:lnTo>
                  <a:lnTo>
                    <a:pt x="3695" y="317"/>
                  </a:lnTo>
                  <a:lnTo>
                    <a:pt x="3694" y="317"/>
                  </a:lnTo>
                  <a:lnTo>
                    <a:pt x="3693" y="315"/>
                  </a:lnTo>
                  <a:lnTo>
                    <a:pt x="3690" y="314"/>
                  </a:lnTo>
                  <a:lnTo>
                    <a:pt x="3689" y="314"/>
                  </a:lnTo>
                  <a:lnTo>
                    <a:pt x="3689" y="313"/>
                  </a:lnTo>
                  <a:lnTo>
                    <a:pt x="3689" y="312"/>
                  </a:lnTo>
                  <a:lnTo>
                    <a:pt x="3690" y="312"/>
                  </a:lnTo>
                  <a:lnTo>
                    <a:pt x="3690" y="313"/>
                  </a:lnTo>
                  <a:lnTo>
                    <a:pt x="3691" y="313"/>
                  </a:lnTo>
                  <a:lnTo>
                    <a:pt x="3694" y="313"/>
                  </a:lnTo>
                  <a:lnTo>
                    <a:pt x="3695" y="313"/>
                  </a:lnTo>
                  <a:lnTo>
                    <a:pt x="3696" y="313"/>
                  </a:lnTo>
                  <a:lnTo>
                    <a:pt x="3696" y="312"/>
                  </a:lnTo>
                  <a:lnTo>
                    <a:pt x="3695" y="312"/>
                  </a:lnTo>
                  <a:lnTo>
                    <a:pt x="3695" y="311"/>
                  </a:lnTo>
                  <a:lnTo>
                    <a:pt x="3695" y="310"/>
                  </a:lnTo>
                  <a:lnTo>
                    <a:pt x="3696" y="311"/>
                  </a:lnTo>
                  <a:lnTo>
                    <a:pt x="3698" y="311"/>
                  </a:lnTo>
                  <a:lnTo>
                    <a:pt x="3700" y="311"/>
                  </a:lnTo>
                  <a:lnTo>
                    <a:pt x="3701" y="310"/>
                  </a:lnTo>
                  <a:lnTo>
                    <a:pt x="3702" y="311"/>
                  </a:lnTo>
                  <a:lnTo>
                    <a:pt x="3703" y="311"/>
                  </a:lnTo>
                  <a:lnTo>
                    <a:pt x="3702" y="311"/>
                  </a:lnTo>
                  <a:lnTo>
                    <a:pt x="3702" y="310"/>
                  </a:lnTo>
                  <a:lnTo>
                    <a:pt x="3701" y="310"/>
                  </a:lnTo>
                  <a:lnTo>
                    <a:pt x="3701" y="308"/>
                  </a:lnTo>
                  <a:lnTo>
                    <a:pt x="3702" y="307"/>
                  </a:lnTo>
                  <a:lnTo>
                    <a:pt x="3702" y="306"/>
                  </a:lnTo>
                  <a:lnTo>
                    <a:pt x="3703" y="306"/>
                  </a:lnTo>
                  <a:lnTo>
                    <a:pt x="3703" y="305"/>
                  </a:lnTo>
                  <a:lnTo>
                    <a:pt x="3704" y="304"/>
                  </a:lnTo>
                  <a:lnTo>
                    <a:pt x="3704" y="303"/>
                  </a:lnTo>
                  <a:lnTo>
                    <a:pt x="3704" y="304"/>
                  </a:lnTo>
                  <a:lnTo>
                    <a:pt x="3705" y="304"/>
                  </a:lnTo>
                  <a:lnTo>
                    <a:pt x="3705" y="303"/>
                  </a:lnTo>
                  <a:lnTo>
                    <a:pt x="3704" y="303"/>
                  </a:lnTo>
                  <a:lnTo>
                    <a:pt x="3703" y="303"/>
                  </a:lnTo>
                  <a:lnTo>
                    <a:pt x="3704" y="301"/>
                  </a:lnTo>
                  <a:lnTo>
                    <a:pt x="3704" y="300"/>
                  </a:lnTo>
                  <a:lnTo>
                    <a:pt x="3704" y="299"/>
                  </a:lnTo>
                  <a:lnTo>
                    <a:pt x="3704" y="298"/>
                  </a:lnTo>
                  <a:lnTo>
                    <a:pt x="3703" y="298"/>
                  </a:lnTo>
                  <a:lnTo>
                    <a:pt x="3704" y="298"/>
                  </a:lnTo>
                  <a:lnTo>
                    <a:pt x="3704" y="297"/>
                  </a:lnTo>
                  <a:lnTo>
                    <a:pt x="3703" y="297"/>
                  </a:lnTo>
                  <a:lnTo>
                    <a:pt x="3703" y="296"/>
                  </a:lnTo>
                  <a:lnTo>
                    <a:pt x="3702" y="296"/>
                  </a:lnTo>
                  <a:lnTo>
                    <a:pt x="3702" y="294"/>
                  </a:lnTo>
                  <a:lnTo>
                    <a:pt x="3701" y="294"/>
                  </a:lnTo>
                  <a:lnTo>
                    <a:pt x="3701" y="293"/>
                  </a:lnTo>
                  <a:lnTo>
                    <a:pt x="3702" y="291"/>
                  </a:lnTo>
                  <a:lnTo>
                    <a:pt x="3703" y="291"/>
                  </a:lnTo>
                  <a:lnTo>
                    <a:pt x="3702" y="289"/>
                  </a:lnTo>
                  <a:lnTo>
                    <a:pt x="3702" y="287"/>
                  </a:lnTo>
                  <a:lnTo>
                    <a:pt x="3703" y="287"/>
                  </a:lnTo>
                  <a:lnTo>
                    <a:pt x="3704" y="286"/>
                  </a:lnTo>
                  <a:lnTo>
                    <a:pt x="3704" y="285"/>
                  </a:lnTo>
                  <a:lnTo>
                    <a:pt x="3704" y="284"/>
                  </a:lnTo>
                  <a:lnTo>
                    <a:pt x="3704" y="283"/>
                  </a:lnTo>
                  <a:lnTo>
                    <a:pt x="3704" y="282"/>
                  </a:lnTo>
                  <a:lnTo>
                    <a:pt x="3704" y="280"/>
                  </a:lnTo>
                  <a:lnTo>
                    <a:pt x="3705" y="279"/>
                  </a:lnTo>
                  <a:lnTo>
                    <a:pt x="3705" y="278"/>
                  </a:lnTo>
                  <a:lnTo>
                    <a:pt x="3705" y="277"/>
                  </a:lnTo>
                  <a:lnTo>
                    <a:pt x="3704" y="277"/>
                  </a:lnTo>
                  <a:lnTo>
                    <a:pt x="3703" y="276"/>
                  </a:lnTo>
                  <a:lnTo>
                    <a:pt x="3703" y="275"/>
                  </a:lnTo>
                  <a:lnTo>
                    <a:pt x="3704" y="273"/>
                  </a:lnTo>
                  <a:lnTo>
                    <a:pt x="3703" y="273"/>
                  </a:lnTo>
                  <a:lnTo>
                    <a:pt x="3705" y="273"/>
                  </a:lnTo>
                  <a:lnTo>
                    <a:pt x="3705" y="272"/>
                  </a:lnTo>
                  <a:lnTo>
                    <a:pt x="3707" y="272"/>
                  </a:lnTo>
                  <a:lnTo>
                    <a:pt x="3708" y="272"/>
                  </a:lnTo>
                  <a:lnTo>
                    <a:pt x="3708" y="271"/>
                  </a:lnTo>
                  <a:lnTo>
                    <a:pt x="3708" y="270"/>
                  </a:lnTo>
                  <a:lnTo>
                    <a:pt x="3709" y="270"/>
                  </a:lnTo>
                  <a:lnTo>
                    <a:pt x="3710" y="270"/>
                  </a:lnTo>
                  <a:lnTo>
                    <a:pt x="3709" y="270"/>
                  </a:lnTo>
                  <a:lnTo>
                    <a:pt x="3710" y="270"/>
                  </a:lnTo>
                  <a:lnTo>
                    <a:pt x="3711" y="270"/>
                  </a:lnTo>
                  <a:lnTo>
                    <a:pt x="3712" y="270"/>
                  </a:lnTo>
                  <a:lnTo>
                    <a:pt x="3712" y="271"/>
                  </a:lnTo>
                  <a:lnTo>
                    <a:pt x="3712" y="270"/>
                  </a:lnTo>
                  <a:lnTo>
                    <a:pt x="3712" y="269"/>
                  </a:lnTo>
                  <a:lnTo>
                    <a:pt x="3714" y="269"/>
                  </a:lnTo>
                  <a:lnTo>
                    <a:pt x="3715" y="269"/>
                  </a:lnTo>
                  <a:lnTo>
                    <a:pt x="3715" y="268"/>
                  </a:lnTo>
                  <a:lnTo>
                    <a:pt x="3714" y="268"/>
                  </a:lnTo>
                  <a:lnTo>
                    <a:pt x="3712" y="268"/>
                  </a:lnTo>
                  <a:lnTo>
                    <a:pt x="3711" y="268"/>
                  </a:lnTo>
                  <a:lnTo>
                    <a:pt x="3710" y="266"/>
                  </a:lnTo>
                  <a:lnTo>
                    <a:pt x="3710" y="265"/>
                  </a:lnTo>
                  <a:lnTo>
                    <a:pt x="3709" y="265"/>
                  </a:lnTo>
                  <a:lnTo>
                    <a:pt x="3709" y="264"/>
                  </a:lnTo>
                  <a:lnTo>
                    <a:pt x="3710" y="264"/>
                  </a:lnTo>
                  <a:lnTo>
                    <a:pt x="3710" y="263"/>
                  </a:lnTo>
                  <a:lnTo>
                    <a:pt x="3710" y="262"/>
                  </a:lnTo>
                  <a:lnTo>
                    <a:pt x="3709" y="262"/>
                  </a:lnTo>
                  <a:lnTo>
                    <a:pt x="3708" y="261"/>
                  </a:lnTo>
                  <a:lnTo>
                    <a:pt x="3707" y="261"/>
                  </a:lnTo>
                  <a:lnTo>
                    <a:pt x="3705" y="261"/>
                  </a:lnTo>
                  <a:lnTo>
                    <a:pt x="3704" y="259"/>
                  </a:lnTo>
                  <a:lnTo>
                    <a:pt x="3704" y="258"/>
                  </a:lnTo>
                  <a:lnTo>
                    <a:pt x="3703" y="258"/>
                  </a:lnTo>
                  <a:lnTo>
                    <a:pt x="3703" y="257"/>
                  </a:lnTo>
                  <a:lnTo>
                    <a:pt x="3704" y="257"/>
                  </a:lnTo>
                  <a:lnTo>
                    <a:pt x="3703" y="256"/>
                  </a:lnTo>
                  <a:lnTo>
                    <a:pt x="3702" y="256"/>
                  </a:lnTo>
                  <a:lnTo>
                    <a:pt x="3702" y="255"/>
                  </a:lnTo>
                  <a:lnTo>
                    <a:pt x="3701" y="255"/>
                  </a:lnTo>
                  <a:lnTo>
                    <a:pt x="3701" y="254"/>
                  </a:lnTo>
                  <a:lnTo>
                    <a:pt x="3700" y="254"/>
                  </a:lnTo>
                  <a:lnTo>
                    <a:pt x="3700" y="252"/>
                  </a:lnTo>
                  <a:lnTo>
                    <a:pt x="3698" y="252"/>
                  </a:lnTo>
                  <a:lnTo>
                    <a:pt x="3698" y="251"/>
                  </a:lnTo>
                  <a:lnTo>
                    <a:pt x="3697" y="251"/>
                  </a:lnTo>
                  <a:lnTo>
                    <a:pt x="3697" y="250"/>
                  </a:lnTo>
                  <a:lnTo>
                    <a:pt x="3696" y="250"/>
                  </a:lnTo>
                  <a:lnTo>
                    <a:pt x="3695" y="249"/>
                  </a:lnTo>
                  <a:lnTo>
                    <a:pt x="3695" y="248"/>
                  </a:lnTo>
                  <a:lnTo>
                    <a:pt x="3696" y="248"/>
                  </a:lnTo>
                  <a:lnTo>
                    <a:pt x="3696" y="247"/>
                  </a:lnTo>
                  <a:lnTo>
                    <a:pt x="3696" y="245"/>
                  </a:lnTo>
                  <a:lnTo>
                    <a:pt x="3697" y="245"/>
                  </a:lnTo>
                  <a:lnTo>
                    <a:pt x="3700" y="247"/>
                  </a:lnTo>
                  <a:lnTo>
                    <a:pt x="3701" y="247"/>
                  </a:lnTo>
                  <a:lnTo>
                    <a:pt x="3702" y="247"/>
                  </a:lnTo>
                  <a:lnTo>
                    <a:pt x="3703" y="247"/>
                  </a:lnTo>
                  <a:lnTo>
                    <a:pt x="3704" y="247"/>
                  </a:lnTo>
                  <a:lnTo>
                    <a:pt x="3705" y="248"/>
                  </a:lnTo>
                  <a:lnTo>
                    <a:pt x="3707" y="248"/>
                  </a:lnTo>
                  <a:lnTo>
                    <a:pt x="3705" y="248"/>
                  </a:lnTo>
                  <a:lnTo>
                    <a:pt x="3705" y="247"/>
                  </a:lnTo>
                  <a:lnTo>
                    <a:pt x="3704" y="247"/>
                  </a:lnTo>
                  <a:lnTo>
                    <a:pt x="3703" y="247"/>
                  </a:lnTo>
                  <a:lnTo>
                    <a:pt x="3702" y="247"/>
                  </a:lnTo>
                  <a:lnTo>
                    <a:pt x="3702" y="245"/>
                  </a:lnTo>
                  <a:lnTo>
                    <a:pt x="3703" y="245"/>
                  </a:lnTo>
                  <a:lnTo>
                    <a:pt x="3704" y="245"/>
                  </a:lnTo>
                  <a:lnTo>
                    <a:pt x="3705" y="245"/>
                  </a:lnTo>
                  <a:lnTo>
                    <a:pt x="3708" y="247"/>
                  </a:lnTo>
                  <a:lnTo>
                    <a:pt x="3708" y="245"/>
                  </a:lnTo>
                  <a:lnTo>
                    <a:pt x="3705" y="245"/>
                  </a:lnTo>
                  <a:lnTo>
                    <a:pt x="3704" y="245"/>
                  </a:lnTo>
                  <a:lnTo>
                    <a:pt x="3701" y="245"/>
                  </a:lnTo>
                  <a:lnTo>
                    <a:pt x="3700" y="245"/>
                  </a:lnTo>
                  <a:lnTo>
                    <a:pt x="3698" y="244"/>
                  </a:lnTo>
                  <a:lnTo>
                    <a:pt x="3697" y="244"/>
                  </a:lnTo>
                  <a:lnTo>
                    <a:pt x="3696" y="244"/>
                  </a:lnTo>
                  <a:lnTo>
                    <a:pt x="3695" y="244"/>
                  </a:lnTo>
                  <a:lnTo>
                    <a:pt x="3694" y="243"/>
                  </a:lnTo>
                  <a:lnTo>
                    <a:pt x="3693" y="243"/>
                  </a:lnTo>
                  <a:lnTo>
                    <a:pt x="3691" y="243"/>
                  </a:lnTo>
                  <a:lnTo>
                    <a:pt x="3690" y="243"/>
                  </a:lnTo>
                  <a:lnTo>
                    <a:pt x="3689" y="242"/>
                  </a:lnTo>
                  <a:lnTo>
                    <a:pt x="3689" y="243"/>
                  </a:lnTo>
                  <a:lnTo>
                    <a:pt x="3688" y="243"/>
                  </a:lnTo>
                  <a:lnTo>
                    <a:pt x="3687" y="243"/>
                  </a:lnTo>
                  <a:lnTo>
                    <a:pt x="3687" y="244"/>
                  </a:lnTo>
                  <a:lnTo>
                    <a:pt x="3686" y="244"/>
                  </a:lnTo>
                  <a:lnTo>
                    <a:pt x="3684" y="244"/>
                  </a:lnTo>
                  <a:lnTo>
                    <a:pt x="3683" y="244"/>
                  </a:lnTo>
                  <a:lnTo>
                    <a:pt x="3682" y="244"/>
                  </a:lnTo>
                  <a:lnTo>
                    <a:pt x="3681" y="244"/>
                  </a:lnTo>
                  <a:lnTo>
                    <a:pt x="3681" y="245"/>
                  </a:lnTo>
                  <a:lnTo>
                    <a:pt x="3682" y="245"/>
                  </a:lnTo>
                  <a:lnTo>
                    <a:pt x="3681" y="247"/>
                  </a:lnTo>
                  <a:lnTo>
                    <a:pt x="3682" y="247"/>
                  </a:lnTo>
                  <a:lnTo>
                    <a:pt x="3683" y="247"/>
                  </a:lnTo>
                  <a:lnTo>
                    <a:pt x="3684" y="247"/>
                  </a:lnTo>
                  <a:lnTo>
                    <a:pt x="3684" y="248"/>
                  </a:lnTo>
                  <a:lnTo>
                    <a:pt x="3686" y="248"/>
                  </a:lnTo>
                  <a:lnTo>
                    <a:pt x="3684" y="248"/>
                  </a:lnTo>
                  <a:lnTo>
                    <a:pt x="3684" y="249"/>
                  </a:lnTo>
                  <a:lnTo>
                    <a:pt x="3686" y="250"/>
                  </a:lnTo>
                  <a:lnTo>
                    <a:pt x="3687" y="250"/>
                  </a:lnTo>
                  <a:lnTo>
                    <a:pt x="3687" y="251"/>
                  </a:lnTo>
                  <a:lnTo>
                    <a:pt x="3688" y="251"/>
                  </a:lnTo>
                  <a:lnTo>
                    <a:pt x="3688" y="252"/>
                  </a:lnTo>
                  <a:lnTo>
                    <a:pt x="3689" y="252"/>
                  </a:lnTo>
                  <a:lnTo>
                    <a:pt x="3689" y="254"/>
                  </a:lnTo>
                  <a:lnTo>
                    <a:pt x="3690" y="255"/>
                  </a:lnTo>
                  <a:lnTo>
                    <a:pt x="3690" y="256"/>
                  </a:lnTo>
                  <a:lnTo>
                    <a:pt x="3691" y="256"/>
                  </a:lnTo>
                  <a:lnTo>
                    <a:pt x="3693" y="256"/>
                  </a:lnTo>
                  <a:lnTo>
                    <a:pt x="3694" y="256"/>
                  </a:lnTo>
                  <a:lnTo>
                    <a:pt x="3695" y="256"/>
                  </a:lnTo>
                  <a:lnTo>
                    <a:pt x="3696" y="256"/>
                  </a:lnTo>
                  <a:lnTo>
                    <a:pt x="3696" y="257"/>
                  </a:lnTo>
                  <a:lnTo>
                    <a:pt x="3696" y="258"/>
                  </a:lnTo>
                  <a:lnTo>
                    <a:pt x="3695" y="257"/>
                  </a:lnTo>
                  <a:lnTo>
                    <a:pt x="3695" y="258"/>
                  </a:lnTo>
                  <a:lnTo>
                    <a:pt x="3696" y="258"/>
                  </a:lnTo>
                  <a:lnTo>
                    <a:pt x="3696" y="259"/>
                  </a:lnTo>
                  <a:lnTo>
                    <a:pt x="3695" y="259"/>
                  </a:lnTo>
                  <a:lnTo>
                    <a:pt x="3694" y="258"/>
                  </a:lnTo>
                  <a:lnTo>
                    <a:pt x="3693" y="258"/>
                  </a:lnTo>
                  <a:lnTo>
                    <a:pt x="3693" y="257"/>
                  </a:lnTo>
                  <a:lnTo>
                    <a:pt x="3691" y="257"/>
                  </a:lnTo>
                  <a:lnTo>
                    <a:pt x="3690" y="256"/>
                  </a:lnTo>
                  <a:lnTo>
                    <a:pt x="3689" y="257"/>
                  </a:lnTo>
                  <a:lnTo>
                    <a:pt x="3690" y="258"/>
                  </a:lnTo>
                  <a:lnTo>
                    <a:pt x="3691" y="258"/>
                  </a:lnTo>
                  <a:lnTo>
                    <a:pt x="3690" y="258"/>
                  </a:lnTo>
                  <a:lnTo>
                    <a:pt x="3689" y="258"/>
                  </a:lnTo>
                  <a:lnTo>
                    <a:pt x="3688" y="257"/>
                  </a:lnTo>
                  <a:lnTo>
                    <a:pt x="3687" y="257"/>
                  </a:lnTo>
                  <a:lnTo>
                    <a:pt x="3686" y="257"/>
                  </a:lnTo>
                  <a:lnTo>
                    <a:pt x="3687" y="257"/>
                  </a:lnTo>
                  <a:lnTo>
                    <a:pt x="3687" y="258"/>
                  </a:lnTo>
                  <a:lnTo>
                    <a:pt x="3686" y="258"/>
                  </a:lnTo>
                  <a:lnTo>
                    <a:pt x="3687" y="258"/>
                  </a:lnTo>
                  <a:lnTo>
                    <a:pt x="3686" y="258"/>
                  </a:lnTo>
                  <a:lnTo>
                    <a:pt x="3687" y="258"/>
                  </a:lnTo>
                  <a:lnTo>
                    <a:pt x="3687" y="259"/>
                  </a:lnTo>
                  <a:lnTo>
                    <a:pt x="3687" y="261"/>
                  </a:lnTo>
                  <a:lnTo>
                    <a:pt x="3687" y="262"/>
                  </a:lnTo>
                  <a:lnTo>
                    <a:pt x="3686" y="262"/>
                  </a:lnTo>
                  <a:lnTo>
                    <a:pt x="3686" y="261"/>
                  </a:lnTo>
                  <a:lnTo>
                    <a:pt x="3684" y="261"/>
                  </a:lnTo>
                  <a:lnTo>
                    <a:pt x="3686" y="261"/>
                  </a:lnTo>
                  <a:lnTo>
                    <a:pt x="3687" y="262"/>
                  </a:lnTo>
                  <a:lnTo>
                    <a:pt x="3686" y="262"/>
                  </a:lnTo>
                  <a:lnTo>
                    <a:pt x="3684" y="262"/>
                  </a:lnTo>
                  <a:lnTo>
                    <a:pt x="3686" y="262"/>
                  </a:lnTo>
                  <a:lnTo>
                    <a:pt x="3686" y="263"/>
                  </a:lnTo>
                  <a:lnTo>
                    <a:pt x="3684" y="263"/>
                  </a:lnTo>
                  <a:lnTo>
                    <a:pt x="3686" y="263"/>
                  </a:lnTo>
                  <a:lnTo>
                    <a:pt x="3686" y="264"/>
                  </a:lnTo>
                  <a:lnTo>
                    <a:pt x="3684" y="264"/>
                  </a:lnTo>
                  <a:lnTo>
                    <a:pt x="3684" y="265"/>
                  </a:lnTo>
                  <a:lnTo>
                    <a:pt x="3686" y="265"/>
                  </a:lnTo>
                  <a:lnTo>
                    <a:pt x="3684" y="265"/>
                  </a:lnTo>
                  <a:lnTo>
                    <a:pt x="3684" y="266"/>
                  </a:lnTo>
                  <a:lnTo>
                    <a:pt x="3683" y="266"/>
                  </a:lnTo>
                  <a:lnTo>
                    <a:pt x="3684" y="266"/>
                  </a:lnTo>
                  <a:lnTo>
                    <a:pt x="3684" y="268"/>
                  </a:lnTo>
                  <a:lnTo>
                    <a:pt x="3683" y="268"/>
                  </a:lnTo>
                  <a:lnTo>
                    <a:pt x="3683" y="269"/>
                  </a:lnTo>
                  <a:lnTo>
                    <a:pt x="3684" y="270"/>
                  </a:lnTo>
                  <a:lnTo>
                    <a:pt x="3684" y="271"/>
                  </a:lnTo>
                  <a:lnTo>
                    <a:pt x="3683" y="270"/>
                  </a:lnTo>
                  <a:lnTo>
                    <a:pt x="3683" y="271"/>
                  </a:lnTo>
                  <a:lnTo>
                    <a:pt x="3682" y="271"/>
                  </a:lnTo>
                  <a:lnTo>
                    <a:pt x="3682" y="270"/>
                  </a:lnTo>
                  <a:lnTo>
                    <a:pt x="3682" y="271"/>
                  </a:lnTo>
                  <a:lnTo>
                    <a:pt x="3681" y="271"/>
                  </a:lnTo>
                  <a:lnTo>
                    <a:pt x="3681" y="270"/>
                  </a:lnTo>
                  <a:lnTo>
                    <a:pt x="3680" y="270"/>
                  </a:lnTo>
                  <a:lnTo>
                    <a:pt x="3680" y="271"/>
                  </a:lnTo>
                  <a:lnTo>
                    <a:pt x="3681" y="271"/>
                  </a:lnTo>
                  <a:lnTo>
                    <a:pt x="3681" y="272"/>
                  </a:lnTo>
                  <a:lnTo>
                    <a:pt x="3680" y="272"/>
                  </a:lnTo>
                  <a:lnTo>
                    <a:pt x="3679" y="272"/>
                  </a:lnTo>
                  <a:lnTo>
                    <a:pt x="3679" y="271"/>
                  </a:lnTo>
                  <a:lnTo>
                    <a:pt x="3680" y="271"/>
                  </a:lnTo>
                  <a:lnTo>
                    <a:pt x="3679" y="271"/>
                  </a:lnTo>
                  <a:lnTo>
                    <a:pt x="3679" y="270"/>
                  </a:lnTo>
                  <a:lnTo>
                    <a:pt x="3677" y="270"/>
                  </a:lnTo>
                  <a:lnTo>
                    <a:pt x="3676" y="269"/>
                  </a:lnTo>
                  <a:lnTo>
                    <a:pt x="3677" y="269"/>
                  </a:lnTo>
                  <a:lnTo>
                    <a:pt x="3676" y="269"/>
                  </a:lnTo>
                  <a:lnTo>
                    <a:pt x="3676" y="268"/>
                  </a:lnTo>
                  <a:lnTo>
                    <a:pt x="3676" y="266"/>
                  </a:lnTo>
                  <a:lnTo>
                    <a:pt x="3675" y="266"/>
                  </a:lnTo>
                  <a:lnTo>
                    <a:pt x="3674" y="266"/>
                  </a:lnTo>
                  <a:lnTo>
                    <a:pt x="3673" y="266"/>
                  </a:lnTo>
                  <a:lnTo>
                    <a:pt x="3672" y="266"/>
                  </a:lnTo>
                  <a:lnTo>
                    <a:pt x="3672" y="268"/>
                  </a:lnTo>
                  <a:lnTo>
                    <a:pt x="3671" y="268"/>
                  </a:lnTo>
                  <a:lnTo>
                    <a:pt x="3672" y="268"/>
                  </a:lnTo>
                  <a:lnTo>
                    <a:pt x="3671" y="268"/>
                  </a:lnTo>
                  <a:lnTo>
                    <a:pt x="3669" y="266"/>
                  </a:lnTo>
                  <a:lnTo>
                    <a:pt x="3671" y="266"/>
                  </a:lnTo>
                  <a:lnTo>
                    <a:pt x="3669" y="266"/>
                  </a:lnTo>
                  <a:lnTo>
                    <a:pt x="3671" y="265"/>
                  </a:lnTo>
                  <a:lnTo>
                    <a:pt x="3669" y="265"/>
                  </a:lnTo>
                  <a:lnTo>
                    <a:pt x="3668" y="264"/>
                  </a:lnTo>
                  <a:lnTo>
                    <a:pt x="3667" y="264"/>
                  </a:lnTo>
                  <a:lnTo>
                    <a:pt x="3667" y="263"/>
                  </a:lnTo>
                  <a:lnTo>
                    <a:pt x="3666" y="263"/>
                  </a:lnTo>
                  <a:lnTo>
                    <a:pt x="3665" y="263"/>
                  </a:lnTo>
                  <a:lnTo>
                    <a:pt x="3666" y="263"/>
                  </a:lnTo>
                  <a:lnTo>
                    <a:pt x="3665" y="262"/>
                  </a:lnTo>
                  <a:lnTo>
                    <a:pt x="3665" y="261"/>
                  </a:lnTo>
                  <a:lnTo>
                    <a:pt x="3665" y="262"/>
                  </a:lnTo>
                  <a:lnTo>
                    <a:pt x="3666" y="262"/>
                  </a:lnTo>
                  <a:lnTo>
                    <a:pt x="3665" y="261"/>
                  </a:lnTo>
                  <a:lnTo>
                    <a:pt x="3664" y="261"/>
                  </a:lnTo>
                  <a:lnTo>
                    <a:pt x="3664" y="259"/>
                  </a:lnTo>
                  <a:lnTo>
                    <a:pt x="3665" y="259"/>
                  </a:lnTo>
                  <a:lnTo>
                    <a:pt x="3664" y="259"/>
                  </a:lnTo>
                  <a:lnTo>
                    <a:pt x="3665" y="259"/>
                  </a:lnTo>
                  <a:lnTo>
                    <a:pt x="3665" y="258"/>
                  </a:lnTo>
                  <a:lnTo>
                    <a:pt x="3664" y="258"/>
                  </a:lnTo>
                  <a:lnTo>
                    <a:pt x="3664" y="257"/>
                  </a:lnTo>
                  <a:lnTo>
                    <a:pt x="3662" y="257"/>
                  </a:lnTo>
                  <a:lnTo>
                    <a:pt x="3662" y="256"/>
                  </a:lnTo>
                  <a:lnTo>
                    <a:pt x="3662" y="255"/>
                  </a:lnTo>
                  <a:lnTo>
                    <a:pt x="3661" y="255"/>
                  </a:lnTo>
                  <a:lnTo>
                    <a:pt x="3660" y="255"/>
                  </a:lnTo>
                  <a:lnTo>
                    <a:pt x="3660" y="254"/>
                  </a:lnTo>
                  <a:lnTo>
                    <a:pt x="3659" y="254"/>
                  </a:lnTo>
                  <a:lnTo>
                    <a:pt x="3658" y="254"/>
                  </a:lnTo>
                  <a:lnTo>
                    <a:pt x="3659" y="254"/>
                  </a:lnTo>
                  <a:lnTo>
                    <a:pt x="3658" y="254"/>
                  </a:lnTo>
                  <a:lnTo>
                    <a:pt x="3658" y="255"/>
                  </a:lnTo>
                  <a:lnTo>
                    <a:pt x="3658" y="256"/>
                  </a:lnTo>
                  <a:lnTo>
                    <a:pt x="3658" y="257"/>
                  </a:lnTo>
                  <a:lnTo>
                    <a:pt x="3658" y="256"/>
                  </a:lnTo>
                  <a:lnTo>
                    <a:pt x="3657" y="256"/>
                  </a:lnTo>
                  <a:lnTo>
                    <a:pt x="3657" y="257"/>
                  </a:lnTo>
                  <a:lnTo>
                    <a:pt x="3657" y="256"/>
                  </a:lnTo>
                  <a:lnTo>
                    <a:pt x="3655" y="256"/>
                  </a:lnTo>
                  <a:lnTo>
                    <a:pt x="3657" y="257"/>
                  </a:lnTo>
                  <a:lnTo>
                    <a:pt x="3655" y="257"/>
                  </a:lnTo>
                  <a:lnTo>
                    <a:pt x="3654" y="257"/>
                  </a:lnTo>
                  <a:lnTo>
                    <a:pt x="3654" y="256"/>
                  </a:lnTo>
                  <a:lnTo>
                    <a:pt x="3653" y="256"/>
                  </a:lnTo>
                  <a:lnTo>
                    <a:pt x="3653" y="255"/>
                  </a:lnTo>
                  <a:lnTo>
                    <a:pt x="3652" y="255"/>
                  </a:lnTo>
                  <a:lnTo>
                    <a:pt x="3652" y="256"/>
                  </a:lnTo>
                  <a:lnTo>
                    <a:pt x="3653" y="256"/>
                  </a:lnTo>
                  <a:lnTo>
                    <a:pt x="3652" y="256"/>
                  </a:lnTo>
                  <a:lnTo>
                    <a:pt x="3651" y="255"/>
                  </a:lnTo>
                  <a:lnTo>
                    <a:pt x="3650" y="255"/>
                  </a:lnTo>
                  <a:lnTo>
                    <a:pt x="3651" y="255"/>
                  </a:lnTo>
                  <a:lnTo>
                    <a:pt x="3650" y="255"/>
                  </a:lnTo>
                  <a:lnTo>
                    <a:pt x="3650" y="254"/>
                  </a:lnTo>
                  <a:lnTo>
                    <a:pt x="3648" y="254"/>
                  </a:lnTo>
                  <a:lnTo>
                    <a:pt x="3647" y="254"/>
                  </a:lnTo>
                  <a:lnTo>
                    <a:pt x="3646" y="254"/>
                  </a:lnTo>
                  <a:lnTo>
                    <a:pt x="3645" y="254"/>
                  </a:lnTo>
                  <a:lnTo>
                    <a:pt x="3644" y="254"/>
                  </a:lnTo>
                  <a:lnTo>
                    <a:pt x="3644" y="255"/>
                  </a:lnTo>
                  <a:lnTo>
                    <a:pt x="3645" y="255"/>
                  </a:lnTo>
                  <a:lnTo>
                    <a:pt x="3644" y="255"/>
                  </a:lnTo>
                  <a:lnTo>
                    <a:pt x="3643" y="255"/>
                  </a:lnTo>
                  <a:lnTo>
                    <a:pt x="3641" y="255"/>
                  </a:lnTo>
                  <a:lnTo>
                    <a:pt x="3640" y="255"/>
                  </a:lnTo>
                  <a:lnTo>
                    <a:pt x="3639" y="255"/>
                  </a:lnTo>
                  <a:lnTo>
                    <a:pt x="3638" y="255"/>
                  </a:lnTo>
                  <a:lnTo>
                    <a:pt x="3638" y="256"/>
                  </a:lnTo>
                  <a:lnTo>
                    <a:pt x="3637" y="256"/>
                  </a:lnTo>
                  <a:lnTo>
                    <a:pt x="3636" y="256"/>
                  </a:lnTo>
                  <a:lnTo>
                    <a:pt x="3634" y="256"/>
                  </a:lnTo>
                  <a:lnTo>
                    <a:pt x="3633" y="256"/>
                  </a:lnTo>
                  <a:lnTo>
                    <a:pt x="3632" y="256"/>
                  </a:lnTo>
                  <a:lnTo>
                    <a:pt x="3631" y="255"/>
                  </a:lnTo>
                  <a:lnTo>
                    <a:pt x="3630" y="256"/>
                  </a:lnTo>
                  <a:lnTo>
                    <a:pt x="3631" y="257"/>
                  </a:lnTo>
                  <a:lnTo>
                    <a:pt x="3630" y="257"/>
                  </a:lnTo>
                  <a:lnTo>
                    <a:pt x="3629" y="257"/>
                  </a:lnTo>
                  <a:lnTo>
                    <a:pt x="3627" y="257"/>
                  </a:lnTo>
                  <a:lnTo>
                    <a:pt x="3627" y="258"/>
                  </a:lnTo>
                  <a:lnTo>
                    <a:pt x="3629" y="258"/>
                  </a:lnTo>
                  <a:lnTo>
                    <a:pt x="3627" y="259"/>
                  </a:lnTo>
                  <a:lnTo>
                    <a:pt x="3626" y="259"/>
                  </a:lnTo>
                  <a:lnTo>
                    <a:pt x="3627" y="261"/>
                  </a:lnTo>
                  <a:lnTo>
                    <a:pt x="3627" y="262"/>
                  </a:lnTo>
                  <a:lnTo>
                    <a:pt x="3629" y="262"/>
                  </a:lnTo>
                  <a:lnTo>
                    <a:pt x="3630" y="263"/>
                  </a:lnTo>
                  <a:lnTo>
                    <a:pt x="3631" y="263"/>
                  </a:lnTo>
                  <a:lnTo>
                    <a:pt x="3631" y="264"/>
                  </a:lnTo>
                  <a:lnTo>
                    <a:pt x="3630" y="264"/>
                  </a:lnTo>
                  <a:lnTo>
                    <a:pt x="3629" y="264"/>
                  </a:lnTo>
                  <a:lnTo>
                    <a:pt x="3629" y="265"/>
                  </a:lnTo>
                  <a:lnTo>
                    <a:pt x="3629" y="266"/>
                  </a:lnTo>
                  <a:lnTo>
                    <a:pt x="3629" y="268"/>
                  </a:lnTo>
                  <a:lnTo>
                    <a:pt x="3627" y="268"/>
                  </a:lnTo>
                  <a:lnTo>
                    <a:pt x="3629" y="268"/>
                  </a:lnTo>
                  <a:lnTo>
                    <a:pt x="3629" y="269"/>
                  </a:lnTo>
                  <a:lnTo>
                    <a:pt x="3630" y="269"/>
                  </a:lnTo>
                  <a:lnTo>
                    <a:pt x="3630" y="270"/>
                  </a:lnTo>
                  <a:lnTo>
                    <a:pt x="3631" y="270"/>
                  </a:lnTo>
                  <a:lnTo>
                    <a:pt x="3631" y="271"/>
                  </a:lnTo>
                  <a:lnTo>
                    <a:pt x="3630" y="271"/>
                  </a:lnTo>
                  <a:lnTo>
                    <a:pt x="3630" y="272"/>
                  </a:lnTo>
                  <a:lnTo>
                    <a:pt x="3629" y="272"/>
                  </a:lnTo>
                  <a:lnTo>
                    <a:pt x="3629" y="273"/>
                  </a:lnTo>
                  <a:lnTo>
                    <a:pt x="3627" y="273"/>
                  </a:lnTo>
                  <a:lnTo>
                    <a:pt x="3627" y="275"/>
                  </a:lnTo>
                  <a:lnTo>
                    <a:pt x="3626" y="276"/>
                  </a:lnTo>
                  <a:lnTo>
                    <a:pt x="3626" y="277"/>
                  </a:lnTo>
                  <a:lnTo>
                    <a:pt x="3625" y="277"/>
                  </a:lnTo>
                  <a:lnTo>
                    <a:pt x="3626" y="277"/>
                  </a:lnTo>
                  <a:lnTo>
                    <a:pt x="3626" y="278"/>
                  </a:lnTo>
                  <a:lnTo>
                    <a:pt x="3626" y="279"/>
                  </a:lnTo>
                  <a:lnTo>
                    <a:pt x="3626" y="280"/>
                  </a:lnTo>
                  <a:lnTo>
                    <a:pt x="3627" y="282"/>
                  </a:lnTo>
                  <a:lnTo>
                    <a:pt x="3626" y="280"/>
                  </a:lnTo>
                  <a:lnTo>
                    <a:pt x="3626" y="279"/>
                  </a:lnTo>
                  <a:lnTo>
                    <a:pt x="3625" y="279"/>
                  </a:lnTo>
                  <a:lnTo>
                    <a:pt x="3625" y="280"/>
                  </a:lnTo>
                  <a:lnTo>
                    <a:pt x="3626" y="280"/>
                  </a:lnTo>
                  <a:lnTo>
                    <a:pt x="3626" y="282"/>
                  </a:lnTo>
                  <a:lnTo>
                    <a:pt x="3627" y="282"/>
                  </a:lnTo>
                  <a:lnTo>
                    <a:pt x="3627" y="283"/>
                  </a:lnTo>
                  <a:lnTo>
                    <a:pt x="3629" y="283"/>
                  </a:lnTo>
                  <a:lnTo>
                    <a:pt x="3627" y="283"/>
                  </a:lnTo>
                  <a:lnTo>
                    <a:pt x="3626" y="283"/>
                  </a:lnTo>
                  <a:lnTo>
                    <a:pt x="3626" y="284"/>
                  </a:lnTo>
                  <a:lnTo>
                    <a:pt x="3627" y="284"/>
                  </a:lnTo>
                  <a:lnTo>
                    <a:pt x="3627" y="285"/>
                  </a:lnTo>
                  <a:lnTo>
                    <a:pt x="3629" y="285"/>
                  </a:lnTo>
                  <a:lnTo>
                    <a:pt x="3630" y="286"/>
                  </a:lnTo>
                  <a:lnTo>
                    <a:pt x="3632" y="287"/>
                  </a:lnTo>
                  <a:lnTo>
                    <a:pt x="3631" y="287"/>
                  </a:lnTo>
                  <a:lnTo>
                    <a:pt x="3631" y="286"/>
                  </a:lnTo>
                  <a:lnTo>
                    <a:pt x="3630" y="286"/>
                  </a:lnTo>
                  <a:lnTo>
                    <a:pt x="3630" y="287"/>
                  </a:lnTo>
                  <a:lnTo>
                    <a:pt x="3631" y="287"/>
                  </a:lnTo>
                  <a:lnTo>
                    <a:pt x="3630" y="287"/>
                  </a:lnTo>
                  <a:lnTo>
                    <a:pt x="3631" y="287"/>
                  </a:lnTo>
                  <a:lnTo>
                    <a:pt x="3630" y="287"/>
                  </a:lnTo>
                  <a:lnTo>
                    <a:pt x="3630" y="289"/>
                  </a:lnTo>
                  <a:lnTo>
                    <a:pt x="3631" y="289"/>
                  </a:lnTo>
                  <a:lnTo>
                    <a:pt x="3632" y="289"/>
                  </a:lnTo>
                  <a:lnTo>
                    <a:pt x="3633" y="290"/>
                  </a:lnTo>
                  <a:lnTo>
                    <a:pt x="3633" y="289"/>
                  </a:lnTo>
                  <a:lnTo>
                    <a:pt x="3633" y="287"/>
                  </a:lnTo>
                  <a:lnTo>
                    <a:pt x="3633" y="289"/>
                  </a:lnTo>
                  <a:lnTo>
                    <a:pt x="3634" y="289"/>
                  </a:lnTo>
                  <a:lnTo>
                    <a:pt x="3636" y="290"/>
                  </a:lnTo>
                  <a:lnTo>
                    <a:pt x="3637" y="290"/>
                  </a:lnTo>
                  <a:lnTo>
                    <a:pt x="3636" y="289"/>
                  </a:lnTo>
                  <a:lnTo>
                    <a:pt x="3634" y="289"/>
                  </a:lnTo>
                  <a:lnTo>
                    <a:pt x="3633" y="287"/>
                  </a:lnTo>
                  <a:lnTo>
                    <a:pt x="3634" y="287"/>
                  </a:lnTo>
                  <a:lnTo>
                    <a:pt x="3636" y="289"/>
                  </a:lnTo>
                  <a:lnTo>
                    <a:pt x="3636" y="287"/>
                  </a:lnTo>
                  <a:lnTo>
                    <a:pt x="3638" y="289"/>
                  </a:lnTo>
                  <a:lnTo>
                    <a:pt x="3639" y="289"/>
                  </a:lnTo>
                  <a:lnTo>
                    <a:pt x="3640" y="289"/>
                  </a:lnTo>
                  <a:lnTo>
                    <a:pt x="3641" y="289"/>
                  </a:lnTo>
                  <a:lnTo>
                    <a:pt x="3643" y="290"/>
                  </a:lnTo>
                  <a:lnTo>
                    <a:pt x="3644" y="290"/>
                  </a:lnTo>
                  <a:lnTo>
                    <a:pt x="3645" y="290"/>
                  </a:lnTo>
                  <a:lnTo>
                    <a:pt x="3646" y="291"/>
                  </a:lnTo>
                  <a:lnTo>
                    <a:pt x="3646" y="292"/>
                  </a:lnTo>
                  <a:lnTo>
                    <a:pt x="3647" y="292"/>
                  </a:lnTo>
                  <a:lnTo>
                    <a:pt x="3647" y="293"/>
                  </a:lnTo>
                  <a:lnTo>
                    <a:pt x="3648" y="293"/>
                  </a:lnTo>
                  <a:lnTo>
                    <a:pt x="3647" y="293"/>
                  </a:lnTo>
                  <a:lnTo>
                    <a:pt x="3646" y="293"/>
                  </a:lnTo>
                  <a:lnTo>
                    <a:pt x="3645" y="293"/>
                  </a:lnTo>
                  <a:lnTo>
                    <a:pt x="3644" y="293"/>
                  </a:lnTo>
                  <a:lnTo>
                    <a:pt x="3645" y="293"/>
                  </a:lnTo>
                  <a:lnTo>
                    <a:pt x="3644" y="293"/>
                  </a:lnTo>
                  <a:lnTo>
                    <a:pt x="3643" y="293"/>
                  </a:lnTo>
                  <a:lnTo>
                    <a:pt x="3641" y="293"/>
                  </a:lnTo>
                  <a:lnTo>
                    <a:pt x="3640" y="293"/>
                  </a:lnTo>
                  <a:lnTo>
                    <a:pt x="3640" y="292"/>
                  </a:lnTo>
                  <a:lnTo>
                    <a:pt x="3639" y="292"/>
                  </a:lnTo>
                  <a:lnTo>
                    <a:pt x="3639" y="293"/>
                  </a:lnTo>
                  <a:lnTo>
                    <a:pt x="3638" y="293"/>
                  </a:lnTo>
                  <a:lnTo>
                    <a:pt x="3639" y="293"/>
                  </a:lnTo>
                  <a:lnTo>
                    <a:pt x="3640" y="294"/>
                  </a:lnTo>
                  <a:lnTo>
                    <a:pt x="3639" y="294"/>
                  </a:lnTo>
                  <a:lnTo>
                    <a:pt x="3638" y="294"/>
                  </a:lnTo>
                  <a:lnTo>
                    <a:pt x="3637" y="294"/>
                  </a:lnTo>
                  <a:lnTo>
                    <a:pt x="3636" y="294"/>
                  </a:lnTo>
                  <a:lnTo>
                    <a:pt x="3634" y="294"/>
                  </a:lnTo>
                  <a:lnTo>
                    <a:pt x="3633" y="293"/>
                  </a:lnTo>
                  <a:lnTo>
                    <a:pt x="3632" y="293"/>
                  </a:lnTo>
                  <a:lnTo>
                    <a:pt x="3631" y="293"/>
                  </a:lnTo>
                  <a:lnTo>
                    <a:pt x="3631" y="292"/>
                  </a:lnTo>
                  <a:lnTo>
                    <a:pt x="3631" y="293"/>
                  </a:lnTo>
                  <a:lnTo>
                    <a:pt x="3630" y="293"/>
                  </a:lnTo>
                  <a:lnTo>
                    <a:pt x="3630" y="292"/>
                  </a:lnTo>
                  <a:lnTo>
                    <a:pt x="3629" y="292"/>
                  </a:lnTo>
                  <a:lnTo>
                    <a:pt x="3627" y="292"/>
                  </a:lnTo>
                  <a:lnTo>
                    <a:pt x="3626" y="292"/>
                  </a:lnTo>
                  <a:lnTo>
                    <a:pt x="3627" y="292"/>
                  </a:lnTo>
                  <a:lnTo>
                    <a:pt x="3627" y="293"/>
                  </a:lnTo>
                  <a:lnTo>
                    <a:pt x="3629" y="293"/>
                  </a:lnTo>
                  <a:lnTo>
                    <a:pt x="3629" y="294"/>
                  </a:lnTo>
                  <a:lnTo>
                    <a:pt x="3627" y="294"/>
                  </a:lnTo>
                  <a:lnTo>
                    <a:pt x="3626" y="294"/>
                  </a:lnTo>
                  <a:lnTo>
                    <a:pt x="3625" y="294"/>
                  </a:lnTo>
                  <a:lnTo>
                    <a:pt x="3626" y="296"/>
                  </a:lnTo>
                  <a:lnTo>
                    <a:pt x="3625" y="296"/>
                  </a:lnTo>
                  <a:lnTo>
                    <a:pt x="3626" y="296"/>
                  </a:lnTo>
                  <a:lnTo>
                    <a:pt x="3626" y="297"/>
                  </a:lnTo>
                  <a:lnTo>
                    <a:pt x="3625" y="297"/>
                  </a:lnTo>
                  <a:lnTo>
                    <a:pt x="3624" y="297"/>
                  </a:lnTo>
                  <a:lnTo>
                    <a:pt x="3623" y="297"/>
                  </a:lnTo>
                  <a:lnTo>
                    <a:pt x="3622" y="297"/>
                  </a:lnTo>
                  <a:lnTo>
                    <a:pt x="3622" y="296"/>
                  </a:lnTo>
                  <a:lnTo>
                    <a:pt x="3620" y="296"/>
                  </a:lnTo>
                  <a:lnTo>
                    <a:pt x="3619" y="296"/>
                  </a:lnTo>
                  <a:lnTo>
                    <a:pt x="3619" y="294"/>
                  </a:lnTo>
                  <a:lnTo>
                    <a:pt x="3618" y="294"/>
                  </a:lnTo>
                  <a:lnTo>
                    <a:pt x="3618" y="296"/>
                  </a:lnTo>
                  <a:lnTo>
                    <a:pt x="3617" y="296"/>
                  </a:lnTo>
                  <a:lnTo>
                    <a:pt x="3617" y="297"/>
                  </a:lnTo>
                  <a:lnTo>
                    <a:pt x="3618" y="297"/>
                  </a:lnTo>
                  <a:lnTo>
                    <a:pt x="3617" y="298"/>
                  </a:lnTo>
                  <a:lnTo>
                    <a:pt x="3616" y="298"/>
                  </a:lnTo>
                  <a:lnTo>
                    <a:pt x="3615" y="298"/>
                  </a:lnTo>
                  <a:lnTo>
                    <a:pt x="3613" y="298"/>
                  </a:lnTo>
                  <a:lnTo>
                    <a:pt x="3612" y="298"/>
                  </a:lnTo>
                  <a:lnTo>
                    <a:pt x="3611" y="298"/>
                  </a:lnTo>
                  <a:lnTo>
                    <a:pt x="3610" y="298"/>
                  </a:lnTo>
                  <a:lnTo>
                    <a:pt x="3609" y="297"/>
                  </a:lnTo>
                  <a:lnTo>
                    <a:pt x="3608" y="297"/>
                  </a:lnTo>
                  <a:lnTo>
                    <a:pt x="3607" y="296"/>
                  </a:lnTo>
                  <a:lnTo>
                    <a:pt x="3605" y="296"/>
                  </a:lnTo>
                  <a:lnTo>
                    <a:pt x="3604" y="294"/>
                  </a:lnTo>
                  <a:lnTo>
                    <a:pt x="3603" y="294"/>
                  </a:lnTo>
                  <a:lnTo>
                    <a:pt x="3604" y="294"/>
                  </a:lnTo>
                  <a:lnTo>
                    <a:pt x="3605" y="294"/>
                  </a:lnTo>
                  <a:lnTo>
                    <a:pt x="3605" y="293"/>
                  </a:lnTo>
                  <a:lnTo>
                    <a:pt x="3607" y="293"/>
                  </a:lnTo>
                  <a:lnTo>
                    <a:pt x="3608" y="293"/>
                  </a:lnTo>
                  <a:lnTo>
                    <a:pt x="3609" y="293"/>
                  </a:lnTo>
                  <a:lnTo>
                    <a:pt x="3610" y="293"/>
                  </a:lnTo>
                  <a:lnTo>
                    <a:pt x="3611" y="293"/>
                  </a:lnTo>
                  <a:lnTo>
                    <a:pt x="3612" y="293"/>
                  </a:lnTo>
                  <a:lnTo>
                    <a:pt x="3613" y="293"/>
                  </a:lnTo>
                  <a:lnTo>
                    <a:pt x="3615" y="293"/>
                  </a:lnTo>
                  <a:lnTo>
                    <a:pt x="3615" y="292"/>
                  </a:lnTo>
                  <a:lnTo>
                    <a:pt x="3616" y="292"/>
                  </a:lnTo>
                  <a:lnTo>
                    <a:pt x="3615" y="292"/>
                  </a:lnTo>
                  <a:lnTo>
                    <a:pt x="3613" y="292"/>
                  </a:lnTo>
                  <a:lnTo>
                    <a:pt x="3612" y="291"/>
                  </a:lnTo>
                  <a:lnTo>
                    <a:pt x="3612" y="292"/>
                  </a:lnTo>
                  <a:lnTo>
                    <a:pt x="3611" y="292"/>
                  </a:lnTo>
                  <a:lnTo>
                    <a:pt x="3610" y="292"/>
                  </a:lnTo>
                  <a:lnTo>
                    <a:pt x="3610" y="291"/>
                  </a:lnTo>
                  <a:lnTo>
                    <a:pt x="3609" y="291"/>
                  </a:lnTo>
                  <a:lnTo>
                    <a:pt x="3608" y="291"/>
                  </a:lnTo>
                  <a:lnTo>
                    <a:pt x="3607" y="291"/>
                  </a:lnTo>
                  <a:lnTo>
                    <a:pt x="3607" y="290"/>
                  </a:lnTo>
                  <a:lnTo>
                    <a:pt x="3605" y="290"/>
                  </a:lnTo>
                  <a:lnTo>
                    <a:pt x="3604" y="289"/>
                  </a:lnTo>
                  <a:lnTo>
                    <a:pt x="3603" y="289"/>
                  </a:lnTo>
                  <a:lnTo>
                    <a:pt x="3602" y="289"/>
                  </a:lnTo>
                  <a:lnTo>
                    <a:pt x="3601" y="289"/>
                  </a:lnTo>
                  <a:lnTo>
                    <a:pt x="3601" y="287"/>
                  </a:lnTo>
                  <a:lnTo>
                    <a:pt x="3600" y="287"/>
                  </a:lnTo>
                  <a:lnTo>
                    <a:pt x="3598" y="286"/>
                  </a:lnTo>
                  <a:lnTo>
                    <a:pt x="3598" y="287"/>
                  </a:lnTo>
                  <a:lnTo>
                    <a:pt x="3597" y="287"/>
                  </a:lnTo>
                  <a:lnTo>
                    <a:pt x="3596" y="287"/>
                  </a:lnTo>
                  <a:lnTo>
                    <a:pt x="3595" y="287"/>
                  </a:lnTo>
                  <a:lnTo>
                    <a:pt x="3594" y="287"/>
                  </a:lnTo>
                  <a:lnTo>
                    <a:pt x="3595" y="287"/>
                  </a:lnTo>
                  <a:lnTo>
                    <a:pt x="3595" y="289"/>
                  </a:lnTo>
                  <a:lnTo>
                    <a:pt x="3596" y="289"/>
                  </a:lnTo>
                  <a:lnTo>
                    <a:pt x="3595" y="289"/>
                  </a:lnTo>
                  <a:lnTo>
                    <a:pt x="3595" y="290"/>
                  </a:lnTo>
                  <a:lnTo>
                    <a:pt x="3594" y="290"/>
                  </a:lnTo>
                  <a:lnTo>
                    <a:pt x="3594" y="289"/>
                  </a:lnTo>
                  <a:lnTo>
                    <a:pt x="3593" y="289"/>
                  </a:lnTo>
                  <a:lnTo>
                    <a:pt x="3591" y="289"/>
                  </a:lnTo>
                  <a:lnTo>
                    <a:pt x="3590" y="289"/>
                  </a:lnTo>
                  <a:lnTo>
                    <a:pt x="3591" y="289"/>
                  </a:lnTo>
                  <a:lnTo>
                    <a:pt x="3593" y="289"/>
                  </a:lnTo>
                  <a:lnTo>
                    <a:pt x="3593" y="287"/>
                  </a:lnTo>
                  <a:lnTo>
                    <a:pt x="3591" y="287"/>
                  </a:lnTo>
                  <a:lnTo>
                    <a:pt x="3590" y="287"/>
                  </a:lnTo>
                  <a:lnTo>
                    <a:pt x="3589" y="287"/>
                  </a:lnTo>
                  <a:lnTo>
                    <a:pt x="3588" y="286"/>
                  </a:lnTo>
                  <a:lnTo>
                    <a:pt x="3587" y="286"/>
                  </a:lnTo>
                  <a:lnTo>
                    <a:pt x="3586" y="286"/>
                  </a:lnTo>
                  <a:lnTo>
                    <a:pt x="3584" y="286"/>
                  </a:lnTo>
                  <a:lnTo>
                    <a:pt x="3583" y="286"/>
                  </a:lnTo>
                  <a:lnTo>
                    <a:pt x="3582" y="285"/>
                  </a:lnTo>
                  <a:lnTo>
                    <a:pt x="3579" y="285"/>
                  </a:lnTo>
                  <a:lnTo>
                    <a:pt x="3576" y="285"/>
                  </a:lnTo>
                  <a:lnTo>
                    <a:pt x="3575" y="285"/>
                  </a:lnTo>
                  <a:lnTo>
                    <a:pt x="3574" y="285"/>
                  </a:lnTo>
                  <a:lnTo>
                    <a:pt x="3574" y="284"/>
                  </a:lnTo>
                  <a:lnTo>
                    <a:pt x="3573" y="284"/>
                  </a:lnTo>
                  <a:lnTo>
                    <a:pt x="3573" y="285"/>
                  </a:lnTo>
                  <a:lnTo>
                    <a:pt x="3574" y="285"/>
                  </a:lnTo>
                  <a:lnTo>
                    <a:pt x="3573" y="286"/>
                  </a:lnTo>
                  <a:lnTo>
                    <a:pt x="3572" y="286"/>
                  </a:lnTo>
                  <a:lnTo>
                    <a:pt x="3573" y="286"/>
                  </a:lnTo>
                  <a:lnTo>
                    <a:pt x="3573" y="287"/>
                  </a:lnTo>
                  <a:lnTo>
                    <a:pt x="3574" y="287"/>
                  </a:lnTo>
                  <a:lnTo>
                    <a:pt x="3575" y="287"/>
                  </a:lnTo>
                  <a:lnTo>
                    <a:pt x="3576" y="289"/>
                  </a:lnTo>
                  <a:lnTo>
                    <a:pt x="3575" y="289"/>
                  </a:lnTo>
                  <a:lnTo>
                    <a:pt x="3574" y="289"/>
                  </a:lnTo>
                  <a:lnTo>
                    <a:pt x="3573" y="289"/>
                  </a:lnTo>
                  <a:lnTo>
                    <a:pt x="3572" y="289"/>
                  </a:lnTo>
                  <a:lnTo>
                    <a:pt x="3572" y="287"/>
                  </a:lnTo>
                  <a:lnTo>
                    <a:pt x="3570" y="287"/>
                  </a:lnTo>
                  <a:lnTo>
                    <a:pt x="3572" y="289"/>
                  </a:lnTo>
                  <a:lnTo>
                    <a:pt x="3572" y="290"/>
                  </a:lnTo>
                  <a:lnTo>
                    <a:pt x="3573" y="290"/>
                  </a:lnTo>
                  <a:lnTo>
                    <a:pt x="3574" y="291"/>
                  </a:lnTo>
                  <a:lnTo>
                    <a:pt x="3574" y="290"/>
                  </a:lnTo>
                  <a:lnTo>
                    <a:pt x="3574" y="291"/>
                  </a:lnTo>
                  <a:lnTo>
                    <a:pt x="3574" y="290"/>
                  </a:lnTo>
                  <a:lnTo>
                    <a:pt x="3575" y="290"/>
                  </a:lnTo>
                  <a:lnTo>
                    <a:pt x="3576" y="291"/>
                  </a:lnTo>
                  <a:lnTo>
                    <a:pt x="3576" y="292"/>
                  </a:lnTo>
                  <a:lnTo>
                    <a:pt x="3577" y="292"/>
                  </a:lnTo>
                  <a:lnTo>
                    <a:pt x="3576" y="292"/>
                  </a:lnTo>
                  <a:lnTo>
                    <a:pt x="3575" y="292"/>
                  </a:lnTo>
                  <a:lnTo>
                    <a:pt x="3574" y="292"/>
                  </a:lnTo>
                  <a:lnTo>
                    <a:pt x="3573" y="292"/>
                  </a:lnTo>
                  <a:lnTo>
                    <a:pt x="3572" y="292"/>
                  </a:lnTo>
                  <a:lnTo>
                    <a:pt x="3570" y="292"/>
                  </a:lnTo>
                  <a:lnTo>
                    <a:pt x="3570" y="291"/>
                  </a:lnTo>
                  <a:lnTo>
                    <a:pt x="3569" y="291"/>
                  </a:lnTo>
                  <a:lnTo>
                    <a:pt x="3568" y="290"/>
                  </a:lnTo>
                  <a:lnTo>
                    <a:pt x="3566" y="290"/>
                  </a:lnTo>
                  <a:lnTo>
                    <a:pt x="3565" y="290"/>
                  </a:lnTo>
                  <a:lnTo>
                    <a:pt x="3563" y="290"/>
                  </a:lnTo>
                  <a:lnTo>
                    <a:pt x="3562" y="290"/>
                  </a:lnTo>
                  <a:lnTo>
                    <a:pt x="3562" y="291"/>
                  </a:lnTo>
                  <a:lnTo>
                    <a:pt x="3563" y="291"/>
                  </a:lnTo>
                  <a:lnTo>
                    <a:pt x="3563" y="292"/>
                  </a:lnTo>
                  <a:lnTo>
                    <a:pt x="3562" y="292"/>
                  </a:lnTo>
                  <a:lnTo>
                    <a:pt x="3562" y="291"/>
                  </a:lnTo>
                  <a:lnTo>
                    <a:pt x="3561" y="291"/>
                  </a:lnTo>
                  <a:lnTo>
                    <a:pt x="3561" y="292"/>
                  </a:lnTo>
                  <a:lnTo>
                    <a:pt x="3560" y="292"/>
                  </a:lnTo>
                  <a:lnTo>
                    <a:pt x="3559" y="291"/>
                  </a:lnTo>
                  <a:lnTo>
                    <a:pt x="3558" y="291"/>
                  </a:lnTo>
                  <a:lnTo>
                    <a:pt x="3556" y="291"/>
                  </a:lnTo>
                  <a:lnTo>
                    <a:pt x="3555" y="291"/>
                  </a:lnTo>
                  <a:lnTo>
                    <a:pt x="3554" y="291"/>
                  </a:lnTo>
                  <a:lnTo>
                    <a:pt x="3553" y="290"/>
                  </a:lnTo>
                  <a:lnTo>
                    <a:pt x="3552" y="290"/>
                  </a:lnTo>
                  <a:lnTo>
                    <a:pt x="3552" y="291"/>
                  </a:lnTo>
                  <a:lnTo>
                    <a:pt x="3549" y="290"/>
                  </a:lnTo>
                  <a:lnTo>
                    <a:pt x="3548" y="290"/>
                  </a:lnTo>
                  <a:lnTo>
                    <a:pt x="3548" y="289"/>
                  </a:lnTo>
                  <a:lnTo>
                    <a:pt x="3547" y="289"/>
                  </a:lnTo>
                  <a:lnTo>
                    <a:pt x="3546" y="289"/>
                  </a:lnTo>
                  <a:lnTo>
                    <a:pt x="3545" y="290"/>
                  </a:lnTo>
                  <a:lnTo>
                    <a:pt x="3546" y="290"/>
                  </a:lnTo>
                  <a:lnTo>
                    <a:pt x="3546" y="291"/>
                  </a:lnTo>
                  <a:lnTo>
                    <a:pt x="3547" y="291"/>
                  </a:lnTo>
                  <a:lnTo>
                    <a:pt x="3547" y="292"/>
                  </a:lnTo>
                  <a:lnTo>
                    <a:pt x="3548" y="292"/>
                  </a:lnTo>
                  <a:lnTo>
                    <a:pt x="3548" y="293"/>
                  </a:lnTo>
                  <a:lnTo>
                    <a:pt x="3547" y="293"/>
                  </a:lnTo>
                  <a:lnTo>
                    <a:pt x="3547" y="292"/>
                  </a:lnTo>
                  <a:lnTo>
                    <a:pt x="3546" y="293"/>
                  </a:lnTo>
                  <a:lnTo>
                    <a:pt x="3547" y="293"/>
                  </a:lnTo>
                  <a:lnTo>
                    <a:pt x="3546" y="293"/>
                  </a:lnTo>
                  <a:lnTo>
                    <a:pt x="3545" y="293"/>
                  </a:lnTo>
                  <a:lnTo>
                    <a:pt x="3544" y="292"/>
                  </a:lnTo>
                  <a:lnTo>
                    <a:pt x="3543" y="292"/>
                  </a:lnTo>
                  <a:lnTo>
                    <a:pt x="3541" y="292"/>
                  </a:lnTo>
                  <a:lnTo>
                    <a:pt x="3541" y="291"/>
                  </a:lnTo>
                  <a:lnTo>
                    <a:pt x="3541" y="290"/>
                  </a:lnTo>
                  <a:lnTo>
                    <a:pt x="3540" y="290"/>
                  </a:lnTo>
                  <a:lnTo>
                    <a:pt x="3539" y="290"/>
                  </a:lnTo>
                  <a:lnTo>
                    <a:pt x="3540" y="290"/>
                  </a:lnTo>
                  <a:lnTo>
                    <a:pt x="3539" y="290"/>
                  </a:lnTo>
                  <a:lnTo>
                    <a:pt x="3538" y="290"/>
                  </a:lnTo>
                  <a:lnTo>
                    <a:pt x="3537" y="290"/>
                  </a:lnTo>
                  <a:lnTo>
                    <a:pt x="3536" y="290"/>
                  </a:lnTo>
                  <a:lnTo>
                    <a:pt x="3534" y="290"/>
                  </a:lnTo>
                  <a:lnTo>
                    <a:pt x="3533" y="290"/>
                  </a:lnTo>
                  <a:lnTo>
                    <a:pt x="3532" y="290"/>
                  </a:lnTo>
                  <a:lnTo>
                    <a:pt x="3531" y="290"/>
                  </a:lnTo>
                  <a:lnTo>
                    <a:pt x="3529" y="290"/>
                  </a:lnTo>
                  <a:lnTo>
                    <a:pt x="3526" y="290"/>
                  </a:lnTo>
                  <a:lnTo>
                    <a:pt x="3527" y="290"/>
                  </a:lnTo>
                  <a:lnTo>
                    <a:pt x="3525" y="290"/>
                  </a:lnTo>
                  <a:lnTo>
                    <a:pt x="3524" y="290"/>
                  </a:lnTo>
                  <a:lnTo>
                    <a:pt x="3523" y="290"/>
                  </a:lnTo>
                  <a:lnTo>
                    <a:pt x="3520" y="290"/>
                  </a:lnTo>
                  <a:lnTo>
                    <a:pt x="3518" y="290"/>
                  </a:lnTo>
                  <a:lnTo>
                    <a:pt x="3517" y="290"/>
                  </a:lnTo>
                  <a:lnTo>
                    <a:pt x="3516" y="291"/>
                  </a:lnTo>
                  <a:lnTo>
                    <a:pt x="3515" y="291"/>
                  </a:lnTo>
                  <a:lnTo>
                    <a:pt x="3513" y="291"/>
                  </a:lnTo>
                  <a:lnTo>
                    <a:pt x="3512" y="291"/>
                  </a:lnTo>
                  <a:lnTo>
                    <a:pt x="3511" y="291"/>
                  </a:lnTo>
                  <a:lnTo>
                    <a:pt x="3510" y="290"/>
                  </a:lnTo>
                  <a:lnTo>
                    <a:pt x="3510" y="291"/>
                  </a:lnTo>
                  <a:lnTo>
                    <a:pt x="3509" y="291"/>
                  </a:lnTo>
                  <a:lnTo>
                    <a:pt x="3506" y="292"/>
                  </a:lnTo>
                  <a:lnTo>
                    <a:pt x="3504" y="293"/>
                  </a:lnTo>
                  <a:lnTo>
                    <a:pt x="3503" y="294"/>
                  </a:lnTo>
                  <a:lnTo>
                    <a:pt x="3503" y="296"/>
                  </a:lnTo>
                  <a:lnTo>
                    <a:pt x="3503" y="297"/>
                  </a:lnTo>
                  <a:lnTo>
                    <a:pt x="3504" y="299"/>
                  </a:lnTo>
                  <a:lnTo>
                    <a:pt x="3504" y="300"/>
                  </a:lnTo>
                  <a:lnTo>
                    <a:pt x="3504" y="301"/>
                  </a:lnTo>
                  <a:lnTo>
                    <a:pt x="3503" y="303"/>
                  </a:lnTo>
                  <a:lnTo>
                    <a:pt x="3502" y="304"/>
                  </a:lnTo>
                  <a:lnTo>
                    <a:pt x="3501" y="304"/>
                  </a:lnTo>
                  <a:lnTo>
                    <a:pt x="3499" y="304"/>
                  </a:lnTo>
                  <a:lnTo>
                    <a:pt x="3499" y="305"/>
                  </a:lnTo>
                  <a:lnTo>
                    <a:pt x="3499" y="306"/>
                  </a:lnTo>
                  <a:lnTo>
                    <a:pt x="3499" y="307"/>
                  </a:lnTo>
                  <a:lnTo>
                    <a:pt x="3501" y="308"/>
                  </a:lnTo>
                  <a:lnTo>
                    <a:pt x="3502" y="311"/>
                  </a:lnTo>
                  <a:lnTo>
                    <a:pt x="3502" y="312"/>
                  </a:lnTo>
                  <a:lnTo>
                    <a:pt x="3503" y="313"/>
                  </a:lnTo>
                  <a:lnTo>
                    <a:pt x="3502" y="313"/>
                  </a:lnTo>
                  <a:lnTo>
                    <a:pt x="3502" y="314"/>
                  </a:lnTo>
                  <a:lnTo>
                    <a:pt x="3501" y="314"/>
                  </a:lnTo>
                  <a:lnTo>
                    <a:pt x="3499" y="314"/>
                  </a:lnTo>
                  <a:lnTo>
                    <a:pt x="3499" y="315"/>
                  </a:lnTo>
                  <a:lnTo>
                    <a:pt x="3499" y="317"/>
                  </a:lnTo>
                  <a:lnTo>
                    <a:pt x="3499" y="318"/>
                  </a:lnTo>
                  <a:lnTo>
                    <a:pt x="3498" y="318"/>
                  </a:lnTo>
                  <a:lnTo>
                    <a:pt x="3498" y="319"/>
                  </a:lnTo>
                  <a:lnTo>
                    <a:pt x="3498" y="320"/>
                  </a:lnTo>
                  <a:lnTo>
                    <a:pt x="3497" y="320"/>
                  </a:lnTo>
                  <a:lnTo>
                    <a:pt x="3497" y="321"/>
                  </a:lnTo>
                  <a:lnTo>
                    <a:pt x="3496" y="321"/>
                  </a:lnTo>
                  <a:lnTo>
                    <a:pt x="3495" y="322"/>
                  </a:lnTo>
                  <a:lnTo>
                    <a:pt x="3496" y="322"/>
                  </a:lnTo>
                  <a:lnTo>
                    <a:pt x="3495" y="322"/>
                  </a:lnTo>
                  <a:lnTo>
                    <a:pt x="3495" y="324"/>
                  </a:lnTo>
                  <a:lnTo>
                    <a:pt x="3496" y="324"/>
                  </a:lnTo>
                  <a:lnTo>
                    <a:pt x="3496" y="325"/>
                  </a:lnTo>
                  <a:lnTo>
                    <a:pt x="3495" y="325"/>
                  </a:lnTo>
                  <a:lnTo>
                    <a:pt x="3494" y="325"/>
                  </a:lnTo>
                  <a:lnTo>
                    <a:pt x="3494" y="326"/>
                  </a:lnTo>
                  <a:lnTo>
                    <a:pt x="3495" y="327"/>
                  </a:lnTo>
                  <a:lnTo>
                    <a:pt x="3495" y="328"/>
                  </a:lnTo>
                  <a:lnTo>
                    <a:pt x="3496" y="328"/>
                  </a:lnTo>
                  <a:lnTo>
                    <a:pt x="3495" y="328"/>
                  </a:lnTo>
                  <a:lnTo>
                    <a:pt x="3495" y="327"/>
                  </a:lnTo>
                  <a:lnTo>
                    <a:pt x="3494" y="327"/>
                  </a:lnTo>
                  <a:lnTo>
                    <a:pt x="3494" y="328"/>
                  </a:lnTo>
                  <a:lnTo>
                    <a:pt x="3495" y="329"/>
                  </a:lnTo>
                  <a:lnTo>
                    <a:pt x="3494" y="329"/>
                  </a:lnTo>
                  <a:lnTo>
                    <a:pt x="3494" y="331"/>
                  </a:lnTo>
                  <a:lnTo>
                    <a:pt x="3495" y="331"/>
                  </a:lnTo>
                  <a:lnTo>
                    <a:pt x="3494" y="331"/>
                  </a:lnTo>
                  <a:lnTo>
                    <a:pt x="3494" y="332"/>
                  </a:lnTo>
                  <a:lnTo>
                    <a:pt x="3495" y="332"/>
                  </a:lnTo>
                  <a:lnTo>
                    <a:pt x="3495" y="333"/>
                  </a:lnTo>
                  <a:lnTo>
                    <a:pt x="3496" y="333"/>
                  </a:lnTo>
                  <a:lnTo>
                    <a:pt x="3496" y="334"/>
                  </a:lnTo>
                  <a:lnTo>
                    <a:pt x="3496" y="333"/>
                  </a:lnTo>
                  <a:lnTo>
                    <a:pt x="3495" y="333"/>
                  </a:lnTo>
                  <a:lnTo>
                    <a:pt x="3495" y="334"/>
                  </a:lnTo>
                  <a:lnTo>
                    <a:pt x="3494" y="334"/>
                  </a:lnTo>
                  <a:lnTo>
                    <a:pt x="3494" y="335"/>
                  </a:lnTo>
                  <a:lnTo>
                    <a:pt x="3495" y="335"/>
                  </a:lnTo>
                  <a:lnTo>
                    <a:pt x="3495" y="336"/>
                  </a:lnTo>
                  <a:lnTo>
                    <a:pt x="3495" y="338"/>
                  </a:lnTo>
                  <a:lnTo>
                    <a:pt x="3494" y="338"/>
                  </a:lnTo>
                  <a:lnTo>
                    <a:pt x="3494" y="339"/>
                  </a:lnTo>
                  <a:lnTo>
                    <a:pt x="3492" y="339"/>
                  </a:lnTo>
                  <a:lnTo>
                    <a:pt x="3492" y="340"/>
                  </a:lnTo>
                  <a:lnTo>
                    <a:pt x="3494" y="340"/>
                  </a:lnTo>
                  <a:lnTo>
                    <a:pt x="3494" y="341"/>
                  </a:lnTo>
                  <a:lnTo>
                    <a:pt x="3492" y="340"/>
                  </a:lnTo>
                  <a:lnTo>
                    <a:pt x="3492" y="341"/>
                  </a:lnTo>
                  <a:lnTo>
                    <a:pt x="3491" y="341"/>
                  </a:lnTo>
                  <a:lnTo>
                    <a:pt x="3491" y="342"/>
                  </a:lnTo>
                  <a:lnTo>
                    <a:pt x="3491" y="343"/>
                  </a:lnTo>
                  <a:lnTo>
                    <a:pt x="3490" y="343"/>
                  </a:lnTo>
                  <a:lnTo>
                    <a:pt x="3490" y="345"/>
                  </a:lnTo>
                  <a:lnTo>
                    <a:pt x="3489" y="345"/>
                  </a:lnTo>
                  <a:lnTo>
                    <a:pt x="3489" y="346"/>
                  </a:lnTo>
                  <a:lnTo>
                    <a:pt x="3488" y="346"/>
                  </a:lnTo>
                  <a:lnTo>
                    <a:pt x="3489" y="346"/>
                  </a:lnTo>
                  <a:lnTo>
                    <a:pt x="3488" y="346"/>
                  </a:lnTo>
                  <a:lnTo>
                    <a:pt x="3488" y="347"/>
                  </a:lnTo>
                  <a:lnTo>
                    <a:pt x="3487" y="347"/>
                  </a:lnTo>
                  <a:lnTo>
                    <a:pt x="3488" y="348"/>
                  </a:lnTo>
                  <a:lnTo>
                    <a:pt x="3488" y="349"/>
                  </a:lnTo>
                  <a:lnTo>
                    <a:pt x="3488" y="350"/>
                  </a:lnTo>
                  <a:lnTo>
                    <a:pt x="3487" y="350"/>
                  </a:lnTo>
                  <a:lnTo>
                    <a:pt x="3487" y="352"/>
                  </a:lnTo>
                  <a:lnTo>
                    <a:pt x="3485" y="352"/>
                  </a:lnTo>
                  <a:lnTo>
                    <a:pt x="3485" y="353"/>
                  </a:lnTo>
                  <a:lnTo>
                    <a:pt x="3484" y="353"/>
                  </a:lnTo>
                  <a:lnTo>
                    <a:pt x="3483" y="354"/>
                  </a:lnTo>
                  <a:lnTo>
                    <a:pt x="3483" y="355"/>
                  </a:lnTo>
                  <a:lnTo>
                    <a:pt x="3482" y="355"/>
                  </a:lnTo>
                  <a:lnTo>
                    <a:pt x="3482" y="356"/>
                  </a:lnTo>
                  <a:lnTo>
                    <a:pt x="3482" y="357"/>
                  </a:lnTo>
                  <a:lnTo>
                    <a:pt x="3483" y="357"/>
                  </a:lnTo>
                  <a:lnTo>
                    <a:pt x="3485" y="359"/>
                  </a:lnTo>
                  <a:lnTo>
                    <a:pt x="3485" y="360"/>
                  </a:lnTo>
                  <a:lnTo>
                    <a:pt x="3485" y="359"/>
                  </a:lnTo>
                  <a:lnTo>
                    <a:pt x="3490" y="360"/>
                  </a:lnTo>
                  <a:lnTo>
                    <a:pt x="3491" y="360"/>
                  </a:lnTo>
                  <a:lnTo>
                    <a:pt x="3491" y="361"/>
                  </a:lnTo>
                  <a:lnTo>
                    <a:pt x="3492" y="361"/>
                  </a:lnTo>
                  <a:lnTo>
                    <a:pt x="3494" y="361"/>
                  </a:lnTo>
                  <a:lnTo>
                    <a:pt x="3495" y="361"/>
                  </a:lnTo>
                  <a:lnTo>
                    <a:pt x="3497" y="361"/>
                  </a:lnTo>
                  <a:lnTo>
                    <a:pt x="3498" y="361"/>
                  </a:lnTo>
                  <a:lnTo>
                    <a:pt x="3502" y="361"/>
                  </a:lnTo>
                  <a:lnTo>
                    <a:pt x="3502" y="360"/>
                  </a:lnTo>
                  <a:lnTo>
                    <a:pt x="3503" y="360"/>
                  </a:lnTo>
                  <a:lnTo>
                    <a:pt x="3503" y="361"/>
                  </a:lnTo>
                  <a:lnTo>
                    <a:pt x="3504" y="361"/>
                  </a:lnTo>
                  <a:lnTo>
                    <a:pt x="3503" y="360"/>
                  </a:lnTo>
                  <a:lnTo>
                    <a:pt x="3504" y="360"/>
                  </a:lnTo>
                  <a:lnTo>
                    <a:pt x="3504" y="361"/>
                  </a:lnTo>
                  <a:lnTo>
                    <a:pt x="3505" y="361"/>
                  </a:lnTo>
                  <a:lnTo>
                    <a:pt x="3506" y="362"/>
                  </a:lnTo>
                  <a:lnTo>
                    <a:pt x="3505" y="362"/>
                  </a:lnTo>
                  <a:lnTo>
                    <a:pt x="3506" y="362"/>
                  </a:lnTo>
                  <a:lnTo>
                    <a:pt x="3506" y="363"/>
                  </a:lnTo>
                  <a:lnTo>
                    <a:pt x="3508" y="363"/>
                  </a:lnTo>
                  <a:lnTo>
                    <a:pt x="3506" y="363"/>
                  </a:lnTo>
                  <a:lnTo>
                    <a:pt x="3506" y="364"/>
                  </a:lnTo>
                  <a:lnTo>
                    <a:pt x="3508" y="364"/>
                  </a:lnTo>
                  <a:lnTo>
                    <a:pt x="3509" y="364"/>
                  </a:lnTo>
                  <a:lnTo>
                    <a:pt x="3509" y="366"/>
                  </a:lnTo>
                  <a:lnTo>
                    <a:pt x="3508" y="366"/>
                  </a:lnTo>
                  <a:lnTo>
                    <a:pt x="3509" y="366"/>
                  </a:lnTo>
                  <a:lnTo>
                    <a:pt x="3510" y="366"/>
                  </a:lnTo>
                  <a:lnTo>
                    <a:pt x="3509" y="367"/>
                  </a:lnTo>
                  <a:lnTo>
                    <a:pt x="3510" y="367"/>
                  </a:lnTo>
                  <a:lnTo>
                    <a:pt x="3511" y="368"/>
                  </a:lnTo>
                  <a:lnTo>
                    <a:pt x="3511" y="369"/>
                  </a:lnTo>
                  <a:lnTo>
                    <a:pt x="3511" y="370"/>
                  </a:lnTo>
                  <a:lnTo>
                    <a:pt x="3512" y="370"/>
                  </a:lnTo>
                  <a:lnTo>
                    <a:pt x="3512" y="371"/>
                  </a:lnTo>
                  <a:lnTo>
                    <a:pt x="3513" y="373"/>
                  </a:lnTo>
                  <a:lnTo>
                    <a:pt x="3515" y="373"/>
                  </a:lnTo>
                  <a:lnTo>
                    <a:pt x="3516" y="373"/>
                  </a:lnTo>
                  <a:lnTo>
                    <a:pt x="3516" y="371"/>
                  </a:lnTo>
                  <a:lnTo>
                    <a:pt x="3517" y="371"/>
                  </a:lnTo>
                  <a:lnTo>
                    <a:pt x="3518" y="373"/>
                  </a:lnTo>
                  <a:lnTo>
                    <a:pt x="3519" y="373"/>
                  </a:lnTo>
                  <a:lnTo>
                    <a:pt x="3519" y="371"/>
                  </a:lnTo>
                  <a:lnTo>
                    <a:pt x="3518" y="370"/>
                  </a:lnTo>
                  <a:lnTo>
                    <a:pt x="3518" y="369"/>
                  </a:lnTo>
                  <a:lnTo>
                    <a:pt x="3517" y="369"/>
                  </a:lnTo>
                  <a:lnTo>
                    <a:pt x="3516" y="369"/>
                  </a:lnTo>
                  <a:lnTo>
                    <a:pt x="3516" y="368"/>
                  </a:lnTo>
                  <a:lnTo>
                    <a:pt x="3513" y="368"/>
                  </a:lnTo>
                  <a:lnTo>
                    <a:pt x="3515" y="367"/>
                  </a:lnTo>
                  <a:lnTo>
                    <a:pt x="3515" y="366"/>
                  </a:lnTo>
                  <a:lnTo>
                    <a:pt x="3516" y="366"/>
                  </a:lnTo>
                  <a:lnTo>
                    <a:pt x="3516" y="364"/>
                  </a:lnTo>
                  <a:lnTo>
                    <a:pt x="3516" y="366"/>
                  </a:lnTo>
                  <a:lnTo>
                    <a:pt x="3517" y="366"/>
                  </a:lnTo>
                  <a:lnTo>
                    <a:pt x="3518" y="366"/>
                  </a:lnTo>
                  <a:lnTo>
                    <a:pt x="3519" y="364"/>
                  </a:lnTo>
                  <a:lnTo>
                    <a:pt x="3519" y="366"/>
                  </a:lnTo>
                  <a:lnTo>
                    <a:pt x="3519" y="367"/>
                  </a:lnTo>
                  <a:lnTo>
                    <a:pt x="3519" y="368"/>
                  </a:lnTo>
                  <a:lnTo>
                    <a:pt x="3518" y="368"/>
                  </a:lnTo>
                  <a:lnTo>
                    <a:pt x="3517" y="368"/>
                  </a:lnTo>
                  <a:lnTo>
                    <a:pt x="3517" y="369"/>
                  </a:lnTo>
                  <a:lnTo>
                    <a:pt x="3518" y="369"/>
                  </a:lnTo>
                  <a:lnTo>
                    <a:pt x="3519" y="369"/>
                  </a:lnTo>
                  <a:lnTo>
                    <a:pt x="3522" y="370"/>
                  </a:lnTo>
                  <a:lnTo>
                    <a:pt x="3523" y="370"/>
                  </a:lnTo>
                  <a:lnTo>
                    <a:pt x="3524" y="370"/>
                  </a:lnTo>
                  <a:lnTo>
                    <a:pt x="3525" y="370"/>
                  </a:lnTo>
                  <a:lnTo>
                    <a:pt x="3525" y="371"/>
                  </a:lnTo>
                  <a:lnTo>
                    <a:pt x="3524" y="371"/>
                  </a:lnTo>
                  <a:lnTo>
                    <a:pt x="3524" y="373"/>
                  </a:lnTo>
                  <a:lnTo>
                    <a:pt x="3525" y="373"/>
                  </a:lnTo>
                  <a:lnTo>
                    <a:pt x="3525" y="374"/>
                  </a:lnTo>
                  <a:lnTo>
                    <a:pt x="3525" y="375"/>
                  </a:lnTo>
                  <a:lnTo>
                    <a:pt x="3524" y="375"/>
                  </a:lnTo>
                  <a:lnTo>
                    <a:pt x="3523" y="375"/>
                  </a:lnTo>
                  <a:lnTo>
                    <a:pt x="3523" y="376"/>
                  </a:lnTo>
                  <a:lnTo>
                    <a:pt x="3524" y="376"/>
                  </a:lnTo>
                  <a:lnTo>
                    <a:pt x="3525" y="377"/>
                  </a:lnTo>
                  <a:lnTo>
                    <a:pt x="3526" y="377"/>
                  </a:lnTo>
                  <a:lnTo>
                    <a:pt x="3529" y="376"/>
                  </a:lnTo>
                  <a:lnTo>
                    <a:pt x="3531" y="376"/>
                  </a:lnTo>
                  <a:lnTo>
                    <a:pt x="3532" y="375"/>
                  </a:lnTo>
                  <a:lnTo>
                    <a:pt x="3533" y="375"/>
                  </a:lnTo>
                  <a:lnTo>
                    <a:pt x="3533" y="374"/>
                  </a:lnTo>
                  <a:lnTo>
                    <a:pt x="3532" y="371"/>
                  </a:lnTo>
                  <a:lnTo>
                    <a:pt x="3532" y="370"/>
                  </a:lnTo>
                  <a:lnTo>
                    <a:pt x="3533" y="370"/>
                  </a:lnTo>
                  <a:lnTo>
                    <a:pt x="3534" y="370"/>
                  </a:lnTo>
                  <a:lnTo>
                    <a:pt x="3534" y="371"/>
                  </a:lnTo>
                  <a:lnTo>
                    <a:pt x="3536" y="371"/>
                  </a:lnTo>
                  <a:lnTo>
                    <a:pt x="3536" y="373"/>
                  </a:lnTo>
                  <a:lnTo>
                    <a:pt x="3536" y="375"/>
                  </a:lnTo>
                  <a:lnTo>
                    <a:pt x="3536" y="376"/>
                  </a:lnTo>
                  <a:lnTo>
                    <a:pt x="3536" y="377"/>
                  </a:lnTo>
                  <a:lnTo>
                    <a:pt x="3537" y="377"/>
                  </a:lnTo>
                  <a:lnTo>
                    <a:pt x="3538" y="377"/>
                  </a:lnTo>
                  <a:lnTo>
                    <a:pt x="3539" y="376"/>
                  </a:lnTo>
                  <a:lnTo>
                    <a:pt x="3538" y="374"/>
                  </a:lnTo>
                  <a:lnTo>
                    <a:pt x="3537" y="373"/>
                  </a:lnTo>
                  <a:lnTo>
                    <a:pt x="3537" y="371"/>
                  </a:lnTo>
                  <a:lnTo>
                    <a:pt x="3536" y="370"/>
                  </a:lnTo>
                  <a:lnTo>
                    <a:pt x="3536" y="369"/>
                  </a:lnTo>
                  <a:lnTo>
                    <a:pt x="3534" y="369"/>
                  </a:lnTo>
                  <a:lnTo>
                    <a:pt x="3534" y="368"/>
                  </a:lnTo>
                  <a:lnTo>
                    <a:pt x="3533" y="369"/>
                  </a:lnTo>
                  <a:lnTo>
                    <a:pt x="3533" y="368"/>
                  </a:lnTo>
                  <a:lnTo>
                    <a:pt x="3533" y="367"/>
                  </a:lnTo>
                  <a:lnTo>
                    <a:pt x="3532" y="367"/>
                  </a:lnTo>
                  <a:lnTo>
                    <a:pt x="3532" y="366"/>
                  </a:lnTo>
                  <a:lnTo>
                    <a:pt x="3531" y="366"/>
                  </a:lnTo>
                  <a:lnTo>
                    <a:pt x="3530" y="366"/>
                  </a:lnTo>
                  <a:lnTo>
                    <a:pt x="3531" y="366"/>
                  </a:lnTo>
                  <a:lnTo>
                    <a:pt x="3531" y="364"/>
                  </a:lnTo>
                  <a:lnTo>
                    <a:pt x="3534" y="366"/>
                  </a:lnTo>
                  <a:lnTo>
                    <a:pt x="3537" y="367"/>
                  </a:lnTo>
                  <a:lnTo>
                    <a:pt x="3538" y="367"/>
                  </a:lnTo>
                  <a:lnTo>
                    <a:pt x="3539" y="367"/>
                  </a:lnTo>
                  <a:lnTo>
                    <a:pt x="3540" y="367"/>
                  </a:lnTo>
                  <a:lnTo>
                    <a:pt x="3543" y="366"/>
                  </a:lnTo>
                  <a:lnTo>
                    <a:pt x="3544" y="366"/>
                  </a:lnTo>
                  <a:lnTo>
                    <a:pt x="3545" y="366"/>
                  </a:lnTo>
                  <a:lnTo>
                    <a:pt x="3545" y="367"/>
                  </a:lnTo>
                  <a:lnTo>
                    <a:pt x="3546" y="367"/>
                  </a:lnTo>
                  <a:lnTo>
                    <a:pt x="3547" y="367"/>
                  </a:lnTo>
                  <a:lnTo>
                    <a:pt x="3548" y="368"/>
                  </a:lnTo>
                  <a:lnTo>
                    <a:pt x="3549" y="368"/>
                  </a:lnTo>
                  <a:lnTo>
                    <a:pt x="3552" y="369"/>
                  </a:lnTo>
                  <a:lnTo>
                    <a:pt x="3553" y="369"/>
                  </a:lnTo>
                  <a:lnTo>
                    <a:pt x="3553" y="370"/>
                  </a:lnTo>
                  <a:lnTo>
                    <a:pt x="3554" y="370"/>
                  </a:lnTo>
                  <a:lnTo>
                    <a:pt x="3554" y="371"/>
                  </a:lnTo>
                  <a:lnTo>
                    <a:pt x="3555" y="371"/>
                  </a:lnTo>
                  <a:lnTo>
                    <a:pt x="3558" y="373"/>
                  </a:lnTo>
                  <a:lnTo>
                    <a:pt x="3558" y="374"/>
                  </a:lnTo>
                  <a:lnTo>
                    <a:pt x="3560" y="374"/>
                  </a:lnTo>
                  <a:lnTo>
                    <a:pt x="3560" y="375"/>
                  </a:lnTo>
                  <a:lnTo>
                    <a:pt x="3561" y="375"/>
                  </a:lnTo>
                  <a:lnTo>
                    <a:pt x="3562" y="375"/>
                  </a:lnTo>
                  <a:lnTo>
                    <a:pt x="3565" y="376"/>
                  </a:lnTo>
                  <a:lnTo>
                    <a:pt x="3569" y="377"/>
                  </a:lnTo>
                  <a:lnTo>
                    <a:pt x="3570" y="377"/>
                  </a:lnTo>
                  <a:lnTo>
                    <a:pt x="3569" y="377"/>
                  </a:lnTo>
                  <a:lnTo>
                    <a:pt x="3568" y="377"/>
                  </a:lnTo>
                  <a:lnTo>
                    <a:pt x="3568" y="378"/>
                  </a:lnTo>
                  <a:lnTo>
                    <a:pt x="3569" y="378"/>
                  </a:lnTo>
                  <a:lnTo>
                    <a:pt x="3570" y="378"/>
                  </a:lnTo>
                  <a:lnTo>
                    <a:pt x="3572" y="378"/>
                  </a:lnTo>
                  <a:lnTo>
                    <a:pt x="3572" y="380"/>
                  </a:lnTo>
                  <a:lnTo>
                    <a:pt x="3573" y="380"/>
                  </a:lnTo>
                  <a:lnTo>
                    <a:pt x="3574" y="380"/>
                  </a:lnTo>
                  <a:lnTo>
                    <a:pt x="3575" y="380"/>
                  </a:lnTo>
                  <a:lnTo>
                    <a:pt x="3576" y="381"/>
                  </a:lnTo>
                  <a:lnTo>
                    <a:pt x="3576" y="382"/>
                  </a:lnTo>
                  <a:lnTo>
                    <a:pt x="3577" y="382"/>
                  </a:lnTo>
                  <a:lnTo>
                    <a:pt x="3579" y="382"/>
                  </a:lnTo>
                  <a:lnTo>
                    <a:pt x="3579" y="383"/>
                  </a:lnTo>
                  <a:lnTo>
                    <a:pt x="3577" y="383"/>
                  </a:lnTo>
                  <a:lnTo>
                    <a:pt x="3579" y="383"/>
                  </a:lnTo>
                  <a:lnTo>
                    <a:pt x="3579" y="384"/>
                  </a:lnTo>
                  <a:lnTo>
                    <a:pt x="3577" y="383"/>
                  </a:lnTo>
                  <a:lnTo>
                    <a:pt x="3577" y="384"/>
                  </a:lnTo>
                  <a:lnTo>
                    <a:pt x="3576" y="384"/>
                  </a:lnTo>
                  <a:lnTo>
                    <a:pt x="3577" y="384"/>
                  </a:lnTo>
                  <a:lnTo>
                    <a:pt x="3577" y="385"/>
                  </a:lnTo>
                  <a:lnTo>
                    <a:pt x="3575" y="384"/>
                  </a:lnTo>
                  <a:lnTo>
                    <a:pt x="3574" y="384"/>
                  </a:lnTo>
                  <a:lnTo>
                    <a:pt x="3573" y="383"/>
                  </a:lnTo>
                  <a:lnTo>
                    <a:pt x="3572" y="383"/>
                  </a:lnTo>
                  <a:lnTo>
                    <a:pt x="3570" y="383"/>
                  </a:lnTo>
                  <a:lnTo>
                    <a:pt x="3572" y="383"/>
                  </a:lnTo>
                  <a:lnTo>
                    <a:pt x="3573" y="384"/>
                  </a:lnTo>
                  <a:lnTo>
                    <a:pt x="3574" y="384"/>
                  </a:lnTo>
                  <a:lnTo>
                    <a:pt x="3574" y="385"/>
                  </a:lnTo>
                  <a:lnTo>
                    <a:pt x="3575" y="385"/>
                  </a:lnTo>
                  <a:lnTo>
                    <a:pt x="3576" y="385"/>
                  </a:lnTo>
                  <a:lnTo>
                    <a:pt x="3576" y="387"/>
                  </a:lnTo>
                  <a:lnTo>
                    <a:pt x="3577" y="387"/>
                  </a:lnTo>
                  <a:lnTo>
                    <a:pt x="3579" y="387"/>
                  </a:lnTo>
                  <a:lnTo>
                    <a:pt x="3580" y="387"/>
                  </a:lnTo>
                  <a:lnTo>
                    <a:pt x="3580" y="388"/>
                  </a:lnTo>
                  <a:lnTo>
                    <a:pt x="3581" y="388"/>
                  </a:lnTo>
                  <a:lnTo>
                    <a:pt x="3581" y="389"/>
                  </a:lnTo>
                  <a:lnTo>
                    <a:pt x="3582" y="389"/>
                  </a:lnTo>
                  <a:lnTo>
                    <a:pt x="3583" y="390"/>
                  </a:lnTo>
                  <a:lnTo>
                    <a:pt x="3583" y="391"/>
                  </a:lnTo>
                  <a:lnTo>
                    <a:pt x="3584" y="391"/>
                  </a:lnTo>
                  <a:lnTo>
                    <a:pt x="3584" y="392"/>
                  </a:lnTo>
                  <a:lnTo>
                    <a:pt x="3583" y="392"/>
                  </a:lnTo>
                  <a:lnTo>
                    <a:pt x="3583" y="394"/>
                  </a:lnTo>
                  <a:lnTo>
                    <a:pt x="3584" y="394"/>
                  </a:lnTo>
                  <a:lnTo>
                    <a:pt x="3586" y="395"/>
                  </a:lnTo>
                  <a:lnTo>
                    <a:pt x="3587" y="395"/>
                  </a:lnTo>
                  <a:lnTo>
                    <a:pt x="3588" y="395"/>
                  </a:lnTo>
                  <a:lnTo>
                    <a:pt x="3588" y="396"/>
                  </a:lnTo>
                  <a:lnTo>
                    <a:pt x="3589" y="396"/>
                  </a:lnTo>
                  <a:lnTo>
                    <a:pt x="3590" y="396"/>
                  </a:lnTo>
                  <a:lnTo>
                    <a:pt x="3590" y="397"/>
                  </a:lnTo>
                  <a:lnTo>
                    <a:pt x="3591" y="397"/>
                  </a:lnTo>
                  <a:lnTo>
                    <a:pt x="3593" y="397"/>
                  </a:lnTo>
                  <a:lnTo>
                    <a:pt x="3593" y="398"/>
                  </a:lnTo>
                  <a:lnTo>
                    <a:pt x="3593" y="397"/>
                  </a:lnTo>
                  <a:lnTo>
                    <a:pt x="3591" y="397"/>
                  </a:lnTo>
                  <a:lnTo>
                    <a:pt x="3591" y="398"/>
                  </a:lnTo>
                  <a:lnTo>
                    <a:pt x="3591" y="399"/>
                  </a:lnTo>
                  <a:lnTo>
                    <a:pt x="3593" y="401"/>
                  </a:lnTo>
                  <a:lnTo>
                    <a:pt x="3594" y="401"/>
                  </a:lnTo>
                  <a:lnTo>
                    <a:pt x="3594" y="402"/>
                  </a:lnTo>
                  <a:lnTo>
                    <a:pt x="3593" y="402"/>
                  </a:lnTo>
                  <a:lnTo>
                    <a:pt x="3593" y="403"/>
                  </a:lnTo>
                  <a:lnTo>
                    <a:pt x="3594" y="403"/>
                  </a:lnTo>
                  <a:lnTo>
                    <a:pt x="3594" y="404"/>
                  </a:lnTo>
                  <a:lnTo>
                    <a:pt x="3594" y="405"/>
                  </a:lnTo>
                  <a:lnTo>
                    <a:pt x="3593" y="405"/>
                  </a:lnTo>
                  <a:lnTo>
                    <a:pt x="3591" y="405"/>
                  </a:lnTo>
                  <a:lnTo>
                    <a:pt x="3593" y="406"/>
                  </a:lnTo>
                  <a:lnTo>
                    <a:pt x="3594" y="408"/>
                  </a:lnTo>
                  <a:lnTo>
                    <a:pt x="3593" y="408"/>
                  </a:lnTo>
                  <a:lnTo>
                    <a:pt x="3593" y="409"/>
                  </a:lnTo>
                  <a:lnTo>
                    <a:pt x="3594" y="409"/>
                  </a:lnTo>
                  <a:lnTo>
                    <a:pt x="3595" y="409"/>
                  </a:lnTo>
                  <a:lnTo>
                    <a:pt x="3595" y="410"/>
                  </a:lnTo>
                  <a:lnTo>
                    <a:pt x="3594" y="410"/>
                  </a:lnTo>
                  <a:lnTo>
                    <a:pt x="3593" y="410"/>
                  </a:lnTo>
                  <a:lnTo>
                    <a:pt x="3594" y="411"/>
                  </a:lnTo>
                  <a:lnTo>
                    <a:pt x="3594" y="412"/>
                  </a:lnTo>
                  <a:lnTo>
                    <a:pt x="3595" y="412"/>
                  </a:lnTo>
                  <a:lnTo>
                    <a:pt x="3595" y="413"/>
                  </a:lnTo>
                  <a:lnTo>
                    <a:pt x="3596" y="413"/>
                  </a:lnTo>
                  <a:lnTo>
                    <a:pt x="3596" y="415"/>
                  </a:lnTo>
                  <a:lnTo>
                    <a:pt x="3597" y="415"/>
                  </a:lnTo>
                  <a:lnTo>
                    <a:pt x="3596" y="415"/>
                  </a:lnTo>
                  <a:lnTo>
                    <a:pt x="3597" y="416"/>
                  </a:lnTo>
                  <a:lnTo>
                    <a:pt x="3597" y="417"/>
                  </a:lnTo>
                  <a:lnTo>
                    <a:pt x="3597" y="418"/>
                  </a:lnTo>
                  <a:lnTo>
                    <a:pt x="3597" y="419"/>
                  </a:lnTo>
                  <a:lnTo>
                    <a:pt x="3598" y="419"/>
                  </a:lnTo>
                  <a:lnTo>
                    <a:pt x="3598" y="420"/>
                  </a:lnTo>
                  <a:lnTo>
                    <a:pt x="3600" y="422"/>
                  </a:lnTo>
                  <a:lnTo>
                    <a:pt x="3600" y="423"/>
                  </a:lnTo>
                  <a:lnTo>
                    <a:pt x="3601" y="423"/>
                  </a:lnTo>
                  <a:lnTo>
                    <a:pt x="3602" y="424"/>
                  </a:lnTo>
                  <a:lnTo>
                    <a:pt x="3603" y="425"/>
                  </a:lnTo>
                  <a:lnTo>
                    <a:pt x="3603" y="426"/>
                  </a:lnTo>
                  <a:lnTo>
                    <a:pt x="3604" y="426"/>
                  </a:lnTo>
                  <a:lnTo>
                    <a:pt x="3604" y="427"/>
                  </a:lnTo>
                  <a:lnTo>
                    <a:pt x="3605" y="427"/>
                  </a:lnTo>
                  <a:lnTo>
                    <a:pt x="3605" y="429"/>
                  </a:lnTo>
                  <a:lnTo>
                    <a:pt x="3607" y="429"/>
                  </a:lnTo>
                  <a:lnTo>
                    <a:pt x="3607" y="430"/>
                  </a:lnTo>
                  <a:lnTo>
                    <a:pt x="3608" y="430"/>
                  </a:lnTo>
                  <a:lnTo>
                    <a:pt x="3608" y="429"/>
                  </a:lnTo>
                  <a:lnTo>
                    <a:pt x="3608" y="430"/>
                  </a:lnTo>
                  <a:lnTo>
                    <a:pt x="3608" y="431"/>
                  </a:lnTo>
                  <a:lnTo>
                    <a:pt x="3607" y="431"/>
                  </a:lnTo>
                  <a:lnTo>
                    <a:pt x="3608" y="431"/>
                  </a:lnTo>
                  <a:lnTo>
                    <a:pt x="3608" y="432"/>
                  </a:lnTo>
                  <a:lnTo>
                    <a:pt x="3609" y="433"/>
                  </a:lnTo>
                  <a:lnTo>
                    <a:pt x="3610" y="433"/>
                  </a:lnTo>
                  <a:lnTo>
                    <a:pt x="3610" y="434"/>
                  </a:lnTo>
                  <a:lnTo>
                    <a:pt x="3610" y="436"/>
                  </a:lnTo>
                  <a:lnTo>
                    <a:pt x="3611" y="436"/>
                  </a:lnTo>
                  <a:lnTo>
                    <a:pt x="3611" y="437"/>
                  </a:lnTo>
                  <a:lnTo>
                    <a:pt x="3612" y="437"/>
                  </a:lnTo>
                  <a:lnTo>
                    <a:pt x="3612" y="438"/>
                  </a:lnTo>
                  <a:lnTo>
                    <a:pt x="3613" y="438"/>
                  </a:lnTo>
                  <a:lnTo>
                    <a:pt x="3612" y="438"/>
                  </a:lnTo>
                  <a:lnTo>
                    <a:pt x="3612" y="439"/>
                  </a:lnTo>
                  <a:lnTo>
                    <a:pt x="3613" y="439"/>
                  </a:lnTo>
                  <a:lnTo>
                    <a:pt x="3613" y="440"/>
                  </a:lnTo>
                  <a:lnTo>
                    <a:pt x="3613" y="441"/>
                  </a:lnTo>
                  <a:lnTo>
                    <a:pt x="3615" y="441"/>
                  </a:lnTo>
                  <a:lnTo>
                    <a:pt x="3613" y="441"/>
                  </a:lnTo>
                  <a:lnTo>
                    <a:pt x="3613" y="443"/>
                  </a:lnTo>
                  <a:lnTo>
                    <a:pt x="3615" y="443"/>
                  </a:lnTo>
                  <a:lnTo>
                    <a:pt x="3615" y="444"/>
                  </a:lnTo>
                  <a:lnTo>
                    <a:pt x="3616" y="444"/>
                  </a:lnTo>
                  <a:lnTo>
                    <a:pt x="3616" y="445"/>
                  </a:lnTo>
                  <a:lnTo>
                    <a:pt x="3615" y="445"/>
                  </a:lnTo>
                  <a:lnTo>
                    <a:pt x="3616" y="445"/>
                  </a:lnTo>
                  <a:lnTo>
                    <a:pt x="3615" y="445"/>
                  </a:lnTo>
                  <a:lnTo>
                    <a:pt x="3615" y="446"/>
                  </a:lnTo>
                  <a:lnTo>
                    <a:pt x="3616" y="446"/>
                  </a:lnTo>
                  <a:lnTo>
                    <a:pt x="3616" y="445"/>
                  </a:lnTo>
                  <a:lnTo>
                    <a:pt x="3617" y="446"/>
                  </a:lnTo>
                  <a:lnTo>
                    <a:pt x="3617" y="447"/>
                  </a:lnTo>
                  <a:lnTo>
                    <a:pt x="3618" y="447"/>
                  </a:lnTo>
                  <a:lnTo>
                    <a:pt x="3617" y="447"/>
                  </a:lnTo>
                  <a:lnTo>
                    <a:pt x="3617" y="448"/>
                  </a:lnTo>
                  <a:lnTo>
                    <a:pt x="3617" y="450"/>
                  </a:lnTo>
                  <a:lnTo>
                    <a:pt x="3618" y="450"/>
                  </a:lnTo>
                  <a:lnTo>
                    <a:pt x="3618" y="451"/>
                  </a:lnTo>
                  <a:lnTo>
                    <a:pt x="3619" y="452"/>
                  </a:lnTo>
                  <a:lnTo>
                    <a:pt x="3619" y="453"/>
                  </a:lnTo>
                  <a:lnTo>
                    <a:pt x="3620" y="453"/>
                  </a:lnTo>
                  <a:lnTo>
                    <a:pt x="3620" y="454"/>
                  </a:lnTo>
                  <a:lnTo>
                    <a:pt x="3620" y="455"/>
                  </a:lnTo>
                  <a:lnTo>
                    <a:pt x="3620" y="457"/>
                  </a:lnTo>
                  <a:lnTo>
                    <a:pt x="3619" y="457"/>
                  </a:lnTo>
                  <a:lnTo>
                    <a:pt x="3618" y="458"/>
                  </a:lnTo>
                  <a:lnTo>
                    <a:pt x="3618" y="459"/>
                  </a:lnTo>
                  <a:lnTo>
                    <a:pt x="3618" y="460"/>
                  </a:lnTo>
                  <a:lnTo>
                    <a:pt x="3618" y="461"/>
                  </a:lnTo>
                  <a:lnTo>
                    <a:pt x="3618" y="462"/>
                  </a:lnTo>
                  <a:lnTo>
                    <a:pt x="3617" y="462"/>
                  </a:lnTo>
                  <a:lnTo>
                    <a:pt x="3617" y="465"/>
                  </a:lnTo>
                  <a:lnTo>
                    <a:pt x="3617" y="466"/>
                  </a:lnTo>
                  <a:lnTo>
                    <a:pt x="3617" y="467"/>
                  </a:lnTo>
                  <a:lnTo>
                    <a:pt x="3617" y="468"/>
                  </a:lnTo>
                  <a:lnTo>
                    <a:pt x="3618" y="468"/>
                  </a:lnTo>
                  <a:lnTo>
                    <a:pt x="3618" y="469"/>
                  </a:lnTo>
                  <a:lnTo>
                    <a:pt x="3618" y="471"/>
                  </a:lnTo>
                  <a:lnTo>
                    <a:pt x="3618" y="472"/>
                  </a:lnTo>
                  <a:lnTo>
                    <a:pt x="3617" y="475"/>
                  </a:lnTo>
                  <a:lnTo>
                    <a:pt x="3617" y="476"/>
                  </a:lnTo>
                  <a:lnTo>
                    <a:pt x="3617" y="478"/>
                  </a:lnTo>
                  <a:lnTo>
                    <a:pt x="3617" y="479"/>
                  </a:lnTo>
                  <a:lnTo>
                    <a:pt x="3617" y="480"/>
                  </a:lnTo>
                  <a:lnTo>
                    <a:pt x="3618" y="481"/>
                  </a:lnTo>
                  <a:lnTo>
                    <a:pt x="3618" y="482"/>
                  </a:lnTo>
                  <a:lnTo>
                    <a:pt x="3618" y="483"/>
                  </a:lnTo>
                  <a:lnTo>
                    <a:pt x="3619" y="483"/>
                  </a:lnTo>
                  <a:lnTo>
                    <a:pt x="3619" y="485"/>
                  </a:lnTo>
                  <a:lnTo>
                    <a:pt x="3618" y="485"/>
                  </a:lnTo>
                  <a:lnTo>
                    <a:pt x="3619" y="488"/>
                  </a:lnTo>
                  <a:lnTo>
                    <a:pt x="3619" y="489"/>
                  </a:lnTo>
                  <a:lnTo>
                    <a:pt x="3619" y="490"/>
                  </a:lnTo>
                  <a:lnTo>
                    <a:pt x="3619" y="492"/>
                  </a:lnTo>
                  <a:lnTo>
                    <a:pt x="3618" y="493"/>
                  </a:lnTo>
                  <a:lnTo>
                    <a:pt x="3618" y="494"/>
                  </a:lnTo>
                  <a:lnTo>
                    <a:pt x="3618" y="495"/>
                  </a:lnTo>
                  <a:lnTo>
                    <a:pt x="3618" y="497"/>
                  </a:lnTo>
                  <a:lnTo>
                    <a:pt x="3617" y="497"/>
                  </a:lnTo>
                  <a:lnTo>
                    <a:pt x="3617" y="499"/>
                  </a:lnTo>
                  <a:lnTo>
                    <a:pt x="3617" y="500"/>
                  </a:lnTo>
                  <a:lnTo>
                    <a:pt x="3617" y="501"/>
                  </a:lnTo>
                  <a:lnTo>
                    <a:pt x="3617" y="502"/>
                  </a:lnTo>
                  <a:lnTo>
                    <a:pt x="3616" y="502"/>
                  </a:lnTo>
                  <a:lnTo>
                    <a:pt x="3615" y="503"/>
                  </a:lnTo>
                  <a:lnTo>
                    <a:pt x="3615" y="504"/>
                  </a:lnTo>
                  <a:lnTo>
                    <a:pt x="3615" y="506"/>
                  </a:lnTo>
                  <a:lnTo>
                    <a:pt x="3615" y="507"/>
                  </a:lnTo>
                  <a:lnTo>
                    <a:pt x="3613" y="507"/>
                  </a:lnTo>
                  <a:lnTo>
                    <a:pt x="3613" y="508"/>
                  </a:lnTo>
                  <a:lnTo>
                    <a:pt x="3613" y="509"/>
                  </a:lnTo>
                  <a:lnTo>
                    <a:pt x="3613" y="510"/>
                  </a:lnTo>
                  <a:lnTo>
                    <a:pt x="3613" y="511"/>
                  </a:lnTo>
                  <a:lnTo>
                    <a:pt x="3612" y="511"/>
                  </a:lnTo>
                  <a:lnTo>
                    <a:pt x="3613" y="513"/>
                  </a:lnTo>
                  <a:lnTo>
                    <a:pt x="3612" y="513"/>
                  </a:lnTo>
                  <a:lnTo>
                    <a:pt x="3612" y="514"/>
                  </a:lnTo>
                  <a:lnTo>
                    <a:pt x="3613" y="514"/>
                  </a:lnTo>
                  <a:lnTo>
                    <a:pt x="3613" y="515"/>
                  </a:lnTo>
                  <a:lnTo>
                    <a:pt x="3613" y="516"/>
                  </a:lnTo>
                  <a:lnTo>
                    <a:pt x="3612" y="516"/>
                  </a:lnTo>
                  <a:lnTo>
                    <a:pt x="3611" y="516"/>
                  </a:lnTo>
                  <a:lnTo>
                    <a:pt x="3611" y="517"/>
                  </a:lnTo>
                  <a:lnTo>
                    <a:pt x="3610" y="517"/>
                  </a:lnTo>
                  <a:lnTo>
                    <a:pt x="3611" y="517"/>
                  </a:lnTo>
                  <a:lnTo>
                    <a:pt x="3611" y="518"/>
                  </a:lnTo>
                  <a:lnTo>
                    <a:pt x="3611" y="520"/>
                  </a:lnTo>
                  <a:lnTo>
                    <a:pt x="3610" y="520"/>
                  </a:lnTo>
                  <a:lnTo>
                    <a:pt x="3611" y="520"/>
                  </a:lnTo>
                  <a:lnTo>
                    <a:pt x="3610" y="521"/>
                  </a:lnTo>
                  <a:lnTo>
                    <a:pt x="3611" y="521"/>
                  </a:lnTo>
                  <a:lnTo>
                    <a:pt x="3611" y="522"/>
                  </a:lnTo>
                  <a:lnTo>
                    <a:pt x="3611" y="523"/>
                  </a:lnTo>
                  <a:lnTo>
                    <a:pt x="3610" y="523"/>
                  </a:lnTo>
                  <a:lnTo>
                    <a:pt x="3611" y="524"/>
                  </a:lnTo>
                  <a:lnTo>
                    <a:pt x="3610" y="524"/>
                  </a:lnTo>
                  <a:lnTo>
                    <a:pt x="3611" y="525"/>
                  </a:lnTo>
                  <a:lnTo>
                    <a:pt x="3611" y="527"/>
                  </a:lnTo>
                  <a:lnTo>
                    <a:pt x="3611" y="528"/>
                  </a:lnTo>
                  <a:lnTo>
                    <a:pt x="3610" y="528"/>
                  </a:lnTo>
                  <a:lnTo>
                    <a:pt x="3609" y="528"/>
                  </a:lnTo>
                  <a:lnTo>
                    <a:pt x="3610" y="528"/>
                  </a:lnTo>
                  <a:lnTo>
                    <a:pt x="3610" y="529"/>
                  </a:lnTo>
                  <a:lnTo>
                    <a:pt x="3610" y="530"/>
                  </a:lnTo>
                  <a:lnTo>
                    <a:pt x="3610" y="531"/>
                  </a:lnTo>
                  <a:lnTo>
                    <a:pt x="3609" y="531"/>
                  </a:lnTo>
                  <a:lnTo>
                    <a:pt x="3609" y="532"/>
                  </a:lnTo>
                  <a:lnTo>
                    <a:pt x="3608" y="532"/>
                  </a:lnTo>
                  <a:lnTo>
                    <a:pt x="3608" y="534"/>
                  </a:lnTo>
                  <a:lnTo>
                    <a:pt x="3607" y="534"/>
                  </a:lnTo>
                  <a:lnTo>
                    <a:pt x="3607" y="535"/>
                  </a:lnTo>
                  <a:lnTo>
                    <a:pt x="3605" y="535"/>
                  </a:lnTo>
                  <a:lnTo>
                    <a:pt x="3605" y="536"/>
                  </a:lnTo>
                  <a:lnTo>
                    <a:pt x="3604" y="537"/>
                  </a:lnTo>
                  <a:lnTo>
                    <a:pt x="3603" y="537"/>
                  </a:lnTo>
                  <a:lnTo>
                    <a:pt x="3603" y="538"/>
                  </a:lnTo>
                  <a:lnTo>
                    <a:pt x="3602" y="538"/>
                  </a:lnTo>
                  <a:lnTo>
                    <a:pt x="3602" y="539"/>
                  </a:lnTo>
                  <a:lnTo>
                    <a:pt x="3601" y="541"/>
                  </a:lnTo>
                  <a:lnTo>
                    <a:pt x="3600" y="541"/>
                  </a:lnTo>
                  <a:lnTo>
                    <a:pt x="3600" y="542"/>
                  </a:lnTo>
                  <a:lnTo>
                    <a:pt x="3598" y="542"/>
                  </a:lnTo>
                  <a:lnTo>
                    <a:pt x="3597" y="542"/>
                  </a:lnTo>
                  <a:lnTo>
                    <a:pt x="3596" y="542"/>
                  </a:lnTo>
                  <a:lnTo>
                    <a:pt x="3596" y="543"/>
                  </a:lnTo>
                  <a:lnTo>
                    <a:pt x="3595" y="543"/>
                  </a:lnTo>
                  <a:lnTo>
                    <a:pt x="3594" y="543"/>
                  </a:lnTo>
                  <a:lnTo>
                    <a:pt x="3594" y="544"/>
                  </a:lnTo>
                  <a:lnTo>
                    <a:pt x="3593" y="544"/>
                  </a:lnTo>
                  <a:lnTo>
                    <a:pt x="3591" y="544"/>
                  </a:lnTo>
                  <a:lnTo>
                    <a:pt x="3591" y="543"/>
                  </a:lnTo>
                  <a:lnTo>
                    <a:pt x="3591" y="542"/>
                  </a:lnTo>
                  <a:lnTo>
                    <a:pt x="3590" y="542"/>
                  </a:lnTo>
                  <a:lnTo>
                    <a:pt x="3589" y="542"/>
                  </a:lnTo>
                  <a:lnTo>
                    <a:pt x="3589" y="543"/>
                  </a:lnTo>
                  <a:lnTo>
                    <a:pt x="3588" y="543"/>
                  </a:lnTo>
                  <a:lnTo>
                    <a:pt x="3588" y="542"/>
                  </a:lnTo>
                  <a:lnTo>
                    <a:pt x="3587" y="542"/>
                  </a:lnTo>
                  <a:lnTo>
                    <a:pt x="3587" y="541"/>
                  </a:lnTo>
                  <a:lnTo>
                    <a:pt x="3586" y="541"/>
                  </a:lnTo>
                  <a:lnTo>
                    <a:pt x="3584" y="541"/>
                  </a:lnTo>
                  <a:lnTo>
                    <a:pt x="3584" y="542"/>
                  </a:lnTo>
                  <a:lnTo>
                    <a:pt x="3584" y="541"/>
                  </a:lnTo>
                  <a:lnTo>
                    <a:pt x="3583" y="541"/>
                  </a:lnTo>
                  <a:lnTo>
                    <a:pt x="3582" y="541"/>
                  </a:lnTo>
                  <a:lnTo>
                    <a:pt x="3582" y="539"/>
                  </a:lnTo>
                  <a:lnTo>
                    <a:pt x="3581" y="539"/>
                  </a:lnTo>
                  <a:lnTo>
                    <a:pt x="3581" y="541"/>
                  </a:lnTo>
                  <a:lnTo>
                    <a:pt x="3582" y="541"/>
                  </a:lnTo>
                  <a:lnTo>
                    <a:pt x="3581" y="541"/>
                  </a:lnTo>
                  <a:lnTo>
                    <a:pt x="3581" y="542"/>
                  </a:lnTo>
                  <a:lnTo>
                    <a:pt x="3581" y="541"/>
                  </a:lnTo>
                  <a:lnTo>
                    <a:pt x="3580" y="541"/>
                  </a:lnTo>
                  <a:lnTo>
                    <a:pt x="3580" y="539"/>
                  </a:lnTo>
                  <a:lnTo>
                    <a:pt x="3580" y="538"/>
                  </a:lnTo>
                  <a:lnTo>
                    <a:pt x="3579" y="538"/>
                  </a:lnTo>
                  <a:lnTo>
                    <a:pt x="3579" y="537"/>
                  </a:lnTo>
                  <a:lnTo>
                    <a:pt x="3579" y="536"/>
                  </a:lnTo>
                  <a:lnTo>
                    <a:pt x="3577" y="535"/>
                  </a:lnTo>
                  <a:lnTo>
                    <a:pt x="3576" y="534"/>
                  </a:lnTo>
                  <a:lnTo>
                    <a:pt x="3576" y="535"/>
                  </a:lnTo>
                  <a:lnTo>
                    <a:pt x="3575" y="536"/>
                  </a:lnTo>
                  <a:lnTo>
                    <a:pt x="3575" y="537"/>
                  </a:lnTo>
                  <a:lnTo>
                    <a:pt x="3574" y="538"/>
                  </a:lnTo>
                  <a:lnTo>
                    <a:pt x="3574" y="537"/>
                  </a:lnTo>
                  <a:lnTo>
                    <a:pt x="3573" y="537"/>
                  </a:lnTo>
                  <a:lnTo>
                    <a:pt x="3573" y="536"/>
                  </a:lnTo>
                  <a:lnTo>
                    <a:pt x="3573" y="535"/>
                  </a:lnTo>
                  <a:lnTo>
                    <a:pt x="3574" y="535"/>
                  </a:lnTo>
                  <a:lnTo>
                    <a:pt x="3573" y="535"/>
                  </a:lnTo>
                  <a:lnTo>
                    <a:pt x="3574" y="535"/>
                  </a:lnTo>
                  <a:lnTo>
                    <a:pt x="3573" y="534"/>
                  </a:lnTo>
                  <a:lnTo>
                    <a:pt x="3573" y="535"/>
                  </a:lnTo>
                  <a:lnTo>
                    <a:pt x="3573" y="534"/>
                  </a:lnTo>
                  <a:lnTo>
                    <a:pt x="3572" y="534"/>
                  </a:lnTo>
                  <a:lnTo>
                    <a:pt x="3570" y="534"/>
                  </a:lnTo>
                  <a:lnTo>
                    <a:pt x="3570" y="535"/>
                  </a:lnTo>
                  <a:lnTo>
                    <a:pt x="3570" y="536"/>
                  </a:lnTo>
                  <a:lnTo>
                    <a:pt x="3569" y="536"/>
                  </a:lnTo>
                  <a:lnTo>
                    <a:pt x="3570" y="536"/>
                  </a:lnTo>
                  <a:lnTo>
                    <a:pt x="3570" y="537"/>
                  </a:lnTo>
                  <a:lnTo>
                    <a:pt x="3570" y="538"/>
                  </a:lnTo>
                  <a:lnTo>
                    <a:pt x="3569" y="538"/>
                  </a:lnTo>
                  <a:lnTo>
                    <a:pt x="3570" y="538"/>
                  </a:lnTo>
                  <a:lnTo>
                    <a:pt x="3570" y="539"/>
                  </a:lnTo>
                  <a:lnTo>
                    <a:pt x="3569" y="539"/>
                  </a:lnTo>
                  <a:lnTo>
                    <a:pt x="3569" y="538"/>
                  </a:lnTo>
                  <a:lnTo>
                    <a:pt x="3569" y="539"/>
                  </a:lnTo>
                  <a:lnTo>
                    <a:pt x="3568" y="539"/>
                  </a:lnTo>
                  <a:lnTo>
                    <a:pt x="3569" y="541"/>
                  </a:lnTo>
                  <a:lnTo>
                    <a:pt x="3570" y="541"/>
                  </a:lnTo>
                  <a:lnTo>
                    <a:pt x="3569" y="542"/>
                  </a:lnTo>
                  <a:lnTo>
                    <a:pt x="3569" y="543"/>
                  </a:lnTo>
                  <a:lnTo>
                    <a:pt x="3569" y="542"/>
                  </a:lnTo>
                  <a:lnTo>
                    <a:pt x="3568" y="543"/>
                  </a:lnTo>
                  <a:lnTo>
                    <a:pt x="3569" y="543"/>
                  </a:lnTo>
                  <a:lnTo>
                    <a:pt x="3569" y="544"/>
                  </a:lnTo>
                  <a:lnTo>
                    <a:pt x="3569" y="545"/>
                  </a:lnTo>
                  <a:lnTo>
                    <a:pt x="3570" y="545"/>
                  </a:lnTo>
                  <a:lnTo>
                    <a:pt x="3569" y="545"/>
                  </a:lnTo>
                  <a:lnTo>
                    <a:pt x="3570" y="545"/>
                  </a:lnTo>
                  <a:lnTo>
                    <a:pt x="3570" y="546"/>
                  </a:lnTo>
                  <a:lnTo>
                    <a:pt x="3569" y="545"/>
                  </a:lnTo>
                  <a:lnTo>
                    <a:pt x="3568" y="545"/>
                  </a:lnTo>
                  <a:lnTo>
                    <a:pt x="3568" y="544"/>
                  </a:lnTo>
                  <a:lnTo>
                    <a:pt x="3567" y="544"/>
                  </a:lnTo>
                  <a:lnTo>
                    <a:pt x="3566" y="544"/>
                  </a:lnTo>
                  <a:lnTo>
                    <a:pt x="3566" y="545"/>
                  </a:lnTo>
                  <a:lnTo>
                    <a:pt x="3565" y="545"/>
                  </a:lnTo>
                  <a:lnTo>
                    <a:pt x="3565" y="544"/>
                  </a:lnTo>
                  <a:lnTo>
                    <a:pt x="3566" y="545"/>
                  </a:lnTo>
                  <a:lnTo>
                    <a:pt x="3566" y="544"/>
                  </a:lnTo>
                  <a:lnTo>
                    <a:pt x="3565" y="544"/>
                  </a:lnTo>
                  <a:lnTo>
                    <a:pt x="3563" y="544"/>
                  </a:lnTo>
                  <a:lnTo>
                    <a:pt x="3562" y="544"/>
                  </a:lnTo>
                  <a:lnTo>
                    <a:pt x="3563" y="545"/>
                  </a:lnTo>
                  <a:lnTo>
                    <a:pt x="3565" y="545"/>
                  </a:lnTo>
                  <a:lnTo>
                    <a:pt x="3566" y="546"/>
                  </a:lnTo>
                  <a:lnTo>
                    <a:pt x="3566" y="548"/>
                  </a:lnTo>
                  <a:lnTo>
                    <a:pt x="3566" y="549"/>
                  </a:lnTo>
                  <a:lnTo>
                    <a:pt x="3566" y="550"/>
                  </a:lnTo>
                  <a:lnTo>
                    <a:pt x="3565" y="550"/>
                  </a:lnTo>
                  <a:lnTo>
                    <a:pt x="3565" y="549"/>
                  </a:lnTo>
                  <a:lnTo>
                    <a:pt x="3563" y="548"/>
                  </a:lnTo>
                  <a:lnTo>
                    <a:pt x="3562" y="548"/>
                  </a:lnTo>
                  <a:lnTo>
                    <a:pt x="3562" y="546"/>
                  </a:lnTo>
                  <a:lnTo>
                    <a:pt x="3561" y="546"/>
                  </a:lnTo>
                  <a:lnTo>
                    <a:pt x="3562" y="546"/>
                  </a:lnTo>
                  <a:lnTo>
                    <a:pt x="3562" y="545"/>
                  </a:lnTo>
                  <a:lnTo>
                    <a:pt x="3561" y="545"/>
                  </a:lnTo>
                  <a:lnTo>
                    <a:pt x="3561" y="544"/>
                  </a:lnTo>
                  <a:lnTo>
                    <a:pt x="3560" y="544"/>
                  </a:lnTo>
                  <a:lnTo>
                    <a:pt x="3559" y="544"/>
                  </a:lnTo>
                  <a:lnTo>
                    <a:pt x="3558" y="544"/>
                  </a:lnTo>
                  <a:lnTo>
                    <a:pt x="3558" y="543"/>
                  </a:lnTo>
                  <a:lnTo>
                    <a:pt x="3559" y="542"/>
                  </a:lnTo>
                  <a:lnTo>
                    <a:pt x="3560" y="542"/>
                  </a:lnTo>
                  <a:lnTo>
                    <a:pt x="3561" y="542"/>
                  </a:lnTo>
                  <a:lnTo>
                    <a:pt x="3561" y="541"/>
                  </a:lnTo>
                  <a:lnTo>
                    <a:pt x="3562" y="541"/>
                  </a:lnTo>
                  <a:lnTo>
                    <a:pt x="3562" y="542"/>
                  </a:lnTo>
                  <a:lnTo>
                    <a:pt x="3565" y="542"/>
                  </a:lnTo>
                  <a:lnTo>
                    <a:pt x="3565" y="541"/>
                  </a:lnTo>
                  <a:lnTo>
                    <a:pt x="3565" y="539"/>
                  </a:lnTo>
                  <a:lnTo>
                    <a:pt x="3563" y="539"/>
                  </a:lnTo>
                  <a:lnTo>
                    <a:pt x="3563" y="538"/>
                  </a:lnTo>
                  <a:lnTo>
                    <a:pt x="3563" y="537"/>
                  </a:lnTo>
                  <a:lnTo>
                    <a:pt x="3565" y="537"/>
                  </a:lnTo>
                  <a:lnTo>
                    <a:pt x="3563" y="536"/>
                  </a:lnTo>
                  <a:lnTo>
                    <a:pt x="3563" y="535"/>
                  </a:lnTo>
                  <a:lnTo>
                    <a:pt x="3563" y="534"/>
                  </a:lnTo>
                  <a:lnTo>
                    <a:pt x="3563" y="532"/>
                  </a:lnTo>
                  <a:lnTo>
                    <a:pt x="3562" y="532"/>
                  </a:lnTo>
                  <a:lnTo>
                    <a:pt x="3562" y="531"/>
                  </a:lnTo>
                  <a:lnTo>
                    <a:pt x="3560" y="531"/>
                  </a:lnTo>
                  <a:lnTo>
                    <a:pt x="3560" y="530"/>
                  </a:lnTo>
                  <a:lnTo>
                    <a:pt x="3560" y="529"/>
                  </a:lnTo>
                  <a:lnTo>
                    <a:pt x="3559" y="529"/>
                  </a:lnTo>
                  <a:lnTo>
                    <a:pt x="3559" y="528"/>
                  </a:lnTo>
                  <a:lnTo>
                    <a:pt x="3558" y="527"/>
                  </a:lnTo>
                  <a:lnTo>
                    <a:pt x="3558" y="525"/>
                  </a:lnTo>
                  <a:lnTo>
                    <a:pt x="3558" y="524"/>
                  </a:lnTo>
                  <a:lnTo>
                    <a:pt x="3556" y="524"/>
                  </a:lnTo>
                  <a:lnTo>
                    <a:pt x="3556" y="523"/>
                  </a:lnTo>
                  <a:lnTo>
                    <a:pt x="3556" y="522"/>
                  </a:lnTo>
                  <a:lnTo>
                    <a:pt x="3552" y="517"/>
                  </a:lnTo>
                  <a:lnTo>
                    <a:pt x="3547" y="513"/>
                  </a:lnTo>
                  <a:lnTo>
                    <a:pt x="3546" y="511"/>
                  </a:lnTo>
                  <a:lnTo>
                    <a:pt x="3545" y="511"/>
                  </a:lnTo>
                  <a:lnTo>
                    <a:pt x="3545" y="510"/>
                  </a:lnTo>
                  <a:lnTo>
                    <a:pt x="3545" y="509"/>
                  </a:lnTo>
                  <a:lnTo>
                    <a:pt x="3546" y="509"/>
                  </a:lnTo>
                  <a:lnTo>
                    <a:pt x="3547" y="509"/>
                  </a:lnTo>
                  <a:lnTo>
                    <a:pt x="3547" y="508"/>
                  </a:lnTo>
                  <a:lnTo>
                    <a:pt x="3548" y="508"/>
                  </a:lnTo>
                  <a:lnTo>
                    <a:pt x="3549" y="508"/>
                  </a:lnTo>
                  <a:lnTo>
                    <a:pt x="3551" y="507"/>
                  </a:lnTo>
                  <a:lnTo>
                    <a:pt x="3551" y="506"/>
                  </a:lnTo>
                  <a:lnTo>
                    <a:pt x="3549" y="506"/>
                  </a:lnTo>
                  <a:lnTo>
                    <a:pt x="3549" y="504"/>
                  </a:lnTo>
                  <a:lnTo>
                    <a:pt x="3551" y="504"/>
                  </a:lnTo>
                  <a:lnTo>
                    <a:pt x="3551" y="503"/>
                  </a:lnTo>
                  <a:lnTo>
                    <a:pt x="3551" y="502"/>
                  </a:lnTo>
                  <a:lnTo>
                    <a:pt x="3552" y="503"/>
                  </a:lnTo>
                  <a:lnTo>
                    <a:pt x="3553" y="503"/>
                  </a:lnTo>
                  <a:lnTo>
                    <a:pt x="3553" y="504"/>
                  </a:lnTo>
                  <a:lnTo>
                    <a:pt x="3554" y="504"/>
                  </a:lnTo>
                  <a:lnTo>
                    <a:pt x="3554" y="506"/>
                  </a:lnTo>
                  <a:lnTo>
                    <a:pt x="3555" y="506"/>
                  </a:lnTo>
                  <a:lnTo>
                    <a:pt x="3555" y="507"/>
                  </a:lnTo>
                  <a:lnTo>
                    <a:pt x="3556" y="507"/>
                  </a:lnTo>
                  <a:lnTo>
                    <a:pt x="3558" y="508"/>
                  </a:lnTo>
                  <a:lnTo>
                    <a:pt x="3559" y="509"/>
                  </a:lnTo>
                  <a:lnTo>
                    <a:pt x="3559" y="510"/>
                  </a:lnTo>
                  <a:lnTo>
                    <a:pt x="3559" y="511"/>
                  </a:lnTo>
                  <a:lnTo>
                    <a:pt x="3560" y="511"/>
                  </a:lnTo>
                  <a:lnTo>
                    <a:pt x="3560" y="513"/>
                  </a:lnTo>
                  <a:lnTo>
                    <a:pt x="3562" y="513"/>
                  </a:lnTo>
                  <a:lnTo>
                    <a:pt x="3563" y="514"/>
                  </a:lnTo>
                  <a:lnTo>
                    <a:pt x="3562" y="514"/>
                  </a:lnTo>
                  <a:lnTo>
                    <a:pt x="3563" y="514"/>
                  </a:lnTo>
                  <a:lnTo>
                    <a:pt x="3563" y="515"/>
                  </a:lnTo>
                  <a:lnTo>
                    <a:pt x="3565" y="515"/>
                  </a:lnTo>
                  <a:lnTo>
                    <a:pt x="3566" y="515"/>
                  </a:lnTo>
                  <a:lnTo>
                    <a:pt x="3566" y="514"/>
                  </a:lnTo>
                  <a:lnTo>
                    <a:pt x="3567" y="513"/>
                  </a:lnTo>
                  <a:lnTo>
                    <a:pt x="3567" y="511"/>
                  </a:lnTo>
                  <a:lnTo>
                    <a:pt x="3566" y="511"/>
                  </a:lnTo>
                  <a:lnTo>
                    <a:pt x="3566" y="510"/>
                  </a:lnTo>
                  <a:lnTo>
                    <a:pt x="3566" y="509"/>
                  </a:lnTo>
                  <a:lnTo>
                    <a:pt x="3566" y="507"/>
                  </a:lnTo>
                  <a:lnTo>
                    <a:pt x="3567" y="507"/>
                  </a:lnTo>
                  <a:lnTo>
                    <a:pt x="3568" y="507"/>
                  </a:lnTo>
                  <a:lnTo>
                    <a:pt x="3568" y="506"/>
                  </a:lnTo>
                  <a:lnTo>
                    <a:pt x="3569" y="506"/>
                  </a:lnTo>
                  <a:lnTo>
                    <a:pt x="3568" y="506"/>
                  </a:lnTo>
                  <a:lnTo>
                    <a:pt x="3568" y="504"/>
                  </a:lnTo>
                  <a:lnTo>
                    <a:pt x="3567" y="504"/>
                  </a:lnTo>
                  <a:lnTo>
                    <a:pt x="3567" y="503"/>
                  </a:lnTo>
                  <a:lnTo>
                    <a:pt x="3566" y="502"/>
                  </a:lnTo>
                  <a:lnTo>
                    <a:pt x="3566" y="501"/>
                  </a:lnTo>
                  <a:lnTo>
                    <a:pt x="3566" y="500"/>
                  </a:lnTo>
                  <a:lnTo>
                    <a:pt x="3567" y="500"/>
                  </a:lnTo>
                  <a:lnTo>
                    <a:pt x="3567" y="499"/>
                  </a:lnTo>
                  <a:lnTo>
                    <a:pt x="3568" y="499"/>
                  </a:lnTo>
                  <a:lnTo>
                    <a:pt x="3568" y="497"/>
                  </a:lnTo>
                  <a:lnTo>
                    <a:pt x="3567" y="497"/>
                  </a:lnTo>
                  <a:lnTo>
                    <a:pt x="3567" y="496"/>
                  </a:lnTo>
                  <a:lnTo>
                    <a:pt x="3567" y="495"/>
                  </a:lnTo>
                  <a:lnTo>
                    <a:pt x="3566" y="495"/>
                  </a:lnTo>
                  <a:lnTo>
                    <a:pt x="3566" y="494"/>
                  </a:lnTo>
                  <a:lnTo>
                    <a:pt x="3567" y="494"/>
                  </a:lnTo>
                  <a:lnTo>
                    <a:pt x="3567" y="493"/>
                  </a:lnTo>
                  <a:lnTo>
                    <a:pt x="3567" y="492"/>
                  </a:lnTo>
                  <a:lnTo>
                    <a:pt x="3567" y="490"/>
                  </a:lnTo>
                  <a:lnTo>
                    <a:pt x="3566" y="490"/>
                  </a:lnTo>
                  <a:lnTo>
                    <a:pt x="3566" y="489"/>
                  </a:lnTo>
                  <a:lnTo>
                    <a:pt x="3567" y="489"/>
                  </a:lnTo>
                  <a:lnTo>
                    <a:pt x="3567" y="488"/>
                  </a:lnTo>
                  <a:lnTo>
                    <a:pt x="3567" y="487"/>
                  </a:lnTo>
                  <a:lnTo>
                    <a:pt x="3566" y="487"/>
                  </a:lnTo>
                  <a:lnTo>
                    <a:pt x="3566" y="486"/>
                  </a:lnTo>
                  <a:lnTo>
                    <a:pt x="3565" y="486"/>
                  </a:lnTo>
                  <a:lnTo>
                    <a:pt x="3565" y="485"/>
                  </a:lnTo>
                  <a:lnTo>
                    <a:pt x="3565" y="483"/>
                  </a:lnTo>
                  <a:lnTo>
                    <a:pt x="3563" y="483"/>
                  </a:lnTo>
                  <a:lnTo>
                    <a:pt x="3565" y="482"/>
                  </a:lnTo>
                  <a:lnTo>
                    <a:pt x="3563" y="481"/>
                  </a:lnTo>
                  <a:lnTo>
                    <a:pt x="3563" y="480"/>
                  </a:lnTo>
                  <a:lnTo>
                    <a:pt x="3562" y="480"/>
                  </a:lnTo>
                  <a:lnTo>
                    <a:pt x="3562" y="479"/>
                  </a:lnTo>
                  <a:lnTo>
                    <a:pt x="3562" y="478"/>
                  </a:lnTo>
                  <a:lnTo>
                    <a:pt x="3561" y="478"/>
                  </a:lnTo>
                  <a:lnTo>
                    <a:pt x="3561" y="476"/>
                  </a:lnTo>
                  <a:lnTo>
                    <a:pt x="3561" y="475"/>
                  </a:lnTo>
                  <a:lnTo>
                    <a:pt x="3562" y="475"/>
                  </a:lnTo>
                  <a:lnTo>
                    <a:pt x="3562" y="474"/>
                  </a:lnTo>
                  <a:lnTo>
                    <a:pt x="3561" y="474"/>
                  </a:lnTo>
                  <a:lnTo>
                    <a:pt x="3561" y="473"/>
                  </a:lnTo>
                  <a:lnTo>
                    <a:pt x="3560" y="473"/>
                  </a:lnTo>
                  <a:lnTo>
                    <a:pt x="3560" y="472"/>
                  </a:lnTo>
                  <a:lnTo>
                    <a:pt x="3559" y="472"/>
                  </a:lnTo>
                  <a:lnTo>
                    <a:pt x="3560" y="472"/>
                  </a:lnTo>
                  <a:lnTo>
                    <a:pt x="3560" y="471"/>
                  </a:lnTo>
                  <a:lnTo>
                    <a:pt x="3561" y="469"/>
                  </a:lnTo>
                  <a:lnTo>
                    <a:pt x="3561" y="471"/>
                  </a:lnTo>
                  <a:lnTo>
                    <a:pt x="3562" y="471"/>
                  </a:lnTo>
                  <a:lnTo>
                    <a:pt x="3562" y="469"/>
                  </a:lnTo>
                  <a:lnTo>
                    <a:pt x="3562" y="468"/>
                  </a:lnTo>
                  <a:lnTo>
                    <a:pt x="3562" y="467"/>
                  </a:lnTo>
                  <a:lnTo>
                    <a:pt x="3562" y="466"/>
                  </a:lnTo>
                  <a:lnTo>
                    <a:pt x="3562" y="465"/>
                  </a:lnTo>
                  <a:lnTo>
                    <a:pt x="3561" y="465"/>
                  </a:lnTo>
                  <a:lnTo>
                    <a:pt x="3560" y="464"/>
                  </a:lnTo>
                  <a:lnTo>
                    <a:pt x="3559" y="462"/>
                  </a:lnTo>
                  <a:lnTo>
                    <a:pt x="3558" y="462"/>
                  </a:lnTo>
                  <a:lnTo>
                    <a:pt x="3556" y="461"/>
                  </a:lnTo>
                  <a:lnTo>
                    <a:pt x="3556" y="460"/>
                  </a:lnTo>
                  <a:lnTo>
                    <a:pt x="3556" y="459"/>
                  </a:lnTo>
                  <a:lnTo>
                    <a:pt x="3556" y="458"/>
                  </a:lnTo>
                  <a:lnTo>
                    <a:pt x="3555" y="458"/>
                  </a:lnTo>
                  <a:lnTo>
                    <a:pt x="3556" y="457"/>
                  </a:lnTo>
                  <a:lnTo>
                    <a:pt x="3555" y="457"/>
                  </a:lnTo>
                  <a:lnTo>
                    <a:pt x="3554" y="457"/>
                  </a:lnTo>
                  <a:lnTo>
                    <a:pt x="3553" y="457"/>
                  </a:lnTo>
                  <a:lnTo>
                    <a:pt x="3553" y="455"/>
                  </a:lnTo>
                  <a:lnTo>
                    <a:pt x="3552" y="455"/>
                  </a:lnTo>
                  <a:lnTo>
                    <a:pt x="3551" y="455"/>
                  </a:lnTo>
                  <a:lnTo>
                    <a:pt x="3548" y="455"/>
                  </a:lnTo>
                  <a:lnTo>
                    <a:pt x="3548" y="457"/>
                  </a:lnTo>
                  <a:lnTo>
                    <a:pt x="3547" y="457"/>
                  </a:lnTo>
                  <a:lnTo>
                    <a:pt x="3546" y="457"/>
                  </a:lnTo>
                  <a:lnTo>
                    <a:pt x="3545" y="457"/>
                  </a:lnTo>
                  <a:lnTo>
                    <a:pt x="3545" y="458"/>
                  </a:lnTo>
                  <a:lnTo>
                    <a:pt x="3544" y="458"/>
                  </a:lnTo>
                  <a:lnTo>
                    <a:pt x="3544" y="459"/>
                  </a:lnTo>
                  <a:lnTo>
                    <a:pt x="3544" y="460"/>
                  </a:lnTo>
                  <a:lnTo>
                    <a:pt x="3543" y="460"/>
                  </a:lnTo>
                  <a:lnTo>
                    <a:pt x="3541" y="460"/>
                  </a:lnTo>
                  <a:lnTo>
                    <a:pt x="3540" y="460"/>
                  </a:lnTo>
                  <a:lnTo>
                    <a:pt x="3540" y="459"/>
                  </a:lnTo>
                  <a:lnTo>
                    <a:pt x="3539" y="459"/>
                  </a:lnTo>
                  <a:lnTo>
                    <a:pt x="3538" y="460"/>
                  </a:lnTo>
                  <a:lnTo>
                    <a:pt x="3537" y="461"/>
                  </a:lnTo>
                  <a:lnTo>
                    <a:pt x="3537" y="462"/>
                  </a:lnTo>
                  <a:lnTo>
                    <a:pt x="3536" y="462"/>
                  </a:lnTo>
                  <a:lnTo>
                    <a:pt x="3534" y="462"/>
                  </a:lnTo>
                  <a:lnTo>
                    <a:pt x="3534" y="461"/>
                  </a:lnTo>
                  <a:lnTo>
                    <a:pt x="3534" y="462"/>
                  </a:lnTo>
                  <a:lnTo>
                    <a:pt x="3534" y="464"/>
                  </a:lnTo>
                  <a:lnTo>
                    <a:pt x="3534" y="465"/>
                  </a:lnTo>
                  <a:lnTo>
                    <a:pt x="3536" y="465"/>
                  </a:lnTo>
                  <a:lnTo>
                    <a:pt x="3536" y="466"/>
                  </a:lnTo>
                  <a:lnTo>
                    <a:pt x="3534" y="466"/>
                  </a:lnTo>
                  <a:lnTo>
                    <a:pt x="3533" y="466"/>
                  </a:lnTo>
                  <a:lnTo>
                    <a:pt x="3533" y="465"/>
                  </a:lnTo>
                  <a:lnTo>
                    <a:pt x="3532" y="465"/>
                  </a:lnTo>
                  <a:lnTo>
                    <a:pt x="3532" y="466"/>
                  </a:lnTo>
                  <a:lnTo>
                    <a:pt x="3531" y="466"/>
                  </a:lnTo>
                  <a:lnTo>
                    <a:pt x="3530" y="466"/>
                  </a:lnTo>
                  <a:lnTo>
                    <a:pt x="3529" y="466"/>
                  </a:lnTo>
                  <a:lnTo>
                    <a:pt x="3527" y="466"/>
                  </a:lnTo>
                  <a:lnTo>
                    <a:pt x="3526" y="466"/>
                  </a:lnTo>
                  <a:lnTo>
                    <a:pt x="3525" y="466"/>
                  </a:lnTo>
                  <a:lnTo>
                    <a:pt x="3524" y="466"/>
                  </a:lnTo>
                  <a:lnTo>
                    <a:pt x="3523" y="466"/>
                  </a:lnTo>
                  <a:lnTo>
                    <a:pt x="3522" y="465"/>
                  </a:lnTo>
                  <a:lnTo>
                    <a:pt x="3520" y="465"/>
                  </a:lnTo>
                  <a:lnTo>
                    <a:pt x="3519" y="466"/>
                  </a:lnTo>
                  <a:lnTo>
                    <a:pt x="3518" y="466"/>
                  </a:lnTo>
                  <a:lnTo>
                    <a:pt x="3517" y="466"/>
                  </a:lnTo>
                  <a:lnTo>
                    <a:pt x="3516" y="466"/>
                  </a:lnTo>
                  <a:lnTo>
                    <a:pt x="3515" y="465"/>
                  </a:lnTo>
                  <a:lnTo>
                    <a:pt x="3515" y="464"/>
                  </a:lnTo>
                  <a:lnTo>
                    <a:pt x="3513" y="462"/>
                  </a:lnTo>
                  <a:lnTo>
                    <a:pt x="3512" y="462"/>
                  </a:lnTo>
                  <a:lnTo>
                    <a:pt x="3509" y="460"/>
                  </a:lnTo>
                  <a:lnTo>
                    <a:pt x="3508" y="460"/>
                  </a:lnTo>
                  <a:lnTo>
                    <a:pt x="3508" y="459"/>
                  </a:lnTo>
                  <a:lnTo>
                    <a:pt x="3508" y="458"/>
                  </a:lnTo>
                  <a:lnTo>
                    <a:pt x="3508" y="457"/>
                  </a:lnTo>
                  <a:lnTo>
                    <a:pt x="3508" y="455"/>
                  </a:lnTo>
                  <a:lnTo>
                    <a:pt x="3506" y="455"/>
                  </a:lnTo>
                  <a:lnTo>
                    <a:pt x="3505" y="455"/>
                  </a:lnTo>
                  <a:lnTo>
                    <a:pt x="3505" y="454"/>
                  </a:lnTo>
                  <a:lnTo>
                    <a:pt x="3505" y="453"/>
                  </a:lnTo>
                  <a:lnTo>
                    <a:pt x="3504" y="453"/>
                  </a:lnTo>
                  <a:lnTo>
                    <a:pt x="3504" y="454"/>
                  </a:lnTo>
                  <a:lnTo>
                    <a:pt x="3503" y="454"/>
                  </a:lnTo>
                  <a:lnTo>
                    <a:pt x="3503" y="453"/>
                  </a:lnTo>
                  <a:lnTo>
                    <a:pt x="3502" y="452"/>
                  </a:lnTo>
                  <a:lnTo>
                    <a:pt x="3501" y="452"/>
                  </a:lnTo>
                  <a:lnTo>
                    <a:pt x="3501" y="448"/>
                  </a:lnTo>
                  <a:lnTo>
                    <a:pt x="3499" y="447"/>
                  </a:lnTo>
                  <a:lnTo>
                    <a:pt x="3498" y="448"/>
                  </a:lnTo>
                  <a:lnTo>
                    <a:pt x="3497" y="447"/>
                  </a:lnTo>
                  <a:lnTo>
                    <a:pt x="3496" y="447"/>
                  </a:lnTo>
                  <a:lnTo>
                    <a:pt x="3495" y="447"/>
                  </a:lnTo>
                  <a:lnTo>
                    <a:pt x="3495" y="448"/>
                  </a:lnTo>
                  <a:lnTo>
                    <a:pt x="3494" y="447"/>
                  </a:lnTo>
                  <a:lnTo>
                    <a:pt x="3491" y="446"/>
                  </a:lnTo>
                  <a:lnTo>
                    <a:pt x="3490" y="446"/>
                  </a:lnTo>
                  <a:lnTo>
                    <a:pt x="3489" y="445"/>
                  </a:lnTo>
                  <a:lnTo>
                    <a:pt x="3488" y="444"/>
                  </a:lnTo>
                  <a:lnTo>
                    <a:pt x="3487" y="444"/>
                  </a:lnTo>
                  <a:lnTo>
                    <a:pt x="3487" y="443"/>
                  </a:lnTo>
                  <a:lnTo>
                    <a:pt x="3485" y="443"/>
                  </a:lnTo>
                  <a:lnTo>
                    <a:pt x="3484" y="443"/>
                  </a:lnTo>
                  <a:lnTo>
                    <a:pt x="3484" y="441"/>
                  </a:lnTo>
                  <a:lnTo>
                    <a:pt x="3483" y="441"/>
                  </a:lnTo>
                  <a:lnTo>
                    <a:pt x="3482" y="441"/>
                  </a:lnTo>
                  <a:lnTo>
                    <a:pt x="3481" y="441"/>
                  </a:lnTo>
                  <a:lnTo>
                    <a:pt x="3481" y="440"/>
                  </a:lnTo>
                  <a:lnTo>
                    <a:pt x="3480" y="439"/>
                  </a:lnTo>
                  <a:lnTo>
                    <a:pt x="3478" y="439"/>
                  </a:lnTo>
                  <a:lnTo>
                    <a:pt x="3478" y="440"/>
                  </a:lnTo>
                  <a:lnTo>
                    <a:pt x="3477" y="440"/>
                  </a:lnTo>
                  <a:lnTo>
                    <a:pt x="3476" y="440"/>
                  </a:lnTo>
                  <a:lnTo>
                    <a:pt x="3475" y="440"/>
                  </a:lnTo>
                  <a:lnTo>
                    <a:pt x="3474" y="439"/>
                  </a:lnTo>
                  <a:lnTo>
                    <a:pt x="3473" y="439"/>
                  </a:lnTo>
                  <a:lnTo>
                    <a:pt x="3472" y="439"/>
                  </a:lnTo>
                  <a:lnTo>
                    <a:pt x="3472" y="438"/>
                  </a:lnTo>
                  <a:lnTo>
                    <a:pt x="3472" y="439"/>
                  </a:lnTo>
                  <a:lnTo>
                    <a:pt x="3470" y="439"/>
                  </a:lnTo>
                  <a:lnTo>
                    <a:pt x="3470" y="438"/>
                  </a:lnTo>
                  <a:lnTo>
                    <a:pt x="3470" y="437"/>
                  </a:lnTo>
                  <a:lnTo>
                    <a:pt x="3469" y="437"/>
                  </a:lnTo>
                  <a:lnTo>
                    <a:pt x="3468" y="437"/>
                  </a:lnTo>
                  <a:lnTo>
                    <a:pt x="3467" y="437"/>
                  </a:lnTo>
                  <a:lnTo>
                    <a:pt x="3465" y="437"/>
                  </a:lnTo>
                  <a:lnTo>
                    <a:pt x="3465" y="438"/>
                  </a:lnTo>
                  <a:lnTo>
                    <a:pt x="3463" y="437"/>
                  </a:lnTo>
                  <a:lnTo>
                    <a:pt x="3463" y="438"/>
                  </a:lnTo>
                  <a:lnTo>
                    <a:pt x="3462" y="438"/>
                  </a:lnTo>
                  <a:lnTo>
                    <a:pt x="3461" y="438"/>
                  </a:lnTo>
                  <a:lnTo>
                    <a:pt x="3461" y="437"/>
                  </a:lnTo>
                  <a:lnTo>
                    <a:pt x="3460" y="437"/>
                  </a:lnTo>
                  <a:lnTo>
                    <a:pt x="3459" y="437"/>
                  </a:lnTo>
                  <a:lnTo>
                    <a:pt x="3458" y="437"/>
                  </a:lnTo>
                  <a:lnTo>
                    <a:pt x="3456" y="437"/>
                  </a:lnTo>
                  <a:lnTo>
                    <a:pt x="3456" y="436"/>
                  </a:lnTo>
                  <a:lnTo>
                    <a:pt x="3455" y="436"/>
                  </a:lnTo>
                  <a:lnTo>
                    <a:pt x="3455" y="434"/>
                  </a:lnTo>
                  <a:lnTo>
                    <a:pt x="3454" y="434"/>
                  </a:lnTo>
                  <a:lnTo>
                    <a:pt x="3452" y="433"/>
                  </a:lnTo>
                  <a:lnTo>
                    <a:pt x="3451" y="432"/>
                  </a:lnTo>
                  <a:lnTo>
                    <a:pt x="3451" y="431"/>
                  </a:lnTo>
                  <a:lnTo>
                    <a:pt x="3449" y="431"/>
                  </a:lnTo>
                  <a:lnTo>
                    <a:pt x="3449" y="430"/>
                  </a:lnTo>
                  <a:lnTo>
                    <a:pt x="3449" y="429"/>
                  </a:lnTo>
                  <a:lnTo>
                    <a:pt x="3448" y="429"/>
                  </a:lnTo>
                  <a:lnTo>
                    <a:pt x="3448" y="427"/>
                  </a:lnTo>
                  <a:lnTo>
                    <a:pt x="3445" y="426"/>
                  </a:lnTo>
                  <a:lnTo>
                    <a:pt x="3444" y="425"/>
                  </a:lnTo>
                  <a:lnTo>
                    <a:pt x="3444" y="424"/>
                  </a:lnTo>
                  <a:lnTo>
                    <a:pt x="3442" y="424"/>
                  </a:lnTo>
                  <a:lnTo>
                    <a:pt x="3441" y="423"/>
                  </a:lnTo>
                  <a:lnTo>
                    <a:pt x="3441" y="422"/>
                  </a:lnTo>
                  <a:lnTo>
                    <a:pt x="3440" y="420"/>
                  </a:lnTo>
                  <a:lnTo>
                    <a:pt x="3439" y="420"/>
                  </a:lnTo>
                  <a:lnTo>
                    <a:pt x="3439" y="419"/>
                  </a:lnTo>
                  <a:lnTo>
                    <a:pt x="3438" y="419"/>
                  </a:lnTo>
                  <a:lnTo>
                    <a:pt x="3438" y="418"/>
                  </a:lnTo>
                  <a:lnTo>
                    <a:pt x="3435" y="417"/>
                  </a:lnTo>
                  <a:lnTo>
                    <a:pt x="3434" y="416"/>
                  </a:lnTo>
                  <a:lnTo>
                    <a:pt x="3433" y="416"/>
                  </a:lnTo>
                  <a:lnTo>
                    <a:pt x="3432" y="415"/>
                  </a:lnTo>
                  <a:lnTo>
                    <a:pt x="3431" y="415"/>
                  </a:lnTo>
                  <a:lnTo>
                    <a:pt x="3431" y="413"/>
                  </a:lnTo>
                  <a:lnTo>
                    <a:pt x="3430" y="413"/>
                  </a:lnTo>
                  <a:lnTo>
                    <a:pt x="3430" y="412"/>
                  </a:lnTo>
                  <a:lnTo>
                    <a:pt x="3428" y="412"/>
                  </a:lnTo>
                  <a:lnTo>
                    <a:pt x="3428" y="411"/>
                  </a:lnTo>
                  <a:lnTo>
                    <a:pt x="3428" y="410"/>
                  </a:lnTo>
                  <a:lnTo>
                    <a:pt x="3427" y="410"/>
                  </a:lnTo>
                  <a:lnTo>
                    <a:pt x="3427" y="411"/>
                  </a:lnTo>
                  <a:lnTo>
                    <a:pt x="3428" y="411"/>
                  </a:lnTo>
                  <a:lnTo>
                    <a:pt x="3427" y="411"/>
                  </a:lnTo>
                  <a:lnTo>
                    <a:pt x="3426" y="410"/>
                  </a:lnTo>
                  <a:lnTo>
                    <a:pt x="3427" y="410"/>
                  </a:lnTo>
                  <a:lnTo>
                    <a:pt x="3427" y="409"/>
                  </a:lnTo>
                  <a:lnTo>
                    <a:pt x="3426" y="409"/>
                  </a:lnTo>
                  <a:lnTo>
                    <a:pt x="3425" y="409"/>
                  </a:lnTo>
                  <a:lnTo>
                    <a:pt x="3425" y="408"/>
                  </a:lnTo>
                  <a:lnTo>
                    <a:pt x="3424" y="408"/>
                  </a:lnTo>
                  <a:lnTo>
                    <a:pt x="3424" y="406"/>
                  </a:lnTo>
                  <a:lnTo>
                    <a:pt x="3423" y="406"/>
                  </a:lnTo>
                  <a:lnTo>
                    <a:pt x="3421" y="406"/>
                  </a:lnTo>
                  <a:lnTo>
                    <a:pt x="3421" y="405"/>
                  </a:lnTo>
                  <a:lnTo>
                    <a:pt x="3421" y="404"/>
                  </a:lnTo>
                  <a:lnTo>
                    <a:pt x="3420" y="404"/>
                  </a:lnTo>
                  <a:lnTo>
                    <a:pt x="3414" y="401"/>
                  </a:lnTo>
                  <a:lnTo>
                    <a:pt x="3414" y="399"/>
                  </a:lnTo>
                  <a:lnTo>
                    <a:pt x="3414" y="398"/>
                  </a:lnTo>
                  <a:lnTo>
                    <a:pt x="3413" y="397"/>
                  </a:lnTo>
                  <a:lnTo>
                    <a:pt x="3412" y="397"/>
                  </a:lnTo>
                  <a:lnTo>
                    <a:pt x="3411" y="397"/>
                  </a:lnTo>
                  <a:lnTo>
                    <a:pt x="3410" y="397"/>
                  </a:lnTo>
                  <a:lnTo>
                    <a:pt x="3411" y="396"/>
                  </a:lnTo>
                  <a:lnTo>
                    <a:pt x="3410" y="396"/>
                  </a:lnTo>
                  <a:lnTo>
                    <a:pt x="3410" y="395"/>
                  </a:lnTo>
                  <a:lnTo>
                    <a:pt x="3409" y="395"/>
                  </a:lnTo>
                  <a:lnTo>
                    <a:pt x="3409" y="394"/>
                  </a:lnTo>
                  <a:lnTo>
                    <a:pt x="3408" y="394"/>
                  </a:lnTo>
                  <a:lnTo>
                    <a:pt x="3408" y="392"/>
                  </a:lnTo>
                  <a:lnTo>
                    <a:pt x="3406" y="392"/>
                  </a:lnTo>
                  <a:lnTo>
                    <a:pt x="3405" y="392"/>
                  </a:lnTo>
                  <a:lnTo>
                    <a:pt x="3405" y="391"/>
                  </a:lnTo>
                  <a:lnTo>
                    <a:pt x="3403" y="391"/>
                  </a:lnTo>
                  <a:lnTo>
                    <a:pt x="3402" y="391"/>
                  </a:lnTo>
                  <a:lnTo>
                    <a:pt x="3402" y="390"/>
                  </a:lnTo>
                  <a:lnTo>
                    <a:pt x="3402" y="389"/>
                  </a:lnTo>
                  <a:lnTo>
                    <a:pt x="3402" y="388"/>
                  </a:lnTo>
                  <a:lnTo>
                    <a:pt x="3401" y="388"/>
                  </a:lnTo>
                  <a:lnTo>
                    <a:pt x="3401" y="389"/>
                  </a:lnTo>
                  <a:lnTo>
                    <a:pt x="3398" y="387"/>
                  </a:lnTo>
                  <a:lnTo>
                    <a:pt x="3397" y="387"/>
                  </a:lnTo>
                  <a:lnTo>
                    <a:pt x="3396" y="387"/>
                  </a:lnTo>
                  <a:lnTo>
                    <a:pt x="3395" y="387"/>
                  </a:lnTo>
                  <a:lnTo>
                    <a:pt x="3395" y="385"/>
                  </a:lnTo>
                  <a:lnTo>
                    <a:pt x="3394" y="384"/>
                  </a:lnTo>
                  <a:lnTo>
                    <a:pt x="3392" y="384"/>
                  </a:lnTo>
                  <a:lnTo>
                    <a:pt x="3391" y="384"/>
                  </a:lnTo>
                  <a:lnTo>
                    <a:pt x="3390" y="383"/>
                  </a:lnTo>
                  <a:lnTo>
                    <a:pt x="3385" y="382"/>
                  </a:lnTo>
                  <a:lnTo>
                    <a:pt x="3384" y="382"/>
                  </a:lnTo>
                  <a:lnTo>
                    <a:pt x="3383" y="382"/>
                  </a:lnTo>
                  <a:lnTo>
                    <a:pt x="3382" y="382"/>
                  </a:lnTo>
                  <a:lnTo>
                    <a:pt x="3383" y="382"/>
                  </a:lnTo>
                  <a:lnTo>
                    <a:pt x="3383" y="383"/>
                  </a:lnTo>
                  <a:lnTo>
                    <a:pt x="3382" y="383"/>
                  </a:lnTo>
                  <a:lnTo>
                    <a:pt x="3382" y="382"/>
                  </a:lnTo>
                  <a:lnTo>
                    <a:pt x="3381" y="383"/>
                  </a:lnTo>
                  <a:lnTo>
                    <a:pt x="3381" y="382"/>
                  </a:lnTo>
                  <a:lnTo>
                    <a:pt x="3380" y="382"/>
                  </a:lnTo>
                  <a:lnTo>
                    <a:pt x="3377" y="382"/>
                  </a:lnTo>
                  <a:lnTo>
                    <a:pt x="3376" y="382"/>
                  </a:lnTo>
                  <a:lnTo>
                    <a:pt x="3376" y="381"/>
                  </a:lnTo>
                  <a:lnTo>
                    <a:pt x="3375" y="381"/>
                  </a:lnTo>
                  <a:lnTo>
                    <a:pt x="3374" y="381"/>
                  </a:lnTo>
                  <a:lnTo>
                    <a:pt x="3374" y="380"/>
                  </a:lnTo>
                  <a:lnTo>
                    <a:pt x="3373" y="380"/>
                  </a:lnTo>
                  <a:lnTo>
                    <a:pt x="3371" y="380"/>
                  </a:lnTo>
                  <a:lnTo>
                    <a:pt x="3370" y="378"/>
                  </a:lnTo>
                  <a:lnTo>
                    <a:pt x="3369" y="378"/>
                  </a:lnTo>
                  <a:lnTo>
                    <a:pt x="3368" y="378"/>
                  </a:lnTo>
                  <a:lnTo>
                    <a:pt x="3367" y="377"/>
                  </a:lnTo>
                  <a:lnTo>
                    <a:pt x="3364" y="377"/>
                  </a:lnTo>
                  <a:lnTo>
                    <a:pt x="3363" y="376"/>
                  </a:lnTo>
                  <a:lnTo>
                    <a:pt x="3362" y="376"/>
                  </a:lnTo>
                  <a:lnTo>
                    <a:pt x="3362" y="377"/>
                  </a:lnTo>
                  <a:lnTo>
                    <a:pt x="3362" y="376"/>
                  </a:lnTo>
                  <a:lnTo>
                    <a:pt x="3361" y="376"/>
                  </a:lnTo>
                  <a:lnTo>
                    <a:pt x="3362" y="377"/>
                  </a:lnTo>
                  <a:lnTo>
                    <a:pt x="3361" y="377"/>
                  </a:lnTo>
                  <a:lnTo>
                    <a:pt x="3360" y="376"/>
                  </a:lnTo>
                  <a:lnTo>
                    <a:pt x="3359" y="376"/>
                  </a:lnTo>
                  <a:lnTo>
                    <a:pt x="3359" y="377"/>
                  </a:lnTo>
                  <a:lnTo>
                    <a:pt x="3357" y="377"/>
                  </a:lnTo>
                  <a:lnTo>
                    <a:pt x="3356" y="377"/>
                  </a:lnTo>
                  <a:lnTo>
                    <a:pt x="3355" y="377"/>
                  </a:lnTo>
                  <a:lnTo>
                    <a:pt x="3350" y="377"/>
                  </a:lnTo>
                  <a:lnTo>
                    <a:pt x="3350" y="378"/>
                  </a:lnTo>
                  <a:lnTo>
                    <a:pt x="3349" y="378"/>
                  </a:lnTo>
                  <a:lnTo>
                    <a:pt x="3349" y="377"/>
                  </a:lnTo>
                  <a:lnTo>
                    <a:pt x="3348" y="377"/>
                  </a:lnTo>
                  <a:lnTo>
                    <a:pt x="3347" y="377"/>
                  </a:lnTo>
                  <a:lnTo>
                    <a:pt x="3347" y="378"/>
                  </a:lnTo>
                  <a:lnTo>
                    <a:pt x="3346" y="378"/>
                  </a:lnTo>
                  <a:lnTo>
                    <a:pt x="3344" y="378"/>
                  </a:lnTo>
                  <a:lnTo>
                    <a:pt x="3341" y="380"/>
                  </a:lnTo>
                  <a:lnTo>
                    <a:pt x="3340" y="380"/>
                  </a:lnTo>
                  <a:lnTo>
                    <a:pt x="3339" y="380"/>
                  </a:lnTo>
                  <a:lnTo>
                    <a:pt x="3339" y="381"/>
                  </a:lnTo>
                  <a:lnTo>
                    <a:pt x="3338" y="381"/>
                  </a:lnTo>
                  <a:lnTo>
                    <a:pt x="3337" y="381"/>
                  </a:lnTo>
                  <a:lnTo>
                    <a:pt x="3335" y="381"/>
                  </a:lnTo>
                  <a:lnTo>
                    <a:pt x="3334" y="381"/>
                  </a:lnTo>
                  <a:lnTo>
                    <a:pt x="3333" y="381"/>
                  </a:lnTo>
                  <a:lnTo>
                    <a:pt x="3334" y="381"/>
                  </a:lnTo>
                  <a:lnTo>
                    <a:pt x="3333" y="382"/>
                  </a:lnTo>
                  <a:lnTo>
                    <a:pt x="3333" y="383"/>
                  </a:lnTo>
                  <a:lnTo>
                    <a:pt x="3332" y="384"/>
                  </a:lnTo>
                  <a:lnTo>
                    <a:pt x="3332" y="385"/>
                  </a:lnTo>
                  <a:lnTo>
                    <a:pt x="3332" y="387"/>
                  </a:lnTo>
                  <a:lnTo>
                    <a:pt x="3331" y="387"/>
                  </a:lnTo>
                  <a:lnTo>
                    <a:pt x="3332" y="387"/>
                  </a:lnTo>
                  <a:lnTo>
                    <a:pt x="3331" y="387"/>
                  </a:lnTo>
                  <a:lnTo>
                    <a:pt x="3331" y="388"/>
                  </a:lnTo>
                  <a:lnTo>
                    <a:pt x="3330" y="388"/>
                  </a:lnTo>
                  <a:lnTo>
                    <a:pt x="3330" y="389"/>
                  </a:lnTo>
                  <a:lnTo>
                    <a:pt x="3331" y="389"/>
                  </a:lnTo>
                  <a:lnTo>
                    <a:pt x="3331" y="390"/>
                  </a:lnTo>
                  <a:lnTo>
                    <a:pt x="3332" y="391"/>
                  </a:lnTo>
                  <a:lnTo>
                    <a:pt x="3333" y="391"/>
                  </a:lnTo>
                  <a:lnTo>
                    <a:pt x="3334" y="391"/>
                  </a:lnTo>
                  <a:lnTo>
                    <a:pt x="3335" y="390"/>
                  </a:lnTo>
                  <a:lnTo>
                    <a:pt x="3337" y="390"/>
                  </a:lnTo>
                  <a:lnTo>
                    <a:pt x="3338" y="391"/>
                  </a:lnTo>
                  <a:lnTo>
                    <a:pt x="3339" y="391"/>
                  </a:lnTo>
                  <a:lnTo>
                    <a:pt x="3340" y="391"/>
                  </a:lnTo>
                  <a:lnTo>
                    <a:pt x="3340" y="392"/>
                  </a:lnTo>
                  <a:lnTo>
                    <a:pt x="3341" y="392"/>
                  </a:lnTo>
                  <a:lnTo>
                    <a:pt x="3341" y="394"/>
                  </a:lnTo>
                  <a:lnTo>
                    <a:pt x="3341" y="395"/>
                  </a:lnTo>
                  <a:lnTo>
                    <a:pt x="3342" y="396"/>
                  </a:lnTo>
                  <a:lnTo>
                    <a:pt x="3344" y="396"/>
                  </a:lnTo>
                  <a:lnTo>
                    <a:pt x="3344" y="397"/>
                  </a:lnTo>
                  <a:lnTo>
                    <a:pt x="3345" y="397"/>
                  </a:lnTo>
                  <a:lnTo>
                    <a:pt x="3345" y="398"/>
                  </a:lnTo>
                  <a:lnTo>
                    <a:pt x="3346" y="398"/>
                  </a:lnTo>
                  <a:lnTo>
                    <a:pt x="3346" y="399"/>
                  </a:lnTo>
                  <a:lnTo>
                    <a:pt x="3346" y="401"/>
                  </a:lnTo>
                  <a:lnTo>
                    <a:pt x="3346" y="402"/>
                  </a:lnTo>
                  <a:lnTo>
                    <a:pt x="3345" y="402"/>
                  </a:lnTo>
                  <a:lnTo>
                    <a:pt x="3345" y="403"/>
                  </a:lnTo>
                  <a:lnTo>
                    <a:pt x="3344" y="403"/>
                  </a:lnTo>
                  <a:lnTo>
                    <a:pt x="3344" y="405"/>
                  </a:lnTo>
                  <a:lnTo>
                    <a:pt x="3342" y="405"/>
                  </a:lnTo>
                  <a:lnTo>
                    <a:pt x="3342" y="406"/>
                  </a:lnTo>
                  <a:lnTo>
                    <a:pt x="3344" y="406"/>
                  </a:lnTo>
                  <a:lnTo>
                    <a:pt x="3342" y="408"/>
                  </a:lnTo>
                  <a:lnTo>
                    <a:pt x="3344" y="408"/>
                  </a:lnTo>
                  <a:lnTo>
                    <a:pt x="3344" y="409"/>
                  </a:lnTo>
                  <a:lnTo>
                    <a:pt x="3344" y="410"/>
                  </a:lnTo>
                  <a:lnTo>
                    <a:pt x="3344" y="411"/>
                  </a:lnTo>
                  <a:lnTo>
                    <a:pt x="3344" y="412"/>
                  </a:lnTo>
                  <a:lnTo>
                    <a:pt x="3344" y="413"/>
                  </a:lnTo>
                  <a:lnTo>
                    <a:pt x="3345" y="413"/>
                  </a:lnTo>
                  <a:lnTo>
                    <a:pt x="3345" y="415"/>
                  </a:lnTo>
                  <a:lnTo>
                    <a:pt x="3344" y="416"/>
                  </a:lnTo>
                  <a:lnTo>
                    <a:pt x="3344" y="417"/>
                  </a:lnTo>
                  <a:lnTo>
                    <a:pt x="3344" y="418"/>
                  </a:lnTo>
                  <a:lnTo>
                    <a:pt x="3345" y="418"/>
                  </a:lnTo>
                  <a:lnTo>
                    <a:pt x="3345" y="419"/>
                  </a:lnTo>
                  <a:lnTo>
                    <a:pt x="3345" y="420"/>
                  </a:lnTo>
                  <a:lnTo>
                    <a:pt x="3345" y="422"/>
                  </a:lnTo>
                  <a:lnTo>
                    <a:pt x="3344" y="422"/>
                  </a:lnTo>
                  <a:lnTo>
                    <a:pt x="3345" y="423"/>
                  </a:lnTo>
                  <a:lnTo>
                    <a:pt x="3345" y="424"/>
                  </a:lnTo>
                  <a:lnTo>
                    <a:pt x="3345" y="425"/>
                  </a:lnTo>
                  <a:lnTo>
                    <a:pt x="3346" y="425"/>
                  </a:lnTo>
                  <a:lnTo>
                    <a:pt x="3347" y="425"/>
                  </a:lnTo>
                  <a:lnTo>
                    <a:pt x="3348" y="425"/>
                  </a:lnTo>
                  <a:lnTo>
                    <a:pt x="3348" y="426"/>
                  </a:lnTo>
                  <a:lnTo>
                    <a:pt x="3348" y="427"/>
                  </a:lnTo>
                  <a:lnTo>
                    <a:pt x="3349" y="427"/>
                  </a:lnTo>
                  <a:lnTo>
                    <a:pt x="3349" y="429"/>
                  </a:lnTo>
                  <a:lnTo>
                    <a:pt x="3349" y="430"/>
                  </a:lnTo>
                  <a:lnTo>
                    <a:pt x="3348" y="431"/>
                  </a:lnTo>
                  <a:lnTo>
                    <a:pt x="3347" y="431"/>
                  </a:lnTo>
                  <a:lnTo>
                    <a:pt x="3346" y="431"/>
                  </a:lnTo>
                  <a:lnTo>
                    <a:pt x="3345" y="431"/>
                  </a:lnTo>
                  <a:lnTo>
                    <a:pt x="3344" y="431"/>
                  </a:lnTo>
                  <a:lnTo>
                    <a:pt x="3342" y="431"/>
                  </a:lnTo>
                  <a:lnTo>
                    <a:pt x="3342" y="432"/>
                  </a:lnTo>
                  <a:lnTo>
                    <a:pt x="3341" y="432"/>
                  </a:lnTo>
                  <a:lnTo>
                    <a:pt x="3342" y="433"/>
                  </a:lnTo>
                  <a:lnTo>
                    <a:pt x="3341" y="433"/>
                  </a:lnTo>
                  <a:lnTo>
                    <a:pt x="3341" y="434"/>
                  </a:lnTo>
                  <a:lnTo>
                    <a:pt x="3340" y="434"/>
                  </a:lnTo>
                  <a:lnTo>
                    <a:pt x="3340" y="436"/>
                  </a:lnTo>
                  <a:lnTo>
                    <a:pt x="3339" y="436"/>
                  </a:lnTo>
                  <a:lnTo>
                    <a:pt x="3339" y="437"/>
                  </a:lnTo>
                  <a:lnTo>
                    <a:pt x="3338" y="437"/>
                  </a:lnTo>
                  <a:lnTo>
                    <a:pt x="3338" y="438"/>
                  </a:lnTo>
                  <a:lnTo>
                    <a:pt x="3337" y="438"/>
                  </a:lnTo>
                  <a:lnTo>
                    <a:pt x="3332" y="437"/>
                  </a:lnTo>
                  <a:lnTo>
                    <a:pt x="3330" y="437"/>
                  </a:lnTo>
                  <a:lnTo>
                    <a:pt x="3326" y="436"/>
                  </a:lnTo>
                  <a:lnTo>
                    <a:pt x="3321" y="433"/>
                  </a:lnTo>
                  <a:lnTo>
                    <a:pt x="3320" y="433"/>
                  </a:lnTo>
                  <a:lnTo>
                    <a:pt x="3319" y="432"/>
                  </a:lnTo>
                  <a:lnTo>
                    <a:pt x="3318" y="432"/>
                  </a:lnTo>
                  <a:lnTo>
                    <a:pt x="3314" y="431"/>
                  </a:lnTo>
                  <a:lnTo>
                    <a:pt x="3313" y="430"/>
                  </a:lnTo>
                  <a:lnTo>
                    <a:pt x="3312" y="430"/>
                  </a:lnTo>
                  <a:lnTo>
                    <a:pt x="3311" y="431"/>
                  </a:lnTo>
                  <a:lnTo>
                    <a:pt x="3309" y="432"/>
                  </a:lnTo>
                  <a:lnTo>
                    <a:pt x="3307" y="432"/>
                  </a:lnTo>
                  <a:lnTo>
                    <a:pt x="3306" y="432"/>
                  </a:lnTo>
                  <a:lnTo>
                    <a:pt x="3305" y="432"/>
                  </a:lnTo>
                  <a:lnTo>
                    <a:pt x="3304" y="432"/>
                  </a:lnTo>
                  <a:lnTo>
                    <a:pt x="3300" y="431"/>
                  </a:lnTo>
                  <a:lnTo>
                    <a:pt x="3298" y="430"/>
                  </a:lnTo>
                  <a:lnTo>
                    <a:pt x="3298" y="429"/>
                  </a:lnTo>
                  <a:lnTo>
                    <a:pt x="3297" y="429"/>
                  </a:lnTo>
                  <a:lnTo>
                    <a:pt x="3292" y="426"/>
                  </a:lnTo>
                  <a:lnTo>
                    <a:pt x="3291" y="426"/>
                  </a:lnTo>
                  <a:lnTo>
                    <a:pt x="3290" y="427"/>
                  </a:lnTo>
                  <a:lnTo>
                    <a:pt x="3289" y="426"/>
                  </a:lnTo>
                  <a:lnTo>
                    <a:pt x="3288" y="426"/>
                  </a:lnTo>
                  <a:lnTo>
                    <a:pt x="3286" y="426"/>
                  </a:lnTo>
                  <a:lnTo>
                    <a:pt x="3285" y="427"/>
                  </a:lnTo>
                  <a:lnTo>
                    <a:pt x="3284" y="427"/>
                  </a:lnTo>
                  <a:lnTo>
                    <a:pt x="3283" y="430"/>
                  </a:lnTo>
                  <a:lnTo>
                    <a:pt x="3282" y="430"/>
                  </a:lnTo>
                  <a:lnTo>
                    <a:pt x="3281" y="430"/>
                  </a:lnTo>
                  <a:lnTo>
                    <a:pt x="3281" y="431"/>
                  </a:lnTo>
                  <a:lnTo>
                    <a:pt x="3280" y="431"/>
                  </a:lnTo>
                  <a:lnTo>
                    <a:pt x="3280" y="432"/>
                  </a:lnTo>
                  <a:lnTo>
                    <a:pt x="3278" y="433"/>
                  </a:lnTo>
                  <a:lnTo>
                    <a:pt x="3278" y="434"/>
                  </a:lnTo>
                  <a:lnTo>
                    <a:pt x="3278" y="436"/>
                  </a:lnTo>
                  <a:lnTo>
                    <a:pt x="3278" y="437"/>
                  </a:lnTo>
                  <a:lnTo>
                    <a:pt x="3277" y="437"/>
                  </a:lnTo>
                  <a:lnTo>
                    <a:pt x="3277" y="438"/>
                  </a:lnTo>
                  <a:lnTo>
                    <a:pt x="3276" y="438"/>
                  </a:lnTo>
                  <a:lnTo>
                    <a:pt x="3275" y="438"/>
                  </a:lnTo>
                  <a:lnTo>
                    <a:pt x="3274" y="438"/>
                  </a:lnTo>
                  <a:lnTo>
                    <a:pt x="3271" y="438"/>
                  </a:lnTo>
                  <a:lnTo>
                    <a:pt x="3269" y="439"/>
                  </a:lnTo>
                  <a:lnTo>
                    <a:pt x="3268" y="439"/>
                  </a:lnTo>
                  <a:lnTo>
                    <a:pt x="3263" y="440"/>
                  </a:lnTo>
                  <a:lnTo>
                    <a:pt x="3262" y="440"/>
                  </a:lnTo>
                  <a:lnTo>
                    <a:pt x="3261" y="440"/>
                  </a:lnTo>
                  <a:lnTo>
                    <a:pt x="3260" y="440"/>
                  </a:lnTo>
                  <a:lnTo>
                    <a:pt x="3257" y="441"/>
                  </a:lnTo>
                  <a:lnTo>
                    <a:pt x="3256" y="443"/>
                  </a:lnTo>
                  <a:lnTo>
                    <a:pt x="3255" y="444"/>
                  </a:lnTo>
                  <a:lnTo>
                    <a:pt x="3254" y="444"/>
                  </a:lnTo>
                  <a:lnTo>
                    <a:pt x="3253" y="444"/>
                  </a:lnTo>
                  <a:lnTo>
                    <a:pt x="3252" y="443"/>
                  </a:lnTo>
                  <a:lnTo>
                    <a:pt x="3250" y="443"/>
                  </a:lnTo>
                  <a:lnTo>
                    <a:pt x="3249" y="443"/>
                  </a:lnTo>
                  <a:lnTo>
                    <a:pt x="3248" y="443"/>
                  </a:lnTo>
                  <a:lnTo>
                    <a:pt x="3248" y="444"/>
                  </a:lnTo>
                  <a:lnTo>
                    <a:pt x="3247" y="444"/>
                  </a:lnTo>
                  <a:lnTo>
                    <a:pt x="3243" y="443"/>
                  </a:lnTo>
                  <a:lnTo>
                    <a:pt x="3242" y="443"/>
                  </a:lnTo>
                  <a:lnTo>
                    <a:pt x="3242" y="441"/>
                  </a:lnTo>
                  <a:lnTo>
                    <a:pt x="3241" y="441"/>
                  </a:lnTo>
                  <a:lnTo>
                    <a:pt x="3239" y="441"/>
                  </a:lnTo>
                  <a:lnTo>
                    <a:pt x="3238" y="441"/>
                  </a:lnTo>
                  <a:lnTo>
                    <a:pt x="3236" y="441"/>
                  </a:lnTo>
                  <a:lnTo>
                    <a:pt x="3235" y="440"/>
                  </a:lnTo>
                  <a:lnTo>
                    <a:pt x="3233" y="440"/>
                  </a:lnTo>
                  <a:lnTo>
                    <a:pt x="3232" y="440"/>
                  </a:lnTo>
                  <a:lnTo>
                    <a:pt x="3231" y="440"/>
                  </a:lnTo>
                  <a:lnTo>
                    <a:pt x="3229" y="440"/>
                  </a:lnTo>
                  <a:lnTo>
                    <a:pt x="3228" y="440"/>
                  </a:lnTo>
                  <a:lnTo>
                    <a:pt x="3227" y="440"/>
                  </a:lnTo>
                  <a:lnTo>
                    <a:pt x="3226" y="440"/>
                  </a:lnTo>
                  <a:lnTo>
                    <a:pt x="3225" y="440"/>
                  </a:lnTo>
                  <a:lnTo>
                    <a:pt x="3222" y="439"/>
                  </a:lnTo>
                  <a:lnTo>
                    <a:pt x="3221" y="438"/>
                  </a:lnTo>
                  <a:lnTo>
                    <a:pt x="3220" y="438"/>
                  </a:lnTo>
                  <a:lnTo>
                    <a:pt x="3219" y="438"/>
                  </a:lnTo>
                  <a:lnTo>
                    <a:pt x="3219" y="437"/>
                  </a:lnTo>
                  <a:lnTo>
                    <a:pt x="3218" y="437"/>
                  </a:lnTo>
                  <a:lnTo>
                    <a:pt x="3217" y="437"/>
                  </a:lnTo>
                  <a:lnTo>
                    <a:pt x="3217" y="436"/>
                  </a:lnTo>
                  <a:lnTo>
                    <a:pt x="3216" y="436"/>
                  </a:lnTo>
                  <a:lnTo>
                    <a:pt x="3216" y="434"/>
                  </a:lnTo>
                  <a:lnTo>
                    <a:pt x="3214" y="433"/>
                  </a:lnTo>
                  <a:lnTo>
                    <a:pt x="3214" y="432"/>
                  </a:lnTo>
                  <a:lnTo>
                    <a:pt x="3213" y="432"/>
                  </a:lnTo>
                  <a:lnTo>
                    <a:pt x="3213" y="431"/>
                  </a:lnTo>
                  <a:lnTo>
                    <a:pt x="3212" y="431"/>
                  </a:lnTo>
                  <a:lnTo>
                    <a:pt x="3211" y="431"/>
                  </a:lnTo>
                  <a:lnTo>
                    <a:pt x="3206" y="431"/>
                  </a:lnTo>
                  <a:lnTo>
                    <a:pt x="3205" y="430"/>
                  </a:lnTo>
                  <a:lnTo>
                    <a:pt x="3204" y="431"/>
                  </a:lnTo>
                  <a:lnTo>
                    <a:pt x="3203" y="430"/>
                  </a:lnTo>
                  <a:lnTo>
                    <a:pt x="3202" y="430"/>
                  </a:lnTo>
                  <a:lnTo>
                    <a:pt x="3202" y="429"/>
                  </a:lnTo>
                  <a:lnTo>
                    <a:pt x="3200" y="429"/>
                  </a:lnTo>
                  <a:lnTo>
                    <a:pt x="3199" y="427"/>
                  </a:lnTo>
                  <a:lnTo>
                    <a:pt x="3198" y="427"/>
                  </a:lnTo>
                  <a:lnTo>
                    <a:pt x="3196" y="426"/>
                  </a:lnTo>
                  <a:lnTo>
                    <a:pt x="3195" y="425"/>
                  </a:lnTo>
                  <a:lnTo>
                    <a:pt x="3192" y="425"/>
                  </a:lnTo>
                  <a:lnTo>
                    <a:pt x="3191" y="425"/>
                  </a:lnTo>
                  <a:lnTo>
                    <a:pt x="3190" y="426"/>
                  </a:lnTo>
                  <a:lnTo>
                    <a:pt x="3189" y="426"/>
                  </a:lnTo>
                  <a:lnTo>
                    <a:pt x="3189" y="425"/>
                  </a:lnTo>
                  <a:lnTo>
                    <a:pt x="3188" y="425"/>
                  </a:lnTo>
                  <a:lnTo>
                    <a:pt x="3186" y="425"/>
                  </a:lnTo>
                  <a:lnTo>
                    <a:pt x="3185" y="424"/>
                  </a:lnTo>
                  <a:lnTo>
                    <a:pt x="3184" y="424"/>
                  </a:lnTo>
                  <a:lnTo>
                    <a:pt x="3183" y="424"/>
                  </a:lnTo>
                  <a:lnTo>
                    <a:pt x="3181" y="424"/>
                  </a:lnTo>
                  <a:lnTo>
                    <a:pt x="3177" y="423"/>
                  </a:lnTo>
                  <a:lnTo>
                    <a:pt x="3176" y="423"/>
                  </a:lnTo>
                  <a:lnTo>
                    <a:pt x="3176" y="424"/>
                  </a:lnTo>
                  <a:lnTo>
                    <a:pt x="3175" y="424"/>
                  </a:lnTo>
                  <a:lnTo>
                    <a:pt x="3175" y="425"/>
                  </a:lnTo>
                  <a:lnTo>
                    <a:pt x="3172" y="424"/>
                  </a:lnTo>
                  <a:lnTo>
                    <a:pt x="3172" y="425"/>
                  </a:lnTo>
                  <a:lnTo>
                    <a:pt x="3171" y="425"/>
                  </a:lnTo>
                  <a:lnTo>
                    <a:pt x="3170" y="425"/>
                  </a:lnTo>
                  <a:lnTo>
                    <a:pt x="3169" y="426"/>
                  </a:lnTo>
                  <a:lnTo>
                    <a:pt x="3168" y="425"/>
                  </a:lnTo>
                  <a:lnTo>
                    <a:pt x="3167" y="426"/>
                  </a:lnTo>
                  <a:lnTo>
                    <a:pt x="3167" y="427"/>
                  </a:lnTo>
                  <a:lnTo>
                    <a:pt x="3165" y="427"/>
                  </a:lnTo>
                  <a:lnTo>
                    <a:pt x="3165" y="429"/>
                  </a:lnTo>
                  <a:lnTo>
                    <a:pt x="3164" y="429"/>
                  </a:lnTo>
                  <a:lnTo>
                    <a:pt x="3163" y="429"/>
                  </a:lnTo>
                  <a:lnTo>
                    <a:pt x="3162" y="427"/>
                  </a:lnTo>
                  <a:lnTo>
                    <a:pt x="3161" y="427"/>
                  </a:lnTo>
                  <a:lnTo>
                    <a:pt x="3160" y="429"/>
                  </a:lnTo>
                  <a:lnTo>
                    <a:pt x="3158" y="429"/>
                  </a:lnTo>
                  <a:lnTo>
                    <a:pt x="3157" y="427"/>
                  </a:lnTo>
                  <a:lnTo>
                    <a:pt x="3156" y="427"/>
                  </a:lnTo>
                  <a:lnTo>
                    <a:pt x="3155" y="427"/>
                  </a:lnTo>
                  <a:lnTo>
                    <a:pt x="3154" y="427"/>
                  </a:lnTo>
                  <a:lnTo>
                    <a:pt x="3154" y="426"/>
                  </a:lnTo>
                  <a:lnTo>
                    <a:pt x="3153" y="426"/>
                  </a:lnTo>
                  <a:lnTo>
                    <a:pt x="3152" y="426"/>
                  </a:lnTo>
                  <a:lnTo>
                    <a:pt x="3150" y="426"/>
                  </a:lnTo>
                  <a:lnTo>
                    <a:pt x="3149" y="426"/>
                  </a:lnTo>
                  <a:lnTo>
                    <a:pt x="3149" y="425"/>
                  </a:lnTo>
                  <a:lnTo>
                    <a:pt x="3147" y="425"/>
                  </a:lnTo>
                  <a:lnTo>
                    <a:pt x="3145" y="424"/>
                  </a:lnTo>
                  <a:lnTo>
                    <a:pt x="3142" y="423"/>
                  </a:lnTo>
                  <a:lnTo>
                    <a:pt x="3141" y="423"/>
                  </a:lnTo>
                  <a:lnTo>
                    <a:pt x="3140" y="422"/>
                  </a:lnTo>
                  <a:lnTo>
                    <a:pt x="3139" y="422"/>
                  </a:lnTo>
                  <a:lnTo>
                    <a:pt x="3139" y="420"/>
                  </a:lnTo>
                  <a:lnTo>
                    <a:pt x="3139" y="419"/>
                  </a:lnTo>
                  <a:lnTo>
                    <a:pt x="3138" y="419"/>
                  </a:lnTo>
                  <a:lnTo>
                    <a:pt x="3136" y="418"/>
                  </a:lnTo>
                  <a:lnTo>
                    <a:pt x="3135" y="417"/>
                  </a:lnTo>
                  <a:lnTo>
                    <a:pt x="3135" y="416"/>
                  </a:lnTo>
                  <a:lnTo>
                    <a:pt x="3134" y="415"/>
                  </a:lnTo>
                  <a:lnTo>
                    <a:pt x="3133" y="415"/>
                  </a:lnTo>
                  <a:lnTo>
                    <a:pt x="3133" y="413"/>
                  </a:lnTo>
                  <a:lnTo>
                    <a:pt x="3132" y="412"/>
                  </a:lnTo>
                  <a:lnTo>
                    <a:pt x="3132" y="411"/>
                  </a:lnTo>
                  <a:lnTo>
                    <a:pt x="3132" y="410"/>
                  </a:lnTo>
                  <a:lnTo>
                    <a:pt x="3129" y="410"/>
                  </a:lnTo>
                  <a:lnTo>
                    <a:pt x="3129" y="409"/>
                  </a:lnTo>
                  <a:lnTo>
                    <a:pt x="3128" y="409"/>
                  </a:lnTo>
                  <a:lnTo>
                    <a:pt x="3127" y="409"/>
                  </a:lnTo>
                  <a:lnTo>
                    <a:pt x="3126" y="409"/>
                  </a:lnTo>
                  <a:lnTo>
                    <a:pt x="3125" y="409"/>
                  </a:lnTo>
                  <a:lnTo>
                    <a:pt x="3124" y="409"/>
                  </a:lnTo>
                  <a:lnTo>
                    <a:pt x="3122" y="408"/>
                  </a:lnTo>
                  <a:lnTo>
                    <a:pt x="3121" y="408"/>
                  </a:lnTo>
                  <a:lnTo>
                    <a:pt x="3120" y="409"/>
                  </a:lnTo>
                  <a:lnTo>
                    <a:pt x="3120" y="408"/>
                  </a:lnTo>
                  <a:lnTo>
                    <a:pt x="3119" y="408"/>
                  </a:lnTo>
                  <a:lnTo>
                    <a:pt x="3118" y="408"/>
                  </a:lnTo>
                  <a:lnTo>
                    <a:pt x="3117" y="408"/>
                  </a:lnTo>
                  <a:lnTo>
                    <a:pt x="3115" y="406"/>
                  </a:lnTo>
                  <a:lnTo>
                    <a:pt x="3110" y="404"/>
                  </a:lnTo>
                  <a:lnTo>
                    <a:pt x="3108" y="404"/>
                  </a:lnTo>
                  <a:lnTo>
                    <a:pt x="3107" y="404"/>
                  </a:lnTo>
                  <a:lnTo>
                    <a:pt x="3104" y="404"/>
                  </a:lnTo>
                  <a:lnTo>
                    <a:pt x="3103" y="404"/>
                  </a:lnTo>
                  <a:lnTo>
                    <a:pt x="3101" y="404"/>
                  </a:lnTo>
                  <a:lnTo>
                    <a:pt x="3100" y="404"/>
                  </a:lnTo>
                  <a:lnTo>
                    <a:pt x="3099" y="403"/>
                  </a:lnTo>
                  <a:lnTo>
                    <a:pt x="3098" y="403"/>
                  </a:lnTo>
                  <a:lnTo>
                    <a:pt x="3097" y="402"/>
                  </a:lnTo>
                  <a:lnTo>
                    <a:pt x="3096" y="402"/>
                  </a:lnTo>
                  <a:lnTo>
                    <a:pt x="3094" y="402"/>
                  </a:lnTo>
                  <a:lnTo>
                    <a:pt x="3091" y="401"/>
                  </a:lnTo>
                  <a:lnTo>
                    <a:pt x="3090" y="401"/>
                  </a:lnTo>
                  <a:lnTo>
                    <a:pt x="3090" y="399"/>
                  </a:lnTo>
                  <a:lnTo>
                    <a:pt x="3088" y="399"/>
                  </a:lnTo>
                  <a:lnTo>
                    <a:pt x="3086" y="399"/>
                  </a:lnTo>
                  <a:lnTo>
                    <a:pt x="3086" y="398"/>
                  </a:lnTo>
                  <a:lnTo>
                    <a:pt x="3085" y="398"/>
                  </a:lnTo>
                  <a:lnTo>
                    <a:pt x="3084" y="398"/>
                  </a:lnTo>
                  <a:lnTo>
                    <a:pt x="3085" y="399"/>
                  </a:lnTo>
                  <a:lnTo>
                    <a:pt x="3085" y="401"/>
                  </a:lnTo>
                  <a:lnTo>
                    <a:pt x="3085" y="402"/>
                  </a:lnTo>
                  <a:lnTo>
                    <a:pt x="3085" y="403"/>
                  </a:lnTo>
                  <a:lnTo>
                    <a:pt x="3084" y="403"/>
                  </a:lnTo>
                  <a:lnTo>
                    <a:pt x="3083" y="404"/>
                  </a:lnTo>
                  <a:lnTo>
                    <a:pt x="3082" y="404"/>
                  </a:lnTo>
                  <a:lnTo>
                    <a:pt x="3082" y="405"/>
                  </a:lnTo>
                  <a:lnTo>
                    <a:pt x="3082" y="406"/>
                  </a:lnTo>
                  <a:lnTo>
                    <a:pt x="3082" y="408"/>
                  </a:lnTo>
                  <a:lnTo>
                    <a:pt x="3083" y="408"/>
                  </a:lnTo>
                  <a:lnTo>
                    <a:pt x="3082" y="408"/>
                  </a:lnTo>
                  <a:lnTo>
                    <a:pt x="3081" y="408"/>
                  </a:lnTo>
                  <a:lnTo>
                    <a:pt x="3081" y="409"/>
                  </a:lnTo>
                  <a:lnTo>
                    <a:pt x="3081" y="410"/>
                  </a:lnTo>
                  <a:lnTo>
                    <a:pt x="3081" y="411"/>
                  </a:lnTo>
                  <a:lnTo>
                    <a:pt x="3082" y="412"/>
                  </a:lnTo>
                  <a:lnTo>
                    <a:pt x="3082" y="413"/>
                  </a:lnTo>
                  <a:lnTo>
                    <a:pt x="3082" y="415"/>
                  </a:lnTo>
                  <a:lnTo>
                    <a:pt x="3082" y="416"/>
                  </a:lnTo>
                  <a:lnTo>
                    <a:pt x="3083" y="416"/>
                  </a:lnTo>
                  <a:lnTo>
                    <a:pt x="3083" y="417"/>
                  </a:lnTo>
                  <a:lnTo>
                    <a:pt x="3084" y="417"/>
                  </a:lnTo>
                  <a:lnTo>
                    <a:pt x="3085" y="417"/>
                  </a:lnTo>
                  <a:lnTo>
                    <a:pt x="3085" y="418"/>
                  </a:lnTo>
                  <a:lnTo>
                    <a:pt x="3086" y="419"/>
                  </a:lnTo>
                  <a:lnTo>
                    <a:pt x="3088" y="420"/>
                  </a:lnTo>
                  <a:lnTo>
                    <a:pt x="3088" y="422"/>
                  </a:lnTo>
                  <a:lnTo>
                    <a:pt x="3089" y="422"/>
                  </a:lnTo>
                  <a:lnTo>
                    <a:pt x="3090" y="422"/>
                  </a:lnTo>
                  <a:lnTo>
                    <a:pt x="3091" y="422"/>
                  </a:lnTo>
                  <a:lnTo>
                    <a:pt x="3091" y="423"/>
                  </a:lnTo>
                  <a:lnTo>
                    <a:pt x="3092" y="423"/>
                  </a:lnTo>
                  <a:lnTo>
                    <a:pt x="3092" y="424"/>
                  </a:lnTo>
                  <a:lnTo>
                    <a:pt x="3092" y="425"/>
                  </a:lnTo>
                  <a:lnTo>
                    <a:pt x="3093" y="425"/>
                  </a:lnTo>
                  <a:lnTo>
                    <a:pt x="3093" y="426"/>
                  </a:lnTo>
                  <a:lnTo>
                    <a:pt x="3093" y="430"/>
                  </a:lnTo>
                  <a:lnTo>
                    <a:pt x="3091" y="431"/>
                  </a:lnTo>
                  <a:lnTo>
                    <a:pt x="3091" y="432"/>
                  </a:lnTo>
                  <a:lnTo>
                    <a:pt x="3091" y="431"/>
                  </a:lnTo>
                  <a:lnTo>
                    <a:pt x="3090" y="431"/>
                  </a:lnTo>
                  <a:lnTo>
                    <a:pt x="3089" y="432"/>
                  </a:lnTo>
                  <a:lnTo>
                    <a:pt x="3088" y="432"/>
                  </a:lnTo>
                  <a:lnTo>
                    <a:pt x="3089" y="432"/>
                  </a:lnTo>
                  <a:lnTo>
                    <a:pt x="3089" y="433"/>
                  </a:lnTo>
                  <a:lnTo>
                    <a:pt x="3088" y="433"/>
                  </a:lnTo>
                  <a:lnTo>
                    <a:pt x="3088" y="434"/>
                  </a:lnTo>
                  <a:lnTo>
                    <a:pt x="3086" y="434"/>
                  </a:lnTo>
                  <a:lnTo>
                    <a:pt x="3085" y="434"/>
                  </a:lnTo>
                  <a:lnTo>
                    <a:pt x="3084" y="434"/>
                  </a:lnTo>
                  <a:lnTo>
                    <a:pt x="3083" y="433"/>
                  </a:lnTo>
                  <a:lnTo>
                    <a:pt x="3082" y="433"/>
                  </a:lnTo>
                  <a:lnTo>
                    <a:pt x="3082" y="432"/>
                  </a:lnTo>
                  <a:lnTo>
                    <a:pt x="3081" y="432"/>
                  </a:lnTo>
                  <a:lnTo>
                    <a:pt x="3077" y="432"/>
                  </a:lnTo>
                  <a:lnTo>
                    <a:pt x="3076" y="432"/>
                  </a:lnTo>
                  <a:lnTo>
                    <a:pt x="3075" y="432"/>
                  </a:lnTo>
                  <a:lnTo>
                    <a:pt x="3074" y="432"/>
                  </a:lnTo>
                  <a:lnTo>
                    <a:pt x="3072" y="432"/>
                  </a:lnTo>
                  <a:lnTo>
                    <a:pt x="3071" y="431"/>
                  </a:lnTo>
                  <a:lnTo>
                    <a:pt x="3069" y="431"/>
                  </a:lnTo>
                  <a:lnTo>
                    <a:pt x="3068" y="431"/>
                  </a:lnTo>
                  <a:lnTo>
                    <a:pt x="3067" y="431"/>
                  </a:lnTo>
                  <a:lnTo>
                    <a:pt x="3067" y="430"/>
                  </a:lnTo>
                  <a:lnTo>
                    <a:pt x="3065" y="430"/>
                  </a:lnTo>
                  <a:lnTo>
                    <a:pt x="3065" y="431"/>
                  </a:lnTo>
                  <a:lnTo>
                    <a:pt x="3064" y="431"/>
                  </a:lnTo>
                  <a:lnTo>
                    <a:pt x="3063" y="431"/>
                  </a:lnTo>
                  <a:lnTo>
                    <a:pt x="3063" y="432"/>
                  </a:lnTo>
                  <a:lnTo>
                    <a:pt x="3062" y="432"/>
                  </a:lnTo>
                  <a:lnTo>
                    <a:pt x="3062" y="431"/>
                  </a:lnTo>
                  <a:lnTo>
                    <a:pt x="3061" y="431"/>
                  </a:lnTo>
                  <a:lnTo>
                    <a:pt x="3057" y="431"/>
                  </a:lnTo>
                  <a:lnTo>
                    <a:pt x="3056" y="431"/>
                  </a:lnTo>
                  <a:lnTo>
                    <a:pt x="3056" y="430"/>
                  </a:lnTo>
                  <a:lnTo>
                    <a:pt x="3055" y="430"/>
                  </a:lnTo>
                  <a:lnTo>
                    <a:pt x="3053" y="430"/>
                  </a:lnTo>
                  <a:lnTo>
                    <a:pt x="3051" y="430"/>
                  </a:lnTo>
                  <a:lnTo>
                    <a:pt x="3050" y="430"/>
                  </a:lnTo>
                  <a:lnTo>
                    <a:pt x="3049" y="429"/>
                  </a:lnTo>
                  <a:lnTo>
                    <a:pt x="3048" y="427"/>
                  </a:lnTo>
                  <a:lnTo>
                    <a:pt x="3047" y="427"/>
                  </a:lnTo>
                  <a:lnTo>
                    <a:pt x="3046" y="426"/>
                  </a:lnTo>
                  <a:lnTo>
                    <a:pt x="3044" y="424"/>
                  </a:lnTo>
                  <a:lnTo>
                    <a:pt x="3043" y="423"/>
                  </a:lnTo>
                  <a:lnTo>
                    <a:pt x="3043" y="422"/>
                  </a:lnTo>
                  <a:lnTo>
                    <a:pt x="3042" y="422"/>
                  </a:lnTo>
                  <a:lnTo>
                    <a:pt x="3037" y="422"/>
                  </a:lnTo>
                  <a:lnTo>
                    <a:pt x="3034" y="422"/>
                  </a:lnTo>
                  <a:lnTo>
                    <a:pt x="3032" y="422"/>
                  </a:lnTo>
                  <a:lnTo>
                    <a:pt x="3029" y="422"/>
                  </a:lnTo>
                  <a:lnTo>
                    <a:pt x="3028" y="422"/>
                  </a:lnTo>
                  <a:lnTo>
                    <a:pt x="3027" y="422"/>
                  </a:lnTo>
                  <a:lnTo>
                    <a:pt x="3027" y="420"/>
                  </a:lnTo>
                  <a:lnTo>
                    <a:pt x="3026" y="419"/>
                  </a:lnTo>
                  <a:lnTo>
                    <a:pt x="3025" y="418"/>
                  </a:lnTo>
                  <a:lnTo>
                    <a:pt x="3024" y="418"/>
                  </a:lnTo>
                  <a:lnTo>
                    <a:pt x="3022" y="418"/>
                  </a:lnTo>
                  <a:lnTo>
                    <a:pt x="3022" y="419"/>
                  </a:lnTo>
                  <a:lnTo>
                    <a:pt x="3024" y="419"/>
                  </a:lnTo>
                  <a:lnTo>
                    <a:pt x="3022" y="420"/>
                  </a:lnTo>
                  <a:lnTo>
                    <a:pt x="3021" y="420"/>
                  </a:lnTo>
                  <a:lnTo>
                    <a:pt x="3020" y="419"/>
                  </a:lnTo>
                  <a:lnTo>
                    <a:pt x="3019" y="418"/>
                  </a:lnTo>
                  <a:lnTo>
                    <a:pt x="3018" y="417"/>
                  </a:lnTo>
                  <a:lnTo>
                    <a:pt x="3017" y="417"/>
                  </a:lnTo>
                  <a:lnTo>
                    <a:pt x="3017" y="418"/>
                  </a:lnTo>
                  <a:lnTo>
                    <a:pt x="3017" y="419"/>
                  </a:lnTo>
                  <a:lnTo>
                    <a:pt x="3017" y="420"/>
                  </a:lnTo>
                  <a:lnTo>
                    <a:pt x="3015" y="420"/>
                  </a:lnTo>
                  <a:lnTo>
                    <a:pt x="3013" y="419"/>
                  </a:lnTo>
                  <a:lnTo>
                    <a:pt x="3012" y="419"/>
                  </a:lnTo>
                  <a:lnTo>
                    <a:pt x="3012" y="420"/>
                  </a:lnTo>
                  <a:lnTo>
                    <a:pt x="3011" y="420"/>
                  </a:lnTo>
                  <a:lnTo>
                    <a:pt x="3011" y="422"/>
                  </a:lnTo>
                  <a:lnTo>
                    <a:pt x="3010" y="423"/>
                  </a:lnTo>
                  <a:lnTo>
                    <a:pt x="3010" y="424"/>
                  </a:lnTo>
                  <a:lnTo>
                    <a:pt x="3008" y="424"/>
                  </a:lnTo>
                  <a:lnTo>
                    <a:pt x="3007" y="423"/>
                  </a:lnTo>
                  <a:lnTo>
                    <a:pt x="3006" y="424"/>
                  </a:lnTo>
                  <a:lnTo>
                    <a:pt x="3005" y="424"/>
                  </a:lnTo>
                  <a:lnTo>
                    <a:pt x="3004" y="424"/>
                  </a:lnTo>
                  <a:lnTo>
                    <a:pt x="3004" y="425"/>
                  </a:lnTo>
                  <a:lnTo>
                    <a:pt x="3003" y="426"/>
                  </a:lnTo>
                  <a:lnTo>
                    <a:pt x="3003" y="427"/>
                  </a:lnTo>
                  <a:lnTo>
                    <a:pt x="3001" y="427"/>
                  </a:lnTo>
                  <a:lnTo>
                    <a:pt x="3000" y="427"/>
                  </a:lnTo>
                  <a:lnTo>
                    <a:pt x="2999" y="427"/>
                  </a:lnTo>
                  <a:lnTo>
                    <a:pt x="2998" y="427"/>
                  </a:lnTo>
                  <a:lnTo>
                    <a:pt x="2998" y="429"/>
                  </a:lnTo>
                  <a:lnTo>
                    <a:pt x="2997" y="429"/>
                  </a:lnTo>
                  <a:lnTo>
                    <a:pt x="2996" y="429"/>
                  </a:lnTo>
                  <a:lnTo>
                    <a:pt x="2996" y="430"/>
                  </a:lnTo>
                  <a:lnTo>
                    <a:pt x="2996" y="431"/>
                  </a:lnTo>
                  <a:lnTo>
                    <a:pt x="2994" y="431"/>
                  </a:lnTo>
                  <a:lnTo>
                    <a:pt x="2992" y="431"/>
                  </a:lnTo>
                  <a:lnTo>
                    <a:pt x="2992" y="432"/>
                  </a:lnTo>
                  <a:lnTo>
                    <a:pt x="2992" y="433"/>
                  </a:lnTo>
                  <a:lnTo>
                    <a:pt x="2993" y="434"/>
                  </a:lnTo>
                  <a:lnTo>
                    <a:pt x="2994" y="434"/>
                  </a:lnTo>
                  <a:lnTo>
                    <a:pt x="2993" y="436"/>
                  </a:lnTo>
                  <a:lnTo>
                    <a:pt x="2992" y="436"/>
                  </a:lnTo>
                  <a:lnTo>
                    <a:pt x="2991" y="436"/>
                  </a:lnTo>
                  <a:lnTo>
                    <a:pt x="2991" y="437"/>
                  </a:lnTo>
                  <a:lnTo>
                    <a:pt x="2990" y="437"/>
                  </a:lnTo>
                  <a:lnTo>
                    <a:pt x="2990" y="436"/>
                  </a:lnTo>
                  <a:lnTo>
                    <a:pt x="2989" y="436"/>
                  </a:lnTo>
                  <a:lnTo>
                    <a:pt x="2989" y="437"/>
                  </a:lnTo>
                  <a:lnTo>
                    <a:pt x="2990" y="438"/>
                  </a:lnTo>
                  <a:lnTo>
                    <a:pt x="2989" y="438"/>
                  </a:lnTo>
                  <a:lnTo>
                    <a:pt x="2987" y="439"/>
                  </a:lnTo>
                  <a:lnTo>
                    <a:pt x="2986" y="439"/>
                  </a:lnTo>
                  <a:lnTo>
                    <a:pt x="2986" y="438"/>
                  </a:lnTo>
                  <a:lnTo>
                    <a:pt x="2985" y="438"/>
                  </a:lnTo>
                  <a:lnTo>
                    <a:pt x="2985" y="439"/>
                  </a:lnTo>
                  <a:lnTo>
                    <a:pt x="2986" y="439"/>
                  </a:lnTo>
                  <a:lnTo>
                    <a:pt x="2984" y="439"/>
                  </a:lnTo>
                  <a:lnTo>
                    <a:pt x="2983" y="438"/>
                  </a:lnTo>
                  <a:lnTo>
                    <a:pt x="2982" y="439"/>
                  </a:lnTo>
                  <a:lnTo>
                    <a:pt x="2980" y="439"/>
                  </a:lnTo>
                  <a:lnTo>
                    <a:pt x="2980" y="438"/>
                  </a:lnTo>
                  <a:lnTo>
                    <a:pt x="2979" y="438"/>
                  </a:lnTo>
                  <a:lnTo>
                    <a:pt x="2978" y="439"/>
                  </a:lnTo>
                  <a:lnTo>
                    <a:pt x="2977" y="439"/>
                  </a:lnTo>
                  <a:lnTo>
                    <a:pt x="2977" y="440"/>
                  </a:lnTo>
                  <a:lnTo>
                    <a:pt x="2978" y="440"/>
                  </a:lnTo>
                  <a:lnTo>
                    <a:pt x="2978" y="441"/>
                  </a:lnTo>
                  <a:lnTo>
                    <a:pt x="2977" y="443"/>
                  </a:lnTo>
                  <a:lnTo>
                    <a:pt x="2977" y="444"/>
                  </a:lnTo>
                  <a:lnTo>
                    <a:pt x="2976" y="444"/>
                  </a:lnTo>
                  <a:lnTo>
                    <a:pt x="2975" y="444"/>
                  </a:lnTo>
                  <a:lnTo>
                    <a:pt x="2973" y="444"/>
                  </a:lnTo>
                  <a:lnTo>
                    <a:pt x="2972" y="444"/>
                  </a:lnTo>
                  <a:lnTo>
                    <a:pt x="2971" y="444"/>
                  </a:lnTo>
                  <a:lnTo>
                    <a:pt x="2971" y="445"/>
                  </a:lnTo>
                  <a:lnTo>
                    <a:pt x="2970" y="445"/>
                  </a:lnTo>
                  <a:lnTo>
                    <a:pt x="2969" y="444"/>
                  </a:lnTo>
                  <a:lnTo>
                    <a:pt x="2969" y="443"/>
                  </a:lnTo>
                  <a:lnTo>
                    <a:pt x="2968" y="443"/>
                  </a:lnTo>
                  <a:lnTo>
                    <a:pt x="2966" y="443"/>
                  </a:lnTo>
                  <a:lnTo>
                    <a:pt x="2965" y="443"/>
                  </a:lnTo>
                  <a:lnTo>
                    <a:pt x="2965" y="441"/>
                  </a:lnTo>
                  <a:lnTo>
                    <a:pt x="2964" y="441"/>
                  </a:lnTo>
                  <a:lnTo>
                    <a:pt x="2963" y="440"/>
                  </a:lnTo>
                  <a:lnTo>
                    <a:pt x="2962" y="439"/>
                  </a:lnTo>
                  <a:lnTo>
                    <a:pt x="2961" y="439"/>
                  </a:lnTo>
                  <a:lnTo>
                    <a:pt x="2961" y="438"/>
                  </a:lnTo>
                  <a:lnTo>
                    <a:pt x="2960" y="437"/>
                  </a:lnTo>
                  <a:lnTo>
                    <a:pt x="2958" y="437"/>
                  </a:lnTo>
                  <a:lnTo>
                    <a:pt x="2958" y="438"/>
                  </a:lnTo>
                  <a:lnTo>
                    <a:pt x="2958" y="437"/>
                  </a:lnTo>
                  <a:lnTo>
                    <a:pt x="2957" y="437"/>
                  </a:lnTo>
                  <a:lnTo>
                    <a:pt x="2957" y="436"/>
                  </a:lnTo>
                  <a:lnTo>
                    <a:pt x="2958" y="436"/>
                  </a:lnTo>
                  <a:lnTo>
                    <a:pt x="2958" y="434"/>
                  </a:lnTo>
                  <a:lnTo>
                    <a:pt x="2958" y="433"/>
                  </a:lnTo>
                  <a:lnTo>
                    <a:pt x="2957" y="433"/>
                  </a:lnTo>
                  <a:lnTo>
                    <a:pt x="2957" y="434"/>
                  </a:lnTo>
                  <a:lnTo>
                    <a:pt x="2957" y="433"/>
                  </a:lnTo>
                  <a:lnTo>
                    <a:pt x="2956" y="433"/>
                  </a:lnTo>
                  <a:lnTo>
                    <a:pt x="2956" y="434"/>
                  </a:lnTo>
                  <a:lnTo>
                    <a:pt x="2955" y="434"/>
                  </a:lnTo>
                  <a:lnTo>
                    <a:pt x="2955" y="436"/>
                  </a:lnTo>
                  <a:lnTo>
                    <a:pt x="2955" y="437"/>
                  </a:lnTo>
                  <a:lnTo>
                    <a:pt x="2954" y="437"/>
                  </a:lnTo>
                  <a:lnTo>
                    <a:pt x="2954" y="438"/>
                  </a:lnTo>
                  <a:lnTo>
                    <a:pt x="2953" y="439"/>
                  </a:lnTo>
                  <a:lnTo>
                    <a:pt x="2953" y="438"/>
                  </a:lnTo>
                  <a:lnTo>
                    <a:pt x="2951" y="438"/>
                  </a:lnTo>
                  <a:lnTo>
                    <a:pt x="2950" y="438"/>
                  </a:lnTo>
                  <a:lnTo>
                    <a:pt x="2949" y="437"/>
                  </a:lnTo>
                  <a:lnTo>
                    <a:pt x="2948" y="438"/>
                  </a:lnTo>
                  <a:lnTo>
                    <a:pt x="2948" y="437"/>
                  </a:lnTo>
                  <a:lnTo>
                    <a:pt x="2947" y="437"/>
                  </a:lnTo>
                  <a:lnTo>
                    <a:pt x="2946" y="437"/>
                  </a:lnTo>
                  <a:lnTo>
                    <a:pt x="2944" y="437"/>
                  </a:lnTo>
                  <a:lnTo>
                    <a:pt x="2943" y="437"/>
                  </a:lnTo>
                  <a:lnTo>
                    <a:pt x="2942" y="437"/>
                  </a:lnTo>
                  <a:lnTo>
                    <a:pt x="2941" y="437"/>
                  </a:lnTo>
                  <a:lnTo>
                    <a:pt x="2940" y="437"/>
                  </a:lnTo>
                  <a:lnTo>
                    <a:pt x="2940" y="434"/>
                  </a:lnTo>
                  <a:lnTo>
                    <a:pt x="2939" y="434"/>
                  </a:lnTo>
                  <a:lnTo>
                    <a:pt x="2937" y="433"/>
                  </a:lnTo>
                  <a:lnTo>
                    <a:pt x="2936" y="432"/>
                  </a:lnTo>
                  <a:lnTo>
                    <a:pt x="2935" y="432"/>
                  </a:lnTo>
                  <a:lnTo>
                    <a:pt x="2935" y="431"/>
                  </a:lnTo>
                  <a:lnTo>
                    <a:pt x="2935" y="430"/>
                  </a:lnTo>
                  <a:lnTo>
                    <a:pt x="2934" y="430"/>
                  </a:lnTo>
                  <a:lnTo>
                    <a:pt x="2933" y="429"/>
                  </a:lnTo>
                  <a:lnTo>
                    <a:pt x="2933" y="430"/>
                  </a:lnTo>
                  <a:lnTo>
                    <a:pt x="2933" y="429"/>
                  </a:lnTo>
                  <a:lnTo>
                    <a:pt x="2932" y="429"/>
                  </a:lnTo>
                  <a:lnTo>
                    <a:pt x="2930" y="429"/>
                  </a:lnTo>
                  <a:lnTo>
                    <a:pt x="2929" y="427"/>
                  </a:lnTo>
                  <a:lnTo>
                    <a:pt x="2928" y="427"/>
                  </a:lnTo>
                  <a:lnTo>
                    <a:pt x="2927" y="427"/>
                  </a:lnTo>
                  <a:lnTo>
                    <a:pt x="2927" y="426"/>
                  </a:lnTo>
                  <a:lnTo>
                    <a:pt x="2926" y="427"/>
                  </a:lnTo>
                  <a:lnTo>
                    <a:pt x="2925" y="426"/>
                  </a:lnTo>
                  <a:lnTo>
                    <a:pt x="2923" y="426"/>
                  </a:lnTo>
                  <a:lnTo>
                    <a:pt x="2923" y="425"/>
                  </a:lnTo>
                  <a:lnTo>
                    <a:pt x="2922" y="425"/>
                  </a:lnTo>
                  <a:lnTo>
                    <a:pt x="2922" y="424"/>
                  </a:lnTo>
                  <a:lnTo>
                    <a:pt x="2922" y="423"/>
                  </a:lnTo>
                  <a:lnTo>
                    <a:pt x="2921" y="423"/>
                  </a:lnTo>
                  <a:lnTo>
                    <a:pt x="2921" y="422"/>
                  </a:lnTo>
                  <a:lnTo>
                    <a:pt x="2920" y="422"/>
                  </a:lnTo>
                  <a:lnTo>
                    <a:pt x="2920" y="420"/>
                  </a:lnTo>
                  <a:lnTo>
                    <a:pt x="2918" y="420"/>
                  </a:lnTo>
                  <a:lnTo>
                    <a:pt x="2918" y="419"/>
                  </a:lnTo>
                  <a:lnTo>
                    <a:pt x="2916" y="418"/>
                  </a:lnTo>
                  <a:lnTo>
                    <a:pt x="2915" y="418"/>
                  </a:lnTo>
                  <a:lnTo>
                    <a:pt x="2915" y="417"/>
                  </a:lnTo>
                  <a:lnTo>
                    <a:pt x="2914" y="417"/>
                  </a:lnTo>
                  <a:lnTo>
                    <a:pt x="2913" y="417"/>
                  </a:lnTo>
                  <a:lnTo>
                    <a:pt x="2912" y="416"/>
                  </a:lnTo>
                  <a:lnTo>
                    <a:pt x="2909" y="416"/>
                  </a:lnTo>
                  <a:lnTo>
                    <a:pt x="2908" y="416"/>
                  </a:lnTo>
                  <a:lnTo>
                    <a:pt x="2907" y="415"/>
                  </a:lnTo>
                  <a:lnTo>
                    <a:pt x="2906" y="416"/>
                  </a:lnTo>
                  <a:lnTo>
                    <a:pt x="2905" y="416"/>
                  </a:lnTo>
                  <a:lnTo>
                    <a:pt x="2905" y="417"/>
                  </a:lnTo>
                  <a:lnTo>
                    <a:pt x="2904" y="417"/>
                  </a:lnTo>
                  <a:lnTo>
                    <a:pt x="2902" y="417"/>
                  </a:lnTo>
                  <a:lnTo>
                    <a:pt x="2901" y="417"/>
                  </a:lnTo>
                  <a:lnTo>
                    <a:pt x="2901" y="418"/>
                  </a:lnTo>
                  <a:lnTo>
                    <a:pt x="2900" y="419"/>
                  </a:lnTo>
                  <a:lnTo>
                    <a:pt x="2899" y="419"/>
                  </a:lnTo>
                  <a:lnTo>
                    <a:pt x="2898" y="419"/>
                  </a:lnTo>
                  <a:lnTo>
                    <a:pt x="2897" y="419"/>
                  </a:lnTo>
                  <a:lnTo>
                    <a:pt x="2896" y="419"/>
                  </a:lnTo>
                  <a:lnTo>
                    <a:pt x="2894" y="419"/>
                  </a:lnTo>
                  <a:lnTo>
                    <a:pt x="2893" y="419"/>
                  </a:lnTo>
                  <a:lnTo>
                    <a:pt x="2892" y="419"/>
                  </a:lnTo>
                  <a:lnTo>
                    <a:pt x="2892" y="418"/>
                  </a:lnTo>
                  <a:lnTo>
                    <a:pt x="2891" y="419"/>
                  </a:lnTo>
                  <a:lnTo>
                    <a:pt x="2891" y="418"/>
                  </a:lnTo>
                  <a:lnTo>
                    <a:pt x="2890" y="418"/>
                  </a:lnTo>
                  <a:lnTo>
                    <a:pt x="2890" y="419"/>
                  </a:lnTo>
                  <a:lnTo>
                    <a:pt x="2887" y="419"/>
                  </a:lnTo>
                  <a:lnTo>
                    <a:pt x="2886" y="419"/>
                  </a:lnTo>
                  <a:lnTo>
                    <a:pt x="2886" y="418"/>
                  </a:lnTo>
                  <a:lnTo>
                    <a:pt x="2886" y="417"/>
                  </a:lnTo>
                  <a:lnTo>
                    <a:pt x="2885" y="417"/>
                  </a:lnTo>
                  <a:lnTo>
                    <a:pt x="2885" y="416"/>
                  </a:lnTo>
                  <a:lnTo>
                    <a:pt x="2883" y="416"/>
                  </a:lnTo>
                  <a:lnTo>
                    <a:pt x="2882" y="416"/>
                  </a:lnTo>
                  <a:lnTo>
                    <a:pt x="2880" y="416"/>
                  </a:lnTo>
                  <a:lnTo>
                    <a:pt x="2880" y="415"/>
                  </a:lnTo>
                  <a:lnTo>
                    <a:pt x="2880" y="413"/>
                  </a:lnTo>
                  <a:lnTo>
                    <a:pt x="2880" y="412"/>
                  </a:lnTo>
                  <a:lnTo>
                    <a:pt x="2879" y="412"/>
                  </a:lnTo>
                  <a:lnTo>
                    <a:pt x="2878" y="412"/>
                  </a:lnTo>
                  <a:lnTo>
                    <a:pt x="2877" y="412"/>
                  </a:lnTo>
                  <a:lnTo>
                    <a:pt x="2877" y="411"/>
                  </a:lnTo>
                  <a:lnTo>
                    <a:pt x="2876" y="411"/>
                  </a:lnTo>
                  <a:lnTo>
                    <a:pt x="2873" y="411"/>
                  </a:lnTo>
                  <a:lnTo>
                    <a:pt x="2873" y="412"/>
                  </a:lnTo>
                  <a:lnTo>
                    <a:pt x="2872" y="412"/>
                  </a:lnTo>
                  <a:lnTo>
                    <a:pt x="2871" y="412"/>
                  </a:lnTo>
                  <a:lnTo>
                    <a:pt x="2871" y="413"/>
                  </a:lnTo>
                  <a:lnTo>
                    <a:pt x="2872" y="413"/>
                  </a:lnTo>
                  <a:lnTo>
                    <a:pt x="2872" y="415"/>
                  </a:lnTo>
                  <a:lnTo>
                    <a:pt x="2873" y="415"/>
                  </a:lnTo>
                  <a:lnTo>
                    <a:pt x="2873" y="416"/>
                  </a:lnTo>
                  <a:lnTo>
                    <a:pt x="2872" y="417"/>
                  </a:lnTo>
                  <a:lnTo>
                    <a:pt x="2871" y="417"/>
                  </a:lnTo>
                  <a:lnTo>
                    <a:pt x="2871" y="418"/>
                  </a:lnTo>
                  <a:lnTo>
                    <a:pt x="2870" y="418"/>
                  </a:lnTo>
                  <a:lnTo>
                    <a:pt x="2869" y="417"/>
                  </a:lnTo>
                  <a:lnTo>
                    <a:pt x="2869" y="418"/>
                  </a:lnTo>
                  <a:lnTo>
                    <a:pt x="2870" y="419"/>
                  </a:lnTo>
                  <a:lnTo>
                    <a:pt x="2869" y="418"/>
                  </a:lnTo>
                  <a:lnTo>
                    <a:pt x="2868" y="417"/>
                  </a:lnTo>
                  <a:lnTo>
                    <a:pt x="2866" y="416"/>
                  </a:lnTo>
                  <a:lnTo>
                    <a:pt x="2865" y="415"/>
                  </a:lnTo>
                  <a:lnTo>
                    <a:pt x="2863" y="413"/>
                  </a:lnTo>
                  <a:lnTo>
                    <a:pt x="2862" y="411"/>
                  </a:lnTo>
                  <a:lnTo>
                    <a:pt x="2859" y="410"/>
                  </a:lnTo>
                  <a:lnTo>
                    <a:pt x="2858" y="408"/>
                  </a:lnTo>
                  <a:lnTo>
                    <a:pt x="2856" y="405"/>
                  </a:lnTo>
                  <a:lnTo>
                    <a:pt x="2855" y="405"/>
                  </a:lnTo>
                  <a:lnTo>
                    <a:pt x="2854" y="404"/>
                  </a:lnTo>
                  <a:lnTo>
                    <a:pt x="2851" y="402"/>
                  </a:lnTo>
                  <a:lnTo>
                    <a:pt x="2849" y="401"/>
                  </a:lnTo>
                  <a:lnTo>
                    <a:pt x="2847" y="397"/>
                  </a:lnTo>
                  <a:lnTo>
                    <a:pt x="2843" y="395"/>
                  </a:lnTo>
                  <a:lnTo>
                    <a:pt x="2841" y="392"/>
                  </a:lnTo>
                  <a:lnTo>
                    <a:pt x="2837" y="390"/>
                  </a:lnTo>
                  <a:lnTo>
                    <a:pt x="2835" y="389"/>
                  </a:lnTo>
                  <a:lnTo>
                    <a:pt x="2834" y="387"/>
                  </a:lnTo>
                  <a:lnTo>
                    <a:pt x="2832" y="385"/>
                  </a:lnTo>
                  <a:lnTo>
                    <a:pt x="2829" y="383"/>
                  </a:lnTo>
                  <a:lnTo>
                    <a:pt x="2828" y="382"/>
                  </a:lnTo>
                  <a:lnTo>
                    <a:pt x="2826" y="381"/>
                  </a:lnTo>
                  <a:lnTo>
                    <a:pt x="2825" y="380"/>
                  </a:lnTo>
                  <a:lnTo>
                    <a:pt x="2823" y="380"/>
                  </a:lnTo>
                  <a:lnTo>
                    <a:pt x="2821" y="378"/>
                  </a:lnTo>
                  <a:lnTo>
                    <a:pt x="2820" y="377"/>
                  </a:lnTo>
                  <a:lnTo>
                    <a:pt x="2816" y="376"/>
                  </a:lnTo>
                  <a:lnTo>
                    <a:pt x="2814" y="375"/>
                  </a:lnTo>
                  <a:lnTo>
                    <a:pt x="2811" y="373"/>
                  </a:lnTo>
                  <a:lnTo>
                    <a:pt x="2808" y="371"/>
                  </a:lnTo>
                  <a:lnTo>
                    <a:pt x="2806" y="371"/>
                  </a:lnTo>
                  <a:lnTo>
                    <a:pt x="2805" y="370"/>
                  </a:lnTo>
                  <a:lnTo>
                    <a:pt x="2804" y="369"/>
                  </a:lnTo>
                  <a:lnTo>
                    <a:pt x="2802" y="368"/>
                  </a:lnTo>
                  <a:lnTo>
                    <a:pt x="2802" y="367"/>
                  </a:lnTo>
                  <a:lnTo>
                    <a:pt x="2805" y="368"/>
                  </a:lnTo>
                  <a:lnTo>
                    <a:pt x="2806" y="368"/>
                  </a:lnTo>
                  <a:lnTo>
                    <a:pt x="2806" y="367"/>
                  </a:lnTo>
                  <a:lnTo>
                    <a:pt x="2806" y="366"/>
                  </a:lnTo>
                  <a:lnTo>
                    <a:pt x="2806" y="364"/>
                  </a:lnTo>
                  <a:lnTo>
                    <a:pt x="2805" y="364"/>
                  </a:lnTo>
                  <a:lnTo>
                    <a:pt x="2805" y="363"/>
                  </a:lnTo>
                  <a:lnTo>
                    <a:pt x="2806" y="363"/>
                  </a:lnTo>
                  <a:lnTo>
                    <a:pt x="2805" y="363"/>
                  </a:lnTo>
                  <a:lnTo>
                    <a:pt x="2804" y="363"/>
                  </a:lnTo>
                  <a:lnTo>
                    <a:pt x="2804" y="364"/>
                  </a:lnTo>
                  <a:lnTo>
                    <a:pt x="2802" y="364"/>
                  </a:lnTo>
                  <a:lnTo>
                    <a:pt x="2801" y="364"/>
                  </a:lnTo>
                  <a:lnTo>
                    <a:pt x="2799" y="364"/>
                  </a:lnTo>
                  <a:lnTo>
                    <a:pt x="2799" y="366"/>
                  </a:lnTo>
                  <a:lnTo>
                    <a:pt x="2798" y="367"/>
                  </a:lnTo>
                  <a:lnTo>
                    <a:pt x="2795" y="367"/>
                  </a:lnTo>
                  <a:lnTo>
                    <a:pt x="2794" y="368"/>
                  </a:lnTo>
                  <a:lnTo>
                    <a:pt x="2793" y="368"/>
                  </a:lnTo>
                  <a:lnTo>
                    <a:pt x="2792" y="368"/>
                  </a:lnTo>
                  <a:lnTo>
                    <a:pt x="2791" y="368"/>
                  </a:lnTo>
                  <a:lnTo>
                    <a:pt x="2791" y="369"/>
                  </a:lnTo>
                  <a:lnTo>
                    <a:pt x="2792" y="370"/>
                  </a:lnTo>
                  <a:lnTo>
                    <a:pt x="2791" y="371"/>
                  </a:lnTo>
                  <a:lnTo>
                    <a:pt x="2790" y="371"/>
                  </a:lnTo>
                  <a:lnTo>
                    <a:pt x="2788" y="373"/>
                  </a:lnTo>
                  <a:lnTo>
                    <a:pt x="2787" y="373"/>
                  </a:lnTo>
                  <a:lnTo>
                    <a:pt x="2786" y="373"/>
                  </a:lnTo>
                  <a:lnTo>
                    <a:pt x="2785" y="373"/>
                  </a:lnTo>
                  <a:lnTo>
                    <a:pt x="2785" y="374"/>
                  </a:lnTo>
                  <a:lnTo>
                    <a:pt x="2785" y="375"/>
                  </a:lnTo>
                  <a:lnTo>
                    <a:pt x="2783" y="375"/>
                  </a:lnTo>
                  <a:lnTo>
                    <a:pt x="2783" y="376"/>
                  </a:lnTo>
                  <a:lnTo>
                    <a:pt x="2784" y="376"/>
                  </a:lnTo>
                  <a:lnTo>
                    <a:pt x="2784" y="377"/>
                  </a:lnTo>
                  <a:lnTo>
                    <a:pt x="2784" y="378"/>
                  </a:lnTo>
                  <a:lnTo>
                    <a:pt x="2783" y="377"/>
                  </a:lnTo>
                  <a:lnTo>
                    <a:pt x="2781" y="377"/>
                  </a:lnTo>
                  <a:lnTo>
                    <a:pt x="2781" y="376"/>
                  </a:lnTo>
                  <a:lnTo>
                    <a:pt x="2780" y="376"/>
                  </a:lnTo>
                  <a:lnTo>
                    <a:pt x="2779" y="376"/>
                  </a:lnTo>
                  <a:lnTo>
                    <a:pt x="2778" y="375"/>
                  </a:lnTo>
                  <a:lnTo>
                    <a:pt x="2777" y="375"/>
                  </a:lnTo>
                  <a:lnTo>
                    <a:pt x="2776" y="375"/>
                  </a:lnTo>
                  <a:lnTo>
                    <a:pt x="2776" y="376"/>
                  </a:lnTo>
                  <a:lnTo>
                    <a:pt x="2774" y="376"/>
                  </a:lnTo>
                  <a:lnTo>
                    <a:pt x="2773" y="376"/>
                  </a:lnTo>
                  <a:lnTo>
                    <a:pt x="2774" y="376"/>
                  </a:lnTo>
                  <a:lnTo>
                    <a:pt x="2773" y="376"/>
                  </a:lnTo>
                  <a:lnTo>
                    <a:pt x="2773" y="377"/>
                  </a:lnTo>
                  <a:lnTo>
                    <a:pt x="2772" y="378"/>
                  </a:lnTo>
                  <a:lnTo>
                    <a:pt x="2771" y="378"/>
                  </a:lnTo>
                  <a:lnTo>
                    <a:pt x="2771" y="377"/>
                  </a:lnTo>
                  <a:lnTo>
                    <a:pt x="2769" y="376"/>
                  </a:lnTo>
                  <a:lnTo>
                    <a:pt x="2769" y="375"/>
                  </a:lnTo>
                  <a:lnTo>
                    <a:pt x="2769" y="373"/>
                  </a:lnTo>
                  <a:lnTo>
                    <a:pt x="2770" y="373"/>
                  </a:lnTo>
                  <a:lnTo>
                    <a:pt x="2769" y="373"/>
                  </a:lnTo>
                  <a:lnTo>
                    <a:pt x="2769" y="371"/>
                  </a:lnTo>
                  <a:lnTo>
                    <a:pt x="2770" y="371"/>
                  </a:lnTo>
                  <a:lnTo>
                    <a:pt x="2772" y="371"/>
                  </a:lnTo>
                  <a:lnTo>
                    <a:pt x="2772" y="369"/>
                  </a:lnTo>
                  <a:lnTo>
                    <a:pt x="2771" y="369"/>
                  </a:lnTo>
                  <a:lnTo>
                    <a:pt x="2770" y="369"/>
                  </a:lnTo>
                  <a:lnTo>
                    <a:pt x="2770" y="370"/>
                  </a:lnTo>
                  <a:lnTo>
                    <a:pt x="2769" y="370"/>
                  </a:lnTo>
                  <a:lnTo>
                    <a:pt x="2768" y="370"/>
                  </a:lnTo>
                  <a:lnTo>
                    <a:pt x="2769" y="370"/>
                  </a:lnTo>
                  <a:lnTo>
                    <a:pt x="2768" y="370"/>
                  </a:lnTo>
                  <a:lnTo>
                    <a:pt x="2766" y="370"/>
                  </a:lnTo>
                  <a:lnTo>
                    <a:pt x="2764" y="370"/>
                  </a:lnTo>
                  <a:lnTo>
                    <a:pt x="2764" y="369"/>
                  </a:lnTo>
                  <a:lnTo>
                    <a:pt x="2763" y="369"/>
                  </a:lnTo>
                  <a:lnTo>
                    <a:pt x="2763" y="368"/>
                  </a:lnTo>
                  <a:lnTo>
                    <a:pt x="2762" y="368"/>
                  </a:lnTo>
                  <a:lnTo>
                    <a:pt x="2759" y="368"/>
                  </a:lnTo>
                  <a:lnTo>
                    <a:pt x="2758" y="368"/>
                  </a:lnTo>
                  <a:lnTo>
                    <a:pt x="2757" y="368"/>
                  </a:lnTo>
                  <a:lnTo>
                    <a:pt x="2757" y="369"/>
                  </a:lnTo>
                  <a:lnTo>
                    <a:pt x="2758" y="369"/>
                  </a:lnTo>
                  <a:lnTo>
                    <a:pt x="2759" y="369"/>
                  </a:lnTo>
                  <a:lnTo>
                    <a:pt x="2759" y="370"/>
                  </a:lnTo>
                  <a:lnTo>
                    <a:pt x="2761" y="370"/>
                  </a:lnTo>
                  <a:lnTo>
                    <a:pt x="2759" y="370"/>
                  </a:lnTo>
                  <a:lnTo>
                    <a:pt x="2758" y="370"/>
                  </a:lnTo>
                  <a:lnTo>
                    <a:pt x="2758" y="371"/>
                  </a:lnTo>
                  <a:lnTo>
                    <a:pt x="2757" y="371"/>
                  </a:lnTo>
                  <a:lnTo>
                    <a:pt x="2756" y="370"/>
                  </a:lnTo>
                  <a:lnTo>
                    <a:pt x="2756" y="369"/>
                  </a:lnTo>
                  <a:lnTo>
                    <a:pt x="2755" y="369"/>
                  </a:lnTo>
                  <a:lnTo>
                    <a:pt x="2755" y="368"/>
                  </a:lnTo>
                  <a:lnTo>
                    <a:pt x="2756" y="368"/>
                  </a:lnTo>
                  <a:lnTo>
                    <a:pt x="2755" y="368"/>
                  </a:lnTo>
                  <a:lnTo>
                    <a:pt x="2754" y="367"/>
                  </a:lnTo>
                  <a:lnTo>
                    <a:pt x="2754" y="366"/>
                  </a:lnTo>
                  <a:lnTo>
                    <a:pt x="2752" y="366"/>
                  </a:lnTo>
                  <a:lnTo>
                    <a:pt x="2752" y="364"/>
                  </a:lnTo>
                  <a:lnTo>
                    <a:pt x="2751" y="364"/>
                  </a:lnTo>
                  <a:lnTo>
                    <a:pt x="2750" y="364"/>
                  </a:lnTo>
                  <a:lnTo>
                    <a:pt x="2749" y="364"/>
                  </a:lnTo>
                  <a:lnTo>
                    <a:pt x="2750" y="364"/>
                  </a:lnTo>
                  <a:lnTo>
                    <a:pt x="2751" y="366"/>
                  </a:lnTo>
                  <a:lnTo>
                    <a:pt x="2750" y="366"/>
                  </a:lnTo>
                  <a:lnTo>
                    <a:pt x="2751" y="366"/>
                  </a:lnTo>
                  <a:lnTo>
                    <a:pt x="2751" y="367"/>
                  </a:lnTo>
                  <a:lnTo>
                    <a:pt x="2752" y="367"/>
                  </a:lnTo>
                  <a:lnTo>
                    <a:pt x="2752" y="368"/>
                  </a:lnTo>
                  <a:lnTo>
                    <a:pt x="2751" y="368"/>
                  </a:lnTo>
                  <a:lnTo>
                    <a:pt x="2750" y="367"/>
                  </a:lnTo>
                  <a:lnTo>
                    <a:pt x="2747" y="366"/>
                  </a:lnTo>
                  <a:lnTo>
                    <a:pt x="2747" y="367"/>
                  </a:lnTo>
                  <a:lnTo>
                    <a:pt x="2748" y="368"/>
                  </a:lnTo>
                  <a:lnTo>
                    <a:pt x="2747" y="368"/>
                  </a:lnTo>
                  <a:lnTo>
                    <a:pt x="2745" y="368"/>
                  </a:lnTo>
                  <a:lnTo>
                    <a:pt x="2744" y="368"/>
                  </a:lnTo>
                  <a:lnTo>
                    <a:pt x="2744" y="367"/>
                  </a:lnTo>
                  <a:lnTo>
                    <a:pt x="2743" y="367"/>
                  </a:lnTo>
                  <a:lnTo>
                    <a:pt x="2742" y="367"/>
                  </a:lnTo>
                  <a:lnTo>
                    <a:pt x="2742" y="368"/>
                  </a:lnTo>
                  <a:lnTo>
                    <a:pt x="2741" y="368"/>
                  </a:lnTo>
                  <a:lnTo>
                    <a:pt x="2740" y="367"/>
                  </a:lnTo>
                  <a:lnTo>
                    <a:pt x="2738" y="366"/>
                  </a:lnTo>
                  <a:lnTo>
                    <a:pt x="2737" y="366"/>
                  </a:lnTo>
                  <a:lnTo>
                    <a:pt x="2737" y="364"/>
                  </a:lnTo>
                  <a:lnTo>
                    <a:pt x="2738" y="364"/>
                  </a:lnTo>
                  <a:lnTo>
                    <a:pt x="2740" y="366"/>
                  </a:lnTo>
                  <a:lnTo>
                    <a:pt x="2740" y="364"/>
                  </a:lnTo>
                  <a:lnTo>
                    <a:pt x="2740" y="363"/>
                  </a:lnTo>
                  <a:lnTo>
                    <a:pt x="2738" y="363"/>
                  </a:lnTo>
                  <a:lnTo>
                    <a:pt x="2738" y="362"/>
                  </a:lnTo>
                  <a:lnTo>
                    <a:pt x="2737" y="361"/>
                  </a:lnTo>
                  <a:lnTo>
                    <a:pt x="2738" y="361"/>
                  </a:lnTo>
                  <a:lnTo>
                    <a:pt x="2738" y="360"/>
                  </a:lnTo>
                  <a:lnTo>
                    <a:pt x="2737" y="359"/>
                  </a:lnTo>
                  <a:lnTo>
                    <a:pt x="2736" y="359"/>
                  </a:lnTo>
                  <a:lnTo>
                    <a:pt x="2735" y="359"/>
                  </a:lnTo>
                  <a:lnTo>
                    <a:pt x="2734" y="357"/>
                  </a:lnTo>
                  <a:lnTo>
                    <a:pt x="2734" y="356"/>
                  </a:lnTo>
                  <a:lnTo>
                    <a:pt x="2733" y="356"/>
                  </a:lnTo>
                  <a:lnTo>
                    <a:pt x="2733" y="355"/>
                  </a:lnTo>
                  <a:lnTo>
                    <a:pt x="2733" y="354"/>
                  </a:lnTo>
                  <a:lnTo>
                    <a:pt x="2731" y="353"/>
                  </a:lnTo>
                  <a:lnTo>
                    <a:pt x="2730" y="352"/>
                  </a:lnTo>
                  <a:lnTo>
                    <a:pt x="2729" y="352"/>
                  </a:lnTo>
                  <a:lnTo>
                    <a:pt x="2729" y="350"/>
                  </a:lnTo>
                  <a:lnTo>
                    <a:pt x="2728" y="350"/>
                  </a:lnTo>
                  <a:lnTo>
                    <a:pt x="2727" y="350"/>
                  </a:lnTo>
                  <a:lnTo>
                    <a:pt x="2726" y="350"/>
                  </a:lnTo>
                  <a:lnTo>
                    <a:pt x="2724" y="350"/>
                  </a:lnTo>
                  <a:lnTo>
                    <a:pt x="2724" y="352"/>
                  </a:lnTo>
                  <a:lnTo>
                    <a:pt x="2723" y="352"/>
                  </a:lnTo>
                  <a:lnTo>
                    <a:pt x="2723" y="353"/>
                  </a:lnTo>
                  <a:lnTo>
                    <a:pt x="2721" y="352"/>
                  </a:lnTo>
                  <a:lnTo>
                    <a:pt x="2720" y="352"/>
                  </a:lnTo>
                  <a:lnTo>
                    <a:pt x="2719" y="352"/>
                  </a:lnTo>
                  <a:lnTo>
                    <a:pt x="2717" y="350"/>
                  </a:lnTo>
                  <a:lnTo>
                    <a:pt x="2715" y="349"/>
                  </a:lnTo>
                  <a:lnTo>
                    <a:pt x="2713" y="349"/>
                  </a:lnTo>
                  <a:lnTo>
                    <a:pt x="2710" y="349"/>
                  </a:lnTo>
                  <a:lnTo>
                    <a:pt x="2709" y="350"/>
                  </a:lnTo>
                  <a:lnTo>
                    <a:pt x="2709" y="349"/>
                  </a:lnTo>
                  <a:lnTo>
                    <a:pt x="2708" y="349"/>
                  </a:lnTo>
                  <a:lnTo>
                    <a:pt x="2706" y="348"/>
                  </a:lnTo>
                  <a:lnTo>
                    <a:pt x="2706" y="349"/>
                  </a:lnTo>
                  <a:lnTo>
                    <a:pt x="2707" y="349"/>
                  </a:lnTo>
                  <a:lnTo>
                    <a:pt x="2707" y="350"/>
                  </a:lnTo>
                  <a:lnTo>
                    <a:pt x="2706" y="350"/>
                  </a:lnTo>
                  <a:lnTo>
                    <a:pt x="2706" y="349"/>
                  </a:lnTo>
                  <a:lnTo>
                    <a:pt x="2705" y="349"/>
                  </a:lnTo>
                  <a:lnTo>
                    <a:pt x="2704" y="349"/>
                  </a:lnTo>
                  <a:lnTo>
                    <a:pt x="2704" y="350"/>
                  </a:lnTo>
                  <a:lnTo>
                    <a:pt x="2705" y="350"/>
                  </a:lnTo>
                  <a:lnTo>
                    <a:pt x="2704" y="350"/>
                  </a:lnTo>
                  <a:lnTo>
                    <a:pt x="2704" y="352"/>
                  </a:lnTo>
                  <a:lnTo>
                    <a:pt x="2702" y="352"/>
                  </a:lnTo>
                  <a:lnTo>
                    <a:pt x="2701" y="352"/>
                  </a:lnTo>
                  <a:lnTo>
                    <a:pt x="2700" y="352"/>
                  </a:lnTo>
                  <a:lnTo>
                    <a:pt x="2699" y="353"/>
                  </a:lnTo>
                  <a:lnTo>
                    <a:pt x="2700" y="353"/>
                  </a:lnTo>
                  <a:lnTo>
                    <a:pt x="2701" y="354"/>
                  </a:lnTo>
                  <a:lnTo>
                    <a:pt x="2700" y="354"/>
                  </a:lnTo>
                  <a:lnTo>
                    <a:pt x="2700" y="355"/>
                  </a:lnTo>
                  <a:lnTo>
                    <a:pt x="2699" y="355"/>
                  </a:lnTo>
                  <a:lnTo>
                    <a:pt x="2698" y="355"/>
                  </a:lnTo>
                  <a:lnTo>
                    <a:pt x="2697" y="355"/>
                  </a:lnTo>
                  <a:lnTo>
                    <a:pt x="2697" y="356"/>
                  </a:lnTo>
                  <a:lnTo>
                    <a:pt x="2695" y="356"/>
                  </a:lnTo>
                  <a:lnTo>
                    <a:pt x="2694" y="357"/>
                  </a:lnTo>
                  <a:lnTo>
                    <a:pt x="2693" y="357"/>
                  </a:lnTo>
                  <a:lnTo>
                    <a:pt x="2692" y="357"/>
                  </a:lnTo>
                  <a:lnTo>
                    <a:pt x="2691" y="356"/>
                  </a:lnTo>
                  <a:lnTo>
                    <a:pt x="2691" y="357"/>
                  </a:lnTo>
                  <a:lnTo>
                    <a:pt x="2690" y="357"/>
                  </a:lnTo>
                  <a:lnTo>
                    <a:pt x="2688" y="357"/>
                  </a:lnTo>
                  <a:lnTo>
                    <a:pt x="2688" y="359"/>
                  </a:lnTo>
                  <a:lnTo>
                    <a:pt x="2687" y="359"/>
                  </a:lnTo>
                  <a:lnTo>
                    <a:pt x="2685" y="359"/>
                  </a:lnTo>
                  <a:lnTo>
                    <a:pt x="2684" y="359"/>
                  </a:lnTo>
                  <a:lnTo>
                    <a:pt x="2683" y="359"/>
                  </a:lnTo>
                  <a:lnTo>
                    <a:pt x="2681" y="359"/>
                  </a:lnTo>
                  <a:lnTo>
                    <a:pt x="2678" y="360"/>
                  </a:lnTo>
                  <a:lnTo>
                    <a:pt x="2677" y="361"/>
                  </a:lnTo>
                  <a:lnTo>
                    <a:pt x="2677" y="360"/>
                  </a:lnTo>
                  <a:lnTo>
                    <a:pt x="2676" y="360"/>
                  </a:lnTo>
                  <a:lnTo>
                    <a:pt x="2674" y="360"/>
                  </a:lnTo>
                  <a:lnTo>
                    <a:pt x="2674" y="361"/>
                  </a:lnTo>
                  <a:lnTo>
                    <a:pt x="2672" y="361"/>
                  </a:lnTo>
                  <a:lnTo>
                    <a:pt x="2671" y="360"/>
                  </a:lnTo>
                  <a:lnTo>
                    <a:pt x="2671" y="361"/>
                  </a:lnTo>
                  <a:lnTo>
                    <a:pt x="2670" y="361"/>
                  </a:lnTo>
                  <a:lnTo>
                    <a:pt x="2669" y="362"/>
                  </a:lnTo>
                  <a:lnTo>
                    <a:pt x="2669" y="363"/>
                  </a:lnTo>
                  <a:lnTo>
                    <a:pt x="2670" y="364"/>
                  </a:lnTo>
                  <a:lnTo>
                    <a:pt x="2670" y="366"/>
                  </a:lnTo>
                  <a:lnTo>
                    <a:pt x="2669" y="364"/>
                  </a:lnTo>
                  <a:lnTo>
                    <a:pt x="2669" y="366"/>
                  </a:lnTo>
                  <a:lnTo>
                    <a:pt x="2669" y="364"/>
                  </a:lnTo>
                  <a:lnTo>
                    <a:pt x="2666" y="364"/>
                  </a:lnTo>
                  <a:lnTo>
                    <a:pt x="2666" y="363"/>
                  </a:lnTo>
                  <a:lnTo>
                    <a:pt x="2665" y="364"/>
                  </a:lnTo>
                  <a:lnTo>
                    <a:pt x="2664" y="364"/>
                  </a:lnTo>
                  <a:lnTo>
                    <a:pt x="2663" y="364"/>
                  </a:lnTo>
                  <a:lnTo>
                    <a:pt x="2662" y="364"/>
                  </a:lnTo>
                  <a:lnTo>
                    <a:pt x="2660" y="364"/>
                  </a:lnTo>
                  <a:lnTo>
                    <a:pt x="2659" y="364"/>
                  </a:lnTo>
                  <a:lnTo>
                    <a:pt x="2658" y="364"/>
                  </a:lnTo>
                  <a:lnTo>
                    <a:pt x="2657" y="364"/>
                  </a:lnTo>
                  <a:lnTo>
                    <a:pt x="2657" y="366"/>
                  </a:lnTo>
                  <a:lnTo>
                    <a:pt x="2656" y="366"/>
                  </a:lnTo>
                  <a:lnTo>
                    <a:pt x="2656" y="364"/>
                  </a:lnTo>
                  <a:lnTo>
                    <a:pt x="2656" y="366"/>
                  </a:lnTo>
                  <a:lnTo>
                    <a:pt x="2657" y="366"/>
                  </a:lnTo>
                  <a:lnTo>
                    <a:pt x="2656" y="367"/>
                  </a:lnTo>
                  <a:lnTo>
                    <a:pt x="2655" y="367"/>
                  </a:lnTo>
                  <a:lnTo>
                    <a:pt x="2653" y="366"/>
                  </a:lnTo>
                  <a:lnTo>
                    <a:pt x="2652" y="366"/>
                  </a:lnTo>
                  <a:lnTo>
                    <a:pt x="2651" y="367"/>
                  </a:lnTo>
                  <a:lnTo>
                    <a:pt x="2650" y="367"/>
                  </a:lnTo>
                  <a:lnTo>
                    <a:pt x="2649" y="367"/>
                  </a:lnTo>
                  <a:lnTo>
                    <a:pt x="2648" y="367"/>
                  </a:lnTo>
                  <a:lnTo>
                    <a:pt x="2646" y="367"/>
                  </a:lnTo>
                  <a:lnTo>
                    <a:pt x="2646" y="368"/>
                  </a:lnTo>
                  <a:lnTo>
                    <a:pt x="2645" y="368"/>
                  </a:lnTo>
                  <a:lnTo>
                    <a:pt x="2644" y="369"/>
                  </a:lnTo>
                  <a:lnTo>
                    <a:pt x="2643" y="368"/>
                  </a:lnTo>
                  <a:lnTo>
                    <a:pt x="2643" y="369"/>
                  </a:lnTo>
                  <a:lnTo>
                    <a:pt x="2642" y="369"/>
                  </a:lnTo>
                  <a:lnTo>
                    <a:pt x="2641" y="369"/>
                  </a:lnTo>
                  <a:lnTo>
                    <a:pt x="2641" y="370"/>
                  </a:lnTo>
                  <a:lnTo>
                    <a:pt x="2641" y="371"/>
                  </a:lnTo>
                  <a:lnTo>
                    <a:pt x="2642" y="371"/>
                  </a:lnTo>
                  <a:lnTo>
                    <a:pt x="2641" y="371"/>
                  </a:lnTo>
                  <a:lnTo>
                    <a:pt x="2640" y="371"/>
                  </a:lnTo>
                  <a:lnTo>
                    <a:pt x="2640" y="370"/>
                  </a:lnTo>
                  <a:lnTo>
                    <a:pt x="2640" y="369"/>
                  </a:lnTo>
                  <a:lnTo>
                    <a:pt x="2638" y="369"/>
                  </a:lnTo>
                  <a:lnTo>
                    <a:pt x="2634" y="369"/>
                  </a:lnTo>
                  <a:lnTo>
                    <a:pt x="2634" y="370"/>
                  </a:lnTo>
                  <a:lnTo>
                    <a:pt x="2635" y="370"/>
                  </a:lnTo>
                  <a:lnTo>
                    <a:pt x="2634" y="370"/>
                  </a:lnTo>
                  <a:lnTo>
                    <a:pt x="2633" y="370"/>
                  </a:lnTo>
                  <a:lnTo>
                    <a:pt x="2631" y="370"/>
                  </a:lnTo>
                  <a:lnTo>
                    <a:pt x="2630" y="370"/>
                  </a:lnTo>
                  <a:lnTo>
                    <a:pt x="2629" y="370"/>
                  </a:lnTo>
                  <a:lnTo>
                    <a:pt x="2628" y="370"/>
                  </a:lnTo>
                  <a:lnTo>
                    <a:pt x="2628" y="369"/>
                  </a:lnTo>
                  <a:lnTo>
                    <a:pt x="2627" y="369"/>
                  </a:lnTo>
                  <a:lnTo>
                    <a:pt x="2626" y="369"/>
                  </a:lnTo>
                  <a:lnTo>
                    <a:pt x="2624" y="369"/>
                  </a:lnTo>
                  <a:lnTo>
                    <a:pt x="2624" y="370"/>
                  </a:lnTo>
                  <a:lnTo>
                    <a:pt x="2626" y="370"/>
                  </a:lnTo>
                  <a:lnTo>
                    <a:pt x="2626" y="371"/>
                  </a:lnTo>
                  <a:lnTo>
                    <a:pt x="2624" y="370"/>
                  </a:lnTo>
                  <a:lnTo>
                    <a:pt x="2623" y="370"/>
                  </a:lnTo>
                  <a:lnTo>
                    <a:pt x="2622" y="371"/>
                  </a:lnTo>
                  <a:lnTo>
                    <a:pt x="2623" y="371"/>
                  </a:lnTo>
                  <a:lnTo>
                    <a:pt x="2624" y="371"/>
                  </a:lnTo>
                  <a:lnTo>
                    <a:pt x="2626" y="373"/>
                  </a:lnTo>
                  <a:lnTo>
                    <a:pt x="2626" y="374"/>
                  </a:lnTo>
                  <a:lnTo>
                    <a:pt x="2624" y="374"/>
                  </a:lnTo>
                  <a:lnTo>
                    <a:pt x="2624" y="375"/>
                  </a:lnTo>
                  <a:lnTo>
                    <a:pt x="2623" y="375"/>
                  </a:lnTo>
                  <a:lnTo>
                    <a:pt x="2623" y="376"/>
                  </a:lnTo>
                  <a:lnTo>
                    <a:pt x="2626" y="376"/>
                  </a:lnTo>
                  <a:lnTo>
                    <a:pt x="2627" y="376"/>
                  </a:lnTo>
                  <a:lnTo>
                    <a:pt x="2628" y="376"/>
                  </a:lnTo>
                  <a:lnTo>
                    <a:pt x="2629" y="376"/>
                  </a:lnTo>
                  <a:lnTo>
                    <a:pt x="2630" y="376"/>
                  </a:lnTo>
                  <a:lnTo>
                    <a:pt x="2631" y="376"/>
                  </a:lnTo>
                  <a:lnTo>
                    <a:pt x="2631" y="377"/>
                  </a:lnTo>
                  <a:lnTo>
                    <a:pt x="2631" y="378"/>
                  </a:lnTo>
                  <a:lnTo>
                    <a:pt x="2630" y="378"/>
                  </a:lnTo>
                  <a:lnTo>
                    <a:pt x="2629" y="377"/>
                  </a:lnTo>
                  <a:lnTo>
                    <a:pt x="2628" y="377"/>
                  </a:lnTo>
                  <a:lnTo>
                    <a:pt x="2628" y="378"/>
                  </a:lnTo>
                  <a:lnTo>
                    <a:pt x="2628" y="380"/>
                  </a:lnTo>
                  <a:lnTo>
                    <a:pt x="2628" y="381"/>
                  </a:lnTo>
                  <a:lnTo>
                    <a:pt x="2629" y="381"/>
                  </a:lnTo>
                  <a:lnTo>
                    <a:pt x="2630" y="381"/>
                  </a:lnTo>
                  <a:lnTo>
                    <a:pt x="2631" y="381"/>
                  </a:lnTo>
                  <a:lnTo>
                    <a:pt x="2633" y="382"/>
                  </a:lnTo>
                  <a:lnTo>
                    <a:pt x="2634" y="382"/>
                  </a:lnTo>
                  <a:lnTo>
                    <a:pt x="2635" y="381"/>
                  </a:lnTo>
                  <a:lnTo>
                    <a:pt x="2635" y="382"/>
                  </a:lnTo>
                  <a:lnTo>
                    <a:pt x="2636" y="382"/>
                  </a:lnTo>
                  <a:lnTo>
                    <a:pt x="2637" y="383"/>
                  </a:lnTo>
                  <a:lnTo>
                    <a:pt x="2640" y="383"/>
                  </a:lnTo>
                  <a:lnTo>
                    <a:pt x="2641" y="383"/>
                  </a:lnTo>
                  <a:lnTo>
                    <a:pt x="2641" y="384"/>
                  </a:lnTo>
                  <a:lnTo>
                    <a:pt x="2641" y="385"/>
                  </a:lnTo>
                  <a:lnTo>
                    <a:pt x="2640" y="385"/>
                  </a:lnTo>
                  <a:lnTo>
                    <a:pt x="2638" y="385"/>
                  </a:lnTo>
                  <a:lnTo>
                    <a:pt x="2637" y="385"/>
                  </a:lnTo>
                  <a:lnTo>
                    <a:pt x="2636" y="385"/>
                  </a:lnTo>
                  <a:lnTo>
                    <a:pt x="2635" y="385"/>
                  </a:lnTo>
                  <a:lnTo>
                    <a:pt x="2634" y="384"/>
                  </a:lnTo>
                  <a:lnTo>
                    <a:pt x="2633" y="385"/>
                  </a:lnTo>
                  <a:lnTo>
                    <a:pt x="2631" y="385"/>
                  </a:lnTo>
                  <a:lnTo>
                    <a:pt x="2631" y="384"/>
                  </a:lnTo>
                  <a:lnTo>
                    <a:pt x="2630" y="384"/>
                  </a:lnTo>
                  <a:lnTo>
                    <a:pt x="2630" y="385"/>
                  </a:lnTo>
                  <a:lnTo>
                    <a:pt x="2629" y="385"/>
                  </a:lnTo>
                  <a:lnTo>
                    <a:pt x="2628" y="385"/>
                  </a:lnTo>
                  <a:lnTo>
                    <a:pt x="2629" y="387"/>
                  </a:lnTo>
                  <a:lnTo>
                    <a:pt x="2628" y="388"/>
                  </a:lnTo>
                  <a:lnTo>
                    <a:pt x="2627" y="389"/>
                  </a:lnTo>
                  <a:lnTo>
                    <a:pt x="2626" y="389"/>
                  </a:lnTo>
                  <a:lnTo>
                    <a:pt x="2626" y="390"/>
                  </a:lnTo>
                  <a:lnTo>
                    <a:pt x="2627" y="390"/>
                  </a:lnTo>
                  <a:lnTo>
                    <a:pt x="2628" y="390"/>
                  </a:lnTo>
                  <a:lnTo>
                    <a:pt x="2628" y="391"/>
                  </a:lnTo>
                  <a:lnTo>
                    <a:pt x="2629" y="391"/>
                  </a:lnTo>
                  <a:lnTo>
                    <a:pt x="2629" y="392"/>
                  </a:lnTo>
                  <a:lnTo>
                    <a:pt x="2630" y="392"/>
                  </a:lnTo>
                  <a:lnTo>
                    <a:pt x="2631" y="394"/>
                  </a:lnTo>
                  <a:lnTo>
                    <a:pt x="2633" y="395"/>
                  </a:lnTo>
                  <a:lnTo>
                    <a:pt x="2631" y="396"/>
                  </a:lnTo>
                  <a:lnTo>
                    <a:pt x="2630" y="397"/>
                  </a:lnTo>
                  <a:lnTo>
                    <a:pt x="2629" y="397"/>
                  </a:lnTo>
                  <a:lnTo>
                    <a:pt x="2629" y="398"/>
                  </a:lnTo>
                  <a:lnTo>
                    <a:pt x="2628" y="398"/>
                  </a:lnTo>
                  <a:lnTo>
                    <a:pt x="2627" y="397"/>
                  </a:lnTo>
                  <a:lnTo>
                    <a:pt x="2627" y="398"/>
                  </a:lnTo>
                  <a:lnTo>
                    <a:pt x="2626" y="398"/>
                  </a:lnTo>
                  <a:lnTo>
                    <a:pt x="2624" y="401"/>
                  </a:lnTo>
                  <a:lnTo>
                    <a:pt x="2622" y="401"/>
                  </a:lnTo>
                  <a:lnTo>
                    <a:pt x="2623" y="402"/>
                  </a:lnTo>
                  <a:lnTo>
                    <a:pt x="2624" y="402"/>
                  </a:lnTo>
                  <a:lnTo>
                    <a:pt x="2626" y="403"/>
                  </a:lnTo>
                  <a:lnTo>
                    <a:pt x="2628" y="403"/>
                  </a:lnTo>
                  <a:lnTo>
                    <a:pt x="2629" y="403"/>
                  </a:lnTo>
                  <a:lnTo>
                    <a:pt x="2629" y="404"/>
                  </a:lnTo>
                  <a:lnTo>
                    <a:pt x="2628" y="404"/>
                  </a:lnTo>
                  <a:lnTo>
                    <a:pt x="2628" y="405"/>
                  </a:lnTo>
                  <a:lnTo>
                    <a:pt x="2629" y="405"/>
                  </a:lnTo>
                  <a:lnTo>
                    <a:pt x="2630" y="405"/>
                  </a:lnTo>
                  <a:lnTo>
                    <a:pt x="2635" y="406"/>
                  </a:lnTo>
                  <a:lnTo>
                    <a:pt x="2636" y="406"/>
                  </a:lnTo>
                  <a:lnTo>
                    <a:pt x="2636" y="408"/>
                  </a:lnTo>
                  <a:lnTo>
                    <a:pt x="2637" y="408"/>
                  </a:lnTo>
                  <a:lnTo>
                    <a:pt x="2638" y="408"/>
                  </a:lnTo>
                  <a:lnTo>
                    <a:pt x="2640" y="408"/>
                  </a:lnTo>
                  <a:lnTo>
                    <a:pt x="2641" y="409"/>
                  </a:lnTo>
                  <a:lnTo>
                    <a:pt x="2642" y="409"/>
                  </a:lnTo>
                  <a:lnTo>
                    <a:pt x="2643" y="409"/>
                  </a:lnTo>
                  <a:lnTo>
                    <a:pt x="2644" y="410"/>
                  </a:lnTo>
                  <a:lnTo>
                    <a:pt x="2644" y="411"/>
                  </a:lnTo>
                  <a:lnTo>
                    <a:pt x="2645" y="411"/>
                  </a:lnTo>
                  <a:lnTo>
                    <a:pt x="2644" y="412"/>
                  </a:lnTo>
                  <a:lnTo>
                    <a:pt x="2645" y="416"/>
                  </a:lnTo>
                  <a:lnTo>
                    <a:pt x="2645" y="417"/>
                  </a:lnTo>
                  <a:lnTo>
                    <a:pt x="2645" y="418"/>
                  </a:lnTo>
                  <a:lnTo>
                    <a:pt x="2642" y="419"/>
                  </a:lnTo>
                  <a:lnTo>
                    <a:pt x="2638" y="420"/>
                  </a:lnTo>
                  <a:lnTo>
                    <a:pt x="2637" y="420"/>
                  </a:lnTo>
                  <a:lnTo>
                    <a:pt x="2633" y="420"/>
                  </a:lnTo>
                  <a:lnTo>
                    <a:pt x="2631" y="419"/>
                  </a:lnTo>
                  <a:lnTo>
                    <a:pt x="2630" y="419"/>
                  </a:lnTo>
                  <a:lnTo>
                    <a:pt x="2630" y="418"/>
                  </a:lnTo>
                  <a:lnTo>
                    <a:pt x="2629" y="417"/>
                  </a:lnTo>
                  <a:lnTo>
                    <a:pt x="2628" y="417"/>
                  </a:lnTo>
                  <a:lnTo>
                    <a:pt x="2628" y="418"/>
                  </a:lnTo>
                  <a:lnTo>
                    <a:pt x="2628" y="419"/>
                  </a:lnTo>
                  <a:lnTo>
                    <a:pt x="2628" y="420"/>
                  </a:lnTo>
                  <a:lnTo>
                    <a:pt x="2627" y="422"/>
                  </a:lnTo>
                  <a:lnTo>
                    <a:pt x="2627" y="423"/>
                  </a:lnTo>
                  <a:lnTo>
                    <a:pt x="2626" y="423"/>
                  </a:lnTo>
                  <a:lnTo>
                    <a:pt x="2624" y="423"/>
                  </a:lnTo>
                  <a:lnTo>
                    <a:pt x="2623" y="423"/>
                  </a:lnTo>
                  <a:lnTo>
                    <a:pt x="2623" y="422"/>
                  </a:lnTo>
                  <a:lnTo>
                    <a:pt x="2624" y="422"/>
                  </a:lnTo>
                  <a:lnTo>
                    <a:pt x="2623" y="422"/>
                  </a:lnTo>
                  <a:lnTo>
                    <a:pt x="2622" y="420"/>
                  </a:lnTo>
                  <a:lnTo>
                    <a:pt x="2621" y="422"/>
                  </a:lnTo>
                  <a:lnTo>
                    <a:pt x="2620" y="420"/>
                  </a:lnTo>
                  <a:lnTo>
                    <a:pt x="2616" y="420"/>
                  </a:lnTo>
                  <a:lnTo>
                    <a:pt x="2615" y="420"/>
                  </a:lnTo>
                  <a:lnTo>
                    <a:pt x="2614" y="419"/>
                  </a:lnTo>
                  <a:lnTo>
                    <a:pt x="2614" y="418"/>
                  </a:lnTo>
                  <a:lnTo>
                    <a:pt x="2613" y="418"/>
                  </a:lnTo>
                  <a:lnTo>
                    <a:pt x="2612" y="418"/>
                  </a:lnTo>
                  <a:lnTo>
                    <a:pt x="2612" y="417"/>
                  </a:lnTo>
                  <a:lnTo>
                    <a:pt x="2610" y="417"/>
                  </a:lnTo>
                  <a:lnTo>
                    <a:pt x="2610" y="416"/>
                  </a:lnTo>
                  <a:lnTo>
                    <a:pt x="2610" y="415"/>
                  </a:lnTo>
                  <a:lnTo>
                    <a:pt x="2609" y="415"/>
                  </a:lnTo>
                  <a:lnTo>
                    <a:pt x="2608" y="415"/>
                  </a:lnTo>
                  <a:lnTo>
                    <a:pt x="2607" y="415"/>
                  </a:lnTo>
                  <a:lnTo>
                    <a:pt x="2607" y="413"/>
                  </a:lnTo>
                  <a:lnTo>
                    <a:pt x="2606" y="413"/>
                  </a:lnTo>
                  <a:lnTo>
                    <a:pt x="2605" y="415"/>
                  </a:lnTo>
                  <a:lnTo>
                    <a:pt x="2603" y="415"/>
                  </a:lnTo>
                  <a:lnTo>
                    <a:pt x="2603" y="413"/>
                  </a:lnTo>
                  <a:lnTo>
                    <a:pt x="2602" y="413"/>
                  </a:lnTo>
                  <a:lnTo>
                    <a:pt x="2601" y="413"/>
                  </a:lnTo>
                  <a:lnTo>
                    <a:pt x="2600" y="413"/>
                  </a:lnTo>
                  <a:lnTo>
                    <a:pt x="2600" y="415"/>
                  </a:lnTo>
                  <a:lnTo>
                    <a:pt x="2600" y="416"/>
                  </a:lnTo>
                  <a:lnTo>
                    <a:pt x="2600" y="417"/>
                  </a:lnTo>
                  <a:lnTo>
                    <a:pt x="2599" y="417"/>
                  </a:lnTo>
                  <a:lnTo>
                    <a:pt x="2598" y="417"/>
                  </a:lnTo>
                  <a:lnTo>
                    <a:pt x="2596" y="417"/>
                  </a:lnTo>
                  <a:lnTo>
                    <a:pt x="2595" y="417"/>
                  </a:lnTo>
                  <a:lnTo>
                    <a:pt x="2595" y="416"/>
                  </a:lnTo>
                  <a:lnTo>
                    <a:pt x="2594" y="416"/>
                  </a:lnTo>
                  <a:lnTo>
                    <a:pt x="2594" y="415"/>
                  </a:lnTo>
                  <a:lnTo>
                    <a:pt x="2593" y="415"/>
                  </a:lnTo>
                  <a:lnTo>
                    <a:pt x="2593" y="413"/>
                  </a:lnTo>
                  <a:lnTo>
                    <a:pt x="2592" y="413"/>
                  </a:lnTo>
                  <a:lnTo>
                    <a:pt x="2592" y="415"/>
                  </a:lnTo>
                  <a:lnTo>
                    <a:pt x="2591" y="415"/>
                  </a:lnTo>
                  <a:lnTo>
                    <a:pt x="2589" y="415"/>
                  </a:lnTo>
                  <a:lnTo>
                    <a:pt x="2588" y="415"/>
                  </a:lnTo>
                  <a:lnTo>
                    <a:pt x="2588" y="413"/>
                  </a:lnTo>
                  <a:lnTo>
                    <a:pt x="2587" y="413"/>
                  </a:lnTo>
                  <a:lnTo>
                    <a:pt x="2587" y="415"/>
                  </a:lnTo>
                  <a:lnTo>
                    <a:pt x="2587" y="416"/>
                  </a:lnTo>
                  <a:lnTo>
                    <a:pt x="2588" y="416"/>
                  </a:lnTo>
                  <a:lnTo>
                    <a:pt x="2587" y="416"/>
                  </a:lnTo>
                  <a:lnTo>
                    <a:pt x="2586" y="416"/>
                  </a:lnTo>
                  <a:lnTo>
                    <a:pt x="2585" y="415"/>
                  </a:lnTo>
                  <a:lnTo>
                    <a:pt x="2584" y="415"/>
                  </a:lnTo>
                  <a:lnTo>
                    <a:pt x="2585" y="416"/>
                  </a:lnTo>
                  <a:lnTo>
                    <a:pt x="2584" y="416"/>
                  </a:lnTo>
                  <a:lnTo>
                    <a:pt x="2584" y="417"/>
                  </a:lnTo>
                  <a:lnTo>
                    <a:pt x="2582" y="417"/>
                  </a:lnTo>
                  <a:lnTo>
                    <a:pt x="2581" y="417"/>
                  </a:lnTo>
                  <a:lnTo>
                    <a:pt x="2581" y="419"/>
                  </a:lnTo>
                  <a:lnTo>
                    <a:pt x="2580" y="420"/>
                  </a:lnTo>
                  <a:lnTo>
                    <a:pt x="2578" y="422"/>
                  </a:lnTo>
                  <a:lnTo>
                    <a:pt x="2578" y="423"/>
                  </a:lnTo>
                  <a:lnTo>
                    <a:pt x="2577" y="422"/>
                  </a:lnTo>
                  <a:lnTo>
                    <a:pt x="2576" y="422"/>
                  </a:lnTo>
                  <a:lnTo>
                    <a:pt x="2576" y="420"/>
                  </a:lnTo>
                  <a:lnTo>
                    <a:pt x="2574" y="420"/>
                  </a:lnTo>
                  <a:lnTo>
                    <a:pt x="2573" y="420"/>
                  </a:lnTo>
                  <a:lnTo>
                    <a:pt x="2572" y="420"/>
                  </a:lnTo>
                  <a:lnTo>
                    <a:pt x="2570" y="418"/>
                  </a:lnTo>
                  <a:lnTo>
                    <a:pt x="2569" y="418"/>
                  </a:lnTo>
                  <a:lnTo>
                    <a:pt x="2569" y="417"/>
                  </a:lnTo>
                  <a:lnTo>
                    <a:pt x="2566" y="417"/>
                  </a:lnTo>
                  <a:lnTo>
                    <a:pt x="2566" y="416"/>
                  </a:lnTo>
                  <a:lnTo>
                    <a:pt x="2565" y="416"/>
                  </a:lnTo>
                  <a:lnTo>
                    <a:pt x="2564" y="416"/>
                  </a:lnTo>
                  <a:lnTo>
                    <a:pt x="2564" y="415"/>
                  </a:lnTo>
                  <a:lnTo>
                    <a:pt x="2563" y="415"/>
                  </a:lnTo>
                  <a:lnTo>
                    <a:pt x="2562" y="415"/>
                  </a:lnTo>
                  <a:lnTo>
                    <a:pt x="2562" y="416"/>
                  </a:lnTo>
                  <a:lnTo>
                    <a:pt x="2562" y="417"/>
                  </a:lnTo>
                  <a:lnTo>
                    <a:pt x="2563" y="417"/>
                  </a:lnTo>
                  <a:lnTo>
                    <a:pt x="2564" y="417"/>
                  </a:lnTo>
                  <a:lnTo>
                    <a:pt x="2564" y="418"/>
                  </a:lnTo>
                  <a:lnTo>
                    <a:pt x="2564" y="419"/>
                  </a:lnTo>
                  <a:lnTo>
                    <a:pt x="2565" y="420"/>
                  </a:lnTo>
                  <a:lnTo>
                    <a:pt x="2565" y="422"/>
                  </a:lnTo>
                  <a:lnTo>
                    <a:pt x="2564" y="422"/>
                  </a:lnTo>
                  <a:lnTo>
                    <a:pt x="2564" y="423"/>
                  </a:lnTo>
                  <a:lnTo>
                    <a:pt x="2563" y="423"/>
                  </a:lnTo>
                  <a:lnTo>
                    <a:pt x="2563" y="422"/>
                  </a:lnTo>
                  <a:lnTo>
                    <a:pt x="2562" y="422"/>
                  </a:lnTo>
                  <a:lnTo>
                    <a:pt x="2562" y="420"/>
                  </a:lnTo>
                  <a:lnTo>
                    <a:pt x="2562" y="419"/>
                  </a:lnTo>
                  <a:lnTo>
                    <a:pt x="2562" y="418"/>
                  </a:lnTo>
                  <a:lnTo>
                    <a:pt x="2562" y="417"/>
                  </a:lnTo>
                  <a:lnTo>
                    <a:pt x="2560" y="417"/>
                  </a:lnTo>
                  <a:lnTo>
                    <a:pt x="2559" y="417"/>
                  </a:lnTo>
                  <a:lnTo>
                    <a:pt x="2558" y="417"/>
                  </a:lnTo>
                  <a:lnTo>
                    <a:pt x="2558" y="416"/>
                  </a:lnTo>
                  <a:lnTo>
                    <a:pt x="2557" y="416"/>
                  </a:lnTo>
                  <a:lnTo>
                    <a:pt x="2557" y="415"/>
                  </a:lnTo>
                  <a:lnTo>
                    <a:pt x="2556" y="413"/>
                  </a:lnTo>
                  <a:lnTo>
                    <a:pt x="2555" y="413"/>
                  </a:lnTo>
                  <a:lnTo>
                    <a:pt x="2555" y="412"/>
                  </a:lnTo>
                  <a:lnTo>
                    <a:pt x="2553" y="412"/>
                  </a:lnTo>
                  <a:lnTo>
                    <a:pt x="2552" y="412"/>
                  </a:lnTo>
                  <a:lnTo>
                    <a:pt x="2550" y="412"/>
                  </a:lnTo>
                  <a:lnTo>
                    <a:pt x="2550" y="411"/>
                  </a:lnTo>
                  <a:lnTo>
                    <a:pt x="2549" y="411"/>
                  </a:lnTo>
                  <a:lnTo>
                    <a:pt x="2549" y="410"/>
                  </a:lnTo>
                  <a:lnTo>
                    <a:pt x="2549" y="409"/>
                  </a:lnTo>
                  <a:lnTo>
                    <a:pt x="2548" y="409"/>
                  </a:lnTo>
                  <a:lnTo>
                    <a:pt x="2546" y="409"/>
                  </a:lnTo>
                  <a:lnTo>
                    <a:pt x="2546" y="408"/>
                  </a:lnTo>
                  <a:lnTo>
                    <a:pt x="2545" y="408"/>
                  </a:lnTo>
                  <a:lnTo>
                    <a:pt x="2544" y="408"/>
                  </a:lnTo>
                  <a:lnTo>
                    <a:pt x="2543" y="408"/>
                  </a:lnTo>
                  <a:lnTo>
                    <a:pt x="2542" y="408"/>
                  </a:lnTo>
                  <a:lnTo>
                    <a:pt x="2541" y="408"/>
                  </a:lnTo>
                  <a:lnTo>
                    <a:pt x="2541" y="409"/>
                  </a:lnTo>
                  <a:lnTo>
                    <a:pt x="2539" y="408"/>
                  </a:lnTo>
                  <a:lnTo>
                    <a:pt x="2538" y="408"/>
                  </a:lnTo>
                  <a:lnTo>
                    <a:pt x="2537" y="408"/>
                  </a:lnTo>
                  <a:lnTo>
                    <a:pt x="2537" y="409"/>
                  </a:lnTo>
                  <a:lnTo>
                    <a:pt x="2537" y="408"/>
                  </a:lnTo>
                  <a:lnTo>
                    <a:pt x="2536" y="408"/>
                  </a:lnTo>
                  <a:lnTo>
                    <a:pt x="2536" y="409"/>
                  </a:lnTo>
                  <a:lnTo>
                    <a:pt x="2535" y="408"/>
                  </a:lnTo>
                  <a:lnTo>
                    <a:pt x="2534" y="406"/>
                  </a:lnTo>
                  <a:lnTo>
                    <a:pt x="2532" y="405"/>
                  </a:lnTo>
                  <a:lnTo>
                    <a:pt x="2532" y="404"/>
                  </a:lnTo>
                  <a:lnTo>
                    <a:pt x="2531" y="404"/>
                  </a:lnTo>
                  <a:lnTo>
                    <a:pt x="2531" y="403"/>
                  </a:lnTo>
                  <a:lnTo>
                    <a:pt x="2531" y="404"/>
                  </a:lnTo>
                  <a:lnTo>
                    <a:pt x="2530" y="404"/>
                  </a:lnTo>
                  <a:lnTo>
                    <a:pt x="2529" y="404"/>
                  </a:lnTo>
                  <a:lnTo>
                    <a:pt x="2529" y="405"/>
                  </a:lnTo>
                  <a:lnTo>
                    <a:pt x="2528" y="405"/>
                  </a:lnTo>
                  <a:lnTo>
                    <a:pt x="2527" y="405"/>
                  </a:lnTo>
                  <a:lnTo>
                    <a:pt x="2525" y="405"/>
                  </a:lnTo>
                  <a:lnTo>
                    <a:pt x="2525" y="406"/>
                  </a:lnTo>
                  <a:lnTo>
                    <a:pt x="2525" y="408"/>
                  </a:lnTo>
                  <a:lnTo>
                    <a:pt x="2527" y="408"/>
                  </a:lnTo>
                  <a:lnTo>
                    <a:pt x="2525" y="408"/>
                  </a:lnTo>
                  <a:lnTo>
                    <a:pt x="2525" y="409"/>
                  </a:lnTo>
                  <a:lnTo>
                    <a:pt x="2524" y="409"/>
                  </a:lnTo>
                  <a:lnTo>
                    <a:pt x="2524" y="408"/>
                  </a:lnTo>
                  <a:lnTo>
                    <a:pt x="2523" y="408"/>
                  </a:lnTo>
                  <a:lnTo>
                    <a:pt x="2522" y="408"/>
                  </a:lnTo>
                  <a:lnTo>
                    <a:pt x="2521" y="408"/>
                  </a:lnTo>
                  <a:lnTo>
                    <a:pt x="2520" y="408"/>
                  </a:lnTo>
                  <a:lnTo>
                    <a:pt x="2520" y="406"/>
                  </a:lnTo>
                  <a:lnTo>
                    <a:pt x="2521" y="406"/>
                  </a:lnTo>
                  <a:lnTo>
                    <a:pt x="2521" y="405"/>
                  </a:lnTo>
                  <a:lnTo>
                    <a:pt x="2520" y="405"/>
                  </a:lnTo>
                  <a:lnTo>
                    <a:pt x="2518" y="405"/>
                  </a:lnTo>
                  <a:lnTo>
                    <a:pt x="2515" y="405"/>
                  </a:lnTo>
                  <a:lnTo>
                    <a:pt x="2515" y="404"/>
                  </a:lnTo>
                  <a:lnTo>
                    <a:pt x="2514" y="404"/>
                  </a:lnTo>
                  <a:lnTo>
                    <a:pt x="2513" y="404"/>
                  </a:lnTo>
                  <a:lnTo>
                    <a:pt x="2514" y="405"/>
                  </a:lnTo>
                  <a:lnTo>
                    <a:pt x="2514" y="406"/>
                  </a:lnTo>
                  <a:lnTo>
                    <a:pt x="2513" y="406"/>
                  </a:lnTo>
                  <a:lnTo>
                    <a:pt x="2513" y="405"/>
                  </a:lnTo>
                  <a:lnTo>
                    <a:pt x="2512" y="405"/>
                  </a:lnTo>
                  <a:lnTo>
                    <a:pt x="2512" y="406"/>
                  </a:lnTo>
                  <a:lnTo>
                    <a:pt x="2510" y="406"/>
                  </a:lnTo>
                  <a:lnTo>
                    <a:pt x="2512" y="408"/>
                  </a:lnTo>
                  <a:lnTo>
                    <a:pt x="2512" y="409"/>
                  </a:lnTo>
                  <a:lnTo>
                    <a:pt x="2510" y="409"/>
                  </a:lnTo>
                  <a:lnTo>
                    <a:pt x="2509" y="409"/>
                  </a:lnTo>
                  <a:lnTo>
                    <a:pt x="2510" y="409"/>
                  </a:lnTo>
                  <a:lnTo>
                    <a:pt x="2509" y="409"/>
                  </a:lnTo>
                  <a:lnTo>
                    <a:pt x="2509" y="410"/>
                  </a:lnTo>
                  <a:lnTo>
                    <a:pt x="2510" y="410"/>
                  </a:lnTo>
                  <a:lnTo>
                    <a:pt x="2509" y="411"/>
                  </a:lnTo>
                  <a:lnTo>
                    <a:pt x="2508" y="411"/>
                  </a:lnTo>
                  <a:lnTo>
                    <a:pt x="2507" y="411"/>
                  </a:lnTo>
                  <a:lnTo>
                    <a:pt x="2506" y="411"/>
                  </a:lnTo>
                  <a:lnTo>
                    <a:pt x="2505" y="413"/>
                  </a:lnTo>
                  <a:lnTo>
                    <a:pt x="2503" y="413"/>
                  </a:lnTo>
                  <a:lnTo>
                    <a:pt x="2501" y="413"/>
                  </a:lnTo>
                  <a:lnTo>
                    <a:pt x="2500" y="413"/>
                  </a:lnTo>
                  <a:lnTo>
                    <a:pt x="2500" y="415"/>
                  </a:lnTo>
                  <a:lnTo>
                    <a:pt x="2500" y="416"/>
                  </a:lnTo>
                  <a:lnTo>
                    <a:pt x="2500" y="417"/>
                  </a:lnTo>
                  <a:lnTo>
                    <a:pt x="2501" y="417"/>
                  </a:lnTo>
                  <a:lnTo>
                    <a:pt x="2500" y="418"/>
                  </a:lnTo>
                  <a:lnTo>
                    <a:pt x="2499" y="418"/>
                  </a:lnTo>
                  <a:lnTo>
                    <a:pt x="2498" y="418"/>
                  </a:lnTo>
                  <a:lnTo>
                    <a:pt x="2498" y="419"/>
                  </a:lnTo>
                  <a:lnTo>
                    <a:pt x="2496" y="420"/>
                  </a:lnTo>
                  <a:lnTo>
                    <a:pt x="2495" y="422"/>
                  </a:lnTo>
                  <a:lnTo>
                    <a:pt x="2494" y="422"/>
                  </a:lnTo>
                  <a:lnTo>
                    <a:pt x="2492" y="420"/>
                  </a:lnTo>
                  <a:lnTo>
                    <a:pt x="2492" y="422"/>
                  </a:lnTo>
                  <a:lnTo>
                    <a:pt x="2493" y="422"/>
                  </a:lnTo>
                  <a:lnTo>
                    <a:pt x="2493" y="423"/>
                  </a:lnTo>
                  <a:lnTo>
                    <a:pt x="2494" y="425"/>
                  </a:lnTo>
                  <a:lnTo>
                    <a:pt x="2495" y="426"/>
                  </a:lnTo>
                  <a:lnTo>
                    <a:pt x="2495" y="427"/>
                  </a:lnTo>
                  <a:lnTo>
                    <a:pt x="2496" y="427"/>
                  </a:lnTo>
                  <a:lnTo>
                    <a:pt x="2496" y="429"/>
                  </a:lnTo>
                  <a:lnTo>
                    <a:pt x="2498" y="429"/>
                  </a:lnTo>
                  <a:lnTo>
                    <a:pt x="2498" y="430"/>
                  </a:lnTo>
                  <a:lnTo>
                    <a:pt x="2498" y="431"/>
                  </a:lnTo>
                  <a:lnTo>
                    <a:pt x="2496" y="431"/>
                  </a:lnTo>
                  <a:lnTo>
                    <a:pt x="2496" y="432"/>
                  </a:lnTo>
                  <a:lnTo>
                    <a:pt x="2494" y="433"/>
                  </a:lnTo>
                  <a:lnTo>
                    <a:pt x="2493" y="433"/>
                  </a:lnTo>
                  <a:lnTo>
                    <a:pt x="2492" y="433"/>
                  </a:lnTo>
                  <a:lnTo>
                    <a:pt x="2492" y="432"/>
                  </a:lnTo>
                  <a:lnTo>
                    <a:pt x="2491" y="432"/>
                  </a:lnTo>
                  <a:lnTo>
                    <a:pt x="2489" y="432"/>
                  </a:lnTo>
                  <a:lnTo>
                    <a:pt x="2489" y="431"/>
                  </a:lnTo>
                  <a:lnTo>
                    <a:pt x="2488" y="431"/>
                  </a:lnTo>
                  <a:lnTo>
                    <a:pt x="2488" y="430"/>
                  </a:lnTo>
                  <a:lnTo>
                    <a:pt x="2487" y="429"/>
                  </a:lnTo>
                  <a:lnTo>
                    <a:pt x="2486" y="427"/>
                  </a:lnTo>
                  <a:lnTo>
                    <a:pt x="2485" y="426"/>
                  </a:lnTo>
                  <a:lnTo>
                    <a:pt x="2484" y="425"/>
                  </a:lnTo>
                  <a:lnTo>
                    <a:pt x="2482" y="425"/>
                  </a:lnTo>
                  <a:lnTo>
                    <a:pt x="2481" y="425"/>
                  </a:lnTo>
                  <a:lnTo>
                    <a:pt x="2481" y="424"/>
                  </a:lnTo>
                  <a:lnTo>
                    <a:pt x="2480" y="424"/>
                  </a:lnTo>
                  <a:lnTo>
                    <a:pt x="2479" y="424"/>
                  </a:lnTo>
                  <a:lnTo>
                    <a:pt x="2479" y="425"/>
                  </a:lnTo>
                  <a:lnTo>
                    <a:pt x="2478" y="426"/>
                  </a:lnTo>
                  <a:lnTo>
                    <a:pt x="2478" y="427"/>
                  </a:lnTo>
                  <a:lnTo>
                    <a:pt x="2478" y="429"/>
                  </a:lnTo>
                  <a:lnTo>
                    <a:pt x="2479" y="429"/>
                  </a:lnTo>
                  <a:lnTo>
                    <a:pt x="2479" y="430"/>
                  </a:lnTo>
                  <a:lnTo>
                    <a:pt x="2478" y="431"/>
                  </a:lnTo>
                  <a:lnTo>
                    <a:pt x="2475" y="432"/>
                  </a:lnTo>
                  <a:lnTo>
                    <a:pt x="2474" y="432"/>
                  </a:lnTo>
                  <a:lnTo>
                    <a:pt x="2474" y="433"/>
                  </a:lnTo>
                  <a:lnTo>
                    <a:pt x="2474" y="437"/>
                  </a:lnTo>
                  <a:lnTo>
                    <a:pt x="2475" y="440"/>
                  </a:lnTo>
                  <a:lnTo>
                    <a:pt x="2475" y="441"/>
                  </a:lnTo>
                  <a:lnTo>
                    <a:pt x="2478" y="443"/>
                  </a:lnTo>
                  <a:lnTo>
                    <a:pt x="2479" y="443"/>
                  </a:lnTo>
                  <a:lnTo>
                    <a:pt x="2479" y="444"/>
                  </a:lnTo>
                  <a:lnTo>
                    <a:pt x="2479" y="445"/>
                  </a:lnTo>
                  <a:lnTo>
                    <a:pt x="2478" y="446"/>
                  </a:lnTo>
                  <a:lnTo>
                    <a:pt x="2477" y="446"/>
                  </a:lnTo>
                  <a:lnTo>
                    <a:pt x="2477" y="447"/>
                  </a:lnTo>
                  <a:lnTo>
                    <a:pt x="2475" y="451"/>
                  </a:lnTo>
                  <a:lnTo>
                    <a:pt x="2474" y="455"/>
                  </a:lnTo>
                  <a:lnTo>
                    <a:pt x="2478" y="455"/>
                  </a:lnTo>
                  <a:lnTo>
                    <a:pt x="2481" y="457"/>
                  </a:lnTo>
                  <a:lnTo>
                    <a:pt x="2482" y="457"/>
                  </a:lnTo>
                  <a:lnTo>
                    <a:pt x="2484" y="458"/>
                  </a:lnTo>
                  <a:lnTo>
                    <a:pt x="2482" y="458"/>
                  </a:lnTo>
                  <a:lnTo>
                    <a:pt x="2484" y="459"/>
                  </a:lnTo>
                  <a:lnTo>
                    <a:pt x="2484" y="460"/>
                  </a:lnTo>
                  <a:lnTo>
                    <a:pt x="2485" y="460"/>
                  </a:lnTo>
                  <a:lnTo>
                    <a:pt x="2485" y="461"/>
                  </a:lnTo>
                  <a:lnTo>
                    <a:pt x="2484" y="461"/>
                  </a:lnTo>
                  <a:lnTo>
                    <a:pt x="2485" y="462"/>
                  </a:lnTo>
                  <a:lnTo>
                    <a:pt x="2485" y="464"/>
                  </a:lnTo>
                  <a:lnTo>
                    <a:pt x="2485" y="465"/>
                  </a:lnTo>
                  <a:lnTo>
                    <a:pt x="2486" y="465"/>
                  </a:lnTo>
                  <a:lnTo>
                    <a:pt x="2488" y="466"/>
                  </a:lnTo>
                  <a:lnTo>
                    <a:pt x="2488" y="465"/>
                  </a:lnTo>
                  <a:lnTo>
                    <a:pt x="2488" y="464"/>
                  </a:lnTo>
                  <a:lnTo>
                    <a:pt x="2492" y="465"/>
                  </a:lnTo>
                  <a:lnTo>
                    <a:pt x="2496" y="465"/>
                  </a:lnTo>
                  <a:lnTo>
                    <a:pt x="2498" y="465"/>
                  </a:lnTo>
                  <a:lnTo>
                    <a:pt x="2499" y="466"/>
                  </a:lnTo>
                  <a:lnTo>
                    <a:pt x="2501" y="469"/>
                  </a:lnTo>
                  <a:lnTo>
                    <a:pt x="2502" y="469"/>
                  </a:lnTo>
                  <a:lnTo>
                    <a:pt x="2502" y="471"/>
                  </a:lnTo>
                  <a:lnTo>
                    <a:pt x="2503" y="471"/>
                  </a:lnTo>
                  <a:lnTo>
                    <a:pt x="2505" y="471"/>
                  </a:lnTo>
                  <a:lnTo>
                    <a:pt x="2507" y="475"/>
                  </a:lnTo>
                  <a:lnTo>
                    <a:pt x="2512" y="480"/>
                  </a:lnTo>
                  <a:lnTo>
                    <a:pt x="2512" y="481"/>
                  </a:lnTo>
                  <a:lnTo>
                    <a:pt x="2509" y="481"/>
                  </a:lnTo>
                  <a:lnTo>
                    <a:pt x="2508" y="481"/>
                  </a:lnTo>
                  <a:lnTo>
                    <a:pt x="2508" y="480"/>
                  </a:lnTo>
                  <a:lnTo>
                    <a:pt x="2507" y="480"/>
                  </a:lnTo>
                  <a:lnTo>
                    <a:pt x="2506" y="481"/>
                  </a:lnTo>
                  <a:lnTo>
                    <a:pt x="2506" y="482"/>
                  </a:lnTo>
                  <a:lnTo>
                    <a:pt x="2507" y="482"/>
                  </a:lnTo>
                  <a:lnTo>
                    <a:pt x="2507" y="483"/>
                  </a:lnTo>
                  <a:lnTo>
                    <a:pt x="2508" y="483"/>
                  </a:lnTo>
                  <a:lnTo>
                    <a:pt x="2509" y="483"/>
                  </a:lnTo>
                  <a:lnTo>
                    <a:pt x="2510" y="485"/>
                  </a:lnTo>
                  <a:lnTo>
                    <a:pt x="2512" y="485"/>
                  </a:lnTo>
                  <a:lnTo>
                    <a:pt x="2513" y="485"/>
                  </a:lnTo>
                  <a:lnTo>
                    <a:pt x="2513" y="486"/>
                  </a:lnTo>
                  <a:lnTo>
                    <a:pt x="2514" y="486"/>
                  </a:lnTo>
                  <a:lnTo>
                    <a:pt x="2516" y="487"/>
                  </a:lnTo>
                  <a:lnTo>
                    <a:pt x="2517" y="488"/>
                  </a:lnTo>
                  <a:lnTo>
                    <a:pt x="2516" y="488"/>
                  </a:lnTo>
                  <a:lnTo>
                    <a:pt x="2515" y="487"/>
                  </a:lnTo>
                  <a:lnTo>
                    <a:pt x="2516" y="487"/>
                  </a:lnTo>
                  <a:lnTo>
                    <a:pt x="2515" y="487"/>
                  </a:lnTo>
                  <a:lnTo>
                    <a:pt x="2515" y="488"/>
                  </a:lnTo>
                  <a:lnTo>
                    <a:pt x="2515" y="489"/>
                  </a:lnTo>
                  <a:lnTo>
                    <a:pt x="2516" y="489"/>
                  </a:lnTo>
                  <a:lnTo>
                    <a:pt x="2515" y="489"/>
                  </a:lnTo>
                  <a:lnTo>
                    <a:pt x="2514" y="489"/>
                  </a:lnTo>
                  <a:lnTo>
                    <a:pt x="2514" y="490"/>
                  </a:lnTo>
                  <a:lnTo>
                    <a:pt x="2513" y="489"/>
                  </a:lnTo>
                  <a:lnTo>
                    <a:pt x="2513" y="490"/>
                  </a:lnTo>
                  <a:lnTo>
                    <a:pt x="2513" y="489"/>
                  </a:lnTo>
                  <a:lnTo>
                    <a:pt x="2513" y="490"/>
                  </a:lnTo>
                  <a:lnTo>
                    <a:pt x="2512" y="490"/>
                  </a:lnTo>
                  <a:lnTo>
                    <a:pt x="2513" y="490"/>
                  </a:lnTo>
                  <a:lnTo>
                    <a:pt x="2513" y="492"/>
                  </a:lnTo>
                  <a:lnTo>
                    <a:pt x="2513" y="490"/>
                  </a:lnTo>
                  <a:lnTo>
                    <a:pt x="2512" y="490"/>
                  </a:lnTo>
                  <a:lnTo>
                    <a:pt x="2510" y="490"/>
                  </a:lnTo>
                  <a:lnTo>
                    <a:pt x="2510" y="492"/>
                  </a:lnTo>
                  <a:lnTo>
                    <a:pt x="2512" y="492"/>
                  </a:lnTo>
                  <a:lnTo>
                    <a:pt x="2512" y="493"/>
                  </a:lnTo>
                  <a:lnTo>
                    <a:pt x="2510" y="493"/>
                  </a:lnTo>
                  <a:lnTo>
                    <a:pt x="2512" y="493"/>
                  </a:lnTo>
                  <a:lnTo>
                    <a:pt x="2512" y="494"/>
                  </a:lnTo>
                  <a:lnTo>
                    <a:pt x="2513" y="494"/>
                  </a:lnTo>
                  <a:lnTo>
                    <a:pt x="2513" y="495"/>
                  </a:lnTo>
                  <a:lnTo>
                    <a:pt x="2513" y="494"/>
                  </a:lnTo>
                  <a:lnTo>
                    <a:pt x="2513" y="495"/>
                  </a:lnTo>
                  <a:lnTo>
                    <a:pt x="2512" y="495"/>
                  </a:lnTo>
                  <a:lnTo>
                    <a:pt x="2512" y="494"/>
                  </a:lnTo>
                  <a:lnTo>
                    <a:pt x="2510" y="494"/>
                  </a:lnTo>
                  <a:lnTo>
                    <a:pt x="2510" y="493"/>
                  </a:lnTo>
                  <a:lnTo>
                    <a:pt x="2509" y="493"/>
                  </a:lnTo>
                  <a:lnTo>
                    <a:pt x="2508" y="493"/>
                  </a:lnTo>
                  <a:lnTo>
                    <a:pt x="2508" y="494"/>
                  </a:lnTo>
                  <a:lnTo>
                    <a:pt x="2507" y="494"/>
                  </a:lnTo>
                  <a:lnTo>
                    <a:pt x="2508" y="494"/>
                  </a:lnTo>
                  <a:lnTo>
                    <a:pt x="2508" y="495"/>
                  </a:lnTo>
                  <a:lnTo>
                    <a:pt x="2507" y="495"/>
                  </a:lnTo>
                  <a:lnTo>
                    <a:pt x="2507" y="496"/>
                  </a:lnTo>
                  <a:lnTo>
                    <a:pt x="2506" y="496"/>
                  </a:lnTo>
                  <a:lnTo>
                    <a:pt x="2507" y="496"/>
                  </a:lnTo>
                  <a:lnTo>
                    <a:pt x="2506" y="496"/>
                  </a:lnTo>
                  <a:lnTo>
                    <a:pt x="2505" y="496"/>
                  </a:lnTo>
                  <a:lnTo>
                    <a:pt x="2503" y="496"/>
                  </a:lnTo>
                  <a:lnTo>
                    <a:pt x="2502" y="496"/>
                  </a:lnTo>
                  <a:lnTo>
                    <a:pt x="2502" y="497"/>
                  </a:lnTo>
                  <a:lnTo>
                    <a:pt x="2502" y="496"/>
                  </a:lnTo>
                  <a:lnTo>
                    <a:pt x="2502" y="497"/>
                  </a:lnTo>
                  <a:lnTo>
                    <a:pt x="2502" y="499"/>
                  </a:lnTo>
                  <a:lnTo>
                    <a:pt x="2501" y="497"/>
                  </a:lnTo>
                  <a:lnTo>
                    <a:pt x="2500" y="497"/>
                  </a:lnTo>
                  <a:lnTo>
                    <a:pt x="2500" y="496"/>
                  </a:lnTo>
                  <a:lnTo>
                    <a:pt x="2499" y="496"/>
                  </a:lnTo>
                  <a:lnTo>
                    <a:pt x="2498" y="496"/>
                  </a:lnTo>
                  <a:lnTo>
                    <a:pt x="2499" y="496"/>
                  </a:lnTo>
                  <a:lnTo>
                    <a:pt x="2499" y="497"/>
                  </a:lnTo>
                  <a:lnTo>
                    <a:pt x="2500" y="499"/>
                  </a:lnTo>
                  <a:lnTo>
                    <a:pt x="2499" y="499"/>
                  </a:lnTo>
                  <a:lnTo>
                    <a:pt x="2499" y="497"/>
                  </a:lnTo>
                  <a:lnTo>
                    <a:pt x="2498" y="497"/>
                  </a:lnTo>
                  <a:lnTo>
                    <a:pt x="2496" y="497"/>
                  </a:lnTo>
                  <a:lnTo>
                    <a:pt x="2496" y="496"/>
                  </a:lnTo>
                  <a:lnTo>
                    <a:pt x="2498" y="496"/>
                  </a:lnTo>
                  <a:lnTo>
                    <a:pt x="2496" y="496"/>
                  </a:lnTo>
                  <a:lnTo>
                    <a:pt x="2495" y="496"/>
                  </a:lnTo>
                  <a:lnTo>
                    <a:pt x="2496" y="496"/>
                  </a:lnTo>
                  <a:lnTo>
                    <a:pt x="2496" y="497"/>
                  </a:lnTo>
                  <a:lnTo>
                    <a:pt x="2498" y="497"/>
                  </a:lnTo>
                  <a:lnTo>
                    <a:pt x="2499" y="497"/>
                  </a:lnTo>
                  <a:lnTo>
                    <a:pt x="2499" y="499"/>
                  </a:lnTo>
                  <a:lnTo>
                    <a:pt x="2499" y="500"/>
                  </a:lnTo>
                  <a:lnTo>
                    <a:pt x="2499" y="499"/>
                  </a:lnTo>
                  <a:lnTo>
                    <a:pt x="2498" y="499"/>
                  </a:lnTo>
                  <a:lnTo>
                    <a:pt x="2499" y="500"/>
                  </a:lnTo>
                  <a:lnTo>
                    <a:pt x="2499" y="501"/>
                  </a:lnTo>
                  <a:lnTo>
                    <a:pt x="2498" y="501"/>
                  </a:lnTo>
                  <a:lnTo>
                    <a:pt x="2496" y="501"/>
                  </a:lnTo>
                  <a:lnTo>
                    <a:pt x="2498" y="501"/>
                  </a:lnTo>
                  <a:lnTo>
                    <a:pt x="2498" y="502"/>
                  </a:lnTo>
                  <a:lnTo>
                    <a:pt x="2498" y="503"/>
                  </a:lnTo>
                  <a:lnTo>
                    <a:pt x="2498" y="504"/>
                  </a:lnTo>
                  <a:lnTo>
                    <a:pt x="2496" y="504"/>
                  </a:lnTo>
                  <a:lnTo>
                    <a:pt x="2496" y="506"/>
                  </a:lnTo>
                  <a:lnTo>
                    <a:pt x="2496" y="507"/>
                  </a:lnTo>
                  <a:lnTo>
                    <a:pt x="2496" y="508"/>
                  </a:lnTo>
                  <a:lnTo>
                    <a:pt x="2495" y="508"/>
                  </a:lnTo>
                  <a:lnTo>
                    <a:pt x="2495" y="509"/>
                  </a:lnTo>
                  <a:lnTo>
                    <a:pt x="2495" y="508"/>
                  </a:lnTo>
                  <a:lnTo>
                    <a:pt x="2495" y="510"/>
                  </a:lnTo>
                  <a:lnTo>
                    <a:pt x="2495" y="511"/>
                  </a:lnTo>
                  <a:lnTo>
                    <a:pt x="2495" y="510"/>
                  </a:lnTo>
                  <a:lnTo>
                    <a:pt x="2494" y="510"/>
                  </a:lnTo>
                  <a:lnTo>
                    <a:pt x="2494" y="509"/>
                  </a:lnTo>
                  <a:lnTo>
                    <a:pt x="2494" y="510"/>
                  </a:lnTo>
                  <a:lnTo>
                    <a:pt x="2494" y="511"/>
                  </a:lnTo>
                  <a:lnTo>
                    <a:pt x="2493" y="511"/>
                  </a:lnTo>
                  <a:lnTo>
                    <a:pt x="2493" y="513"/>
                  </a:lnTo>
                  <a:lnTo>
                    <a:pt x="2492" y="513"/>
                  </a:lnTo>
                  <a:lnTo>
                    <a:pt x="2492" y="514"/>
                  </a:lnTo>
                  <a:lnTo>
                    <a:pt x="2492" y="515"/>
                  </a:lnTo>
                  <a:lnTo>
                    <a:pt x="2492" y="516"/>
                  </a:lnTo>
                  <a:lnTo>
                    <a:pt x="2493" y="517"/>
                  </a:lnTo>
                  <a:lnTo>
                    <a:pt x="2494" y="517"/>
                  </a:lnTo>
                  <a:lnTo>
                    <a:pt x="2496" y="517"/>
                  </a:lnTo>
                  <a:lnTo>
                    <a:pt x="2496" y="518"/>
                  </a:lnTo>
                  <a:lnTo>
                    <a:pt x="2498" y="518"/>
                  </a:lnTo>
                  <a:lnTo>
                    <a:pt x="2498" y="520"/>
                  </a:lnTo>
                  <a:lnTo>
                    <a:pt x="2499" y="520"/>
                  </a:lnTo>
                  <a:lnTo>
                    <a:pt x="2500" y="520"/>
                  </a:lnTo>
                  <a:lnTo>
                    <a:pt x="2500" y="521"/>
                  </a:lnTo>
                  <a:lnTo>
                    <a:pt x="2501" y="522"/>
                  </a:lnTo>
                  <a:lnTo>
                    <a:pt x="2501" y="523"/>
                  </a:lnTo>
                  <a:lnTo>
                    <a:pt x="2502" y="524"/>
                  </a:lnTo>
                  <a:lnTo>
                    <a:pt x="2503" y="524"/>
                  </a:lnTo>
                  <a:lnTo>
                    <a:pt x="2503" y="525"/>
                  </a:lnTo>
                  <a:lnTo>
                    <a:pt x="2503" y="527"/>
                  </a:lnTo>
                  <a:lnTo>
                    <a:pt x="2503" y="525"/>
                  </a:lnTo>
                  <a:lnTo>
                    <a:pt x="2505" y="527"/>
                  </a:lnTo>
                  <a:lnTo>
                    <a:pt x="2503" y="527"/>
                  </a:lnTo>
                  <a:lnTo>
                    <a:pt x="2503" y="528"/>
                  </a:lnTo>
                  <a:lnTo>
                    <a:pt x="2505" y="528"/>
                  </a:lnTo>
                  <a:lnTo>
                    <a:pt x="2503" y="528"/>
                  </a:lnTo>
                  <a:lnTo>
                    <a:pt x="2503" y="529"/>
                  </a:lnTo>
                  <a:lnTo>
                    <a:pt x="2503" y="530"/>
                  </a:lnTo>
                  <a:lnTo>
                    <a:pt x="2505" y="531"/>
                  </a:lnTo>
                  <a:lnTo>
                    <a:pt x="2505" y="530"/>
                  </a:lnTo>
                  <a:lnTo>
                    <a:pt x="2505" y="529"/>
                  </a:lnTo>
                  <a:lnTo>
                    <a:pt x="2505" y="528"/>
                  </a:lnTo>
                  <a:lnTo>
                    <a:pt x="2505" y="527"/>
                  </a:lnTo>
                  <a:lnTo>
                    <a:pt x="2505" y="525"/>
                  </a:lnTo>
                  <a:lnTo>
                    <a:pt x="2505" y="524"/>
                  </a:lnTo>
                  <a:lnTo>
                    <a:pt x="2506" y="524"/>
                  </a:lnTo>
                  <a:lnTo>
                    <a:pt x="2506" y="525"/>
                  </a:lnTo>
                  <a:lnTo>
                    <a:pt x="2507" y="525"/>
                  </a:lnTo>
                  <a:lnTo>
                    <a:pt x="2506" y="525"/>
                  </a:lnTo>
                  <a:lnTo>
                    <a:pt x="2506" y="527"/>
                  </a:lnTo>
                  <a:lnTo>
                    <a:pt x="2506" y="529"/>
                  </a:lnTo>
                  <a:lnTo>
                    <a:pt x="2506" y="531"/>
                  </a:lnTo>
                  <a:lnTo>
                    <a:pt x="2506" y="532"/>
                  </a:lnTo>
                  <a:lnTo>
                    <a:pt x="2506" y="534"/>
                  </a:lnTo>
                  <a:lnTo>
                    <a:pt x="2506" y="535"/>
                  </a:lnTo>
                  <a:lnTo>
                    <a:pt x="2506" y="534"/>
                  </a:lnTo>
                  <a:lnTo>
                    <a:pt x="2507" y="534"/>
                  </a:lnTo>
                  <a:lnTo>
                    <a:pt x="2507" y="535"/>
                  </a:lnTo>
                  <a:lnTo>
                    <a:pt x="2506" y="535"/>
                  </a:lnTo>
                  <a:lnTo>
                    <a:pt x="2506" y="536"/>
                  </a:lnTo>
                  <a:lnTo>
                    <a:pt x="2506" y="537"/>
                  </a:lnTo>
                  <a:lnTo>
                    <a:pt x="2507" y="537"/>
                  </a:lnTo>
                  <a:lnTo>
                    <a:pt x="2506" y="537"/>
                  </a:lnTo>
                  <a:lnTo>
                    <a:pt x="2507" y="538"/>
                  </a:lnTo>
                  <a:lnTo>
                    <a:pt x="2508" y="539"/>
                  </a:lnTo>
                  <a:lnTo>
                    <a:pt x="2508" y="541"/>
                  </a:lnTo>
                  <a:lnTo>
                    <a:pt x="2509" y="541"/>
                  </a:lnTo>
                  <a:lnTo>
                    <a:pt x="2510" y="541"/>
                  </a:lnTo>
                  <a:lnTo>
                    <a:pt x="2510" y="542"/>
                  </a:lnTo>
                  <a:lnTo>
                    <a:pt x="2510" y="543"/>
                  </a:lnTo>
                  <a:lnTo>
                    <a:pt x="2510" y="544"/>
                  </a:lnTo>
                  <a:lnTo>
                    <a:pt x="2512" y="544"/>
                  </a:lnTo>
                  <a:lnTo>
                    <a:pt x="2513" y="545"/>
                  </a:lnTo>
                  <a:lnTo>
                    <a:pt x="2514" y="548"/>
                  </a:lnTo>
                  <a:lnTo>
                    <a:pt x="2515" y="548"/>
                  </a:lnTo>
                  <a:lnTo>
                    <a:pt x="2516" y="549"/>
                  </a:lnTo>
                  <a:lnTo>
                    <a:pt x="2518" y="552"/>
                  </a:lnTo>
                  <a:lnTo>
                    <a:pt x="2520" y="552"/>
                  </a:lnTo>
                  <a:lnTo>
                    <a:pt x="2520" y="553"/>
                  </a:lnTo>
                  <a:lnTo>
                    <a:pt x="2521" y="553"/>
                  </a:lnTo>
                  <a:lnTo>
                    <a:pt x="2522" y="556"/>
                  </a:lnTo>
                  <a:lnTo>
                    <a:pt x="2523" y="556"/>
                  </a:lnTo>
                  <a:lnTo>
                    <a:pt x="2524" y="557"/>
                  </a:lnTo>
                  <a:lnTo>
                    <a:pt x="2524" y="558"/>
                  </a:lnTo>
                  <a:lnTo>
                    <a:pt x="2523" y="559"/>
                  </a:lnTo>
                  <a:lnTo>
                    <a:pt x="2523" y="560"/>
                  </a:lnTo>
                  <a:lnTo>
                    <a:pt x="2523" y="562"/>
                  </a:lnTo>
                  <a:lnTo>
                    <a:pt x="2522" y="562"/>
                  </a:lnTo>
                  <a:lnTo>
                    <a:pt x="2521" y="563"/>
                  </a:lnTo>
                  <a:lnTo>
                    <a:pt x="2520" y="563"/>
                  </a:lnTo>
                  <a:lnTo>
                    <a:pt x="2518" y="564"/>
                  </a:lnTo>
                  <a:lnTo>
                    <a:pt x="2518" y="565"/>
                  </a:lnTo>
                  <a:lnTo>
                    <a:pt x="2517" y="565"/>
                  </a:lnTo>
                  <a:lnTo>
                    <a:pt x="2517" y="566"/>
                  </a:lnTo>
                  <a:lnTo>
                    <a:pt x="2518" y="566"/>
                  </a:lnTo>
                  <a:lnTo>
                    <a:pt x="2517" y="566"/>
                  </a:lnTo>
                  <a:lnTo>
                    <a:pt x="2517" y="567"/>
                  </a:lnTo>
                  <a:lnTo>
                    <a:pt x="2516" y="567"/>
                  </a:lnTo>
                  <a:lnTo>
                    <a:pt x="2515" y="567"/>
                  </a:lnTo>
                  <a:lnTo>
                    <a:pt x="2515" y="566"/>
                  </a:lnTo>
                  <a:lnTo>
                    <a:pt x="2514" y="566"/>
                  </a:lnTo>
                  <a:lnTo>
                    <a:pt x="2514" y="567"/>
                  </a:lnTo>
                  <a:lnTo>
                    <a:pt x="2513" y="566"/>
                  </a:lnTo>
                  <a:lnTo>
                    <a:pt x="2512" y="566"/>
                  </a:lnTo>
                  <a:lnTo>
                    <a:pt x="2510" y="566"/>
                  </a:lnTo>
                  <a:lnTo>
                    <a:pt x="2509" y="565"/>
                  </a:lnTo>
                  <a:lnTo>
                    <a:pt x="2509" y="564"/>
                  </a:lnTo>
                  <a:lnTo>
                    <a:pt x="2508" y="563"/>
                  </a:lnTo>
                  <a:lnTo>
                    <a:pt x="2508" y="562"/>
                  </a:lnTo>
                  <a:lnTo>
                    <a:pt x="2507" y="562"/>
                  </a:lnTo>
                  <a:lnTo>
                    <a:pt x="2506" y="562"/>
                  </a:lnTo>
                  <a:lnTo>
                    <a:pt x="2506" y="560"/>
                  </a:lnTo>
                  <a:lnTo>
                    <a:pt x="2505" y="560"/>
                  </a:lnTo>
                  <a:lnTo>
                    <a:pt x="2505" y="559"/>
                  </a:lnTo>
                  <a:lnTo>
                    <a:pt x="2503" y="559"/>
                  </a:lnTo>
                  <a:lnTo>
                    <a:pt x="2502" y="559"/>
                  </a:lnTo>
                  <a:lnTo>
                    <a:pt x="2502" y="558"/>
                  </a:lnTo>
                  <a:lnTo>
                    <a:pt x="2501" y="558"/>
                  </a:lnTo>
                  <a:lnTo>
                    <a:pt x="2501" y="557"/>
                  </a:lnTo>
                  <a:lnTo>
                    <a:pt x="2500" y="557"/>
                  </a:lnTo>
                  <a:lnTo>
                    <a:pt x="2500" y="558"/>
                  </a:lnTo>
                  <a:lnTo>
                    <a:pt x="2499" y="558"/>
                  </a:lnTo>
                  <a:lnTo>
                    <a:pt x="2499" y="557"/>
                  </a:lnTo>
                  <a:lnTo>
                    <a:pt x="2498" y="556"/>
                  </a:lnTo>
                  <a:lnTo>
                    <a:pt x="2496" y="556"/>
                  </a:lnTo>
                  <a:lnTo>
                    <a:pt x="2495" y="556"/>
                  </a:lnTo>
                  <a:lnTo>
                    <a:pt x="2494" y="555"/>
                  </a:lnTo>
                  <a:lnTo>
                    <a:pt x="2493" y="555"/>
                  </a:lnTo>
                  <a:lnTo>
                    <a:pt x="2492" y="555"/>
                  </a:lnTo>
                  <a:lnTo>
                    <a:pt x="2491" y="555"/>
                  </a:lnTo>
                  <a:lnTo>
                    <a:pt x="2491" y="553"/>
                  </a:lnTo>
                  <a:lnTo>
                    <a:pt x="2489" y="553"/>
                  </a:lnTo>
                  <a:lnTo>
                    <a:pt x="2488" y="552"/>
                  </a:lnTo>
                  <a:lnTo>
                    <a:pt x="2487" y="552"/>
                  </a:lnTo>
                  <a:lnTo>
                    <a:pt x="2486" y="551"/>
                  </a:lnTo>
                  <a:lnTo>
                    <a:pt x="2486" y="548"/>
                  </a:lnTo>
                  <a:lnTo>
                    <a:pt x="2486" y="546"/>
                  </a:lnTo>
                  <a:lnTo>
                    <a:pt x="2485" y="546"/>
                  </a:lnTo>
                  <a:lnTo>
                    <a:pt x="2484" y="546"/>
                  </a:lnTo>
                  <a:lnTo>
                    <a:pt x="2482" y="546"/>
                  </a:lnTo>
                  <a:lnTo>
                    <a:pt x="2481" y="546"/>
                  </a:lnTo>
                  <a:lnTo>
                    <a:pt x="2480" y="545"/>
                  </a:lnTo>
                  <a:lnTo>
                    <a:pt x="2479" y="544"/>
                  </a:lnTo>
                  <a:lnTo>
                    <a:pt x="2478" y="544"/>
                  </a:lnTo>
                  <a:lnTo>
                    <a:pt x="2477" y="544"/>
                  </a:lnTo>
                  <a:lnTo>
                    <a:pt x="2475" y="543"/>
                  </a:lnTo>
                  <a:lnTo>
                    <a:pt x="2474" y="543"/>
                  </a:lnTo>
                  <a:lnTo>
                    <a:pt x="2474" y="544"/>
                  </a:lnTo>
                  <a:lnTo>
                    <a:pt x="2474" y="545"/>
                  </a:lnTo>
                  <a:lnTo>
                    <a:pt x="2473" y="545"/>
                  </a:lnTo>
                  <a:lnTo>
                    <a:pt x="2473" y="544"/>
                  </a:lnTo>
                  <a:lnTo>
                    <a:pt x="2472" y="543"/>
                  </a:lnTo>
                  <a:lnTo>
                    <a:pt x="2471" y="543"/>
                  </a:lnTo>
                  <a:lnTo>
                    <a:pt x="2470" y="543"/>
                  </a:lnTo>
                  <a:lnTo>
                    <a:pt x="2468" y="543"/>
                  </a:lnTo>
                  <a:lnTo>
                    <a:pt x="2468" y="544"/>
                  </a:lnTo>
                  <a:lnTo>
                    <a:pt x="2467" y="544"/>
                  </a:lnTo>
                  <a:lnTo>
                    <a:pt x="2466" y="544"/>
                  </a:lnTo>
                  <a:lnTo>
                    <a:pt x="2466" y="545"/>
                  </a:lnTo>
                  <a:lnTo>
                    <a:pt x="2465" y="545"/>
                  </a:lnTo>
                  <a:lnTo>
                    <a:pt x="2464" y="545"/>
                  </a:lnTo>
                  <a:lnTo>
                    <a:pt x="2464" y="546"/>
                  </a:lnTo>
                  <a:lnTo>
                    <a:pt x="2463" y="545"/>
                  </a:lnTo>
                  <a:lnTo>
                    <a:pt x="2461" y="545"/>
                  </a:lnTo>
                  <a:lnTo>
                    <a:pt x="2460" y="545"/>
                  </a:lnTo>
                  <a:lnTo>
                    <a:pt x="2460" y="544"/>
                  </a:lnTo>
                  <a:lnTo>
                    <a:pt x="2461" y="544"/>
                  </a:lnTo>
                  <a:lnTo>
                    <a:pt x="2461" y="543"/>
                  </a:lnTo>
                  <a:lnTo>
                    <a:pt x="2460" y="543"/>
                  </a:lnTo>
                  <a:lnTo>
                    <a:pt x="2459" y="542"/>
                  </a:lnTo>
                  <a:lnTo>
                    <a:pt x="2458" y="542"/>
                  </a:lnTo>
                  <a:lnTo>
                    <a:pt x="2457" y="541"/>
                  </a:lnTo>
                  <a:lnTo>
                    <a:pt x="2456" y="541"/>
                  </a:lnTo>
                  <a:lnTo>
                    <a:pt x="2452" y="541"/>
                  </a:lnTo>
                  <a:lnTo>
                    <a:pt x="2452" y="539"/>
                  </a:lnTo>
                  <a:lnTo>
                    <a:pt x="2451" y="538"/>
                  </a:lnTo>
                  <a:lnTo>
                    <a:pt x="2450" y="538"/>
                  </a:lnTo>
                  <a:lnTo>
                    <a:pt x="2450" y="537"/>
                  </a:lnTo>
                  <a:lnTo>
                    <a:pt x="2449" y="537"/>
                  </a:lnTo>
                  <a:lnTo>
                    <a:pt x="2448" y="536"/>
                  </a:lnTo>
                  <a:lnTo>
                    <a:pt x="2446" y="536"/>
                  </a:lnTo>
                  <a:lnTo>
                    <a:pt x="2445" y="536"/>
                  </a:lnTo>
                  <a:lnTo>
                    <a:pt x="2445" y="537"/>
                  </a:lnTo>
                  <a:lnTo>
                    <a:pt x="2444" y="537"/>
                  </a:lnTo>
                  <a:lnTo>
                    <a:pt x="2444" y="536"/>
                  </a:lnTo>
                  <a:lnTo>
                    <a:pt x="2443" y="536"/>
                  </a:lnTo>
                  <a:lnTo>
                    <a:pt x="2442" y="535"/>
                  </a:lnTo>
                  <a:lnTo>
                    <a:pt x="2439" y="536"/>
                  </a:lnTo>
                  <a:lnTo>
                    <a:pt x="2438" y="536"/>
                  </a:lnTo>
                  <a:lnTo>
                    <a:pt x="2437" y="536"/>
                  </a:lnTo>
                  <a:lnTo>
                    <a:pt x="2436" y="536"/>
                  </a:lnTo>
                  <a:lnTo>
                    <a:pt x="2435" y="536"/>
                  </a:lnTo>
                  <a:lnTo>
                    <a:pt x="2434" y="536"/>
                  </a:lnTo>
                  <a:lnTo>
                    <a:pt x="2432" y="536"/>
                  </a:lnTo>
                  <a:lnTo>
                    <a:pt x="2431" y="536"/>
                  </a:lnTo>
                  <a:lnTo>
                    <a:pt x="2430" y="535"/>
                  </a:lnTo>
                  <a:lnTo>
                    <a:pt x="2429" y="535"/>
                  </a:lnTo>
                  <a:lnTo>
                    <a:pt x="2429" y="534"/>
                  </a:lnTo>
                  <a:lnTo>
                    <a:pt x="2428" y="534"/>
                  </a:lnTo>
                  <a:lnTo>
                    <a:pt x="2427" y="534"/>
                  </a:lnTo>
                  <a:lnTo>
                    <a:pt x="2425" y="534"/>
                  </a:lnTo>
                  <a:lnTo>
                    <a:pt x="2425" y="532"/>
                  </a:lnTo>
                  <a:lnTo>
                    <a:pt x="2424" y="534"/>
                  </a:lnTo>
                  <a:lnTo>
                    <a:pt x="2422" y="531"/>
                  </a:lnTo>
                  <a:lnTo>
                    <a:pt x="2420" y="531"/>
                  </a:lnTo>
                  <a:lnTo>
                    <a:pt x="2420" y="530"/>
                  </a:lnTo>
                  <a:lnTo>
                    <a:pt x="2418" y="530"/>
                  </a:lnTo>
                  <a:lnTo>
                    <a:pt x="2417" y="531"/>
                  </a:lnTo>
                  <a:lnTo>
                    <a:pt x="2416" y="531"/>
                  </a:lnTo>
                  <a:lnTo>
                    <a:pt x="2414" y="530"/>
                  </a:lnTo>
                  <a:lnTo>
                    <a:pt x="2413" y="530"/>
                  </a:lnTo>
                  <a:lnTo>
                    <a:pt x="2411" y="530"/>
                  </a:lnTo>
                  <a:lnTo>
                    <a:pt x="2410" y="532"/>
                  </a:lnTo>
                  <a:lnTo>
                    <a:pt x="2409" y="532"/>
                  </a:lnTo>
                  <a:lnTo>
                    <a:pt x="2409" y="531"/>
                  </a:lnTo>
                  <a:lnTo>
                    <a:pt x="2408" y="530"/>
                  </a:lnTo>
                  <a:lnTo>
                    <a:pt x="2407" y="530"/>
                  </a:lnTo>
                  <a:lnTo>
                    <a:pt x="2407" y="529"/>
                  </a:lnTo>
                  <a:lnTo>
                    <a:pt x="2406" y="529"/>
                  </a:lnTo>
                  <a:lnTo>
                    <a:pt x="2404" y="528"/>
                  </a:lnTo>
                  <a:lnTo>
                    <a:pt x="2403" y="527"/>
                  </a:lnTo>
                  <a:lnTo>
                    <a:pt x="2402" y="525"/>
                  </a:lnTo>
                  <a:lnTo>
                    <a:pt x="2401" y="525"/>
                  </a:lnTo>
                  <a:lnTo>
                    <a:pt x="2397" y="523"/>
                  </a:lnTo>
                  <a:lnTo>
                    <a:pt x="2397" y="522"/>
                  </a:lnTo>
                  <a:lnTo>
                    <a:pt x="2396" y="522"/>
                  </a:lnTo>
                  <a:lnTo>
                    <a:pt x="2396" y="521"/>
                  </a:lnTo>
                  <a:lnTo>
                    <a:pt x="2395" y="521"/>
                  </a:lnTo>
                  <a:lnTo>
                    <a:pt x="2394" y="521"/>
                  </a:lnTo>
                  <a:lnTo>
                    <a:pt x="2393" y="520"/>
                  </a:lnTo>
                  <a:lnTo>
                    <a:pt x="2393" y="518"/>
                  </a:lnTo>
                  <a:lnTo>
                    <a:pt x="2392" y="518"/>
                  </a:lnTo>
                  <a:lnTo>
                    <a:pt x="2390" y="518"/>
                  </a:lnTo>
                  <a:lnTo>
                    <a:pt x="2387" y="517"/>
                  </a:lnTo>
                  <a:lnTo>
                    <a:pt x="2386" y="517"/>
                  </a:lnTo>
                  <a:lnTo>
                    <a:pt x="2385" y="517"/>
                  </a:lnTo>
                  <a:lnTo>
                    <a:pt x="2385" y="516"/>
                  </a:lnTo>
                  <a:lnTo>
                    <a:pt x="2384" y="516"/>
                  </a:lnTo>
                  <a:lnTo>
                    <a:pt x="2384" y="515"/>
                  </a:lnTo>
                  <a:lnTo>
                    <a:pt x="2382" y="515"/>
                  </a:lnTo>
                  <a:lnTo>
                    <a:pt x="2381" y="514"/>
                  </a:lnTo>
                  <a:lnTo>
                    <a:pt x="2380" y="513"/>
                  </a:lnTo>
                  <a:lnTo>
                    <a:pt x="2379" y="511"/>
                  </a:lnTo>
                  <a:lnTo>
                    <a:pt x="2379" y="513"/>
                  </a:lnTo>
                  <a:lnTo>
                    <a:pt x="2380" y="513"/>
                  </a:lnTo>
                  <a:lnTo>
                    <a:pt x="2380" y="514"/>
                  </a:lnTo>
                  <a:lnTo>
                    <a:pt x="2379" y="514"/>
                  </a:lnTo>
                  <a:lnTo>
                    <a:pt x="2378" y="513"/>
                  </a:lnTo>
                  <a:lnTo>
                    <a:pt x="2377" y="513"/>
                  </a:lnTo>
                  <a:lnTo>
                    <a:pt x="2375" y="513"/>
                  </a:lnTo>
                  <a:lnTo>
                    <a:pt x="2374" y="511"/>
                  </a:lnTo>
                  <a:lnTo>
                    <a:pt x="2373" y="510"/>
                  </a:lnTo>
                  <a:lnTo>
                    <a:pt x="2373" y="509"/>
                  </a:lnTo>
                  <a:lnTo>
                    <a:pt x="2372" y="509"/>
                  </a:lnTo>
                  <a:lnTo>
                    <a:pt x="2371" y="508"/>
                  </a:lnTo>
                  <a:lnTo>
                    <a:pt x="2370" y="508"/>
                  </a:lnTo>
                  <a:lnTo>
                    <a:pt x="2370" y="507"/>
                  </a:lnTo>
                  <a:lnTo>
                    <a:pt x="2368" y="507"/>
                  </a:lnTo>
                  <a:lnTo>
                    <a:pt x="2366" y="506"/>
                  </a:lnTo>
                  <a:lnTo>
                    <a:pt x="2365" y="506"/>
                  </a:lnTo>
                  <a:lnTo>
                    <a:pt x="2364" y="506"/>
                  </a:lnTo>
                  <a:lnTo>
                    <a:pt x="2363" y="506"/>
                  </a:lnTo>
                  <a:lnTo>
                    <a:pt x="2363" y="504"/>
                  </a:lnTo>
                  <a:lnTo>
                    <a:pt x="2365" y="504"/>
                  </a:lnTo>
                  <a:lnTo>
                    <a:pt x="2366" y="504"/>
                  </a:lnTo>
                  <a:lnTo>
                    <a:pt x="2367" y="503"/>
                  </a:lnTo>
                  <a:lnTo>
                    <a:pt x="2365" y="503"/>
                  </a:lnTo>
                  <a:lnTo>
                    <a:pt x="2365" y="502"/>
                  </a:lnTo>
                  <a:lnTo>
                    <a:pt x="2365" y="503"/>
                  </a:lnTo>
                  <a:lnTo>
                    <a:pt x="2365" y="502"/>
                  </a:lnTo>
                  <a:lnTo>
                    <a:pt x="2366" y="502"/>
                  </a:lnTo>
                  <a:lnTo>
                    <a:pt x="2365" y="502"/>
                  </a:lnTo>
                  <a:lnTo>
                    <a:pt x="2364" y="502"/>
                  </a:lnTo>
                  <a:lnTo>
                    <a:pt x="2365" y="501"/>
                  </a:lnTo>
                  <a:lnTo>
                    <a:pt x="2366" y="501"/>
                  </a:lnTo>
                  <a:lnTo>
                    <a:pt x="2368" y="502"/>
                  </a:lnTo>
                  <a:lnTo>
                    <a:pt x="2370" y="502"/>
                  </a:lnTo>
                  <a:lnTo>
                    <a:pt x="2370" y="503"/>
                  </a:lnTo>
                  <a:lnTo>
                    <a:pt x="2368" y="503"/>
                  </a:lnTo>
                  <a:lnTo>
                    <a:pt x="2368" y="504"/>
                  </a:lnTo>
                  <a:lnTo>
                    <a:pt x="2370" y="504"/>
                  </a:lnTo>
                  <a:lnTo>
                    <a:pt x="2370" y="503"/>
                  </a:lnTo>
                  <a:lnTo>
                    <a:pt x="2371" y="503"/>
                  </a:lnTo>
                  <a:lnTo>
                    <a:pt x="2372" y="503"/>
                  </a:lnTo>
                  <a:lnTo>
                    <a:pt x="2371" y="503"/>
                  </a:lnTo>
                  <a:lnTo>
                    <a:pt x="2370" y="503"/>
                  </a:lnTo>
                  <a:lnTo>
                    <a:pt x="2370" y="502"/>
                  </a:lnTo>
                  <a:lnTo>
                    <a:pt x="2372" y="502"/>
                  </a:lnTo>
                  <a:lnTo>
                    <a:pt x="2373" y="503"/>
                  </a:lnTo>
                  <a:lnTo>
                    <a:pt x="2373" y="502"/>
                  </a:lnTo>
                  <a:lnTo>
                    <a:pt x="2374" y="502"/>
                  </a:lnTo>
                  <a:lnTo>
                    <a:pt x="2375" y="502"/>
                  </a:lnTo>
                  <a:lnTo>
                    <a:pt x="2375" y="503"/>
                  </a:lnTo>
                  <a:lnTo>
                    <a:pt x="2375" y="502"/>
                  </a:lnTo>
                  <a:lnTo>
                    <a:pt x="2375" y="503"/>
                  </a:lnTo>
                  <a:lnTo>
                    <a:pt x="2377" y="503"/>
                  </a:lnTo>
                  <a:lnTo>
                    <a:pt x="2377" y="502"/>
                  </a:lnTo>
                  <a:lnTo>
                    <a:pt x="2377" y="501"/>
                  </a:lnTo>
                  <a:lnTo>
                    <a:pt x="2377" y="502"/>
                  </a:lnTo>
                  <a:lnTo>
                    <a:pt x="2377" y="501"/>
                  </a:lnTo>
                  <a:lnTo>
                    <a:pt x="2377" y="500"/>
                  </a:lnTo>
                  <a:lnTo>
                    <a:pt x="2375" y="500"/>
                  </a:lnTo>
                  <a:lnTo>
                    <a:pt x="2375" y="499"/>
                  </a:lnTo>
                  <a:lnTo>
                    <a:pt x="2374" y="499"/>
                  </a:lnTo>
                  <a:lnTo>
                    <a:pt x="2375" y="499"/>
                  </a:lnTo>
                  <a:lnTo>
                    <a:pt x="2375" y="500"/>
                  </a:lnTo>
                  <a:lnTo>
                    <a:pt x="2375" y="501"/>
                  </a:lnTo>
                  <a:lnTo>
                    <a:pt x="2374" y="501"/>
                  </a:lnTo>
                  <a:lnTo>
                    <a:pt x="2374" y="500"/>
                  </a:lnTo>
                  <a:lnTo>
                    <a:pt x="2374" y="499"/>
                  </a:lnTo>
                  <a:lnTo>
                    <a:pt x="2374" y="497"/>
                  </a:lnTo>
                  <a:lnTo>
                    <a:pt x="2375" y="497"/>
                  </a:lnTo>
                  <a:lnTo>
                    <a:pt x="2375" y="499"/>
                  </a:lnTo>
                  <a:lnTo>
                    <a:pt x="2375" y="497"/>
                  </a:lnTo>
                  <a:lnTo>
                    <a:pt x="2375" y="499"/>
                  </a:lnTo>
                  <a:lnTo>
                    <a:pt x="2375" y="497"/>
                  </a:lnTo>
                  <a:lnTo>
                    <a:pt x="2377" y="496"/>
                  </a:lnTo>
                  <a:lnTo>
                    <a:pt x="2377" y="495"/>
                  </a:lnTo>
                  <a:lnTo>
                    <a:pt x="2378" y="495"/>
                  </a:lnTo>
                  <a:lnTo>
                    <a:pt x="2378" y="493"/>
                  </a:lnTo>
                  <a:lnTo>
                    <a:pt x="2378" y="492"/>
                  </a:lnTo>
                  <a:lnTo>
                    <a:pt x="2379" y="492"/>
                  </a:lnTo>
                  <a:lnTo>
                    <a:pt x="2379" y="493"/>
                  </a:lnTo>
                  <a:lnTo>
                    <a:pt x="2380" y="493"/>
                  </a:lnTo>
                  <a:lnTo>
                    <a:pt x="2379" y="494"/>
                  </a:lnTo>
                  <a:lnTo>
                    <a:pt x="2379" y="495"/>
                  </a:lnTo>
                  <a:lnTo>
                    <a:pt x="2380" y="495"/>
                  </a:lnTo>
                  <a:lnTo>
                    <a:pt x="2379" y="495"/>
                  </a:lnTo>
                  <a:lnTo>
                    <a:pt x="2379" y="494"/>
                  </a:lnTo>
                  <a:lnTo>
                    <a:pt x="2380" y="494"/>
                  </a:lnTo>
                  <a:lnTo>
                    <a:pt x="2380" y="493"/>
                  </a:lnTo>
                  <a:lnTo>
                    <a:pt x="2380" y="492"/>
                  </a:lnTo>
                  <a:lnTo>
                    <a:pt x="2380" y="490"/>
                  </a:lnTo>
                  <a:lnTo>
                    <a:pt x="2381" y="490"/>
                  </a:lnTo>
                  <a:lnTo>
                    <a:pt x="2382" y="490"/>
                  </a:lnTo>
                  <a:lnTo>
                    <a:pt x="2384" y="492"/>
                  </a:lnTo>
                  <a:lnTo>
                    <a:pt x="2385" y="492"/>
                  </a:lnTo>
                  <a:lnTo>
                    <a:pt x="2385" y="490"/>
                  </a:lnTo>
                  <a:lnTo>
                    <a:pt x="2381" y="489"/>
                  </a:lnTo>
                  <a:lnTo>
                    <a:pt x="2381" y="488"/>
                  </a:lnTo>
                  <a:lnTo>
                    <a:pt x="2380" y="488"/>
                  </a:lnTo>
                  <a:lnTo>
                    <a:pt x="2380" y="487"/>
                  </a:lnTo>
                  <a:lnTo>
                    <a:pt x="2379" y="486"/>
                  </a:lnTo>
                  <a:lnTo>
                    <a:pt x="2378" y="486"/>
                  </a:lnTo>
                  <a:lnTo>
                    <a:pt x="2377" y="486"/>
                  </a:lnTo>
                  <a:lnTo>
                    <a:pt x="2378" y="487"/>
                  </a:lnTo>
                  <a:lnTo>
                    <a:pt x="2377" y="487"/>
                  </a:lnTo>
                  <a:lnTo>
                    <a:pt x="2375" y="486"/>
                  </a:lnTo>
                  <a:lnTo>
                    <a:pt x="2375" y="485"/>
                  </a:lnTo>
                  <a:lnTo>
                    <a:pt x="2374" y="485"/>
                  </a:lnTo>
                  <a:lnTo>
                    <a:pt x="2374" y="483"/>
                  </a:lnTo>
                  <a:lnTo>
                    <a:pt x="2373" y="482"/>
                  </a:lnTo>
                  <a:lnTo>
                    <a:pt x="2373" y="481"/>
                  </a:lnTo>
                  <a:lnTo>
                    <a:pt x="2373" y="482"/>
                  </a:lnTo>
                  <a:lnTo>
                    <a:pt x="2374" y="482"/>
                  </a:lnTo>
                  <a:lnTo>
                    <a:pt x="2375" y="482"/>
                  </a:lnTo>
                  <a:lnTo>
                    <a:pt x="2377" y="482"/>
                  </a:lnTo>
                  <a:lnTo>
                    <a:pt x="2378" y="482"/>
                  </a:lnTo>
                  <a:lnTo>
                    <a:pt x="2378" y="481"/>
                  </a:lnTo>
                  <a:lnTo>
                    <a:pt x="2379" y="481"/>
                  </a:lnTo>
                  <a:lnTo>
                    <a:pt x="2380" y="481"/>
                  </a:lnTo>
                  <a:lnTo>
                    <a:pt x="2382" y="482"/>
                  </a:lnTo>
                  <a:lnTo>
                    <a:pt x="2384" y="482"/>
                  </a:lnTo>
                  <a:lnTo>
                    <a:pt x="2384" y="481"/>
                  </a:lnTo>
                  <a:lnTo>
                    <a:pt x="2382" y="481"/>
                  </a:lnTo>
                  <a:lnTo>
                    <a:pt x="2381" y="481"/>
                  </a:lnTo>
                  <a:lnTo>
                    <a:pt x="2380" y="480"/>
                  </a:lnTo>
                  <a:lnTo>
                    <a:pt x="2381" y="480"/>
                  </a:lnTo>
                  <a:lnTo>
                    <a:pt x="2381" y="479"/>
                  </a:lnTo>
                  <a:lnTo>
                    <a:pt x="2382" y="479"/>
                  </a:lnTo>
                  <a:lnTo>
                    <a:pt x="2384" y="479"/>
                  </a:lnTo>
                  <a:lnTo>
                    <a:pt x="2385" y="479"/>
                  </a:lnTo>
                  <a:lnTo>
                    <a:pt x="2386" y="479"/>
                  </a:lnTo>
                  <a:lnTo>
                    <a:pt x="2386" y="478"/>
                  </a:lnTo>
                  <a:lnTo>
                    <a:pt x="2387" y="478"/>
                  </a:lnTo>
                  <a:lnTo>
                    <a:pt x="2388" y="476"/>
                  </a:lnTo>
                  <a:lnTo>
                    <a:pt x="2389" y="476"/>
                  </a:lnTo>
                  <a:lnTo>
                    <a:pt x="2390" y="476"/>
                  </a:lnTo>
                  <a:lnTo>
                    <a:pt x="2392" y="476"/>
                  </a:lnTo>
                  <a:lnTo>
                    <a:pt x="2392" y="475"/>
                  </a:lnTo>
                  <a:lnTo>
                    <a:pt x="2392" y="474"/>
                  </a:lnTo>
                  <a:lnTo>
                    <a:pt x="2392" y="475"/>
                  </a:lnTo>
                  <a:lnTo>
                    <a:pt x="2390" y="475"/>
                  </a:lnTo>
                  <a:lnTo>
                    <a:pt x="2390" y="474"/>
                  </a:lnTo>
                  <a:lnTo>
                    <a:pt x="2390" y="473"/>
                  </a:lnTo>
                  <a:lnTo>
                    <a:pt x="2389" y="473"/>
                  </a:lnTo>
                  <a:lnTo>
                    <a:pt x="2388" y="472"/>
                  </a:lnTo>
                  <a:lnTo>
                    <a:pt x="2388" y="473"/>
                  </a:lnTo>
                  <a:lnTo>
                    <a:pt x="2388" y="472"/>
                  </a:lnTo>
                  <a:lnTo>
                    <a:pt x="2387" y="473"/>
                  </a:lnTo>
                  <a:lnTo>
                    <a:pt x="2386" y="473"/>
                  </a:lnTo>
                  <a:lnTo>
                    <a:pt x="2386" y="474"/>
                  </a:lnTo>
                  <a:lnTo>
                    <a:pt x="2385" y="474"/>
                  </a:lnTo>
                  <a:lnTo>
                    <a:pt x="2384" y="474"/>
                  </a:lnTo>
                  <a:lnTo>
                    <a:pt x="2382" y="474"/>
                  </a:lnTo>
                  <a:lnTo>
                    <a:pt x="2381" y="474"/>
                  </a:lnTo>
                  <a:lnTo>
                    <a:pt x="2382" y="474"/>
                  </a:lnTo>
                  <a:lnTo>
                    <a:pt x="2382" y="475"/>
                  </a:lnTo>
                  <a:lnTo>
                    <a:pt x="2381" y="475"/>
                  </a:lnTo>
                  <a:lnTo>
                    <a:pt x="2381" y="474"/>
                  </a:lnTo>
                  <a:lnTo>
                    <a:pt x="2381" y="473"/>
                  </a:lnTo>
                  <a:lnTo>
                    <a:pt x="2382" y="473"/>
                  </a:lnTo>
                  <a:lnTo>
                    <a:pt x="2385" y="473"/>
                  </a:lnTo>
                  <a:lnTo>
                    <a:pt x="2385" y="472"/>
                  </a:lnTo>
                  <a:lnTo>
                    <a:pt x="2385" y="473"/>
                  </a:lnTo>
                  <a:lnTo>
                    <a:pt x="2384" y="473"/>
                  </a:lnTo>
                  <a:lnTo>
                    <a:pt x="2382" y="473"/>
                  </a:lnTo>
                  <a:lnTo>
                    <a:pt x="2381" y="473"/>
                  </a:lnTo>
                  <a:lnTo>
                    <a:pt x="2381" y="474"/>
                  </a:lnTo>
                  <a:lnTo>
                    <a:pt x="2380" y="474"/>
                  </a:lnTo>
                  <a:lnTo>
                    <a:pt x="2378" y="475"/>
                  </a:lnTo>
                  <a:lnTo>
                    <a:pt x="2378" y="474"/>
                  </a:lnTo>
                  <a:lnTo>
                    <a:pt x="2378" y="473"/>
                  </a:lnTo>
                  <a:lnTo>
                    <a:pt x="2378" y="472"/>
                  </a:lnTo>
                  <a:lnTo>
                    <a:pt x="2377" y="472"/>
                  </a:lnTo>
                  <a:lnTo>
                    <a:pt x="2377" y="471"/>
                  </a:lnTo>
                  <a:lnTo>
                    <a:pt x="2378" y="471"/>
                  </a:lnTo>
                  <a:lnTo>
                    <a:pt x="2377" y="469"/>
                  </a:lnTo>
                  <a:lnTo>
                    <a:pt x="2378" y="468"/>
                  </a:lnTo>
                  <a:lnTo>
                    <a:pt x="2378" y="467"/>
                  </a:lnTo>
                  <a:lnTo>
                    <a:pt x="2380" y="467"/>
                  </a:lnTo>
                  <a:lnTo>
                    <a:pt x="2381" y="467"/>
                  </a:lnTo>
                  <a:lnTo>
                    <a:pt x="2381" y="466"/>
                  </a:lnTo>
                  <a:lnTo>
                    <a:pt x="2382" y="466"/>
                  </a:lnTo>
                  <a:lnTo>
                    <a:pt x="2382" y="465"/>
                  </a:lnTo>
                  <a:lnTo>
                    <a:pt x="2382" y="464"/>
                  </a:lnTo>
                  <a:lnTo>
                    <a:pt x="2384" y="464"/>
                  </a:lnTo>
                  <a:lnTo>
                    <a:pt x="2386" y="464"/>
                  </a:lnTo>
                  <a:lnTo>
                    <a:pt x="2387" y="464"/>
                  </a:lnTo>
                  <a:lnTo>
                    <a:pt x="2389" y="464"/>
                  </a:lnTo>
                  <a:lnTo>
                    <a:pt x="2390" y="464"/>
                  </a:lnTo>
                  <a:lnTo>
                    <a:pt x="2392" y="464"/>
                  </a:lnTo>
                  <a:lnTo>
                    <a:pt x="2393" y="464"/>
                  </a:lnTo>
                  <a:lnTo>
                    <a:pt x="2394" y="464"/>
                  </a:lnTo>
                  <a:lnTo>
                    <a:pt x="2394" y="462"/>
                  </a:lnTo>
                  <a:lnTo>
                    <a:pt x="2394" y="461"/>
                  </a:lnTo>
                  <a:lnTo>
                    <a:pt x="2395" y="460"/>
                  </a:lnTo>
                  <a:lnTo>
                    <a:pt x="2394" y="460"/>
                  </a:lnTo>
                  <a:lnTo>
                    <a:pt x="2394" y="459"/>
                  </a:lnTo>
                  <a:lnTo>
                    <a:pt x="2395" y="459"/>
                  </a:lnTo>
                  <a:lnTo>
                    <a:pt x="2395" y="458"/>
                  </a:lnTo>
                  <a:lnTo>
                    <a:pt x="2396" y="458"/>
                  </a:lnTo>
                  <a:lnTo>
                    <a:pt x="2396" y="457"/>
                  </a:lnTo>
                  <a:lnTo>
                    <a:pt x="2395" y="457"/>
                  </a:lnTo>
                  <a:lnTo>
                    <a:pt x="2394" y="457"/>
                  </a:lnTo>
                  <a:lnTo>
                    <a:pt x="2394" y="455"/>
                  </a:lnTo>
                  <a:lnTo>
                    <a:pt x="2395" y="455"/>
                  </a:lnTo>
                  <a:lnTo>
                    <a:pt x="2394" y="455"/>
                  </a:lnTo>
                  <a:lnTo>
                    <a:pt x="2394" y="454"/>
                  </a:lnTo>
                  <a:lnTo>
                    <a:pt x="2393" y="454"/>
                  </a:lnTo>
                  <a:lnTo>
                    <a:pt x="2393" y="453"/>
                  </a:lnTo>
                  <a:lnTo>
                    <a:pt x="2394" y="453"/>
                  </a:lnTo>
                  <a:lnTo>
                    <a:pt x="2393" y="453"/>
                  </a:lnTo>
                  <a:lnTo>
                    <a:pt x="2393" y="452"/>
                  </a:lnTo>
                  <a:lnTo>
                    <a:pt x="2392" y="452"/>
                  </a:lnTo>
                  <a:lnTo>
                    <a:pt x="2390" y="452"/>
                  </a:lnTo>
                  <a:lnTo>
                    <a:pt x="2390" y="450"/>
                  </a:lnTo>
                  <a:lnTo>
                    <a:pt x="2392" y="450"/>
                  </a:lnTo>
                  <a:lnTo>
                    <a:pt x="2392" y="448"/>
                  </a:lnTo>
                  <a:lnTo>
                    <a:pt x="2394" y="450"/>
                  </a:lnTo>
                  <a:lnTo>
                    <a:pt x="2394" y="448"/>
                  </a:lnTo>
                  <a:lnTo>
                    <a:pt x="2395" y="448"/>
                  </a:lnTo>
                  <a:lnTo>
                    <a:pt x="2395" y="447"/>
                  </a:lnTo>
                  <a:lnTo>
                    <a:pt x="2394" y="447"/>
                  </a:lnTo>
                  <a:lnTo>
                    <a:pt x="2394" y="448"/>
                  </a:lnTo>
                  <a:lnTo>
                    <a:pt x="2393" y="448"/>
                  </a:lnTo>
                  <a:lnTo>
                    <a:pt x="2393" y="447"/>
                  </a:lnTo>
                  <a:lnTo>
                    <a:pt x="2392" y="447"/>
                  </a:lnTo>
                  <a:lnTo>
                    <a:pt x="2390" y="447"/>
                  </a:lnTo>
                  <a:lnTo>
                    <a:pt x="2390" y="446"/>
                  </a:lnTo>
                  <a:lnTo>
                    <a:pt x="2389" y="446"/>
                  </a:lnTo>
                  <a:lnTo>
                    <a:pt x="2389" y="445"/>
                  </a:lnTo>
                  <a:lnTo>
                    <a:pt x="2390" y="445"/>
                  </a:lnTo>
                  <a:lnTo>
                    <a:pt x="2392" y="445"/>
                  </a:lnTo>
                  <a:lnTo>
                    <a:pt x="2393" y="445"/>
                  </a:lnTo>
                  <a:lnTo>
                    <a:pt x="2393" y="444"/>
                  </a:lnTo>
                  <a:lnTo>
                    <a:pt x="2394" y="444"/>
                  </a:lnTo>
                  <a:lnTo>
                    <a:pt x="2394" y="443"/>
                  </a:lnTo>
                  <a:lnTo>
                    <a:pt x="2394" y="441"/>
                  </a:lnTo>
                  <a:lnTo>
                    <a:pt x="2394" y="440"/>
                  </a:lnTo>
                  <a:lnTo>
                    <a:pt x="2393" y="439"/>
                  </a:lnTo>
                  <a:lnTo>
                    <a:pt x="2393" y="438"/>
                  </a:lnTo>
                  <a:lnTo>
                    <a:pt x="2393" y="437"/>
                  </a:lnTo>
                  <a:lnTo>
                    <a:pt x="2392" y="437"/>
                  </a:lnTo>
                  <a:lnTo>
                    <a:pt x="2390" y="437"/>
                  </a:lnTo>
                  <a:lnTo>
                    <a:pt x="2390" y="438"/>
                  </a:lnTo>
                  <a:lnTo>
                    <a:pt x="2389" y="438"/>
                  </a:lnTo>
                  <a:lnTo>
                    <a:pt x="2388" y="437"/>
                  </a:lnTo>
                  <a:lnTo>
                    <a:pt x="2387" y="437"/>
                  </a:lnTo>
                  <a:lnTo>
                    <a:pt x="2387" y="436"/>
                  </a:lnTo>
                  <a:lnTo>
                    <a:pt x="2386" y="436"/>
                  </a:lnTo>
                  <a:lnTo>
                    <a:pt x="2386" y="434"/>
                  </a:lnTo>
                  <a:lnTo>
                    <a:pt x="2385" y="434"/>
                  </a:lnTo>
                  <a:lnTo>
                    <a:pt x="2384" y="434"/>
                  </a:lnTo>
                  <a:lnTo>
                    <a:pt x="2382" y="434"/>
                  </a:lnTo>
                  <a:lnTo>
                    <a:pt x="2381" y="432"/>
                  </a:lnTo>
                  <a:lnTo>
                    <a:pt x="2380" y="432"/>
                  </a:lnTo>
                  <a:lnTo>
                    <a:pt x="2380" y="433"/>
                  </a:lnTo>
                  <a:lnTo>
                    <a:pt x="2379" y="433"/>
                  </a:lnTo>
                  <a:lnTo>
                    <a:pt x="2378" y="433"/>
                  </a:lnTo>
                  <a:lnTo>
                    <a:pt x="2377" y="432"/>
                  </a:lnTo>
                  <a:lnTo>
                    <a:pt x="2375" y="432"/>
                  </a:lnTo>
                  <a:lnTo>
                    <a:pt x="2374" y="432"/>
                  </a:lnTo>
                  <a:lnTo>
                    <a:pt x="2374" y="431"/>
                  </a:lnTo>
                  <a:lnTo>
                    <a:pt x="2373" y="431"/>
                  </a:lnTo>
                  <a:lnTo>
                    <a:pt x="2372" y="431"/>
                  </a:lnTo>
                  <a:lnTo>
                    <a:pt x="2371" y="431"/>
                  </a:lnTo>
                  <a:lnTo>
                    <a:pt x="2370" y="430"/>
                  </a:lnTo>
                  <a:lnTo>
                    <a:pt x="2368" y="430"/>
                  </a:lnTo>
                  <a:lnTo>
                    <a:pt x="2368" y="431"/>
                  </a:lnTo>
                  <a:lnTo>
                    <a:pt x="2368" y="432"/>
                  </a:lnTo>
                  <a:lnTo>
                    <a:pt x="2367" y="432"/>
                  </a:lnTo>
                  <a:lnTo>
                    <a:pt x="2366" y="432"/>
                  </a:lnTo>
                  <a:lnTo>
                    <a:pt x="2366" y="431"/>
                  </a:lnTo>
                  <a:lnTo>
                    <a:pt x="2365" y="431"/>
                  </a:lnTo>
                  <a:lnTo>
                    <a:pt x="2365" y="430"/>
                  </a:lnTo>
                  <a:lnTo>
                    <a:pt x="2364" y="430"/>
                  </a:lnTo>
                  <a:lnTo>
                    <a:pt x="2363" y="430"/>
                  </a:lnTo>
                  <a:lnTo>
                    <a:pt x="2361" y="427"/>
                  </a:lnTo>
                  <a:lnTo>
                    <a:pt x="2360" y="427"/>
                  </a:lnTo>
                  <a:lnTo>
                    <a:pt x="2360" y="426"/>
                  </a:lnTo>
                  <a:lnTo>
                    <a:pt x="2360" y="425"/>
                  </a:lnTo>
                  <a:lnTo>
                    <a:pt x="2359" y="425"/>
                  </a:lnTo>
                  <a:lnTo>
                    <a:pt x="2358" y="425"/>
                  </a:lnTo>
                  <a:lnTo>
                    <a:pt x="2358" y="424"/>
                  </a:lnTo>
                  <a:lnTo>
                    <a:pt x="2357" y="424"/>
                  </a:lnTo>
                  <a:lnTo>
                    <a:pt x="2356" y="424"/>
                  </a:lnTo>
                  <a:lnTo>
                    <a:pt x="2356" y="425"/>
                  </a:lnTo>
                  <a:lnTo>
                    <a:pt x="2353" y="425"/>
                  </a:lnTo>
                  <a:lnTo>
                    <a:pt x="2352" y="425"/>
                  </a:lnTo>
                  <a:lnTo>
                    <a:pt x="2351" y="425"/>
                  </a:lnTo>
                  <a:lnTo>
                    <a:pt x="2350" y="426"/>
                  </a:lnTo>
                  <a:lnTo>
                    <a:pt x="2349" y="426"/>
                  </a:lnTo>
                  <a:lnTo>
                    <a:pt x="2349" y="427"/>
                  </a:lnTo>
                  <a:lnTo>
                    <a:pt x="2347" y="427"/>
                  </a:lnTo>
                  <a:lnTo>
                    <a:pt x="2347" y="426"/>
                  </a:lnTo>
                  <a:lnTo>
                    <a:pt x="2346" y="426"/>
                  </a:lnTo>
                  <a:lnTo>
                    <a:pt x="2345" y="426"/>
                  </a:lnTo>
                  <a:lnTo>
                    <a:pt x="2344" y="426"/>
                  </a:lnTo>
                  <a:lnTo>
                    <a:pt x="2343" y="425"/>
                  </a:lnTo>
                  <a:lnTo>
                    <a:pt x="2343" y="424"/>
                  </a:lnTo>
                  <a:lnTo>
                    <a:pt x="2342" y="424"/>
                  </a:lnTo>
                  <a:lnTo>
                    <a:pt x="2339" y="424"/>
                  </a:lnTo>
                  <a:lnTo>
                    <a:pt x="2338" y="424"/>
                  </a:lnTo>
                  <a:lnTo>
                    <a:pt x="2338" y="425"/>
                  </a:lnTo>
                  <a:lnTo>
                    <a:pt x="2337" y="425"/>
                  </a:lnTo>
                  <a:lnTo>
                    <a:pt x="2336" y="425"/>
                  </a:lnTo>
                  <a:lnTo>
                    <a:pt x="2336" y="424"/>
                  </a:lnTo>
                  <a:lnTo>
                    <a:pt x="2335" y="424"/>
                  </a:lnTo>
                  <a:lnTo>
                    <a:pt x="2335" y="423"/>
                  </a:lnTo>
                  <a:lnTo>
                    <a:pt x="2333" y="423"/>
                  </a:lnTo>
                  <a:lnTo>
                    <a:pt x="2332" y="420"/>
                  </a:lnTo>
                  <a:lnTo>
                    <a:pt x="2333" y="420"/>
                  </a:lnTo>
                  <a:lnTo>
                    <a:pt x="2333" y="419"/>
                  </a:lnTo>
                  <a:lnTo>
                    <a:pt x="2332" y="419"/>
                  </a:lnTo>
                  <a:lnTo>
                    <a:pt x="2332" y="418"/>
                  </a:lnTo>
                  <a:lnTo>
                    <a:pt x="2331" y="418"/>
                  </a:lnTo>
                  <a:lnTo>
                    <a:pt x="2331" y="417"/>
                  </a:lnTo>
                  <a:lnTo>
                    <a:pt x="2331" y="416"/>
                  </a:lnTo>
                  <a:lnTo>
                    <a:pt x="2330" y="416"/>
                  </a:lnTo>
                  <a:lnTo>
                    <a:pt x="2331" y="415"/>
                  </a:lnTo>
                  <a:lnTo>
                    <a:pt x="2330" y="415"/>
                  </a:lnTo>
                  <a:lnTo>
                    <a:pt x="2329" y="415"/>
                  </a:lnTo>
                  <a:lnTo>
                    <a:pt x="2328" y="413"/>
                  </a:lnTo>
                  <a:lnTo>
                    <a:pt x="2328" y="412"/>
                  </a:lnTo>
                  <a:lnTo>
                    <a:pt x="2326" y="412"/>
                  </a:lnTo>
                  <a:lnTo>
                    <a:pt x="2325" y="412"/>
                  </a:lnTo>
                  <a:lnTo>
                    <a:pt x="2324" y="412"/>
                  </a:lnTo>
                  <a:lnTo>
                    <a:pt x="2323" y="412"/>
                  </a:lnTo>
                  <a:lnTo>
                    <a:pt x="2322" y="412"/>
                  </a:lnTo>
                  <a:lnTo>
                    <a:pt x="2322" y="411"/>
                  </a:lnTo>
                  <a:lnTo>
                    <a:pt x="2321" y="411"/>
                  </a:lnTo>
                  <a:lnTo>
                    <a:pt x="2321" y="412"/>
                  </a:lnTo>
                  <a:lnTo>
                    <a:pt x="2320" y="411"/>
                  </a:lnTo>
                  <a:lnTo>
                    <a:pt x="2318" y="411"/>
                  </a:lnTo>
                  <a:lnTo>
                    <a:pt x="2317" y="411"/>
                  </a:lnTo>
                  <a:lnTo>
                    <a:pt x="2317" y="412"/>
                  </a:lnTo>
                  <a:lnTo>
                    <a:pt x="2316" y="411"/>
                  </a:lnTo>
                  <a:lnTo>
                    <a:pt x="2317" y="411"/>
                  </a:lnTo>
                  <a:lnTo>
                    <a:pt x="2317" y="410"/>
                  </a:lnTo>
                  <a:lnTo>
                    <a:pt x="2316" y="410"/>
                  </a:lnTo>
                  <a:lnTo>
                    <a:pt x="2316" y="409"/>
                  </a:lnTo>
                  <a:lnTo>
                    <a:pt x="2316" y="408"/>
                  </a:lnTo>
                  <a:lnTo>
                    <a:pt x="2316" y="406"/>
                  </a:lnTo>
                  <a:lnTo>
                    <a:pt x="2315" y="406"/>
                  </a:lnTo>
                  <a:lnTo>
                    <a:pt x="2315" y="405"/>
                  </a:lnTo>
                  <a:lnTo>
                    <a:pt x="2314" y="405"/>
                  </a:lnTo>
                  <a:lnTo>
                    <a:pt x="2316" y="404"/>
                  </a:lnTo>
                  <a:lnTo>
                    <a:pt x="2317" y="404"/>
                  </a:lnTo>
                  <a:lnTo>
                    <a:pt x="2317" y="403"/>
                  </a:lnTo>
                  <a:lnTo>
                    <a:pt x="2316" y="403"/>
                  </a:lnTo>
                  <a:lnTo>
                    <a:pt x="2316" y="402"/>
                  </a:lnTo>
                  <a:lnTo>
                    <a:pt x="2315" y="402"/>
                  </a:lnTo>
                  <a:lnTo>
                    <a:pt x="2314" y="401"/>
                  </a:lnTo>
                  <a:lnTo>
                    <a:pt x="2313" y="401"/>
                  </a:lnTo>
                  <a:lnTo>
                    <a:pt x="2313" y="399"/>
                  </a:lnTo>
                  <a:lnTo>
                    <a:pt x="2313" y="398"/>
                  </a:lnTo>
                  <a:lnTo>
                    <a:pt x="2313" y="397"/>
                  </a:lnTo>
                  <a:lnTo>
                    <a:pt x="2311" y="397"/>
                  </a:lnTo>
                  <a:lnTo>
                    <a:pt x="2310" y="397"/>
                  </a:lnTo>
                  <a:lnTo>
                    <a:pt x="2310" y="396"/>
                  </a:lnTo>
                  <a:lnTo>
                    <a:pt x="2309" y="396"/>
                  </a:lnTo>
                  <a:lnTo>
                    <a:pt x="2309" y="395"/>
                  </a:lnTo>
                  <a:lnTo>
                    <a:pt x="2308" y="395"/>
                  </a:lnTo>
                  <a:lnTo>
                    <a:pt x="2307" y="395"/>
                  </a:lnTo>
                  <a:lnTo>
                    <a:pt x="2306" y="395"/>
                  </a:lnTo>
                  <a:lnTo>
                    <a:pt x="2306" y="396"/>
                  </a:lnTo>
                  <a:lnTo>
                    <a:pt x="2304" y="396"/>
                  </a:lnTo>
                  <a:lnTo>
                    <a:pt x="2304" y="395"/>
                  </a:lnTo>
                  <a:lnTo>
                    <a:pt x="2303" y="395"/>
                  </a:lnTo>
                  <a:lnTo>
                    <a:pt x="2302" y="395"/>
                  </a:lnTo>
                  <a:lnTo>
                    <a:pt x="2301" y="395"/>
                  </a:lnTo>
                  <a:lnTo>
                    <a:pt x="2300" y="395"/>
                  </a:lnTo>
                  <a:lnTo>
                    <a:pt x="2300" y="396"/>
                  </a:lnTo>
                  <a:lnTo>
                    <a:pt x="2300" y="395"/>
                  </a:lnTo>
                  <a:lnTo>
                    <a:pt x="2300" y="396"/>
                  </a:lnTo>
                  <a:lnTo>
                    <a:pt x="2299" y="396"/>
                  </a:lnTo>
                  <a:lnTo>
                    <a:pt x="2297" y="396"/>
                  </a:lnTo>
                  <a:lnTo>
                    <a:pt x="2296" y="396"/>
                  </a:lnTo>
                  <a:lnTo>
                    <a:pt x="2293" y="395"/>
                  </a:lnTo>
                  <a:lnTo>
                    <a:pt x="2292" y="395"/>
                  </a:lnTo>
                  <a:lnTo>
                    <a:pt x="2292" y="396"/>
                  </a:lnTo>
                  <a:lnTo>
                    <a:pt x="2292" y="397"/>
                  </a:lnTo>
                  <a:lnTo>
                    <a:pt x="2292" y="398"/>
                  </a:lnTo>
                  <a:lnTo>
                    <a:pt x="2290" y="398"/>
                  </a:lnTo>
                  <a:lnTo>
                    <a:pt x="2289" y="399"/>
                  </a:lnTo>
                  <a:lnTo>
                    <a:pt x="2288" y="399"/>
                  </a:lnTo>
                  <a:lnTo>
                    <a:pt x="2287" y="399"/>
                  </a:lnTo>
                  <a:lnTo>
                    <a:pt x="2286" y="399"/>
                  </a:lnTo>
                  <a:lnTo>
                    <a:pt x="2286" y="398"/>
                  </a:lnTo>
                  <a:lnTo>
                    <a:pt x="2285" y="398"/>
                  </a:lnTo>
                  <a:lnTo>
                    <a:pt x="2285" y="397"/>
                  </a:lnTo>
                  <a:lnTo>
                    <a:pt x="2283" y="397"/>
                  </a:lnTo>
                  <a:lnTo>
                    <a:pt x="2283" y="396"/>
                  </a:lnTo>
                  <a:lnTo>
                    <a:pt x="2282" y="396"/>
                  </a:lnTo>
                  <a:lnTo>
                    <a:pt x="2282" y="395"/>
                  </a:lnTo>
                  <a:lnTo>
                    <a:pt x="2282" y="394"/>
                  </a:lnTo>
                  <a:lnTo>
                    <a:pt x="2281" y="394"/>
                  </a:lnTo>
                  <a:lnTo>
                    <a:pt x="2281" y="392"/>
                  </a:lnTo>
                  <a:lnTo>
                    <a:pt x="2281" y="391"/>
                  </a:lnTo>
                  <a:lnTo>
                    <a:pt x="2281" y="392"/>
                  </a:lnTo>
                  <a:lnTo>
                    <a:pt x="2282" y="391"/>
                  </a:lnTo>
                  <a:lnTo>
                    <a:pt x="2281" y="391"/>
                  </a:lnTo>
                  <a:lnTo>
                    <a:pt x="2280" y="390"/>
                  </a:lnTo>
                  <a:lnTo>
                    <a:pt x="2280" y="389"/>
                  </a:lnTo>
                  <a:lnTo>
                    <a:pt x="2281" y="389"/>
                  </a:lnTo>
                  <a:lnTo>
                    <a:pt x="2280" y="389"/>
                  </a:lnTo>
                  <a:lnTo>
                    <a:pt x="2280" y="388"/>
                  </a:lnTo>
                  <a:lnTo>
                    <a:pt x="2280" y="387"/>
                  </a:lnTo>
                  <a:lnTo>
                    <a:pt x="2279" y="387"/>
                  </a:lnTo>
                  <a:lnTo>
                    <a:pt x="2278" y="387"/>
                  </a:lnTo>
                  <a:lnTo>
                    <a:pt x="2278" y="385"/>
                  </a:lnTo>
                  <a:lnTo>
                    <a:pt x="2276" y="385"/>
                  </a:lnTo>
                  <a:lnTo>
                    <a:pt x="2276" y="384"/>
                  </a:lnTo>
                  <a:lnTo>
                    <a:pt x="2276" y="383"/>
                  </a:lnTo>
                  <a:lnTo>
                    <a:pt x="2278" y="383"/>
                  </a:lnTo>
                  <a:lnTo>
                    <a:pt x="2276" y="383"/>
                  </a:lnTo>
                  <a:lnTo>
                    <a:pt x="2278" y="382"/>
                  </a:lnTo>
                  <a:lnTo>
                    <a:pt x="2279" y="382"/>
                  </a:lnTo>
                  <a:lnTo>
                    <a:pt x="2280" y="382"/>
                  </a:lnTo>
                  <a:lnTo>
                    <a:pt x="2281" y="382"/>
                  </a:lnTo>
                  <a:lnTo>
                    <a:pt x="2282" y="382"/>
                  </a:lnTo>
                  <a:lnTo>
                    <a:pt x="2282" y="383"/>
                  </a:lnTo>
                  <a:lnTo>
                    <a:pt x="2283" y="383"/>
                  </a:lnTo>
                  <a:lnTo>
                    <a:pt x="2285" y="383"/>
                  </a:lnTo>
                  <a:lnTo>
                    <a:pt x="2286" y="383"/>
                  </a:lnTo>
                  <a:lnTo>
                    <a:pt x="2287" y="383"/>
                  </a:lnTo>
                  <a:lnTo>
                    <a:pt x="2288" y="383"/>
                  </a:lnTo>
                  <a:lnTo>
                    <a:pt x="2288" y="382"/>
                  </a:lnTo>
                  <a:lnTo>
                    <a:pt x="2289" y="382"/>
                  </a:lnTo>
                  <a:lnTo>
                    <a:pt x="2289" y="381"/>
                  </a:lnTo>
                  <a:lnTo>
                    <a:pt x="2290" y="381"/>
                  </a:lnTo>
                  <a:lnTo>
                    <a:pt x="2292" y="381"/>
                  </a:lnTo>
                  <a:lnTo>
                    <a:pt x="2290" y="380"/>
                  </a:lnTo>
                  <a:lnTo>
                    <a:pt x="2292" y="380"/>
                  </a:lnTo>
                  <a:lnTo>
                    <a:pt x="2293" y="380"/>
                  </a:lnTo>
                  <a:lnTo>
                    <a:pt x="2292" y="380"/>
                  </a:lnTo>
                  <a:lnTo>
                    <a:pt x="2292" y="378"/>
                  </a:lnTo>
                  <a:lnTo>
                    <a:pt x="2292" y="377"/>
                  </a:lnTo>
                  <a:lnTo>
                    <a:pt x="2290" y="377"/>
                  </a:lnTo>
                  <a:lnTo>
                    <a:pt x="2289" y="377"/>
                  </a:lnTo>
                  <a:lnTo>
                    <a:pt x="2288" y="376"/>
                  </a:lnTo>
                  <a:lnTo>
                    <a:pt x="2288" y="375"/>
                  </a:lnTo>
                  <a:lnTo>
                    <a:pt x="2289" y="375"/>
                  </a:lnTo>
                  <a:lnTo>
                    <a:pt x="2288" y="375"/>
                  </a:lnTo>
                  <a:lnTo>
                    <a:pt x="2288" y="374"/>
                  </a:lnTo>
                  <a:lnTo>
                    <a:pt x="2287" y="374"/>
                  </a:lnTo>
                  <a:lnTo>
                    <a:pt x="2286" y="374"/>
                  </a:lnTo>
                  <a:lnTo>
                    <a:pt x="2285" y="373"/>
                  </a:lnTo>
                  <a:lnTo>
                    <a:pt x="2283" y="373"/>
                  </a:lnTo>
                  <a:lnTo>
                    <a:pt x="2281" y="373"/>
                  </a:lnTo>
                  <a:lnTo>
                    <a:pt x="2280" y="373"/>
                  </a:lnTo>
                  <a:lnTo>
                    <a:pt x="2280" y="371"/>
                  </a:lnTo>
                  <a:lnTo>
                    <a:pt x="2280" y="370"/>
                  </a:lnTo>
                  <a:lnTo>
                    <a:pt x="2280" y="369"/>
                  </a:lnTo>
                  <a:lnTo>
                    <a:pt x="2279" y="369"/>
                  </a:lnTo>
                  <a:lnTo>
                    <a:pt x="2279" y="368"/>
                  </a:lnTo>
                  <a:lnTo>
                    <a:pt x="2278" y="368"/>
                  </a:lnTo>
                  <a:lnTo>
                    <a:pt x="2276" y="368"/>
                  </a:lnTo>
                  <a:lnTo>
                    <a:pt x="2275" y="368"/>
                  </a:lnTo>
                  <a:lnTo>
                    <a:pt x="2273" y="367"/>
                  </a:lnTo>
                  <a:lnTo>
                    <a:pt x="2273" y="366"/>
                  </a:lnTo>
                  <a:lnTo>
                    <a:pt x="2273" y="364"/>
                  </a:lnTo>
                  <a:lnTo>
                    <a:pt x="2272" y="364"/>
                  </a:lnTo>
                  <a:lnTo>
                    <a:pt x="2272" y="363"/>
                  </a:lnTo>
                  <a:lnTo>
                    <a:pt x="2271" y="363"/>
                  </a:lnTo>
                  <a:lnTo>
                    <a:pt x="2269" y="362"/>
                  </a:lnTo>
                  <a:lnTo>
                    <a:pt x="2271" y="361"/>
                  </a:lnTo>
                  <a:lnTo>
                    <a:pt x="2269" y="360"/>
                  </a:lnTo>
                  <a:lnTo>
                    <a:pt x="2268" y="360"/>
                  </a:lnTo>
                  <a:lnTo>
                    <a:pt x="2268" y="359"/>
                  </a:lnTo>
                  <a:lnTo>
                    <a:pt x="2266" y="359"/>
                  </a:lnTo>
                  <a:lnTo>
                    <a:pt x="2265" y="359"/>
                  </a:lnTo>
                  <a:lnTo>
                    <a:pt x="2265" y="357"/>
                  </a:lnTo>
                  <a:lnTo>
                    <a:pt x="2265" y="356"/>
                  </a:lnTo>
                  <a:lnTo>
                    <a:pt x="2266" y="356"/>
                  </a:lnTo>
                  <a:lnTo>
                    <a:pt x="2265" y="356"/>
                  </a:lnTo>
                  <a:lnTo>
                    <a:pt x="2266" y="355"/>
                  </a:lnTo>
                  <a:lnTo>
                    <a:pt x="2266" y="354"/>
                  </a:lnTo>
                  <a:lnTo>
                    <a:pt x="2267" y="354"/>
                  </a:lnTo>
                  <a:lnTo>
                    <a:pt x="2267" y="353"/>
                  </a:lnTo>
                  <a:lnTo>
                    <a:pt x="2266" y="353"/>
                  </a:lnTo>
                  <a:lnTo>
                    <a:pt x="2267" y="353"/>
                  </a:lnTo>
                  <a:lnTo>
                    <a:pt x="2266" y="353"/>
                  </a:lnTo>
                  <a:lnTo>
                    <a:pt x="2266" y="352"/>
                  </a:lnTo>
                  <a:lnTo>
                    <a:pt x="2265" y="352"/>
                  </a:lnTo>
                  <a:lnTo>
                    <a:pt x="2265" y="350"/>
                  </a:lnTo>
                  <a:lnTo>
                    <a:pt x="2264" y="350"/>
                  </a:lnTo>
                  <a:lnTo>
                    <a:pt x="2265" y="349"/>
                  </a:lnTo>
                  <a:lnTo>
                    <a:pt x="2265" y="348"/>
                  </a:lnTo>
                  <a:lnTo>
                    <a:pt x="2265" y="347"/>
                  </a:lnTo>
                  <a:lnTo>
                    <a:pt x="2265" y="346"/>
                  </a:lnTo>
                  <a:lnTo>
                    <a:pt x="2264" y="346"/>
                  </a:lnTo>
                  <a:lnTo>
                    <a:pt x="2262" y="346"/>
                  </a:lnTo>
                  <a:lnTo>
                    <a:pt x="2261" y="345"/>
                  </a:lnTo>
                  <a:lnTo>
                    <a:pt x="2260" y="345"/>
                  </a:lnTo>
                  <a:lnTo>
                    <a:pt x="2260" y="343"/>
                  </a:lnTo>
                  <a:lnTo>
                    <a:pt x="2259" y="343"/>
                  </a:lnTo>
                  <a:lnTo>
                    <a:pt x="2257" y="342"/>
                  </a:lnTo>
                  <a:lnTo>
                    <a:pt x="2256" y="342"/>
                  </a:lnTo>
                  <a:lnTo>
                    <a:pt x="2254" y="342"/>
                  </a:lnTo>
                  <a:lnTo>
                    <a:pt x="2253" y="342"/>
                  </a:lnTo>
                  <a:lnTo>
                    <a:pt x="2252" y="342"/>
                  </a:lnTo>
                  <a:lnTo>
                    <a:pt x="2251" y="342"/>
                  </a:lnTo>
                  <a:lnTo>
                    <a:pt x="2251" y="343"/>
                  </a:lnTo>
                  <a:lnTo>
                    <a:pt x="2250" y="343"/>
                  </a:lnTo>
                  <a:lnTo>
                    <a:pt x="2249" y="343"/>
                  </a:lnTo>
                  <a:lnTo>
                    <a:pt x="2247" y="345"/>
                  </a:lnTo>
                  <a:lnTo>
                    <a:pt x="2246" y="343"/>
                  </a:lnTo>
                  <a:lnTo>
                    <a:pt x="2246" y="342"/>
                  </a:lnTo>
                  <a:lnTo>
                    <a:pt x="2246" y="341"/>
                  </a:lnTo>
                  <a:lnTo>
                    <a:pt x="2245" y="341"/>
                  </a:lnTo>
                  <a:lnTo>
                    <a:pt x="2244" y="340"/>
                  </a:lnTo>
                  <a:lnTo>
                    <a:pt x="2243" y="340"/>
                  </a:lnTo>
                  <a:lnTo>
                    <a:pt x="2242" y="340"/>
                  </a:lnTo>
                  <a:lnTo>
                    <a:pt x="2240" y="340"/>
                  </a:lnTo>
                  <a:lnTo>
                    <a:pt x="2239" y="340"/>
                  </a:lnTo>
                  <a:lnTo>
                    <a:pt x="2239" y="341"/>
                  </a:lnTo>
                  <a:lnTo>
                    <a:pt x="2238" y="341"/>
                  </a:lnTo>
                  <a:lnTo>
                    <a:pt x="2238" y="340"/>
                  </a:lnTo>
                  <a:lnTo>
                    <a:pt x="2237" y="340"/>
                  </a:lnTo>
                  <a:lnTo>
                    <a:pt x="2237" y="339"/>
                  </a:lnTo>
                  <a:lnTo>
                    <a:pt x="2236" y="339"/>
                  </a:lnTo>
                  <a:lnTo>
                    <a:pt x="2233" y="339"/>
                  </a:lnTo>
                  <a:lnTo>
                    <a:pt x="2232" y="339"/>
                  </a:lnTo>
                  <a:lnTo>
                    <a:pt x="2231" y="338"/>
                  </a:lnTo>
                  <a:lnTo>
                    <a:pt x="2231" y="336"/>
                  </a:lnTo>
                  <a:lnTo>
                    <a:pt x="2231" y="335"/>
                  </a:lnTo>
                  <a:lnTo>
                    <a:pt x="2231" y="334"/>
                  </a:lnTo>
                  <a:lnTo>
                    <a:pt x="2230" y="334"/>
                  </a:lnTo>
                  <a:lnTo>
                    <a:pt x="2230" y="333"/>
                  </a:lnTo>
                  <a:lnTo>
                    <a:pt x="2229" y="333"/>
                  </a:lnTo>
                  <a:lnTo>
                    <a:pt x="2229" y="332"/>
                  </a:lnTo>
                  <a:lnTo>
                    <a:pt x="2230" y="332"/>
                  </a:lnTo>
                  <a:lnTo>
                    <a:pt x="2229" y="332"/>
                  </a:lnTo>
                  <a:lnTo>
                    <a:pt x="2228" y="331"/>
                  </a:lnTo>
                  <a:lnTo>
                    <a:pt x="2228" y="329"/>
                  </a:lnTo>
                  <a:lnTo>
                    <a:pt x="2226" y="329"/>
                  </a:lnTo>
                  <a:lnTo>
                    <a:pt x="2226" y="328"/>
                  </a:lnTo>
                  <a:lnTo>
                    <a:pt x="2226" y="327"/>
                  </a:lnTo>
                  <a:lnTo>
                    <a:pt x="2225" y="327"/>
                  </a:lnTo>
                  <a:lnTo>
                    <a:pt x="2224" y="327"/>
                  </a:lnTo>
                  <a:lnTo>
                    <a:pt x="2223" y="327"/>
                  </a:lnTo>
                  <a:lnTo>
                    <a:pt x="2224" y="326"/>
                  </a:lnTo>
                  <a:lnTo>
                    <a:pt x="2224" y="325"/>
                  </a:lnTo>
                  <a:lnTo>
                    <a:pt x="2224" y="324"/>
                  </a:lnTo>
                  <a:lnTo>
                    <a:pt x="2223" y="324"/>
                  </a:lnTo>
                  <a:lnTo>
                    <a:pt x="2224" y="322"/>
                  </a:lnTo>
                  <a:lnTo>
                    <a:pt x="2224" y="321"/>
                  </a:lnTo>
                  <a:lnTo>
                    <a:pt x="2224" y="320"/>
                  </a:lnTo>
                  <a:lnTo>
                    <a:pt x="2223" y="320"/>
                  </a:lnTo>
                  <a:lnTo>
                    <a:pt x="2222" y="320"/>
                  </a:lnTo>
                  <a:lnTo>
                    <a:pt x="2222" y="319"/>
                  </a:lnTo>
                  <a:lnTo>
                    <a:pt x="2221" y="319"/>
                  </a:lnTo>
                  <a:lnTo>
                    <a:pt x="2219" y="319"/>
                  </a:lnTo>
                  <a:lnTo>
                    <a:pt x="2219" y="318"/>
                  </a:lnTo>
                  <a:lnTo>
                    <a:pt x="2218" y="318"/>
                  </a:lnTo>
                  <a:lnTo>
                    <a:pt x="2218" y="317"/>
                  </a:lnTo>
                  <a:lnTo>
                    <a:pt x="2217" y="317"/>
                  </a:lnTo>
                  <a:lnTo>
                    <a:pt x="2218" y="317"/>
                  </a:lnTo>
                  <a:lnTo>
                    <a:pt x="2218" y="315"/>
                  </a:lnTo>
                  <a:lnTo>
                    <a:pt x="2219" y="314"/>
                  </a:lnTo>
                  <a:lnTo>
                    <a:pt x="2219" y="313"/>
                  </a:lnTo>
                  <a:lnTo>
                    <a:pt x="2221" y="313"/>
                  </a:lnTo>
                  <a:lnTo>
                    <a:pt x="2222" y="313"/>
                  </a:lnTo>
                  <a:lnTo>
                    <a:pt x="2222" y="312"/>
                  </a:lnTo>
                  <a:lnTo>
                    <a:pt x="2221" y="312"/>
                  </a:lnTo>
                  <a:lnTo>
                    <a:pt x="2221" y="311"/>
                  </a:lnTo>
                  <a:lnTo>
                    <a:pt x="2219" y="311"/>
                  </a:lnTo>
                  <a:lnTo>
                    <a:pt x="2219" y="310"/>
                  </a:lnTo>
                  <a:lnTo>
                    <a:pt x="2221" y="310"/>
                  </a:lnTo>
                  <a:lnTo>
                    <a:pt x="2222" y="310"/>
                  </a:lnTo>
                  <a:lnTo>
                    <a:pt x="2222" y="311"/>
                  </a:lnTo>
                  <a:lnTo>
                    <a:pt x="2223" y="311"/>
                  </a:lnTo>
                  <a:lnTo>
                    <a:pt x="2222" y="312"/>
                  </a:lnTo>
                  <a:lnTo>
                    <a:pt x="2223" y="312"/>
                  </a:lnTo>
                  <a:lnTo>
                    <a:pt x="2224" y="312"/>
                  </a:lnTo>
                  <a:lnTo>
                    <a:pt x="2225" y="312"/>
                  </a:lnTo>
                  <a:lnTo>
                    <a:pt x="2226" y="312"/>
                  </a:lnTo>
                  <a:lnTo>
                    <a:pt x="2226" y="311"/>
                  </a:lnTo>
                  <a:lnTo>
                    <a:pt x="2225" y="311"/>
                  </a:lnTo>
                  <a:lnTo>
                    <a:pt x="2225" y="310"/>
                  </a:lnTo>
                  <a:lnTo>
                    <a:pt x="2224" y="310"/>
                  </a:lnTo>
                  <a:lnTo>
                    <a:pt x="2224" y="308"/>
                  </a:lnTo>
                  <a:lnTo>
                    <a:pt x="2223" y="308"/>
                  </a:lnTo>
                  <a:lnTo>
                    <a:pt x="2223" y="307"/>
                  </a:lnTo>
                  <a:lnTo>
                    <a:pt x="2222" y="307"/>
                  </a:lnTo>
                  <a:lnTo>
                    <a:pt x="2222" y="308"/>
                  </a:lnTo>
                  <a:lnTo>
                    <a:pt x="2222" y="307"/>
                  </a:lnTo>
                  <a:lnTo>
                    <a:pt x="2221" y="307"/>
                  </a:lnTo>
                  <a:lnTo>
                    <a:pt x="2219" y="308"/>
                  </a:lnTo>
                  <a:lnTo>
                    <a:pt x="2218" y="307"/>
                  </a:lnTo>
                  <a:lnTo>
                    <a:pt x="2217" y="307"/>
                  </a:lnTo>
                  <a:lnTo>
                    <a:pt x="2218" y="306"/>
                  </a:lnTo>
                  <a:lnTo>
                    <a:pt x="2218" y="305"/>
                  </a:lnTo>
                  <a:lnTo>
                    <a:pt x="2218" y="306"/>
                  </a:lnTo>
                  <a:lnTo>
                    <a:pt x="2219" y="306"/>
                  </a:lnTo>
                  <a:lnTo>
                    <a:pt x="2219" y="305"/>
                  </a:lnTo>
                  <a:lnTo>
                    <a:pt x="2218" y="305"/>
                  </a:lnTo>
                  <a:lnTo>
                    <a:pt x="2219" y="305"/>
                  </a:lnTo>
                  <a:lnTo>
                    <a:pt x="2219" y="304"/>
                  </a:lnTo>
                  <a:lnTo>
                    <a:pt x="2221" y="304"/>
                  </a:lnTo>
                  <a:lnTo>
                    <a:pt x="2221" y="303"/>
                  </a:lnTo>
                  <a:lnTo>
                    <a:pt x="2221" y="301"/>
                  </a:lnTo>
                  <a:lnTo>
                    <a:pt x="2219" y="300"/>
                  </a:lnTo>
                  <a:lnTo>
                    <a:pt x="2219" y="299"/>
                  </a:lnTo>
                  <a:lnTo>
                    <a:pt x="2219" y="298"/>
                  </a:lnTo>
                  <a:lnTo>
                    <a:pt x="2218" y="297"/>
                  </a:lnTo>
                  <a:lnTo>
                    <a:pt x="2218" y="296"/>
                  </a:lnTo>
                  <a:lnTo>
                    <a:pt x="2218" y="294"/>
                  </a:lnTo>
                  <a:lnTo>
                    <a:pt x="2218" y="293"/>
                  </a:lnTo>
                  <a:lnTo>
                    <a:pt x="2219" y="293"/>
                  </a:lnTo>
                  <a:lnTo>
                    <a:pt x="2219" y="292"/>
                  </a:lnTo>
                  <a:lnTo>
                    <a:pt x="2221" y="292"/>
                  </a:lnTo>
                  <a:lnTo>
                    <a:pt x="2222" y="292"/>
                  </a:lnTo>
                  <a:lnTo>
                    <a:pt x="2222" y="293"/>
                  </a:lnTo>
                  <a:lnTo>
                    <a:pt x="2222" y="292"/>
                  </a:lnTo>
                  <a:lnTo>
                    <a:pt x="2223" y="291"/>
                  </a:lnTo>
                  <a:lnTo>
                    <a:pt x="2223" y="292"/>
                  </a:lnTo>
                  <a:lnTo>
                    <a:pt x="2224" y="292"/>
                  </a:lnTo>
                  <a:lnTo>
                    <a:pt x="2223" y="291"/>
                  </a:lnTo>
                  <a:lnTo>
                    <a:pt x="2224" y="291"/>
                  </a:lnTo>
                  <a:lnTo>
                    <a:pt x="2225" y="291"/>
                  </a:lnTo>
                  <a:lnTo>
                    <a:pt x="2224" y="291"/>
                  </a:lnTo>
                  <a:lnTo>
                    <a:pt x="2223" y="291"/>
                  </a:lnTo>
                  <a:lnTo>
                    <a:pt x="2222" y="291"/>
                  </a:lnTo>
                  <a:lnTo>
                    <a:pt x="2222" y="290"/>
                  </a:lnTo>
                  <a:lnTo>
                    <a:pt x="2221" y="290"/>
                  </a:lnTo>
                  <a:lnTo>
                    <a:pt x="2221" y="289"/>
                  </a:lnTo>
                  <a:lnTo>
                    <a:pt x="2219" y="289"/>
                  </a:lnTo>
                  <a:lnTo>
                    <a:pt x="2221" y="287"/>
                  </a:lnTo>
                  <a:lnTo>
                    <a:pt x="2219" y="286"/>
                  </a:lnTo>
                  <a:lnTo>
                    <a:pt x="2218" y="285"/>
                  </a:lnTo>
                  <a:lnTo>
                    <a:pt x="2219" y="284"/>
                  </a:lnTo>
                  <a:lnTo>
                    <a:pt x="2221" y="284"/>
                  </a:lnTo>
                  <a:lnTo>
                    <a:pt x="2221" y="285"/>
                  </a:lnTo>
                  <a:lnTo>
                    <a:pt x="2222" y="285"/>
                  </a:lnTo>
                  <a:lnTo>
                    <a:pt x="2223" y="286"/>
                  </a:lnTo>
                  <a:lnTo>
                    <a:pt x="2224" y="285"/>
                  </a:lnTo>
                  <a:lnTo>
                    <a:pt x="2223" y="284"/>
                  </a:lnTo>
                  <a:lnTo>
                    <a:pt x="2224" y="284"/>
                  </a:lnTo>
                  <a:lnTo>
                    <a:pt x="2224" y="283"/>
                  </a:lnTo>
                  <a:lnTo>
                    <a:pt x="2225" y="284"/>
                  </a:lnTo>
                  <a:lnTo>
                    <a:pt x="2226" y="284"/>
                  </a:lnTo>
                  <a:lnTo>
                    <a:pt x="2228" y="284"/>
                  </a:lnTo>
                  <a:lnTo>
                    <a:pt x="2229" y="284"/>
                  </a:lnTo>
                  <a:lnTo>
                    <a:pt x="2230" y="284"/>
                  </a:lnTo>
                  <a:lnTo>
                    <a:pt x="2230" y="283"/>
                  </a:lnTo>
                  <a:lnTo>
                    <a:pt x="2229" y="282"/>
                  </a:lnTo>
                  <a:lnTo>
                    <a:pt x="2230" y="282"/>
                  </a:lnTo>
                  <a:lnTo>
                    <a:pt x="2231" y="282"/>
                  </a:lnTo>
                  <a:lnTo>
                    <a:pt x="2232" y="282"/>
                  </a:lnTo>
                  <a:lnTo>
                    <a:pt x="2235" y="282"/>
                  </a:lnTo>
                  <a:lnTo>
                    <a:pt x="2238" y="282"/>
                  </a:lnTo>
                  <a:lnTo>
                    <a:pt x="2239" y="283"/>
                  </a:lnTo>
                  <a:lnTo>
                    <a:pt x="2242" y="283"/>
                  </a:lnTo>
                  <a:lnTo>
                    <a:pt x="2243" y="283"/>
                  </a:lnTo>
                  <a:lnTo>
                    <a:pt x="2243" y="282"/>
                  </a:lnTo>
                  <a:lnTo>
                    <a:pt x="2240" y="280"/>
                  </a:lnTo>
                  <a:lnTo>
                    <a:pt x="2239" y="280"/>
                  </a:lnTo>
                  <a:lnTo>
                    <a:pt x="2239" y="279"/>
                  </a:lnTo>
                  <a:lnTo>
                    <a:pt x="2238" y="279"/>
                  </a:lnTo>
                  <a:lnTo>
                    <a:pt x="2238" y="278"/>
                  </a:lnTo>
                  <a:lnTo>
                    <a:pt x="2237" y="278"/>
                  </a:lnTo>
                  <a:lnTo>
                    <a:pt x="2235" y="278"/>
                  </a:lnTo>
                  <a:lnTo>
                    <a:pt x="2233" y="278"/>
                  </a:lnTo>
                  <a:lnTo>
                    <a:pt x="2231" y="278"/>
                  </a:lnTo>
                  <a:lnTo>
                    <a:pt x="2230" y="278"/>
                  </a:lnTo>
                  <a:lnTo>
                    <a:pt x="2229" y="278"/>
                  </a:lnTo>
                  <a:lnTo>
                    <a:pt x="2228" y="277"/>
                  </a:lnTo>
                  <a:lnTo>
                    <a:pt x="2226" y="277"/>
                  </a:lnTo>
                  <a:lnTo>
                    <a:pt x="2226" y="276"/>
                  </a:lnTo>
                  <a:lnTo>
                    <a:pt x="2225" y="276"/>
                  </a:lnTo>
                  <a:lnTo>
                    <a:pt x="2224" y="276"/>
                  </a:lnTo>
                  <a:lnTo>
                    <a:pt x="2222" y="275"/>
                  </a:lnTo>
                  <a:lnTo>
                    <a:pt x="2222" y="273"/>
                  </a:lnTo>
                  <a:lnTo>
                    <a:pt x="2223" y="273"/>
                  </a:lnTo>
                  <a:lnTo>
                    <a:pt x="2223" y="275"/>
                  </a:lnTo>
                  <a:lnTo>
                    <a:pt x="2224" y="275"/>
                  </a:lnTo>
                  <a:lnTo>
                    <a:pt x="2224" y="273"/>
                  </a:lnTo>
                  <a:lnTo>
                    <a:pt x="2224" y="272"/>
                  </a:lnTo>
                  <a:lnTo>
                    <a:pt x="2223" y="271"/>
                  </a:lnTo>
                  <a:lnTo>
                    <a:pt x="2224" y="271"/>
                  </a:lnTo>
                  <a:lnTo>
                    <a:pt x="2223" y="270"/>
                  </a:lnTo>
                  <a:lnTo>
                    <a:pt x="2223" y="271"/>
                  </a:lnTo>
                  <a:lnTo>
                    <a:pt x="2222" y="271"/>
                  </a:lnTo>
                  <a:lnTo>
                    <a:pt x="2221" y="271"/>
                  </a:lnTo>
                  <a:lnTo>
                    <a:pt x="2221" y="272"/>
                  </a:lnTo>
                  <a:lnTo>
                    <a:pt x="2219" y="272"/>
                  </a:lnTo>
                  <a:lnTo>
                    <a:pt x="2221" y="272"/>
                  </a:lnTo>
                  <a:lnTo>
                    <a:pt x="2219" y="272"/>
                  </a:lnTo>
                  <a:lnTo>
                    <a:pt x="2219" y="273"/>
                  </a:lnTo>
                  <a:lnTo>
                    <a:pt x="2218" y="273"/>
                  </a:lnTo>
                  <a:lnTo>
                    <a:pt x="2217" y="273"/>
                  </a:lnTo>
                  <a:lnTo>
                    <a:pt x="2215" y="273"/>
                  </a:lnTo>
                  <a:lnTo>
                    <a:pt x="2214" y="273"/>
                  </a:lnTo>
                  <a:lnTo>
                    <a:pt x="2215" y="273"/>
                  </a:lnTo>
                  <a:lnTo>
                    <a:pt x="2215" y="272"/>
                  </a:lnTo>
                  <a:lnTo>
                    <a:pt x="2216" y="272"/>
                  </a:lnTo>
                  <a:lnTo>
                    <a:pt x="2216" y="271"/>
                  </a:lnTo>
                  <a:lnTo>
                    <a:pt x="2217" y="270"/>
                  </a:lnTo>
                  <a:lnTo>
                    <a:pt x="2218" y="270"/>
                  </a:lnTo>
                  <a:lnTo>
                    <a:pt x="2219" y="269"/>
                  </a:lnTo>
                  <a:lnTo>
                    <a:pt x="2221" y="268"/>
                  </a:lnTo>
                  <a:lnTo>
                    <a:pt x="2222" y="268"/>
                  </a:lnTo>
                  <a:lnTo>
                    <a:pt x="2222" y="266"/>
                  </a:lnTo>
                  <a:lnTo>
                    <a:pt x="2223" y="266"/>
                  </a:lnTo>
                  <a:lnTo>
                    <a:pt x="2223" y="265"/>
                  </a:lnTo>
                  <a:lnTo>
                    <a:pt x="2224" y="265"/>
                  </a:lnTo>
                  <a:lnTo>
                    <a:pt x="2225" y="264"/>
                  </a:lnTo>
                  <a:lnTo>
                    <a:pt x="2226" y="264"/>
                  </a:lnTo>
                  <a:lnTo>
                    <a:pt x="2228" y="263"/>
                  </a:lnTo>
                  <a:lnTo>
                    <a:pt x="2229" y="262"/>
                  </a:lnTo>
                  <a:lnTo>
                    <a:pt x="2230" y="261"/>
                  </a:lnTo>
                  <a:lnTo>
                    <a:pt x="2230" y="259"/>
                  </a:lnTo>
                  <a:lnTo>
                    <a:pt x="2231" y="259"/>
                  </a:lnTo>
                  <a:lnTo>
                    <a:pt x="2232" y="258"/>
                  </a:lnTo>
                  <a:lnTo>
                    <a:pt x="2233" y="258"/>
                  </a:lnTo>
                  <a:lnTo>
                    <a:pt x="2233" y="257"/>
                  </a:lnTo>
                  <a:lnTo>
                    <a:pt x="2235" y="256"/>
                  </a:lnTo>
                  <a:lnTo>
                    <a:pt x="2236" y="255"/>
                  </a:lnTo>
                  <a:lnTo>
                    <a:pt x="2238" y="252"/>
                  </a:lnTo>
                  <a:lnTo>
                    <a:pt x="2239" y="251"/>
                  </a:lnTo>
                  <a:lnTo>
                    <a:pt x="2240" y="250"/>
                  </a:lnTo>
                  <a:lnTo>
                    <a:pt x="2240" y="249"/>
                  </a:lnTo>
                  <a:lnTo>
                    <a:pt x="2242" y="249"/>
                  </a:lnTo>
                  <a:lnTo>
                    <a:pt x="2243" y="248"/>
                  </a:lnTo>
                  <a:lnTo>
                    <a:pt x="2244" y="248"/>
                  </a:lnTo>
                  <a:lnTo>
                    <a:pt x="2245" y="247"/>
                  </a:lnTo>
                  <a:lnTo>
                    <a:pt x="2245" y="245"/>
                  </a:lnTo>
                  <a:lnTo>
                    <a:pt x="2246" y="245"/>
                  </a:lnTo>
                  <a:lnTo>
                    <a:pt x="2246" y="244"/>
                  </a:lnTo>
                  <a:lnTo>
                    <a:pt x="2246" y="243"/>
                  </a:lnTo>
                  <a:lnTo>
                    <a:pt x="2247" y="242"/>
                  </a:lnTo>
                  <a:lnTo>
                    <a:pt x="2247" y="241"/>
                  </a:lnTo>
                  <a:lnTo>
                    <a:pt x="2249" y="240"/>
                  </a:lnTo>
                  <a:lnTo>
                    <a:pt x="2247" y="240"/>
                  </a:lnTo>
                  <a:lnTo>
                    <a:pt x="2247" y="238"/>
                  </a:lnTo>
                  <a:lnTo>
                    <a:pt x="2246" y="238"/>
                  </a:lnTo>
                  <a:lnTo>
                    <a:pt x="2245" y="237"/>
                  </a:lnTo>
                  <a:lnTo>
                    <a:pt x="2244" y="237"/>
                  </a:lnTo>
                  <a:lnTo>
                    <a:pt x="2244" y="236"/>
                  </a:lnTo>
                  <a:lnTo>
                    <a:pt x="2243" y="235"/>
                  </a:lnTo>
                  <a:lnTo>
                    <a:pt x="2240" y="234"/>
                  </a:lnTo>
                  <a:lnTo>
                    <a:pt x="2238" y="233"/>
                  </a:lnTo>
                  <a:lnTo>
                    <a:pt x="2235" y="231"/>
                  </a:lnTo>
                  <a:lnTo>
                    <a:pt x="2233" y="231"/>
                  </a:lnTo>
                  <a:lnTo>
                    <a:pt x="2233" y="230"/>
                  </a:lnTo>
                  <a:lnTo>
                    <a:pt x="2231" y="230"/>
                  </a:lnTo>
                  <a:lnTo>
                    <a:pt x="2229" y="228"/>
                  </a:lnTo>
                  <a:lnTo>
                    <a:pt x="2228" y="228"/>
                  </a:lnTo>
                  <a:lnTo>
                    <a:pt x="2229" y="228"/>
                  </a:lnTo>
                  <a:lnTo>
                    <a:pt x="2229" y="227"/>
                  </a:lnTo>
                  <a:lnTo>
                    <a:pt x="2230" y="227"/>
                  </a:lnTo>
                  <a:lnTo>
                    <a:pt x="2231" y="227"/>
                  </a:lnTo>
                  <a:lnTo>
                    <a:pt x="2231" y="226"/>
                  </a:lnTo>
                  <a:lnTo>
                    <a:pt x="2233" y="224"/>
                  </a:lnTo>
                  <a:lnTo>
                    <a:pt x="2233" y="223"/>
                  </a:lnTo>
                  <a:lnTo>
                    <a:pt x="2233" y="222"/>
                  </a:lnTo>
                  <a:lnTo>
                    <a:pt x="2232" y="222"/>
                  </a:lnTo>
                  <a:lnTo>
                    <a:pt x="2232" y="221"/>
                  </a:lnTo>
                  <a:lnTo>
                    <a:pt x="2231" y="221"/>
                  </a:lnTo>
                  <a:lnTo>
                    <a:pt x="2231" y="220"/>
                  </a:lnTo>
                  <a:lnTo>
                    <a:pt x="2230" y="220"/>
                  </a:lnTo>
                  <a:lnTo>
                    <a:pt x="2228" y="220"/>
                  </a:lnTo>
                  <a:lnTo>
                    <a:pt x="2228" y="219"/>
                  </a:lnTo>
                  <a:lnTo>
                    <a:pt x="2226" y="219"/>
                  </a:lnTo>
                  <a:lnTo>
                    <a:pt x="2226" y="217"/>
                  </a:lnTo>
                  <a:lnTo>
                    <a:pt x="2225" y="217"/>
                  </a:lnTo>
                  <a:lnTo>
                    <a:pt x="2225" y="216"/>
                  </a:lnTo>
                  <a:lnTo>
                    <a:pt x="2226" y="215"/>
                  </a:lnTo>
                  <a:lnTo>
                    <a:pt x="2228" y="215"/>
                  </a:lnTo>
                  <a:lnTo>
                    <a:pt x="2226" y="214"/>
                  </a:lnTo>
                  <a:lnTo>
                    <a:pt x="2226" y="213"/>
                  </a:lnTo>
                  <a:lnTo>
                    <a:pt x="2225" y="213"/>
                  </a:lnTo>
                  <a:lnTo>
                    <a:pt x="2223" y="213"/>
                  </a:lnTo>
                  <a:lnTo>
                    <a:pt x="2222" y="213"/>
                  </a:lnTo>
                  <a:lnTo>
                    <a:pt x="2221" y="212"/>
                  </a:lnTo>
                  <a:lnTo>
                    <a:pt x="2219" y="210"/>
                  </a:lnTo>
                  <a:lnTo>
                    <a:pt x="2219" y="209"/>
                  </a:lnTo>
                  <a:lnTo>
                    <a:pt x="2221" y="209"/>
                  </a:lnTo>
                  <a:lnTo>
                    <a:pt x="2222" y="208"/>
                  </a:lnTo>
                  <a:lnTo>
                    <a:pt x="2222" y="207"/>
                  </a:lnTo>
                  <a:lnTo>
                    <a:pt x="2221" y="207"/>
                  </a:lnTo>
                  <a:lnTo>
                    <a:pt x="2219" y="207"/>
                  </a:lnTo>
                  <a:lnTo>
                    <a:pt x="2218" y="207"/>
                  </a:lnTo>
                  <a:lnTo>
                    <a:pt x="2219" y="206"/>
                  </a:lnTo>
                  <a:lnTo>
                    <a:pt x="2219" y="205"/>
                  </a:lnTo>
                  <a:lnTo>
                    <a:pt x="2219" y="203"/>
                  </a:lnTo>
                  <a:lnTo>
                    <a:pt x="2221" y="202"/>
                  </a:lnTo>
                  <a:lnTo>
                    <a:pt x="2219" y="201"/>
                  </a:lnTo>
                  <a:lnTo>
                    <a:pt x="2218" y="201"/>
                  </a:lnTo>
                  <a:lnTo>
                    <a:pt x="2219" y="201"/>
                  </a:lnTo>
                  <a:lnTo>
                    <a:pt x="2222" y="201"/>
                  </a:lnTo>
                  <a:lnTo>
                    <a:pt x="2223" y="201"/>
                  </a:lnTo>
                  <a:lnTo>
                    <a:pt x="2223" y="200"/>
                  </a:lnTo>
                  <a:lnTo>
                    <a:pt x="2222" y="199"/>
                  </a:lnTo>
                  <a:lnTo>
                    <a:pt x="2222" y="198"/>
                  </a:lnTo>
                  <a:lnTo>
                    <a:pt x="2221" y="198"/>
                  </a:lnTo>
                  <a:lnTo>
                    <a:pt x="2221" y="196"/>
                  </a:lnTo>
                  <a:lnTo>
                    <a:pt x="2219" y="195"/>
                  </a:lnTo>
                  <a:lnTo>
                    <a:pt x="2219" y="194"/>
                  </a:lnTo>
                  <a:lnTo>
                    <a:pt x="2218" y="194"/>
                  </a:lnTo>
                  <a:lnTo>
                    <a:pt x="2216" y="192"/>
                  </a:lnTo>
                  <a:lnTo>
                    <a:pt x="2215" y="192"/>
                  </a:lnTo>
                  <a:lnTo>
                    <a:pt x="2215" y="191"/>
                  </a:lnTo>
                  <a:lnTo>
                    <a:pt x="2214" y="189"/>
                  </a:lnTo>
                  <a:lnTo>
                    <a:pt x="2212" y="188"/>
                  </a:lnTo>
                  <a:lnTo>
                    <a:pt x="2212" y="187"/>
                  </a:lnTo>
                  <a:lnTo>
                    <a:pt x="2211" y="187"/>
                  </a:lnTo>
                  <a:lnTo>
                    <a:pt x="2208" y="185"/>
                  </a:lnTo>
                  <a:lnTo>
                    <a:pt x="2208" y="184"/>
                  </a:lnTo>
                  <a:lnTo>
                    <a:pt x="2208" y="182"/>
                  </a:lnTo>
                  <a:lnTo>
                    <a:pt x="2210" y="179"/>
                  </a:lnTo>
                  <a:lnTo>
                    <a:pt x="2211" y="179"/>
                  </a:lnTo>
                  <a:lnTo>
                    <a:pt x="2215" y="175"/>
                  </a:lnTo>
                  <a:lnTo>
                    <a:pt x="2215" y="174"/>
                  </a:lnTo>
                  <a:lnTo>
                    <a:pt x="2215" y="173"/>
                  </a:lnTo>
                  <a:lnTo>
                    <a:pt x="2211" y="172"/>
                  </a:lnTo>
                  <a:lnTo>
                    <a:pt x="2211" y="171"/>
                  </a:lnTo>
                  <a:lnTo>
                    <a:pt x="2209" y="170"/>
                  </a:lnTo>
                  <a:lnTo>
                    <a:pt x="2208" y="168"/>
                  </a:lnTo>
                  <a:lnTo>
                    <a:pt x="2207" y="168"/>
                  </a:lnTo>
                  <a:lnTo>
                    <a:pt x="2207" y="167"/>
                  </a:lnTo>
                  <a:lnTo>
                    <a:pt x="2203" y="167"/>
                  </a:lnTo>
                  <a:lnTo>
                    <a:pt x="2200" y="166"/>
                  </a:lnTo>
                  <a:lnTo>
                    <a:pt x="2196" y="163"/>
                  </a:lnTo>
                  <a:lnTo>
                    <a:pt x="2196" y="161"/>
                  </a:lnTo>
                  <a:lnTo>
                    <a:pt x="2198" y="159"/>
                  </a:lnTo>
                  <a:lnTo>
                    <a:pt x="2198" y="158"/>
                  </a:lnTo>
                  <a:lnTo>
                    <a:pt x="2197" y="157"/>
                  </a:lnTo>
                  <a:lnTo>
                    <a:pt x="2195" y="157"/>
                  </a:lnTo>
                  <a:lnTo>
                    <a:pt x="2197" y="156"/>
                  </a:lnTo>
                  <a:lnTo>
                    <a:pt x="2198" y="156"/>
                  </a:lnTo>
                  <a:lnTo>
                    <a:pt x="2200" y="156"/>
                  </a:lnTo>
                  <a:lnTo>
                    <a:pt x="2200" y="154"/>
                  </a:lnTo>
                  <a:lnTo>
                    <a:pt x="2201" y="154"/>
                  </a:lnTo>
                  <a:lnTo>
                    <a:pt x="2202" y="154"/>
                  </a:lnTo>
                  <a:lnTo>
                    <a:pt x="2202" y="153"/>
                  </a:lnTo>
                  <a:lnTo>
                    <a:pt x="2203" y="153"/>
                  </a:lnTo>
                  <a:lnTo>
                    <a:pt x="2203" y="152"/>
                  </a:lnTo>
                  <a:lnTo>
                    <a:pt x="2202" y="152"/>
                  </a:lnTo>
                  <a:lnTo>
                    <a:pt x="2203" y="152"/>
                  </a:lnTo>
                  <a:lnTo>
                    <a:pt x="2203" y="151"/>
                  </a:lnTo>
                  <a:lnTo>
                    <a:pt x="2205" y="151"/>
                  </a:lnTo>
                  <a:lnTo>
                    <a:pt x="2207" y="151"/>
                  </a:lnTo>
                  <a:lnTo>
                    <a:pt x="2208" y="151"/>
                  </a:lnTo>
                  <a:lnTo>
                    <a:pt x="2209" y="151"/>
                  </a:lnTo>
                  <a:lnTo>
                    <a:pt x="2209" y="150"/>
                  </a:lnTo>
                  <a:lnTo>
                    <a:pt x="2210" y="150"/>
                  </a:lnTo>
                  <a:lnTo>
                    <a:pt x="2210" y="149"/>
                  </a:lnTo>
                  <a:lnTo>
                    <a:pt x="2211" y="149"/>
                  </a:lnTo>
                  <a:lnTo>
                    <a:pt x="2211" y="147"/>
                  </a:lnTo>
                  <a:lnTo>
                    <a:pt x="2210" y="147"/>
                  </a:lnTo>
                  <a:lnTo>
                    <a:pt x="2209" y="147"/>
                  </a:lnTo>
                  <a:lnTo>
                    <a:pt x="2210" y="146"/>
                  </a:lnTo>
                  <a:lnTo>
                    <a:pt x="2210" y="147"/>
                  </a:lnTo>
                  <a:lnTo>
                    <a:pt x="2211" y="147"/>
                  </a:lnTo>
                  <a:lnTo>
                    <a:pt x="2214" y="149"/>
                  </a:lnTo>
                  <a:lnTo>
                    <a:pt x="2216" y="149"/>
                  </a:lnTo>
                  <a:lnTo>
                    <a:pt x="2217" y="149"/>
                  </a:lnTo>
                  <a:lnTo>
                    <a:pt x="2217" y="147"/>
                  </a:lnTo>
                  <a:lnTo>
                    <a:pt x="2217" y="146"/>
                  </a:lnTo>
                  <a:lnTo>
                    <a:pt x="2217" y="145"/>
                  </a:lnTo>
                  <a:lnTo>
                    <a:pt x="2216" y="145"/>
                  </a:lnTo>
                  <a:lnTo>
                    <a:pt x="2218" y="145"/>
                  </a:lnTo>
                  <a:lnTo>
                    <a:pt x="2219" y="145"/>
                  </a:lnTo>
                  <a:lnTo>
                    <a:pt x="2221" y="145"/>
                  </a:lnTo>
                  <a:lnTo>
                    <a:pt x="2222" y="145"/>
                  </a:lnTo>
                  <a:lnTo>
                    <a:pt x="2222" y="146"/>
                  </a:lnTo>
                  <a:lnTo>
                    <a:pt x="2222" y="147"/>
                  </a:lnTo>
                  <a:lnTo>
                    <a:pt x="2223" y="146"/>
                  </a:lnTo>
                  <a:lnTo>
                    <a:pt x="2224" y="146"/>
                  </a:lnTo>
                  <a:lnTo>
                    <a:pt x="2226" y="146"/>
                  </a:lnTo>
                  <a:lnTo>
                    <a:pt x="2225" y="146"/>
                  </a:lnTo>
                  <a:lnTo>
                    <a:pt x="2225" y="145"/>
                  </a:lnTo>
                  <a:lnTo>
                    <a:pt x="2224" y="145"/>
                  </a:lnTo>
                  <a:lnTo>
                    <a:pt x="2224" y="144"/>
                  </a:lnTo>
                  <a:lnTo>
                    <a:pt x="2225" y="144"/>
                  </a:lnTo>
                  <a:lnTo>
                    <a:pt x="2226" y="144"/>
                  </a:lnTo>
                  <a:lnTo>
                    <a:pt x="2228" y="144"/>
                  </a:lnTo>
                  <a:lnTo>
                    <a:pt x="2228" y="145"/>
                  </a:lnTo>
                  <a:lnTo>
                    <a:pt x="2229" y="145"/>
                  </a:lnTo>
                  <a:lnTo>
                    <a:pt x="2228" y="144"/>
                  </a:lnTo>
                  <a:lnTo>
                    <a:pt x="2226" y="143"/>
                  </a:lnTo>
                  <a:lnTo>
                    <a:pt x="2228" y="143"/>
                  </a:lnTo>
                  <a:lnTo>
                    <a:pt x="2230" y="144"/>
                  </a:lnTo>
                  <a:lnTo>
                    <a:pt x="2231" y="144"/>
                  </a:lnTo>
                  <a:lnTo>
                    <a:pt x="2232" y="144"/>
                  </a:lnTo>
                  <a:lnTo>
                    <a:pt x="2232" y="145"/>
                  </a:lnTo>
                  <a:lnTo>
                    <a:pt x="2233" y="145"/>
                  </a:lnTo>
                  <a:lnTo>
                    <a:pt x="2235" y="145"/>
                  </a:lnTo>
                  <a:lnTo>
                    <a:pt x="2237" y="145"/>
                  </a:lnTo>
                  <a:lnTo>
                    <a:pt x="2238" y="145"/>
                  </a:lnTo>
                  <a:lnTo>
                    <a:pt x="2239" y="145"/>
                  </a:lnTo>
                  <a:lnTo>
                    <a:pt x="2239" y="146"/>
                  </a:lnTo>
                  <a:lnTo>
                    <a:pt x="2239" y="147"/>
                  </a:lnTo>
                  <a:lnTo>
                    <a:pt x="2237" y="147"/>
                  </a:lnTo>
                  <a:lnTo>
                    <a:pt x="2233" y="147"/>
                  </a:lnTo>
                  <a:lnTo>
                    <a:pt x="2232" y="146"/>
                  </a:lnTo>
                  <a:lnTo>
                    <a:pt x="2232" y="147"/>
                  </a:lnTo>
                  <a:lnTo>
                    <a:pt x="2230" y="146"/>
                  </a:lnTo>
                  <a:lnTo>
                    <a:pt x="2230" y="145"/>
                  </a:lnTo>
                  <a:lnTo>
                    <a:pt x="2229" y="145"/>
                  </a:lnTo>
                  <a:lnTo>
                    <a:pt x="2229" y="146"/>
                  </a:lnTo>
                  <a:lnTo>
                    <a:pt x="2228" y="146"/>
                  </a:lnTo>
                  <a:lnTo>
                    <a:pt x="2229" y="146"/>
                  </a:lnTo>
                  <a:lnTo>
                    <a:pt x="2229" y="147"/>
                  </a:lnTo>
                  <a:lnTo>
                    <a:pt x="2230" y="147"/>
                  </a:lnTo>
                  <a:lnTo>
                    <a:pt x="2231" y="147"/>
                  </a:lnTo>
                  <a:lnTo>
                    <a:pt x="2232" y="147"/>
                  </a:lnTo>
                  <a:lnTo>
                    <a:pt x="2233" y="147"/>
                  </a:lnTo>
                  <a:lnTo>
                    <a:pt x="2232" y="149"/>
                  </a:lnTo>
                  <a:lnTo>
                    <a:pt x="2233" y="149"/>
                  </a:lnTo>
                  <a:lnTo>
                    <a:pt x="2232" y="149"/>
                  </a:lnTo>
                  <a:lnTo>
                    <a:pt x="2232" y="150"/>
                  </a:lnTo>
                  <a:lnTo>
                    <a:pt x="2231" y="150"/>
                  </a:lnTo>
                  <a:lnTo>
                    <a:pt x="2232" y="150"/>
                  </a:lnTo>
                  <a:lnTo>
                    <a:pt x="2233" y="150"/>
                  </a:lnTo>
                  <a:lnTo>
                    <a:pt x="2233" y="149"/>
                  </a:lnTo>
                  <a:lnTo>
                    <a:pt x="2235" y="149"/>
                  </a:lnTo>
                  <a:lnTo>
                    <a:pt x="2236" y="149"/>
                  </a:lnTo>
                  <a:lnTo>
                    <a:pt x="2237" y="149"/>
                  </a:lnTo>
                  <a:lnTo>
                    <a:pt x="2238" y="149"/>
                  </a:lnTo>
                  <a:lnTo>
                    <a:pt x="2237" y="150"/>
                  </a:lnTo>
                  <a:lnTo>
                    <a:pt x="2238" y="150"/>
                  </a:lnTo>
                  <a:lnTo>
                    <a:pt x="2239" y="149"/>
                  </a:lnTo>
                  <a:lnTo>
                    <a:pt x="2238" y="151"/>
                  </a:lnTo>
                  <a:lnTo>
                    <a:pt x="2239" y="151"/>
                  </a:lnTo>
                  <a:lnTo>
                    <a:pt x="2239" y="150"/>
                  </a:lnTo>
                  <a:lnTo>
                    <a:pt x="2242" y="150"/>
                  </a:lnTo>
                  <a:lnTo>
                    <a:pt x="2243" y="150"/>
                  </a:lnTo>
                  <a:lnTo>
                    <a:pt x="2244" y="150"/>
                  </a:lnTo>
                  <a:lnTo>
                    <a:pt x="2244" y="151"/>
                  </a:lnTo>
                  <a:lnTo>
                    <a:pt x="2244" y="150"/>
                  </a:lnTo>
                  <a:lnTo>
                    <a:pt x="2244" y="151"/>
                  </a:lnTo>
                  <a:lnTo>
                    <a:pt x="2243" y="151"/>
                  </a:lnTo>
                  <a:lnTo>
                    <a:pt x="2242" y="152"/>
                  </a:lnTo>
                  <a:lnTo>
                    <a:pt x="2243" y="152"/>
                  </a:lnTo>
                  <a:lnTo>
                    <a:pt x="2244" y="151"/>
                  </a:lnTo>
                  <a:lnTo>
                    <a:pt x="2244" y="152"/>
                  </a:lnTo>
                  <a:lnTo>
                    <a:pt x="2245" y="152"/>
                  </a:lnTo>
                  <a:lnTo>
                    <a:pt x="2244" y="152"/>
                  </a:lnTo>
                  <a:lnTo>
                    <a:pt x="2243" y="152"/>
                  </a:lnTo>
                  <a:lnTo>
                    <a:pt x="2244" y="152"/>
                  </a:lnTo>
                  <a:lnTo>
                    <a:pt x="2245" y="152"/>
                  </a:lnTo>
                  <a:lnTo>
                    <a:pt x="2245" y="153"/>
                  </a:lnTo>
                  <a:lnTo>
                    <a:pt x="2244" y="153"/>
                  </a:lnTo>
                  <a:lnTo>
                    <a:pt x="2243" y="154"/>
                  </a:lnTo>
                  <a:lnTo>
                    <a:pt x="2242" y="154"/>
                  </a:lnTo>
                  <a:lnTo>
                    <a:pt x="2240" y="154"/>
                  </a:lnTo>
                  <a:lnTo>
                    <a:pt x="2240" y="156"/>
                  </a:lnTo>
                  <a:lnTo>
                    <a:pt x="2242" y="156"/>
                  </a:lnTo>
                  <a:lnTo>
                    <a:pt x="2242" y="154"/>
                  </a:lnTo>
                  <a:lnTo>
                    <a:pt x="2243" y="154"/>
                  </a:lnTo>
                  <a:lnTo>
                    <a:pt x="2244" y="154"/>
                  </a:lnTo>
                  <a:lnTo>
                    <a:pt x="2245" y="154"/>
                  </a:lnTo>
                  <a:lnTo>
                    <a:pt x="2245" y="153"/>
                  </a:lnTo>
                  <a:lnTo>
                    <a:pt x="2246" y="153"/>
                  </a:lnTo>
                  <a:lnTo>
                    <a:pt x="2246" y="152"/>
                  </a:lnTo>
                  <a:lnTo>
                    <a:pt x="2245" y="152"/>
                  </a:lnTo>
                  <a:lnTo>
                    <a:pt x="2245" y="151"/>
                  </a:lnTo>
                  <a:lnTo>
                    <a:pt x="2246" y="151"/>
                  </a:lnTo>
                  <a:lnTo>
                    <a:pt x="2247" y="151"/>
                  </a:lnTo>
                  <a:lnTo>
                    <a:pt x="2249" y="151"/>
                  </a:lnTo>
                  <a:lnTo>
                    <a:pt x="2251" y="151"/>
                  </a:lnTo>
                  <a:lnTo>
                    <a:pt x="2254" y="151"/>
                  </a:lnTo>
                  <a:lnTo>
                    <a:pt x="2254" y="152"/>
                  </a:lnTo>
                  <a:lnTo>
                    <a:pt x="2256" y="152"/>
                  </a:lnTo>
                  <a:lnTo>
                    <a:pt x="2257" y="152"/>
                  </a:lnTo>
                  <a:lnTo>
                    <a:pt x="2260" y="152"/>
                  </a:lnTo>
                  <a:lnTo>
                    <a:pt x="2260" y="153"/>
                  </a:lnTo>
                  <a:lnTo>
                    <a:pt x="2260" y="152"/>
                  </a:lnTo>
                  <a:lnTo>
                    <a:pt x="2261" y="152"/>
                  </a:lnTo>
                  <a:lnTo>
                    <a:pt x="2261" y="153"/>
                  </a:lnTo>
                  <a:lnTo>
                    <a:pt x="2262" y="153"/>
                  </a:lnTo>
                  <a:lnTo>
                    <a:pt x="2262" y="152"/>
                  </a:lnTo>
                  <a:lnTo>
                    <a:pt x="2261" y="152"/>
                  </a:lnTo>
                  <a:lnTo>
                    <a:pt x="2262" y="152"/>
                  </a:lnTo>
                  <a:lnTo>
                    <a:pt x="2264" y="152"/>
                  </a:lnTo>
                  <a:lnTo>
                    <a:pt x="2268" y="153"/>
                  </a:lnTo>
                  <a:lnTo>
                    <a:pt x="2269" y="153"/>
                  </a:lnTo>
                  <a:lnTo>
                    <a:pt x="2271" y="153"/>
                  </a:lnTo>
                  <a:lnTo>
                    <a:pt x="2272" y="153"/>
                  </a:lnTo>
                  <a:lnTo>
                    <a:pt x="2273" y="154"/>
                  </a:lnTo>
                  <a:lnTo>
                    <a:pt x="2274" y="154"/>
                  </a:lnTo>
                  <a:lnTo>
                    <a:pt x="2276" y="154"/>
                  </a:lnTo>
                  <a:lnTo>
                    <a:pt x="2279" y="156"/>
                  </a:lnTo>
                  <a:lnTo>
                    <a:pt x="2280" y="156"/>
                  </a:lnTo>
                  <a:lnTo>
                    <a:pt x="2282" y="157"/>
                  </a:lnTo>
                  <a:lnTo>
                    <a:pt x="2283" y="157"/>
                  </a:lnTo>
                  <a:lnTo>
                    <a:pt x="2283" y="158"/>
                  </a:lnTo>
                  <a:lnTo>
                    <a:pt x="2285" y="158"/>
                  </a:lnTo>
                  <a:lnTo>
                    <a:pt x="2286" y="158"/>
                  </a:lnTo>
                  <a:lnTo>
                    <a:pt x="2287" y="159"/>
                  </a:lnTo>
                  <a:lnTo>
                    <a:pt x="2288" y="159"/>
                  </a:lnTo>
                  <a:lnTo>
                    <a:pt x="2289" y="159"/>
                  </a:lnTo>
                  <a:lnTo>
                    <a:pt x="2290" y="159"/>
                  </a:lnTo>
                  <a:lnTo>
                    <a:pt x="2292" y="160"/>
                  </a:lnTo>
                  <a:lnTo>
                    <a:pt x="2293" y="160"/>
                  </a:lnTo>
                  <a:lnTo>
                    <a:pt x="2293" y="161"/>
                  </a:lnTo>
                  <a:lnTo>
                    <a:pt x="2294" y="161"/>
                  </a:lnTo>
                  <a:lnTo>
                    <a:pt x="2295" y="163"/>
                  </a:lnTo>
                  <a:lnTo>
                    <a:pt x="2296" y="163"/>
                  </a:lnTo>
                  <a:lnTo>
                    <a:pt x="2297" y="163"/>
                  </a:lnTo>
                  <a:lnTo>
                    <a:pt x="2297" y="164"/>
                  </a:lnTo>
                  <a:lnTo>
                    <a:pt x="2299" y="164"/>
                  </a:lnTo>
                  <a:lnTo>
                    <a:pt x="2300" y="164"/>
                  </a:lnTo>
                  <a:lnTo>
                    <a:pt x="2302" y="165"/>
                  </a:lnTo>
                  <a:lnTo>
                    <a:pt x="2301" y="165"/>
                  </a:lnTo>
                  <a:lnTo>
                    <a:pt x="2300" y="164"/>
                  </a:lnTo>
                  <a:lnTo>
                    <a:pt x="2301" y="164"/>
                  </a:lnTo>
                  <a:lnTo>
                    <a:pt x="2300" y="164"/>
                  </a:lnTo>
                  <a:lnTo>
                    <a:pt x="2301" y="164"/>
                  </a:lnTo>
                  <a:lnTo>
                    <a:pt x="2302" y="164"/>
                  </a:lnTo>
                  <a:lnTo>
                    <a:pt x="2302" y="165"/>
                  </a:lnTo>
                  <a:lnTo>
                    <a:pt x="2303" y="165"/>
                  </a:lnTo>
                  <a:lnTo>
                    <a:pt x="2304" y="165"/>
                  </a:lnTo>
                  <a:lnTo>
                    <a:pt x="2306" y="165"/>
                  </a:lnTo>
                  <a:lnTo>
                    <a:pt x="2308" y="166"/>
                  </a:lnTo>
                  <a:lnTo>
                    <a:pt x="2309" y="167"/>
                  </a:lnTo>
                  <a:lnTo>
                    <a:pt x="2311" y="167"/>
                  </a:lnTo>
                  <a:lnTo>
                    <a:pt x="2313" y="168"/>
                  </a:lnTo>
                  <a:lnTo>
                    <a:pt x="2314" y="168"/>
                  </a:lnTo>
                  <a:lnTo>
                    <a:pt x="2315" y="168"/>
                  </a:lnTo>
                  <a:lnTo>
                    <a:pt x="2314" y="167"/>
                  </a:lnTo>
                  <a:lnTo>
                    <a:pt x="2313" y="167"/>
                  </a:lnTo>
                  <a:lnTo>
                    <a:pt x="2313" y="166"/>
                  </a:lnTo>
                  <a:lnTo>
                    <a:pt x="2314" y="166"/>
                  </a:lnTo>
                  <a:lnTo>
                    <a:pt x="2315" y="167"/>
                  </a:lnTo>
                  <a:lnTo>
                    <a:pt x="2316" y="168"/>
                  </a:lnTo>
                  <a:lnTo>
                    <a:pt x="2317" y="168"/>
                  </a:lnTo>
                  <a:lnTo>
                    <a:pt x="2317" y="170"/>
                  </a:lnTo>
                  <a:lnTo>
                    <a:pt x="2318" y="170"/>
                  </a:lnTo>
                  <a:lnTo>
                    <a:pt x="2320" y="170"/>
                  </a:lnTo>
                  <a:lnTo>
                    <a:pt x="2321" y="170"/>
                  </a:lnTo>
                  <a:lnTo>
                    <a:pt x="2321" y="171"/>
                  </a:lnTo>
                  <a:lnTo>
                    <a:pt x="2322" y="171"/>
                  </a:lnTo>
                  <a:lnTo>
                    <a:pt x="2321" y="171"/>
                  </a:lnTo>
                  <a:lnTo>
                    <a:pt x="2321" y="172"/>
                  </a:lnTo>
                  <a:lnTo>
                    <a:pt x="2322" y="172"/>
                  </a:lnTo>
                  <a:lnTo>
                    <a:pt x="2323" y="172"/>
                  </a:lnTo>
                  <a:lnTo>
                    <a:pt x="2324" y="172"/>
                  </a:lnTo>
                  <a:lnTo>
                    <a:pt x="2325" y="172"/>
                  </a:lnTo>
                  <a:lnTo>
                    <a:pt x="2325" y="173"/>
                  </a:lnTo>
                  <a:lnTo>
                    <a:pt x="2326" y="173"/>
                  </a:lnTo>
                  <a:lnTo>
                    <a:pt x="2328" y="172"/>
                  </a:lnTo>
                  <a:lnTo>
                    <a:pt x="2328" y="173"/>
                  </a:lnTo>
                  <a:lnTo>
                    <a:pt x="2329" y="173"/>
                  </a:lnTo>
                  <a:lnTo>
                    <a:pt x="2329" y="174"/>
                  </a:lnTo>
                  <a:lnTo>
                    <a:pt x="2329" y="175"/>
                  </a:lnTo>
                  <a:lnTo>
                    <a:pt x="2329" y="177"/>
                  </a:lnTo>
                  <a:lnTo>
                    <a:pt x="2330" y="177"/>
                  </a:lnTo>
                  <a:lnTo>
                    <a:pt x="2331" y="177"/>
                  </a:lnTo>
                  <a:lnTo>
                    <a:pt x="2331" y="178"/>
                  </a:lnTo>
                  <a:lnTo>
                    <a:pt x="2331" y="179"/>
                  </a:lnTo>
                  <a:lnTo>
                    <a:pt x="2332" y="180"/>
                  </a:lnTo>
                  <a:lnTo>
                    <a:pt x="2333" y="179"/>
                  </a:lnTo>
                  <a:lnTo>
                    <a:pt x="2333" y="180"/>
                  </a:lnTo>
                  <a:lnTo>
                    <a:pt x="2335" y="180"/>
                  </a:lnTo>
                  <a:lnTo>
                    <a:pt x="2333" y="180"/>
                  </a:lnTo>
                  <a:lnTo>
                    <a:pt x="2335" y="180"/>
                  </a:lnTo>
                  <a:lnTo>
                    <a:pt x="2335" y="181"/>
                  </a:lnTo>
                  <a:lnTo>
                    <a:pt x="2335" y="182"/>
                  </a:lnTo>
                  <a:lnTo>
                    <a:pt x="2335" y="184"/>
                  </a:lnTo>
                  <a:lnTo>
                    <a:pt x="2335" y="185"/>
                  </a:lnTo>
                  <a:lnTo>
                    <a:pt x="2333" y="185"/>
                  </a:lnTo>
                  <a:lnTo>
                    <a:pt x="2333" y="186"/>
                  </a:lnTo>
                  <a:lnTo>
                    <a:pt x="2332" y="187"/>
                  </a:lnTo>
                  <a:lnTo>
                    <a:pt x="2331" y="187"/>
                  </a:lnTo>
                  <a:lnTo>
                    <a:pt x="2331" y="188"/>
                  </a:lnTo>
                  <a:lnTo>
                    <a:pt x="2330" y="188"/>
                  </a:lnTo>
                  <a:lnTo>
                    <a:pt x="2330" y="189"/>
                  </a:lnTo>
                  <a:lnTo>
                    <a:pt x="2329" y="189"/>
                  </a:lnTo>
                  <a:lnTo>
                    <a:pt x="2329" y="191"/>
                  </a:lnTo>
                  <a:lnTo>
                    <a:pt x="2328" y="191"/>
                  </a:lnTo>
                  <a:lnTo>
                    <a:pt x="2326" y="191"/>
                  </a:lnTo>
                  <a:lnTo>
                    <a:pt x="2325" y="192"/>
                  </a:lnTo>
                  <a:lnTo>
                    <a:pt x="2323" y="193"/>
                  </a:lnTo>
                  <a:lnTo>
                    <a:pt x="2322" y="193"/>
                  </a:lnTo>
                  <a:lnTo>
                    <a:pt x="2320" y="194"/>
                  </a:lnTo>
                  <a:lnTo>
                    <a:pt x="2318" y="194"/>
                  </a:lnTo>
                  <a:lnTo>
                    <a:pt x="2315" y="195"/>
                  </a:lnTo>
                  <a:lnTo>
                    <a:pt x="2314" y="194"/>
                  </a:lnTo>
                  <a:lnTo>
                    <a:pt x="2314" y="195"/>
                  </a:lnTo>
                  <a:lnTo>
                    <a:pt x="2310" y="195"/>
                  </a:lnTo>
                  <a:lnTo>
                    <a:pt x="2307" y="195"/>
                  </a:lnTo>
                  <a:lnTo>
                    <a:pt x="2303" y="195"/>
                  </a:lnTo>
                  <a:lnTo>
                    <a:pt x="2302" y="194"/>
                  </a:lnTo>
                  <a:lnTo>
                    <a:pt x="2301" y="194"/>
                  </a:lnTo>
                  <a:lnTo>
                    <a:pt x="2300" y="194"/>
                  </a:lnTo>
                  <a:lnTo>
                    <a:pt x="2297" y="193"/>
                  </a:lnTo>
                  <a:lnTo>
                    <a:pt x="2296" y="193"/>
                  </a:lnTo>
                  <a:lnTo>
                    <a:pt x="2292" y="192"/>
                  </a:lnTo>
                  <a:lnTo>
                    <a:pt x="2290" y="192"/>
                  </a:lnTo>
                  <a:lnTo>
                    <a:pt x="2289" y="192"/>
                  </a:lnTo>
                  <a:lnTo>
                    <a:pt x="2288" y="192"/>
                  </a:lnTo>
                  <a:lnTo>
                    <a:pt x="2287" y="192"/>
                  </a:lnTo>
                  <a:lnTo>
                    <a:pt x="2285" y="192"/>
                  </a:lnTo>
                  <a:lnTo>
                    <a:pt x="2282" y="192"/>
                  </a:lnTo>
                  <a:lnTo>
                    <a:pt x="2280" y="191"/>
                  </a:lnTo>
                  <a:lnTo>
                    <a:pt x="2279" y="191"/>
                  </a:lnTo>
                  <a:lnTo>
                    <a:pt x="2278" y="191"/>
                  </a:lnTo>
                  <a:lnTo>
                    <a:pt x="2275" y="191"/>
                  </a:lnTo>
                  <a:lnTo>
                    <a:pt x="2274" y="189"/>
                  </a:lnTo>
                  <a:lnTo>
                    <a:pt x="2273" y="189"/>
                  </a:lnTo>
                  <a:lnTo>
                    <a:pt x="2269" y="188"/>
                  </a:lnTo>
                  <a:lnTo>
                    <a:pt x="2268" y="188"/>
                  </a:lnTo>
                  <a:lnTo>
                    <a:pt x="2267" y="188"/>
                  </a:lnTo>
                  <a:lnTo>
                    <a:pt x="2266" y="188"/>
                  </a:lnTo>
                  <a:lnTo>
                    <a:pt x="2265" y="188"/>
                  </a:lnTo>
                  <a:lnTo>
                    <a:pt x="2264" y="188"/>
                  </a:lnTo>
                  <a:lnTo>
                    <a:pt x="2264" y="187"/>
                  </a:lnTo>
                  <a:lnTo>
                    <a:pt x="2265" y="187"/>
                  </a:lnTo>
                  <a:lnTo>
                    <a:pt x="2266" y="187"/>
                  </a:lnTo>
                  <a:lnTo>
                    <a:pt x="2265" y="187"/>
                  </a:lnTo>
                  <a:lnTo>
                    <a:pt x="2262" y="187"/>
                  </a:lnTo>
                  <a:lnTo>
                    <a:pt x="2261" y="187"/>
                  </a:lnTo>
                  <a:lnTo>
                    <a:pt x="2261" y="186"/>
                  </a:lnTo>
                  <a:lnTo>
                    <a:pt x="2260" y="186"/>
                  </a:lnTo>
                  <a:lnTo>
                    <a:pt x="2260" y="187"/>
                  </a:lnTo>
                  <a:lnTo>
                    <a:pt x="2259" y="187"/>
                  </a:lnTo>
                  <a:lnTo>
                    <a:pt x="2259" y="186"/>
                  </a:lnTo>
                  <a:lnTo>
                    <a:pt x="2259" y="187"/>
                  </a:lnTo>
                  <a:lnTo>
                    <a:pt x="2258" y="187"/>
                  </a:lnTo>
                  <a:lnTo>
                    <a:pt x="2258" y="186"/>
                  </a:lnTo>
                  <a:lnTo>
                    <a:pt x="2257" y="186"/>
                  </a:lnTo>
                  <a:lnTo>
                    <a:pt x="2257" y="185"/>
                  </a:lnTo>
                  <a:lnTo>
                    <a:pt x="2256" y="185"/>
                  </a:lnTo>
                  <a:lnTo>
                    <a:pt x="2254" y="185"/>
                  </a:lnTo>
                  <a:lnTo>
                    <a:pt x="2254" y="186"/>
                  </a:lnTo>
                  <a:lnTo>
                    <a:pt x="2256" y="186"/>
                  </a:lnTo>
                  <a:lnTo>
                    <a:pt x="2254" y="186"/>
                  </a:lnTo>
                  <a:lnTo>
                    <a:pt x="2256" y="186"/>
                  </a:lnTo>
                  <a:lnTo>
                    <a:pt x="2254" y="186"/>
                  </a:lnTo>
                  <a:lnTo>
                    <a:pt x="2256" y="186"/>
                  </a:lnTo>
                  <a:lnTo>
                    <a:pt x="2254" y="186"/>
                  </a:lnTo>
                  <a:lnTo>
                    <a:pt x="2250" y="185"/>
                  </a:lnTo>
                  <a:lnTo>
                    <a:pt x="2247" y="182"/>
                  </a:lnTo>
                  <a:lnTo>
                    <a:pt x="2246" y="182"/>
                  </a:lnTo>
                  <a:lnTo>
                    <a:pt x="2246" y="181"/>
                  </a:lnTo>
                  <a:lnTo>
                    <a:pt x="2247" y="181"/>
                  </a:lnTo>
                  <a:lnTo>
                    <a:pt x="2246" y="181"/>
                  </a:lnTo>
                  <a:lnTo>
                    <a:pt x="2245" y="181"/>
                  </a:lnTo>
                  <a:lnTo>
                    <a:pt x="2244" y="180"/>
                  </a:lnTo>
                  <a:lnTo>
                    <a:pt x="2243" y="180"/>
                  </a:lnTo>
                  <a:lnTo>
                    <a:pt x="2242" y="180"/>
                  </a:lnTo>
                  <a:lnTo>
                    <a:pt x="2240" y="180"/>
                  </a:lnTo>
                  <a:lnTo>
                    <a:pt x="2239" y="180"/>
                  </a:lnTo>
                  <a:lnTo>
                    <a:pt x="2238" y="180"/>
                  </a:lnTo>
                  <a:lnTo>
                    <a:pt x="2237" y="180"/>
                  </a:lnTo>
                  <a:lnTo>
                    <a:pt x="2236" y="180"/>
                  </a:lnTo>
                  <a:lnTo>
                    <a:pt x="2237" y="180"/>
                  </a:lnTo>
                  <a:lnTo>
                    <a:pt x="2237" y="181"/>
                  </a:lnTo>
                  <a:lnTo>
                    <a:pt x="2238" y="181"/>
                  </a:lnTo>
                  <a:lnTo>
                    <a:pt x="2239" y="180"/>
                  </a:lnTo>
                  <a:lnTo>
                    <a:pt x="2240" y="180"/>
                  </a:lnTo>
                  <a:lnTo>
                    <a:pt x="2240" y="181"/>
                  </a:lnTo>
                  <a:lnTo>
                    <a:pt x="2242" y="181"/>
                  </a:lnTo>
                  <a:lnTo>
                    <a:pt x="2240" y="181"/>
                  </a:lnTo>
                  <a:lnTo>
                    <a:pt x="2242" y="181"/>
                  </a:lnTo>
                  <a:lnTo>
                    <a:pt x="2243" y="181"/>
                  </a:lnTo>
                  <a:lnTo>
                    <a:pt x="2243" y="182"/>
                  </a:lnTo>
                  <a:lnTo>
                    <a:pt x="2244" y="182"/>
                  </a:lnTo>
                  <a:lnTo>
                    <a:pt x="2244" y="184"/>
                  </a:lnTo>
                  <a:lnTo>
                    <a:pt x="2243" y="184"/>
                  </a:lnTo>
                  <a:lnTo>
                    <a:pt x="2244" y="184"/>
                  </a:lnTo>
                  <a:lnTo>
                    <a:pt x="2243" y="184"/>
                  </a:lnTo>
                  <a:lnTo>
                    <a:pt x="2244" y="184"/>
                  </a:lnTo>
                  <a:lnTo>
                    <a:pt x="2245" y="185"/>
                  </a:lnTo>
                  <a:lnTo>
                    <a:pt x="2246" y="185"/>
                  </a:lnTo>
                  <a:lnTo>
                    <a:pt x="2245" y="185"/>
                  </a:lnTo>
                  <a:lnTo>
                    <a:pt x="2246" y="185"/>
                  </a:lnTo>
                  <a:lnTo>
                    <a:pt x="2249" y="186"/>
                  </a:lnTo>
                  <a:lnTo>
                    <a:pt x="2247" y="186"/>
                  </a:lnTo>
                  <a:lnTo>
                    <a:pt x="2250" y="187"/>
                  </a:lnTo>
                  <a:lnTo>
                    <a:pt x="2251" y="187"/>
                  </a:lnTo>
                  <a:lnTo>
                    <a:pt x="2253" y="187"/>
                  </a:lnTo>
                  <a:lnTo>
                    <a:pt x="2252" y="187"/>
                  </a:lnTo>
                  <a:lnTo>
                    <a:pt x="2251" y="187"/>
                  </a:lnTo>
                  <a:lnTo>
                    <a:pt x="2251" y="188"/>
                  </a:lnTo>
                  <a:lnTo>
                    <a:pt x="2250" y="188"/>
                  </a:lnTo>
                  <a:lnTo>
                    <a:pt x="2249" y="188"/>
                  </a:lnTo>
                  <a:lnTo>
                    <a:pt x="2251" y="188"/>
                  </a:lnTo>
                  <a:lnTo>
                    <a:pt x="2252" y="188"/>
                  </a:lnTo>
                  <a:lnTo>
                    <a:pt x="2252" y="187"/>
                  </a:lnTo>
                  <a:lnTo>
                    <a:pt x="2254" y="188"/>
                  </a:lnTo>
                  <a:lnTo>
                    <a:pt x="2256" y="188"/>
                  </a:lnTo>
                  <a:lnTo>
                    <a:pt x="2256" y="189"/>
                  </a:lnTo>
                  <a:lnTo>
                    <a:pt x="2252" y="188"/>
                  </a:lnTo>
                  <a:lnTo>
                    <a:pt x="2251" y="188"/>
                  </a:lnTo>
                  <a:lnTo>
                    <a:pt x="2250" y="188"/>
                  </a:lnTo>
                  <a:lnTo>
                    <a:pt x="2250" y="189"/>
                  </a:lnTo>
                  <a:lnTo>
                    <a:pt x="2251" y="189"/>
                  </a:lnTo>
                  <a:lnTo>
                    <a:pt x="2252" y="189"/>
                  </a:lnTo>
                  <a:lnTo>
                    <a:pt x="2252" y="188"/>
                  </a:lnTo>
                  <a:lnTo>
                    <a:pt x="2253" y="189"/>
                  </a:lnTo>
                  <a:lnTo>
                    <a:pt x="2254" y="189"/>
                  </a:lnTo>
                  <a:lnTo>
                    <a:pt x="2256" y="189"/>
                  </a:lnTo>
                  <a:lnTo>
                    <a:pt x="2257" y="189"/>
                  </a:lnTo>
                  <a:lnTo>
                    <a:pt x="2258" y="191"/>
                  </a:lnTo>
                  <a:lnTo>
                    <a:pt x="2257" y="191"/>
                  </a:lnTo>
                  <a:lnTo>
                    <a:pt x="2256" y="191"/>
                  </a:lnTo>
                  <a:lnTo>
                    <a:pt x="2257" y="191"/>
                  </a:lnTo>
                  <a:lnTo>
                    <a:pt x="2258" y="191"/>
                  </a:lnTo>
                  <a:lnTo>
                    <a:pt x="2258" y="192"/>
                  </a:lnTo>
                  <a:lnTo>
                    <a:pt x="2256" y="192"/>
                  </a:lnTo>
                  <a:lnTo>
                    <a:pt x="2254" y="192"/>
                  </a:lnTo>
                  <a:lnTo>
                    <a:pt x="2256" y="192"/>
                  </a:lnTo>
                  <a:lnTo>
                    <a:pt x="2257" y="192"/>
                  </a:lnTo>
                  <a:lnTo>
                    <a:pt x="2258" y="192"/>
                  </a:lnTo>
                  <a:lnTo>
                    <a:pt x="2260" y="193"/>
                  </a:lnTo>
                  <a:lnTo>
                    <a:pt x="2261" y="193"/>
                  </a:lnTo>
                  <a:lnTo>
                    <a:pt x="2262" y="193"/>
                  </a:lnTo>
                  <a:lnTo>
                    <a:pt x="2264" y="193"/>
                  </a:lnTo>
                  <a:lnTo>
                    <a:pt x="2264" y="194"/>
                  </a:lnTo>
                  <a:lnTo>
                    <a:pt x="2265" y="194"/>
                  </a:lnTo>
                  <a:lnTo>
                    <a:pt x="2266" y="194"/>
                  </a:lnTo>
                  <a:lnTo>
                    <a:pt x="2267" y="194"/>
                  </a:lnTo>
                  <a:lnTo>
                    <a:pt x="2268" y="195"/>
                  </a:lnTo>
                  <a:lnTo>
                    <a:pt x="2269" y="195"/>
                  </a:lnTo>
                  <a:lnTo>
                    <a:pt x="2271" y="196"/>
                  </a:lnTo>
                  <a:lnTo>
                    <a:pt x="2269" y="196"/>
                  </a:lnTo>
                  <a:lnTo>
                    <a:pt x="2271" y="198"/>
                  </a:lnTo>
                  <a:lnTo>
                    <a:pt x="2272" y="198"/>
                  </a:lnTo>
                  <a:lnTo>
                    <a:pt x="2272" y="199"/>
                  </a:lnTo>
                  <a:lnTo>
                    <a:pt x="2273" y="199"/>
                  </a:lnTo>
                  <a:lnTo>
                    <a:pt x="2273" y="200"/>
                  </a:lnTo>
                  <a:lnTo>
                    <a:pt x="2274" y="200"/>
                  </a:lnTo>
                  <a:lnTo>
                    <a:pt x="2273" y="200"/>
                  </a:lnTo>
                  <a:lnTo>
                    <a:pt x="2272" y="199"/>
                  </a:lnTo>
                  <a:lnTo>
                    <a:pt x="2271" y="199"/>
                  </a:lnTo>
                  <a:lnTo>
                    <a:pt x="2271" y="200"/>
                  </a:lnTo>
                  <a:lnTo>
                    <a:pt x="2272" y="200"/>
                  </a:lnTo>
                  <a:lnTo>
                    <a:pt x="2271" y="200"/>
                  </a:lnTo>
                  <a:lnTo>
                    <a:pt x="2272" y="201"/>
                  </a:lnTo>
                  <a:lnTo>
                    <a:pt x="2272" y="202"/>
                  </a:lnTo>
                  <a:lnTo>
                    <a:pt x="2272" y="203"/>
                  </a:lnTo>
                  <a:lnTo>
                    <a:pt x="2271" y="203"/>
                  </a:lnTo>
                  <a:lnTo>
                    <a:pt x="2269" y="203"/>
                  </a:lnTo>
                  <a:lnTo>
                    <a:pt x="2271" y="205"/>
                  </a:lnTo>
                  <a:lnTo>
                    <a:pt x="2269" y="205"/>
                  </a:lnTo>
                  <a:lnTo>
                    <a:pt x="2268" y="205"/>
                  </a:lnTo>
                  <a:lnTo>
                    <a:pt x="2269" y="205"/>
                  </a:lnTo>
                  <a:lnTo>
                    <a:pt x="2268" y="205"/>
                  </a:lnTo>
                  <a:lnTo>
                    <a:pt x="2269" y="205"/>
                  </a:lnTo>
                  <a:lnTo>
                    <a:pt x="2271" y="205"/>
                  </a:lnTo>
                  <a:lnTo>
                    <a:pt x="2271" y="206"/>
                  </a:lnTo>
                  <a:lnTo>
                    <a:pt x="2271" y="207"/>
                  </a:lnTo>
                  <a:lnTo>
                    <a:pt x="2272" y="207"/>
                  </a:lnTo>
                  <a:lnTo>
                    <a:pt x="2273" y="207"/>
                  </a:lnTo>
                  <a:lnTo>
                    <a:pt x="2272" y="208"/>
                  </a:lnTo>
                  <a:lnTo>
                    <a:pt x="2273" y="208"/>
                  </a:lnTo>
                  <a:lnTo>
                    <a:pt x="2274" y="208"/>
                  </a:lnTo>
                  <a:lnTo>
                    <a:pt x="2274" y="209"/>
                  </a:lnTo>
                  <a:lnTo>
                    <a:pt x="2275" y="209"/>
                  </a:lnTo>
                  <a:lnTo>
                    <a:pt x="2274" y="209"/>
                  </a:lnTo>
                  <a:lnTo>
                    <a:pt x="2274" y="210"/>
                  </a:lnTo>
                  <a:lnTo>
                    <a:pt x="2275" y="210"/>
                  </a:lnTo>
                  <a:lnTo>
                    <a:pt x="2275" y="212"/>
                  </a:lnTo>
                  <a:lnTo>
                    <a:pt x="2276" y="212"/>
                  </a:lnTo>
                  <a:lnTo>
                    <a:pt x="2276" y="213"/>
                  </a:lnTo>
                  <a:lnTo>
                    <a:pt x="2275" y="213"/>
                  </a:lnTo>
                  <a:lnTo>
                    <a:pt x="2275" y="214"/>
                  </a:lnTo>
                  <a:lnTo>
                    <a:pt x="2276" y="214"/>
                  </a:lnTo>
                  <a:lnTo>
                    <a:pt x="2278" y="213"/>
                  </a:lnTo>
                  <a:lnTo>
                    <a:pt x="2278" y="214"/>
                  </a:lnTo>
                  <a:lnTo>
                    <a:pt x="2276" y="214"/>
                  </a:lnTo>
                  <a:lnTo>
                    <a:pt x="2278" y="215"/>
                  </a:lnTo>
                  <a:lnTo>
                    <a:pt x="2279" y="215"/>
                  </a:lnTo>
                  <a:lnTo>
                    <a:pt x="2278" y="216"/>
                  </a:lnTo>
                  <a:lnTo>
                    <a:pt x="2276" y="216"/>
                  </a:lnTo>
                  <a:lnTo>
                    <a:pt x="2278" y="216"/>
                  </a:lnTo>
                  <a:lnTo>
                    <a:pt x="2279" y="217"/>
                  </a:lnTo>
                  <a:lnTo>
                    <a:pt x="2280" y="219"/>
                  </a:lnTo>
                  <a:lnTo>
                    <a:pt x="2281" y="219"/>
                  </a:lnTo>
                  <a:lnTo>
                    <a:pt x="2282" y="219"/>
                  </a:lnTo>
                  <a:lnTo>
                    <a:pt x="2283" y="219"/>
                  </a:lnTo>
                  <a:lnTo>
                    <a:pt x="2282" y="219"/>
                  </a:lnTo>
                  <a:lnTo>
                    <a:pt x="2283" y="220"/>
                  </a:lnTo>
                  <a:lnTo>
                    <a:pt x="2285" y="220"/>
                  </a:lnTo>
                  <a:lnTo>
                    <a:pt x="2286" y="220"/>
                  </a:lnTo>
                  <a:lnTo>
                    <a:pt x="2286" y="219"/>
                  </a:lnTo>
                  <a:lnTo>
                    <a:pt x="2287" y="219"/>
                  </a:lnTo>
                  <a:lnTo>
                    <a:pt x="2288" y="220"/>
                  </a:lnTo>
                  <a:lnTo>
                    <a:pt x="2289" y="220"/>
                  </a:lnTo>
                  <a:lnTo>
                    <a:pt x="2289" y="221"/>
                  </a:lnTo>
                  <a:lnTo>
                    <a:pt x="2290" y="221"/>
                  </a:lnTo>
                  <a:lnTo>
                    <a:pt x="2292" y="221"/>
                  </a:lnTo>
                  <a:lnTo>
                    <a:pt x="2293" y="222"/>
                  </a:lnTo>
                  <a:lnTo>
                    <a:pt x="2294" y="222"/>
                  </a:lnTo>
                  <a:lnTo>
                    <a:pt x="2294" y="223"/>
                  </a:lnTo>
                  <a:lnTo>
                    <a:pt x="2295" y="224"/>
                  </a:lnTo>
                  <a:lnTo>
                    <a:pt x="2296" y="224"/>
                  </a:lnTo>
                  <a:lnTo>
                    <a:pt x="2297" y="224"/>
                  </a:lnTo>
                  <a:lnTo>
                    <a:pt x="2299" y="224"/>
                  </a:lnTo>
                  <a:lnTo>
                    <a:pt x="2300" y="224"/>
                  </a:lnTo>
                  <a:lnTo>
                    <a:pt x="2300" y="226"/>
                  </a:lnTo>
                  <a:lnTo>
                    <a:pt x="2300" y="224"/>
                  </a:lnTo>
                  <a:lnTo>
                    <a:pt x="2301" y="224"/>
                  </a:lnTo>
                  <a:lnTo>
                    <a:pt x="2301" y="226"/>
                  </a:lnTo>
                  <a:lnTo>
                    <a:pt x="2302" y="224"/>
                  </a:lnTo>
                  <a:lnTo>
                    <a:pt x="2302" y="226"/>
                  </a:lnTo>
                  <a:lnTo>
                    <a:pt x="2303" y="226"/>
                  </a:lnTo>
                  <a:lnTo>
                    <a:pt x="2304" y="226"/>
                  </a:lnTo>
                  <a:lnTo>
                    <a:pt x="2306" y="226"/>
                  </a:lnTo>
                  <a:lnTo>
                    <a:pt x="2306" y="227"/>
                  </a:lnTo>
                  <a:lnTo>
                    <a:pt x="2307" y="227"/>
                  </a:lnTo>
                  <a:lnTo>
                    <a:pt x="2308" y="227"/>
                  </a:lnTo>
                  <a:lnTo>
                    <a:pt x="2309" y="227"/>
                  </a:lnTo>
                  <a:lnTo>
                    <a:pt x="2309" y="226"/>
                  </a:lnTo>
                  <a:lnTo>
                    <a:pt x="2310" y="226"/>
                  </a:lnTo>
                  <a:lnTo>
                    <a:pt x="2311" y="226"/>
                  </a:lnTo>
                  <a:lnTo>
                    <a:pt x="2313" y="224"/>
                  </a:lnTo>
                  <a:lnTo>
                    <a:pt x="2314" y="224"/>
                  </a:lnTo>
                  <a:lnTo>
                    <a:pt x="2314" y="223"/>
                  </a:lnTo>
                  <a:lnTo>
                    <a:pt x="2313" y="222"/>
                  </a:lnTo>
                  <a:lnTo>
                    <a:pt x="2313" y="221"/>
                  </a:lnTo>
                  <a:lnTo>
                    <a:pt x="2311" y="221"/>
                  </a:lnTo>
                  <a:lnTo>
                    <a:pt x="2311" y="220"/>
                  </a:lnTo>
                  <a:lnTo>
                    <a:pt x="2313" y="220"/>
                  </a:lnTo>
                  <a:lnTo>
                    <a:pt x="2311" y="220"/>
                  </a:lnTo>
                  <a:lnTo>
                    <a:pt x="2310" y="219"/>
                  </a:lnTo>
                  <a:lnTo>
                    <a:pt x="2311" y="219"/>
                  </a:lnTo>
                  <a:lnTo>
                    <a:pt x="2310" y="219"/>
                  </a:lnTo>
                  <a:lnTo>
                    <a:pt x="2309" y="219"/>
                  </a:lnTo>
                  <a:lnTo>
                    <a:pt x="2309" y="217"/>
                  </a:lnTo>
                  <a:lnTo>
                    <a:pt x="2308" y="217"/>
                  </a:lnTo>
                  <a:lnTo>
                    <a:pt x="2308" y="219"/>
                  </a:lnTo>
                  <a:lnTo>
                    <a:pt x="2307" y="219"/>
                  </a:lnTo>
                  <a:lnTo>
                    <a:pt x="2306" y="219"/>
                  </a:lnTo>
                  <a:lnTo>
                    <a:pt x="2304" y="219"/>
                  </a:lnTo>
                  <a:lnTo>
                    <a:pt x="2304" y="220"/>
                  </a:lnTo>
                  <a:lnTo>
                    <a:pt x="2304" y="219"/>
                  </a:lnTo>
                  <a:lnTo>
                    <a:pt x="2302" y="219"/>
                  </a:lnTo>
                  <a:lnTo>
                    <a:pt x="2301" y="217"/>
                  </a:lnTo>
                  <a:lnTo>
                    <a:pt x="2299" y="215"/>
                  </a:lnTo>
                  <a:lnTo>
                    <a:pt x="2297" y="215"/>
                  </a:lnTo>
                  <a:lnTo>
                    <a:pt x="2296" y="214"/>
                  </a:lnTo>
                  <a:lnTo>
                    <a:pt x="2295" y="214"/>
                  </a:lnTo>
                  <a:lnTo>
                    <a:pt x="2294" y="214"/>
                  </a:lnTo>
                  <a:lnTo>
                    <a:pt x="2294" y="213"/>
                  </a:lnTo>
                  <a:lnTo>
                    <a:pt x="2294" y="212"/>
                  </a:lnTo>
                  <a:lnTo>
                    <a:pt x="2293" y="212"/>
                  </a:lnTo>
                  <a:lnTo>
                    <a:pt x="2293" y="210"/>
                  </a:lnTo>
                  <a:lnTo>
                    <a:pt x="2294" y="210"/>
                  </a:lnTo>
                  <a:lnTo>
                    <a:pt x="2294" y="212"/>
                  </a:lnTo>
                  <a:lnTo>
                    <a:pt x="2295" y="212"/>
                  </a:lnTo>
                  <a:lnTo>
                    <a:pt x="2295" y="210"/>
                  </a:lnTo>
                  <a:lnTo>
                    <a:pt x="2296" y="210"/>
                  </a:lnTo>
                  <a:lnTo>
                    <a:pt x="2296" y="209"/>
                  </a:lnTo>
                  <a:lnTo>
                    <a:pt x="2296" y="208"/>
                  </a:lnTo>
                  <a:lnTo>
                    <a:pt x="2297" y="208"/>
                  </a:lnTo>
                  <a:lnTo>
                    <a:pt x="2299" y="208"/>
                  </a:lnTo>
                  <a:lnTo>
                    <a:pt x="2300" y="208"/>
                  </a:lnTo>
                  <a:lnTo>
                    <a:pt x="2301" y="208"/>
                  </a:lnTo>
                  <a:lnTo>
                    <a:pt x="2302" y="208"/>
                  </a:lnTo>
                  <a:lnTo>
                    <a:pt x="2303" y="209"/>
                  </a:lnTo>
                  <a:lnTo>
                    <a:pt x="2304" y="209"/>
                  </a:lnTo>
                  <a:lnTo>
                    <a:pt x="2306" y="209"/>
                  </a:lnTo>
                  <a:lnTo>
                    <a:pt x="2306" y="210"/>
                  </a:lnTo>
                  <a:lnTo>
                    <a:pt x="2307" y="212"/>
                  </a:lnTo>
                  <a:lnTo>
                    <a:pt x="2310" y="212"/>
                  </a:lnTo>
                  <a:lnTo>
                    <a:pt x="2311" y="212"/>
                  </a:lnTo>
                  <a:lnTo>
                    <a:pt x="2313" y="212"/>
                  </a:lnTo>
                  <a:lnTo>
                    <a:pt x="2314" y="212"/>
                  </a:lnTo>
                  <a:lnTo>
                    <a:pt x="2314" y="213"/>
                  </a:lnTo>
                  <a:lnTo>
                    <a:pt x="2313" y="213"/>
                  </a:lnTo>
                  <a:lnTo>
                    <a:pt x="2311" y="213"/>
                  </a:lnTo>
                  <a:lnTo>
                    <a:pt x="2310" y="213"/>
                  </a:lnTo>
                  <a:lnTo>
                    <a:pt x="2310" y="214"/>
                  </a:lnTo>
                  <a:lnTo>
                    <a:pt x="2311" y="214"/>
                  </a:lnTo>
                  <a:lnTo>
                    <a:pt x="2311" y="215"/>
                  </a:lnTo>
                  <a:lnTo>
                    <a:pt x="2310" y="215"/>
                  </a:lnTo>
                  <a:lnTo>
                    <a:pt x="2311" y="215"/>
                  </a:lnTo>
                  <a:lnTo>
                    <a:pt x="2311" y="214"/>
                  </a:lnTo>
                  <a:lnTo>
                    <a:pt x="2313" y="214"/>
                  </a:lnTo>
                  <a:lnTo>
                    <a:pt x="2314" y="214"/>
                  </a:lnTo>
                  <a:lnTo>
                    <a:pt x="2314" y="213"/>
                  </a:lnTo>
                  <a:lnTo>
                    <a:pt x="2315" y="214"/>
                  </a:lnTo>
                  <a:lnTo>
                    <a:pt x="2315" y="213"/>
                  </a:lnTo>
                  <a:lnTo>
                    <a:pt x="2314" y="213"/>
                  </a:lnTo>
                  <a:lnTo>
                    <a:pt x="2315" y="213"/>
                  </a:lnTo>
                  <a:lnTo>
                    <a:pt x="2316" y="213"/>
                  </a:lnTo>
                  <a:lnTo>
                    <a:pt x="2317" y="214"/>
                  </a:lnTo>
                  <a:lnTo>
                    <a:pt x="2318" y="214"/>
                  </a:lnTo>
                  <a:lnTo>
                    <a:pt x="2320" y="214"/>
                  </a:lnTo>
                  <a:lnTo>
                    <a:pt x="2321" y="214"/>
                  </a:lnTo>
                  <a:lnTo>
                    <a:pt x="2322" y="215"/>
                  </a:lnTo>
                  <a:lnTo>
                    <a:pt x="2323" y="215"/>
                  </a:lnTo>
                  <a:lnTo>
                    <a:pt x="2324" y="215"/>
                  </a:lnTo>
                  <a:lnTo>
                    <a:pt x="2325" y="215"/>
                  </a:lnTo>
                  <a:lnTo>
                    <a:pt x="2326" y="216"/>
                  </a:lnTo>
                  <a:lnTo>
                    <a:pt x="2328" y="216"/>
                  </a:lnTo>
                  <a:lnTo>
                    <a:pt x="2329" y="216"/>
                  </a:lnTo>
                  <a:lnTo>
                    <a:pt x="2330" y="216"/>
                  </a:lnTo>
                  <a:lnTo>
                    <a:pt x="2330" y="215"/>
                  </a:lnTo>
                  <a:lnTo>
                    <a:pt x="2331" y="215"/>
                  </a:lnTo>
                  <a:lnTo>
                    <a:pt x="2330" y="215"/>
                  </a:lnTo>
                  <a:lnTo>
                    <a:pt x="2330" y="214"/>
                  </a:lnTo>
                  <a:lnTo>
                    <a:pt x="2330" y="215"/>
                  </a:lnTo>
                  <a:lnTo>
                    <a:pt x="2332" y="215"/>
                  </a:lnTo>
                  <a:lnTo>
                    <a:pt x="2333" y="215"/>
                  </a:lnTo>
                  <a:lnTo>
                    <a:pt x="2333" y="216"/>
                  </a:lnTo>
                  <a:lnTo>
                    <a:pt x="2335" y="216"/>
                  </a:lnTo>
                  <a:lnTo>
                    <a:pt x="2336" y="216"/>
                  </a:lnTo>
                  <a:lnTo>
                    <a:pt x="2337" y="216"/>
                  </a:lnTo>
                  <a:lnTo>
                    <a:pt x="2338" y="216"/>
                  </a:lnTo>
                  <a:lnTo>
                    <a:pt x="2337" y="216"/>
                  </a:lnTo>
                  <a:lnTo>
                    <a:pt x="2337" y="215"/>
                  </a:lnTo>
                  <a:lnTo>
                    <a:pt x="2336" y="214"/>
                  </a:lnTo>
                  <a:lnTo>
                    <a:pt x="2336" y="213"/>
                  </a:lnTo>
                  <a:lnTo>
                    <a:pt x="2337" y="214"/>
                  </a:lnTo>
                  <a:lnTo>
                    <a:pt x="2337" y="213"/>
                  </a:lnTo>
                  <a:lnTo>
                    <a:pt x="2336" y="213"/>
                  </a:lnTo>
                  <a:lnTo>
                    <a:pt x="2335" y="212"/>
                  </a:lnTo>
                  <a:lnTo>
                    <a:pt x="2335" y="210"/>
                  </a:lnTo>
                  <a:lnTo>
                    <a:pt x="2333" y="210"/>
                  </a:lnTo>
                  <a:lnTo>
                    <a:pt x="2333" y="209"/>
                  </a:lnTo>
                  <a:lnTo>
                    <a:pt x="2332" y="209"/>
                  </a:lnTo>
                  <a:lnTo>
                    <a:pt x="2331" y="209"/>
                  </a:lnTo>
                  <a:lnTo>
                    <a:pt x="2328" y="206"/>
                  </a:lnTo>
                  <a:lnTo>
                    <a:pt x="2326" y="206"/>
                  </a:lnTo>
                  <a:lnTo>
                    <a:pt x="2325" y="205"/>
                  </a:lnTo>
                  <a:lnTo>
                    <a:pt x="2325" y="203"/>
                  </a:lnTo>
                  <a:lnTo>
                    <a:pt x="2325" y="202"/>
                  </a:lnTo>
                  <a:lnTo>
                    <a:pt x="2325" y="201"/>
                  </a:lnTo>
                  <a:lnTo>
                    <a:pt x="2326" y="201"/>
                  </a:lnTo>
                  <a:lnTo>
                    <a:pt x="2328" y="201"/>
                  </a:lnTo>
                  <a:lnTo>
                    <a:pt x="2330" y="200"/>
                  </a:lnTo>
                  <a:lnTo>
                    <a:pt x="2331" y="199"/>
                  </a:lnTo>
                  <a:lnTo>
                    <a:pt x="2332" y="198"/>
                  </a:lnTo>
                  <a:lnTo>
                    <a:pt x="2333" y="196"/>
                  </a:lnTo>
                  <a:lnTo>
                    <a:pt x="2336" y="196"/>
                  </a:lnTo>
                  <a:lnTo>
                    <a:pt x="2337" y="195"/>
                  </a:lnTo>
                  <a:lnTo>
                    <a:pt x="2339" y="195"/>
                  </a:lnTo>
                  <a:lnTo>
                    <a:pt x="2340" y="195"/>
                  </a:lnTo>
                  <a:lnTo>
                    <a:pt x="2340" y="194"/>
                  </a:lnTo>
                  <a:lnTo>
                    <a:pt x="2342" y="194"/>
                  </a:lnTo>
                  <a:lnTo>
                    <a:pt x="2342" y="193"/>
                  </a:lnTo>
                  <a:lnTo>
                    <a:pt x="2344" y="192"/>
                  </a:lnTo>
                  <a:lnTo>
                    <a:pt x="2345" y="191"/>
                  </a:lnTo>
                  <a:lnTo>
                    <a:pt x="2345" y="189"/>
                  </a:lnTo>
                  <a:lnTo>
                    <a:pt x="2346" y="188"/>
                  </a:lnTo>
                  <a:lnTo>
                    <a:pt x="2347" y="189"/>
                  </a:lnTo>
                  <a:lnTo>
                    <a:pt x="2351" y="189"/>
                  </a:lnTo>
                  <a:lnTo>
                    <a:pt x="2351" y="191"/>
                  </a:lnTo>
                  <a:lnTo>
                    <a:pt x="2352" y="191"/>
                  </a:lnTo>
                  <a:lnTo>
                    <a:pt x="2354" y="191"/>
                  </a:lnTo>
                  <a:lnTo>
                    <a:pt x="2357" y="191"/>
                  </a:lnTo>
                  <a:lnTo>
                    <a:pt x="2358" y="191"/>
                  </a:lnTo>
                  <a:lnTo>
                    <a:pt x="2359" y="191"/>
                  </a:lnTo>
                  <a:lnTo>
                    <a:pt x="2359" y="192"/>
                  </a:lnTo>
                  <a:lnTo>
                    <a:pt x="2360" y="192"/>
                  </a:lnTo>
                  <a:lnTo>
                    <a:pt x="2361" y="192"/>
                  </a:lnTo>
                  <a:lnTo>
                    <a:pt x="2363" y="192"/>
                  </a:lnTo>
                  <a:lnTo>
                    <a:pt x="2363" y="193"/>
                  </a:lnTo>
                  <a:lnTo>
                    <a:pt x="2361" y="194"/>
                  </a:lnTo>
                  <a:lnTo>
                    <a:pt x="2360" y="194"/>
                  </a:lnTo>
                  <a:lnTo>
                    <a:pt x="2359" y="195"/>
                  </a:lnTo>
                  <a:lnTo>
                    <a:pt x="2360" y="195"/>
                  </a:lnTo>
                  <a:lnTo>
                    <a:pt x="2361" y="195"/>
                  </a:lnTo>
                  <a:lnTo>
                    <a:pt x="2363" y="196"/>
                  </a:lnTo>
                  <a:lnTo>
                    <a:pt x="2363" y="195"/>
                  </a:lnTo>
                  <a:lnTo>
                    <a:pt x="2361" y="195"/>
                  </a:lnTo>
                  <a:lnTo>
                    <a:pt x="2360" y="195"/>
                  </a:lnTo>
                  <a:lnTo>
                    <a:pt x="2361" y="194"/>
                  </a:lnTo>
                  <a:lnTo>
                    <a:pt x="2363" y="194"/>
                  </a:lnTo>
                  <a:lnTo>
                    <a:pt x="2364" y="194"/>
                  </a:lnTo>
                  <a:lnTo>
                    <a:pt x="2365" y="194"/>
                  </a:lnTo>
                  <a:lnTo>
                    <a:pt x="2366" y="194"/>
                  </a:lnTo>
                  <a:lnTo>
                    <a:pt x="2367" y="194"/>
                  </a:lnTo>
                  <a:lnTo>
                    <a:pt x="2367" y="195"/>
                  </a:lnTo>
                  <a:lnTo>
                    <a:pt x="2367" y="196"/>
                  </a:lnTo>
                  <a:lnTo>
                    <a:pt x="2368" y="196"/>
                  </a:lnTo>
                  <a:lnTo>
                    <a:pt x="2370" y="198"/>
                  </a:lnTo>
                  <a:lnTo>
                    <a:pt x="2370" y="196"/>
                  </a:lnTo>
                  <a:lnTo>
                    <a:pt x="2368" y="196"/>
                  </a:lnTo>
                  <a:lnTo>
                    <a:pt x="2368" y="195"/>
                  </a:lnTo>
                  <a:lnTo>
                    <a:pt x="2367" y="194"/>
                  </a:lnTo>
                  <a:lnTo>
                    <a:pt x="2367" y="193"/>
                  </a:lnTo>
                  <a:lnTo>
                    <a:pt x="2367" y="192"/>
                  </a:lnTo>
                  <a:lnTo>
                    <a:pt x="2367" y="191"/>
                  </a:lnTo>
                  <a:lnTo>
                    <a:pt x="2367" y="189"/>
                  </a:lnTo>
                  <a:lnTo>
                    <a:pt x="2368" y="189"/>
                  </a:lnTo>
                  <a:lnTo>
                    <a:pt x="2368" y="188"/>
                  </a:lnTo>
                  <a:lnTo>
                    <a:pt x="2368" y="187"/>
                  </a:lnTo>
                  <a:lnTo>
                    <a:pt x="2370" y="187"/>
                  </a:lnTo>
                  <a:lnTo>
                    <a:pt x="2368" y="187"/>
                  </a:lnTo>
                  <a:lnTo>
                    <a:pt x="2368" y="186"/>
                  </a:lnTo>
                  <a:lnTo>
                    <a:pt x="2367" y="186"/>
                  </a:lnTo>
                  <a:lnTo>
                    <a:pt x="2367" y="185"/>
                  </a:lnTo>
                  <a:lnTo>
                    <a:pt x="2368" y="185"/>
                  </a:lnTo>
                  <a:lnTo>
                    <a:pt x="2368" y="184"/>
                  </a:lnTo>
                  <a:lnTo>
                    <a:pt x="2367" y="184"/>
                  </a:lnTo>
                  <a:lnTo>
                    <a:pt x="2367" y="182"/>
                  </a:lnTo>
                  <a:lnTo>
                    <a:pt x="2366" y="182"/>
                  </a:lnTo>
                  <a:lnTo>
                    <a:pt x="2365" y="181"/>
                  </a:lnTo>
                  <a:lnTo>
                    <a:pt x="2366" y="181"/>
                  </a:lnTo>
                  <a:lnTo>
                    <a:pt x="2365" y="181"/>
                  </a:lnTo>
                  <a:lnTo>
                    <a:pt x="2364" y="181"/>
                  </a:lnTo>
                  <a:lnTo>
                    <a:pt x="2364" y="180"/>
                  </a:lnTo>
                  <a:lnTo>
                    <a:pt x="2363" y="180"/>
                  </a:lnTo>
                  <a:lnTo>
                    <a:pt x="2361" y="180"/>
                  </a:lnTo>
                  <a:lnTo>
                    <a:pt x="2360" y="180"/>
                  </a:lnTo>
                  <a:lnTo>
                    <a:pt x="2359" y="180"/>
                  </a:lnTo>
                  <a:lnTo>
                    <a:pt x="2359" y="179"/>
                  </a:lnTo>
                  <a:lnTo>
                    <a:pt x="2359" y="178"/>
                  </a:lnTo>
                  <a:lnTo>
                    <a:pt x="2359" y="177"/>
                  </a:lnTo>
                  <a:lnTo>
                    <a:pt x="2359" y="174"/>
                  </a:lnTo>
                  <a:lnTo>
                    <a:pt x="2359" y="173"/>
                  </a:lnTo>
                  <a:lnTo>
                    <a:pt x="2360" y="173"/>
                  </a:lnTo>
                  <a:lnTo>
                    <a:pt x="2359" y="173"/>
                  </a:lnTo>
                  <a:lnTo>
                    <a:pt x="2359" y="172"/>
                  </a:lnTo>
                  <a:lnTo>
                    <a:pt x="2360" y="172"/>
                  </a:lnTo>
                  <a:lnTo>
                    <a:pt x="2359" y="171"/>
                  </a:lnTo>
                  <a:lnTo>
                    <a:pt x="2360" y="171"/>
                  </a:lnTo>
                  <a:lnTo>
                    <a:pt x="2360" y="170"/>
                  </a:lnTo>
                  <a:lnTo>
                    <a:pt x="2359" y="170"/>
                  </a:lnTo>
                  <a:lnTo>
                    <a:pt x="2359" y="168"/>
                  </a:lnTo>
                  <a:lnTo>
                    <a:pt x="2360" y="168"/>
                  </a:lnTo>
                  <a:lnTo>
                    <a:pt x="2361" y="168"/>
                  </a:lnTo>
                  <a:lnTo>
                    <a:pt x="2360" y="168"/>
                  </a:lnTo>
                  <a:lnTo>
                    <a:pt x="2359" y="168"/>
                  </a:lnTo>
                  <a:lnTo>
                    <a:pt x="2359" y="167"/>
                  </a:lnTo>
                  <a:lnTo>
                    <a:pt x="2359" y="166"/>
                  </a:lnTo>
                  <a:lnTo>
                    <a:pt x="2359" y="165"/>
                  </a:lnTo>
                  <a:lnTo>
                    <a:pt x="2358" y="165"/>
                  </a:lnTo>
                  <a:lnTo>
                    <a:pt x="2357" y="164"/>
                  </a:lnTo>
                  <a:lnTo>
                    <a:pt x="2352" y="163"/>
                  </a:lnTo>
                  <a:lnTo>
                    <a:pt x="2347" y="160"/>
                  </a:lnTo>
                  <a:lnTo>
                    <a:pt x="2346" y="160"/>
                  </a:lnTo>
                  <a:lnTo>
                    <a:pt x="2347" y="160"/>
                  </a:lnTo>
                  <a:lnTo>
                    <a:pt x="2349" y="160"/>
                  </a:lnTo>
                  <a:lnTo>
                    <a:pt x="2350" y="160"/>
                  </a:lnTo>
                  <a:lnTo>
                    <a:pt x="2351" y="160"/>
                  </a:lnTo>
                  <a:lnTo>
                    <a:pt x="2352" y="160"/>
                  </a:lnTo>
                  <a:lnTo>
                    <a:pt x="2352" y="161"/>
                  </a:lnTo>
                  <a:lnTo>
                    <a:pt x="2353" y="161"/>
                  </a:lnTo>
                  <a:lnTo>
                    <a:pt x="2354" y="161"/>
                  </a:lnTo>
                  <a:lnTo>
                    <a:pt x="2357" y="161"/>
                  </a:lnTo>
                  <a:lnTo>
                    <a:pt x="2360" y="161"/>
                  </a:lnTo>
                  <a:lnTo>
                    <a:pt x="2365" y="161"/>
                  </a:lnTo>
                  <a:lnTo>
                    <a:pt x="2368" y="161"/>
                  </a:lnTo>
                  <a:lnTo>
                    <a:pt x="2371" y="161"/>
                  </a:lnTo>
                  <a:lnTo>
                    <a:pt x="2374" y="163"/>
                  </a:lnTo>
                  <a:lnTo>
                    <a:pt x="2375" y="163"/>
                  </a:lnTo>
                  <a:lnTo>
                    <a:pt x="2375" y="164"/>
                  </a:lnTo>
                  <a:lnTo>
                    <a:pt x="2377" y="164"/>
                  </a:lnTo>
                  <a:lnTo>
                    <a:pt x="2377" y="165"/>
                  </a:lnTo>
                  <a:lnTo>
                    <a:pt x="2378" y="165"/>
                  </a:lnTo>
                  <a:lnTo>
                    <a:pt x="2379" y="166"/>
                  </a:lnTo>
                  <a:lnTo>
                    <a:pt x="2380" y="166"/>
                  </a:lnTo>
                  <a:lnTo>
                    <a:pt x="2381" y="166"/>
                  </a:lnTo>
                  <a:lnTo>
                    <a:pt x="2382" y="167"/>
                  </a:lnTo>
                  <a:lnTo>
                    <a:pt x="2384" y="167"/>
                  </a:lnTo>
                  <a:lnTo>
                    <a:pt x="2384" y="168"/>
                  </a:lnTo>
                  <a:lnTo>
                    <a:pt x="2384" y="170"/>
                  </a:lnTo>
                  <a:lnTo>
                    <a:pt x="2385" y="170"/>
                  </a:lnTo>
                  <a:lnTo>
                    <a:pt x="2386" y="170"/>
                  </a:lnTo>
                  <a:lnTo>
                    <a:pt x="2386" y="171"/>
                  </a:lnTo>
                  <a:lnTo>
                    <a:pt x="2386" y="172"/>
                  </a:lnTo>
                  <a:lnTo>
                    <a:pt x="2385" y="172"/>
                  </a:lnTo>
                  <a:lnTo>
                    <a:pt x="2385" y="171"/>
                  </a:lnTo>
                  <a:lnTo>
                    <a:pt x="2384" y="171"/>
                  </a:lnTo>
                  <a:lnTo>
                    <a:pt x="2382" y="171"/>
                  </a:lnTo>
                  <a:lnTo>
                    <a:pt x="2381" y="172"/>
                  </a:lnTo>
                  <a:lnTo>
                    <a:pt x="2379" y="172"/>
                  </a:lnTo>
                  <a:lnTo>
                    <a:pt x="2375" y="172"/>
                  </a:lnTo>
                  <a:lnTo>
                    <a:pt x="2374" y="172"/>
                  </a:lnTo>
                  <a:lnTo>
                    <a:pt x="2373" y="172"/>
                  </a:lnTo>
                  <a:lnTo>
                    <a:pt x="2372" y="173"/>
                  </a:lnTo>
                  <a:lnTo>
                    <a:pt x="2373" y="173"/>
                  </a:lnTo>
                  <a:lnTo>
                    <a:pt x="2373" y="174"/>
                  </a:lnTo>
                  <a:lnTo>
                    <a:pt x="2372" y="174"/>
                  </a:lnTo>
                  <a:lnTo>
                    <a:pt x="2371" y="174"/>
                  </a:lnTo>
                  <a:lnTo>
                    <a:pt x="2371" y="175"/>
                  </a:lnTo>
                  <a:lnTo>
                    <a:pt x="2370" y="175"/>
                  </a:lnTo>
                  <a:lnTo>
                    <a:pt x="2370" y="177"/>
                  </a:lnTo>
                  <a:lnTo>
                    <a:pt x="2370" y="178"/>
                  </a:lnTo>
                  <a:lnTo>
                    <a:pt x="2371" y="178"/>
                  </a:lnTo>
                  <a:lnTo>
                    <a:pt x="2372" y="179"/>
                  </a:lnTo>
                  <a:lnTo>
                    <a:pt x="2373" y="179"/>
                  </a:lnTo>
                  <a:lnTo>
                    <a:pt x="2374" y="179"/>
                  </a:lnTo>
                  <a:lnTo>
                    <a:pt x="2375" y="180"/>
                  </a:lnTo>
                  <a:lnTo>
                    <a:pt x="2377" y="180"/>
                  </a:lnTo>
                  <a:lnTo>
                    <a:pt x="2378" y="180"/>
                  </a:lnTo>
                  <a:lnTo>
                    <a:pt x="2379" y="181"/>
                  </a:lnTo>
                  <a:lnTo>
                    <a:pt x="2381" y="182"/>
                  </a:lnTo>
                  <a:lnTo>
                    <a:pt x="2381" y="184"/>
                  </a:lnTo>
                  <a:lnTo>
                    <a:pt x="2382" y="184"/>
                  </a:lnTo>
                  <a:lnTo>
                    <a:pt x="2384" y="185"/>
                  </a:lnTo>
                  <a:lnTo>
                    <a:pt x="2385" y="185"/>
                  </a:lnTo>
                  <a:lnTo>
                    <a:pt x="2387" y="185"/>
                  </a:lnTo>
                  <a:lnTo>
                    <a:pt x="2389" y="184"/>
                  </a:lnTo>
                  <a:lnTo>
                    <a:pt x="2390" y="185"/>
                  </a:lnTo>
                  <a:lnTo>
                    <a:pt x="2389" y="185"/>
                  </a:lnTo>
                  <a:lnTo>
                    <a:pt x="2389" y="186"/>
                  </a:lnTo>
                  <a:lnTo>
                    <a:pt x="2388" y="186"/>
                  </a:lnTo>
                  <a:lnTo>
                    <a:pt x="2389" y="186"/>
                  </a:lnTo>
                  <a:lnTo>
                    <a:pt x="2390" y="185"/>
                  </a:lnTo>
                  <a:lnTo>
                    <a:pt x="2393" y="185"/>
                  </a:lnTo>
                  <a:lnTo>
                    <a:pt x="2394" y="185"/>
                  </a:lnTo>
                  <a:lnTo>
                    <a:pt x="2399" y="184"/>
                  </a:lnTo>
                  <a:lnTo>
                    <a:pt x="2400" y="184"/>
                  </a:lnTo>
                  <a:lnTo>
                    <a:pt x="2400" y="185"/>
                  </a:lnTo>
                  <a:lnTo>
                    <a:pt x="2400" y="184"/>
                  </a:lnTo>
                  <a:lnTo>
                    <a:pt x="2401" y="184"/>
                  </a:lnTo>
                  <a:lnTo>
                    <a:pt x="2400" y="184"/>
                  </a:lnTo>
                  <a:lnTo>
                    <a:pt x="2400" y="182"/>
                  </a:lnTo>
                  <a:lnTo>
                    <a:pt x="2401" y="182"/>
                  </a:lnTo>
                  <a:lnTo>
                    <a:pt x="2401" y="181"/>
                  </a:lnTo>
                  <a:lnTo>
                    <a:pt x="2401" y="180"/>
                  </a:lnTo>
                  <a:lnTo>
                    <a:pt x="2400" y="180"/>
                  </a:lnTo>
                  <a:lnTo>
                    <a:pt x="2400" y="179"/>
                  </a:lnTo>
                  <a:lnTo>
                    <a:pt x="2400" y="178"/>
                  </a:lnTo>
                  <a:lnTo>
                    <a:pt x="2401" y="177"/>
                  </a:lnTo>
                  <a:lnTo>
                    <a:pt x="2401" y="175"/>
                  </a:lnTo>
                  <a:lnTo>
                    <a:pt x="2399" y="174"/>
                  </a:lnTo>
                  <a:lnTo>
                    <a:pt x="2401" y="173"/>
                  </a:lnTo>
                  <a:lnTo>
                    <a:pt x="2401" y="174"/>
                  </a:lnTo>
                  <a:lnTo>
                    <a:pt x="2402" y="174"/>
                  </a:lnTo>
                  <a:lnTo>
                    <a:pt x="2402" y="173"/>
                  </a:lnTo>
                  <a:lnTo>
                    <a:pt x="2403" y="173"/>
                  </a:lnTo>
                  <a:lnTo>
                    <a:pt x="2404" y="173"/>
                  </a:lnTo>
                  <a:lnTo>
                    <a:pt x="2406" y="173"/>
                  </a:lnTo>
                  <a:lnTo>
                    <a:pt x="2407" y="173"/>
                  </a:lnTo>
                  <a:lnTo>
                    <a:pt x="2408" y="173"/>
                  </a:lnTo>
                  <a:lnTo>
                    <a:pt x="2407" y="173"/>
                  </a:lnTo>
                  <a:lnTo>
                    <a:pt x="2409" y="173"/>
                  </a:lnTo>
                  <a:lnTo>
                    <a:pt x="2410" y="173"/>
                  </a:lnTo>
                  <a:lnTo>
                    <a:pt x="2410" y="174"/>
                  </a:lnTo>
                  <a:lnTo>
                    <a:pt x="2411" y="174"/>
                  </a:lnTo>
                  <a:lnTo>
                    <a:pt x="2411" y="173"/>
                  </a:lnTo>
                  <a:lnTo>
                    <a:pt x="2410" y="173"/>
                  </a:lnTo>
                  <a:lnTo>
                    <a:pt x="2409" y="173"/>
                  </a:lnTo>
                  <a:lnTo>
                    <a:pt x="2409" y="172"/>
                  </a:lnTo>
                  <a:lnTo>
                    <a:pt x="2408" y="173"/>
                  </a:lnTo>
                  <a:lnTo>
                    <a:pt x="2408" y="172"/>
                  </a:lnTo>
                  <a:lnTo>
                    <a:pt x="2408" y="171"/>
                  </a:lnTo>
                  <a:lnTo>
                    <a:pt x="2404" y="170"/>
                  </a:lnTo>
                  <a:lnTo>
                    <a:pt x="2406" y="170"/>
                  </a:lnTo>
                  <a:lnTo>
                    <a:pt x="2407" y="171"/>
                  </a:lnTo>
                  <a:lnTo>
                    <a:pt x="2408" y="171"/>
                  </a:lnTo>
                  <a:lnTo>
                    <a:pt x="2409" y="171"/>
                  </a:lnTo>
                  <a:lnTo>
                    <a:pt x="2410" y="171"/>
                  </a:lnTo>
                  <a:lnTo>
                    <a:pt x="2411" y="171"/>
                  </a:lnTo>
                  <a:lnTo>
                    <a:pt x="2413" y="171"/>
                  </a:lnTo>
                  <a:lnTo>
                    <a:pt x="2414" y="170"/>
                  </a:lnTo>
                  <a:lnTo>
                    <a:pt x="2415" y="170"/>
                  </a:lnTo>
                  <a:lnTo>
                    <a:pt x="2416" y="168"/>
                  </a:lnTo>
                  <a:lnTo>
                    <a:pt x="2418" y="167"/>
                  </a:lnTo>
                  <a:lnTo>
                    <a:pt x="2418" y="168"/>
                  </a:lnTo>
                  <a:lnTo>
                    <a:pt x="2417" y="168"/>
                  </a:lnTo>
                  <a:lnTo>
                    <a:pt x="2418" y="168"/>
                  </a:lnTo>
                  <a:lnTo>
                    <a:pt x="2418" y="167"/>
                  </a:lnTo>
                  <a:lnTo>
                    <a:pt x="2420" y="167"/>
                  </a:lnTo>
                  <a:lnTo>
                    <a:pt x="2420" y="166"/>
                  </a:lnTo>
                  <a:lnTo>
                    <a:pt x="2421" y="166"/>
                  </a:lnTo>
                  <a:lnTo>
                    <a:pt x="2422" y="166"/>
                  </a:lnTo>
                  <a:lnTo>
                    <a:pt x="2424" y="165"/>
                  </a:lnTo>
                  <a:lnTo>
                    <a:pt x="2424" y="164"/>
                  </a:lnTo>
                  <a:lnTo>
                    <a:pt x="2425" y="164"/>
                  </a:lnTo>
                  <a:lnTo>
                    <a:pt x="2427" y="164"/>
                  </a:lnTo>
                  <a:lnTo>
                    <a:pt x="2428" y="164"/>
                  </a:lnTo>
                  <a:lnTo>
                    <a:pt x="2429" y="164"/>
                  </a:lnTo>
                  <a:lnTo>
                    <a:pt x="2430" y="164"/>
                  </a:lnTo>
                  <a:lnTo>
                    <a:pt x="2431" y="163"/>
                  </a:lnTo>
                  <a:lnTo>
                    <a:pt x="2432" y="163"/>
                  </a:lnTo>
                  <a:lnTo>
                    <a:pt x="2434" y="163"/>
                  </a:lnTo>
                  <a:lnTo>
                    <a:pt x="2437" y="161"/>
                  </a:lnTo>
                  <a:lnTo>
                    <a:pt x="2438" y="161"/>
                  </a:lnTo>
                  <a:lnTo>
                    <a:pt x="2437" y="161"/>
                  </a:lnTo>
                  <a:lnTo>
                    <a:pt x="2437" y="163"/>
                  </a:lnTo>
                  <a:lnTo>
                    <a:pt x="2438" y="163"/>
                  </a:lnTo>
                  <a:lnTo>
                    <a:pt x="2439" y="163"/>
                  </a:lnTo>
                  <a:lnTo>
                    <a:pt x="2441" y="163"/>
                  </a:lnTo>
                  <a:lnTo>
                    <a:pt x="2439" y="163"/>
                  </a:lnTo>
                  <a:lnTo>
                    <a:pt x="2439" y="164"/>
                  </a:lnTo>
                  <a:lnTo>
                    <a:pt x="2438" y="164"/>
                  </a:lnTo>
                  <a:lnTo>
                    <a:pt x="2439" y="164"/>
                  </a:lnTo>
                  <a:lnTo>
                    <a:pt x="2441" y="165"/>
                  </a:lnTo>
                  <a:lnTo>
                    <a:pt x="2441" y="164"/>
                  </a:lnTo>
                  <a:lnTo>
                    <a:pt x="2442" y="164"/>
                  </a:lnTo>
                  <a:lnTo>
                    <a:pt x="2443" y="164"/>
                  </a:lnTo>
                  <a:lnTo>
                    <a:pt x="2444" y="163"/>
                  </a:lnTo>
                  <a:lnTo>
                    <a:pt x="2443" y="161"/>
                  </a:lnTo>
                  <a:lnTo>
                    <a:pt x="2442" y="161"/>
                  </a:lnTo>
                  <a:lnTo>
                    <a:pt x="2441" y="161"/>
                  </a:lnTo>
                  <a:lnTo>
                    <a:pt x="2441" y="160"/>
                  </a:lnTo>
                  <a:lnTo>
                    <a:pt x="2442" y="160"/>
                  </a:lnTo>
                  <a:lnTo>
                    <a:pt x="2441" y="160"/>
                  </a:lnTo>
                  <a:lnTo>
                    <a:pt x="2441" y="161"/>
                  </a:lnTo>
                  <a:lnTo>
                    <a:pt x="2439" y="161"/>
                  </a:lnTo>
                  <a:lnTo>
                    <a:pt x="2438" y="160"/>
                  </a:lnTo>
                  <a:lnTo>
                    <a:pt x="2439" y="160"/>
                  </a:lnTo>
                  <a:lnTo>
                    <a:pt x="2441" y="160"/>
                  </a:lnTo>
                  <a:lnTo>
                    <a:pt x="2443" y="158"/>
                  </a:lnTo>
                  <a:lnTo>
                    <a:pt x="2444" y="158"/>
                  </a:lnTo>
                  <a:lnTo>
                    <a:pt x="2445" y="158"/>
                  </a:lnTo>
                  <a:lnTo>
                    <a:pt x="2446" y="158"/>
                  </a:lnTo>
                  <a:lnTo>
                    <a:pt x="2446" y="157"/>
                  </a:lnTo>
                  <a:lnTo>
                    <a:pt x="2448" y="157"/>
                  </a:lnTo>
                  <a:lnTo>
                    <a:pt x="2449" y="157"/>
                  </a:lnTo>
                  <a:lnTo>
                    <a:pt x="2452" y="156"/>
                  </a:lnTo>
                  <a:lnTo>
                    <a:pt x="2454" y="156"/>
                  </a:lnTo>
                  <a:lnTo>
                    <a:pt x="2457" y="156"/>
                  </a:lnTo>
                  <a:lnTo>
                    <a:pt x="2459" y="156"/>
                  </a:lnTo>
                  <a:lnTo>
                    <a:pt x="2458" y="156"/>
                  </a:lnTo>
                  <a:lnTo>
                    <a:pt x="2454" y="157"/>
                  </a:lnTo>
                  <a:lnTo>
                    <a:pt x="2450" y="157"/>
                  </a:lnTo>
                  <a:lnTo>
                    <a:pt x="2451" y="157"/>
                  </a:lnTo>
                  <a:lnTo>
                    <a:pt x="2452" y="157"/>
                  </a:lnTo>
                  <a:lnTo>
                    <a:pt x="2451" y="157"/>
                  </a:lnTo>
                  <a:lnTo>
                    <a:pt x="2454" y="157"/>
                  </a:lnTo>
                  <a:lnTo>
                    <a:pt x="2454" y="158"/>
                  </a:lnTo>
                  <a:lnTo>
                    <a:pt x="2453" y="158"/>
                  </a:lnTo>
                  <a:lnTo>
                    <a:pt x="2453" y="159"/>
                  </a:lnTo>
                  <a:lnTo>
                    <a:pt x="2453" y="160"/>
                  </a:lnTo>
                  <a:lnTo>
                    <a:pt x="2454" y="161"/>
                  </a:lnTo>
                  <a:lnTo>
                    <a:pt x="2456" y="161"/>
                  </a:lnTo>
                  <a:lnTo>
                    <a:pt x="2456" y="163"/>
                  </a:lnTo>
                  <a:lnTo>
                    <a:pt x="2457" y="163"/>
                  </a:lnTo>
                  <a:lnTo>
                    <a:pt x="2457" y="164"/>
                  </a:lnTo>
                  <a:lnTo>
                    <a:pt x="2456" y="164"/>
                  </a:lnTo>
                  <a:lnTo>
                    <a:pt x="2454" y="164"/>
                  </a:lnTo>
                  <a:lnTo>
                    <a:pt x="2453" y="164"/>
                  </a:lnTo>
                  <a:lnTo>
                    <a:pt x="2454" y="164"/>
                  </a:lnTo>
                  <a:lnTo>
                    <a:pt x="2454" y="165"/>
                  </a:lnTo>
                  <a:lnTo>
                    <a:pt x="2454" y="164"/>
                  </a:lnTo>
                  <a:lnTo>
                    <a:pt x="2453" y="164"/>
                  </a:lnTo>
                  <a:lnTo>
                    <a:pt x="2452" y="164"/>
                  </a:lnTo>
                  <a:lnTo>
                    <a:pt x="2451" y="164"/>
                  </a:lnTo>
                  <a:lnTo>
                    <a:pt x="2451" y="165"/>
                  </a:lnTo>
                  <a:lnTo>
                    <a:pt x="2450" y="165"/>
                  </a:lnTo>
                  <a:lnTo>
                    <a:pt x="2451" y="165"/>
                  </a:lnTo>
                  <a:lnTo>
                    <a:pt x="2451" y="166"/>
                  </a:lnTo>
                  <a:lnTo>
                    <a:pt x="2452" y="166"/>
                  </a:lnTo>
                  <a:lnTo>
                    <a:pt x="2453" y="165"/>
                  </a:lnTo>
                  <a:lnTo>
                    <a:pt x="2457" y="165"/>
                  </a:lnTo>
                  <a:lnTo>
                    <a:pt x="2457" y="166"/>
                  </a:lnTo>
                  <a:lnTo>
                    <a:pt x="2458" y="166"/>
                  </a:lnTo>
                  <a:lnTo>
                    <a:pt x="2459" y="166"/>
                  </a:lnTo>
                  <a:lnTo>
                    <a:pt x="2459" y="165"/>
                  </a:lnTo>
                  <a:lnTo>
                    <a:pt x="2460" y="165"/>
                  </a:lnTo>
                  <a:lnTo>
                    <a:pt x="2460" y="166"/>
                  </a:lnTo>
                  <a:lnTo>
                    <a:pt x="2461" y="166"/>
                  </a:lnTo>
                  <a:lnTo>
                    <a:pt x="2463" y="165"/>
                  </a:lnTo>
                  <a:lnTo>
                    <a:pt x="2464" y="165"/>
                  </a:lnTo>
                  <a:lnTo>
                    <a:pt x="2465" y="166"/>
                  </a:lnTo>
                  <a:lnTo>
                    <a:pt x="2466" y="166"/>
                  </a:lnTo>
                  <a:lnTo>
                    <a:pt x="2467" y="166"/>
                  </a:lnTo>
                  <a:lnTo>
                    <a:pt x="2467" y="165"/>
                  </a:lnTo>
                  <a:lnTo>
                    <a:pt x="2466" y="165"/>
                  </a:lnTo>
                  <a:lnTo>
                    <a:pt x="2467" y="165"/>
                  </a:lnTo>
                  <a:lnTo>
                    <a:pt x="2467" y="164"/>
                  </a:lnTo>
                  <a:lnTo>
                    <a:pt x="2467" y="163"/>
                  </a:lnTo>
                  <a:lnTo>
                    <a:pt x="2468" y="163"/>
                  </a:lnTo>
                  <a:lnTo>
                    <a:pt x="2470" y="163"/>
                  </a:lnTo>
                  <a:lnTo>
                    <a:pt x="2470" y="161"/>
                  </a:lnTo>
                  <a:lnTo>
                    <a:pt x="2471" y="161"/>
                  </a:lnTo>
                  <a:lnTo>
                    <a:pt x="2472" y="161"/>
                  </a:lnTo>
                  <a:lnTo>
                    <a:pt x="2473" y="161"/>
                  </a:lnTo>
                  <a:lnTo>
                    <a:pt x="2474" y="160"/>
                  </a:lnTo>
                  <a:lnTo>
                    <a:pt x="2475" y="160"/>
                  </a:lnTo>
                  <a:lnTo>
                    <a:pt x="2477" y="160"/>
                  </a:lnTo>
                  <a:lnTo>
                    <a:pt x="2478" y="160"/>
                  </a:lnTo>
                  <a:lnTo>
                    <a:pt x="2479" y="160"/>
                  </a:lnTo>
                  <a:lnTo>
                    <a:pt x="2481" y="160"/>
                  </a:lnTo>
                  <a:lnTo>
                    <a:pt x="2481" y="161"/>
                  </a:lnTo>
                  <a:lnTo>
                    <a:pt x="2481" y="160"/>
                  </a:lnTo>
                  <a:lnTo>
                    <a:pt x="2482" y="160"/>
                  </a:lnTo>
                  <a:lnTo>
                    <a:pt x="2484" y="160"/>
                  </a:lnTo>
                  <a:lnTo>
                    <a:pt x="2486" y="161"/>
                  </a:lnTo>
                  <a:lnTo>
                    <a:pt x="2488" y="161"/>
                  </a:lnTo>
                  <a:lnTo>
                    <a:pt x="2491" y="161"/>
                  </a:lnTo>
                  <a:lnTo>
                    <a:pt x="2491" y="160"/>
                  </a:lnTo>
                  <a:lnTo>
                    <a:pt x="2492" y="159"/>
                  </a:lnTo>
                  <a:lnTo>
                    <a:pt x="2495" y="159"/>
                  </a:lnTo>
                  <a:lnTo>
                    <a:pt x="2495" y="158"/>
                  </a:lnTo>
                  <a:lnTo>
                    <a:pt x="2496" y="157"/>
                  </a:lnTo>
                  <a:lnTo>
                    <a:pt x="2498" y="157"/>
                  </a:lnTo>
                  <a:lnTo>
                    <a:pt x="2498" y="158"/>
                  </a:lnTo>
                  <a:lnTo>
                    <a:pt x="2499" y="158"/>
                  </a:lnTo>
                  <a:lnTo>
                    <a:pt x="2500" y="159"/>
                  </a:lnTo>
                  <a:lnTo>
                    <a:pt x="2500" y="158"/>
                  </a:lnTo>
                  <a:lnTo>
                    <a:pt x="2499" y="158"/>
                  </a:lnTo>
                  <a:lnTo>
                    <a:pt x="2498" y="158"/>
                  </a:lnTo>
                  <a:lnTo>
                    <a:pt x="2498" y="157"/>
                  </a:lnTo>
                  <a:lnTo>
                    <a:pt x="2501" y="156"/>
                  </a:lnTo>
                  <a:lnTo>
                    <a:pt x="2503" y="156"/>
                  </a:lnTo>
                  <a:lnTo>
                    <a:pt x="2507" y="156"/>
                  </a:lnTo>
                  <a:lnTo>
                    <a:pt x="2506" y="156"/>
                  </a:lnTo>
                  <a:lnTo>
                    <a:pt x="2505" y="156"/>
                  </a:lnTo>
                  <a:lnTo>
                    <a:pt x="2503" y="156"/>
                  </a:lnTo>
                  <a:lnTo>
                    <a:pt x="2503" y="157"/>
                  </a:lnTo>
                  <a:lnTo>
                    <a:pt x="2505" y="157"/>
                  </a:lnTo>
                  <a:lnTo>
                    <a:pt x="2506" y="157"/>
                  </a:lnTo>
                  <a:lnTo>
                    <a:pt x="2510" y="159"/>
                  </a:lnTo>
                  <a:lnTo>
                    <a:pt x="2509" y="159"/>
                  </a:lnTo>
                  <a:lnTo>
                    <a:pt x="2508" y="159"/>
                  </a:lnTo>
                  <a:lnTo>
                    <a:pt x="2508" y="160"/>
                  </a:lnTo>
                  <a:lnTo>
                    <a:pt x="2508" y="161"/>
                  </a:lnTo>
                  <a:lnTo>
                    <a:pt x="2509" y="161"/>
                  </a:lnTo>
                  <a:lnTo>
                    <a:pt x="2509" y="163"/>
                  </a:lnTo>
                  <a:lnTo>
                    <a:pt x="2509" y="164"/>
                  </a:lnTo>
                  <a:lnTo>
                    <a:pt x="2513" y="164"/>
                  </a:lnTo>
                  <a:lnTo>
                    <a:pt x="2516" y="164"/>
                  </a:lnTo>
                  <a:lnTo>
                    <a:pt x="2517" y="164"/>
                  </a:lnTo>
                  <a:lnTo>
                    <a:pt x="2517" y="163"/>
                  </a:lnTo>
                  <a:lnTo>
                    <a:pt x="2517" y="161"/>
                  </a:lnTo>
                  <a:lnTo>
                    <a:pt x="2516" y="161"/>
                  </a:lnTo>
                  <a:lnTo>
                    <a:pt x="2515" y="160"/>
                  </a:lnTo>
                  <a:lnTo>
                    <a:pt x="2515" y="159"/>
                  </a:lnTo>
                  <a:lnTo>
                    <a:pt x="2516" y="159"/>
                  </a:lnTo>
                  <a:lnTo>
                    <a:pt x="2517" y="159"/>
                  </a:lnTo>
                  <a:lnTo>
                    <a:pt x="2521" y="159"/>
                  </a:lnTo>
                  <a:lnTo>
                    <a:pt x="2522" y="159"/>
                  </a:lnTo>
                  <a:lnTo>
                    <a:pt x="2523" y="158"/>
                  </a:lnTo>
                  <a:lnTo>
                    <a:pt x="2523" y="157"/>
                  </a:lnTo>
                  <a:lnTo>
                    <a:pt x="2524" y="157"/>
                  </a:lnTo>
                  <a:lnTo>
                    <a:pt x="2525" y="157"/>
                  </a:lnTo>
                  <a:lnTo>
                    <a:pt x="2524" y="157"/>
                  </a:lnTo>
                  <a:lnTo>
                    <a:pt x="2524" y="156"/>
                  </a:lnTo>
                  <a:lnTo>
                    <a:pt x="2524" y="154"/>
                  </a:lnTo>
                  <a:lnTo>
                    <a:pt x="2523" y="154"/>
                  </a:lnTo>
                  <a:lnTo>
                    <a:pt x="2523" y="153"/>
                  </a:lnTo>
                  <a:lnTo>
                    <a:pt x="2522" y="153"/>
                  </a:lnTo>
                  <a:lnTo>
                    <a:pt x="2521" y="153"/>
                  </a:lnTo>
                  <a:lnTo>
                    <a:pt x="2521" y="154"/>
                  </a:lnTo>
                  <a:lnTo>
                    <a:pt x="2520" y="153"/>
                  </a:lnTo>
                  <a:lnTo>
                    <a:pt x="2518" y="152"/>
                  </a:lnTo>
                  <a:lnTo>
                    <a:pt x="2518" y="151"/>
                  </a:lnTo>
                  <a:lnTo>
                    <a:pt x="2517" y="151"/>
                  </a:lnTo>
                  <a:lnTo>
                    <a:pt x="2516" y="151"/>
                  </a:lnTo>
                  <a:lnTo>
                    <a:pt x="2516" y="150"/>
                  </a:lnTo>
                  <a:lnTo>
                    <a:pt x="2515" y="150"/>
                  </a:lnTo>
                  <a:lnTo>
                    <a:pt x="2514" y="149"/>
                  </a:lnTo>
                  <a:lnTo>
                    <a:pt x="2513" y="149"/>
                  </a:lnTo>
                  <a:lnTo>
                    <a:pt x="2513" y="147"/>
                  </a:lnTo>
                  <a:lnTo>
                    <a:pt x="2512" y="147"/>
                  </a:lnTo>
                  <a:lnTo>
                    <a:pt x="2512" y="146"/>
                  </a:lnTo>
                  <a:lnTo>
                    <a:pt x="2513" y="146"/>
                  </a:lnTo>
                  <a:lnTo>
                    <a:pt x="2516" y="146"/>
                  </a:lnTo>
                  <a:lnTo>
                    <a:pt x="2516" y="145"/>
                  </a:lnTo>
                  <a:lnTo>
                    <a:pt x="2516" y="144"/>
                  </a:lnTo>
                  <a:lnTo>
                    <a:pt x="2517" y="144"/>
                  </a:lnTo>
                  <a:lnTo>
                    <a:pt x="2518" y="144"/>
                  </a:lnTo>
                  <a:lnTo>
                    <a:pt x="2520" y="144"/>
                  </a:lnTo>
                  <a:lnTo>
                    <a:pt x="2521" y="144"/>
                  </a:lnTo>
                  <a:lnTo>
                    <a:pt x="2522" y="144"/>
                  </a:lnTo>
                  <a:lnTo>
                    <a:pt x="2523" y="145"/>
                  </a:lnTo>
                  <a:lnTo>
                    <a:pt x="2527" y="145"/>
                  </a:lnTo>
                  <a:lnTo>
                    <a:pt x="2531" y="145"/>
                  </a:lnTo>
                  <a:lnTo>
                    <a:pt x="2536" y="145"/>
                  </a:lnTo>
                  <a:lnTo>
                    <a:pt x="2539" y="146"/>
                  </a:lnTo>
                  <a:lnTo>
                    <a:pt x="2542" y="146"/>
                  </a:lnTo>
                  <a:lnTo>
                    <a:pt x="2544" y="146"/>
                  </a:lnTo>
                  <a:lnTo>
                    <a:pt x="2546" y="147"/>
                  </a:lnTo>
                  <a:lnTo>
                    <a:pt x="2549" y="147"/>
                  </a:lnTo>
                  <a:lnTo>
                    <a:pt x="2552" y="149"/>
                  </a:lnTo>
                  <a:lnTo>
                    <a:pt x="2556" y="149"/>
                  </a:lnTo>
                  <a:lnTo>
                    <a:pt x="2557" y="150"/>
                  </a:lnTo>
                  <a:lnTo>
                    <a:pt x="2559" y="150"/>
                  </a:lnTo>
                  <a:lnTo>
                    <a:pt x="2562" y="151"/>
                  </a:lnTo>
                  <a:lnTo>
                    <a:pt x="2563" y="151"/>
                  </a:lnTo>
                  <a:lnTo>
                    <a:pt x="2563" y="152"/>
                  </a:lnTo>
                  <a:lnTo>
                    <a:pt x="2562" y="151"/>
                  </a:lnTo>
                  <a:lnTo>
                    <a:pt x="2562" y="152"/>
                  </a:lnTo>
                  <a:lnTo>
                    <a:pt x="2562" y="153"/>
                  </a:lnTo>
                  <a:lnTo>
                    <a:pt x="2563" y="153"/>
                  </a:lnTo>
                  <a:lnTo>
                    <a:pt x="2563" y="152"/>
                  </a:lnTo>
                  <a:lnTo>
                    <a:pt x="2564" y="152"/>
                  </a:lnTo>
                  <a:lnTo>
                    <a:pt x="2569" y="153"/>
                  </a:lnTo>
                  <a:lnTo>
                    <a:pt x="2572" y="153"/>
                  </a:lnTo>
                  <a:lnTo>
                    <a:pt x="2573" y="153"/>
                  </a:lnTo>
                  <a:lnTo>
                    <a:pt x="2573" y="154"/>
                  </a:lnTo>
                  <a:lnTo>
                    <a:pt x="2572" y="154"/>
                  </a:lnTo>
                  <a:lnTo>
                    <a:pt x="2572" y="153"/>
                  </a:lnTo>
                  <a:lnTo>
                    <a:pt x="2571" y="153"/>
                  </a:lnTo>
                  <a:lnTo>
                    <a:pt x="2571" y="154"/>
                  </a:lnTo>
                  <a:lnTo>
                    <a:pt x="2572" y="154"/>
                  </a:lnTo>
                  <a:lnTo>
                    <a:pt x="2573" y="154"/>
                  </a:lnTo>
                  <a:lnTo>
                    <a:pt x="2574" y="154"/>
                  </a:lnTo>
                  <a:lnTo>
                    <a:pt x="2576" y="154"/>
                  </a:lnTo>
                  <a:lnTo>
                    <a:pt x="2577" y="154"/>
                  </a:lnTo>
                  <a:lnTo>
                    <a:pt x="2577" y="156"/>
                  </a:lnTo>
                  <a:lnTo>
                    <a:pt x="2578" y="156"/>
                  </a:lnTo>
                  <a:lnTo>
                    <a:pt x="2579" y="156"/>
                  </a:lnTo>
                  <a:lnTo>
                    <a:pt x="2582" y="157"/>
                  </a:lnTo>
                  <a:lnTo>
                    <a:pt x="2586" y="157"/>
                  </a:lnTo>
                  <a:lnTo>
                    <a:pt x="2587" y="157"/>
                  </a:lnTo>
                  <a:lnTo>
                    <a:pt x="2588" y="158"/>
                  </a:lnTo>
                  <a:lnTo>
                    <a:pt x="2587" y="158"/>
                  </a:lnTo>
                  <a:lnTo>
                    <a:pt x="2588" y="158"/>
                  </a:lnTo>
                  <a:lnTo>
                    <a:pt x="2588" y="159"/>
                  </a:lnTo>
                  <a:lnTo>
                    <a:pt x="2589" y="159"/>
                  </a:lnTo>
                  <a:lnTo>
                    <a:pt x="2591" y="159"/>
                  </a:lnTo>
                  <a:lnTo>
                    <a:pt x="2592" y="159"/>
                  </a:lnTo>
                  <a:lnTo>
                    <a:pt x="2592" y="160"/>
                  </a:lnTo>
                  <a:lnTo>
                    <a:pt x="2594" y="160"/>
                  </a:lnTo>
                  <a:lnTo>
                    <a:pt x="2598" y="163"/>
                  </a:lnTo>
                  <a:lnTo>
                    <a:pt x="2596" y="161"/>
                  </a:lnTo>
                  <a:lnTo>
                    <a:pt x="2598" y="163"/>
                  </a:lnTo>
                  <a:lnTo>
                    <a:pt x="2599" y="163"/>
                  </a:lnTo>
                  <a:lnTo>
                    <a:pt x="2601" y="163"/>
                  </a:lnTo>
                  <a:lnTo>
                    <a:pt x="2602" y="164"/>
                  </a:lnTo>
                  <a:lnTo>
                    <a:pt x="2603" y="164"/>
                  </a:lnTo>
                  <a:lnTo>
                    <a:pt x="2603" y="165"/>
                  </a:lnTo>
                  <a:lnTo>
                    <a:pt x="2603" y="166"/>
                  </a:lnTo>
                  <a:lnTo>
                    <a:pt x="2603" y="165"/>
                  </a:lnTo>
                  <a:lnTo>
                    <a:pt x="2605" y="165"/>
                  </a:lnTo>
                  <a:lnTo>
                    <a:pt x="2605" y="166"/>
                  </a:lnTo>
                  <a:lnTo>
                    <a:pt x="2606" y="166"/>
                  </a:lnTo>
                  <a:lnTo>
                    <a:pt x="2607" y="165"/>
                  </a:lnTo>
                  <a:lnTo>
                    <a:pt x="2608" y="165"/>
                  </a:lnTo>
                  <a:lnTo>
                    <a:pt x="2607" y="165"/>
                  </a:lnTo>
                  <a:lnTo>
                    <a:pt x="2607" y="164"/>
                  </a:lnTo>
                  <a:lnTo>
                    <a:pt x="2606" y="164"/>
                  </a:lnTo>
                  <a:lnTo>
                    <a:pt x="2607" y="164"/>
                  </a:lnTo>
                  <a:lnTo>
                    <a:pt x="2607" y="163"/>
                  </a:lnTo>
                  <a:lnTo>
                    <a:pt x="2608" y="160"/>
                  </a:lnTo>
                  <a:lnTo>
                    <a:pt x="2608" y="159"/>
                  </a:lnTo>
                  <a:lnTo>
                    <a:pt x="2608" y="158"/>
                  </a:lnTo>
                  <a:lnTo>
                    <a:pt x="2607" y="158"/>
                  </a:lnTo>
                  <a:lnTo>
                    <a:pt x="2608" y="158"/>
                  </a:lnTo>
                  <a:lnTo>
                    <a:pt x="2608" y="157"/>
                  </a:lnTo>
                  <a:lnTo>
                    <a:pt x="2607" y="157"/>
                  </a:lnTo>
                  <a:lnTo>
                    <a:pt x="2606" y="157"/>
                  </a:lnTo>
                  <a:lnTo>
                    <a:pt x="2607" y="157"/>
                  </a:lnTo>
                  <a:lnTo>
                    <a:pt x="2608" y="157"/>
                  </a:lnTo>
                  <a:lnTo>
                    <a:pt x="2607" y="157"/>
                  </a:lnTo>
                  <a:lnTo>
                    <a:pt x="2608" y="156"/>
                  </a:lnTo>
                  <a:lnTo>
                    <a:pt x="2606" y="156"/>
                  </a:lnTo>
                  <a:lnTo>
                    <a:pt x="2605" y="157"/>
                  </a:lnTo>
                  <a:lnTo>
                    <a:pt x="2603" y="157"/>
                  </a:lnTo>
                  <a:lnTo>
                    <a:pt x="2601" y="156"/>
                  </a:lnTo>
                  <a:lnTo>
                    <a:pt x="2600" y="156"/>
                  </a:lnTo>
                  <a:lnTo>
                    <a:pt x="2599" y="154"/>
                  </a:lnTo>
                  <a:lnTo>
                    <a:pt x="2595" y="152"/>
                  </a:lnTo>
                  <a:lnTo>
                    <a:pt x="2594" y="152"/>
                  </a:lnTo>
                  <a:lnTo>
                    <a:pt x="2593" y="151"/>
                  </a:lnTo>
                  <a:lnTo>
                    <a:pt x="2593" y="150"/>
                  </a:lnTo>
                  <a:lnTo>
                    <a:pt x="2593" y="149"/>
                  </a:lnTo>
                  <a:lnTo>
                    <a:pt x="2592" y="149"/>
                  </a:lnTo>
                  <a:lnTo>
                    <a:pt x="2592" y="147"/>
                  </a:lnTo>
                  <a:lnTo>
                    <a:pt x="2592" y="149"/>
                  </a:lnTo>
                  <a:lnTo>
                    <a:pt x="2589" y="149"/>
                  </a:lnTo>
                  <a:lnTo>
                    <a:pt x="2588" y="147"/>
                  </a:lnTo>
                  <a:lnTo>
                    <a:pt x="2587" y="147"/>
                  </a:lnTo>
                  <a:lnTo>
                    <a:pt x="2586" y="147"/>
                  </a:lnTo>
                  <a:lnTo>
                    <a:pt x="2585" y="147"/>
                  </a:lnTo>
                  <a:lnTo>
                    <a:pt x="2584" y="147"/>
                  </a:lnTo>
                  <a:lnTo>
                    <a:pt x="2581" y="146"/>
                  </a:lnTo>
                  <a:lnTo>
                    <a:pt x="2580" y="146"/>
                  </a:lnTo>
                  <a:lnTo>
                    <a:pt x="2580" y="147"/>
                  </a:lnTo>
                  <a:lnTo>
                    <a:pt x="2579" y="147"/>
                  </a:lnTo>
                  <a:lnTo>
                    <a:pt x="2581" y="149"/>
                  </a:lnTo>
                  <a:lnTo>
                    <a:pt x="2580" y="149"/>
                  </a:lnTo>
                  <a:lnTo>
                    <a:pt x="2579" y="147"/>
                  </a:lnTo>
                  <a:lnTo>
                    <a:pt x="2578" y="146"/>
                  </a:lnTo>
                  <a:lnTo>
                    <a:pt x="2578" y="145"/>
                  </a:lnTo>
                  <a:lnTo>
                    <a:pt x="2577" y="145"/>
                  </a:lnTo>
                  <a:lnTo>
                    <a:pt x="2577" y="144"/>
                  </a:lnTo>
                  <a:lnTo>
                    <a:pt x="2577" y="142"/>
                  </a:lnTo>
                  <a:lnTo>
                    <a:pt x="2578" y="142"/>
                  </a:lnTo>
                  <a:lnTo>
                    <a:pt x="2578" y="143"/>
                  </a:lnTo>
                  <a:lnTo>
                    <a:pt x="2579" y="143"/>
                  </a:lnTo>
                  <a:lnTo>
                    <a:pt x="2580" y="142"/>
                  </a:lnTo>
                  <a:lnTo>
                    <a:pt x="2580" y="140"/>
                  </a:lnTo>
                  <a:lnTo>
                    <a:pt x="2579" y="140"/>
                  </a:lnTo>
                  <a:lnTo>
                    <a:pt x="2579" y="139"/>
                  </a:lnTo>
                  <a:lnTo>
                    <a:pt x="2579" y="140"/>
                  </a:lnTo>
                  <a:lnTo>
                    <a:pt x="2578" y="139"/>
                  </a:lnTo>
                  <a:lnTo>
                    <a:pt x="2577" y="139"/>
                  </a:lnTo>
                  <a:lnTo>
                    <a:pt x="2577" y="138"/>
                  </a:lnTo>
                  <a:lnTo>
                    <a:pt x="2577" y="137"/>
                  </a:lnTo>
                  <a:lnTo>
                    <a:pt x="2577" y="136"/>
                  </a:lnTo>
                  <a:lnTo>
                    <a:pt x="2576" y="136"/>
                  </a:lnTo>
                  <a:lnTo>
                    <a:pt x="2576" y="135"/>
                  </a:lnTo>
                  <a:lnTo>
                    <a:pt x="2576" y="133"/>
                  </a:lnTo>
                  <a:lnTo>
                    <a:pt x="2576" y="132"/>
                  </a:lnTo>
                  <a:lnTo>
                    <a:pt x="2574" y="132"/>
                  </a:lnTo>
                  <a:lnTo>
                    <a:pt x="2574" y="131"/>
                  </a:lnTo>
                  <a:lnTo>
                    <a:pt x="2573" y="131"/>
                  </a:lnTo>
                  <a:lnTo>
                    <a:pt x="2572" y="131"/>
                  </a:lnTo>
                  <a:lnTo>
                    <a:pt x="2571" y="131"/>
                  </a:lnTo>
                  <a:lnTo>
                    <a:pt x="2570" y="132"/>
                  </a:lnTo>
                  <a:lnTo>
                    <a:pt x="2569" y="132"/>
                  </a:lnTo>
                  <a:lnTo>
                    <a:pt x="2567" y="131"/>
                  </a:lnTo>
                  <a:lnTo>
                    <a:pt x="2566" y="131"/>
                  </a:lnTo>
                  <a:lnTo>
                    <a:pt x="2566" y="130"/>
                  </a:lnTo>
                  <a:lnTo>
                    <a:pt x="2567" y="130"/>
                  </a:lnTo>
                  <a:lnTo>
                    <a:pt x="2567" y="129"/>
                  </a:lnTo>
                  <a:lnTo>
                    <a:pt x="2567" y="128"/>
                  </a:lnTo>
                  <a:lnTo>
                    <a:pt x="2566" y="128"/>
                  </a:lnTo>
                  <a:lnTo>
                    <a:pt x="2567" y="128"/>
                  </a:lnTo>
                  <a:lnTo>
                    <a:pt x="2566" y="128"/>
                  </a:lnTo>
                  <a:lnTo>
                    <a:pt x="2566" y="129"/>
                  </a:lnTo>
                  <a:lnTo>
                    <a:pt x="2567" y="129"/>
                  </a:lnTo>
                  <a:lnTo>
                    <a:pt x="2566" y="129"/>
                  </a:lnTo>
                  <a:lnTo>
                    <a:pt x="2565" y="129"/>
                  </a:lnTo>
                  <a:lnTo>
                    <a:pt x="2565" y="128"/>
                  </a:lnTo>
                  <a:lnTo>
                    <a:pt x="2566" y="126"/>
                  </a:lnTo>
                  <a:lnTo>
                    <a:pt x="2566" y="125"/>
                  </a:lnTo>
                  <a:lnTo>
                    <a:pt x="2567" y="125"/>
                  </a:lnTo>
                  <a:lnTo>
                    <a:pt x="2569" y="124"/>
                  </a:lnTo>
                  <a:lnTo>
                    <a:pt x="2570" y="124"/>
                  </a:lnTo>
                  <a:lnTo>
                    <a:pt x="2571" y="124"/>
                  </a:lnTo>
                  <a:lnTo>
                    <a:pt x="2572" y="124"/>
                  </a:lnTo>
                  <a:lnTo>
                    <a:pt x="2572" y="123"/>
                  </a:lnTo>
                  <a:lnTo>
                    <a:pt x="2573" y="123"/>
                  </a:lnTo>
                  <a:lnTo>
                    <a:pt x="2573" y="122"/>
                  </a:lnTo>
                  <a:lnTo>
                    <a:pt x="2574" y="122"/>
                  </a:lnTo>
                  <a:lnTo>
                    <a:pt x="2576" y="121"/>
                  </a:lnTo>
                  <a:lnTo>
                    <a:pt x="2577" y="119"/>
                  </a:lnTo>
                  <a:lnTo>
                    <a:pt x="2577" y="121"/>
                  </a:lnTo>
                  <a:lnTo>
                    <a:pt x="2577" y="119"/>
                  </a:lnTo>
                  <a:lnTo>
                    <a:pt x="2577" y="118"/>
                  </a:lnTo>
                  <a:lnTo>
                    <a:pt x="2577" y="117"/>
                  </a:lnTo>
                  <a:lnTo>
                    <a:pt x="2577" y="116"/>
                  </a:lnTo>
                  <a:lnTo>
                    <a:pt x="2577" y="115"/>
                  </a:lnTo>
                  <a:lnTo>
                    <a:pt x="2577" y="114"/>
                  </a:lnTo>
                  <a:lnTo>
                    <a:pt x="2576" y="112"/>
                  </a:lnTo>
                  <a:lnTo>
                    <a:pt x="2577" y="111"/>
                  </a:lnTo>
                  <a:lnTo>
                    <a:pt x="2576" y="111"/>
                  </a:lnTo>
                  <a:lnTo>
                    <a:pt x="2576" y="110"/>
                  </a:lnTo>
                  <a:lnTo>
                    <a:pt x="2576" y="109"/>
                  </a:lnTo>
                  <a:lnTo>
                    <a:pt x="2574" y="109"/>
                  </a:lnTo>
                  <a:lnTo>
                    <a:pt x="2576" y="109"/>
                  </a:lnTo>
                  <a:lnTo>
                    <a:pt x="2574" y="108"/>
                  </a:lnTo>
                  <a:lnTo>
                    <a:pt x="2576" y="108"/>
                  </a:lnTo>
                  <a:lnTo>
                    <a:pt x="2574" y="108"/>
                  </a:lnTo>
                  <a:lnTo>
                    <a:pt x="2574" y="107"/>
                  </a:lnTo>
                  <a:lnTo>
                    <a:pt x="2576" y="107"/>
                  </a:lnTo>
                  <a:lnTo>
                    <a:pt x="2576" y="105"/>
                  </a:lnTo>
                  <a:lnTo>
                    <a:pt x="2576" y="104"/>
                  </a:lnTo>
                  <a:lnTo>
                    <a:pt x="2577" y="103"/>
                  </a:lnTo>
                  <a:lnTo>
                    <a:pt x="2580" y="103"/>
                  </a:lnTo>
                  <a:lnTo>
                    <a:pt x="2580" y="104"/>
                  </a:lnTo>
                  <a:lnTo>
                    <a:pt x="2578" y="104"/>
                  </a:lnTo>
                  <a:lnTo>
                    <a:pt x="2579" y="104"/>
                  </a:lnTo>
                  <a:lnTo>
                    <a:pt x="2581" y="104"/>
                  </a:lnTo>
                  <a:lnTo>
                    <a:pt x="2584" y="104"/>
                  </a:lnTo>
                  <a:lnTo>
                    <a:pt x="2589" y="104"/>
                  </a:lnTo>
                  <a:lnTo>
                    <a:pt x="2593" y="104"/>
                  </a:lnTo>
                  <a:lnTo>
                    <a:pt x="2595" y="104"/>
                  </a:lnTo>
                  <a:lnTo>
                    <a:pt x="2596" y="104"/>
                  </a:lnTo>
                  <a:lnTo>
                    <a:pt x="2598" y="104"/>
                  </a:lnTo>
                  <a:lnTo>
                    <a:pt x="2599" y="104"/>
                  </a:lnTo>
                  <a:lnTo>
                    <a:pt x="2602" y="105"/>
                  </a:lnTo>
                  <a:lnTo>
                    <a:pt x="2601" y="105"/>
                  </a:lnTo>
                  <a:lnTo>
                    <a:pt x="2603" y="105"/>
                  </a:lnTo>
                  <a:lnTo>
                    <a:pt x="2606" y="105"/>
                  </a:lnTo>
                  <a:lnTo>
                    <a:pt x="2608" y="105"/>
                  </a:lnTo>
                  <a:lnTo>
                    <a:pt x="2609" y="107"/>
                  </a:lnTo>
                  <a:lnTo>
                    <a:pt x="2612" y="107"/>
                  </a:lnTo>
                  <a:lnTo>
                    <a:pt x="2610" y="107"/>
                  </a:lnTo>
                  <a:lnTo>
                    <a:pt x="2610" y="108"/>
                  </a:lnTo>
                  <a:lnTo>
                    <a:pt x="2612" y="108"/>
                  </a:lnTo>
                  <a:lnTo>
                    <a:pt x="2612" y="109"/>
                  </a:lnTo>
                  <a:lnTo>
                    <a:pt x="2613" y="109"/>
                  </a:lnTo>
                  <a:lnTo>
                    <a:pt x="2614" y="109"/>
                  </a:lnTo>
                  <a:lnTo>
                    <a:pt x="2614" y="110"/>
                  </a:lnTo>
                  <a:lnTo>
                    <a:pt x="2614" y="111"/>
                  </a:lnTo>
                  <a:lnTo>
                    <a:pt x="2615" y="111"/>
                  </a:lnTo>
                  <a:lnTo>
                    <a:pt x="2615" y="112"/>
                  </a:lnTo>
                  <a:lnTo>
                    <a:pt x="2616" y="112"/>
                  </a:lnTo>
                  <a:lnTo>
                    <a:pt x="2615" y="114"/>
                  </a:lnTo>
                  <a:lnTo>
                    <a:pt x="2616" y="115"/>
                  </a:lnTo>
                  <a:lnTo>
                    <a:pt x="2615" y="115"/>
                  </a:lnTo>
                  <a:lnTo>
                    <a:pt x="2615" y="116"/>
                  </a:lnTo>
                  <a:lnTo>
                    <a:pt x="2616" y="116"/>
                  </a:lnTo>
                  <a:lnTo>
                    <a:pt x="2616" y="117"/>
                  </a:lnTo>
                  <a:lnTo>
                    <a:pt x="2615" y="117"/>
                  </a:lnTo>
                  <a:lnTo>
                    <a:pt x="2615" y="118"/>
                  </a:lnTo>
                  <a:lnTo>
                    <a:pt x="2615" y="119"/>
                  </a:lnTo>
                  <a:lnTo>
                    <a:pt x="2616" y="119"/>
                  </a:lnTo>
                  <a:lnTo>
                    <a:pt x="2615" y="119"/>
                  </a:lnTo>
                  <a:lnTo>
                    <a:pt x="2615" y="121"/>
                  </a:lnTo>
                  <a:lnTo>
                    <a:pt x="2615" y="122"/>
                  </a:lnTo>
                  <a:lnTo>
                    <a:pt x="2614" y="122"/>
                  </a:lnTo>
                  <a:lnTo>
                    <a:pt x="2613" y="122"/>
                  </a:lnTo>
                  <a:lnTo>
                    <a:pt x="2613" y="123"/>
                  </a:lnTo>
                  <a:lnTo>
                    <a:pt x="2614" y="123"/>
                  </a:lnTo>
                  <a:lnTo>
                    <a:pt x="2614" y="124"/>
                  </a:lnTo>
                  <a:lnTo>
                    <a:pt x="2615" y="124"/>
                  </a:lnTo>
                  <a:lnTo>
                    <a:pt x="2617" y="125"/>
                  </a:lnTo>
                  <a:lnTo>
                    <a:pt x="2623" y="126"/>
                  </a:lnTo>
                  <a:lnTo>
                    <a:pt x="2624" y="128"/>
                  </a:lnTo>
                  <a:lnTo>
                    <a:pt x="2624" y="129"/>
                  </a:lnTo>
                  <a:lnTo>
                    <a:pt x="2626" y="129"/>
                  </a:lnTo>
                  <a:lnTo>
                    <a:pt x="2627" y="129"/>
                  </a:lnTo>
                  <a:lnTo>
                    <a:pt x="2627" y="130"/>
                  </a:lnTo>
                  <a:lnTo>
                    <a:pt x="2628" y="130"/>
                  </a:lnTo>
                  <a:lnTo>
                    <a:pt x="2629" y="131"/>
                  </a:lnTo>
                  <a:lnTo>
                    <a:pt x="2629" y="132"/>
                  </a:lnTo>
                  <a:lnTo>
                    <a:pt x="2629" y="133"/>
                  </a:lnTo>
                  <a:lnTo>
                    <a:pt x="2629" y="135"/>
                  </a:lnTo>
                  <a:lnTo>
                    <a:pt x="2630" y="135"/>
                  </a:lnTo>
                  <a:lnTo>
                    <a:pt x="2631" y="136"/>
                  </a:lnTo>
                  <a:lnTo>
                    <a:pt x="2631" y="137"/>
                  </a:lnTo>
                  <a:lnTo>
                    <a:pt x="2630" y="137"/>
                  </a:lnTo>
                  <a:lnTo>
                    <a:pt x="2630" y="138"/>
                  </a:lnTo>
                  <a:lnTo>
                    <a:pt x="2629" y="138"/>
                  </a:lnTo>
                  <a:lnTo>
                    <a:pt x="2630" y="138"/>
                  </a:lnTo>
                  <a:lnTo>
                    <a:pt x="2630" y="139"/>
                  </a:lnTo>
                  <a:lnTo>
                    <a:pt x="2633" y="139"/>
                  </a:lnTo>
                  <a:lnTo>
                    <a:pt x="2633" y="140"/>
                  </a:lnTo>
                  <a:lnTo>
                    <a:pt x="2633" y="142"/>
                  </a:lnTo>
                  <a:lnTo>
                    <a:pt x="2634" y="143"/>
                  </a:lnTo>
                  <a:lnTo>
                    <a:pt x="2635" y="143"/>
                  </a:lnTo>
                  <a:lnTo>
                    <a:pt x="2636" y="144"/>
                  </a:lnTo>
                  <a:lnTo>
                    <a:pt x="2636" y="145"/>
                  </a:lnTo>
                  <a:lnTo>
                    <a:pt x="2636" y="146"/>
                  </a:lnTo>
                  <a:lnTo>
                    <a:pt x="2636" y="147"/>
                  </a:lnTo>
                  <a:lnTo>
                    <a:pt x="2637" y="147"/>
                  </a:lnTo>
                  <a:lnTo>
                    <a:pt x="2638" y="149"/>
                  </a:lnTo>
                  <a:lnTo>
                    <a:pt x="2638" y="150"/>
                  </a:lnTo>
                  <a:lnTo>
                    <a:pt x="2637" y="150"/>
                  </a:lnTo>
                  <a:lnTo>
                    <a:pt x="2638" y="150"/>
                  </a:lnTo>
                  <a:lnTo>
                    <a:pt x="2640" y="151"/>
                  </a:lnTo>
                  <a:lnTo>
                    <a:pt x="2641" y="151"/>
                  </a:lnTo>
                  <a:lnTo>
                    <a:pt x="2641" y="152"/>
                  </a:lnTo>
                  <a:lnTo>
                    <a:pt x="2640" y="152"/>
                  </a:lnTo>
                  <a:lnTo>
                    <a:pt x="2640" y="153"/>
                  </a:lnTo>
                  <a:lnTo>
                    <a:pt x="2641" y="154"/>
                  </a:lnTo>
                  <a:lnTo>
                    <a:pt x="2642" y="156"/>
                  </a:lnTo>
                  <a:lnTo>
                    <a:pt x="2643" y="157"/>
                  </a:lnTo>
                  <a:lnTo>
                    <a:pt x="2644" y="157"/>
                  </a:lnTo>
                  <a:lnTo>
                    <a:pt x="2646" y="158"/>
                  </a:lnTo>
                  <a:lnTo>
                    <a:pt x="2649" y="159"/>
                  </a:lnTo>
                  <a:lnTo>
                    <a:pt x="2656" y="161"/>
                  </a:lnTo>
                  <a:lnTo>
                    <a:pt x="2657" y="161"/>
                  </a:lnTo>
                  <a:lnTo>
                    <a:pt x="2657" y="163"/>
                  </a:lnTo>
                  <a:lnTo>
                    <a:pt x="2658" y="163"/>
                  </a:lnTo>
                  <a:lnTo>
                    <a:pt x="2657" y="163"/>
                  </a:lnTo>
                  <a:lnTo>
                    <a:pt x="2656" y="163"/>
                  </a:lnTo>
                  <a:lnTo>
                    <a:pt x="2656" y="164"/>
                  </a:lnTo>
                  <a:lnTo>
                    <a:pt x="2656" y="165"/>
                  </a:lnTo>
                  <a:lnTo>
                    <a:pt x="2655" y="166"/>
                  </a:lnTo>
                  <a:lnTo>
                    <a:pt x="2653" y="166"/>
                  </a:lnTo>
                  <a:lnTo>
                    <a:pt x="2655" y="166"/>
                  </a:lnTo>
                  <a:lnTo>
                    <a:pt x="2655" y="167"/>
                  </a:lnTo>
                  <a:lnTo>
                    <a:pt x="2656" y="168"/>
                  </a:lnTo>
                  <a:lnTo>
                    <a:pt x="2657" y="168"/>
                  </a:lnTo>
                  <a:lnTo>
                    <a:pt x="2657" y="170"/>
                  </a:lnTo>
                  <a:lnTo>
                    <a:pt x="2658" y="170"/>
                  </a:lnTo>
                  <a:lnTo>
                    <a:pt x="2658" y="171"/>
                  </a:lnTo>
                  <a:lnTo>
                    <a:pt x="2657" y="171"/>
                  </a:lnTo>
                  <a:lnTo>
                    <a:pt x="2657" y="172"/>
                  </a:lnTo>
                  <a:lnTo>
                    <a:pt x="2658" y="172"/>
                  </a:lnTo>
                  <a:lnTo>
                    <a:pt x="2658" y="173"/>
                  </a:lnTo>
                  <a:lnTo>
                    <a:pt x="2657" y="173"/>
                  </a:lnTo>
                  <a:lnTo>
                    <a:pt x="2656" y="173"/>
                  </a:lnTo>
                  <a:lnTo>
                    <a:pt x="2657" y="173"/>
                  </a:lnTo>
                  <a:lnTo>
                    <a:pt x="2656" y="174"/>
                  </a:lnTo>
                  <a:lnTo>
                    <a:pt x="2653" y="174"/>
                  </a:lnTo>
                  <a:lnTo>
                    <a:pt x="2653" y="175"/>
                  </a:lnTo>
                  <a:lnTo>
                    <a:pt x="2653" y="177"/>
                  </a:lnTo>
                  <a:lnTo>
                    <a:pt x="2655" y="177"/>
                  </a:lnTo>
                  <a:lnTo>
                    <a:pt x="2655" y="178"/>
                  </a:lnTo>
                  <a:lnTo>
                    <a:pt x="2653" y="178"/>
                  </a:lnTo>
                  <a:lnTo>
                    <a:pt x="2652" y="178"/>
                  </a:lnTo>
                  <a:lnTo>
                    <a:pt x="2651" y="178"/>
                  </a:lnTo>
                  <a:lnTo>
                    <a:pt x="2651" y="179"/>
                  </a:lnTo>
                  <a:lnTo>
                    <a:pt x="2652" y="179"/>
                  </a:lnTo>
                  <a:lnTo>
                    <a:pt x="2653" y="179"/>
                  </a:lnTo>
                  <a:lnTo>
                    <a:pt x="2653" y="180"/>
                  </a:lnTo>
                  <a:lnTo>
                    <a:pt x="2652" y="180"/>
                  </a:lnTo>
                  <a:lnTo>
                    <a:pt x="2653" y="180"/>
                  </a:lnTo>
                  <a:lnTo>
                    <a:pt x="2651" y="180"/>
                  </a:lnTo>
                  <a:lnTo>
                    <a:pt x="2651" y="181"/>
                  </a:lnTo>
                  <a:lnTo>
                    <a:pt x="2652" y="181"/>
                  </a:lnTo>
                  <a:lnTo>
                    <a:pt x="2652" y="182"/>
                  </a:lnTo>
                  <a:lnTo>
                    <a:pt x="2651" y="182"/>
                  </a:lnTo>
                  <a:lnTo>
                    <a:pt x="2651" y="184"/>
                  </a:lnTo>
                  <a:lnTo>
                    <a:pt x="2650" y="184"/>
                  </a:lnTo>
                  <a:lnTo>
                    <a:pt x="2649" y="184"/>
                  </a:lnTo>
                  <a:lnTo>
                    <a:pt x="2648" y="184"/>
                  </a:lnTo>
                  <a:lnTo>
                    <a:pt x="2648" y="182"/>
                  </a:lnTo>
                  <a:lnTo>
                    <a:pt x="2646" y="182"/>
                  </a:lnTo>
                  <a:lnTo>
                    <a:pt x="2646" y="184"/>
                  </a:lnTo>
                  <a:lnTo>
                    <a:pt x="2648" y="184"/>
                  </a:lnTo>
                  <a:lnTo>
                    <a:pt x="2649" y="184"/>
                  </a:lnTo>
                  <a:lnTo>
                    <a:pt x="2649" y="185"/>
                  </a:lnTo>
                  <a:lnTo>
                    <a:pt x="2650" y="185"/>
                  </a:lnTo>
                  <a:lnTo>
                    <a:pt x="2650" y="186"/>
                  </a:lnTo>
                  <a:lnTo>
                    <a:pt x="2651" y="186"/>
                  </a:lnTo>
                  <a:lnTo>
                    <a:pt x="2651" y="187"/>
                  </a:lnTo>
                  <a:lnTo>
                    <a:pt x="2650" y="187"/>
                  </a:lnTo>
                  <a:lnTo>
                    <a:pt x="2649" y="187"/>
                  </a:lnTo>
                  <a:lnTo>
                    <a:pt x="2648" y="187"/>
                  </a:lnTo>
                  <a:lnTo>
                    <a:pt x="2646" y="187"/>
                  </a:lnTo>
                  <a:lnTo>
                    <a:pt x="2648" y="187"/>
                  </a:lnTo>
                  <a:lnTo>
                    <a:pt x="2646" y="187"/>
                  </a:lnTo>
                  <a:lnTo>
                    <a:pt x="2646" y="188"/>
                  </a:lnTo>
                  <a:lnTo>
                    <a:pt x="2645" y="188"/>
                  </a:lnTo>
                  <a:lnTo>
                    <a:pt x="2646" y="188"/>
                  </a:lnTo>
                  <a:lnTo>
                    <a:pt x="2645" y="188"/>
                  </a:lnTo>
                  <a:lnTo>
                    <a:pt x="2646" y="188"/>
                  </a:lnTo>
                  <a:lnTo>
                    <a:pt x="2643" y="189"/>
                  </a:lnTo>
                  <a:lnTo>
                    <a:pt x="2640" y="188"/>
                  </a:lnTo>
                  <a:lnTo>
                    <a:pt x="2638" y="188"/>
                  </a:lnTo>
                  <a:lnTo>
                    <a:pt x="2638" y="187"/>
                  </a:lnTo>
                  <a:lnTo>
                    <a:pt x="2640" y="187"/>
                  </a:lnTo>
                  <a:lnTo>
                    <a:pt x="2641" y="187"/>
                  </a:lnTo>
                  <a:lnTo>
                    <a:pt x="2641" y="186"/>
                  </a:lnTo>
                  <a:lnTo>
                    <a:pt x="2642" y="186"/>
                  </a:lnTo>
                  <a:lnTo>
                    <a:pt x="2641" y="186"/>
                  </a:lnTo>
                  <a:lnTo>
                    <a:pt x="2640" y="186"/>
                  </a:lnTo>
                  <a:lnTo>
                    <a:pt x="2641" y="186"/>
                  </a:lnTo>
                  <a:lnTo>
                    <a:pt x="2640" y="186"/>
                  </a:lnTo>
                  <a:lnTo>
                    <a:pt x="2640" y="187"/>
                  </a:lnTo>
                  <a:lnTo>
                    <a:pt x="2638" y="187"/>
                  </a:lnTo>
                  <a:lnTo>
                    <a:pt x="2637" y="187"/>
                  </a:lnTo>
                  <a:lnTo>
                    <a:pt x="2636" y="186"/>
                  </a:lnTo>
                  <a:lnTo>
                    <a:pt x="2635" y="186"/>
                  </a:lnTo>
                  <a:lnTo>
                    <a:pt x="2634" y="185"/>
                  </a:lnTo>
                  <a:lnTo>
                    <a:pt x="2633" y="185"/>
                  </a:lnTo>
                  <a:lnTo>
                    <a:pt x="2631" y="185"/>
                  </a:lnTo>
                  <a:lnTo>
                    <a:pt x="2633" y="185"/>
                  </a:lnTo>
                  <a:lnTo>
                    <a:pt x="2631" y="185"/>
                  </a:lnTo>
                  <a:lnTo>
                    <a:pt x="2630" y="185"/>
                  </a:lnTo>
                  <a:lnTo>
                    <a:pt x="2629" y="185"/>
                  </a:lnTo>
                  <a:lnTo>
                    <a:pt x="2630" y="185"/>
                  </a:lnTo>
                  <a:lnTo>
                    <a:pt x="2629" y="185"/>
                  </a:lnTo>
                  <a:lnTo>
                    <a:pt x="2627" y="185"/>
                  </a:lnTo>
                  <a:lnTo>
                    <a:pt x="2624" y="185"/>
                  </a:lnTo>
                  <a:lnTo>
                    <a:pt x="2623" y="185"/>
                  </a:lnTo>
                  <a:lnTo>
                    <a:pt x="2623" y="186"/>
                  </a:lnTo>
                  <a:lnTo>
                    <a:pt x="2624" y="186"/>
                  </a:lnTo>
                  <a:lnTo>
                    <a:pt x="2626" y="186"/>
                  </a:lnTo>
                  <a:lnTo>
                    <a:pt x="2626" y="187"/>
                  </a:lnTo>
                  <a:lnTo>
                    <a:pt x="2627" y="188"/>
                  </a:lnTo>
                  <a:lnTo>
                    <a:pt x="2629" y="189"/>
                  </a:lnTo>
                  <a:lnTo>
                    <a:pt x="2630" y="189"/>
                  </a:lnTo>
                  <a:lnTo>
                    <a:pt x="2633" y="189"/>
                  </a:lnTo>
                  <a:lnTo>
                    <a:pt x="2634" y="189"/>
                  </a:lnTo>
                  <a:lnTo>
                    <a:pt x="2635" y="189"/>
                  </a:lnTo>
                  <a:lnTo>
                    <a:pt x="2635" y="191"/>
                  </a:lnTo>
                  <a:lnTo>
                    <a:pt x="2636" y="191"/>
                  </a:lnTo>
                  <a:lnTo>
                    <a:pt x="2640" y="191"/>
                  </a:lnTo>
                  <a:lnTo>
                    <a:pt x="2641" y="192"/>
                  </a:lnTo>
                  <a:lnTo>
                    <a:pt x="2644" y="192"/>
                  </a:lnTo>
                  <a:lnTo>
                    <a:pt x="2646" y="192"/>
                  </a:lnTo>
                  <a:lnTo>
                    <a:pt x="2649" y="191"/>
                  </a:lnTo>
                  <a:lnTo>
                    <a:pt x="2651" y="192"/>
                  </a:lnTo>
                  <a:lnTo>
                    <a:pt x="2652" y="192"/>
                  </a:lnTo>
                  <a:lnTo>
                    <a:pt x="2653" y="192"/>
                  </a:lnTo>
                  <a:lnTo>
                    <a:pt x="2655" y="192"/>
                  </a:lnTo>
                  <a:lnTo>
                    <a:pt x="2656" y="192"/>
                  </a:lnTo>
                  <a:lnTo>
                    <a:pt x="2657" y="193"/>
                  </a:lnTo>
                  <a:lnTo>
                    <a:pt x="2658" y="193"/>
                  </a:lnTo>
                  <a:lnTo>
                    <a:pt x="2659" y="193"/>
                  </a:lnTo>
                  <a:lnTo>
                    <a:pt x="2660" y="193"/>
                  </a:lnTo>
                  <a:lnTo>
                    <a:pt x="2662" y="192"/>
                  </a:lnTo>
                  <a:lnTo>
                    <a:pt x="2662" y="191"/>
                  </a:lnTo>
                  <a:lnTo>
                    <a:pt x="2662" y="189"/>
                  </a:lnTo>
                  <a:lnTo>
                    <a:pt x="2660" y="189"/>
                  </a:lnTo>
                  <a:lnTo>
                    <a:pt x="2662" y="189"/>
                  </a:lnTo>
                  <a:lnTo>
                    <a:pt x="2660" y="189"/>
                  </a:lnTo>
                  <a:lnTo>
                    <a:pt x="2659" y="189"/>
                  </a:lnTo>
                  <a:lnTo>
                    <a:pt x="2660" y="189"/>
                  </a:lnTo>
                  <a:lnTo>
                    <a:pt x="2660" y="188"/>
                  </a:lnTo>
                  <a:lnTo>
                    <a:pt x="2660" y="187"/>
                  </a:lnTo>
                  <a:lnTo>
                    <a:pt x="2664" y="187"/>
                  </a:lnTo>
                  <a:lnTo>
                    <a:pt x="2665" y="187"/>
                  </a:lnTo>
                  <a:lnTo>
                    <a:pt x="2665" y="186"/>
                  </a:lnTo>
                  <a:lnTo>
                    <a:pt x="2666" y="186"/>
                  </a:lnTo>
                  <a:lnTo>
                    <a:pt x="2670" y="185"/>
                  </a:lnTo>
                  <a:lnTo>
                    <a:pt x="2670" y="184"/>
                  </a:lnTo>
                  <a:lnTo>
                    <a:pt x="2671" y="184"/>
                  </a:lnTo>
                  <a:lnTo>
                    <a:pt x="2672" y="182"/>
                  </a:lnTo>
                  <a:lnTo>
                    <a:pt x="2672" y="181"/>
                  </a:lnTo>
                  <a:lnTo>
                    <a:pt x="2671" y="181"/>
                  </a:lnTo>
                  <a:lnTo>
                    <a:pt x="2671" y="180"/>
                  </a:lnTo>
                  <a:lnTo>
                    <a:pt x="2671" y="179"/>
                  </a:lnTo>
                  <a:lnTo>
                    <a:pt x="2670" y="179"/>
                  </a:lnTo>
                  <a:lnTo>
                    <a:pt x="2671" y="177"/>
                  </a:lnTo>
                  <a:lnTo>
                    <a:pt x="2673" y="174"/>
                  </a:lnTo>
                  <a:lnTo>
                    <a:pt x="2676" y="173"/>
                  </a:lnTo>
                  <a:lnTo>
                    <a:pt x="2676" y="172"/>
                  </a:lnTo>
                  <a:lnTo>
                    <a:pt x="2674" y="172"/>
                  </a:lnTo>
                  <a:lnTo>
                    <a:pt x="2674" y="171"/>
                  </a:lnTo>
                  <a:lnTo>
                    <a:pt x="2674" y="170"/>
                  </a:lnTo>
                  <a:lnTo>
                    <a:pt x="2673" y="168"/>
                  </a:lnTo>
                  <a:lnTo>
                    <a:pt x="2672" y="168"/>
                  </a:lnTo>
                  <a:lnTo>
                    <a:pt x="2672" y="167"/>
                  </a:lnTo>
                  <a:lnTo>
                    <a:pt x="2671" y="167"/>
                  </a:lnTo>
                  <a:lnTo>
                    <a:pt x="2671" y="166"/>
                  </a:lnTo>
                  <a:lnTo>
                    <a:pt x="2669" y="165"/>
                  </a:lnTo>
                  <a:lnTo>
                    <a:pt x="2666" y="164"/>
                  </a:lnTo>
                  <a:lnTo>
                    <a:pt x="2665" y="164"/>
                  </a:lnTo>
                  <a:lnTo>
                    <a:pt x="2665" y="163"/>
                  </a:lnTo>
                  <a:lnTo>
                    <a:pt x="2665" y="161"/>
                  </a:lnTo>
                  <a:lnTo>
                    <a:pt x="2664" y="160"/>
                  </a:lnTo>
                  <a:lnTo>
                    <a:pt x="2664" y="159"/>
                  </a:lnTo>
                  <a:lnTo>
                    <a:pt x="2665" y="158"/>
                  </a:lnTo>
                  <a:lnTo>
                    <a:pt x="2667" y="158"/>
                  </a:lnTo>
                  <a:lnTo>
                    <a:pt x="2670" y="157"/>
                  </a:lnTo>
                  <a:lnTo>
                    <a:pt x="2672" y="157"/>
                  </a:lnTo>
                  <a:lnTo>
                    <a:pt x="2673" y="157"/>
                  </a:lnTo>
                  <a:lnTo>
                    <a:pt x="2676" y="156"/>
                  </a:lnTo>
                  <a:lnTo>
                    <a:pt x="2677" y="156"/>
                  </a:lnTo>
                  <a:lnTo>
                    <a:pt x="2678" y="156"/>
                  </a:lnTo>
                  <a:lnTo>
                    <a:pt x="2679" y="156"/>
                  </a:lnTo>
                  <a:lnTo>
                    <a:pt x="2680" y="156"/>
                  </a:lnTo>
                  <a:lnTo>
                    <a:pt x="2683" y="156"/>
                  </a:lnTo>
                  <a:lnTo>
                    <a:pt x="2684" y="156"/>
                  </a:lnTo>
                  <a:lnTo>
                    <a:pt x="2684" y="157"/>
                  </a:lnTo>
                  <a:lnTo>
                    <a:pt x="2685" y="157"/>
                  </a:lnTo>
                  <a:lnTo>
                    <a:pt x="2685" y="158"/>
                  </a:lnTo>
                  <a:lnTo>
                    <a:pt x="2686" y="159"/>
                  </a:lnTo>
                  <a:lnTo>
                    <a:pt x="2688" y="159"/>
                  </a:lnTo>
                  <a:lnTo>
                    <a:pt x="2690" y="160"/>
                  </a:lnTo>
                  <a:lnTo>
                    <a:pt x="2691" y="160"/>
                  </a:lnTo>
                  <a:lnTo>
                    <a:pt x="2692" y="161"/>
                  </a:lnTo>
                  <a:lnTo>
                    <a:pt x="2692" y="160"/>
                  </a:lnTo>
                  <a:lnTo>
                    <a:pt x="2694" y="161"/>
                  </a:lnTo>
                  <a:lnTo>
                    <a:pt x="2694" y="163"/>
                  </a:lnTo>
                  <a:lnTo>
                    <a:pt x="2695" y="163"/>
                  </a:lnTo>
                  <a:lnTo>
                    <a:pt x="2695" y="164"/>
                  </a:lnTo>
                  <a:lnTo>
                    <a:pt x="2695" y="165"/>
                  </a:lnTo>
                  <a:lnTo>
                    <a:pt x="2694" y="165"/>
                  </a:lnTo>
                  <a:lnTo>
                    <a:pt x="2695" y="165"/>
                  </a:lnTo>
                  <a:lnTo>
                    <a:pt x="2697" y="166"/>
                  </a:lnTo>
                  <a:lnTo>
                    <a:pt x="2698" y="166"/>
                  </a:lnTo>
                  <a:lnTo>
                    <a:pt x="2698" y="167"/>
                  </a:lnTo>
                  <a:lnTo>
                    <a:pt x="2697" y="167"/>
                  </a:lnTo>
                  <a:lnTo>
                    <a:pt x="2698" y="167"/>
                  </a:lnTo>
                  <a:lnTo>
                    <a:pt x="2698" y="168"/>
                  </a:lnTo>
                  <a:lnTo>
                    <a:pt x="2698" y="170"/>
                  </a:lnTo>
                  <a:lnTo>
                    <a:pt x="2699" y="170"/>
                  </a:lnTo>
                  <a:lnTo>
                    <a:pt x="2700" y="170"/>
                  </a:lnTo>
                  <a:lnTo>
                    <a:pt x="2700" y="171"/>
                  </a:lnTo>
                  <a:lnTo>
                    <a:pt x="2699" y="171"/>
                  </a:lnTo>
                  <a:lnTo>
                    <a:pt x="2698" y="171"/>
                  </a:lnTo>
                  <a:lnTo>
                    <a:pt x="2699" y="172"/>
                  </a:lnTo>
                  <a:lnTo>
                    <a:pt x="2704" y="173"/>
                  </a:lnTo>
                  <a:lnTo>
                    <a:pt x="2706" y="174"/>
                  </a:lnTo>
                  <a:lnTo>
                    <a:pt x="2707" y="174"/>
                  </a:lnTo>
                  <a:lnTo>
                    <a:pt x="2707" y="175"/>
                  </a:lnTo>
                  <a:lnTo>
                    <a:pt x="2707" y="174"/>
                  </a:lnTo>
                  <a:lnTo>
                    <a:pt x="2708" y="174"/>
                  </a:lnTo>
                  <a:lnTo>
                    <a:pt x="2709" y="174"/>
                  </a:lnTo>
                  <a:lnTo>
                    <a:pt x="2709" y="175"/>
                  </a:lnTo>
                  <a:lnTo>
                    <a:pt x="2710" y="175"/>
                  </a:lnTo>
                  <a:lnTo>
                    <a:pt x="2712" y="174"/>
                  </a:lnTo>
                  <a:lnTo>
                    <a:pt x="2713" y="174"/>
                  </a:lnTo>
                  <a:lnTo>
                    <a:pt x="2714" y="175"/>
                  </a:lnTo>
                  <a:lnTo>
                    <a:pt x="2715" y="175"/>
                  </a:lnTo>
                  <a:lnTo>
                    <a:pt x="2715" y="174"/>
                  </a:lnTo>
                  <a:lnTo>
                    <a:pt x="2716" y="174"/>
                  </a:lnTo>
                  <a:lnTo>
                    <a:pt x="2717" y="174"/>
                  </a:lnTo>
                  <a:lnTo>
                    <a:pt x="2719" y="174"/>
                  </a:lnTo>
                  <a:lnTo>
                    <a:pt x="2720" y="174"/>
                  </a:lnTo>
                  <a:lnTo>
                    <a:pt x="2720" y="175"/>
                  </a:lnTo>
                  <a:lnTo>
                    <a:pt x="2720" y="174"/>
                  </a:lnTo>
                  <a:lnTo>
                    <a:pt x="2721" y="174"/>
                  </a:lnTo>
                  <a:lnTo>
                    <a:pt x="2720" y="174"/>
                  </a:lnTo>
                  <a:lnTo>
                    <a:pt x="2719" y="174"/>
                  </a:lnTo>
                  <a:lnTo>
                    <a:pt x="2717" y="174"/>
                  </a:lnTo>
                  <a:lnTo>
                    <a:pt x="2717" y="173"/>
                  </a:lnTo>
                  <a:lnTo>
                    <a:pt x="2719" y="173"/>
                  </a:lnTo>
                  <a:lnTo>
                    <a:pt x="2717" y="173"/>
                  </a:lnTo>
                  <a:lnTo>
                    <a:pt x="2716" y="173"/>
                  </a:lnTo>
                  <a:lnTo>
                    <a:pt x="2716" y="174"/>
                  </a:lnTo>
                  <a:lnTo>
                    <a:pt x="2715" y="174"/>
                  </a:lnTo>
                  <a:lnTo>
                    <a:pt x="2714" y="174"/>
                  </a:lnTo>
                  <a:lnTo>
                    <a:pt x="2715" y="174"/>
                  </a:lnTo>
                  <a:lnTo>
                    <a:pt x="2715" y="173"/>
                  </a:lnTo>
                  <a:lnTo>
                    <a:pt x="2714" y="173"/>
                  </a:lnTo>
                  <a:lnTo>
                    <a:pt x="2713" y="173"/>
                  </a:lnTo>
                  <a:lnTo>
                    <a:pt x="2714" y="174"/>
                  </a:lnTo>
                  <a:lnTo>
                    <a:pt x="2713" y="173"/>
                  </a:lnTo>
                  <a:lnTo>
                    <a:pt x="2712" y="173"/>
                  </a:lnTo>
                  <a:lnTo>
                    <a:pt x="2710" y="173"/>
                  </a:lnTo>
                  <a:lnTo>
                    <a:pt x="2709" y="173"/>
                  </a:lnTo>
                  <a:lnTo>
                    <a:pt x="2708" y="173"/>
                  </a:lnTo>
                  <a:lnTo>
                    <a:pt x="2707" y="173"/>
                  </a:lnTo>
                  <a:lnTo>
                    <a:pt x="2708" y="173"/>
                  </a:lnTo>
                  <a:lnTo>
                    <a:pt x="2707" y="172"/>
                  </a:lnTo>
                  <a:lnTo>
                    <a:pt x="2706" y="172"/>
                  </a:lnTo>
                  <a:lnTo>
                    <a:pt x="2705" y="172"/>
                  </a:lnTo>
                  <a:lnTo>
                    <a:pt x="2704" y="172"/>
                  </a:lnTo>
                  <a:lnTo>
                    <a:pt x="2702" y="172"/>
                  </a:lnTo>
                  <a:lnTo>
                    <a:pt x="2702" y="171"/>
                  </a:lnTo>
                  <a:lnTo>
                    <a:pt x="2701" y="171"/>
                  </a:lnTo>
                  <a:lnTo>
                    <a:pt x="2701" y="170"/>
                  </a:lnTo>
                  <a:lnTo>
                    <a:pt x="2702" y="170"/>
                  </a:lnTo>
                  <a:lnTo>
                    <a:pt x="2701" y="170"/>
                  </a:lnTo>
                  <a:lnTo>
                    <a:pt x="2701" y="168"/>
                  </a:lnTo>
                  <a:lnTo>
                    <a:pt x="2700" y="168"/>
                  </a:lnTo>
                  <a:lnTo>
                    <a:pt x="2700" y="167"/>
                  </a:lnTo>
                  <a:lnTo>
                    <a:pt x="2700" y="166"/>
                  </a:lnTo>
                  <a:lnTo>
                    <a:pt x="2701" y="166"/>
                  </a:lnTo>
                  <a:lnTo>
                    <a:pt x="2704" y="166"/>
                  </a:lnTo>
                  <a:lnTo>
                    <a:pt x="2705" y="165"/>
                  </a:lnTo>
                  <a:lnTo>
                    <a:pt x="2706" y="165"/>
                  </a:lnTo>
                  <a:lnTo>
                    <a:pt x="2705" y="165"/>
                  </a:lnTo>
                  <a:lnTo>
                    <a:pt x="2704" y="164"/>
                  </a:lnTo>
                  <a:lnTo>
                    <a:pt x="2702" y="164"/>
                  </a:lnTo>
                  <a:lnTo>
                    <a:pt x="2701" y="163"/>
                  </a:lnTo>
                  <a:lnTo>
                    <a:pt x="2701" y="161"/>
                  </a:lnTo>
                  <a:lnTo>
                    <a:pt x="2700" y="161"/>
                  </a:lnTo>
                  <a:lnTo>
                    <a:pt x="2699" y="161"/>
                  </a:lnTo>
                  <a:lnTo>
                    <a:pt x="2698" y="161"/>
                  </a:lnTo>
                  <a:lnTo>
                    <a:pt x="2698" y="160"/>
                  </a:lnTo>
                  <a:lnTo>
                    <a:pt x="2698" y="159"/>
                  </a:lnTo>
                  <a:lnTo>
                    <a:pt x="2697" y="159"/>
                  </a:lnTo>
                  <a:lnTo>
                    <a:pt x="2697" y="158"/>
                  </a:lnTo>
                  <a:lnTo>
                    <a:pt x="2695" y="158"/>
                  </a:lnTo>
                  <a:lnTo>
                    <a:pt x="2695" y="157"/>
                  </a:lnTo>
                  <a:lnTo>
                    <a:pt x="2694" y="157"/>
                  </a:lnTo>
                  <a:lnTo>
                    <a:pt x="2692" y="157"/>
                  </a:lnTo>
                  <a:lnTo>
                    <a:pt x="2691" y="157"/>
                  </a:lnTo>
                  <a:lnTo>
                    <a:pt x="2690" y="156"/>
                  </a:lnTo>
                  <a:lnTo>
                    <a:pt x="2686" y="156"/>
                  </a:lnTo>
                  <a:lnTo>
                    <a:pt x="2685" y="154"/>
                  </a:lnTo>
                  <a:lnTo>
                    <a:pt x="2684" y="154"/>
                  </a:lnTo>
                  <a:lnTo>
                    <a:pt x="2684" y="153"/>
                  </a:lnTo>
                  <a:lnTo>
                    <a:pt x="2683" y="153"/>
                  </a:lnTo>
                  <a:lnTo>
                    <a:pt x="2681" y="153"/>
                  </a:lnTo>
                  <a:lnTo>
                    <a:pt x="2680" y="153"/>
                  </a:lnTo>
                  <a:lnTo>
                    <a:pt x="2678" y="153"/>
                  </a:lnTo>
                  <a:lnTo>
                    <a:pt x="2677" y="153"/>
                  </a:lnTo>
                  <a:lnTo>
                    <a:pt x="2676" y="152"/>
                  </a:lnTo>
                  <a:lnTo>
                    <a:pt x="2672" y="152"/>
                  </a:lnTo>
                  <a:lnTo>
                    <a:pt x="2670" y="152"/>
                  </a:lnTo>
                  <a:lnTo>
                    <a:pt x="2669" y="152"/>
                  </a:lnTo>
                  <a:lnTo>
                    <a:pt x="2667" y="153"/>
                  </a:lnTo>
                  <a:lnTo>
                    <a:pt x="2666" y="153"/>
                  </a:lnTo>
                  <a:lnTo>
                    <a:pt x="2667" y="153"/>
                  </a:lnTo>
                  <a:lnTo>
                    <a:pt x="2666" y="154"/>
                  </a:lnTo>
                  <a:lnTo>
                    <a:pt x="2665" y="154"/>
                  </a:lnTo>
                  <a:lnTo>
                    <a:pt x="2664" y="154"/>
                  </a:lnTo>
                  <a:lnTo>
                    <a:pt x="2663" y="154"/>
                  </a:lnTo>
                  <a:lnTo>
                    <a:pt x="2660" y="153"/>
                  </a:lnTo>
                  <a:lnTo>
                    <a:pt x="2658" y="153"/>
                  </a:lnTo>
                  <a:lnTo>
                    <a:pt x="2656" y="154"/>
                  </a:lnTo>
                  <a:lnTo>
                    <a:pt x="2655" y="154"/>
                  </a:lnTo>
                  <a:lnTo>
                    <a:pt x="2653" y="153"/>
                  </a:lnTo>
                  <a:lnTo>
                    <a:pt x="2652" y="153"/>
                  </a:lnTo>
                  <a:lnTo>
                    <a:pt x="2652" y="152"/>
                  </a:lnTo>
                  <a:lnTo>
                    <a:pt x="2652" y="151"/>
                  </a:lnTo>
                  <a:lnTo>
                    <a:pt x="2652" y="150"/>
                  </a:lnTo>
                  <a:lnTo>
                    <a:pt x="2651" y="149"/>
                  </a:lnTo>
                  <a:lnTo>
                    <a:pt x="2649" y="147"/>
                  </a:lnTo>
                  <a:lnTo>
                    <a:pt x="2648" y="147"/>
                  </a:lnTo>
                  <a:lnTo>
                    <a:pt x="2646" y="146"/>
                  </a:lnTo>
                  <a:lnTo>
                    <a:pt x="2645" y="146"/>
                  </a:lnTo>
                  <a:lnTo>
                    <a:pt x="2645" y="145"/>
                  </a:lnTo>
                  <a:lnTo>
                    <a:pt x="2645" y="144"/>
                  </a:lnTo>
                  <a:lnTo>
                    <a:pt x="2645" y="143"/>
                  </a:lnTo>
                  <a:lnTo>
                    <a:pt x="2645" y="142"/>
                  </a:lnTo>
                  <a:lnTo>
                    <a:pt x="2644" y="142"/>
                  </a:lnTo>
                  <a:lnTo>
                    <a:pt x="2645" y="142"/>
                  </a:lnTo>
                  <a:lnTo>
                    <a:pt x="2644" y="142"/>
                  </a:lnTo>
                  <a:lnTo>
                    <a:pt x="2644" y="140"/>
                  </a:lnTo>
                  <a:lnTo>
                    <a:pt x="2643" y="140"/>
                  </a:lnTo>
                  <a:lnTo>
                    <a:pt x="2643" y="139"/>
                  </a:lnTo>
                  <a:lnTo>
                    <a:pt x="2645" y="138"/>
                  </a:lnTo>
                  <a:lnTo>
                    <a:pt x="2645" y="137"/>
                  </a:lnTo>
                  <a:lnTo>
                    <a:pt x="2645" y="136"/>
                  </a:lnTo>
                  <a:lnTo>
                    <a:pt x="2646" y="136"/>
                  </a:lnTo>
                  <a:lnTo>
                    <a:pt x="2646" y="135"/>
                  </a:lnTo>
                  <a:lnTo>
                    <a:pt x="2645" y="135"/>
                  </a:lnTo>
                  <a:lnTo>
                    <a:pt x="2645" y="133"/>
                  </a:lnTo>
                  <a:lnTo>
                    <a:pt x="2644" y="133"/>
                  </a:lnTo>
                  <a:lnTo>
                    <a:pt x="2644" y="132"/>
                  </a:lnTo>
                  <a:lnTo>
                    <a:pt x="2640" y="131"/>
                  </a:lnTo>
                  <a:lnTo>
                    <a:pt x="2640" y="130"/>
                  </a:lnTo>
                  <a:lnTo>
                    <a:pt x="2638" y="130"/>
                  </a:lnTo>
                  <a:lnTo>
                    <a:pt x="2638" y="129"/>
                  </a:lnTo>
                  <a:lnTo>
                    <a:pt x="2637" y="129"/>
                  </a:lnTo>
                  <a:lnTo>
                    <a:pt x="2636" y="129"/>
                  </a:lnTo>
                  <a:lnTo>
                    <a:pt x="2635" y="128"/>
                  </a:lnTo>
                  <a:lnTo>
                    <a:pt x="2634" y="126"/>
                  </a:lnTo>
                  <a:lnTo>
                    <a:pt x="2633" y="126"/>
                  </a:lnTo>
                  <a:lnTo>
                    <a:pt x="2633" y="125"/>
                  </a:lnTo>
                  <a:lnTo>
                    <a:pt x="2631" y="125"/>
                  </a:lnTo>
                  <a:lnTo>
                    <a:pt x="2630" y="125"/>
                  </a:lnTo>
                  <a:lnTo>
                    <a:pt x="2629" y="124"/>
                  </a:lnTo>
                  <a:lnTo>
                    <a:pt x="2628" y="124"/>
                  </a:lnTo>
                  <a:lnTo>
                    <a:pt x="2627" y="124"/>
                  </a:lnTo>
                  <a:lnTo>
                    <a:pt x="2626" y="124"/>
                  </a:lnTo>
                  <a:lnTo>
                    <a:pt x="2626" y="123"/>
                  </a:lnTo>
                  <a:lnTo>
                    <a:pt x="2627" y="122"/>
                  </a:lnTo>
                  <a:lnTo>
                    <a:pt x="2628" y="121"/>
                  </a:lnTo>
                  <a:lnTo>
                    <a:pt x="2628" y="119"/>
                  </a:lnTo>
                  <a:lnTo>
                    <a:pt x="2627" y="119"/>
                  </a:lnTo>
                  <a:lnTo>
                    <a:pt x="2627" y="118"/>
                  </a:lnTo>
                  <a:lnTo>
                    <a:pt x="2629" y="117"/>
                  </a:lnTo>
                  <a:lnTo>
                    <a:pt x="2630" y="117"/>
                  </a:lnTo>
                  <a:lnTo>
                    <a:pt x="2633" y="117"/>
                  </a:lnTo>
                  <a:lnTo>
                    <a:pt x="2634" y="117"/>
                  </a:lnTo>
                  <a:lnTo>
                    <a:pt x="2634" y="116"/>
                  </a:lnTo>
                  <a:lnTo>
                    <a:pt x="2636" y="116"/>
                  </a:lnTo>
                  <a:lnTo>
                    <a:pt x="2637" y="115"/>
                  </a:lnTo>
                  <a:lnTo>
                    <a:pt x="2638" y="115"/>
                  </a:lnTo>
                  <a:lnTo>
                    <a:pt x="2638" y="114"/>
                  </a:lnTo>
                  <a:lnTo>
                    <a:pt x="2638" y="112"/>
                  </a:lnTo>
                  <a:lnTo>
                    <a:pt x="2637" y="111"/>
                  </a:lnTo>
                  <a:lnTo>
                    <a:pt x="2636" y="110"/>
                  </a:lnTo>
                  <a:lnTo>
                    <a:pt x="2635" y="109"/>
                  </a:lnTo>
                  <a:lnTo>
                    <a:pt x="2634" y="108"/>
                  </a:lnTo>
                  <a:lnTo>
                    <a:pt x="2633" y="108"/>
                  </a:lnTo>
                  <a:lnTo>
                    <a:pt x="2629" y="105"/>
                  </a:lnTo>
                  <a:lnTo>
                    <a:pt x="2631" y="104"/>
                  </a:lnTo>
                  <a:lnTo>
                    <a:pt x="2633" y="105"/>
                  </a:lnTo>
                  <a:lnTo>
                    <a:pt x="2634" y="105"/>
                  </a:lnTo>
                  <a:lnTo>
                    <a:pt x="2635" y="105"/>
                  </a:lnTo>
                  <a:lnTo>
                    <a:pt x="2636" y="107"/>
                  </a:lnTo>
                  <a:lnTo>
                    <a:pt x="2637" y="107"/>
                  </a:lnTo>
                  <a:lnTo>
                    <a:pt x="2636" y="107"/>
                  </a:lnTo>
                  <a:lnTo>
                    <a:pt x="2636" y="108"/>
                  </a:lnTo>
                  <a:lnTo>
                    <a:pt x="2637" y="107"/>
                  </a:lnTo>
                  <a:lnTo>
                    <a:pt x="2637" y="108"/>
                  </a:lnTo>
                  <a:lnTo>
                    <a:pt x="2638" y="108"/>
                  </a:lnTo>
                  <a:lnTo>
                    <a:pt x="2640" y="108"/>
                  </a:lnTo>
                  <a:lnTo>
                    <a:pt x="2641" y="109"/>
                  </a:lnTo>
                  <a:lnTo>
                    <a:pt x="2640" y="109"/>
                  </a:lnTo>
                  <a:lnTo>
                    <a:pt x="2640" y="110"/>
                  </a:lnTo>
                  <a:lnTo>
                    <a:pt x="2641" y="110"/>
                  </a:lnTo>
                  <a:lnTo>
                    <a:pt x="2642" y="111"/>
                  </a:lnTo>
                  <a:lnTo>
                    <a:pt x="2643" y="111"/>
                  </a:lnTo>
                  <a:lnTo>
                    <a:pt x="2643" y="112"/>
                  </a:lnTo>
                  <a:lnTo>
                    <a:pt x="2644" y="112"/>
                  </a:lnTo>
                  <a:lnTo>
                    <a:pt x="2643" y="114"/>
                  </a:lnTo>
                  <a:lnTo>
                    <a:pt x="2643" y="115"/>
                  </a:lnTo>
                  <a:lnTo>
                    <a:pt x="2644" y="115"/>
                  </a:lnTo>
                  <a:lnTo>
                    <a:pt x="2643" y="116"/>
                  </a:lnTo>
                  <a:lnTo>
                    <a:pt x="2644" y="116"/>
                  </a:lnTo>
                  <a:lnTo>
                    <a:pt x="2643" y="116"/>
                  </a:lnTo>
                  <a:lnTo>
                    <a:pt x="2643" y="117"/>
                  </a:lnTo>
                  <a:lnTo>
                    <a:pt x="2642" y="117"/>
                  </a:lnTo>
                  <a:lnTo>
                    <a:pt x="2643" y="117"/>
                  </a:lnTo>
                  <a:lnTo>
                    <a:pt x="2643" y="118"/>
                  </a:lnTo>
                  <a:lnTo>
                    <a:pt x="2644" y="119"/>
                  </a:lnTo>
                  <a:lnTo>
                    <a:pt x="2645" y="119"/>
                  </a:lnTo>
                  <a:lnTo>
                    <a:pt x="2648" y="121"/>
                  </a:lnTo>
                  <a:lnTo>
                    <a:pt x="2646" y="121"/>
                  </a:lnTo>
                  <a:lnTo>
                    <a:pt x="2648" y="122"/>
                  </a:lnTo>
                  <a:lnTo>
                    <a:pt x="2649" y="122"/>
                  </a:lnTo>
                  <a:lnTo>
                    <a:pt x="2649" y="123"/>
                  </a:lnTo>
                  <a:lnTo>
                    <a:pt x="2646" y="123"/>
                  </a:lnTo>
                  <a:lnTo>
                    <a:pt x="2648" y="123"/>
                  </a:lnTo>
                  <a:lnTo>
                    <a:pt x="2648" y="124"/>
                  </a:lnTo>
                  <a:lnTo>
                    <a:pt x="2649" y="124"/>
                  </a:lnTo>
                  <a:lnTo>
                    <a:pt x="2653" y="125"/>
                  </a:lnTo>
                  <a:lnTo>
                    <a:pt x="2657" y="126"/>
                  </a:lnTo>
                  <a:lnTo>
                    <a:pt x="2658" y="126"/>
                  </a:lnTo>
                  <a:lnTo>
                    <a:pt x="2662" y="126"/>
                  </a:lnTo>
                  <a:lnTo>
                    <a:pt x="2664" y="126"/>
                  </a:lnTo>
                  <a:lnTo>
                    <a:pt x="2665" y="126"/>
                  </a:lnTo>
                  <a:lnTo>
                    <a:pt x="2666" y="126"/>
                  </a:lnTo>
                  <a:lnTo>
                    <a:pt x="2666" y="128"/>
                  </a:lnTo>
                  <a:lnTo>
                    <a:pt x="2667" y="128"/>
                  </a:lnTo>
                  <a:lnTo>
                    <a:pt x="2666" y="126"/>
                  </a:lnTo>
                  <a:lnTo>
                    <a:pt x="2671" y="126"/>
                  </a:lnTo>
                  <a:lnTo>
                    <a:pt x="2672" y="126"/>
                  </a:lnTo>
                  <a:lnTo>
                    <a:pt x="2674" y="128"/>
                  </a:lnTo>
                  <a:lnTo>
                    <a:pt x="2676" y="128"/>
                  </a:lnTo>
                  <a:lnTo>
                    <a:pt x="2677" y="128"/>
                  </a:lnTo>
                  <a:lnTo>
                    <a:pt x="2677" y="129"/>
                  </a:lnTo>
                  <a:lnTo>
                    <a:pt x="2678" y="129"/>
                  </a:lnTo>
                  <a:lnTo>
                    <a:pt x="2679" y="130"/>
                  </a:lnTo>
                  <a:lnTo>
                    <a:pt x="2681" y="130"/>
                  </a:lnTo>
                  <a:lnTo>
                    <a:pt x="2683" y="130"/>
                  </a:lnTo>
                  <a:lnTo>
                    <a:pt x="2684" y="130"/>
                  </a:lnTo>
                  <a:lnTo>
                    <a:pt x="2685" y="130"/>
                  </a:lnTo>
                  <a:lnTo>
                    <a:pt x="2687" y="130"/>
                  </a:lnTo>
                  <a:lnTo>
                    <a:pt x="2688" y="130"/>
                  </a:lnTo>
                  <a:lnTo>
                    <a:pt x="2690" y="130"/>
                  </a:lnTo>
                  <a:lnTo>
                    <a:pt x="2688" y="130"/>
                  </a:lnTo>
                  <a:lnTo>
                    <a:pt x="2690" y="129"/>
                  </a:lnTo>
                  <a:lnTo>
                    <a:pt x="2688" y="129"/>
                  </a:lnTo>
                  <a:lnTo>
                    <a:pt x="2686" y="129"/>
                  </a:lnTo>
                  <a:lnTo>
                    <a:pt x="2687" y="129"/>
                  </a:lnTo>
                  <a:lnTo>
                    <a:pt x="2686" y="130"/>
                  </a:lnTo>
                  <a:lnTo>
                    <a:pt x="2685" y="130"/>
                  </a:lnTo>
                  <a:lnTo>
                    <a:pt x="2684" y="130"/>
                  </a:lnTo>
                  <a:lnTo>
                    <a:pt x="2684" y="129"/>
                  </a:lnTo>
                  <a:lnTo>
                    <a:pt x="2683" y="129"/>
                  </a:lnTo>
                  <a:lnTo>
                    <a:pt x="2684" y="129"/>
                  </a:lnTo>
                  <a:lnTo>
                    <a:pt x="2683" y="128"/>
                  </a:lnTo>
                  <a:lnTo>
                    <a:pt x="2681" y="128"/>
                  </a:lnTo>
                  <a:lnTo>
                    <a:pt x="2683" y="128"/>
                  </a:lnTo>
                  <a:lnTo>
                    <a:pt x="2683" y="129"/>
                  </a:lnTo>
                  <a:lnTo>
                    <a:pt x="2681" y="129"/>
                  </a:lnTo>
                  <a:lnTo>
                    <a:pt x="2680" y="128"/>
                  </a:lnTo>
                  <a:lnTo>
                    <a:pt x="2679" y="128"/>
                  </a:lnTo>
                  <a:lnTo>
                    <a:pt x="2679" y="126"/>
                  </a:lnTo>
                  <a:lnTo>
                    <a:pt x="2679" y="125"/>
                  </a:lnTo>
                  <a:lnTo>
                    <a:pt x="2678" y="125"/>
                  </a:lnTo>
                  <a:lnTo>
                    <a:pt x="2676" y="125"/>
                  </a:lnTo>
                  <a:lnTo>
                    <a:pt x="2674" y="125"/>
                  </a:lnTo>
                  <a:lnTo>
                    <a:pt x="2674" y="124"/>
                  </a:lnTo>
                  <a:lnTo>
                    <a:pt x="2673" y="124"/>
                  </a:lnTo>
                  <a:lnTo>
                    <a:pt x="2674" y="124"/>
                  </a:lnTo>
                  <a:lnTo>
                    <a:pt x="2673" y="125"/>
                  </a:lnTo>
                  <a:lnTo>
                    <a:pt x="2672" y="125"/>
                  </a:lnTo>
                  <a:lnTo>
                    <a:pt x="2671" y="125"/>
                  </a:lnTo>
                  <a:lnTo>
                    <a:pt x="2671" y="124"/>
                  </a:lnTo>
                  <a:lnTo>
                    <a:pt x="2670" y="124"/>
                  </a:lnTo>
                  <a:lnTo>
                    <a:pt x="2670" y="125"/>
                  </a:lnTo>
                  <a:lnTo>
                    <a:pt x="2671" y="125"/>
                  </a:lnTo>
                  <a:lnTo>
                    <a:pt x="2667" y="124"/>
                  </a:lnTo>
                  <a:lnTo>
                    <a:pt x="2666" y="124"/>
                  </a:lnTo>
                  <a:lnTo>
                    <a:pt x="2665" y="123"/>
                  </a:lnTo>
                  <a:lnTo>
                    <a:pt x="2664" y="123"/>
                  </a:lnTo>
                  <a:lnTo>
                    <a:pt x="2662" y="123"/>
                  </a:lnTo>
                  <a:lnTo>
                    <a:pt x="2660" y="123"/>
                  </a:lnTo>
                  <a:lnTo>
                    <a:pt x="2660" y="122"/>
                  </a:lnTo>
                  <a:lnTo>
                    <a:pt x="2659" y="122"/>
                  </a:lnTo>
                  <a:lnTo>
                    <a:pt x="2658" y="122"/>
                  </a:lnTo>
                  <a:lnTo>
                    <a:pt x="2657" y="122"/>
                  </a:lnTo>
                  <a:lnTo>
                    <a:pt x="2656" y="122"/>
                  </a:lnTo>
                  <a:lnTo>
                    <a:pt x="2656" y="121"/>
                  </a:lnTo>
                  <a:lnTo>
                    <a:pt x="2655" y="121"/>
                  </a:lnTo>
                  <a:lnTo>
                    <a:pt x="2653" y="119"/>
                  </a:lnTo>
                  <a:lnTo>
                    <a:pt x="2652" y="119"/>
                  </a:lnTo>
                  <a:lnTo>
                    <a:pt x="2651" y="118"/>
                  </a:lnTo>
                  <a:lnTo>
                    <a:pt x="2651" y="117"/>
                  </a:lnTo>
                  <a:lnTo>
                    <a:pt x="2650" y="117"/>
                  </a:lnTo>
                  <a:lnTo>
                    <a:pt x="2651" y="117"/>
                  </a:lnTo>
                  <a:lnTo>
                    <a:pt x="2652" y="116"/>
                  </a:lnTo>
                  <a:lnTo>
                    <a:pt x="2655" y="116"/>
                  </a:lnTo>
                  <a:lnTo>
                    <a:pt x="2657" y="116"/>
                  </a:lnTo>
                  <a:lnTo>
                    <a:pt x="2658" y="116"/>
                  </a:lnTo>
                  <a:lnTo>
                    <a:pt x="2659" y="116"/>
                  </a:lnTo>
                  <a:lnTo>
                    <a:pt x="2664" y="117"/>
                  </a:lnTo>
                  <a:lnTo>
                    <a:pt x="2665" y="117"/>
                  </a:lnTo>
                  <a:lnTo>
                    <a:pt x="2666" y="118"/>
                  </a:lnTo>
                  <a:lnTo>
                    <a:pt x="2667" y="118"/>
                  </a:lnTo>
                  <a:lnTo>
                    <a:pt x="2671" y="117"/>
                  </a:lnTo>
                  <a:lnTo>
                    <a:pt x="2671" y="116"/>
                  </a:lnTo>
                  <a:lnTo>
                    <a:pt x="2669" y="115"/>
                  </a:lnTo>
                  <a:lnTo>
                    <a:pt x="2667" y="115"/>
                  </a:lnTo>
                  <a:lnTo>
                    <a:pt x="2665" y="115"/>
                  </a:lnTo>
                  <a:lnTo>
                    <a:pt x="2664" y="115"/>
                  </a:lnTo>
                  <a:lnTo>
                    <a:pt x="2663" y="115"/>
                  </a:lnTo>
                  <a:lnTo>
                    <a:pt x="2662" y="115"/>
                  </a:lnTo>
                  <a:lnTo>
                    <a:pt x="2662" y="114"/>
                  </a:lnTo>
                  <a:lnTo>
                    <a:pt x="2663" y="114"/>
                  </a:lnTo>
                  <a:lnTo>
                    <a:pt x="2664" y="114"/>
                  </a:lnTo>
                  <a:lnTo>
                    <a:pt x="2665" y="112"/>
                  </a:lnTo>
                  <a:lnTo>
                    <a:pt x="2665" y="111"/>
                  </a:lnTo>
                  <a:lnTo>
                    <a:pt x="2666" y="111"/>
                  </a:lnTo>
                  <a:lnTo>
                    <a:pt x="2667" y="111"/>
                  </a:lnTo>
                  <a:lnTo>
                    <a:pt x="2669" y="111"/>
                  </a:lnTo>
                  <a:lnTo>
                    <a:pt x="2670" y="111"/>
                  </a:lnTo>
                  <a:lnTo>
                    <a:pt x="2672" y="111"/>
                  </a:lnTo>
                  <a:lnTo>
                    <a:pt x="2674" y="111"/>
                  </a:lnTo>
                  <a:lnTo>
                    <a:pt x="2677" y="111"/>
                  </a:lnTo>
                  <a:lnTo>
                    <a:pt x="2678" y="111"/>
                  </a:lnTo>
                  <a:lnTo>
                    <a:pt x="2680" y="111"/>
                  </a:lnTo>
                  <a:lnTo>
                    <a:pt x="2684" y="112"/>
                  </a:lnTo>
                  <a:lnTo>
                    <a:pt x="2686" y="114"/>
                  </a:lnTo>
                  <a:lnTo>
                    <a:pt x="2692" y="114"/>
                  </a:lnTo>
                  <a:lnTo>
                    <a:pt x="2695" y="115"/>
                  </a:lnTo>
                  <a:lnTo>
                    <a:pt x="2697" y="116"/>
                  </a:lnTo>
                  <a:lnTo>
                    <a:pt x="2695" y="116"/>
                  </a:lnTo>
                  <a:lnTo>
                    <a:pt x="2695" y="115"/>
                  </a:lnTo>
                  <a:lnTo>
                    <a:pt x="2694" y="115"/>
                  </a:lnTo>
                  <a:lnTo>
                    <a:pt x="2694" y="116"/>
                  </a:lnTo>
                  <a:lnTo>
                    <a:pt x="2698" y="117"/>
                  </a:lnTo>
                  <a:lnTo>
                    <a:pt x="2702" y="118"/>
                  </a:lnTo>
                  <a:lnTo>
                    <a:pt x="2704" y="119"/>
                  </a:lnTo>
                  <a:lnTo>
                    <a:pt x="2706" y="119"/>
                  </a:lnTo>
                  <a:lnTo>
                    <a:pt x="2708" y="119"/>
                  </a:lnTo>
                  <a:lnTo>
                    <a:pt x="2713" y="119"/>
                  </a:lnTo>
                  <a:lnTo>
                    <a:pt x="2714" y="119"/>
                  </a:lnTo>
                  <a:lnTo>
                    <a:pt x="2715" y="119"/>
                  </a:lnTo>
                  <a:lnTo>
                    <a:pt x="2719" y="118"/>
                  </a:lnTo>
                  <a:lnTo>
                    <a:pt x="2719" y="119"/>
                  </a:lnTo>
                  <a:lnTo>
                    <a:pt x="2720" y="119"/>
                  </a:lnTo>
                  <a:lnTo>
                    <a:pt x="2721" y="119"/>
                  </a:lnTo>
                  <a:lnTo>
                    <a:pt x="2722" y="119"/>
                  </a:lnTo>
                  <a:lnTo>
                    <a:pt x="2723" y="119"/>
                  </a:lnTo>
                  <a:lnTo>
                    <a:pt x="2724" y="121"/>
                  </a:lnTo>
                  <a:lnTo>
                    <a:pt x="2723" y="121"/>
                  </a:lnTo>
                  <a:lnTo>
                    <a:pt x="2723" y="122"/>
                  </a:lnTo>
                  <a:lnTo>
                    <a:pt x="2722" y="122"/>
                  </a:lnTo>
                  <a:lnTo>
                    <a:pt x="2723" y="123"/>
                  </a:lnTo>
                  <a:lnTo>
                    <a:pt x="2724" y="124"/>
                  </a:lnTo>
                  <a:lnTo>
                    <a:pt x="2723" y="124"/>
                  </a:lnTo>
                  <a:lnTo>
                    <a:pt x="2722" y="124"/>
                  </a:lnTo>
                  <a:lnTo>
                    <a:pt x="2720" y="124"/>
                  </a:lnTo>
                  <a:lnTo>
                    <a:pt x="2717" y="125"/>
                  </a:lnTo>
                  <a:lnTo>
                    <a:pt x="2719" y="125"/>
                  </a:lnTo>
                  <a:lnTo>
                    <a:pt x="2719" y="126"/>
                  </a:lnTo>
                  <a:lnTo>
                    <a:pt x="2720" y="126"/>
                  </a:lnTo>
                  <a:lnTo>
                    <a:pt x="2720" y="128"/>
                  </a:lnTo>
                  <a:lnTo>
                    <a:pt x="2721" y="128"/>
                  </a:lnTo>
                  <a:lnTo>
                    <a:pt x="2721" y="129"/>
                  </a:lnTo>
                  <a:lnTo>
                    <a:pt x="2720" y="129"/>
                  </a:lnTo>
                  <a:lnTo>
                    <a:pt x="2722" y="130"/>
                  </a:lnTo>
                  <a:lnTo>
                    <a:pt x="2722" y="131"/>
                  </a:lnTo>
                  <a:lnTo>
                    <a:pt x="2723" y="131"/>
                  </a:lnTo>
                  <a:lnTo>
                    <a:pt x="2724" y="132"/>
                  </a:lnTo>
                  <a:lnTo>
                    <a:pt x="2723" y="133"/>
                  </a:lnTo>
                  <a:lnTo>
                    <a:pt x="2723" y="135"/>
                  </a:lnTo>
                  <a:lnTo>
                    <a:pt x="2724" y="135"/>
                  </a:lnTo>
                  <a:lnTo>
                    <a:pt x="2724" y="136"/>
                  </a:lnTo>
                  <a:lnTo>
                    <a:pt x="2726" y="136"/>
                  </a:lnTo>
                  <a:lnTo>
                    <a:pt x="2726" y="137"/>
                  </a:lnTo>
                  <a:lnTo>
                    <a:pt x="2727" y="137"/>
                  </a:lnTo>
                  <a:lnTo>
                    <a:pt x="2727" y="138"/>
                  </a:lnTo>
                  <a:lnTo>
                    <a:pt x="2728" y="138"/>
                  </a:lnTo>
                  <a:lnTo>
                    <a:pt x="2728" y="139"/>
                  </a:lnTo>
                  <a:lnTo>
                    <a:pt x="2729" y="139"/>
                  </a:lnTo>
                  <a:lnTo>
                    <a:pt x="2728" y="138"/>
                  </a:lnTo>
                  <a:lnTo>
                    <a:pt x="2727" y="137"/>
                  </a:lnTo>
                  <a:lnTo>
                    <a:pt x="2726" y="137"/>
                  </a:lnTo>
                  <a:lnTo>
                    <a:pt x="2726" y="136"/>
                  </a:lnTo>
                  <a:lnTo>
                    <a:pt x="2724" y="135"/>
                  </a:lnTo>
                  <a:lnTo>
                    <a:pt x="2723" y="135"/>
                  </a:lnTo>
                  <a:lnTo>
                    <a:pt x="2724" y="135"/>
                  </a:lnTo>
                  <a:lnTo>
                    <a:pt x="2727" y="135"/>
                  </a:lnTo>
                  <a:lnTo>
                    <a:pt x="2727" y="133"/>
                  </a:lnTo>
                  <a:lnTo>
                    <a:pt x="2726" y="133"/>
                  </a:lnTo>
                  <a:lnTo>
                    <a:pt x="2726" y="132"/>
                  </a:lnTo>
                  <a:lnTo>
                    <a:pt x="2724" y="132"/>
                  </a:lnTo>
                  <a:lnTo>
                    <a:pt x="2724" y="131"/>
                  </a:lnTo>
                  <a:lnTo>
                    <a:pt x="2726" y="131"/>
                  </a:lnTo>
                  <a:lnTo>
                    <a:pt x="2724" y="131"/>
                  </a:lnTo>
                  <a:lnTo>
                    <a:pt x="2724" y="130"/>
                  </a:lnTo>
                  <a:lnTo>
                    <a:pt x="2726" y="130"/>
                  </a:lnTo>
                  <a:lnTo>
                    <a:pt x="2727" y="130"/>
                  </a:lnTo>
                  <a:lnTo>
                    <a:pt x="2728" y="130"/>
                  </a:lnTo>
                  <a:lnTo>
                    <a:pt x="2727" y="130"/>
                  </a:lnTo>
                  <a:lnTo>
                    <a:pt x="2727" y="129"/>
                  </a:lnTo>
                  <a:lnTo>
                    <a:pt x="2728" y="130"/>
                  </a:lnTo>
                  <a:lnTo>
                    <a:pt x="2729" y="130"/>
                  </a:lnTo>
                  <a:lnTo>
                    <a:pt x="2730" y="130"/>
                  </a:lnTo>
                  <a:lnTo>
                    <a:pt x="2731" y="131"/>
                  </a:lnTo>
                  <a:lnTo>
                    <a:pt x="2731" y="132"/>
                  </a:lnTo>
                  <a:lnTo>
                    <a:pt x="2731" y="133"/>
                  </a:lnTo>
                  <a:lnTo>
                    <a:pt x="2733" y="133"/>
                  </a:lnTo>
                  <a:lnTo>
                    <a:pt x="2733" y="135"/>
                  </a:lnTo>
                  <a:lnTo>
                    <a:pt x="2733" y="136"/>
                  </a:lnTo>
                  <a:lnTo>
                    <a:pt x="2734" y="136"/>
                  </a:lnTo>
                  <a:lnTo>
                    <a:pt x="2734" y="137"/>
                  </a:lnTo>
                  <a:lnTo>
                    <a:pt x="2733" y="137"/>
                  </a:lnTo>
                  <a:lnTo>
                    <a:pt x="2731" y="138"/>
                  </a:lnTo>
                  <a:lnTo>
                    <a:pt x="2731" y="139"/>
                  </a:lnTo>
                  <a:lnTo>
                    <a:pt x="2733" y="139"/>
                  </a:lnTo>
                  <a:lnTo>
                    <a:pt x="2733" y="140"/>
                  </a:lnTo>
                  <a:lnTo>
                    <a:pt x="2734" y="140"/>
                  </a:lnTo>
                  <a:lnTo>
                    <a:pt x="2736" y="140"/>
                  </a:lnTo>
                  <a:lnTo>
                    <a:pt x="2737" y="140"/>
                  </a:lnTo>
                  <a:lnTo>
                    <a:pt x="2738" y="142"/>
                  </a:lnTo>
                  <a:lnTo>
                    <a:pt x="2738" y="140"/>
                  </a:lnTo>
                  <a:lnTo>
                    <a:pt x="2737" y="139"/>
                  </a:lnTo>
                  <a:lnTo>
                    <a:pt x="2736" y="139"/>
                  </a:lnTo>
                  <a:lnTo>
                    <a:pt x="2736" y="138"/>
                  </a:lnTo>
                  <a:lnTo>
                    <a:pt x="2735" y="138"/>
                  </a:lnTo>
                  <a:lnTo>
                    <a:pt x="2734" y="138"/>
                  </a:lnTo>
                  <a:lnTo>
                    <a:pt x="2735" y="138"/>
                  </a:lnTo>
                  <a:lnTo>
                    <a:pt x="2737" y="138"/>
                  </a:lnTo>
                  <a:lnTo>
                    <a:pt x="2738" y="138"/>
                  </a:lnTo>
                  <a:lnTo>
                    <a:pt x="2740" y="138"/>
                  </a:lnTo>
                  <a:lnTo>
                    <a:pt x="2740" y="137"/>
                  </a:lnTo>
                  <a:lnTo>
                    <a:pt x="2741" y="137"/>
                  </a:lnTo>
                  <a:lnTo>
                    <a:pt x="2741" y="136"/>
                  </a:lnTo>
                  <a:lnTo>
                    <a:pt x="2741" y="135"/>
                  </a:lnTo>
                  <a:lnTo>
                    <a:pt x="2740" y="135"/>
                  </a:lnTo>
                  <a:lnTo>
                    <a:pt x="2738" y="135"/>
                  </a:lnTo>
                  <a:lnTo>
                    <a:pt x="2738" y="133"/>
                  </a:lnTo>
                  <a:lnTo>
                    <a:pt x="2737" y="133"/>
                  </a:lnTo>
                  <a:lnTo>
                    <a:pt x="2737" y="132"/>
                  </a:lnTo>
                  <a:lnTo>
                    <a:pt x="2736" y="132"/>
                  </a:lnTo>
                  <a:lnTo>
                    <a:pt x="2735" y="132"/>
                  </a:lnTo>
                  <a:lnTo>
                    <a:pt x="2735" y="131"/>
                  </a:lnTo>
                  <a:lnTo>
                    <a:pt x="2734" y="131"/>
                  </a:lnTo>
                  <a:lnTo>
                    <a:pt x="2734" y="130"/>
                  </a:lnTo>
                  <a:lnTo>
                    <a:pt x="2733" y="130"/>
                  </a:lnTo>
                  <a:lnTo>
                    <a:pt x="2731" y="129"/>
                  </a:lnTo>
                  <a:lnTo>
                    <a:pt x="2730" y="129"/>
                  </a:lnTo>
                  <a:lnTo>
                    <a:pt x="2730" y="128"/>
                  </a:lnTo>
                  <a:lnTo>
                    <a:pt x="2729" y="128"/>
                  </a:lnTo>
                  <a:lnTo>
                    <a:pt x="2728" y="128"/>
                  </a:lnTo>
                  <a:lnTo>
                    <a:pt x="2729" y="128"/>
                  </a:lnTo>
                  <a:lnTo>
                    <a:pt x="2728" y="126"/>
                  </a:lnTo>
                  <a:lnTo>
                    <a:pt x="2727" y="126"/>
                  </a:lnTo>
                  <a:lnTo>
                    <a:pt x="2727" y="125"/>
                  </a:lnTo>
                  <a:lnTo>
                    <a:pt x="2728" y="125"/>
                  </a:lnTo>
                  <a:lnTo>
                    <a:pt x="2728" y="124"/>
                  </a:lnTo>
                  <a:lnTo>
                    <a:pt x="2727" y="123"/>
                  </a:lnTo>
                  <a:lnTo>
                    <a:pt x="2728" y="123"/>
                  </a:lnTo>
                  <a:lnTo>
                    <a:pt x="2728" y="122"/>
                  </a:lnTo>
                  <a:lnTo>
                    <a:pt x="2728" y="121"/>
                  </a:lnTo>
                  <a:lnTo>
                    <a:pt x="2727" y="121"/>
                  </a:lnTo>
                  <a:lnTo>
                    <a:pt x="2726" y="121"/>
                  </a:lnTo>
                  <a:lnTo>
                    <a:pt x="2726" y="119"/>
                  </a:lnTo>
                  <a:lnTo>
                    <a:pt x="2724" y="119"/>
                  </a:lnTo>
                  <a:lnTo>
                    <a:pt x="2723" y="118"/>
                  </a:lnTo>
                  <a:lnTo>
                    <a:pt x="2722" y="118"/>
                  </a:lnTo>
                  <a:lnTo>
                    <a:pt x="2720" y="117"/>
                  </a:lnTo>
                  <a:lnTo>
                    <a:pt x="2719" y="117"/>
                  </a:lnTo>
                  <a:lnTo>
                    <a:pt x="2716" y="117"/>
                  </a:lnTo>
                  <a:lnTo>
                    <a:pt x="2715" y="117"/>
                  </a:lnTo>
                  <a:lnTo>
                    <a:pt x="2714" y="117"/>
                  </a:lnTo>
                  <a:lnTo>
                    <a:pt x="2714" y="116"/>
                  </a:lnTo>
                  <a:lnTo>
                    <a:pt x="2712" y="116"/>
                  </a:lnTo>
                  <a:lnTo>
                    <a:pt x="2710" y="115"/>
                  </a:lnTo>
                  <a:lnTo>
                    <a:pt x="2709" y="115"/>
                  </a:lnTo>
                  <a:lnTo>
                    <a:pt x="2708" y="115"/>
                  </a:lnTo>
                  <a:lnTo>
                    <a:pt x="2709" y="115"/>
                  </a:lnTo>
                  <a:lnTo>
                    <a:pt x="2709" y="114"/>
                  </a:lnTo>
                  <a:lnTo>
                    <a:pt x="2708" y="114"/>
                  </a:lnTo>
                  <a:lnTo>
                    <a:pt x="2708" y="112"/>
                  </a:lnTo>
                  <a:lnTo>
                    <a:pt x="2707" y="112"/>
                  </a:lnTo>
                  <a:lnTo>
                    <a:pt x="2706" y="112"/>
                  </a:lnTo>
                  <a:lnTo>
                    <a:pt x="2705" y="112"/>
                  </a:lnTo>
                  <a:lnTo>
                    <a:pt x="2704" y="112"/>
                  </a:lnTo>
                  <a:lnTo>
                    <a:pt x="2700" y="111"/>
                  </a:lnTo>
                  <a:lnTo>
                    <a:pt x="2697" y="111"/>
                  </a:lnTo>
                  <a:lnTo>
                    <a:pt x="2695" y="111"/>
                  </a:lnTo>
                  <a:lnTo>
                    <a:pt x="2693" y="110"/>
                  </a:lnTo>
                  <a:lnTo>
                    <a:pt x="2692" y="110"/>
                  </a:lnTo>
                  <a:lnTo>
                    <a:pt x="2691" y="110"/>
                  </a:lnTo>
                  <a:lnTo>
                    <a:pt x="2690" y="109"/>
                  </a:lnTo>
                  <a:lnTo>
                    <a:pt x="2690" y="108"/>
                  </a:lnTo>
                  <a:lnTo>
                    <a:pt x="2688" y="108"/>
                  </a:lnTo>
                  <a:lnTo>
                    <a:pt x="2687" y="108"/>
                  </a:lnTo>
                  <a:lnTo>
                    <a:pt x="2687" y="107"/>
                  </a:lnTo>
                  <a:lnTo>
                    <a:pt x="2687" y="105"/>
                  </a:lnTo>
                  <a:lnTo>
                    <a:pt x="2687" y="104"/>
                  </a:lnTo>
                  <a:lnTo>
                    <a:pt x="2686" y="103"/>
                  </a:lnTo>
                  <a:lnTo>
                    <a:pt x="2685" y="103"/>
                  </a:lnTo>
                  <a:lnTo>
                    <a:pt x="2684" y="102"/>
                  </a:lnTo>
                  <a:lnTo>
                    <a:pt x="2683" y="102"/>
                  </a:lnTo>
                  <a:lnTo>
                    <a:pt x="2681" y="102"/>
                  </a:lnTo>
                  <a:lnTo>
                    <a:pt x="2683" y="102"/>
                  </a:lnTo>
                  <a:lnTo>
                    <a:pt x="2681" y="101"/>
                  </a:lnTo>
                  <a:lnTo>
                    <a:pt x="2680" y="101"/>
                  </a:lnTo>
                  <a:lnTo>
                    <a:pt x="2679" y="101"/>
                  </a:lnTo>
                  <a:lnTo>
                    <a:pt x="2680" y="101"/>
                  </a:lnTo>
                  <a:lnTo>
                    <a:pt x="2681" y="101"/>
                  </a:lnTo>
                  <a:lnTo>
                    <a:pt x="2680" y="100"/>
                  </a:lnTo>
                  <a:lnTo>
                    <a:pt x="2679" y="100"/>
                  </a:lnTo>
                  <a:lnTo>
                    <a:pt x="2678" y="100"/>
                  </a:lnTo>
                  <a:lnTo>
                    <a:pt x="2677" y="100"/>
                  </a:lnTo>
                  <a:lnTo>
                    <a:pt x="2677" y="98"/>
                  </a:lnTo>
                  <a:lnTo>
                    <a:pt x="2678" y="98"/>
                  </a:lnTo>
                  <a:lnTo>
                    <a:pt x="2679" y="98"/>
                  </a:lnTo>
                  <a:lnTo>
                    <a:pt x="2679" y="97"/>
                  </a:lnTo>
                  <a:lnTo>
                    <a:pt x="2678" y="97"/>
                  </a:lnTo>
                  <a:lnTo>
                    <a:pt x="2677" y="96"/>
                  </a:lnTo>
                  <a:lnTo>
                    <a:pt x="2678" y="96"/>
                  </a:lnTo>
                  <a:lnTo>
                    <a:pt x="2680" y="96"/>
                  </a:lnTo>
                  <a:lnTo>
                    <a:pt x="2681" y="96"/>
                  </a:lnTo>
                  <a:lnTo>
                    <a:pt x="2684" y="96"/>
                  </a:lnTo>
                  <a:lnTo>
                    <a:pt x="2684" y="95"/>
                  </a:lnTo>
                  <a:lnTo>
                    <a:pt x="2686" y="95"/>
                  </a:lnTo>
                  <a:lnTo>
                    <a:pt x="2690" y="95"/>
                  </a:lnTo>
                  <a:lnTo>
                    <a:pt x="2693" y="95"/>
                  </a:lnTo>
                  <a:lnTo>
                    <a:pt x="2695" y="95"/>
                  </a:lnTo>
                  <a:lnTo>
                    <a:pt x="2701" y="95"/>
                  </a:lnTo>
                  <a:lnTo>
                    <a:pt x="2705" y="95"/>
                  </a:lnTo>
                  <a:lnTo>
                    <a:pt x="2707" y="95"/>
                  </a:lnTo>
                  <a:lnTo>
                    <a:pt x="2709" y="94"/>
                  </a:lnTo>
                  <a:lnTo>
                    <a:pt x="2713" y="94"/>
                  </a:lnTo>
                  <a:lnTo>
                    <a:pt x="2714" y="94"/>
                  </a:lnTo>
                  <a:lnTo>
                    <a:pt x="2716" y="94"/>
                  </a:lnTo>
                  <a:lnTo>
                    <a:pt x="2717" y="94"/>
                  </a:lnTo>
                  <a:lnTo>
                    <a:pt x="2719" y="94"/>
                  </a:lnTo>
                  <a:lnTo>
                    <a:pt x="2720" y="94"/>
                  </a:lnTo>
                  <a:lnTo>
                    <a:pt x="2722" y="94"/>
                  </a:lnTo>
                  <a:lnTo>
                    <a:pt x="2723" y="94"/>
                  </a:lnTo>
                  <a:lnTo>
                    <a:pt x="2722" y="94"/>
                  </a:lnTo>
                  <a:lnTo>
                    <a:pt x="2723" y="94"/>
                  </a:lnTo>
                  <a:lnTo>
                    <a:pt x="2723" y="93"/>
                  </a:lnTo>
                  <a:lnTo>
                    <a:pt x="2726" y="93"/>
                  </a:lnTo>
                  <a:lnTo>
                    <a:pt x="2727" y="93"/>
                  </a:lnTo>
                  <a:lnTo>
                    <a:pt x="2730" y="93"/>
                  </a:lnTo>
                  <a:lnTo>
                    <a:pt x="2734" y="91"/>
                  </a:lnTo>
                  <a:lnTo>
                    <a:pt x="2736" y="93"/>
                  </a:lnTo>
                  <a:lnTo>
                    <a:pt x="2737" y="93"/>
                  </a:lnTo>
                  <a:lnTo>
                    <a:pt x="2737" y="94"/>
                  </a:lnTo>
                  <a:lnTo>
                    <a:pt x="2736" y="94"/>
                  </a:lnTo>
                  <a:lnTo>
                    <a:pt x="2735" y="94"/>
                  </a:lnTo>
                  <a:lnTo>
                    <a:pt x="2735" y="95"/>
                  </a:lnTo>
                  <a:lnTo>
                    <a:pt x="2734" y="95"/>
                  </a:lnTo>
                  <a:lnTo>
                    <a:pt x="2733" y="95"/>
                  </a:lnTo>
                  <a:lnTo>
                    <a:pt x="2731" y="96"/>
                  </a:lnTo>
                  <a:lnTo>
                    <a:pt x="2730" y="96"/>
                  </a:lnTo>
                  <a:lnTo>
                    <a:pt x="2729" y="96"/>
                  </a:lnTo>
                  <a:lnTo>
                    <a:pt x="2729" y="97"/>
                  </a:lnTo>
                  <a:lnTo>
                    <a:pt x="2729" y="98"/>
                  </a:lnTo>
                  <a:lnTo>
                    <a:pt x="2730" y="98"/>
                  </a:lnTo>
                  <a:lnTo>
                    <a:pt x="2731" y="100"/>
                  </a:lnTo>
                  <a:lnTo>
                    <a:pt x="2735" y="100"/>
                  </a:lnTo>
                  <a:lnTo>
                    <a:pt x="2736" y="101"/>
                  </a:lnTo>
                  <a:lnTo>
                    <a:pt x="2737" y="101"/>
                  </a:lnTo>
                  <a:lnTo>
                    <a:pt x="2740" y="101"/>
                  </a:lnTo>
                  <a:lnTo>
                    <a:pt x="2741" y="102"/>
                  </a:lnTo>
                  <a:lnTo>
                    <a:pt x="2742" y="102"/>
                  </a:lnTo>
                  <a:lnTo>
                    <a:pt x="2743" y="103"/>
                  </a:lnTo>
                  <a:lnTo>
                    <a:pt x="2743" y="102"/>
                  </a:lnTo>
                  <a:lnTo>
                    <a:pt x="2742" y="102"/>
                  </a:lnTo>
                  <a:lnTo>
                    <a:pt x="2741" y="101"/>
                  </a:lnTo>
                  <a:lnTo>
                    <a:pt x="2740" y="101"/>
                  </a:lnTo>
                  <a:lnTo>
                    <a:pt x="2738" y="101"/>
                  </a:lnTo>
                  <a:lnTo>
                    <a:pt x="2737" y="101"/>
                  </a:lnTo>
                  <a:lnTo>
                    <a:pt x="2737" y="100"/>
                  </a:lnTo>
                  <a:lnTo>
                    <a:pt x="2735" y="100"/>
                  </a:lnTo>
                  <a:lnTo>
                    <a:pt x="2731" y="100"/>
                  </a:lnTo>
                  <a:lnTo>
                    <a:pt x="2731" y="98"/>
                  </a:lnTo>
                  <a:lnTo>
                    <a:pt x="2730" y="98"/>
                  </a:lnTo>
                  <a:lnTo>
                    <a:pt x="2730" y="97"/>
                  </a:lnTo>
                  <a:lnTo>
                    <a:pt x="2729" y="97"/>
                  </a:lnTo>
                  <a:lnTo>
                    <a:pt x="2730" y="96"/>
                  </a:lnTo>
                  <a:lnTo>
                    <a:pt x="2731" y="96"/>
                  </a:lnTo>
                  <a:lnTo>
                    <a:pt x="2735" y="96"/>
                  </a:lnTo>
                  <a:lnTo>
                    <a:pt x="2737" y="96"/>
                  </a:lnTo>
                  <a:lnTo>
                    <a:pt x="2740" y="96"/>
                  </a:lnTo>
                  <a:lnTo>
                    <a:pt x="2741" y="95"/>
                  </a:lnTo>
                  <a:lnTo>
                    <a:pt x="2741" y="94"/>
                  </a:lnTo>
                  <a:lnTo>
                    <a:pt x="2741" y="95"/>
                  </a:lnTo>
                  <a:lnTo>
                    <a:pt x="2740" y="94"/>
                  </a:lnTo>
                  <a:lnTo>
                    <a:pt x="2741" y="94"/>
                  </a:lnTo>
                  <a:lnTo>
                    <a:pt x="2742" y="93"/>
                  </a:lnTo>
                  <a:lnTo>
                    <a:pt x="2742" y="91"/>
                  </a:lnTo>
                  <a:lnTo>
                    <a:pt x="2741" y="91"/>
                  </a:lnTo>
                  <a:lnTo>
                    <a:pt x="2741" y="93"/>
                  </a:lnTo>
                  <a:lnTo>
                    <a:pt x="2740" y="93"/>
                  </a:lnTo>
                  <a:lnTo>
                    <a:pt x="2738" y="93"/>
                  </a:lnTo>
                  <a:lnTo>
                    <a:pt x="2737" y="91"/>
                  </a:lnTo>
                  <a:lnTo>
                    <a:pt x="2736" y="91"/>
                  </a:lnTo>
                  <a:lnTo>
                    <a:pt x="2735" y="90"/>
                  </a:lnTo>
                  <a:lnTo>
                    <a:pt x="2734" y="90"/>
                  </a:lnTo>
                  <a:lnTo>
                    <a:pt x="2736" y="90"/>
                  </a:lnTo>
                  <a:lnTo>
                    <a:pt x="2737" y="90"/>
                  </a:lnTo>
                  <a:lnTo>
                    <a:pt x="2738" y="90"/>
                  </a:lnTo>
                  <a:lnTo>
                    <a:pt x="2737" y="90"/>
                  </a:lnTo>
                  <a:lnTo>
                    <a:pt x="2736" y="90"/>
                  </a:lnTo>
                  <a:lnTo>
                    <a:pt x="2733" y="90"/>
                  </a:lnTo>
                  <a:lnTo>
                    <a:pt x="2731" y="89"/>
                  </a:lnTo>
                  <a:lnTo>
                    <a:pt x="2730" y="89"/>
                  </a:lnTo>
                  <a:lnTo>
                    <a:pt x="2730" y="88"/>
                  </a:lnTo>
                  <a:lnTo>
                    <a:pt x="2729" y="88"/>
                  </a:lnTo>
                  <a:lnTo>
                    <a:pt x="2727" y="88"/>
                  </a:lnTo>
                  <a:lnTo>
                    <a:pt x="2722" y="87"/>
                  </a:lnTo>
                  <a:lnTo>
                    <a:pt x="2721" y="87"/>
                  </a:lnTo>
                  <a:lnTo>
                    <a:pt x="2720" y="87"/>
                  </a:lnTo>
                  <a:lnTo>
                    <a:pt x="2720" y="86"/>
                  </a:lnTo>
                  <a:lnTo>
                    <a:pt x="2722" y="86"/>
                  </a:lnTo>
                  <a:lnTo>
                    <a:pt x="2723" y="87"/>
                  </a:lnTo>
                  <a:lnTo>
                    <a:pt x="2724" y="87"/>
                  </a:lnTo>
                  <a:lnTo>
                    <a:pt x="2723" y="87"/>
                  </a:lnTo>
                  <a:lnTo>
                    <a:pt x="2723" y="86"/>
                  </a:lnTo>
                  <a:lnTo>
                    <a:pt x="2722" y="86"/>
                  </a:lnTo>
                  <a:lnTo>
                    <a:pt x="2721" y="86"/>
                  </a:lnTo>
                  <a:lnTo>
                    <a:pt x="2722" y="86"/>
                  </a:lnTo>
                  <a:lnTo>
                    <a:pt x="2723" y="86"/>
                  </a:lnTo>
                  <a:lnTo>
                    <a:pt x="2724" y="84"/>
                  </a:lnTo>
                  <a:lnTo>
                    <a:pt x="2726" y="86"/>
                  </a:lnTo>
                  <a:lnTo>
                    <a:pt x="2727" y="86"/>
                  </a:lnTo>
                  <a:lnTo>
                    <a:pt x="2726" y="86"/>
                  </a:lnTo>
                  <a:lnTo>
                    <a:pt x="2727" y="86"/>
                  </a:lnTo>
                  <a:lnTo>
                    <a:pt x="2728" y="86"/>
                  </a:lnTo>
                  <a:lnTo>
                    <a:pt x="2729" y="86"/>
                  </a:lnTo>
                  <a:lnTo>
                    <a:pt x="2729" y="87"/>
                  </a:lnTo>
                  <a:lnTo>
                    <a:pt x="2728" y="87"/>
                  </a:lnTo>
                  <a:lnTo>
                    <a:pt x="2729" y="87"/>
                  </a:lnTo>
                  <a:lnTo>
                    <a:pt x="2730" y="87"/>
                  </a:lnTo>
                  <a:lnTo>
                    <a:pt x="2731" y="87"/>
                  </a:lnTo>
                  <a:lnTo>
                    <a:pt x="2730" y="87"/>
                  </a:lnTo>
                  <a:lnTo>
                    <a:pt x="2730" y="86"/>
                  </a:lnTo>
                  <a:lnTo>
                    <a:pt x="2731" y="86"/>
                  </a:lnTo>
                  <a:lnTo>
                    <a:pt x="2733" y="86"/>
                  </a:lnTo>
                  <a:lnTo>
                    <a:pt x="2731" y="86"/>
                  </a:lnTo>
                  <a:lnTo>
                    <a:pt x="2730" y="86"/>
                  </a:lnTo>
                  <a:lnTo>
                    <a:pt x="2728" y="86"/>
                  </a:lnTo>
                  <a:lnTo>
                    <a:pt x="2727" y="86"/>
                  </a:lnTo>
                  <a:lnTo>
                    <a:pt x="2727" y="84"/>
                  </a:lnTo>
                  <a:lnTo>
                    <a:pt x="2726" y="84"/>
                  </a:lnTo>
                  <a:lnTo>
                    <a:pt x="2724" y="84"/>
                  </a:lnTo>
                  <a:lnTo>
                    <a:pt x="2726" y="83"/>
                  </a:lnTo>
                  <a:lnTo>
                    <a:pt x="2723" y="83"/>
                  </a:lnTo>
                  <a:lnTo>
                    <a:pt x="2722" y="83"/>
                  </a:lnTo>
                  <a:lnTo>
                    <a:pt x="2721" y="83"/>
                  </a:lnTo>
                  <a:lnTo>
                    <a:pt x="2720" y="83"/>
                  </a:lnTo>
                  <a:lnTo>
                    <a:pt x="2715" y="82"/>
                  </a:lnTo>
                  <a:lnTo>
                    <a:pt x="2716" y="82"/>
                  </a:lnTo>
                  <a:lnTo>
                    <a:pt x="2715" y="82"/>
                  </a:lnTo>
                  <a:lnTo>
                    <a:pt x="2716" y="82"/>
                  </a:lnTo>
                  <a:lnTo>
                    <a:pt x="2716" y="81"/>
                  </a:lnTo>
                  <a:lnTo>
                    <a:pt x="2717" y="82"/>
                  </a:lnTo>
                  <a:lnTo>
                    <a:pt x="2717" y="81"/>
                  </a:lnTo>
                  <a:lnTo>
                    <a:pt x="2716" y="81"/>
                  </a:lnTo>
                  <a:lnTo>
                    <a:pt x="2716" y="80"/>
                  </a:lnTo>
                  <a:lnTo>
                    <a:pt x="2716" y="81"/>
                  </a:lnTo>
                  <a:lnTo>
                    <a:pt x="2717" y="81"/>
                  </a:lnTo>
                  <a:lnTo>
                    <a:pt x="2719" y="81"/>
                  </a:lnTo>
                  <a:lnTo>
                    <a:pt x="2720" y="81"/>
                  </a:lnTo>
                  <a:lnTo>
                    <a:pt x="2719" y="81"/>
                  </a:lnTo>
                  <a:lnTo>
                    <a:pt x="2720" y="81"/>
                  </a:lnTo>
                  <a:lnTo>
                    <a:pt x="2720" y="82"/>
                  </a:lnTo>
                  <a:lnTo>
                    <a:pt x="2721" y="82"/>
                  </a:lnTo>
                  <a:lnTo>
                    <a:pt x="2721" y="81"/>
                  </a:lnTo>
                  <a:lnTo>
                    <a:pt x="2721" y="82"/>
                  </a:lnTo>
                  <a:lnTo>
                    <a:pt x="2723" y="82"/>
                  </a:lnTo>
                  <a:lnTo>
                    <a:pt x="2724" y="82"/>
                  </a:lnTo>
                  <a:lnTo>
                    <a:pt x="2724" y="83"/>
                  </a:lnTo>
                  <a:lnTo>
                    <a:pt x="2726" y="83"/>
                  </a:lnTo>
                  <a:lnTo>
                    <a:pt x="2727" y="83"/>
                  </a:lnTo>
                  <a:lnTo>
                    <a:pt x="2727" y="82"/>
                  </a:lnTo>
                  <a:lnTo>
                    <a:pt x="2726" y="82"/>
                  </a:lnTo>
                  <a:lnTo>
                    <a:pt x="2724" y="82"/>
                  </a:lnTo>
                  <a:lnTo>
                    <a:pt x="2724" y="81"/>
                  </a:lnTo>
                  <a:lnTo>
                    <a:pt x="2726" y="81"/>
                  </a:lnTo>
                  <a:lnTo>
                    <a:pt x="2727" y="81"/>
                  </a:lnTo>
                  <a:lnTo>
                    <a:pt x="2727" y="82"/>
                  </a:lnTo>
                  <a:lnTo>
                    <a:pt x="2727" y="81"/>
                  </a:lnTo>
                  <a:lnTo>
                    <a:pt x="2726" y="81"/>
                  </a:lnTo>
                  <a:lnTo>
                    <a:pt x="2726" y="80"/>
                  </a:lnTo>
                  <a:lnTo>
                    <a:pt x="2727" y="80"/>
                  </a:lnTo>
                  <a:lnTo>
                    <a:pt x="2727" y="79"/>
                  </a:lnTo>
                  <a:lnTo>
                    <a:pt x="2726" y="79"/>
                  </a:lnTo>
                  <a:lnTo>
                    <a:pt x="2724" y="79"/>
                  </a:lnTo>
                  <a:lnTo>
                    <a:pt x="2726" y="77"/>
                  </a:lnTo>
                  <a:lnTo>
                    <a:pt x="2727" y="79"/>
                  </a:lnTo>
                  <a:lnTo>
                    <a:pt x="2728" y="79"/>
                  </a:lnTo>
                  <a:lnTo>
                    <a:pt x="2729" y="79"/>
                  </a:lnTo>
                  <a:lnTo>
                    <a:pt x="2729" y="77"/>
                  </a:lnTo>
                  <a:lnTo>
                    <a:pt x="2730" y="77"/>
                  </a:lnTo>
                  <a:lnTo>
                    <a:pt x="2729" y="77"/>
                  </a:lnTo>
                  <a:lnTo>
                    <a:pt x="2727" y="77"/>
                  </a:lnTo>
                  <a:lnTo>
                    <a:pt x="2726" y="77"/>
                  </a:lnTo>
                  <a:lnTo>
                    <a:pt x="2724" y="77"/>
                  </a:lnTo>
                  <a:lnTo>
                    <a:pt x="2722" y="77"/>
                  </a:lnTo>
                  <a:lnTo>
                    <a:pt x="2721" y="77"/>
                  </a:lnTo>
                  <a:lnTo>
                    <a:pt x="2721" y="76"/>
                  </a:lnTo>
                  <a:lnTo>
                    <a:pt x="2723" y="76"/>
                  </a:lnTo>
                  <a:lnTo>
                    <a:pt x="2727" y="76"/>
                  </a:lnTo>
                  <a:lnTo>
                    <a:pt x="2730" y="77"/>
                  </a:lnTo>
                  <a:lnTo>
                    <a:pt x="2731" y="76"/>
                  </a:lnTo>
                  <a:lnTo>
                    <a:pt x="2733" y="76"/>
                  </a:lnTo>
                  <a:lnTo>
                    <a:pt x="2733" y="75"/>
                  </a:lnTo>
                  <a:lnTo>
                    <a:pt x="2734" y="75"/>
                  </a:lnTo>
                  <a:lnTo>
                    <a:pt x="2735" y="75"/>
                  </a:lnTo>
                  <a:lnTo>
                    <a:pt x="2735" y="74"/>
                  </a:lnTo>
                  <a:lnTo>
                    <a:pt x="2734" y="74"/>
                  </a:lnTo>
                  <a:lnTo>
                    <a:pt x="2735" y="74"/>
                  </a:lnTo>
                  <a:lnTo>
                    <a:pt x="2736" y="74"/>
                  </a:lnTo>
                  <a:lnTo>
                    <a:pt x="2735" y="74"/>
                  </a:lnTo>
                  <a:lnTo>
                    <a:pt x="2735" y="73"/>
                  </a:lnTo>
                  <a:lnTo>
                    <a:pt x="2736" y="73"/>
                  </a:lnTo>
                  <a:lnTo>
                    <a:pt x="2737" y="73"/>
                  </a:lnTo>
                  <a:lnTo>
                    <a:pt x="2736" y="73"/>
                  </a:lnTo>
                  <a:lnTo>
                    <a:pt x="2734" y="73"/>
                  </a:lnTo>
                  <a:lnTo>
                    <a:pt x="2735" y="73"/>
                  </a:lnTo>
                  <a:lnTo>
                    <a:pt x="2736" y="73"/>
                  </a:lnTo>
                  <a:lnTo>
                    <a:pt x="2737" y="73"/>
                  </a:lnTo>
                  <a:lnTo>
                    <a:pt x="2737" y="72"/>
                  </a:lnTo>
                  <a:lnTo>
                    <a:pt x="2738" y="72"/>
                  </a:lnTo>
                  <a:lnTo>
                    <a:pt x="2738" y="73"/>
                  </a:lnTo>
                  <a:lnTo>
                    <a:pt x="2740" y="73"/>
                  </a:lnTo>
                  <a:lnTo>
                    <a:pt x="2742" y="73"/>
                  </a:lnTo>
                  <a:lnTo>
                    <a:pt x="2743" y="73"/>
                  </a:lnTo>
                  <a:lnTo>
                    <a:pt x="2742" y="73"/>
                  </a:lnTo>
                  <a:lnTo>
                    <a:pt x="2742" y="72"/>
                  </a:lnTo>
                  <a:lnTo>
                    <a:pt x="2743" y="72"/>
                  </a:lnTo>
                  <a:lnTo>
                    <a:pt x="2745" y="72"/>
                  </a:lnTo>
                  <a:lnTo>
                    <a:pt x="2744" y="72"/>
                  </a:lnTo>
                  <a:lnTo>
                    <a:pt x="2743" y="72"/>
                  </a:lnTo>
                  <a:lnTo>
                    <a:pt x="2747" y="70"/>
                  </a:lnTo>
                  <a:lnTo>
                    <a:pt x="2749" y="70"/>
                  </a:lnTo>
                  <a:lnTo>
                    <a:pt x="2750" y="70"/>
                  </a:lnTo>
                  <a:lnTo>
                    <a:pt x="2751" y="70"/>
                  </a:lnTo>
                  <a:lnTo>
                    <a:pt x="2752" y="70"/>
                  </a:lnTo>
                  <a:lnTo>
                    <a:pt x="2754" y="70"/>
                  </a:lnTo>
                  <a:lnTo>
                    <a:pt x="2755" y="70"/>
                  </a:lnTo>
                  <a:lnTo>
                    <a:pt x="2756" y="70"/>
                  </a:lnTo>
                  <a:lnTo>
                    <a:pt x="2757" y="70"/>
                  </a:lnTo>
                  <a:lnTo>
                    <a:pt x="2758" y="70"/>
                  </a:lnTo>
                  <a:lnTo>
                    <a:pt x="2758" y="69"/>
                  </a:lnTo>
                  <a:lnTo>
                    <a:pt x="2757" y="69"/>
                  </a:lnTo>
                  <a:lnTo>
                    <a:pt x="2758" y="69"/>
                  </a:lnTo>
                  <a:lnTo>
                    <a:pt x="2759" y="69"/>
                  </a:lnTo>
                  <a:lnTo>
                    <a:pt x="2761" y="69"/>
                  </a:lnTo>
                  <a:lnTo>
                    <a:pt x="2762" y="69"/>
                  </a:lnTo>
                  <a:lnTo>
                    <a:pt x="2763" y="69"/>
                  </a:lnTo>
                  <a:lnTo>
                    <a:pt x="2764" y="69"/>
                  </a:lnTo>
                  <a:lnTo>
                    <a:pt x="2765" y="69"/>
                  </a:lnTo>
                  <a:lnTo>
                    <a:pt x="2768" y="68"/>
                  </a:lnTo>
                  <a:lnTo>
                    <a:pt x="2771" y="68"/>
                  </a:lnTo>
                  <a:lnTo>
                    <a:pt x="2773" y="68"/>
                  </a:lnTo>
                  <a:lnTo>
                    <a:pt x="2776" y="67"/>
                  </a:lnTo>
                  <a:lnTo>
                    <a:pt x="2777" y="67"/>
                  </a:lnTo>
                  <a:lnTo>
                    <a:pt x="2778" y="67"/>
                  </a:lnTo>
                  <a:lnTo>
                    <a:pt x="2777" y="67"/>
                  </a:lnTo>
                  <a:lnTo>
                    <a:pt x="2774" y="67"/>
                  </a:lnTo>
                  <a:lnTo>
                    <a:pt x="2773" y="67"/>
                  </a:lnTo>
                  <a:lnTo>
                    <a:pt x="2772" y="67"/>
                  </a:lnTo>
                  <a:lnTo>
                    <a:pt x="2771" y="67"/>
                  </a:lnTo>
                  <a:lnTo>
                    <a:pt x="2770" y="67"/>
                  </a:lnTo>
                  <a:lnTo>
                    <a:pt x="2770" y="66"/>
                  </a:lnTo>
                  <a:lnTo>
                    <a:pt x="2769" y="66"/>
                  </a:lnTo>
                  <a:lnTo>
                    <a:pt x="2769" y="67"/>
                  </a:lnTo>
                  <a:lnTo>
                    <a:pt x="2768" y="67"/>
                  </a:lnTo>
                  <a:lnTo>
                    <a:pt x="2769" y="67"/>
                  </a:lnTo>
                  <a:lnTo>
                    <a:pt x="2768" y="67"/>
                  </a:lnTo>
                  <a:lnTo>
                    <a:pt x="2766" y="67"/>
                  </a:lnTo>
                  <a:lnTo>
                    <a:pt x="2765" y="67"/>
                  </a:lnTo>
                  <a:lnTo>
                    <a:pt x="2765" y="66"/>
                  </a:lnTo>
                  <a:lnTo>
                    <a:pt x="2766" y="66"/>
                  </a:lnTo>
                  <a:lnTo>
                    <a:pt x="2765" y="66"/>
                  </a:lnTo>
                  <a:lnTo>
                    <a:pt x="2765" y="65"/>
                  </a:lnTo>
                  <a:lnTo>
                    <a:pt x="2766" y="65"/>
                  </a:lnTo>
                  <a:lnTo>
                    <a:pt x="2766" y="66"/>
                  </a:lnTo>
                  <a:lnTo>
                    <a:pt x="2768" y="66"/>
                  </a:lnTo>
                  <a:lnTo>
                    <a:pt x="2768" y="65"/>
                  </a:lnTo>
                  <a:lnTo>
                    <a:pt x="2766" y="65"/>
                  </a:lnTo>
                  <a:lnTo>
                    <a:pt x="2768" y="65"/>
                  </a:lnTo>
                  <a:lnTo>
                    <a:pt x="2769" y="65"/>
                  </a:lnTo>
                  <a:lnTo>
                    <a:pt x="2769" y="66"/>
                  </a:lnTo>
                  <a:lnTo>
                    <a:pt x="2770" y="66"/>
                  </a:lnTo>
                  <a:lnTo>
                    <a:pt x="2771" y="66"/>
                  </a:lnTo>
                  <a:lnTo>
                    <a:pt x="2772" y="66"/>
                  </a:lnTo>
                  <a:lnTo>
                    <a:pt x="2773" y="66"/>
                  </a:lnTo>
                  <a:lnTo>
                    <a:pt x="2774" y="66"/>
                  </a:lnTo>
                  <a:lnTo>
                    <a:pt x="2774" y="65"/>
                  </a:lnTo>
                  <a:lnTo>
                    <a:pt x="2773" y="65"/>
                  </a:lnTo>
                  <a:lnTo>
                    <a:pt x="2772" y="65"/>
                  </a:lnTo>
                  <a:lnTo>
                    <a:pt x="2771" y="65"/>
                  </a:lnTo>
                  <a:lnTo>
                    <a:pt x="2776" y="65"/>
                  </a:lnTo>
                  <a:lnTo>
                    <a:pt x="2777" y="65"/>
                  </a:lnTo>
                  <a:lnTo>
                    <a:pt x="2778" y="65"/>
                  </a:lnTo>
                  <a:lnTo>
                    <a:pt x="2779" y="65"/>
                  </a:lnTo>
                  <a:lnTo>
                    <a:pt x="2779" y="66"/>
                  </a:lnTo>
                  <a:lnTo>
                    <a:pt x="2780" y="66"/>
                  </a:lnTo>
                  <a:lnTo>
                    <a:pt x="2780" y="65"/>
                  </a:lnTo>
                  <a:lnTo>
                    <a:pt x="2781" y="65"/>
                  </a:lnTo>
                  <a:lnTo>
                    <a:pt x="2780" y="65"/>
                  </a:lnTo>
                  <a:lnTo>
                    <a:pt x="2779" y="65"/>
                  </a:lnTo>
                  <a:lnTo>
                    <a:pt x="2781" y="65"/>
                  </a:lnTo>
                  <a:lnTo>
                    <a:pt x="2783" y="65"/>
                  </a:lnTo>
                  <a:lnTo>
                    <a:pt x="2784" y="65"/>
                  </a:lnTo>
                  <a:lnTo>
                    <a:pt x="2785" y="65"/>
                  </a:lnTo>
                  <a:lnTo>
                    <a:pt x="2786" y="65"/>
                  </a:lnTo>
                  <a:lnTo>
                    <a:pt x="2786" y="63"/>
                  </a:lnTo>
                  <a:lnTo>
                    <a:pt x="2791" y="65"/>
                  </a:lnTo>
                  <a:lnTo>
                    <a:pt x="2792" y="65"/>
                  </a:lnTo>
                  <a:lnTo>
                    <a:pt x="2793" y="65"/>
                  </a:lnTo>
                  <a:lnTo>
                    <a:pt x="2794" y="65"/>
                  </a:lnTo>
                  <a:lnTo>
                    <a:pt x="2795" y="65"/>
                  </a:lnTo>
                  <a:lnTo>
                    <a:pt x="2794" y="65"/>
                  </a:lnTo>
                  <a:lnTo>
                    <a:pt x="2793" y="65"/>
                  </a:lnTo>
                  <a:lnTo>
                    <a:pt x="2793" y="66"/>
                  </a:lnTo>
                  <a:lnTo>
                    <a:pt x="2794" y="66"/>
                  </a:lnTo>
                  <a:lnTo>
                    <a:pt x="2793" y="66"/>
                  </a:lnTo>
                  <a:lnTo>
                    <a:pt x="2794" y="66"/>
                  </a:lnTo>
                  <a:lnTo>
                    <a:pt x="2793" y="66"/>
                  </a:lnTo>
                  <a:lnTo>
                    <a:pt x="2793" y="67"/>
                  </a:lnTo>
                  <a:lnTo>
                    <a:pt x="2792" y="67"/>
                  </a:lnTo>
                  <a:lnTo>
                    <a:pt x="2793" y="68"/>
                  </a:lnTo>
                  <a:lnTo>
                    <a:pt x="2794" y="68"/>
                  </a:lnTo>
                  <a:lnTo>
                    <a:pt x="2794" y="67"/>
                  </a:lnTo>
                  <a:lnTo>
                    <a:pt x="2795" y="67"/>
                  </a:lnTo>
                  <a:lnTo>
                    <a:pt x="2797" y="67"/>
                  </a:lnTo>
                  <a:lnTo>
                    <a:pt x="2798" y="67"/>
                  </a:lnTo>
                  <a:lnTo>
                    <a:pt x="2798" y="66"/>
                  </a:lnTo>
                  <a:lnTo>
                    <a:pt x="2797" y="66"/>
                  </a:lnTo>
                  <a:lnTo>
                    <a:pt x="2798" y="66"/>
                  </a:lnTo>
                  <a:lnTo>
                    <a:pt x="2799" y="66"/>
                  </a:lnTo>
                  <a:lnTo>
                    <a:pt x="2800" y="66"/>
                  </a:lnTo>
                  <a:lnTo>
                    <a:pt x="2801" y="67"/>
                  </a:lnTo>
                  <a:lnTo>
                    <a:pt x="2800" y="67"/>
                  </a:lnTo>
                  <a:lnTo>
                    <a:pt x="2800" y="68"/>
                  </a:lnTo>
                  <a:lnTo>
                    <a:pt x="2801" y="67"/>
                  </a:lnTo>
                  <a:lnTo>
                    <a:pt x="2802" y="67"/>
                  </a:lnTo>
                  <a:lnTo>
                    <a:pt x="2804" y="67"/>
                  </a:lnTo>
                  <a:lnTo>
                    <a:pt x="2804" y="66"/>
                  </a:lnTo>
                  <a:lnTo>
                    <a:pt x="2805" y="66"/>
                  </a:lnTo>
                  <a:lnTo>
                    <a:pt x="2807" y="66"/>
                  </a:lnTo>
                  <a:lnTo>
                    <a:pt x="2806" y="66"/>
                  </a:lnTo>
                  <a:lnTo>
                    <a:pt x="2806" y="67"/>
                  </a:lnTo>
                  <a:lnTo>
                    <a:pt x="2807" y="67"/>
                  </a:lnTo>
                  <a:lnTo>
                    <a:pt x="2807" y="66"/>
                  </a:lnTo>
                  <a:lnTo>
                    <a:pt x="2808" y="66"/>
                  </a:lnTo>
                  <a:lnTo>
                    <a:pt x="2809" y="66"/>
                  </a:lnTo>
                  <a:lnTo>
                    <a:pt x="2811" y="66"/>
                  </a:lnTo>
                  <a:lnTo>
                    <a:pt x="2812" y="66"/>
                  </a:lnTo>
                  <a:lnTo>
                    <a:pt x="2811" y="66"/>
                  </a:lnTo>
                  <a:lnTo>
                    <a:pt x="2809" y="66"/>
                  </a:lnTo>
                  <a:lnTo>
                    <a:pt x="2808" y="66"/>
                  </a:lnTo>
                  <a:lnTo>
                    <a:pt x="2808" y="65"/>
                  </a:lnTo>
                  <a:lnTo>
                    <a:pt x="2809" y="65"/>
                  </a:lnTo>
                  <a:lnTo>
                    <a:pt x="2811" y="65"/>
                  </a:lnTo>
                  <a:lnTo>
                    <a:pt x="2812" y="66"/>
                  </a:lnTo>
                  <a:lnTo>
                    <a:pt x="2813" y="65"/>
                  </a:lnTo>
                  <a:lnTo>
                    <a:pt x="2812" y="65"/>
                  </a:lnTo>
                  <a:lnTo>
                    <a:pt x="2811" y="65"/>
                  </a:lnTo>
                  <a:lnTo>
                    <a:pt x="2812" y="65"/>
                  </a:lnTo>
                  <a:lnTo>
                    <a:pt x="2812" y="63"/>
                  </a:lnTo>
                  <a:lnTo>
                    <a:pt x="2814" y="63"/>
                  </a:lnTo>
                  <a:lnTo>
                    <a:pt x="2815" y="63"/>
                  </a:lnTo>
                  <a:lnTo>
                    <a:pt x="2816" y="62"/>
                  </a:lnTo>
                  <a:lnTo>
                    <a:pt x="2816" y="63"/>
                  </a:lnTo>
                  <a:lnTo>
                    <a:pt x="2818" y="63"/>
                  </a:lnTo>
                  <a:lnTo>
                    <a:pt x="2819" y="63"/>
                  </a:lnTo>
                  <a:lnTo>
                    <a:pt x="2821" y="63"/>
                  </a:lnTo>
                  <a:lnTo>
                    <a:pt x="2822" y="63"/>
                  </a:lnTo>
                  <a:lnTo>
                    <a:pt x="2821" y="63"/>
                  </a:lnTo>
                  <a:lnTo>
                    <a:pt x="2822" y="63"/>
                  </a:lnTo>
                  <a:lnTo>
                    <a:pt x="2821" y="63"/>
                  </a:lnTo>
                  <a:lnTo>
                    <a:pt x="2822" y="65"/>
                  </a:lnTo>
                  <a:lnTo>
                    <a:pt x="2823" y="65"/>
                  </a:lnTo>
                  <a:lnTo>
                    <a:pt x="2825" y="65"/>
                  </a:lnTo>
                  <a:lnTo>
                    <a:pt x="2826" y="65"/>
                  </a:lnTo>
                  <a:lnTo>
                    <a:pt x="2825" y="65"/>
                  </a:lnTo>
                  <a:lnTo>
                    <a:pt x="2826" y="65"/>
                  </a:lnTo>
                  <a:lnTo>
                    <a:pt x="2827" y="66"/>
                  </a:lnTo>
                  <a:lnTo>
                    <a:pt x="2827" y="65"/>
                  </a:lnTo>
                  <a:lnTo>
                    <a:pt x="2828" y="66"/>
                  </a:lnTo>
                  <a:lnTo>
                    <a:pt x="2829" y="66"/>
                  </a:lnTo>
                  <a:lnTo>
                    <a:pt x="2829" y="67"/>
                  </a:lnTo>
                  <a:lnTo>
                    <a:pt x="2830" y="67"/>
                  </a:lnTo>
                  <a:lnTo>
                    <a:pt x="2830" y="68"/>
                  </a:lnTo>
                  <a:lnTo>
                    <a:pt x="2829" y="68"/>
                  </a:lnTo>
                  <a:lnTo>
                    <a:pt x="2830" y="68"/>
                  </a:lnTo>
                  <a:lnTo>
                    <a:pt x="2832" y="67"/>
                  </a:lnTo>
                  <a:lnTo>
                    <a:pt x="2830" y="66"/>
                  </a:lnTo>
                  <a:lnTo>
                    <a:pt x="2829" y="66"/>
                  </a:lnTo>
                  <a:lnTo>
                    <a:pt x="2829" y="65"/>
                  </a:lnTo>
                  <a:lnTo>
                    <a:pt x="2828" y="65"/>
                  </a:lnTo>
                  <a:lnTo>
                    <a:pt x="2827" y="65"/>
                  </a:lnTo>
                  <a:lnTo>
                    <a:pt x="2827" y="63"/>
                  </a:lnTo>
                  <a:lnTo>
                    <a:pt x="2826" y="63"/>
                  </a:lnTo>
                  <a:lnTo>
                    <a:pt x="2825" y="63"/>
                  </a:lnTo>
                  <a:lnTo>
                    <a:pt x="2823" y="62"/>
                  </a:lnTo>
                  <a:lnTo>
                    <a:pt x="2822" y="62"/>
                  </a:lnTo>
                  <a:lnTo>
                    <a:pt x="2821" y="62"/>
                  </a:lnTo>
                  <a:lnTo>
                    <a:pt x="2820" y="62"/>
                  </a:lnTo>
                  <a:lnTo>
                    <a:pt x="2818" y="62"/>
                  </a:lnTo>
                  <a:lnTo>
                    <a:pt x="2818" y="61"/>
                  </a:lnTo>
                  <a:lnTo>
                    <a:pt x="2816" y="61"/>
                  </a:lnTo>
                  <a:lnTo>
                    <a:pt x="2815" y="61"/>
                  </a:lnTo>
                  <a:lnTo>
                    <a:pt x="2814" y="60"/>
                  </a:lnTo>
                  <a:lnTo>
                    <a:pt x="2813" y="60"/>
                  </a:lnTo>
                  <a:lnTo>
                    <a:pt x="2814" y="60"/>
                  </a:lnTo>
                  <a:lnTo>
                    <a:pt x="2818" y="60"/>
                  </a:lnTo>
                  <a:lnTo>
                    <a:pt x="2820" y="60"/>
                  </a:lnTo>
                  <a:lnTo>
                    <a:pt x="2822" y="60"/>
                  </a:lnTo>
                  <a:lnTo>
                    <a:pt x="2823" y="60"/>
                  </a:lnTo>
                  <a:lnTo>
                    <a:pt x="2827" y="60"/>
                  </a:lnTo>
                  <a:lnTo>
                    <a:pt x="2828" y="60"/>
                  </a:lnTo>
                  <a:lnTo>
                    <a:pt x="2830" y="60"/>
                  </a:lnTo>
                  <a:lnTo>
                    <a:pt x="2832" y="60"/>
                  </a:lnTo>
                  <a:lnTo>
                    <a:pt x="2833" y="60"/>
                  </a:lnTo>
                  <a:lnTo>
                    <a:pt x="2834" y="60"/>
                  </a:lnTo>
                  <a:lnTo>
                    <a:pt x="2836" y="60"/>
                  </a:lnTo>
                  <a:lnTo>
                    <a:pt x="2837" y="60"/>
                  </a:lnTo>
                  <a:lnTo>
                    <a:pt x="2841" y="61"/>
                  </a:lnTo>
                  <a:lnTo>
                    <a:pt x="2842" y="61"/>
                  </a:lnTo>
                  <a:lnTo>
                    <a:pt x="2843" y="61"/>
                  </a:lnTo>
                  <a:lnTo>
                    <a:pt x="2847" y="61"/>
                  </a:lnTo>
                  <a:lnTo>
                    <a:pt x="2845" y="61"/>
                  </a:lnTo>
                  <a:lnTo>
                    <a:pt x="2844" y="61"/>
                  </a:lnTo>
                  <a:lnTo>
                    <a:pt x="2843" y="61"/>
                  </a:lnTo>
                  <a:lnTo>
                    <a:pt x="2841" y="60"/>
                  </a:lnTo>
                  <a:lnTo>
                    <a:pt x="2838" y="60"/>
                  </a:lnTo>
                  <a:lnTo>
                    <a:pt x="2836" y="60"/>
                  </a:lnTo>
                  <a:lnTo>
                    <a:pt x="2834" y="60"/>
                  </a:lnTo>
                  <a:lnTo>
                    <a:pt x="2832" y="60"/>
                  </a:lnTo>
                  <a:lnTo>
                    <a:pt x="2832" y="59"/>
                  </a:lnTo>
                  <a:lnTo>
                    <a:pt x="2833" y="59"/>
                  </a:lnTo>
                  <a:lnTo>
                    <a:pt x="2833" y="58"/>
                  </a:lnTo>
                  <a:lnTo>
                    <a:pt x="2832" y="58"/>
                  </a:lnTo>
                  <a:lnTo>
                    <a:pt x="2832" y="56"/>
                  </a:lnTo>
                  <a:lnTo>
                    <a:pt x="2830" y="56"/>
                  </a:lnTo>
                  <a:lnTo>
                    <a:pt x="2829" y="56"/>
                  </a:lnTo>
                  <a:lnTo>
                    <a:pt x="2828" y="56"/>
                  </a:lnTo>
                  <a:lnTo>
                    <a:pt x="2827" y="56"/>
                  </a:lnTo>
                  <a:lnTo>
                    <a:pt x="2827" y="55"/>
                  </a:lnTo>
                  <a:lnTo>
                    <a:pt x="2827" y="54"/>
                  </a:lnTo>
                  <a:lnTo>
                    <a:pt x="2826" y="54"/>
                  </a:lnTo>
                  <a:lnTo>
                    <a:pt x="2827" y="54"/>
                  </a:lnTo>
                  <a:lnTo>
                    <a:pt x="2828" y="54"/>
                  </a:lnTo>
                  <a:lnTo>
                    <a:pt x="2828" y="53"/>
                  </a:lnTo>
                  <a:lnTo>
                    <a:pt x="2827" y="53"/>
                  </a:lnTo>
                  <a:lnTo>
                    <a:pt x="2828" y="52"/>
                  </a:lnTo>
                  <a:lnTo>
                    <a:pt x="2829" y="51"/>
                  </a:lnTo>
                  <a:lnTo>
                    <a:pt x="2830" y="49"/>
                  </a:lnTo>
                  <a:lnTo>
                    <a:pt x="2832" y="49"/>
                  </a:lnTo>
                  <a:lnTo>
                    <a:pt x="2833" y="49"/>
                  </a:lnTo>
                  <a:lnTo>
                    <a:pt x="2833" y="48"/>
                  </a:lnTo>
                  <a:lnTo>
                    <a:pt x="2835" y="47"/>
                  </a:lnTo>
                  <a:lnTo>
                    <a:pt x="2836" y="46"/>
                  </a:lnTo>
                  <a:lnTo>
                    <a:pt x="2837" y="46"/>
                  </a:lnTo>
                  <a:lnTo>
                    <a:pt x="2837" y="47"/>
                  </a:lnTo>
                  <a:lnTo>
                    <a:pt x="2838" y="47"/>
                  </a:lnTo>
                  <a:lnTo>
                    <a:pt x="2841" y="47"/>
                  </a:lnTo>
                  <a:lnTo>
                    <a:pt x="2841" y="46"/>
                  </a:lnTo>
                  <a:lnTo>
                    <a:pt x="2842" y="46"/>
                  </a:lnTo>
                  <a:lnTo>
                    <a:pt x="2843" y="46"/>
                  </a:lnTo>
                  <a:lnTo>
                    <a:pt x="2844" y="46"/>
                  </a:lnTo>
                  <a:lnTo>
                    <a:pt x="2845" y="46"/>
                  </a:lnTo>
                  <a:lnTo>
                    <a:pt x="2847" y="46"/>
                  </a:lnTo>
                  <a:lnTo>
                    <a:pt x="2849" y="46"/>
                  </a:lnTo>
                  <a:lnTo>
                    <a:pt x="2850" y="46"/>
                  </a:lnTo>
                  <a:lnTo>
                    <a:pt x="2851" y="46"/>
                  </a:lnTo>
                  <a:lnTo>
                    <a:pt x="2851" y="47"/>
                  </a:lnTo>
                  <a:lnTo>
                    <a:pt x="2852" y="47"/>
                  </a:lnTo>
                  <a:lnTo>
                    <a:pt x="2854" y="47"/>
                  </a:lnTo>
                  <a:lnTo>
                    <a:pt x="2856" y="47"/>
                  </a:lnTo>
                  <a:lnTo>
                    <a:pt x="2857" y="48"/>
                  </a:lnTo>
                  <a:lnTo>
                    <a:pt x="2859" y="47"/>
                  </a:lnTo>
                  <a:lnTo>
                    <a:pt x="2862" y="47"/>
                  </a:lnTo>
                  <a:lnTo>
                    <a:pt x="2862" y="48"/>
                  </a:lnTo>
                  <a:lnTo>
                    <a:pt x="2863" y="48"/>
                  </a:lnTo>
                  <a:lnTo>
                    <a:pt x="2864" y="48"/>
                  </a:lnTo>
                  <a:lnTo>
                    <a:pt x="2865" y="49"/>
                  </a:lnTo>
                  <a:lnTo>
                    <a:pt x="2866" y="49"/>
                  </a:lnTo>
                  <a:lnTo>
                    <a:pt x="2868" y="49"/>
                  </a:lnTo>
                  <a:lnTo>
                    <a:pt x="2869" y="49"/>
                  </a:lnTo>
                  <a:lnTo>
                    <a:pt x="2864" y="49"/>
                  </a:lnTo>
                  <a:lnTo>
                    <a:pt x="2864" y="51"/>
                  </a:lnTo>
                  <a:lnTo>
                    <a:pt x="2863" y="51"/>
                  </a:lnTo>
                  <a:lnTo>
                    <a:pt x="2864" y="51"/>
                  </a:lnTo>
                  <a:lnTo>
                    <a:pt x="2863" y="51"/>
                  </a:lnTo>
                  <a:lnTo>
                    <a:pt x="2863" y="52"/>
                  </a:lnTo>
                  <a:lnTo>
                    <a:pt x="2862" y="52"/>
                  </a:lnTo>
                  <a:lnTo>
                    <a:pt x="2859" y="52"/>
                  </a:lnTo>
                  <a:lnTo>
                    <a:pt x="2858" y="52"/>
                  </a:lnTo>
                  <a:lnTo>
                    <a:pt x="2857" y="52"/>
                  </a:lnTo>
                  <a:lnTo>
                    <a:pt x="2856" y="53"/>
                  </a:lnTo>
                  <a:lnTo>
                    <a:pt x="2855" y="53"/>
                  </a:lnTo>
                  <a:lnTo>
                    <a:pt x="2854" y="53"/>
                  </a:lnTo>
                  <a:lnTo>
                    <a:pt x="2855" y="53"/>
                  </a:lnTo>
                  <a:lnTo>
                    <a:pt x="2858" y="53"/>
                  </a:lnTo>
                  <a:lnTo>
                    <a:pt x="2859" y="53"/>
                  </a:lnTo>
                  <a:lnTo>
                    <a:pt x="2861" y="53"/>
                  </a:lnTo>
                  <a:lnTo>
                    <a:pt x="2862" y="53"/>
                  </a:lnTo>
                  <a:lnTo>
                    <a:pt x="2863" y="53"/>
                  </a:lnTo>
                  <a:lnTo>
                    <a:pt x="2864" y="53"/>
                  </a:lnTo>
                  <a:lnTo>
                    <a:pt x="2866" y="53"/>
                  </a:lnTo>
                  <a:lnTo>
                    <a:pt x="2869" y="53"/>
                  </a:lnTo>
                  <a:lnTo>
                    <a:pt x="2870" y="53"/>
                  </a:lnTo>
                  <a:lnTo>
                    <a:pt x="2869" y="53"/>
                  </a:lnTo>
                  <a:lnTo>
                    <a:pt x="2869" y="54"/>
                  </a:lnTo>
                  <a:lnTo>
                    <a:pt x="2866" y="54"/>
                  </a:lnTo>
                  <a:lnTo>
                    <a:pt x="2868" y="54"/>
                  </a:lnTo>
                  <a:lnTo>
                    <a:pt x="2869" y="54"/>
                  </a:lnTo>
                  <a:lnTo>
                    <a:pt x="2870" y="54"/>
                  </a:lnTo>
                  <a:lnTo>
                    <a:pt x="2871" y="54"/>
                  </a:lnTo>
                  <a:lnTo>
                    <a:pt x="2872" y="53"/>
                  </a:lnTo>
                  <a:lnTo>
                    <a:pt x="2873" y="53"/>
                  </a:lnTo>
                  <a:lnTo>
                    <a:pt x="2875" y="54"/>
                  </a:lnTo>
                  <a:lnTo>
                    <a:pt x="2876" y="54"/>
                  </a:lnTo>
                  <a:lnTo>
                    <a:pt x="2877" y="54"/>
                  </a:lnTo>
                  <a:lnTo>
                    <a:pt x="2878" y="54"/>
                  </a:lnTo>
                  <a:lnTo>
                    <a:pt x="2879" y="54"/>
                  </a:lnTo>
                  <a:lnTo>
                    <a:pt x="2878" y="54"/>
                  </a:lnTo>
                  <a:lnTo>
                    <a:pt x="2877" y="54"/>
                  </a:lnTo>
                  <a:lnTo>
                    <a:pt x="2878" y="54"/>
                  </a:lnTo>
                  <a:lnTo>
                    <a:pt x="2878" y="53"/>
                  </a:lnTo>
                  <a:lnTo>
                    <a:pt x="2880" y="54"/>
                  </a:lnTo>
                  <a:lnTo>
                    <a:pt x="2882" y="54"/>
                  </a:lnTo>
                  <a:lnTo>
                    <a:pt x="2883" y="54"/>
                  </a:lnTo>
                  <a:lnTo>
                    <a:pt x="2884" y="54"/>
                  </a:lnTo>
                  <a:lnTo>
                    <a:pt x="2885" y="54"/>
                  </a:lnTo>
                  <a:lnTo>
                    <a:pt x="2884" y="54"/>
                  </a:lnTo>
                  <a:lnTo>
                    <a:pt x="2885" y="54"/>
                  </a:lnTo>
                  <a:lnTo>
                    <a:pt x="2885" y="55"/>
                  </a:lnTo>
                  <a:lnTo>
                    <a:pt x="2886" y="55"/>
                  </a:lnTo>
                  <a:lnTo>
                    <a:pt x="2887" y="55"/>
                  </a:lnTo>
                  <a:lnTo>
                    <a:pt x="2886" y="55"/>
                  </a:lnTo>
                  <a:lnTo>
                    <a:pt x="2885" y="55"/>
                  </a:lnTo>
                  <a:lnTo>
                    <a:pt x="2886" y="55"/>
                  </a:lnTo>
                  <a:lnTo>
                    <a:pt x="2885" y="55"/>
                  </a:lnTo>
                  <a:lnTo>
                    <a:pt x="2885" y="56"/>
                  </a:lnTo>
                  <a:lnTo>
                    <a:pt x="2886" y="56"/>
                  </a:lnTo>
                  <a:lnTo>
                    <a:pt x="2885" y="56"/>
                  </a:lnTo>
                  <a:lnTo>
                    <a:pt x="2885" y="58"/>
                  </a:lnTo>
                  <a:lnTo>
                    <a:pt x="2884" y="58"/>
                  </a:lnTo>
                  <a:lnTo>
                    <a:pt x="2883" y="58"/>
                  </a:lnTo>
                  <a:lnTo>
                    <a:pt x="2884" y="58"/>
                  </a:lnTo>
                  <a:lnTo>
                    <a:pt x="2884" y="59"/>
                  </a:lnTo>
                  <a:lnTo>
                    <a:pt x="2883" y="59"/>
                  </a:lnTo>
                  <a:lnTo>
                    <a:pt x="2882" y="59"/>
                  </a:lnTo>
                  <a:lnTo>
                    <a:pt x="2883" y="60"/>
                  </a:lnTo>
                  <a:lnTo>
                    <a:pt x="2884" y="60"/>
                  </a:lnTo>
                  <a:lnTo>
                    <a:pt x="2886" y="60"/>
                  </a:lnTo>
                  <a:lnTo>
                    <a:pt x="2887" y="60"/>
                  </a:lnTo>
                  <a:lnTo>
                    <a:pt x="2889" y="60"/>
                  </a:lnTo>
                  <a:lnTo>
                    <a:pt x="2891" y="60"/>
                  </a:lnTo>
                  <a:lnTo>
                    <a:pt x="2894" y="60"/>
                  </a:lnTo>
                  <a:lnTo>
                    <a:pt x="2896" y="60"/>
                  </a:lnTo>
                  <a:lnTo>
                    <a:pt x="2896" y="59"/>
                  </a:lnTo>
                  <a:lnTo>
                    <a:pt x="2896" y="58"/>
                  </a:lnTo>
                  <a:lnTo>
                    <a:pt x="2894" y="58"/>
                  </a:lnTo>
                  <a:lnTo>
                    <a:pt x="2893" y="58"/>
                  </a:lnTo>
                  <a:lnTo>
                    <a:pt x="2894" y="58"/>
                  </a:lnTo>
                  <a:lnTo>
                    <a:pt x="2896" y="58"/>
                  </a:lnTo>
                  <a:lnTo>
                    <a:pt x="2897" y="58"/>
                  </a:lnTo>
                  <a:lnTo>
                    <a:pt x="2899" y="58"/>
                  </a:lnTo>
                  <a:lnTo>
                    <a:pt x="2900" y="58"/>
                  </a:lnTo>
                  <a:lnTo>
                    <a:pt x="2904" y="58"/>
                  </a:lnTo>
                  <a:lnTo>
                    <a:pt x="2905" y="58"/>
                  </a:lnTo>
                  <a:lnTo>
                    <a:pt x="2906" y="56"/>
                  </a:lnTo>
                  <a:lnTo>
                    <a:pt x="2907" y="56"/>
                  </a:lnTo>
                  <a:lnTo>
                    <a:pt x="2907" y="58"/>
                  </a:lnTo>
                  <a:lnTo>
                    <a:pt x="2908" y="58"/>
                  </a:lnTo>
                  <a:lnTo>
                    <a:pt x="2909" y="58"/>
                  </a:lnTo>
                  <a:lnTo>
                    <a:pt x="2911" y="58"/>
                  </a:lnTo>
                  <a:lnTo>
                    <a:pt x="2912" y="58"/>
                  </a:lnTo>
                  <a:lnTo>
                    <a:pt x="2913" y="58"/>
                  </a:lnTo>
                  <a:lnTo>
                    <a:pt x="2914" y="58"/>
                  </a:lnTo>
                  <a:lnTo>
                    <a:pt x="2915" y="56"/>
                  </a:lnTo>
                  <a:lnTo>
                    <a:pt x="2918" y="56"/>
                  </a:lnTo>
                  <a:lnTo>
                    <a:pt x="2918" y="58"/>
                  </a:lnTo>
                  <a:lnTo>
                    <a:pt x="2919" y="58"/>
                  </a:lnTo>
                  <a:lnTo>
                    <a:pt x="2920" y="58"/>
                  </a:lnTo>
                  <a:lnTo>
                    <a:pt x="2921" y="58"/>
                  </a:lnTo>
                  <a:lnTo>
                    <a:pt x="2920" y="56"/>
                  </a:lnTo>
                  <a:lnTo>
                    <a:pt x="2921" y="56"/>
                  </a:lnTo>
                  <a:lnTo>
                    <a:pt x="2922" y="56"/>
                  </a:lnTo>
                  <a:lnTo>
                    <a:pt x="2922" y="58"/>
                  </a:lnTo>
                  <a:lnTo>
                    <a:pt x="2923" y="58"/>
                  </a:lnTo>
                  <a:lnTo>
                    <a:pt x="2927" y="58"/>
                  </a:lnTo>
                  <a:lnTo>
                    <a:pt x="2928" y="58"/>
                  </a:lnTo>
                  <a:lnTo>
                    <a:pt x="2928" y="59"/>
                  </a:lnTo>
                  <a:lnTo>
                    <a:pt x="2927" y="59"/>
                  </a:lnTo>
                  <a:lnTo>
                    <a:pt x="2928" y="59"/>
                  </a:lnTo>
                  <a:lnTo>
                    <a:pt x="2929" y="59"/>
                  </a:lnTo>
                  <a:lnTo>
                    <a:pt x="2932" y="59"/>
                  </a:lnTo>
                  <a:lnTo>
                    <a:pt x="2936" y="60"/>
                  </a:lnTo>
                  <a:lnTo>
                    <a:pt x="2935" y="61"/>
                  </a:lnTo>
                  <a:lnTo>
                    <a:pt x="2935" y="62"/>
                  </a:lnTo>
                  <a:lnTo>
                    <a:pt x="2936" y="61"/>
                  </a:lnTo>
                  <a:lnTo>
                    <a:pt x="2937" y="61"/>
                  </a:lnTo>
                  <a:lnTo>
                    <a:pt x="2943" y="61"/>
                  </a:lnTo>
                  <a:lnTo>
                    <a:pt x="2943" y="62"/>
                  </a:lnTo>
                  <a:lnTo>
                    <a:pt x="2944" y="62"/>
                  </a:lnTo>
                  <a:lnTo>
                    <a:pt x="2943" y="62"/>
                  </a:lnTo>
                  <a:lnTo>
                    <a:pt x="2944" y="62"/>
                  </a:lnTo>
                  <a:lnTo>
                    <a:pt x="2944" y="63"/>
                  </a:lnTo>
                  <a:lnTo>
                    <a:pt x="2946" y="63"/>
                  </a:lnTo>
                  <a:lnTo>
                    <a:pt x="2944" y="63"/>
                  </a:lnTo>
                  <a:lnTo>
                    <a:pt x="2943" y="63"/>
                  </a:lnTo>
                  <a:lnTo>
                    <a:pt x="2944" y="63"/>
                  </a:lnTo>
                  <a:lnTo>
                    <a:pt x="2946" y="63"/>
                  </a:lnTo>
                  <a:lnTo>
                    <a:pt x="2947" y="63"/>
                  </a:lnTo>
                  <a:lnTo>
                    <a:pt x="2948" y="65"/>
                  </a:lnTo>
                  <a:lnTo>
                    <a:pt x="2948" y="66"/>
                  </a:lnTo>
                  <a:lnTo>
                    <a:pt x="2947" y="66"/>
                  </a:lnTo>
                  <a:lnTo>
                    <a:pt x="2950" y="66"/>
                  </a:lnTo>
                  <a:lnTo>
                    <a:pt x="2950" y="65"/>
                  </a:lnTo>
                  <a:lnTo>
                    <a:pt x="2949" y="65"/>
                  </a:lnTo>
                  <a:lnTo>
                    <a:pt x="2949" y="63"/>
                  </a:lnTo>
                  <a:lnTo>
                    <a:pt x="2950" y="65"/>
                  </a:lnTo>
                  <a:lnTo>
                    <a:pt x="2951" y="65"/>
                  </a:lnTo>
                  <a:lnTo>
                    <a:pt x="2953" y="65"/>
                  </a:lnTo>
                  <a:lnTo>
                    <a:pt x="2951" y="65"/>
                  </a:lnTo>
                  <a:lnTo>
                    <a:pt x="2951" y="63"/>
                  </a:lnTo>
                  <a:lnTo>
                    <a:pt x="2950" y="63"/>
                  </a:lnTo>
                  <a:lnTo>
                    <a:pt x="2949" y="63"/>
                  </a:lnTo>
                  <a:lnTo>
                    <a:pt x="2948" y="63"/>
                  </a:lnTo>
                  <a:lnTo>
                    <a:pt x="2947" y="63"/>
                  </a:lnTo>
                  <a:lnTo>
                    <a:pt x="2949" y="63"/>
                  </a:lnTo>
                  <a:lnTo>
                    <a:pt x="2949" y="62"/>
                  </a:lnTo>
                  <a:lnTo>
                    <a:pt x="2950" y="62"/>
                  </a:lnTo>
                  <a:lnTo>
                    <a:pt x="2950" y="63"/>
                  </a:lnTo>
                  <a:lnTo>
                    <a:pt x="2951" y="63"/>
                  </a:lnTo>
                  <a:lnTo>
                    <a:pt x="2954" y="65"/>
                  </a:lnTo>
                  <a:lnTo>
                    <a:pt x="2955" y="66"/>
                  </a:lnTo>
                  <a:lnTo>
                    <a:pt x="2956" y="66"/>
                  </a:lnTo>
                  <a:lnTo>
                    <a:pt x="2957" y="66"/>
                  </a:lnTo>
                  <a:lnTo>
                    <a:pt x="2957" y="67"/>
                  </a:lnTo>
                  <a:lnTo>
                    <a:pt x="2956" y="67"/>
                  </a:lnTo>
                  <a:lnTo>
                    <a:pt x="2957" y="67"/>
                  </a:lnTo>
                  <a:lnTo>
                    <a:pt x="2958" y="67"/>
                  </a:lnTo>
                  <a:lnTo>
                    <a:pt x="2958" y="68"/>
                  </a:lnTo>
                  <a:lnTo>
                    <a:pt x="2960" y="68"/>
                  </a:lnTo>
                  <a:lnTo>
                    <a:pt x="2960" y="67"/>
                  </a:lnTo>
                  <a:lnTo>
                    <a:pt x="2958" y="67"/>
                  </a:lnTo>
                  <a:lnTo>
                    <a:pt x="2960" y="67"/>
                  </a:lnTo>
                  <a:lnTo>
                    <a:pt x="2961" y="67"/>
                  </a:lnTo>
                  <a:lnTo>
                    <a:pt x="2962" y="68"/>
                  </a:lnTo>
                  <a:lnTo>
                    <a:pt x="2963" y="68"/>
                  </a:lnTo>
                  <a:lnTo>
                    <a:pt x="2963" y="69"/>
                  </a:lnTo>
                  <a:lnTo>
                    <a:pt x="2963" y="70"/>
                  </a:lnTo>
                  <a:lnTo>
                    <a:pt x="2964" y="70"/>
                  </a:lnTo>
                  <a:lnTo>
                    <a:pt x="2964" y="72"/>
                  </a:lnTo>
                  <a:lnTo>
                    <a:pt x="2963" y="72"/>
                  </a:lnTo>
                  <a:lnTo>
                    <a:pt x="2963" y="70"/>
                  </a:lnTo>
                  <a:lnTo>
                    <a:pt x="2958" y="69"/>
                  </a:lnTo>
                  <a:lnTo>
                    <a:pt x="2957" y="69"/>
                  </a:lnTo>
                  <a:lnTo>
                    <a:pt x="2954" y="68"/>
                  </a:lnTo>
                  <a:lnTo>
                    <a:pt x="2950" y="68"/>
                  </a:lnTo>
                  <a:lnTo>
                    <a:pt x="2948" y="68"/>
                  </a:lnTo>
                  <a:lnTo>
                    <a:pt x="2949" y="68"/>
                  </a:lnTo>
                  <a:lnTo>
                    <a:pt x="2950" y="68"/>
                  </a:lnTo>
                  <a:lnTo>
                    <a:pt x="2950" y="69"/>
                  </a:lnTo>
                  <a:lnTo>
                    <a:pt x="2951" y="69"/>
                  </a:lnTo>
                  <a:lnTo>
                    <a:pt x="2953" y="69"/>
                  </a:lnTo>
                  <a:lnTo>
                    <a:pt x="2954" y="69"/>
                  </a:lnTo>
                  <a:lnTo>
                    <a:pt x="2955" y="69"/>
                  </a:lnTo>
                  <a:lnTo>
                    <a:pt x="2954" y="69"/>
                  </a:lnTo>
                  <a:lnTo>
                    <a:pt x="2955" y="69"/>
                  </a:lnTo>
                  <a:lnTo>
                    <a:pt x="2955" y="70"/>
                  </a:lnTo>
                  <a:lnTo>
                    <a:pt x="2956" y="70"/>
                  </a:lnTo>
                  <a:lnTo>
                    <a:pt x="2957" y="72"/>
                  </a:lnTo>
                  <a:lnTo>
                    <a:pt x="2958" y="72"/>
                  </a:lnTo>
                  <a:lnTo>
                    <a:pt x="2958" y="70"/>
                  </a:lnTo>
                  <a:lnTo>
                    <a:pt x="2957" y="70"/>
                  </a:lnTo>
                  <a:lnTo>
                    <a:pt x="2960" y="70"/>
                  </a:lnTo>
                  <a:lnTo>
                    <a:pt x="2961" y="70"/>
                  </a:lnTo>
                  <a:lnTo>
                    <a:pt x="2961" y="72"/>
                  </a:lnTo>
                  <a:lnTo>
                    <a:pt x="2962" y="72"/>
                  </a:lnTo>
                  <a:lnTo>
                    <a:pt x="2964" y="72"/>
                  </a:lnTo>
                  <a:lnTo>
                    <a:pt x="2965" y="72"/>
                  </a:lnTo>
                  <a:lnTo>
                    <a:pt x="2966" y="73"/>
                  </a:lnTo>
                  <a:lnTo>
                    <a:pt x="2968" y="73"/>
                  </a:lnTo>
                  <a:lnTo>
                    <a:pt x="2966" y="73"/>
                  </a:lnTo>
                  <a:lnTo>
                    <a:pt x="2966" y="74"/>
                  </a:lnTo>
                  <a:lnTo>
                    <a:pt x="2968" y="74"/>
                  </a:lnTo>
                  <a:lnTo>
                    <a:pt x="2969" y="75"/>
                  </a:lnTo>
                  <a:lnTo>
                    <a:pt x="2968" y="75"/>
                  </a:lnTo>
                  <a:lnTo>
                    <a:pt x="2968" y="76"/>
                  </a:lnTo>
                  <a:lnTo>
                    <a:pt x="2966" y="76"/>
                  </a:lnTo>
                  <a:lnTo>
                    <a:pt x="2966" y="77"/>
                  </a:lnTo>
                  <a:lnTo>
                    <a:pt x="2966" y="79"/>
                  </a:lnTo>
                  <a:lnTo>
                    <a:pt x="2964" y="79"/>
                  </a:lnTo>
                  <a:lnTo>
                    <a:pt x="2963" y="79"/>
                  </a:lnTo>
                  <a:lnTo>
                    <a:pt x="2961" y="80"/>
                  </a:lnTo>
                  <a:lnTo>
                    <a:pt x="2962" y="81"/>
                  </a:lnTo>
                  <a:lnTo>
                    <a:pt x="2961" y="81"/>
                  </a:lnTo>
                  <a:lnTo>
                    <a:pt x="2961" y="82"/>
                  </a:lnTo>
                  <a:lnTo>
                    <a:pt x="2957" y="82"/>
                  </a:lnTo>
                  <a:lnTo>
                    <a:pt x="2955" y="83"/>
                  </a:lnTo>
                  <a:lnTo>
                    <a:pt x="2954" y="83"/>
                  </a:lnTo>
                  <a:lnTo>
                    <a:pt x="2955" y="83"/>
                  </a:lnTo>
                  <a:lnTo>
                    <a:pt x="2954" y="83"/>
                  </a:lnTo>
                  <a:lnTo>
                    <a:pt x="2953" y="84"/>
                  </a:lnTo>
                  <a:lnTo>
                    <a:pt x="2951" y="84"/>
                  </a:lnTo>
                  <a:lnTo>
                    <a:pt x="2950" y="84"/>
                  </a:lnTo>
                  <a:lnTo>
                    <a:pt x="2949" y="84"/>
                  </a:lnTo>
                  <a:lnTo>
                    <a:pt x="2950" y="84"/>
                  </a:lnTo>
                  <a:lnTo>
                    <a:pt x="2951" y="86"/>
                  </a:lnTo>
                  <a:lnTo>
                    <a:pt x="2950" y="86"/>
                  </a:lnTo>
                  <a:lnTo>
                    <a:pt x="2948" y="86"/>
                  </a:lnTo>
                  <a:lnTo>
                    <a:pt x="2948" y="87"/>
                  </a:lnTo>
                  <a:lnTo>
                    <a:pt x="2947" y="87"/>
                  </a:lnTo>
                  <a:lnTo>
                    <a:pt x="2946" y="87"/>
                  </a:lnTo>
                  <a:lnTo>
                    <a:pt x="2944" y="87"/>
                  </a:lnTo>
                  <a:lnTo>
                    <a:pt x="2946" y="87"/>
                  </a:lnTo>
                  <a:lnTo>
                    <a:pt x="2947" y="87"/>
                  </a:lnTo>
                  <a:lnTo>
                    <a:pt x="2948" y="87"/>
                  </a:lnTo>
                  <a:lnTo>
                    <a:pt x="2949" y="87"/>
                  </a:lnTo>
                  <a:lnTo>
                    <a:pt x="2949" y="88"/>
                  </a:lnTo>
                  <a:lnTo>
                    <a:pt x="2949" y="89"/>
                  </a:lnTo>
                  <a:lnTo>
                    <a:pt x="2948" y="89"/>
                  </a:lnTo>
                  <a:lnTo>
                    <a:pt x="2944" y="90"/>
                  </a:lnTo>
                  <a:lnTo>
                    <a:pt x="2943" y="90"/>
                  </a:lnTo>
                  <a:lnTo>
                    <a:pt x="2943" y="91"/>
                  </a:lnTo>
                  <a:lnTo>
                    <a:pt x="2942" y="91"/>
                  </a:lnTo>
                  <a:lnTo>
                    <a:pt x="2942" y="93"/>
                  </a:lnTo>
                  <a:lnTo>
                    <a:pt x="2941" y="93"/>
                  </a:lnTo>
                  <a:lnTo>
                    <a:pt x="2942" y="94"/>
                  </a:lnTo>
                  <a:lnTo>
                    <a:pt x="2940" y="95"/>
                  </a:lnTo>
                  <a:lnTo>
                    <a:pt x="2939" y="95"/>
                  </a:lnTo>
                  <a:lnTo>
                    <a:pt x="2937" y="95"/>
                  </a:lnTo>
                  <a:lnTo>
                    <a:pt x="2936" y="95"/>
                  </a:lnTo>
                  <a:lnTo>
                    <a:pt x="2934" y="95"/>
                  </a:lnTo>
                  <a:lnTo>
                    <a:pt x="2933" y="95"/>
                  </a:lnTo>
                  <a:lnTo>
                    <a:pt x="2932" y="95"/>
                  </a:lnTo>
                  <a:lnTo>
                    <a:pt x="2932" y="96"/>
                  </a:lnTo>
                  <a:lnTo>
                    <a:pt x="2933" y="96"/>
                  </a:lnTo>
                  <a:lnTo>
                    <a:pt x="2932" y="97"/>
                  </a:lnTo>
                  <a:lnTo>
                    <a:pt x="2932" y="98"/>
                  </a:lnTo>
                  <a:lnTo>
                    <a:pt x="2932" y="100"/>
                  </a:lnTo>
                  <a:lnTo>
                    <a:pt x="2930" y="100"/>
                  </a:lnTo>
                  <a:lnTo>
                    <a:pt x="2929" y="100"/>
                  </a:lnTo>
                  <a:lnTo>
                    <a:pt x="2928" y="100"/>
                  </a:lnTo>
                  <a:lnTo>
                    <a:pt x="2927" y="100"/>
                  </a:lnTo>
                  <a:lnTo>
                    <a:pt x="2926" y="100"/>
                  </a:lnTo>
                  <a:lnTo>
                    <a:pt x="2927" y="101"/>
                  </a:lnTo>
                  <a:lnTo>
                    <a:pt x="2926" y="102"/>
                  </a:lnTo>
                  <a:lnTo>
                    <a:pt x="2927" y="102"/>
                  </a:lnTo>
                  <a:lnTo>
                    <a:pt x="2927" y="103"/>
                  </a:lnTo>
                  <a:lnTo>
                    <a:pt x="2927" y="104"/>
                  </a:lnTo>
                  <a:lnTo>
                    <a:pt x="2926" y="104"/>
                  </a:lnTo>
                  <a:lnTo>
                    <a:pt x="2926" y="105"/>
                  </a:lnTo>
                  <a:lnTo>
                    <a:pt x="2925" y="105"/>
                  </a:lnTo>
                  <a:lnTo>
                    <a:pt x="2922" y="105"/>
                  </a:lnTo>
                  <a:lnTo>
                    <a:pt x="2923" y="107"/>
                  </a:lnTo>
                  <a:lnTo>
                    <a:pt x="2927" y="107"/>
                  </a:lnTo>
                  <a:lnTo>
                    <a:pt x="2928" y="105"/>
                  </a:lnTo>
                  <a:lnTo>
                    <a:pt x="2929" y="105"/>
                  </a:lnTo>
                  <a:lnTo>
                    <a:pt x="2929" y="104"/>
                  </a:lnTo>
                  <a:lnTo>
                    <a:pt x="2930" y="104"/>
                  </a:lnTo>
                  <a:lnTo>
                    <a:pt x="2929" y="104"/>
                  </a:lnTo>
                  <a:lnTo>
                    <a:pt x="2930" y="104"/>
                  </a:lnTo>
                  <a:lnTo>
                    <a:pt x="2932" y="104"/>
                  </a:lnTo>
                  <a:lnTo>
                    <a:pt x="2933" y="104"/>
                  </a:lnTo>
                  <a:lnTo>
                    <a:pt x="2935" y="105"/>
                  </a:lnTo>
                  <a:lnTo>
                    <a:pt x="2936" y="105"/>
                  </a:lnTo>
                  <a:lnTo>
                    <a:pt x="2937" y="105"/>
                  </a:lnTo>
                  <a:lnTo>
                    <a:pt x="2940" y="105"/>
                  </a:lnTo>
                  <a:lnTo>
                    <a:pt x="2941" y="105"/>
                  </a:lnTo>
                  <a:lnTo>
                    <a:pt x="2942" y="105"/>
                  </a:lnTo>
                  <a:lnTo>
                    <a:pt x="2941" y="104"/>
                  </a:lnTo>
                  <a:lnTo>
                    <a:pt x="2940" y="104"/>
                  </a:lnTo>
                  <a:lnTo>
                    <a:pt x="2939" y="104"/>
                  </a:lnTo>
                  <a:lnTo>
                    <a:pt x="2937" y="104"/>
                  </a:lnTo>
                  <a:lnTo>
                    <a:pt x="2936" y="104"/>
                  </a:lnTo>
                  <a:lnTo>
                    <a:pt x="2935" y="104"/>
                  </a:lnTo>
                  <a:lnTo>
                    <a:pt x="2933" y="104"/>
                  </a:lnTo>
                  <a:lnTo>
                    <a:pt x="2932" y="103"/>
                  </a:lnTo>
                  <a:lnTo>
                    <a:pt x="2930" y="103"/>
                  </a:lnTo>
                  <a:lnTo>
                    <a:pt x="2930" y="102"/>
                  </a:lnTo>
                  <a:lnTo>
                    <a:pt x="2929" y="102"/>
                  </a:lnTo>
                  <a:lnTo>
                    <a:pt x="2929" y="101"/>
                  </a:lnTo>
                  <a:lnTo>
                    <a:pt x="2935" y="102"/>
                  </a:lnTo>
                  <a:lnTo>
                    <a:pt x="2935" y="101"/>
                  </a:lnTo>
                  <a:lnTo>
                    <a:pt x="2936" y="102"/>
                  </a:lnTo>
                  <a:lnTo>
                    <a:pt x="2936" y="101"/>
                  </a:lnTo>
                  <a:lnTo>
                    <a:pt x="2940" y="101"/>
                  </a:lnTo>
                  <a:lnTo>
                    <a:pt x="2941" y="101"/>
                  </a:lnTo>
                  <a:lnTo>
                    <a:pt x="2943" y="101"/>
                  </a:lnTo>
                  <a:lnTo>
                    <a:pt x="2944" y="101"/>
                  </a:lnTo>
                  <a:lnTo>
                    <a:pt x="2946" y="100"/>
                  </a:lnTo>
                  <a:lnTo>
                    <a:pt x="2948" y="101"/>
                  </a:lnTo>
                  <a:lnTo>
                    <a:pt x="2949" y="101"/>
                  </a:lnTo>
                  <a:lnTo>
                    <a:pt x="2949" y="100"/>
                  </a:lnTo>
                  <a:lnTo>
                    <a:pt x="2948" y="100"/>
                  </a:lnTo>
                  <a:lnTo>
                    <a:pt x="2947" y="100"/>
                  </a:lnTo>
                  <a:lnTo>
                    <a:pt x="2948" y="100"/>
                  </a:lnTo>
                  <a:lnTo>
                    <a:pt x="2949" y="100"/>
                  </a:lnTo>
                  <a:lnTo>
                    <a:pt x="2950" y="98"/>
                  </a:lnTo>
                  <a:lnTo>
                    <a:pt x="2953" y="98"/>
                  </a:lnTo>
                  <a:lnTo>
                    <a:pt x="2954" y="98"/>
                  </a:lnTo>
                  <a:lnTo>
                    <a:pt x="2955" y="98"/>
                  </a:lnTo>
                  <a:lnTo>
                    <a:pt x="2954" y="97"/>
                  </a:lnTo>
                  <a:lnTo>
                    <a:pt x="2955" y="97"/>
                  </a:lnTo>
                  <a:lnTo>
                    <a:pt x="2956" y="98"/>
                  </a:lnTo>
                  <a:lnTo>
                    <a:pt x="2956" y="97"/>
                  </a:lnTo>
                  <a:lnTo>
                    <a:pt x="2955" y="97"/>
                  </a:lnTo>
                  <a:lnTo>
                    <a:pt x="2954" y="97"/>
                  </a:lnTo>
                  <a:lnTo>
                    <a:pt x="2953" y="97"/>
                  </a:lnTo>
                  <a:lnTo>
                    <a:pt x="2953" y="96"/>
                  </a:lnTo>
                  <a:lnTo>
                    <a:pt x="2954" y="96"/>
                  </a:lnTo>
                  <a:lnTo>
                    <a:pt x="2955" y="97"/>
                  </a:lnTo>
                  <a:lnTo>
                    <a:pt x="2956" y="97"/>
                  </a:lnTo>
                  <a:lnTo>
                    <a:pt x="2957" y="97"/>
                  </a:lnTo>
                  <a:lnTo>
                    <a:pt x="2958" y="97"/>
                  </a:lnTo>
                  <a:lnTo>
                    <a:pt x="2960" y="97"/>
                  </a:lnTo>
                  <a:lnTo>
                    <a:pt x="2961" y="97"/>
                  </a:lnTo>
                  <a:lnTo>
                    <a:pt x="2962" y="96"/>
                  </a:lnTo>
                  <a:lnTo>
                    <a:pt x="2961" y="96"/>
                  </a:lnTo>
                  <a:lnTo>
                    <a:pt x="2962" y="96"/>
                  </a:lnTo>
                  <a:lnTo>
                    <a:pt x="2963" y="96"/>
                  </a:lnTo>
                  <a:lnTo>
                    <a:pt x="2963" y="95"/>
                  </a:lnTo>
                  <a:lnTo>
                    <a:pt x="2964" y="95"/>
                  </a:lnTo>
                  <a:lnTo>
                    <a:pt x="2966" y="95"/>
                  </a:lnTo>
                  <a:lnTo>
                    <a:pt x="2966" y="94"/>
                  </a:lnTo>
                  <a:lnTo>
                    <a:pt x="2965" y="94"/>
                  </a:lnTo>
                  <a:lnTo>
                    <a:pt x="2963" y="94"/>
                  </a:lnTo>
                  <a:lnTo>
                    <a:pt x="2961" y="94"/>
                  </a:lnTo>
                  <a:lnTo>
                    <a:pt x="2956" y="94"/>
                  </a:lnTo>
                  <a:lnTo>
                    <a:pt x="2956" y="95"/>
                  </a:lnTo>
                  <a:lnTo>
                    <a:pt x="2955" y="95"/>
                  </a:lnTo>
                  <a:lnTo>
                    <a:pt x="2954" y="94"/>
                  </a:lnTo>
                  <a:lnTo>
                    <a:pt x="2953" y="94"/>
                  </a:lnTo>
                  <a:lnTo>
                    <a:pt x="2951" y="93"/>
                  </a:lnTo>
                  <a:lnTo>
                    <a:pt x="2953" y="93"/>
                  </a:lnTo>
                  <a:lnTo>
                    <a:pt x="2954" y="93"/>
                  </a:lnTo>
                  <a:lnTo>
                    <a:pt x="2954" y="91"/>
                  </a:lnTo>
                  <a:lnTo>
                    <a:pt x="2953" y="91"/>
                  </a:lnTo>
                  <a:lnTo>
                    <a:pt x="2953" y="90"/>
                  </a:lnTo>
                  <a:lnTo>
                    <a:pt x="2954" y="90"/>
                  </a:lnTo>
                  <a:lnTo>
                    <a:pt x="2956" y="90"/>
                  </a:lnTo>
                  <a:lnTo>
                    <a:pt x="2960" y="90"/>
                  </a:lnTo>
                  <a:lnTo>
                    <a:pt x="2961" y="91"/>
                  </a:lnTo>
                  <a:lnTo>
                    <a:pt x="2962" y="91"/>
                  </a:lnTo>
                  <a:lnTo>
                    <a:pt x="2963" y="91"/>
                  </a:lnTo>
                  <a:lnTo>
                    <a:pt x="2964" y="91"/>
                  </a:lnTo>
                  <a:lnTo>
                    <a:pt x="2964" y="90"/>
                  </a:lnTo>
                  <a:lnTo>
                    <a:pt x="2963" y="90"/>
                  </a:lnTo>
                  <a:lnTo>
                    <a:pt x="2964" y="90"/>
                  </a:lnTo>
                  <a:lnTo>
                    <a:pt x="2968" y="90"/>
                  </a:lnTo>
                  <a:lnTo>
                    <a:pt x="2966" y="90"/>
                  </a:lnTo>
                  <a:lnTo>
                    <a:pt x="2965" y="90"/>
                  </a:lnTo>
                  <a:lnTo>
                    <a:pt x="2965" y="91"/>
                  </a:lnTo>
                  <a:lnTo>
                    <a:pt x="2968" y="93"/>
                  </a:lnTo>
                  <a:lnTo>
                    <a:pt x="2970" y="93"/>
                  </a:lnTo>
                  <a:lnTo>
                    <a:pt x="2975" y="94"/>
                  </a:lnTo>
                  <a:lnTo>
                    <a:pt x="2978" y="94"/>
                  </a:lnTo>
                  <a:lnTo>
                    <a:pt x="2980" y="94"/>
                  </a:lnTo>
                  <a:lnTo>
                    <a:pt x="2982" y="94"/>
                  </a:lnTo>
                  <a:lnTo>
                    <a:pt x="2983" y="94"/>
                  </a:lnTo>
                  <a:lnTo>
                    <a:pt x="2984" y="94"/>
                  </a:lnTo>
                  <a:lnTo>
                    <a:pt x="2984" y="93"/>
                  </a:lnTo>
                  <a:lnTo>
                    <a:pt x="2983" y="93"/>
                  </a:lnTo>
                  <a:lnTo>
                    <a:pt x="2983" y="91"/>
                  </a:lnTo>
                  <a:lnTo>
                    <a:pt x="2982" y="91"/>
                  </a:lnTo>
                  <a:lnTo>
                    <a:pt x="2980" y="91"/>
                  </a:lnTo>
                  <a:lnTo>
                    <a:pt x="2980" y="90"/>
                  </a:lnTo>
                  <a:lnTo>
                    <a:pt x="2983" y="91"/>
                  </a:lnTo>
                  <a:lnTo>
                    <a:pt x="2985" y="91"/>
                  </a:lnTo>
                  <a:lnTo>
                    <a:pt x="2985" y="93"/>
                  </a:lnTo>
                  <a:lnTo>
                    <a:pt x="2986" y="93"/>
                  </a:lnTo>
                  <a:lnTo>
                    <a:pt x="2989" y="94"/>
                  </a:lnTo>
                  <a:lnTo>
                    <a:pt x="2990" y="95"/>
                  </a:lnTo>
                  <a:lnTo>
                    <a:pt x="2991" y="95"/>
                  </a:lnTo>
                  <a:lnTo>
                    <a:pt x="2992" y="95"/>
                  </a:lnTo>
                  <a:lnTo>
                    <a:pt x="2992" y="96"/>
                  </a:lnTo>
                  <a:lnTo>
                    <a:pt x="2991" y="96"/>
                  </a:lnTo>
                  <a:lnTo>
                    <a:pt x="2991" y="97"/>
                  </a:lnTo>
                  <a:lnTo>
                    <a:pt x="2992" y="97"/>
                  </a:lnTo>
                  <a:lnTo>
                    <a:pt x="2992" y="98"/>
                  </a:lnTo>
                  <a:lnTo>
                    <a:pt x="2993" y="98"/>
                  </a:lnTo>
                  <a:lnTo>
                    <a:pt x="2994" y="98"/>
                  </a:lnTo>
                  <a:lnTo>
                    <a:pt x="2996" y="98"/>
                  </a:lnTo>
                  <a:lnTo>
                    <a:pt x="2997" y="98"/>
                  </a:lnTo>
                  <a:lnTo>
                    <a:pt x="2997" y="100"/>
                  </a:lnTo>
                  <a:lnTo>
                    <a:pt x="2998" y="100"/>
                  </a:lnTo>
                  <a:lnTo>
                    <a:pt x="2998" y="101"/>
                  </a:lnTo>
                  <a:lnTo>
                    <a:pt x="2999" y="101"/>
                  </a:lnTo>
                  <a:lnTo>
                    <a:pt x="3000" y="102"/>
                  </a:lnTo>
                  <a:lnTo>
                    <a:pt x="3000" y="103"/>
                  </a:lnTo>
                  <a:lnTo>
                    <a:pt x="3001" y="103"/>
                  </a:lnTo>
                  <a:lnTo>
                    <a:pt x="3001" y="104"/>
                  </a:lnTo>
                  <a:lnTo>
                    <a:pt x="3000" y="104"/>
                  </a:lnTo>
                  <a:lnTo>
                    <a:pt x="3000" y="105"/>
                  </a:lnTo>
                  <a:lnTo>
                    <a:pt x="3001" y="105"/>
                  </a:lnTo>
                  <a:lnTo>
                    <a:pt x="3001" y="107"/>
                  </a:lnTo>
                  <a:lnTo>
                    <a:pt x="3003" y="107"/>
                  </a:lnTo>
                  <a:lnTo>
                    <a:pt x="3004" y="107"/>
                  </a:lnTo>
                  <a:lnTo>
                    <a:pt x="3005" y="108"/>
                  </a:lnTo>
                  <a:lnTo>
                    <a:pt x="3006" y="108"/>
                  </a:lnTo>
                  <a:lnTo>
                    <a:pt x="3010" y="108"/>
                  </a:lnTo>
                  <a:lnTo>
                    <a:pt x="3013" y="108"/>
                  </a:lnTo>
                  <a:lnTo>
                    <a:pt x="3012" y="108"/>
                  </a:lnTo>
                  <a:lnTo>
                    <a:pt x="3008" y="108"/>
                  </a:lnTo>
                  <a:lnTo>
                    <a:pt x="3005" y="108"/>
                  </a:lnTo>
                  <a:lnTo>
                    <a:pt x="3003" y="107"/>
                  </a:lnTo>
                  <a:lnTo>
                    <a:pt x="3001" y="107"/>
                  </a:lnTo>
                  <a:lnTo>
                    <a:pt x="3001" y="105"/>
                  </a:lnTo>
                  <a:lnTo>
                    <a:pt x="3000" y="105"/>
                  </a:lnTo>
                  <a:lnTo>
                    <a:pt x="3000" y="104"/>
                  </a:lnTo>
                  <a:lnTo>
                    <a:pt x="3001" y="104"/>
                  </a:lnTo>
                  <a:lnTo>
                    <a:pt x="3003" y="104"/>
                  </a:lnTo>
                  <a:lnTo>
                    <a:pt x="3003" y="103"/>
                  </a:lnTo>
                  <a:lnTo>
                    <a:pt x="3001" y="103"/>
                  </a:lnTo>
                  <a:lnTo>
                    <a:pt x="3000" y="102"/>
                  </a:lnTo>
                  <a:lnTo>
                    <a:pt x="2999" y="101"/>
                  </a:lnTo>
                  <a:lnTo>
                    <a:pt x="2998" y="101"/>
                  </a:lnTo>
                  <a:lnTo>
                    <a:pt x="2998" y="100"/>
                  </a:lnTo>
                  <a:lnTo>
                    <a:pt x="2999" y="100"/>
                  </a:lnTo>
                  <a:lnTo>
                    <a:pt x="3000" y="100"/>
                  </a:lnTo>
                  <a:lnTo>
                    <a:pt x="3001" y="98"/>
                  </a:lnTo>
                  <a:lnTo>
                    <a:pt x="3000" y="98"/>
                  </a:lnTo>
                  <a:lnTo>
                    <a:pt x="2999" y="98"/>
                  </a:lnTo>
                  <a:lnTo>
                    <a:pt x="2998" y="98"/>
                  </a:lnTo>
                  <a:lnTo>
                    <a:pt x="2997" y="98"/>
                  </a:lnTo>
                  <a:lnTo>
                    <a:pt x="2996" y="97"/>
                  </a:lnTo>
                  <a:lnTo>
                    <a:pt x="2994" y="97"/>
                  </a:lnTo>
                  <a:lnTo>
                    <a:pt x="2993" y="97"/>
                  </a:lnTo>
                  <a:lnTo>
                    <a:pt x="2994" y="97"/>
                  </a:lnTo>
                  <a:lnTo>
                    <a:pt x="2996" y="96"/>
                  </a:lnTo>
                  <a:lnTo>
                    <a:pt x="2998" y="96"/>
                  </a:lnTo>
                  <a:lnTo>
                    <a:pt x="3001" y="96"/>
                  </a:lnTo>
                  <a:lnTo>
                    <a:pt x="3004" y="96"/>
                  </a:lnTo>
                  <a:lnTo>
                    <a:pt x="3005" y="96"/>
                  </a:lnTo>
                  <a:lnTo>
                    <a:pt x="3005" y="95"/>
                  </a:lnTo>
                  <a:lnTo>
                    <a:pt x="3007" y="95"/>
                  </a:lnTo>
                  <a:lnTo>
                    <a:pt x="3010" y="94"/>
                  </a:lnTo>
                  <a:lnTo>
                    <a:pt x="3014" y="95"/>
                  </a:lnTo>
                  <a:lnTo>
                    <a:pt x="3017" y="95"/>
                  </a:lnTo>
                  <a:lnTo>
                    <a:pt x="3021" y="95"/>
                  </a:lnTo>
                  <a:lnTo>
                    <a:pt x="3027" y="95"/>
                  </a:lnTo>
                  <a:lnTo>
                    <a:pt x="3030" y="96"/>
                  </a:lnTo>
                  <a:lnTo>
                    <a:pt x="3034" y="96"/>
                  </a:lnTo>
                  <a:lnTo>
                    <a:pt x="3035" y="96"/>
                  </a:lnTo>
                  <a:lnTo>
                    <a:pt x="3037" y="96"/>
                  </a:lnTo>
                  <a:lnTo>
                    <a:pt x="3040" y="96"/>
                  </a:lnTo>
                  <a:lnTo>
                    <a:pt x="3044" y="96"/>
                  </a:lnTo>
                  <a:lnTo>
                    <a:pt x="3046" y="96"/>
                  </a:lnTo>
                  <a:lnTo>
                    <a:pt x="3047" y="97"/>
                  </a:lnTo>
                  <a:lnTo>
                    <a:pt x="3046" y="97"/>
                  </a:lnTo>
                  <a:lnTo>
                    <a:pt x="3044" y="97"/>
                  </a:lnTo>
                  <a:lnTo>
                    <a:pt x="3043" y="97"/>
                  </a:lnTo>
                  <a:lnTo>
                    <a:pt x="3042" y="97"/>
                  </a:lnTo>
                  <a:lnTo>
                    <a:pt x="3042" y="98"/>
                  </a:lnTo>
                  <a:lnTo>
                    <a:pt x="3043" y="98"/>
                  </a:lnTo>
                  <a:lnTo>
                    <a:pt x="3043" y="100"/>
                  </a:lnTo>
                  <a:lnTo>
                    <a:pt x="3044" y="100"/>
                  </a:lnTo>
                  <a:lnTo>
                    <a:pt x="3044" y="101"/>
                  </a:lnTo>
                  <a:lnTo>
                    <a:pt x="3046" y="101"/>
                  </a:lnTo>
                  <a:lnTo>
                    <a:pt x="3051" y="102"/>
                  </a:lnTo>
                  <a:lnTo>
                    <a:pt x="3054" y="102"/>
                  </a:lnTo>
                  <a:lnTo>
                    <a:pt x="3056" y="102"/>
                  </a:lnTo>
                  <a:lnTo>
                    <a:pt x="3057" y="102"/>
                  </a:lnTo>
                  <a:lnTo>
                    <a:pt x="3058" y="102"/>
                  </a:lnTo>
                  <a:lnTo>
                    <a:pt x="3058" y="103"/>
                  </a:lnTo>
                  <a:lnTo>
                    <a:pt x="3060" y="103"/>
                  </a:lnTo>
                  <a:lnTo>
                    <a:pt x="3061" y="103"/>
                  </a:lnTo>
                  <a:lnTo>
                    <a:pt x="3062" y="103"/>
                  </a:lnTo>
                  <a:lnTo>
                    <a:pt x="3062" y="104"/>
                  </a:lnTo>
                  <a:lnTo>
                    <a:pt x="3067" y="104"/>
                  </a:lnTo>
                  <a:lnTo>
                    <a:pt x="3071" y="104"/>
                  </a:lnTo>
                  <a:lnTo>
                    <a:pt x="3067" y="104"/>
                  </a:lnTo>
                  <a:lnTo>
                    <a:pt x="3063" y="104"/>
                  </a:lnTo>
                  <a:lnTo>
                    <a:pt x="3063" y="103"/>
                  </a:lnTo>
                  <a:lnTo>
                    <a:pt x="3062" y="103"/>
                  </a:lnTo>
                  <a:lnTo>
                    <a:pt x="3067" y="103"/>
                  </a:lnTo>
                  <a:lnTo>
                    <a:pt x="3069" y="103"/>
                  </a:lnTo>
                  <a:lnTo>
                    <a:pt x="3071" y="103"/>
                  </a:lnTo>
                  <a:lnTo>
                    <a:pt x="3072" y="104"/>
                  </a:lnTo>
                  <a:lnTo>
                    <a:pt x="3076" y="104"/>
                  </a:lnTo>
                  <a:lnTo>
                    <a:pt x="3077" y="104"/>
                  </a:lnTo>
                  <a:lnTo>
                    <a:pt x="3078" y="103"/>
                  </a:lnTo>
                  <a:lnTo>
                    <a:pt x="3081" y="103"/>
                  </a:lnTo>
                  <a:lnTo>
                    <a:pt x="3082" y="104"/>
                  </a:lnTo>
                  <a:lnTo>
                    <a:pt x="3082" y="103"/>
                  </a:lnTo>
                  <a:lnTo>
                    <a:pt x="3084" y="103"/>
                  </a:lnTo>
                  <a:lnTo>
                    <a:pt x="3084" y="104"/>
                  </a:lnTo>
                  <a:lnTo>
                    <a:pt x="3085" y="104"/>
                  </a:lnTo>
                  <a:lnTo>
                    <a:pt x="3090" y="104"/>
                  </a:lnTo>
                  <a:lnTo>
                    <a:pt x="3091" y="105"/>
                  </a:lnTo>
                  <a:lnTo>
                    <a:pt x="3092" y="105"/>
                  </a:lnTo>
                  <a:lnTo>
                    <a:pt x="3093" y="105"/>
                  </a:lnTo>
                  <a:lnTo>
                    <a:pt x="3088" y="104"/>
                  </a:lnTo>
                  <a:lnTo>
                    <a:pt x="3093" y="104"/>
                  </a:lnTo>
                  <a:lnTo>
                    <a:pt x="3094" y="104"/>
                  </a:lnTo>
                  <a:lnTo>
                    <a:pt x="3091" y="104"/>
                  </a:lnTo>
                  <a:lnTo>
                    <a:pt x="3088" y="103"/>
                  </a:lnTo>
                  <a:lnTo>
                    <a:pt x="3089" y="103"/>
                  </a:lnTo>
                  <a:lnTo>
                    <a:pt x="3088" y="103"/>
                  </a:lnTo>
                  <a:lnTo>
                    <a:pt x="3089" y="103"/>
                  </a:lnTo>
                  <a:lnTo>
                    <a:pt x="3091" y="103"/>
                  </a:lnTo>
                  <a:lnTo>
                    <a:pt x="3092" y="103"/>
                  </a:lnTo>
                  <a:lnTo>
                    <a:pt x="3092" y="104"/>
                  </a:lnTo>
                  <a:lnTo>
                    <a:pt x="3096" y="104"/>
                  </a:lnTo>
                  <a:lnTo>
                    <a:pt x="3097" y="104"/>
                  </a:lnTo>
                  <a:lnTo>
                    <a:pt x="3097" y="103"/>
                  </a:lnTo>
                  <a:lnTo>
                    <a:pt x="3096" y="103"/>
                  </a:lnTo>
                  <a:lnTo>
                    <a:pt x="3096" y="102"/>
                  </a:lnTo>
                  <a:lnTo>
                    <a:pt x="3097" y="102"/>
                  </a:lnTo>
                  <a:lnTo>
                    <a:pt x="3096" y="102"/>
                  </a:lnTo>
                  <a:lnTo>
                    <a:pt x="3094" y="102"/>
                  </a:lnTo>
                  <a:lnTo>
                    <a:pt x="3094" y="101"/>
                  </a:lnTo>
                  <a:lnTo>
                    <a:pt x="3096" y="101"/>
                  </a:lnTo>
                  <a:lnTo>
                    <a:pt x="3097" y="101"/>
                  </a:lnTo>
                  <a:lnTo>
                    <a:pt x="3096" y="101"/>
                  </a:lnTo>
                  <a:lnTo>
                    <a:pt x="3097" y="101"/>
                  </a:lnTo>
                  <a:lnTo>
                    <a:pt x="3096" y="101"/>
                  </a:lnTo>
                  <a:lnTo>
                    <a:pt x="3094" y="101"/>
                  </a:lnTo>
                  <a:lnTo>
                    <a:pt x="3094" y="100"/>
                  </a:lnTo>
                  <a:lnTo>
                    <a:pt x="3093" y="100"/>
                  </a:lnTo>
                  <a:lnTo>
                    <a:pt x="3092" y="100"/>
                  </a:lnTo>
                  <a:lnTo>
                    <a:pt x="3091" y="98"/>
                  </a:lnTo>
                  <a:lnTo>
                    <a:pt x="3090" y="98"/>
                  </a:lnTo>
                  <a:lnTo>
                    <a:pt x="3089" y="98"/>
                  </a:lnTo>
                  <a:lnTo>
                    <a:pt x="3089" y="97"/>
                  </a:lnTo>
                  <a:lnTo>
                    <a:pt x="3090" y="97"/>
                  </a:lnTo>
                  <a:lnTo>
                    <a:pt x="3089" y="97"/>
                  </a:lnTo>
                  <a:lnTo>
                    <a:pt x="3088" y="97"/>
                  </a:lnTo>
                  <a:lnTo>
                    <a:pt x="3088" y="96"/>
                  </a:lnTo>
                  <a:lnTo>
                    <a:pt x="3086" y="96"/>
                  </a:lnTo>
                  <a:lnTo>
                    <a:pt x="3088" y="96"/>
                  </a:lnTo>
                  <a:lnTo>
                    <a:pt x="3086" y="96"/>
                  </a:lnTo>
                  <a:lnTo>
                    <a:pt x="3088" y="96"/>
                  </a:lnTo>
                  <a:lnTo>
                    <a:pt x="3088" y="95"/>
                  </a:lnTo>
                  <a:lnTo>
                    <a:pt x="3086" y="95"/>
                  </a:lnTo>
                  <a:lnTo>
                    <a:pt x="3088" y="95"/>
                  </a:lnTo>
                  <a:lnTo>
                    <a:pt x="3088" y="94"/>
                  </a:lnTo>
                  <a:lnTo>
                    <a:pt x="3088" y="95"/>
                  </a:lnTo>
                  <a:lnTo>
                    <a:pt x="3089" y="95"/>
                  </a:lnTo>
                  <a:lnTo>
                    <a:pt x="3090" y="96"/>
                  </a:lnTo>
                  <a:lnTo>
                    <a:pt x="3091" y="95"/>
                  </a:lnTo>
                  <a:lnTo>
                    <a:pt x="3092" y="95"/>
                  </a:lnTo>
                  <a:lnTo>
                    <a:pt x="3091" y="95"/>
                  </a:lnTo>
                  <a:lnTo>
                    <a:pt x="3092" y="95"/>
                  </a:lnTo>
                  <a:lnTo>
                    <a:pt x="3091" y="95"/>
                  </a:lnTo>
                  <a:lnTo>
                    <a:pt x="3091" y="94"/>
                  </a:lnTo>
                  <a:lnTo>
                    <a:pt x="3090" y="94"/>
                  </a:lnTo>
                  <a:lnTo>
                    <a:pt x="3089" y="94"/>
                  </a:lnTo>
                  <a:lnTo>
                    <a:pt x="3090" y="94"/>
                  </a:lnTo>
                  <a:lnTo>
                    <a:pt x="3091" y="94"/>
                  </a:lnTo>
                  <a:lnTo>
                    <a:pt x="3092" y="94"/>
                  </a:lnTo>
                  <a:lnTo>
                    <a:pt x="3091" y="94"/>
                  </a:lnTo>
                  <a:lnTo>
                    <a:pt x="3091" y="95"/>
                  </a:lnTo>
                  <a:lnTo>
                    <a:pt x="3092" y="95"/>
                  </a:lnTo>
                  <a:lnTo>
                    <a:pt x="3092" y="94"/>
                  </a:lnTo>
                  <a:lnTo>
                    <a:pt x="3093" y="94"/>
                  </a:lnTo>
                  <a:lnTo>
                    <a:pt x="3093" y="93"/>
                  </a:lnTo>
                  <a:lnTo>
                    <a:pt x="3093" y="94"/>
                  </a:lnTo>
                  <a:lnTo>
                    <a:pt x="3094" y="94"/>
                  </a:lnTo>
                  <a:lnTo>
                    <a:pt x="3096" y="94"/>
                  </a:lnTo>
                  <a:lnTo>
                    <a:pt x="3097" y="94"/>
                  </a:lnTo>
                  <a:lnTo>
                    <a:pt x="3098" y="94"/>
                  </a:lnTo>
                  <a:lnTo>
                    <a:pt x="3099" y="94"/>
                  </a:lnTo>
                  <a:lnTo>
                    <a:pt x="3099" y="95"/>
                  </a:lnTo>
                  <a:lnTo>
                    <a:pt x="3100" y="95"/>
                  </a:lnTo>
                  <a:lnTo>
                    <a:pt x="3101" y="95"/>
                  </a:lnTo>
                  <a:lnTo>
                    <a:pt x="3103" y="95"/>
                  </a:lnTo>
                  <a:lnTo>
                    <a:pt x="3101" y="95"/>
                  </a:lnTo>
                  <a:lnTo>
                    <a:pt x="3103" y="95"/>
                  </a:lnTo>
                  <a:lnTo>
                    <a:pt x="3103" y="94"/>
                  </a:lnTo>
                  <a:lnTo>
                    <a:pt x="3103" y="95"/>
                  </a:lnTo>
                  <a:lnTo>
                    <a:pt x="3104" y="95"/>
                  </a:lnTo>
                  <a:lnTo>
                    <a:pt x="3105" y="95"/>
                  </a:lnTo>
                  <a:lnTo>
                    <a:pt x="3105" y="96"/>
                  </a:lnTo>
                  <a:lnTo>
                    <a:pt x="3106" y="96"/>
                  </a:lnTo>
                  <a:lnTo>
                    <a:pt x="3107" y="96"/>
                  </a:lnTo>
                  <a:lnTo>
                    <a:pt x="3108" y="96"/>
                  </a:lnTo>
                  <a:lnTo>
                    <a:pt x="3110" y="96"/>
                  </a:lnTo>
                  <a:lnTo>
                    <a:pt x="3110" y="97"/>
                  </a:lnTo>
                  <a:lnTo>
                    <a:pt x="3111" y="97"/>
                  </a:lnTo>
                  <a:lnTo>
                    <a:pt x="3110" y="97"/>
                  </a:lnTo>
                  <a:lnTo>
                    <a:pt x="3111" y="97"/>
                  </a:lnTo>
                  <a:lnTo>
                    <a:pt x="3111" y="98"/>
                  </a:lnTo>
                  <a:lnTo>
                    <a:pt x="3112" y="98"/>
                  </a:lnTo>
                  <a:lnTo>
                    <a:pt x="3112" y="97"/>
                  </a:lnTo>
                  <a:lnTo>
                    <a:pt x="3111" y="97"/>
                  </a:lnTo>
                  <a:lnTo>
                    <a:pt x="3112" y="97"/>
                  </a:lnTo>
                  <a:lnTo>
                    <a:pt x="3113" y="97"/>
                  </a:lnTo>
                  <a:lnTo>
                    <a:pt x="3112" y="97"/>
                  </a:lnTo>
                  <a:lnTo>
                    <a:pt x="3113" y="97"/>
                  </a:lnTo>
                  <a:lnTo>
                    <a:pt x="3113" y="96"/>
                  </a:lnTo>
                  <a:lnTo>
                    <a:pt x="3112" y="96"/>
                  </a:lnTo>
                  <a:lnTo>
                    <a:pt x="3113" y="96"/>
                  </a:lnTo>
                  <a:lnTo>
                    <a:pt x="3114" y="97"/>
                  </a:lnTo>
                  <a:lnTo>
                    <a:pt x="3114" y="96"/>
                  </a:lnTo>
                  <a:lnTo>
                    <a:pt x="3115" y="96"/>
                  </a:lnTo>
                  <a:lnTo>
                    <a:pt x="3117" y="96"/>
                  </a:lnTo>
                  <a:lnTo>
                    <a:pt x="3118" y="97"/>
                  </a:lnTo>
                  <a:lnTo>
                    <a:pt x="3117" y="97"/>
                  </a:lnTo>
                  <a:lnTo>
                    <a:pt x="3118" y="98"/>
                  </a:lnTo>
                  <a:lnTo>
                    <a:pt x="3119" y="98"/>
                  </a:lnTo>
                  <a:lnTo>
                    <a:pt x="3120" y="98"/>
                  </a:lnTo>
                  <a:lnTo>
                    <a:pt x="3121" y="98"/>
                  </a:lnTo>
                  <a:lnTo>
                    <a:pt x="3122" y="100"/>
                  </a:lnTo>
                  <a:lnTo>
                    <a:pt x="3124" y="100"/>
                  </a:lnTo>
                  <a:lnTo>
                    <a:pt x="3124" y="101"/>
                  </a:lnTo>
                  <a:lnTo>
                    <a:pt x="3124" y="100"/>
                  </a:lnTo>
                  <a:lnTo>
                    <a:pt x="3121" y="98"/>
                  </a:lnTo>
                  <a:lnTo>
                    <a:pt x="3122" y="98"/>
                  </a:lnTo>
                  <a:lnTo>
                    <a:pt x="3121" y="98"/>
                  </a:lnTo>
                  <a:lnTo>
                    <a:pt x="3121" y="97"/>
                  </a:lnTo>
                  <a:lnTo>
                    <a:pt x="3122" y="97"/>
                  </a:lnTo>
                  <a:lnTo>
                    <a:pt x="3124" y="98"/>
                  </a:lnTo>
                  <a:lnTo>
                    <a:pt x="3122" y="97"/>
                  </a:lnTo>
                  <a:lnTo>
                    <a:pt x="3124" y="97"/>
                  </a:lnTo>
                  <a:lnTo>
                    <a:pt x="3122" y="97"/>
                  </a:lnTo>
                  <a:lnTo>
                    <a:pt x="3122" y="96"/>
                  </a:lnTo>
                  <a:lnTo>
                    <a:pt x="3121" y="96"/>
                  </a:lnTo>
                  <a:lnTo>
                    <a:pt x="3124" y="96"/>
                  </a:lnTo>
                  <a:lnTo>
                    <a:pt x="3125" y="96"/>
                  </a:lnTo>
                  <a:lnTo>
                    <a:pt x="3128" y="97"/>
                  </a:lnTo>
                  <a:lnTo>
                    <a:pt x="3133" y="97"/>
                  </a:lnTo>
                  <a:lnTo>
                    <a:pt x="3134" y="97"/>
                  </a:lnTo>
                  <a:lnTo>
                    <a:pt x="3133" y="97"/>
                  </a:lnTo>
                  <a:lnTo>
                    <a:pt x="3135" y="98"/>
                  </a:lnTo>
                  <a:lnTo>
                    <a:pt x="3138" y="98"/>
                  </a:lnTo>
                  <a:lnTo>
                    <a:pt x="3139" y="98"/>
                  </a:lnTo>
                  <a:lnTo>
                    <a:pt x="3139" y="100"/>
                  </a:lnTo>
                  <a:lnTo>
                    <a:pt x="3140" y="100"/>
                  </a:lnTo>
                  <a:lnTo>
                    <a:pt x="3139" y="100"/>
                  </a:lnTo>
                  <a:lnTo>
                    <a:pt x="3140" y="100"/>
                  </a:lnTo>
                  <a:lnTo>
                    <a:pt x="3141" y="100"/>
                  </a:lnTo>
                  <a:lnTo>
                    <a:pt x="3141" y="101"/>
                  </a:lnTo>
                  <a:lnTo>
                    <a:pt x="3142" y="100"/>
                  </a:lnTo>
                  <a:lnTo>
                    <a:pt x="3143" y="100"/>
                  </a:lnTo>
                  <a:lnTo>
                    <a:pt x="3145" y="101"/>
                  </a:lnTo>
                  <a:lnTo>
                    <a:pt x="3146" y="101"/>
                  </a:lnTo>
                  <a:lnTo>
                    <a:pt x="3147" y="101"/>
                  </a:lnTo>
                  <a:lnTo>
                    <a:pt x="3148" y="101"/>
                  </a:lnTo>
                  <a:lnTo>
                    <a:pt x="3147" y="101"/>
                  </a:lnTo>
                  <a:lnTo>
                    <a:pt x="3147" y="102"/>
                  </a:lnTo>
                  <a:lnTo>
                    <a:pt x="3148" y="102"/>
                  </a:lnTo>
                  <a:lnTo>
                    <a:pt x="3149" y="102"/>
                  </a:lnTo>
                  <a:lnTo>
                    <a:pt x="3150" y="102"/>
                  </a:lnTo>
                  <a:lnTo>
                    <a:pt x="3152" y="102"/>
                  </a:lnTo>
                  <a:lnTo>
                    <a:pt x="3153" y="102"/>
                  </a:lnTo>
                  <a:lnTo>
                    <a:pt x="3155" y="103"/>
                  </a:lnTo>
                  <a:lnTo>
                    <a:pt x="3156" y="103"/>
                  </a:lnTo>
                  <a:lnTo>
                    <a:pt x="3156" y="104"/>
                  </a:lnTo>
                  <a:lnTo>
                    <a:pt x="3155" y="104"/>
                  </a:lnTo>
                  <a:lnTo>
                    <a:pt x="3154" y="104"/>
                  </a:lnTo>
                  <a:lnTo>
                    <a:pt x="3153" y="103"/>
                  </a:lnTo>
                  <a:lnTo>
                    <a:pt x="3150" y="103"/>
                  </a:lnTo>
                  <a:lnTo>
                    <a:pt x="3149" y="103"/>
                  </a:lnTo>
                  <a:lnTo>
                    <a:pt x="3149" y="104"/>
                  </a:lnTo>
                  <a:lnTo>
                    <a:pt x="3146" y="104"/>
                  </a:lnTo>
                  <a:lnTo>
                    <a:pt x="3146" y="105"/>
                  </a:lnTo>
                  <a:lnTo>
                    <a:pt x="3147" y="105"/>
                  </a:lnTo>
                  <a:lnTo>
                    <a:pt x="3146" y="105"/>
                  </a:lnTo>
                  <a:lnTo>
                    <a:pt x="3148" y="105"/>
                  </a:lnTo>
                  <a:lnTo>
                    <a:pt x="3154" y="107"/>
                  </a:lnTo>
                  <a:lnTo>
                    <a:pt x="3158" y="107"/>
                  </a:lnTo>
                  <a:lnTo>
                    <a:pt x="3160" y="107"/>
                  </a:lnTo>
                  <a:lnTo>
                    <a:pt x="3158" y="107"/>
                  </a:lnTo>
                  <a:lnTo>
                    <a:pt x="3158" y="108"/>
                  </a:lnTo>
                  <a:lnTo>
                    <a:pt x="3155" y="108"/>
                  </a:lnTo>
                  <a:lnTo>
                    <a:pt x="3154" y="107"/>
                  </a:lnTo>
                  <a:lnTo>
                    <a:pt x="3153" y="107"/>
                  </a:lnTo>
                  <a:lnTo>
                    <a:pt x="3152" y="107"/>
                  </a:lnTo>
                  <a:lnTo>
                    <a:pt x="3150" y="107"/>
                  </a:lnTo>
                  <a:lnTo>
                    <a:pt x="3150" y="108"/>
                  </a:lnTo>
                  <a:lnTo>
                    <a:pt x="3147" y="108"/>
                  </a:lnTo>
                  <a:lnTo>
                    <a:pt x="3146" y="108"/>
                  </a:lnTo>
                  <a:lnTo>
                    <a:pt x="3147" y="108"/>
                  </a:lnTo>
                  <a:lnTo>
                    <a:pt x="3149" y="108"/>
                  </a:lnTo>
                  <a:lnTo>
                    <a:pt x="3150" y="109"/>
                  </a:lnTo>
                  <a:lnTo>
                    <a:pt x="3152" y="109"/>
                  </a:lnTo>
                  <a:lnTo>
                    <a:pt x="3156" y="110"/>
                  </a:lnTo>
                  <a:lnTo>
                    <a:pt x="3158" y="110"/>
                  </a:lnTo>
                  <a:lnTo>
                    <a:pt x="3161" y="110"/>
                  </a:lnTo>
                  <a:lnTo>
                    <a:pt x="3162" y="110"/>
                  </a:lnTo>
                  <a:lnTo>
                    <a:pt x="3163" y="110"/>
                  </a:lnTo>
                  <a:lnTo>
                    <a:pt x="3163" y="111"/>
                  </a:lnTo>
                  <a:lnTo>
                    <a:pt x="3164" y="111"/>
                  </a:lnTo>
                  <a:lnTo>
                    <a:pt x="3167" y="111"/>
                  </a:lnTo>
                  <a:lnTo>
                    <a:pt x="3167" y="112"/>
                  </a:lnTo>
                  <a:lnTo>
                    <a:pt x="3165" y="112"/>
                  </a:lnTo>
                  <a:lnTo>
                    <a:pt x="3167" y="112"/>
                  </a:lnTo>
                  <a:lnTo>
                    <a:pt x="3168" y="112"/>
                  </a:lnTo>
                  <a:lnTo>
                    <a:pt x="3169" y="114"/>
                  </a:lnTo>
                  <a:lnTo>
                    <a:pt x="3168" y="114"/>
                  </a:lnTo>
                  <a:lnTo>
                    <a:pt x="3168" y="115"/>
                  </a:lnTo>
                  <a:lnTo>
                    <a:pt x="3169" y="115"/>
                  </a:lnTo>
                  <a:lnTo>
                    <a:pt x="3170" y="115"/>
                  </a:lnTo>
                  <a:lnTo>
                    <a:pt x="3169" y="115"/>
                  </a:lnTo>
                  <a:lnTo>
                    <a:pt x="3168" y="115"/>
                  </a:lnTo>
                  <a:lnTo>
                    <a:pt x="3167" y="115"/>
                  </a:lnTo>
                  <a:lnTo>
                    <a:pt x="3165" y="115"/>
                  </a:lnTo>
                  <a:lnTo>
                    <a:pt x="3164" y="115"/>
                  </a:lnTo>
                  <a:lnTo>
                    <a:pt x="3163" y="115"/>
                  </a:lnTo>
                  <a:lnTo>
                    <a:pt x="3163" y="114"/>
                  </a:lnTo>
                  <a:lnTo>
                    <a:pt x="3162" y="114"/>
                  </a:lnTo>
                  <a:lnTo>
                    <a:pt x="3158" y="114"/>
                  </a:lnTo>
                  <a:lnTo>
                    <a:pt x="3160" y="112"/>
                  </a:lnTo>
                  <a:lnTo>
                    <a:pt x="3158" y="112"/>
                  </a:lnTo>
                  <a:lnTo>
                    <a:pt x="3154" y="112"/>
                  </a:lnTo>
                  <a:lnTo>
                    <a:pt x="3149" y="110"/>
                  </a:lnTo>
                  <a:lnTo>
                    <a:pt x="3148" y="110"/>
                  </a:lnTo>
                  <a:lnTo>
                    <a:pt x="3147" y="110"/>
                  </a:lnTo>
                  <a:lnTo>
                    <a:pt x="3148" y="111"/>
                  </a:lnTo>
                  <a:lnTo>
                    <a:pt x="3149" y="111"/>
                  </a:lnTo>
                  <a:lnTo>
                    <a:pt x="3150" y="111"/>
                  </a:lnTo>
                  <a:lnTo>
                    <a:pt x="3150" y="112"/>
                  </a:lnTo>
                  <a:lnTo>
                    <a:pt x="3150" y="111"/>
                  </a:lnTo>
                  <a:lnTo>
                    <a:pt x="3150" y="112"/>
                  </a:lnTo>
                  <a:lnTo>
                    <a:pt x="3152" y="112"/>
                  </a:lnTo>
                  <a:lnTo>
                    <a:pt x="3154" y="112"/>
                  </a:lnTo>
                  <a:lnTo>
                    <a:pt x="3155" y="112"/>
                  </a:lnTo>
                  <a:lnTo>
                    <a:pt x="3155" y="114"/>
                  </a:lnTo>
                  <a:lnTo>
                    <a:pt x="3156" y="114"/>
                  </a:lnTo>
                  <a:lnTo>
                    <a:pt x="3157" y="114"/>
                  </a:lnTo>
                  <a:lnTo>
                    <a:pt x="3158" y="114"/>
                  </a:lnTo>
                  <a:lnTo>
                    <a:pt x="3160" y="115"/>
                  </a:lnTo>
                  <a:lnTo>
                    <a:pt x="3161" y="115"/>
                  </a:lnTo>
                  <a:lnTo>
                    <a:pt x="3161" y="116"/>
                  </a:lnTo>
                  <a:lnTo>
                    <a:pt x="3162" y="116"/>
                  </a:lnTo>
                  <a:lnTo>
                    <a:pt x="3163" y="116"/>
                  </a:lnTo>
                  <a:lnTo>
                    <a:pt x="3164" y="116"/>
                  </a:lnTo>
                  <a:lnTo>
                    <a:pt x="3164" y="117"/>
                  </a:lnTo>
                  <a:lnTo>
                    <a:pt x="3165" y="117"/>
                  </a:lnTo>
                  <a:lnTo>
                    <a:pt x="3167" y="118"/>
                  </a:lnTo>
                  <a:lnTo>
                    <a:pt x="3168" y="118"/>
                  </a:lnTo>
                  <a:lnTo>
                    <a:pt x="3169" y="119"/>
                  </a:lnTo>
                  <a:lnTo>
                    <a:pt x="3171" y="119"/>
                  </a:lnTo>
                  <a:lnTo>
                    <a:pt x="3172" y="118"/>
                  </a:lnTo>
                  <a:lnTo>
                    <a:pt x="3171" y="118"/>
                  </a:lnTo>
                  <a:lnTo>
                    <a:pt x="3170" y="117"/>
                  </a:lnTo>
                  <a:lnTo>
                    <a:pt x="3169" y="117"/>
                  </a:lnTo>
                  <a:lnTo>
                    <a:pt x="3169" y="116"/>
                  </a:lnTo>
                  <a:lnTo>
                    <a:pt x="3168" y="116"/>
                  </a:lnTo>
                  <a:lnTo>
                    <a:pt x="3167" y="116"/>
                  </a:lnTo>
                  <a:lnTo>
                    <a:pt x="3168" y="116"/>
                  </a:lnTo>
                  <a:lnTo>
                    <a:pt x="3170" y="117"/>
                  </a:lnTo>
                  <a:lnTo>
                    <a:pt x="3172" y="117"/>
                  </a:lnTo>
                  <a:lnTo>
                    <a:pt x="3172" y="118"/>
                  </a:lnTo>
                  <a:lnTo>
                    <a:pt x="3174" y="118"/>
                  </a:lnTo>
                  <a:lnTo>
                    <a:pt x="3175" y="118"/>
                  </a:lnTo>
                  <a:lnTo>
                    <a:pt x="3177" y="119"/>
                  </a:lnTo>
                  <a:lnTo>
                    <a:pt x="3174" y="119"/>
                  </a:lnTo>
                  <a:lnTo>
                    <a:pt x="3172" y="119"/>
                  </a:lnTo>
                  <a:lnTo>
                    <a:pt x="3171" y="119"/>
                  </a:lnTo>
                  <a:lnTo>
                    <a:pt x="3171" y="121"/>
                  </a:lnTo>
                  <a:lnTo>
                    <a:pt x="3172" y="122"/>
                  </a:lnTo>
                  <a:lnTo>
                    <a:pt x="3174" y="122"/>
                  </a:lnTo>
                  <a:lnTo>
                    <a:pt x="3175" y="121"/>
                  </a:lnTo>
                  <a:lnTo>
                    <a:pt x="3176" y="122"/>
                  </a:lnTo>
                  <a:lnTo>
                    <a:pt x="3177" y="122"/>
                  </a:lnTo>
                  <a:lnTo>
                    <a:pt x="3177" y="123"/>
                  </a:lnTo>
                  <a:lnTo>
                    <a:pt x="3178" y="123"/>
                  </a:lnTo>
                  <a:lnTo>
                    <a:pt x="3179" y="123"/>
                  </a:lnTo>
                  <a:lnTo>
                    <a:pt x="3181" y="124"/>
                  </a:lnTo>
                  <a:lnTo>
                    <a:pt x="3182" y="124"/>
                  </a:lnTo>
                  <a:lnTo>
                    <a:pt x="3182" y="125"/>
                  </a:lnTo>
                  <a:lnTo>
                    <a:pt x="3183" y="125"/>
                  </a:lnTo>
                  <a:lnTo>
                    <a:pt x="3184" y="125"/>
                  </a:lnTo>
                  <a:lnTo>
                    <a:pt x="3185" y="125"/>
                  </a:lnTo>
                  <a:lnTo>
                    <a:pt x="3186" y="126"/>
                  </a:lnTo>
                  <a:lnTo>
                    <a:pt x="3188" y="126"/>
                  </a:lnTo>
                  <a:lnTo>
                    <a:pt x="3189" y="128"/>
                  </a:lnTo>
                  <a:lnTo>
                    <a:pt x="3188" y="128"/>
                  </a:lnTo>
                  <a:lnTo>
                    <a:pt x="3190" y="128"/>
                  </a:lnTo>
                  <a:lnTo>
                    <a:pt x="3191" y="128"/>
                  </a:lnTo>
                  <a:lnTo>
                    <a:pt x="3192" y="128"/>
                  </a:lnTo>
                  <a:lnTo>
                    <a:pt x="3193" y="128"/>
                  </a:lnTo>
                  <a:lnTo>
                    <a:pt x="3193" y="129"/>
                  </a:lnTo>
                  <a:lnTo>
                    <a:pt x="3195" y="129"/>
                  </a:lnTo>
                  <a:lnTo>
                    <a:pt x="3196" y="129"/>
                  </a:lnTo>
                  <a:lnTo>
                    <a:pt x="3196" y="130"/>
                  </a:lnTo>
                  <a:lnTo>
                    <a:pt x="3197" y="130"/>
                  </a:lnTo>
                  <a:lnTo>
                    <a:pt x="3199" y="130"/>
                  </a:lnTo>
                  <a:lnTo>
                    <a:pt x="3200" y="130"/>
                  </a:lnTo>
                  <a:lnTo>
                    <a:pt x="3200" y="131"/>
                  </a:lnTo>
                  <a:lnTo>
                    <a:pt x="3202" y="131"/>
                  </a:lnTo>
                  <a:lnTo>
                    <a:pt x="3202" y="130"/>
                  </a:lnTo>
                  <a:lnTo>
                    <a:pt x="3200" y="130"/>
                  </a:lnTo>
                  <a:lnTo>
                    <a:pt x="3200" y="129"/>
                  </a:lnTo>
                  <a:lnTo>
                    <a:pt x="3202" y="129"/>
                  </a:lnTo>
                  <a:lnTo>
                    <a:pt x="3202" y="130"/>
                  </a:lnTo>
                  <a:lnTo>
                    <a:pt x="3203" y="130"/>
                  </a:lnTo>
                  <a:lnTo>
                    <a:pt x="3204" y="131"/>
                  </a:lnTo>
                  <a:lnTo>
                    <a:pt x="3205" y="131"/>
                  </a:lnTo>
                  <a:lnTo>
                    <a:pt x="3205" y="132"/>
                  </a:lnTo>
                  <a:lnTo>
                    <a:pt x="3206" y="132"/>
                  </a:lnTo>
                  <a:lnTo>
                    <a:pt x="3207" y="132"/>
                  </a:lnTo>
                  <a:lnTo>
                    <a:pt x="3209" y="132"/>
                  </a:lnTo>
                  <a:lnTo>
                    <a:pt x="3210" y="132"/>
                  </a:lnTo>
                  <a:lnTo>
                    <a:pt x="3210" y="131"/>
                  </a:lnTo>
                  <a:lnTo>
                    <a:pt x="3211" y="130"/>
                  </a:lnTo>
                  <a:lnTo>
                    <a:pt x="3210" y="130"/>
                  </a:lnTo>
                  <a:lnTo>
                    <a:pt x="3210" y="128"/>
                  </a:lnTo>
                  <a:lnTo>
                    <a:pt x="3209" y="128"/>
                  </a:lnTo>
                  <a:lnTo>
                    <a:pt x="3210" y="128"/>
                  </a:lnTo>
                  <a:lnTo>
                    <a:pt x="3209" y="126"/>
                  </a:lnTo>
                  <a:lnTo>
                    <a:pt x="3210" y="126"/>
                  </a:lnTo>
                  <a:lnTo>
                    <a:pt x="3211" y="126"/>
                  </a:lnTo>
                  <a:lnTo>
                    <a:pt x="3209" y="125"/>
                  </a:lnTo>
                  <a:lnTo>
                    <a:pt x="3207" y="125"/>
                  </a:lnTo>
                  <a:lnTo>
                    <a:pt x="3207" y="124"/>
                  </a:lnTo>
                  <a:lnTo>
                    <a:pt x="3206" y="124"/>
                  </a:lnTo>
                  <a:lnTo>
                    <a:pt x="3206" y="123"/>
                  </a:lnTo>
                  <a:lnTo>
                    <a:pt x="3205" y="122"/>
                  </a:lnTo>
                  <a:lnTo>
                    <a:pt x="3205" y="121"/>
                  </a:lnTo>
                  <a:lnTo>
                    <a:pt x="3204" y="121"/>
                  </a:lnTo>
                  <a:lnTo>
                    <a:pt x="3204" y="117"/>
                  </a:lnTo>
                  <a:lnTo>
                    <a:pt x="3205" y="117"/>
                  </a:lnTo>
                  <a:lnTo>
                    <a:pt x="3206" y="117"/>
                  </a:lnTo>
                  <a:lnTo>
                    <a:pt x="3207" y="116"/>
                  </a:lnTo>
                  <a:lnTo>
                    <a:pt x="3209" y="117"/>
                  </a:lnTo>
                  <a:lnTo>
                    <a:pt x="3210" y="117"/>
                  </a:lnTo>
                  <a:lnTo>
                    <a:pt x="3212" y="117"/>
                  </a:lnTo>
                  <a:lnTo>
                    <a:pt x="3212" y="118"/>
                  </a:lnTo>
                  <a:lnTo>
                    <a:pt x="3211" y="117"/>
                  </a:lnTo>
                  <a:lnTo>
                    <a:pt x="3210" y="117"/>
                  </a:lnTo>
                  <a:lnTo>
                    <a:pt x="3209" y="117"/>
                  </a:lnTo>
                  <a:lnTo>
                    <a:pt x="3207" y="117"/>
                  </a:lnTo>
                  <a:lnTo>
                    <a:pt x="3206" y="117"/>
                  </a:lnTo>
                  <a:lnTo>
                    <a:pt x="3206" y="118"/>
                  </a:lnTo>
                  <a:lnTo>
                    <a:pt x="3207" y="118"/>
                  </a:lnTo>
                  <a:lnTo>
                    <a:pt x="3206" y="118"/>
                  </a:lnTo>
                  <a:lnTo>
                    <a:pt x="3207" y="118"/>
                  </a:lnTo>
                  <a:lnTo>
                    <a:pt x="3207" y="119"/>
                  </a:lnTo>
                  <a:lnTo>
                    <a:pt x="3210" y="119"/>
                  </a:lnTo>
                  <a:lnTo>
                    <a:pt x="3211" y="119"/>
                  </a:lnTo>
                  <a:lnTo>
                    <a:pt x="3212" y="121"/>
                  </a:lnTo>
                  <a:lnTo>
                    <a:pt x="3213" y="121"/>
                  </a:lnTo>
                  <a:lnTo>
                    <a:pt x="3214" y="121"/>
                  </a:lnTo>
                  <a:lnTo>
                    <a:pt x="3214" y="122"/>
                  </a:lnTo>
                  <a:lnTo>
                    <a:pt x="3219" y="123"/>
                  </a:lnTo>
                  <a:lnTo>
                    <a:pt x="3222" y="123"/>
                  </a:lnTo>
                  <a:lnTo>
                    <a:pt x="3224" y="123"/>
                  </a:lnTo>
                  <a:lnTo>
                    <a:pt x="3225" y="124"/>
                  </a:lnTo>
                  <a:lnTo>
                    <a:pt x="3228" y="124"/>
                  </a:lnTo>
                  <a:lnTo>
                    <a:pt x="3232" y="124"/>
                  </a:lnTo>
                  <a:lnTo>
                    <a:pt x="3234" y="124"/>
                  </a:lnTo>
                  <a:lnTo>
                    <a:pt x="3234" y="125"/>
                  </a:lnTo>
                  <a:lnTo>
                    <a:pt x="3235" y="125"/>
                  </a:lnTo>
                  <a:lnTo>
                    <a:pt x="3234" y="125"/>
                  </a:lnTo>
                  <a:lnTo>
                    <a:pt x="3234" y="124"/>
                  </a:lnTo>
                  <a:lnTo>
                    <a:pt x="3233" y="124"/>
                  </a:lnTo>
                  <a:lnTo>
                    <a:pt x="3233" y="123"/>
                  </a:lnTo>
                  <a:lnTo>
                    <a:pt x="3234" y="123"/>
                  </a:lnTo>
                  <a:lnTo>
                    <a:pt x="3234" y="122"/>
                  </a:lnTo>
                  <a:lnTo>
                    <a:pt x="3235" y="122"/>
                  </a:lnTo>
                  <a:lnTo>
                    <a:pt x="3236" y="122"/>
                  </a:lnTo>
                  <a:lnTo>
                    <a:pt x="3238" y="122"/>
                  </a:lnTo>
                  <a:lnTo>
                    <a:pt x="3236" y="122"/>
                  </a:lnTo>
                  <a:lnTo>
                    <a:pt x="3238" y="121"/>
                  </a:lnTo>
                  <a:lnTo>
                    <a:pt x="3239" y="121"/>
                  </a:lnTo>
                  <a:lnTo>
                    <a:pt x="3242" y="121"/>
                  </a:lnTo>
                  <a:lnTo>
                    <a:pt x="3246" y="122"/>
                  </a:lnTo>
                  <a:lnTo>
                    <a:pt x="3247" y="122"/>
                  </a:lnTo>
                  <a:lnTo>
                    <a:pt x="3248" y="122"/>
                  </a:lnTo>
                  <a:lnTo>
                    <a:pt x="3249" y="122"/>
                  </a:lnTo>
                  <a:lnTo>
                    <a:pt x="3249" y="123"/>
                  </a:lnTo>
                  <a:lnTo>
                    <a:pt x="3250" y="123"/>
                  </a:lnTo>
                  <a:lnTo>
                    <a:pt x="3250" y="122"/>
                  </a:lnTo>
                  <a:lnTo>
                    <a:pt x="3252" y="122"/>
                  </a:lnTo>
                  <a:lnTo>
                    <a:pt x="3253" y="123"/>
                  </a:lnTo>
                  <a:lnTo>
                    <a:pt x="3254" y="123"/>
                  </a:lnTo>
                  <a:lnTo>
                    <a:pt x="3255" y="123"/>
                  </a:lnTo>
                  <a:lnTo>
                    <a:pt x="3256" y="123"/>
                  </a:lnTo>
                  <a:lnTo>
                    <a:pt x="3257" y="124"/>
                  </a:lnTo>
                  <a:lnTo>
                    <a:pt x="3259" y="124"/>
                  </a:lnTo>
                  <a:lnTo>
                    <a:pt x="3260" y="124"/>
                  </a:lnTo>
                  <a:lnTo>
                    <a:pt x="3261" y="124"/>
                  </a:lnTo>
                  <a:lnTo>
                    <a:pt x="3262" y="124"/>
                  </a:lnTo>
                  <a:lnTo>
                    <a:pt x="3262" y="125"/>
                  </a:lnTo>
                  <a:lnTo>
                    <a:pt x="3263" y="125"/>
                  </a:lnTo>
                  <a:lnTo>
                    <a:pt x="3264" y="125"/>
                  </a:lnTo>
                  <a:lnTo>
                    <a:pt x="3266" y="125"/>
                  </a:lnTo>
                  <a:lnTo>
                    <a:pt x="3266" y="126"/>
                  </a:lnTo>
                  <a:lnTo>
                    <a:pt x="3264" y="126"/>
                  </a:lnTo>
                  <a:lnTo>
                    <a:pt x="3266" y="126"/>
                  </a:lnTo>
                  <a:lnTo>
                    <a:pt x="3267" y="126"/>
                  </a:lnTo>
                  <a:lnTo>
                    <a:pt x="3268" y="128"/>
                  </a:lnTo>
                  <a:lnTo>
                    <a:pt x="3269" y="128"/>
                  </a:lnTo>
                  <a:lnTo>
                    <a:pt x="3270" y="128"/>
                  </a:lnTo>
                  <a:lnTo>
                    <a:pt x="3271" y="128"/>
                  </a:lnTo>
                  <a:lnTo>
                    <a:pt x="3270" y="126"/>
                  </a:lnTo>
                  <a:lnTo>
                    <a:pt x="3269" y="126"/>
                  </a:lnTo>
                  <a:lnTo>
                    <a:pt x="3268" y="126"/>
                  </a:lnTo>
                  <a:lnTo>
                    <a:pt x="3267" y="126"/>
                  </a:lnTo>
                  <a:lnTo>
                    <a:pt x="3266" y="126"/>
                  </a:lnTo>
                  <a:lnTo>
                    <a:pt x="3267" y="125"/>
                  </a:lnTo>
                  <a:lnTo>
                    <a:pt x="3268" y="126"/>
                  </a:lnTo>
                  <a:lnTo>
                    <a:pt x="3269" y="126"/>
                  </a:lnTo>
                  <a:lnTo>
                    <a:pt x="3269" y="125"/>
                  </a:lnTo>
                  <a:lnTo>
                    <a:pt x="3270" y="125"/>
                  </a:lnTo>
                  <a:lnTo>
                    <a:pt x="3269" y="125"/>
                  </a:lnTo>
                  <a:lnTo>
                    <a:pt x="3268" y="125"/>
                  </a:lnTo>
                  <a:lnTo>
                    <a:pt x="3267" y="125"/>
                  </a:lnTo>
                  <a:lnTo>
                    <a:pt x="3268" y="124"/>
                  </a:lnTo>
                  <a:lnTo>
                    <a:pt x="3269" y="125"/>
                  </a:lnTo>
                  <a:lnTo>
                    <a:pt x="3270" y="125"/>
                  </a:lnTo>
                  <a:lnTo>
                    <a:pt x="3270" y="124"/>
                  </a:lnTo>
                  <a:lnTo>
                    <a:pt x="3269" y="124"/>
                  </a:lnTo>
                  <a:lnTo>
                    <a:pt x="3267" y="124"/>
                  </a:lnTo>
                  <a:lnTo>
                    <a:pt x="3266" y="124"/>
                  </a:lnTo>
                  <a:lnTo>
                    <a:pt x="3264" y="124"/>
                  </a:lnTo>
                  <a:lnTo>
                    <a:pt x="3264" y="123"/>
                  </a:lnTo>
                  <a:lnTo>
                    <a:pt x="3264" y="122"/>
                  </a:lnTo>
                  <a:lnTo>
                    <a:pt x="3263" y="122"/>
                  </a:lnTo>
                  <a:lnTo>
                    <a:pt x="3264" y="121"/>
                  </a:lnTo>
                  <a:lnTo>
                    <a:pt x="3267" y="121"/>
                  </a:lnTo>
                  <a:lnTo>
                    <a:pt x="3267" y="122"/>
                  </a:lnTo>
                  <a:lnTo>
                    <a:pt x="3268" y="122"/>
                  </a:lnTo>
                  <a:lnTo>
                    <a:pt x="3269" y="122"/>
                  </a:lnTo>
                  <a:lnTo>
                    <a:pt x="3268" y="122"/>
                  </a:lnTo>
                  <a:lnTo>
                    <a:pt x="3268" y="121"/>
                  </a:lnTo>
                  <a:lnTo>
                    <a:pt x="3269" y="121"/>
                  </a:lnTo>
                  <a:lnTo>
                    <a:pt x="3270" y="121"/>
                  </a:lnTo>
                  <a:lnTo>
                    <a:pt x="3271" y="122"/>
                  </a:lnTo>
                  <a:lnTo>
                    <a:pt x="3273" y="122"/>
                  </a:lnTo>
                  <a:lnTo>
                    <a:pt x="3274" y="122"/>
                  </a:lnTo>
                  <a:lnTo>
                    <a:pt x="3275" y="123"/>
                  </a:lnTo>
                  <a:lnTo>
                    <a:pt x="3276" y="123"/>
                  </a:lnTo>
                  <a:lnTo>
                    <a:pt x="3277" y="124"/>
                  </a:lnTo>
                  <a:lnTo>
                    <a:pt x="3278" y="124"/>
                  </a:lnTo>
                  <a:lnTo>
                    <a:pt x="3278" y="123"/>
                  </a:lnTo>
                  <a:lnTo>
                    <a:pt x="3280" y="123"/>
                  </a:lnTo>
                  <a:lnTo>
                    <a:pt x="3281" y="123"/>
                  </a:lnTo>
                  <a:lnTo>
                    <a:pt x="3282" y="123"/>
                  </a:lnTo>
                  <a:lnTo>
                    <a:pt x="3283" y="123"/>
                  </a:lnTo>
                  <a:lnTo>
                    <a:pt x="3284" y="123"/>
                  </a:lnTo>
                  <a:lnTo>
                    <a:pt x="3283" y="123"/>
                  </a:lnTo>
                  <a:lnTo>
                    <a:pt x="3283" y="122"/>
                  </a:lnTo>
                  <a:lnTo>
                    <a:pt x="3281" y="122"/>
                  </a:lnTo>
                  <a:lnTo>
                    <a:pt x="3280" y="121"/>
                  </a:lnTo>
                  <a:lnTo>
                    <a:pt x="3278" y="121"/>
                  </a:lnTo>
                  <a:lnTo>
                    <a:pt x="3277" y="119"/>
                  </a:lnTo>
                  <a:lnTo>
                    <a:pt x="3276" y="119"/>
                  </a:lnTo>
                  <a:lnTo>
                    <a:pt x="3276" y="118"/>
                  </a:lnTo>
                  <a:lnTo>
                    <a:pt x="3275" y="118"/>
                  </a:lnTo>
                  <a:lnTo>
                    <a:pt x="3274" y="117"/>
                  </a:lnTo>
                  <a:lnTo>
                    <a:pt x="3273" y="117"/>
                  </a:lnTo>
                  <a:lnTo>
                    <a:pt x="3271" y="117"/>
                  </a:lnTo>
                  <a:lnTo>
                    <a:pt x="3269" y="117"/>
                  </a:lnTo>
                  <a:lnTo>
                    <a:pt x="3270" y="116"/>
                  </a:lnTo>
                  <a:lnTo>
                    <a:pt x="3271" y="117"/>
                  </a:lnTo>
                  <a:lnTo>
                    <a:pt x="3273" y="117"/>
                  </a:lnTo>
                  <a:lnTo>
                    <a:pt x="3273" y="116"/>
                  </a:lnTo>
                  <a:lnTo>
                    <a:pt x="3271" y="116"/>
                  </a:lnTo>
                  <a:lnTo>
                    <a:pt x="3271" y="115"/>
                  </a:lnTo>
                  <a:lnTo>
                    <a:pt x="3270" y="115"/>
                  </a:lnTo>
                  <a:lnTo>
                    <a:pt x="3270" y="114"/>
                  </a:lnTo>
                  <a:lnTo>
                    <a:pt x="3271" y="114"/>
                  </a:lnTo>
                  <a:lnTo>
                    <a:pt x="3273" y="114"/>
                  </a:lnTo>
                  <a:lnTo>
                    <a:pt x="3274" y="114"/>
                  </a:lnTo>
                  <a:lnTo>
                    <a:pt x="3273" y="114"/>
                  </a:lnTo>
                  <a:lnTo>
                    <a:pt x="3269" y="114"/>
                  </a:lnTo>
                  <a:lnTo>
                    <a:pt x="3267" y="114"/>
                  </a:lnTo>
                  <a:lnTo>
                    <a:pt x="3266" y="114"/>
                  </a:lnTo>
                  <a:lnTo>
                    <a:pt x="3267" y="114"/>
                  </a:lnTo>
                  <a:lnTo>
                    <a:pt x="3268" y="114"/>
                  </a:lnTo>
                  <a:lnTo>
                    <a:pt x="3266" y="114"/>
                  </a:lnTo>
                  <a:lnTo>
                    <a:pt x="3264" y="114"/>
                  </a:lnTo>
                  <a:lnTo>
                    <a:pt x="3266" y="114"/>
                  </a:lnTo>
                  <a:lnTo>
                    <a:pt x="3266" y="115"/>
                  </a:lnTo>
                  <a:lnTo>
                    <a:pt x="3264" y="114"/>
                  </a:lnTo>
                  <a:lnTo>
                    <a:pt x="3263" y="114"/>
                  </a:lnTo>
                  <a:lnTo>
                    <a:pt x="3262" y="114"/>
                  </a:lnTo>
                  <a:lnTo>
                    <a:pt x="3262" y="112"/>
                  </a:lnTo>
                  <a:lnTo>
                    <a:pt x="3261" y="112"/>
                  </a:lnTo>
                  <a:lnTo>
                    <a:pt x="3261" y="111"/>
                  </a:lnTo>
                  <a:lnTo>
                    <a:pt x="3261" y="110"/>
                  </a:lnTo>
                  <a:lnTo>
                    <a:pt x="3262" y="110"/>
                  </a:lnTo>
                  <a:lnTo>
                    <a:pt x="3264" y="110"/>
                  </a:lnTo>
                  <a:lnTo>
                    <a:pt x="3267" y="110"/>
                  </a:lnTo>
                  <a:lnTo>
                    <a:pt x="3269" y="110"/>
                  </a:lnTo>
                  <a:lnTo>
                    <a:pt x="3271" y="110"/>
                  </a:lnTo>
                  <a:lnTo>
                    <a:pt x="3274" y="109"/>
                  </a:lnTo>
                  <a:lnTo>
                    <a:pt x="3275" y="109"/>
                  </a:lnTo>
                  <a:lnTo>
                    <a:pt x="3274" y="109"/>
                  </a:lnTo>
                  <a:lnTo>
                    <a:pt x="3274" y="108"/>
                  </a:lnTo>
                  <a:lnTo>
                    <a:pt x="3273" y="108"/>
                  </a:lnTo>
                  <a:lnTo>
                    <a:pt x="3273" y="107"/>
                  </a:lnTo>
                  <a:lnTo>
                    <a:pt x="3271" y="107"/>
                  </a:lnTo>
                  <a:lnTo>
                    <a:pt x="3270" y="107"/>
                  </a:lnTo>
                  <a:lnTo>
                    <a:pt x="3269" y="107"/>
                  </a:lnTo>
                  <a:lnTo>
                    <a:pt x="3267" y="105"/>
                  </a:lnTo>
                  <a:lnTo>
                    <a:pt x="3266" y="105"/>
                  </a:lnTo>
                  <a:lnTo>
                    <a:pt x="3264" y="104"/>
                  </a:lnTo>
                  <a:lnTo>
                    <a:pt x="3266" y="104"/>
                  </a:lnTo>
                  <a:lnTo>
                    <a:pt x="3267" y="104"/>
                  </a:lnTo>
                  <a:lnTo>
                    <a:pt x="3268" y="104"/>
                  </a:lnTo>
                  <a:lnTo>
                    <a:pt x="3269" y="104"/>
                  </a:lnTo>
                  <a:lnTo>
                    <a:pt x="3270" y="105"/>
                  </a:lnTo>
                  <a:lnTo>
                    <a:pt x="3271" y="105"/>
                  </a:lnTo>
                  <a:lnTo>
                    <a:pt x="3274" y="105"/>
                  </a:lnTo>
                  <a:lnTo>
                    <a:pt x="3275" y="105"/>
                  </a:lnTo>
                  <a:lnTo>
                    <a:pt x="3276" y="107"/>
                  </a:lnTo>
                  <a:lnTo>
                    <a:pt x="3277" y="107"/>
                  </a:lnTo>
                  <a:lnTo>
                    <a:pt x="3278" y="107"/>
                  </a:lnTo>
                  <a:lnTo>
                    <a:pt x="3281" y="107"/>
                  </a:lnTo>
                  <a:lnTo>
                    <a:pt x="3284" y="107"/>
                  </a:lnTo>
                  <a:lnTo>
                    <a:pt x="3286" y="107"/>
                  </a:lnTo>
                  <a:lnTo>
                    <a:pt x="3289" y="107"/>
                  </a:lnTo>
                  <a:lnTo>
                    <a:pt x="3292" y="107"/>
                  </a:lnTo>
                  <a:lnTo>
                    <a:pt x="3296" y="107"/>
                  </a:lnTo>
                  <a:lnTo>
                    <a:pt x="3297" y="108"/>
                  </a:lnTo>
                  <a:lnTo>
                    <a:pt x="3299" y="108"/>
                  </a:lnTo>
                  <a:lnTo>
                    <a:pt x="3303" y="108"/>
                  </a:lnTo>
                  <a:lnTo>
                    <a:pt x="3305" y="108"/>
                  </a:lnTo>
                  <a:lnTo>
                    <a:pt x="3309" y="108"/>
                  </a:lnTo>
                  <a:lnTo>
                    <a:pt x="3311" y="109"/>
                  </a:lnTo>
                  <a:lnTo>
                    <a:pt x="3314" y="109"/>
                  </a:lnTo>
                  <a:lnTo>
                    <a:pt x="3318" y="109"/>
                  </a:lnTo>
                  <a:lnTo>
                    <a:pt x="3321" y="110"/>
                  </a:lnTo>
                  <a:lnTo>
                    <a:pt x="3325" y="110"/>
                  </a:lnTo>
                  <a:lnTo>
                    <a:pt x="3326" y="110"/>
                  </a:lnTo>
                  <a:lnTo>
                    <a:pt x="3328" y="110"/>
                  </a:lnTo>
                  <a:lnTo>
                    <a:pt x="3330" y="110"/>
                  </a:lnTo>
                  <a:lnTo>
                    <a:pt x="3331" y="111"/>
                  </a:lnTo>
                  <a:lnTo>
                    <a:pt x="3334" y="111"/>
                  </a:lnTo>
                  <a:lnTo>
                    <a:pt x="3335" y="111"/>
                  </a:lnTo>
                  <a:lnTo>
                    <a:pt x="3332" y="111"/>
                  </a:lnTo>
                  <a:lnTo>
                    <a:pt x="3328" y="111"/>
                  </a:lnTo>
                  <a:lnTo>
                    <a:pt x="3327" y="111"/>
                  </a:lnTo>
                  <a:lnTo>
                    <a:pt x="3324" y="111"/>
                  </a:lnTo>
                  <a:lnTo>
                    <a:pt x="3321" y="111"/>
                  </a:lnTo>
                  <a:lnTo>
                    <a:pt x="3320" y="111"/>
                  </a:lnTo>
                  <a:lnTo>
                    <a:pt x="3319" y="111"/>
                  </a:lnTo>
                  <a:lnTo>
                    <a:pt x="3318" y="111"/>
                  </a:lnTo>
                  <a:lnTo>
                    <a:pt x="3318" y="110"/>
                  </a:lnTo>
                  <a:lnTo>
                    <a:pt x="3317" y="111"/>
                  </a:lnTo>
                  <a:lnTo>
                    <a:pt x="3318" y="111"/>
                  </a:lnTo>
                  <a:lnTo>
                    <a:pt x="3317" y="111"/>
                  </a:lnTo>
                  <a:lnTo>
                    <a:pt x="3317" y="110"/>
                  </a:lnTo>
                  <a:lnTo>
                    <a:pt x="3316" y="110"/>
                  </a:lnTo>
                  <a:lnTo>
                    <a:pt x="3314" y="110"/>
                  </a:lnTo>
                  <a:lnTo>
                    <a:pt x="3314" y="111"/>
                  </a:lnTo>
                  <a:lnTo>
                    <a:pt x="3314" y="112"/>
                  </a:lnTo>
                  <a:lnTo>
                    <a:pt x="3314" y="114"/>
                  </a:lnTo>
                  <a:lnTo>
                    <a:pt x="3314" y="112"/>
                  </a:lnTo>
                  <a:lnTo>
                    <a:pt x="3313" y="112"/>
                  </a:lnTo>
                  <a:lnTo>
                    <a:pt x="3312" y="112"/>
                  </a:lnTo>
                  <a:lnTo>
                    <a:pt x="3311" y="112"/>
                  </a:lnTo>
                  <a:lnTo>
                    <a:pt x="3310" y="112"/>
                  </a:lnTo>
                  <a:lnTo>
                    <a:pt x="3311" y="112"/>
                  </a:lnTo>
                  <a:lnTo>
                    <a:pt x="3312" y="114"/>
                  </a:lnTo>
                  <a:lnTo>
                    <a:pt x="3313" y="114"/>
                  </a:lnTo>
                  <a:lnTo>
                    <a:pt x="3314" y="114"/>
                  </a:lnTo>
                  <a:lnTo>
                    <a:pt x="3316" y="114"/>
                  </a:lnTo>
                  <a:lnTo>
                    <a:pt x="3317" y="114"/>
                  </a:lnTo>
                  <a:lnTo>
                    <a:pt x="3317" y="112"/>
                  </a:lnTo>
                  <a:lnTo>
                    <a:pt x="3319" y="112"/>
                  </a:lnTo>
                  <a:lnTo>
                    <a:pt x="3323" y="112"/>
                  </a:lnTo>
                  <a:lnTo>
                    <a:pt x="3325" y="112"/>
                  </a:lnTo>
                  <a:lnTo>
                    <a:pt x="3328" y="112"/>
                  </a:lnTo>
                  <a:lnTo>
                    <a:pt x="3331" y="112"/>
                  </a:lnTo>
                  <a:lnTo>
                    <a:pt x="3334" y="112"/>
                  </a:lnTo>
                  <a:lnTo>
                    <a:pt x="3337" y="112"/>
                  </a:lnTo>
                  <a:lnTo>
                    <a:pt x="3338" y="112"/>
                  </a:lnTo>
                  <a:lnTo>
                    <a:pt x="3337" y="114"/>
                  </a:lnTo>
                  <a:lnTo>
                    <a:pt x="3337" y="115"/>
                  </a:lnTo>
                  <a:lnTo>
                    <a:pt x="3337" y="116"/>
                  </a:lnTo>
                  <a:lnTo>
                    <a:pt x="3335" y="118"/>
                  </a:lnTo>
                  <a:lnTo>
                    <a:pt x="3335" y="117"/>
                  </a:lnTo>
                  <a:lnTo>
                    <a:pt x="3334" y="117"/>
                  </a:lnTo>
                  <a:lnTo>
                    <a:pt x="3334" y="116"/>
                  </a:lnTo>
                  <a:lnTo>
                    <a:pt x="3333" y="116"/>
                  </a:lnTo>
                  <a:lnTo>
                    <a:pt x="3334" y="116"/>
                  </a:lnTo>
                  <a:lnTo>
                    <a:pt x="3334" y="115"/>
                  </a:lnTo>
                  <a:lnTo>
                    <a:pt x="3333" y="114"/>
                  </a:lnTo>
                  <a:lnTo>
                    <a:pt x="3332" y="114"/>
                  </a:lnTo>
                  <a:lnTo>
                    <a:pt x="3331" y="114"/>
                  </a:lnTo>
                  <a:lnTo>
                    <a:pt x="3332" y="114"/>
                  </a:lnTo>
                  <a:lnTo>
                    <a:pt x="3332" y="115"/>
                  </a:lnTo>
                  <a:lnTo>
                    <a:pt x="3331" y="115"/>
                  </a:lnTo>
                  <a:lnTo>
                    <a:pt x="3330" y="114"/>
                  </a:lnTo>
                  <a:lnTo>
                    <a:pt x="3328" y="114"/>
                  </a:lnTo>
                  <a:lnTo>
                    <a:pt x="3327" y="114"/>
                  </a:lnTo>
                  <a:lnTo>
                    <a:pt x="3326" y="112"/>
                  </a:lnTo>
                  <a:lnTo>
                    <a:pt x="3325" y="112"/>
                  </a:lnTo>
                  <a:lnTo>
                    <a:pt x="3326" y="114"/>
                  </a:lnTo>
                  <a:lnTo>
                    <a:pt x="3327" y="114"/>
                  </a:lnTo>
                  <a:lnTo>
                    <a:pt x="3328" y="115"/>
                  </a:lnTo>
                  <a:lnTo>
                    <a:pt x="3330" y="116"/>
                  </a:lnTo>
                  <a:lnTo>
                    <a:pt x="3331" y="116"/>
                  </a:lnTo>
                  <a:lnTo>
                    <a:pt x="3332" y="116"/>
                  </a:lnTo>
                  <a:lnTo>
                    <a:pt x="3333" y="117"/>
                  </a:lnTo>
                  <a:lnTo>
                    <a:pt x="3331" y="117"/>
                  </a:lnTo>
                  <a:lnTo>
                    <a:pt x="3330" y="117"/>
                  </a:lnTo>
                  <a:lnTo>
                    <a:pt x="3328" y="117"/>
                  </a:lnTo>
                  <a:lnTo>
                    <a:pt x="3326" y="117"/>
                  </a:lnTo>
                  <a:lnTo>
                    <a:pt x="3325" y="117"/>
                  </a:lnTo>
                  <a:lnTo>
                    <a:pt x="3324" y="116"/>
                  </a:lnTo>
                  <a:lnTo>
                    <a:pt x="3324" y="117"/>
                  </a:lnTo>
                  <a:lnTo>
                    <a:pt x="3325" y="117"/>
                  </a:lnTo>
                  <a:lnTo>
                    <a:pt x="3326" y="117"/>
                  </a:lnTo>
                  <a:lnTo>
                    <a:pt x="3328" y="118"/>
                  </a:lnTo>
                  <a:lnTo>
                    <a:pt x="3330" y="118"/>
                  </a:lnTo>
                  <a:lnTo>
                    <a:pt x="3328" y="118"/>
                  </a:lnTo>
                  <a:lnTo>
                    <a:pt x="3328" y="119"/>
                  </a:lnTo>
                  <a:lnTo>
                    <a:pt x="3327" y="118"/>
                  </a:lnTo>
                  <a:lnTo>
                    <a:pt x="3327" y="119"/>
                  </a:lnTo>
                  <a:lnTo>
                    <a:pt x="3328" y="119"/>
                  </a:lnTo>
                  <a:lnTo>
                    <a:pt x="3328" y="121"/>
                  </a:lnTo>
                  <a:lnTo>
                    <a:pt x="3328" y="119"/>
                  </a:lnTo>
                  <a:lnTo>
                    <a:pt x="3330" y="121"/>
                  </a:lnTo>
                  <a:lnTo>
                    <a:pt x="3330" y="119"/>
                  </a:lnTo>
                  <a:lnTo>
                    <a:pt x="3331" y="119"/>
                  </a:lnTo>
                  <a:lnTo>
                    <a:pt x="3331" y="121"/>
                  </a:lnTo>
                  <a:lnTo>
                    <a:pt x="3332" y="121"/>
                  </a:lnTo>
                  <a:lnTo>
                    <a:pt x="3333" y="121"/>
                  </a:lnTo>
                  <a:lnTo>
                    <a:pt x="3334" y="119"/>
                  </a:lnTo>
                  <a:lnTo>
                    <a:pt x="3335" y="119"/>
                  </a:lnTo>
                  <a:lnTo>
                    <a:pt x="3337" y="119"/>
                  </a:lnTo>
                  <a:lnTo>
                    <a:pt x="3337" y="118"/>
                  </a:lnTo>
                  <a:lnTo>
                    <a:pt x="3338" y="118"/>
                  </a:lnTo>
                  <a:lnTo>
                    <a:pt x="3338" y="117"/>
                  </a:lnTo>
                  <a:lnTo>
                    <a:pt x="3339" y="117"/>
                  </a:lnTo>
                  <a:lnTo>
                    <a:pt x="3339" y="116"/>
                  </a:lnTo>
                  <a:lnTo>
                    <a:pt x="3338" y="115"/>
                  </a:lnTo>
                  <a:lnTo>
                    <a:pt x="3339" y="115"/>
                  </a:lnTo>
                  <a:lnTo>
                    <a:pt x="3339" y="112"/>
                  </a:lnTo>
                  <a:lnTo>
                    <a:pt x="3339" y="111"/>
                  </a:lnTo>
                  <a:lnTo>
                    <a:pt x="3340" y="112"/>
                  </a:lnTo>
                  <a:lnTo>
                    <a:pt x="3341" y="111"/>
                  </a:lnTo>
                  <a:lnTo>
                    <a:pt x="3344" y="111"/>
                  </a:lnTo>
                  <a:lnTo>
                    <a:pt x="3345" y="111"/>
                  </a:lnTo>
                  <a:lnTo>
                    <a:pt x="3348" y="111"/>
                  </a:lnTo>
                  <a:lnTo>
                    <a:pt x="3352" y="112"/>
                  </a:lnTo>
                  <a:lnTo>
                    <a:pt x="3354" y="112"/>
                  </a:lnTo>
                  <a:lnTo>
                    <a:pt x="3357" y="112"/>
                  </a:lnTo>
                  <a:lnTo>
                    <a:pt x="3363" y="114"/>
                  </a:lnTo>
                  <a:lnTo>
                    <a:pt x="3366" y="114"/>
                  </a:lnTo>
                  <a:lnTo>
                    <a:pt x="3367" y="115"/>
                  </a:lnTo>
                  <a:lnTo>
                    <a:pt x="3368" y="115"/>
                  </a:lnTo>
                  <a:lnTo>
                    <a:pt x="3373" y="116"/>
                  </a:lnTo>
                  <a:lnTo>
                    <a:pt x="3374" y="117"/>
                  </a:lnTo>
                  <a:lnTo>
                    <a:pt x="3375" y="117"/>
                  </a:lnTo>
                  <a:lnTo>
                    <a:pt x="3376" y="118"/>
                  </a:lnTo>
                  <a:lnTo>
                    <a:pt x="3374" y="119"/>
                  </a:lnTo>
                  <a:lnTo>
                    <a:pt x="3373" y="118"/>
                  </a:lnTo>
                  <a:lnTo>
                    <a:pt x="3371" y="118"/>
                  </a:lnTo>
                  <a:lnTo>
                    <a:pt x="3370" y="118"/>
                  </a:lnTo>
                  <a:lnTo>
                    <a:pt x="3369" y="117"/>
                  </a:lnTo>
                  <a:lnTo>
                    <a:pt x="3368" y="117"/>
                  </a:lnTo>
                  <a:lnTo>
                    <a:pt x="3368" y="118"/>
                  </a:lnTo>
                  <a:lnTo>
                    <a:pt x="3368" y="119"/>
                  </a:lnTo>
                  <a:lnTo>
                    <a:pt x="3367" y="118"/>
                  </a:lnTo>
                  <a:lnTo>
                    <a:pt x="3366" y="118"/>
                  </a:lnTo>
                  <a:lnTo>
                    <a:pt x="3364" y="118"/>
                  </a:lnTo>
                  <a:lnTo>
                    <a:pt x="3366" y="119"/>
                  </a:lnTo>
                  <a:lnTo>
                    <a:pt x="3368" y="119"/>
                  </a:lnTo>
                  <a:lnTo>
                    <a:pt x="3367" y="119"/>
                  </a:lnTo>
                  <a:lnTo>
                    <a:pt x="3367" y="121"/>
                  </a:lnTo>
                  <a:lnTo>
                    <a:pt x="3369" y="121"/>
                  </a:lnTo>
                  <a:lnTo>
                    <a:pt x="3369" y="119"/>
                  </a:lnTo>
                  <a:lnTo>
                    <a:pt x="3370" y="121"/>
                  </a:lnTo>
                  <a:lnTo>
                    <a:pt x="3371" y="121"/>
                  </a:lnTo>
                  <a:lnTo>
                    <a:pt x="3373" y="121"/>
                  </a:lnTo>
                  <a:lnTo>
                    <a:pt x="3377" y="121"/>
                  </a:lnTo>
                  <a:lnTo>
                    <a:pt x="3378" y="121"/>
                  </a:lnTo>
                  <a:lnTo>
                    <a:pt x="3380" y="121"/>
                  </a:lnTo>
                  <a:lnTo>
                    <a:pt x="3381" y="121"/>
                  </a:lnTo>
                  <a:lnTo>
                    <a:pt x="3381" y="122"/>
                  </a:lnTo>
                  <a:lnTo>
                    <a:pt x="3380" y="121"/>
                  </a:lnTo>
                  <a:lnTo>
                    <a:pt x="3380" y="122"/>
                  </a:lnTo>
                  <a:lnTo>
                    <a:pt x="3381" y="122"/>
                  </a:lnTo>
                  <a:lnTo>
                    <a:pt x="3381" y="123"/>
                  </a:lnTo>
                  <a:lnTo>
                    <a:pt x="3382" y="123"/>
                  </a:lnTo>
                  <a:lnTo>
                    <a:pt x="3383" y="122"/>
                  </a:lnTo>
                  <a:lnTo>
                    <a:pt x="3384" y="122"/>
                  </a:lnTo>
                  <a:lnTo>
                    <a:pt x="3385" y="122"/>
                  </a:lnTo>
                  <a:lnTo>
                    <a:pt x="3385" y="123"/>
                  </a:lnTo>
                  <a:lnTo>
                    <a:pt x="3385" y="122"/>
                  </a:lnTo>
                  <a:lnTo>
                    <a:pt x="3387" y="122"/>
                  </a:lnTo>
                  <a:lnTo>
                    <a:pt x="3388" y="122"/>
                  </a:lnTo>
                  <a:lnTo>
                    <a:pt x="3389" y="123"/>
                  </a:lnTo>
                  <a:lnTo>
                    <a:pt x="3389" y="124"/>
                  </a:lnTo>
                  <a:lnTo>
                    <a:pt x="3390" y="124"/>
                  </a:lnTo>
                  <a:lnTo>
                    <a:pt x="3389" y="124"/>
                  </a:lnTo>
                  <a:lnTo>
                    <a:pt x="3389" y="125"/>
                  </a:lnTo>
                  <a:lnTo>
                    <a:pt x="3388" y="125"/>
                  </a:lnTo>
                  <a:lnTo>
                    <a:pt x="3388" y="126"/>
                  </a:lnTo>
                  <a:lnTo>
                    <a:pt x="3389" y="126"/>
                  </a:lnTo>
                  <a:lnTo>
                    <a:pt x="3389" y="125"/>
                  </a:lnTo>
                  <a:lnTo>
                    <a:pt x="3390" y="125"/>
                  </a:lnTo>
                  <a:lnTo>
                    <a:pt x="3390" y="124"/>
                  </a:lnTo>
                  <a:lnTo>
                    <a:pt x="3391" y="124"/>
                  </a:lnTo>
                  <a:lnTo>
                    <a:pt x="3392" y="125"/>
                  </a:lnTo>
                  <a:lnTo>
                    <a:pt x="3392" y="124"/>
                  </a:lnTo>
                  <a:lnTo>
                    <a:pt x="3394" y="124"/>
                  </a:lnTo>
                  <a:lnTo>
                    <a:pt x="3395" y="124"/>
                  </a:lnTo>
                  <a:lnTo>
                    <a:pt x="3396" y="124"/>
                  </a:lnTo>
                  <a:lnTo>
                    <a:pt x="3399" y="124"/>
                  </a:lnTo>
                  <a:lnTo>
                    <a:pt x="3401" y="125"/>
                  </a:lnTo>
                  <a:lnTo>
                    <a:pt x="3402" y="125"/>
                  </a:lnTo>
                  <a:lnTo>
                    <a:pt x="3403" y="125"/>
                  </a:lnTo>
                  <a:lnTo>
                    <a:pt x="3404" y="125"/>
                  </a:lnTo>
                  <a:lnTo>
                    <a:pt x="3404" y="126"/>
                  </a:lnTo>
                  <a:lnTo>
                    <a:pt x="3405" y="126"/>
                  </a:lnTo>
                  <a:lnTo>
                    <a:pt x="3408" y="128"/>
                  </a:lnTo>
                  <a:lnTo>
                    <a:pt x="3409" y="128"/>
                  </a:lnTo>
                  <a:lnTo>
                    <a:pt x="3411" y="129"/>
                  </a:lnTo>
                  <a:lnTo>
                    <a:pt x="3412" y="129"/>
                  </a:lnTo>
                  <a:lnTo>
                    <a:pt x="3408" y="129"/>
                  </a:lnTo>
                  <a:lnTo>
                    <a:pt x="3409" y="129"/>
                  </a:lnTo>
                  <a:lnTo>
                    <a:pt x="3412" y="130"/>
                  </a:lnTo>
                  <a:lnTo>
                    <a:pt x="3416" y="131"/>
                  </a:lnTo>
                  <a:lnTo>
                    <a:pt x="3419" y="131"/>
                  </a:lnTo>
                  <a:lnTo>
                    <a:pt x="3420" y="132"/>
                  </a:lnTo>
                  <a:lnTo>
                    <a:pt x="3420" y="131"/>
                  </a:lnTo>
                  <a:lnTo>
                    <a:pt x="3421" y="131"/>
                  </a:lnTo>
                  <a:lnTo>
                    <a:pt x="3424" y="131"/>
                  </a:lnTo>
                  <a:lnTo>
                    <a:pt x="3426" y="131"/>
                  </a:lnTo>
                  <a:lnTo>
                    <a:pt x="3427" y="131"/>
                  </a:lnTo>
                  <a:lnTo>
                    <a:pt x="3426" y="131"/>
                  </a:lnTo>
                  <a:lnTo>
                    <a:pt x="3426" y="130"/>
                  </a:lnTo>
                  <a:lnTo>
                    <a:pt x="3427" y="131"/>
                  </a:lnTo>
                  <a:lnTo>
                    <a:pt x="3430" y="130"/>
                  </a:lnTo>
                  <a:lnTo>
                    <a:pt x="3430" y="131"/>
                  </a:lnTo>
                  <a:lnTo>
                    <a:pt x="3432" y="130"/>
                  </a:lnTo>
                  <a:lnTo>
                    <a:pt x="3433" y="130"/>
                  </a:lnTo>
                  <a:lnTo>
                    <a:pt x="3434" y="130"/>
                  </a:lnTo>
                  <a:lnTo>
                    <a:pt x="3435" y="129"/>
                  </a:lnTo>
                  <a:lnTo>
                    <a:pt x="3438" y="129"/>
                  </a:lnTo>
                  <a:lnTo>
                    <a:pt x="3440" y="129"/>
                  </a:lnTo>
                  <a:lnTo>
                    <a:pt x="3445" y="128"/>
                  </a:lnTo>
                  <a:lnTo>
                    <a:pt x="3445" y="129"/>
                  </a:lnTo>
                  <a:lnTo>
                    <a:pt x="3446" y="129"/>
                  </a:lnTo>
                  <a:lnTo>
                    <a:pt x="3446" y="128"/>
                  </a:lnTo>
                  <a:lnTo>
                    <a:pt x="3448" y="128"/>
                  </a:lnTo>
                  <a:lnTo>
                    <a:pt x="3452" y="128"/>
                  </a:lnTo>
                  <a:lnTo>
                    <a:pt x="3455" y="128"/>
                  </a:lnTo>
                  <a:lnTo>
                    <a:pt x="3459" y="128"/>
                  </a:lnTo>
                  <a:lnTo>
                    <a:pt x="3462" y="128"/>
                  </a:lnTo>
                  <a:lnTo>
                    <a:pt x="3465" y="128"/>
                  </a:lnTo>
                  <a:lnTo>
                    <a:pt x="3466" y="128"/>
                  </a:lnTo>
                  <a:lnTo>
                    <a:pt x="3467" y="129"/>
                  </a:lnTo>
                  <a:lnTo>
                    <a:pt x="3469" y="129"/>
                  </a:lnTo>
                  <a:lnTo>
                    <a:pt x="3472" y="129"/>
                  </a:lnTo>
                  <a:lnTo>
                    <a:pt x="3473" y="129"/>
                  </a:lnTo>
                  <a:lnTo>
                    <a:pt x="3474" y="129"/>
                  </a:lnTo>
                  <a:lnTo>
                    <a:pt x="3476" y="130"/>
                  </a:lnTo>
                  <a:lnTo>
                    <a:pt x="3481" y="130"/>
                  </a:lnTo>
                  <a:lnTo>
                    <a:pt x="3485" y="131"/>
                  </a:lnTo>
                  <a:lnTo>
                    <a:pt x="3494" y="133"/>
                  </a:lnTo>
                  <a:lnTo>
                    <a:pt x="3497" y="135"/>
                  </a:lnTo>
                  <a:lnTo>
                    <a:pt x="3502" y="137"/>
                  </a:lnTo>
                  <a:lnTo>
                    <a:pt x="3503" y="137"/>
                  </a:lnTo>
                  <a:lnTo>
                    <a:pt x="3504" y="138"/>
                  </a:lnTo>
                  <a:lnTo>
                    <a:pt x="3505" y="138"/>
                  </a:lnTo>
                  <a:lnTo>
                    <a:pt x="3506" y="139"/>
                  </a:lnTo>
                  <a:lnTo>
                    <a:pt x="3505" y="139"/>
                  </a:lnTo>
                  <a:lnTo>
                    <a:pt x="3506" y="139"/>
                  </a:lnTo>
                  <a:lnTo>
                    <a:pt x="3506" y="140"/>
                  </a:lnTo>
                  <a:lnTo>
                    <a:pt x="3504" y="140"/>
                  </a:lnTo>
                  <a:lnTo>
                    <a:pt x="3505" y="140"/>
                  </a:lnTo>
                  <a:lnTo>
                    <a:pt x="3506" y="140"/>
                  </a:lnTo>
                  <a:lnTo>
                    <a:pt x="3506" y="142"/>
                  </a:lnTo>
                  <a:lnTo>
                    <a:pt x="3508" y="142"/>
                  </a:lnTo>
                  <a:lnTo>
                    <a:pt x="3509" y="142"/>
                  </a:lnTo>
                  <a:lnTo>
                    <a:pt x="3509" y="143"/>
                  </a:lnTo>
                  <a:lnTo>
                    <a:pt x="3508" y="143"/>
                  </a:lnTo>
                  <a:lnTo>
                    <a:pt x="3509" y="143"/>
                  </a:lnTo>
                  <a:lnTo>
                    <a:pt x="3509" y="144"/>
                  </a:lnTo>
                  <a:lnTo>
                    <a:pt x="3510" y="144"/>
                  </a:lnTo>
                  <a:lnTo>
                    <a:pt x="3511" y="144"/>
                  </a:lnTo>
                  <a:lnTo>
                    <a:pt x="3511" y="145"/>
                  </a:lnTo>
                  <a:lnTo>
                    <a:pt x="3512" y="145"/>
                  </a:lnTo>
                  <a:lnTo>
                    <a:pt x="3517" y="146"/>
                  </a:lnTo>
                  <a:lnTo>
                    <a:pt x="3516" y="145"/>
                  </a:lnTo>
                  <a:lnTo>
                    <a:pt x="3518" y="146"/>
                  </a:lnTo>
                  <a:lnTo>
                    <a:pt x="3519" y="146"/>
                  </a:lnTo>
                  <a:lnTo>
                    <a:pt x="3520" y="146"/>
                  </a:lnTo>
                  <a:lnTo>
                    <a:pt x="3523" y="146"/>
                  </a:lnTo>
                  <a:lnTo>
                    <a:pt x="3525" y="147"/>
                  </a:lnTo>
                  <a:lnTo>
                    <a:pt x="3525" y="146"/>
                  </a:lnTo>
                  <a:lnTo>
                    <a:pt x="3526" y="146"/>
                  </a:lnTo>
                  <a:lnTo>
                    <a:pt x="3526" y="147"/>
                  </a:lnTo>
                  <a:lnTo>
                    <a:pt x="3527" y="147"/>
                  </a:lnTo>
                  <a:lnTo>
                    <a:pt x="3529" y="149"/>
                  </a:lnTo>
                  <a:lnTo>
                    <a:pt x="3529" y="150"/>
                  </a:lnTo>
                  <a:lnTo>
                    <a:pt x="3530" y="150"/>
                  </a:lnTo>
                  <a:lnTo>
                    <a:pt x="3531" y="150"/>
                  </a:lnTo>
                  <a:lnTo>
                    <a:pt x="3531" y="151"/>
                  </a:lnTo>
                  <a:lnTo>
                    <a:pt x="3532" y="151"/>
                  </a:lnTo>
                  <a:lnTo>
                    <a:pt x="3533" y="151"/>
                  </a:lnTo>
                  <a:lnTo>
                    <a:pt x="3533" y="152"/>
                  </a:lnTo>
                  <a:lnTo>
                    <a:pt x="3534" y="152"/>
                  </a:lnTo>
                  <a:lnTo>
                    <a:pt x="3536" y="153"/>
                  </a:lnTo>
                  <a:lnTo>
                    <a:pt x="3537" y="154"/>
                  </a:lnTo>
                  <a:lnTo>
                    <a:pt x="3538" y="154"/>
                  </a:lnTo>
                  <a:lnTo>
                    <a:pt x="3540" y="154"/>
                  </a:lnTo>
                  <a:lnTo>
                    <a:pt x="3541" y="156"/>
                  </a:lnTo>
                  <a:lnTo>
                    <a:pt x="3543" y="156"/>
                  </a:lnTo>
                  <a:lnTo>
                    <a:pt x="3544" y="156"/>
                  </a:lnTo>
                  <a:lnTo>
                    <a:pt x="3544" y="157"/>
                  </a:lnTo>
                  <a:lnTo>
                    <a:pt x="3545" y="158"/>
                  </a:lnTo>
                  <a:lnTo>
                    <a:pt x="3546" y="159"/>
                  </a:lnTo>
                  <a:lnTo>
                    <a:pt x="3546" y="160"/>
                  </a:lnTo>
                  <a:lnTo>
                    <a:pt x="3547" y="160"/>
                  </a:lnTo>
                  <a:lnTo>
                    <a:pt x="3547" y="161"/>
                  </a:lnTo>
                  <a:lnTo>
                    <a:pt x="3546" y="161"/>
                  </a:lnTo>
                  <a:lnTo>
                    <a:pt x="3544" y="161"/>
                  </a:lnTo>
                  <a:lnTo>
                    <a:pt x="3545" y="161"/>
                  </a:lnTo>
                  <a:lnTo>
                    <a:pt x="3546" y="161"/>
                  </a:lnTo>
                  <a:lnTo>
                    <a:pt x="3548" y="161"/>
                  </a:lnTo>
                  <a:lnTo>
                    <a:pt x="3547" y="160"/>
                  </a:lnTo>
                  <a:lnTo>
                    <a:pt x="3547" y="159"/>
                  </a:lnTo>
                  <a:lnTo>
                    <a:pt x="3546" y="159"/>
                  </a:lnTo>
                  <a:lnTo>
                    <a:pt x="3546" y="158"/>
                  </a:lnTo>
                  <a:lnTo>
                    <a:pt x="3546" y="157"/>
                  </a:lnTo>
                  <a:lnTo>
                    <a:pt x="3545" y="156"/>
                  </a:lnTo>
                  <a:lnTo>
                    <a:pt x="3544" y="156"/>
                  </a:lnTo>
                  <a:lnTo>
                    <a:pt x="3544" y="154"/>
                  </a:lnTo>
                  <a:lnTo>
                    <a:pt x="3543" y="154"/>
                  </a:lnTo>
                  <a:lnTo>
                    <a:pt x="3541" y="154"/>
                  </a:lnTo>
                  <a:lnTo>
                    <a:pt x="3541" y="153"/>
                  </a:lnTo>
                  <a:lnTo>
                    <a:pt x="3540" y="153"/>
                  </a:lnTo>
                  <a:lnTo>
                    <a:pt x="3539" y="153"/>
                  </a:lnTo>
                  <a:lnTo>
                    <a:pt x="3539" y="152"/>
                  </a:lnTo>
                  <a:lnTo>
                    <a:pt x="3538" y="152"/>
                  </a:lnTo>
                  <a:lnTo>
                    <a:pt x="3538" y="151"/>
                  </a:lnTo>
                  <a:lnTo>
                    <a:pt x="3537" y="151"/>
                  </a:lnTo>
                  <a:lnTo>
                    <a:pt x="3536" y="150"/>
                  </a:lnTo>
                  <a:lnTo>
                    <a:pt x="3537" y="150"/>
                  </a:lnTo>
                  <a:lnTo>
                    <a:pt x="3537" y="149"/>
                  </a:lnTo>
                  <a:lnTo>
                    <a:pt x="3538" y="149"/>
                  </a:lnTo>
                  <a:lnTo>
                    <a:pt x="3539" y="149"/>
                  </a:lnTo>
                  <a:lnTo>
                    <a:pt x="3538" y="147"/>
                  </a:lnTo>
                  <a:lnTo>
                    <a:pt x="3539" y="147"/>
                  </a:lnTo>
                  <a:lnTo>
                    <a:pt x="3538" y="146"/>
                  </a:lnTo>
                  <a:lnTo>
                    <a:pt x="3539" y="146"/>
                  </a:lnTo>
                  <a:lnTo>
                    <a:pt x="3540" y="146"/>
                  </a:lnTo>
                  <a:lnTo>
                    <a:pt x="3543" y="146"/>
                  </a:lnTo>
                  <a:lnTo>
                    <a:pt x="3544" y="146"/>
                  </a:lnTo>
                  <a:lnTo>
                    <a:pt x="3546" y="146"/>
                  </a:lnTo>
                  <a:lnTo>
                    <a:pt x="3547" y="146"/>
                  </a:lnTo>
                  <a:lnTo>
                    <a:pt x="3548" y="146"/>
                  </a:lnTo>
                  <a:lnTo>
                    <a:pt x="3549" y="146"/>
                  </a:lnTo>
                  <a:lnTo>
                    <a:pt x="3551" y="146"/>
                  </a:lnTo>
                  <a:lnTo>
                    <a:pt x="3552" y="146"/>
                  </a:lnTo>
                  <a:lnTo>
                    <a:pt x="3553" y="146"/>
                  </a:lnTo>
                  <a:lnTo>
                    <a:pt x="3554" y="145"/>
                  </a:lnTo>
                  <a:lnTo>
                    <a:pt x="3555" y="145"/>
                  </a:lnTo>
                  <a:lnTo>
                    <a:pt x="3556" y="145"/>
                  </a:lnTo>
                  <a:lnTo>
                    <a:pt x="3556" y="146"/>
                  </a:lnTo>
                  <a:lnTo>
                    <a:pt x="3559" y="146"/>
                  </a:lnTo>
                  <a:lnTo>
                    <a:pt x="3561" y="147"/>
                  </a:lnTo>
                  <a:lnTo>
                    <a:pt x="3562" y="147"/>
                  </a:lnTo>
                  <a:lnTo>
                    <a:pt x="3567" y="147"/>
                  </a:lnTo>
                  <a:lnTo>
                    <a:pt x="3570" y="147"/>
                  </a:lnTo>
                  <a:lnTo>
                    <a:pt x="3574" y="147"/>
                  </a:lnTo>
                  <a:lnTo>
                    <a:pt x="3575" y="147"/>
                  </a:lnTo>
                  <a:lnTo>
                    <a:pt x="3576" y="147"/>
                  </a:lnTo>
                  <a:lnTo>
                    <a:pt x="3577" y="147"/>
                  </a:lnTo>
                  <a:lnTo>
                    <a:pt x="3580" y="149"/>
                  </a:lnTo>
                  <a:lnTo>
                    <a:pt x="3582" y="149"/>
                  </a:lnTo>
                  <a:lnTo>
                    <a:pt x="3586" y="149"/>
                  </a:lnTo>
                  <a:lnTo>
                    <a:pt x="3587" y="149"/>
                  </a:lnTo>
                  <a:lnTo>
                    <a:pt x="3589" y="149"/>
                  </a:lnTo>
                  <a:lnTo>
                    <a:pt x="3590" y="147"/>
                  </a:lnTo>
                  <a:lnTo>
                    <a:pt x="3591" y="146"/>
                  </a:lnTo>
                  <a:lnTo>
                    <a:pt x="3591" y="145"/>
                  </a:lnTo>
                  <a:lnTo>
                    <a:pt x="3593" y="145"/>
                  </a:lnTo>
                  <a:lnTo>
                    <a:pt x="3594" y="145"/>
                  </a:lnTo>
                  <a:lnTo>
                    <a:pt x="3595" y="146"/>
                  </a:lnTo>
                  <a:lnTo>
                    <a:pt x="3596" y="146"/>
                  </a:lnTo>
                  <a:lnTo>
                    <a:pt x="3597" y="147"/>
                  </a:lnTo>
                  <a:lnTo>
                    <a:pt x="3598" y="147"/>
                  </a:lnTo>
                  <a:lnTo>
                    <a:pt x="3601" y="147"/>
                  </a:lnTo>
                  <a:lnTo>
                    <a:pt x="3602" y="149"/>
                  </a:lnTo>
                  <a:lnTo>
                    <a:pt x="3603" y="149"/>
                  </a:lnTo>
                  <a:lnTo>
                    <a:pt x="3603" y="150"/>
                  </a:lnTo>
                  <a:lnTo>
                    <a:pt x="3604" y="150"/>
                  </a:lnTo>
                  <a:lnTo>
                    <a:pt x="3605" y="151"/>
                  </a:lnTo>
                  <a:lnTo>
                    <a:pt x="3607" y="151"/>
                  </a:lnTo>
                  <a:lnTo>
                    <a:pt x="3607" y="152"/>
                  </a:lnTo>
                  <a:lnTo>
                    <a:pt x="3608" y="152"/>
                  </a:lnTo>
                  <a:lnTo>
                    <a:pt x="3609" y="152"/>
                  </a:lnTo>
                  <a:lnTo>
                    <a:pt x="3612" y="152"/>
                  </a:lnTo>
                  <a:lnTo>
                    <a:pt x="3615" y="153"/>
                  </a:lnTo>
                  <a:lnTo>
                    <a:pt x="3616" y="153"/>
                  </a:lnTo>
                  <a:lnTo>
                    <a:pt x="3617" y="153"/>
                  </a:lnTo>
                  <a:lnTo>
                    <a:pt x="3618" y="154"/>
                  </a:lnTo>
                  <a:lnTo>
                    <a:pt x="3619" y="154"/>
                  </a:lnTo>
                  <a:lnTo>
                    <a:pt x="3620" y="154"/>
                  </a:lnTo>
                  <a:lnTo>
                    <a:pt x="3622" y="154"/>
                  </a:lnTo>
                  <a:lnTo>
                    <a:pt x="3624" y="156"/>
                  </a:lnTo>
                  <a:lnTo>
                    <a:pt x="3625" y="156"/>
                  </a:lnTo>
                  <a:lnTo>
                    <a:pt x="3626" y="157"/>
                  </a:lnTo>
                  <a:lnTo>
                    <a:pt x="3627" y="158"/>
                  </a:lnTo>
                  <a:lnTo>
                    <a:pt x="3629" y="158"/>
                  </a:lnTo>
                  <a:lnTo>
                    <a:pt x="3631" y="158"/>
                  </a:lnTo>
                  <a:lnTo>
                    <a:pt x="3633" y="158"/>
                  </a:lnTo>
                  <a:lnTo>
                    <a:pt x="3637" y="158"/>
                  </a:lnTo>
                  <a:lnTo>
                    <a:pt x="3638" y="158"/>
                  </a:lnTo>
                  <a:lnTo>
                    <a:pt x="3639" y="158"/>
                  </a:lnTo>
                  <a:lnTo>
                    <a:pt x="3640" y="158"/>
                  </a:lnTo>
                  <a:lnTo>
                    <a:pt x="3640" y="159"/>
                  </a:lnTo>
                  <a:lnTo>
                    <a:pt x="3641" y="159"/>
                  </a:lnTo>
                  <a:lnTo>
                    <a:pt x="3639" y="158"/>
                  </a:lnTo>
                  <a:lnTo>
                    <a:pt x="3638" y="158"/>
                  </a:lnTo>
                  <a:lnTo>
                    <a:pt x="3637" y="158"/>
                  </a:lnTo>
                  <a:lnTo>
                    <a:pt x="3637" y="157"/>
                  </a:lnTo>
                  <a:lnTo>
                    <a:pt x="3638" y="157"/>
                  </a:lnTo>
                  <a:lnTo>
                    <a:pt x="3639" y="157"/>
                  </a:lnTo>
                  <a:lnTo>
                    <a:pt x="3640" y="158"/>
                  </a:lnTo>
                  <a:lnTo>
                    <a:pt x="3640" y="157"/>
                  </a:lnTo>
                  <a:lnTo>
                    <a:pt x="3639" y="157"/>
                  </a:lnTo>
                  <a:lnTo>
                    <a:pt x="3638" y="157"/>
                  </a:lnTo>
                  <a:lnTo>
                    <a:pt x="3638" y="156"/>
                  </a:lnTo>
                  <a:lnTo>
                    <a:pt x="3639" y="156"/>
                  </a:lnTo>
                  <a:lnTo>
                    <a:pt x="3639" y="154"/>
                  </a:lnTo>
                  <a:lnTo>
                    <a:pt x="3640" y="156"/>
                  </a:lnTo>
                  <a:lnTo>
                    <a:pt x="3640" y="154"/>
                  </a:lnTo>
                  <a:lnTo>
                    <a:pt x="3639" y="154"/>
                  </a:lnTo>
                  <a:lnTo>
                    <a:pt x="3638" y="154"/>
                  </a:lnTo>
                  <a:lnTo>
                    <a:pt x="3638" y="153"/>
                  </a:lnTo>
                  <a:lnTo>
                    <a:pt x="3637" y="153"/>
                  </a:lnTo>
                  <a:lnTo>
                    <a:pt x="3636" y="153"/>
                  </a:lnTo>
                  <a:lnTo>
                    <a:pt x="3634" y="152"/>
                  </a:lnTo>
                  <a:lnTo>
                    <a:pt x="3633" y="151"/>
                  </a:lnTo>
                  <a:lnTo>
                    <a:pt x="3632" y="151"/>
                  </a:lnTo>
                  <a:lnTo>
                    <a:pt x="3631" y="151"/>
                  </a:lnTo>
                  <a:lnTo>
                    <a:pt x="3630" y="150"/>
                  </a:lnTo>
                  <a:lnTo>
                    <a:pt x="3629" y="150"/>
                  </a:lnTo>
                  <a:lnTo>
                    <a:pt x="3627" y="150"/>
                  </a:lnTo>
                  <a:lnTo>
                    <a:pt x="3627" y="149"/>
                  </a:lnTo>
                  <a:lnTo>
                    <a:pt x="3626" y="149"/>
                  </a:lnTo>
                  <a:lnTo>
                    <a:pt x="3625" y="147"/>
                  </a:lnTo>
                  <a:lnTo>
                    <a:pt x="3624" y="147"/>
                  </a:lnTo>
                  <a:lnTo>
                    <a:pt x="3623" y="147"/>
                  </a:lnTo>
                  <a:lnTo>
                    <a:pt x="3622" y="147"/>
                  </a:lnTo>
                  <a:lnTo>
                    <a:pt x="3620" y="147"/>
                  </a:lnTo>
                  <a:lnTo>
                    <a:pt x="3619" y="147"/>
                  </a:lnTo>
                  <a:lnTo>
                    <a:pt x="3619" y="146"/>
                  </a:lnTo>
                  <a:lnTo>
                    <a:pt x="3618" y="146"/>
                  </a:lnTo>
                  <a:lnTo>
                    <a:pt x="3619" y="146"/>
                  </a:lnTo>
                  <a:lnTo>
                    <a:pt x="3619" y="145"/>
                  </a:lnTo>
                  <a:lnTo>
                    <a:pt x="3620" y="145"/>
                  </a:lnTo>
                  <a:lnTo>
                    <a:pt x="3619" y="145"/>
                  </a:lnTo>
                  <a:lnTo>
                    <a:pt x="3619" y="144"/>
                  </a:lnTo>
                  <a:lnTo>
                    <a:pt x="3618" y="144"/>
                  </a:lnTo>
                  <a:lnTo>
                    <a:pt x="3617" y="144"/>
                  </a:lnTo>
                  <a:lnTo>
                    <a:pt x="3617" y="143"/>
                  </a:lnTo>
                  <a:lnTo>
                    <a:pt x="3616" y="143"/>
                  </a:lnTo>
                  <a:lnTo>
                    <a:pt x="3615" y="142"/>
                  </a:lnTo>
                  <a:lnTo>
                    <a:pt x="3613" y="142"/>
                  </a:lnTo>
                  <a:lnTo>
                    <a:pt x="3613" y="140"/>
                  </a:lnTo>
                  <a:lnTo>
                    <a:pt x="3611" y="140"/>
                  </a:lnTo>
                  <a:lnTo>
                    <a:pt x="3612" y="140"/>
                  </a:lnTo>
                  <a:lnTo>
                    <a:pt x="3613" y="140"/>
                  </a:lnTo>
                  <a:lnTo>
                    <a:pt x="3618" y="140"/>
                  </a:lnTo>
                  <a:lnTo>
                    <a:pt x="3622" y="142"/>
                  </a:lnTo>
                  <a:lnTo>
                    <a:pt x="3625" y="142"/>
                  </a:lnTo>
                  <a:lnTo>
                    <a:pt x="3630" y="142"/>
                  </a:lnTo>
                  <a:lnTo>
                    <a:pt x="3633" y="143"/>
                  </a:lnTo>
                  <a:lnTo>
                    <a:pt x="3637" y="143"/>
                  </a:lnTo>
                  <a:lnTo>
                    <a:pt x="3638" y="143"/>
                  </a:lnTo>
                  <a:lnTo>
                    <a:pt x="3639" y="143"/>
                  </a:lnTo>
                  <a:lnTo>
                    <a:pt x="3640" y="144"/>
                  </a:lnTo>
                  <a:lnTo>
                    <a:pt x="3645" y="144"/>
                  </a:lnTo>
                  <a:lnTo>
                    <a:pt x="3646" y="144"/>
                  </a:lnTo>
                  <a:lnTo>
                    <a:pt x="3646" y="145"/>
                  </a:lnTo>
                  <a:lnTo>
                    <a:pt x="3647" y="145"/>
                  </a:lnTo>
                  <a:lnTo>
                    <a:pt x="3648" y="145"/>
                  </a:lnTo>
                  <a:lnTo>
                    <a:pt x="3648" y="144"/>
                  </a:lnTo>
                  <a:lnTo>
                    <a:pt x="3647" y="144"/>
                  </a:lnTo>
                  <a:lnTo>
                    <a:pt x="3646" y="144"/>
                  </a:lnTo>
                  <a:lnTo>
                    <a:pt x="3645" y="143"/>
                  </a:lnTo>
                  <a:lnTo>
                    <a:pt x="3644" y="143"/>
                  </a:lnTo>
                  <a:lnTo>
                    <a:pt x="3644" y="144"/>
                  </a:lnTo>
                  <a:lnTo>
                    <a:pt x="3644" y="143"/>
                  </a:lnTo>
                  <a:lnTo>
                    <a:pt x="3646" y="143"/>
                  </a:lnTo>
                  <a:lnTo>
                    <a:pt x="3650" y="144"/>
                  </a:lnTo>
                  <a:lnTo>
                    <a:pt x="3651" y="144"/>
                  </a:lnTo>
                  <a:lnTo>
                    <a:pt x="3650" y="144"/>
                  </a:lnTo>
                  <a:lnTo>
                    <a:pt x="3651" y="144"/>
                  </a:lnTo>
                  <a:lnTo>
                    <a:pt x="3652" y="144"/>
                  </a:lnTo>
                  <a:lnTo>
                    <a:pt x="3653" y="144"/>
                  </a:lnTo>
                  <a:lnTo>
                    <a:pt x="3652" y="144"/>
                  </a:lnTo>
                  <a:lnTo>
                    <a:pt x="3653" y="144"/>
                  </a:lnTo>
                  <a:lnTo>
                    <a:pt x="3655" y="144"/>
                  </a:lnTo>
                  <a:lnTo>
                    <a:pt x="3657" y="144"/>
                  </a:lnTo>
                  <a:lnTo>
                    <a:pt x="3661" y="144"/>
                  </a:lnTo>
                  <a:lnTo>
                    <a:pt x="3664" y="144"/>
                  </a:lnTo>
                  <a:lnTo>
                    <a:pt x="3665" y="144"/>
                  </a:lnTo>
                  <a:lnTo>
                    <a:pt x="3667" y="144"/>
                  </a:lnTo>
                  <a:lnTo>
                    <a:pt x="3668" y="144"/>
                  </a:lnTo>
                  <a:lnTo>
                    <a:pt x="3669" y="144"/>
                  </a:lnTo>
                  <a:lnTo>
                    <a:pt x="3671" y="144"/>
                  </a:lnTo>
                  <a:lnTo>
                    <a:pt x="3669" y="144"/>
                  </a:lnTo>
                  <a:lnTo>
                    <a:pt x="3668" y="144"/>
                  </a:lnTo>
                  <a:lnTo>
                    <a:pt x="3669" y="144"/>
                  </a:lnTo>
                  <a:lnTo>
                    <a:pt x="3671" y="144"/>
                  </a:lnTo>
                  <a:lnTo>
                    <a:pt x="3672" y="144"/>
                  </a:lnTo>
                  <a:lnTo>
                    <a:pt x="3673" y="145"/>
                  </a:lnTo>
                  <a:lnTo>
                    <a:pt x="3674" y="145"/>
                  </a:lnTo>
                  <a:lnTo>
                    <a:pt x="3675" y="145"/>
                  </a:lnTo>
                  <a:lnTo>
                    <a:pt x="3676" y="145"/>
                  </a:lnTo>
                  <a:lnTo>
                    <a:pt x="3675" y="145"/>
                  </a:lnTo>
                  <a:lnTo>
                    <a:pt x="3675" y="144"/>
                  </a:lnTo>
                  <a:lnTo>
                    <a:pt x="3674" y="144"/>
                  </a:lnTo>
                  <a:lnTo>
                    <a:pt x="3673" y="144"/>
                  </a:lnTo>
                  <a:lnTo>
                    <a:pt x="3672" y="144"/>
                  </a:lnTo>
                  <a:lnTo>
                    <a:pt x="3671" y="144"/>
                  </a:lnTo>
                  <a:lnTo>
                    <a:pt x="3672" y="144"/>
                  </a:lnTo>
                  <a:lnTo>
                    <a:pt x="3673" y="144"/>
                  </a:lnTo>
                  <a:lnTo>
                    <a:pt x="3674" y="144"/>
                  </a:lnTo>
                  <a:lnTo>
                    <a:pt x="3675" y="144"/>
                  </a:lnTo>
                  <a:lnTo>
                    <a:pt x="3676" y="144"/>
                  </a:lnTo>
                  <a:lnTo>
                    <a:pt x="3677" y="145"/>
                  </a:lnTo>
                  <a:lnTo>
                    <a:pt x="3676" y="145"/>
                  </a:lnTo>
                  <a:lnTo>
                    <a:pt x="3677" y="145"/>
                  </a:lnTo>
                  <a:lnTo>
                    <a:pt x="3680" y="145"/>
                  </a:lnTo>
                  <a:lnTo>
                    <a:pt x="3681" y="145"/>
                  </a:lnTo>
                  <a:lnTo>
                    <a:pt x="3682" y="146"/>
                  </a:lnTo>
                  <a:lnTo>
                    <a:pt x="3683" y="146"/>
                  </a:lnTo>
                  <a:lnTo>
                    <a:pt x="3684" y="146"/>
                  </a:lnTo>
                  <a:lnTo>
                    <a:pt x="3686" y="146"/>
                  </a:lnTo>
                  <a:lnTo>
                    <a:pt x="3688" y="147"/>
                  </a:lnTo>
                  <a:lnTo>
                    <a:pt x="3689" y="147"/>
                  </a:lnTo>
                  <a:lnTo>
                    <a:pt x="3691" y="147"/>
                  </a:lnTo>
                  <a:lnTo>
                    <a:pt x="3695" y="147"/>
                  </a:lnTo>
                  <a:lnTo>
                    <a:pt x="3696" y="149"/>
                  </a:lnTo>
                  <a:lnTo>
                    <a:pt x="3696" y="147"/>
                  </a:lnTo>
                  <a:lnTo>
                    <a:pt x="3695" y="147"/>
                  </a:lnTo>
                  <a:lnTo>
                    <a:pt x="3696" y="149"/>
                  </a:lnTo>
                  <a:lnTo>
                    <a:pt x="3697" y="149"/>
                  </a:lnTo>
                  <a:lnTo>
                    <a:pt x="3700" y="149"/>
                  </a:lnTo>
                  <a:lnTo>
                    <a:pt x="3703" y="150"/>
                  </a:lnTo>
                  <a:lnTo>
                    <a:pt x="3704" y="150"/>
                  </a:lnTo>
                  <a:lnTo>
                    <a:pt x="3704" y="149"/>
                  </a:lnTo>
                  <a:lnTo>
                    <a:pt x="3710" y="150"/>
                  </a:lnTo>
                  <a:lnTo>
                    <a:pt x="3711" y="150"/>
                  </a:lnTo>
                  <a:lnTo>
                    <a:pt x="3712" y="150"/>
                  </a:lnTo>
                  <a:lnTo>
                    <a:pt x="3712" y="151"/>
                  </a:lnTo>
                  <a:lnTo>
                    <a:pt x="3714" y="151"/>
                  </a:lnTo>
                  <a:lnTo>
                    <a:pt x="3715" y="151"/>
                  </a:lnTo>
                  <a:lnTo>
                    <a:pt x="3714" y="151"/>
                  </a:lnTo>
                  <a:lnTo>
                    <a:pt x="3712" y="151"/>
                  </a:lnTo>
                  <a:lnTo>
                    <a:pt x="3711" y="151"/>
                  </a:lnTo>
                  <a:lnTo>
                    <a:pt x="3710" y="151"/>
                  </a:lnTo>
                  <a:lnTo>
                    <a:pt x="3710" y="150"/>
                  </a:lnTo>
                  <a:lnTo>
                    <a:pt x="3710" y="151"/>
                  </a:lnTo>
                  <a:lnTo>
                    <a:pt x="3711" y="151"/>
                  </a:lnTo>
                  <a:lnTo>
                    <a:pt x="3712" y="152"/>
                  </a:lnTo>
                  <a:lnTo>
                    <a:pt x="3714" y="151"/>
                  </a:lnTo>
                  <a:lnTo>
                    <a:pt x="3715" y="152"/>
                  </a:lnTo>
                  <a:lnTo>
                    <a:pt x="3716" y="151"/>
                  </a:lnTo>
                  <a:lnTo>
                    <a:pt x="3718" y="152"/>
                  </a:lnTo>
                  <a:lnTo>
                    <a:pt x="3721" y="152"/>
                  </a:lnTo>
                  <a:lnTo>
                    <a:pt x="3725" y="154"/>
                  </a:lnTo>
                  <a:lnTo>
                    <a:pt x="3731" y="156"/>
                  </a:lnTo>
                  <a:lnTo>
                    <a:pt x="3730" y="156"/>
                  </a:lnTo>
                  <a:lnTo>
                    <a:pt x="3726" y="154"/>
                  </a:lnTo>
                  <a:lnTo>
                    <a:pt x="3725" y="154"/>
                  </a:lnTo>
                  <a:lnTo>
                    <a:pt x="3724" y="154"/>
                  </a:lnTo>
                  <a:lnTo>
                    <a:pt x="3725" y="154"/>
                  </a:lnTo>
                  <a:lnTo>
                    <a:pt x="3726" y="154"/>
                  </a:lnTo>
                  <a:lnTo>
                    <a:pt x="3728" y="154"/>
                  </a:lnTo>
                  <a:lnTo>
                    <a:pt x="3728" y="156"/>
                  </a:lnTo>
                  <a:lnTo>
                    <a:pt x="3729" y="156"/>
                  </a:lnTo>
                  <a:lnTo>
                    <a:pt x="3731" y="156"/>
                  </a:lnTo>
                  <a:lnTo>
                    <a:pt x="3741" y="163"/>
                  </a:lnTo>
                  <a:lnTo>
                    <a:pt x="3752" y="168"/>
                  </a:lnTo>
                  <a:lnTo>
                    <a:pt x="3762" y="175"/>
                  </a:lnTo>
                  <a:lnTo>
                    <a:pt x="3772" y="182"/>
                  </a:lnTo>
                  <a:lnTo>
                    <a:pt x="3782" y="188"/>
                  </a:lnTo>
                  <a:lnTo>
                    <a:pt x="3793" y="195"/>
                  </a:lnTo>
                  <a:lnTo>
                    <a:pt x="3802" y="202"/>
                  </a:lnTo>
                  <a:lnTo>
                    <a:pt x="3812" y="209"/>
                  </a:lnTo>
                  <a:close/>
                  <a:moveTo>
                    <a:pt x="3583" y="542"/>
                  </a:moveTo>
                  <a:lnTo>
                    <a:pt x="3582" y="542"/>
                  </a:lnTo>
                  <a:lnTo>
                    <a:pt x="3582" y="541"/>
                  </a:lnTo>
                  <a:lnTo>
                    <a:pt x="3583" y="541"/>
                  </a:lnTo>
                  <a:lnTo>
                    <a:pt x="3583" y="542"/>
                  </a:lnTo>
                  <a:close/>
                  <a:moveTo>
                    <a:pt x="3574" y="538"/>
                  </a:moveTo>
                  <a:lnTo>
                    <a:pt x="3575" y="538"/>
                  </a:lnTo>
                  <a:lnTo>
                    <a:pt x="3575" y="539"/>
                  </a:lnTo>
                  <a:lnTo>
                    <a:pt x="3574" y="539"/>
                  </a:lnTo>
                  <a:lnTo>
                    <a:pt x="3573" y="539"/>
                  </a:lnTo>
                  <a:lnTo>
                    <a:pt x="3573" y="538"/>
                  </a:lnTo>
                  <a:lnTo>
                    <a:pt x="3574" y="538"/>
                  </a:lnTo>
                  <a:lnTo>
                    <a:pt x="3573" y="538"/>
                  </a:lnTo>
                  <a:lnTo>
                    <a:pt x="3574" y="538"/>
                  </a:lnTo>
                  <a:close/>
                  <a:moveTo>
                    <a:pt x="3748" y="530"/>
                  </a:moveTo>
                  <a:lnTo>
                    <a:pt x="3750" y="530"/>
                  </a:lnTo>
                  <a:lnTo>
                    <a:pt x="3750" y="531"/>
                  </a:lnTo>
                  <a:lnTo>
                    <a:pt x="3751" y="531"/>
                  </a:lnTo>
                  <a:lnTo>
                    <a:pt x="3750" y="531"/>
                  </a:lnTo>
                  <a:lnTo>
                    <a:pt x="3748" y="531"/>
                  </a:lnTo>
                  <a:lnTo>
                    <a:pt x="3748" y="530"/>
                  </a:lnTo>
                  <a:close/>
                  <a:moveTo>
                    <a:pt x="3754" y="525"/>
                  </a:moveTo>
                  <a:lnTo>
                    <a:pt x="3755" y="525"/>
                  </a:lnTo>
                  <a:lnTo>
                    <a:pt x="3755" y="527"/>
                  </a:lnTo>
                  <a:lnTo>
                    <a:pt x="3754" y="527"/>
                  </a:lnTo>
                  <a:lnTo>
                    <a:pt x="3754" y="528"/>
                  </a:lnTo>
                  <a:lnTo>
                    <a:pt x="3753" y="528"/>
                  </a:lnTo>
                  <a:lnTo>
                    <a:pt x="3752" y="528"/>
                  </a:lnTo>
                  <a:lnTo>
                    <a:pt x="3752" y="527"/>
                  </a:lnTo>
                  <a:lnTo>
                    <a:pt x="3753" y="525"/>
                  </a:lnTo>
                  <a:lnTo>
                    <a:pt x="3754" y="525"/>
                  </a:lnTo>
                  <a:close/>
                  <a:moveTo>
                    <a:pt x="2508" y="523"/>
                  </a:moveTo>
                  <a:lnTo>
                    <a:pt x="2507" y="524"/>
                  </a:lnTo>
                  <a:lnTo>
                    <a:pt x="2506" y="524"/>
                  </a:lnTo>
                  <a:lnTo>
                    <a:pt x="2506" y="523"/>
                  </a:lnTo>
                  <a:lnTo>
                    <a:pt x="2507" y="523"/>
                  </a:lnTo>
                  <a:lnTo>
                    <a:pt x="2508" y="523"/>
                  </a:lnTo>
                  <a:close/>
                  <a:moveTo>
                    <a:pt x="3741" y="516"/>
                  </a:moveTo>
                  <a:lnTo>
                    <a:pt x="3741" y="517"/>
                  </a:lnTo>
                  <a:lnTo>
                    <a:pt x="3744" y="516"/>
                  </a:lnTo>
                  <a:lnTo>
                    <a:pt x="3745" y="517"/>
                  </a:lnTo>
                  <a:lnTo>
                    <a:pt x="3744" y="517"/>
                  </a:lnTo>
                  <a:lnTo>
                    <a:pt x="3743" y="517"/>
                  </a:lnTo>
                  <a:lnTo>
                    <a:pt x="3743" y="518"/>
                  </a:lnTo>
                  <a:lnTo>
                    <a:pt x="3743" y="520"/>
                  </a:lnTo>
                  <a:lnTo>
                    <a:pt x="3741" y="518"/>
                  </a:lnTo>
                  <a:lnTo>
                    <a:pt x="3741" y="520"/>
                  </a:lnTo>
                  <a:lnTo>
                    <a:pt x="3740" y="520"/>
                  </a:lnTo>
                  <a:lnTo>
                    <a:pt x="3740" y="521"/>
                  </a:lnTo>
                  <a:lnTo>
                    <a:pt x="3740" y="522"/>
                  </a:lnTo>
                  <a:lnTo>
                    <a:pt x="3740" y="523"/>
                  </a:lnTo>
                  <a:lnTo>
                    <a:pt x="3739" y="523"/>
                  </a:lnTo>
                  <a:lnTo>
                    <a:pt x="3740" y="524"/>
                  </a:lnTo>
                  <a:lnTo>
                    <a:pt x="3739" y="524"/>
                  </a:lnTo>
                  <a:lnTo>
                    <a:pt x="3739" y="525"/>
                  </a:lnTo>
                  <a:lnTo>
                    <a:pt x="3738" y="525"/>
                  </a:lnTo>
                  <a:lnTo>
                    <a:pt x="3739" y="528"/>
                  </a:lnTo>
                  <a:lnTo>
                    <a:pt x="3740" y="529"/>
                  </a:lnTo>
                  <a:lnTo>
                    <a:pt x="3739" y="528"/>
                  </a:lnTo>
                  <a:lnTo>
                    <a:pt x="3738" y="528"/>
                  </a:lnTo>
                  <a:lnTo>
                    <a:pt x="3737" y="527"/>
                  </a:lnTo>
                  <a:lnTo>
                    <a:pt x="3737" y="525"/>
                  </a:lnTo>
                  <a:lnTo>
                    <a:pt x="3737" y="524"/>
                  </a:lnTo>
                  <a:lnTo>
                    <a:pt x="3738" y="523"/>
                  </a:lnTo>
                  <a:lnTo>
                    <a:pt x="3738" y="522"/>
                  </a:lnTo>
                  <a:lnTo>
                    <a:pt x="3738" y="521"/>
                  </a:lnTo>
                  <a:lnTo>
                    <a:pt x="3738" y="520"/>
                  </a:lnTo>
                  <a:lnTo>
                    <a:pt x="3738" y="518"/>
                  </a:lnTo>
                  <a:lnTo>
                    <a:pt x="3738" y="517"/>
                  </a:lnTo>
                  <a:lnTo>
                    <a:pt x="3738" y="516"/>
                  </a:lnTo>
                  <a:lnTo>
                    <a:pt x="3738" y="515"/>
                  </a:lnTo>
                  <a:lnTo>
                    <a:pt x="3739" y="515"/>
                  </a:lnTo>
                  <a:lnTo>
                    <a:pt x="3740" y="516"/>
                  </a:lnTo>
                  <a:lnTo>
                    <a:pt x="3741" y="516"/>
                  </a:lnTo>
                  <a:close/>
                  <a:moveTo>
                    <a:pt x="3762" y="502"/>
                  </a:moveTo>
                  <a:lnTo>
                    <a:pt x="3762" y="503"/>
                  </a:lnTo>
                  <a:lnTo>
                    <a:pt x="3761" y="503"/>
                  </a:lnTo>
                  <a:lnTo>
                    <a:pt x="3760" y="503"/>
                  </a:lnTo>
                  <a:lnTo>
                    <a:pt x="3759" y="503"/>
                  </a:lnTo>
                  <a:lnTo>
                    <a:pt x="3758" y="504"/>
                  </a:lnTo>
                  <a:lnTo>
                    <a:pt x="3757" y="504"/>
                  </a:lnTo>
                  <a:lnTo>
                    <a:pt x="3757" y="506"/>
                  </a:lnTo>
                  <a:lnTo>
                    <a:pt x="3755" y="507"/>
                  </a:lnTo>
                  <a:lnTo>
                    <a:pt x="3755" y="508"/>
                  </a:lnTo>
                  <a:lnTo>
                    <a:pt x="3754" y="508"/>
                  </a:lnTo>
                  <a:lnTo>
                    <a:pt x="3754" y="509"/>
                  </a:lnTo>
                  <a:lnTo>
                    <a:pt x="3753" y="508"/>
                  </a:lnTo>
                  <a:lnTo>
                    <a:pt x="3752" y="508"/>
                  </a:lnTo>
                  <a:lnTo>
                    <a:pt x="3752" y="509"/>
                  </a:lnTo>
                  <a:lnTo>
                    <a:pt x="3753" y="509"/>
                  </a:lnTo>
                  <a:lnTo>
                    <a:pt x="3752" y="509"/>
                  </a:lnTo>
                  <a:lnTo>
                    <a:pt x="3752" y="510"/>
                  </a:lnTo>
                  <a:lnTo>
                    <a:pt x="3752" y="511"/>
                  </a:lnTo>
                  <a:lnTo>
                    <a:pt x="3751" y="511"/>
                  </a:lnTo>
                  <a:lnTo>
                    <a:pt x="3751" y="513"/>
                  </a:lnTo>
                  <a:lnTo>
                    <a:pt x="3751" y="514"/>
                  </a:lnTo>
                  <a:lnTo>
                    <a:pt x="3751" y="515"/>
                  </a:lnTo>
                  <a:lnTo>
                    <a:pt x="3750" y="515"/>
                  </a:lnTo>
                  <a:lnTo>
                    <a:pt x="3750" y="516"/>
                  </a:lnTo>
                  <a:lnTo>
                    <a:pt x="3750" y="517"/>
                  </a:lnTo>
                  <a:lnTo>
                    <a:pt x="3750" y="516"/>
                  </a:lnTo>
                  <a:lnTo>
                    <a:pt x="3748" y="516"/>
                  </a:lnTo>
                  <a:lnTo>
                    <a:pt x="3747" y="516"/>
                  </a:lnTo>
                  <a:lnTo>
                    <a:pt x="3747" y="515"/>
                  </a:lnTo>
                  <a:lnTo>
                    <a:pt x="3748" y="515"/>
                  </a:lnTo>
                  <a:lnTo>
                    <a:pt x="3747" y="515"/>
                  </a:lnTo>
                  <a:lnTo>
                    <a:pt x="3747" y="514"/>
                  </a:lnTo>
                  <a:lnTo>
                    <a:pt x="3748" y="514"/>
                  </a:lnTo>
                  <a:lnTo>
                    <a:pt x="3748" y="515"/>
                  </a:lnTo>
                  <a:lnTo>
                    <a:pt x="3748" y="514"/>
                  </a:lnTo>
                  <a:lnTo>
                    <a:pt x="3747" y="514"/>
                  </a:lnTo>
                  <a:lnTo>
                    <a:pt x="3747" y="513"/>
                  </a:lnTo>
                  <a:lnTo>
                    <a:pt x="3748" y="514"/>
                  </a:lnTo>
                  <a:lnTo>
                    <a:pt x="3750" y="513"/>
                  </a:lnTo>
                  <a:lnTo>
                    <a:pt x="3748" y="511"/>
                  </a:lnTo>
                  <a:lnTo>
                    <a:pt x="3747" y="511"/>
                  </a:lnTo>
                  <a:lnTo>
                    <a:pt x="3747" y="510"/>
                  </a:lnTo>
                  <a:lnTo>
                    <a:pt x="3748" y="510"/>
                  </a:lnTo>
                  <a:lnTo>
                    <a:pt x="3750" y="509"/>
                  </a:lnTo>
                  <a:lnTo>
                    <a:pt x="3750" y="508"/>
                  </a:lnTo>
                  <a:lnTo>
                    <a:pt x="3750" y="507"/>
                  </a:lnTo>
                  <a:lnTo>
                    <a:pt x="3748" y="507"/>
                  </a:lnTo>
                  <a:lnTo>
                    <a:pt x="3750" y="507"/>
                  </a:lnTo>
                  <a:lnTo>
                    <a:pt x="3751" y="507"/>
                  </a:lnTo>
                  <a:lnTo>
                    <a:pt x="3751" y="506"/>
                  </a:lnTo>
                  <a:lnTo>
                    <a:pt x="3751" y="504"/>
                  </a:lnTo>
                  <a:lnTo>
                    <a:pt x="3752" y="504"/>
                  </a:lnTo>
                  <a:lnTo>
                    <a:pt x="3752" y="503"/>
                  </a:lnTo>
                  <a:lnTo>
                    <a:pt x="3751" y="503"/>
                  </a:lnTo>
                  <a:lnTo>
                    <a:pt x="3751" y="502"/>
                  </a:lnTo>
                  <a:lnTo>
                    <a:pt x="3750" y="502"/>
                  </a:lnTo>
                  <a:lnTo>
                    <a:pt x="3751" y="501"/>
                  </a:lnTo>
                  <a:lnTo>
                    <a:pt x="3751" y="502"/>
                  </a:lnTo>
                  <a:lnTo>
                    <a:pt x="3752" y="502"/>
                  </a:lnTo>
                  <a:lnTo>
                    <a:pt x="3753" y="503"/>
                  </a:lnTo>
                  <a:lnTo>
                    <a:pt x="3754" y="503"/>
                  </a:lnTo>
                  <a:lnTo>
                    <a:pt x="3757" y="503"/>
                  </a:lnTo>
                  <a:lnTo>
                    <a:pt x="3758" y="502"/>
                  </a:lnTo>
                  <a:lnTo>
                    <a:pt x="3758" y="501"/>
                  </a:lnTo>
                  <a:lnTo>
                    <a:pt x="3758" y="500"/>
                  </a:lnTo>
                  <a:lnTo>
                    <a:pt x="3759" y="500"/>
                  </a:lnTo>
                  <a:lnTo>
                    <a:pt x="3760" y="500"/>
                  </a:lnTo>
                  <a:lnTo>
                    <a:pt x="3761" y="500"/>
                  </a:lnTo>
                  <a:lnTo>
                    <a:pt x="3761" y="501"/>
                  </a:lnTo>
                  <a:lnTo>
                    <a:pt x="3762" y="502"/>
                  </a:lnTo>
                  <a:close/>
                  <a:moveTo>
                    <a:pt x="2505" y="501"/>
                  </a:moveTo>
                  <a:lnTo>
                    <a:pt x="2503" y="500"/>
                  </a:lnTo>
                  <a:lnTo>
                    <a:pt x="2503" y="499"/>
                  </a:lnTo>
                  <a:lnTo>
                    <a:pt x="2503" y="497"/>
                  </a:lnTo>
                  <a:lnTo>
                    <a:pt x="2503" y="499"/>
                  </a:lnTo>
                  <a:lnTo>
                    <a:pt x="2505" y="500"/>
                  </a:lnTo>
                  <a:lnTo>
                    <a:pt x="2505" y="501"/>
                  </a:lnTo>
                  <a:close/>
                  <a:moveTo>
                    <a:pt x="2325" y="490"/>
                  </a:moveTo>
                  <a:lnTo>
                    <a:pt x="2325" y="489"/>
                  </a:lnTo>
                  <a:lnTo>
                    <a:pt x="2326" y="489"/>
                  </a:lnTo>
                  <a:lnTo>
                    <a:pt x="2326" y="490"/>
                  </a:lnTo>
                  <a:lnTo>
                    <a:pt x="2326" y="492"/>
                  </a:lnTo>
                  <a:lnTo>
                    <a:pt x="2328" y="492"/>
                  </a:lnTo>
                  <a:lnTo>
                    <a:pt x="2329" y="492"/>
                  </a:lnTo>
                  <a:lnTo>
                    <a:pt x="2328" y="492"/>
                  </a:lnTo>
                  <a:lnTo>
                    <a:pt x="2329" y="492"/>
                  </a:lnTo>
                  <a:lnTo>
                    <a:pt x="2329" y="490"/>
                  </a:lnTo>
                  <a:lnTo>
                    <a:pt x="2328" y="490"/>
                  </a:lnTo>
                  <a:lnTo>
                    <a:pt x="2329" y="490"/>
                  </a:lnTo>
                  <a:lnTo>
                    <a:pt x="2330" y="492"/>
                  </a:lnTo>
                  <a:lnTo>
                    <a:pt x="2331" y="492"/>
                  </a:lnTo>
                  <a:lnTo>
                    <a:pt x="2331" y="493"/>
                  </a:lnTo>
                  <a:lnTo>
                    <a:pt x="2330" y="493"/>
                  </a:lnTo>
                  <a:lnTo>
                    <a:pt x="2331" y="493"/>
                  </a:lnTo>
                  <a:lnTo>
                    <a:pt x="2331" y="492"/>
                  </a:lnTo>
                  <a:lnTo>
                    <a:pt x="2330" y="492"/>
                  </a:lnTo>
                  <a:lnTo>
                    <a:pt x="2331" y="492"/>
                  </a:lnTo>
                  <a:lnTo>
                    <a:pt x="2332" y="492"/>
                  </a:lnTo>
                  <a:lnTo>
                    <a:pt x="2332" y="493"/>
                  </a:lnTo>
                  <a:lnTo>
                    <a:pt x="2332" y="492"/>
                  </a:lnTo>
                  <a:lnTo>
                    <a:pt x="2333" y="492"/>
                  </a:lnTo>
                  <a:lnTo>
                    <a:pt x="2333" y="493"/>
                  </a:lnTo>
                  <a:lnTo>
                    <a:pt x="2333" y="494"/>
                  </a:lnTo>
                  <a:lnTo>
                    <a:pt x="2335" y="494"/>
                  </a:lnTo>
                  <a:lnTo>
                    <a:pt x="2333" y="494"/>
                  </a:lnTo>
                  <a:lnTo>
                    <a:pt x="2335" y="494"/>
                  </a:lnTo>
                  <a:lnTo>
                    <a:pt x="2335" y="493"/>
                  </a:lnTo>
                  <a:lnTo>
                    <a:pt x="2335" y="494"/>
                  </a:lnTo>
                  <a:lnTo>
                    <a:pt x="2336" y="494"/>
                  </a:lnTo>
                  <a:lnTo>
                    <a:pt x="2336" y="493"/>
                  </a:lnTo>
                  <a:lnTo>
                    <a:pt x="2336" y="494"/>
                  </a:lnTo>
                  <a:lnTo>
                    <a:pt x="2336" y="493"/>
                  </a:lnTo>
                  <a:lnTo>
                    <a:pt x="2337" y="493"/>
                  </a:lnTo>
                  <a:lnTo>
                    <a:pt x="2337" y="494"/>
                  </a:lnTo>
                  <a:lnTo>
                    <a:pt x="2336" y="494"/>
                  </a:lnTo>
                  <a:lnTo>
                    <a:pt x="2336" y="495"/>
                  </a:lnTo>
                  <a:lnTo>
                    <a:pt x="2335" y="495"/>
                  </a:lnTo>
                  <a:lnTo>
                    <a:pt x="2335" y="496"/>
                  </a:lnTo>
                  <a:lnTo>
                    <a:pt x="2336" y="495"/>
                  </a:lnTo>
                  <a:lnTo>
                    <a:pt x="2337" y="494"/>
                  </a:lnTo>
                  <a:lnTo>
                    <a:pt x="2338" y="494"/>
                  </a:lnTo>
                  <a:lnTo>
                    <a:pt x="2337" y="494"/>
                  </a:lnTo>
                  <a:lnTo>
                    <a:pt x="2337" y="495"/>
                  </a:lnTo>
                  <a:lnTo>
                    <a:pt x="2338" y="495"/>
                  </a:lnTo>
                  <a:lnTo>
                    <a:pt x="2338" y="496"/>
                  </a:lnTo>
                  <a:lnTo>
                    <a:pt x="2339" y="496"/>
                  </a:lnTo>
                  <a:lnTo>
                    <a:pt x="2340" y="496"/>
                  </a:lnTo>
                  <a:lnTo>
                    <a:pt x="2339" y="496"/>
                  </a:lnTo>
                  <a:lnTo>
                    <a:pt x="2340" y="496"/>
                  </a:lnTo>
                  <a:lnTo>
                    <a:pt x="2340" y="497"/>
                  </a:lnTo>
                  <a:lnTo>
                    <a:pt x="2342" y="497"/>
                  </a:lnTo>
                  <a:lnTo>
                    <a:pt x="2342" y="499"/>
                  </a:lnTo>
                  <a:lnTo>
                    <a:pt x="2343" y="499"/>
                  </a:lnTo>
                  <a:lnTo>
                    <a:pt x="2344" y="500"/>
                  </a:lnTo>
                  <a:lnTo>
                    <a:pt x="2344" y="501"/>
                  </a:lnTo>
                  <a:lnTo>
                    <a:pt x="2343" y="501"/>
                  </a:lnTo>
                  <a:lnTo>
                    <a:pt x="2343" y="502"/>
                  </a:lnTo>
                  <a:lnTo>
                    <a:pt x="2344" y="502"/>
                  </a:lnTo>
                  <a:lnTo>
                    <a:pt x="2345" y="502"/>
                  </a:lnTo>
                  <a:lnTo>
                    <a:pt x="2346" y="503"/>
                  </a:lnTo>
                  <a:lnTo>
                    <a:pt x="2347" y="503"/>
                  </a:lnTo>
                  <a:lnTo>
                    <a:pt x="2349" y="503"/>
                  </a:lnTo>
                  <a:lnTo>
                    <a:pt x="2347" y="503"/>
                  </a:lnTo>
                  <a:lnTo>
                    <a:pt x="2347" y="502"/>
                  </a:lnTo>
                  <a:lnTo>
                    <a:pt x="2344" y="499"/>
                  </a:lnTo>
                  <a:lnTo>
                    <a:pt x="2343" y="499"/>
                  </a:lnTo>
                  <a:lnTo>
                    <a:pt x="2343" y="497"/>
                  </a:lnTo>
                  <a:lnTo>
                    <a:pt x="2342" y="497"/>
                  </a:lnTo>
                  <a:lnTo>
                    <a:pt x="2342" y="496"/>
                  </a:lnTo>
                  <a:lnTo>
                    <a:pt x="2343" y="497"/>
                  </a:lnTo>
                  <a:lnTo>
                    <a:pt x="2346" y="502"/>
                  </a:lnTo>
                  <a:lnTo>
                    <a:pt x="2349" y="503"/>
                  </a:lnTo>
                  <a:lnTo>
                    <a:pt x="2350" y="503"/>
                  </a:lnTo>
                  <a:lnTo>
                    <a:pt x="2351" y="502"/>
                  </a:lnTo>
                  <a:lnTo>
                    <a:pt x="2352" y="502"/>
                  </a:lnTo>
                  <a:lnTo>
                    <a:pt x="2352" y="501"/>
                  </a:lnTo>
                  <a:lnTo>
                    <a:pt x="2353" y="501"/>
                  </a:lnTo>
                  <a:lnTo>
                    <a:pt x="2354" y="502"/>
                  </a:lnTo>
                  <a:lnTo>
                    <a:pt x="2356" y="502"/>
                  </a:lnTo>
                  <a:lnTo>
                    <a:pt x="2356" y="501"/>
                  </a:lnTo>
                  <a:lnTo>
                    <a:pt x="2357" y="501"/>
                  </a:lnTo>
                  <a:lnTo>
                    <a:pt x="2358" y="501"/>
                  </a:lnTo>
                  <a:lnTo>
                    <a:pt x="2358" y="500"/>
                  </a:lnTo>
                  <a:lnTo>
                    <a:pt x="2359" y="500"/>
                  </a:lnTo>
                  <a:lnTo>
                    <a:pt x="2359" y="501"/>
                  </a:lnTo>
                  <a:lnTo>
                    <a:pt x="2360" y="501"/>
                  </a:lnTo>
                  <a:lnTo>
                    <a:pt x="2361" y="501"/>
                  </a:lnTo>
                  <a:lnTo>
                    <a:pt x="2363" y="501"/>
                  </a:lnTo>
                  <a:lnTo>
                    <a:pt x="2363" y="502"/>
                  </a:lnTo>
                  <a:lnTo>
                    <a:pt x="2361" y="502"/>
                  </a:lnTo>
                  <a:lnTo>
                    <a:pt x="2361" y="503"/>
                  </a:lnTo>
                  <a:lnTo>
                    <a:pt x="2360" y="503"/>
                  </a:lnTo>
                  <a:lnTo>
                    <a:pt x="2360" y="504"/>
                  </a:lnTo>
                  <a:lnTo>
                    <a:pt x="2361" y="506"/>
                  </a:lnTo>
                  <a:lnTo>
                    <a:pt x="2361" y="507"/>
                  </a:lnTo>
                  <a:lnTo>
                    <a:pt x="2360" y="507"/>
                  </a:lnTo>
                  <a:lnTo>
                    <a:pt x="2359" y="507"/>
                  </a:lnTo>
                  <a:lnTo>
                    <a:pt x="2359" y="508"/>
                  </a:lnTo>
                  <a:lnTo>
                    <a:pt x="2358" y="507"/>
                  </a:lnTo>
                  <a:lnTo>
                    <a:pt x="2357" y="507"/>
                  </a:lnTo>
                  <a:lnTo>
                    <a:pt x="2357" y="508"/>
                  </a:lnTo>
                  <a:lnTo>
                    <a:pt x="2356" y="508"/>
                  </a:lnTo>
                  <a:lnTo>
                    <a:pt x="2354" y="508"/>
                  </a:lnTo>
                  <a:lnTo>
                    <a:pt x="2353" y="507"/>
                  </a:lnTo>
                  <a:lnTo>
                    <a:pt x="2352" y="507"/>
                  </a:lnTo>
                  <a:lnTo>
                    <a:pt x="2351" y="506"/>
                  </a:lnTo>
                  <a:lnTo>
                    <a:pt x="2350" y="506"/>
                  </a:lnTo>
                  <a:lnTo>
                    <a:pt x="2349" y="507"/>
                  </a:lnTo>
                  <a:lnTo>
                    <a:pt x="2349" y="508"/>
                  </a:lnTo>
                  <a:lnTo>
                    <a:pt x="2349" y="509"/>
                  </a:lnTo>
                  <a:lnTo>
                    <a:pt x="2347" y="508"/>
                  </a:lnTo>
                  <a:lnTo>
                    <a:pt x="2346" y="509"/>
                  </a:lnTo>
                  <a:lnTo>
                    <a:pt x="2345" y="510"/>
                  </a:lnTo>
                  <a:lnTo>
                    <a:pt x="2345" y="511"/>
                  </a:lnTo>
                  <a:lnTo>
                    <a:pt x="2345" y="510"/>
                  </a:lnTo>
                  <a:lnTo>
                    <a:pt x="2344" y="510"/>
                  </a:lnTo>
                  <a:lnTo>
                    <a:pt x="2343" y="510"/>
                  </a:lnTo>
                  <a:lnTo>
                    <a:pt x="2342" y="510"/>
                  </a:lnTo>
                  <a:lnTo>
                    <a:pt x="2340" y="510"/>
                  </a:lnTo>
                  <a:lnTo>
                    <a:pt x="2339" y="511"/>
                  </a:lnTo>
                  <a:lnTo>
                    <a:pt x="2338" y="511"/>
                  </a:lnTo>
                  <a:lnTo>
                    <a:pt x="2337" y="513"/>
                  </a:lnTo>
                  <a:lnTo>
                    <a:pt x="2337" y="514"/>
                  </a:lnTo>
                  <a:lnTo>
                    <a:pt x="2337" y="515"/>
                  </a:lnTo>
                  <a:lnTo>
                    <a:pt x="2336" y="515"/>
                  </a:lnTo>
                  <a:lnTo>
                    <a:pt x="2335" y="516"/>
                  </a:lnTo>
                  <a:lnTo>
                    <a:pt x="2333" y="516"/>
                  </a:lnTo>
                  <a:lnTo>
                    <a:pt x="2333" y="517"/>
                  </a:lnTo>
                  <a:lnTo>
                    <a:pt x="2332" y="517"/>
                  </a:lnTo>
                  <a:lnTo>
                    <a:pt x="2331" y="517"/>
                  </a:lnTo>
                  <a:lnTo>
                    <a:pt x="2330" y="517"/>
                  </a:lnTo>
                  <a:lnTo>
                    <a:pt x="2329" y="517"/>
                  </a:lnTo>
                  <a:lnTo>
                    <a:pt x="2328" y="516"/>
                  </a:lnTo>
                  <a:lnTo>
                    <a:pt x="2326" y="516"/>
                  </a:lnTo>
                  <a:lnTo>
                    <a:pt x="2326" y="515"/>
                  </a:lnTo>
                  <a:lnTo>
                    <a:pt x="2324" y="515"/>
                  </a:lnTo>
                  <a:lnTo>
                    <a:pt x="2324" y="514"/>
                  </a:lnTo>
                  <a:lnTo>
                    <a:pt x="2325" y="514"/>
                  </a:lnTo>
                  <a:lnTo>
                    <a:pt x="2326" y="514"/>
                  </a:lnTo>
                  <a:lnTo>
                    <a:pt x="2326" y="513"/>
                  </a:lnTo>
                  <a:lnTo>
                    <a:pt x="2326" y="511"/>
                  </a:lnTo>
                  <a:lnTo>
                    <a:pt x="2325" y="511"/>
                  </a:lnTo>
                  <a:lnTo>
                    <a:pt x="2325" y="510"/>
                  </a:lnTo>
                  <a:lnTo>
                    <a:pt x="2326" y="510"/>
                  </a:lnTo>
                  <a:lnTo>
                    <a:pt x="2326" y="509"/>
                  </a:lnTo>
                  <a:lnTo>
                    <a:pt x="2326" y="508"/>
                  </a:lnTo>
                  <a:lnTo>
                    <a:pt x="2325" y="508"/>
                  </a:lnTo>
                  <a:lnTo>
                    <a:pt x="2325" y="507"/>
                  </a:lnTo>
                  <a:lnTo>
                    <a:pt x="2325" y="506"/>
                  </a:lnTo>
                  <a:lnTo>
                    <a:pt x="2324" y="506"/>
                  </a:lnTo>
                  <a:lnTo>
                    <a:pt x="2323" y="504"/>
                  </a:lnTo>
                  <a:lnTo>
                    <a:pt x="2322" y="504"/>
                  </a:lnTo>
                  <a:lnTo>
                    <a:pt x="2322" y="506"/>
                  </a:lnTo>
                  <a:lnTo>
                    <a:pt x="2321" y="504"/>
                  </a:lnTo>
                  <a:lnTo>
                    <a:pt x="2320" y="504"/>
                  </a:lnTo>
                  <a:lnTo>
                    <a:pt x="2320" y="503"/>
                  </a:lnTo>
                  <a:lnTo>
                    <a:pt x="2318" y="503"/>
                  </a:lnTo>
                  <a:lnTo>
                    <a:pt x="2317" y="502"/>
                  </a:lnTo>
                  <a:lnTo>
                    <a:pt x="2316" y="502"/>
                  </a:lnTo>
                  <a:lnTo>
                    <a:pt x="2315" y="502"/>
                  </a:lnTo>
                  <a:lnTo>
                    <a:pt x="2314" y="502"/>
                  </a:lnTo>
                  <a:lnTo>
                    <a:pt x="2314" y="503"/>
                  </a:lnTo>
                  <a:lnTo>
                    <a:pt x="2313" y="503"/>
                  </a:lnTo>
                  <a:lnTo>
                    <a:pt x="2313" y="502"/>
                  </a:lnTo>
                  <a:lnTo>
                    <a:pt x="2311" y="502"/>
                  </a:lnTo>
                  <a:lnTo>
                    <a:pt x="2311" y="501"/>
                  </a:lnTo>
                  <a:lnTo>
                    <a:pt x="2313" y="500"/>
                  </a:lnTo>
                  <a:lnTo>
                    <a:pt x="2314" y="500"/>
                  </a:lnTo>
                  <a:lnTo>
                    <a:pt x="2314" y="499"/>
                  </a:lnTo>
                  <a:lnTo>
                    <a:pt x="2315" y="499"/>
                  </a:lnTo>
                  <a:lnTo>
                    <a:pt x="2315" y="497"/>
                  </a:lnTo>
                  <a:lnTo>
                    <a:pt x="2316" y="497"/>
                  </a:lnTo>
                  <a:lnTo>
                    <a:pt x="2318" y="496"/>
                  </a:lnTo>
                  <a:lnTo>
                    <a:pt x="2320" y="496"/>
                  </a:lnTo>
                  <a:lnTo>
                    <a:pt x="2318" y="496"/>
                  </a:lnTo>
                  <a:lnTo>
                    <a:pt x="2318" y="495"/>
                  </a:lnTo>
                  <a:lnTo>
                    <a:pt x="2320" y="496"/>
                  </a:lnTo>
                  <a:lnTo>
                    <a:pt x="2321" y="495"/>
                  </a:lnTo>
                  <a:lnTo>
                    <a:pt x="2322" y="495"/>
                  </a:lnTo>
                  <a:lnTo>
                    <a:pt x="2322" y="494"/>
                  </a:lnTo>
                  <a:lnTo>
                    <a:pt x="2323" y="494"/>
                  </a:lnTo>
                  <a:lnTo>
                    <a:pt x="2323" y="495"/>
                  </a:lnTo>
                  <a:lnTo>
                    <a:pt x="2324" y="494"/>
                  </a:lnTo>
                  <a:lnTo>
                    <a:pt x="2325" y="494"/>
                  </a:lnTo>
                  <a:lnTo>
                    <a:pt x="2326" y="493"/>
                  </a:lnTo>
                  <a:lnTo>
                    <a:pt x="2325" y="493"/>
                  </a:lnTo>
                  <a:lnTo>
                    <a:pt x="2324" y="493"/>
                  </a:lnTo>
                  <a:lnTo>
                    <a:pt x="2324" y="492"/>
                  </a:lnTo>
                  <a:lnTo>
                    <a:pt x="2324" y="490"/>
                  </a:lnTo>
                  <a:lnTo>
                    <a:pt x="2324" y="489"/>
                  </a:lnTo>
                  <a:lnTo>
                    <a:pt x="2325" y="490"/>
                  </a:lnTo>
                  <a:close/>
                  <a:moveTo>
                    <a:pt x="3774" y="488"/>
                  </a:moveTo>
                  <a:lnTo>
                    <a:pt x="3774" y="489"/>
                  </a:lnTo>
                  <a:lnTo>
                    <a:pt x="3774" y="490"/>
                  </a:lnTo>
                  <a:lnTo>
                    <a:pt x="3773" y="490"/>
                  </a:lnTo>
                  <a:lnTo>
                    <a:pt x="3773" y="492"/>
                  </a:lnTo>
                  <a:lnTo>
                    <a:pt x="3772" y="492"/>
                  </a:lnTo>
                  <a:lnTo>
                    <a:pt x="3773" y="492"/>
                  </a:lnTo>
                  <a:lnTo>
                    <a:pt x="3772" y="493"/>
                  </a:lnTo>
                  <a:lnTo>
                    <a:pt x="3773" y="493"/>
                  </a:lnTo>
                  <a:lnTo>
                    <a:pt x="3773" y="494"/>
                  </a:lnTo>
                  <a:lnTo>
                    <a:pt x="3772" y="494"/>
                  </a:lnTo>
                  <a:lnTo>
                    <a:pt x="3772" y="495"/>
                  </a:lnTo>
                  <a:lnTo>
                    <a:pt x="3771" y="495"/>
                  </a:lnTo>
                  <a:lnTo>
                    <a:pt x="3771" y="496"/>
                  </a:lnTo>
                  <a:lnTo>
                    <a:pt x="3771" y="497"/>
                  </a:lnTo>
                  <a:lnTo>
                    <a:pt x="3769" y="497"/>
                  </a:lnTo>
                  <a:lnTo>
                    <a:pt x="3769" y="499"/>
                  </a:lnTo>
                  <a:lnTo>
                    <a:pt x="3768" y="497"/>
                  </a:lnTo>
                  <a:lnTo>
                    <a:pt x="3768" y="499"/>
                  </a:lnTo>
                  <a:lnTo>
                    <a:pt x="3767" y="499"/>
                  </a:lnTo>
                  <a:lnTo>
                    <a:pt x="3767" y="497"/>
                  </a:lnTo>
                  <a:lnTo>
                    <a:pt x="3767" y="496"/>
                  </a:lnTo>
                  <a:lnTo>
                    <a:pt x="3767" y="495"/>
                  </a:lnTo>
                  <a:lnTo>
                    <a:pt x="3767" y="494"/>
                  </a:lnTo>
                  <a:lnTo>
                    <a:pt x="3768" y="494"/>
                  </a:lnTo>
                  <a:lnTo>
                    <a:pt x="3768" y="493"/>
                  </a:lnTo>
                  <a:lnTo>
                    <a:pt x="3768" y="492"/>
                  </a:lnTo>
                  <a:lnTo>
                    <a:pt x="3769" y="490"/>
                  </a:lnTo>
                  <a:lnTo>
                    <a:pt x="3771" y="490"/>
                  </a:lnTo>
                  <a:lnTo>
                    <a:pt x="3771" y="489"/>
                  </a:lnTo>
                  <a:lnTo>
                    <a:pt x="3772" y="489"/>
                  </a:lnTo>
                  <a:lnTo>
                    <a:pt x="3772" y="488"/>
                  </a:lnTo>
                  <a:lnTo>
                    <a:pt x="3773" y="489"/>
                  </a:lnTo>
                  <a:lnTo>
                    <a:pt x="3774" y="488"/>
                  </a:lnTo>
                  <a:close/>
                  <a:moveTo>
                    <a:pt x="3775" y="486"/>
                  </a:moveTo>
                  <a:lnTo>
                    <a:pt x="3774" y="486"/>
                  </a:lnTo>
                  <a:lnTo>
                    <a:pt x="3774" y="485"/>
                  </a:lnTo>
                  <a:lnTo>
                    <a:pt x="3775" y="485"/>
                  </a:lnTo>
                  <a:lnTo>
                    <a:pt x="3775" y="486"/>
                  </a:lnTo>
                  <a:close/>
                  <a:moveTo>
                    <a:pt x="3783" y="474"/>
                  </a:moveTo>
                  <a:lnTo>
                    <a:pt x="3785" y="474"/>
                  </a:lnTo>
                  <a:lnTo>
                    <a:pt x="3785" y="475"/>
                  </a:lnTo>
                  <a:lnTo>
                    <a:pt x="3785" y="476"/>
                  </a:lnTo>
                  <a:lnTo>
                    <a:pt x="3785" y="478"/>
                  </a:lnTo>
                  <a:lnTo>
                    <a:pt x="3785" y="479"/>
                  </a:lnTo>
                  <a:lnTo>
                    <a:pt x="3783" y="479"/>
                  </a:lnTo>
                  <a:lnTo>
                    <a:pt x="3783" y="480"/>
                  </a:lnTo>
                  <a:lnTo>
                    <a:pt x="3782" y="480"/>
                  </a:lnTo>
                  <a:lnTo>
                    <a:pt x="3781" y="480"/>
                  </a:lnTo>
                  <a:lnTo>
                    <a:pt x="3781" y="479"/>
                  </a:lnTo>
                  <a:lnTo>
                    <a:pt x="3782" y="479"/>
                  </a:lnTo>
                  <a:lnTo>
                    <a:pt x="3782" y="478"/>
                  </a:lnTo>
                  <a:lnTo>
                    <a:pt x="3783" y="476"/>
                  </a:lnTo>
                  <a:lnTo>
                    <a:pt x="3783" y="474"/>
                  </a:lnTo>
                  <a:close/>
                  <a:moveTo>
                    <a:pt x="3786" y="472"/>
                  </a:moveTo>
                  <a:lnTo>
                    <a:pt x="3785" y="472"/>
                  </a:lnTo>
                  <a:lnTo>
                    <a:pt x="3783" y="472"/>
                  </a:lnTo>
                  <a:lnTo>
                    <a:pt x="3783" y="471"/>
                  </a:lnTo>
                  <a:lnTo>
                    <a:pt x="3785" y="471"/>
                  </a:lnTo>
                  <a:lnTo>
                    <a:pt x="3786" y="472"/>
                  </a:lnTo>
                  <a:close/>
                  <a:moveTo>
                    <a:pt x="3787" y="466"/>
                  </a:moveTo>
                  <a:lnTo>
                    <a:pt x="3786" y="466"/>
                  </a:lnTo>
                  <a:lnTo>
                    <a:pt x="3786" y="465"/>
                  </a:lnTo>
                  <a:lnTo>
                    <a:pt x="3786" y="464"/>
                  </a:lnTo>
                  <a:lnTo>
                    <a:pt x="3786" y="465"/>
                  </a:lnTo>
                  <a:lnTo>
                    <a:pt x="3787" y="465"/>
                  </a:lnTo>
                  <a:lnTo>
                    <a:pt x="3787" y="466"/>
                  </a:lnTo>
                  <a:close/>
                  <a:moveTo>
                    <a:pt x="3786" y="460"/>
                  </a:moveTo>
                  <a:lnTo>
                    <a:pt x="3786" y="461"/>
                  </a:lnTo>
                  <a:lnTo>
                    <a:pt x="3786" y="460"/>
                  </a:lnTo>
                  <a:lnTo>
                    <a:pt x="3785" y="460"/>
                  </a:lnTo>
                  <a:lnTo>
                    <a:pt x="3783" y="460"/>
                  </a:lnTo>
                  <a:lnTo>
                    <a:pt x="3783" y="459"/>
                  </a:lnTo>
                  <a:lnTo>
                    <a:pt x="3785" y="459"/>
                  </a:lnTo>
                  <a:lnTo>
                    <a:pt x="3785" y="460"/>
                  </a:lnTo>
                  <a:lnTo>
                    <a:pt x="3786" y="460"/>
                  </a:lnTo>
                  <a:close/>
                  <a:moveTo>
                    <a:pt x="3787" y="450"/>
                  </a:moveTo>
                  <a:lnTo>
                    <a:pt x="3786" y="450"/>
                  </a:lnTo>
                  <a:lnTo>
                    <a:pt x="3786" y="448"/>
                  </a:lnTo>
                  <a:lnTo>
                    <a:pt x="3786" y="447"/>
                  </a:lnTo>
                  <a:lnTo>
                    <a:pt x="3787" y="447"/>
                  </a:lnTo>
                  <a:lnTo>
                    <a:pt x="3787" y="448"/>
                  </a:lnTo>
                  <a:lnTo>
                    <a:pt x="3787" y="450"/>
                  </a:lnTo>
                  <a:close/>
                  <a:moveTo>
                    <a:pt x="3783" y="447"/>
                  </a:moveTo>
                  <a:lnTo>
                    <a:pt x="3782" y="447"/>
                  </a:lnTo>
                  <a:lnTo>
                    <a:pt x="3782" y="446"/>
                  </a:lnTo>
                  <a:lnTo>
                    <a:pt x="3783" y="446"/>
                  </a:lnTo>
                  <a:lnTo>
                    <a:pt x="3783" y="447"/>
                  </a:lnTo>
                  <a:close/>
                  <a:moveTo>
                    <a:pt x="3788" y="445"/>
                  </a:moveTo>
                  <a:lnTo>
                    <a:pt x="3787" y="444"/>
                  </a:lnTo>
                  <a:lnTo>
                    <a:pt x="3786" y="444"/>
                  </a:lnTo>
                  <a:lnTo>
                    <a:pt x="3786" y="443"/>
                  </a:lnTo>
                  <a:lnTo>
                    <a:pt x="3787" y="444"/>
                  </a:lnTo>
                  <a:lnTo>
                    <a:pt x="3788" y="444"/>
                  </a:lnTo>
                  <a:lnTo>
                    <a:pt x="3789" y="444"/>
                  </a:lnTo>
                  <a:lnTo>
                    <a:pt x="3788" y="444"/>
                  </a:lnTo>
                  <a:lnTo>
                    <a:pt x="3788" y="445"/>
                  </a:lnTo>
                  <a:close/>
                  <a:moveTo>
                    <a:pt x="3786" y="436"/>
                  </a:moveTo>
                  <a:lnTo>
                    <a:pt x="3786" y="437"/>
                  </a:lnTo>
                  <a:lnTo>
                    <a:pt x="3786" y="436"/>
                  </a:lnTo>
                  <a:lnTo>
                    <a:pt x="3786" y="437"/>
                  </a:lnTo>
                  <a:lnTo>
                    <a:pt x="3787" y="437"/>
                  </a:lnTo>
                  <a:lnTo>
                    <a:pt x="3787" y="438"/>
                  </a:lnTo>
                  <a:lnTo>
                    <a:pt x="3787" y="439"/>
                  </a:lnTo>
                  <a:lnTo>
                    <a:pt x="3788" y="439"/>
                  </a:lnTo>
                  <a:lnTo>
                    <a:pt x="3788" y="440"/>
                  </a:lnTo>
                  <a:lnTo>
                    <a:pt x="3789" y="440"/>
                  </a:lnTo>
                  <a:lnTo>
                    <a:pt x="3789" y="441"/>
                  </a:lnTo>
                  <a:lnTo>
                    <a:pt x="3788" y="441"/>
                  </a:lnTo>
                  <a:lnTo>
                    <a:pt x="3787" y="441"/>
                  </a:lnTo>
                  <a:lnTo>
                    <a:pt x="3786" y="441"/>
                  </a:lnTo>
                  <a:lnTo>
                    <a:pt x="3786" y="440"/>
                  </a:lnTo>
                  <a:lnTo>
                    <a:pt x="3786" y="439"/>
                  </a:lnTo>
                  <a:lnTo>
                    <a:pt x="3786" y="438"/>
                  </a:lnTo>
                  <a:lnTo>
                    <a:pt x="3785" y="438"/>
                  </a:lnTo>
                  <a:lnTo>
                    <a:pt x="3785" y="437"/>
                  </a:lnTo>
                  <a:lnTo>
                    <a:pt x="3785" y="436"/>
                  </a:lnTo>
                  <a:lnTo>
                    <a:pt x="3786" y="436"/>
                  </a:lnTo>
                  <a:close/>
                  <a:moveTo>
                    <a:pt x="3779" y="434"/>
                  </a:moveTo>
                  <a:lnTo>
                    <a:pt x="3778" y="434"/>
                  </a:lnTo>
                  <a:lnTo>
                    <a:pt x="3778" y="433"/>
                  </a:lnTo>
                  <a:lnTo>
                    <a:pt x="3779" y="433"/>
                  </a:lnTo>
                  <a:lnTo>
                    <a:pt x="3779" y="434"/>
                  </a:lnTo>
                  <a:close/>
                  <a:moveTo>
                    <a:pt x="3789" y="423"/>
                  </a:moveTo>
                  <a:lnTo>
                    <a:pt x="3788" y="423"/>
                  </a:lnTo>
                  <a:lnTo>
                    <a:pt x="3789" y="423"/>
                  </a:lnTo>
                  <a:lnTo>
                    <a:pt x="3789" y="424"/>
                  </a:lnTo>
                  <a:lnTo>
                    <a:pt x="3789" y="425"/>
                  </a:lnTo>
                  <a:lnTo>
                    <a:pt x="3789" y="426"/>
                  </a:lnTo>
                  <a:lnTo>
                    <a:pt x="3789" y="427"/>
                  </a:lnTo>
                  <a:lnTo>
                    <a:pt x="3788" y="427"/>
                  </a:lnTo>
                  <a:lnTo>
                    <a:pt x="3787" y="427"/>
                  </a:lnTo>
                  <a:lnTo>
                    <a:pt x="3787" y="429"/>
                  </a:lnTo>
                  <a:lnTo>
                    <a:pt x="3787" y="430"/>
                  </a:lnTo>
                  <a:lnTo>
                    <a:pt x="3787" y="431"/>
                  </a:lnTo>
                  <a:lnTo>
                    <a:pt x="3787" y="430"/>
                  </a:lnTo>
                  <a:lnTo>
                    <a:pt x="3786" y="430"/>
                  </a:lnTo>
                  <a:lnTo>
                    <a:pt x="3785" y="430"/>
                  </a:lnTo>
                  <a:lnTo>
                    <a:pt x="3783" y="430"/>
                  </a:lnTo>
                  <a:lnTo>
                    <a:pt x="3783" y="429"/>
                  </a:lnTo>
                  <a:lnTo>
                    <a:pt x="3783" y="427"/>
                  </a:lnTo>
                  <a:lnTo>
                    <a:pt x="3782" y="427"/>
                  </a:lnTo>
                  <a:lnTo>
                    <a:pt x="3781" y="426"/>
                  </a:lnTo>
                  <a:lnTo>
                    <a:pt x="3782" y="426"/>
                  </a:lnTo>
                  <a:lnTo>
                    <a:pt x="3782" y="425"/>
                  </a:lnTo>
                  <a:lnTo>
                    <a:pt x="3783" y="425"/>
                  </a:lnTo>
                  <a:lnTo>
                    <a:pt x="3783" y="424"/>
                  </a:lnTo>
                  <a:lnTo>
                    <a:pt x="3785" y="424"/>
                  </a:lnTo>
                  <a:lnTo>
                    <a:pt x="3785" y="425"/>
                  </a:lnTo>
                  <a:lnTo>
                    <a:pt x="3785" y="424"/>
                  </a:lnTo>
                  <a:lnTo>
                    <a:pt x="3786" y="424"/>
                  </a:lnTo>
                  <a:lnTo>
                    <a:pt x="3786" y="423"/>
                  </a:lnTo>
                  <a:lnTo>
                    <a:pt x="3785" y="423"/>
                  </a:lnTo>
                  <a:lnTo>
                    <a:pt x="3785" y="422"/>
                  </a:lnTo>
                  <a:lnTo>
                    <a:pt x="3785" y="420"/>
                  </a:lnTo>
                  <a:lnTo>
                    <a:pt x="3783" y="420"/>
                  </a:lnTo>
                  <a:lnTo>
                    <a:pt x="3785" y="419"/>
                  </a:lnTo>
                  <a:lnTo>
                    <a:pt x="3785" y="418"/>
                  </a:lnTo>
                  <a:lnTo>
                    <a:pt x="3786" y="419"/>
                  </a:lnTo>
                  <a:lnTo>
                    <a:pt x="3787" y="420"/>
                  </a:lnTo>
                  <a:lnTo>
                    <a:pt x="3788" y="420"/>
                  </a:lnTo>
                  <a:lnTo>
                    <a:pt x="3788" y="422"/>
                  </a:lnTo>
                  <a:lnTo>
                    <a:pt x="3789" y="422"/>
                  </a:lnTo>
                  <a:lnTo>
                    <a:pt x="3789" y="423"/>
                  </a:lnTo>
                  <a:close/>
                  <a:moveTo>
                    <a:pt x="3790" y="420"/>
                  </a:moveTo>
                  <a:lnTo>
                    <a:pt x="3789" y="420"/>
                  </a:lnTo>
                  <a:lnTo>
                    <a:pt x="3788" y="420"/>
                  </a:lnTo>
                  <a:lnTo>
                    <a:pt x="3787" y="420"/>
                  </a:lnTo>
                  <a:lnTo>
                    <a:pt x="3787" y="419"/>
                  </a:lnTo>
                  <a:lnTo>
                    <a:pt x="3787" y="418"/>
                  </a:lnTo>
                  <a:lnTo>
                    <a:pt x="3787" y="417"/>
                  </a:lnTo>
                  <a:lnTo>
                    <a:pt x="3788" y="417"/>
                  </a:lnTo>
                  <a:lnTo>
                    <a:pt x="3789" y="417"/>
                  </a:lnTo>
                  <a:lnTo>
                    <a:pt x="3789" y="418"/>
                  </a:lnTo>
                  <a:lnTo>
                    <a:pt x="3790" y="418"/>
                  </a:lnTo>
                  <a:lnTo>
                    <a:pt x="3790" y="419"/>
                  </a:lnTo>
                  <a:lnTo>
                    <a:pt x="3790" y="420"/>
                  </a:lnTo>
                  <a:close/>
                  <a:moveTo>
                    <a:pt x="3780" y="418"/>
                  </a:moveTo>
                  <a:lnTo>
                    <a:pt x="3779" y="418"/>
                  </a:lnTo>
                  <a:lnTo>
                    <a:pt x="3778" y="418"/>
                  </a:lnTo>
                  <a:lnTo>
                    <a:pt x="3776" y="417"/>
                  </a:lnTo>
                  <a:lnTo>
                    <a:pt x="3775" y="417"/>
                  </a:lnTo>
                  <a:lnTo>
                    <a:pt x="3776" y="416"/>
                  </a:lnTo>
                  <a:lnTo>
                    <a:pt x="3778" y="417"/>
                  </a:lnTo>
                  <a:lnTo>
                    <a:pt x="3779" y="417"/>
                  </a:lnTo>
                  <a:lnTo>
                    <a:pt x="3780" y="418"/>
                  </a:lnTo>
                  <a:close/>
                  <a:moveTo>
                    <a:pt x="3580" y="366"/>
                  </a:moveTo>
                  <a:lnTo>
                    <a:pt x="3581" y="366"/>
                  </a:lnTo>
                  <a:lnTo>
                    <a:pt x="3582" y="367"/>
                  </a:lnTo>
                  <a:lnTo>
                    <a:pt x="3583" y="368"/>
                  </a:lnTo>
                  <a:lnTo>
                    <a:pt x="3584" y="368"/>
                  </a:lnTo>
                  <a:lnTo>
                    <a:pt x="3584" y="369"/>
                  </a:lnTo>
                  <a:lnTo>
                    <a:pt x="3584" y="370"/>
                  </a:lnTo>
                  <a:lnTo>
                    <a:pt x="3586" y="371"/>
                  </a:lnTo>
                  <a:lnTo>
                    <a:pt x="3587" y="371"/>
                  </a:lnTo>
                  <a:lnTo>
                    <a:pt x="3587" y="373"/>
                  </a:lnTo>
                  <a:lnTo>
                    <a:pt x="3588" y="374"/>
                  </a:lnTo>
                  <a:lnTo>
                    <a:pt x="3589" y="374"/>
                  </a:lnTo>
                  <a:lnTo>
                    <a:pt x="3588" y="373"/>
                  </a:lnTo>
                  <a:lnTo>
                    <a:pt x="3587" y="373"/>
                  </a:lnTo>
                  <a:lnTo>
                    <a:pt x="3588" y="374"/>
                  </a:lnTo>
                  <a:lnTo>
                    <a:pt x="3589" y="374"/>
                  </a:lnTo>
                  <a:lnTo>
                    <a:pt x="3589" y="375"/>
                  </a:lnTo>
                  <a:lnTo>
                    <a:pt x="3590" y="375"/>
                  </a:lnTo>
                  <a:lnTo>
                    <a:pt x="3590" y="376"/>
                  </a:lnTo>
                  <a:lnTo>
                    <a:pt x="3591" y="376"/>
                  </a:lnTo>
                  <a:lnTo>
                    <a:pt x="3591" y="377"/>
                  </a:lnTo>
                  <a:lnTo>
                    <a:pt x="3593" y="377"/>
                  </a:lnTo>
                  <a:lnTo>
                    <a:pt x="3593" y="376"/>
                  </a:lnTo>
                  <a:lnTo>
                    <a:pt x="3593" y="377"/>
                  </a:lnTo>
                  <a:lnTo>
                    <a:pt x="3594" y="377"/>
                  </a:lnTo>
                  <a:lnTo>
                    <a:pt x="3594" y="378"/>
                  </a:lnTo>
                  <a:lnTo>
                    <a:pt x="3595" y="378"/>
                  </a:lnTo>
                  <a:lnTo>
                    <a:pt x="3595" y="380"/>
                  </a:lnTo>
                  <a:lnTo>
                    <a:pt x="3595" y="378"/>
                  </a:lnTo>
                  <a:lnTo>
                    <a:pt x="3596" y="378"/>
                  </a:lnTo>
                  <a:lnTo>
                    <a:pt x="3596" y="380"/>
                  </a:lnTo>
                  <a:lnTo>
                    <a:pt x="3598" y="381"/>
                  </a:lnTo>
                  <a:lnTo>
                    <a:pt x="3598" y="382"/>
                  </a:lnTo>
                  <a:lnTo>
                    <a:pt x="3600" y="382"/>
                  </a:lnTo>
                  <a:lnTo>
                    <a:pt x="3601" y="383"/>
                  </a:lnTo>
                  <a:lnTo>
                    <a:pt x="3602" y="384"/>
                  </a:lnTo>
                  <a:lnTo>
                    <a:pt x="3603" y="385"/>
                  </a:lnTo>
                  <a:lnTo>
                    <a:pt x="3604" y="387"/>
                  </a:lnTo>
                  <a:lnTo>
                    <a:pt x="3605" y="387"/>
                  </a:lnTo>
                  <a:lnTo>
                    <a:pt x="3605" y="388"/>
                  </a:lnTo>
                  <a:lnTo>
                    <a:pt x="3607" y="389"/>
                  </a:lnTo>
                  <a:lnTo>
                    <a:pt x="3608" y="390"/>
                  </a:lnTo>
                  <a:lnTo>
                    <a:pt x="3608" y="391"/>
                  </a:lnTo>
                  <a:lnTo>
                    <a:pt x="3609" y="392"/>
                  </a:lnTo>
                  <a:lnTo>
                    <a:pt x="3610" y="394"/>
                  </a:lnTo>
                  <a:lnTo>
                    <a:pt x="3610" y="395"/>
                  </a:lnTo>
                  <a:lnTo>
                    <a:pt x="3609" y="395"/>
                  </a:lnTo>
                  <a:lnTo>
                    <a:pt x="3609" y="394"/>
                  </a:lnTo>
                  <a:lnTo>
                    <a:pt x="3609" y="392"/>
                  </a:lnTo>
                  <a:lnTo>
                    <a:pt x="3608" y="391"/>
                  </a:lnTo>
                  <a:lnTo>
                    <a:pt x="3608" y="392"/>
                  </a:lnTo>
                  <a:lnTo>
                    <a:pt x="3608" y="394"/>
                  </a:lnTo>
                  <a:lnTo>
                    <a:pt x="3609" y="394"/>
                  </a:lnTo>
                  <a:lnTo>
                    <a:pt x="3609" y="395"/>
                  </a:lnTo>
                  <a:lnTo>
                    <a:pt x="3610" y="395"/>
                  </a:lnTo>
                  <a:lnTo>
                    <a:pt x="3610" y="396"/>
                  </a:lnTo>
                  <a:lnTo>
                    <a:pt x="3611" y="397"/>
                  </a:lnTo>
                  <a:lnTo>
                    <a:pt x="3612" y="398"/>
                  </a:lnTo>
                  <a:lnTo>
                    <a:pt x="3611" y="398"/>
                  </a:lnTo>
                  <a:lnTo>
                    <a:pt x="3611" y="397"/>
                  </a:lnTo>
                  <a:lnTo>
                    <a:pt x="3611" y="398"/>
                  </a:lnTo>
                  <a:lnTo>
                    <a:pt x="3612" y="398"/>
                  </a:lnTo>
                  <a:lnTo>
                    <a:pt x="3612" y="399"/>
                  </a:lnTo>
                  <a:lnTo>
                    <a:pt x="3613" y="399"/>
                  </a:lnTo>
                  <a:lnTo>
                    <a:pt x="3613" y="401"/>
                  </a:lnTo>
                  <a:lnTo>
                    <a:pt x="3615" y="401"/>
                  </a:lnTo>
                  <a:lnTo>
                    <a:pt x="3613" y="401"/>
                  </a:lnTo>
                  <a:lnTo>
                    <a:pt x="3615" y="401"/>
                  </a:lnTo>
                  <a:lnTo>
                    <a:pt x="3615" y="402"/>
                  </a:lnTo>
                  <a:lnTo>
                    <a:pt x="3616" y="402"/>
                  </a:lnTo>
                  <a:lnTo>
                    <a:pt x="3617" y="403"/>
                  </a:lnTo>
                  <a:lnTo>
                    <a:pt x="3619" y="404"/>
                  </a:lnTo>
                  <a:lnTo>
                    <a:pt x="3619" y="405"/>
                  </a:lnTo>
                  <a:lnTo>
                    <a:pt x="3619" y="406"/>
                  </a:lnTo>
                  <a:lnTo>
                    <a:pt x="3620" y="406"/>
                  </a:lnTo>
                  <a:lnTo>
                    <a:pt x="3620" y="408"/>
                  </a:lnTo>
                  <a:lnTo>
                    <a:pt x="3622" y="408"/>
                  </a:lnTo>
                  <a:lnTo>
                    <a:pt x="3623" y="408"/>
                  </a:lnTo>
                  <a:lnTo>
                    <a:pt x="3622" y="408"/>
                  </a:lnTo>
                  <a:lnTo>
                    <a:pt x="3622" y="406"/>
                  </a:lnTo>
                  <a:lnTo>
                    <a:pt x="3620" y="406"/>
                  </a:lnTo>
                  <a:lnTo>
                    <a:pt x="3620" y="405"/>
                  </a:lnTo>
                  <a:lnTo>
                    <a:pt x="3622" y="405"/>
                  </a:lnTo>
                  <a:lnTo>
                    <a:pt x="3622" y="406"/>
                  </a:lnTo>
                  <a:lnTo>
                    <a:pt x="3623" y="406"/>
                  </a:lnTo>
                  <a:lnTo>
                    <a:pt x="3624" y="408"/>
                  </a:lnTo>
                  <a:lnTo>
                    <a:pt x="3626" y="410"/>
                  </a:lnTo>
                  <a:lnTo>
                    <a:pt x="3625" y="410"/>
                  </a:lnTo>
                  <a:lnTo>
                    <a:pt x="3626" y="410"/>
                  </a:lnTo>
                  <a:lnTo>
                    <a:pt x="3626" y="411"/>
                  </a:lnTo>
                  <a:lnTo>
                    <a:pt x="3627" y="411"/>
                  </a:lnTo>
                  <a:lnTo>
                    <a:pt x="3627" y="412"/>
                  </a:lnTo>
                  <a:lnTo>
                    <a:pt x="3629" y="412"/>
                  </a:lnTo>
                  <a:lnTo>
                    <a:pt x="3627" y="411"/>
                  </a:lnTo>
                  <a:lnTo>
                    <a:pt x="3626" y="410"/>
                  </a:lnTo>
                  <a:lnTo>
                    <a:pt x="3627" y="411"/>
                  </a:lnTo>
                  <a:lnTo>
                    <a:pt x="3629" y="411"/>
                  </a:lnTo>
                  <a:lnTo>
                    <a:pt x="3632" y="415"/>
                  </a:lnTo>
                  <a:lnTo>
                    <a:pt x="3636" y="419"/>
                  </a:lnTo>
                  <a:lnTo>
                    <a:pt x="3638" y="422"/>
                  </a:lnTo>
                  <a:lnTo>
                    <a:pt x="3643" y="426"/>
                  </a:lnTo>
                  <a:lnTo>
                    <a:pt x="3644" y="426"/>
                  </a:lnTo>
                  <a:lnTo>
                    <a:pt x="3646" y="429"/>
                  </a:lnTo>
                  <a:lnTo>
                    <a:pt x="3650" y="430"/>
                  </a:lnTo>
                  <a:lnTo>
                    <a:pt x="3651" y="432"/>
                  </a:lnTo>
                  <a:lnTo>
                    <a:pt x="3652" y="433"/>
                  </a:lnTo>
                  <a:lnTo>
                    <a:pt x="3653" y="433"/>
                  </a:lnTo>
                  <a:lnTo>
                    <a:pt x="3653" y="434"/>
                  </a:lnTo>
                  <a:lnTo>
                    <a:pt x="3654" y="434"/>
                  </a:lnTo>
                  <a:lnTo>
                    <a:pt x="3655" y="436"/>
                  </a:lnTo>
                  <a:lnTo>
                    <a:pt x="3655" y="437"/>
                  </a:lnTo>
                  <a:lnTo>
                    <a:pt x="3658" y="438"/>
                  </a:lnTo>
                  <a:lnTo>
                    <a:pt x="3658" y="439"/>
                  </a:lnTo>
                  <a:lnTo>
                    <a:pt x="3659" y="439"/>
                  </a:lnTo>
                  <a:lnTo>
                    <a:pt x="3661" y="441"/>
                  </a:lnTo>
                  <a:lnTo>
                    <a:pt x="3665" y="445"/>
                  </a:lnTo>
                  <a:lnTo>
                    <a:pt x="3666" y="445"/>
                  </a:lnTo>
                  <a:lnTo>
                    <a:pt x="3666" y="446"/>
                  </a:lnTo>
                  <a:lnTo>
                    <a:pt x="3671" y="447"/>
                  </a:lnTo>
                  <a:lnTo>
                    <a:pt x="3671" y="448"/>
                  </a:lnTo>
                  <a:lnTo>
                    <a:pt x="3672" y="448"/>
                  </a:lnTo>
                  <a:lnTo>
                    <a:pt x="3672" y="450"/>
                  </a:lnTo>
                  <a:lnTo>
                    <a:pt x="3673" y="451"/>
                  </a:lnTo>
                  <a:lnTo>
                    <a:pt x="3674" y="451"/>
                  </a:lnTo>
                  <a:lnTo>
                    <a:pt x="3674" y="452"/>
                  </a:lnTo>
                  <a:lnTo>
                    <a:pt x="3674" y="451"/>
                  </a:lnTo>
                  <a:lnTo>
                    <a:pt x="3673" y="451"/>
                  </a:lnTo>
                  <a:lnTo>
                    <a:pt x="3673" y="450"/>
                  </a:lnTo>
                  <a:lnTo>
                    <a:pt x="3672" y="450"/>
                  </a:lnTo>
                  <a:lnTo>
                    <a:pt x="3671" y="448"/>
                  </a:lnTo>
                  <a:lnTo>
                    <a:pt x="3668" y="446"/>
                  </a:lnTo>
                  <a:lnTo>
                    <a:pt x="3667" y="446"/>
                  </a:lnTo>
                  <a:lnTo>
                    <a:pt x="3666" y="446"/>
                  </a:lnTo>
                  <a:lnTo>
                    <a:pt x="3665" y="445"/>
                  </a:lnTo>
                  <a:lnTo>
                    <a:pt x="3664" y="445"/>
                  </a:lnTo>
                  <a:lnTo>
                    <a:pt x="3662" y="444"/>
                  </a:lnTo>
                  <a:lnTo>
                    <a:pt x="3660" y="443"/>
                  </a:lnTo>
                  <a:lnTo>
                    <a:pt x="3659" y="441"/>
                  </a:lnTo>
                  <a:lnTo>
                    <a:pt x="3658" y="441"/>
                  </a:lnTo>
                  <a:lnTo>
                    <a:pt x="3654" y="441"/>
                  </a:lnTo>
                  <a:lnTo>
                    <a:pt x="3653" y="441"/>
                  </a:lnTo>
                  <a:lnTo>
                    <a:pt x="3654" y="440"/>
                  </a:lnTo>
                  <a:lnTo>
                    <a:pt x="3651" y="440"/>
                  </a:lnTo>
                  <a:lnTo>
                    <a:pt x="3650" y="440"/>
                  </a:lnTo>
                  <a:lnTo>
                    <a:pt x="3650" y="439"/>
                  </a:lnTo>
                  <a:lnTo>
                    <a:pt x="3647" y="439"/>
                  </a:lnTo>
                  <a:lnTo>
                    <a:pt x="3647" y="440"/>
                  </a:lnTo>
                  <a:lnTo>
                    <a:pt x="3648" y="440"/>
                  </a:lnTo>
                  <a:lnTo>
                    <a:pt x="3650" y="441"/>
                  </a:lnTo>
                  <a:lnTo>
                    <a:pt x="3653" y="440"/>
                  </a:lnTo>
                  <a:lnTo>
                    <a:pt x="3653" y="441"/>
                  </a:lnTo>
                  <a:lnTo>
                    <a:pt x="3650" y="441"/>
                  </a:lnTo>
                  <a:lnTo>
                    <a:pt x="3648" y="443"/>
                  </a:lnTo>
                  <a:lnTo>
                    <a:pt x="3647" y="443"/>
                  </a:lnTo>
                  <a:lnTo>
                    <a:pt x="3647" y="444"/>
                  </a:lnTo>
                  <a:lnTo>
                    <a:pt x="3647" y="445"/>
                  </a:lnTo>
                  <a:lnTo>
                    <a:pt x="3648" y="445"/>
                  </a:lnTo>
                  <a:lnTo>
                    <a:pt x="3648" y="446"/>
                  </a:lnTo>
                  <a:lnTo>
                    <a:pt x="3650" y="446"/>
                  </a:lnTo>
                  <a:lnTo>
                    <a:pt x="3650" y="447"/>
                  </a:lnTo>
                  <a:lnTo>
                    <a:pt x="3650" y="448"/>
                  </a:lnTo>
                  <a:lnTo>
                    <a:pt x="3651" y="450"/>
                  </a:lnTo>
                  <a:lnTo>
                    <a:pt x="3652" y="453"/>
                  </a:lnTo>
                  <a:lnTo>
                    <a:pt x="3652" y="455"/>
                  </a:lnTo>
                  <a:lnTo>
                    <a:pt x="3653" y="457"/>
                  </a:lnTo>
                  <a:lnTo>
                    <a:pt x="3653" y="458"/>
                  </a:lnTo>
                  <a:lnTo>
                    <a:pt x="3654" y="461"/>
                  </a:lnTo>
                  <a:lnTo>
                    <a:pt x="3655" y="461"/>
                  </a:lnTo>
                  <a:lnTo>
                    <a:pt x="3655" y="462"/>
                  </a:lnTo>
                  <a:lnTo>
                    <a:pt x="3658" y="465"/>
                  </a:lnTo>
                  <a:lnTo>
                    <a:pt x="3659" y="467"/>
                  </a:lnTo>
                  <a:lnTo>
                    <a:pt x="3660" y="467"/>
                  </a:lnTo>
                  <a:lnTo>
                    <a:pt x="3664" y="469"/>
                  </a:lnTo>
                  <a:lnTo>
                    <a:pt x="3664" y="471"/>
                  </a:lnTo>
                  <a:lnTo>
                    <a:pt x="3664" y="469"/>
                  </a:lnTo>
                  <a:lnTo>
                    <a:pt x="3665" y="471"/>
                  </a:lnTo>
                  <a:lnTo>
                    <a:pt x="3666" y="471"/>
                  </a:lnTo>
                  <a:lnTo>
                    <a:pt x="3669" y="473"/>
                  </a:lnTo>
                  <a:lnTo>
                    <a:pt x="3671" y="474"/>
                  </a:lnTo>
                  <a:lnTo>
                    <a:pt x="3671" y="475"/>
                  </a:lnTo>
                  <a:lnTo>
                    <a:pt x="3672" y="475"/>
                  </a:lnTo>
                  <a:lnTo>
                    <a:pt x="3673" y="476"/>
                  </a:lnTo>
                  <a:lnTo>
                    <a:pt x="3674" y="478"/>
                  </a:lnTo>
                  <a:lnTo>
                    <a:pt x="3674" y="479"/>
                  </a:lnTo>
                  <a:lnTo>
                    <a:pt x="3675" y="479"/>
                  </a:lnTo>
                  <a:lnTo>
                    <a:pt x="3674" y="479"/>
                  </a:lnTo>
                  <a:lnTo>
                    <a:pt x="3675" y="480"/>
                  </a:lnTo>
                  <a:lnTo>
                    <a:pt x="3676" y="480"/>
                  </a:lnTo>
                  <a:lnTo>
                    <a:pt x="3676" y="481"/>
                  </a:lnTo>
                  <a:lnTo>
                    <a:pt x="3677" y="481"/>
                  </a:lnTo>
                  <a:lnTo>
                    <a:pt x="3679" y="481"/>
                  </a:lnTo>
                  <a:lnTo>
                    <a:pt x="3680" y="481"/>
                  </a:lnTo>
                  <a:lnTo>
                    <a:pt x="3679" y="481"/>
                  </a:lnTo>
                  <a:lnTo>
                    <a:pt x="3679" y="480"/>
                  </a:lnTo>
                  <a:lnTo>
                    <a:pt x="3677" y="480"/>
                  </a:lnTo>
                  <a:lnTo>
                    <a:pt x="3676" y="480"/>
                  </a:lnTo>
                  <a:lnTo>
                    <a:pt x="3675" y="479"/>
                  </a:lnTo>
                  <a:lnTo>
                    <a:pt x="3676" y="479"/>
                  </a:lnTo>
                  <a:lnTo>
                    <a:pt x="3677" y="480"/>
                  </a:lnTo>
                  <a:lnTo>
                    <a:pt x="3679" y="480"/>
                  </a:lnTo>
                  <a:lnTo>
                    <a:pt x="3679" y="479"/>
                  </a:lnTo>
                  <a:lnTo>
                    <a:pt x="3680" y="479"/>
                  </a:lnTo>
                  <a:lnTo>
                    <a:pt x="3680" y="480"/>
                  </a:lnTo>
                  <a:lnTo>
                    <a:pt x="3681" y="480"/>
                  </a:lnTo>
                  <a:lnTo>
                    <a:pt x="3681" y="481"/>
                  </a:lnTo>
                  <a:lnTo>
                    <a:pt x="3682" y="481"/>
                  </a:lnTo>
                  <a:lnTo>
                    <a:pt x="3682" y="482"/>
                  </a:lnTo>
                  <a:lnTo>
                    <a:pt x="3682" y="483"/>
                  </a:lnTo>
                  <a:lnTo>
                    <a:pt x="3683" y="483"/>
                  </a:lnTo>
                  <a:lnTo>
                    <a:pt x="3684" y="485"/>
                  </a:lnTo>
                  <a:lnTo>
                    <a:pt x="3684" y="486"/>
                  </a:lnTo>
                  <a:lnTo>
                    <a:pt x="3686" y="486"/>
                  </a:lnTo>
                  <a:lnTo>
                    <a:pt x="3687" y="486"/>
                  </a:lnTo>
                  <a:lnTo>
                    <a:pt x="3686" y="487"/>
                  </a:lnTo>
                  <a:lnTo>
                    <a:pt x="3687" y="487"/>
                  </a:lnTo>
                  <a:lnTo>
                    <a:pt x="3687" y="488"/>
                  </a:lnTo>
                  <a:lnTo>
                    <a:pt x="3687" y="489"/>
                  </a:lnTo>
                  <a:lnTo>
                    <a:pt x="3688" y="490"/>
                  </a:lnTo>
                  <a:lnTo>
                    <a:pt x="3688" y="492"/>
                  </a:lnTo>
                  <a:lnTo>
                    <a:pt x="3687" y="492"/>
                  </a:lnTo>
                  <a:lnTo>
                    <a:pt x="3687" y="490"/>
                  </a:lnTo>
                  <a:lnTo>
                    <a:pt x="3687" y="489"/>
                  </a:lnTo>
                  <a:lnTo>
                    <a:pt x="3686" y="489"/>
                  </a:lnTo>
                  <a:lnTo>
                    <a:pt x="3684" y="487"/>
                  </a:lnTo>
                  <a:lnTo>
                    <a:pt x="3683" y="487"/>
                  </a:lnTo>
                  <a:lnTo>
                    <a:pt x="3682" y="486"/>
                  </a:lnTo>
                  <a:lnTo>
                    <a:pt x="3682" y="485"/>
                  </a:lnTo>
                  <a:lnTo>
                    <a:pt x="3681" y="485"/>
                  </a:lnTo>
                  <a:lnTo>
                    <a:pt x="3682" y="485"/>
                  </a:lnTo>
                  <a:lnTo>
                    <a:pt x="3682" y="483"/>
                  </a:lnTo>
                  <a:lnTo>
                    <a:pt x="3681" y="483"/>
                  </a:lnTo>
                  <a:lnTo>
                    <a:pt x="3680" y="483"/>
                  </a:lnTo>
                  <a:lnTo>
                    <a:pt x="3681" y="483"/>
                  </a:lnTo>
                  <a:lnTo>
                    <a:pt x="3681" y="485"/>
                  </a:lnTo>
                  <a:lnTo>
                    <a:pt x="3680" y="483"/>
                  </a:lnTo>
                  <a:lnTo>
                    <a:pt x="3679" y="483"/>
                  </a:lnTo>
                  <a:lnTo>
                    <a:pt x="3677" y="483"/>
                  </a:lnTo>
                  <a:lnTo>
                    <a:pt x="3676" y="483"/>
                  </a:lnTo>
                  <a:lnTo>
                    <a:pt x="3675" y="482"/>
                  </a:lnTo>
                  <a:lnTo>
                    <a:pt x="3674" y="483"/>
                  </a:lnTo>
                  <a:lnTo>
                    <a:pt x="3673" y="482"/>
                  </a:lnTo>
                  <a:lnTo>
                    <a:pt x="3672" y="481"/>
                  </a:lnTo>
                  <a:lnTo>
                    <a:pt x="3671" y="481"/>
                  </a:lnTo>
                  <a:lnTo>
                    <a:pt x="3669" y="481"/>
                  </a:lnTo>
                  <a:lnTo>
                    <a:pt x="3669" y="482"/>
                  </a:lnTo>
                  <a:lnTo>
                    <a:pt x="3669" y="483"/>
                  </a:lnTo>
                  <a:lnTo>
                    <a:pt x="3671" y="486"/>
                  </a:lnTo>
                  <a:lnTo>
                    <a:pt x="3671" y="487"/>
                  </a:lnTo>
                  <a:lnTo>
                    <a:pt x="3671" y="488"/>
                  </a:lnTo>
                  <a:lnTo>
                    <a:pt x="3672" y="489"/>
                  </a:lnTo>
                  <a:lnTo>
                    <a:pt x="3672" y="490"/>
                  </a:lnTo>
                  <a:lnTo>
                    <a:pt x="3672" y="492"/>
                  </a:lnTo>
                  <a:lnTo>
                    <a:pt x="3673" y="492"/>
                  </a:lnTo>
                  <a:lnTo>
                    <a:pt x="3672" y="492"/>
                  </a:lnTo>
                  <a:lnTo>
                    <a:pt x="3672" y="493"/>
                  </a:lnTo>
                  <a:lnTo>
                    <a:pt x="3673" y="494"/>
                  </a:lnTo>
                  <a:lnTo>
                    <a:pt x="3672" y="494"/>
                  </a:lnTo>
                  <a:lnTo>
                    <a:pt x="3672" y="493"/>
                  </a:lnTo>
                  <a:lnTo>
                    <a:pt x="3671" y="493"/>
                  </a:lnTo>
                  <a:lnTo>
                    <a:pt x="3669" y="492"/>
                  </a:lnTo>
                  <a:lnTo>
                    <a:pt x="3668" y="490"/>
                  </a:lnTo>
                  <a:lnTo>
                    <a:pt x="3666" y="488"/>
                  </a:lnTo>
                  <a:lnTo>
                    <a:pt x="3666" y="487"/>
                  </a:lnTo>
                  <a:lnTo>
                    <a:pt x="3664" y="486"/>
                  </a:lnTo>
                  <a:lnTo>
                    <a:pt x="3664" y="485"/>
                  </a:lnTo>
                  <a:lnTo>
                    <a:pt x="3662" y="483"/>
                  </a:lnTo>
                  <a:lnTo>
                    <a:pt x="3661" y="483"/>
                  </a:lnTo>
                  <a:lnTo>
                    <a:pt x="3661" y="482"/>
                  </a:lnTo>
                  <a:lnTo>
                    <a:pt x="3661" y="481"/>
                  </a:lnTo>
                  <a:lnTo>
                    <a:pt x="3659" y="475"/>
                  </a:lnTo>
                  <a:lnTo>
                    <a:pt x="3659" y="474"/>
                  </a:lnTo>
                  <a:lnTo>
                    <a:pt x="3658" y="474"/>
                  </a:lnTo>
                  <a:lnTo>
                    <a:pt x="3658" y="473"/>
                  </a:lnTo>
                  <a:lnTo>
                    <a:pt x="3657" y="473"/>
                  </a:lnTo>
                  <a:lnTo>
                    <a:pt x="3655" y="472"/>
                  </a:lnTo>
                  <a:lnTo>
                    <a:pt x="3655" y="471"/>
                  </a:lnTo>
                  <a:lnTo>
                    <a:pt x="3654" y="471"/>
                  </a:lnTo>
                  <a:lnTo>
                    <a:pt x="3654" y="469"/>
                  </a:lnTo>
                  <a:lnTo>
                    <a:pt x="3653" y="469"/>
                  </a:lnTo>
                  <a:lnTo>
                    <a:pt x="3652" y="467"/>
                  </a:lnTo>
                  <a:lnTo>
                    <a:pt x="3652" y="466"/>
                  </a:lnTo>
                  <a:lnTo>
                    <a:pt x="3652" y="465"/>
                  </a:lnTo>
                  <a:lnTo>
                    <a:pt x="3651" y="464"/>
                  </a:lnTo>
                  <a:lnTo>
                    <a:pt x="3651" y="462"/>
                  </a:lnTo>
                  <a:lnTo>
                    <a:pt x="3651" y="461"/>
                  </a:lnTo>
                  <a:lnTo>
                    <a:pt x="3650" y="460"/>
                  </a:lnTo>
                  <a:lnTo>
                    <a:pt x="3648" y="459"/>
                  </a:lnTo>
                  <a:lnTo>
                    <a:pt x="3646" y="457"/>
                  </a:lnTo>
                  <a:lnTo>
                    <a:pt x="3645" y="455"/>
                  </a:lnTo>
                  <a:lnTo>
                    <a:pt x="3640" y="452"/>
                  </a:lnTo>
                  <a:lnTo>
                    <a:pt x="3639" y="451"/>
                  </a:lnTo>
                  <a:lnTo>
                    <a:pt x="3638" y="450"/>
                  </a:lnTo>
                  <a:lnTo>
                    <a:pt x="3638" y="448"/>
                  </a:lnTo>
                  <a:lnTo>
                    <a:pt x="3638" y="447"/>
                  </a:lnTo>
                  <a:lnTo>
                    <a:pt x="3637" y="447"/>
                  </a:lnTo>
                  <a:lnTo>
                    <a:pt x="3637" y="446"/>
                  </a:lnTo>
                  <a:lnTo>
                    <a:pt x="3637" y="445"/>
                  </a:lnTo>
                  <a:lnTo>
                    <a:pt x="3636" y="444"/>
                  </a:lnTo>
                  <a:lnTo>
                    <a:pt x="3636" y="443"/>
                  </a:lnTo>
                  <a:lnTo>
                    <a:pt x="3634" y="443"/>
                  </a:lnTo>
                  <a:lnTo>
                    <a:pt x="3633" y="441"/>
                  </a:lnTo>
                  <a:lnTo>
                    <a:pt x="3633" y="440"/>
                  </a:lnTo>
                  <a:lnTo>
                    <a:pt x="3633" y="439"/>
                  </a:lnTo>
                  <a:lnTo>
                    <a:pt x="3632" y="438"/>
                  </a:lnTo>
                  <a:lnTo>
                    <a:pt x="3632" y="437"/>
                  </a:lnTo>
                  <a:lnTo>
                    <a:pt x="3631" y="437"/>
                  </a:lnTo>
                  <a:lnTo>
                    <a:pt x="3631" y="436"/>
                  </a:lnTo>
                  <a:lnTo>
                    <a:pt x="3630" y="434"/>
                  </a:lnTo>
                  <a:lnTo>
                    <a:pt x="3630" y="433"/>
                  </a:lnTo>
                  <a:lnTo>
                    <a:pt x="3629" y="433"/>
                  </a:lnTo>
                  <a:lnTo>
                    <a:pt x="3629" y="432"/>
                  </a:lnTo>
                  <a:lnTo>
                    <a:pt x="3627" y="432"/>
                  </a:lnTo>
                  <a:lnTo>
                    <a:pt x="3627" y="431"/>
                  </a:lnTo>
                  <a:lnTo>
                    <a:pt x="3626" y="430"/>
                  </a:lnTo>
                  <a:lnTo>
                    <a:pt x="3626" y="429"/>
                  </a:lnTo>
                  <a:lnTo>
                    <a:pt x="3624" y="426"/>
                  </a:lnTo>
                  <a:lnTo>
                    <a:pt x="3623" y="426"/>
                  </a:lnTo>
                  <a:lnTo>
                    <a:pt x="3623" y="425"/>
                  </a:lnTo>
                  <a:lnTo>
                    <a:pt x="3622" y="425"/>
                  </a:lnTo>
                  <a:lnTo>
                    <a:pt x="3622" y="424"/>
                  </a:lnTo>
                  <a:lnTo>
                    <a:pt x="3620" y="424"/>
                  </a:lnTo>
                  <a:lnTo>
                    <a:pt x="3619" y="423"/>
                  </a:lnTo>
                  <a:lnTo>
                    <a:pt x="3619" y="422"/>
                  </a:lnTo>
                  <a:lnTo>
                    <a:pt x="3618" y="422"/>
                  </a:lnTo>
                  <a:lnTo>
                    <a:pt x="3618" y="420"/>
                  </a:lnTo>
                  <a:lnTo>
                    <a:pt x="3617" y="419"/>
                  </a:lnTo>
                  <a:lnTo>
                    <a:pt x="3617" y="418"/>
                  </a:lnTo>
                  <a:lnTo>
                    <a:pt x="3616" y="418"/>
                  </a:lnTo>
                  <a:lnTo>
                    <a:pt x="3616" y="417"/>
                  </a:lnTo>
                  <a:lnTo>
                    <a:pt x="3616" y="416"/>
                  </a:lnTo>
                  <a:lnTo>
                    <a:pt x="3616" y="415"/>
                  </a:lnTo>
                  <a:lnTo>
                    <a:pt x="3615" y="415"/>
                  </a:lnTo>
                  <a:lnTo>
                    <a:pt x="3615" y="413"/>
                  </a:lnTo>
                  <a:lnTo>
                    <a:pt x="3613" y="412"/>
                  </a:lnTo>
                  <a:lnTo>
                    <a:pt x="3611" y="411"/>
                  </a:lnTo>
                  <a:lnTo>
                    <a:pt x="3611" y="410"/>
                  </a:lnTo>
                  <a:lnTo>
                    <a:pt x="3610" y="410"/>
                  </a:lnTo>
                  <a:lnTo>
                    <a:pt x="3609" y="410"/>
                  </a:lnTo>
                  <a:lnTo>
                    <a:pt x="3609" y="409"/>
                  </a:lnTo>
                  <a:lnTo>
                    <a:pt x="3608" y="408"/>
                  </a:lnTo>
                  <a:lnTo>
                    <a:pt x="3605" y="406"/>
                  </a:lnTo>
                  <a:lnTo>
                    <a:pt x="3604" y="406"/>
                  </a:lnTo>
                  <a:lnTo>
                    <a:pt x="3604" y="405"/>
                  </a:lnTo>
                  <a:lnTo>
                    <a:pt x="3604" y="406"/>
                  </a:lnTo>
                  <a:lnTo>
                    <a:pt x="3603" y="406"/>
                  </a:lnTo>
                  <a:lnTo>
                    <a:pt x="3603" y="405"/>
                  </a:lnTo>
                  <a:lnTo>
                    <a:pt x="3602" y="405"/>
                  </a:lnTo>
                  <a:lnTo>
                    <a:pt x="3600" y="404"/>
                  </a:lnTo>
                  <a:lnTo>
                    <a:pt x="3601" y="404"/>
                  </a:lnTo>
                  <a:lnTo>
                    <a:pt x="3602" y="404"/>
                  </a:lnTo>
                  <a:lnTo>
                    <a:pt x="3601" y="404"/>
                  </a:lnTo>
                  <a:lnTo>
                    <a:pt x="3601" y="403"/>
                  </a:lnTo>
                  <a:lnTo>
                    <a:pt x="3600" y="403"/>
                  </a:lnTo>
                  <a:lnTo>
                    <a:pt x="3598" y="402"/>
                  </a:lnTo>
                  <a:lnTo>
                    <a:pt x="3597" y="402"/>
                  </a:lnTo>
                  <a:lnTo>
                    <a:pt x="3597" y="401"/>
                  </a:lnTo>
                  <a:lnTo>
                    <a:pt x="3595" y="399"/>
                  </a:lnTo>
                  <a:lnTo>
                    <a:pt x="3595" y="398"/>
                  </a:lnTo>
                  <a:lnTo>
                    <a:pt x="3594" y="397"/>
                  </a:lnTo>
                  <a:lnTo>
                    <a:pt x="3593" y="396"/>
                  </a:lnTo>
                  <a:lnTo>
                    <a:pt x="3591" y="396"/>
                  </a:lnTo>
                  <a:lnTo>
                    <a:pt x="3591" y="395"/>
                  </a:lnTo>
                  <a:lnTo>
                    <a:pt x="3591" y="394"/>
                  </a:lnTo>
                  <a:lnTo>
                    <a:pt x="3591" y="392"/>
                  </a:lnTo>
                  <a:lnTo>
                    <a:pt x="3591" y="391"/>
                  </a:lnTo>
                  <a:lnTo>
                    <a:pt x="3590" y="391"/>
                  </a:lnTo>
                  <a:lnTo>
                    <a:pt x="3590" y="390"/>
                  </a:lnTo>
                  <a:lnTo>
                    <a:pt x="3589" y="390"/>
                  </a:lnTo>
                  <a:lnTo>
                    <a:pt x="3589" y="389"/>
                  </a:lnTo>
                  <a:lnTo>
                    <a:pt x="3588" y="389"/>
                  </a:lnTo>
                  <a:lnTo>
                    <a:pt x="3588" y="388"/>
                  </a:lnTo>
                  <a:lnTo>
                    <a:pt x="3588" y="387"/>
                  </a:lnTo>
                  <a:lnTo>
                    <a:pt x="3587" y="387"/>
                  </a:lnTo>
                  <a:lnTo>
                    <a:pt x="3587" y="385"/>
                  </a:lnTo>
                  <a:lnTo>
                    <a:pt x="3586" y="385"/>
                  </a:lnTo>
                  <a:lnTo>
                    <a:pt x="3586" y="384"/>
                  </a:lnTo>
                  <a:lnTo>
                    <a:pt x="3584" y="384"/>
                  </a:lnTo>
                  <a:lnTo>
                    <a:pt x="3584" y="383"/>
                  </a:lnTo>
                  <a:lnTo>
                    <a:pt x="3583" y="383"/>
                  </a:lnTo>
                  <a:lnTo>
                    <a:pt x="3583" y="382"/>
                  </a:lnTo>
                  <a:lnTo>
                    <a:pt x="3582" y="382"/>
                  </a:lnTo>
                  <a:lnTo>
                    <a:pt x="3581" y="381"/>
                  </a:lnTo>
                  <a:lnTo>
                    <a:pt x="3581" y="380"/>
                  </a:lnTo>
                  <a:lnTo>
                    <a:pt x="3580" y="380"/>
                  </a:lnTo>
                  <a:lnTo>
                    <a:pt x="3580" y="378"/>
                  </a:lnTo>
                  <a:lnTo>
                    <a:pt x="3581" y="378"/>
                  </a:lnTo>
                  <a:lnTo>
                    <a:pt x="3582" y="377"/>
                  </a:lnTo>
                  <a:lnTo>
                    <a:pt x="3583" y="377"/>
                  </a:lnTo>
                  <a:lnTo>
                    <a:pt x="3583" y="378"/>
                  </a:lnTo>
                  <a:lnTo>
                    <a:pt x="3584" y="378"/>
                  </a:lnTo>
                  <a:lnTo>
                    <a:pt x="3586" y="380"/>
                  </a:lnTo>
                  <a:lnTo>
                    <a:pt x="3587" y="380"/>
                  </a:lnTo>
                  <a:lnTo>
                    <a:pt x="3588" y="378"/>
                  </a:lnTo>
                  <a:lnTo>
                    <a:pt x="3587" y="377"/>
                  </a:lnTo>
                  <a:lnTo>
                    <a:pt x="3588" y="377"/>
                  </a:lnTo>
                  <a:lnTo>
                    <a:pt x="3588" y="376"/>
                  </a:lnTo>
                  <a:lnTo>
                    <a:pt x="3587" y="376"/>
                  </a:lnTo>
                  <a:lnTo>
                    <a:pt x="3586" y="376"/>
                  </a:lnTo>
                  <a:lnTo>
                    <a:pt x="3584" y="376"/>
                  </a:lnTo>
                  <a:lnTo>
                    <a:pt x="3584" y="375"/>
                  </a:lnTo>
                  <a:lnTo>
                    <a:pt x="3586" y="375"/>
                  </a:lnTo>
                  <a:lnTo>
                    <a:pt x="3587" y="375"/>
                  </a:lnTo>
                  <a:lnTo>
                    <a:pt x="3587" y="374"/>
                  </a:lnTo>
                  <a:lnTo>
                    <a:pt x="3586" y="373"/>
                  </a:lnTo>
                  <a:lnTo>
                    <a:pt x="3584" y="373"/>
                  </a:lnTo>
                  <a:lnTo>
                    <a:pt x="3586" y="374"/>
                  </a:lnTo>
                  <a:lnTo>
                    <a:pt x="3584" y="374"/>
                  </a:lnTo>
                  <a:lnTo>
                    <a:pt x="3584" y="373"/>
                  </a:lnTo>
                  <a:lnTo>
                    <a:pt x="3583" y="371"/>
                  </a:lnTo>
                  <a:lnTo>
                    <a:pt x="3582" y="370"/>
                  </a:lnTo>
                  <a:lnTo>
                    <a:pt x="3580" y="369"/>
                  </a:lnTo>
                  <a:lnTo>
                    <a:pt x="3579" y="368"/>
                  </a:lnTo>
                  <a:lnTo>
                    <a:pt x="3577" y="368"/>
                  </a:lnTo>
                  <a:lnTo>
                    <a:pt x="3576" y="367"/>
                  </a:lnTo>
                  <a:lnTo>
                    <a:pt x="3575" y="367"/>
                  </a:lnTo>
                  <a:lnTo>
                    <a:pt x="3575" y="366"/>
                  </a:lnTo>
                  <a:lnTo>
                    <a:pt x="3574" y="366"/>
                  </a:lnTo>
                  <a:lnTo>
                    <a:pt x="3573" y="366"/>
                  </a:lnTo>
                  <a:lnTo>
                    <a:pt x="3574" y="366"/>
                  </a:lnTo>
                  <a:lnTo>
                    <a:pt x="3575" y="366"/>
                  </a:lnTo>
                  <a:lnTo>
                    <a:pt x="3576" y="366"/>
                  </a:lnTo>
                  <a:lnTo>
                    <a:pt x="3576" y="367"/>
                  </a:lnTo>
                  <a:lnTo>
                    <a:pt x="3577" y="367"/>
                  </a:lnTo>
                  <a:lnTo>
                    <a:pt x="3577" y="366"/>
                  </a:lnTo>
                  <a:lnTo>
                    <a:pt x="3576" y="366"/>
                  </a:lnTo>
                  <a:lnTo>
                    <a:pt x="3577" y="366"/>
                  </a:lnTo>
                  <a:lnTo>
                    <a:pt x="3576" y="366"/>
                  </a:lnTo>
                  <a:lnTo>
                    <a:pt x="3576" y="364"/>
                  </a:lnTo>
                  <a:lnTo>
                    <a:pt x="3576" y="363"/>
                  </a:lnTo>
                  <a:lnTo>
                    <a:pt x="3577" y="363"/>
                  </a:lnTo>
                  <a:lnTo>
                    <a:pt x="3577" y="364"/>
                  </a:lnTo>
                  <a:lnTo>
                    <a:pt x="3579" y="364"/>
                  </a:lnTo>
                  <a:lnTo>
                    <a:pt x="3579" y="366"/>
                  </a:lnTo>
                  <a:lnTo>
                    <a:pt x="3580" y="366"/>
                  </a:lnTo>
                  <a:close/>
                  <a:moveTo>
                    <a:pt x="3519" y="363"/>
                  </a:moveTo>
                  <a:lnTo>
                    <a:pt x="3519" y="364"/>
                  </a:lnTo>
                  <a:lnTo>
                    <a:pt x="3518" y="364"/>
                  </a:lnTo>
                  <a:lnTo>
                    <a:pt x="3518" y="363"/>
                  </a:lnTo>
                  <a:lnTo>
                    <a:pt x="3518" y="364"/>
                  </a:lnTo>
                  <a:lnTo>
                    <a:pt x="3518" y="363"/>
                  </a:lnTo>
                  <a:lnTo>
                    <a:pt x="3518" y="362"/>
                  </a:lnTo>
                  <a:lnTo>
                    <a:pt x="3519" y="362"/>
                  </a:lnTo>
                  <a:lnTo>
                    <a:pt x="3519" y="363"/>
                  </a:lnTo>
                  <a:close/>
                  <a:moveTo>
                    <a:pt x="3517" y="363"/>
                  </a:moveTo>
                  <a:lnTo>
                    <a:pt x="3516" y="363"/>
                  </a:lnTo>
                  <a:lnTo>
                    <a:pt x="3515" y="362"/>
                  </a:lnTo>
                  <a:lnTo>
                    <a:pt x="3515" y="361"/>
                  </a:lnTo>
                  <a:lnTo>
                    <a:pt x="3515" y="362"/>
                  </a:lnTo>
                  <a:lnTo>
                    <a:pt x="3516" y="362"/>
                  </a:lnTo>
                  <a:lnTo>
                    <a:pt x="3516" y="363"/>
                  </a:lnTo>
                  <a:lnTo>
                    <a:pt x="3517" y="363"/>
                  </a:lnTo>
                  <a:close/>
                  <a:moveTo>
                    <a:pt x="3519" y="360"/>
                  </a:moveTo>
                  <a:lnTo>
                    <a:pt x="3519" y="359"/>
                  </a:lnTo>
                  <a:lnTo>
                    <a:pt x="3520" y="359"/>
                  </a:lnTo>
                  <a:lnTo>
                    <a:pt x="3519" y="360"/>
                  </a:lnTo>
                  <a:close/>
                  <a:moveTo>
                    <a:pt x="3872" y="362"/>
                  </a:moveTo>
                  <a:lnTo>
                    <a:pt x="3871" y="362"/>
                  </a:lnTo>
                  <a:lnTo>
                    <a:pt x="3869" y="361"/>
                  </a:lnTo>
                  <a:lnTo>
                    <a:pt x="3868" y="361"/>
                  </a:lnTo>
                  <a:lnTo>
                    <a:pt x="3866" y="360"/>
                  </a:lnTo>
                  <a:lnTo>
                    <a:pt x="3865" y="360"/>
                  </a:lnTo>
                  <a:lnTo>
                    <a:pt x="3864" y="360"/>
                  </a:lnTo>
                  <a:lnTo>
                    <a:pt x="3860" y="357"/>
                  </a:lnTo>
                  <a:lnTo>
                    <a:pt x="3859" y="357"/>
                  </a:lnTo>
                  <a:lnTo>
                    <a:pt x="3858" y="356"/>
                  </a:lnTo>
                  <a:lnTo>
                    <a:pt x="3859" y="356"/>
                  </a:lnTo>
                  <a:lnTo>
                    <a:pt x="3859" y="357"/>
                  </a:lnTo>
                  <a:lnTo>
                    <a:pt x="3860" y="357"/>
                  </a:lnTo>
                  <a:lnTo>
                    <a:pt x="3861" y="357"/>
                  </a:lnTo>
                  <a:lnTo>
                    <a:pt x="3863" y="357"/>
                  </a:lnTo>
                  <a:lnTo>
                    <a:pt x="3863" y="359"/>
                  </a:lnTo>
                  <a:lnTo>
                    <a:pt x="3864" y="359"/>
                  </a:lnTo>
                  <a:lnTo>
                    <a:pt x="3865" y="359"/>
                  </a:lnTo>
                  <a:lnTo>
                    <a:pt x="3865" y="360"/>
                  </a:lnTo>
                  <a:lnTo>
                    <a:pt x="3866" y="360"/>
                  </a:lnTo>
                  <a:lnTo>
                    <a:pt x="3867" y="360"/>
                  </a:lnTo>
                  <a:lnTo>
                    <a:pt x="3868" y="360"/>
                  </a:lnTo>
                  <a:lnTo>
                    <a:pt x="3868" y="361"/>
                  </a:lnTo>
                  <a:lnTo>
                    <a:pt x="3869" y="361"/>
                  </a:lnTo>
                  <a:lnTo>
                    <a:pt x="3871" y="361"/>
                  </a:lnTo>
                  <a:lnTo>
                    <a:pt x="3871" y="362"/>
                  </a:lnTo>
                  <a:lnTo>
                    <a:pt x="3872" y="362"/>
                  </a:lnTo>
                  <a:close/>
                  <a:moveTo>
                    <a:pt x="3503" y="354"/>
                  </a:moveTo>
                  <a:lnTo>
                    <a:pt x="3503" y="355"/>
                  </a:lnTo>
                  <a:lnTo>
                    <a:pt x="3502" y="355"/>
                  </a:lnTo>
                  <a:lnTo>
                    <a:pt x="3503" y="355"/>
                  </a:lnTo>
                  <a:lnTo>
                    <a:pt x="3503" y="356"/>
                  </a:lnTo>
                  <a:lnTo>
                    <a:pt x="3502" y="356"/>
                  </a:lnTo>
                  <a:lnTo>
                    <a:pt x="3502" y="355"/>
                  </a:lnTo>
                  <a:lnTo>
                    <a:pt x="3501" y="355"/>
                  </a:lnTo>
                  <a:lnTo>
                    <a:pt x="3501" y="356"/>
                  </a:lnTo>
                  <a:lnTo>
                    <a:pt x="3499" y="356"/>
                  </a:lnTo>
                  <a:lnTo>
                    <a:pt x="3501" y="356"/>
                  </a:lnTo>
                  <a:lnTo>
                    <a:pt x="3499" y="356"/>
                  </a:lnTo>
                  <a:lnTo>
                    <a:pt x="3498" y="355"/>
                  </a:lnTo>
                  <a:lnTo>
                    <a:pt x="3499" y="355"/>
                  </a:lnTo>
                  <a:lnTo>
                    <a:pt x="3499" y="354"/>
                  </a:lnTo>
                  <a:lnTo>
                    <a:pt x="3501" y="354"/>
                  </a:lnTo>
                  <a:lnTo>
                    <a:pt x="3501" y="353"/>
                  </a:lnTo>
                  <a:lnTo>
                    <a:pt x="3502" y="354"/>
                  </a:lnTo>
                  <a:lnTo>
                    <a:pt x="3502" y="353"/>
                  </a:lnTo>
                  <a:lnTo>
                    <a:pt x="3503" y="354"/>
                  </a:lnTo>
                  <a:close/>
                  <a:moveTo>
                    <a:pt x="3509" y="353"/>
                  </a:moveTo>
                  <a:lnTo>
                    <a:pt x="3510" y="353"/>
                  </a:lnTo>
                  <a:lnTo>
                    <a:pt x="3511" y="353"/>
                  </a:lnTo>
                  <a:lnTo>
                    <a:pt x="3512" y="353"/>
                  </a:lnTo>
                  <a:lnTo>
                    <a:pt x="3512" y="354"/>
                  </a:lnTo>
                  <a:lnTo>
                    <a:pt x="3512" y="355"/>
                  </a:lnTo>
                  <a:lnTo>
                    <a:pt x="3512" y="354"/>
                  </a:lnTo>
                  <a:lnTo>
                    <a:pt x="3513" y="354"/>
                  </a:lnTo>
                  <a:lnTo>
                    <a:pt x="3515" y="354"/>
                  </a:lnTo>
                  <a:lnTo>
                    <a:pt x="3516" y="354"/>
                  </a:lnTo>
                  <a:lnTo>
                    <a:pt x="3515" y="354"/>
                  </a:lnTo>
                  <a:lnTo>
                    <a:pt x="3515" y="355"/>
                  </a:lnTo>
                  <a:lnTo>
                    <a:pt x="3515" y="356"/>
                  </a:lnTo>
                  <a:lnTo>
                    <a:pt x="3515" y="357"/>
                  </a:lnTo>
                  <a:lnTo>
                    <a:pt x="3516" y="357"/>
                  </a:lnTo>
                  <a:lnTo>
                    <a:pt x="3515" y="359"/>
                  </a:lnTo>
                  <a:lnTo>
                    <a:pt x="3516" y="359"/>
                  </a:lnTo>
                  <a:lnTo>
                    <a:pt x="3515" y="360"/>
                  </a:lnTo>
                  <a:lnTo>
                    <a:pt x="3515" y="361"/>
                  </a:lnTo>
                  <a:lnTo>
                    <a:pt x="3515" y="360"/>
                  </a:lnTo>
                  <a:lnTo>
                    <a:pt x="3513" y="360"/>
                  </a:lnTo>
                  <a:lnTo>
                    <a:pt x="3512" y="359"/>
                  </a:lnTo>
                  <a:lnTo>
                    <a:pt x="3511" y="359"/>
                  </a:lnTo>
                  <a:lnTo>
                    <a:pt x="3511" y="357"/>
                  </a:lnTo>
                  <a:lnTo>
                    <a:pt x="3510" y="357"/>
                  </a:lnTo>
                  <a:lnTo>
                    <a:pt x="3509" y="356"/>
                  </a:lnTo>
                  <a:lnTo>
                    <a:pt x="3508" y="357"/>
                  </a:lnTo>
                  <a:lnTo>
                    <a:pt x="3508" y="359"/>
                  </a:lnTo>
                  <a:lnTo>
                    <a:pt x="3508" y="357"/>
                  </a:lnTo>
                  <a:lnTo>
                    <a:pt x="3506" y="357"/>
                  </a:lnTo>
                  <a:lnTo>
                    <a:pt x="3506" y="356"/>
                  </a:lnTo>
                  <a:lnTo>
                    <a:pt x="3506" y="355"/>
                  </a:lnTo>
                  <a:lnTo>
                    <a:pt x="3506" y="354"/>
                  </a:lnTo>
                  <a:lnTo>
                    <a:pt x="3506" y="353"/>
                  </a:lnTo>
                  <a:lnTo>
                    <a:pt x="3505" y="353"/>
                  </a:lnTo>
                  <a:lnTo>
                    <a:pt x="3505" y="352"/>
                  </a:lnTo>
                  <a:lnTo>
                    <a:pt x="3506" y="352"/>
                  </a:lnTo>
                  <a:lnTo>
                    <a:pt x="3508" y="353"/>
                  </a:lnTo>
                  <a:lnTo>
                    <a:pt x="3509" y="353"/>
                  </a:lnTo>
                  <a:close/>
                  <a:moveTo>
                    <a:pt x="2155" y="352"/>
                  </a:moveTo>
                  <a:lnTo>
                    <a:pt x="2157" y="352"/>
                  </a:lnTo>
                  <a:lnTo>
                    <a:pt x="2158" y="352"/>
                  </a:lnTo>
                  <a:lnTo>
                    <a:pt x="2159" y="353"/>
                  </a:lnTo>
                  <a:lnTo>
                    <a:pt x="2160" y="353"/>
                  </a:lnTo>
                  <a:lnTo>
                    <a:pt x="2161" y="353"/>
                  </a:lnTo>
                  <a:lnTo>
                    <a:pt x="2161" y="354"/>
                  </a:lnTo>
                  <a:lnTo>
                    <a:pt x="2162" y="354"/>
                  </a:lnTo>
                  <a:lnTo>
                    <a:pt x="2162" y="353"/>
                  </a:lnTo>
                  <a:lnTo>
                    <a:pt x="2162" y="354"/>
                  </a:lnTo>
                  <a:lnTo>
                    <a:pt x="2164" y="354"/>
                  </a:lnTo>
                  <a:lnTo>
                    <a:pt x="2165" y="354"/>
                  </a:lnTo>
                  <a:lnTo>
                    <a:pt x="2166" y="354"/>
                  </a:lnTo>
                  <a:lnTo>
                    <a:pt x="2167" y="354"/>
                  </a:lnTo>
                  <a:lnTo>
                    <a:pt x="2168" y="354"/>
                  </a:lnTo>
                  <a:lnTo>
                    <a:pt x="2169" y="354"/>
                  </a:lnTo>
                  <a:lnTo>
                    <a:pt x="2169" y="355"/>
                  </a:lnTo>
                  <a:lnTo>
                    <a:pt x="2171" y="355"/>
                  </a:lnTo>
                  <a:lnTo>
                    <a:pt x="2171" y="356"/>
                  </a:lnTo>
                  <a:lnTo>
                    <a:pt x="2172" y="356"/>
                  </a:lnTo>
                  <a:lnTo>
                    <a:pt x="2173" y="356"/>
                  </a:lnTo>
                  <a:lnTo>
                    <a:pt x="2173" y="357"/>
                  </a:lnTo>
                  <a:lnTo>
                    <a:pt x="2173" y="359"/>
                  </a:lnTo>
                  <a:lnTo>
                    <a:pt x="2172" y="359"/>
                  </a:lnTo>
                  <a:lnTo>
                    <a:pt x="2172" y="360"/>
                  </a:lnTo>
                  <a:lnTo>
                    <a:pt x="2172" y="361"/>
                  </a:lnTo>
                  <a:lnTo>
                    <a:pt x="2172" y="362"/>
                  </a:lnTo>
                  <a:lnTo>
                    <a:pt x="2172" y="363"/>
                  </a:lnTo>
                  <a:lnTo>
                    <a:pt x="2173" y="364"/>
                  </a:lnTo>
                  <a:lnTo>
                    <a:pt x="2172" y="364"/>
                  </a:lnTo>
                  <a:lnTo>
                    <a:pt x="2169" y="364"/>
                  </a:lnTo>
                  <a:lnTo>
                    <a:pt x="2167" y="364"/>
                  </a:lnTo>
                  <a:lnTo>
                    <a:pt x="2164" y="364"/>
                  </a:lnTo>
                  <a:lnTo>
                    <a:pt x="2160" y="364"/>
                  </a:lnTo>
                  <a:lnTo>
                    <a:pt x="2155" y="364"/>
                  </a:lnTo>
                  <a:lnTo>
                    <a:pt x="2151" y="363"/>
                  </a:lnTo>
                  <a:lnTo>
                    <a:pt x="2147" y="363"/>
                  </a:lnTo>
                  <a:lnTo>
                    <a:pt x="2144" y="363"/>
                  </a:lnTo>
                  <a:lnTo>
                    <a:pt x="2140" y="363"/>
                  </a:lnTo>
                  <a:lnTo>
                    <a:pt x="2137" y="363"/>
                  </a:lnTo>
                  <a:lnTo>
                    <a:pt x="2138" y="363"/>
                  </a:lnTo>
                  <a:lnTo>
                    <a:pt x="2139" y="362"/>
                  </a:lnTo>
                  <a:lnTo>
                    <a:pt x="2140" y="361"/>
                  </a:lnTo>
                  <a:lnTo>
                    <a:pt x="2141" y="361"/>
                  </a:lnTo>
                  <a:lnTo>
                    <a:pt x="2143" y="361"/>
                  </a:lnTo>
                  <a:lnTo>
                    <a:pt x="2143" y="360"/>
                  </a:lnTo>
                  <a:lnTo>
                    <a:pt x="2144" y="360"/>
                  </a:lnTo>
                  <a:lnTo>
                    <a:pt x="2145" y="360"/>
                  </a:lnTo>
                  <a:lnTo>
                    <a:pt x="2141" y="360"/>
                  </a:lnTo>
                  <a:lnTo>
                    <a:pt x="2140" y="360"/>
                  </a:lnTo>
                  <a:lnTo>
                    <a:pt x="2140" y="359"/>
                  </a:lnTo>
                  <a:lnTo>
                    <a:pt x="2139" y="359"/>
                  </a:lnTo>
                  <a:lnTo>
                    <a:pt x="2139" y="360"/>
                  </a:lnTo>
                  <a:lnTo>
                    <a:pt x="2139" y="361"/>
                  </a:lnTo>
                  <a:lnTo>
                    <a:pt x="2138" y="362"/>
                  </a:lnTo>
                  <a:lnTo>
                    <a:pt x="2137" y="362"/>
                  </a:lnTo>
                  <a:lnTo>
                    <a:pt x="2136" y="363"/>
                  </a:lnTo>
                  <a:lnTo>
                    <a:pt x="2137" y="362"/>
                  </a:lnTo>
                  <a:lnTo>
                    <a:pt x="2138" y="361"/>
                  </a:lnTo>
                  <a:lnTo>
                    <a:pt x="2138" y="360"/>
                  </a:lnTo>
                  <a:lnTo>
                    <a:pt x="2139" y="360"/>
                  </a:lnTo>
                  <a:lnTo>
                    <a:pt x="2139" y="359"/>
                  </a:lnTo>
                  <a:lnTo>
                    <a:pt x="2139" y="357"/>
                  </a:lnTo>
                  <a:lnTo>
                    <a:pt x="2138" y="356"/>
                  </a:lnTo>
                  <a:lnTo>
                    <a:pt x="2139" y="355"/>
                  </a:lnTo>
                  <a:lnTo>
                    <a:pt x="2140" y="355"/>
                  </a:lnTo>
                  <a:lnTo>
                    <a:pt x="2141" y="355"/>
                  </a:lnTo>
                  <a:lnTo>
                    <a:pt x="2144" y="355"/>
                  </a:lnTo>
                  <a:lnTo>
                    <a:pt x="2145" y="355"/>
                  </a:lnTo>
                  <a:lnTo>
                    <a:pt x="2146" y="354"/>
                  </a:lnTo>
                  <a:lnTo>
                    <a:pt x="2148" y="352"/>
                  </a:lnTo>
                  <a:lnTo>
                    <a:pt x="2150" y="350"/>
                  </a:lnTo>
                  <a:lnTo>
                    <a:pt x="2150" y="352"/>
                  </a:lnTo>
                  <a:lnTo>
                    <a:pt x="2148" y="352"/>
                  </a:lnTo>
                  <a:lnTo>
                    <a:pt x="2148" y="353"/>
                  </a:lnTo>
                  <a:lnTo>
                    <a:pt x="2147" y="353"/>
                  </a:lnTo>
                  <a:lnTo>
                    <a:pt x="2147" y="354"/>
                  </a:lnTo>
                  <a:lnTo>
                    <a:pt x="2146" y="355"/>
                  </a:lnTo>
                  <a:lnTo>
                    <a:pt x="2145" y="355"/>
                  </a:lnTo>
                  <a:lnTo>
                    <a:pt x="2146" y="355"/>
                  </a:lnTo>
                  <a:lnTo>
                    <a:pt x="2148" y="355"/>
                  </a:lnTo>
                  <a:lnTo>
                    <a:pt x="2150" y="356"/>
                  </a:lnTo>
                  <a:lnTo>
                    <a:pt x="2151" y="356"/>
                  </a:lnTo>
                  <a:lnTo>
                    <a:pt x="2152" y="356"/>
                  </a:lnTo>
                  <a:lnTo>
                    <a:pt x="2153" y="356"/>
                  </a:lnTo>
                  <a:lnTo>
                    <a:pt x="2153" y="355"/>
                  </a:lnTo>
                  <a:lnTo>
                    <a:pt x="2153" y="353"/>
                  </a:lnTo>
                  <a:lnTo>
                    <a:pt x="2152" y="353"/>
                  </a:lnTo>
                  <a:lnTo>
                    <a:pt x="2152" y="352"/>
                  </a:lnTo>
                  <a:lnTo>
                    <a:pt x="2153" y="352"/>
                  </a:lnTo>
                  <a:lnTo>
                    <a:pt x="2154" y="350"/>
                  </a:lnTo>
                  <a:lnTo>
                    <a:pt x="2155" y="350"/>
                  </a:lnTo>
                  <a:lnTo>
                    <a:pt x="2155" y="352"/>
                  </a:lnTo>
                  <a:close/>
                  <a:moveTo>
                    <a:pt x="3833" y="349"/>
                  </a:moveTo>
                  <a:lnTo>
                    <a:pt x="3836" y="350"/>
                  </a:lnTo>
                  <a:lnTo>
                    <a:pt x="3837" y="349"/>
                  </a:lnTo>
                  <a:lnTo>
                    <a:pt x="3837" y="350"/>
                  </a:lnTo>
                  <a:lnTo>
                    <a:pt x="3838" y="350"/>
                  </a:lnTo>
                  <a:lnTo>
                    <a:pt x="3838" y="352"/>
                  </a:lnTo>
                  <a:lnTo>
                    <a:pt x="3839" y="352"/>
                  </a:lnTo>
                  <a:lnTo>
                    <a:pt x="3839" y="353"/>
                  </a:lnTo>
                  <a:lnTo>
                    <a:pt x="3840" y="353"/>
                  </a:lnTo>
                  <a:lnTo>
                    <a:pt x="3842" y="353"/>
                  </a:lnTo>
                  <a:lnTo>
                    <a:pt x="3843" y="354"/>
                  </a:lnTo>
                  <a:lnTo>
                    <a:pt x="3844" y="355"/>
                  </a:lnTo>
                  <a:lnTo>
                    <a:pt x="3845" y="355"/>
                  </a:lnTo>
                  <a:lnTo>
                    <a:pt x="3846" y="355"/>
                  </a:lnTo>
                  <a:lnTo>
                    <a:pt x="3847" y="356"/>
                  </a:lnTo>
                  <a:lnTo>
                    <a:pt x="3850" y="357"/>
                  </a:lnTo>
                  <a:lnTo>
                    <a:pt x="3851" y="359"/>
                  </a:lnTo>
                  <a:lnTo>
                    <a:pt x="3852" y="359"/>
                  </a:lnTo>
                  <a:lnTo>
                    <a:pt x="3852" y="360"/>
                  </a:lnTo>
                  <a:lnTo>
                    <a:pt x="3851" y="359"/>
                  </a:lnTo>
                  <a:lnTo>
                    <a:pt x="3850" y="359"/>
                  </a:lnTo>
                  <a:lnTo>
                    <a:pt x="3849" y="359"/>
                  </a:lnTo>
                  <a:lnTo>
                    <a:pt x="3849" y="357"/>
                  </a:lnTo>
                  <a:lnTo>
                    <a:pt x="3847" y="357"/>
                  </a:lnTo>
                  <a:lnTo>
                    <a:pt x="3846" y="357"/>
                  </a:lnTo>
                  <a:lnTo>
                    <a:pt x="3845" y="356"/>
                  </a:lnTo>
                  <a:lnTo>
                    <a:pt x="3844" y="356"/>
                  </a:lnTo>
                  <a:lnTo>
                    <a:pt x="3843" y="356"/>
                  </a:lnTo>
                  <a:lnTo>
                    <a:pt x="3843" y="355"/>
                  </a:lnTo>
                  <a:lnTo>
                    <a:pt x="3842" y="355"/>
                  </a:lnTo>
                  <a:lnTo>
                    <a:pt x="3839" y="354"/>
                  </a:lnTo>
                  <a:lnTo>
                    <a:pt x="3839" y="353"/>
                  </a:lnTo>
                  <a:lnTo>
                    <a:pt x="3838" y="353"/>
                  </a:lnTo>
                  <a:lnTo>
                    <a:pt x="3837" y="352"/>
                  </a:lnTo>
                  <a:lnTo>
                    <a:pt x="3836" y="352"/>
                  </a:lnTo>
                  <a:lnTo>
                    <a:pt x="3835" y="352"/>
                  </a:lnTo>
                  <a:lnTo>
                    <a:pt x="3833" y="350"/>
                  </a:lnTo>
                  <a:lnTo>
                    <a:pt x="3832" y="350"/>
                  </a:lnTo>
                  <a:lnTo>
                    <a:pt x="3831" y="350"/>
                  </a:lnTo>
                  <a:lnTo>
                    <a:pt x="3832" y="350"/>
                  </a:lnTo>
                  <a:lnTo>
                    <a:pt x="3833" y="350"/>
                  </a:lnTo>
                  <a:lnTo>
                    <a:pt x="3832" y="349"/>
                  </a:lnTo>
                  <a:lnTo>
                    <a:pt x="3833" y="349"/>
                  </a:lnTo>
                  <a:close/>
                  <a:moveTo>
                    <a:pt x="3600" y="296"/>
                  </a:moveTo>
                  <a:lnTo>
                    <a:pt x="3598" y="296"/>
                  </a:lnTo>
                  <a:lnTo>
                    <a:pt x="3597" y="296"/>
                  </a:lnTo>
                  <a:lnTo>
                    <a:pt x="3598" y="294"/>
                  </a:lnTo>
                  <a:lnTo>
                    <a:pt x="3598" y="293"/>
                  </a:lnTo>
                  <a:lnTo>
                    <a:pt x="3600" y="294"/>
                  </a:lnTo>
                  <a:lnTo>
                    <a:pt x="3600" y="296"/>
                  </a:lnTo>
                  <a:close/>
                  <a:moveTo>
                    <a:pt x="3580" y="293"/>
                  </a:moveTo>
                  <a:lnTo>
                    <a:pt x="3579" y="293"/>
                  </a:lnTo>
                  <a:lnTo>
                    <a:pt x="3580" y="292"/>
                  </a:lnTo>
                  <a:lnTo>
                    <a:pt x="3580" y="293"/>
                  </a:lnTo>
                  <a:close/>
                  <a:moveTo>
                    <a:pt x="3753" y="293"/>
                  </a:moveTo>
                  <a:lnTo>
                    <a:pt x="3754" y="293"/>
                  </a:lnTo>
                  <a:lnTo>
                    <a:pt x="3755" y="294"/>
                  </a:lnTo>
                  <a:lnTo>
                    <a:pt x="3757" y="294"/>
                  </a:lnTo>
                  <a:lnTo>
                    <a:pt x="3758" y="296"/>
                  </a:lnTo>
                  <a:lnTo>
                    <a:pt x="3759" y="296"/>
                  </a:lnTo>
                  <a:lnTo>
                    <a:pt x="3759" y="297"/>
                  </a:lnTo>
                  <a:lnTo>
                    <a:pt x="3759" y="298"/>
                  </a:lnTo>
                  <a:lnTo>
                    <a:pt x="3758" y="298"/>
                  </a:lnTo>
                  <a:lnTo>
                    <a:pt x="3757" y="298"/>
                  </a:lnTo>
                  <a:lnTo>
                    <a:pt x="3757" y="299"/>
                  </a:lnTo>
                  <a:lnTo>
                    <a:pt x="3755" y="298"/>
                  </a:lnTo>
                  <a:lnTo>
                    <a:pt x="3755" y="299"/>
                  </a:lnTo>
                  <a:lnTo>
                    <a:pt x="3754" y="299"/>
                  </a:lnTo>
                  <a:lnTo>
                    <a:pt x="3754" y="300"/>
                  </a:lnTo>
                  <a:lnTo>
                    <a:pt x="3753" y="300"/>
                  </a:lnTo>
                  <a:lnTo>
                    <a:pt x="3754" y="301"/>
                  </a:lnTo>
                  <a:lnTo>
                    <a:pt x="3753" y="301"/>
                  </a:lnTo>
                  <a:lnTo>
                    <a:pt x="3753" y="303"/>
                  </a:lnTo>
                  <a:lnTo>
                    <a:pt x="3754" y="304"/>
                  </a:lnTo>
                  <a:lnTo>
                    <a:pt x="3753" y="304"/>
                  </a:lnTo>
                  <a:lnTo>
                    <a:pt x="3752" y="303"/>
                  </a:lnTo>
                  <a:lnTo>
                    <a:pt x="3751" y="303"/>
                  </a:lnTo>
                  <a:lnTo>
                    <a:pt x="3752" y="301"/>
                  </a:lnTo>
                  <a:lnTo>
                    <a:pt x="3752" y="300"/>
                  </a:lnTo>
                  <a:lnTo>
                    <a:pt x="3751" y="300"/>
                  </a:lnTo>
                  <a:lnTo>
                    <a:pt x="3751" y="299"/>
                  </a:lnTo>
                  <a:lnTo>
                    <a:pt x="3751" y="298"/>
                  </a:lnTo>
                  <a:lnTo>
                    <a:pt x="3750" y="298"/>
                  </a:lnTo>
                  <a:lnTo>
                    <a:pt x="3750" y="297"/>
                  </a:lnTo>
                  <a:lnTo>
                    <a:pt x="3750" y="296"/>
                  </a:lnTo>
                  <a:lnTo>
                    <a:pt x="3748" y="296"/>
                  </a:lnTo>
                  <a:lnTo>
                    <a:pt x="3747" y="296"/>
                  </a:lnTo>
                  <a:lnTo>
                    <a:pt x="3750" y="296"/>
                  </a:lnTo>
                  <a:lnTo>
                    <a:pt x="3751" y="294"/>
                  </a:lnTo>
                  <a:lnTo>
                    <a:pt x="3751" y="293"/>
                  </a:lnTo>
                  <a:lnTo>
                    <a:pt x="3752" y="292"/>
                  </a:lnTo>
                  <a:lnTo>
                    <a:pt x="3753" y="293"/>
                  </a:lnTo>
                  <a:close/>
                  <a:moveTo>
                    <a:pt x="2219" y="291"/>
                  </a:moveTo>
                  <a:lnTo>
                    <a:pt x="2221" y="291"/>
                  </a:lnTo>
                  <a:lnTo>
                    <a:pt x="2219" y="291"/>
                  </a:lnTo>
                  <a:close/>
                  <a:moveTo>
                    <a:pt x="3650" y="291"/>
                  </a:moveTo>
                  <a:lnTo>
                    <a:pt x="3651" y="291"/>
                  </a:lnTo>
                  <a:lnTo>
                    <a:pt x="3650" y="291"/>
                  </a:lnTo>
                  <a:close/>
                  <a:moveTo>
                    <a:pt x="2238" y="282"/>
                  </a:moveTo>
                  <a:lnTo>
                    <a:pt x="2237" y="282"/>
                  </a:lnTo>
                  <a:lnTo>
                    <a:pt x="2237" y="280"/>
                  </a:lnTo>
                  <a:lnTo>
                    <a:pt x="2238" y="282"/>
                  </a:lnTo>
                  <a:close/>
                  <a:moveTo>
                    <a:pt x="2217" y="282"/>
                  </a:moveTo>
                  <a:lnTo>
                    <a:pt x="2216" y="282"/>
                  </a:lnTo>
                  <a:lnTo>
                    <a:pt x="2216" y="280"/>
                  </a:lnTo>
                  <a:lnTo>
                    <a:pt x="2217" y="280"/>
                  </a:lnTo>
                  <a:lnTo>
                    <a:pt x="2217" y="282"/>
                  </a:lnTo>
                  <a:close/>
                  <a:moveTo>
                    <a:pt x="2207" y="280"/>
                  </a:moveTo>
                  <a:lnTo>
                    <a:pt x="2205" y="279"/>
                  </a:lnTo>
                  <a:lnTo>
                    <a:pt x="2207" y="279"/>
                  </a:lnTo>
                  <a:lnTo>
                    <a:pt x="2207" y="280"/>
                  </a:lnTo>
                  <a:close/>
                  <a:moveTo>
                    <a:pt x="2223" y="276"/>
                  </a:moveTo>
                  <a:lnTo>
                    <a:pt x="2224" y="276"/>
                  </a:lnTo>
                  <a:lnTo>
                    <a:pt x="2225" y="277"/>
                  </a:lnTo>
                  <a:lnTo>
                    <a:pt x="2224" y="277"/>
                  </a:lnTo>
                  <a:lnTo>
                    <a:pt x="2223" y="277"/>
                  </a:lnTo>
                  <a:lnTo>
                    <a:pt x="2223" y="276"/>
                  </a:lnTo>
                  <a:close/>
                  <a:moveTo>
                    <a:pt x="2223" y="277"/>
                  </a:moveTo>
                  <a:lnTo>
                    <a:pt x="2222" y="276"/>
                  </a:lnTo>
                  <a:lnTo>
                    <a:pt x="2223" y="276"/>
                  </a:lnTo>
                  <a:lnTo>
                    <a:pt x="2223" y="277"/>
                  </a:lnTo>
                  <a:close/>
                  <a:moveTo>
                    <a:pt x="2290" y="220"/>
                  </a:moveTo>
                  <a:lnTo>
                    <a:pt x="2289" y="220"/>
                  </a:lnTo>
                  <a:lnTo>
                    <a:pt x="2289" y="219"/>
                  </a:lnTo>
                  <a:lnTo>
                    <a:pt x="2288" y="219"/>
                  </a:lnTo>
                  <a:lnTo>
                    <a:pt x="2289" y="219"/>
                  </a:lnTo>
                  <a:lnTo>
                    <a:pt x="2290" y="219"/>
                  </a:lnTo>
                  <a:lnTo>
                    <a:pt x="2290" y="220"/>
                  </a:lnTo>
                  <a:close/>
                  <a:moveTo>
                    <a:pt x="70" y="215"/>
                  </a:moveTo>
                  <a:lnTo>
                    <a:pt x="71" y="215"/>
                  </a:lnTo>
                  <a:lnTo>
                    <a:pt x="70" y="215"/>
                  </a:lnTo>
                  <a:lnTo>
                    <a:pt x="70" y="216"/>
                  </a:lnTo>
                  <a:lnTo>
                    <a:pt x="70" y="215"/>
                  </a:lnTo>
                  <a:lnTo>
                    <a:pt x="69" y="215"/>
                  </a:lnTo>
                  <a:lnTo>
                    <a:pt x="70" y="215"/>
                  </a:lnTo>
                  <a:close/>
                  <a:moveTo>
                    <a:pt x="2332" y="214"/>
                  </a:moveTo>
                  <a:lnTo>
                    <a:pt x="2333" y="214"/>
                  </a:lnTo>
                  <a:lnTo>
                    <a:pt x="2335" y="214"/>
                  </a:lnTo>
                  <a:lnTo>
                    <a:pt x="2335" y="215"/>
                  </a:lnTo>
                  <a:lnTo>
                    <a:pt x="2336" y="215"/>
                  </a:lnTo>
                  <a:lnTo>
                    <a:pt x="2337" y="215"/>
                  </a:lnTo>
                  <a:lnTo>
                    <a:pt x="2337" y="216"/>
                  </a:lnTo>
                  <a:lnTo>
                    <a:pt x="2336" y="216"/>
                  </a:lnTo>
                  <a:lnTo>
                    <a:pt x="2333" y="216"/>
                  </a:lnTo>
                  <a:lnTo>
                    <a:pt x="2333" y="215"/>
                  </a:lnTo>
                  <a:lnTo>
                    <a:pt x="2332" y="215"/>
                  </a:lnTo>
                  <a:lnTo>
                    <a:pt x="2331" y="215"/>
                  </a:lnTo>
                  <a:lnTo>
                    <a:pt x="2330" y="214"/>
                  </a:lnTo>
                  <a:lnTo>
                    <a:pt x="2331" y="214"/>
                  </a:lnTo>
                  <a:lnTo>
                    <a:pt x="2332" y="214"/>
                  </a:lnTo>
                  <a:close/>
                  <a:moveTo>
                    <a:pt x="2336" y="215"/>
                  </a:moveTo>
                  <a:lnTo>
                    <a:pt x="2335" y="215"/>
                  </a:lnTo>
                  <a:lnTo>
                    <a:pt x="2333" y="214"/>
                  </a:lnTo>
                  <a:lnTo>
                    <a:pt x="2332" y="214"/>
                  </a:lnTo>
                  <a:lnTo>
                    <a:pt x="2331" y="213"/>
                  </a:lnTo>
                  <a:lnTo>
                    <a:pt x="2332" y="213"/>
                  </a:lnTo>
                  <a:lnTo>
                    <a:pt x="2333" y="213"/>
                  </a:lnTo>
                  <a:lnTo>
                    <a:pt x="2335" y="213"/>
                  </a:lnTo>
                  <a:lnTo>
                    <a:pt x="2335" y="214"/>
                  </a:lnTo>
                  <a:lnTo>
                    <a:pt x="2336" y="214"/>
                  </a:lnTo>
                  <a:lnTo>
                    <a:pt x="2336" y="215"/>
                  </a:lnTo>
                  <a:close/>
                  <a:moveTo>
                    <a:pt x="75" y="214"/>
                  </a:moveTo>
                  <a:lnTo>
                    <a:pt x="74" y="214"/>
                  </a:lnTo>
                  <a:lnTo>
                    <a:pt x="73" y="214"/>
                  </a:lnTo>
                  <a:lnTo>
                    <a:pt x="71" y="214"/>
                  </a:lnTo>
                  <a:lnTo>
                    <a:pt x="73" y="214"/>
                  </a:lnTo>
                  <a:lnTo>
                    <a:pt x="73" y="213"/>
                  </a:lnTo>
                  <a:lnTo>
                    <a:pt x="74" y="213"/>
                  </a:lnTo>
                  <a:lnTo>
                    <a:pt x="75" y="213"/>
                  </a:lnTo>
                  <a:lnTo>
                    <a:pt x="76" y="213"/>
                  </a:lnTo>
                  <a:lnTo>
                    <a:pt x="77" y="213"/>
                  </a:lnTo>
                  <a:lnTo>
                    <a:pt x="78" y="213"/>
                  </a:lnTo>
                  <a:lnTo>
                    <a:pt x="78" y="214"/>
                  </a:lnTo>
                  <a:lnTo>
                    <a:pt x="77" y="214"/>
                  </a:lnTo>
                  <a:lnTo>
                    <a:pt x="75" y="214"/>
                  </a:lnTo>
                  <a:close/>
                  <a:moveTo>
                    <a:pt x="2287" y="209"/>
                  </a:moveTo>
                  <a:lnTo>
                    <a:pt x="2286" y="209"/>
                  </a:lnTo>
                  <a:lnTo>
                    <a:pt x="2287" y="209"/>
                  </a:lnTo>
                  <a:lnTo>
                    <a:pt x="2288" y="209"/>
                  </a:lnTo>
                  <a:lnTo>
                    <a:pt x="2287" y="209"/>
                  </a:lnTo>
                  <a:close/>
                  <a:moveTo>
                    <a:pt x="2285" y="208"/>
                  </a:moveTo>
                  <a:lnTo>
                    <a:pt x="2286" y="208"/>
                  </a:lnTo>
                  <a:lnTo>
                    <a:pt x="2286" y="209"/>
                  </a:lnTo>
                  <a:lnTo>
                    <a:pt x="2286" y="208"/>
                  </a:lnTo>
                  <a:lnTo>
                    <a:pt x="2285" y="208"/>
                  </a:lnTo>
                  <a:lnTo>
                    <a:pt x="2285" y="209"/>
                  </a:lnTo>
                  <a:lnTo>
                    <a:pt x="2286" y="209"/>
                  </a:lnTo>
                  <a:lnTo>
                    <a:pt x="2286" y="210"/>
                  </a:lnTo>
                  <a:lnTo>
                    <a:pt x="2285" y="210"/>
                  </a:lnTo>
                  <a:lnTo>
                    <a:pt x="2285" y="209"/>
                  </a:lnTo>
                  <a:lnTo>
                    <a:pt x="2283" y="209"/>
                  </a:lnTo>
                  <a:lnTo>
                    <a:pt x="2282" y="209"/>
                  </a:lnTo>
                  <a:lnTo>
                    <a:pt x="2282" y="208"/>
                  </a:lnTo>
                  <a:lnTo>
                    <a:pt x="2283" y="208"/>
                  </a:lnTo>
                  <a:lnTo>
                    <a:pt x="2285" y="208"/>
                  </a:lnTo>
                  <a:close/>
                  <a:moveTo>
                    <a:pt x="2287" y="207"/>
                  </a:moveTo>
                  <a:lnTo>
                    <a:pt x="2287" y="208"/>
                  </a:lnTo>
                  <a:lnTo>
                    <a:pt x="2288" y="208"/>
                  </a:lnTo>
                  <a:lnTo>
                    <a:pt x="2289" y="208"/>
                  </a:lnTo>
                  <a:lnTo>
                    <a:pt x="2288" y="208"/>
                  </a:lnTo>
                  <a:lnTo>
                    <a:pt x="2287" y="208"/>
                  </a:lnTo>
                  <a:lnTo>
                    <a:pt x="2286" y="208"/>
                  </a:lnTo>
                  <a:lnTo>
                    <a:pt x="2286" y="207"/>
                  </a:lnTo>
                  <a:lnTo>
                    <a:pt x="2287" y="207"/>
                  </a:lnTo>
                  <a:close/>
                  <a:moveTo>
                    <a:pt x="130" y="200"/>
                  </a:moveTo>
                  <a:lnTo>
                    <a:pt x="130" y="199"/>
                  </a:lnTo>
                  <a:lnTo>
                    <a:pt x="131" y="199"/>
                  </a:lnTo>
                  <a:lnTo>
                    <a:pt x="130" y="199"/>
                  </a:lnTo>
                  <a:lnTo>
                    <a:pt x="130" y="200"/>
                  </a:lnTo>
                  <a:close/>
                  <a:moveTo>
                    <a:pt x="2350" y="187"/>
                  </a:moveTo>
                  <a:lnTo>
                    <a:pt x="2349" y="186"/>
                  </a:lnTo>
                  <a:lnTo>
                    <a:pt x="2347" y="186"/>
                  </a:lnTo>
                  <a:lnTo>
                    <a:pt x="2349" y="186"/>
                  </a:lnTo>
                  <a:lnTo>
                    <a:pt x="2350" y="186"/>
                  </a:lnTo>
                  <a:lnTo>
                    <a:pt x="2350" y="187"/>
                  </a:lnTo>
                  <a:close/>
                  <a:moveTo>
                    <a:pt x="2627" y="185"/>
                  </a:moveTo>
                  <a:lnTo>
                    <a:pt x="2628" y="185"/>
                  </a:lnTo>
                  <a:lnTo>
                    <a:pt x="2629" y="186"/>
                  </a:lnTo>
                  <a:lnTo>
                    <a:pt x="2630" y="186"/>
                  </a:lnTo>
                  <a:lnTo>
                    <a:pt x="2630" y="187"/>
                  </a:lnTo>
                  <a:lnTo>
                    <a:pt x="2631" y="187"/>
                  </a:lnTo>
                  <a:lnTo>
                    <a:pt x="2630" y="186"/>
                  </a:lnTo>
                  <a:lnTo>
                    <a:pt x="2629" y="186"/>
                  </a:lnTo>
                  <a:lnTo>
                    <a:pt x="2630" y="186"/>
                  </a:lnTo>
                  <a:lnTo>
                    <a:pt x="2631" y="186"/>
                  </a:lnTo>
                  <a:lnTo>
                    <a:pt x="2633" y="186"/>
                  </a:lnTo>
                  <a:lnTo>
                    <a:pt x="2634" y="186"/>
                  </a:lnTo>
                  <a:lnTo>
                    <a:pt x="2635" y="186"/>
                  </a:lnTo>
                  <a:lnTo>
                    <a:pt x="2635" y="187"/>
                  </a:lnTo>
                  <a:lnTo>
                    <a:pt x="2636" y="187"/>
                  </a:lnTo>
                  <a:lnTo>
                    <a:pt x="2635" y="187"/>
                  </a:lnTo>
                  <a:lnTo>
                    <a:pt x="2636" y="188"/>
                  </a:lnTo>
                  <a:lnTo>
                    <a:pt x="2637" y="188"/>
                  </a:lnTo>
                  <a:lnTo>
                    <a:pt x="2636" y="188"/>
                  </a:lnTo>
                  <a:lnTo>
                    <a:pt x="2637" y="188"/>
                  </a:lnTo>
                  <a:lnTo>
                    <a:pt x="2637" y="189"/>
                  </a:lnTo>
                  <a:lnTo>
                    <a:pt x="2636" y="189"/>
                  </a:lnTo>
                  <a:lnTo>
                    <a:pt x="2635" y="189"/>
                  </a:lnTo>
                  <a:lnTo>
                    <a:pt x="2634" y="189"/>
                  </a:lnTo>
                  <a:lnTo>
                    <a:pt x="2630" y="188"/>
                  </a:lnTo>
                  <a:lnTo>
                    <a:pt x="2630" y="187"/>
                  </a:lnTo>
                  <a:lnTo>
                    <a:pt x="2629" y="186"/>
                  </a:lnTo>
                  <a:lnTo>
                    <a:pt x="2628" y="186"/>
                  </a:lnTo>
                  <a:lnTo>
                    <a:pt x="2627" y="186"/>
                  </a:lnTo>
                  <a:lnTo>
                    <a:pt x="2626" y="186"/>
                  </a:lnTo>
                  <a:lnTo>
                    <a:pt x="2624" y="185"/>
                  </a:lnTo>
                  <a:lnTo>
                    <a:pt x="2626" y="185"/>
                  </a:lnTo>
                  <a:lnTo>
                    <a:pt x="2627" y="185"/>
                  </a:lnTo>
                  <a:close/>
                  <a:moveTo>
                    <a:pt x="2242" y="181"/>
                  </a:moveTo>
                  <a:lnTo>
                    <a:pt x="2242" y="180"/>
                  </a:lnTo>
                  <a:lnTo>
                    <a:pt x="2242" y="181"/>
                  </a:lnTo>
                  <a:close/>
                  <a:moveTo>
                    <a:pt x="2461" y="165"/>
                  </a:moveTo>
                  <a:lnTo>
                    <a:pt x="2460" y="166"/>
                  </a:lnTo>
                  <a:lnTo>
                    <a:pt x="2460" y="165"/>
                  </a:lnTo>
                  <a:lnTo>
                    <a:pt x="2461" y="165"/>
                  </a:lnTo>
                  <a:close/>
                  <a:moveTo>
                    <a:pt x="2458" y="165"/>
                  </a:moveTo>
                  <a:lnTo>
                    <a:pt x="2457" y="165"/>
                  </a:lnTo>
                  <a:lnTo>
                    <a:pt x="2457" y="164"/>
                  </a:lnTo>
                  <a:lnTo>
                    <a:pt x="2458" y="164"/>
                  </a:lnTo>
                  <a:lnTo>
                    <a:pt x="2458" y="165"/>
                  </a:lnTo>
                  <a:close/>
                  <a:moveTo>
                    <a:pt x="2428" y="163"/>
                  </a:moveTo>
                  <a:lnTo>
                    <a:pt x="2427" y="163"/>
                  </a:lnTo>
                  <a:lnTo>
                    <a:pt x="2427" y="164"/>
                  </a:lnTo>
                  <a:lnTo>
                    <a:pt x="2425" y="164"/>
                  </a:lnTo>
                  <a:lnTo>
                    <a:pt x="2424" y="164"/>
                  </a:lnTo>
                  <a:lnTo>
                    <a:pt x="2425" y="164"/>
                  </a:lnTo>
                  <a:lnTo>
                    <a:pt x="2425" y="163"/>
                  </a:lnTo>
                  <a:lnTo>
                    <a:pt x="2428" y="163"/>
                  </a:lnTo>
                  <a:lnTo>
                    <a:pt x="2429" y="163"/>
                  </a:lnTo>
                  <a:lnTo>
                    <a:pt x="2431" y="163"/>
                  </a:lnTo>
                  <a:lnTo>
                    <a:pt x="2428" y="163"/>
                  </a:lnTo>
                  <a:close/>
                  <a:moveTo>
                    <a:pt x="2406" y="160"/>
                  </a:moveTo>
                  <a:lnTo>
                    <a:pt x="2402" y="159"/>
                  </a:lnTo>
                  <a:lnTo>
                    <a:pt x="2403" y="159"/>
                  </a:lnTo>
                  <a:lnTo>
                    <a:pt x="2406" y="160"/>
                  </a:lnTo>
                  <a:close/>
                  <a:moveTo>
                    <a:pt x="2410" y="158"/>
                  </a:moveTo>
                  <a:lnTo>
                    <a:pt x="2409" y="158"/>
                  </a:lnTo>
                  <a:lnTo>
                    <a:pt x="2410" y="158"/>
                  </a:lnTo>
                  <a:close/>
                  <a:moveTo>
                    <a:pt x="2591" y="158"/>
                  </a:moveTo>
                  <a:lnTo>
                    <a:pt x="2592" y="158"/>
                  </a:lnTo>
                  <a:lnTo>
                    <a:pt x="2592" y="159"/>
                  </a:lnTo>
                  <a:lnTo>
                    <a:pt x="2591" y="159"/>
                  </a:lnTo>
                  <a:lnTo>
                    <a:pt x="2589" y="158"/>
                  </a:lnTo>
                  <a:lnTo>
                    <a:pt x="2588" y="158"/>
                  </a:lnTo>
                  <a:lnTo>
                    <a:pt x="2589" y="158"/>
                  </a:lnTo>
                  <a:lnTo>
                    <a:pt x="2591" y="158"/>
                  </a:lnTo>
                  <a:close/>
                  <a:moveTo>
                    <a:pt x="2459" y="158"/>
                  </a:moveTo>
                  <a:lnTo>
                    <a:pt x="2457" y="158"/>
                  </a:lnTo>
                  <a:lnTo>
                    <a:pt x="2458" y="158"/>
                  </a:lnTo>
                  <a:lnTo>
                    <a:pt x="2459" y="158"/>
                  </a:lnTo>
                  <a:close/>
                  <a:moveTo>
                    <a:pt x="2411" y="157"/>
                  </a:moveTo>
                  <a:lnTo>
                    <a:pt x="2413" y="157"/>
                  </a:lnTo>
                  <a:lnTo>
                    <a:pt x="2411" y="157"/>
                  </a:lnTo>
                  <a:close/>
                  <a:moveTo>
                    <a:pt x="2465" y="157"/>
                  </a:moveTo>
                  <a:lnTo>
                    <a:pt x="2464" y="157"/>
                  </a:lnTo>
                  <a:lnTo>
                    <a:pt x="2465" y="157"/>
                  </a:lnTo>
                  <a:close/>
                  <a:moveTo>
                    <a:pt x="2470" y="157"/>
                  </a:moveTo>
                  <a:lnTo>
                    <a:pt x="2468" y="157"/>
                  </a:lnTo>
                  <a:lnTo>
                    <a:pt x="2467" y="157"/>
                  </a:lnTo>
                  <a:lnTo>
                    <a:pt x="2466" y="157"/>
                  </a:lnTo>
                  <a:lnTo>
                    <a:pt x="2467" y="157"/>
                  </a:lnTo>
                  <a:lnTo>
                    <a:pt x="2467" y="156"/>
                  </a:lnTo>
                  <a:lnTo>
                    <a:pt x="2468" y="156"/>
                  </a:lnTo>
                  <a:lnTo>
                    <a:pt x="2468" y="157"/>
                  </a:lnTo>
                  <a:lnTo>
                    <a:pt x="2470" y="157"/>
                  </a:lnTo>
                  <a:close/>
                  <a:moveTo>
                    <a:pt x="2414" y="156"/>
                  </a:moveTo>
                  <a:lnTo>
                    <a:pt x="2414" y="157"/>
                  </a:lnTo>
                  <a:lnTo>
                    <a:pt x="2414" y="156"/>
                  </a:lnTo>
                  <a:lnTo>
                    <a:pt x="2415" y="156"/>
                  </a:lnTo>
                  <a:lnTo>
                    <a:pt x="2414" y="156"/>
                  </a:lnTo>
                  <a:close/>
                  <a:moveTo>
                    <a:pt x="2460" y="156"/>
                  </a:moveTo>
                  <a:lnTo>
                    <a:pt x="2459" y="156"/>
                  </a:lnTo>
                  <a:lnTo>
                    <a:pt x="2460" y="156"/>
                  </a:lnTo>
                  <a:close/>
                  <a:moveTo>
                    <a:pt x="2506" y="153"/>
                  </a:moveTo>
                  <a:lnTo>
                    <a:pt x="2505" y="153"/>
                  </a:lnTo>
                  <a:lnTo>
                    <a:pt x="2503" y="152"/>
                  </a:lnTo>
                  <a:lnTo>
                    <a:pt x="2500" y="151"/>
                  </a:lnTo>
                  <a:lnTo>
                    <a:pt x="2505" y="152"/>
                  </a:lnTo>
                  <a:lnTo>
                    <a:pt x="2506" y="153"/>
                  </a:lnTo>
                  <a:close/>
                  <a:moveTo>
                    <a:pt x="2253" y="151"/>
                  </a:moveTo>
                  <a:lnTo>
                    <a:pt x="2250" y="151"/>
                  </a:lnTo>
                  <a:lnTo>
                    <a:pt x="2250" y="150"/>
                  </a:lnTo>
                  <a:lnTo>
                    <a:pt x="2251" y="150"/>
                  </a:lnTo>
                  <a:lnTo>
                    <a:pt x="2252" y="150"/>
                  </a:lnTo>
                  <a:lnTo>
                    <a:pt x="2253" y="151"/>
                  </a:lnTo>
                  <a:close/>
                  <a:moveTo>
                    <a:pt x="2584" y="150"/>
                  </a:moveTo>
                  <a:lnTo>
                    <a:pt x="2585" y="150"/>
                  </a:lnTo>
                  <a:lnTo>
                    <a:pt x="2584" y="151"/>
                  </a:lnTo>
                  <a:lnTo>
                    <a:pt x="2582" y="150"/>
                  </a:lnTo>
                  <a:lnTo>
                    <a:pt x="2581" y="150"/>
                  </a:lnTo>
                  <a:lnTo>
                    <a:pt x="2582" y="150"/>
                  </a:lnTo>
                  <a:lnTo>
                    <a:pt x="2584" y="150"/>
                  </a:lnTo>
                  <a:close/>
                  <a:moveTo>
                    <a:pt x="2415" y="153"/>
                  </a:moveTo>
                  <a:lnTo>
                    <a:pt x="2416" y="153"/>
                  </a:lnTo>
                  <a:lnTo>
                    <a:pt x="2416" y="154"/>
                  </a:lnTo>
                  <a:lnTo>
                    <a:pt x="2415" y="154"/>
                  </a:lnTo>
                  <a:lnTo>
                    <a:pt x="2415" y="156"/>
                  </a:lnTo>
                  <a:lnTo>
                    <a:pt x="2414" y="156"/>
                  </a:lnTo>
                  <a:lnTo>
                    <a:pt x="2415" y="156"/>
                  </a:lnTo>
                  <a:lnTo>
                    <a:pt x="2414" y="154"/>
                  </a:lnTo>
                  <a:lnTo>
                    <a:pt x="2415" y="154"/>
                  </a:lnTo>
                  <a:lnTo>
                    <a:pt x="2415" y="153"/>
                  </a:lnTo>
                  <a:lnTo>
                    <a:pt x="2414" y="153"/>
                  </a:lnTo>
                  <a:lnTo>
                    <a:pt x="2413" y="154"/>
                  </a:lnTo>
                  <a:lnTo>
                    <a:pt x="2411" y="156"/>
                  </a:lnTo>
                  <a:lnTo>
                    <a:pt x="2413" y="156"/>
                  </a:lnTo>
                  <a:lnTo>
                    <a:pt x="2411" y="156"/>
                  </a:lnTo>
                  <a:lnTo>
                    <a:pt x="2411" y="157"/>
                  </a:lnTo>
                  <a:lnTo>
                    <a:pt x="2410" y="157"/>
                  </a:lnTo>
                  <a:lnTo>
                    <a:pt x="2409" y="158"/>
                  </a:lnTo>
                  <a:lnTo>
                    <a:pt x="2408" y="158"/>
                  </a:lnTo>
                  <a:lnTo>
                    <a:pt x="2407" y="158"/>
                  </a:lnTo>
                  <a:lnTo>
                    <a:pt x="2402" y="159"/>
                  </a:lnTo>
                  <a:lnTo>
                    <a:pt x="2401" y="159"/>
                  </a:lnTo>
                  <a:lnTo>
                    <a:pt x="2400" y="159"/>
                  </a:lnTo>
                  <a:lnTo>
                    <a:pt x="2400" y="158"/>
                  </a:lnTo>
                  <a:lnTo>
                    <a:pt x="2399" y="158"/>
                  </a:lnTo>
                  <a:lnTo>
                    <a:pt x="2397" y="158"/>
                  </a:lnTo>
                  <a:lnTo>
                    <a:pt x="2396" y="157"/>
                  </a:lnTo>
                  <a:lnTo>
                    <a:pt x="2395" y="157"/>
                  </a:lnTo>
                  <a:lnTo>
                    <a:pt x="2395" y="156"/>
                  </a:lnTo>
                  <a:lnTo>
                    <a:pt x="2395" y="154"/>
                  </a:lnTo>
                  <a:lnTo>
                    <a:pt x="2395" y="153"/>
                  </a:lnTo>
                  <a:lnTo>
                    <a:pt x="2394" y="153"/>
                  </a:lnTo>
                  <a:lnTo>
                    <a:pt x="2394" y="152"/>
                  </a:lnTo>
                  <a:lnTo>
                    <a:pt x="2394" y="151"/>
                  </a:lnTo>
                  <a:lnTo>
                    <a:pt x="2395" y="151"/>
                  </a:lnTo>
                  <a:lnTo>
                    <a:pt x="2396" y="150"/>
                  </a:lnTo>
                  <a:lnTo>
                    <a:pt x="2399" y="149"/>
                  </a:lnTo>
                  <a:lnTo>
                    <a:pt x="2401" y="149"/>
                  </a:lnTo>
                  <a:lnTo>
                    <a:pt x="2403" y="149"/>
                  </a:lnTo>
                  <a:lnTo>
                    <a:pt x="2408" y="150"/>
                  </a:lnTo>
                  <a:lnTo>
                    <a:pt x="2411" y="151"/>
                  </a:lnTo>
                  <a:lnTo>
                    <a:pt x="2414" y="152"/>
                  </a:lnTo>
                  <a:lnTo>
                    <a:pt x="2415" y="153"/>
                  </a:lnTo>
                  <a:close/>
                  <a:moveTo>
                    <a:pt x="3532" y="149"/>
                  </a:moveTo>
                  <a:lnTo>
                    <a:pt x="3533" y="149"/>
                  </a:lnTo>
                  <a:lnTo>
                    <a:pt x="3534" y="150"/>
                  </a:lnTo>
                  <a:lnTo>
                    <a:pt x="3533" y="150"/>
                  </a:lnTo>
                  <a:lnTo>
                    <a:pt x="3534" y="150"/>
                  </a:lnTo>
                  <a:lnTo>
                    <a:pt x="3536" y="150"/>
                  </a:lnTo>
                  <a:lnTo>
                    <a:pt x="3536" y="151"/>
                  </a:lnTo>
                  <a:lnTo>
                    <a:pt x="3537" y="151"/>
                  </a:lnTo>
                  <a:lnTo>
                    <a:pt x="3537" y="152"/>
                  </a:lnTo>
                  <a:lnTo>
                    <a:pt x="3538" y="152"/>
                  </a:lnTo>
                  <a:lnTo>
                    <a:pt x="3539" y="152"/>
                  </a:lnTo>
                  <a:lnTo>
                    <a:pt x="3539" y="153"/>
                  </a:lnTo>
                  <a:lnTo>
                    <a:pt x="3540" y="153"/>
                  </a:lnTo>
                  <a:lnTo>
                    <a:pt x="3540" y="154"/>
                  </a:lnTo>
                  <a:lnTo>
                    <a:pt x="3541" y="154"/>
                  </a:lnTo>
                  <a:lnTo>
                    <a:pt x="3543" y="156"/>
                  </a:lnTo>
                  <a:lnTo>
                    <a:pt x="3544" y="156"/>
                  </a:lnTo>
                  <a:lnTo>
                    <a:pt x="3545" y="157"/>
                  </a:lnTo>
                  <a:lnTo>
                    <a:pt x="3544" y="156"/>
                  </a:lnTo>
                  <a:lnTo>
                    <a:pt x="3543" y="156"/>
                  </a:lnTo>
                  <a:lnTo>
                    <a:pt x="3541" y="154"/>
                  </a:lnTo>
                  <a:lnTo>
                    <a:pt x="3540" y="154"/>
                  </a:lnTo>
                  <a:lnTo>
                    <a:pt x="3538" y="154"/>
                  </a:lnTo>
                  <a:lnTo>
                    <a:pt x="3538" y="153"/>
                  </a:lnTo>
                  <a:lnTo>
                    <a:pt x="3537" y="153"/>
                  </a:lnTo>
                  <a:lnTo>
                    <a:pt x="3536" y="152"/>
                  </a:lnTo>
                  <a:lnTo>
                    <a:pt x="3534" y="152"/>
                  </a:lnTo>
                  <a:lnTo>
                    <a:pt x="3534" y="151"/>
                  </a:lnTo>
                  <a:lnTo>
                    <a:pt x="3533" y="151"/>
                  </a:lnTo>
                  <a:lnTo>
                    <a:pt x="3532" y="150"/>
                  </a:lnTo>
                  <a:lnTo>
                    <a:pt x="3531" y="150"/>
                  </a:lnTo>
                  <a:lnTo>
                    <a:pt x="3531" y="149"/>
                  </a:lnTo>
                  <a:lnTo>
                    <a:pt x="3532" y="149"/>
                  </a:lnTo>
                  <a:close/>
                  <a:moveTo>
                    <a:pt x="2585" y="150"/>
                  </a:moveTo>
                  <a:lnTo>
                    <a:pt x="2582" y="150"/>
                  </a:lnTo>
                  <a:lnTo>
                    <a:pt x="2582" y="149"/>
                  </a:lnTo>
                  <a:lnTo>
                    <a:pt x="2582" y="147"/>
                  </a:lnTo>
                  <a:lnTo>
                    <a:pt x="2584" y="147"/>
                  </a:lnTo>
                  <a:lnTo>
                    <a:pt x="2585" y="147"/>
                  </a:lnTo>
                  <a:lnTo>
                    <a:pt x="2585" y="149"/>
                  </a:lnTo>
                  <a:lnTo>
                    <a:pt x="2585" y="150"/>
                  </a:lnTo>
                  <a:close/>
                  <a:moveTo>
                    <a:pt x="3534" y="150"/>
                  </a:moveTo>
                  <a:lnTo>
                    <a:pt x="3533" y="149"/>
                  </a:lnTo>
                  <a:lnTo>
                    <a:pt x="3532" y="149"/>
                  </a:lnTo>
                  <a:lnTo>
                    <a:pt x="3532" y="147"/>
                  </a:lnTo>
                  <a:lnTo>
                    <a:pt x="3531" y="147"/>
                  </a:lnTo>
                  <a:lnTo>
                    <a:pt x="3532" y="147"/>
                  </a:lnTo>
                  <a:lnTo>
                    <a:pt x="3531" y="147"/>
                  </a:lnTo>
                  <a:lnTo>
                    <a:pt x="3531" y="146"/>
                  </a:lnTo>
                  <a:lnTo>
                    <a:pt x="3532" y="147"/>
                  </a:lnTo>
                  <a:lnTo>
                    <a:pt x="3533" y="147"/>
                  </a:lnTo>
                  <a:lnTo>
                    <a:pt x="3534" y="147"/>
                  </a:lnTo>
                  <a:lnTo>
                    <a:pt x="3534" y="149"/>
                  </a:lnTo>
                  <a:lnTo>
                    <a:pt x="3536" y="149"/>
                  </a:lnTo>
                  <a:lnTo>
                    <a:pt x="3537" y="150"/>
                  </a:lnTo>
                  <a:lnTo>
                    <a:pt x="3536" y="150"/>
                  </a:lnTo>
                  <a:lnTo>
                    <a:pt x="3534" y="150"/>
                  </a:lnTo>
                  <a:close/>
                  <a:moveTo>
                    <a:pt x="3537" y="149"/>
                  </a:moveTo>
                  <a:lnTo>
                    <a:pt x="3536" y="149"/>
                  </a:lnTo>
                  <a:lnTo>
                    <a:pt x="3536" y="147"/>
                  </a:lnTo>
                  <a:lnTo>
                    <a:pt x="3534" y="147"/>
                  </a:lnTo>
                  <a:lnTo>
                    <a:pt x="3533" y="147"/>
                  </a:lnTo>
                  <a:lnTo>
                    <a:pt x="3534" y="146"/>
                  </a:lnTo>
                  <a:lnTo>
                    <a:pt x="3536" y="146"/>
                  </a:lnTo>
                  <a:lnTo>
                    <a:pt x="3536" y="147"/>
                  </a:lnTo>
                  <a:lnTo>
                    <a:pt x="3537" y="147"/>
                  </a:lnTo>
                  <a:lnTo>
                    <a:pt x="3537" y="149"/>
                  </a:lnTo>
                  <a:close/>
                  <a:moveTo>
                    <a:pt x="3617" y="145"/>
                  </a:moveTo>
                  <a:lnTo>
                    <a:pt x="3617" y="146"/>
                  </a:lnTo>
                  <a:lnTo>
                    <a:pt x="3616" y="146"/>
                  </a:lnTo>
                  <a:lnTo>
                    <a:pt x="3615" y="146"/>
                  </a:lnTo>
                  <a:lnTo>
                    <a:pt x="3615" y="145"/>
                  </a:lnTo>
                  <a:lnTo>
                    <a:pt x="3616" y="145"/>
                  </a:lnTo>
                  <a:lnTo>
                    <a:pt x="3617" y="145"/>
                  </a:lnTo>
                  <a:close/>
                  <a:moveTo>
                    <a:pt x="3609" y="145"/>
                  </a:moveTo>
                  <a:lnTo>
                    <a:pt x="3608" y="145"/>
                  </a:lnTo>
                  <a:lnTo>
                    <a:pt x="3608" y="146"/>
                  </a:lnTo>
                  <a:lnTo>
                    <a:pt x="3609" y="146"/>
                  </a:lnTo>
                  <a:lnTo>
                    <a:pt x="3610" y="146"/>
                  </a:lnTo>
                  <a:lnTo>
                    <a:pt x="3610" y="147"/>
                  </a:lnTo>
                  <a:lnTo>
                    <a:pt x="3609" y="147"/>
                  </a:lnTo>
                  <a:lnTo>
                    <a:pt x="3608" y="147"/>
                  </a:lnTo>
                  <a:lnTo>
                    <a:pt x="3602" y="147"/>
                  </a:lnTo>
                  <a:lnTo>
                    <a:pt x="3597" y="146"/>
                  </a:lnTo>
                  <a:lnTo>
                    <a:pt x="3596" y="145"/>
                  </a:lnTo>
                  <a:lnTo>
                    <a:pt x="3595" y="145"/>
                  </a:lnTo>
                  <a:lnTo>
                    <a:pt x="3594" y="145"/>
                  </a:lnTo>
                  <a:lnTo>
                    <a:pt x="3593" y="145"/>
                  </a:lnTo>
                  <a:lnTo>
                    <a:pt x="3591" y="145"/>
                  </a:lnTo>
                  <a:lnTo>
                    <a:pt x="3590" y="144"/>
                  </a:lnTo>
                  <a:lnTo>
                    <a:pt x="3590" y="143"/>
                  </a:lnTo>
                  <a:lnTo>
                    <a:pt x="3591" y="142"/>
                  </a:lnTo>
                  <a:lnTo>
                    <a:pt x="3593" y="142"/>
                  </a:lnTo>
                  <a:lnTo>
                    <a:pt x="3596" y="143"/>
                  </a:lnTo>
                  <a:lnTo>
                    <a:pt x="3597" y="143"/>
                  </a:lnTo>
                  <a:lnTo>
                    <a:pt x="3598" y="143"/>
                  </a:lnTo>
                  <a:lnTo>
                    <a:pt x="3600" y="143"/>
                  </a:lnTo>
                  <a:lnTo>
                    <a:pt x="3604" y="143"/>
                  </a:lnTo>
                  <a:lnTo>
                    <a:pt x="3604" y="144"/>
                  </a:lnTo>
                  <a:lnTo>
                    <a:pt x="3605" y="144"/>
                  </a:lnTo>
                  <a:lnTo>
                    <a:pt x="3607" y="144"/>
                  </a:lnTo>
                  <a:lnTo>
                    <a:pt x="3608" y="144"/>
                  </a:lnTo>
                  <a:lnTo>
                    <a:pt x="3608" y="145"/>
                  </a:lnTo>
                  <a:lnTo>
                    <a:pt x="3609" y="145"/>
                  </a:lnTo>
                  <a:close/>
                  <a:moveTo>
                    <a:pt x="2499" y="137"/>
                  </a:moveTo>
                  <a:lnTo>
                    <a:pt x="2500" y="138"/>
                  </a:lnTo>
                  <a:lnTo>
                    <a:pt x="2501" y="138"/>
                  </a:lnTo>
                  <a:lnTo>
                    <a:pt x="2501" y="139"/>
                  </a:lnTo>
                  <a:lnTo>
                    <a:pt x="2502" y="139"/>
                  </a:lnTo>
                  <a:lnTo>
                    <a:pt x="2503" y="139"/>
                  </a:lnTo>
                  <a:lnTo>
                    <a:pt x="2505" y="140"/>
                  </a:lnTo>
                  <a:lnTo>
                    <a:pt x="2506" y="140"/>
                  </a:lnTo>
                  <a:lnTo>
                    <a:pt x="2507" y="140"/>
                  </a:lnTo>
                  <a:lnTo>
                    <a:pt x="2508" y="142"/>
                  </a:lnTo>
                  <a:lnTo>
                    <a:pt x="2512" y="143"/>
                  </a:lnTo>
                  <a:lnTo>
                    <a:pt x="2513" y="143"/>
                  </a:lnTo>
                  <a:lnTo>
                    <a:pt x="2513" y="144"/>
                  </a:lnTo>
                  <a:lnTo>
                    <a:pt x="2514" y="144"/>
                  </a:lnTo>
                  <a:lnTo>
                    <a:pt x="2514" y="145"/>
                  </a:lnTo>
                  <a:lnTo>
                    <a:pt x="2514" y="146"/>
                  </a:lnTo>
                  <a:lnTo>
                    <a:pt x="2513" y="145"/>
                  </a:lnTo>
                  <a:lnTo>
                    <a:pt x="2513" y="146"/>
                  </a:lnTo>
                  <a:lnTo>
                    <a:pt x="2512" y="146"/>
                  </a:lnTo>
                  <a:lnTo>
                    <a:pt x="2510" y="146"/>
                  </a:lnTo>
                  <a:lnTo>
                    <a:pt x="2509" y="146"/>
                  </a:lnTo>
                  <a:lnTo>
                    <a:pt x="2508" y="146"/>
                  </a:lnTo>
                  <a:lnTo>
                    <a:pt x="2507" y="146"/>
                  </a:lnTo>
                  <a:lnTo>
                    <a:pt x="2505" y="146"/>
                  </a:lnTo>
                  <a:lnTo>
                    <a:pt x="2506" y="145"/>
                  </a:lnTo>
                  <a:lnTo>
                    <a:pt x="2505" y="145"/>
                  </a:lnTo>
                  <a:lnTo>
                    <a:pt x="2506" y="145"/>
                  </a:lnTo>
                  <a:lnTo>
                    <a:pt x="2505" y="145"/>
                  </a:lnTo>
                  <a:lnTo>
                    <a:pt x="2505" y="144"/>
                  </a:lnTo>
                  <a:lnTo>
                    <a:pt x="2503" y="144"/>
                  </a:lnTo>
                  <a:lnTo>
                    <a:pt x="2502" y="144"/>
                  </a:lnTo>
                  <a:lnTo>
                    <a:pt x="2501" y="144"/>
                  </a:lnTo>
                  <a:lnTo>
                    <a:pt x="2500" y="143"/>
                  </a:lnTo>
                  <a:lnTo>
                    <a:pt x="2499" y="143"/>
                  </a:lnTo>
                  <a:lnTo>
                    <a:pt x="2498" y="143"/>
                  </a:lnTo>
                  <a:lnTo>
                    <a:pt x="2499" y="143"/>
                  </a:lnTo>
                  <a:lnTo>
                    <a:pt x="2499" y="144"/>
                  </a:lnTo>
                  <a:lnTo>
                    <a:pt x="2500" y="144"/>
                  </a:lnTo>
                  <a:lnTo>
                    <a:pt x="2499" y="144"/>
                  </a:lnTo>
                  <a:lnTo>
                    <a:pt x="2498" y="144"/>
                  </a:lnTo>
                  <a:lnTo>
                    <a:pt x="2498" y="143"/>
                  </a:lnTo>
                  <a:lnTo>
                    <a:pt x="2496" y="143"/>
                  </a:lnTo>
                  <a:lnTo>
                    <a:pt x="2494" y="142"/>
                  </a:lnTo>
                  <a:lnTo>
                    <a:pt x="2493" y="142"/>
                  </a:lnTo>
                  <a:lnTo>
                    <a:pt x="2493" y="140"/>
                  </a:lnTo>
                  <a:lnTo>
                    <a:pt x="2492" y="140"/>
                  </a:lnTo>
                  <a:lnTo>
                    <a:pt x="2493" y="140"/>
                  </a:lnTo>
                  <a:lnTo>
                    <a:pt x="2492" y="140"/>
                  </a:lnTo>
                  <a:lnTo>
                    <a:pt x="2492" y="139"/>
                  </a:lnTo>
                  <a:lnTo>
                    <a:pt x="2491" y="139"/>
                  </a:lnTo>
                  <a:lnTo>
                    <a:pt x="2489" y="138"/>
                  </a:lnTo>
                  <a:lnTo>
                    <a:pt x="2491" y="138"/>
                  </a:lnTo>
                  <a:lnTo>
                    <a:pt x="2494" y="139"/>
                  </a:lnTo>
                  <a:lnTo>
                    <a:pt x="2493" y="138"/>
                  </a:lnTo>
                  <a:lnTo>
                    <a:pt x="2492" y="138"/>
                  </a:lnTo>
                  <a:lnTo>
                    <a:pt x="2491" y="138"/>
                  </a:lnTo>
                  <a:lnTo>
                    <a:pt x="2491" y="137"/>
                  </a:lnTo>
                  <a:lnTo>
                    <a:pt x="2491" y="138"/>
                  </a:lnTo>
                  <a:lnTo>
                    <a:pt x="2492" y="138"/>
                  </a:lnTo>
                  <a:lnTo>
                    <a:pt x="2492" y="137"/>
                  </a:lnTo>
                  <a:lnTo>
                    <a:pt x="2493" y="137"/>
                  </a:lnTo>
                  <a:lnTo>
                    <a:pt x="2493" y="136"/>
                  </a:lnTo>
                  <a:lnTo>
                    <a:pt x="2494" y="136"/>
                  </a:lnTo>
                  <a:lnTo>
                    <a:pt x="2495" y="136"/>
                  </a:lnTo>
                  <a:lnTo>
                    <a:pt x="2495" y="137"/>
                  </a:lnTo>
                  <a:lnTo>
                    <a:pt x="2498" y="137"/>
                  </a:lnTo>
                  <a:lnTo>
                    <a:pt x="2499" y="137"/>
                  </a:lnTo>
                  <a:close/>
                  <a:moveTo>
                    <a:pt x="2573" y="137"/>
                  </a:moveTo>
                  <a:lnTo>
                    <a:pt x="2572" y="137"/>
                  </a:lnTo>
                  <a:lnTo>
                    <a:pt x="2570" y="136"/>
                  </a:lnTo>
                  <a:lnTo>
                    <a:pt x="2570" y="135"/>
                  </a:lnTo>
                  <a:lnTo>
                    <a:pt x="2570" y="136"/>
                  </a:lnTo>
                  <a:lnTo>
                    <a:pt x="2571" y="136"/>
                  </a:lnTo>
                  <a:lnTo>
                    <a:pt x="2572" y="136"/>
                  </a:lnTo>
                  <a:lnTo>
                    <a:pt x="2572" y="137"/>
                  </a:lnTo>
                  <a:lnTo>
                    <a:pt x="2573" y="137"/>
                  </a:lnTo>
                  <a:close/>
                  <a:moveTo>
                    <a:pt x="2474" y="135"/>
                  </a:moveTo>
                  <a:lnTo>
                    <a:pt x="2475" y="135"/>
                  </a:lnTo>
                  <a:lnTo>
                    <a:pt x="2475" y="136"/>
                  </a:lnTo>
                  <a:lnTo>
                    <a:pt x="2474" y="135"/>
                  </a:lnTo>
                  <a:lnTo>
                    <a:pt x="2475" y="136"/>
                  </a:lnTo>
                  <a:lnTo>
                    <a:pt x="2474" y="136"/>
                  </a:lnTo>
                  <a:lnTo>
                    <a:pt x="2473" y="135"/>
                  </a:lnTo>
                  <a:lnTo>
                    <a:pt x="2472" y="135"/>
                  </a:lnTo>
                  <a:lnTo>
                    <a:pt x="2473" y="135"/>
                  </a:lnTo>
                  <a:lnTo>
                    <a:pt x="2474" y="135"/>
                  </a:lnTo>
                  <a:close/>
                  <a:moveTo>
                    <a:pt x="3520" y="133"/>
                  </a:moveTo>
                  <a:lnTo>
                    <a:pt x="3522" y="133"/>
                  </a:lnTo>
                  <a:lnTo>
                    <a:pt x="3520" y="133"/>
                  </a:lnTo>
                  <a:lnTo>
                    <a:pt x="3519" y="133"/>
                  </a:lnTo>
                  <a:lnTo>
                    <a:pt x="3520" y="133"/>
                  </a:lnTo>
                  <a:close/>
                  <a:moveTo>
                    <a:pt x="2570" y="136"/>
                  </a:moveTo>
                  <a:lnTo>
                    <a:pt x="2569" y="136"/>
                  </a:lnTo>
                  <a:lnTo>
                    <a:pt x="2569" y="135"/>
                  </a:lnTo>
                  <a:lnTo>
                    <a:pt x="2567" y="135"/>
                  </a:lnTo>
                  <a:lnTo>
                    <a:pt x="2566" y="133"/>
                  </a:lnTo>
                  <a:lnTo>
                    <a:pt x="2566" y="132"/>
                  </a:lnTo>
                  <a:lnTo>
                    <a:pt x="2565" y="132"/>
                  </a:lnTo>
                  <a:lnTo>
                    <a:pt x="2565" y="131"/>
                  </a:lnTo>
                  <a:lnTo>
                    <a:pt x="2566" y="132"/>
                  </a:lnTo>
                  <a:lnTo>
                    <a:pt x="2566" y="133"/>
                  </a:lnTo>
                  <a:lnTo>
                    <a:pt x="2567" y="133"/>
                  </a:lnTo>
                  <a:lnTo>
                    <a:pt x="2569" y="135"/>
                  </a:lnTo>
                  <a:lnTo>
                    <a:pt x="2570" y="136"/>
                  </a:lnTo>
                  <a:close/>
                  <a:moveTo>
                    <a:pt x="2736" y="137"/>
                  </a:moveTo>
                  <a:lnTo>
                    <a:pt x="2735" y="137"/>
                  </a:lnTo>
                  <a:lnTo>
                    <a:pt x="2734" y="136"/>
                  </a:lnTo>
                  <a:lnTo>
                    <a:pt x="2734" y="135"/>
                  </a:lnTo>
                  <a:lnTo>
                    <a:pt x="2733" y="135"/>
                  </a:lnTo>
                  <a:lnTo>
                    <a:pt x="2733" y="133"/>
                  </a:lnTo>
                  <a:lnTo>
                    <a:pt x="2733" y="132"/>
                  </a:lnTo>
                  <a:lnTo>
                    <a:pt x="2733" y="131"/>
                  </a:lnTo>
                  <a:lnTo>
                    <a:pt x="2734" y="132"/>
                  </a:lnTo>
                  <a:lnTo>
                    <a:pt x="2735" y="132"/>
                  </a:lnTo>
                  <a:lnTo>
                    <a:pt x="2735" y="133"/>
                  </a:lnTo>
                  <a:lnTo>
                    <a:pt x="2735" y="135"/>
                  </a:lnTo>
                  <a:lnTo>
                    <a:pt x="2735" y="136"/>
                  </a:lnTo>
                  <a:lnTo>
                    <a:pt x="2736" y="136"/>
                  </a:lnTo>
                  <a:lnTo>
                    <a:pt x="2736" y="137"/>
                  </a:lnTo>
                  <a:close/>
                  <a:moveTo>
                    <a:pt x="3510" y="131"/>
                  </a:moveTo>
                  <a:lnTo>
                    <a:pt x="3511" y="131"/>
                  </a:lnTo>
                  <a:lnTo>
                    <a:pt x="3511" y="132"/>
                  </a:lnTo>
                  <a:lnTo>
                    <a:pt x="3512" y="132"/>
                  </a:lnTo>
                  <a:lnTo>
                    <a:pt x="3511" y="132"/>
                  </a:lnTo>
                  <a:lnTo>
                    <a:pt x="3510" y="132"/>
                  </a:lnTo>
                  <a:lnTo>
                    <a:pt x="3509" y="131"/>
                  </a:lnTo>
                  <a:lnTo>
                    <a:pt x="3508" y="131"/>
                  </a:lnTo>
                  <a:lnTo>
                    <a:pt x="3509" y="131"/>
                  </a:lnTo>
                  <a:lnTo>
                    <a:pt x="3510" y="131"/>
                  </a:lnTo>
                  <a:close/>
                  <a:moveTo>
                    <a:pt x="3499" y="130"/>
                  </a:moveTo>
                  <a:lnTo>
                    <a:pt x="3499" y="131"/>
                  </a:lnTo>
                  <a:lnTo>
                    <a:pt x="3501" y="131"/>
                  </a:lnTo>
                  <a:lnTo>
                    <a:pt x="3502" y="131"/>
                  </a:lnTo>
                  <a:lnTo>
                    <a:pt x="3501" y="131"/>
                  </a:lnTo>
                  <a:lnTo>
                    <a:pt x="3499" y="131"/>
                  </a:lnTo>
                  <a:lnTo>
                    <a:pt x="3498" y="131"/>
                  </a:lnTo>
                  <a:lnTo>
                    <a:pt x="3498" y="130"/>
                  </a:lnTo>
                  <a:lnTo>
                    <a:pt x="3497" y="130"/>
                  </a:lnTo>
                  <a:lnTo>
                    <a:pt x="3497" y="131"/>
                  </a:lnTo>
                  <a:lnTo>
                    <a:pt x="3496" y="130"/>
                  </a:lnTo>
                  <a:lnTo>
                    <a:pt x="3497" y="130"/>
                  </a:lnTo>
                  <a:lnTo>
                    <a:pt x="3498" y="130"/>
                  </a:lnTo>
                  <a:lnTo>
                    <a:pt x="3499" y="130"/>
                  </a:lnTo>
                  <a:close/>
                  <a:moveTo>
                    <a:pt x="2566" y="131"/>
                  </a:moveTo>
                  <a:lnTo>
                    <a:pt x="2565" y="131"/>
                  </a:lnTo>
                  <a:lnTo>
                    <a:pt x="2565" y="130"/>
                  </a:lnTo>
                  <a:lnTo>
                    <a:pt x="2565" y="129"/>
                  </a:lnTo>
                  <a:lnTo>
                    <a:pt x="2566" y="129"/>
                  </a:lnTo>
                  <a:lnTo>
                    <a:pt x="2566" y="130"/>
                  </a:lnTo>
                  <a:lnTo>
                    <a:pt x="2566" y="131"/>
                  </a:lnTo>
                  <a:close/>
                  <a:moveTo>
                    <a:pt x="2431" y="124"/>
                  </a:moveTo>
                  <a:lnTo>
                    <a:pt x="2432" y="125"/>
                  </a:lnTo>
                  <a:lnTo>
                    <a:pt x="2431" y="125"/>
                  </a:lnTo>
                  <a:lnTo>
                    <a:pt x="2431" y="124"/>
                  </a:lnTo>
                  <a:lnTo>
                    <a:pt x="2430" y="124"/>
                  </a:lnTo>
                  <a:lnTo>
                    <a:pt x="2431" y="124"/>
                  </a:lnTo>
                  <a:close/>
                  <a:moveTo>
                    <a:pt x="2425" y="124"/>
                  </a:moveTo>
                  <a:lnTo>
                    <a:pt x="2428" y="124"/>
                  </a:lnTo>
                  <a:lnTo>
                    <a:pt x="2429" y="125"/>
                  </a:lnTo>
                  <a:lnTo>
                    <a:pt x="2428" y="125"/>
                  </a:lnTo>
                  <a:lnTo>
                    <a:pt x="2428" y="124"/>
                  </a:lnTo>
                  <a:lnTo>
                    <a:pt x="2427" y="124"/>
                  </a:lnTo>
                  <a:lnTo>
                    <a:pt x="2425" y="124"/>
                  </a:lnTo>
                  <a:lnTo>
                    <a:pt x="2427" y="124"/>
                  </a:lnTo>
                  <a:lnTo>
                    <a:pt x="2428" y="124"/>
                  </a:lnTo>
                  <a:lnTo>
                    <a:pt x="2428" y="125"/>
                  </a:lnTo>
                  <a:lnTo>
                    <a:pt x="2427" y="125"/>
                  </a:lnTo>
                  <a:lnTo>
                    <a:pt x="2430" y="126"/>
                  </a:lnTo>
                  <a:lnTo>
                    <a:pt x="2431" y="125"/>
                  </a:lnTo>
                  <a:lnTo>
                    <a:pt x="2430" y="125"/>
                  </a:lnTo>
                  <a:lnTo>
                    <a:pt x="2431" y="125"/>
                  </a:lnTo>
                  <a:lnTo>
                    <a:pt x="2431" y="126"/>
                  </a:lnTo>
                  <a:lnTo>
                    <a:pt x="2432" y="126"/>
                  </a:lnTo>
                  <a:lnTo>
                    <a:pt x="2431" y="128"/>
                  </a:lnTo>
                  <a:lnTo>
                    <a:pt x="2431" y="129"/>
                  </a:lnTo>
                  <a:lnTo>
                    <a:pt x="2432" y="129"/>
                  </a:lnTo>
                  <a:lnTo>
                    <a:pt x="2431" y="130"/>
                  </a:lnTo>
                  <a:lnTo>
                    <a:pt x="2431" y="129"/>
                  </a:lnTo>
                  <a:lnTo>
                    <a:pt x="2430" y="129"/>
                  </a:lnTo>
                  <a:lnTo>
                    <a:pt x="2430" y="128"/>
                  </a:lnTo>
                  <a:lnTo>
                    <a:pt x="2428" y="128"/>
                  </a:lnTo>
                  <a:lnTo>
                    <a:pt x="2428" y="126"/>
                  </a:lnTo>
                  <a:lnTo>
                    <a:pt x="2427" y="126"/>
                  </a:lnTo>
                  <a:lnTo>
                    <a:pt x="2425" y="126"/>
                  </a:lnTo>
                  <a:lnTo>
                    <a:pt x="2425" y="125"/>
                  </a:lnTo>
                  <a:lnTo>
                    <a:pt x="2424" y="125"/>
                  </a:lnTo>
                  <a:lnTo>
                    <a:pt x="2424" y="126"/>
                  </a:lnTo>
                  <a:lnTo>
                    <a:pt x="2423" y="125"/>
                  </a:lnTo>
                  <a:lnTo>
                    <a:pt x="2422" y="125"/>
                  </a:lnTo>
                  <a:lnTo>
                    <a:pt x="2421" y="125"/>
                  </a:lnTo>
                  <a:lnTo>
                    <a:pt x="2421" y="124"/>
                  </a:lnTo>
                  <a:lnTo>
                    <a:pt x="2422" y="124"/>
                  </a:lnTo>
                  <a:lnTo>
                    <a:pt x="2423" y="124"/>
                  </a:lnTo>
                  <a:lnTo>
                    <a:pt x="2424" y="124"/>
                  </a:lnTo>
                  <a:lnTo>
                    <a:pt x="2425" y="124"/>
                  </a:lnTo>
                  <a:close/>
                  <a:moveTo>
                    <a:pt x="175" y="124"/>
                  </a:moveTo>
                  <a:lnTo>
                    <a:pt x="176" y="124"/>
                  </a:lnTo>
                  <a:lnTo>
                    <a:pt x="175" y="124"/>
                  </a:lnTo>
                  <a:close/>
                  <a:moveTo>
                    <a:pt x="3261" y="122"/>
                  </a:moveTo>
                  <a:lnTo>
                    <a:pt x="3262" y="122"/>
                  </a:lnTo>
                  <a:lnTo>
                    <a:pt x="3263" y="122"/>
                  </a:lnTo>
                  <a:lnTo>
                    <a:pt x="3263" y="123"/>
                  </a:lnTo>
                  <a:lnTo>
                    <a:pt x="3262" y="123"/>
                  </a:lnTo>
                  <a:lnTo>
                    <a:pt x="3261" y="123"/>
                  </a:lnTo>
                  <a:lnTo>
                    <a:pt x="3260" y="123"/>
                  </a:lnTo>
                  <a:lnTo>
                    <a:pt x="3259" y="123"/>
                  </a:lnTo>
                  <a:lnTo>
                    <a:pt x="3257" y="123"/>
                  </a:lnTo>
                  <a:lnTo>
                    <a:pt x="3256" y="123"/>
                  </a:lnTo>
                  <a:lnTo>
                    <a:pt x="3257" y="123"/>
                  </a:lnTo>
                  <a:lnTo>
                    <a:pt x="3259" y="123"/>
                  </a:lnTo>
                  <a:lnTo>
                    <a:pt x="3254" y="122"/>
                  </a:lnTo>
                  <a:lnTo>
                    <a:pt x="3255" y="122"/>
                  </a:lnTo>
                  <a:lnTo>
                    <a:pt x="3257" y="122"/>
                  </a:lnTo>
                  <a:lnTo>
                    <a:pt x="3259" y="122"/>
                  </a:lnTo>
                  <a:lnTo>
                    <a:pt x="3260" y="122"/>
                  </a:lnTo>
                  <a:lnTo>
                    <a:pt x="3261" y="122"/>
                  </a:lnTo>
                  <a:close/>
                  <a:moveTo>
                    <a:pt x="2664" y="112"/>
                  </a:moveTo>
                  <a:lnTo>
                    <a:pt x="2662" y="112"/>
                  </a:lnTo>
                  <a:lnTo>
                    <a:pt x="2658" y="112"/>
                  </a:lnTo>
                  <a:lnTo>
                    <a:pt x="2657" y="112"/>
                  </a:lnTo>
                  <a:lnTo>
                    <a:pt x="2656" y="112"/>
                  </a:lnTo>
                  <a:lnTo>
                    <a:pt x="2655" y="112"/>
                  </a:lnTo>
                  <a:lnTo>
                    <a:pt x="2655" y="111"/>
                  </a:lnTo>
                  <a:lnTo>
                    <a:pt x="2657" y="110"/>
                  </a:lnTo>
                  <a:lnTo>
                    <a:pt x="2657" y="109"/>
                  </a:lnTo>
                  <a:lnTo>
                    <a:pt x="2658" y="109"/>
                  </a:lnTo>
                  <a:lnTo>
                    <a:pt x="2658" y="108"/>
                  </a:lnTo>
                  <a:lnTo>
                    <a:pt x="2660" y="108"/>
                  </a:lnTo>
                  <a:lnTo>
                    <a:pt x="2663" y="109"/>
                  </a:lnTo>
                  <a:lnTo>
                    <a:pt x="2664" y="109"/>
                  </a:lnTo>
                  <a:lnTo>
                    <a:pt x="2665" y="109"/>
                  </a:lnTo>
                  <a:lnTo>
                    <a:pt x="2666" y="109"/>
                  </a:lnTo>
                  <a:lnTo>
                    <a:pt x="2667" y="109"/>
                  </a:lnTo>
                  <a:lnTo>
                    <a:pt x="2667" y="110"/>
                  </a:lnTo>
                  <a:lnTo>
                    <a:pt x="2666" y="110"/>
                  </a:lnTo>
                  <a:lnTo>
                    <a:pt x="2665" y="111"/>
                  </a:lnTo>
                  <a:lnTo>
                    <a:pt x="2664" y="111"/>
                  </a:lnTo>
                  <a:lnTo>
                    <a:pt x="2664" y="112"/>
                  </a:lnTo>
                  <a:close/>
                  <a:moveTo>
                    <a:pt x="3156" y="108"/>
                  </a:moveTo>
                  <a:lnTo>
                    <a:pt x="3157" y="109"/>
                  </a:lnTo>
                  <a:lnTo>
                    <a:pt x="3156" y="109"/>
                  </a:lnTo>
                  <a:lnTo>
                    <a:pt x="3155" y="109"/>
                  </a:lnTo>
                  <a:lnTo>
                    <a:pt x="3154" y="109"/>
                  </a:lnTo>
                  <a:lnTo>
                    <a:pt x="3153" y="109"/>
                  </a:lnTo>
                  <a:lnTo>
                    <a:pt x="3152" y="109"/>
                  </a:lnTo>
                  <a:lnTo>
                    <a:pt x="3148" y="108"/>
                  </a:lnTo>
                  <a:lnTo>
                    <a:pt x="3150" y="108"/>
                  </a:lnTo>
                  <a:lnTo>
                    <a:pt x="3153" y="108"/>
                  </a:lnTo>
                  <a:lnTo>
                    <a:pt x="3155" y="108"/>
                  </a:lnTo>
                  <a:lnTo>
                    <a:pt x="3156" y="108"/>
                  </a:lnTo>
                  <a:close/>
                  <a:moveTo>
                    <a:pt x="3157" y="107"/>
                  </a:moveTo>
                  <a:lnTo>
                    <a:pt x="3155" y="107"/>
                  </a:lnTo>
                  <a:lnTo>
                    <a:pt x="3152" y="105"/>
                  </a:lnTo>
                  <a:lnTo>
                    <a:pt x="3147" y="105"/>
                  </a:lnTo>
                  <a:lnTo>
                    <a:pt x="3148" y="105"/>
                  </a:lnTo>
                  <a:lnTo>
                    <a:pt x="3148" y="104"/>
                  </a:lnTo>
                  <a:lnTo>
                    <a:pt x="3150" y="104"/>
                  </a:lnTo>
                  <a:lnTo>
                    <a:pt x="3152" y="104"/>
                  </a:lnTo>
                  <a:lnTo>
                    <a:pt x="3154" y="104"/>
                  </a:lnTo>
                  <a:lnTo>
                    <a:pt x="3157" y="105"/>
                  </a:lnTo>
                  <a:lnTo>
                    <a:pt x="3158" y="105"/>
                  </a:lnTo>
                  <a:lnTo>
                    <a:pt x="3157" y="107"/>
                  </a:lnTo>
                  <a:close/>
                  <a:moveTo>
                    <a:pt x="2674" y="104"/>
                  </a:moveTo>
                  <a:lnTo>
                    <a:pt x="2674" y="105"/>
                  </a:lnTo>
                  <a:lnTo>
                    <a:pt x="2676" y="105"/>
                  </a:lnTo>
                  <a:lnTo>
                    <a:pt x="2676" y="107"/>
                  </a:lnTo>
                  <a:lnTo>
                    <a:pt x="2677" y="107"/>
                  </a:lnTo>
                  <a:lnTo>
                    <a:pt x="2676" y="107"/>
                  </a:lnTo>
                  <a:lnTo>
                    <a:pt x="2671" y="107"/>
                  </a:lnTo>
                  <a:lnTo>
                    <a:pt x="2670" y="107"/>
                  </a:lnTo>
                  <a:lnTo>
                    <a:pt x="2669" y="107"/>
                  </a:lnTo>
                  <a:lnTo>
                    <a:pt x="2667" y="105"/>
                  </a:lnTo>
                  <a:lnTo>
                    <a:pt x="2666" y="105"/>
                  </a:lnTo>
                  <a:lnTo>
                    <a:pt x="2666" y="104"/>
                  </a:lnTo>
                  <a:lnTo>
                    <a:pt x="2667" y="103"/>
                  </a:lnTo>
                  <a:lnTo>
                    <a:pt x="2669" y="102"/>
                  </a:lnTo>
                  <a:lnTo>
                    <a:pt x="2670" y="102"/>
                  </a:lnTo>
                  <a:lnTo>
                    <a:pt x="2671" y="103"/>
                  </a:lnTo>
                  <a:lnTo>
                    <a:pt x="2672" y="103"/>
                  </a:lnTo>
                  <a:lnTo>
                    <a:pt x="2673" y="103"/>
                  </a:lnTo>
                  <a:lnTo>
                    <a:pt x="2674" y="104"/>
                  </a:lnTo>
                  <a:close/>
                  <a:moveTo>
                    <a:pt x="2628" y="102"/>
                  </a:moveTo>
                  <a:lnTo>
                    <a:pt x="2629" y="102"/>
                  </a:lnTo>
                  <a:lnTo>
                    <a:pt x="2628" y="102"/>
                  </a:lnTo>
                  <a:lnTo>
                    <a:pt x="2627" y="102"/>
                  </a:lnTo>
                  <a:lnTo>
                    <a:pt x="2627" y="103"/>
                  </a:lnTo>
                  <a:lnTo>
                    <a:pt x="2627" y="104"/>
                  </a:lnTo>
                  <a:lnTo>
                    <a:pt x="2628" y="104"/>
                  </a:lnTo>
                  <a:lnTo>
                    <a:pt x="2628" y="105"/>
                  </a:lnTo>
                  <a:lnTo>
                    <a:pt x="2627" y="104"/>
                  </a:lnTo>
                  <a:lnTo>
                    <a:pt x="2626" y="104"/>
                  </a:lnTo>
                  <a:lnTo>
                    <a:pt x="2624" y="104"/>
                  </a:lnTo>
                  <a:lnTo>
                    <a:pt x="2623" y="104"/>
                  </a:lnTo>
                  <a:lnTo>
                    <a:pt x="2622" y="103"/>
                  </a:lnTo>
                  <a:lnTo>
                    <a:pt x="2621" y="103"/>
                  </a:lnTo>
                  <a:lnTo>
                    <a:pt x="2621" y="102"/>
                  </a:lnTo>
                  <a:lnTo>
                    <a:pt x="2623" y="102"/>
                  </a:lnTo>
                  <a:lnTo>
                    <a:pt x="2627" y="102"/>
                  </a:lnTo>
                  <a:lnTo>
                    <a:pt x="2628" y="102"/>
                  </a:lnTo>
                  <a:close/>
                  <a:moveTo>
                    <a:pt x="3062" y="103"/>
                  </a:moveTo>
                  <a:lnTo>
                    <a:pt x="3061" y="103"/>
                  </a:lnTo>
                  <a:lnTo>
                    <a:pt x="3061" y="102"/>
                  </a:lnTo>
                  <a:lnTo>
                    <a:pt x="3060" y="102"/>
                  </a:lnTo>
                  <a:lnTo>
                    <a:pt x="3058" y="102"/>
                  </a:lnTo>
                  <a:lnTo>
                    <a:pt x="3060" y="101"/>
                  </a:lnTo>
                  <a:lnTo>
                    <a:pt x="3062" y="101"/>
                  </a:lnTo>
                  <a:lnTo>
                    <a:pt x="3064" y="102"/>
                  </a:lnTo>
                  <a:lnTo>
                    <a:pt x="3065" y="102"/>
                  </a:lnTo>
                  <a:lnTo>
                    <a:pt x="3065" y="103"/>
                  </a:lnTo>
                  <a:lnTo>
                    <a:pt x="3062" y="103"/>
                  </a:lnTo>
                  <a:close/>
                  <a:moveTo>
                    <a:pt x="2640" y="101"/>
                  </a:moveTo>
                  <a:lnTo>
                    <a:pt x="2643" y="101"/>
                  </a:lnTo>
                  <a:lnTo>
                    <a:pt x="2644" y="101"/>
                  </a:lnTo>
                  <a:lnTo>
                    <a:pt x="2645" y="101"/>
                  </a:lnTo>
                  <a:lnTo>
                    <a:pt x="2645" y="102"/>
                  </a:lnTo>
                  <a:lnTo>
                    <a:pt x="2644" y="102"/>
                  </a:lnTo>
                  <a:lnTo>
                    <a:pt x="2641" y="101"/>
                  </a:lnTo>
                  <a:lnTo>
                    <a:pt x="2640" y="101"/>
                  </a:lnTo>
                  <a:lnTo>
                    <a:pt x="2638" y="101"/>
                  </a:lnTo>
                  <a:lnTo>
                    <a:pt x="2640" y="101"/>
                  </a:lnTo>
                  <a:close/>
                  <a:moveTo>
                    <a:pt x="2592" y="100"/>
                  </a:moveTo>
                  <a:lnTo>
                    <a:pt x="2591" y="100"/>
                  </a:lnTo>
                  <a:lnTo>
                    <a:pt x="2589" y="100"/>
                  </a:lnTo>
                  <a:lnTo>
                    <a:pt x="2589" y="98"/>
                  </a:lnTo>
                  <a:lnTo>
                    <a:pt x="2591" y="98"/>
                  </a:lnTo>
                  <a:lnTo>
                    <a:pt x="2592" y="98"/>
                  </a:lnTo>
                  <a:lnTo>
                    <a:pt x="2592" y="100"/>
                  </a:lnTo>
                  <a:close/>
                  <a:moveTo>
                    <a:pt x="2437" y="98"/>
                  </a:moveTo>
                  <a:lnTo>
                    <a:pt x="2439" y="100"/>
                  </a:lnTo>
                  <a:lnTo>
                    <a:pt x="2442" y="100"/>
                  </a:lnTo>
                  <a:lnTo>
                    <a:pt x="2443" y="100"/>
                  </a:lnTo>
                  <a:lnTo>
                    <a:pt x="2446" y="100"/>
                  </a:lnTo>
                  <a:lnTo>
                    <a:pt x="2449" y="101"/>
                  </a:lnTo>
                  <a:lnTo>
                    <a:pt x="2450" y="101"/>
                  </a:lnTo>
                  <a:lnTo>
                    <a:pt x="2451" y="101"/>
                  </a:lnTo>
                  <a:lnTo>
                    <a:pt x="2451" y="102"/>
                  </a:lnTo>
                  <a:lnTo>
                    <a:pt x="2448" y="102"/>
                  </a:lnTo>
                  <a:lnTo>
                    <a:pt x="2444" y="102"/>
                  </a:lnTo>
                  <a:lnTo>
                    <a:pt x="2445" y="102"/>
                  </a:lnTo>
                  <a:lnTo>
                    <a:pt x="2448" y="102"/>
                  </a:lnTo>
                  <a:lnTo>
                    <a:pt x="2450" y="102"/>
                  </a:lnTo>
                  <a:lnTo>
                    <a:pt x="2451" y="103"/>
                  </a:lnTo>
                  <a:lnTo>
                    <a:pt x="2450" y="103"/>
                  </a:lnTo>
                  <a:lnTo>
                    <a:pt x="2449" y="103"/>
                  </a:lnTo>
                  <a:lnTo>
                    <a:pt x="2446" y="103"/>
                  </a:lnTo>
                  <a:lnTo>
                    <a:pt x="2445" y="103"/>
                  </a:lnTo>
                  <a:lnTo>
                    <a:pt x="2443" y="103"/>
                  </a:lnTo>
                  <a:lnTo>
                    <a:pt x="2443" y="104"/>
                  </a:lnTo>
                  <a:lnTo>
                    <a:pt x="2444" y="104"/>
                  </a:lnTo>
                  <a:lnTo>
                    <a:pt x="2445" y="104"/>
                  </a:lnTo>
                  <a:lnTo>
                    <a:pt x="2446" y="104"/>
                  </a:lnTo>
                  <a:lnTo>
                    <a:pt x="2448" y="103"/>
                  </a:lnTo>
                  <a:lnTo>
                    <a:pt x="2449" y="103"/>
                  </a:lnTo>
                  <a:lnTo>
                    <a:pt x="2450" y="104"/>
                  </a:lnTo>
                  <a:lnTo>
                    <a:pt x="2450" y="105"/>
                  </a:lnTo>
                  <a:lnTo>
                    <a:pt x="2449" y="107"/>
                  </a:lnTo>
                  <a:lnTo>
                    <a:pt x="2446" y="105"/>
                  </a:lnTo>
                  <a:lnTo>
                    <a:pt x="2445" y="105"/>
                  </a:lnTo>
                  <a:lnTo>
                    <a:pt x="2443" y="105"/>
                  </a:lnTo>
                  <a:lnTo>
                    <a:pt x="2444" y="105"/>
                  </a:lnTo>
                  <a:lnTo>
                    <a:pt x="2445" y="107"/>
                  </a:lnTo>
                  <a:lnTo>
                    <a:pt x="2446" y="107"/>
                  </a:lnTo>
                  <a:lnTo>
                    <a:pt x="2448" y="107"/>
                  </a:lnTo>
                  <a:lnTo>
                    <a:pt x="2449" y="108"/>
                  </a:lnTo>
                  <a:lnTo>
                    <a:pt x="2446" y="108"/>
                  </a:lnTo>
                  <a:lnTo>
                    <a:pt x="2445" y="107"/>
                  </a:lnTo>
                  <a:lnTo>
                    <a:pt x="2446" y="108"/>
                  </a:lnTo>
                  <a:lnTo>
                    <a:pt x="2445" y="108"/>
                  </a:lnTo>
                  <a:lnTo>
                    <a:pt x="2446" y="109"/>
                  </a:lnTo>
                  <a:lnTo>
                    <a:pt x="2445" y="109"/>
                  </a:lnTo>
                  <a:lnTo>
                    <a:pt x="2444" y="109"/>
                  </a:lnTo>
                  <a:lnTo>
                    <a:pt x="2443" y="109"/>
                  </a:lnTo>
                  <a:lnTo>
                    <a:pt x="2444" y="109"/>
                  </a:lnTo>
                  <a:lnTo>
                    <a:pt x="2445" y="109"/>
                  </a:lnTo>
                  <a:lnTo>
                    <a:pt x="2445" y="110"/>
                  </a:lnTo>
                  <a:lnTo>
                    <a:pt x="2446" y="110"/>
                  </a:lnTo>
                  <a:lnTo>
                    <a:pt x="2445" y="110"/>
                  </a:lnTo>
                  <a:lnTo>
                    <a:pt x="2444" y="110"/>
                  </a:lnTo>
                  <a:lnTo>
                    <a:pt x="2442" y="110"/>
                  </a:lnTo>
                  <a:lnTo>
                    <a:pt x="2444" y="110"/>
                  </a:lnTo>
                  <a:lnTo>
                    <a:pt x="2445" y="110"/>
                  </a:lnTo>
                  <a:lnTo>
                    <a:pt x="2445" y="111"/>
                  </a:lnTo>
                  <a:lnTo>
                    <a:pt x="2446" y="111"/>
                  </a:lnTo>
                  <a:lnTo>
                    <a:pt x="2445" y="112"/>
                  </a:lnTo>
                  <a:lnTo>
                    <a:pt x="2446" y="112"/>
                  </a:lnTo>
                  <a:lnTo>
                    <a:pt x="2448" y="112"/>
                  </a:lnTo>
                  <a:lnTo>
                    <a:pt x="2448" y="114"/>
                  </a:lnTo>
                  <a:lnTo>
                    <a:pt x="2449" y="114"/>
                  </a:lnTo>
                  <a:lnTo>
                    <a:pt x="2448" y="114"/>
                  </a:lnTo>
                  <a:lnTo>
                    <a:pt x="2448" y="115"/>
                  </a:lnTo>
                  <a:lnTo>
                    <a:pt x="2446" y="115"/>
                  </a:lnTo>
                  <a:lnTo>
                    <a:pt x="2448" y="115"/>
                  </a:lnTo>
                  <a:lnTo>
                    <a:pt x="2448" y="116"/>
                  </a:lnTo>
                  <a:lnTo>
                    <a:pt x="2448" y="117"/>
                  </a:lnTo>
                  <a:lnTo>
                    <a:pt x="2446" y="117"/>
                  </a:lnTo>
                  <a:lnTo>
                    <a:pt x="2449" y="117"/>
                  </a:lnTo>
                  <a:lnTo>
                    <a:pt x="2450" y="117"/>
                  </a:lnTo>
                  <a:lnTo>
                    <a:pt x="2450" y="118"/>
                  </a:lnTo>
                  <a:lnTo>
                    <a:pt x="2451" y="118"/>
                  </a:lnTo>
                  <a:lnTo>
                    <a:pt x="2451" y="119"/>
                  </a:lnTo>
                  <a:lnTo>
                    <a:pt x="2452" y="121"/>
                  </a:lnTo>
                  <a:lnTo>
                    <a:pt x="2453" y="121"/>
                  </a:lnTo>
                  <a:lnTo>
                    <a:pt x="2454" y="122"/>
                  </a:lnTo>
                  <a:lnTo>
                    <a:pt x="2456" y="122"/>
                  </a:lnTo>
                  <a:lnTo>
                    <a:pt x="2457" y="123"/>
                  </a:lnTo>
                  <a:lnTo>
                    <a:pt x="2458" y="124"/>
                  </a:lnTo>
                  <a:lnTo>
                    <a:pt x="2459" y="125"/>
                  </a:lnTo>
                  <a:lnTo>
                    <a:pt x="2460" y="125"/>
                  </a:lnTo>
                  <a:lnTo>
                    <a:pt x="2463" y="126"/>
                  </a:lnTo>
                  <a:lnTo>
                    <a:pt x="2466" y="129"/>
                  </a:lnTo>
                  <a:lnTo>
                    <a:pt x="2467" y="129"/>
                  </a:lnTo>
                  <a:lnTo>
                    <a:pt x="2468" y="130"/>
                  </a:lnTo>
                  <a:lnTo>
                    <a:pt x="2470" y="130"/>
                  </a:lnTo>
                  <a:lnTo>
                    <a:pt x="2471" y="130"/>
                  </a:lnTo>
                  <a:lnTo>
                    <a:pt x="2472" y="131"/>
                  </a:lnTo>
                  <a:lnTo>
                    <a:pt x="2473" y="131"/>
                  </a:lnTo>
                  <a:lnTo>
                    <a:pt x="2474" y="131"/>
                  </a:lnTo>
                  <a:lnTo>
                    <a:pt x="2475" y="131"/>
                  </a:lnTo>
                  <a:lnTo>
                    <a:pt x="2477" y="131"/>
                  </a:lnTo>
                  <a:lnTo>
                    <a:pt x="2477" y="132"/>
                  </a:lnTo>
                  <a:lnTo>
                    <a:pt x="2479" y="132"/>
                  </a:lnTo>
                  <a:lnTo>
                    <a:pt x="2478" y="132"/>
                  </a:lnTo>
                  <a:lnTo>
                    <a:pt x="2477" y="132"/>
                  </a:lnTo>
                  <a:lnTo>
                    <a:pt x="2478" y="132"/>
                  </a:lnTo>
                  <a:lnTo>
                    <a:pt x="2478" y="133"/>
                  </a:lnTo>
                  <a:lnTo>
                    <a:pt x="2477" y="133"/>
                  </a:lnTo>
                  <a:lnTo>
                    <a:pt x="2478" y="133"/>
                  </a:lnTo>
                  <a:lnTo>
                    <a:pt x="2478" y="135"/>
                  </a:lnTo>
                  <a:lnTo>
                    <a:pt x="2475" y="133"/>
                  </a:lnTo>
                  <a:lnTo>
                    <a:pt x="2473" y="133"/>
                  </a:lnTo>
                  <a:lnTo>
                    <a:pt x="2472" y="133"/>
                  </a:lnTo>
                  <a:lnTo>
                    <a:pt x="2471" y="133"/>
                  </a:lnTo>
                  <a:lnTo>
                    <a:pt x="2471" y="132"/>
                  </a:lnTo>
                  <a:lnTo>
                    <a:pt x="2470" y="132"/>
                  </a:lnTo>
                  <a:lnTo>
                    <a:pt x="2470" y="133"/>
                  </a:lnTo>
                  <a:lnTo>
                    <a:pt x="2471" y="133"/>
                  </a:lnTo>
                  <a:lnTo>
                    <a:pt x="2472" y="133"/>
                  </a:lnTo>
                  <a:lnTo>
                    <a:pt x="2473" y="133"/>
                  </a:lnTo>
                  <a:lnTo>
                    <a:pt x="2474" y="133"/>
                  </a:lnTo>
                  <a:lnTo>
                    <a:pt x="2475" y="133"/>
                  </a:lnTo>
                  <a:lnTo>
                    <a:pt x="2475" y="135"/>
                  </a:lnTo>
                  <a:lnTo>
                    <a:pt x="2477" y="135"/>
                  </a:lnTo>
                  <a:lnTo>
                    <a:pt x="2473" y="135"/>
                  </a:lnTo>
                  <a:lnTo>
                    <a:pt x="2471" y="133"/>
                  </a:lnTo>
                  <a:lnTo>
                    <a:pt x="2470" y="133"/>
                  </a:lnTo>
                  <a:lnTo>
                    <a:pt x="2468" y="133"/>
                  </a:lnTo>
                  <a:lnTo>
                    <a:pt x="2470" y="133"/>
                  </a:lnTo>
                  <a:lnTo>
                    <a:pt x="2468" y="133"/>
                  </a:lnTo>
                  <a:lnTo>
                    <a:pt x="2467" y="133"/>
                  </a:lnTo>
                  <a:lnTo>
                    <a:pt x="2467" y="132"/>
                  </a:lnTo>
                  <a:lnTo>
                    <a:pt x="2468" y="132"/>
                  </a:lnTo>
                  <a:lnTo>
                    <a:pt x="2467" y="132"/>
                  </a:lnTo>
                  <a:lnTo>
                    <a:pt x="2466" y="132"/>
                  </a:lnTo>
                  <a:lnTo>
                    <a:pt x="2465" y="132"/>
                  </a:lnTo>
                  <a:lnTo>
                    <a:pt x="2466" y="132"/>
                  </a:lnTo>
                  <a:lnTo>
                    <a:pt x="2465" y="132"/>
                  </a:lnTo>
                  <a:lnTo>
                    <a:pt x="2465" y="133"/>
                  </a:lnTo>
                  <a:lnTo>
                    <a:pt x="2466" y="133"/>
                  </a:lnTo>
                  <a:lnTo>
                    <a:pt x="2465" y="133"/>
                  </a:lnTo>
                  <a:lnTo>
                    <a:pt x="2466" y="133"/>
                  </a:lnTo>
                  <a:lnTo>
                    <a:pt x="2467" y="133"/>
                  </a:lnTo>
                  <a:lnTo>
                    <a:pt x="2466" y="133"/>
                  </a:lnTo>
                  <a:lnTo>
                    <a:pt x="2467" y="133"/>
                  </a:lnTo>
                  <a:lnTo>
                    <a:pt x="2468" y="133"/>
                  </a:lnTo>
                  <a:lnTo>
                    <a:pt x="2467" y="133"/>
                  </a:lnTo>
                  <a:lnTo>
                    <a:pt x="2468" y="133"/>
                  </a:lnTo>
                  <a:lnTo>
                    <a:pt x="2470" y="135"/>
                  </a:lnTo>
                  <a:lnTo>
                    <a:pt x="2468" y="135"/>
                  </a:lnTo>
                  <a:lnTo>
                    <a:pt x="2467" y="135"/>
                  </a:lnTo>
                  <a:lnTo>
                    <a:pt x="2468" y="135"/>
                  </a:lnTo>
                  <a:lnTo>
                    <a:pt x="2470" y="135"/>
                  </a:lnTo>
                  <a:lnTo>
                    <a:pt x="2468" y="135"/>
                  </a:lnTo>
                  <a:lnTo>
                    <a:pt x="2467" y="135"/>
                  </a:lnTo>
                  <a:lnTo>
                    <a:pt x="2466" y="133"/>
                  </a:lnTo>
                  <a:lnTo>
                    <a:pt x="2465" y="133"/>
                  </a:lnTo>
                  <a:lnTo>
                    <a:pt x="2464" y="133"/>
                  </a:lnTo>
                  <a:lnTo>
                    <a:pt x="2465" y="133"/>
                  </a:lnTo>
                  <a:lnTo>
                    <a:pt x="2465" y="135"/>
                  </a:lnTo>
                  <a:lnTo>
                    <a:pt x="2464" y="133"/>
                  </a:lnTo>
                  <a:lnTo>
                    <a:pt x="2463" y="133"/>
                  </a:lnTo>
                  <a:lnTo>
                    <a:pt x="2461" y="133"/>
                  </a:lnTo>
                  <a:lnTo>
                    <a:pt x="2460" y="133"/>
                  </a:lnTo>
                  <a:lnTo>
                    <a:pt x="2461" y="133"/>
                  </a:lnTo>
                  <a:lnTo>
                    <a:pt x="2463" y="133"/>
                  </a:lnTo>
                  <a:lnTo>
                    <a:pt x="2464" y="135"/>
                  </a:lnTo>
                  <a:lnTo>
                    <a:pt x="2463" y="135"/>
                  </a:lnTo>
                  <a:lnTo>
                    <a:pt x="2461" y="135"/>
                  </a:lnTo>
                  <a:lnTo>
                    <a:pt x="2461" y="133"/>
                  </a:lnTo>
                  <a:lnTo>
                    <a:pt x="2460" y="135"/>
                  </a:lnTo>
                  <a:lnTo>
                    <a:pt x="2459" y="133"/>
                  </a:lnTo>
                  <a:lnTo>
                    <a:pt x="2460" y="133"/>
                  </a:lnTo>
                  <a:lnTo>
                    <a:pt x="2461" y="133"/>
                  </a:lnTo>
                  <a:lnTo>
                    <a:pt x="2460" y="133"/>
                  </a:lnTo>
                  <a:lnTo>
                    <a:pt x="2460" y="132"/>
                  </a:lnTo>
                  <a:lnTo>
                    <a:pt x="2459" y="132"/>
                  </a:lnTo>
                  <a:lnTo>
                    <a:pt x="2458" y="132"/>
                  </a:lnTo>
                  <a:lnTo>
                    <a:pt x="2459" y="132"/>
                  </a:lnTo>
                  <a:lnTo>
                    <a:pt x="2459" y="133"/>
                  </a:lnTo>
                  <a:lnTo>
                    <a:pt x="2460" y="133"/>
                  </a:lnTo>
                  <a:lnTo>
                    <a:pt x="2459" y="133"/>
                  </a:lnTo>
                  <a:lnTo>
                    <a:pt x="2458" y="132"/>
                  </a:lnTo>
                  <a:lnTo>
                    <a:pt x="2457" y="132"/>
                  </a:lnTo>
                  <a:lnTo>
                    <a:pt x="2456" y="132"/>
                  </a:lnTo>
                  <a:lnTo>
                    <a:pt x="2457" y="132"/>
                  </a:lnTo>
                  <a:lnTo>
                    <a:pt x="2457" y="133"/>
                  </a:lnTo>
                  <a:lnTo>
                    <a:pt x="2458" y="133"/>
                  </a:lnTo>
                  <a:lnTo>
                    <a:pt x="2457" y="133"/>
                  </a:lnTo>
                  <a:lnTo>
                    <a:pt x="2456" y="133"/>
                  </a:lnTo>
                  <a:lnTo>
                    <a:pt x="2457" y="135"/>
                  </a:lnTo>
                  <a:lnTo>
                    <a:pt x="2456" y="135"/>
                  </a:lnTo>
                  <a:lnTo>
                    <a:pt x="2454" y="135"/>
                  </a:lnTo>
                  <a:lnTo>
                    <a:pt x="2453" y="133"/>
                  </a:lnTo>
                  <a:lnTo>
                    <a:pt x="2452" y="133"/>
                  </a:lnTo>
                  <a:lnTo>
                    <a:pt x="2451" y="133"/>
                  </a:lnTo>
                  <a:lnTo>
                    <a:pt x="2450" y="133"/>
                  </a:lnTo>
                  <a:lnTo>
                    <a:pt x="2450" y="132"/>
                  </a:lnTo>
                  <a:lnTo>
                    <a:pt x="2449" y="132"/>
                  </a:lnTo>
                  <a:lnTo>
                    <a:pt x="2448" y="131"/>
                  </a:lnTo>
                  <a:lnTo>
                    <a:pt x="2448" y="132"/>
                  </a:lnTo>
                  <a:lnTo>
                    <a:pt x="2449" y="133"/>
                  </a:lnTo>
                  <a:lnTo>
                    <a:pt x="2450" y="133"/>
                  </a:lnTo>
                  <a:lnTo>
                    <a:pt x="2451" y="133"/>
                  </a:lnTo>
                  <a:lnTo>
                    <a:pt x="2450" y="133"/>
                  </a:lnTo>
                  <a:lnTo>
                    <a:pt x="2449" y="133"/>
                  </a:lnTo>
                  <a:lnTo>
                    <a:pt x="2449" y="132"/>
                  </a:lnTo>
                  <a:lnTo>
                    <a:pt x="2448" y="132"/>
                  </a:lnTo>
                  <a:lnTo>
                    <a:pt x="2445" y="132"/>
                  </a:lnTo>
                  <a:lnTo>
                    <a:pt x="2444" y="132"/>
                  </a:lnTo>
                  <a:lnTo>
                    <a:pt x="2443" y="132"/>
                  </a:lnTo>
                  <a:lnTo>
                    <a:pt x="2441" y="131"/>
                  </a:lnTo>
                  <a:lnTo>
                    <a:pt x="2441" y="132"/>
                  </a:lnTo>
                  <a:lnTo>
                    <a:pt x="2441" y="131"/>
                  </a:lnTo>
                  <a:lnTo>
                    <a:pt x="2439" y="131"/>
                  </a:lnTo>
                  <a:lnTo>
                    <a:pt x="2438" y="131"/>
                  </a:lnTo>
                  <a:lnTo>
                    <a:pt x="2437" y="131"/>
                  </a:lnTo>
                  <a:lnTo>
                    <a:pt x="2436" y="131"/>
                  </a:lnTo>
                  <a:lnTo>
                    <a:pt x="2435" y="131"/>
                  </a:lnTo>
                  <a:lnTo>
                    <a:pt x="2437" y="131"/>
                  </a:lnTo>
                  <a:lnTo>
                    <a:pt x="2437" y="130"/>
                  </a:lnTo>
                  <a:lnTo>
                    <a:pt x="2438" y="131"/>
                  </a:lnTo>
                  <a:lnTo>
                    <a:pt x="2439" y="131"/>
                  </a:lnTo>
                  <a:lnTo>
                    <a:pt x="2438" y="131"/>
                  </a:lnTo>
                  <a:lnTo>
                    <a:pt x="2438" y="130"/>
                  </a:lnTo>
                  <a:lnTo>
                    <a:pt x="2437" y="129"/>
                  </a:lnTo>
                  <a:lnTo>
                    <a:pt x="2436" y="129"/>
                  </a:lnTo>
                  <a:lnTo>
                    <a:pt x="2435" y="128"/>
                  </a:lnTo>
                  <a:lnTo>
                    <a:pt x="2436" y="128"/>
                  </a:lnTo>
                  <a:lnTo>
                    <a:pt x="2437" y="128"/>
                  </a:lnTo>
                  <a:lnTo>
                    <a:pt x="2438" y="128"/>
                  </a:lnTo>
                  <a:lnTo>
                    <a:pt x="2439" y="129"/>
                  </a:lnTo>
                  <a:lnTo>
                    <a:pt x="2438" y="128"/>
                  </a:lnTo>
                  <a:lnTo>
                    <a:pt x="2439" y="128"/>
                  </a:lnTo>
                  <a:lnTo>
                    <a:pt x="2441" y="128"/>
                  </a:lnTo>
                  <a:lnTo>
                    <a:pt x="2439" y="128"/>
                  </a:lnTo>
                  <a:lnTo>
                    <a:pt x="2441" y="128"/>
                  </a:lnTo>
                  <a:lnTo>
                    <a:pt x="2443" y="128"/>
                  </a:lnTo>
                  <a:lnTo>
                    <a:pt x="2442" y="128"/>
                  </a:lnTo>
                  <a:lnTo>
                    <a:pt x="2441" y="128"/>
                  </a:lnTo>
                  <a:lnTo>
                    <a:pt x="2439" y="126"/>
                  </a:lnTo>
                  <a:lnTo>
                    <a:pt x="2441" y="126"/>
                  </a:lnTo>
                  <a:lnTo>
                    <a:pt x="2439" y="126"/>
                  </a:lnTo>
                  <a:lnTo>
                    <a:pt x="2441" y="126"/>
                  </a:lnTo>
                  <a:lnTo>
                    <a:pt x="2439" y="126"/>
                  </a:lnTo>
                  <a:lnTo>
                    <a:pt x="2438" y="126"/>
                  </a:lnTo>
                  <a:lnTo>
                    <a:pt x="2437" y="126"/>
                  </a:lnTo>
                  <a:lnTo>
                    <a:pt x="2438" y="126"/>
                  </a:lnTo>
                  <a:lnTo>
                    <a:pt x="2437" y="126"/>
                  </a:lnTo>
                  <a:lnTo>
                    <a:pt x="2436" y="126"/>
                  </a:lnTo>
                  <a:lnTo>
                    <a:pt x="2435" y="126"/>
                  </a:lnTo>
                  <a:lnTo>
                    <a:pt x="2434" y="125"/>
                  </a:lnTo>
                  <a:lnTo>
                    <a:pt x="2435" y="125"/>
                  </a:lnTo>
                  <a:lnTo>
                    <a:pt x="2435" y="124"/>
                  </a:lnTo>
                  <a:lnTo>
                    <a:pt x="2436" y="124"/>
                  </a:lnTo>
                  <a:lnTo>
                    <a:pt x="2437" y="123"/>
                  </a:lnTo>
                  <a:lnTo>
                    <a:pt x="2436" y="123"/>
                  </a:lnTo>
                  <a:lnTo>
                    <a:pt x="2434" y="124"/>
                  </a:lnTo>
                  <a:lnTo>
                    <a:pt x="2435" y="125"/>
                  </a:lnTo>
                  <a:lnTo>
                    <a:pt x="2434" y="125"/>
                  </a:lnTo>
                  <a:lnTo>
                    <a:pt x="2432" y="125"/>
                  </a:lnTo>
                  <a:lnTo>
                    <a:pt x="2432" y="124"/>
                  </a:lnTo>
                  <a:lnTo>
                    <a:pt x="2431" y="124"/>
                  </a:lnTo>
                  <a:lnTo>
                    <a:pt x="2430" y="123"/>
                  </a:lnTo>
                  <a:lnTo>
                    <a:pt x="2431" y="123"/>
                  </a:lnTo>
                  <a:lnTo>
                    <a:pt x="2431" y="122"/>
                  </a:lnTo>
                  <a:lnTo>
                    <a:pt x="2430" y="122"/>
                  </a:lnTo>
                  <a:lnTo>
                    <a:pt x="2429" y="123"/>
                  </a:lnTo>
                  <a:lnTo>
                    <a:pt x="2428" y="123"/>
                  </a:lnTo>
                  <a:lnTo>
                    <a:pt x="2429" y="123"/>
                  </a:lnTo>
                  <a:lnTo>
                    <a:pt x="2428" y="123"/>
                  </a:lnTo>
                  <a:lnTo>
                    <a:pt x="2428" y="124"/>
                  </a:lnTo>
                  <a:lnTo>
                    <a:pt x="2427" y="124"/>
                  </a:lnTo>
                  <a:lnTo>
                    <a:pt x="2427" y="123"/>
                  </a:lnTo>
                  <a:lnTo>
                    <a:pt x="2425" y="123"/>
                  </a:lnTo>
                  <a:lnTo>
                    <a:pt x="2427" y="123"/>
                  </a:lnTo>
                  <a:lnTo>
                    <a:pt x="2425" y="123"/>
                  </a:lnTo>
                  <a:lnTo>
                    <a:pt x="2424" y="123"/>
                  </a:lnTo>
                  <a:lnTo>
                    <a:pt x="2424" y="122"/>
                  </a:lnTo>
                  <a:lnTo>
                    <a:pt x="2423" y="122"/>
                  </a:lnTo>
                  <a:lnTo>
                    <a:pt x="2422" y="121"/>
                  </a:lnTo>
                  <a:lnTo>
                    <a:pt x="2422" y="122"/>
                  </a:lnTo>
                  <a:lnTo>
                    <a:pt x="2421" y="122"/>
                  </a:lnTo>
                  <a:lnTo>
                    <a:pt x="2422" y="122"/>
                  </a:lnTo>
                  <a:lnTo>
                    <a:pt x="2422" y="123"/>
                  </a:lnTo>
                  <a:lnTo>
                    <a:pt x="2421" y="123"/>
                  </a:lnTo>
                  <a:lnTo>
                    <a:pt x="2421" y="122"/>
                  </a:lnTo>
                  <a:lnTo>
                    <a:pt x="2420" y="122"/>
                  </a:lnTo>
                  <a:lnTo>
                    <a:pt x="2418" y="122"/>
                  </a:lnTo>
                  <a:lnTo>
                    <a:pt x="2420" y="122"/>
                  </a:lnTo>
                  <a:lnTo>
                    <a:pt x="2420" y="123"/>
                  </a:lnTo>
                  <a:lnTo>
                    <a:pt x="2421" y="123"/>
                  </a:lnTo>
                  <a:lnTo>
                    <a:pt x="2420" y="123"/>
                  </a:lnTo>
                  <a:lnTo>
                    <a:pt x="2418" y="123"/>
                  </a:lnTo>
                  <a:lnTo>
                    <a:pt x="2417" y="123"/>
                  </a:lnTo>
                  <a:lnTo>
                    <a:pt x="2416" y="123"/>
                  </a:lnTo>
                  <a:lnTo>
                    <a:pt x="2415" y="122"/>
                  </a:lnTo>
                  <a:lnTo>
                    <a:pt x="2414" y="122"/>
                  </a:lnTo>
                  <a:lnTo>
                    <a:pt x="2413" y="122"/>
                  </a:lnTo>
                  <a:lnTo>
                    <a:pt x="2413" y="121"/>
                  </a:lnTo>
                  <a:lnTo>
                    <a:pt x="2411" y="119"/>
                  </a:lnTo>
                  <a:lnTo>
                    <a:pt x="2410" y="119"/>
                  </a:lnTo>
                  <a:lnTo>
                    <a:pt x="2410" y="118"/>
                  </a:lnTo>
                  <a:lnTo>
                    <a:pt x="2409" y="117"/>
                  </a:lnTo>
                  <a:lnTo>
                    <a:pt x="2409" y="116"/>
                  </a:lnTo>
                  <a:lnTo>
                    <a:pt x="2410" y="116"/>
                  </a:lnTo>
                  <a:lnTo>
                    <a:pt x="2410" y="115"/>
                  </a:lnTo>
                  <a:lnTo>
                    <a:pt x="2411" y="115"/>
                  </a:lnTo>
                  <a:lnTo>
                    <a:pt x="2411" y="114"/>
                  </a:lnTo>
                  <a:lnTo>
                    <a:pt x="2413" y="114"/>
                  </a:lnTo>
                  <a:lnTo>
                    <a:pt x="2414" y="115"/>
                  </a:lnTo>
                  <a:lnTo>
                    <a:pt x="2415" y="115"/>
                  </a:lnTo>
                  <a:lnTo>
                    <a:pt x="2416" y="115"/>
                  </a:lnTo>
                  <a:lnTo>
                    <a:pt x="2417" y="115"/>
                  </a:lnTo>
                  <a:lnTo>
                    <a:pt x="2418" y="115"/>
                  </a:lnTo>
                  <a:lnTo>
                    <a:pt x="2417" y="115"/>
                  </a:lnTo>
                  <a:lnTo>
                    <a:pt x="2417" y="114"/>
                  </a:lnTo>
                  <a:lnTo>
                    <a:pt x="2418" y="114"/>
                  </a:lnTo>
                  <a:lnTo>
                    <a:pt x="2417" y="114"/>
                  </a:lnTo>
                  <a:lnTo>
                    <a:pt x="2418" y="114"/>
                  </a:lnTo>
                  <a:lnTo>
                    <a:pt x="2417" y="114"/>
                  </a:lnTo>
                  <a:lnTo>
                    <a:pt x="2417" y="112"/>
                  </a:lnTo>
                  <a:lnTo>
                    <a:pt x="2416" y="112"/>
                  </a:lnTo>
                  <a:lnTo>
                    <a:pt x="2417" y="112"/>
                  </a:lnTo>
                  <a:lnTo>
                    <a:pt x="2418" y="112"/>
                  </a:lnTo>
                  <a:lnTo>
                    <a:pt x="2420" y="112"/>
                  </a:lnTo>
                  <a:lnTo>
                    <a:pt x="2418" y="111"/>
                  </a:lnTo>
                  <a:lnTo>
                    <a:pt x="2417" y="111"/>
                  </a:lnTo>
                  <a:lnTo>
                    <a:pt x="2418" y="111"/>
                  </a:lnTo>
                  <a:lnTo>
                    <a:pt x="2420" y="111"/>
                  </a:lnTo>
                  <a:lnTo>
                    <a:pt x="2421" y="111"/>
                  </a:lnTo>
                  <a:lnTo>
                    <a:pt x="2420" y="111"/>
                  </a:lnTo>
                  <a:lnTo>
                    <a:pt x="2418" y="111"/>
                  </a:lnTo>
                  <a:lnTo>
                    <a:pt x="2418" y="110"/>
                  </a:lnTo>
                  <a:lnTo>
                    <a:pt x="2420" y="110"/>
                  </a:lnTo>
                  <a:lnTo>
                    <a:pt x="2418" y="110"/>
                  </a:lnTo>
                  <a:lnTo>
                    <a:pt x="2418" y="109"/>
                  </a:lnTo>
                  <a:lnTo>
                    <a:pt x="2418" y="110"/>
                  </a:lnTo>
                  <a:lnTo>
                    <a:pt x="2420" y="109"/>
                  </a:lnTo>
                  <a:lnTo>
                    <a:pt x="2421" y="109"/>
                  </a:lnTo>
                  <a:lnTo>
                    <a:pt x="2421" y="108"/>
                  </a:lnTo>
                  <a:lnTo>
                    <a:pt x="2420" y="109"/>
                  </a:lnTo>
                  <a:lnTo>
                    <a:pt x="2418" y="109"/>
                  </a:lnTo>
                  <a:lnTo>
                    <a:pt x="2418" y="108"/>
                  </a:lnTo>
                  <a:lnTo>
                    <a:pt x="2417" y="108"/>
                  </a:lnTo>
                  <a:lnTo>
                    <a:pt x="2420" y="108"/>
                  </a:lnTo>
                  <a:lnTo>
                    <a:pt x="2421" y="108"/>
                  </a:lnTo>
                  <a:lnTo>
                    <a:pt x="2422" y="108"/>
                  </a:lnTo>
                  <a:lnTo>
                    <a:pt x="2421" y="108"/>
                  </a:lnTo>
                  <a:lnTo>
                    <a:pt x="2420" y="108"/>
                  </a:lnTo>
                  <a:lnTo>
                    <a:pt x="2417" y="108"/>
                  </a:lnTo>
                  <a:lnTo>
                    <a:pt x="2416" y="108"/>
                  </a:lnTo>
                  <a:lnTo>
                    <a:pt x="2415" y="108"/>
                  </a:lnTo>
                  <a:lnTo>
                    <a:pt x="2415" y="107"/>
                  </a:lnTo>
                  <a:lnTo>
                    <a:pt x="2414" y="107"/>
                  </a:lnTo>
                  <a:lnTo>
                    <a:pt x="2414" y="105"/>
                  </a:lnTo>
                  <a:lnTo>
                    <a:pt x="2415" y="105"/>
                  </a:lnTo>
                  <a:lnTo>
                    <a:pt x="2418" y="104"/>
                  </a:lnTo>
                  <a:lnTo>
                    <a:pt x="2422" y="104"/>
                  </a:lnTo>
                  <a:lnTo>
                    <a:pt x="2421" y="104"/>
                  </a:lnTo>
                  <a:lnTo>
                    <a:pt x="2422" y="104"/>
                  </a:lnTo>
                  <a:lnTo>
                    <a:pt x="2421" y="104"/>
                  </a:lnTo>
                  <a:lnTo>
                    <a:pt x="2420" y="104"/>
                  </a:lnTo>
                  <a:lnTo>
                    <a:pt x="2420" y="103"/>
                  </a:lnTo>
                  <a:lnTo>
                    <a:pt x="2418" y="103"/>
                  </a:lnTo>
                  <a:lnTo>
                    <a:pt x="2420" y="103"/>
                  </a:lnTo>
                  <a:lnTo>
                    <a:pt x="2421" y="103"/>
                  </a:lnTo>
                  <a:lnTo>
                    <a:pt x="2420" y="103"/>
                  </a:lnTo>
                  <a:lnTo>
                    <a:pt x="2420" y="102"/>
                  </a:lnTo>
                  <a:lnTo>
                    <a:pt x="2418" y="102"/>
                  </a:lnTo>
                  <a:lnTo>
                    <a:pt x="2418" y="101"/>
                  </a:lnTo>
                  <a:lnTo>
                    <a:pt x="2420" y="101"/>
                  </a:lnTo>
                  <a:lnTo>
                    <a:pt x="2420" y="100"/>
                  </a:lnTo>
                  <a:lnTo>
                    <a:pt x="2421" y="101"/>
                  </a:lnTo>
                  <a:lnTo>
                    <a:pt x="2422" y="101"/>
                  </a:lnTo>
                  <a:lnTo>
                    <a:pt x="2422" y="100"/>
                  </a:lnTo>
                  <a:lnTo>
                    <a:pt x="2423" y="100"/>
                  </a:lnTo>
                  <a:lnTo>
                    <a:pt x="2424" y="100"/>
                  </a:lnTo>
                  <a:lnTo>
                    <a:pt x="2427" y="100"/>
                  </a:lnTo>
                  <a:lnTo>
                    <a:pt x="2428" y="100"/>
                  </a:lnTo>
                  <a:lnTo>
                    <a:pt x="2429" y="100"/>
                  </a:lnTo>
                  <a:lnTo>
                    <a:pt x="2429" y="98"/>
                  </a:lnTo>
                  <a:lnTo>
                    <a:pt x="2430" y="98"/>
                  </a:lnTo>
                  <a:lnTo>
                    <a:pt x="2431" y="98"/>
                  </a:lnTo>
                  <a:lnTo>
                    <a:pt x="2432" y="98"/>
                  </a:lnTo>
                  <a:lnTo>
                    <a:pt x="2432" y="97"/>
                  </a:lnTo>
                  <a:lnTo>
                    <a:pt x="2434" y="97"/>
                  </a:lnTo>
                  <a:lnTo>
                    <a:pt x="2436" y="98"/>
                  </a:lnTo>
                  <a:lnTo>
                    <a:pt x="2437" y="98"/>
                  </a:lnTo>
                  <a:close/>
                  <a:moveTo>
                    <a:pt x="2586" y="96"/>
                  </a:moveTo>
                  <a:lnTo>
                    <a:pt x="2589" y="97"/>
                  </a:lnTo>
                  <a:lnTo>
                    <a:pt x="2588" y="97"/>
                  </a:lnTo>
                  <a:lnTo>
                    <a:pt x="2588" y="98"/>
                  </a:lnTo>
                  <a:lnTo>
                    <a:pt x="2589" y="98"/>
                  </a:lnTo>
                  <a:lnTo>
                    <a:pt x="2588" y="98"/>
                  </a:lnTo>
                  <a:lnTo>
                    <a:pt x="2589" y="98"/>
                  </a:lnTo>
                  <a:lnTo>
                    <a:pt x="2589" y="100"/>
                  </a:lnTo>
                  <a:lnTo>
                    <a:pt x="2588" y="100"/>
                  </a:lnTo>
                  <a:lnTo>
                    <a:pt x="2589" y="100"/>
                  </a:lnTo>
                  <a:lnTo>
                    <a:pt x="2591" y="100"/>
                  </a:lnTo>
                  <a:lnTo>
                    <a:pt x="2592" y="100"/>
                  </a:lnTo>
                  <a:lnTo>
                    <a:pt x="2592" y="98"/>
                  </a:lnTo>
                  <a:lnTo>
                    <a:pt x="2593" y="98"/>
                  </a:lnTo>
                  <a:lnTo>
                    <a:pt x="2594" y="100"/>
                  </a:lnTo>
                  <a:lnTo>
                    <a:pt x="2595" y="100"/>
                  </a:lnTo>
                  <a:lnTo>
                    <a:pt x="2595" y="101"/>
                  </a:lnTo>
                  <a:lnTo>
                    <a:pt x="2596" y="101"/>
                  </a:lnTo>
                  <a:lnTo>
                    <a:pt x="2596" y="102"/>
                  </a:lnTo>
                  <a:lnTo>
                    <a:pt x="2598" y="103"/>
                  </a:lnTo>
                  <a:lnTo>
                    <a:pt x="2596" y="102"/>
                  </a:lnTo>
                  <a:lnTo>
                    <a:pt x="2594" y="101"/>
                  </a:lnTo>
                  <a:lnTo>
                    <a:pt x="2593" y="101"/>
                  </a:lnTo>
                  <a:lnTo>
                    <a:pt x="2593" y="102"/>
                  </a:lnTo>
                  <a:lnTo>
                    <a:pt x="2589" y="102"/>
                  </a:lnTo>
                  <a:lnTo>
                    <a:pt x="2587" y="102"/>
                  </a:lnTo>
                  <a:lnTo>
                    <a:pt x="2586" y="103"/>
                  </a:lnTo>
                  <a:lnTo>
                    <a:pt x="2584" y="103"/>
                  </a:lnTo>
                  <a:lnTo>
                    <a:pt x="2582" y="102"/>
                  </a:lnTo>
                  <a:lnTo>
                    <a:pt x="2581" y="102"/>
                  </a:lnTo>
                  <a:lnTo>
                    <a:pt x="2581" y="103"/>
                  </a:lnTo>
                  <a:lnTo>
                    <a:pt x="2582" y="103"/>
                  </a:lnTo>
                  <a:lnTo>
                    <a:pt x="2581" y="103"/>
                  </a:lnTo>
                  <a:lnTo>
                    <a:pt x="2580" y="103"/>
                  </a:lnTo>
                  <a:lnTo>
                    <a:pt x="2580" y="102"/>
                  </a:lnTo>
                  <a:lnTo>
                    <a:pt x="2580" y="101"/>
                  </a:lnTo>
                  <a:lnTo>
                    <a:pt x="2580" y="100"/>
                  </a:lnTo>
                  <a:lnTo>
                    <a:pt x="2579" y="100"/>
                  </a:lnTo>
                  <a:lnTo>
                    <a:pt x="2579" y="98"/>
                  </a:lnTo>
                  <a:lnTo>
                    <a:pt x="2578" y="98"/>
                  </a:lnTo>
                  <a:lnTo>
                    <a:pt x="2581" y="97"/>
                  </a:lnTo>
                  <a:lnTo>
                    <a:pt x="2582" y="97"/>
                  </a:lnTo>
                  <a:lnTo>
                    <a:pt x="2584" y="97"/>
                  </a:lnTo>
                  <a:lnTo>
                    <a:pt x="2586" y="96"/>
                  </a:lnTo>
                  <a:close/>
                  <a:moveTo>
                    <a:pt x="3129" y="96"/>
                  </a:moveTo>
                  <a:lnTo>
                    <a:pt x="3133" y="97"/>
                  </a:lnTo>
                  <a:lnTo>
                    <a:pt x="3134" y="97"/>
                  </a:lnTo>
                  <a:lnTo>
                    <a:pt x="3131" y="97"/>
                  </a:lnTo>
                  <a:lnTo>
                    <a:pt x="3129" y="97"/>
                  </a:lnTo>
                  <a:lnTo>
                    <a:pt x="3128" y="97"/>
                  </a:lnTo>
                  <a:lnTo>
                    <a:pt x="3127" y="96"/>
                  </a:lnTo>
                  <a:lnTo>
                    <a:pt x="3128" y="96"/>
                  </a:lnTo>
                  <a:lnTo>
                    <a:pt x="3129" y="96"/>
                  </a:lnTo>
                  <a:close/>
                  <a:moveTo>
                    <a:pt x="2638" y="96"/>
                  </a:moveTo>
                  <a:lnTo>
                    <a:pt x="2640" y="97"/>
                  </a:lnTo>
                  <a:lnTo>
                    <a:pt x="2642" y="97"/>
                  </a:lnTo>
                  <a:lnTo>
                    <a:pt x="2643" y="97"/>
                  </a:lnTo>
                  <a:lnTo>
                    <a:pt x="2642" y="97"/>
                  </a:lnTo>
                  <a:lnTo>
                    <a:pt x="2641" y="97"/>
                  </a:lnTo>
                  <a:lnTo>
                    <a:pt x="2637" y="96"/>
                  </a:lnTo>
                  <a:lnTo>
                    <a:pt x="2636" y="97"/>
                  </a:lnTo>
                  <a:lnTo>
                    <a:pt x="2635" y="96"/>
                  </a:lnTo>
                  <a:lnTo>
                    <a:pt x="2636" y="96"/>
                  </a:lnTo>
                  <a:lnTo>
                    <a:pt x="2638" y="96"/>
                  </a:lnTo>
                  <a:close/>
                  <a:moveTo>
                    <a:pt x="2634" y="97"/>
                  </a:moveTo>
                  <a:lnTo>
                    <a:pt x="2630" y="97"/>
                  </a:lnTo>
                  <a:lnTo>
                    <a:pt x="2629" y="97"/>
                  </a:lnTo>
                  <a:lnTo>
                    <a:pt x="2629" y="98"/>
                  </a:lnTo>
                  <a:lnTo>
                    <a:pt x="2629" y="97"/>
                  </a:lnTo>
                  <a:lnTo>
                    <a:pt x="2630" y="96"/>
                  </a:lnTo>
                  <a:lnTo>
                    <a:pt x="2634" y="96"/>
                  </a:lnTo>
                  <a:lnTo>
                    <a:pt x="2635" y="96"/>
                  </a:lnTo>
                  <a:lnTo>
                    <a:pt x="2634" y="96"/>
                  </a:lnTo>
                  <a:lnTo>
                    <a:pt x="2634" y="97"/>
                  </a:lnTo>
                  <a:close/>
                  <a:moveTo>
                    <a:pt x="2736" y="96"/>
                  </a:moveTo>
                  <a:lnTo>
                    <a:pt x="2734" y="96"/>
                  </a:lnTo>
                  <a:lnTo>
                    <a:pt x="2734" y="95"/>
                  </a:lnTo>
                  <a:lnTo>
                    <a:pt x="2735" y="95"/>
                  </a:lnTo>
                  <a:lnTo>
                    <a:pt x="2736" y="95"/>
                  </a:lnTo>
                  <a:lnTo>
                    <a:pt x="2737" y="94"/>
                  </a:lnTo>
                  <a:lnTo>
                    <a:pt x="2737" y="95"/>
                  </a:lnTo>
                  <a:lnTo>
                    <a:pt x="2736" y="95"/>
                  </a:lnTo>
                  <a:lnTo>
                    <a:pt x="2737" y="95"/>
                  </a:lnTo>
                  <a:lnTo>
                    <a:pt x="2737" y="96"/>
                  </a:lnTo>
                  <a:lnTo>
                    <a:pt x="2736" y="96"/>
                  </a:lnTo>
                  <a:close/>
                  <a:moveTo>
                    <a:pt x="3263" y="93"/>
                  </a:moveTo>
                  <a:lnTo>
                    <a:pt x="3266" y="93"/>
                  </a:lnTo>
                  <a:lnTo>
                    <a:pt x="3267" y="93"/>
                  </a:lnTo>
                  <a:lnTo>
                    <a:pt x="3271" y="94"/>
                  </a:lnTo>
                  <a:lnTo>
                    <a:pt x="3273" y="94"/>
                  </a:lnTo>
                  <a:lnTo>
                    <a:pt x="3273" y="95"/>
                  </a:lnTo>
                  <a:lnTo>
                    <a:pt x="3274" y="95"/>
                  </a:lnTo>
                  <a:lnTo>
                    <a:pt x="3276" y="95"/>
                  </a:lnTo>
                  <a:lnTo>
                    <a:pt x="3280" y="96"/>
                  </a:lnTo>
                  <a:lnTo>
                    <a:pt x="3281" y="96"/>
                  </a:lnTo>
                  <a:lnTo>
                    <a:pt x="3282" y="97"/>
                  </a:lnTo>
                  <a:lnTo>
                    <a:pt x="3283" y="97"/>
                  </a:lnTo>
                  <a:lnTo>
                    <a:pt x="3283" y="98"/>
                  </a:lnTo>
                  <a:lnTo>
                    <a:pt x="3284" y="98"/>
                  </a:lnTo>
                  <a:lnTo>
                    <a:pt x="3284" y="100"/>
                  </a:lnTo>
                  <a:lnTo>
                    <a:pt x="3285" y="100"/>
                  </a:lnTo>
                  <a:lnTo>
                    <a:pt x="3286" y="100"/>
                  </a:lnTo>
                  <a:lnTo>
                    <a:pt x="3288" y="101"/>
                  </a:lnTo>
                  <a:lnTo>
                    <a:pt x="3286" y="101"/>
                  </a:lnTo>
                  <a:lnTo>
                    <a:pt x="3284" y="101"/>
                  </a:lnTo>
                  <a:lnTo>
                    <a:pt x="3280" y="101"/>
                  </a:lnTo>
                  <a:lnTo>
                    <a:pt x="3277" y="101"/>
                  </a:lnTo>
                  <a:lnTo>
                    <a:pt x="3275" y="101"/>
                  </a:lnTo>
                  <a:lnTo>
                    <a:pt x="3274" y="100"/>
                  </a:lnTo>
                  <a:lnTo>
                    <a:pt x="3270" y="100"/>
                  </a:lnTo>
                  <a:lnTo>
                    <a:pt x="3267" y="100"/>
                  </a:lnTo>
                  <a:lnTo>
                    <a:pt x="3263" y="100"/>
                  </a:lnTo>
                  <a:lnTo>
                    <a:pt x="3261" y="98"/>
                  </a:lnTo>
                  <a:lnTo>
                    <a:pt x="3257" y="98"/>
                  </a:lnTo>
                  <a:lnTo>
                    <a:pt x="3255" y="98"/>
                  </a:lnTo>
                  <a:lnTo>
                    <a:pt x="3253" y="98"/>
                  </a:lnTo>
                  <a:lnTo>
                    <a:pt x="3250" y="100"/>
                  </a:lnTo>
                  <a:lnTo>
                    <a:pt x="3249" y="98"/>
                  </a:lnTo>
                  <a:lnTo>
                    <a:pt x="3248" y="98"/>
                  </a:lnTo>
                  <a:lnTo>
                    <a:pt x="3247" y="98"/>
                  </a:lnTo>
                  <a:lnTo>
                    <a:pt x="3248" y="97"/>
                  </a:lnTo>
                  <a:lnTo>
                    <a:pt x="3249" y="97"/>
                  </a:lnTo>
                  <a:lnTo>
                    <a:pt x="3252" y="97"/>
                  </a:lnTo>
                  <a:lnTo>
                    <a:pt x="3253" y="97"/>
                  </a:lnTo>
                  <a:lnTo>
                    <a:pt x="3253" y="96"/>
                  </a:lnTo>
                  <a:lnTo>
                    <a:pt x="3253" y="95"/>
                  </a:lnTo>
                  <a:lnTo>
                    <a:pt x="3252" y="95"/>
                  </a:lnTo>
                  <a:lnTo>
                    <a:pt x="3252" y="94"/>
                  </a:lnTo>
                  <a:lnTo>
                    <a:pt x="3252" y="93"/>
                  </a:lnTo>
                  <a:lnTo>
                    <a:pt x="3253" y="93"/>
                  </a:lnTo>
                  <a:lnTo>
                    <a:pt x="3255" y="93"/>
                  </a:lnTo>
                  <a:lnTo>
                    <a:pt x="3256" y="91"/>
                  </a:lnTo>
                  <a:lnTo>
                    <a:pt x="3260" y="91"/>
                  </a:lnTo>
                  <a:lnTo>
                    <a:pt x="3263" y="93"/>
                  </a:lnTo>
                  <a:close/>
                  <a:moveTo>
                    <a:pt x="3093" y="91"/>
                  </a:moveTo>
                  <a:lnTo>
                    <a:pt x="3094" y="91"/>
                  </a:lnTo>
                  <a:lnTo>
                    <a:pt x="3094" y="93"/>
                  </a:lnTo>
                  <a:lnTo>
                    <a:pt x="3093" y="93"/>
                  </a:lnTo>
                  <a:lnTo>
                    <a:pt x="3092" y="93"/>
                  </a:lnTo>
                  <a:lnTo>
                    <a:pt x="3091" y="93"/>
                  </a:lnTo>
                  <a:lnTo>
                    <a:pt x="3091" y="91"/>
                  </a:lnTo>
                  <a:lnTo>
                    <a:pt x="3092" y="91"/>
                  </a:lnTo>
                  <a:lnTo>
                    <a:pt x="3091" y="91"/>
                  </a:lnTo>
                  <a:lnTo>
                    <a:pt x="3093" y="91"/>
                  </a:lnTo>
                  <a:lnTo>
                    <a:pt x="3092" y="91"/>
                  </a:lnTo>
                  <a:lnTo>
                    <a:pt x="3093" y="91"/>
                  </a:lnTo>
                  <a:close/>
                  <a:moveTo>
                    <a:pt x="2709" y="90"/>
                  </a:moveTo>
                  <a:lnTo>
                    <a:pt x="2710" y="91"/>
                  </a:lnTo>
                  <a:lnTo>
                    <a:pt x="2709" y="91"/>
                  </a:lnTo>
                  <a:lnTo>
                    <a:pt x="2708" y="91"/>
                  </a:lnTo>
                  <a:lnTo>
                    <a:pt x="2708" y="90"/>
                  </a:lnTo>
                  <a:lnTo>
                    <a:pt x="2705" y="90"/>
                  </a:lnTo>
                  <a:lnTo>
                    <a:pt x="2706" y="90"/>
                  </a:lnTo>
                  <a:lnTo>
                    <a:pt x="2707" y="90"/>
                  </a:lnTo>
                  <a:lnTo>
                    <a:pt x="2708" y="90"/>
                  </a:lnTo>
                  <a:lnTo>
                    <a:pt x="2709" y="90"/>
                  </a:lnTo>
                  <a:close/>
                  <a:moveTo>
                    <a:pt x="2701" y="89"/>
                  </a:moveTo>
                  <a:lnTo>
                    <a:pt x="2701" y="90"/>
                  </a:lnTo>
                  <a:lnTo>
                    <a:pt x="2700" y="89"/>
                  </a:lnTo>
                  <a:lnTo>
                    <a:pt x="2699" y="89"/>
                  </a:lnTo>
                  <a:lnTo>
                    <a:pt x="2700" y="90"/>
                  </a:lnTo>
                  <a:lnTo>
                    <a:pt x="2697" y="89"/>
                  </a:lnTo>
                  <a:lnTo>
                    <a:pt x="2694" y="89"/>
                  </a:lnTo>
                  <a:lnTo>
                    <a:pt x="2693" y="89"/>
                  </a:lnTo>
                  <a:lnTo>
                    <a:pt x="2694" y="89"/>
                  </a:lnTo>
                  <a:lnTo>
                    <a:pt x="2695" y="89"/>
                  </a:lnTo>
                  <a:lnTo>
                    <a:pt x="2697" y="89"/>
                  </a:lnTo>
                  <a:lnTo>
                    <a:pt x="2700" y="89"/>
                  </a:lnTo>
                  <a:lnTo>
                    <a:pt x="2701" y="89"/>
                  </a:lnTo>
                  <a:close/>
                  <a:moveTo>
                    <a:pt x="2692" y="90"/>
                  </a:moveTo>
                  <a:lnTo>
                    <a:pt x="2691" y="89"/>
                  </a:lnTo>
                  <a:lnTo>
                    <a:pt x="2690" y="89"/>
                  </a:lnTo>
                  <a:lnTo>
                    <a:pt x="2688" y="89"/>
                  </a:lnTo>
                  <a:lnTo>
                    <a:pt x="2690" y="89"/>
                  </a:lnTo>
                  <a:lnTo>
                    <a:pt x="2691" y="89"/>
                  </a:lnTo>
                  <a:lnTo>
                    <a:pt x="2693" y="89"/>
                  </a:lnTo>
                  <a:lnTo>
                    <a:pt x="2692" y="90"/>
                  </a:lnTo>
                  <a:close/>
                  <a:moveTo>
                    <a:pt x="3196" y="88"/>
                  </a:moveTo>
                  <a:lnTo>
                    <a:pt x="3197" y="89"/>
                  </a:lnTo>
                  <a:lnTo>
                    <a:pt x="3198" y="89"/>
                  </a:lnTo>
                  <a:lnTo>
                    <a:pt x="3199" y="89"/>
                  </a:lnTo>
                  <a:lnTo>
                    <a:pt x="3202" y="90"/>
                  </a:lnTo>
                  <a:lnTo>
                    <a:pt x="3203" y="90"/>
                  </a:lnTo>
                  <a:lnTo>
                    <a:pt x="3204" y="90"/>
                  </a:lnTo>
                  <a:lnTo>
                    <a:pt x="3204" y="91"/>
                  </a:lnTo>
                  <a:lnTo>
                    <a:pt x="3205" y="91"/>
                  </a:lnTo>
                  <a:lnTo>
                    <a:pt x="3204" y="91"/>
                  </a:lnTo>
                  <a:lnTo>
                    <a:pt x="3205" y="91"/>
                  </a:lnTo>
                  <a:lnTo>
                    <a:pt x="3205" y="93"/>
                  </a:lnTo>
                  <a:lnTo>
                    <a:pt x="3204" y="93"/>
                  </a:lnTo>
                  <a:lnTo>
                    <a:pt x="3204" y="91"/>
                  </a:lnTo>
                  <a:lnTo>
                    <a:pt x="3203" y="91"/>
                  </a:lnTo>
                  <a:lnTo>
                    <a:pt x="3198" y="90"/>
                  </a:lnTo>
                  <a:lnTo>
                    <a:pt x="3197" y="90"/>
                  </a:lnTo>
                  <a:lnTo>
                    <a:pt x="3197" y="89"/>
                  </a:lnTo>
                  <a:lnTo>
                    <a:pt x="3196" y="89"/>
                  </a:lnTo>
                  <a:lnTo>
                    <a:pt x="3195" y="89"/>
                  </a:lnTo>
                  <a:lnTo>
                    <a:pt x="3193" y="89"/>
                  </a:lnTo>
                  <a:lnTo>
                    <a:pt x="3192" y="89"/>
                  </a:lnTo>
                  <a:lnTo>
                    <a:pt x="3192" y="88"/>
                  </a:lnTo>
                  <a:lnTo>
                    <a:pt x="3191" y="88"/>
                  </a:lnTo>
                  <a:lnTo>
                    <a:pt x="3190" y="87"/>
                  </a:lnTo>
                  <a:lnTo>
                    <a:pt x="3191" y="88"/>
                  </a:lnTo>
                  <a:lnTo>
                    <a:pt x="3193" y="88"/>
                  </a:lnTo>
                  <a:lnTo>
                    <a:pt x="3196" y="88"/>
                  </a:lnTo>
                  <a:close/>
                  <a:moveTo>
                    <a:pt x="3246" y="91"/>
                  </a:moveTo>
                  <a:lnTo>
                    <a:pt x="3245" y="91"/>
                  </a:lnTo>
                  <a:lnTo>
                    <a:pt x="3243" y="91"/>
                  </a:lnTo>
                  <a:lnTo>
                    <a:pt x="3240" y="90"/>
                  </a:lnTo>
                  <a:lnTo>
                    <a:pt x="3239" y="90"/>
                  </a:lnTo>
                  <a:lnTo>
                    <a:pt x="3239" y="89"/>
                  </a:lnTo>
                  <a:lnTo>
                    <a:pt x="3238" y="89"/>
                  </a:lnTo>
                  <a:lnTo>
                    <a:pt x="3238" y="88"/>
                  </a:lnTo>
                  <a:lnTo>
                    <a:pt x="3240" y="87"/>
                  </a:lnTo>
                  <a:lnTo>
                    <a:pt x="3242" y="87"/>
                  </a:lnTo>
                  <a:lnTo>
                    <a:pt x="3243" y="87"/>
                  </a:lnTo>
                  <a:lnTo>
                    <a:pt x="3245" y="88"/>
                  </a:lnTo>
                  <a:lnTo>
                    <a:pt x="3246" y="88"/>
                  </a:lnTo>
                  <a:lnTo>
                    <a:pt x="3247" y="88"/>
                  </a:lnTo>
                  <a:lnTo>
                    <a:pt x="3247" y="89"/>
                  </a:lnTo>
                  <a:lnTo>
                    <a:pt x="3248" y="89"/>
                  </a:lnTo>
                  <a:lnTo>
                    <a:pt x="3248" y="90"/>
                  </a:lnTo>
                  <a:lnTo>
                    <a:pt x="3249" y="90"/>
                  </a:lnTo>
                  <a:lnTo>
                    <a:pt x="3248" y="91"/>
                  </a:lnTo>
                  <a:lnTo>
                    <a:pt x="3247" y="91"/>
                  </a:lnTo>
                  <a:lnTo>
                    <a:pt x="3246" y="91"/>
                  </a:lnTo>
                  <a:close/>
                  <a:moveTo>
                    <a:pt x="3007" y="87"/>
                  </a:moveTo>
                  <a:lnTo>
                    <a:pt x="3006" y="87"/>
                  </a:lnTo>
                  <a:lnTo>
                    <a:pt x="3005" y="87"/>
                  </a:lnTo>
                  <a:lnTo>
                    <a:pt x="3005" y="86"/>
                  </a:lnTo>
                  <a:lnTo>
                    <a:pt x="3006" y="86"/>
                  </a:lnTo>
                  <a:lnTo>
                    <a:pt x="3006" y="87"/>
                  </a:lnTo>
                  <a:lnTo>
                    <a:pt x="3007" y="87"/>
                  </a:lnTo>
                  <a:close/>
                  <a:moveTo>
                    <a:pt x="2709" y="84"/>
                  </a:moveTo>
                  <a:lnTo>
                    <a:pt x="2707" y="84"/>
                  </a:lnTo>
                  <a:lnTo>
                    <a:pt x="2706" y="84"/>
                  </a:lnTo>
                  <a:lnTo>
                    <a:pt x="2708" y="86"/>
                  </a:lnTo>
                  <a:lnTo>
                    <a:pt x="2706" y="86"/>
                  </a:lnTo>
                  <a:lnTo>
                    <a:pt x="2705" y="86"/>
                  </a:lnTo>
                  <a:lnTo>
                    <a:pt x="2705" y="84"/>
                  </a:lnTo>
                  <a:lnTo>
                    <a:pt x="2706" y="84"/>
                  </a:lnTo>
                  <a:lnTo>
                    <a:pt x="2708" y="84"/>
                  </a:lnTo>
                  <a:lnTo>
                    <a:pt x="2709" y="84"/>
                  </a:lnTo>
                  <a:close/>
                  <a:moveTo>
                    <a:pt x="2980" y="87"/>
                  </a:moveTo>
                  <a:lnTo>
                    <a:pt x="2979" y="87"/>
                  </a:lnTo>
                  <a:lnTo>
                    <a:pt x="2980" y="87"/>
                  </a:lnTo>
                  <a:lnTo>
                    <a:pt x="2980" y="88"/>
                  </a:lnTo>
                  <a:lnTo>
                    <a:pt x="2979" y="88"/>
                  </a:lnTo>
                  <a:lnTo>
                    <a:pt x="2979" y="89"/>
                  </a:lnTo>
                  <a:lnTo>
                    <a:pt x="2978" y="89"/>
                  </a:lnTo>
                  <a:lnTo>
                    <a:pt x="2977" y="89"/>
                  </a:lnTo>
                  <a:lnTo>
                    <a:pt x="2975" y="89"/>
                  </a:lnTo>
                  <a:lnTo>
                    <a:pt x="2972" y="89"/>
                  </a:lnTo>
                  <a:lnTo>
                    <a:pt x="2971" y="89"/>
                  </a:lnTo>
                  <a:lnTo>
                    <a:pt x="2970" y="88"/>
                  </a:lnTo>
                  <a:lnTo>
                    <a:pt x="2969" y="88"/>
                  </a:lnTo>
                  <a:lnTo>
                    <a:pt x="2964" y="87"/>
                  </a:lnTo>
                  <a:lnTo>
                    <a:pt x="2963" y="87"/>
                  </a:lnTo>
                  <a:lnTo>
                    <a:pt x="2962" y="87"/>
                  </a:lnTo>
                  <a:lnTo>
                    <a:pt x="2963" y="86"/>
                  </a:lnTo>
                  <a:lnTo>
                    <a:pt x="2964" y="86"/>
                  </a:lnTo>
                  <a:lnTo>
                    <a:pt x="2965" y="86"/>
                  </a:lnTo>
                  <a:lnTo>
                    <a:pt x="2965" y="87"/>
                  </a:lnTo>
                  <a:lnTo>
                    <a:pt x="2966" y="86"/>
                  </a:lnTo>
                  <a:lnTo>
                    <a:pt x="2965" y="84"/>
                  </a:lnTo>
                  <a:lnTo>
                    <a:pt x="2964" y="84"/>
                  </a:lnTo>
                  <a:lnTo>
                    <a:pt x="2965" y="83"/>
                  </a:lnTo>
                  <a:lnTo>
                    <a:pt x="2969" y="84"/>
                  </a:lnTo>
                  <a:lnTo>
                    <a:pt x="2972" y="84"/>
                  </a:lnTo>
                  <a:lnTo>
                    <a:pt x="2975" y="84"/>
                  </a:lnTo>
                  <a:lnTo>
                    <a:pt x="2978" y="84"/>
                  </a:lnTo>
                  <a:lnTo>
                    <a:pt x="2979" y="86"/>
                  </a:lnTo>
                  <a:lnTo>
                    <a:pt x="2980" y="86"/>
                  </a:lnTo>
                  <a:lnTo>
                    <a:pt x="2979" y="86"/>
                  </a:lnTo>
                  <a:lnTo>
                    <a:pt x="2980" y="87"/>
                  </a:lnTo>
                  <a:close/>
                  <a:moveTo>
                    <a:pt x="2714" y="84"/>
                  </a:moveTo>
                  <a:lnTo>
                    <a:pt x="2715" y="84"/>
                  </a:lnTo>
                  <a:lnTo>
                    <a:pt x="2713" y="84"/>
                  </a:lnTo>
                  <a:lnTo>
                    <a:pt x="2712" y="84"/>
                  </a:lnTo>
                  <a:lnTo>
                    <a:pt x="2710" y="84"/>
                  </a:lnTo>
                  <a:lnTo>
                    <a:pt x="2710" y="83"/>
                  </a:lnTo>
                  <a:lnTo>
                    <a:pt x="2712" y="83"/>
                  </a:lnTo>
                  <a:lnTo>
                    <a:pt x="2714" y="83"/>
                  </a:lnTo>
                  <a:lnTo>
                    <a:pt x="2715" y="83"/>
                  </a:lnTo>
                  <a:lnTo>
                    <a:pt x="2715" y="84"/>
                  </a:lnTo>
                  <a:lnTo>
                    <a:pt x="2714" y="84"/>
                  </a:lnTo>
                  <a:close/>
                  <a:moveTo>
                    <a:pt x="2719" y="83"/>
                  </a:moveTo>
                  <a:lnTo>
                    <a:pt x="2720" y="83"/>
                  </a:lnTo>
                  <a:lnTo>
                    <a:pt x="2721" y="84"/>
                  </a:lnTo>
                  <a:lnTo>
                    <a:pt x="2720" y="84"/>
                  </a:lnTo>
                  <a:lnTo>
                    <a:pt x="2719" y="84"/>
                  </a:lnTo>
                  <a:lnTo>
                    <a:pt x="2720" y="84"/>
                  </a:lnTo>
                  <a:lnTo>
                    <a:pt x="2719" y="84"/>
                  </a:lnTo>
                  <a:lnTo>
                    <a:pt x="2719" y="86"/>
                  </a:lnTo>
                  <a:lnTo>
                    <a:pt x="2717" y="84"/>
                  </a:lnTo>
                  <a:lnTo>
                    <a:pt x="2716" y="84"/>
                  </a:lnTo>
                  <a:lnTo>
                    <a:pt x="2716" y="83"/>
                  </a:lnTo>
                  <a:lnTo>
                    <a:pt x="2717" y="83"/>
                  </a:lnTo>
                  <a:lnTo>
                    <a:pt x="2719" y="83"/>
                  </a:lnTo>
                  <a:close/>
                  <a:moveTo>
                    <a:pt x="2658" y="83"/>
                  </a:moveTo>
                  <a:lnTo>
                    <a:pt x="2657" y="83"/>
                  </a:lnTo>
                  <a:lnTo>
                    <a:pt x="2658" y="84"/>
                  </a:lnTo>
                  <a:lnTo>
                    <a:pt x="2657" y="84"/>
                  </a:lnTo>
                  <a:lnTo>
                    <a:pt x="2653" y="83"/>
                  </a:lnTo>
                  <a:lnTo>
                    <a:pt x="2655" y="83"/>
                  </a:lnTo>
                  <a:lnTo>
                    <a:pt x="2653" y="83"/>
                  </a:lnTo>
                  <a:lnTo>
                    <a:pt x="2653" y="82"/>
                  </a:lnTo>
                  <a:lnTo>
                    <a:pt x="2655" y="82"/>
                  </a:lnTo>
                  <a:lnTo>
                    <a:pt x="2655" y="83"/>
                  </a:lnTo>
                  <a:lnTo>
                    <a:pt x="2657" y="83"/>
                  </a:lnTo>
                  <a:lnTo>
                    <a:pt x="2658" y="83"/>
                  </a:lnTo>
                  <a:close/>
                  <a:moveTo>
                    <a:pt x="2712" y="81"/>
                  </a:moveTo>
                  <a:lnTo>
                    <a:pt x="2713" y="81"/>
                  </a:lnTo>
                  <a:lnTo>
                    <a:pt x="2714" y="81"/>
                  </a:lnTo>
                  <a:lnTo>
                    <a:pt x="2714" y="82"/>
                  </a:lnTo>
                  <a:lnTo>
                    <a:pt x="2713" y="81"/>
                  </a:lnTo>
                  <a:lnTo>
                    <a:pt x="2712" y="82"/>
                  </a:lnTo>
                  <a:lnTo>
                    <a:pt x="2712" y="81"/>
                  </a:lnTo>
                  <a:lnTo>
                    <a:pt x="2710" y="81"/>
                  </a:lnTo>
                  <a:lnTo>
                    <a:pt x="2709" y="81"/>
                  </a:lnTo>
                  <a:lnTo>
                    <a:pt x="2708" y="81"/>
                  </a:lnTo>
                  <a:lnTo>
                    <a:pt x="2710" y="81"/>
                  </a:lnTo>
                  <a:lnTo>
                    <a:pt x="2712" y="81"/>
                  </a:lnTo>
                  <a:close/>
                  <a:moveTo>
                    <a:pt x="2724" y="79"/>
                  </a:moveTo>
                  <a:lnTo>
                    <a:pt x="2724" y="80"/>
                  </a:lnTo>
                  <a:lnTo>
                    <a:pt x="2723" y="80"/>
                  </a:lnTo>
                  <a:lnTo>
                    <a:pt x="2722" y="80"/>
                  </a:lnTo>
                  <a:lnTo>
                    <a:pt x="2721" y="79"/>
                  </a:lnTo>
                  <a:lnTo>
                    <a:pt x="2721" y="80"/>
                  </a:lnTo>
                  <a:lnTo>
                    <a:pt x="2722" y="80"/>
                  </a:lnTo>
                  <a:lnTo>
                    <a:pt x="2723" y="80"/>
                  </a:lnTo>
                  <a:lnTo>
                    <a:pt x="2724" y="80"/>
                  </a:lnTo>
                  <a:lnTo>
                    <a:pt x="2723" y="80"/>
                  </a:lnTo>
                  <a:lnTo>
                    <a:pt x="2722" y="80"/>
                  </a:lnTo>
                  <a:lnTo>
                    <a:pt x="2721" y="80"/>
                  </a:lnTo>
                  <a:lnTo>
                    <a:pt x="2720" y="80"/>
                  </a:lnTo>
                  <a:lnTo>
                    <a:pt x="2719" y="80"/>
                  </a:lnTo>
                  <a:lnTo>
                    <a:pt x="2717" y="80"/>
                  </a:lnTo>
                  <a:lnTo>
                    <a:pt x="2716" y="80"/>
                  </a:lnTo>
                  <a:lnTo>
                    <a:pt x="2716" y="79"/>
                  </a:lnTo>
                  <a:lnTo>
                    <a:pt x="2717" y="79"/>
                  </a:lnTo>
                  <a:lnTo>
                    <a:pt x="2717" y="80"/>
                  </a:lnTo>
                  <a:lnTo>
                    <a:pt x="2720" y="80"/>
                  </a:lnTo>
                  <a:lnTo>
                    <a:pt x="2720" y="79"/>
                  </a:lnTo>
                  <a:lnTo>
                    <a:pt x="2719" y="79"/>
                  </a:lnTo>
                  <a:lnTo>
                    <a:pt x="2720" y="79"/>
                  </a:lnTo>
                  <a:lnTo>
                    <a:pt x="2721" y="79"/>
                  </a:lnTo>
                  <a:lnTo>
                    <a:pt x="2722" y="79"/>
                  </a:lnTo>
                  <a:lnTo>
                    <a:pt x="2723" y="79"/>
                  </a:lnTo>
                  <a:lnTo>
                    <a:pt x="2724" y="79"/>
                  </a:lnTo>
                  <a:close/>
                  <a:moveTo>
                    <a:pt x="2677" y="76"/>
                  </a:moveTo>
                  <a:lnTo>
                    <a:pt x="2677" y="77"/>
                  </a:lnTo>
                  <a:lnTo>
                    <a:pt x="2676" y="76"/>
                  </a:lnTo>
                  <a:lnTo>
                    <a:pt x="2674" y="76"/>
                  </a:lnTo>
                  <a:lnTo>
                    <a:pt x="2676" y="76"/>
                  </a:lnTo>
                  <a:lnTo>
                    <a:pt x="2677" y="76"/>
                  </a:lnTo>
                  <a:close/>
                  <a:moveTo>
                    <a:pt x="2672" y="73"/>
                  </a:moveTo>
                  <a:lnTo>
                    <a:pt x="2673" y="73"/>
                  </a:lnTo>
                  <a:lnTo>
                    <a:pt x="2672" y="73"/>
                  </a:lnTo>
                  <a:lnTo>
                    <a:pt x="2671" y="73"/>
                  </a:lnTo>
                  <a:lnTo>
                    <a:pt x="2672" y="73"/>
                  </a:lnTo>
                  <a:lnTo>
                    <a:pt x="2673" y="73"/>
                  </a:lnTo>
                  <a:lnTo>
                    <a:pt x="2674" y="74"/>
                  </a:lnTo>
                  <a:lnTo>
                    <a:pt x="2676" y="74"/>
                  </a:lnTo>
                  <a:lnTo>
                    <a:pt x="2674" y="74"/>
                  </a:lnTo>
                  <a:lnTo>
                    <a:pt x="2673" y="74"/>
                  </a:lnTo>
                  <a:lnTo>
                    <a:pt x="2672" y="74"/>
                  </a:lnTo>
                  <a:lnTo>
                    <a:pt x="2673" y="74"/>
                  </a:lnTo>
                  <a:lnTo>
                    <a:pt x="2673" y="75"/>
                  </a:lnTo>
                  <a:lnTo>
                    <a:pt x="2674" y="76"/>
                  </a:lnTo>
                  <a:lnTo>
                    <a:pt x="2673" y="76"/>
                  </a:lnTo>
                  <a:lnTo>
                    <a:pt x="2673" y="75"/>
                  </a:lnTo>
                  <a:lnTo>
                    <a:pt x="2672" y="75"/>
                  </a:lnTo>
                  <a:lnTo>
                    <a:pt x="2671" y="74"/>
                  </a:lnTo>
                  <a:lnTo>
                    <a:pt x="2671" y="75"/>
                  </a:lnTo>
                  <a:lnTo>
                    <a:pt x="2670" y="74"/>
                  </a:lnTo>
                  <a:lnTo>
                    <a:pt x="2670" y="75"/>
                  </a:lnTo>
                  <a:lnTo>
                    <a:pt x="2669" y="74"/>
                  </a:lnTo>
                  <a:lnTo>
                    <a:pt x="2667" y="74"/>
                  </a:lnTo>
                  <a:lnTo>
                    <a:pt x="2669" y="73"/>
                  </a:lnTo>
                  <a:lnTo>
                    <a:pt x="2670" y="73"/>
                  </a:lnTo>
                  <a:lnTo>
                    <a:pt x="2670" y="74"/>
                  </a:lnTo>
                  <a:lnTo>
                    <a:pt x="2671" y="73"/>
                  </a:lnTo>
                  <a:lnTo>
                    <a:pt x="2670" y="73"/>
                  </a:lnTo>
                  <a:lnTo>
                    <a:pt x="2671" y="73"/>
                  </a:lnTo>
                  <a:lnTo>
                    <a:pt x="2670" y="73"/>
                  </a:lnTo>
                  <a:lnTo>
                    <a:pt x="2670" y="72"/>
                  </a:lnTo>
                  <a:lnTo>
                    <a:pt x="2672" y="72"/>
                  </a:lnTo>
                  <a:lnTo>
                    <a:pt x="2672" y="73"/>
                  </a:lnTo>
                  <a:close/>
                  <a:moveTo>
                    <a:pt x="3274" y="72"/>
                  </a:moveTo>
                  <a:lnTo>
                    <a:pt x="3274" y="73"/>
                  </a:lnTo>
                  <a:lnTo>
                    <a:pt x="3275" y="73"/>
                  </a:lnTo>
                  <a:lnTo>
                    <a:pt x="3276" y="73"/>
                  </a:lnTo>
                  <a:lnTo>
                    <a:pt x="3277" y="74"/>
                  </a:lnTo>
                  <a:lnTo>
                    <a:pt x="3281" y="74"/>
                  </a:lnTo>
                  <a:lnTo>
                    <a:pt x="3282" y="74"/>
                  </a:lnTo>
                  <a:lnTo>
                    <a:pt x="3283" y="74"/>
                  </a:lnTo>
                  <a:lnTo>
                    <a:pt x="3282" y="74"/>
                  </a:lnTo>
                  <a:lnTo>
                    <a:pt x="3281" y="74"/>
                  </a:lnTo>
                  <a:lnTo>
                    <a:pt x="3281" y="73"/>
                  </a:lnTo>
                  <a:lnTo>
                    <a:pt x="3282" y="73"/>
                  </a:lnTo>
                  <a:lnTo>
                    <a:pt x="3283" y="74"/>
                  </a:lnTo>
                  <a:lnTo>
                    <a:pt x="3282" y="73"/>
                  </a:lnTo>
                  <a:lnTo>
                    <a:pt x="3281" y="73"/>
                  </a:lnTo>
                  <a:lnTo>
                    <a:pt x="3284" y="73"/>
                  </a:lnTo>
                  <a:lnTo>
                    <a:pt x="3285" y="73"/>
                  </a:lnTo>
                  <a:lnTo>
                    <a:pt x="3289" y="73"/>
                  </a:lnTo>
                  <a:lnTo>
                    <a:pt x="3291" y="73"/>
                  </a:lnTo>
                  <a:lnTo>
                    <a:pt x="3293" y="74"/>
                  </a:lnTo>
                  <a:lnTo>
                    <a:pt x="3295" y="75"/>
                  </a:lnTo>
                  <a:lnTo>
                    <a:pt x="3296" y="75"/>
                  </a:lnTo>
                  <a:lnTo>
                    <a:pt x="3297" y="75"/>
                  </a:lnTo>
                  <a:lnTo>
                    <a:pt x="3298" y="75"/>
                  </a:lnTo>
                  <a:lnTo>
                    <a:pt x="3299" y="75"/>
                  </a:lnTo>
                  <a:lnTo>
                    <a:pt x="3300" y="75"/>
                  </a:lnTo>
                  <a:lnTo>
                    <a:pt x="3304" y="75"/>
                  </a:lnTo>
                  <a:lnTo>
                    <a:pt x="3307" y="75"/>
                  </a:lnTo>
                  <a:lnTo>
                    <a:pt x="3311" y="75"/>
                  </a:lnTo>
                  <a:lnTo>
                    <a:pt x="3312" y="75"/>
                  </a:lnTo>
                  <a:lnTo>
                    <a:pt x="3312" y="76"/>
                  </a:lnTo>
                  <a:lnTo>
                    <a:pt x="3313" y="76"/>
                  </a:lnTo>
                  <a:lnTo>
                    <a:pt x="3316" y="76"/>
                  </a:lnTo>
                  <a:lnTo>
                    <a:pt x="3317" y="76"/>
                  </a:lnTo>
                  <a:lnTo>
                    <a:pt x="3317" y="77"/>
                  </a:lnTo>
                  <a:lnTo>
                    <a:pt x="3318" y="77"/>
                  </a:lnTo>
                  <a:lnTo>
                    <a:pt x="3318" y="76"/>
                  </a:lnTo>
                  <a:lnTo>
                    <a:pt x="3319" y="76"/>
                  </a:lnTo>
                  <a:lnTo>
                    <a:pt x="3320" y="76"/>
                  </a:lnTo>
                  <a:lnTo>
                    <a:pt x="3320" y="77"/>
                  </a:lnTo>
                  <a:lnTo>
                    <a:pt x="3320" y="79"/>
                  </a:lnTo>
                  <a:lnTo>
                    <a:pt x="3321" y="79"/>
                  </a:lnTo>
                  <a:lnTo>
                    <a:pt x="3323" y="79"/>
                  </a:lnTo>
                  <a:lnTo>
                    <a:pt x="3323" y="80"/>
                  </a:lnTo>
                  <a:lnTo>
                    <a:pt x="3319" y="80"/>
                  </a:lnTo>
                  <a:lnTo>
                    <a:pt x="3317" y="81"/>
                  </a:lnTo>
                  <a:lnTo>
                    <a:pt x="3312" y="81"/>
                  </a:lnTo>
                  <a:lnTo>
                    <a:pt x="3309" y="81"/>
                  </a:lnTo>
                  <a:lnTo>
                    <a:pt x="3305" y="81"/>
                  </a:lnTo>
                  <a:lnTo>
                    <a:pt x="3302" y="81"/>
                  </a:lnTo>
                  <a:lnTo>
                    <a:pt x="3297" y="80"/>
                  </a:lnTo>
                  <a:lnTo>
                    <a:pt x="3296" y="80"/>
                  </a:lnTo>
                  <a:lnTo>
                    <a:pt x="3295" y="79"/>
                  </a:lnTo>
                  <a:lnTo>
                    <a:pt x="3293" y="79"/>
                  </a:lnTo>
                  <a:lnTo>
                    <a:pt x="3292" y="79"/>
                  </a:lnTo>
                  <a:lnTo>
                    <a:pt x="3290" y="79"/>
                  </a:lnTo>
                  <a:lnTo>
                    <a:pt x="3286" y="79"/>
                  </a:lnTo>
                  <a:lnTo>
                    <a:pt x="3285" y="77"/>
                  </a:lnTo>
                  <a:lnTo>
                    <a:pt x="3281" y="76"/>
                  </a:lnTo>
                  <a:lnTo>
                    <a:pt x="3276" y="76"/>
                  </a:lnTo>
                  <a:lnTo>
                    <a:pt x="3274" y="75"/>
                  </a:lnTo>
                  <a:lnTo>
                    <a:pt x="3273" y="75"/>
                  </a:lnTo>
                  <a:lnTo>
                    <a:pt x="3273" y="74"/>
                  </a:lnTo>
                  <a:lnTo>
                    <a:pt x="3271" y="74"/>
                  </a:lnTo>
                  <a:lnTo>
                    <a:pt x="3270" y="73"/>
                  </a:lnTo>
                  <a:lnTo>
                    <a:pt x="3271" y="73"/>
                  </a:lnTo>
                  <a:lnTo>
                    <a:pt x="3271" y="74"/>
                  </a:lnTo>
                  <a:lnTo>
                    <a:pt x="3271" y="73"/>
                  </a:lnTo>
                  <a:lnTo>
                    <a:pt x="3270" y="73"/>
                  </a:lnTo>
                  <a:lnTo>
                    <a:pt x="3271" y="73"/>
                  </a:lnTo>
                  <a:lnTo>
                    <a:pt x="3270" y="73"/>
                  </a:lnTo>
                  <a:lnTo>
                    <a:pt x="3270" y="72"/>
                  </a:lnTo>
                  <a:lnTo>
                    <a:pt x="3269" y="72"/>
                  </a:lnTo>
                  <a:lnTo>
                    <a:pt x="3269" y="70"/>
                  </a:lnTo>
                  <a:lnTo>
                    <a:pt x="3273" y="72"/>
                  </a:lnTo>
                  <a:lnTo>
                    <a:pt x="3274" y="72"/>
                  </a:lnTo>
                  <a:close/>
                  <a:moveTo>
                    <a:pt x="3183" y="72"/>
                  </a:moveTo>
                  <a:lnTo>
                    <a:pt x="3182" y="72"/>
                  </a:lnTo>
                  <a:lnTo>
                    <a:pt x="3181" y="70"/>
                  </a:lnTo>
                  <a:lnTo>
                    <a:pt x="3182" y="70"/>
                  </a:lnTo>
                  <a:lnTo>
                    <a:pt x="3182" y="72"/>
                  </a:lnTo>
                  <a:lnTo>
                    <a:pt x="3183" y="72"/>
                  </a:lnTo>
                  <a:close/>
                  <a:moveTo>
                    <a:pt x="3181" y="70"/>
                  </a:moveTo>
                  <a:lnTo>
                    <a:pt x="3182" y="70"/>
                  </a:lnTo>
                  <a:lnTo>
                    <a:pt x="3181" y="70"/>
                  </a:lnTo>
                  <a:close/>
                  <a:moveTo>
                    <a:pt x="3175" y="74"/>
                  </a:moveTo>
                  <a:lnTo>
                    <a:pt x="3171" y="74"/>
                  </a:lnTo>
                  <a:lnTo>
                    <a:pt x="3170" y="73"/>
                  </a:lnTo>
                  <a:lnTo>
                    <a:pt x="3169" y="73"/>
                  </a:lnTo>
                  <a:lnTo>
                    <a:pt x="3169" y="72"/>
                  </a:lnTo>
                  <a:lnTo>
                    <a:pt x="3168" y="70"/>
                  </a:lnTo>
                  <a:lnTo>
                    <a:pt x="3167" y="70"/>
                  </a:lnTo>
                  <a:lnTo>
                    <a:pt x="3167" y="69"/>
                  </a:lnTo>
                  <a:lnTo>
                    <a:pt x="3165" y="69"/>
                  </a:lnTo>
                  <a:lnTo>
                    <a:pt x="3165" y="68"/>
                  </a:lnTo>
                  <a:lnTo>
                    <a:pt x="3164" y="68"/>
                  </a:lnTo>
                  <a:lnTo>
                    <a:pt x="3165" y="68"/>
                  </a:lnTo>
                  <a:lnTo>
                    <a:pt x="3167" y="68"/>
                  </a:lnTo>
                  <a:lnTo>
                    <a:pt x="3168" y="69"/>
                  </a:lnTo>
                  <a:lnTo>
                    <a:pt x="3169" y="69"/>
                  </a:lnTo>
                  <a:lnTo>
                    <a:pt x="3170" y="70"/>
                  </a:lnTo>
                  <a:lnTo>
                    <a:pt x="3171" y="70"/>
                  </a:lnTo>
                  <a:lnTo>
                    <a:pt x="3172" y="70"/>
                  </a:lnTo>
                  <a:lnTo>
                    <a:pt x="3174" y="70"/>
                  </a:lnTo>
                  <a:lnTo>
                    <a:pt x="3174" y="72"/>
                  </a:lnTo>
                  <a:lnTo>
                    <a:pt x="3174" y="73"/>
                  </a:lnTo>
                  <a:lnTo>
                    <a:pt x="3175" y="73"/>
                  </a:lnTo>
                  <a:lnTo>
                    <a:pt x="3175" y="74"/>
                  </a:lnTo>
                  <a:close/>
                  <a:moveTo>
                    <a:pt x="2662" y="67"/>
                  </a:moveTo>
                  <a:lnTo>
                    <a:pt x="2663" y="67"/>
                  </a:lnTo>
                  <a:lnTo>
                    <a:pt x="2667" y="67"/>
                  </a:lnTo>
                  <a:lnTo>
                    <a:pt x="2669" y="67"/>
                  </a:lnTo>
                  <a:lnTo>
                    <a:pt x="2669" y="68"/>
                  </a:lnTo>
                  <a:lnTo>
                    <a:pt x="2664" y="67"/>
                  </a:lnTo>
                  <a:lnTo>
                    <a:pt x="2663" y="67"/>
                  </a:lnTo>
                  <a:lnTo>
                    <a:pt x="2662" y="67"/>
                  </a:lnTo>
                  <a:close/>
                  <a:moveTo>
                    <a:pt x="2454" y="67"/>
                  </a:moveTo>
                  <a:lnTo>
                    <a:pt x="2453" y="67"/>
                  </a:lnTo>
                  <a:lnTo>
                    <a:pt x="2452" y="67"/>
                  </a:lnTo>
                  <a:lnTo>
                    <a:pt x="2451" y="67"/>
                  </a:lnTo>
                  <a:lnTo>
                    <a:pt x="2450" y="67"/>
                  </a:lnTo>
                  <a:lnTo>
                    <a:pt x="2452" y="67"/>
                  </a:lnTo>
                  <a:lnTo>
                    <a:pt x="2453" y="67"/>
                  </a:lnTo>
                  <a:lnTo>
                    <a:pt x="2453" y="66"/>
                  </a:lnTo>
                  <a:lnTo>
                    <a:pt x="2454" y="66"/>
                  </a:lnTo>
                  <a:lnTo>
                    <a:pt x="2454" y="67"/>
                  </a:lnTo>
                  <a:close/>
                  <a:moveTo>
                    <a:pt x="2674" y="66"/>
                  </a:moveTo>
                  <a:lnTo>
                    <a:pt x="2677" y="67"/>
                  </a:lnTo>
                  <a:lnTo>
                    <a:pt x="2678" y="67"/>
                  </a:lnTo>
                  <a:lnTo>
                    <a:pt x="2677" y="67"/>
                  </a:lnTo>
                  <a:lnTo>
                    <a:pt x="2676" y="67"/>
                  </a:lnTo>
                  <a:lnTo>
                    <a:pt x="2674" y="67"/>
                  </a:lnTo>
                  <a:lnTo>
                    <a:pt x="2673" y="67"/>
                  </a:lnTo>
                  <a:lnTo>
                    <a:pt x="2672" y="67"/>
                  </a:lnTo>
                  <a:lnTo>
                    <a:pt x="2670" y="67"/>
                  </a:lnTo>
                  <a:lnTo>
                    <a:pt x="2669" y="67"/>
                  </a:lnTo>
                  <a:lnTo>
                    <a:pt x="2667" y="67"/>
                  </a:lnTo>
                  <a:lnTo>
                    <a:pt x="2667" y="66"/>
                  </a:lnTo>
                  <a:lnTo>
                    <a:pt x="2669" y="67"/>
                  </a:lnTo>
                  <a:lnTo>
                    <a:pt x="2670" y="66"/>
                  </a:lnTo>
                  <a:lnTo>
                    <a:pt x="2671" y="66"/>
                  </a:lnTo>
                  <a:lnTo>
                    <a:pt x="2674" y="66"/>
                  </a:lnTo>
                  <a:close/>
                  <a:moveTo>
                    <a:pt x="2804" y="66"/>
                  </a:moveTo>
                  <a:lnTo>
                    <a:pt x="2801" y="66"/>
                  </a:lnTo>
                  <a:lnTo>
                    <a:pt x="2800" y="66"/>
                  </a:lnTo>
                  <a:lnTo>
                    <a:pt x="2801" y="66"/>
                  </a:lnTo>
                  <a:lnTo>
                    <a:pt x="2804" y="65"/>
                  </a:lnTo>
                  <a:lnTo>
                    <a:pt x="2805" y="65"/>
                  </a:lnTo>
                  <a:lnTo>
                    <a:pt x="2805" y="66"/>
                  </a:lnTo>
                  <a:lnTo>
                    <a:pt x="2804" y="66"/>
                  </a:lnTo>
                  <a:close/>
                  <a:moveTo>
                    <a:pt x="3318" y="65"/>
                  </a:moveTo>
                  <a:lnTo>
                    <a:pt x="3317" y="65"/>
                  </a:lnTo>
                  <a:lnTo>
                    <a:pt x="3316" y="65"/>
                  </a:lnTo>
                  <a:lnTo>
                    <a:pt x="3314" y="65"/>
                  </a:lnTo>
                  <a:lnTo>
                    <a:pt x="3314" y="63"/>
                  </a:lnTo>
                  <a:lnTo>
                    <a:pt x="3316" y="63"/>
                  </a:lnTo>
                  <a:lnTo>
                    <a:pt x="3317" y="63"/>
                  </a:lnTo>
                  <a:lnTo>
                    <a:pt x="3317" y="65"/>
                  </a:lnTo>
                  <a:lnTo>
                    <a:pt x="3318" y="65"/>
                  </a:lnTo>
                  <a:close/>
                  <a:moveTo>
                    <a:pt x="2785" y="63"/>
                  </a:moveTo>
                  <a:lnTo>
                    <a:pt x="2785" y="65"/>
                  </a:lnTo>
                  <a:lnTo>
                    <a:pt x="2784" y="65"/>
                  </a:lnTo>
                  <a:lnTo>
                    <a:pt x="2784" y="63"/>
                  </a:lnTo>
                  <a:lnTo>
                    <a:pt x="2783" y="63"/>
                  </a:lnTo>
                  <a:lnTo>
                    <a:pt x="2784" y="63"/>
                  </a:lnTo>
                  <a:lnTo>
                    <a:pt x="2785" y="63"/>
                  </a:lnTo>
                  <a:close/>
                  <a:moveTo>
                    <a:pt x="3191" y="65"/>
                  </a:moveTo>
                  <a:lnTo>
                    <a:pt x="3197" y="66"/>
                  </a:lnTo>
                  <a:lnTo>
                    <a:pt x="3198" y="66"/>
                  </a:lnTo>
                  <a:lnTo>
                    <a:pt x="3200" y="66"/>
                  </a:lnTo>
                  <a:lnTo>
                    <a:pt x="3202" y="67"/>
                  </a:lnTo>
                  <a:lnTo>
                    <a:pt x="3203" y="68"/>
                  </a:lnTo>
                  <a:lnTo>
                    <a:pt x="3204" y="68"/>
                  </a:lnTo>
                  <a:lnTo>
                    <a:pt x="3206" y="68"/>
                  </a:lnTo>
                  <a:lnTo>
                    <a:pt x="3207" y="68"/>
                  </a:lnTo>
                  <a:lnTo>
                    <a:pt x="3209" y="68"/>
                  </a:lnTo>
                  <a:lnTo>
                    <a:pt x="3210" y="68"/>
                  </a:lnTo>
                  <a:lnTo>
                    <a:pt x="3211" y="69"/>
                  </a:lnTo>
                  <a:lnTo>
                    <a:pt x="3212" y="69"/>
                  </a:lnTo>
                  <a:lnTo>
                    <a:pt x="3212" y="70"/>
                  </a:lnTo>
                  <a:lnTo>
                    <a:pt x="3213" y="70"/>
                  </a:lnTo>
                  <a:lnTo>
                    <a:pt x="3216" y="70"/>
                  </a:lnTo>
                  <a:lnTo>
                    <a:pt x="3217" y="70"/>
                  </a:lnTo>
                  <a:lnTo>
                    <a:pt x="3218" y="70"/>
                  </a:lnTo>
                  <a:lnTo>
                    <a:pt x="3217" y="70"/>
                  </a:lnTo>
                  <a:lnTo>
                    <a:pt x="3217" y="69"/>
                  </a:lnTo>
                  <a:lnTo>
                    <a:pt x="3214" y="69"/>
                  </a:lnTo>
                  <a:lnTo>
                    <a:pt x="3213" y="68"/>
                  </a:lnTo>
                  <a:lnTo>
                    <a:pt x="3212" y="67"/>
                  </a:lnTo>
                  <a:lnTo>
                    <a:pt x="3211" y="67"/>
                  </a:lnTo>
                  <a:lnTo>
                    <a:pt x="3210" y="66"/>
                  </a:lnTo>
                  <a:lnTo>
                    <a:pt x="3212" y="66"/>
                  </a:lnTo>
                  <a:lnTo>
                    <a:pt x="3216" y="66"/>
                  </a:lnTo>
                  <a:lnTo>
                    <a:pt x="3217" y="66"/>
                  </a:lnTo>
                  <a:lnTo>
                    <a:pt x="3216" y="66"/>
                  </a:lnTo>
                  <a:lnTo>
                    <a:pt x="3214" y="66"/>
                  </a:lnTo>
                  <a:lnTo>
                    <a:pt x="3213" y="65"/>
                  </a:lnTo>
                  <a:lnTo>
                    <a:pt x="3212" y="65"/>
                  </a:lnTo>
                  <a:lnTo>
                    <a:pt x="3211" y="65"/>
                  </a:lnTo>
                  <a:lnTo>
                    <a:pt x="3210" y="63"/>
                  </a:lnTo>
                  <a:lnTo>
                    <a:pt x="3211" y="63"/>
                  </a:lnTo>
                  <a:lnTo>
                    <a:pt x="3213" y="65"/>
                  </a:lnTo>
                  <a:lnTo>
                    <a:pt x="3214" y="65"/>
                  </a:lnTo>
                  <a:lnTo>
                    <a:pt x="3218" y="66"/>
                  </a:lnTo>
                  <a:lnTo>
                    <a:pt x="3221" y="66"/>
                  </a:lnTo>
                  <a:lnTo>
                    <a:pt x="3226" y="67"/>
                  </a:lnTo>
                  <a:lnTo>
                    <a:pt x="3227" y="67"/>
                  </a:lnTo>
                  <a:lnTo>
                    <a:pt x="3227" y="68"/>
                  </a:lnTo>
                  <a:lnTo>
                    <a:pt x="3232" y="68"/>
                  </a:lnTo>
                  <a:lnTo>
                    <a:pt x="3233" y="68"/>
                  </a:lnTo>
                  <a:lnTo>
                    <a:pt x="3235" y="68"/>
                  </a:lnTo>
                  <a:lnTo>
                    <a:pt x="3236" y="68"/>
                  </a:lnTo>
                  <a:lnTo>
                    <a:pt x="3235" y="68"/>
                  </a:lnTo>
                  <a:lnTo>
                    <a:pt x="3238" y="68"/>
                  </a:lnTo>
                  <a:lnTo>
                    <a:pt x="3240" y="68"/>
                  </a:lnTo>
                  <a:lnTo>
                    <a:pt x="3241" y="68"/>
                  </a:lnTo>
                  <a:lnTo>
                    <a:pt x="3245" y="69"/>
                  </a:lnTo>
                  <a:lnTo>
                    <a:pt x="3248" y="69"/>
                  </a:lnTo>
                  <a:lnTo>
                    <a:pt x="3250" y="69"/>
                  </a:lnTo>
                  <a:lnTo>
                    <a:pt x="3252" y="69"/>
                  </a:lnTo>
                  <a:lnTo>
                    <a:pt x="3252" y="70"/>
                  </a:lnTo>
                  <a:lnTo>
                    <a:pt x="3253" y="70"/>
                  </a:lnTo>
                  <a:lnTo>
                    <a:pt x="3257" y="70"/>
                  </a:lnTo>
                  <a:lnTo>
                    <a:pt x="3259" y="70"/>
                  </a:lnTo>
                  <a:lnTo>
                    <a:pt x="3260" y="72"/>
                  </a:lnTo>
                  <a:lnTo>
                    <a:pt x="3261" y="72"/>
                  </a:lnTo>
                  <a:lnTo>
                    <a:pt x="3260" y="72"/>
                  </a:lnTo>
                  <a:lnTo>
                    <a:pt x="3259" y="72"/>
                  </a:lnTo>
                  <a:lnTo>
                    <a:pt x="3257" y="73"/>
                  </a:lnTo>
                  <a:lnTo>
                    <a:pt x="3256" y="73"/>
                  </a:lnTo>
                  <a:lnTo>
                    <a:pt x="3257" y="73"/>
                  </a:lnTo>
                  <a:lnTo>
                    <a:pt x="3257" y="74"/>
                  </a:lnTo>
                  <a:lnTo>
                    <a:pt x="3259" y="74"/>
                  </a:lnTo>
                  <a:lnTo>
                    <a:pt x="3261" y="75"/>
                  </a:lnTo>
                  <a:lnTo>
                    <a:pt x="3262" y="75"/>
                  </a:lnTo>
                  <a:lnTo>
                    <a:pt x="3261" y="75"/>
                  </a:lnTo>
                  <a:lnTo>
                    <a:pt x="3260" y="75"/>
                  </a:lnTo>
                  <a:lnTo>
                    <a:pt x="3261" y="75"/>
                  </a:lnTo>
                  <a:lnTo>
                    <a:pt x="3261" y="76"/>
                  </a:lnTo>
                  <a:lnTo>
                    <a:pt x="3261" y="77"/>
                  </a:lnTo>
                  <a:lnTo>
                    <a:pt x="3259" y="77"/>
                  </a:lnTo>
                  <a:lnTo>
                    <a:pt x="3257" y="77"/>
                  </a:lnTo>
                  <a:lnTo>
                    <a:pt x="3256" y="77"/>
                  </a:lnTo>
                  <a:lnTo>
                    <a:pt x="3255" y="77"/>
                  </a:lnTo>
                  <a:lnTo>
                    <a:pt x="3254" y="77"/>
                  </a:lnTo>
                  <a:lnTo>
                    <a:pt x="3252" y="77"/>
                  </a:lnTo>
                  <a:lnTo>
                    <a:pt x="3250" y="77"/>
                  </a:lnTo>
                  <a:lnTo>
                    <a:pt x="3249" y="77"/>
                  </a:lnTo>
                  <a:lnTo>
                    <a:pt x="3247" y="76"/>
                  </a:lnTo>
                  <a:lnTo>
                    <a:pt x="3246" y="76"/>
                  </a:lnTo>
                  <a:lnTo>
                    <a:pt x="3245" y="76"/>
                  </a:lnTo>
                  <a:lnTo>
                    <a:pt x="3243" y="76"/>
                  </a:lnTo>
                  <a:lnTo>
                    <a:pt x="3243" y="75"/>
                  </a:lnTo>
                  <a:lnTo>
                    <a:pt x="3242" y="75"/>
                  </a:lnTo>
                  <a:lnTo>
                    <a:pt x="3241" y="75"/>
                  </a:lnTo>
                  <a:lnTo>
                    <a:pt x="3240" y="75"/>
                  </a:lnTo>
                  <a:lnTo>
                    <a:pt x="3240" y="74"/>
                  </a:lnTo>
                  <a:lnTo>
                    <a:pt x="3239" y="74"/>
                  </a:lnTo>
                  <a:lnTo>
                    <a:pt x="3238" y="74"/>
                  </a:lnTo>
                  <a:lnTo>
                    <a:pt x="3236" y="74"/>
                  </a:lnTo>
                  <a:lnTo>
                    <a:pt x="3236" y="73"/>
                  </a:lnTo>
                  <a:lnTo>
                    <a:pt x="3235" y="73"/>
                  </a:lnTo>
                  <a:lnTo>
                    <a:pt x="3235" y="72"/>
                  </a:lnTo>
                  <a:lnTo>
                    <a:pt x="3236" y="72"/>
                  </a:lnTo>
                  <a:lnTo>
                    <a:pt x="3238" y="70"/>
                  </a:lnTo>
                  <a:lnTo>
                    <a:pt x="3236" y="70"/>
                  </a:lnTo>
                  <a:lnTo>
                    <a:pt x="3235" y="69"/>
                  </a:lnTo>
                  <a:lnTo>
                    <a:pt x="3234" y="69"/>
                  </a:lnTo>
                  <a:lnTo>
                    <a:pt x="3232" y="69"/>
                  </a:lnTo>
                  <a:lnTo>
                    <a:pt x="3231" y="69"/>
                  </a:lnTo>
                  <a:lnTo>
                    <a:pt x="3228" y="69"/>
                  </a:lnTo>
                  <a:lnTo>
                    <a:pt x="3229" y="69"/>
                  </a:lnTo>
                  <a:lnTo>
                    <a:pt x="3231" y="70"/>
                  </a:lnTo>
                  <a:lnTo>
                    <a:pt x="3229" y="70"/>
                  </a:lnTo>
                  <a:lnTo>
                    <a:pt x="3227" y="70"/>
                  </a:lnTo>
                  <a:lnTo>
                    <a:pt x="3226" y="70"/>
                  </a:lnTo>
                  <a:lnTo>
                    <a:pt x="3227" y="70"/>
                  </a:lnTo>
                  <a:lnTo>
                    <a:pt x="3228" y="70"/>
                  </a:lnTo>
                  <a:lnTo>
                    <a:pt x="3229" y="70"/>
                  </a:lnTo>
                  <a:lnTo>
                    <a:pt x="3228" y="70"/>
                  </a:lnTo>
                  <a:lnTo>
                    <a:pt x="3227" y="70"/>
                  </a:lnTo>
                  <a:lnTo>
                    <a:pt x="3228" y="70"/>
                  </a:lnTo>
                  <a:lnTo>
                    <a:pt x="3229" y="70"/>
                  </a:lnTo>
                  <a:lnTo>
                    <a:pt x="3229" y="72"/>
                  </a:lnTo>
                  <a:lnTo>
                    <a:pt x="3231" y="72"/>
                  </a:lnTo>
                  <a:lnTo>
                    <a:pt x="3232" y="73"/>
                  </a:lnTo>
                  <a:lnTo>
                    <a:pt x="3233" y="73"/>
                  </a:lnTo>
                  <a:lnTo>
                    <a:pt x="3233" y="74"/>
                  </a:lnTo>
                  <a:lnTo>
                    <a:pt x="3234" y="74"/>
                  </a:lnTo>
                  <a:lnTo>
                    <a:pt x="3238" y="75"/>
                  </a:lnTo>
                  <a:lnTo>
                    <a:pt x="3239" y="75"/>
                  </a:lnTo>
                  <a:lnTo>
                    <a:pt x="3240" y="75"/>
                  </a:lnTo>
                  <a:lnTo>
                    <a:pt x="3241" y="76"/>
                  </a:lnTo>
                  <a:lnTo>
                    <a:pt x="3242" y="76"/>
                  </a:lnTo>
                  <a:lnTo>
                    <a:pt x="3243" y="77"/>
                  </a:lnTo>
                  <a:lnTo>
                    <a:pt x="3246" y="77"/>
                  </a:lnTo>
                  <a:lnTo>
                    <a:pt x="3248" y="77"/>
                  </a:lnTo>
                  <a:lnTo>
                    <a:pt x="3250" y="77"/>
                  </a:lnTo>
                  <a:lnTo>
                    <a:pt x="3253" y="79"/>
                  </a:lnTo>
                  <a:lnTo>
                    <a:pt x="3254" y="77"/>
                  </a:lnTo>
                  <a:lnTo>
                    <a:pt x="3255" y="79"/>
                  </a:lnTo>
                  <a:lnTo>
                    <a:pt x="3256" y="79"/>
                  </a:lnTo>
                  <a:lnTo>
                    <a:pt x="3255" y="80"/>
                  </a:lnTo>
                  <a:lnTo>
                    <a:pt x="3252" y="80"/>
                  </a:lnTo>
                  <a:lnTo>
                    <a:pt x="3250" y="80"/>
                  </a:lnTo>
                  <a:lnTo>
                    <a:pt x="3249" y="80"/>
                  </a:lnTo>
                  <a:lnTo>
                    <a:pt x="3248" y="80"/>
                  </a:lnTo>
                  <a:lnTo>
                    <a:pt x="3249" y="80"/>
                  </a:lnTo>
                  <a:lnTo>
                    <a:pt x="3248" y="81"/>
                  </a:lnTo>
                  <a:lnTo>
                    <a:pt x="3246" y="80"/>
                  </a:lnTo>
                  <a:lnTo>
                    <a:pt x="3240" y="79"/>
                  </a:lnTo>
                  <a:lnTo>
                    <a:pt x="3241" y="79"/>
                  </a:lnTo>
                  <a:lnTo>
                    <a:pt x="3242" y="79"/>
                  </a:lnTo>
                  <a:lnTo>
                    <a:pt x="3243" y="79"/>
                  </a:lnTo>
                  <a:lnTo>
                    <a:pt x="3245" y="79"/>
                  </a:lnTo>
                  <a:lnTo>
                    <a:pt x="3243" y="79"/>
                  </a:lnTo>
                  <a:lnTo>
                    <a:pt x="3242" y="79"/>
                  </a:lnTo>
                  <a:lnTo>
                    <a:pt x="3241" y="79"/>
                  </a:lnTo>
                  <a:lnTo>
                    <a:pt x="3238" y="79"/>
                  </a:lnTo>
                  <a:lnTo>
                    <a:pt x="3236" y="79"/>
                  </a:lnTo>
                  <a:lnTo>
                    <a:pt x="3235" y="79"/>
                  </a:lnTo>
                  <a:lnTo>
                    <a:pt x="3233" y="79"/>
                  </a:lnTo>
                  <a:lnTo>
                    <a:pt x="3229" y="80"/>
                  </a:lnTo>
                  <a:lnTo>
                    <a:pt x="3228" y="80"/>
                  </a:lnTo>
                  <a:lnTo>
                    <a:pt x="3227" y="80"/>
                  </a:lnTo>
                  <a:lnTo>
                    <a:pt x="3225" y="80"/>
                  </a:lnTo>
                  <a:lnTo>
                    <a:pt x="3224" y="80"/>
                  </a:lnTo>
                  <a:lnTo>
                    <a:pt x="3222" y="80"/>
                  </a:lnTo>
                  <a:lnTo>
                    <a:pt x="3221" y="80"/>
                  </a:lnTo>
                  <a:lnTo>
                    <a:pt x="3221" y="79"/>
                  </a:lnTo>
                  <a:lnTo>
                    <a:pt x="3220" y="79"/>
                  </a:lnTo>
                  <a:lnTo>
                    <a:pt x="3219" y="79"/>
                  </a:lnTo>
                  <a:lnTo>
                    <a:pt x="3218" y="79"/>
                  </a:lnTo>
                  <a:lnTo>
                    <a:pt x="3217" y="79"/>
                  </a:lnTo>
                  <a:lnTo>
                    <a:pt x="3218" y="80"/>
                  </a:lnTo>
                  <a:lnTo>
                    <a:pt x="3219" y="80"/>
                  </a:lnTo>
                  <a:lnTo>
                    <a:pt x="3220" y="81"/>
                  </a:lnTo>
                  <a:lnTo>
                    <a:pt x="3220" y="82"/>
                  </a:lnTo>
                  <a:lnTo>
                    <a:pt x="3219" y="82"/>
                  </a:lnTo>
                  <a:lnTo>
                    <a:pt x="3218" y="82"/>
                  </a:lnTo>
                  <a:lnTo>
                    <a:pt x="3214" y="82"/>
                  </a:lnTo>
                  <a:lnTo>
                    <a:pt x="3211" y="81"/>
                  </a:lnTo>
                  <a:lnTo>
                    <a:pt x="3207" y="81"/>
                  </a:lnTo>
                  <a:lnTo>
                    <a:pt x="3206" y="81"/>
                  </a:lnTo>
                  <a:lnTo>
                    <a:pt x="3204" y="80"/>
                  </a:lnTo>
                  <a:lnTo>
                    <a:pt x="3203" y="80"/>
                  </a:lnTo>
                  <a:lnTo>
                    <a:pt x="3202" y="80"/>
                  </a:lnTo>
                  <a:lnTo>
                    <a:pt x="3202" y="79"/>
                  </a:lnTo>
                  <a:lnTo>
                    <a:pt x="3200" y="79"/>
                  </a:lnTo>
                  <a:lnTo>
                    <a:pt x="3198" y="77"/>
                  </a:lnTo>
                  <a:lnTo>
                    <a:pt x="3196" y="77"/>
                  </a:lnTo>
                  <a:lnTo>
                    <a:pt x="3191" y="76"/>
                  </a:lnTo>
                  <a:lnTo>
                    <a:pt x="3190" y="76"/>
                  </a:lnTo>
                  <a:lnTo>
                    <a:pt x="3189" y="75"/>
                  </a:lnTo>
                  <a:lnTo>
                    <a:pt x="3186" y="75"/>
                  </a:lnTo>
                  <a:lnTo>
                    <a:pt x="3186" y="74"/>
                  </a:lnTo>
                  <a:lnTo>
                    <a:pt x="3185" y="74"/>
                  </a:lnTo>
                  <a:lnTo>
                    <a:pt x="3184" y="74"/>
                  </a:lnTo>
                  <a:lnTo>
                    <a:pt x="3185" y="74"/>
                  </a:lnTo>
                  <a:lnTo>
                    <a:pt x="3188" y="74"/>
                  </a:lnTo>
                  <a:lnTo>
                    <a:pt x="3189" y="74"/>
                  </a:lnTo>
                  <a:lnTo>
                    <a:pt x="3190" y="74"/>
                  </a:lnTo>
                  <a:lnTo>
                    <a:pt x="3189" y="74"/>
                  </a:lnTo>
                  <a:lnTo>
                    <a:pt x="3189" y="73"/>
                  </a:lnTo>
                  <a:lnTo>
                    <a:pt x="3188" y="73"/>
                  </a:lnTo>
                  <a:lnTo>
                    <a:pt x="3186" y="73"/>
                  </a:lnTo>
                  <a:lnTo>
                    <a:pt x="3185" y="73"/>
                  </a:lnTo>
                  <a:lnTo>
                    <a:pt x="3186" y="73"/>
                  </a:lnTo>
                  <a:lnTo>
                    <a:pt x="3185" y="72"/>
                  </a:lnTo>
                  <a:lnTo>
                    <a:pt x="3184" y="72"/>
                  </a:lnTo>
                  <a:lnTo>
                    <a:pt x="3183" y="72"/>
                  </a:lnTo>
                  <a:lnTo>
                    <a:pt x="3183" y="70"/>
                  </a:lnTo>
                  <a:lnTo>
                    <a:pt x="3184" y="70"/>
                  </a:lnTo>
                  <a:lnTo>
                    <a:pt x="3183" y="70"/>
                  </a:lnTo>
                  <a:lnTo>
                    <a:pt x="3182" y="70"/>
                  </a:lnTo>
                  <a:lnTo>
                    <a:pt x="3181" y="69"/>
                  </a:lnTo>
                  <a:lnTo>
                    <a:pt x="3179" y="69"/>
                  </a:lnTo>
                  <a:lnTo>
                    <a:pt x="3179" y="68"/>
                  </a:lnTo>
                  <a:lnTo>
                    <a:pt x="3181" y="68"/>
                  </a:lnTo>
                  <a:lnTo>
                    <a:pt x="3182" y="69"/>
                  </a:lnTo>
                  <a:lnTo>
                    <a:pt x="3183" y="69"/>
                  </a:lnTo>
                  <a:lnTo>
                    <a:pt x="3185" y="69"/>
                  </a:lnTo>
                  <a:lnTo>
                    <a:pt x="3184" y="68"/>
                  </a:lnTo>
                  <a:lnTo>
                    <a:pt x="3183" y="68"/>
                  </a:lnTo>
                  <a:lnTo>
                    <a:pt x="3182" y="68"/>
                  </a:lnTo>
                  <a:lnTo>
                    <a:pt x="3181" y="68"/>
                  </a:lnTo>
                  <a:lnTo>
                    <a:pt x="3179" y="67"/>
                  </a:lnTo>
                  <a:lnTo>
                    <a:pt x="3178" y="67"/>
                  </a:lnTo>
                  <a:lnTo>
                    <a:pt x="3179" y="66"/>
                  </a:lnTo>
                  <a:lnTo>
                    <a:pt x="3182" y="66"/>
                  </a:lnTo>
                  <a:lnTo>
                    <a:pt x="3183" y="66"/>
                  </a:lnTo>
                  <a:lnTo>
                    <a:pt x="3183" y="65"/>
                  </a:lnTo>
                  <a:lnTo>
                    <a:pt x="3182" y="65"/>
                  </a:lnTo>
                  <a:lnTo>
                    <a:pt x="3182" y="66"/>
                  </a:lnTo>
                  <a:lnTo>
                    <a:pt x="3182" y="65"/>
                  </a:lnTo>
                  <a:lnTo>
                    <a:pt x="3183" y="65"/>
                  </a:lnTo>
                  <a:lnTo>
                    <a:pt x="3184" y="65"/>
                  </a:lnTo>
                  <a:lnTo>
                    <a:pt x="3185" y="65"/>
                  </a:lnTo>
                  <a:lnTo>
                    <a:pt x="3185" y="66"/>
                  </a:lnTo>
                  <a:lnTo>
                    <a:pt x="3185" y="65"/>
                  </a:lnTo>
                  <a:lnTo>
                    <a:pt x="3184" y="65"/>
                  </a:lnTo>
                  <a:lnTo>
                    <a:pt x="3184" y="63"/>
                  </a:lnTo>
                  <a:lnTo>
                    <a:pt x="3186" y="63"/>
                  </a:lnTo>
                  <a:lnTo>
                    <a:pt x="3188" y="63"/>
                  </a:lnTo>
                  <a:lnTo>
                    <a:pt x="3186" y="63"/>
                  </a:lnTo>
                  <a:lnTo>
                    <a:pt x="3188" y="63"/>
                  </a:lnTo>
                  <a:lnTo>
                    <a:pt x="3189" y="63"/>
                  </a:lnTo>
                  <a:lnTo>
                    <a:pt x="3189" y="65"/>
                  </a:lnTo>
                  <a:lnTo>
                    <a:pt x="3191" y="65"/>
                  </a:lnTo>
                  <a:close/>
                  <a:moveTo>
                    <a:pt x="2781" y="62"/>
                  </a:moveTo>
                  <a:lnTo>
                    <a:pt x="2780" y="63"/>
                  </a:lnTo>
                  <a:lnTo>
                    <a:pt x="2781" y="63"/>
                  </a:lnTo>
                  <a:lnTo>
                    <a:pt x="2780" y="63"/>
                  </a:lnTo>
                  <a:lnTo>
                    <a:pt x="2779" y="63"/>
                  </a:lnTo>
                  <a:lnTo>
                    <a:pt x="2778" y="63"/>
                  </a:lnTo>
                  <a:lnTo>
                    <a:pt x="2777" y="63"/>
                  </a:lnTo>
                  <a:lnTo>
                    <a:pt x="2780" y="63"/>
                  </a:lnTo>
                  <a:lnTo>
                    <a:pt x="2779" y="63"/>
                  </a:lnTo>
                  <a:lnTo>
                    <a:pt x="2780" y="62"/>
                  </a:lnTo>
                  <a:lnTo>
                    <a:pt x="2781" y="62"/>
                  </a:lnTo>
                  <a:close/>
                  <a:moveTo>
                    <a:pt x="2793" y="62"/>
                  </a:moveTo>
                  <a:lnTo>
                    <a:pt x="2797" y="62"/>
                  </a:lnTo>
                  <a:lnTo>
                    <a:pt x="2797" y="63"/>
                  </a:lnTo>
                  <a:lnTo>
                    <a:pt x="2798" y="63"/>
                  </a:lnTo>
                  <a:lnTo>
                    <a:pt x="2798" y="65"/>
                  </a:lnTo>
                  <a:lnTo>
                    <a:pt x="2797" y="65"/>
                  </a:lnTo>
                  <a:lnTo>
                    <a:pt x="2797" y="63"/>
                  </a:lnTo>
                  <a:lnTo>
                    <a:pt x="2795" y="62"/>
                  </a:lnTo>
                  <a:lnTo>
                    <a:pt x="2794" y="62"/>
                  </a:lnTo>
                  <a:lnTo>
                    <a:pt x="2794" y="63"/>
                  </a:lnTo>
                  <a:lnTo>
                    <a:pt x="2795" y="63"/>
                  </a:lnTo>
                  <a:lnTo>
                    <a:pt x="2794" y="63"/>
                  </a:lnTo>
                  <a:lnTo>
                    <a:pt x="2795" y="63"/>
                  </a:lnTo>
                  <a:lnTo>
                    <a:pt x="2795" y="65"/>
                  </a:lnTo>
                  <a:lnTo>
                    <a:pt x="2797" y="65"/>
                  </a:lnTo>
                  <a:lnTo>
                    <a:pt x="2795" y="65"/>
                  </a:lnTo>
                  <a:lnTo>
                    <a:pt x="2794" y="65"/>
                  </a:lnTo>
                  <a:lnTo>
                    <a:pt x="2791" y="65"/>
                  </a:lnTo>
                  <a:lnTo>
                    <a:pt x="2790" y="63"/>
                  </a:lnTo>
                  <a:lnTo>
                    <a:pt x="2788" y="63"/>
                  </a:lnTo>
                  <a:lnTo>
                    <a:pt x="2785" y="63"/>
                  </a:lnTo>
                  <a:lnTo>
                    <a:pt x="2785" y="62"/>
                  </a:lnTo>
                  <a:lnTo>
                    <a:pt x="2784" y="62"/>
                  </a:lnTo>
                  <a:lnTo>
                    <a:pt x="2785" y="62"/>
                  </a:lnTo>
                  <a:lnTo>
                    <a:pt x="2786" y="62"/>
                  </a:lnTo>
                  <a:lnTo>
                    <a:pt x="2786" y="63"/>
                  </a:lnTo>
                  <a:lnTo>
                    <a:pt x="2787" y="63"/>
                  </a:lnTo>
                  <a:lnTo>
                    <a:pt x="2787" y="62"/>
                  </a:lnTo>
                  <a:lnTo>
                    <a:pt x="2788" y="62"/>
                  </a:lnTo>
                  <a:lnTo>
                    <a:pt x="2790" y="62"/>
                  </a:lnTo>
                  <a:lnTo>
                    <a:pt x="2791" y="62"/>
                  </a:lnTo>
                  <a:lnTo>
                    <a:pt x="2792" y="62"/>
                  </a:lnTo>
                  <a:lnTo>
                    <a:pt x="2792" y="63"/>
                  </a:lnTo>
                  <a:lnTo>
                    <a:pt x="2792" y="62"/>
                  </a:lnTo>
                  <a:lnTo>
                    <a:pt x="2793" y="62"/>
                  </a:lnTo>
                  <a:close/>
                  <a:moveTo>
                    <a:pt x="2797" y="62"/>
                  </a:moveTo>
                  <a:lnTo>
                    <a:pt x="2795" y="62"/>
                  </a:lnTo>
                  <a:lnTo>
                    <a:pt x="2794" y="62"/>
                  </a:lnTo>
                  <a:lnTo>
                    <a:pt x="2793" y="62"/>
                  </a:lnTo>
                  <a:lnTo>
                    <a:pt x="2795" y="62"/>
                  </a:lnTo>
                  <a:lnTo>
                    <a:pt x="2797" y="62"/>
                  </a:lnTo>
                  <a:close/>
                  <a:moveTo>
                    <a:pt x="2798" y="62"/>
                  </a:moveTo>
                  <a:lnTo>
                    <a:pt x="2799" y="62"/>
                  </a:lnTo>
                  <a:lnTo>
                    <a:pt x="2800" y="62"/>
                  </a:lnTo>
                  <a:lnTo>
                    <a:pt x="2799" y="62"/>
                  </a:lnTo>
                  <a:lnTo>
                    <a:pt x="2799" y="63"/>
                  </a:lnTo>
                  <a:lnTo>
                    <a:pt x="2799" y="62"/>
                  </a:lnTo>
                  <a:lnTo>
                    <a:pt x="2801" y="63"/>
                  </a:lnTo>
                  <a:lnTo>
                    <a:pt x="2800" y="63"/>
                  </a:lnTo>
                  <a:lnTo>
                    <a:pt x="2799" y="63"/>
                  </a:lnTo>
                  <a:lnTo>
                    <a:pt x="2798" y="63"/>
                  </a:lnTo>
                  <a:lnTo>
                    <a:pt x="2798" y="62"/>
                  </a:lnTo>
                  <a:close/>
                  <a:moveTo>
                    <a:pt x="2948" y="61"/>
                  </a:moveTo>
                  <a:lnTo>
                    <a:pt x="2949" y="61"/>
                  </a:lnTo>
                  <a:lnTo>
                    <a:pt x="2950" y="61"/>
                  </a:lnTo>
                  <a:lnTo>
                    <a:pt x="2949" y="61"/>
                  </a:lnTo>
                  <a:lnTo>
                    <a:pt x="2947" y="61"/>
                  </a:lnTo>
                  <a:lnTo>
                    <a:pt x="2948" y="61"/>
                  </a:lnTo>
                  <a:close/>
                  <a:moveTo>
                    <a:pt x="2771" y="59"/>
                  </a:moveTo>
                  <a:lnTo>
                    <a:pt x="2766" y="59"/>
                  </a:lnTo>
                  <a:lnTo>
                    <a:pt x="2768" y="59"/>
                  </a:lnTo>
                  <a:lnTo>
                    <a:pt x="2770" y="59"/>
                  </a:lnTo>
                  <a:lnTo>
                    <a:pt x="2771" y="59"/>
                  </a:lnTo>
                  <a:close/>
                  <a:moveTo>
                    <a:pt x="2937" y="59"/>
                  </a:moveTo>
                  <a:lnTo>
                    <a:pt x="2939" y="59"/>
                  </a:lnTo>
                  <a:lnTo>
                    <a:pt x="2939" y="60"/>
                  </a:lnTo>
                  <a:lnTo>
                    <a:pt x="2940" y="60"/>
                  </a:lnTo>
                  <a:lnTo>
                    <a:pt x="2941" y="60"/>
                  </a:lnTo>
                  <a:lnTo>
                    <a:pt x="2940" y="60"/>
                  </a:lnTo>
                  <a:lnTo>
                    <a:pt x="2941" y="60"/>
                  </a:lnTo>
                  <a:lnTo>
                    <a:pt x="2941" y="61"/>
                  </a:lnTo>
                  <a:lnTo>
                    <a:pt x="2940" y="61"/>
                  </a:lnTo>
                  <a:lnTo>
                    <a:pt x="2939" y="60"/>
                  </a:lnTo>
                  <a:lnTo>
                    <a:pt x="2937" y="60"/>
                  </a:lnTo>
                  <a:lnTo>
                    <a:pt x="2936" y="60"/>
                  </a:lnTo>
                  <a:lnTo>
                    <a:pt x="2935" y="60"/>
                  </a:lnTo>
                  <a:lnTo>
                    <a:pt x="2935" y="59"/>
                  </a:lnTo>
                  <a:lnTo>
                    <a:pt x="2934" y="59"/>
                  </a:lnTo>
                  <a:lnTo>
                    <a:pt x="2933" y="59"/>
                  </a:lnTo>
                  <a:lnTo>
                    <a:pt x="2932" y="59"/>
                  </a:lnTo>
                  <a:lnTo>
                    <a:pt x="2934" y="59"/>
                  </a:lnTo>
                  <a:lnTo>
                    <a:pt x="2935" y="59"/>
                  </a:lnTo>
                  <a:lnTo>
                    <a:pt x="2935" y="58"/>
                  </a:lnTo>
                  <a:lnTo>
                    <a:pt x="2936" y="59"/>
                  </a:lnTo>
                  <a:lnTo>
                    <a:pt x="2937" y="59"/>
                  </a:lnTo>
                  <a:close/>
                  <a:moveTo>
                    <a:pt x="2788" y="58"/>
                  </a:moveTo>
                  <a:lnTo>
                    <a:pt x="2790" y="58"/>
                  </a:lnTo>
                  <a:lnTo>
                    <a:pt x="2788" y="58"/>
                  </a:lnTo>
                  <a:lnTo>
                    <a:pt x="2788" y="59"/>
                  </a:lnTo>
                  <a:lnTo>
                    <a:pt x="2787" y="59"/>
                  </a:lnTo>
                  <a:lnTo>
                    <a:pt x="2786" y="59"/>
                  </a:lnTo>
                  <a:lnTo>
                    <a:pt x="2785" y="59"/>
                  </a:lnTo>
                  <a:lnTo>
                    <a:pt x="2785" y="58"/>
                  </a:lnTo>
                  <a:lnTo>
                    <a:pt x="2786" y="58"/>
                  </a:lnTo>
                  <a:lnTo>
                    <a:pt x="2787" y="58"/>
                  </a:lnTo>
                  <a:lnTo>
                    <a:pt x="2788" y="58"/>
                  </a:lnTo>
                  <a:close/>
                  <a:moveTo>
                    <a:pt x="2781" y="58"/>
                  </a:moveTo>
                  <a:lnTo>
                    <a:pt x="2783" y="58"/>
                  </a:lnTo>
                  <a:lnTo>
                    <a:pt x="2784" y="58"/>
                  </a:lnTo>
                  <a:lnTo>
                    <a:pt x="2783" y="59"/>
                  </a:lnTo>
                  <a:lnTo>
                    <a:pt x="2781" y="59"/>
                  </a:lnTo>
                  <a:lnTo>
                    <a:pt x="2780" y="58"/>
                  </a:lnTo>
                  <a:lnTo>
                    <a:pt x="2779" y="58"/>
                  </a:lnTo>
                  <a:lnTo>
                    <a:pt x="2780" y="58"/>
                  </a:lnTo>
                  <a:lnTo>
                    <a:pt x="2781" y="58"/>
                  </a:lnTo>
                  <a:close/>
                  <a:moveTo>
                    <a:pt x="2777" y="58"/>
                  </a:moveTo>
                  <a:lnTo>
                    <a:pt x="2778" y="58"/>
                  </a:lnTo>
                  <a:lnTo>
                    <a:pt x="2779" y="58"/>
                  </a:lnTo>
                  <a:lnTo>
                    <a:pt x="2779" y="59"/>
                  </a:lnTo>
                  <a:lnTo>
                    <a:pt x="2778" y="59"/>
                  </a:lnTo>
                  <a:lnTo>
                    <a:pt x="2776" y="59"/>
                  </a:lnTo>
                  <a:lnTo>
                    <a:pt x="2774" y="59"/>
                  </a:lnTo>
                  <a:lnTo>
                    <a:pt x="2774" y="58"/>
                  </a:lnTo>
                  <a:lnTo>
                    <a:pt x="2776" y="58"/>
                  </a:lnTo>
                  <a:lnTo>
                    <a:pt x="2777" y="58"/>
                  </a:lnTo>
                  <a:close/>
                  <a:moveTo>
                    <a:pt x="2801" y="59"/>
                  </a:moveTo>
                  <a:lnTo>
                    <a:pt x="2800" y="59"/>
                  </a:lnTo>
                  <a:lnTo>
                    <a:pt x="2799" y="59"/>
                  </a:lnTo>
                  <a:lnTo>
                    <a:pt x="2798" y="59"/>
                  </a:lnTo>
                  <a:lnTo>
                    <a:pt x="2799" y="59"/>
                  </a:lnTo>
                  <a:lnTo>
                    <a:pt x="2798" y="58"/>
                  </a:lnTo>
                  <a:lnTo>
                    <a:pt x="2797" y="58"/>
                  </a:lnTo>
                  <a:lnTo>
                    <a:pt x="2798" y="58"/>
                  </a:lnTo>
                  <a:lnTo>
                    <a:pt x="2799" y="58"/>
                  </a:lnTo>
                  <a:lnTo>
                    <a:pt x="2799" y="59"/>
                  </a:lnTo>
                  <a:lnTo>
                    <a:pt x="2800" y="59"/>
                  </a:lnTo>
                  <a:lnTo>
                    <a:pt x="2801" y="59"/>
                  </a:lnTo>
                  <a:close/>
                  <a:moveTo>
                    <a:pt x="3274" y="59"/>
                  </a:moveTo>
                  <a:lnTo>
                    <a:pt x="3271" y="59"/>
                  </a:lnTo>
                  <a:lnTo>
                    <a:pt x="3269" y="59"/>
                  </a:lnTo>
                  <a:lnTo>
                    <a:pt x="3268" y="59"/>
                  </a:lnTo>
                  <a:lnTo>
                    <a:pt x="3267" y="59"/>
                  </a:lnTo>
                  <a:lnTo>
                    <a:pt x="3266" y="59"/>
                  </a:lnTo>
                  <a:lnTo>
                    <a:pt x="3266" y="58"/>
                  </a:lnTo>
                  <a:lnTo>
                    <a:pt x="3267" y="58"/>
                  </a:lnTo>
                  <a:lnTo>
                    <a:pt x="3268" y="58"/>
                  </a:lnTo>
                  <a:lnTo>
                    <a:pt x="3269" y="58"/>
                  </a:lnTo>
                  <a:lnTo>
                    <a:pt x="3273" y="56"/>
                  </a:lnTo>
                  <a:lnTo>
                    <a:pt x="3273" y="58"/>
                  </a:lnTo>
                  <a:lnTo>
                    <a:pt x="3274" y="59"/>
                  </a:lnTo>
                  <a:close/>
                  <a:moveTo>
                    <a:pt x="2799" y="56"/>
                  </a:moveTo>
                  <a:lnTo>
                    <a:pt x="2799" y="58"/>
                  </a:lnTo>
                  <a:lnTo>
                    <a:pt x="2799" y="56"/>
                  </a:lnTo>
                  <a:lnTo>
                    <a:pt x="2798" y="58"/>
                  </a:lnTo>
                  <a:lnTo>
                    <a:pt x="2795" y="58"/>
                  </a:lnTo>
                  <a:lnTo>
                    <a:pt x="2794" y="56"/>
                  </a:lnTo>
                  <a:lnTo>
                    <a:pt x="2798" y="56"/>
                  </a:lnTo>
                  <a:lnTo>
                    <a:pt x="2799" y="56"/>
                  </a:lnTo>
                  <a:close/>
                  <a:moveTo>
                    <a:pt x="2528" y="54"/>
                  </a:moveTo>
                  <a:lnTo>
                    <a:pt x="2529" y="54"/>
                  </a:lnTo>
                  <a:lnTo>
                    <a:pt x="2530" y="54"/>
                  </a:lnTo>
                  <a:lnTo>
                    <a:pt x="2531" y="54"/>
                  </a:lnTo>
                  <a:lnTo>
                    <a:pt x="2530" y="55"/>
                  </a:lnTo>
                  <a:lnTo>
                    <a:pt x="2531" y="55"/>
                  </a:lnTo>
                  <a:lnTo>
                    <a:pt x="2532" y="55"/>
                  </a:lnTo>
                  <a:lnTo>
                    <a:pt x="2534" y="55"/>
                  </a:lnTo>
                  <a:lnTo>
                    <a:pt x="2535" y="55"/>
                  </a:lnTo>
                  <a:lnTo>
                    <a:pt x="2534" y="55"/>
                  </a:lnTo>
                  <a:lnTo>
                    <a:pt x="2534" y="56"/>
                  </a:lnTo>
                  <a:lnTo>
                    <a:pt x="2535" y="56"/>
                  </a:lnTo>
                  <a:lnTo>
                    <a:pt x="2536" y="56"/>
                  </a:lnTo>
                  <a:lnTo>
                    <a:pt x="2536" y="58"/>
                  </a:lnTo>
                  <a:lnTo>
                    <a:pt x="2537" y="58"/>
                  </a:lnTo>
                  <a:lnTo>
                    <a:pt x="2538" y="58"/>
                  </a:lnTo>
                  <a:lnTo>
                    <a:pt x="2537" y="58"/>
                  </a:lnTo>
                  <a:lnTo>
                    <a:pt x="2537" y="59"/>
                  </a:lnTo>
                  <a:lnTo>
                    <a:pt x="2538" y="59"/>
                  </a:lnTo>
                  <a:lnTo>
                    <a:pt x="2538" y="60"/>
                  </a:lnTo>
                  <a:lnTo>
                    <a:pt x="2537" y="60"/>
                  </a:lnTo>
                  <a:lnTo>
                    <a:pt x="2537" y="61"/>
                  </a:lnTo>
                  <a:lnTo>
                    <a:pt x="2536" y="61"/>
                  </a:lnTo>
                  <a:lnTo>
                    <a:pt x="2535" y="61"/>
                  </a:lnTo>
                  <a:lnTo>
                    <a:pt x="2536" y="61"/>
                  </a:lnTo>
                  <a:lnTo>
                    <a:pt x="2535" y="61"/>
                  </a:lnTo>
                  <a:lnTo>
                    <a:pt x="2535" y="62"/>
                  </a:lnTo>
                  <a:lnTo>
                    <a:pt x="2534" y="62"/>
                  </a:lnTo>
                  <a:lnTo>
                    <a:pt x="2535" y="62"/>
                  </a:lnTo>
                  <a:lnTo>
                    <a:pt x="2536" y="62"/>
                  </a:lnTo>
                  <a:lnTo>
                    <a:pt x="2535" y="62"/>
                  </a:lnTo>
                  <a:lnTo>
                    <a:pt x="2532" y="63"/>
                  </a:lnTo>
                  <a:lnTo>
                    <a:pt x="2530" y="63"/>
                  </a:lnTo>
                  <a:lnTo>
                    <a:pt x="2529" y="63"/>
                  </a:lnTo>
                  <a:lnTo>
                    <a:pt x="2528" y="63"/>
                  </a:lnTo>
                  <a:lnTo>
                    <a:pt x="2527" y="65"/>
                  </a:lnTo>
                  <a:lnTo>
                    <a:pt x="2525" y="65"/>
                  </a:lnTo>
                  <a:lnTo>
                    <a:pt x="2523" y="66"/>
                  </a:lnTo>
                  <a:lnTo>
                    <a:pt x="2522" y="66"/>
                  </a:lnTo>
                  <a:lnTo>
                    <a:pt x="2521" y="66"/>
                  </a:lnTo>
                  <a:lnTo>
                    <a:pt x="2520" y="66"/>
                  </a:lnTo>
                  <a:lnTo>
                    <a:pt x="2518" y="67"/>
                  </a:lnTo>
                  <a:lnTo>
                    <a:pt x="2515" y="67"/>
                  </a:lnTo>
                  <a:lnTo>
                    <a:pt x="2510" y="68"/>
                  </a:lnTo>
                  <a:lnTo>
                    <a:pt x="2509" y="68"/>
                  </a:lnTo>
                  <a:lnTo>
                    <a:pt x="2508" y="68"/>
                  </a:lnTo>
                  <a:lnTo>
                    <a:pt x="2506" y="69"/>
                  </a:lnTo>
                  <a:lnTo>
                    <a:pt x="2503" y="69"/>
                  </a:lnTo>
                  <a:lnTo>
                    <a:pt x="2502" y="69"/>
                  </a:lnTo>
                  <a:lnTo>
                    <a:pt x="2501" y="69"/>
                  </a:lnTo>
                  <a:lnTo>
                    <a:pt x="2500" y="70"/>
                  </a:lnTo>
                  <a:lnTo>
                    <a:pt x="2499" y="70"/>
                  </a:lnTo>
                  <a:lnTo>
                    <a:pt x="2499" y="69"/>
                  </a:lnTo>
                  <a:lnTo>
                    <a:pt x="2498" y="69"/>
                  </a:lnTo>
                  <a:lnTo>
                    <a:pt x="2496" y="69"/>
                  </a:lnTo>
                  <a:lnTo>
                    <a:pt x="2498" y="69"/>
                  </a:lnTo>
                  <a:lnTo>
                    <a:pt x="2498" y="70"/>
                  </a:lnTo>
                  <a:lnTo>
                    <a:pt x="2496" y="70"/>
                  </a:lnTo>
                  <a:lnTo>
                    <a:pt x="2495" y="70"/>
                  </a:lnTo>
                  <a:lnTo>
                    <a:pt x="2494" y="72"/>
                  </a:lnTo>
                  <a:lnTo>
                    <a:pt x="2493" y="70"/>
                  </a:lnTo>
                  <a:lnTo>
                    <a:pt x="2491" y="72"/>
                  </a:lnTo>
                  <a:lnTo>
                    <a:pt x="2489" y="72"/>
                  </a:lnTo>
                  <a:lnTo>
                    <a:pt x="2487" y="73"/>
                  </a:lnTo>
                  <a:lnTo>
                    <a:pt x="2486" y="73"/>
                  </a:lnTo>
                  <a:lnTo>
                    <a:pt x="2485" y="73"/>
                  </a:lnTo>
                  <a:lnTo>
                    <a:pt x="2484" y="74"/>
                  </a:lnTo>
                  <a:lnTo>
                    <a:pt x="2482" y="74"/>
                  </a:lnTo>
                  <a:lnTo>
                    <a:pt x="2482" y="75"/>
                  </a:lnTo>
                  <a:lnTo>
                    <a:pt x="2481" y="75"/>
                  </a:lnTo>
                  <a:lnTo>
                    <a:pt x="2480" y="75"/>
                  </a:lnTo>
                  <a:lnTo>
                    <a:pt x="2480" y="74"/>
                  </a:lnTo>
                  <a:lnTo>
                    <a:pt x="2479" y="74"/>
                  </a:lnTo>
                  <a:lnTo>
                    <a:pt x="2479" y="75"/>
                  </a:lnTo>
                  <a:lnTo>
                    <a:pt x="2478" y="76"/>
                  </a:lnTo>
                  <a:lnTo>
                    <a:pt x="2477" y="76"/>
                  </a:lnTo>
                  <a:lnTo>
                    <a:pt x="2475" y="76"/>
                  </a:lnTo>
                  <a:lnTo>
                    <a:pt x="2475" y="77"/>
                  </a:lnTo>
                  <a:lnTo>
                    <a:pt x="2477" y="77"/>
                  </a:lnTo>
                  <a:lnTo>
                    <a:pt x="2475" y="77"/>
                  </a:lnTo>
                  <a:lnTo>
                    <a:pt x="2474" y="77"/>
                  </a:lnTo>
                  <a:lnTo>
                    <a:pt x="2474" y="76"/>
                  </a:lnTo>
                  <a:lnTo>
                    <a:pt x="2473" y="76"/>
                  </a:lnTo>
                  <a:lnTo>
                    <a:pt x="2473" y="77"/>
                  </a:lnTo>
                  <a:lnTo>
                    <a:pt x="2472" y="79"/>
                  </a:lnTo>
                  <a:lnTo>
                    <a:pt x="2472" y="77"/>
                  </a:lnTo>
                  <a:lnTo>
                    <a:pt x="2471" y="79"/>
                  </a:lnTo>
                  <a:lnTo>
                    <a:pt x="2468" y="79"/>
                  </a:lnTo>
                  <a:lnTo>
                    <a:pt x="2470" y="79"/>
                  </a:lnTo>
                  <a:lnTo>
                    <a:pt x="2473" y="79"/>
                  </a:lnTo>
                  <a:lnTo>
                    <a:pt x="2475" y="79"/>
                  </a:lnTo>
                  <a:lnTo>
                    <a:pt x="2477" y="79"/>
                  </a:lnTo>
                  <a:lnTo>
                    <a:pt x="2477" y="80"/>
                  </a:lnTo>
                  <a:lnTo>
                    <a:pt x="2475" y="80"/>
                  </a:lnTo>
                  <a:lnTo>
                    <a:pt x="2474" y="80"/>
                  </a:lnTo>
                  <a:lnTo>
                    <a:pt x="2473" y="80"/>
                  </a:lnTo>
                  <a:lnTo>
                    <a:pt x="2472" y="80"/>
                  </a:lnTo>
                  <a:lnTo>
                    <a:pt x="2473" y="80"/>
                  </a:lnTo>
                  <a:lnTo>
                    <a:pt x="2474" y="81"/>
                  </a:lnTo>
                  <a:lnTo>
                    <a:pt x="2471" y="82"/>
                  </a:lnTo>
                  <a:lnTo>
                    <a:pt x="2471" y="81"/>
                  </a:lnTo>
                  <a:lnTo>
                    <a:pt x="2470" y="81"/>
                  </a:lnTo>
                  <a:lnTo>
                    <a:pt x="2468" y="81"/>
                  </a:lnTo>
                  <a:lnTo>
                    <a:pt x="2467" y="81"/>
                  </a:lnTo>
                  <a:lnTo>
                    <a:pt x="2466" y="81"/>
                  </a:lnTo>
                  <a:lnTo>
                    <a:pt x="2467" y="81"/>
                  </a:lnTo>
                  <a:lnTo>
                    <a:pt x="2468" y="81"/>
                  </a:lnTo>
                  <a:lnTo>
                    <a:pt x="2470" y="82"/>
                  </a:lnTo>
                  <a:lnTo>
                    <a:pt x="2471" y="82"/>
                  </a:lnTo>
                  <a:lnTo>
                    <a:pt x="2471" y="83"/>
                  </a:lnTo>
                  <a:lnTo>
                    <a:pt x="2470" y="83"/>
                  </a:lnTo>
                  <a:lnTo>
                    <a:pt x="2468" y="83"/>
                  </a:lnTo>
                  <a:lnTo>
                    <a:pt x="2467" y="82"/>
                  </a:lnTo>
                  <a:lnTo>
                    <a:pt x="2466" y="82"/>
                  </a:lnTo>
                  <a:lnTo>
                    <a:pt x="2465" y="82"/>
                  </a:lnTo>
                  <a:lnTo>
                    <a:pt x="2464" y="81"/>
                  </a:lnTo>
                  <a:lnTo>
                    <a:pt x="2463" y="81"/>
                  </a:lnTo>
                  <a:lnTo>
                    <a:pt x="2464" y="82"/>
                  </a:lnTo>
                  <a:lnTo>
                    <a:pt x="2465" y="82"/>
                  </a:lnTo>
                  <a:lnTo>
                    <a:pt x="2466" y="82"/>
                  </a:lnTo>
                  <a:lnTo>
                    <a:pt x="2465" y="82"/>
                  </a:lnTo>
                  <a:lnTo>
                    <a:pt x="2464" y="82"/>
                  </a:lnTo>
                  <a:lnTo>
                    <a:pt x="2465" y="83"/>
                  </a:lnTo>
                  <a:lnTo>
                    <a:pt x="2465" y="84"/>
                  </a:lnTo>
                  <a:lnTo>
                    <a:pt x="2466" y="84"/>
                  </a:lnTo>
                  <a:lnTo>
                    <a:pt x="2466" y="86"/>
                  </a:lnTo>
                  <a:lnTo>
                    <a:pt x="2463" y="84"/>
                  </a:lnTo>
                  <a:lnTo>
                    <a:pt x="2461" y="84"/>
                  </a:lnTo>
                  <a:lnTo>
                    <a:pt x="2458" y="83"/>
                  </a:lnTo>
                  <a:lnTo>
                    <a:pt x="2456" y="83"/>
                  </a:lnTo>
                  <a:lnTo>
                    <a:pt x="2457" y="84"/>
                  </a:lnTo>
                  <a:lnTo>
                    <a:pt x="2458" y="84"/>
                  </a:lnTo>
                  <a:lnTo>
                    <a:pt x="2459" y="84"/>
                  </a:lnTo>
                  <a:lnTo>
                    <a:pt x="2461" y="86"/>
                  </a:lnTo>
                  <a:lnTo>
                    <a:pt x="2460" y="86"/>
                  </a:lnTo>
                  <a:lnTo>
                    <a:pt x="2461" y="86"/>
                  </a:lnTo>
                  <a:lnTo>
                    <a:pt x="2461" y="87"/>
                  </a:lnTo>
                  <a:lnTo>
                    <a:pt x="2463" y="87"/>
                  </a:lnTo>
                  <a:lnTo>
                    <a:pt x="2464" y="87"/>
                  </a:lnTo>
                  <a:lnTo>
                    <a:pt x="2463" y="87"/>
                  </a:lnTo>
                  <a:lnTo>
                    <a:pt x="2463" y="88"/>
                  </a:lnTo>
                  <a:lnTo>
                    <a:pt x="2464" y="88"/>
                  </a:lnTo>
                  <a:lnTo>
                    <a:pt x="2461" y="88"/>
                  </a:lnTo>
                  <a:lnTo>
                    <a:pt x="2463" y="88"/>
                  </a:lnTo>
                  <a:lnTo>
                    <a:pt x="2461" y="88"/>
                  </a:lnTo>
                  <a:lnTo>
                    <a:pt x="2463" y="88"/>
                  </a:lnTo>
                  <a:lnTo>
                    <a:pt x="2461" y="88"/>
                  </a:lnTo>
                  <a:lnTo>
                    <a:pt x="2460" y="88"/>
                  </a:lnTo>
                  <a:lnTo>
                    <a:pt x="2459" y="88"/>
                  </a:lnTo>
                  <a:lnTo>
                    <a:pt x="2460" y="89"/>
                  </a:lnTo>
                  <a:lnTo>
                    <a:pt x="2463" y="89"/>
                  </a:lnTo>
                  <a:lnTo>
                    <a:pt x="2461" y="89"/>
                  </a:lnTo>
                  <a:lnTo>
                    <a:pt x="2460" y="89"/>
                  </a:lnTo>
                  <a:lnTo>
                    <a:pt x="2459" y="89"/>
                  </a:lnTo>
                  <a:lnTo>
                    <a:pt x="2459" y="90"/>
                  </a:lnTo>
                  <a:lnTo>
                    <a:pt x="2460" y="90"/>
                  </a:lnTo>
                  <a:lnTo>
                    <a:pt x="2459" y="90"/>
                  </a:lnTo>
                  <a:lnTo>
                    <a:pt x="2458" y="90"/>
                  </a:lnTo>
                  <a:lnTo>
                    <a:pt x="2457" y="90"/>
                  </a:lnTo>
                  <a:lnTo>
                    <a:pt x="2456" y="90"/>
                  </a:lnTo>
                  <a:lnTo>
                    <a:pt x="2453" y="89"/>
                  </a:lnTo>
                  <a:lnTo>
                    <a:pt x="2453" y="88"/>
                  </a:lnTo>
                  <a:lnTo>
                    <a:pt x="2452" y="88"/>
                  </a:lnTo>
                  <a:lnTo>
                    <a:pt x="2451" y="88"/>
                  </a:lnTo>
                  <a:lnTo>
                    <a:pt x="2452" y="89"/>
                  </a:lnTo>
                  <a:lnTo>
                    <a:pt x="2453" y="89"/>
                  </a:lnTo>
                  <a:lnTo>
                    <a:pt x="2451" y="89"/>
                  </a:lnTo>
                  <a:lnTo>
                    <a:pt x="2453" y="90"/>
                  </a:lnTo>
                  <a:lnTo>
                    <a:pt x="2454" y="90"/>
                  </a:lnTo>
                  <a:lnTo>
                    <a:pt x="2458" y="91"/>
                  </a:lnTo>
                  <a:lnTo>
                    <a:pt x="2457" y="91"/>
                  </a:lnTo>
                  <a:lnTo>
                    <a:pt x="2458" y="91"/>
                  </a:lnTo>
                  <a:lnTo>
                    <a:pt x="2458" y="93"/>
                  </a:lnTo>
                  <a:lnTo>
                    <a:pt x="2459" y="93"/>
                  </a:lnTo>
                  <a:lnTo>
                    <a:pt x="2458" y="94"/>
                  </a:lnTo>
                  <a:lnTo>
                    <a:pt x="2457" y="94"/>
                  </a:lnTo>
                  <a:lnTo>
                    <a:pt x="2456" y="94"/>
                  </a:lnTo>
                  <a:lnTo>
                    <a:pt x="2456" y="93"/>
                  </a:lnTo>
                  <a:lnTo>
                    <a:pt x="2454" y="93"/>
                  </a:lnTo>
                  <a:lnTo>
                    <a:pt x="2453" y="93"/>
                  </a:lnTo>
                  <a:lnTo>
                    <a:pt x="2450" y="93"/>
                  </a:lnTo>
                  <a:lnTo>
                    <a:pt x="2445" y="91"/>
                  </a:lnTo>
                  <a:lnTo>
                    <a:pt x="2446" y="93"/>
                  </a:lnTo>
                  <a:lnTo>
                    <a:pt x="2449" y="93"/>
                  </a:lnTo>
                  <a:lnTo>
                    <a:pt x="2451" y="93"/>
                  </a:lnTo>
                  <a:lnTo>
                    <a:pt x="2452" y="93"/>
                  </a:lnTo>
                  <a:lnTo>
                    <a:pt x="2453" y="93"/>
                  </a:lnTo>
                  <a:lnTo>
                    <a:pt x="2454" y="93"/>
                  </a:lnTo>
                  <a:lnTo>
                    <a:pt x="2456" y="94"/>
                  </a:lnTo>
                  <a:lnTo>
                    <a:pt x="2457" y="94"/>
                  </a:lnTo>
                  <a:lnTo>
                    <a:pt x="2457" y="95"/>
                  </a:lnTo>
                  <a:lnTo>
                    <a:pt x="2457" y="96"/>
                  </a:lnTo>
                  <a:lnTo>
                    <a:pt x="2456" y="96"/>
                  </a:lnTo>
                  <a:lnTo>
                    <a:pt x="2452" y="96"/>
                  </a:lnTo>
                  <a:lnTo>
                    <a:pt x="2449" y="95"/>
                  </a:lnTo>
                  <a:lnTo>
                    <a:pt x="2450" y="95"/>
                  </a:lnTo>
                  <a:lnTo>
                    <a:pt x="2450" y="96"/>
                  </a:lnTo>
                  <a:lnTo>
                    <a:pt x="2451" y="96"/>
                  </a:lnTo>
                  <a:lnTo>
                    <a:pt x="2453" y="96"/>
                  </a:lnTo>
                  <a:lnTo>
                    <a:pt x="2454" y="96"/>
                  </a:lnTo>
                  <a:lnTo>
                    <a:pt x="2454" y="97"/>
                  </a:lnTo>
                  <a:lnTo>
                    <a:pt x="2456" y="97"/>
                  </a:lnTo>
                  <a:lnTo>
                    <a:pt x="2454" y="97"/>
                  </a:lnTo>
                  <a:lnTo>
                    <a:pt x="2454" y="98"/>
                  </a:lnTo>
                  <a:lnTo>
                    <a:pt x="2453" y="98"/>
                  </a:lnTo>
                  <a:lnTo>
                    <a:pt x="2453" y="100"/>
                  </a:lnTo>
                  <a:lnTo>
                    <a:pt x="2452" y="100"/>
                  </a:lnTo>
                  <a:lnTo>
                    <a:pt x="2452" y="98"/>
                  </a:lnTo>
                  <a:lnTo>
                    <a:pt x="2451" y="98"/>
                  </a:lnTo>
                  <a:lnTo>
                    <a:pt x="2451" y="100"/>
                  </a:lnTo>
                  <a:lnTo>
                    <a:pt x="2452" y="100"/>
                  </a:lnTo>
                  <a:lnTo>
                    <a:pt x="2451" y="100"/>
                  </a:lnTo>
                  <a:lnTo>
                    <a:pt x="2452" y="100"/>
                  </a:lnTo>
                  <a:lnTo>
                    <a:pt x="2451" y="100"/>
                  </a:lnTo>
                  <a:lnTo>
                    <a:pt x="2450" y="100"/>
                  </a:lnTo>
                  <a:lnTo>
                    <a:pt x="2445" y="100"/>
                  </a:lnTo>
                  <a:lnTo>
                    <a:pt x="2444" y="100"/>
                  </a:lnTo>
                  <a:lnTo>
                    <a:pt x="2444" y="98"/>
                  </a:lnTo>
                  <a:lnTo>
                    <a:pt x="2443" y="97"/>
                  </a:lnTo>
                  <a:lnTo>
                    <a:pt x="2442" y="97"/>
                  </a:lnTo>
                  <a:lnTo>
                    <a:pt x="2443" y="98"/>
                  </a:lnTo>
                  <a:lnTo>
                    <a:pt x="2444" y="98"/>
                  </a:lnTo>
                  <a:lnTo>
                    <a:pt x="2444" y="100"/>
                  </a:lnTo>
                  <a:lnTo>
                    <a:pt x="2443" y="100"/>
                  </a:lnTo>
                  <a:lnTo>
                    <a:pt x="2443" y="98"/>
                  </a:lnTo>
                  <a:lnTo>
                    <a:pt x="2442" y="98"/>
                  </a:lnTo>
                  <a:lnTo>
                    <a:pt x="2438" y="98"/>
                  </a:lnTo>
                  <a:lnTo>
                    <a:pt x="2434" y="97"/>
                  </a:lnTo>
                  <a:lnTo>
                    <a:pt x="2432" y="97"/>
                  </a:lnTo>
                  <a:lnTo>
                    <a:pt x="2431" y="97"/>
                  </a:lnTo>
                  <a:lnTo>
                    <a:pt x="2431" y="98"/>
                  </a:lnTo>
                  <a:lnTo>
                    <a:pt x="2430" y="98"/>
                  </a:lnTo>
                  <a:lnTo>
                    <a:pt x="2429" y="98"/>
                  </a:lnTo>
                  <a:lnTo>
                    <a:pt x="2428" y="98"/>
                  </a:lnTo>
                  <a:lnTo>
                    <a:pt x="2428" y="100"/>
                  </a:lnTo>
                  <a:lnTo>
                    <a:pt x="2425" y="98"/>
                  </a:lnTo>
                  <a:lnTo>
                    <a:pt x="2427" y="98"/>
                  </a:lnTo>
                  <a:lnTo>
                    <a:pt x="2428" y="98"/>
                  </a:lnTo>
                  <a:lnTo>
                    <a:pt x="2428" y="97"/>
                  </a:lnTo>
                  <a:lnTo>
                    <a:pt x="2427" y="97"/>
                  </a:lnTo>
                  <a:lnTo>
                    <a:pt x="2428" y="97"/>
                  </a:lnTo>
                  <a:lnTo>
                    <a:pt x="2427" y="97"/>
                  </a:lnTo>
                  <a:lnTo>
                    <a:pt x="2425" y="97"/>
                  </a:lnTo>
                  <a:lnTo>
                    <a:pt x="2428" y="95"/>
                  </a:lnTo>
                  <a:lnTo>
                    <a:pt x="2429" y="95"/>
                  </a:lnTo>
                  <a:lnTo>
                    <a:pt x="2430" y="95"/>
                  </a:lnTo>
                  <a:lnTo>
                    <a:pt x="2431" y="95"/>
                  </a:lnTo>
                  <a:lnTo>
                    <a:pt x="2432" y="95"/>
                  </a:lnTo>
                  <a:lnTo>
                    <a:pt x="2432" y="94"/>
                  </a:lnTo>
                  <a:lnTo>
                    <a:pt x="2435" y="94"/>
                  </a:lnTo>
                  <a:lnTo>
                    <a:pt x="2431" y="94"/>
                  </a:lnTo>
                  <a:lnTo>
                    <a:pt x="2431" y="95"/>
                  </a:lnTo>
                  <a:lnTo>
                    <a:pt x="2430" y="95"/>
                  </a:lnTo>
                  <a:lnTo>
                    <a:pt x="2430" y="94"/>
                  </a:lnTo>
                  <a:lnTo>
                    <a:pt x="2429" y="94"/>
                  </a:lnTo>
                  <a:lnTo>
                    <a:pt x="2428" y="94"/>
                  </a:lnTo>
                  <a:lnTo>
                    <a:pt x="2427" y="95"/>
                  </a:lnTo>
                  <a:lnTo>
                    <a:pt x="2425" y="95"/>
                  </a:lnTo>
                  <a:lnTo>
                    <a:pt x="2425" y="96"/>
                  </a:lnTo>
                  <a:lnTo>
                    <a:pt x="2424" y="95"/>
                  </a:lnTo>
                  <a:lnTo>
                    <a:pt x="2423" y="95"/>
                  </a:lnTo>
                  <a:lnTo>
                    <a:pt x="2422" y="95"/>
                  </a:lnTo>
                  <a:lnTo>
                    <a:pt x="2421" y="95"/>
                  </a:lnTo>
                  <a:lnTo>
                    <a:pt x="2420" y="94"/>
                  </a:lnTo>
                  <a:lnTo>
                    <a:pt x="2418" y="94"/>
                  </a:lnTo>
                  <a:lnTo>
                    <a:pt x="2418" y="93"/>
                  </a:lnTo>
                  <a:lnTo>
                    <a:pt x="2420" y="94"/>
                  </a:lnTo>
                  <a:lnTo>
                    <a:pt x="2421" y="94"/>
                  </a:lnTo>
                  <a:lnTo>
                    <a:pt x="2422" y="93"/>
                  </a:lnTo>
                  <a:lnTo>
                    <a:pt x="2423" y="93"/>
                  </a:lnTo>
                  <a:lnTo>
                    <a:pt x="2423" y="91"/>
                  </a:lnTo>
                  <a:lnTo>
                    <a:pt x="2424" y="91"/>
                  </a:lnTo>
                  <a:lnTo>
                    <a:pt x="2425" y="91"/>
                  </a:lnTo>
                  <a:lnTo>
                    <a:pt x="2427" y="91"/>
                  </a:lnTo>
                  <a:lnTo>
                    <a:pt x="2428" y="91"/>
                  </a:lnTo>
                  <a:lnTo>
                    <a:pt x="2428" y="90"/>
                  </a:lnTo>
                  <a:lnTo>
                    <a:pt x="2427" y="90"/>
                  </a:lnTo>
                  <a:lnTo>
                    <a:pt x="2425" y="90"/>
                  </a:lnTo>
                  <a:lnTo>
                    <a:pt x="2427" y="90"/>
                  </a:lnTo>
                  <a:lnTo>
                    <a:pt x="2427" y="89"/>
                  </a:lnTo>
                  <a:lnTo>
                    <a:pt x="2429" y="88"/>
                  </a:lnTo>
                  <a:lnTo>
                    <a:pt x="2430" y="88"/>
                  </a:lnTo>
                  <a:lnTo>
                    <a:pt x="2431" y="89"/>
                  </a:lnTo>
                  <a:lnTo>
                    <a:pt x="2432" y="89"/>
                  </a:lnTo>
                  <a:lnTo>
                    <a:pt x="2434" y="89"/>
                  </a:lnTo>
                  <a:lnTo>
                    <a:pt x="2437" y="89"/>
                  </a:lnTo>
                  <a:lnTo>
                    <a:pt x="2436" y="89"/>
                  </a:lnTo>
                  <a:lnTo>
                    <a:pt x="2435" y="89"/>
                  </a:lnTo>
                  <a:lnTo>
                    <a:pt x="2435" y="88"/>
                  </a:lnTo>
                  <a:lnTo>
                    <a:pt x="2430" y="88"/>
                  </a:lnTo>
                  <a:lnTo>
                    <a:pt x="2429" y="88"/>
                  </a:lnTo>
                  <a:lnTo>
                    <a:pt x="2429" y="87"/>
                  </a:lnTo>
                  <a:lnTo>
                    <a:pt x="2430" y="87"/>
                  </a:lnTo>
                  <a:lnTo>
                    <a:pt x="2431" y="87"/>
                  </a:lnTo>
                  <a:lnTo>
                    <a:pt x="2432" y="87"/>
                  </a:lnTo>
                  <a:lnTo>
                    <a:pt x="2434" y="87"/>
                  </a:lnTo>
                  <a:lnTo>
                    <a:pt x="2435" y="87"/>
                  </a:lnTo>
                  <a:lnTo>
                    <a:pt x="2434" y="87"/>
                  </a:lnTo>
                  <a:lnTo>
                    <a:pt x="2432" y="87"/>
                  </a:lnTo>
                  <a:lnTo>
                    <a:pt x="2431" y="86"/>
                  </a:lnTo>
                  <a:lnTo>
                    <a:pt x="2430" y="86"/>
                  </a:lnTo>
                  <a:lnTo>
                    <a:pt x="2429" y="86"/>
                  </a:lnTo>
                  <a:lnTo>
                    <a:pt x="2430" y="86"/>
                  </a:lnTo>
                  <a:lnTo>
                    <a:pt x="2430" y="84"/>
                  </a:lnTo>
                  <a:lnTo>
                    <a:pt x="2431" y="86"/>
                  </a:lnTo>
                  <a:lnTo>
                    <a:pt x="2432" y="84"/>
                  </a:lnTo>
                  <a:lnTo>
                    <a:pt x="2435" y="84"/>
                  </a:lnTo>
                  <a:lnTo>
                    <a:pt x="2436" y="84"/>
                  </a:lnTo>
                  <a:lnTo>
                    <a:pt x="2437" y="84"/>
                  </a:lnTo>
                  <a:lnTo>
                    <a:pt x="2438" y="84"/>
                  </a:lnTo>
                  <a:lnTo>
                    <a:pt x="2437" y="84"/>
                  </a:lnTo>
                  <a:lnTo>
                    <a:pt x="2436" y="84"/>
                  </a:lnTo>
                  <a:lnTo>
                    <a:pt x="2435" y="83"/>
                  </a:lnTo>
                  <a:lnTo>
                    <a:pt x="2434" y="83"/>
                  </a:lnTo>
                  <a:lnTo>
                    <a:pt x="2432" y="84"/>
                  </a:lnTo>
                  <a:lnTo>
                    <a:pt x="2432" y="83"/>
                  </a:lnTo>
                  <a:lnTo>
                    <a:pt x="2430" y="83"/>
                  </a:lnTo>
                  <a:lnTo>
                    <a:pt x="2431" y="83"/>
                  </a:lnTo>
                  <a:lnTo>
                    <a:pt x="2430" y="83"/>
                  </a:lnTo>
                  <a:lnTo>
                    <a:pt x="2430" y="82"/>
                  </a:lnTo>
                  <a:lnTo>
                    <a:pt x="2431" y="82"/>
                  </a:lnTo>
                  <a:lnTo>
                    <a:pt x="2432" y="82"/>
                  </a:lnTo>
                  <a:lnTo>
                    <a:pt x="2434" y="82"/>
                  </a:lnTo>
                  <a:lnTo>
                    <a:pt x="2438" y="82"/>
                  </a:lnTo>
                  <a:lnTo>
                    <a:pt x="2439" y="82"/>
                  </a:lnTo>
                  <a:lnTo>
                    <a:pt x="2444" y="82"/>
                  </a:lnTo>
                  <a:lnTo>
                    <a:pt x="2443" y="82"/>
                  </a:lnTo>
                  <a:lnTo>
                    <a:pt x="2442" y="82"/>
                  </a:lnTo>
                  <a:lnTo>
                    <a:pt x="2441" y="82"/>
                  </a:lnTo>
                  <a:lnTo>
                    <a:pt x="2439" y="82"/>
                  </a:lnTo>
                  <a:lnTo>
                    <a:pt x="2439" y="81"/>
                  </a:lnTo>
                  <a:lnTo>
                    <a:pt x="2438" y="81"/>
                  </a:lnTo>
                  <a:lnTo>
                    <a:pt x="2436" y="81"/>
                  </a:lnTo>
                  <a:lnTo>
                    <a:pt x="2434" y="81"/>
                  </a:lnTo>
                  <a:lnTo>
                    <a:pt x="2432" y="81"/>
                  </a:lnTo>
                  <a:lnTo>
                    <a:pt x="2431" y="81"/>
                  </a:lnTo>
                  <a:lnTo>
                    <a:pt x="2431" y="80"/>
                  </a:lnTo>
                  <a:lnTo>
                    <a:pt x="2432" y="80"/>
                  </a:lnTo>
                  <a:lnTo>
                    <a:pt x="2435" y="80"/>
                  </a:lnTo>
                  <a:lnTo>
                    <a:pt x="2437" y="79"/>
                  </a:lnTo>
                  <a:lnTo>
                    <a:pt x="2438" y="79"/>
                  </a:lnTo>
                  <a:lnTo>
                    <a:pt x="2437" y="79"/>
                  </a:lnTo>
                  <a:lnTo>
                    <a:pt x="2436" y="79"/>
                  </a:lnTo>
                  <a:lnTo>
                    <a:pt x="2435" y="79"/>
                  </a:lnTo>
                  <a:lnTo>
                    <a:pt x="2436" y="79"/>
                  </a:lnTo>
                  <a:lnTo>
                    <a:pt x="2436" y="77"/>
                  </a:lnTo>
                  <a:lnTo>
                    <a:pt x="2435" y="77"/>
                  </a:lnTo>
                  <a:lnTo>
                    <a:pt x="2434" y="77"/>
                  </a:lnTo>
                  <a:lnTo>
                    <a:pt x="2432" y="79"/>
                  </a:lnTo>
                  <a:lnTo>
                    <a:pt x="2431" y="79"/>
                  </a:lnTo>
                  <a:lnTo>
                    <a:pt x="2431" y="77"/>
                  </a:lnTo>
                  <a:lnTo>
                    <a:pt x="2430" y="77"/>
                  </a:lnTo>
                  <a:lnTo>
                    <a:pt x="2429" y="77"/>
                  </a:lnTo>
                  <a:lnTo>
                    <a:pt x="2429" y="76"/>
                  </a:lnTo>
                  <a:lnTo>
                    <a:pt x="2430" y="76"/>
                  </a:lnTo>
                  <a:lnTo>
                    <a:pt x="2430" y="75"/>
                  </a:lnTo>
                  <a:lnTo>
                    <a:pt x="2431" y="75"/>
                  </a:lnTo>
                  <a:lnTo>
                    <a:pt x="2431" y="76"/>
                  </a:lnTo>
                  <a:lnTo>
                    <a:pt x="2432" y="76"/>
                  </a:lnTo>
                  <a:lnTo>
                    <a:pt x="2434" y="76"/>
                  </a:lnTo>
                  <a:lnTo>
                    <a:pt x="2435" y="76"/>
                  </a:lnTo>
                  <a:lnTo>
                    <a:pt x="2436" y="77"/>
                  </a:lnTo>
                  <a:lnTo>
                    <a:pt x="2437" y="76"/>
                  </a:lnTo>
                  <a:lnTo>
                    <a:pt x="2438" y="76"/>
                  </a:lnTo>
                  <a:lnTo>
                    <a:pt x="2438" y="75"/>
                  </a:lnTo>
                  <a:lnTo>
                    <a:pt x="2437" y="75"/>
                  </a:lnTo>
                  <a:lnTo>
                    <a:pt x="2437" y="74"/>
                  </a:lnTo>
                  <a:lnTo>
                    <a:pt x="2438" y="73"/>
                  </a:lnTo>
                  <a:lnTo>
                    <a:pt x="2439" y="73"/>
                  </a:lnTo>
                  <a:lnTo>
                    <a:pt x="2439" y="74"/>
                  </a:lnTo>
                  <a:lnTo>
                    <a:pt x="2443" y="74"/>
                  </a:lnTo>
                  <a:lnTo>
                    <a:pt x="2444" y="74"/>
                  </a:lnTo>
                  <a:lnTo>
                    <a:pt x="2445" y="74"/>
                  </a:lnTo>
                  <a:lnTo>
                    <a:pt x="2444" y="73"/>
                  </a:lnTo>
                  <a:lnTo>
                    <a:pt x="2443" y="73"/>
                  </a:lnTo>
                  <a:lnTo>
                    <a:pt x="2442" y="72"/>
                  </a:lnTo>
                  <a:lnTo>
                    <a:pt x="2443" y="72"/>
                  </a:lnTo>
                  <a:lnTo>
                    <a:pt x="2446" y="72"/>
                  </a:lnTo>
                  <a:lnTo>
                    <a:pt x="2448" y="72"/>
                  </a:lnTo>
                  <a:lnTo>
                    <a:pt x="2448" y="70"/>
                  </a:lnTo>
                  <a:lnTo>
                    <a:pt x="2445" y="70"/>
                  </a:lnTo>
                  <a:lnTo>
                    <a:pt x="2445" y="69"/>
                  </a:lnTo>
                  <a:lnTo>
                    <a:pt x="2448" y="69"/>
                  </a:lnTo>
                  <a:lnTo>
                    <a:pt x="2449" y="69"/>
                  </a:lnTo>
                  <a:lnTo>
                    <a:pt x="2451" y="69"/>
                  </a:lnTo>
                  <a:lnTo>
                    <a:pt x="2450" y="69"/>
                  </a:lnTo>
                  <a:lnTo>
                    <a:pt x="2450" y="68"/>
                  </a:lnTo>
                  <a:lnTo>
                    <a:pt x="2451" y="68"/>
                  </a:lnTo>
                  <a:lnTo>
                    <a:pt x="2452" y="68"/>
                  </a:lnTo>
                  <a:lnTo>
                    <a:pt x="2454" y="68"/>
                  </a:lnTo>
                  <a:lnTo>
                    <a:pt x="2454" y="67"/>
                  </a:lnTo>
                  <a:lnTo>
                    <a:pt x="2456" y="67"/>
                  </a:lnTo>
                  <a:lnTo>
                    <a:pt x="2459" y="67"/>
                  </a:lnTo>
                  <a:lnTo>
                    <a:pt x="2460" y="67"/>
                  </a:lnTo>
                  <a:lnTo>
                    <a:pt x="2461" y="66"/>
                  </a:lnTo>
                  <a:lnTo>
                    <a:pt x="2464" y="66"/>
                  </a:lnTo>
                  <a:lnTo>
                    <a:pt x="2465" y="66"/>
                  </a:lnTo>
                  <a:lnTo>
                    <a:pt x="2464" y="66"/>
                  </a:lnTo>
                  <a:lnTo>
                    <a:pt x="2461" y="66"/>
                  </a:lnTo>
                  <a:lnTo>
                    <a:pt x="2461" y="65"/>
                  </a:lnTo>
                  <a:lnTo>
                    <a:pt x="2463" y="65"/>
                  </a:lnTo>
                  <a:lnTo>
                    <a:pt x="2465" y="65"/>
                  </a:lnTo>
                  <a:lnTo>
                    <a:pt x="2468" y="65"/>
                  </a:lnTo>
                  <a:lnTo>
                    <a:pt x="2467" y="65"/>
                  </a:lnTo>
                  <a:lnTo>
                    <a:pt x="2465" y="66"/>
                  </a:lnTo>
                  <a:lnTo>
                    <a:pt x="2466" y="66"/>
                  </a:lnTo>
                  <a:lnTo>
                    <a:pt x="2467" y="66"/>
                  </a:lnTo>
                  <a:lnTo>
                    <a:pt x="2468" y="66"/>
                  </a:lnTo>
                  <a:lnTo>
                    <a:pt x="2468" y="65"/>
                  </a:lnTo>
                  <a:lnTo>
                    <a:pt x="2470" y="66"/>
                  </a:lnTo>
                  <a:lnTo>
                    <a:pt x="2471" y="65"/>
                  </a:lnTo>
                  <a:lnTo>
                    <a:pt x="2468" y="65"/>
                  </a:lnTo>
                  <a:lnTo>
                    <a:pt x="2468" y="63"/>
                  </a:lnTo>
                  <a:lnTo>
                    <a:pt x="2468" y="62"/>
                  </a:lnTo>
                  <a:lnTo>
                    <a:pt x="2470" y="62"/>
                  </a:lnTo>
                  <a:lnTo>
                    <a:pt x="2472" y="62"/>
                  </a:lnTo>
                  <a:lnTo>
                    <a:pt x="2473" y="62"/>
                  </a:lnTo>
                  <a:lnTo>
                    <a:pt x="2474" y="62"/>
                  </a:lnTo>
                  <a:lnTo>
                    <a:pt x="2475" y="62"/>
                  </a:lnTo>
                  <a:lnTo>
                    <a:pt x="2477" y="62"/>
                  </a:lnTo>
                  <a:lnTo>
                    <a:pt x="2478" y="62"/>
                  </a:lnTo>
                  <a:lnTo>
                    <a:pt x="2479" y="63"/>
                  </a:lnTo>
                  <a:lnTo>
                    <a:pt x="2481" y="62"/>
                  </a:lnTo>
                  <a:lnTo>
                    <a:pt x="2481" y="63"/>
                  </a:lnTo>
                  <a:lnTo>
                    <a:pt x="2482" y="63"/>
                  </a:lnTo>
                  <a:lnTo>
                    <a:pt x="2484" y="63"/>
                  </a:lnTo>
                  <a:lnTo>
                    <a:pt x="2485" y="62"/>
                  </a:lnTo>
                  <a:lnTo>
                    <a:pt x="2486" y="63"/>
                  </a:lnTo>
                  <a:lnTo>
                    <a:pt x="2487" y="63"/>
                  </a:lnTo>
                  <a:lnTo>
                    <a:pt x="2488" y="63"/>
                  </a:lnTo>
                  <a:lnTo>
                    <a:pt x="2488" y="62"/>
                  </a:lnTo>
                  <a:lnTo>
                    <a:pt x="2491" y="62"/>
                  </a:lnTo>
                  <a:lnTo>
                    <a:pt x="2492" y="62"/>
                  </a:lnTo>
                  <a:lnTo>
                    <a:pt x="2493" y="62"/>
                  </a:lnTo>
                  <a:lnTo>
                    <a:pt x="2494" y="62"/>
                  </a:lnTo>
                  <a:lnTo>
                    <a:pt x="2494" y="61"/>
                  </a:lnTo>
                  <a:lnTo>
                    <a:pt x="2495" y="62"/>
                  </a:lnTo>
                  <a:lnTo>
                    <a:pt x="2496" y="62"/>
                  </a:lnTo>
                  <a:lnTo>
                    <a:pt x="2498" y="62"/>
                  </a:lnTo>
                  <a:lnTo>
                    <a:pt x="2498" y="61"/>
                  </a:lnTo>
                  <a:lnTo>
                    <a:pt x="2499" y="61"/>
                  </a:lnTo>
                  <a:lnTo>
                    <a:pt x="2500" y="61"/>
                  </a:lnTo>
                  <a:lnTo>
                    <a:pt x="2501" y="61"/>
                  </a:lnTo>
                  <a:lnTo>
                    <a:pt x="2501" y="60"/>
                  </a:lnTo>
                  <a:lnTo>
                    <a:pt x="2503" y="60"/>
                  </a:lnTo>
                  <a:lnTo>
                    <a:pt x="2505" y="60"/>
                  </a:lnTo>
                  <a:lnTo>
                    <a:pt x="2506" y="60"/>
                  </a:lnTo>
                  <a:lnTo>
                    <a:pt x="2506" y="59"/>
                  </a:lnTo>
                  <a:lnTo>
                    <a:pt x="2507" y="59"/>
                  </a:lnTo>
                  <a:lnTo>
                    <a:pt x="2508" y="59"/>
                  </a:lnTo>
                  <a:lnTo>
                    <a:pt x="2512" y="60"/>
                  </a:lnTo>
                  <a:lnTo>
                    <a:pt x="2512" y="59"/>
                  </a:lnTo>
                  <a:lnTo>
                    <a:pt x="2510" y="59"/>
                  </a:lnTo>
                  <a:lnTo>
                    <a:pt x="2509" y="59"/>
                  </a:lnTo>
                  <a:lnTo>
                    <a:pt x="2508" y="58"/>
                  </a:lnTo>
                  <a:lnTo>
                    <a:pt x="2509" y="58"/>
                  </a:lnTo>
                  <a:lnTo>
                    <a:pt x="2510" y="56"/>
                  </a:lnTo>
                  <a:lnTo>
                    <a:pt x="2512" y="56"/>
                  </a:lnTo>
                  <a:lnTo>
                    <a:pt x="2513" y="56"/>
                  </a:lnTo>
                  <a:lnTo>
                    <a:pt x="2513" y="55"/>
                  </a:lnTo>
                  <a:lnTo>
                    <a:pt x="2514" y="55"/>
                  </a:lnTo>
                  <a:lnTo>
                    <a:pt x="2516" y="55"/>
                  </a:lnTo>
                  <a:lnTo>
                    <a:pt x="2516" y="54"/>
                  </a:lnTo>
                  <a:lnTo>
                    <a:pt x="2518" y="54"/>
                  </a:lnTo>
                  <a:lnTo>
                    <a:pt x="2520" y="54"/>
                  </a:lnTo>
                  <a:lnTo>
                    <a:pt x="2521" y="54"/>
                  </a:lnTo>
                  <a:lnTo>
                    <a:pt x="2522" y="54"/>
                  </a:lnTo>
                  <a:lnTo>
                    <a:pt x="2525" y="54"/>
                  </a:lnTo>
                  <a:lnTo>
                    <a:pt x="2528" y="54"/>
                  </a:lnTo>
                  <a:close/>
                  <a:moveTo>
                    <a:pt x="3332" y="53"/>
                  </a:moveTo>
                  <a:lnTo>
                    <a:pt x="3330" y="53"/>
                  </a:lnTo>
                  <a:lnTo>
                    <a:pt x="3331" y="53"/>
                  </a:lnTo>
                  <a:lnTo>
                    <a:pt x="3332" y="53"/>
                  </a:lnTo>
                  <a:close/>
                  <a:moveTo>
                    <a:pt x="2717" y="54"/>
                  </a:moveTo>
                  <a:lnTo>
                    <a:pt x="2716" y="54"/>
                  </a:lnTo>
                  <a:lnTo>
                    <a:pt x="2715" y="54"/>
                  </a:lnTo>
                  <a:lnTo>
                    <a:pt x="2714" y="54"/>
                  </a:lnTo>
                  <a:lnTo>
                    <a:pt x="2713" y="53"/>
                  </a:lnTo>
                  <a:lnTo>
                    <a:pt x="2714" y="53"/>
                  </a:lnTo>
                  <a:lnTo>
                    <a:pt x="2715" y="53"/>
                  </a:lnTo>
                  <a:lnTo>
                    <a:pt x="2716" y="53"/>
                  </a:lnTo>
                  <a:lnTo>
                    <a:pt x="2716" y="54"/>
                  </a:lnTo>
                  <a:lnTo>
                    <a:pt x="2717" y="54"/>
                  </a:lnTo>
                  <a:close/>
                  <a:moveTo>
                    <a:pt x="2784" y="53"/>
                  </a:moveTo>
                  <a:lnTo>
                    <a:pt x="2783" y="53"/>
                  </a:lnTo>
                  <a:lnTo>
                    <a:pt x="2783" y="54"/>
                  </a:lnTo>
                  <a:lnTo>
                    <a:pt x="2784" y="54"/>
                  </a:lnTo>
                  <a:lnTo>
                    <a:pt x="2783" y="54"/>
                  </a:lnTo>
                  <a:lnTo>
                    <a:pt x="2781" y="54"/>
                  </a:lnTo>
                  <a:lnTo>
                    <a:pt x="2778" y="54"/>
                  </a:lnTo>
                  <a:lnTo>
                    <a:pt x="2779" y="54"/>
                  </a:lnTo>
                  <a:lnTo>
                    <a:pt x="2780" y="54"/>
                  </a:lnTo>
                  <a:lnTo>
                    <a:pt x="2779" y="54"/>
                  </a:lnTo>
                  <a:lnTo>
                    <a:pt x="2778" y="54"/>
                  </a:lnTo>
                  <a:lnTo>
                    <a:pt x="2777" y="54"/>
                  </a:lnTo>
                  <a:lnTo>
                    <a:pt x="2774" y="54"/>
                  </a:lnTo>
                  <a:lnTo>
                    <a:pt x="2773" y="54"/>
                  </a:lnTo>
                  <a:lnTo>
                    <a:pt x="2774" y="54"/>
                  </a:lnTo>
                  <a:lnTo>
                    <a:pt x="2774" y="53"/>
                  </a:lnTo>
                  <a:lnTo>
                    <a:pt x="2776" y="53"/>
                  </a:lnTo>
                  <a:lnTo>
                    <a:pt x="2777" y="53"/>
                  </a:lnTo>
                  <a:lnTo>
                    <a:pt x="2779" y="53"/>
                  </a:lnTo>
                  <a:lnTo>
                    <a:pt x="2781" y="52"/>
                  </a:lnTo>
                  <a:lnTo>
                    <a:pt x="2783" y="52"/>
                  </a:lnTo>
                  <a:lnTo>
                    <a:pt x="2784" y="52"/>
                  </a:lnTo>
                  <a:lnTo>
                    <a:pt x="2784" y="53"/>
                  </a:lnTo>
                  <a:close/>
                  <a:moveTo>
                    <a:pt x="2866" y="51"/>
                  </a:moveTo>
                  <a:lnTo>
                    <a:pt x="2865" y="51"/>
                  </a:lnTo>
                  <a:lnTo>
                    <a:pt x="2866" y="51"/>
                  </a:lnTo>
                  <a:lnTo>
                    <a:pt x="2868" y="51"/>
                  </a:lnTo>
                  <a:lnTo>
                    <a:pt x="2866" y="51"/>
                  </a:lnTo>
                  <a:close/>
                  <a:moveTo>
                    <a:pt x="2722" y="52"/>
                  </a:moveTo>
                  <a:lnTo>
                    <a:pt x="2720" y="53"/>
                  </a:lnTo>
                  <a:lnTo>
                    <a:pt x="2717" y="52"/>
                  </a:lnTo>
                  <a:lnTo>
                    <a:pt x="2716" y="52"/>
                  </a:lnTo>
                  <a:lnTo>
                    <a:pt x="2715" y="52"/>
                  </a:lnTo>
                  <a:lnTo>
                    <a:pt x="2715" y="51"/>
                  </a:lnTo>
                  <a:lnTo>
                    <a:pt x="2716" y="51"/>
                  </a:lnTo>
                  <a:lnTo>
                    <a:pt x="2719" y="51"/>
                  </a:lnTo>
                  <a:lnTo>
                    <a:pt x="2720" y="51"/>
                  </a:lnTo>
                  <a:lnTo>
                    <a:pt x="2721" y="52"/>
                  </a:lnTo>
                  <a:lnTo>
                    <a:pt x="2722" y="52"/>
                  </a:lnTo>
                  <a:close/>
                  <a:moveTo>
                    <a:pt x="2871" y="51"/>
                  </a:moveTo>
                  <a:lnTo>
                    <a:pt x="2870" y="51"/>
                  </a:lnTo>
                  <a:lnTo>
                    <a:pt x="2871" y="51"/>
                  </a:lnTo>
                  <a:close/>
                  <a:moveTo>
                    <a:pt x="2882" y="51"/>
                  </a:moveTo>
                  <a:lnTo>
                    <a:pt x="2883" y="51"/>
                  </a:lnTo>
                  <a:lnTo>
                    <a:pt x="2884" y="51"/>
                  </a:lnTo>
                  <a:lnTo>
                    <a:pt x="2883" y="51"/>
                  </a:lnTo>
                  <a:lnTo>
                    <a:pt x="2880" y="52"/>
                  </a:lnTo>
                  <a:lnTo>
                    <a:pt x="2879" y="52"/>
                  </a:lnTo>
                  <a:lnTo>
                    <a:pt x="2879" y="51"/>
                  </a:lnTo>
                  <a:lnTo>
                    <a:pt x="2880" y="51"/>
                  </a:lnTo>
                  <a:lnTo>
                    <a:pt x="2879" y="51"/>
                  </a:lnTo>
                  <a:lnTo>
                    <a:pt x="2879" y="49"/>
                  </a:lnTo>
                  <a:lnTo>
                    <a:pt x="2880" y="49"/>
                  </a:lnTo>
                  <a:lnTo>
                    <a:pt x="2880" y="51"/>
                  </a:lnTo>
                  <a:lnTo>
                    <a:pt x="2882" y="51"/>
                  </a:lnTo>
                  <a:close/>
                  <a:moveTo>
                    <a:pt x="2872" y="48"/>
                  </a:moveTo>
                  <a:lnTo>
                    <a:pt x="2873" y="48"/>
                  </a:lnTo>
                  <a:lnTo>
                    <a:pt x="2873" y="49"/>
                  </a:lnTo>
                  <a:lnTo>
                    <a:pt x="2872" y="49"/>
                  </a:lnTo>
                  <a:lnTo>
                    <a:pt x="2871" y="49"/>
                  </a:lnTo>
                  <a:lnTo>
                    <a:pt x="2870" y="49"/>
                  </a:lnTo>
                  <a:lnTo>
                    <a:pt x="2871" y="49"/>
                  </a:lnTo>
                  <a:lnTo>
                    <a:pt x="2870" y="49"/>
                  </a:lnTo>
                  <a:lnTo>
                    <a:pt x="2870" y="48"/>
                  </a:lnTo>
                  <a:lnTo>
                    <a:pt x="2871" y="49"/>
                  </a:lnTo>
                  <a:lnTo>
                    <a:pt x="2871" y="48"/>
                  </a:lnTo>
                  <a:lnTo>
                    <a:pt x="2872" y="48"/>
                  </a:lnTo>
                  <a:close/>
                  <a:moveTo>
                    <a:pt x="2737" y="47"/>
                  </a:moveTo>
                  <a:lnTo>
                    <a:pt x="2736" y="47"/>
                  </a:lnTo>
                  <a:lnTo>
                    <a:pt x="2735" y="47"/>
                  </a:lnTo>
                  <a:lnTo>
                    <a:pt x="2735" y="46"/>
                  </a:lnTo>
                  <a:lnTo>
                    <a:pt x="2736" y="47"/>
                  </a:lnTo>
                  <a:lnTo>
                    <a:pt x="2737" y="47"/>
                  </a:lnTo>
                  <a:close/>
                  <a:moveTo>
                    <a:pt x="2869" y="40"/>
                  </a:moveTo>
                  <a:lnTo>
                    <a:pt x="2870" y="41"/>
                  </a:lnTo>
                  <a:lnTo>
                    <a:pt x="2869" y="41"/>
                  </a:lnTo>
                  <a:lnTo>
                    <a:pt x="2868" y="41"/>
                  </a:lnTo>
                  <a:lnTo>
                    <a:pt x="2866" y="41"/>
                  </a:lnTo>
                  <a:lnTo>
                    <a:pt x="2862" y="41"/>
                  </a:lnTo>
                  <a:lnTo>
                    <a:pt x="2858" y="41"/>
                  </a:lnTo>
                  <a:lnTo>
                    <a:pt x="2858" y="40"/>
                  </a:lnTo>
                  <a:lnTo>
                    <a:pt x="2862" y="40"/>
                  </a:lnTo>
                  <a:lnTo>
                    <a:pt x="2864" y="40"/>
                  </a:lnTo>
                  <a:lnTo>
                    <a:pt x="2865" y="40"/>
                  </a:lnTo>
                  <a:lnTo>
                    <a:pt x="2868" y="40"/>
                  </a:lnTo>
                  <a:lnTo>
                    <a:pt x="2869" y="40"/>
                  </a:lnTo>
                  <a:close/>
                  <a:moveTo>
                    <a:pt x="2745" y="40"/>
                  </a:moveTo>
                  <a:lnTo>
                    <a:pt x="2745" y="41"/>
                  </a:lnTo>
                  <a:lnTo>
                    <a:pt x="2744" y="40"/>
                  </a:lnTo>
                  <a:lnTo>
                    <a:pt x="2743" y="40"/>
                  </a:lnTo>
                  <a:lnTo>
                    <a:pt x="2744" y="40"/>
                  </a:lnTo>
                  <a:lnTo>
                    <a:pt x="2745" y="40"/>
                  </a:lnTo>
                  <a:lnTo>
                    <a:pt x="2747" y="40"/>
                  </a:lnTo>
                  <a:lnTo>
                    <a:pt x="2745" y="40"/>
                  </a:lnTo>
                  <a:close/>
                  <a:moveTo>
                    <a:pt x="2858" y="39"/>
                  </a:moveTo>
                  <a:lnTo>
                    <a:pt x="2859" y="39"/>
                  </a:lnTo>
                  <a:lnTo>
                    <a:pt x="2858" y="39"/>
                  </a:lnTo>
                  <a:lnTo>
                    <a:pt x="2857" y="39"/>
                  </a:lnTo>
                  <a:lnTo>
                    <a:pt x="2856" y="39"/>
                  </a:lnTo>
                  <a:lnTo>
                    <a:pt x="2857" y="39"/>
                  </a:lnTo>
                  <a:lnTo>
                    <a:pt x="2857" y="40"/>
                  </a:lnTo>
                  <a:lnTo>
                    <a:pt x="2855" y="40"/>
                  </a:lnTo>
                  <a:lnTo>
                    <a:pt x="2854" y="40"/>
                  </a:lnTo>
                  <a:lnTo>
                    <a:pt x="2852" y="40"/>
                  </a:lnTo>
                  <a:lnTo>
                    <a:pt x="2852" y="39"/>
                  </a:lnTo>
                  <a:lnTo>
                    <a:pt x="2855" y="39"/>
                  </a:lnTo>
                  <a:lnTo>
                    <a:pt x="2856" y="39"/>
                  </a:lnTo>
                  <a:lnTo>
                    <a:pt x="2855" y="39"/>
                  </a:lnTo>
                  <a:lnTo>
                    <a:pt x="2857" y="39"/>
                  </a:lnTo>
                  <a:lnTo>
                    <a:pt x="2858" y="39"/>
                  </a:lnTo>
                  <a:close/>
                  <a:moveTo>
                    <a:pt x="2722" y="30"/>
                  </a:moveTo>
                  <a:lnTo>
                    <a:pt x="2721" y="30"/>
                  </a:lnTo>
                  <a:lnTo>
                    <a:pt x="2717" y="30"/>
                  </a:lnTo>
                  <a:lnTo>
                    <a:pt x="2720" y="30"/>
                  </a:lnTo>
                  <a:lnTo>
                    <a:pt x="2722" y="30"/>
                  </a:lnTo>
                  <a:close/>
                  <a:moveTo>
                    <a:pt x="2809" y="27"/>
                  </a:moveTo>
                  <a:lnTo>
                    <a:pt x="2809" y="28"/>
                  </a:lnTo>
                  <a:lnTo>
                    <a:pt x="2809" y="30"/>
                  </a:lnTo>
                  <a:lnTo>
                    <a:pt x="2811" y="30"/>
                  </a:lnTo>
                  <a:lnTo>
                    <a:pt x="2811" y="31"/>
                  </a:lnTo>
                  <a:lnTo>
                    <a:pt x="2812" y="31"/>
                  </a:lnTo>
                  <a:lnTo>
                    <a:pt x="2811" y="31"/>
                  </a:lnTo>
                  <a:lnTo>
                    <a:pt x="2812" y="31"/>
                  </a:lnTo>
                  <a:lnTo>
                    <a:pt x="2811" y="32"/>
                  </a:lnTo>
                  <a:lnTo>
                    <a:pt x="2812" y="33"/>
                  </a:lnTo>
                  <a:lnTo>
                    <a:pt x="2813" y="33"/>
                  </a:lnTo>
                  <a:lnTo>
                    <a:pt x="2813" y="32"/>
                  </a:lnTo>
                  <a:lnTo>
                    <a:pt x="2813" y="31"/>
                  </a:lnTo>
                  <a:lnTo>
                    <a:pt x="2813" y="30"/>
                  </a:lnTo>
                  <a:lnTo>
                    <a:pt x="2815" y="31"/>
                  </a:lnTo>
                  <a:lnTo>
                    <a:pt x="2815" y="30"/>
                  </a:lnTo>
                  <a:lnTo>
                    <a:pt x="2816" y="30"/>
                  </a:lnTo>
                  <a:lnTo>
                    <a:pt x="2816" y="28"/>
                  </a:lnTo>
                  <a:lnTo>
                    <a:pt x="2818" y="28"/>
                  </a:lnTo>
                  <a:lnTo>
                    <a:pt x="2818" y="30"/>
                  </a:lnTo>
                  <a:lnTo>
                    <a:pt x="2819" y="30"/>
                  </a:lnTo>
                  <a:lnTo>
                    <a:pt x="2821" y="30"/>
                  </a:lnTo>
                  <a:lnTo>
                    <a:pt x="2822" y="30"/>
                  </a:lnTo>
                  <a:lnTo>
                    <a:pt x="2822" y="31"/>
                  </a:lnTo>
                  <a:lnTo>
                    <a:pt x="2823" y="31"/>
                  </a:lnTo>
                  <a:lnTo>
                    <a:pt x="2827" y="31"/>
                  </a:lnTo>
                  <a:lnTo>
                    <a:pt x="2828" y="31"/>
                  </a:lnTo>
                  <a:lnTo>
                    <a:pt x="2829" y="32"/>
                  </a:lnTo>
                  <a:lnTo>
                    <a:pt x="2828" y="33"/>
                  </a:lnTo>
                  <a:lnTo>
                    <a:pt x="2832" y="33"/>
                  </a:lnTo>
                  <a:lnTo>
                    <a:pt x="2833" y="33"/>
                  </a:lnTo>
                  <a:lnTo>
                    <a:pt x="2832" y="33"/>
                  </a:lnTo>
                  <a:lnTo>
                    <a:pt x="2833" y="33"/>
                  </a:lnTo>
                  <a:lnTo>
                    <a:pt x="2835" y="33"/>
                  </a:lnTo>
                  <a:lnTo>
                    <a:pt x="2836" y="33"/>
                  </a:lnTo>
                  <a:lnTo>
                    <a:pt x="2838" y="34"/>
                  </a:lnTo>
                  <a:lnTo>
                    <a:pt x="2840" y="34"/>
                  </a:lnTo>
                  <a:lnTo>
                    <a:pt x="2841" y="35"/>
                  </a:lnTo>
                  <a:lnTo>
                    <a:pt x="2842" y="35"/>
                  </a:lnTo>
                  <a:lnTo>
                    <a:pt x="2842" y="37"/>
                  </a:lnTo>
                  <a:lnTo>
                    <a:pt x="2843" y="37"/>
                  </a:lnTo>
                  <a:lnTo>
                    <a:pt x="2842" y="37"/>
                  </a:lnTo>
                  <a:lnTo>
                    <a:pt x="2842" y="38"/>
                  </a:lnTo>
                  <a:lnTo>
                    <a:pt x="2841" y="39"/>
                  </a:lnTo>
                  <a:lnTo>
                    <a:pt x="2840" y="39"/>
                  </a:lnTo>
                  <a:lnTo>
                    <a:pt x="2838" y="38"/>
                  </a:lnTo>
                  <a:lnTo>
                    <a:pt x="2838" y="39"/>
                  </a:lnTo>
                  <a:lnTo>
                    <a:pt x="2836" y="39"/>
                  </a:lnTo>
                  <a:lnTo>
                    <a:pt x="2835" y="39"/>
                  </a:lnTo>
                  <a:lnTo>
                    <a:pt x="2834" y="39"/>
                  </a:lnTo>
                  <a:lnTo>
                    <a:pt x="2832" y="39"/>
                  </a:lnTo>
                  <a:lnTo>
                    <a:pt x="2828" y="39"/>
                  </a:lnTo>
                  <a:lnTo>
                    <a:pt x="2827" y="40"/>
                  </a:lnTo>
                  <a:lnTo>
                    <a:pt x="2826" y="39"/>
                  </a:lnTo>
                  <a:lnTo>
                    <a:pt x="2825" y="40"/>
                  </a:lnTo>
                  <a:lnTo>
                    <a:pt x="2826" y="40"/>
                  </a:lnTo>
                  <a:lnTo>
                    <a:pt x="2825" y="40"/>
                  </a:lnTo>
                  <a:lnTo>
                    <a:pt x="2823" y="40"/>
                  </a:lnTo>
                  <a:lnTo>
                    <a:pt x="2822" y="40"/>
                  </a:lnTo>
                  <a:lnTo>
                    <a:pt x="2820" y="40"/>
                  </a:lnTo>
                  <a:lnTo>
                    <a:pt x="2819" y="40"/>
                  </a:lnTo>
                  <a:lnTo>
                    <a:pt x="2818" y="40"/>
                  </a:lnTo>
                  <a:lnTo>
                    <a:pt x="2814" y="40"/>
                  </a:lnTo>
                  <a:lnTo>
                    <a:pt x="2811" y="40"/>
                  </a:lnTo>
                  <a:lnTo>
                    <a:pt x="2809" y="41"/>
                  </a:lnTo>
                  <a:lnTo>
                    <a:pt x="2807" y="41"/>
                  </a:lnTo>
                  <a:lnTo>
                    <a:pt x="2807" y="42"/>
                  </a:lnTo>
                  <a:lnTo>
                    <a:pt x="2806" y="42"/>
                  </a:lnTo>
                  <a:lnTo>
                    <a:pt x="2804" y="42"/>
                  </a:lnTo>
                  <a:lnTo>
                    <a:pt x="2802" y="42"/>
                  </a:lnTo>
                  <a:lnTo>
                    <a:pt x="2800" y="42"/>
                  </a:lnTo>
                  <a:lnTo>
                    <a:pt x="2799" y="44"/>
                  </a:lnTo>
                  <a:lnTo>
                    <a:pt x="2799" y="42"/>
                  </a:lnTo>
                  <a:lnTo>
                    <a:pt x="2798" y="42"/>
                  </a:lnTo>
                  <a:lnTo>
                    <a:pt x="2797" y="42"/>
                  </a:lnTo>
                  <a:lnTo>
                    <a:pt x="2795" y="42"/>
                  </a:lnTo>
                  <a:lnTo>
                    <a:pt x="2795" y="41"/>
                  </a:lnTo>
                  <a:lnTo>
                    <a:pt x="2797" y="41"/>
                  </a:lnTo>
                  <a:lnTo>
                    <a:pt x="2795" y="40"/>
                  </a:lnTo>
                  <a:lnTo>
                    <a:pt x="2797" y="40"/>
                  </a:lnTo>
                  <a:lnTo>
                    <a:pt x="2797" y="39"/>
                  </a:lnTo>
                  <a:lnTo>
                    <a:pt x="2798" y="39"/>
                  </a:lnTo>
                  <a:lnTo>
                    <a:pt x="2798" y="38"/>
                  </a:lnTo>
                  <a:lnTo>
                    <a:pt x="2797" y="38"/>
                  </a:lnTo>
                  <a:lnTo>
                    <a:pt x="2797" y="37"/>
                  </a:lnTo>
                  <a:lnTo>
                    <a:pt x="2797" y="35"/>
                  </a:lnTo>
                  <a:lnTo>
                    <a:pt x="2795" y="35"/>
                  </a:lnTo>
                  <a:lnTo>
                    <a:pt x="2795" y="34"/>
                  </a:lnTo>
                  <a:lnTo>
                    <a:pt x="2795" y="33"/>
                  </a:lnTo>
                  <a:lnTo>
                    <a:pt x="2797" y="33"/>
                  </a:lnTo>
                  <a:lnTo>
                    <a:pt x="2798" y="33"/>
                  </a:lnTo>
                  <a:lnTo>
                    <a:pt x="2800" y="33"/>
                  </a:lnTo>
                  <a:lnTo>
                    <a:pt x="2800" y="34"/>
                  </a:lnTo>
                  <a:lnTo>
                    <a:pt x="2801" y="34"/>
                  </a:lnTo>
                  <a:lnTo>
                    <a:pt x="2801" y="33"/>
                  </a:lnTo>
                  <a:lnTo>
                    <a:pt x="2800" y="33"/>
                  </a:lnTo>
                  <a:lnTo>
                    <a:pt x="2799" y="33"/>
                  </a:lnTo>
                  <a:lnTo>
                    <a:pt x="2798" y="33"/>
                  </a:lnTo>
                  <a:lnTo>
                    <a:pt x="2797" y="32"/>
                  </a:lnTo>
                  <a:lnTo>
                    <a:pt x="2797" y="31"/>
                  </a:lnTo>
                  <a:lnTo>
                    <a:pt x="2799" y="31"/>
                  </a:lnTo>
                  <a:lnTo>
                    <a:pt x="2802" y="31"/>
                  </a:lnTo>
                  <a:lnTo>
                    <a:pt x="2800" y="31"/>
                  </a:lnTo>
                  <a:lnTo>
                    <a:pt x="2798" y="31"/>
                  </a:lnTo>
                  <a:lnTo>
                    <a:pt x="2795" y="31"/>
                  </a:lnTo>
                  <a:lnTo>
                    <a:pt x="2795" y="30"/>
                  </a:lnTo>
                  <a:lnTo>
                    <a:pt x="2797" y="30"/>
                  </a:lnTo>
                  <a:lnTo>
                    <a:pt x="2795" y="30"/>
                  </a:lnTo>
                  <a:lnTo>
                    <a:pt x="2795" y="28"/>
                  </a:lnTo>
                  <a:lnTo>
                    <a:pt x="2797" y="28"/>
                  </a:lnTo>
                  <a:lnTo>
                    <a:pt x="2798" y="28"/>
                  </a:lnTo>
                  <a:lnTo>
                    <a:pt x="2798" y="27"/>
                  </a:lnTo>
                  <a:lnTo>
                    <a:pt x="2797" y="27"/>
                  </a:lnTo>
                  <a:lnTo>
                    <a:pt x="2798" y="27"/>
                  </a:lnTo>
                  <a:lnTo>
                    <a:pt x="2799" y="27"/>
                  </a:lnTo>
                  <a:lnTo>
                    <a:pt x="2800" y="27"/>
                  </a:lnTo>
                  <a:lnTo>
                    <a:pt x="2801" y="27"/>
                  </a:lnTo>
                  <a:lnTo>
                    <a:pt x="2801" y="28"/>
                  </a:lnTo>
                  <a:lnTo>
                    <a:pt x="2802" y="28"/>
                  </a:lnTo>
                  <a:lnTo>
                    <a:pt x="2804" y="28"/>
                  </a:lnTo>
                  <a:lnTo>
                    <a:pt x="2802" y="27"/>
                  </a:lnTo>
                  <a:lnTo>
                    <a:pt x="2801" y="27"/>
                  </a:lnTo>
                  <a:lnTo>
                    <a:pt x="2801" y="26"/>
                  </a:lnTo>
                  <a:lnTo>
                    <a:pt x="2802" y="26"/>
                  </a:lnTo>
                  <a:lnTo>
                    <a:pt x="2804" y="26"/>
                  </a:lnTo>
                  <a:lnTo>
                    <a:pt x="2805" y="26"/>
                  </a:lnTo>
                  <a:lnTo>
                    <a:pt x="2806" y="26"/>
                  </a:lnTo>
                  <a:lnTo>
                    <a:pt x="2807" y="26"/>
                  </a:lnTo>
                  <a:lnTo>
                    <a:pt x="2808" y="26"/>
                  </a:lnTo>
                  <a:lnTo>
                    <a:pt x="2808" y="27"/>
                  </a:lnTo>
                  <a:lnTo>
                    <a:pt x="2811" y="27"/>
                  </a:lnTo>
                  <a:lnTo>
                    <a:pt x="2809" y="27"/>
                  </a:lnTo>
                  <a:close/>
                  <a:moveTo>
                    <a:pt x="2720" y="26"/>
                  </a:moveTo>
                  <a:lnTo>
                    <a:pt x="2719" y="26"/>
                  </a:lnTo>
                  <a:lnTo>
                    <a:pt x="2717" y="26"/>
                  </a:lnTo>
                  <a:lnTo>
                    <a:pt x="2716" y="26"/>
                  </a:lnTo>
                  <a:lnTo>
                    <a:pt x="2717" y="26"/>
                  </a:lnTo>
                  <a:lnTo>
                    <a:pt x="2719" y="26"/>
                  </a:lnTo>
                  <a:lnTo>
                    <a:pt x="2720" y="26"/>
                  </a:lnTo>
                  <a:close/>
                  <a:moveTo>
                    <a:pt x="2715" y="26"/>
                  </a:moveTo>
                  <a:lnTo>
                    <a:pt x="2714" y="26"/>
                  </a:lnTo>
                  <a:lnTo>
                    <a:pt x="2709" y="26"/>
                  </a:lnTo>
                  <a:lnTo>
                    <a:pt x="2710" y="26"/>
                  </a:lnTo>
                  <a:lnTo>
                    <a:pt x="2712" y="26"/>
                  </a:lnTo>
                  <a:lnTo>
                    <a:pt x="2713" y="26"/>
                  </a:lnTo>
                  <a:lnTo>
                    <a:pt x="2714" y="26"/>
                  </a:lnTo>
                  <a:lnTo>
                    <a:pt x="2715" y="26"/>
                  </a:lnTo>
                  <a:close/>
                  <a:moveTo>
                    <a:pt x="2705" y="25"/>
                  </a:moveTo>
                  <a:lnTo>
                    <a:pt x="2707" y="26"/>
                  </a:lnTo>
                  <a:lnTo>
                    <a:pt x="2706" y="26"/>
                  </a:lnTo>
                  <a:lnTo>
                    <a:pt x="2705" y="26"/>
                  </a:lnTo>
                  <a:lnTo>
                    <a:pt x="2705" y="25"/>
                  </a:lnTo>
                  <a:lnTo>
                    <a:pt x="2704" y="25"/>
                  </a:lnTo>
                  <a:lnTo>
                    <a:pt x="2699" y="25"/>
                  </a:lnTo>
                  <a:lnTo>
                    <a:pt x="2702" y="25"/>
                  </a:lnTo>
                  <a:lnTo>
                    <a:pt x="2705" y="25"/>
                  </a:lnTo>
                  <a:close/>
                  <a:moveTo>
                    <a:pt x="2571" y="24"/>
                  </a:moveTo>
                  <a:lnTo>
                    <a:pt x="2570" y="24"/>
                  </a:lnTo>
                  <a:lnTo>
                    <a:pt x="2571" y="24"/>
                  </a:lnTo>
                  <a:lnTo>
                    <a:pt x="2572" y="24"/>
                  </a:lnTo>
                  <a:lnTo>
                    <a:pt x="2573" y="24"/>
                  </a:lnTo>
                  <a:lnTo>
                    <a:pt x="2577" y="24"/>
                  </a:lnTo>
                  <a:lnTo>
                    <a:pt x="2580" y="25"/>
                  </a:lnTo>
                  <a:lnTo>
                    <a:pt x="2584" y="25"/>
                  </a:lnTo>
                  <a:lnTo>
                    <a:pt x="2585" y="25"/>
                  </a:lnTo>
                  <a:lnTo>
                    <a:pt x="2580" y="25"/>
                  </a:lnTo>
                  <a:lnTo>
                    <a:pt x="2577" y="25"/>
                  </a:lnTo>
                  <a:lnTo>
                    <a:pt x="2576" y="25"/>
                  </a:lnTo>
                  <a:lnTo>
                    <a:pt x="2574" y="25"/>
                  </a:lnTo>
                  <a:lnTo>
                    <a:pt x="2571" y="25"/>
                  </a:lnTo>
                  <a:lnTo>
                    <a:pt x="2570" y="24"/>
                  </a:lnTo>
                  <a:lnTo>
                    <a:pt x="2571" y="24"/>
                  </a:lnTo>
                  <a:close/>
                  <a:moveTo>
                    <a:pt x="2778" y="23"/>
                  </a:moveTo>
                  <a:lnTo>
                    <a:pt x="2779" y="24"/>
                  </a:lnTo>
                  <a:lnTo>
                    <a:pt x="2780" y="24"/>
                  </a:lnTo>
                  <a:lnTo>
                    <a:pt x="2779" y="24"/>
                  </a:lnTo>
                  <a:lnTo>
                    <a:pt x="2778" y="24"/>
                  </a:lnTo>
                  <a:lnTo>
                    <a:pt x="2777" y="24"/>
                  </a:lnTo>
                  <a:lnTo>
                    <a:pt x="2777" y="23"/>
                  </a:lnTo>
                  <a:lnTo>
                    <a:pt x="2778" y="23"/>
                  </a:lnTo>
                  <a:close/>
                  <a:moveTo>
                    <a:pt x="2416" y="20"/>
                  </a:moveTo>
                  <a:lnTo>
                    <a:pt x="2417" y="20"/>
                  </a:lnTo>
                  <a:lnTo>
                    <a:pt x="2417" y="21"/>
                  </a:lnTo>
                  <a:lnTo>
                    <a:pt x="2416" y="21"/>
                  </a:lnTo>
                  <a:lnTo>
                    <a:pt x="2415" y="20"/>
                  </a:lnTo>
                  <a:lnTo>
                    <a:pt x="2414" y="20"/>
                  </a:lnTo>
                  <a:lnTo>
                    <a:pt x="2411" y="20"/>
                  </a:lnTo>
                  <a:lnTo>
                    <a:pt x="2414" y="20"/>
                  </a:lnTo>
                  <a:lnTo>
                    <a:pt x="2415" y="20"/>
                  </a:lnTo>
                  <a:lnTo>
                    <a:pt x="2416" y="20"/>
                  </a:lnTo>
                  <a:close/>
                  <a:moveTo>
                    <a:pt x="2722" y="20"/>
                  </a:moveTo>
                  <a:lnTo>
                    <a:pt x="2721" y="20"/>
                  </a:lnTo>
                  <a:lnTo>
                    <a:pt x="2720" y="19"/>
                  </a:lnTo>
                  <a:lnTo>
                    <a:pt x="2721" y="19"/>
                  </a:lnTo>
                  <a:lnTo>
                    <a:pt x="2722" y="19"/>
                  </a:lnTo>
                  <a:lnTo>
                    <a:pt x="2723" y="19"/>
                  </a:lnTo>
                  <a:lnTo>
                    <a:pt x="2722" y="19"/>
                  </a:lnTo>
                  <a:lnTo>
                    <a:pt x="2722" y="20"/>
                  </a:lnTo>
                  <a:close/>
                  <a:moveTo>
                    <a:pt x="2693" y="19"/>
                  </a:moveTo>
                  <a:lnTo>
                    <a:pt x="2697" y="19"/>
                  </a:lnTo>
                  <a:lnTo>
                    <a:pt x="2699" y="19"/>
                  </a:lnTo>
                  <a:lnTo>
                    <a:pt x="2701" y="19"/>
                  </a:lnTo>
                  <a:lnTo>
                    <a:pt x="2704" y="19"/>
                  </a:lnTo>
                  <a:lnTo>
                    <a:pt x="2707" y="19"/>
                  </a:lnTo>
                  <a:lnTo>
                    <a:pt x="2709" y="20"/>
                  </a:lnTo>
                  <a:lnTo>
                    <a:pt x="2714" y="20"/>
                  </a:lnTo>
                  <a:lnTo>
                    <a:pt x="2719" y="20"/>
                  </a:lnTo>
                  <a:lnTo>
                    <a:pt x="2720" y="20"/>
                  </a:lnTo>
                  <a:lnTo>
                    <a:pt x="2721" y="20"/>
                  </a:lnTo>
                  <a:lnTo>
                    <a:pt x="2721" y="21"/>
                  </a:lnTo>
                  <a:lnTo>
                    <a:pt x="2720" y="21"/>
                  </a:lnTo>
                  <a:lnTo>
                    <a:pt x="2719" y="21"/>
                  </a:lnTo>
                  <a:lnTo>
                    <a:pt x="2719" y="23"/>
                  </a:lnTo>
                  <a:lnTo>
                    <a:pt x="2717" y="23"/>
                  </a:lnTo>
                  <a:lnTo>
                    <a:pt x="2716" y="23"/>
                  </a:lnTo>
                  <a:lnTo>
                    <a:pt x="2713" y="24"/>
                  </a:lnTo>
                  <a:lnTo>
                    <a:pt x="2710" y="24"/>
                  </a:lnTo>
                  <a:lnTo>
                    <a:pt x="2707" y="24"/>
                  </a:lnTo>
                  <a:lnTo>
                    <a:pt x="2707" y="23"/>
                  </a:lnTo>
                  <a:lnTo>
                    <a:pt x="2708" y="23"/>
                  </a:lnTo>
                  <a:lnTo>
                    <a:pt x="2709" y="23"/>
                  </a:lnTo>
                  <a:lnTo>
                    <a:pt x="2710" y="23"/>
                  </a:lnTo>
                  <a:lnTo>
                    <a:pt x="2709" y="23"/>
                  </a:lnTo>
                  <a:lnTo>
                    <a:pt x="2707" y="21"/>
                  </a:lnTo>
                  <a:lnTo>
                    <a:pt x="2704" y="21"/>
                  </a:lnTo>
                  <a:lnTo>
                    <a:pt x="2700" y="21"/>
                  </a:lnTo>
                  <a:lnTo>
                    <a:pt x="2698" y="21"/>
                  </a:lnTo>
                  <a:lnTo>
                    <a:pt x="2697" y="21"/>
                  </a:lnTo>
                  <a:lnTo>
                    <a:pt x="2698" y="20"/>
                  </a:lnTo>
                  <a:lnTo>
                    <a:pt x="2699" y="20"/>
                  </a:lnTo>
                  <a:lnTo>
                    <a:pt x="2698" y="20"/>
                  </a:lnTo>
                  <a:lnTo>
                    <a:pt x="2697" y="20"/>
                  </a:lnTo>
                  <a:lnTo>
                    <a:pt x="2695" y="20"/>
                  </a:lnTo>
                  <a:lnTo>
                    <a:pt x="2697" y="20"/>
                  </a:lnTo>
                  <a:lnTo>
                    <a:pt x="2697" y="19"/>
                  </a:lnTo>
                  <a:lnTo>
                    <a:pt x="2695" y="19"/>
                  </a:lnTo>
                  <a:lnTo>
                    <a:pt x="2694" y="19"/>
                  </a:lnTo>
                  <a:lnTo>
                    <a:pt x="2693" y="19"/>
                  </a:lnTo>
                  <a:close/>
                  <a:moveTo>
                    <a:pt x="2350" y="20"/>
                  </a:moveTo>
                  <a:lnTo>
                    <a:pt x="2351" y="20"/>
                  </a:lnTo>
                  <a:lnTo>
                    <a:pt x="2352" y="20"/>
                  </a:lnTo>
                  <a:lnTo>
                    <a:pt x="2351" y="20"/>
                  </a:lnTo>
                  <a:lnTo>
                    <a:pt x="2352" y="20"/>
                  </a:lnTo>
                  <a:lnTo>
                    <a:pt x="2353" y="20"/>
                  </a:lnTo>
                  <a:lnTo>
                    <a:pt x="2352" y="20"/>
                  </a:lnTo>
                  <a:lnTo>
                    <a:pt x="2349" y="20"/>
                  </a:lnTo>
                  <a:lnTo>
                    <a:pt x="2344" y="20"/>
                  </a:lnTo>
                  <a:lnTo>
                    <a:pt x="2340" y="20"/>
                  </a:lnTo>
                  <a:lnTo>
                    <a:pt x="2342" y="20"/>
                  </a:lnTo>
                  <a:lnTo>
                    <a:pt x="2344" y="20"/>
                  </a:lnTo>
                  <a:lnTo>
                    <a:pt x="2345" y="19"/>
                  </a:lnTo>
                  <a:lnTo>
                    <a:pt x="2346" y="19"/>
                  </a:lnTo>
                  <a:lnTo>
                    <a:pt x="2347" y="19"/>
                  </a:lnTo>
                  <a:lnTo>
                    <a:pt x="2349" y="19"/>
                  </a:lnTo>
                  <a:lnTo>
                    <a:pt x="2350" y="19"/>
                  </a:lnTo>
                  <a:lnTo>
                    <a:pt x="2350" y="20"/>
                  </a:lnTo>
                  <a:close/>
                  <a:moveTo>
                    <a:pt x="2424" y="20"/>
                  </a:moveTo>
                  <a:lnTo>
                    <a:pt x="2423" y="20"/>
                  </a:lnTo>
                  <a:lnTo>
                    <a:pt x="2422" y="20"/>
                  </a:lnTo>
                  <a:lnTo>
                    <a:pt x="2420" y="20"/>
                  </a:lnTo>
                  <a:lnTo>
                    <a:pt x="2417" y="20"/>
                  </a:lnTo>
                  <a:lnTo>
                    <a:pt x="2416" y="19"/>
                  </a:lnTo>
                  <a:lnTo>
                    <a:pt x="2415" y="19"/>
                  </a:lnTo>
                  <a:lnTo>
                    <a:pt x="2418" y="19"/>
                  </a:lnTo>
                  <a:lnTo>
                    <a:pt x="2421" y="18"/>
                  </a:lnTo>
                  <a:lnTo>
                    <a:pt x="2422" y="18"/>
                  </a:lnTo>
                  <a:lnTo>
                    <a:pt x="2423" y="19"/>
                  </a:lnTo>
                  <a:lnTo>
                    <a:pt x="2424" y="19"/>
                  </a:lnTo>
                  <a:lnTo>
                    <a:pt x="2425" y="19"/>
                  </a:lnTo>
                  <a:lnTo>
                    <a:pt x="2425" y="20"/>
                  </a:lnTo>
                  <a:lnTo>
                    <a:pt x="2424" y="20"/>
                  </a:lnTo>
                  <a:close/>
                  <a:moveTo>
                    <a:pt x="2224" y="18"/>
                  </a:moveTo>
                  <a:lnTo>
                    <a:pt x="2223" y="18"/>
                  </a:lnTo>
                  <a:lnTo>
                    <a:pt x="2225" y="18"/>
                  </a:lnTo>
                  <a:lnTo>
                    <a:pt x="2224" y="18"/>
                  </a:lnTo>
                  <a:close/>
                  <a:moveTo>
                    <a:pt x="2751" y="18"/>
                  </a:moveTo>
                  <a:lnTo>
                    <a:pt x="2752" y="18"/>
                  </a:lnTo>
                  <a:lnTo>
                    <a:pt x="2754" y="19"/>
                  </a:lnTo>
                  <a:lnTo>
                    <a:pt x="2755" y="19"/>
                  </a:lnTo>
                  <a:lnTo>
                    <a:pt x="2756" y="19"/>
                  </a:lnTo>
                  <a:lnTo>
                    <a:pt x="2755" y="19"/>
                  </a:lnTo>
                  <a:lnTo>
                    <a:pt x="2754" y="20"/>
                  </a:lnTo>
                  <a:lnTo>
                    <a:pt x="2755" y="20"/>
                  </a:lnTo>
                  <a:lnTo>
                    <a:pt x="2754" y="20"/>
                  </a:lnTo>
                  <a:lnTo>
                    <a:pt x="2755" y="20"/>
                  </a:lnTo>
                  <a:lnTo>
                    <a:pt x="2755" y="21"/>
                  </a:lnTo>
                  <a:lnTo>
                    <a:pt x="2754" y="21"/>
                  </a:lnTo>
                  <a:lnTo>
                    <a:pt x="2755" y="21"/>
                  </a:lnTo>
                  <a:lnTo>
                    <a:pt x="2754" y="21"/>
                  </a:lnTo>
                  <a:lnTo>
                    <a:pt x="2755" y="21"/>
                  </a:lnTo>
                  <a:lnTo>
                    <a:pt x="2755" y="23"/>
                  </a:lnTo>
                  <a:lnTo>
                    <a:pt x="2752" y="23"/>
                  </a:lnTo>
                  <a:lnTo>
                    <a:pt x="2754" y="23"/>
                  </a:lnTo>
                  <a:lnTo>
                    <a:pt x="2756" y="23"/>
                  </a:lnTo>
                  <a:lnTo>
                    <a:pt x="2756" y="21"/>
                  </a:lnTo>
                  <a:lnTo>
                    <a:pt x="2757" y="21"/>
                  </a:lnTo>
                  <a:lnTo>
                    <a:pt x="2756" y="21"/>
                  </a:lnTo>
                  <a:lnTo>
                    <a:pt x="2756" y="20"/>
                  </a:lnTo>
                  <a:lnTo>
                    <a:pt x="2757" y="20"/>
                  </a:lnTo>
                  <a:lnTo>
                    <a:pt x="2759" y="21"/>
                  </a:lnTo>
                  <a:lnTo>
                    <a:pt x="2761" y="21"/>
                  </a:lnTo>
                  <a:lnTo>
                    <a:pt x="2761" y="20"/>
                  </a:lnTo>
                  <a:lnTo>
                    <a:pt x="2759" y="19"/>
                  </a:lnTo>
                  <a:lnTo>
                    <a:pt x="2762" y="19"/>
                  </a:lnTo>
                  <a:lnTo>
                    <a:pt x="2765" y="19"/>
                  </a:lnTo>
                  <a:lnTo>
                    <a:pt x="2766" y="19"/>
                  </a:lnTo>
                  <a:lnTo>
                    <a:pt x="2768" y="19"/>
                  </a:lnTo>
                  <a:lnTo>
                    <a:pt x="2768" y="20"/>
                  </a:lnTo>
                  <a:lnTo>
                    <a:pt x="2770" y="20"/>
                  </a:lnTo>
                  <a:lnTo>
                    <a:pt x="2769" y="20"/>
                  </a:lnTo>
                  <a:lnTo>
                    <a:pt x="2770" y="20"/>
                  </a:lnTo>
                  <a:lnTo>
                    <a:pt x="2771" y="20"/>
                  </a:lnTo>
                  <a:lnTo>
                    <a:pt x="2772" y="20"/>
                  </a:lnTo>
                  <a:lnTo>
                    <a:pt x="2773" y="21"/>
                  </a:lnTo>
                  <a:lnTo>
                    <a:pt x="2774" y="21"/>
                  </a:lnTo>
                  <a:lnTo>
                    <a:pt x="2776" y="21"/>
                  </a:lnTo>
                  <a:lnTo>
                    <a:pt x="2777" y="23"/>
                  </a:lnTo>
                  <a:lnTo>
                    <a:pt x="2776" y="23"/>
                  </a:lnTo>
                  <a:lnTo>
                    <a:pt x="2774" y="23"/>
                  </a:lnTo>
                  <a:lnTo>
                    <a:pt x="2776" y="23"/>
                  </a:lnTo>
                  <a:lnTo>
                    <a:pt x="2777" y="23"/>
                  </a:lnTo>
                  <a:lnTo>
                    <a:pt x="2777" y="24"/>
                  </a:lnTo>
                  <a:lnTo>
                    <a:pt x="2776" y="24"/>
                  </a:lnTo>
                  <a:lnTo>
                    <a:pt x="2777" y="24"/>
                  </a:lnTo>
                  <a:lnTo>
                    <a:pt x="2777" y="25"/>
                  </a:lnTo>
                  <a:lnTo>
                    <a:pt x="2778" y="25"/>
                  </a:lnTo>
                  <a:lnTo>
                    <a:pt x="2778" y="26"/>
                  </a:lnTo>
                  <a:lnTo>
                    <a:pt x="2779" y="26"/>
                  </a:lnTo>
                  <a:lnTo>
                    <a:pt x="2780" y="27"/>
                  </a:lnTo>
                  <a:lnTo>
                    <a:pt x="2779" y="28"/>
                  </a:lnTo>
                  <a:lnTo>
                    <a:pt x="2776" y="27"/>
                  </a:lnTo>
                  <a:lnTo>
                    <a:pt x="2774" y="27"/>
                  </a:lnTo>
                  <a:lnTo>
                    <a:pt x="2776" y="27"/>
                  </a:lnTo>
                  <a:lnTo>
                    <a:pt x="2778" y="28"/>
                  </a:lnTo>
                  <a:lnTo>
                    <a:pt x="2781" y="28"/>
                  </a:lnTo>
                  <a:lnTo>
                    <a:pt x="2781" y="30"/>
                  </a:lnTo>
                  <a:lnTo>
                    <a:pt x="2785" y="30"/>
                  </a:lnTo>
                  <a:lnTo>
                    <a:pt x="2786" y="31"/>
                  </a:lnTo>
                  <a:lnTo>
                    <a:pt x="2787" y="31"/>
                  </a:lnTo>
                  <a:lnTo>
                    <a:pt x="2788" y="32"/>
                  </a:lnTo>
                  <a:lnTo>
                    <a:pt x="2787" y="32"/>
                  </a:lnTo>
                  <a:lnTo>
                    <a:pt x="2786" y="32"/>
                  </a:lnTo>
                  <a:lnTo>
                    <a:pt x="2786" y="33"/>
                  </a:lnTo>
                  <a:lnTo>
                    <a:pt x="2785" y="33"/>
                  </a:lnTo>
                  <a:lnTo>
                    <a:pt x="2783" y="33"/>
                  </a:lnTo>
                  <a:lnTo>
                    <a:pt x="2781" y="33"/>
                  </a:lnTo>
                  <a:lnTo>
                    <a:pt x="2778" y="33"/>
                  </a:lnTo>
                  <a:lnTo>
                    <a:pt x="2779" y="33"/>
                  </a:lnTo>
                  <a:lnTo>
                    <a:pt x="2778" y="33"/>
                  </a:lnTo>
                  <a:lnTo>
                    <a:pt x="2777" y="33"/>
                  </a:lnTo>
                  <a:lnTo>
                    <a:pt x="2776" y="33"/>
                  </a:lnTo>
                  <a:lnTo>
                    <a:pt x="2773" y="33"/>
                  </a:lnTo>
                  <a:lnTo>
                    <a:pt x="2774" y="33"/>
                  </a:lnTo>
                  <a:lnTo>
                    <a:pt x="2773" y="33"/>
                  </a:lnTo>
                  <a:lnTo>
                    <a:pt x="2772" y="33"/>
                  </a:lnTo>
                  <a:lnTo>
                    <a:pt x="2771" y="33"/>
                  </a:lnTo>
                  <a:lnTo>
                    <a:pt x="2770" y="33"/>
                  </a:lnTo>
                  <a:lnTo>
                    <a:pt x="2768" y="33"/>
                  </a:lnTo>
                  <a:lnTo>
                    <a:pt x="2769" y="33"/>
                  </a:lnTo>
                  <a:lnTo>
                    <a:pt x="2766" y="33"/>
                  </a:lnTo>
                  <a:lnTo>
                    <a:pt x="2765" y="32"/>
                  </a:lnTo>
                  <a:lnTo>
                    <a:pt x="2764" y="32"/>
                  </a:lnTo>
                  <a:lnTo>
                    <a:pt x="2762" y="32"/>
                  </a:lnTo>
                  <a:lnTo>
                    <a:pt x="2761" y="32"/>
                  </a:lnTo>
                  <a:lnTo>
                    <a:pt x="2761" y="31"/>
                  </a:lnTo>
                  <a:lnTo>
                    <a:pt x="2759" y="31"/>
                  </a:lnTo>
                  <a:lnTo>
                    <a:pt x="2757" y="31"/>
                  </a:lnTo>
                  <a:lnTo>
                    <a:pt x="2755" y="31"/>
                  </a:lnTo>
                  <a:lnTo>
                    <a:pt x="2756" y="31"/>
                  </a:lnTo>
                  <a:lnTo>
                    <a:pt x="2752" y="31"/>
                  </a:lnTo>
                  <a:lnTo>
                    <a:pt x="2751" y="31"/>
                  </a:lnTo>
                  <a:lnTo>
                    <a:pt x="2750" y="31"/>
                  </a:lnTo>
                  <a:lnTo>
                    <a:pt x="2749" y="31"/>
                  </a:lnTo>
                  <a:lnTo>
                    <a:pt x="2749" y="30"/>
                  </a:lnTo>
                  <a:lnTo>
                    <a:pt x="2748" y="30"/>
                  </a:lnTo>
                  <a:lnTo>
                    <a:pt x="2747" y="30"/>
                  </a:lnTo>
                  <a:lnTo>
                    <a:pt x="2745" y="30"/>
                  </a:lnTo>
                  <a:lnTo>
                    <a:pt x="2744" y="30"/>
                  </a:lnTo>
                  <a:lnTo>
                    <a:pt x="2744" y="31"/>
                  </a:lnTo>
                  <a:lnTo>
                    <a:pt x="2743" y="31"/>
                  </a:lnTo>
                  <a:lnTo>
                    <a:pt x="2742" y="30"/>
                  </a:lnTo>
                  <a:lnTo>
                    <a:pt x="2742" y="31"/>
                  </a:lnTo>
                  <a:lnTo>
                    <a:pt x="2741" y="30"/>
                  </a:lnTo>
                  <a:lnTo>
                    <a:pt x="2738" y="30"/>
                  </a:lnTo>
                  <a:lnTo>
                    <a:pt x="2738" y="28"/>
                  </a:lnTo>
                  <a:lnTo>
                    <a:pt x="2737" y="28"/>
                  </a:lnTo>
                  <a:lnTo>
                    <a:pt x="2735" y="28"/>
                  </a:lnTo>
                  <a:lnTo>
                    <a:pt x="2734" y="28"/>
                  </a:lnTo>
                  <a:lnTo>
                    <a:pt x="2734" y="27"/>
                  </a:lnTo>
                  <a:lnTo>
                    <a:pt x="2733" y="27"/>
                  </a:lnTo>
                  <a:lnTo>
                    <a:pt x="2733" y="26"/>
                  </a:lnTo>
                  <a:lnTo>
                    <a:pt x="2731" y="26"/>
                  </a:lnTo>
                  <a:lnTo>
                    <a:pt x="2731" y="25"/>
                  </a:lnTo>
                  <a:lnTo>
                    <a:pt x="2730" y="25"/>
                  </a:lnTo>
                  <a:lnTo>
                    <a:pt x="2729" y="26"/>
                  </a:lnTo>
                  <a:lnTo>
                    <a:pt x="2727" y="26"/>
                  </a:lnTo>
                  <a:lnTo>
                    <a:pt x="2726" y="26"/>
                  </a:lnTo>
                  <a:lnTo>
                    <a:pt x="2727" y="26"/>
                  </a:lnTo>
                  <a:lnTo>
                    <a:pt x="2728" y="26"/>
                  </a:lnTo>
                  <a:lnTo>
                    <a:pt x="2728" y="25"/>
                  </a:lnTo>
                  <a:lnTo>
                    <a:pt x="2726" y="25"/>
                  </a:lnTo>
                  <a:lnTo>
                    <a:pt x="2724" y="25"/>
                  </a:lnTo>
                  <a:lnTo>
                    <a:pt x="2726" y="25"/>
                  </a:lnTo>
                  <a:lnTo>
                    <a:pt x="2726" y="24"/>
                  </a:lnTo>
                  <a:lnTo>
                    <a:pt x="2724" y="24"/>
                  </a:lnTo>
                  <a:lnTo>
                    <a:pt x="2724" y="25"/>
                  </a:lnTo>
                  <a:lnTo>
                    <a:pt x="2723" y="25"/>
                  </a:lnTo>
                  <a:lnTo>
                    <a:pt x="2724" y="25"/>
                  </a:lnTo>
                  <a:lnTo>
                    <a:pt x="2723" y="25"/>
                  </a:lnTo>
                  <a:lnTo>
                    <a:pt x="2723" y="26"/>
                  </a:lnTo>
                  <a:lnTo>
                    <a:pt x="2722" y="26"/>
                  </a:lnTo>
                  <a:lnTo>
                    <a:pt x="2721" y="26"/>
                  </a:lnTo>
                  <a:lnTo>
                    <a:pt x="2721" y="25"/>
                  </a:lnTo>
                  <a:lnTo>
                    <a:pt x="2722" y="25"/>
                  </a:lnTo>
                  <a:lnTo>
                    <a:pt x="2721" y="25"/>
                  </a:lnTo>
                  <a:lnTo>
                    <a:pt x="2720" y="25"/>
                  </a:lnTo>
                  <a:lnTo>
                    <a:pt x="2719" y="25"/>
                  </a:lnTo>
                  <a:lnTo>
                    <a:pt x="2717" y="25"/>
                  </a:lnTo>
                  <a:lnTo>
                    <a:pt x="2720" y="25"/>
                  </a:lnTo>
                  <a:lnTo>
                    <a:pt x="2721" y="25"/>
                  </a:lnTo>
                  <a:lnTo>
                    <a:pt x="2722" y="24"/>
                  </a:lnTo>
                  <a:lnTo>
                    <a:pt x="2723" y="24"/>
                  </a:lnTo>
                  <a:lnTo>
                    <a:pt x="2723" y="23"/>
                  </a:lnTo>
                  <a:lnTo>
                    <a:pt x="2726" y="23"/>
                  </a:lnTo>
                  <a:lnTo>
                    <a:pt x="2727" y="21"/>
                  </a:lnTo>
                  <a:lnTo>
                    <a:pt x="2729" y="21"/>
                  </a:lnTo>
                  <a:lnTo>
                    <a:pt x="2728" y="21"/>
                  </a:lnTo>
                  <a:lnTo>
                    <a:pt x="2727" y="21"/>
                  </a:lnTo>
                  <a:lnTo>
                    <a:pt x="2726" y="21"/>
                  </a:lnTo>
                  <a:lnTo>
                    <a:pt x="2724" y="20"/>
                  </a:lnTo>
                  <a:lnTo>
                    <a:pt x="2726" y="20"/>
                  </a:lnTo>
                  <a:lnTo>
                    <a:pt x="2727" y="19"/>
                  </a:lnTo>
                  <a:lnTo>
                    <a:pt x="2728" y="19"/>
                  </a:lnTo>
                  <a:lnTo>
                    <a:pt x="2727" y="19"/>
                  </a:lnTo>
                  <a:lnTo>
                    <a:pt x="2728" y="19"/>
                  </a:lnTo>
                  <a:lnTo>
                    <a:pt x="2729" y="19"/>
                  </a:lnTo>
                  <a:lnTo>
                    <a:pt x="2730" y="19"/>
                  </a:lnTo>
                  <a:lnTo>
                    <a:pt x="2731" y="19"/>
                  </a:lnTo>
                  <a:lnTo>
                    <a:pt x="2733" y="18"/>
                  </a:lnTo>
                  <a:lnTo>
                    <a:pt x="2735" y="18"/>
                  </a:lnTo>
                  <a:lnTo>
                    <a:pt x="2737" y="18"/>
                  </a:lnTo>
                  <a:lnTo>
                    <a:pt x="2737" y="19"/>
                  </a:lnTo>
                  <a:lnTo>
                    <a:pt x="2738" y="19"/>
                  </a:lnTo>
                  <a:lnTo>
                    <a:pt x="2738" y="18"/>
                  </a:lnTo>
                  <a:lnTo>
                    <a:pt x="2740" y="19"/>
                  </a:lnTo>
                  <a:lnTo>
                    <a:pt x="2741" y="19"/>
                  </a:lnTo>
                  <a:lnTo>
                    <a:pt x="2741" y="18"/>
                  </a:lnTo>
                  <a:lnTo>
                    <a:pt x="2742" y="18"/>
                  </a:lnTo>
                  <a:lnTo>
                    <a:pt x="2743" y="18"/>
                  </a:lnTo>
                  <a:lnTo>
                    <a:pt x="2744" y="18"/>
                  </a:lnTo>
                  <a:lnTo>
                    <a:pt x="2745" y="18"/>
                  </a:lnTo>
                  <a:lnTo>
                    <a:pt x="2749" y="18"/>
                  </a:lnTo>
                  <a:lnTo>
                    <a:pt x="2751" y="18"/>
                  </a:lnTo>
                  <a:close/>
                  <a:moveTo>
                    <a:pt x="2427" y="18"/>
                  </a:moveTo>
                  <a:lnTo>
                    <a:pt x="2424" y="18"/>
                  </a:lnTo>
                  <a:lnTo>
                    <a:pt x="2423" y="18"/>
                  </a:lnTo>
                  <a:lnTo>
                    <a:pt x="2425" y="18"/>
                  </a:lnTo>
                  <a:lnTo>
                    <a:pt x="2427" y="18"/>
                  </a:lnTo>
                  <a:close/>
                  <a:moveTo>
                    <a:pt x="2339" y="19"/>
                  </a:moveTo>
                  <a:lnTo>
                    <a:pt x="2338" y="19"/>
                  </a:lnTo>
                  <a:lnTo>
                    <a:pt x="2337" y="19"/>
                  </a:lnTo>
                  <a:lnTo>
                    <a:pt x="2336" y="18"/>
                  </a:lnTo>
                  <a:lnTo>
                    <a:pt x="2335" y="18"/>
                  </a:lnTo>
                  <a:lnTo>
                    <a:pt x="2337" y="18"/>
                  </a:lnTo>
                  <a:lnTo>
                    <a:pt x="2337" y="17"/>
                  </a:lnTo>
                  <a:lnTo>
                    <a:pt x="2339" y="17"/>
                  </a:lnTo>
                  <a:lnTo>
                    <a:pt x="2340" y="18"/>
                  </a:lnTo>
                  <a:lnTo>
                    <a:pt x="2342" y="18"/>
                  </a:lnTo>
                  <a:lnTo>
                    <a:pt x="2340" y="18"/>
                  </a:lnTo>
                  <a:lnTo>
                    <a:pt x="2339" y="18"/>
                  </a:lnTo>
                  <a:lnTo>
                    <a:pt x="2339" y="19"/>
                  </a:lnTo>
                  <a:close/>
                  <a:moveTo>
                    <a:pt x="2374" y="18"/>
                  </a:moveTo>
                  <a:lnTo>
                    <a:pt x="2374" y="17"/>
                  </a:lnTo>
                  <a:lnTo>
                    <a:pt x="2373" y="17"/>
                  </a:lnTo>
                  <a:lnTo>
                    <a:pt x="2374" y="17"/>
                  </a:lnTo>
                  <a:lnTo>
                    <a:pt x="2375" y="17"/>
                  </a:lnTo>
                  <a:lnTo>
                    <a:pt x="2375" y="18"/>
                  </a:lnTo>
                  <a:lnTo>
                    <a:pt x="2374" y="18"/>
                  </a:lnTo>
                  <a:close/>
                  <a:moveTo>
                    <a:pt x="2385" y="17"/>
                  </a:moveTo>
                  <a:lnTo>
                    <a:pt x="2384" y="17"/>
                  </a:lnTo>
                  <a:lnTo>
                    <a:pt x="2381" y="17"/>
                  </a:lnTo>
                  <a:lnTo>
                    <a:pt x="2380" y="17"/>
                  </a:lnTo>
                  <a:lnTo>
                    <a:pt x="2381" y="17"/>
                  </a:lnTo>
                  <a:lnTo>
                    <a:pt x="2382" y="17"/>
                  </a:lnTo>
                  <a:lnTo>
                    <a:pt x="2381" y="17"/>
                  </a:lnTo>
                  <a:lnTo>
                    <a:pt x="2382" y="16"/>
                  </a:lnTo>
                  <a:lnTo>
                    <a:pt x="2384" y="16"/>
                  </a:lnTo>
                  <a:lnTo>
                    <a:pt x="2384" y="17"/>
                  </a:lnTo>
                  <a:lnTo>
                    <a:pt x="2385" y="17"/>
                  </a:lnTo>
                  <a:close/>
                  <a:moveTo>
                    <a:pt x="2399" y="16"/>
                  </a:moveTo>
                  <a:lnTo>
                    <a:pt x="2399" y="17"/>
                  </a:lnTo>
                  <a:lnTo>
                    <a:pt x="2400" y="18"/>
                  </a:lnTo>
                  <a:lnTo>
                    <a:pt x="2399" y="18"/>
                  </a:lnTo>
                  <a:lnTo>
                    <a:pt x="2400" y="18"/>
                  </a:lnTo>
                  <a:lnTo>
                    <a:pt x="2400" y="19"/>
                  </a:lnTo>
                  <a:lnTo>
                    <a:pt x="2399" y="19"/>
                  </a:lnTo>
                  <a:lnTo>
                    <a:pt x="2396" y="19"/>
                  </a:lnTo>
                  <a:lnTo>
                    <a:pt x="2393" y="19"/>
                  </a:lnTo>
                  <a:lnTo>
                    <a:pt x="2390" y="19"/>
                  </a:lnTo>
                  <a:lnTo>
                    <a:pt x="2388" y="19"/>
                  </a:lnTo>
                  <a:lnTo>
                    <a:pt x="2390" y="18"/>
                  </a:lnTo>
                  <a:lnTo>
                    <a:pt x="2389" y="18"/>
                  </a:lnTo>
                  <a:lnTo>
                    <a:pt x="2389" y="17"/>
                  </a:lnTo>
                  <a:lnTo>
                    <a:pt x="2388" y="17"/>
                  </a:lnTo>
                  <a:lnTo>
                    <a:pt x="2388" y="16"/>
                  </a:lnTo>
                  <a:lnTo>
                    <a:pt x="2389" y="16"/>
                  </a:lnTo>
                  <a:lnTo>
                    <a:pt x="2392" y="16"/>
                  </a:lnTo>
                  <a:lnTo>
                    <a:pt x="2394" y="17"/>
                  </a:lnTo>
                  <a:lnTo>
                    <a:pt x="2395" y="16"/>
                  </a:lnTo>
                  <a:lnTo>
                    <a:pt x="2394" y="16"/>
                  </a:lnTo>
                  <a:lnTo>
                    <a:pt x="2395" y="16"/>
                  </a:lnTo>
                  <a:lnTo>
                    <a:pt x="2397" y="16"/>
                  </a:lnTo>
                  <a:lnTo>
                    <a:pt x="2399" y="16"/>
                  </a:lnTo>
                  <a:close/>
                  <a:moveTo>
                    <a:pt x="2365" y="16"/>
                  </a:moveTo>
                  <a:lnTo>
                    <a:pt x="2366" y="16"/>
                  </a:lnTo>
                  <a:lnTo>
                    <a:pt x="2367" y="17"/>
                  </a:lnTo>
                  <a:lnTo>
                    <a:pt x="2371" y="17"/>
                  </a:lnTo>
                  <a:lnTo>
                    <a:pt x="2370" y="18"/>
                  </a:lnTo>
                  <a:lnTo>
                    <a:pt x="2370" y="17"/>
                  </a:lnTo>
                  <a:lnTo>
                    <a:pt x="2368" y="17"/>
                  </a:lnTo>
                  <a:lnTo>
                    <a:pt x="2368" y="18"/>
                  </a:lnTo>
                  <a:lnTo>
                    <a:pt x="2365" y="18"/>
                  </a:lnTo>
                  <a:lnTo>
                    <a:pt x="2361" y="18"/>
                  </a:lnTo>
                  <a:lnTo>
                    <a:pt x="2360" y="18"/>
                  </a:lnTo>
                  <a:lnTo>
                    <a:pt x="2358" y="18"/>
                  </a:lnTo>
                  <a:lnTo>
                    <a:pt x="2358" y="17"/>
                  </a:lnTo>
                  <a:lnTo>
                    <a:pt x="2357" y="17"/>
                  </a:lnTo>
                  <a:lnTo>
                    <a:pt x="2359" y="17"/>
                  </a:lnTo>
                  <a:lnTo>
                    <a:pt x="2360" y="17"/>
                  </a:lnTo>
                  <a:lnTo>
                    <a:pt x="2359" y="17"/>
                  </a:lnTo>
                  <a:lnTo>
                    <a:pt x="2360" y="17"/>
                  </a:lnTo>
                  <a:lnTo>
                    <a:pt x="2360" y="16"/>
                  </a:lnTo>
                  <a:lnTo>
                    <a:pt x="2361" y="16"/>
                  </a:lnTo>
                  <a:lnTo>
                    <a:pt x="2363" y="16"/>
                  </a:lnTo>
                  <a:lnTo>
                    <a:pt x="2364" y="16"/>
                  </a:lnTo>
                  <a:lnTo>
                    <a:pt x="2365" y="16"/>
                  </a:lnTo>
                  <a:close/>
                  <a:moveTo>
                    <a:pt x="2381" y="16"/>
                  </a:moveTo>
                  <a:lnTo>
                    <a:pt x="2382" y="16"/>
                  </a:lnTo>
                  <a:lnTo>
                    <a:pt x="2381" y="16"/>
                  </a:lnTo>
                  <a:lnTo>
                    <a:pt x="2380" y="16"/>
                  </a:lnTo>
                  <a:lnTo>
                    <a:pt x="2379" y="16"/>
                  </a:lnTo>
                  <a:lnTo>
                    <a:pt x="2380" y="16"/>
                  </a:lnTo>
                  <a:lnTo>
                    <a:pt x="2381" y="16"/>
                  </a:lnTo>
                  <a:close/>
                  <a:moveTo>
                    <a:pt x="2378" y="16"/>
                  </a:moveTo>
                  <a:lnTo>
                    <a:pt x="2375" y="16"/>
                  </a:lnTo>
                  <a:lnTo>
                    <a:pt x="2374" y="16"/>
                  </a:lnTo>
                  <a:lnTo>
                    <a:pt x="2375" y="16"/>
                  </a:lnTo>
                  <a:lnTo>
                    <a:pt x="2375" y="14"/>
                  </a:lnTo>
                  <a:lnTo>
                    <a:pt x="2377" y="14"/>
                  </a:lnTo>
                  <a:lnTo>
                    <a:pt x="2378" y="14"/>
                  </a:lnTo>
                  <a:lnTo>
                    <a:pt x="2378" y="16"/>
                  </a:lnTo>
                  <a:close/>
                  <a:moveTo>
                    <a:pt x="2417" y="16"/>
                  </a:moveTo>
                  <a:lnTo>
                    <a:pt x="2417" y="17"/>
                  </a:lnTo>
                  <a:lnTo>
                    <a:pt x="2414" y="16"/>
                  </a:lnTo>
                  <a:lnTo>
                    <a:pt x="2411" y="16"/>
                  </a:lnTo>
                  <a:lnTo>
                    <a:pt x="2411" y="17"/>
                  </a:lnTo>
                  <a:lnTo>
                    <a:pt x="2410" y="17"/>
                  </a:lnTo>
                  <a:lnTo>
                    <a:pt x="2409" y="17"/>
                  </a:lnTo>
                  <a:lnTo>
                    <a:pt x="2408" y="17"/>
                  </a:lnTo>
                  <a:lnTo>
                    <a:pt x="2407" y="17"/>
                  </a:lnTo>
                  <a:lnTo>
                    <a:pt x="2408" y="17"/>
                  </a:lnTo>
                  <a:lnTo>
                    <a:pt x="2410" y="17"/>
                  </a:lnTo>
                  <a:lnTo>
                    <a:pt x="2411" y="17"/>
                  </a:lnTo>
                  <a:lnTo>
                    <a:pt x="2411" y="18"/>
                  </a:lnTo>
                  <a:lnTo>
                    <a:pt x="2409" y="18"/>
                  </a:lnTo>
                  <a:lnTo>
                    <a:pt x="2408" y="18"/>
                  </a:lnTo>
                  <a:lnTo>
                    <a:pt x="2407" y="18"/>
                  </a:lnTo>
                  <a:lnTo>
                    <a:pt x="2408" y="18"/>
                  </a:lnTo>
                  <a:lnTo>
                    <a:pt x="2408" y="19"/>
                  </a:lnTo>
                  <a:lnTo>
                    <a:pt x="2406" y="19"/>
                  </a:lnTo>
                  <a:lnTo>
                    <a:pt x="2404" y="18"/>
                  </a:lnTo>
                  <a:lnTo>
                    <a:pt x="2403" y="18"/>
                  </a:lnTo>
                  <a:lnTo>
                    <a:pt x="2402" y="18"/>
                  </a:lnTo>
                  <a:lnTo>
                    <a:pt x="2401" y="18"/>
                  </a:lnTo>
                  <a:lnTo>
                    <a:pt x="2401" y="17"/>
                  </a:lnTo>
                  <a:lnTo>
                    <a:pt x="2400" y="17"/>
                  </a:lnTo>
                  <a:lnTo>
                    <a:pt x="2400" y="16"/>
                  </a:lnTo>
                  <a:lnTo>
                    <a:pt x="2399" y="16"/>
                  </a:lnTo>
                  <a:lnTo>
                    <a:pt x="2400" y="16"/>
                  </a:lnTo>
                  <a:lnTo>
                    <a:pt x="2399" y="16"/>
                  </a:lnTo>
                  <a:lnTo>
                    <a:pt x="2396" y="14"/>
                  </a:lnTo>
                  <a:lnTo>
                    <a:pt x="2399" y="14"/>
                  </a:lnTo>
                  <a:lnTo>
                    <a:pt x="2402" y="14"/>
                  </a:lnTo>
                  <a:lnTo>
                    <a:pt x="2406" y="14"/>
                  </a:lnTo>
                  <a:lnTo>
                    <a:pt x="2409" y="14"/>
                  </a:lnTo>
                  <a:lnTo>
                    <a:pt x="2410" y="14"/>
                  </a:lnTo>
                  <a:lnTo>
                    <a:pt x="2411" y="14"/>
                  </a:lnTo>
                  <a:lnTo>
                    <a:pt x="2411" y="16"/>
                  </a:lnTo>
                  <a:lnTo>
                    <a:pt x="2413" y="16"/>
                  </a:lnTo>
                  <a:lnTo>
                    <a:pt x="2416" y="16"/>
                  </a:lnTo>
                  <a:lnTo>
                    <a:pt x="2417" y="16"/>
                  </a:lnTo>
                  <a:close/>
                  <a:moveTo>
                    <a:pt x="2379" y="14"/>
                  </a:moveTo>
                  <a:lnTo>
                    <a:pt x="2378" y="14"/>
                  </a:lnTo>
                  <a:lnTo>
                    <a:pt x="2375" y="14"/>
                  </a:lnTo>
                  <a:lnTo>
                    <a:pt x="2377" y="14"/>
                  </a:lnTo>
                  <a:lnTo>
                    <a:pt x="2378" y="14"/>
                  </a:lnTo>
                  <a:lnTo>
                    <a:pt x="2379" y="14"/>
                  </a:lnTo>
                  <a:lnTo>
                    <a:pt x="2380" y="14"/>
                  </a:lnTo>
                  <a:lnTo>
                    <a:pt x="2379" y="14"/>
                  </a:lnTo>
                  <a:close/>
                  <a:moveTo>
                    <a:pt x="2372" y="13"/>
                  </a:moveTo>
                  <a:lnTo>
                    <a:pt x="2371" y="13"/>
                  </a:lnTo>
                  <a:lnTo>
                    <a:pt x="2371" y="14"/>
                  </a:lnTo>
                  <a:lnTo>
                    <a:pt x="2372" y="14"/>
                  </a:lnTo>
                  <a:lnTo>
                    <a:pt x="2373" y="14"/>
                  </a:lnTo>
                  <a:lnTo>
                    <a:pt x="2374" y="14"/>
                  </a:lnTo>
                  <a:lnTo>
                    <a:pt x="2374" y="16"/>
                  </a:lnTo>
                  <a:lnTo>
                    <a:pt x="2373" y="16"/>
                  </a:lnTo>
                  <a:lnTo>
                    <a:pt x="2368" y="14"/>
                  </a:lnTo>
                  <a:lnTo>
                    <a:pt x="2370" y="14"/>
                  </a:lnTo>
                  <a:lnTo>
                    <a:pt x="2368" y="14"/>
                  </a:lnTo>
                  <a:lnTo>
                    <a:pt x="2370" y="14"/>
                  </a:lnTo>
                  <a:lnTo>
                    <a:pt x="2368" y="14"/>
                  </a:lnTo>
                  <a:lnTo>
                    <a:pt x="2368" y="13"/>
                  </a:lnTo>
                  <a:lnTo>
                    <a:pt x="2372" y="13"/>
                  </a:lnTo>
                  <a:close/>
                  <a:moveTo>
                    <a:pt x="2392" y="12"/>
                  </a:moveTo>
                  <a:lnTo>
                    <a:pt x="2393" y="12"/>
                  </a:lnTo>
                  <a:lnTo>
                    <a:pt x="2394" y="12"/>
                  </a:lnTo>
                  <a:lnTo>
                    <a:pt x="2394" y="13"/>
                  </a:lnTo>
                  <a:lnTo>
                    <a:pt x="2392" y="13"/>
                  </a:lnTo>
                  <a:lnTo>
                    <a:pt x="2389" y="13"/>
                  </a:lnTo>
                  <a:lnTo>
                    <a:pt x="2385" y="13"/>
                  </a:lnTo>
                  <a:lnTo>
                    <a:pt x="2384" y="13"/>
                  </a:lnTo>
                  <a:lnTo>
                    <a:pt x="2382" y="13"/>
                  </a:lnTo>
                  <a:lnTo>
                    <a:pt x="2384" y="12"/>
                  </a:lnTo>
                  <a:lnTo>
                    <a:pt x="2381" y="12"/>
                  </a:lnTo>
                  <a:lnTo>
                    <a:pt x="2382" y="12"/>
                  </a:lnTo>
                  <a:lnTo>
                    <a:pt x="2384" y="12"/>
                  </a:lnTo>
                  <a:lnTo>
                    <a:pt x="2387" y="12"/>
                  </a:lnTo>
                  <a:lnTo>
                    <a:pt x="2389" y="11"/>
                  </a:lnTo>
                  <a:lnTo>
                    <a:pt x="2390" y="12"/>
                  </a:lnTo>
                  <a:lnTo>
                    <a:pt x="2392" y="12"/>
                  </a:lnTo>
                  <a:close/>
                  <a:moveTo>
                    <a:pt x="2316" y="11"/>
                  </a:moveTo>
                  <a:lnTo>
                    <a:pt x="2317" y="11"/>
                  </a:lnTo>
                  <a:lnTo>
                    <a:pt x="2318" y="11"/>
                  </a:lnTo>
                  <a:lnTo>
                    <a:pt x="2321" y="11"/>
                  </a:lnTo>
                  <a:lnTo>
                    <a:pt x="2323" y="12"/>
                  </a:lnTo>
                  <a:lnTo>
                    <a:pt x="2322" y="12"/>
                  </a:lnTo>
                  <a:lnTo>
                    <a:pt x="2321" y="12"/>
                  </a:lnTo>
                  <a:lnTo>
                    <a:pt x="2323" y="12"/>
                  </a:lnTo>
                  <a:lnTo>
                    <a:pt x="2324" y="13"/>
                  </a:lnTo>
                  <a:lnTo>
                    <a:pt x="2323" y="13"/>
                  </a:lnTo>
                  <a:lnTo>
                    <a:pt x="2322" y="13"/>
                  </a:lnTo>
                  <a:lnTo>
                    <a:pt x="2318" y="13"/>
                  </a:lnTo>
                  <a:lnTo>
                    <a:pt x="2317" y="12"/>
                  </a:lnTo>
                  <a:lnTo>
                    <a:pt x="2315" y="12"/>
                  </a:lnTo>
                  <a:lnTo>
                    <a:pt x="2314" y="12"/>
                  </a:lnTo>
                  <a:lnTo>
                    <a:pt x="2313" y="12"/>
                  </a:lnTo>
                  <a:lnTo>
                    <a:pt x="2314" y="12"/>
                  </a:lnTo>
                  <a:lnTo>
                    <a:pt x="2313" y="12"/>
                  </a:lnTo>
                  <a:lnTo>
                    <a:pt x="2311" y="13"/>
                  </a:lnTo>
                  <a:lnTo>
                    <a:pt x="2313" y="13"/>
                  </a:lnTo>
                  <a:lnTo>
                    <a:pt x="2314" y="13"/>
                  </a:lnTo>
                  <a:lnTo>
                    <a:pt x="2313" y="13"/>
                  </a:lnTo>
                  <a:lnTo>
                    <a:pt x="2311" y="13"/>
                  </a:lnTo>
                  <a:lnTo>
                    <a:pt x="2310" y="13"/>
                  </a:lnTo>
                  <a:lnTo>
                    <a:pt x="2310" y="14"/>
                  </a:lnTo>
                  <a:lnTo>
                    <a:pt x="2307" y="13"/>
                  </a:lnTo>
                  <a:lnTo>
                    <a:pt x="2307" y="14"/>
                  </a:lnTo>
                  <a:lnTo>
                    <a:pt x="2306" y="14"/>
                  </a:lnTo>
                  <a:lnTo>
                    <a:pt x="2307" y="14"/>
                  </a:lnTo>
                  <a:lnTo>
                    <a:pt x="2306" y="14"/>
                  </a:lnTo>
                  <a:lnTo>
                    <a:pt x="2302" y="16"/>
                  </a:lnTo>
                  <a:lnTo>
                    <a:pt x="2302" y="14"/>
                  </a:lnTo>
                  <a:lnTo>
                    <a:pt x="2302" y="13"/>
                  </a:lnTo>
                  <a:lnTo>
                    <a:pt x="2301" y="13"/>
                  </a:lnTo>
                  <a:lnTo>
                    <a:pt x="2300" y="14"/>
                  </a:lnTo>
                  <a:lnTo>
                    <a:pt x="2300" y="13"/>
                  </a:lnTo>
                  <a:lnTo>
                    <a:pt x="2299" y="13"/>
                  </a:lnTo>
                  <a:lnTo>
                    <a:pt x="2299" y="14"/>
                  </a:lnTo>
                  <a:lnTo>
                    <a:pt x="2297" y="14"/>
                  </a:lnTo>
                  <a:lnTo>
                    <a:pt x="2296" y="14"/>
                  </a:lnTo>
                  <a:lnTo>
                    <a:pt x="2296" y="13"/>
                  </a:lnTo>
                  <a:lnTo>
                    <a:pt x="2295" y="13"/>
                  </a:lnTo>
                  <a:lnTo>
                    <a:pt x="2292" y="13"/>
                  </a:lnTo>
                  <a:lnTo>
                    <a:pt x="2290" y="13"/>
                  </a:lnTo>
                  <a:lnTo>
                    <a:pt x="2292" y="13"/>
                  </a:lnTo>
                  <a:lnTo>
                    <a:pt x="2293" y="13"/>
                  </a:lnTo>
                  <a:lnTo>
                    <a:pt x="2296" y="12"/>
                  </a:lnTo>
                  <a:lnTo>
                    <a:pt x="2301" y="12"/>
                  </a:lnTo>
                  <a:lnTo>
                    <a:pt x="2304" y="12"/>
                  </a:lnTo>
                  <a:lnTo>
                    <a:pt x="2303" y="12"/>
                  </a:lnTo>
                  <a:lnTo>
                    <a:pt x="2308" y="12"/>
                  </a:lnTo>
                  <a:lnTo>
                    <a:pt x="2309" y="12"/>
                  </a:lnTo>
                  <a:lnTo>
                    <a:pt x="2309" y="11"/>
                  </a:lnTo>
                  <a:lnTo>
                    <a:pt x="2310" y="11"/>
                  </a:lnTo>
                  <a:lnTo>
                    <a:pt x="2309" y="11"/>
                  </a:lnTo>
                  <a:lnTo>
                    <a:pt x="2313" y="11"/>
                  </a:lnTo>
                  <a:lnTo>
                    <a:pt x="2316" y="11"/>
                  </a:lnTo>
                  <a:close/>
                  <a:moveTo>
                    <a:pt x="2438" y="11"/>
                  </a:moveTo>
                  <a:lnTo>
                    <a:pt x="2439" y="12"/>
                  </a:lnTo>
                  <a:lnTo>
                    <a:pt x="2438" y="12"/>
                  </a:lnTo>
                  <a:lnTo>
                    <a:pt x="2438" y="13"/>
                  </a:lnTo>
                  <a:lnTo>
                    <a:pt x="2439" y="13"/>
                  </a:lnTo>
                  <a:lnTo>
                    <a:pt x="2438" y="13"/>
                  </a:lnTo>
                  <a:lnTo>
                    <a:pt x="2436" y="13"/>
                  </a:lnTo>
                  <a:lnTo>
                    <a:pt x="2435" y="13"/>
                  </a:lnTo>
                  <a:lnTo>
                    <a:pt x="2435" y="14"/>
                  </a:lnTo>
                  <a:lnTo>
                    <a:pt x="2436" y="14"/>
                  </a:lnTo>
                  <a:lnTo>
                    <a:pt x="2434" y="14"/>
                  </a:lnTo>
                  <a:lnTo>
                    <a:pt x="2432" y="14"/>
                  </a:lnTo>
                  <a:lnTo>
                    <a:pt x="2434" y="14"/>
                  </a:lnTo>
                  <a:lnTo>
                    <a:pt x="2432" y="16"/>
                  </a:lnTo>
                  <a:lnTo>
                    <a:pt x="2431" y="16"/>
                  </a:lnTo>
                  <a:lnTo>
                    <a:pt x="2427" y="14"/>
                  </a:lnTo>
                  <a:lnTo>
                    <a:pt x="2424" y="14"/>
                  </a:lnTo>
                  <a:lnTo>
                    <a:pt x="2423" y="14"/>
                  </a:lnTo>
                  <a:lnTo>
                    <a:pt x="2422" y="14"/>
                  </a:lnTo>
                  <a:lnTo>
                    <a:pt x="2422" y="16"/>
                  </a:lnTo>
                  <a:lnTo>
                    <a:pt x="2420" y="16"/>
                  </a:lnTo>
                  <a:lnTo>
                    <a:pt x="2417" y="14"/>
                  </a:lnTo>
                  <a:lnTo>
                    <a:pt x="2415" y="14"/>
                  </a:lnTo>
                  <a:lnTo>
                    <a:pt x="2416" y="14"/>
                  </a:lnTo>
                  <a:lnTo>
                    <a:pt x="2416" y="13"/>
                  </a:lnTo>
                  <a:lnTo>
                    <a:pt x="2415" y="13"/>
                  </a:lnTo>
                  <a:lnTo>
                    <a:pt x="2414" y="13"/>
                  </a:lnTo>
                  <a:lnTo>
                    <a:pt x="2414" y="12"/>
                  </a:lnTo>
                  <a:lnTo>
                    <a:pt x="2415" y="12"/>
                  </a:lnTo>
                  <a:lnTo>
                    <a:pt x="2414" y="12"/>
                  </a:lnTo>
                  <a:lnTo>
                    <a:pt x="2415" y="12"/>
                  </a:lnTo>
                  <a:lnTo>
                    <a:pt x="2416" y="12"/>
                  </a:lnTo>
                  <a:lnTo>
                    <a:pt x="2416" y="11"/>
                  </a:lnTo>
                  <a:lnTo>
                    <a:pt x="2415" y="11"/>
                  </a:lnTo>
                  <a:lnTo>
                    <a:pt x="2416" y="11"/>
                  </a:lnTo>
                  <a:lnTo>
                    <a:pt x="2417" y="11"/>
                  </a:lnTo>
                  <a:lnTo>
                    <a:pt x="2421" y="11"/>
                  </a:lnTo>
                  <a:lnTo>
                    <a:pt x="2420" y="11"/>
                  </a:lnTo>
                  <a:lnTo>
                    <a:pt x="2418" y="11"/>
                  </a:lnTo>
                  <a:lnTo>
                    <a:pt x="2422" y="11"/>
                  </a:lnTo>
                  <a:lnTo>
                    <a:pt x="2423" y="11"/>
                  </a:lnTo>
                  <a:lnTo>
                    <a:pt x="2424" y="11"/>
                  </a:lnTo>
                  <a:lnTo>
                    <a:pt x="2428" y="11"/>
                  </a:lnTo>
                  <a:lnTo>
                    <a:pt x="2432" y="11"/>
                  </a:lnTo>
                  <a:lnTo>
                    <a:pt x="2431" y="11"/>
                  </a:lnTo>
                  <a:lnTo>
                    <a:pt x="2432" y="11"/>
                  </a:lnTo>
                  <a:lnTo>
                    <a:pt x="2436" y="11"/>
                  </a:lnTo>
                  <a:lnTo>
                    <a:pt x="2438" y="11"/>
                  </a:lnTo>
                  <a:close/>
                  <a:moveTo>
                    <a:pt x="2410" y="11"/>
                  </a:moveTo>
                  <a:lnTo>
                    <a:pt x="2410" y="12"/>
                  </a:lnTo>
                  <a:lnTo>
                    <a:pt x="2409" y="12"/>
                  </a:lnTo>
                  <a:lnTo>
                    <a:pt x="2408" y="12"/>
                  </a:lnTo>
                  <a:lnTo>
                    <a:pt x="2407" y="12"/>
                  </a:lnTo>
                  <a:lnTo>
                    <a:pt x="2403" y="12"/>
                  </a:lnTo>
                  <a:lnTo>
                    <a:pt x="2403" y="11"/>
                  </a:lnTo>
                  <a:lnTo>
                    <a:pt x="2401" y="11"/>
                  </a:lnTo>
                  <a:lnTo>
                    <a:pt x="2402" y="11"/>
                  </a:lnTo>
                  <a:lnTo>
                    <a:pt x="2403" y="11"/>
                  </a:lnTo>
                  <a:lnTo>
                    <a:pt x="2406" y="11"/>
                  </a:lnTo>
                  <a:lnTo>
                    <a:pt x="2408" y="10"/>
                  </a:lnTo>
                  <a:lnTo>
                    <a:pt x="2409" y="11"/>
                  </a:lnTo>
                  <a:lnTo>
                    <a:pt x="2410" y="11"/>
                  </a:lnTo>
                  <a:close/>
                  <a:moveTo>
                    <a:pt x="2379" y="11"/>
                  </a:moveTo>
                  <a:lnTo>
                    <a:pt x="2382" y="11"/>
                  </a:lnTo>
                  <a:lnTo>
                    <a:pt x="2385" y="11"/>
                  </a:lnTo>
                  <a:lnTo>
                    <a:pt x="2384" y="12"/>
                  </a:lnTo>
                  <a:lnTo>
                    <a:pt x="2380" y="12"/>
                  </a:lnTo>
                  <a:lnTo>
                    <a:pt x="2377" y="12"/>
                  </a:lnTo>
                  <a:lnTo>
                    <a:pt x="2374" y="12"/>
                  </a:lnTo>
                  <a:lnTo>
                    <a:pt x="2374" y="11"/>
                  </a:lnTo>
                  <a:lnTo>
                    <a:pt x="2373" y="11"/>
                  </a:lnTo>
                  <a:lnTo>
                    <a:pt x="2373" y="12"/>
                  </a:lnTo>
                  <a:lnTo>
                    <a:pt x="2371" y="11"/>
                  </a:lnTo>
                  <a:lnTo>
                    <a:pt x="2368" y="11"/>
                  </a:lnTo>
                  <a:lnTo>
                    <a:pt x="2367" y="11"/>
                  </a:lnTo>
                  <a:lnTo>
                    <a:pt x="2368" y="11"/>
                  </a:lnTo>
                  <a:lnTo>
                    <a:pt x="2371" y="11"/>
                  </a:lnTo>
                  <a:lnTo>
                    <a:pt x="2374" y="11"/>
                  </a:lnTo>
                  <a:lnTo>
                    <a:pt x="2375" y="11"/>
                  </a:lnTo>
                  <a:lnTo>
                    <a:pt x="2377" y="11"/>
                  </a:lnTo>
                  <a:lnTo>
                    <a:pt x="2377" y="10"/>
                  </a:lnTo>
                  <a:lnTo>
                    <a:pt x="2378" y="11"/>
                  </a:lnTo>
                  <a:lnTo>
                    <a:pt x="2379" y="11"/>
                  </a:lnTo>
                  <a:close/>
                  <a:moveTo>
                    <a:pt x="2333" y="11"/>
                  </a:moveTo>
                  <a:lnTo>
                    <a:pt x="2337" y="11"/>
                  </a:lnTo>
                  <a:lnTo>
                    <a:pt x="2339" y="11"/>
                  </a:lnTo>
                  <a:lnTo>
                    <a:pt x="2340" y="10"/>
                  </a:lnTo>
                  <a:lnTo>
                    <a:pt x="2342" y="11"/>
                  </a:lnTo>
                  <a:lnTo>
                    <a:pt x="2343" y="11"/>
                  </a:lnTo>
                  <a:lnTo>
                    <a:pt x="2342" y="11"/>
                  </a:lnTo>
                  <a:lnTo>
                    <a:pt x="2340" y="11"/>
                  </a:lnTo>
                  <a:lnTo>
                    <a:pt x="2339" y="11"/>
                  </a:lnTo>
                  <a:lnTo>
                    <a:pt x="2338" y="11"/>
                  </a:lnTo>
                  <a:lnTo>
                    <a:pt x="2338" y="12"/>
                  </a:lnTo>
                  <a:lnTo>
                    <a:pt x="2337" y="12"/>
                  </a:lnTo>
                  <a:lnTo>
                    <a:pt x="2336" y="12"/>
                  </a:lnTo>
                  <a:lnTo>
                    <a:pt x="2337" y="12"/>
                  </a:lnTo>
                  <a:lnTo>
                    <a:pt x="2338" y="12"/>
                  </a:lnTo>
                  <a:lnTo>
                    <a:pt x="2339" y="12"/>
                  </a:lnTo>
                  <a:lnTo>
                    <a:pt x="2340" y="12"/>
                  </a:lnTo>
                  <a:lnTo>
                    <a:pt x="2342" y="12"/>
                  </a:lnTo>
                  <a:lnTo>
                    <a:pt x="2343" y="12"/>
                  </a:lnTo>
                  <a:lnTo>
                    <a:pt x="2344" y="12"/>
                  </a:lnTo>
                  <a:lnTo>
                    <a:pt x="2345" y="11"/>
                  </a:lnTo>
                  <a:lnTo>
                    <a:pt x="2345" y="12"/>
                  </a:lnTo>
                  <a:lnTo>
                    <a:pt x="2346" y="12"/>
                  </a:lnTo>
                  <a:lnTo>
                    <a:pt x="2347" y="12"/>
                  </a:lnTo>
                  <a:lnTo>
                    <a:pt x="2349" y="12"/>
                  </a:lnTo>
                  <a:lnTo>
                    <a:pt x="2350" y="12"/>
                  </a:lnTo>
                  <a:lnTo>
                    <a:pt x="2347" y="13"/>
                  </a:lnTo>
                  <a:lnTo>
                    <a:pt x="2345" y="13"/>
                  </a:lnTo>
                  <a:lnTo>
                    <a:pt x="2344" y="14"/>
                  </a:lnTo>
                  <a:lnTo>
                    <a:pt x="2340" y="14"/>
                  </a:lnTo>
                  <a:lnTo>
                    <a:pt x="2337" y="14"/>
                  </a:lnTo>
                  <a:lnTo>
                    <a:pt x="2336" y="14"/>
                  </a:lnTo>
                  <a:lnTo>
                    <a:pt x="2333" y="14"/>
                  </a:lnTo>
                  <a:lnTo>
                    <a:pt x="2335" y="14"/>
                  </a:lnTo>
                  <a:lnTo>
                    <a:pt x="2335" y="16"/>
                  </a:lnTo>
                  <a:lnTo>
                    <a:pt x="2332" y="16"/>
                  </a:lnTo>
                  <a:lnTo>
                    <a:pt x="2330" y="16"/>
                  </a:lnTo>
                  <a:lnTo>
                    <a:pt x="2326" y="16"/>
                  </a:lnTo>
                  <a:lnTo>
                    <a:pt x="2325" y="17"/>
                  </a:lnTo>
                  <a:lnTo>
                    <a:pt x="2326" y="17"/>
                  </a:lnTo>
                  <a:lnTo>
                    <a:pt x="2328" y="17"/>
                  </a:lnTo>
                  <a:lnTo>
                    <a:pt x="2329" y="17"/>
                  </a:lnTo>
                  <a:lnTo>
                    <a:pt x="2330" y="17"/>
                  </a:lnTo>
                  <a:lnTo>
                    <a:pt x="2329" y="17"/>
                  </a:lnTo>
                  <a:lnTo>
                    <a:pt x="2329" y="18"/>
                  </a:lnTo>
                  <a:lnTo>
                    <a:pt x="2330" y="18"/>
                  </a:lnTo>
                  <a:lnTo>
                    <a:pt x="2328" y="18"/>
                  </a:lnTo>
                  <a:lnTo>
                    <a:pt x="2325" y="18"/>
                  </a:lnTo>
                  <a:lnTo>
                    <a:pt x="2325" y="19"/>
                  </a:lnTo>
                  <a:lnTo>
                    <a:pt x="2324" y="19"/>
                  </a:lnTo>
                  <a:lnTo>
                    <a:pt x="2324" y="18"/>
                  </a:lnTo>
                  <a:lnTo>
                    <a:pt x="2323" y="18"/>
                  </a:lnTo>
                  <a:lnTo>
                    <a:pt x="2322" y="18"/>
                  </a:lnTo>
                  <a:lnTo>
                    <a:pt x="2322" y="19"/>
                  </a:lnTo>
                  <a:lnTo>
                    <a:pt x="2318" y="19"/>
                  </a:lnTo>
                  <a:lnTo>
                    <a:pt x="2318" y="18"/>
                  </a:lnTo>
                  <a:lnTo>
                    <a:pt x="2320" y="18"/>
                  </a:lnTo>
                  <a:lnTo>
                    <a:pt x="2321" y="18"/>
                  </a:lnTo>
                  <a:lnTo>
                    <a:pt x="2322" y="18"/>
                  </a:lnTo>
                  <a:lnTo>
                    <a:pt x="2320" y="18"/>
                  </a:lnTo>
                  <a:lnTo>
                    <a:pt x="2320" y="17"/>
                  </a:lnTo>
                  <a:lnTo>
                    <a:pt x="2321" y="17"/>
                  </a:lnTo>
                  <a:lnTo>
                    <a:pt x="2320" y="17"/>
                  </a:lnTo>
                  <a:lnTo>
                    <a:pt x="2317" y="17"/>
                  </a:lnTo>
                  <a:lnTo>
                    <a:pt x="2316" y="17"/>
                  </a:lnTo>
                  <a:lnTo>
                    <a:pt x="2315" y="18"/>
                  </a:lnTo>
                  <a:lnTo>
                    <a:pt x="2316" y="18"/>
                  </a:lnTo>
                  <a:lnTo>
                    <a:pt x="2314" y="18"/>
                  </a:lnTo>
                  <a:lnTo>
                    <a:pt x="2311" y="18"/>
                  </a:lnTo>
                  <a:lnTo>
                    <a:pt x="2311" y="17"/>
                  </a:lnTo>
                  <a:lnTo>
                    <a:pt x="2309" y="17"/>
                  </a:lnTo>
                  <a:lnTo>
                    <a:pt x="2308" y="17"/>
                  </a:lnTo>
                  <a:lnTo>
                    <a:pt x="2311" y="16"/>
                  </a:lnTo>
                  <a:lnTo>
                    <a:pt x="2313" y="16"/>
                  </a:lnTo>
                  <a:lnTo>
                    <a:pt x="2313" y="17"/>
                  </a:lnTo>
                  <a:lnTo>
                    <a:pt x="2314" y="17"/>
                  </a:lnTo>
                  <a:lnTo>
                    <a:pt x="2315" y="17"/>
                  </a:lnTo>
                  <a:lnTo>
                    <a:pt x="2316" y="17"/>
                  </a:lnTo>
                  <a:lnTo>
                    <a:pt x="2317" y="17"/>
                  </a:lnTo>
                  <a:lnTo>
                    <a:pt x="2321" y="17"/>
                  </a:lnTo>
                  <a:lnTo>
                    <a:pt x="2320" y="17"/>
                  </a:lnTo>
                  <a:lnTo>
                    <a:pt x="2321" y="17"/>
                  </a:lnTo>
                  <a:lnTo>
                    <a:pt x="2322" y="16"/>
                  </a:lnTo>
                  <a:lnTo>
                    <a:pt x="2321" y="16"/>
                  </a:lnTo>
                  <a:lnTo>
                    <a:pt x="2318" y="16"/>
                  </a:lnTo>
                  <a:lnTo>
                    <a:pt x="2317" y="16"/>
                  </a:lnTo>
                  <a:lnTo>
                    <a:pt x="2316" y="16"/>
                  </a:lnTo>
                  <a:lnTo>
                    <a:pt x="2318" y="16"/>
                  </a:lnTo>
                  <a:lnTo>
                    <a:pt x="2321" y="16"/>
                  </a:lnTo>
                  <a:lnTo>
                    <a:pt x="2320" y="14"/>
                  </a:lnTo>
                  <a:lnTo>
                    <a:pt x="2321" y="14"/>
                  </a:lnTo>
                  <a:lnTo>
                    <a:pt x="2320" y="14"/>
                  </a:lnTo>
                  <a:lnTo>
                    <a:pt x="2318" y="14"/>
                  </a:lnTo>
                  <a:lnTo>
                    <a:pt x="2317" y="14"/>
                  </a:lnTo>
                  <a:lnTo>
                    <a:pt x="2314" y="16"/>
                  </a:lnTo>
                  <a:lnTo>
                    <a:pt x="2314" y="14"/>
                  </a:lnTo>
                  <a:lnTo>
                    <a:pt x="2316" y="14"/>
                  </a:lnTo>
                  <a:lnTo>
                    <a:pt x="2318" y="14"/>
                  </a:lnTo>
                  <a:lnTo>
                    <a:pt x="2320" y="14"/>
                  </a:lnTo>
                  <a:lnTo>
                    <a:pt x="2321" y="14"/>
                  </a:lnTo>
                  <a:lnTo>
                    <a:pt x="2321" y="13"/>
                  </a:lnTo>
                  <a:lnTo>
                    <a:pt x="2322" y="13"/>
                  </a:lnTo>
                  <a:lnTo>
                    <a:pt x="2323" y="14"/>
                  </a:lnTo>
                  <a:lnTo>
                    <a:pt x="2324" y="14"/>
                  </a:lnTo>
                  <a:lnTo>
                    <a:pt x="2325" y="14"/>
                  </a:lnTo>
                  <a:lnTo>
                    <a:pt x="2326" y="14"/>
                  </a:lnTo>
                  <a:lnTo>
                    <a:pt x="2329" y="14"/>
                  </a:lnTo>
                  <a:lnTo>
                    <a:pt x="2329" y="13"/>
                  </a:lnTo>
                  <a:lnTo>
                    <a:pt x="2330" y="13"/>
                  </a:lnTo>
                  <a:lnTo>
                    <a:pt x="2329" y="13"/>
                  </a:lnTo>
                  <a:lnTo>
                    <a:pt x="2330" y="13"/>
                  </a:lnTo>
                  <a:lnTo>
                    <a:pt x="2332" y="13"/>
                  </a:lnTo>
                  <a:lnTo>
                    <a:pt x="2331" y="13"/>
                  </a:lnTo>
                  <a:lnTo>
                    <a:pt x="2331" y="12"/>
                  </a:lnTo>
                  <a:lnTo>
                    <a:pt x="2328" y="12"/>
                  </a:lnTo>
                  <a:lnTo>
                    <a:pt x="2329" y="12"/>
                  </a:lnTo>
                  <a:lnTo>
                    <a:pt x="2328" y="12"/>
                  </a:lnTo>
                  <a:lnTo>
                    <a:pt x="2326" y="12"/>
                  </a:lnTo>
                  <a:lnTo>
                    <a:pt x="2325" y="12"/>
                  </a:lnTo>
                  <a:lnTo>
                    <a:pt x="2326" y="12"/>
                  </a:lnTo>
                  <a:lnTo>
                    <a:pt x="2325" y="12"/>
                  </a:lnTo>
                  <a:lnTo>
                    <a:pt x="2328" y="11"/>
                  </a:lnTo>
                  <a:lnTo>
                    <a:pt x="2331" y="11"/>
                  </a:lnTo>
                  <a:lnTo>
                    <a:pt x="2335" y="10"/>
                  </a:lnTo>
                  <a:lnTo>
                    <a:pt x="2336" y="10"/>
                  </a:lnTo>
                  <a:lnTo>
                    <a:pt x="2337" y="10"/>
                  </a:lnTo>
                  <a:lnTo>
                    <a:pt x="2335" y="11"/>
                  </a:lnTo>
                  <a:lnTo>
                    <a:pt x="2333" y="11"/>
                  </a:lnTo>
                  <a:close/>
                  <a:moveTo>
                    <a:pt x="2589" y="10"/>
                  </a:moveTo>
                  <a:lnTo>
                    <a:pt x="2593" y="10"/>
                  </a:lnTo>
                  <a:lnTo>
                    <a:pt x="2593" y="11"/>
                  </a:lnTo>
                  <a:lnTo>
                    <a:pt x="2589" y="11"/>
                  </a:lnTo>
                  <a:lnTo>
                    <a:pt x="2586" y="11"/>
                  </a:lnTo>
                  <a:lnTo>
                    <a:pt x="2582" y="11"/>
                  </a:lnTo>
                  <a:lnTo>
                    <a:pt x="2581" y="11"/>
                  </a:lnTo>
                  <a:lnTo>
                    <a:pt x="2581" y="10"/>
                  </a:lnTo>
                  <a:lnTo>
                    <a:pt x="2582" y="10"/>
                  </a:lnTo>
                  <a:lnTo>
                    <a:pt x="2586" y="10"/>
                  </a:lnTo>
                  <a:lnTo>
                    <a:pt x="2587" y="10"/>
                  </a:lnTo>
                  <a:lnTo>
                    <a:pt x="2589" y="10"/>
                  </a:lnTo>
                  <a:close/>
                  <a:moveTo>
                    <a:pt x="2406" y="10"/>
                  </a:moveTo>
                  <a:lnTo>
                    <a:pt x="2404" y="10"/>
                  </a:lnTo>
                  <a:lnTo>
                    <a:pt x="2403" y="10"/>
                  </a:lnTo>
                  <a:lnTo>
                    <a:pt x="2400" y="9"/>
                  </a:lnTo>
                  <a:lnTo>
                    <a:pt x="2399" y="9"/>
                  </a:lnTo>
                  <a:lnTo>
                    <a:pt x="2400" y="9"/>
                  </a:lnTo>
                  <a:lnTo>
                    <a:pt x="2403" y="9"/>
                  </a:lnTo>
                  <a:lnTo>
                    <a:pt x="2406" y="9"/>
                  </a:lnTo>
                  <a:lnTo>
                    <a:pt x="2407" y="9"/>
                  </a:lnTo>
                  <a:lnTo>
                    <a:pt x="2406" y="10"/>
                  </a:lnTo>
                  <a:close/>
                  <a:moveTo>
                    <a:pt x="2429" y="10"/>
                  </a:moveTo>
                  <a:lnTo>
                    <a:pt x="2427" y="10"/>
                  </a:lnTo>
                  <a:lnTo>
                    <a:pt x="2424" y="10"/>
                  </a:lnTo>
                  <a:lnTo>
                    <a:pt x="2421" y="10"/>
                  </a:lnTo>
                  <a:lnTo>
                    <a:pt x="2420" y="10"/>
                  </a:lnTo>
                  <a:lnTo>
                    <a:pt x="2418" y="10"/>
                  </a:lnTo>
                  <a:lnTo>
                    <a:pt x="2420" y="9"/>
                  </a:lnTo>
                  <a:lnTo>
                    <a:pt x="2422" y="9"/>
                  </a:lnTo>
                  <a:lnTo>
                    <a:pt x="2425" y="9"/>
                  </a:lnTo>
                  <a:lnTo>
                    <a:pt x="2428" y="9"/>
                  </a:lnTo>
                  <a:lnTo>
                    <a:pt x="2431" y="9"/>
                  </a:lnTo>
                  <a:lnTo>
                    <a:pt x="2429" y="10"/>
                  </a:lnTo>
                  <a:close/>
                  <a:moveTo>
                    <a:pt x="2384" y="9"/>
                  </a:moveTo>
                  <a:lnTo>
                    <a:pt x="2385" y="9"/>
                  </a:lnTo>
                  <a:lnTo>
                    <a:pt x="2388" y="9"/>
                  </a:lnTo>
                  <a:lnTo>
                    <a:pt x="2389" y="9"/>
                  </a:lnTo>
                  <a:lnTo>
                    <a:pt x="2390" y="9"/>
                  </a:lnTo>
                  <a:lnTo>
                    <a:pt x="2393" y="9"/>
                  </a:lnTo>
                  <a:lnTo>
                    <a:pt x="2394" y="9"/>
                  </a:lnTo>
                  <a:lnTo>
                    <a:pt x="2397" y="9"/>
                  </a:lnTo>
                  <a:lnTo>
                    <a:pt x="2397" y="10"/>
                  </a:lnTo>
                  <a:lnTo>
                    <a:pt x="2399" y="10"/>
                  </a:lnTo>
                  <a:lnTo>
                    <a:pt x="2401" y="10"/>
                  </a:lnTo>
                  <a:lnTo>
                    <a:pt x="2403" y="10"/>
                  </a:lnTo>
                  <a:lnTo>
                    <a:pt x="2401" y="11"/>
                  </a:lnTo>
                  <a:lnTo>
                    <a:pt x="2397" y="11"/>
                  </a:lnTo>
                  <a:lnTo>
                    <a:pt x="2396" y="11"/>
                  </a:lnTo>
                  <a:lnTo>
                    <a:pt x="2395" y="10"/>
                  </a:lnTo>
                  <a:lnTo>
                    <a:pt x="2394" y="10"/>
                  </a:lnTo>
                  <a:lnTo>
                    <a:pt x="2395" y="10"/>
                  </a:lnTo>
                  <a:lnTo>
                    <a:pt x="2394" y="10"/>
                  </a:lnTo>
                  <a:lnTo>
                    <a:pt x="2393" y="10"/>
                  </a:lnTo>
                  <a:lnTo>
                    <a:pt x="2392" y="10"/>
                  </a:lnTo>
                  <a:lnTo>
                    <a:pt x="2390" y="10"/>
                  </a:lnTo>
                  <a:lnTo>
                    <a:pt x="2390" y="9"/>
                  </a:lnTo>
                  <a:lnTo>
                    <a:pt x="2387" y="9"/>
                  </a:lnTo>
                  <a:lnTo>
                    <a:pt x="2384" y="9"/>
                  </a:lnTo>
                  <a:close/>
                  <a:moveTo>
                    <a:pt x="2379" y="10"/>
                  </a:moveTo>
                  <a:lnTo>
                    <a:pt x="2380" y="10"/>
                  </a:lnTo>
                  <a:lnTo>
                    <a:pt x="2384" y="9"/>
                  </a:lnTo>
                  <a:lnTo>
                    <a:pt x="2386" y="10"/>
                  </a:lnTo>
                  <a:lnTo>
                    <a:pt x="2389" y="10"/>
                  </a:lnTo>
                  <a:lnTo>
                    <a:pt x="2393" y="10"/>
                  </a:lnTo>
                  <a:lnTo>
                    <a:pt x="2396" y="11"/>
                  </a:lnTo>
                  <a:lnTo>
                    <a:pt x="2400" y="11"/>
                  </a:lnTo>
                  <a:lnTo>
                    <a:pt x="2400" y="12"/>
                  </a:lnTo>
                  <a:lnTo>
                    <a:pt x="2399" y="12"/>
                  </a:lnTo>
                  <a:lnTo>
                    <a:pt x="2397" y="12"/>
                  </a:lnTo>
                  <a:lnTo>
                    <a:pt x="2395" y="12"/>
                  </a:lnTo>
                  <a:lnTo>
                    <a:pt x="2394" y="12"/>
                  </a:lnTo>
                  <a:lnTo>
                    <a:pt x="2393" y="12"/>
                  </a:lnTo>
                  <a:lnTo>
                    <a:pt x="2392" y="12"/>
                  </a:lnTo>
                  <a:lnTo>
                    <a:pt x="2392" y="11"/>
                  </a:lnTo>
                  <a:lnTo>
                    <a:pt x="2390" y="11"/>
                  </a:lnTo>
                  <a:lnTo>
                    <a:pt x="2387" y="11"/>
                  </a:lnTo>
                  <a:lnTo>
                    <a:pt x="2384" y="11"/>
                  </a:lnTo>
                  <a:lnTo>
                    <a:pt x="2382" y="11"/>
                  </a:lnTo>
                  <a:lnTo>
                    <a:pt x="2380" y="11"/>
                  </a:lnTo>
                  <a:lnTo>
                    <a:pt x="2379" y="10"/>
                  </a:lnTo>
                  <a:lnTo>
                    <a:pt x="2378" y="10"/>
                  </a:lnTo>
                  <a:lnTo>
                    <a:pt x="2375" y="10"/>
                  </a:lnTo>
                  <a:lnTo>
                    <a:pt x="2374" y="10"/>
                  </a:lnTo>
                  <a:lnTo>
                    <a:pt x="2372" y="10"/>
                  </a:lnTo>
                  <a:lnTo>
                    <a:pt x="2371" y="10"/>
                  </a:lnTo>
                  <a:lnTo>
                    <a:pt x="2370" y="10"/>
                  </a:lnTo>
                  <a:lnTo>
                    <a:pt x="2370" y="9"/>
                  </a:lnTo>
                  <a:lnTo>
                    <a:pt x="2371" y="9"/>
                  </a:lnTo>
                  <a:lnTo>
                    <a:pt x="2372" y="9"/>
                  </a:lnTo>
                  <a:lnTo>
                    <a:pt x="2373" y="9"/>
                  </a:lnTo>
                  <a:lnTo>
                    <a:pt x="2378" y="9"/>
                  </a:lnTo>
                  <a:lnTo>
                    <a:pt x="2379" y="10"/>
                  </a:lnTo>
                  <a:close/>
                  <a:moveTo>
                    <a:pt x="2339" y="9"/>
                  </a:moveTo>
                  <a:lnTo>
                    <a:pt x="2338" y="9"/>
                  </a:lnTo>
                  <a:lnTo>
                    <a:pt x="2337" y="9"/>
                  </a:lnTo>
                  <a:lnTo>
                    <a:pt x="2336" y="9"/>
                  </a:lnTo>
                  <a:lnTo>
                    <a:pt x="2336" y="10"/>
                  </a:lnTo>
                  <a:lnTo>
                    <a:pt x="2336" y="9"/>
                  </a:lnTo>
                  <a:lnTo>
                    <a:pt x="2335" y="9"/>
                  </a:lnTo>
                  <a:lnTo>
                    <a:pt x="2336" y="9"/>
                  </a:lnTo>
                  <a:lnTo>
                    <a:pt x="2336" y="7"/>
                  </a:lnTo>
                  <a:lnTo>
                    <a:pt x="2338" y="7"/>
                  </a:lnTo>
                  <a:lnTo>
                    <a:pt x="2339" y="7"/>
                  </a:lnTo>
                  <a:lnTo>
                    <a:pt x="2339" y="9"/>
                  </a:lnTo>
                  <a:lnTo>
                    <a:pt x="2340" y="9"/>
                  </a:lnTo>
                  <a:lnTo>
                    <a:pt x="2339" y="9"/>
                  </a:lnTo>
                  <a:lnTo>
                    <a:pt x="2338" y="9"/>
                  </a:lnTo>
                  <a:lnTo>
                    <a:pt x="2339" y="9"/>
                  </a:lnTo>
                  <a:close/>
                  <a:moveTo>
                    <a:pt x="2456" y="7"/>
                  </a:moveTo>
                  <a:lnTo>
                    <a:pt x="2457" y="7"/>
                  </a:lnTo>
                  <a:lnTo>
                    <a:pt x="2458" y="7"/>
                  </a:lnTo>
                  <a:lnTo>
                    <a:pt x="2461" y="7"/>
                  </a:lnTo>
                  <a:lnTo>
                    <a:pt x="2461" y="9"/>
                  </a:lnTo>
                  <a:lnTo>
                    <a:pt x="2463" y="9"/>
                  </a:lnTo>
                  <a:lnTo>
                    <a:pt x="2464" y="9"/>
                  </a:lnTo>
                  <a:lnTo>
                    <a:pt x="2463" y="10"/>
                  </a:lnTo>
                  <a:lnTo>
                    <a:pt x="2464" y="10"/>
                  </a:lnTo>
                  <a:lnTo>
                    <a:pt x="2465" y="10"/>
                  </a:lnTo>
                  <a:lnTo>
                    <a:pt x="2463" y="11"/>
                  </a:lnTo>
                  <a:lnTo>
                    <a:pt x="2461" y="11"/>
                  </a:lnTo>
                  <a:lnTo>
                    <a:pt x="2459" y="12"/>
                  </a:lnTo>
                  <a:lnTo>
                    <a:pt x="2458" y="12"/>
                  </a:lnTo>
                  <a:lnTo>
                    <a:pt x="2454" y="12"/>
                  </a:lnTo>
                  <a:lnTo>
                    <a:pt x="2452" y="12"/>
                  </a:lnTo>
                  <a:lnTo>
                    <a:pt x="2451" y="12"/>
                  </a:lnTo>
                  <a:lnTo>
                    <a:pt x="2450" y="12"/>
                  </a:lnTo>
                  <a:lnTo>
                    <a:pt x="2448" y="12"/>
                  </a:lnTo>
                  <a:lnTo>
                    <a:pt x="2444" y="12"/>
                  </a:lnTo>
                  <a:lnTo>
                    <a:pt x="2442" y="11"/>
                  </a:lnTo>
                  <a:lnTo>
                    <a:pt x="2441" y="11"/>
                  </a:lnTo>
                  <a:lnTo>
                    <a:pt x="2443" y="11"/>
                  </a:lnTo>
                  <a:lnTo>
                    <a:pt x="2444" y="10"/>
                  </a:lnTo>
                  <a:lnTo>
                    <a:pt x="2445" y="10"/>
                  </a:lnTo>
                  <a:lnTo>
                    <a:pt x="2449" y="10"/>
                  </a:lnTo>
                  <a:lnTo>
                    <a:pt x="2452" y="10"/>
                  </a:lnTo>
                  <a:lnTo>
                    <a:pt x="2453" y="10"/>
                  </a:lnTo>
                  <a:lnTo>
                    <a:pt x="2453" y="9"/>
                  </a:lnTo>
                  <a:lnTo>
                    <a:pt x="2452" y="9"/>
                  </a:lnTo>
                  <a:lnTo>
                    <a:pt x="2452" y="7"/>
                  </a:lnTo>
                  <a:lnTo>
                    <a:pt x="2453" y="7"/>
                  </a:lnTo>
                  <a:lnTo>
                    <a:pt x="2456" y="7"/>
                  </a:lnTo>
                  <a:close/>
                  <a:moveTo>
                    <a:pt x="2414" y="7"/>
                  </a:moveTo>
                  <a:lnTo>
                    <a:pt x="2410" y="7"/>
                  </a:lnTo>
                  <a:lnTo>
                    <a:pt x="2408" y="7"/>
                  </a:lnTo>
                  <a:lnTo>
                    <a:pt x="2411" y="7"/>
                  </a:lnTo>
                  <a:lnTo>
                    <a:pt x="2414" y="7"/>
                  </a:lnTo>
                  <a:close/>
                  <a:moveTo>
                    <a:pt x="2684" y="9"/>
                  </a:moveTo>
                  <a:lnTo>
                    <a:pt x="2683" y="9"/>
                  </a:lnTo>
                  <a:lnTo>
                    <a:pt x="2679" y="9"/>
                  </a:lnTo>
                  <a:lnTo>
                    <a:pt x="2676" y="9"/>
                  </a:lnTo>
                  <a:lnTo>
                    <a:pt x="2672" y="9"/>
                  </a:lnTo>
                  <a:lnTo>
                    <a:pt x="2671" y="9"/>
                  </a:lnTo>
                  <a:lnTo>
                    <a:pt x="2671" y="7"/>
                  </a:lnTo>
                  <a:lnTo>
                    <a:pt x="2670" y="7"/>
                  </a:lnTo>
                  <a:lnTo>
                    <a:pt x="2671" y="7"/>
                  </a:lnTo>
                  <a:lnTo>
                    <a:pt x="2676" y="7"/>
                  </a:lnTo>
                  <a:lnTo>
                    <a:pt x="2679" y="7"/>
                  </a:lnTo>
                  <a:lnTo>
                    <a:pt x="2684" y="7"/>
                  </a:lnTo>
                  <a:lnTo>
                    <a:pt x="2685" y="7"/>
                  </a:lnTo>
                  <a:lnTo>
                    <a:pt x="2685" y="9"/>
                  </a:lnTo>
                  <a:lnTo>
                    <a:pt x="2684" y="9"/>
                  </a:lnTo>
                  <a:close/>
                  <a:moveTo>
                    <a:pt x="2397" y="7"/>
                  </a:moveTo>
                  <a:lnTo>
                    <a:pt x="2394" y="9"/>
                  </a:lnTo>
                  <a:lnTo>
                    <a:pt x="2390" y="7"/>
                  </a:lnTo>
                  <a:lnTo>
                    <a:pt x="2392" y="7"/>
                  </a:lnTo>
                  <a:lnTo>
                    <a:pt x="2393" y="7"/>
                  </a:lnTo>
                  <a:lnTo>
                    <a:pt x="2394" y="7"/>
                  </a:lnTo>
                  <a:lnTo>
                    <a:pt x="2395" y="7"/>
                  </a:lnTo>
                  <a:lnTo>
                    <a:pt x="2396" y="7"/>
                  </a:lnTo>
                  <a:lnTo>
                    <a:pt x="2397" y="7"/>
                  </a:lnTo>
                  <a:lnTo>
                    <a:pt x="2399" y="7"/>
                  </a:lnTo>
                  <a:lnTo>
                    <a:pt x="2400" y="7"/>
                  </a:lnTo>
                  <a:lnTo>
                    <a:pt x="2397" y="7"/>
                  </a:lnTo>
                  <a:close/>
                  <a:moveTo>
                    <a:pt x="2721" y="7"/>
                  </a:moveTo>
                  <a:lnTo>
                    <a:pt x="2722" y="7"/>
                  </a:lnTo>
                  <a:lnTo>
                    <a:pt x="2723" y="7"/>
                  </a:lnTo>
                  <a:lnTo>
                    <a:pt x="2724" y="7"/>
                  </a:lnTo>
                  <a:lnTo>
                    <a:pt x="2726" y="7"/>
                  </a:lnTo>
                  <a:lnTo>
                    <a:pt x="2728" y="9"/>
                  </a:lnTo>
                  <a:lnTo>
                    <a:pt x="2729" y="9"/>
                  </a:lnTo>
                  <a:lnTo>
                    <a:pt x="2730" y="10"/>
                  </a:lnTo>
                  <a:lnTo>
                    <a:pt x="2731" y="10"/>
                  </a:lnTo>
                  <a:lnTo>
                    <a:pt x="2733" y="10"/>
                  </a:lnTo>
                  <a:lnTo>
                    <a:pt x="2734" y="10"/>
                  </a:lnTo>
                  <a:lnTo>
                    <a:pt x="2738" y="11"/>
                  </a:lnTo>
                  <a:lnTo>
                    <a:pt x="2740" y="11"/>
                  </a:lnTo>
                  <a:lnTo>
                    <a:pt x="2741" y="11"/>
                  </a:lnTo>
                  <a:lnTo>
                    <a:pt x="2742" y="11"/>
                  </a:lnTo>
                  <a:lnTo>
                    <a:pt x="2743" y="11"/>
                  </a:lnTo>
                  <a:lnTo>
                    <a:pt x="2744" y="12"/>
                  </a:lnTo>
                  <a:lnTo>
                    <a:pt x="2743" y="12"/>
                  </a:lnTo>
                  <a:lnTo>
                    <a:pt x="2744" y="12"/>
                  </a:lnTo>
                  <a:lnTo>
                    <a:pt x="2745" y="12"/>
                  </a:lnTo>
                  <a:lnTo>
                    <a:pt x="2744" y="12"/>
                  </a:lnTo>
                  <a:lnTo>
                    <a:pt x="2744" y="13"/>
                  </a:lnTo>
                  <a:lnTo>
                    <a:pt x="2743" y="13"/>
                  </a:lnTo>
                  <a:lnTo>
                    <a:pt x="2743" y="12"/>
                  </a:lnTo>
                  <a:lnTo>
                    <a:pt x="2742" y="12"/>
                  </a:lnTo>
                  <a:lnTo>
                    <a:pt x="2741" y="13"/>
                  </a:lnTo>
                  <a:lnTo>
                    <a:pt x="2740" y="13"/>
                  </a:lnTo>
                  <a:lnTo>
                    <a:pt x="2738" y="13"/>
                  </a:lnTo>
                  <a:lnTo>
                    <a:pt x="2740" y="13"/>
                  </a:lnTo>
                  <a:lnTo>
                    <a:pt x="2740" y="14"/>
                  </a:lnTo>
                  <a:lnTo>
                    <a:pt x="2741" y="14"/>
                  </a:lnTo>
                  <a:lnTo>
                    <a:pt x="2742" y="14"/>
                  </a:lnTo>
                  <a:lnTo>
                    <a:pt x="2742" y="16"/>
                  </a:lnTo>
                  <a:lnTo>
                    <a:pt x="2743" y="16"/>
                  </a:lnTo>
                  <a:lnTo>
                    <a:pt x="2744" y="16"/>
                  </a:lnTo>
                  <a:lnTo>
                    <a:pt x="2745" y="16"/>
                  </a:lnTo>
                  <a:lnTo>
                    <a:pt x="2745" y="17"/>
                  </a:lnTo>
                  <a:lnTo>
                    <a:pt x="2747" y="17"/>
                  </a:lnTo>
                  <a:lnTo>
                    <a:pt x="2745" y="17"/>
                  </a:lnTo>
                  <a:lnTo>
                    <a:pt x="2742" y="18"/>
                  </a:lnTo>
                  <a:lnTo>
                    <a:pt x="2738" y="18"/>
                  </a:lnTo>
                  <a:lnTo>
                    <a:pt x="2735" y="18"/>
                  </a:lnTo>
                  <a:lnTo>
                    <a:pt x="2731" y="18"/>
                  </a:lnTo>
                  <a:lnTo>
                    <a:pt x="2728" y="18"/>
                  </a:lnTo>
                  <a:lnTo>
                    <a:pt x="2726" y="18"/>
                  </a:lnTo>
                  <a:lnTo>
                    <a:pt x="2723" y="18"/>
                  </a:lnTo>
                  <a:lnTo>
                    <a:pt x="2723" y="19"/>
                  </a:lnTo>
                  <a:lnTo>
                    <a:pt x="2722" y="19"/>
                  </a:lnTo>
                  <a:lnTo>
                    <a:pt x="2719" y="19"/>
                  </a:lnTo>
                  <a:lnTo>
                    <a:pt x="2717" y="19"/>
                  </a:lnTo>
                  <a:lnTo>
                    <a:pt x="2714" y="19"/>
                  </a:lnTo>
                  <a:lnTo>
                    <a:pt x="2710" y="19"/>
                  </a:lnTo>
                  <a:lnTo>
                    <a:pt x="2710" y="18"/>
                  </a:lnTo>
                  <a:lnTo>
                    <a:pt x="2706" y="18"/>
                  </a:lnTo>
                  <a:lnTo>
                    <a:pt x="2705" y="18"/>
                  </a:lnTo>
                  <a:lnTo>
                    <a:pt x="2701" y="18"/>
                  </a:lnTo>
                  <a:lnTo>
                    <a:pt x="2702" y="18"/>
                  </a:lnTo>
                  <a:lnTo>
                    <a:pt x="2706" y="18"/>
                  </a:lnTo>
                  <a:lnTo>
                    <a:pt x="2708" y="18"/>
                  </a:lnTo>
                  <a:lnTo>
                    <a:pt x="2709" y="18"/>
                  </a:lnTo>
                  <a:lnTo>
                    <a:pt x="2708" y="18"/>
                  </a:lnTo>
                  <a:lnTo>
                    <a:pt x="2707" y="18"/>
                  </a:lnTo>
                  <a:lnTo>
                    <a:pt x="2705" y="18"/>
                  </a:lnTo>
                  <a:lnTo>
                    <a:pt x="2704" y="17"/>
                  </a:lnTo>
                  <a:lnTo>
                    <a:pt x="2702" y="17"/>
                  </a:lnTo>
                  <a:lnTo>
                    <a:pt x="2701" y="17"/>
                  </a:lnTo>
                  <a:lnTo>
                    <a:pt x="2700" y="17"/>
                  </a:lnTo>
                  <a:lnTo>
                    <a:pt x="2704" y="17"/>
                  </a:lnTo>
                  <a:lnTo>
                    <a:pt x="2706" y="17"/>
                  </a:lnTo>
                  <a:lnTo>
                    <a:pt x="2707" y="17"/>
                  </a:lnTo>
                  <a:lnTo>
                    <a:pt x="2710" y="17"/>
                  </a:lnTo>
                  <a:lnTo>
                    <a:pt x="2712" y="17"/>
                  </a:lnTo>
                  <a:lnTo>
                    <a:pt x="2710" y="17"/>
                  </a:lnTo>
                  <a:lnTo>
                    <a:pt x="2709" y="17"/>
                  </a:lnTo>
                  <a:lnTo>
                    <a:pt x="2706" y="17"/>
                  </a:lnTo>
                  <a:lnTo>
                    <a:pt x="2702" y="17"/>
                  </a:lnTo>
                  <a:lnTo>
                    <a:pt x="2699" y="17"/>
                  </a:lnTo>
                  <a:lnTo>
                    <a:pt x="2695" y="17"/>
                  </a:lnTo>
                  <a:lnTo>
                    <a:pt x="2697" y="17"/>
                  </a:lnTo>
                  <a:lnTo>
                    <a:pt x="2695" y="17"/>
                  </a:lnTo>
                  <a:lnTo>
                    <a:pt x="2694" y="17"/>
                  </a:lnTo>
                  <a:lnTo>
                    <a:pt x="2694" y="16"/>
                  </a:lnTo>
                  <a:lnTo>
                    <a:pt x="2695" y="16"/>
                  </a:lnTo>
                  <a:lnTo>
                    <a:pt x="2698" y="16"/>
                  </a:lnTo>
                  <a:lnTo>
                    <a:pt x="2699" y="16"/>
                  </a:lnTo>
                  <a:lnTo>
                    <a:pt x="2704" y="16"/>
                  </a:lnTo>
                  <a:lnTo>
                    <a:pt x="2701" y="16"/>
                  </a:lnTo>
                  <a:lnTo>
                    <a:pt x="2699" y="16"/>
                  </a:lnTo>
                  <a:lnTo>
                    <a:pt x="2698" y="16"/>
                  </a:lnTo>
                  <a:lnTo>
                    <a:pt x="2697" y="14"/>
                  </a:lnTo>
                  <a:lnTo>
                    <a:pt x="2699" y="14"/>
                  </a:lnTo>
                  <a:lnTo>
                    <a:pt x="2704" y="14"/>
                  </a:lnTo>
                  <a:lnTo>
                    <a:pt x="2704" y="13"/>
                  </a:lnTo>
                  <a:lnTo>
                    <a:pt x="2702" y="13"/>
                  </a:lnTo>
                  <a:lnTo>
                    <a:pt x="2702" y="12"/>
                  </a:lnTo>
                  <a:lnTo>
                    <a:pt x="2704" y="12"/>
                  </a:lnTo>
                  <a:lnTo>
                    <a:pt x="2705" y="12"/>
                  </a:lnTo>
                  <a:lnTo>
                    <a:pt x="2704" y="11"/>
                  </a:lnTo>
                  <a:lnTo>
                    <a:pt x="2701" y="12"/>
                  </a:lnTo>
                  <a:lnTo>
                    <a:pt x="2700" y="12"/>
                  </a:lnTo>
                  <a:lnTo>
                    <a:pt x="2699" y="12"/>
                  </a:lnTo>
                  <a:lnTo>
                    <a:pt x="2698" y="12"/>
                  </a:lnTo>
                  <a:lnTo>
                    <a:pt x="2698" y="11"/>
                  </a:lnTo>
                  <a:lnTo>
                    <a:pt x="2699" y="11"/>
                  </a:lnTo>
                  <a:lnTo>
                    <a:pt x="2698" y="11"/>
                  </a:lnTo>
                  <a:lnTo>
                    <a:pt x="2699" y="11"/>
                  </a:lnTo>
                  <a:lnTo>
                    <a:pt x="2699" y="10"/>
                  </a:lnTo>
                  <a:lnTo>
                    <a:pt x="2701" y="10"/>
                  </a:lnTo>
                  <a:lnTo>
                    <a:pt x="2700" y="10"/>
                  </a:lnTo>
                  <a:lnTo>
                    <a:pt x="2702" y="9"/>
                  </a:lnTo>
                  <a:lnTo>
                    <a:pt x="2705" y="9"/>
                  </a:lnTo>
                  <a:lnTo>
                    <a:pt x="2707" y="9"/>
                  </a:lnTo>
                  <a:lnTo>
                    <a:pt x="2708" y="9"/>
                  </a:lnTo>
                  <a:lnTo>
                    <a:pt x="2709" y="9"/>
                  </a:lnTo>
                  <a:lnTo>
                    <a:pt x="2710" y="9"/>
                  </a:lnTo>
                  <a:lnTo>
                    <a:pt x="2713" y="7"/>
                  </a:lnTo>
                  <a:lnTo>
                    <a:pt x="2714" y="7"/>
                  </a:lnTo>
                  <a:lnTo>
                    <a:pt x="2715" y="7"/>
                  </a:lnTo>
                  <a:lnTo>
                    <a:pt x="2717" y="7"/>
                  </a:lnTo>
                  <a:lnTo>
                    <a:pt x="2713" y="7"/>
                  </a:lnTo>
                  <a:lnTo>
                    <a:pt x="2713" y="6"/>
                  </a:lnTo>
                  <a:lnTo>
                    <a:pt x="2716" y="6"/>
                  </a:lnTo>
                  <a:lnTo>
                    <a:pt x="2719" y="6"/>
                  </a:lnTo>
                  <a:lnTo>
                    <a:pt x="2720" y="6"/>
                  </a:lnTo>
                  <a:lnTo>
                    <a:pt x="2721" y="7"/>
                  </a:lnTo>
                  <a:lnTo>
                    <a:pt x="2722" y="7"/>
                  </a:lnTo>
                  <a:lnTo>
                    <a:pt x="2721" y="7"/>
                  </a:lnTo>
                  <a:close/>
                  <a:moveTo>
                    <a:pt x="2420" y="7"/>
                  </a:moveTo>
                  <a:lnTo>
                    <a:pt x="2416" y="6"/>
                  </a:lnTo>
                  <a:lnTo>
                    <a:pt x="2414" y="6"/>
                  </a:lnTo>
                  <a:lnTo>
                    <a:pt x="2415" y="6"/>
                  </a:lnTo>
                  <a:lnTo>
                    <a:pt x="2420" y="6"/>
                  </a:lnTo>
                  <a:lnTo>
                    <a:pt x="2421" y="6"/>
                  </a:lnTo>
                  <a:lnTo>
                    <a:pt x="2420" y="7"/>
                  </a:lnTo>
                  <a:close/>
                  <a:moveTo>
                    <a:pt x="2387" y="5"/>
                  </a:moveTo>
                  <a:lnTo>
                    <a:pt x="2388" y="5"/>
                  </a:lnTo>
                  <a:lnTo>
                    <a:pt x="2390" y="6"/>
                  </a:lnTo>
                  <a:lnTo>
                    <a:pt x="2393" y="6"/>
                  </a:lnTo>
                  <a:lnTo>
                    <a:pt x="2394" y="6"/>
                  </a:lnTo>
                  <a:lnTo>
                    <a:pt x="2395" y="6"/>
                  </a:lnTo>
                  <a:lnTo>
                    <a:pt x="2397" y="6"/>
                  </a:lnTo>
                  <a:lnTo>
                    <a:pt x="2396" y="6"/>
                  </a:lnTo>
                  <a:lnTo>
                    <a:pt x="2394" y="6"/>
                  </a:lnTo>
                  <a:lnTo>
                    <a:pt x="2390" y="6"/>
                  </a:lnTo>
                  <a:lnTo>
                    <a:pt x="2388" y="7"/>
                  </a:lnTo>
                  <a:lnTo>
                    <a:pt x="2387" y="7"/>
                  </a:lnTo>
                  <a:lnTo>
                    <a:pt x="2386" y="7"/>
                  </a:lnTo>
                  <a:lnTo>
                    <a:pt x="2385" y="7"/>
                  </a:lnTo>
                  <a:lnTo>
                    <a:pt x="2384" y="7"/>
                  </a:lnTo>
                  <a:lnTo>
                    <a:pt x="2381" y="7"/>
                  </a:lnTo>
                  <a:lnTo>
                    <a:pt x="2380" y="7"/>
                  </a:lnTo>
                  <a:lnTo>
                    <a:pt x="2379" y="7"/>
                  </a:lnTo>
                  <a:lnTo>
                    <a:pt x="2378" y="7"/>
                  </a:lnTo>
                  <a:lnTo>
                    <a:pt x="2378" y="6"/>
                  </a:lnTo>
                  <a:lnTo>
                    <a:pt x="2377" y="6"/>
                  </a:lnTo>
                  <a:lnTo>
                    <a:pt x="2378" y="6"/>
                  </a:lnTo>
                  <a:lnTo>
                    <a:pt x="2377" y="6"/>
                  </a:lnTo>
                  <a:lnTo>
                    <a:pt x="2378" y="6"/>
                  </a:lnTo>
                  <a:lnTo>
                    <a:pt x="2379" y="6"/>
                  </a:lnTo>
                  <a:lnTo>
                    <a:pt x="2380" y="6"/>
                  </a:lnTo>
                  <a:lnTo>
                    <a:pt x="2381" y="6"/>
                  </a:lnTo>
                  <a:lnTo>
                    <a:pt x="2382" y="6"/>
                  </a:lnTo>
                  <a:lnTo>
                    <a:pt x="2384" y="6"/>
                  </a:lnTo>
                  <a:lnTo>
                    <a:pt x="2386" y="6"/>
                  </a:lnTo>
                  <a:lnTo>
                    <a:pt x="2387" y="6"/>
                  </a:lnTo>
                  <a:lnTo>
                    <a:pt x="2386" y="6"/>
                  </a:lnTo>
                  <a:lnTo>
                    <a:pt x="2385" y="6"/>
                  </a:lnTo>
                  <a:lnTo>
                    <a:pt x="2384" y="6"/>
                  </a:lnTo>
                  <a:lnTo>
                    <a:pt x="2384" y="5"/>
                  </a:lnTo>
                  <a:lnTo>
                    <a:pt x="2387" y="5"/>
                  </a:lnTo>
                  <a:close/>
                  <a:moveTo>
                    <a:pt x="2409" y="6"/>
                  </a:moveTo>
                  <a:lnTo>
                    <a:pt x="2410" y="6"/>
                  </a:lnTo>
                  <a:lnTo>
                    <a:pt x="2409" y="6"/>
                  </a:lnTo>
                  <a:lnTo>
                    <a:pt x="2407" y="6"/>
                  </a:lnTo>
                  <a:lnTo>
                    <a:pt x="2403" y="6"/>
                  </a:lnTo>
                  <a:lnTo>
                    <a:pt x="2402" y="6"/>
                  </a:lnTo>
                  <a:lnTo>
                    <a:pt x="2403" y="5"/>
                  </a:lnTo>
                  <a:lnTo>
                    <a:pt x="2406" y="5"/>
                  </a:lnTo>
                  <a:lnTo>
                    <a:pt x="2407" y="5"/>
                  </a:lnTo>
                  <a:lnTo>
                    <a:pt x="2408" y="5"/>
                  </a:lnTo>
                  <a:lnTo>
                    <a:pt x="2409" y="6"/>
                  </a:lnTo>
                  <a:close/>
                  <a:moveTo>
                    <a:pt x="2395" y="4"/>
                  </a:moveTo>
                  <a:lnTo>
                    <a:pt x="2396" y="4"/>
                  </a:lnTo>
                  <a:lnTo>
                    <a:pt x="2397" y="5"/>
                  </a:lnTo>
                  <a:lnTo>
                    <a:pt x="2400" y="5"/>
                  </a:lnTo>
                  <a:lnTo>
                    <a:pt x="2402" y="5"/>
                  </a:lnTo>
                  <a:lnTo>
                    <a:pt x="2401" y="5"/>
                  </a:lnTo>
                  <a:lnTo>
                    <a:pt x="2400" y="5"/>
                  </a:lnTo>
                  <a:lnTo>
                    <a:pt x="2397" y="5"/>
                  </a:lnTo>
                  <a:lnTo>
                    <a:pt x="2396" y="5"/>
                  </a:lnTo>
                  <a:lnTo>
                    <a:pt x="2394" y="5"/>
                  </a:lnTo>
                  <a:lnTo>
                    <a:pt x="2393" y="5"/>
                  </a:lnTo>
                  <a:lnTo>
                    <a:pt x="2390" y="5"/>
                  </a:lnTo>
                  <a:lnTo>
                    <a:pt x="2388" y="5"/>
                  </a:lnTo>
                  <a:lnTo>
                    <a:pt x="2387" y="5"/>
                  </a:lnTo>
                  <a:lnTo>
                    <a:pt x="2386" y="5"/>
                  </a:lnTo>
                  <a:lnTo>
                    <a:pt x="2387" y="5"/>
                  </a:lnTo>
                  <a:lnTo>
                    <a:pt x="2388" y="5"/>
                  </a:lnTo>
                  <a:lnTo>
                    <a:pt x="2388" y="4"/>
                  </a:lnTo>
                  <a:lnTo>
                    <a:pt x="2387" y="4"/>
                  </a:lnTo>
                  <a:lnTo>
                    <a:pt x="2388" y="4"/>
                  </a:lnTo>
                  <a:lnTo>
                    <a:pt x="2392" y="4"/>
                  </a:lnTo>
                  <a:lnTo>
                    <a:pt x="2394" y="4"/>
                  </a:lnTo>
                  <a:lnTo>
                    <a:pt x="2395" y="4"/>
                  </a:lnTo>
                  <a:close/>
                  <a:moveTo>
                    <a:pt x="2431" y="4"/>
                  </a:moveTo>
                  <a:lnTo>
                    <a:pt x="2430" y="4"/>
                  </a:lnTo>
                  <a:lnTo>
                    <a:pt x="2429" y="4"/>
                  </a:lnTo>
                  <a:lnTo>
                    <a:pt x="2427" y="4"/>
                  </a:lnTo>
                  <a:lnTo>
                    <a:pt x="2427" y="3"/>
                  </a:lnTo>
                  <a:lnTo>
                    <a:pt x="2429" y="3"/>
                  </a:lnTo>
                  <a:lnTo>
                    <a:pt x="2430" y="4"/>
                  </a:lnTo>
                  <a:lnTo>
                    <a:pt x="2431" y="4"/>
                  </a:lnTo>
                  <a:close/>
                  <a:moveTo>
                    <a:pt x="2401" y="4"/>
                  </a:moveTo>
                  <a:lnTo>
                    <a:pt x="2400" y="4"/>
                  </a:lnTo>
                  <a:lnTo>
                    <a:pt x="2399" y="4"/>
                  </a:lnTo>
                  <a:lnTo>
                    <a:pt x="2399" y="3"/>
                  </a:lnTo>
                  <a:lnTo>
                    <a:pt x="2401" y="3"/>
                  </a:lnTo>
                  <a:lnTo>
                    <a:pt x="2402" y="3"/>
                  </a:lnTo>
                  <a:lnTo>
                    <a:pt x="2402" y="4"/>
                  </a:lnTo>
                  <a:lnTo>
                    <a:pt x="2401" y="4"/>
                  </a:lnTo>
                  <a:close/>
                  <a:moveTo>
                    <a:pt x="2435" y="3"/>
                  </a:moveTo>
                  <a:lnTo>
                    <a:pt x="2439" y="3"/>
                  </a:lnTo>
                  <a:lnTo>
                    <a:pt x="2443" y="3"/>
                  </a:lnTo>
                  <a:lnTo>
                    <a:pt x="2444" y="3"/>
                  </a:lnTo>
                  <a:lnTo>
                    <a:pt x="2442" y="4"/>
                  </a:lnTo>
                  <a:lnTo>
                    <a:pt x="2441" y="4"/>
                  </a:lnTo>
                  <a:lnTo>
                    <a:pt x="2439" y="4"/>
                  </a:lnTo>
                  <a:lnTo>
                    <a:pt x="2437" y="4"/>
                  </a:lnTo>
                  <a:lnTo>
                    <a:pt x="2435" y="3"/>
                  </a:lnTo>
                  <a:lnTo>
                    <a:pt x="2434" y="3"/>
                  </a:lnTo>
                  <a:lnTo>
                    <a:pt x="2430" y="3"/>
                  </a:lnTo>
                  <a:lnTo>
                    <a:pt x="2432" y="3"/>
                  </a:lnTo>
                  <a:lnTo>
                    <a:pt x="2434" y="3"/>
                  </a:lnTo>
                  <a:lnTo>
                    <a:pt x="2435" y="3"/>
                  </a:lnTo>
                  <a:close/>
                  <a:moveTo>
                    <a:pt x="2403" y="2"/>
                  </a:moveTo>
                  <a:lnTo>
                    <a:pt x="2400" y="2"/>
                  </a:lnTo>
                  <a:lnTo>
                    <a:pt x="2397" y="3"/>
                  </a:lnTo>
                  <a:lnTo>
                    <a:pt x="2395" y="3"/>
                  </a:lnTo>
                  <a:lnTo>
                    <a:pt x="2394" y="3"/>
                  </a:lnTo>
                  <a:lnTo>
                    <a:pt x="2394" y="2"/>
                  </a:lnTo>
                  <a:lnTo>
                    <a:pt x="2395" y="2"/>
                  </a:lnTo>
                  <a:lnTo>
                    <a:pt x="2394" y="2"/>
                  </a:lnTo>
                  <a:lnTo>
                    <a:pt x="2395" y="2"/>
                  </a:lnTo>
                  <a:lnTo>
                    <a:pt x="2399" y="2"/>
                  </a:lnTo>
                  <a:lnTo>
                    <a:pt x="2401" y="0"/>
                  </a:lnTo>
                  <a:lnTo>
                    <a:pt x="2404" y="0"/>
                  </a:lnTo>
                  <a:lnTo>
                    <a:pt x="2404" y="2"/>
                  </a:lnTo>
                  <a:lnTo>
                    <a:pt x="2406" y="2"/>
                  </a:lnTo>
                  <a:lnTo>
                    <a:pt x="2403"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27" name="Freeform 986">
              <a:extLst>
                <a:ext uri="{FF2B5EF4-FFF2-40B4-BE49-F238E27FC236}">
                  <a16:creationId xmlns:a16="http://schemas.microsoft.com/office/drawing/2014/main" id="{6B14BDB1-B5D5-45C3-B66A-9F22651777FF}"/>
                </a:ext>
              </a:extLst>
            </p:cNvPr>
            <p:cNvSpPr>
              <a:spLocks/>
            </p:cNvSpPr>
            <p:nvPr/>
          </p:nvSpPr>
          <p:spPr bwMode="auto">
            <a:xfrm>
              <a:off x="6344630" y="3371231"/>
              <a:ext cx="37394" cy="37394"/>
            </a:xfrm>
            <a:custGeom>
              <a:avLst/>
              <a:gdLst>
                <a:gd name="T0" fmla="*/ 22 w 28"/>
                <a:gd name="T1" fmla="*/ 1 h 28"/>
                <a:gd name="T2" fmla="*/ 22 w 28"/>
                <a:gd name="T3" fmla="*/ 1 h 28"/>
                <a:gd name="T4" fmla="*/ 23 w 28"/>
                <a:gd name="T5" fmla="*/ 2 h 28"/>
                <a:gd name="T6" fmla="*/ 23 w 28"/>
                <a:gd name="T7" fmla="*/ 3 h 28"/>
                <a:gd name="T8" fmla="*/ 26 w 28"/>
                <a:gd name="T9" fmla="*/ 4 h 28"/>
                <a:gd name="T10" fmla="*/ 26 w 28"/>
                <a:gd name="T11" fmla="*/ 7 h 28"/>
                <a:gd name="T12" fmla="*/ 27 w 28"/>
                <a:gd name="T13" fmla="*/ 8 h 28"/>
                <a:gd name="T14" fmla="*/ 27 w 28"/>
                <a:gd name="T15" fmla="*/ 11 h 28"/>
                <a:gd name="T16" fmla="*/ 27 w 28"/>
                <a:gd name="T17" fmla="*/ 13 h 28"/>
                <a:gd name="T18" fmla="*/ 27 w 28"/>
                <a:gd name="T19" fmla="*/ 15 h 28"/>
                <a:gd name="T20" fmla="*/ 27 w 28"/>
                <a:gd name="T21" fmla="*/ 20 h 28"/>
                <a:gd name="T22" fmla="*/ 26 w 28"/>
                <a:gd name="T23" fmla="*/ 21 h 28"/>
                <a:gd name="T24" fmla="*/ 24 w 28"/>
                <a:gd name="T25" fmla="*/ 21 h 28"/>
                <a:gd name="T26" fmla="*/ 21 w 28"/>
                <a:gd name="T27" fmla="*/ 20 h 28"/>
                <a:gd name="T28" fmla="*/ 21 w 28"/>
                <a:gd name="T29" fmla="*/ 20 h 28"/>
                <a:gd name="T30" fmla="*/ 20 w 28"/>
                <a:gd name="T31" fmla="*/ 20 h 28"/>
                <a:gd name="T32" fmla="*/ 19 w 28"/>
                <a:gd name="T33" fmla="*/ 20 h 28"/>
                <a:gd name="T34" fmla="*/ 16 w 28"/>
                <a:gd name="T35" fmla="*/ 20 h 28"/>
                <a:gd name="T36" fmla="*/ 15 w 28"/>
                <a:gd name="T37" fmla="*/ 20 h 28"/>
                <a:gd name="T38" fmla="*/ 14 w 28"/>
                <a:gd name="T39" fmla="*/ 22 h 28"/>
                <a:gd name="T40" fmla="*/ 14 w 28"/>
                <a:gd name="T41" fmla="*/ 25 h 28"/>
                <a:gd name="T42" fmla="*/ 12 w 28"/>
                <a:gd name="T43" fmla="*/ 27 h 28"/>
                <a:gd name="T44" fmla="*/ 11 w 28"/>
                <a:gd name="T45" fmla="*/ 27 h 28"/>
                <a:gd name="T46" fmla="*/ 8 w 28"/>
                <a:gd name="T47" fmla="*/ 28 h 28"/>
                <a:gd name="T48" fmla="*/ 6 w 28"/>
                <a:gd name="T49" fmla="*/ 28 h 28"/>
                <a:gd name="T50" fmla="*/ 6 w 28"/>
                <a:gd name="T51" fmla="*/ 25 h 28"/>
                <a:gd name="T52" fmla="*/ 6 w 28"/>
                <a:gd name="T53" fmla="*/ 24 h 28"/>
                <a:gd name="T54" fmla="*/ 2 w 28"/>
                <a:gd name="T55" fmla="*/ 24 h 28"/>
                <a:gd name="T56" fmla="*/ 0 w 28"/>
                <a:gd name="T57" fmla="*/ 24 h 28"/>
                <a:gd name="T58" fmla="*/ 0 w 28"/>
                <a:gd name="T59" fmla="*/ 23 h 28"/>
                <a:gd name="T60" fmla="*/ 0 w 28"/>
                <a:gd name="T61" fmla="*/ 21 h 28"/>
                <a:gd name="T62" fmla="*/ 1 w 28"/>
                <a:gd name="T63" fmla="*/ 20 h 28"/>
                <a:gd name="T64" fmla="*/ 2 w 28"/>
                <a:gd name="T65" fmla="*/ 20 h 28"/>
                <a:gd name="T66" fmla="*/ 2 w 28"/>
                <a:gd name="T67" fmla="*/ 20 h 28"/>
                <a:gd name="T68" fmla="*/ 4 w 28"/>
                <a:gd name="T69" fmla="*/ 20 h 28"/>
                <a:gd name="T70" fmla="*/ 4 w 28"/>
                <a:gd name="T71" fmla="*/ 18 h 28"/>
                <a:gd name="T72" fmla="*/ 4 w 28"/>
                <a:gd name="T73" fmla="*/ 18 h 28"/>
                <a:gd name="T74" fmla="*/ 6 w 28"/>
                <a:gd name="T75" fmla="*/ 17 h 28"/>
                <a:gd name="T76" fmla="*/ 5 w 28"/>
                <a:gd name="T77" fmla="*/ 16 h 28"/>
                <a:gd name="T78" fmla="*/ 6 w 28"/>
                <a:gd name="T79" fmla="*/ 15 h 28"/>
                <a:gd name="T80" fmla="*/ 6 w 28"/>
                <a:gd name="T81" fmla="*/ 15 h 28"/>
                <a:gd name="T82" fmla="*/ 7 w 28"/>
                <a:gd name="T83" fmla="*/ 15 h 28"/>
                <a:gd name="T84" fmla="*/ 6 w 28"/>
                <a:gd name="T85" fmla="*/ 14 h 28"/>
                <a:gd name="T86" fmla="*/ 6 w 28"/>
                <a:gd name="T87" fmla="*/ 13 h 28"/>
                <a:gd name="T88" fmla="*/ 6 w 28"/>
                <a:gd name="T89" fmla="*/ 10 h 28"/>
                <a:gd name="T90" fmla="*/ 5 w 28"/>
                <a:gd name="T91" fmla="*/ 9 h 28"/>
                <a:gd name="T92" fmla="*/ 6 w 28"/>
                <a:gd name="T93" fmla="*/ 8 h 28"/>
                <a:gd name="T94" fmla="*/ 8 w 28"/>
                <a:gd name="T95" fmla="*/ 7 h 28"/>
                <a:gd name="T96" fmla="*/ 11 w 28"/>
                <a:gd name="T97" fmla="*/ 4 h 28"/>
                <a:gd name="T98" fmla="*/ 13 w 28"/>
                <a:gd name="T99" fmla="*/ 4 h 28"/>
                <a:gd name="T100" fmla="*/ 13 w 28"/>
                <a:gd name="T101" fmla="*/ 3 h 28"/>
                <a:gd name="T102" fmla="*/ 14 w 28"/>
                <a:gd name="T103" fmla="*/ 6 h 28"/>
                <a:gd name="T104" fmla="*/ 16 w 28"/>
                <a:gd name="T105" fmla="*/ 4 h 28"/>
                <a:gd name="T106" fmla="*/ 17 w 28"/>
                <a:gd name="T107" fmla="*/ 3 h 28"/>
                <a:gd name="T108" fmla="*/ 20 w 28"/>
                <a:gd name="T109" fmla="*/ 2 h 28"/>
                <a:gd name="T110" fmla="*/ 20 w 28"/>
                <a:gd name="T111" fmla="*/ 1 h 28"/>
                <a:gd name="T112" fmla="*/ 21 w 28"/>
                <a:gd name="T11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 h="28">
                  <a:moveTo>
                    <a:pt x="22" y="0"/>
                  </a:moveTo>
                  <a:lnTo>
                    <a:pt x="22" y="0"/>
                  </a:lnTo>
                  <a:lnTo>
                    <a:pt x="22" y="0"/>
                  </a:lnTo>
                  <a:lnTo>
                    <a:pt x="22" y="0"/>
                  </a:lnTo>
                  <a:lnTo>
                    <a:pt x="22" y="0"/>
                  </a:lnTo>
                  <a:lnTo>
                    <a:pt x="22" y="1"/>
                  </a:lnTo>
                  <a:lnTo>
                    <a:pt x="22" y="1"/>
                  </a:lnTo>
                  <a:lnTo>
                    <a:pt x="22" y="1"/>
                  </a:lnTo>
                  <a:lnTo>
                    <a:pt x="22" y="1"/>
                  </a:lnTo>
                  <a:lnTo>
                    <a:pt x="22" y="1"/>
                  </a:lnTo>
                  <a:lnTo>
                    <a:pt x="22" y="1"/>
                  </a:lnTo>
                  <a:lnTo>
                    <a:pt x="22" y="1"/>
                  </a:lnTo>
                  <a:lnTo>
                    <a:pt x="22" y="1"/>
                  </a:lnTo>
                  <a:lnTo>
                    <a:pt x="22" y="1"/>
                  </a:lnTo>
                  <a:lnTo>
                    <a:pt x="22" y="1"/>
                  </a:lnTo>
                  <a:lnTo>
                    <a:pt x="22" y="1"/>
                  </a:lnTo>
                  <a:lnTo>
                    <a:pt x="22" y="1"/>
                  </a:lnTo>
                  <a:lnTo>
                    <a:pt x="22" y="2"/>
                  </a:lnTo>
                  <a:lnTo>
                    <a:pt x="23" y="2"/>
                  </a:lnTo>
                  <a:lnTo>
                    <a:pt x="23" y="2"/>
                  </a:lnTo>
                  <a:lnTo>
                    <a:pt x="23" y="2"/>
                  </a:lnTo>
                  <a:lnTo>
                    <a:pt x="23" y="3"/>
                  </a:lnTo>
                  <a:lnTo>
                    <a:pt x="23" y="3"/>
                  </a:lnTo>
                  <a:lnTo>
                    <a:pt x="23" y="3"/>
                  </a:lnTo>
                  <a:lnTo>
                    <a:pt x="23" y="3"/>
                  </a:lnTo>
                  <a:lnTo>
                    <a:pt x="23" y="3"/>
                  </a:lnTo>
                  <a:lnTo>
                    <a:pt x="23" y="3"/>
                  </a:lnTo>
                  <a:lnTo>
                    <a:pt x="23" y="3"/>
                  </a:lnTo>
                  <a:lnTo>
                    <a:pt x="23" y="3"/>
                  </a:lnTo>
                  <a:lnTo>
                    <a:pt x="23" y="4"/>
                  </a:lnTo>
                  <a:lnTo>
                    <a:pt x="24" y="4"/>
                  </a:lnTo>
                  <a:lnTo>
                    <a:pt x="24" y="4"/>
                  </a:lnTo>
                  <a:lnTo>
                    <a:pt x="24" y="4"/>
                  </a:lnTo>
                  <a:lnTo>
                    <a:pt x="26" y="4"/>
                  </a:lnTo>
                  <a:lnTo>
                    <a:pt x="26" y="4"/>
                  </a:lnTo>
                  <a:lnTo>
                    <a:pt x="26" y="4"/>
                  </a:lnTo>
                  <a:lnTo>
                    <a:pt x="26" y="6"/>
                  </a:lnTo>
                  <a:lnTo>
                    <a:pt x="26" y="6"/>
                  </a:lnTo>
                  <a:lnTo>
                    <a:pt x="26" y="6"/>
                  </a:lnTo>
                  <a:lnTo>
                    <a:pt x="26" y="6"/>
                  </a:lnTo>
                  <a:lnTo>
                    <a:pt x="26" y="7"/>
                  </a:lnTo>
                  <a:lnTo>
                    <a:pt x="26" y="7"/>
                  </a:lnTo>
                  <a:lnTo>
                    <a:pt x="26" y="7"/>
                  </a:lnTo>
                  <a:lnTo>
                    <a:pt x="27" y="7"/>
                  </a:lnTo>
                  <a:lnTo>
                    <a:pt x="27" y="8"/>
                  </a:lnTo>
                  <a:lnTo>
                    <a:pt x="27" y="8"/>
                  </a:lnTo>
                  <a:lnTo>
                    <a:pt x="27" y="8"/>
                  </a:lnTo>
                  <a:lnTo>
                    <a:pt x="27" y="8"/>
                  </a:lnTo>
                  <a:lnTo>
                    <a:pt x="27" y="8"/>
                  </a:lnTo>
                  <a:lnTo>
                    <a:pt x="27" y="9"/>
                  </a:lnTo>
                  <a:lnTo>
                    <a:pt x="27" y="10"/>
                  </a:lnTo>
                  <a:lnTo>
                    <a:pt x="27" y="10"/>
                  </a:lnTo>
                  <a:lnTo>
                    <a:pt x="27" y="10"/>
                  </a:lnTo>
                  <a:lnTo>
                    <a:pt x="27" y="10"/>
                  </a:lnTo>
                  <a:lnTo>
                    <a:pt x="27" y="10"/>
                  </a:lnTo>
                  <a:lnTo>
                    <a:pt x="27" y="11"/>
                  </a:lnTo>
                  <a:lnTo>
                    <a:pt x="27" y="11"/>
                  </a:lnTo>
                  <a:lnTo>
                    <a:pt x="27" y="11"/>
                  </a:lnTo>
                  <a:lnTo>
                    <a:pt x="27" y="13"/>
                  </a:lnTo>
                  <a:lnTo>
                    <a:pt x="27" y="13"/>
                  </a:lnTo>
                  <a:lnTo>
                    <a:pt x="27" y="13"/>
                  </a:lnTo>
                  <a:lnTo>
                    <a:pt x="27" y="13"/>
                  </a:lnTo>
                  <a:lnTo>
                    <a:pt x="27" y="13"/>
                  </a:lnTo>
                  <a:lnTo>
                    <a:pt x="27" y="13"/>
                  </a:lnTo>
                  <a:lnTo>
                    <a:pt x="27" y="14"/>
                  </a:lnTo>
                  <a:lnTo>
                    <a:pt x="27" y="14"/>
                  </a:lnTo>
                  <a:lnTo>
                    <a:pt x="27" y="14"/>
                  </a:lnTo>
                  <a:lnTo>
                    <a:pt x="27" y="15"/>
                  </a:lnTo>
                  <a:lnTo>
                    <a:pt x="27" y="15"/>
                  </a:lnTo>
                  <a:lnTo>
                    <a:pt x="27" y="15"/>
                  </a:lnTo>
                  <a:lnTo>
                    <a:pt x="28" y="15"/>
                  </a:lnTo>
                  <a:lnTo>
                    <a:pt x="28" y="15"/>
                  </a:lnTo>
                  <a:lnTo>
                    <a:pt x="28" y="16"/>
                  </a:lnTo>
                  <a:lnTo>
                    <a:pt x="27" y="17"/>
                  </a:lnTo>
                  <a:lnTo>
                    <a:pt x="27" y="18"/>
                  </a:lnTo>
                  <a:lnTo>
                    <a:pt x="27" y="20"/>
                  </a:lnTo>
                  <a:lnTo>
                    <a:pt x="27" y="20"/>
                  </a:lnTo>
                  <a:lnTo>
                    <a:pt x="27" y="20"/>
                  </a:lnTo>
                  <a:lnTo>
                    <a:pt x="27" y="20"/>
                  </a:lnTo>
                  <a:lnTo>
                    <a:pt x="27" y="20"/>
                  </a:lnTo>
                  <a:lnTo>
                    <a:pt x="27" y="21"/>
                  </a:lnTo>
                  <a:lnTo>
                    <a:pt x="27" y="21"/>
                  </a:lnTo>
                  <a:lnTo>
                    <a:pt x="26" y="21"/>
                  </a:lnTo>
                  <a:lnTo>
                    <a:pt x="26" y="21"/>
                  </a:lnTo>
                  <a:lnTo>
                    <a:pt x="26" y="21"/>
                  </a:lnTo>
                  <a:lnTo>
                    <a:pt x="26" y="20"/>
                  </a:lnTo>
                  <a:lnTo>
                    <a:pt x="24" y="20"/>
                  </a:lnTo>
                  <a:lnTo>
                    <a:pt x="24" y="20"/>
                  </a:lnTo>
                  <a:lnTo>
                    <a:pt x="24" y="20"/>
                  </a:lnTo>
                  <a:lnTo>
                    <a:pt x="24" y="21"/>
                  </a:lnTo>
                  <a:lnTo>
                    <a:pt x="24" y="21"/>
                  </a:lnTo>
                  <a:lnTo>
                    <a:pt x="24" y="21"/>
                  </a:lnTo>
                  <a:lnTo>
                    <a:pt x="23" y="21"/>
                  </a:lnTo>
                  <a:lnTo>
                    <a:pt x="23" y="21"/>
                  </a:lnTo>
                  <a:lnTo>
                    <a:pt x="23" y="21"/>
                  </a:lnTo>
                  <a:lnTo>
                    <a:pt x="22" y="21"/>
                  </a:lnTo>
                  <a:lnTo>
                    <a:pt x="22" y="21"/>
                  </a:lnTo>
                  <a:lnTo>
                    <a:pt x="21" y="20"/>
                  </a:lnTo>
                  <a:lnTo>
                    <a:pt x="21" y="20"/>
                  </a:lnTo>
                  <a:lnTo>
                    <a:pt x="21" y="20"/>
                  </a:lnTo>
                  <a:lnTo>
                    <a:pt x="21" y="20"/>
                  </a:lnTo>
                  <a:lnTo>
                    <a:pt x="21" y="20"/>
                  </a:lnTo>
                  <a:lnTo>
                    <a:pt x="21" y="20"/>
                  </a:lnTo>
                  <a:lnTo>
                    <a:pt x="21" y="20"/>
                  </a:lnTo>
                  <a:lnTo>
                    <a:pt x="21" y="20"/>
                  </a:lnTo>
                  <a:lnTo>
                    <a:pt x="20" y="20"/>
                  </a:lnTo>
                  <a:lnTo>
                    <a:pt x="20" y="20"/>
                  </a:lnTo>
                  <a:lnTo>
                    <a:pt x="20" y="20"/>
                  </a:lnTo>
                  <a:lnTo>
                    <a:pt x="20" y="20"/>
                  </a:lnTo>
                  <a:lnTo>
                    <a:pt x="20" y="20"/>
                  </a:lnTo>
                  <a:lnTo>
                    <a:pt x="20" y="20"/>
                  </a:lnTo>
                  <a:lnTo>
                    <a:pt x="20" y="20"/>
                  </a:lnTo>
                  <a:lnTo>
                    <a:pt x="19" y="20"/>
                  </a:lnTo>
                  <a:lnTo>
                    <a:pt x="19" y="20"/>
                  </a:lnTo>
                  <a:lnTo>
                    <a:pt x="19" y="20"/>
                  </a:lnTo>
                  <a:lnTo>
                    <a:pt x="19" y="20"/>
                  </a:lnTo>
                  <a:lnTo>
                    <a:pt x="19" y="20"/>
                  </a:lnTo>
                  <a:lnTo>
                    <a:pt x="19" y="20"/>
                  </a:lnTo>
                  <a:lnTo>
                    <a:pt x="19" y="20"/>
                  </a:lnTo>
                  <a:lnTo>
                    <a:pt x="17" y="21"/>
                  </a:lnTo>
                  <a:lnTo>
                    <a:pt x="17" y="21"/>
                  </a:lnTo>
                  <a:lnTo>
                    <a:pt x="17" y="21"/>
                  </a:lnTo>
                  <a:lnTo>
                    <a:pt x="16" y="21"/>
                  </a:lnTo>
                  <a:lnTo>
                    <a:pt x="16" y="21"/>
                  </a:lnTo>
                  <a:lnTo>
                    <a:pt x="16" y="21"/>
                  </a:lnTo>
                  <a:lnTo>
                    <a:pt x="16" y="20"/>
                  </a:lnTo>
                  <a:lnTo>
                    <a:pt x="15" y="20"/>
                  </a:lnTo>
                  <a:lnTo>
                    <a:pt x="15" y="20"/>
                  </a:lnTo>
                  <a:lnTo>
                    <a:pt x="15" y="20"/>
                  </a:lnTo>
                  <a:lnTo>
                    <a:pt x="15" y="20"/>
                  </a:lnTo>
                  <a:lnTo>
                    <a:pt x="15" y="20"/>
                  </a:lnTo>
                  <a:lnTo>
                    <a:pt x="15" y="20"/>
                  </a:lnTo>
                  <a:lnTo>
                    <a:pt x="15" y="20"/>
                  </a:lnTo>
                  <a:lnTo>
                    <a:pt x="15" y="20"/>
                  </a:lnTo>
                  <a:lnTo>
                    <a:pt x="15" y="20"/>
                  </a:lnTo>
                  <a:lnTo>
                    <a:pt x="14" y="20"/>
                  </a:lnTo>
                  <a:lnTo>
                    <a:pt x="14" y="20"/>
                  </a:lnTo>
                  <a:lnTo>
                    <a:pt x="14" y="20"/>
                  </a:lnTo>
                  <a:lnTo>
                    <a:pt x="14" y="21"/>
                  </a:lnTo>
                  <a:lnTo>
                    <a:pt x="14" y="22"/>
                  </a:lnTo>
                  <a:lnTo>
                    <a:pt x="14" y="23"/>
                  </a:lnTo>
                  <a:lnTo>
                    <a:pt x="14" y="24"/>
                  </a:lnTo>
                  <a:lnTo>
                    <a:pt x="14" y="24"/>
                  </a:lnTo>
                  <a:lnTo>
                    <a:pt x="14" y="25"/>
                  </a:lnTo>
                  <a:lnTo>
                    <a:pt x="14" y="25"/>
                  </a:lnTo>
                  <a:lnTo>
                    <a:pt x="14" y="25"/>
                  </a:lnTo>
                  <a:lnTo>
                    <a:pt x="14" y="25"/>
                  </a:lnTo>
                  <a:lnTo>
                    <a:pt x="13" y="27"/>
                  </a:lnTo>
                  <a:lnTo>
                    <a:pt x="13" y="27"/>
                  </a:lnTo>
                  <a:lnTo>
                    <a:pt x="13" y="27"/>
                  </a:lnTo>
                  <a:lnTo>
                    <a:pt x="13" y="27"/>
                  </a:lnTo>
                  <a:lnTo>
                    <a:pt x="12" y="27"/>
                  </a:lnTo>
                  <a:lnTo>
                    <a:pt x="12" y="27"/>
                  </a:lnTo>
                  <a:lnTo>
                    <a:pt x="12" y="27"/>
                  </a:lnTo>
                  <a:lnTo>
                    <a:pt x="12" y="27"/>
                  </a:lnTo>
                  <a:lnTo>
                    <a:pt x="12" y="27"/>
                  </a:lnTo>
                  <a:lnTo>
                    <a:pt x="12" y="27"/>
                  </a:lnTo>
                  <a:lnTo>
                    <a:pt x="12" y="27"/>
                  </a:lnTo>
                  <a:lnTo>
                    <a:pt x="11" y="27"/>
                  </a:lnTo>
                  <a:lnTo>
                    <a:pt x="11" y="27"/>
                  </a:lnTo>
                  <a:lnTo>
                    <a:pt x="11" y="27"/>
                  </a:lnTo>
                  <a:lnTo>
                    <a:pt x="11" y="27"/>
                  </a:lnTo>
                  <a:lnTo>
                    <a:pt x="9" y="27"/>
                  </a:lnTo>
                  <a:lnTo>
                    <a:pt x="9" y="27"/>
                  </a:lnTo>
                  <a:lnTo>
                    <a:pt x="9" y="27"/>
                  </a:lnTo>
                  <a:lnTo>
                    <a:pt x="9" y="27"/>
                  </a:lnTo>
                  <a:lnTo>
                    <a:pt x="9" y="27"/>
                  </a:lnTo>
                  <a:lnTo>
                    <a:pt x="8" y="28"/>
                  </a:lnTo>
                  <a:lnTo>
                    <a:pt x="8" y="28"/>
                  </a:lnTo>
                  <a:lnTo>
                    <a:pt x="8" y="28"/>
                  </a:lnTo>
                  <a:lnTo>
                    <a:pt x="8" y="27"/>
                  </a:lnTo>
                  <a:lnTo>
                    <a:pt x="7" y="27"/>
                  </a:lnTo>
                  <a:lnTo>
                    <a:pt x="7" y="27"/>
                  </a:lnTo>
                  <a:lnTo>
                    <a:pt x="7" y="28"/>
                  </a:lnTo>
                  <a:lnTo>
                    <a:pt x="6" y="28"/>
                  </a:lnTo>
                  <a:lnTo>
                    <a:pt x="6" y="27"/>
                  </a:lnTo>
                  <a:lnTo>
                    <a:pt x="6" y="27"/>
                  </a:lnTo>
                  <a:lnTo>
                    <a:pt x="6" y="27"/>
                  </a:lnTo>
                  <a:lnTo>
                    <a:pt x="6" y="27"/>
                  </a:lnTo>
                  <a:lnTo>
                    <a:pt x="6" y="27"/>
                  </a:lnTo>
                  <a:lnTo>
                    <a:pt x="6" y="25"/>
                  </a:lnTo>
                  <a:lnTo>
                    <a:pt x="6" y="25"/>
                  </a:lnTo>
                  <a:lnTo>
                    <a:pt x="6" y="25"/>
                  </a:lnTo>
                  <a:lnTo>
                    <a:pt x="6" y="25"/>
                  </a:lnTo>
                  <a:lnTo>
                    <a:pt x="6" y="25"/>
                  </a:lnTo>
                  <a:lnTo>
                    <a:pt x="6" y="25"/>
                  </a:lnTo>
                  <a:lnTo>
                    <a:pt x="6" y="25"/>
                  </a:lnTo>
                  <a:lnTo>
                    <a:pt x="6" y="24"/>
                  </a:lnTo>
                  <a:lnTo>
                    <a:pt x="6" y="24"/>
                  </a:lnTo>
                  <a:lnTo>
                    <a:pt x="6" y="24"/>
                  </a:lnTo>
                  <a:lnTo>
                    <a:pt x="5" y="24"/>
                  </a:lnTo>
                  <a:lnTo>
                    <a:pt x="5" y="24"/>
                  </a:lnTo>
                  <a:lnTo>
                    <a:pt x="5" y="24"/>
                  </a:lnTo>
                  <a:lnTo>
                    <a:pt x="4" y="24"/>
                  </a:lnTo>
                  <a:lnTo>
                    <a:pt x="4" y="24"/>
                  </a:lnTo>
                  <a:lnTo>
                    <a:pt x="2" y="24"/>
                  </a:lnTo>
                  <a:lnTo>
                    <a:pt x="2" y="24"/>
                  </a:lnTo>
                  <a:lnTo>
                    <a:pt x="1" y="25"/>
                  </a:lnTo>
                  <a:lnTo>
                    <a:pt x="1" y="25"/>
                  </a:lnTo>
                  <a:lnTo>
                    <a:pt x="1" y="25"/>
                  </a:lnTo>
                  <a:lnTo>
                    <a:pt x="1" y="25"/>
                  </a:lnTo>
                  <a:lnTo>
                    <a:pt x="0" y="25"/>
                  </a:lnTo>
                  <a:lnTo>
                    <a:pt x="0" y="24"/>
                  </a:lnTo>
                  <a:lnTo>
                    <a:pt x="0" y="24"/>
                  </a:lnTo>
                  <a:lnTo>
                    <a:pt x="0" y="23"/>
                  </a:lnTo>
                  <a:lnTo>
                    <a:pt x="0" y="23"/>
                  </a:lnTo>
                  <a:lnTo>
                    <a:pt x="0" y="23"/>
                  </a:lnTo>
                  <a:lnTo>
                    <a:pt x="0" y="23"/>
                  </a:lnTo>
                  <a:lnTo>
                    <a:pt x="0" y="23"/>
                  </a:lnTo>
                  <a:lnTo>
                    <a:pt x="0" y="23"/>
                  </a:lnTo>
                  <a:lnTo>
                    <a:pt x="0" y="22"/>
                  </a:lnTo>
                  <a:lnTo>
                    <a:pt x="0" y="22"/>
                  </a:lnTo>
                  <a:lnTo>
                    <a:pt x="0" y="22"/>
                  </a:lnTo>
                  <a:lnTo>
                    <a:pt x="0" y="22"/>
                  </a:lnTo>
                  <a:lnTo>
                    <a:pt x="0" y="22"/>
                  </a:lnTo>
                  <a:lnTo>
                    <a:pt x="0" y="21"/>
                  </a:lnTo>
                  <a:lnTo>
                    <a:pt x="0" y="21"/>
                  </a:lnTo>
                  <a:lnTo>
                    <a:pt x="0" y="21"/>
                  </a:lnTo>
                  <a:lnTo>
                    <a:pt x="1" y="21"/>
                  </a:lnTo>
                  <a:lnTo>
                    <a:pt x="1" y="20"/>
                  </a:lnTo>
                  <a:lnTo>
                    <a:pt x="1" y="20"/>
                  </a:lnTo>
                  <a:lnTo>
                    <a:pt x="1" y="20"/>
                  </a:lnTo>
                  <a:lnTo>
                    <a:pt x="1" y="20"/>
                  </a:lnTo>
                  <a:lnTo>
                    <a:pt x="1" y="20"/>
                  </a:lnTo>
                  <a:lnTo>
                    <a:pt x="1" y="20"/>
                  </a:lnTo>
                  <a:lnTo>
                    <a:pt x="1" y="18"/>
                  </a:lnTo>
                  <a:lnTo>
                    <a:pt x="2" y="18"/>
                  </a:lnTo>
                  <a:lnTo>
                    <a:pt x="2" y="18"/>
                  </a:lnTo>
                  <a:lnTo>
                    <a:pt x="2" y="20"/>
                  </a:lnTo>
                  <a:lnTo>
                    <a:pt x="2" y="20"/>
                  </a:lnTo>
                  <a:lnTo>
                    <a:pt x="2" y="20"/>
                  </a:lnTo>
                  <a:lnTo>
                    <a:pt x="2" y="21"/>
                  </a:lnTo>
                  <a:lnTo>
                    <a:pt x="2" y="21"/>
                  </a:lnTo>
                  <a:lnTo>
                    <a:pt x="2" y="21"/>
                  </a:lnTo>
                  <a:lnTo>
                    <a:pt x="2" y="21"/>
                  </a:lnTo>
                  <a:lnTo>
                    <a:pt x="2" y="20"/>
                  </a:lnTo>
                  <a:lnTo>
                    <a:pt x="2" y="20"/>
                  </a:lnTo>
                  <a:lnTo>
                    <a:pt x="2" y="20"/>
                  </a:lnTo>
                  <a:lnTo>
                    <a:pt x="2" y="20"/>
                  </a:lnTo>
                  <a:lnTo>
                    <a:pt x="2" y="20"/>
                  </a:lnTo>
                  <a:lnTo>
                    <a:pt x="2" y="20"/>
                  </a:lnTo>
                  <a:lnTo>
                    <a:pt x="2" y="20"/>
                  </a:lnTo>
                  <a:lnTo>
                    <a:pt x="2" y="20"/>
                  </a:lnTo>
                  <a:lnTo>
                    <a:pt x="2" y="20"/>
                  </a:lnTo>
                  <a:lnTo>
                    <a:pt x="4" y="20"/>
                  </a:lnTo>
                  <a:lnTo>
                    <a:pt x="4" y="20"/>
                  </a:lnTo>
                  <a:lnTo>
                    <a:pt x="4" y="18"/>
                  </a:lnTo>
                  <a:lnTo>
                    <a:pt x="4" y="18"/>
                  </a:lnTo>
                  <a:lnTo>
                    <a:pt x="4" y="20"/>
                  </a:lnTo>
                  <a:lnTo>
                    <a:pt x="4" y="20"/>
                  </a:lnTo>
                  <a:lnTo>
                    <a:pt x="4" y="20"/>
                  </a:lnTo>
                  <a:lnTo>
                    <a:pt x="4" y="18"/>
                  </a:lnTo>
                  <a:lnTo>
                    <a:pt x="4" y="18"/>
                  </a:lnTo>
                  <a:lnTo>
                    <a:pt x="4" y="18"/>
                  </a:lnTo>
                  <a:lnTo>
                    <a:pt x="5" y="18"/>
                  </a:lnTo>
                  <a:lnTo>
                    <a:pt x="5" y="18"/>
                  </a:lnTo>
                  <a:lnTo>
                    <a:pt x="5" y="18"/>
                  </a:lnTo>
                  <a:lnTo>
                    <a:pt x="4" y="18"/>
                  </a:lnTo>
                  <a:lnTo>
                    <a:pt x="4" y="18"/>
                  </a:lnTo>
                  <a:lnTo>
                    <a:pt x="4" y="17"/>
                  </a:lnTo>
                  <a:lnTo>
                    <a:pt x="5" y="17"/>
                  </a:lnTo>
                  <a:lnTo>
                    <a:pt x="5" y="17"/>
                  </a:lnTo>
                  <a:lnTo>
                    <a:pt x="5" y="17"/>
                  </a:lnTo>
                  <a:lnTo>
                    <a:pt x="5" y="17"/>
                  </a:lnTo>
                  <a:lnTo>
                    <a:pt x="5" y="17"/>
                  </a:lnTo>
                  <a:lnTo>
                    <a:pt x="6" y="17"/>
                  </a:lnTo>
                  <a:lnTo>
                    <a:pt x="6" y="17"/>
                  </a:lnTo>
                  <a:lnTo>
                    <a:pt x="5" y="16"/>
                  </a:lnTo>
                  <a:lnTo>
                    <a:pt x="5" y="16"/>
                  </a:lnTo>
                  <a:lnTo>
                    <a:pt x="5" y="16"/>
                  </a:lnTo>
                  <a:lnTo>
                    <a:pt x="5" y="16"/>
                  </a:lnTo>
                  <a:lnTo>
                    <a:pt x="5" y="16"/>
                  </a:lnTo>
                  <a:lnTo>
                    <a:pt x="5" y="16"/>
                  </a:lnTo>
                  <a:lnTo>
                    <a:pt x="5" y="16"/>
                  </a:lnTo>
                  <a:lnTo>
                    <a:pt x="5" y="16"/>
                  </a:lnTo>
                  <a:lnTo>
                    <a:pt x="5" y="16"/>
                  </a:lnTo>
                  <a:lnTo>
                    <a:pt x="6" y="16"/>
                  </a:lnTo>
                  <a:lnTo>
                    <a:pt x="6" y="16"/>
                  </a:lnTo>
                  <a:lnTo>
                    <a:pt x="6" y="16"/>
                  </a:lnTo>
                  <a:lnTo>
                    <a:pt x="6" y="15"/>
                  </a:lnTo>
                  <a:lnTo>
                    <a:pt x="6" y="15"/>
                  </a:lnTo>
                  <a:lnTo>
                    <a:pt x="6" y="16"/>
                  </a:lnTo>
                  <a:lnTo>
                    <a:pt x="6" y="16"/>
                  </a:lnTo>
                  <a:lnTo>
                    <a:pt x="6" y="16"/>
                  </a:lnTo>
                  <a:lnTo>
                    <a:pt x="6" y="16"/>
                  </a:lnTo>
                  <a:lnTo>
                    <a:pt x="6" y="15"/>
                  </a:lnTo>
                  <a:lnTo>
                    <a:pt x="6" y="15"/>
                  </a:lnTo>
                  <a:lnTo>
                    <a:pt x="6" y="15"/>
                  </a:lnTo>
                  <a:lnTo>
                    <a:pt x="6" y="15"/>
                  </a:lnTo>
                  <a:lnTo>
                    <a:pt x="6" y="15"/>
                  </a:lnTo>
                  <a:lnTo>
                    <a:pt x="6" y="15"/>
                  </a:lnTo>
                  <a:lnTo>
                    <a:pt x="6" y="15"/>
                  </a:lnTo>
                  <a:lnTo>
                    <a:pt x="7" y="15"/>
                  </a:lnTo>
                  <a:lnTo>
                    <a:pt x="7" y="15"/>
                  </a:lnTo>
                  <a:lnTo>
                    <a:pt x="7" y="15"/>
                  </a:lnTo>
                  <a:lnTo>
                    <a:pt x="7" y="15"/>
                  </a:lnTo>
                  <a:lnTo>
                    <a:pt x="6" y="15"/>
                  </a:lnTo>
                  <a:lnTo>
                    <a:pt x="6" y="14"/>
                  </a:lnTo>
                  <a:lnTo>
                    <a:pt x="6" y="14"/>
                  </a:lnTo>
                  <a:lnTo>
                    <a:pt x="6" y="14"/>
                  </a:lnTo>
                  <a:lnTo>
                    <a:pt x="6" y="14"/>
                  </a:lnTo>
                  <a:lnTo>
                    <a:pt x="6" y="14"/>
                  </a:lnTo>
                  <a:lnTo>
                    <a:pt x="6" y="14"/>
                  </a:lnTo>
                  <a:lnTo>
                    <a:pt x="6" y="14"/>
                  </a:lnTo>
                  <a:lnTo>
                    <a:pt x="6" y="13"/>
                  </a:lnTo>
                  <a:lnTo>
                    <a:pt x="6" y="14"/>
                  </a:lnTo>
                  <a:lnTo>
                    <a:pt x="6" y="13"/>
                  </a:lnTo>
                  <a:lnTo>
                    <a:pt x="6" y="13"/>
                  </a:lnTo>
                  <a:lnTo>
                    <a:pt x="6" y="13"/>
                  </a:lnTo>
                  <a:lnTo>
                    <a:pt x="6" y="11"/>
                  </a:lnTo>
                  <a:lnTo>
                    <a:pt x="6" y="11"/>
                  </a:lnTo>
                  <a:lnTo>
                    <a:pt x="5" y="10"/>
                  </a:lnTo>
                  <a:lnTo>
                    <a:pt x="6" y="10"/>
                  </a:lnTo>
                  <a:lnTo>
                    <a:pt x="6" y="10"/>
                  </a:lnTo>
                  <a:lnTo>
                    <a:pt x="6" y="10"/>
                  </a:lnTo>
                  <a:lnTo>
                    <a:pt x="6" y="10"/>
                  </a:lnTo>
                  <a:lnTo>
                    <a:pt x="5" y="10"/>
                  </a:lnTo>
                  <a:lnTo>
                    <a:pt x="5" y="10"/>
                  </a:lnTo>
                  <a:lnTo>
                    <a:pt x="5" y="10"/>
                  </a:lnTo>
                  <a:lnTo>
                    <a:pt x="5" y="10"/>
                  </a:lnTo>
                  <a:lnTo>
                    <a:pt x="5" y="10"/>
                  </a:lnTo>
                  <a:lnTo>
                    <a:pt x="5" y="9"/>
                  </a:lnTo>
                  <a:lnTo>
                    <a:pt x="5" y="9"/>
                  </a:lnTo>
                  <a:lnTo>
                    <a:pt x="5" y="9"/>
                  </a:lnTo>
                  <a:lnTo>
                    <a:pt x="5" y="9"/>
                  </a:lnTo>
                  <a:lnTo>
                    <a:pt x="5" y="9"/>
                  </a:lnTo>
                  <a:lnTo>
                    <a:pt x="5" y="9"/>
                  </a:lnTo>
                  <a:lnTo>
                    <a:pt x="6" y="8"/>
                  </a:lnTo>
                  <a:lnTo>
                    <a:pt x="6" y="8"/>
                  </a:lnTo>
                  <a:lnTo>
                    <a:pt x="6" y="7"/>
                  </a:lnTo>
                  <a:lnTo>
                    <a:pt x="6" y="7"/>
                  </a:lnTo>
                  <a:lnTo>
                    <a:pt x="7" y="7"/>
                  </a:lnTo>
                  <a:lnTo>
                    <a:pt x="8" y="7"/>
                  </a:lnTo>
                  <a:lnTo>
                    <a:pt x="8" y="7"/>
                  </a:lnTo>
                  <a:lnTo>
                    <a:pt x="8" y="7"/>
                  </a:lnTo>
                  <a:lnTo>
                    <a:pt x="8" y="7"/>
                  </a:lnTo>
                  <a:lnTo>
                    <a:pt x="8" y="7"/>
                  </a:lnTo>
                  <a:lnTo>
                    <a:pt x="8" y="6"/>
                  </a:lnTo>
                  <a:lnTo>
                    <a:pt x="8" y="6"/>
                  </a:lnTo>
                  <a:lnTo>
                    <a:pt x="9" y="4"/>
                  </a:lnTo>
                  <a:lnTo>
                    <a:pt x="9" y="4"/>
                  </a:lnTo>
                  <a:lnTo>
                    <a:pt x="11" y="4"/>
                  </a:lnTo>
                  <a:lnTo>
                    <a:pt x="11" y="4"/>
                  </a:lnTo>
                  <a:lnTo>
                    <a:pt x="11" y="4"/>
                  </a:lnTo>
                  <a:lnTo>
                    <a:pt x="11" y="4"/>
                  </a:lnTo>
                  <a:lnTo>
                    <a:pt x="12" y="4"/>
                  </a:lnTo>
                  <a:lnTo>
                    <a:pt x="12" y="4"/>
                  </a:lnTo>
                  <a:lnTo>
                    <a:pt x="12" y="4"/>
                  </a:lnTo>
                  <a:lnTo>
                    <a:pt x="12" y="4"/>
                  </a:lnTo>
                  <a:lnTo>
                    <a:pt x="13" y="4"/>
                  </a:lnTo>
                  <a:lnTo>
                    <a:pt x="13" y="4"/>
                  </a:lnTo>
                  <a:lnTo>
                    <a:pt x="13" y="4"/>
                  </a:lnTo>
                  <a:lnTo>
                    <a:pt x="13" y="4"/>
                  </a:lnTo>
                  <a:lnTo>
                    <a:pt x="13" y="3"/>
                  </a:lnTo>
                  <a:lnTo>
                    <a:pt x="13" y="3"/>
                  </a:lnTo>
                  <a:lnTo>
                    <a:pt x="13" y="3"/>
                  </a:lnTo>
                  <a:lnTo>
                    <a:pt x="13" y="3"/>
                  </a:lnTo>
                  <a:lnTo>
                    <a:pt x="13" y="3"/>
                  </a:lnTo>
                  <a:lnTo>
                    <a:pt x="13" y="3"/>
                  </a:lnTo>
                  <a:lnTo>
                    <a:pt x="14" y="4"/>
                  </a:lnTo>
                  <a:lnTo>
                    <a:pt x="14" y="4"/>
                  </a:lnTo>
                  <a:lnTo>
                    <a:pt x="14" y="6"/>
                  </a:lnTo>
                  <a:lnTo>
                    <a:pt x="14" y="6"/>
                  </a:lnTo>
                  <a:lnTo>
                    <a:pt x="14" y="6"/>
                  </a:lnTo>
                  <a:lnTo>
                    <a:pt x="14" y="6"/>
                  </a:lnTo>
                  <a:lnTo>
                    <a:pt x="15" y="6"/>
                  </a:lnTo>
                  <a:lnTo>
                    <a:pt x="15" y="6"/>
                  </a:lnTo>
                  <a:lnTo>
                    <a:pt x="16" y="6"/>
                  </a:lnTo>
                  <a:lnTo>
                    <a:pt x="16" y="6"/>
                  </a:lnTo>
                  <a:lnTo>
                    <a:pt x="16" y="4"/>
                  </a:lnTo>
                  <a:lnTo>
                    <a:pt x="16" y="4"/>
                  </a:lnTo>
                  <a:lnTo>
                    <a:pt x="16" y="4"/>
                  </a:lnTo>
                  <a:lnTo>
                    <a:pt x="16" y="4"/>
                  </a:lnTo>
                  <a:lnTo>
                    <a:pt x="17" y="4"/>
                  </a:lnTo>
                  <a:lnTo>
                    <a:pt x="17" y="4"/>
                  </a:lnTo>
                  <a:lnTo>
                    <a:pt x="17" y="3"/>
                  </a:lnTo>
                  <a:lnTo>
                    <a:pt x="17" y="3"/>
                  </a:lnTo>
                  <a:lnTo>
                    <a:pt x="17" y="3"/>
                  </a:lnTo>
                  <a:lnTo>
                    <a:pt x="17" y="3"/>
                  </a:lnTo>
                  <a:lnTo>
                    <a:pt x="17" y="3"/>
                  </a:lnTo>
                  <a:lnTo>
                    <a:pt x="19" y="3"/>
                  </a:lnTo>
                  <a:lnTo>
                    <a:pt x="19" y="3"/>
                  </a:lnTo>
                  <a:lnTo>
                    <a:pt x="19" y="2"/>
                  </a:lnTo>
                  <a:lnTo>
                    <a:pt x="19" y="2"/>
                  </a:lnTo>
                  <a:lnTo>
                    <a:pt x="20" y="2"/>
                  </a:lnTo>
                  <a:lnTo>
                    <a:pt x="20" y="1"/>
                  </a:lnTo>
                  <a:lnTo>
                    <a:pt x="20" y="1"/>
                  </a:lnTo>
                  <a:lnTo>
                    <a:pt x="20" y="1"/>
                  </a:lnTo>
                  <a:lnTo>
                    <a:pt x="20" y="1"/>
                  </a:lnTo>
                  <a:lnTo>
                    <a:pt x="20" y="1"/>
                  </a:lnTo>
                  <a:lnTo>
                    <a:pt x="20" y="1"/>
                  </a:lnTo>
                  <a:lnTo>
                    <a:pt x="20" y="1"/>
                  </a:lnTo>
                  <a:lnTo>
                    <a:pt x="20" y="1"/>
                  </a:lnTo>
                  <a:lnTo>
                    <a:pt x="20" y="1"/>
                  </a:lnTo>
                  <a:lnTo>
                    <a:pt x="20" y="0"/>
                  </a:lnTo>
                  <a:lnTo>
                    <a:pt x="20" y="0"/>
                  </a:lnTo>
                  <a:lnTo>
                    <a:pt x="21" y="0"/>
                  </a:lnTo>
                  <a:lnTo>
                    <a:pt x="21" y="0"/>
                  </a:lnTo>
                  <a:lnTo>
                    <a:pt x="21" y="0"/>
                  </a:lnTo>
                  <a:lnTo>
                    <a:pt x="21" y="0"/>
                  </a:lnTo>
                  <a:lnTo>
                    <a:pt x="21" y="0"/>
                  </a:lnTo>
                  <a:lnTo>
                    <a:pt x="21" y="0"/>
                  </a:lnTo>
                  <a:lnTo>
                    <a:pt x="22" y="0"/>
                  </a:lnTo>
                  <a:lnTo>
                    <a:pt x="22" y="0"/>
                  </a:lnTo>
                  <a:lnTo>
                    <a:pt x="22" y="0"/>
                  </a:lnTo>
                  <a:close/>
                </a:path>
              </a:pathLst>
            </a:custGeom>
            <a:solidFill>
              <a:srgbClr val="0053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28" name="Freeform 987">
              <a:extLst>
                <a:ext uri="{FF2B5EF4-FFF2-40B4-BE49-F238E27FC236}">
                  <a16:creationId xmlns:a16="http://schemas.microsoft.com/office/drawing/2014/main" id="{B9163396-32B0-4CA3-91F8-0D09F4D8B71E}"/>
                </a:ext>
              </a:extLst>
            </p:cNvPr>
            <p:cNvSpPr>
              <a:spLocks/>
            </p:cNvSpPr>
            <p:nvPr/>
          </p:nvSpPr>
          <p:spPr bwMode="auto">
            <a:xfrm>
              <a:off x="5495259" y="2763584"/>
              <a:ext cx="154917" cy="145569"/>
            </a:xfrm>
            <a:custGeom>
              <a:avLst/>
              <a:gdLst>
                <a:gd name="T0" fmla="*/ 116 w 116"/>
                <a:gd name="T1" fmla="*/ 6 h 109"/>
                <a:gd name="T2" fmla="*/ 116 w 116"/>
                <a:gd name="T3" fmla="*/ 10 h 109"/>
                <a:gd name="T4" fmla="*/ 116 w 116"/>
                <a:gd name="T5" fmla="*/ 20 h 109"/>
                <a:gd name="T6" fmla="*/ 116 w 116"/>
                <a:gd name="T7" fmla="*/ 25 h 109"/>
                <a:gd name="T8" fmla="*/ 115 w 116"/>
                <a:gd name="T9" fmla="*/ 27 h 109"/>
                <a:gd name="T10" fmla="*/ 108 w 116"/>
                <a:gd name="T11" fmla="*/ 27 h 109"/>
                <a:gd name="T12" fmla="*/ 101 w 116"/>
                <a:gd name="T13" fmla="*/ 27 h 109"/>
                <a:gd name="T14" fmla="*/ 94 w 116"/>
                <a:gd name="T15" fmla="*/ 27 h 109"/>
                <a:gd name="T16" fmla="*/ 87 w 116"/>
                <a:gd name="T17" fmla="*/ 27 h 109"/>
                <a:gd name="T18" fmla="*/ 80 w 116"/>
                <a:gd name="T19" fmla="*/ 27 h 109"/>
                <a:gd name="T20" fmla="*/ 73 w 116"/>
                <a:gd name="T21" fmla="*/ 27 h 109"/>
                <a:gd name="T22" fmla="*/ 71 w 116"/>
                <a:gd name="T23" fmla="*/ 30 h 109"/>
                <a:gd name="T24" fmla="*/ 71 w 116"/>
                <a:gd name="T25" fmla="*/ 36 h 109"/>
                <a:gd name="T26" fmla="*/ 71 w 116"/>
                <a:gd name="T27" fmla="*/ 42 h 109"/>
                <a:gd name="T28" fmla="*/ 71 w 116"/>
                <a:gd name="T29" fmla="*/ 48 h 109"/>
                <a:gd name="T30" fmla="*/ 69 w 116"/>
                <a:gd name="T31" fmla="*/ 53 h 109"/>
                <a:gd name="T32" fmla="*/ 69 w 116"/>
                <a:gd name="T33" fmla="*/ 59 h 109"/>
                <a:gd name="T34" fmla="*/ 69 w 116"/>
                <a:gd name="T35" fmla="*/ 66 h 109"/>
                <a:gd name="T36" fmla="*/ 65 w 116"/>
                <a:gd name="T37" fmla="*/ 69 h 109"/>
                <a:gd name="T38" fmla="*/ 58 w 116"/>
                <a:gd name="T39" fmla="*/ 72 h 109"/>
                <a:gd name="T40" fmla="*/ 54 w 116"/>
                <a:gd name="T41" fmla="*/ 77 h 109"/>
                <a:gd name="T42" fmla="*/ 54 w 116"/>
                <a:gd name="T43" fmla="*/ 86 h 109"/>
                <a:gd name="T44" fmla="*/ 53 w 116"/>
                <a:gd name="T45" fmla="*/ 100 h 109"/>
                <a:gd name="T46" fmla="*/ 41 w 116"/>
                <a:gd name="T47" fmla="*/ 100 h 109"/>
                <a:gd name="T48" fmla="*/ 24 w 116"/>
                <a:gd name="T49" fmla="*/ 100 h 109"/>
                <a:gd name="T50" fmla="*/ 5 w 116"/>
                <a:gd name="T51" fmla="*/ 100 h 109"/>
                <a:gd name="T52" fmla="*/ 1 w 116"/>
                <a:gd name="T53" fmla="*/ 101 h 109"/>
                <a:gd name="T54" fmla="*/ 0 w 116"/>
                <a:gd name="T55" fmla="*/ 107 h 109"/>
                <a:gd name="T56" fmla="*/ 0 w 116"/>
                <a:gd name="T57" fmla="*/ 107 h 109"/>
                <a:gd name="T58" fmla="*/ 0 w 116"/>
                <a:gd name="T59" fmla="*/ 105 h 109"/>
                <a:gd name="T60" fmla="*/ 2 w 116"/>
                <a:gd name="T61" fmla="*/ 99 h 109"/>
                <a:gd name="T62" fmla="*/ 16 w 116"/>
                <a:gd name="T63" fmla="*/ 98 h 109"/>
                <a:gd name="T64" fmla="*/ 26 w 116"/>
                <a:gd name="T65" fmla="*/ 98 h 109"/>
                <a:gd name="T66" fmla="*/ 33 w 116"/>
                <a:gd name="T67" fmla="*/ 94 h 109"/>
                <a:gd name="T68" fmla="*/ 34 w 116"/>
                <a:gd name="T69" fmla="*/ 90 h 109"/>
                <a:gd name="T70" fmla="*/ 38 w 116"/>
                <a:gd name="T71" fmla="*/ 86 h 109"/>
                <a:gd name="T72" fmla="*/ 40 w 116"/>
                <a:gd name="T73" fmla="*/ 78 h 109"/>
                <a:gd name="T74" fmla="*/ 43 w 116"/>
                <a:gd name="T75" fmla="*/ 67 h 109"/>
                <a:gd name="T76" fmla="*/ 46 w 116"/>
                <a:gd name="T77" fmla="*/ 62 h 109"/>
                <a:gd name="T78" fmla="*/ 52 w 116"/>
                <a:gd name="T79" fmla="*/ 58 h 109"/>
                <a:gd name="T80" fmla="*/ 55 w 116"/>
                <a:gd name="T81" fmla="*/ 51 h 109"/>
                <a:gd name="T82" fmla="*/ 59 w 116"/>
                <a:gd name="T83" fmla="*/ 49 h 109"/>
                <a:gd name="T84" fmla="*/ 65 w 116"/>
                <a:gd name="T85" fmla="*/ 44 h 109"/>
                <a:gd name="T86" fmla="*/ 67 w 116"/>
                <a:gd name="T87" fmla="*/ 35 h 109"/>
                <a:gd name="T88" fmla="*/ 69 w 116"/>
                <a:gd name="T89" fmla="*/ 28 h 109"/>
                <a:gd name="T90" fmla="*/ 71 w 116"/>
                <a:gd name="T91" fmla="*/ 25 h 109"/>
                <a:gd name="T92" fmla="*/ 75 w 116"/>
                <a:gd name="T93" fmla="*/ 23 h 109"/>
                <a:gd name="T94" fmla="*/ 77 w 116"/>
                <a:gd name="T95" fmla="*/ 18 h 109"/>
                <a:gd name="T96" fmla="*/ 80 w 116"/>
                <a:gd name="T97" fmla="*/ 14 h 109"/>
                <a:gd name="T98" fmla="*/ 84 w 116"/>
                <a:gd name="T99" fmla="*/ 10 h 109"/>
                <a:gd name="T100" fmla="*/ 90 w 116"/>
                <a:gd name="T101" fmla="*/ 10 h 109"/>
                <a:gd name="T102" fmla="*/ 96 w 116"/>
                <a:gd name="T103" fmla="*/ 13 h 109"/>
                <a:gd name="T104" fmla="*/ 101 w 116"/>
                <a:gd name="T105" fmla="*/ 13 h 109"/>
                <a:gd name="T106" fmla="*/ 107 w 116"/>
                <a:gd name="T107" fmla="*/ 9 h 109"/>
                <a:gd name="T108" fmla="*/ 111 w 116"/>
                <a:gd name="T109" fmla="*/ 9 h 109"/>
                <a:gd name="T110" fmla="*/ 115 w 116"/>
                <a:gd name="T111" fmla="*/ 7 h 109"/>
                <a:gd name="T112" fmla="*/ 115 w 116"/>
                <a:gd name="T113" fmla="*/ 2 h 109"/>
                <a:gd name="T114" fmla="*/ 115 w 116"/>
                <a:gd name="T11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6" h="109">
                  <a:moveTo>
                    <a:pt x="116" y="0"/>
                  </a:moveTo>
                  <a:lnTo>
                    <a:pt x="116" y="1"/>
                  </a:lnTo>
                  <a:lnTo>
                    <a:pt x="116" y="3"/>
                  </a:lnTo>
                  <a:lnTo>
                    <a:pt x="116" y="4"/>
                  </a:lnTo>
                  <a:lnTo>
                    <a:pt x="116" y="6"/>
                  </a:lnTo>
                  <a:lnTo>
                    <a:pt x="116" y="6"/>
                  </a:lnTo>
                  <a:lnTo>
                    <a:pt x="116" y="7"/>
                  </a:lnTo>
                  <a:lnTo>
                    <a:pt x="116" y="8"/>
                  </a:lnTo>
                  <a:lnTo>
                    <a:pt x="116" y="9"/>
                  </a:lnTo>
                  <a:lnTo>
                    <a:pt x="116" y="10"/>
                  </a:lnTo>
                  <a:lnTo>
                    <a:pt x="116" y="11"/>
                  </a:lnTo>
                  <a:lnTo>
                    <a:pt x="116" y="14"/>
                  </a:lnTo>
                  <a:lnTo>
                    <a:pt x="116" y="15"/>
                  </a:lnTo>
                  <a:lnTo>
                    <a:pt x="116" y="17"/>
                  </a:lnTo>
                  <a:lnTo>
                    <a:pt x="116" y="20"/>
                  </a:lnTo>
                  <a:lnTo>
                    <a:pt x="116" y="21"/>
                  </a:lnTo>
                  <a:lnTo>
                    <a:pt x="116" y="22"/>
                  </a:lnTo>
                  <a:lnTo>
                    <a:pt x="116" y="23"/>
                  </a:lnTo>
                  <a:lnTo>
                    <a:pt x="116" y="24"/>
                  </a:lnTo>
                  <a:lnTo>
                    <a:pt x="116" y="25"/>
                  </a:lnTo>
                  <a:lnTo>
                    <a:pt x="116" y="25"/>
                  </a:lnTo>
                  <a:lnTo>
                    <a:pt x="116" y="25"/>
                  </a:lnTo>
                  <a:lnTo>
                    <a:pt x="116" y="27"/>
                  </a:lnTo>
                  <a:lnTo>
                    <a:pt x="115" y="27"/>
                  </a:lnTo>
                  <a:lnTo>
                    <a:pt x="115" y="27"/>
                  </a:lnTo>
                  <a:lnTo>
                    <a:pt x="112" y="27"/>
                  </a:lnTo>
                  <a:lnTo>
                    <a:pt x="111" y="27"/>
                  </a:lnTo>
                  <a:lnTo>
                    <a:pt x="110" y="27"/>
                  </a:lnTo>
                  <a:lnTo>
                    <a:pt x="109" y="27"/>
                  </a:lnTo>
                  <a:lnTo>
                    <a:pt x="108" y="27"/>
                  </a:lnTo>
                  <a:lnTo>
                    <a:pt x="105" y="27"/>
                  </a:lnTo>
                  <a:lnTo>
                    <a:pt x="104" y="27"/>
                  </a:lnTo>
                  <a:lnTo>
                    <a:pt x="103" y="27"/>
                  </a:lnTo>
                  <a:lnTo>
                    <a:pt x="102" y="27"/>
                  </a:lnTo>
                  <a:lnTo>
                    <a:pt x="101" y="27"/>
                  </a:lnTo>
                  <a:lnTo>
                    <a:pt x="100" y="27"/>
                  </a:lnTo>
                  <a:lnTo>
                    <a:pt x="97" y="27"/>
                  </a:lnTo>
                  <a:lnTo>
                    <a:pt x="96" y="27"/>
                  </a:lnTo>
                  <a:lnTo>
                    <a:pt x="95" y="27"/>
                  </a:lnTo>
                  <a:lnTo>
                    <a:pt x="94" y="27"/>
                  </a:lnTo>
                  <a:lnTo>
                    <a:pt x="93" y="27"/>
                  </a:lnTo>
                  <a:lnTo>
                    <a:pt x="91" y="27"/>
                  </a:lnTo>
                  <a:lnTo>
                    <a:pt x="89" y="27"/>
                  </a:lnTo>
                  <a:lnTo>
                    <a:pt x="88" y="27"/>
                  </a:lnTo>
                  <a:lnTo>
                    <a:pt x="87" y="27"/>
                  </a:lnTo>
                  <a:lnTo>
                    <a:pt x="86" y="27"/>
                  </a:lnTo>
                  <a:lnTo>
                    <a:pt x="84" y="27"/>
                  </a:lnTo>
                  <a:lnTo>
                    <a:pt x="83" y="27"/>
                  </a:lnTo>
                  <a:lnTo>
                    <a:pt x="81" y="27"/>
                  </a:lnTo>
                  <a:lnTo>
                    <a:pt x="80" y="27"/>
                  </a:lnTo>
                  <a:lnTo>
                    <a:pt x="79" y="27"/>
                  </a:lnTo>
                  <a:lnTo>
                    <a:pt x="77" y="27"/>
                  </a:lnTo>
                  <a:lnTo>
                    <a:pt x="76" y="27"/>
                  </a:lnTo>
                  <a:lnTo>
                    <a:pt x="75" y="27"/>
                  </a:lnTo>
                  <a:lnTo>
                    <a:pt x="73" y="27"/>
                  </a:lnTo>
                  <a:lnTo>
                    <a:pt x="72" y="27"/>
                  </a:lnTo>
                  <a:lnTo>
                    <a:pt x="71" y="27"/>
                  </a:lnTo>
                  <a:lnTo>
                    <a:pt x="71" y="28"/>
                  </a:lnTo>
                  <a:lnTo>
                    <a:pt x="71" y="29"/>
                  </a:lnTo>
                  <a:lnTo>
                    <a:pt x="71" y="30"/>
                  </a:lnTo>
                  <a:lnTo>
                    <a:pt x="71" y="31"/>
                  </a:lnTo>
                  <a:lnTo>
                    <a:pt x="71" y="32"/>
                  </a:lnTo>
                  <a:lnTo>
                    <a:pt x="71" y="34"/>
                  </a:lnTo>
                  <a:lnTo>
                    <a:pt x="71" y="35"/>
                  </a:lnTo>
                  <a:lnTo>
                    <a:pt x="71" y="36"/>
                  </a:lnTo>
                  <a:lnTo>
                    <a:pt x="71" y="37"/>
                  </a:lnTo>
                  <a:lnTo>
                    <a:pt x="71" y="38"/>
                  </a:lnTo>
                  <a:lnTo>
                    <a:pt x="71" y="39"/>
                  </a:lnTo>
                  <a:lnTo>
                    <a:pt x="71" y="41"/>
                  </a:lnTo>
                  <a:lnTo>
                    <a:pt x="71" y="42"/>
                  </a:lnTo>
                  <a:lnTo>
                    <a:pt x="71" y="43"/>
                  </a:lnTo>
                  <a:lnTo>
                    <a:pt x="71" y="44"/>
                  </a:lnTo>
                  <a:lnTo>
                    <a:pt x="71" y="45"/>
                  </a:lnTo>
                  <a:lnTo>
                    <a:pt x="71" y="46"/>
                  </a:lnTo>
                  <a:lnTo>
                    <a:pt x="71" y="48"/>
                  </a:lnTo>
                  <a:lnTo>
                    <a:pt x="71" y="49"/>
                  </a:lnTo>
                  <a:lnTo>
                    <a:pt x="71" y="50"/>
                  </a:lnTo>
                  <a:lnTo>
                    <a:pt x="71" y="51"/>
                  </a:lnTo>
                  <a:lnTo>
                    <a:pt x="69" y="52"/>
                  </a:lnTo>
                  <a:lnTo>
                    <a:pt x="69" y="53"/>
                  </a:lnTo>
                  <a:lnTo>
                    <a:pt x="69" y="55"/>
                  </a:lnTo>
                  <a:lnTo>
                    <a:pt x="69" y="56"/>
                  </a:lnTo>
                  <a:lnTo>
                    <a:pt x="69" y="57"/>
                  </a:lnTo>
                  <a:lnTo>
                    <a:pt x="69" y="58"/>
                  </a:lnTo>
                  <a:lnTo>
                    <a:pt x="69" y="59"/>
                  </a:lnTo>
                  <a:lnTo>
                    <a:pt x="69" y="60"/>
                  </a:lnTo>
                  <a:lnTo>
                    <a:pt x="69" y="62"/>
                  </a:lnTo>
                  <a:lnTo>
                    <a:pt x="69" y="63"/>
                  </a:lnTo>
                  <a:lnTo>
                    <a:pt x="69" y="64"/>
                  </a:lnTo>
                  <a:lnTo>
                    <a:pt x="69" y="66"/>
                  </a:lnTo>
                  <a:lnTo>
                    <a:pt x="69" y="66"/>
                  </a:lnTo>
                  <a:lnTo>
                    <a:pt x="69" y="66"/>
                  </a:lnTo>
                  <a:lnTo>
                    <a:pt x="68" y="67"/>
                  </a:lnTo>
                  <a:lnTo>
                    <a:pt x="65" y="69"/>
                  </a:lnTo>
                  <a:lnTo>
                    <a:pt x="65" y="69"/>
                  </a:lnTo>
                  <a:lnTo>
                    <a:pt x="62" y="69"/>
                  </a:lnTo>
                  <a:lnTo>
                    <a:pt x="61" y="70"/>
                  </a:lnTo>
                  <a:lnTo>
                    <a:pt x="60" y="70"/>
                  </a:lnTo>
                  <a:lnTo>
                    <a:pt x="59" y="71"/>
                  </a:lnTo>
                  <a:lnTo>
                    <a:pt x="58" y="72"/>
                  </a:lnTo>
                  <a:lnTo>
                    <a:pt x="55" y="73"/>
                  </a:lnTo>
                  <a:lnTo>
                    <a:pt x="55" y="73"/>
                  </a:lnTo>
                  <a:lnTo>
                    <a:pt x="55" y="73"/>
                  </a:lnTo>
                  <a:lnTo>
                    <a:pt x="54" y="76"/>
                  </a:lnTo>
                  <a:lnTo>
                    <a:pt x="54" y="77"/>
                  </a:lnTo>
                  <a:lnTo>
                    <a:pt x="54" y="78"/>
                  </a:lnTo>
                  <a:lnTo>
                    <a:pt x="54" y="79"/>
                  </a:lnTo>
                  <a:lnTo>
                    <a:pt x="54" y="80"/>
                  </a:lnTo>
                  <a:lnTo>
                    <a:pt x="54" y="81"/>
                  </a:lnTo>
                  <a:lnTo>
                    <a:pt x="54" y="86"/>
                  </a:lnTo>
                  <a:lnTo>
                    <a:pt x="55" y="90"/>
                  </a:lnTo>
                  <a:lnTo>
                    <a:pt x="55" y="97"/>
                  </a:lnTo>
                  <a:lnTo>
                    <a:pt x="55" y="98"/>
                  </a:lnTo>
                  <a:lnTo>
                    <a:pt x="55" y="100"/>
                  </a:lnTo>
                  <a:lnTo>
                    <a:pt x="53" y="100"/>
                  </a:lnTo>
                  <a:lnTo>
                    <a:pt x="53" y="100"/>
                  </a:lnTo>
                  <a:lnTo>
                    <a:pt x="51" y="100"/>
                  </a:lnTo>
                  <a:lnTo>
                    <a:pt x="48" y="100"/>
                  </a:lnTo>
                  <a:lnTo>
                    <a:pt x="45" y="100"/>
                  </a:lnTo>
                  <a:lnTo>
                    <a:pt x="41" y="100"/>
                  </a:lnTo>
                  <a:lnTo>
                    <a:pt x="38" y="100"/>
                  </a:lnTo>
                  <a:lnTo>
                    <a:pt x="38" y="100"/>
                  </a:lnTo>
                  <a:lnTo>
                    <a:pt x="33" y="100"/>
                  </a:lnTo>
                  <a:lnTo>
                    <a:pt x="29" y="100"/>
                  </a:lnTo>
                  <a:lnTo>
                    <a:pt x="24" y="100"/>
                  </a:lnTo>
                  <a:lnTo>
                    <a:pt x="19" y="100"/>
                  </a:lnTo>
                  <a:lnTo>
                    <a:pt x="15" y="100"/>
                  </a:lnTo>
                  <a:lnTo>
                    <a:pt x="11" y="100"/>
                  </a:lnTo>
                  <a:lnTo>
                    <a:pt x="8" y="100"/>
                  </a:lnTo>
                  <a:lnTo>
                    <a:pt x="5" y="100"/>
                  </a:lnTo>
                  <a:lnTo>
                    <a:pt x="3" y="100"/>
                  </a:lnTo>
                  <a:lnTo>
                    <a:pt x="3" y="100"/>
                  </a:lnTo>
                  <a:lnTo>
                    <a:pt x="2" y="100"/>
                  </a:lnTo>
                  <a:lnTo>
                    <a:pt x="2" y="100"/>
                  </a:lnTo>
                  <a:lnTo>
                    <a:pt x="1" y="101"/>
                  </a:lnTo>
                  <a:lnTo>
                    <a:pt x="1" y="104"/>
                  </a:lnTo>
                  <a:lnTo>
                    <a:pt x="0" y="105"/>
                  </a:lnTo>
                  <a:lnTo>
                    <a:pt x="0" y="105"/>
                  </a:lnTo>
                  <a:lnTo>
                    <a:pt x="0" y="107"/>
                  </a:lnTo>
                  <a:lnTo>
                    <a:pt x="0" y="107"/>
                  </a:lnTo>
                  <a:lnTo>
                    <a:pt x="0" y="109"/>
                  </a:lnTo>
                  <a:lnTo>
                    <a:pt x="0" y="108"/>
                  </a:lnTo>
                  <a:lnTo>
                    <a:pt x="0" y="108"/>
                  </a:lnTo>
                  <a:lnTo>
                    <a:pt x="0" y="107"/>
                  </a:lnTo>
                  <a:lnTo>
                    <a:pt x="0" y="107"/>
                  </a:lnTo>
                  <a:lnTo>
                    <a:pt x="0" y="107"/>
                  </a:lnTo>
                  <a:lnTo>
                    <a:pt x="0" y="107"/>
                  </a:lnTo>
                  <a:lnTo>
                    <a:pt x="0" y="106"/>
                  </a:lnTo>
                  <a:lnTo>
                    <a:pt x="0" y="106"/>
                  </a:lnTo>
                  <a:lnTo>
                    <a:pt x="0" y="105"/>
                  </a:lnTo>
                  <a:lnTo>
                    <a:pt x="1" y="100"/>
                  </a:lnTo>
                  <a:lnTo>
                    <a:pt x="1" y="99"/>
                  </a:lnTo>
                  <a:lnTo>
                    <a:pt x="1" y="99"/>
                  </a:lnTo>
                  <a:lnTo>
                    <a:pt x="1" y="99"/>
                  </a:lnTo>
                  <a:lnTo>
                    <a:pt x="2" y="99"/>
                  </a:lnTo>
                  <a:lnTo>
                    <a:pt x="4" y="98"/>
                  </a:lnTo>
                  <a:lnTo>
                    <a:pt x="7" y="98"/>
                  </a:lnTo>
                  <a:lnTo>
                    <a:pt x="12" y="98"/>
                  </a:lnTo>
                  <a:lnTo>
                    <a:pt x="13" y="98"/>
                  </a:lnTo>
                  <a:lnTo>
                    <a:pt x="16" y="98"/>
                  </a:lnTo>
                  <a:lnTo>
                    <a:pt x="18" y="98"/>
                  </a:lnTo>
                  <a:lnTo>
                    <a:pt x="20" y="98"/>
                  </a:lnTo>
                  <a:lnTo>
                    <a:pt x="22" y="98"/>
                  </a:lnTo>
                  <a:lnTo>
                    <a:pt x="24" y="98"/>
                  </a:lnTo>
                  <a:lnTo>
                    <a:pt x="26" y="98"/>
                  </a:lnTo>
                  <a:lnTo>
                    <a:pt x="29" y="98"/>
                  </a:lnTo>
                  <a:lnTo>
                    <a:pt x="31" y="98"/>
                  </a:lnTo>
                  <a:lnTo>
                    <a:pt x="32" y="98"/>
                  </a:lnTo>
                  <a:lnTo>
                    <a:pt x="33" y="95"/>
                  </a:lnTo>
                  <a:lnTo>
                    <a:pt x="33" y="94"/>
                  </a:lnTo>
                  <a:lnTo>
                    <a:pt x="33" y="93"/>
                  </a:lnTo>
                  <a:lnTo>
                    <a:pt x="33" y="92"/>
                  </a:lnTo>
                  <a:lnTo>
                    <a:pt x="33" y="92"/>
                  </a:lnTo>
                  <a:lnTo>
                    <a:pt x="34" y="91"/>
                  </a:lnTo>
                  <a:lnTo>
                    <a:pt x="34" y="90"/>
                  </a:lnTo>
                  <a:lnTo>
                    <a:pt x="36" y="88"/>
                  </a:lnTo>
                  <a:lnTo>
                    <a:pt x="36" y="88"/>
                  </a:lnTo>
                  <a:lnTo>
                    <a:pt x="37" y="87"/>
                  </a:lnTo>
                  <a:lnTo>
                    <a:pt x="38" y="86"/>
                  </a:lnTo>
                  <a:lnTo>
                    <a:pt x="38" y="86"/>
                  </a:lnTo>
                  <a:lnTo>
                    <a:pt x="39" y="85"/>
                  </a:lnTo>
                  <a:lnTo>
                    <a:pt x="39" y="84"/>
                  </a:lnTo>
                  <a:lnTo>
                    <a:pt x="39" y="83"/>
                  </a:lnTo>
                  <a:lnTo>
                    <a:pt x="40" y="80"/>
                  </a:lnTo>
                  <a:lnTo>
                    <a:pt x="40" y="78"/>
                  </a:lnTo>
                  <a:lnTo>
                    <a:pt x="40" y="76"/>
                  </a:lnTo>
                  <a:lnTo>
                    <a:pt x="40" y="74"/>
                  </a:lnTo>
                  <a:lnTo>
                    <a:pt x="41" y="72"/>
                  </a:lnTo>
                  <a:lnTo>
                    <a:pt x="43" y="69"/>
                  </a:lnTo>
                  <a:lnTo>
                    <a:pt x="43" y="67"/>
                  </a:lnTo>
                  <a:lnTo>
                    <a:pt x="43" y="65"/>
                  </a:lnTo>
                  <a:lnTo>
                    <a:pt x="44" y="64"/>
                  </a:lnTo>
                  <a:lnTo>
                    <a:pt x="44" y="63"/>
                  </a:lnTo>
                  <a:lnTo>
                    <a:pt x="45" y="62"/>
                  </a:lnTo>
                  <a:lnTo>
                    <a:pt x="46" y="62"/>
                  </a:lnTo>
                  <a:lnTo>
                    <a:pt x="47" y="60"/>
                  </a:lnTo>
                  <a:lnTo>
                    <a:pt x="48" y="59"/>
                  </a:lnTo>
                  <a:lnTo>
                    <a:pt x="50" y="59"/>
                  </a:lnTo>
                  <a:lnTo>
                    <a:pt x="51" y="59"/>
                  </a:lnTo>
                  <a:lnTo>
                    <a:pt x="52" y="58"/>
                  </a:lnTo>
                  <a:lnTo>
                    <a:pt x="53" y="57"/>
                  </a:lnTo>
                  <a:lnTo>
                    <a:pt x="53" y="57"/>
                  </a:lnTo>
                  <a:lnTo>
                    <a:pt x="54" y="55"/>
                  </a:lnTo>
                  <a:lnTo>
                    <a:pt x="55" y="53"/>
                  </a:lnTo>
                  <a:lnTo>
                    <a:pt x="55" y="51"/>
                  </a:lnTo>
                  <a:lnTo>
                    <a:pt x="57" y="50"/>
                  </a:lnTo>
                  <a:lnTo>
                    <a:pt x="58" y="50"/>
                  </a:lnTo>
                  <a:lnTo>
                    <a:pt x="58" y="50"/>
                  </a:lnTo>
                  <a:lnTo>
                    <a:pt x="58" y="50"/>
                  </a:lnTo>
                  <a:lnTo>
                    <a:pt x="59" y="49"/>
                  </a:lnTo>
                  <a:lnTo>
                    <a:pt x="60" y="48"/>
                  </a:lnTo>
                  <a:lnTo>
                    <a:pt x="61" y="48"/>
                  </a:lnTo>
                  <a:lnTo>
                    <a:pt x="62" y="46"/>
                  </a:lnTo>
                  <a:lnTo>
                    <a:pt x="64" y="45"/>
                  </a:lnTo>
                  <a:lnTo>
                    <a:pt x="65" y="44"/>
                  </a:lnTo>
                  <a:lnTo>
                    <a:pt x="65" y="44"/>
                  </a:lnTo>
                  <a:lnTo>
                    <a:pt x="66" y="43"/>
                  </a:lnTo>
                  <a:lnTo>
                    <a:pt x="66" y="41"/>
                  </a:lnTo>
                  <a:lnTo>
                    <a:pt x="67" y="38"/>
                  </a:lnTo>
                  <a:lnTo>
                    <a:pt x="67" y="35"/>
                  </a:lnTo>
                  <a:lnTo>
                    <a:pt x="68" y="34"/>
                  </a:lnTo>
                  <a:lnTo>
                    <a:pt x="68" y="31"/>
                  </a:lnTo>
                  <a:lnTo>
                    <a:pt x="69" y="30"/>
                  </a:lnTo>
                  <a:lnTo>
                    <a:pt x="69" y="29"/>
                  </a:lnTo>
                  <a:lnTo>
                    <a:pt x="69" y="28"/>
                  </a:lnTo>
                  <a:lnTo>
                    <a:pt x="69" y="28"/>
                  </a:lnTo>
                  <a:lnTo>
                    <a:pt x="69" y="27"/>
                  </a:lnTo>
                  <a:lnTo>
                    <a:pt x="71" y="27"/>
                  </a:lnTo>
                  <a:lnTo>
                    <a:pt x="71" y="27"/>
                  </a:lnTo>
                  <a:lnTo>
                    <a:pt x="71" y="25"/>
                  </a:lnTo>
                  <a:lnTo>
                    <a:pt x="72" y="25"/>
                  </a:lnTo>
                  <a:lnTo>
                    <a:pt x="73" y="25"/>
                  </a:lnTo>
                  <a:lnTo>
                    <a:pt x="74" y="24"/>
                  </a:lnTo>
                  <a:lnTo>
                    <a:pt x="75" y="24"/>
                  </a:lnTo>
                  <a:lnTo>
                    <a:pt x="75" y="23"/>
                  </a:lnTo>
                  <a:lnTo>
                    <a:pt x="75" y="23"/>
                  </a:lnTo>
                  <a:lnTo>
                    <a:pt x="76" y="22"/>
                  </a:lnTo>
                  <a:lnTo>
                    <a:pt x="76" y="21"/>
                  </a:lnTo>
                  <a:lnTo>
                    <a:pt x="77" y="20"/>
                  </a:lnTo>
                  <a:lnTo>
                    <a:pt x="77" y="18"/>
                  </a:lnTo>
                  <a:lnTo>
                    <a:pt x="79" y="18"/>
                  </a:lnTo>
                  <a:lnTo>
                    <a:pt x="79" y="17"/>
                  </a:lnTo>
                  <a:lnTo>
                    <a:pt x="80" y="16"/>
                  </a:lnTo>
                  <a:lnTo>
                    <a:pt x="80" y="15"/>
                  </a:lnTo>
                  <a:lnTo>
                    <a:pt x="80" y="14"/>
                  </a:lnTo>
                  <a:lnTo>
                    <a:pt x="80" y="14"/>
                  </a:lnTo>
                  <a:lnTo>
                    <a:pt x="80" y="13"/>
                  </a:lnTo>
                  <a:lnTo>
                    <a:pt x="81" y="11"/>
                  </a:lnTo>
                  <a:lnTo>
                    <a:pt x="82" y="11"/>
                  </a:lnTo>
                  <a:lnTo>
                    <a:pt x="84" y="10"/>
                  </a:lnTo>
                  <a:lnTo>
                    <a:pt x="86" y="10"/>
                  </a:lnTo>
                  <a:lnTo>
                    <a:pt x="87" y="10"/>
                  </a:lnTo>
                  <a:lnTo>
                    <a:pt x="88" y="10"/>
                  </a:lnTo>
                  <a:lnTo>
                    <a:pt x="89" y="10"/>
                  </a:lnTo>
                  <a:lnTo>
                    <a:pt x="90" y="10"/>
                  </a:lnTo>
                  <a:lnTo>
                    <a:pt x="91" y="11"/>
                  </a:lnTo>
                  <a:lnTo>
                    <a:pt x="94" y="11"/>
                  </a:lnTo>
                  <a:lnTo>
                    <a:pt x="95" y="13"/>
                  </a:lnTo>
                  <a:lnTo>
                    <a:pt x="96" y="13"/>
                  </a:lnTo>
                  <a:lnTo>
                    <a:pt x="96" y="13"/>
                  </a:lnTo>
                  <a:lnTo>
                    <a:pt x="97" y="11"/>
                  </a:lnTo>
                  <a:lnTo>
                    <a:pt x="97" y="11"/>
                  </a:lnTo>
                  <a:lnTo>
                    <a:pt x="98" y="13"/>
                  </a:lnTo>
                  <a:lnTo>
                    <a:pt x="100" y="13"/>
                  </a:lnTo>
                  <a:lnTo>
                    <a:pt x="101" y="13"/>
                  </a:lnTo>
                  <a:lnTo>
                    <a:pt x="102" y="13"/>
                  </a:lnTo>
                  <a:lnTo>
                    <a:pt x="103" y="11"/>
                  </a:lnTo>
                  <a:lnTo>
                    <a:pt x="104" y="10"/>
                  </a:lnTo>
                  <a:lnTo>
                    <a:pt x="105" y="9"/>
                  </a:lnTo>
                  <a:lnTo>
                    <a:pt x="107" y="9"/>
                  </a:lnTo>
                  <a:lnTo>
                    <a:pt x="107" y="9"/>
                  </a:lnTo>
                  <a:lnTo>
                    <a:pt x="108" y="9"/>
                  </a:lnTo>
                  <a:lnTo>
                    <a:pt x="109" y="9"/>
                  </a:lnTo>
                  <a:lnTo>
                    <a:pt x="110" y="9"/>
                  </a:lnTo>
                  <a:lnTo>
                    <a:pt x="111" y="9"/>
                  </a:lnTo>
                  <a:lnTo>
                    <a:pt x="114" y="9"/>
                  </a:lnTo>
                  <a:lnTo>
                    <a:pt x="115" y="8"/>
                  </a:lnTo>
                  <a:lnTo>
                    <a:pt x="115" y="8"/>
                  </a:lnTo>
                  <a:lnTo>
                    <a:pt x="115" y="7"/>
                  </a:lnTo>
                  <a:lnTo>
                    <a:pt x="115" y="7"/>
                  </a:lnTo>
                  <a:lnTo>
                    <a:pt x="115" y="6"/>
                  </a:lnTo>
                  <a:lnTo>
                    <a:pt x="115" y="4"/>
                  </a:lnTo>
                  <a:lnTo>
                    <a:pt x="115" y="3"/>
                  </a:lnTo>
                  <a:lnTo>
                    <a:pt x="115" y="3"/>
                  </a:lnTo>
                  <a:lnTo>
                    <a:pt x="115" y="2"/>
                  </a:lnTo>
                  <a:lnTo>
                    <a:pt x="115" y="1"/>
                  </a:lnTo>
                  <a:lnTo>
                    <a:pt x="115" y="0"/>
                  </a:lnTo>
                  <a:lnTo>
                    <a:pt x="115" y="0"/>
                  </a:lnTo>
                  <a:lnTo>
                    <a:pt x="115" y="0"/>
                  </a:lnTo>
                  <a:lnTo>
                    <a:pt x="115" y="0"/>
                  </a:lnTo>
                  <a:lnTo>
                    <a:pt x="115" y="0"/>
                  </a:lnTo>
                  <a:lnTo>
                    <a:pt x="116"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29" name="Freeform 988">
              <a:extLst>
                <a:ext uri="{FF2B5EF4-FFF2-40B4-BE49-F238E27FC236}">
                  <a16:creationId xmlns:a16="http://schemas.microsoft.com/office/drawing/2014/main" id="{7443CC36-C12A-4296-AFE5-186E57EA2C06}"/>
                </a:ext>
              </a:extLst>
            </p:cNvPr>
            <p:cNvSpPr>
              <a:spLocks noEditPoints="1"/>
            </p:cNvSpPr>
            <p:nvPr/>
          </p:nvSpPr>
          <p:spPr bwMode="auto">
            <a:xfrm>
              <a:off x="6428765" y="2670100"/>
              <a:ext cx="391298" cy="331201"/>
            </a:xfrm>
            <a:custGeom>
              <a:avLst/>
              <a:gdLst>
                <a:gd name="T0" fmla="*/ 113 w 293"/>
                <a:gd name="T1" fmla="*/ 244 h 248"/>
                <a:gd name="T2" fmla="*/ 113 w 293"/>
                <a:gd name="T3" fmla="*/ 241 h 248"/>
                <a:gd name="T4" fmla="*/ 36 w 293"/>
                <a:gd name="T5" fmla="*/ 105 h 248"/>
                <a:gd name="T6" fmla="*/ 34 w 293"/>
                <a:gd name="T7" fmla="*/ 104 h 248"/>
                <a:gd name="T8" fmla="*/ 35 w 293"/>
                <a:gd name="T9" fmla="*/ 102 h 248"/>
                <a:gd name="T10" fmla="*/ 30 w 293"/>
                <a:gd name="T11" fmla="*/ 98 h 248"/>
                <a:gd name="T12" fmla="*/ 65 w 293"/>
                <a:gd name="T13" fmla="*/ 1 h 248"/>
                <a:gd name="T14" fmla="*/ 86 w 293"/>
                <a:gd name="T15" fmla="*/ 10 h 248"/>
                <a:gd name="T16" fmla="*/ 103 w 293"/>
                <a:gd name="T17" fmla="*/ 22 h 248"/>
                <a:gd name="T18" fmla="*/ 122 w 293"/>
                <a:gd name="T19" fmla="*/ 36 h 248"/>
                <a:gd name="T20" fmla="*/ 140 w 293"/>
                <a:gd name="T21" fmla="*/ 46 h 248"/>
                <a:gd name="T22" fmla="*/ 159 w 293"/>
                <a:gd name="T23" fmla="*/ 48 h 248"/>
                <a:gd name="T24" fmla="*/ 174 w 293"/>
                <a:gd name="T25" fmla="*/ 56 h 248"/>
                <a:gd name="T26" fmla="*/ 190 w 293"/>
                <a:gd name="T27" fmla="*/ 63 h 248"/>
                <a:gd name="T28" fmla="*/ 192 w 293"/>
                <a:gd name="T29" fmla="*/ 67 h 248"/>
                <a:gd name="T30" fmla="*/ 197 w 293"/>
                <a:gd name="T31" fmla="*/ 72 h 248"/>
                <a:gd name="T32" fmla="*/ 199 w 293"/>
                <a:gd name="T33" fmla="*/ 76 h 248"/>
                <a:gd name="T34" fmla="*/ 202 w 293"/>
                <a:gd name="T35" fmla="*/ 78 h 248"/>
                <a:gd name="T36" fmla="*/ 212 w 293"/>
                <a:gd name="T37" fmla="*/ 86 h 248"/>
                <a:gd name="T38" fmla="*/ 213 w 293"/>
                <a:gd name="T39" fmla="*/ 93 h 248"/>
                <a:gd name="T40" fmla="*/ 213 w 293"/>
                <a:gd name="T41" fmla="*/ 97 h 248"/>
                <a:gd name="T42" fmla="*/ 216 w 293"/>
                <a:gd name="T43" fmla="*/ 104 h 248"/>
                <a:gd name="T44" fmla="*/ 222 w 293"/>
                <a:gd name="T45" fmla="*/ 114 h 248"/>
                <a:gd name="T46" fmla="*/ 231 w 293"/>
                <a:gd name="T47" fmla="*/ 119 h 248"/>
                <a:gd name="T48" fmla="*/ 233 w 293"/>
                <a:gd name="T49" fmla="*/ 123 h 248"/>
                <a:gd name="T50" fmla="*/ 242 w 293"/>
                <a:gd name="T51" fmla="*/ 134 h 248"/>
                <a:gd name="T52" fmla="*/ 258 w 293"/>
                <a:gd name="T53" fmla="*/ 146 h 248"/>
                <a:gd name="T54" fmla="*/ 285 w 293"/>
                <a:gd name="T55" fmla="*/ 149 h 248"/>
                <a:gd name="T56" fmla="*/ 292 w 293"/>
                <a:gd name="T57" fmla="*/ 170 h 248"/>
                <a:gd name="T58" fmla="*/ 278 w 293"/>
                <a:gd name="T59" fmla="*/ 195 h 248"/>
                <a:gd name="T60" fmla="*/ 248 w 293"/>
                <a:gd name="T61" fmla="*/ 207 h 248"/>
                <a:gd name="T62" fmla="*/ 217 w 293"/>
                <a:gd name="T63" fmla="*/ 212 h 248"/>
                <a:gd name="T64" fmla="*/ 192 w 293"/>
                <a:gd name="T65" fmla="*/ 226 h 248"/>
                <a:gd name="T66" fmla="*/ 174 w 293"/>
                <a:gd name="T67" fmla="*/ 234 h 248"/>
                <a:gd name="T68" fmla="*/ 144 w 293"/>
                <a:gd name="T69" fmla="*/ 232 h 248"/>
                <a:gd name="T70" fmla="*/ 129 w 293"/>
                <a:gd name="T71" fmla="*/ 232 h 248"/>
                <a:gd name="T72" fmla="*/ 127 w 293"/>
                <a:gd name="T73" fmla="*/ 246 h 248"/>
                <a:gd name="T74" fmla="*/ 122 w 293"/>
                <a:gd name="T75" fmla="*/ 242 h 248"/>
                <a:gd name="T76" fmla="*/ 116 w 293"/>
                <a:gd name="T77" fmla="*/ 233 h 248"/>
                <a:gd name="T78" fmla="*/ 106 w 293"/>
                <a:gd name="T79" fmla="*/ 221 h 248"/>
                <a:gd name="T80" fmla="*/ 100 w 293"/>
                <a:gd name="T81" fmla="*/ 210 h 248"/>
                <a:gd name="T82" fmla="*/ 95 w 293"/>
                <a:gd name="T83" fmla="*/ 200 h 248"/>
                <a:gd name="T84" fmla="*/ 88 w 293"/>
                <a:gd name="T85" fmla="*/ 191 h 248"/>
                <a:gd name="T86" fmla="*/ 77 w 293"/>
                <a:gd name="T87" fmla="*/ 184 h 248"/>
                <a:gd name="T88" fmla="*/ 70 w 293"/>
                <a:gd name="T89" fmla="*/ 174 h 248"/>
                <a:gd name="T90" fmla="*/ 69 w 293"/>
                <a:gd name="T91" fmla="*/ 164 h 248"/>
                <a:gd name="T92" fmla="*/ 67 w 293"/>
                <a:gd name="T93" fmla="*/ 156 h 248"/>
                <a:gd name="T94" fmla="*/ 66 w 293"/>
                <a:gd name="T95" fmla="*/ 147 h 248"/>
                <a:gd name="T96" fmla="*/ 63 w 293"/>
                <a:gd name="T97" fmla="*/ 141 h 248"/>
                <a:gd name="T98" fmla="*/ 55 w 293"/>
                <a:gd name="T99" fmla="*/ 129 h 248"/>
                <a:gd name="T100" fmla="*/ 48 w 293"/>
                <a:gd name="T101" fmla="*/ 123 h 248"/>
                <a:gd name="T102" fmla="*/ 41 w 293"/>
                <a:gd name="T103" fmla="*/ 113 h 248"/>
                <a:gd name="T104" fmla="*/ 34 w 293"/>
                <a:gd name="T105" fmla="*/ 101 h 248"/>
                <a:gd name="T106" fmla="*/ 28 w 293"/>
                <a:gd name="T107" fmla="*/ 92 h 248"/>
                <a:gd name="T108" fmla="*/ 17 w 293"/>
                <a:gd name="T109" fmla="*/ 77 h 248"/>
                <a:gd name="T110" fmla="*/ 8 w 293"/>
                <a:gd name="T111" fmla="*/ 65 h 248"/>
                <a:gd name="T112" fmla="*/ 0 w 293"/>
                <a:gd name="T113" fmla="*/ 64 h 248"/>
                <a:gd name="T114" fmla="*/ 2 w 293"/>
                <a:gd name="T115" fmla="*/ 52 h 248"/>
                <a:gd name="T116" fmla="*/ 14 w 293"/>
                <a:gd name="T117" fmla="*/ 45 h 248"/>
                <a:gd name="T118" fmla="*/ 28 w 293"/>
                <a:gd name="T119" fmla="*/ 35 h 248"/>
                <a:gd name="T120" fmla="*/ 41 w 293"/>
                <a:gd name="T121" fmla="*/ 24 h 248"/>
                <a:gd name="T122" fmla="*/ 42 w 293"/>
                <a:gd name="T123" fmla="*/ 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3" h="248">
                  <a:moveTo>
                    <a:pt x="112" y="242"/>
                  </a:moveTo>
                  <a:lnTo>
                    <a:pt x="113" y="242"/>
                  </a:lnTo>
                  <a:lnTo>
                    <a:pt x="113" y="244"/>
                  </a:lnTo>
                  <a:lnTo>
                    <a:pt x="114" y="242"/>
                  </a:lnTo>
                  <a:lnTo>
                    <a:pt x="113" y="242"/>
                  </a:lnTo>
                  <a:lnTo>
                    <a:pt x="113" y="241"/>
                  </a:lnTo>
                  <a:lnTo>
                    <a:pt x="114" y="241"/>
                  </a:lnTo>
                  <a:lnTo>
                    <a:pt x="114" y="242"/>
                  </a:lnTo>
                  <a:lnTo>
                    <a:pt x="115" y="242"/>
                  </a:lnTo>
                  <a:lnTo>
                    <a:pt x="115" y="244"/>
                  </a:lnTo>
                  <a:lnTo>
                    <a:pt x="115" y="245"/>
                  </a:lnTo>
                  <a:lnTo>
                    <a:pt x="114" y="245"/>
                  </a:lnTo>
                  <a:lnTo>
                    <a:pt x="114" y="244"/>
                  </a:lnTo>
                  <a:lnTo>
                    <a:pt x="113" y="244"/>
                  </a:lnTo>
                  <a:lnTo>
                    <a:pt x="112" y="244"/>
                  </a:lnTo>
                  <a:lnTo>
                    <a:pt x="110" y="242"/>
                  </a:lnTo>
                  <a:lnTo>
                    <a:pt x="110" y="241"/>
                  </a:lnTo>
                  <a:lnTo>
                    <a:pt x="109" y="241"/>
                  </a:lnTo>
                  <a:lnTo>
                    <a:pt x="109" y="240"/>
                  </a:lnTo>
                  <a:lnTo>
                    <a:pt x="110" y="241"/>
                  </a:lnTo>
                  <a:lnTo>
                    <a:pt x="110" y="242"/>
                  </a:lnTo>
                  <a:lnTo>
                    <a:pt x="112" y="242"/>
                  </a:lnTo>
                  <a:close/>
                  <a:moveTo>
                    <a:pt x="112" y="239"/>
                  </a:moveTo>
                  <a:lnTo>
                    <a:pt x="112" y="240"/>
                  </a:lnTo>
                  <a:lnTo>
                    <a:pt x="113" y="240"/>
                  </a:lnTo>
                  <a:lnTo>
                    <a:pt x="113" y="241"/>
                  </a:lnTo>
                  <a:lnTo>
                    <a:pt x="112" y="241"/>
                  </a:lnTo>
                  <a:lnTo>
                    <a:pt x="113" y="241"/>
                  </a:lnTo>
                  <a:lnTo>
                    <a:pt x="113" y="242"/>
                  </a:lnTo>
                  <a:lnTo>
                    <a:pt x="112" y="242"/>
                  </a:lnTo>
                  <a:lnTo>
                    <a:pt x="112" y="241"/>
                  </a:lnTo>
                  <a:lnTo>
                    <a:pt x="110" y="241"/>
                  </a:lnTo>
                  <a:lnTo>
                    <a:pt x="110" y="240"/>
                  </a:lnTo>
                  <a:lnTo>
                    <a:pt x="112" y="240"/>
                  </a:lnTo>
                  <a:lnTo>
                    <a:pt x="112" y="239"/>
                  </a:lnTo>
                  <a:lnTo>
                    <a:pt x="110" y="239"/>
                  </a:lnTo>
                  <a:lnTo>
                    <a:pt x="112" y="239"/>
                  </a:lnTo>
                  <a:close/>
                  <a:moveTo>
                    <a:pt x="36" y="105"/>
                  </a:moveTo>
                  <a:lnTo>
                    <a:pt x="36" y="106"/>
                  </a:lnTo>
                  <a:lnTo>
                    <a:pt x="36" y="105"/>
                  </a:lnTo>
                  <a:lnTo>
                    <a:pt x="35" y="105"/>
                  </a:lnTo>
                  <a:lnTo>
                    <a:pt x="36" y="105"/>
                  </a:lnTo>
                  <a:close/>
                  <a:moveTo>
                    <a:pt x="34" y="105"/>
                  </a:moveTo>
                  <a:lnTo>
                    <a:pt x="35" y="105"/>
                  </a:lnTo>
                  <a:lnTo>
                    <a:pt x="35" y="106"/>
                  </a:lnTo>
                  <a:lnTo>
                    <a:pt x="35" y="105"/>
                  </a:lnTo>
                  <a:lnTo>
                    <a:pt x="35" y="106"/>
                  </a:lnTo>
                  <a:lnTo>
                    <a:pt x="34" y="106"/>
                  </a:lnTo>
                  <a:lnTo>
                    <a:pt x="34" y="105"/>
                  </a:lnTo>
                  <a:lnTo>
                    <a:pt x="32" y="105"/>
                  </a:lnTo>
                  <a:lnTo>
                    <a:pt x="32" y="104"/>
                  </a:lnTo>
                  <a:lnTo>
                    <a:pt x="32" y="105"/>
                  </a:lnTo>
                  <a:lnTo>
                    <a:pt x="34" y="105"/>
                  </a:lnTo>
                  <a:close/>
                  <a:moveTo>
                    <a:pt x="34" y="104"/>
                  </a:moveTo>
                  <a:lnTo>
                    <a:pt x="34" y="102"/>
                  </a:lnTo>
                  <a:lnTo>
                    <a:pt x="34" y="104"/>
                  </a:lnTo>
                  <a:close/>
                  <a:moveTo>
                    <a:pt x="32" y="102"/>
                  </a:moveTo>
                  <a:lnTo>
                    <a:pt x="32" y="104"/>
                  </a:lnTo>
                  <a:lnTo>
                    <a:pt x="34" y="104"/>
                  </a:lnTo>
                  <a:lnTo>
                    <a:pt x="34" y="105"/>
                  </a:lnTo>
                  <a:lnTo>
                    <a:pt x="32" y="105"/>
                  </a:lnTo>
                  <a:lnTo>
                    <a:pt x="32" y="104"/>
                  </a:lnTo>
                  <a:lnTo>
                    <a:pt x="31" y="104"/>
                  </a:lnTo>
                  <a:lnTo>
                    <a:pt x="31" y="102"/>
                  </a:lnTo>
                  <a:lnTo>
                    <a:pt x="32" y="102"/>
                  </a:lnTo>
                  <a:close/>
                  <a:moveTo>
                    <a:pt x="35" y="102"/>
                  </a:moveTo>
                  <a:lnTo>
                    <a:pt x="35" y="104"/>
                  </a:lnTo>
                  <a:lnTo>
                    <a:pt x="35" y="102"/>
                  </a:lnTo>
                  <a:lnTo>
                    <a:pt x="34" y="102"/>
                  </a:lnTo>
                  <a:lnTo>
                    <a:pt x="35" y="102"/>
                  </a:lnTo>
                  <a:close/>
                  <a:moveTo>
                    <a:pt x="30" y="102"/>
                  </a:moveTo>
                  <a:lnTo>
                    <a:pt x="31" y="102"/>
                  </a:lnTo>
                  <a:lnTo>
                    <a:pt x="31" y="104"/>
                  </a:lnTo>
                  <a:lnTo>
                    <a:pt x="30" y="102"/>
                  </a:lnTo>
                  <a:lnTo>
                    <a:pt x="29" y="102"/>
                  </a:lnTo>
                  <a:lnTo>
                    <a:pt x="29" y="101"/>
                  </a:lnTo>
                  <a:lnTo>
                    <a:pt x="29" y="102"/>
                  </a:lnTo>
                  <a:lnTo>
                    <a:pt x="30" y="102"/>
                  </a:lnTo>
                  <a:close/>
                  <a:moveTo>
                    <a:pt x="30" y="100"/>
                  </a:moveTo>
                  <a:lnTo>
                    <a:pt x="30" y="101"/>
                  </a:lnTo>
                  <a:lnTo>
                    <a:pt x="29" y="100"/>
                  </a:lnTo>
                  <a:lnTo>
                    <a:pt x="29" y="99"/>
                  </a:lnTo>
                  <a:lnTo>
                    <a:pt x="30" y="99"/>
                  </a:lnTo>
                  <a:lnTo>
                    <a:pt x="30" y="98"/>
                  </a:lnTo>
                  <a:lnTo>
                    <a:pt x="29" y="99"/>
                  </a:lnTo>
                  <a:lnTo>
                    <a:pt x="29" y="100"/>
                  </a:lnTo>
                  <a:lnTo>
                    <a:pt x="30" y="100"/>
                  </a:lnTo>
                  <a:close/>
                  <a:moveTo>
                    <a:pt x="202" y="74"/>
                  </a:moveTo>
                  <a:lnTo>
                    <a:pt x="204" y="74"/>
                  </a:lnTo>
                  <a:lnTo>
                    <a:pt x="204" y="76"/>
                  </a:lnTo>
                  <a:lnTo>
                    <a:pt x="205" y="76"/>
                  </a:lnTo>
                  <a:lnTo>
                    <a:pt x="204" y="76"/>
                  </a:lnTo>
                  <a:lnTo>
                    <a:pt x="202" y="76"/>
                  </a:lnTo>
                  <a:lnTo>
                    <a:pt x="202" y="74"/>
                  </a:lnTo>
                  <a:lnTo>
                    <a:pt x="201" y="76"/>
                  </a:lnTo>
                  <a:lnTo>
                    <a:pt x="201" y="74"/>
                  </a:lnTo>
                  <a:lnTo>
                    <a:pt x="202" y="74"/>
                  </a:lnTo>
                  <a:close/>
                  <a:moveTo>
                    <a:pt x="65" y="1"/>
                  </a:moveTo>
                  <a:lnTo>
                    <a:pt x="66" y="1"/>
                  </a:lnTo>
                  <a:lnTo>
                    <a:pt x="71" y="2"/>
                  </a:lnTo>
                  <a:lnTo>
                    <a:pt x="72" y="2"/>
                  </a:lnTo>
                  <a:lnTo>
                    <a:pt x="73" y="3"/>
                  </a:lnTo>
                  <a:lnTo>
                    <a:pt x="74" y="3"/>
                  </a:lnTo>
                  <a:lnTo>
                    <a:pt x="76" y="5"/>
                  </a:lnTo>
                  <a:lnTo>
                    <a:pt x="77" y="6"/>
                  </a:lnTo>
                  <a:lnTo>
                    <a:pt x="78" y="6"/>
                  </a:lnTo>
                  <a:lnTo>
                    <a:pt x="79" y="7"/>
                  </a:lnTo>
                  <a:lnTo>
                    <a:pt x="80" y="7"/>
                  </a:lnTo>
                  <a:lnTo>
                    <a:pt x="81" y="8"/>
                  </a:lnTo>
                  <a:lnTo>
                    <a:pt x="82" y="9"/>
                  </a:lnTo>
                  <a:lnTo>
                    <a:pt x="84" y="9"/>
                  </a:lnTo>
                  <a:lnTo>
                    <a:pt x="86" y="10"/>
                  </a:lnTo>
                  <a:lnTo>
                    <a:pt x="87" y="10"/>
                  </a:lnTo>
                  <a:lnTo>
                    <a:pt x="88" y="11"/>
                  </a:lnTo>
                  <a:lnTo>
                    <a:pt x="89" y="13"/>
                  </a:lnTo>
                  <a:lnTo>
                    <a:pt x="91" y="13"/>
                  </a:lnTo>
                  <a:lnTo>
                    <a:pt x="92" y="14"/>
                  </a:lnTo>
                  <a:lnTo>
                    <a:pt x="93" y="14"/>
                  </a:lnTo>
                  <a:lnTo>
                    <a:pt x="94" y="15"/>
                  </a:lnTo>
                  <a:lnTo>
                    <a:pt x="95" y="16"/>
                  </a:lnTo>
                  <a:lnTo>
                    <a:pt x="96" y="16"/>
                  </a:lnTo>
                  <a:lnTo>
                    <a:pt x="98" y="17"/>
                  </a:lnTo>
                  <a:lnTo>
                    <a:pt x="99" y="18"/>
                  </a:lnTo>
                  <a:lnTo>
                    <a:pt x="100" y="20"/>
                  </a:lnTo>
                  <a:lnTo>
                    <a:pt x="101" y="21"/>
                  </a:lnTo>
                  <a:lnTo>
                    <a:pt x="103" y="22"/>
                  </a:lnTo>
                  <a:lnTo>
                    <a:pt x="105" y="23"/>
                  </a:lnTo>
                  <a:lnTo>
                    <a:pt x="106" y="24"/>
                  </a:lnTo>
                  <a:lnTo>
                    <a:pt x="107" y="25"/>
                  </a:lnTo>
                  <a:lnTo>
                    <a:pt x="108" y="27"/>
                  </a:lnTo>
                  <a:lnTo>
                    <a:pt x="110" y="27"/>
                  </a:lnTo>
                  <a:lnTo>
                    <a:pt x="112" y="28"/>
                  </a:lnTo>
                  <a:lnTo>
                    <a:pt x="113" y="29"/>
                  </a:lnTo>
                  <a:lnTo>
                    <a:pt x="114" y="30"/>
                  </a:lnTo>
                  <a:lnTo>
                    <a:pt x="115" y="31"/>
                  </a:lnTo>
                  <a:lnTo>
                    <a:pt x="117" y="32"/>
                  </a:lnTo>
                  <a:lnTo>
                    <a:pt x="119" y="34"/>
                  </a:lnTo>
                  <a:lnTo>
                    <a:pt x="121" y="35"/>
                  </a:lnTo>
                  <a:lnTo>
                    <a:pt x="121" y="36"/>
                  </a:lnTo>
                  <a:lnTo>
                    <a:pt x="122" y="36"/>
                  </a:lnTo>
                  <a:lnTo>
                    <a:pt x="124" y="38"/>
                  </a:lnTo>
                  <a:lnTo>
                    <a:pt x="126" y="39"/>
                  </a:lnTo>
                  <a:lnTo>
                    <a:pt x="127" y="41"/>
                  </a:lnTo>
                  <a:lnTo>
                    <a:pt x="129" y="42"/>
                  </a:lnTo>
                  <a:lnTo>
                    <a:pt x="130" y="43"/>
                  </a:lnTo>
                  <a:lnTo>
                    <a:pt x="131" y="43"/>
                  </a:lnTo>
                  <a:lnTo>
                    <a:pt x="133" y="44"/>
                  </a:lnTo>
                  <a:lnTo>
                    <a:pt x="134" y="45"/>
                  </a:lnTo>
                  <a:lnTo>
                    <a:pt x="135" y="45"/>
                  </a:lnTo>
                  <a:lnTo>
                    <a:pt x="136" y="45"/>
                  </a:lnTo>
                  <a:lnTo>
                    <a:pt x="137" y="45"/>
                  </a:lnTo>
                  <a:lnTo>
                    <a:pt x="137" y="46"/>
                  </a:lnTo>
                  <a:lnTo>
                    <a:pt x="138" y="46"/>
                  </a:lnTo>
                  <a:lnTo>
                    <a:pt x="140" y="46"/>
                  </a:lnTo>
                  <a:lnTo>
                    <a:pt x="142" y="46"/>
                  </a:lnTo>
                  <a:lnTo>
                    <a:pt x="143" y="46"/>
                  </a:lnTo>
                  <a:lnTo>
                    <a:pt x="144" y="46"/>
                  </a:lnTo>
                  <a:lnTo>
                    <a:pt x="145" y="46"/>
                  </a:lnTo>
                  <a:lnTo>
                    <a:pt x="146" y="46"/>
                  </a:lnTo>
                  <a:lnTo>
                    <a:pt x="149" y="46"/>
                  </a:lnTo>
                  <a:lnTo>
                    <a:pt x="150" y="46"/>
                  </a:lnTo>
                  <a:lnTo>
                    <a:pt x="151" y="48"/>
                  </a:lnTo>
                  <a:lnTo>
                    <a:pt x="152" y="48"/>
                  </a:lnTo>
                  <a:lnTo>
                    <a:pt x="153" y="48"/>
                  </a:lnTo>
                  <a:lnTo>
                    <a:pt x="155" y="48"/>
                  </a:lnTo>
                  <a:lnTo>
                    <a:pt x="157" y="48"/>
                  </a:lnTo>
                  <a:lnTo>
                    <a:pt x="158" y="48"/>
                  </a:lnTo>
                  <a:lnTo>
                    <a:pt x="159" y="48"/>
                  </a:lnTo>
                  <a:lnTo>
                    <a:pt x="160" y="48"/>
                  </a:lnTo>
                  <a:lnTo>
                    <a:pt x="162" y="48"/>
                  </a:lnTo>
                  <a:lnTo>
                    <a:pt x="164" y="48"/>
                  </a:lnTo>
                  <a:lnTo>
                    <a:pt x="165" y="48"/>
                  </a:lnTo>
                  <a:lnTo>
                    <a:pt x="166" y="48"/>
                  </a:lnTo>
                  <a:lnTo>
                    <a:pt x="167" y="49"/>
                  </a:lnTo>
                  <a:lnTo>
                    <a:pt x="169" y="49"/>
                  </a:lnTo>
                  <a:lnTo>
                    <a:pt x="171" y="49"/>
                  </a:lnTo>
                  <a:lnTo>
                    <a:pt x="172" y="50"/>
                  </a:lnTo>
                  <a:lnTo>
                    <a:pt x="173" y="52"/>
                  </a:lnTo>
                  <a:lnTo>
                    <a:pt x="173" y="53"/>
                  </a:lnTo>
                  <a:lnTo>
                    <a:pt x="173" y="55"/>
                  </a:lnTo>
                  <a:lnTo>
                    <a:pt x="174" y="55"/>
                  </a:lnTo>
                  <a:lnTo>
                    <a:pt x="174" y="56"/>
                  </a:lnTo>
                  <a:lnTo>
                    <a:pt x="176" y="56"/>
                  </a:lnTo>
                  <a:lnTo>
                    <a:pt x="178" y="56"/>
                  </a:lnTo>
                  <a:lnTo>
                    <a:pt x="180" y="56"/>
                  </a:lnTo>
                  <a:lnTo>
                    <a:pt x="183" y="56"/>
                  </a:lnTo>
                  <a:lnTo>
                    <a:pt x="185" y="56"/>
                  </a:lnTo>
                  <a:lnTo>
                    <a:pt x="186" y="56"/>
                  </a:lnTo>
                  <a:lnTo>
                    <a:pt x="186" y="57"/>
                  </a:lnTo>
                  <a:lnTo>
                    <a:pt x="187" y="58"/>
                  </a:lnTo>
                  <a:lnTo>
                    <a:pt x="186" y="58"/>
                  </a:lnTo>
                  <a:lnTo>
                    <a:pt x="187" y="58"/>
                  </a:lnTo>
                  <a:lnTo>
                    <a:pt x="187" y="59"/>
                  </a:lnTo>
                  <a:lnTo>
                    <a:pt x="188" y="62"/>
                  </a:lnTo>
                  <a:lnTo>
                    <a:pt x="188" y="63"/>
                  </a:lnTo>
                  <a:lnTo>
                    <a:pt x="190" y="63"/>
                  </a:lnTo>
                  <a:lnTo>
                    <a:pt x="190" y="64"/>
                  </a:lnTo>
                  <a:lnTo>
                    <a:pt x="191" y="64"/>
                  </a:lnTo>
                  <a:lnTo>
                    <a:pt x="191" y="65"/>
                  </a:lnTo>
                  <a:lnTo>
                    <a:pt x="192" y="66"/>
                  </a:lnTo>
                  <a:lnTo>
                    <a:pt x="193" y="67"/>
                  </a:lnTo>
                  <a:lnTo>
                    <a:pt x="193" y="69"/>
                  </a:lnTo>
                  <a:lnTo>
                    <a:pt x="192" y="69"/>
                  </a:lnTo>
                  <a:lnTo>
                    <a:pt x="193" y="69"/>
                  </a:lnTo>
                  <a:lnTo>
                    <a:pt x="192" y="69"/>
                  </a:lnTo>
                  <a:lnTo>
                    <a:pt x="192" y="67"/>
                  </a:lnTo>
                  <a:lnTo>
                    <a:pt x="193" y="67"/>
                  </a:lnTo>
                  <a:lnTo>
                    <a:pt x="192" y="67"/>
                  </a:lnTo>
                  <a:lnTo>
                    <a:pt x="192" y="69"/>
                  </a:lnTo>
                  <a:lnTo>
                    <a:pt x="192" y="67"/>
                  </a:lnTo>
                  <a:lnTo>
                    <a:pt x="192" y="69"/>
                  </a:lnTo>
                  <a:lnTo>
                    <a:pt x="192" y="70"/>
                  </a:lnTo>
                  <a:lnTo>
                    <a:pt x="192" y="69"/>
                  </a:lnTo>
                  <a:lnTo>
                    <a:pt x="193" y="70"/>
                  </a:lnTo>
                  <a:lnTo>
                    <a:pt x="193" y="71"/>
                  </a:lnTo>
                  <a:lnTo>
                    <a:pt x="193" y="70"/>
                  </a:lnTo>
                  <a:lnTo>
                    <a:pt x="193" y="71"/>
                  </a:lnTo>
                  <a:lnTo>
                    <a:pt x="194" y="71"/>
                  </a:lnTo>
                  <a:lnTo>
                    <a:pt x="193" y="71"/>
                  </a:lnTo>
                  <a:lnTo>
                    <a:pt x="194" y="71"/>
                  </a:lnTo>
                  <a:lnTo>
                    <a:pt x="195" y="71"/>
                  </a:lnTo>
                  <a:lnTo>
                    <a:pt x="195" y="72"/>
                  </a:lnTo>
                  <a:lnTo>
                    <a:pt x="195" y="71"/>
                  </a:lnTo>
                  <a:lnTo>
                    <a:pt x="197" y="72"/>
                  </a:lnTo>
                  <a:lnTo>
                    <a:pt x="198" y="71"/>
                  </a:lnTo>
                  <a:lnTo>
                    <a:pt x="198" y="72"/>
                  </a:lnTo>
                  <a:lnTo>
                    <a:pt x="199" y="72"/>
                  </a:lnTo>
                  <a:lnTo>
                    <a:pt x="199" y="73"/>
                  </a:lnTo>
                  <a:lnTo>
                    <a:pt x="198" y="73"/>
                  </a:lnTo>
                  <a:lnTo>
                    <a:pt x="197" y="73"/>
                  </a:lnTo>
                  <a:lnTo>
                    <a:pt x="198" y="73"/>
                  </a:lnTo>
                  <a:lnTo>
                    <a:pt x="198" y="74"/>
                  </a:lnTo>
                  <a:lnTo>
                    <a:pt x="198" y="73"/>
                  </a:lnTo>
                  <a:lnTo>
                    <a:pt x="199" y="73"/>
                  </a:lnTo>
                  <a:lnTo>
                    <a:pt x="199" y="74"/>
                  </a:lnTo>
                  <a:lnTo>
                    <a:pt x="198" y="74"/>
                  </a:lnTo>
                  <a:lnTo>
                    <a:pt x="199" y="74"/>
                  </a:lnTo>
                  <a:lnTo>
                    <a:pt x="199" y="76"/>
                  </a:lnTo>
                  <a:lnTo>
                    <a:pt x="199" y="74"/>
                  </a:lnTo>
                  <a:lnTo>
                    <a:pt x="200" y="74"/>
                  </a:lnTo>
                  <a:lnTo>
                    <a:pt x="199" y="76"/>
                  </a:lnTo>
                  <a:lnTo>
                    <a:pt x="200" y="76"/>
                  </a:lnTo>
                  <a:lnTo>
                    <a:pt x="200" y="77"/>
                  </a:lnTo>
                  <a:lnTo>
                    <a:pt x="200" y="78"/>
                  </a:lnTo>
                  <a:lnTo>
                    <a:pt x="200" y="77"/>
                  </a:lnTo>
                  <a:lnTo>
                    <a:pt x="201" y="77"/>
                  </a:lnTo>
                  <a:lnTo>
                    <a:pt x="201" y="78"/>
                  </a:lnTo>
                  <a:lnTo>
                    <a:pt x="200" y="78"/>
                  </a:lnTo>
                  <a:lnTo>
                    <a:pt x="201" y="78"/>
                  </a:lnTo>
                  <a:lnTo>
                    <a:pt x="202" y="78"/>
                  </a:lnTo>
                  <a:lnTo>
                    <a:pt x="202" y="77"/>
                  </a:lnTo>
                  <a:lnTo>
                    <a:pt x="202" y="78"/>
                  </a:lnTo>
                  <a:lnTo>
                    <a:pt x="204" y="78"/>
                  </a:lnTo>
                  <a:lnTo>
                    <a:pt x="204" y="77"/>
                  </a:lnTo>
                  <a:lnTo>
                    <a:pt x="204" y="78"/>
                  </a:lnTo>
                  <a:lnTo>
                    <a:pt x="204" y="79"/>
                  </a:lnTo>
                  <a:lnTo>
                    <a:pt x="205" y="80"/>
                  </a:lnTo>
                  <a:lnTo>
                    <a:pt x="206" y="81"/>
                  </a:lnTo>
                  <a:lnTo>
                    <a:pt x="207" y="83"/>
                  </a:lnTo>
                  <a:lnTo>
                    <a:pt x="208" y="83"/>
                  </a:lnTo>
                  <a:lnTo>
                    <a:pt x="209" y="83"/>
                  </a:lnTo>
                  <a:lnTo>
                    <a:pt x="209" y="84"/>
                  </a:lnTo>
                  <a:lnTo>
                    <a:pt x="210" y="84"/>
                  </a:lnTo>
                  <a:lnTo>
                    <a:pt x="210" y="85"/>
                  </a:lnTo>
                  <a:lnTo>
                    <a:pt x="212" y="85"/>
                  </a:lnTo>
                  <a:lnTo>
                    <a:pt x="212" y="86"/>
                  </a:lnTo>
                  <a:lnTo>
                    <a:pt x="212" y="85"/>
                  </a:lnTo>
                  <a:lnTo>
                    <a:pt x="210" y="85"/>
                  </a:lnTo>
                  <a:lnTo>
                    <a:pt x="209" y="84"/>
                  </a:lnTo>
                  <a:lnTo>
                    <a:pt x="209" y="85"/>
                  </a:lnTo>
                  <a:lnTo>
                    <a:pt x="209" y="86"/>
                  </a:lnTo>
                  <a:lnTo>
                    <a:pt x="210" y="86"/>
                  </a:lnTo>
                  <a:lnTo>
                    <a:pt x="210" y="87"/>
                  </a:lnTo>
                  <a:lnTo>
                    <a:pt x="210" y="88"/>
                  </a:lnTo>
                  <a:lnTo>
                    <a:pt x="212" y="88"/>
                  </a:lnTo>
                  <a:lnTo>
                    <a:pt x="213" y="90"/>
                  </a:lnTo>
                  <a:lnTo>
                    <a:pt x="213" y="91"/>
                  </a:lnTo>
                  <a:lnTo>
                    <a:pt x="214" y="91"/>
                  </a:lnTo>
                  <a:lnTo>
                    <a:pt x="214" y="93"/>
                  </a:lnTo>
                  <a:lnTo>
                    <a:pt x="213" y="93"/>
                  </a:lnTo>
                  <a:lnTo>
                    <a:pt x="213" y="94"/>
                  </a:lnTo>
                  <a:lnTo>
                    <a:pt x="213" y="95"/>
                  </a:lnTo>
                  <a:lnTo>
                    <a:pt x="213" y="94"/>
                  </a:lnTo>
                  <a:lnTo>
                    <a:pt x="212" y="94"/>
                  </a:lnTo>
                  <a:lnTo>
                    <a:pt x="212" y="93"/>
                  </a:lnTo>
                  <a:lnTo>
                    <a:pt x="210" y="93"/>
                  </a:lnTo>
                  <a:lnTo>
                    <a:pt x="210" y="94"/>
                  </a:lnTo>
                  <a:lnTo>
                    <a:pt x="212" y="95"/>
                  </a:lnTo>
                  <a:lnTo>
                    <a:pt x="210" y="95"/>
                  </a:lnTo>
                  <a:lnTo>
                    <a:pt x="210" y="97"/>
                  </a:lnTo>
                  <a:lnTo>
                    <a:pt x="212" y="97"/>
                  </a:lnTo>
                  <a:lnTo>
                    <a:pt x="212" y="95"/>
                  </a:lnTo>
                  <a:lnTo>
                    <a:pt x="212" y="97"/>
                  </a:lnTo>
                  <a:lnTo>
                    <a:pt x="213" y="97"/>
                  </a:lnTo>
                  <a:lnTo>
                    <a:pt x="213" y="98"/>
                  </a:lnTo>
                  <a:lnTo>
                    <a:pt x="213" y="99"/>
                  </a:lnTo>
                  <a:lnTo>
                    <a:pt x="214" y="100"/>
                  </a:lnTo>
                  <a:lnTo>
                    <a:pt x="215" y="101"/>
                  </a:lnTo>
                  <a:lnTo>
                    <a:pt x="215" y="102"/>
                  </a:lnTo>
                  <a:lnTo>
                    <a:pt x="215" y="101"/>
                  </a:lnTo>
                  <a:lnTo>
                    <a:pt x="214" y="101"/>
                  </a:lnTo>
                  <a:lnTo>
                    <a:pt x="214" y="100"/>
                  </a:lnTo>
                  <a:lnTo>
                    <a:pt x="214" y="101"/>
                  </a:lnTo>
                  <a:lnTo>
                    <a:pt x="215" y="102"/>
                  </a:lnTo>
                  <a:lnTo>
                    <a:pt x="216" y="105"/>
                  </a:lnTo>
                  <a:lnTo>
                    <a:pt x="217" y="105"/>
                  </a:lnTo>
                  <a:lnTo>
                    <a:pt x="216" y="105"/>
                  </a:lnTo>
                  <a:lnTo>
                    <a:pt x="216" y="104"/>
                  </a:lnTo>
                  <a:lnTo>
                    <a:pt x="217" y="104"/>
                  </a:lnTo>
                  <a:lnTo>
                    <a:pt x="217" y="105"/>
                  </a:lnTo>
                  <a:lnTo>
                    <a:pt x="219" y="105"/>
                  </a:lnTo>
                  <a:lnTo>
                    <a:pt x="219" y="106"/>
                  </a:lnTo>
                  <a:lnTo>
                    <a:pt x="220" y="107"/>
                  </a:lnTo>
                  <a:lnTo>
                    <a:pt x="220" y="108"/>
                  </a:lnTo>
                  <a:lnTo>
                    <a:pt x="220" y="109"/>
                  </a:lnTo>
                  <a:lnTo>
                    <a:pt x="220" y="111"/>
                  </a:lnTo>
                  <a:lnTo>
                    <a:pt x="220" y="112"/>
                  </a:lnTo>
                  <a:lnTo>
                    <a:pt x="221" y="111"/>
                  </a:lnTo>
                  <a:lnTo>
                    <a:pt x="221" y="112"/>
                  </a:lnTo>
                  <a:lnTo>
                    <a:pt x="222" y="112"/>
                  </a:lnTo>
                  <a:lnTo>
                    <a:pt x="222" y="113"/>
                  </a:lnTo>
                  <a:lnTo>
                    <a:pt x="222" y="114"/>
                  </a:lnTo>
                  <a:lnTo>
                    <a:pt x="223" y="114"/>
                  </a:lnTo>
                  <a:lnTo>
                    <a:pt x="223" y="115"/>
                  </a:lnTo>
                  <a:lnTo>
                    <a:pt x="223" y="116"/>
                  </a:lnTo>
                  <a:lnTo>
                    <a:pt x="224" y="116"/>
                  </a:lnTo>
                  <a:lnTo>
                    <a:pt x="226" y="118"/>
                  </a:lnTo>
                  <a:lnTo>
                    <a:pt x="226" y="119"/>
                  </a:lnTo>
                  <a:lnTo>
                    <a:pt x="227" y="119"/>
                  </a:lnTo>
                  <a:lnTo>
                    <a:pt x="228" y="119"/>
                  </a:lnTo>
                  <a:lnTo>
                    <a:pt x="229" y="119"/>
                  </a:lnTo>
                  <a:lnTo>
                    <a:pt x="229" y="118"/>
                  </a:lnTo>
                  <a:lnTo>
                    <a:pt x="230" y="118"/>
                  </a:lnTo>
                  <a:lnTo>
                    <a:pt x="230" y="119"/>
                  </a:lnTo>
                  <a:lnTo>
                    <a:pt x="231" y="118"/>
                  </a:lnTo>
                  <a:lnTo>
                    <a:pt x="231" y="119"/>
                  </a:lnTo>
                  <a:lnTo>
                    <a:pt x="230" y="119"/>
                  </a:lnTo>
                  <a:lnTo>
                    <a:pt x="231" y="119"/>
                  </a:lnTo>
                  <a:lnTo>
                    <a:pt x="231" y="120"/>
                  </a:lnTo>
                  <a:lnTo>
                    <a:pt x="231" y="119"/>
                  </a:lnTo>
                  <a:lnTo>
                    <a:pt x="233" y="119"/>
                  </a:lnTo>
                  <a:lnTo>
                    <a:pt x="233" y="118"/>
                  </a:lnTo>
                  <a:lnTo>
                    <a:pt x="233" y="119"/>
                  </a:lnTo>
                  <a:lnTo>
                    <a:pt x="234" y="119"/>
                  </a:lnTo>
                  <a:lnTo>
                    <a:pt x="233" y="119"/>
                  </a:lnTo>
                  <a:lnTo>
                    <a:pt x="233" y="120"/>
                  </a:lnTo>
                  <a:lnTo>
                    <a:pt x="231" y="121"/>
                  </a:lnTo>
                  <a:lnTo>
                    <a:pt x="231" y="122"/>
                  </a:lnTo>
                  <a:lnTo>
                    <a:pt x="231" y="123"/>
                  </a:lnTo>
                  <a:lnTo>
                    <a:pt x="233" y="123"/>
                  </a:lnTo>
                  <a:lnTo>
                    <a:pt x="233" y="122"/>
                  </a:lnTo>
                  <a:lnTo>
                    <a:pt x="234" y="123"/>
                  </a:lnTo>
                  <a:lnTo>
                    <a:pt x="235" y="123"/>
                  </a:lnTo>
                  <a:lnTo>
                    <a:pt x="235" y="125"/>
                  </a:lnTo>
                  <a:lnTo>
                    <a:pt x="235" y="126"/>
                  </a:lnTo>
                  <a:lnTo>
                    <a:pt x="236" y="127"/>
                  </a:lnTo>
                  <a:lnTo>
                    <a:pt x="236" y="128"/>
                  </a:lnTo>
                  <a:lnTo>
                    <a:pt x="237" y="128"/>
                  </a:lnTo>
                  <a:lnTo>
                    <a:pt x="238" y="129"/>
                  </a:lnTo>
                  <a:lnTo>
                    <a:pt x="238" y="130"/>
                  </a:lnTo>
                  <a:lnTo>
                    <a:pt x="240" y="132"/>
                  </a:lnTo>
                  <a:lnTo>
                    <a:pt x="241" y="133"/>
                  </a:lnTo>
                  <a:lnTo>
                    <a:pt x="241" y="134"/>
                  </a:lnTo>
                  <a:lnTo>
                    <a:pt x="242" y="134"/>
                  </a:lnTo>
                  <a:lnTo>
                    <a:pt x="243" y="135"/>
                  </a:lnTo>
                  <a:lnTo>
                    <a:pt x="243" y="136"/>
                  </a:lnTo>
                  <a:lnTo>
                    <a:pt x="244" y="137"/>
                  </a:lnTo>
                  <a:lnTo>
                    <a:pt x="245" y="139"/>
                  </a:lnTo>
                  <a:lnTo>
                    <a:pt x="247" y="140"/>
                  </a:lnTo>
                  <a:lnTo>
                    <a:pt x="247" y="141"/>
                  </a:lnTo>
                  <a:lnTo>
                    <a:pt x="248" y="141"/>
                  </a:lnTo>
                  <a:lnTo>
                    <a:pt x="249" y="142"/>
                  </a:lnTo>
                  <a:lnTo>
                    <a:pt x="249" y="143"/>
                  </a:lnTo>
                  <a:lnTo>
                    <a:pt x="250" y="144"/>
                  </a:lnTo>
                  <a:lnTo>
                    <a:pt x="252" y="144"/>
                  </a:lnTo>
                  <a:lnTo>
                    <a:pt x="255" y="146"/>
                  </a:lnTo>
                  <a:lnTo>
                    <a:pt x="257" y="146"/>
                  </a:lnTo>
                  <a:lnTo>
                    <a:pt x="258" y="146"/>
                  </a:lnTo>
                  <a:lnTo>
                    <a:pt x="261" y="146"/>
                  </a:lnTo>
                  <a:lnTo>
                    <a:pt x="263" y="147"/>
                  </a:lnTo>
                  <a:lnTo>
                    <a:pt x="264" y="147"/>
                  </a:lnTo>
                  <a:lnTo>
                    <a:pt x="266" y="147"/>
                  </a:lnTo>
                  <a:lnTo>
                    <a:pt x="269" y="147"/>
                  </a:lnTo>
                  <a:lnTo>
                    <a:pt x="270" y="148"/>
                  </a:lnTo>
                  <a:lnTo>
                    <a:pt x="272" y="148"/>
                  </a:lnTo>
                  <a:lnTo>
                    <a:pt x="274" y="148"/>
                  </a:lnTo>
                  <a:lnTo>
                    <a:pt x="276" y="148"/>
                  </a:lnTo>
                  <a:lnTo>
                    <a:pt x="278" y="149"/>
                  </a:lnTo>
                  <a:lnTo>
                    <a:pt x="279" y="149"/>
                  </a:lnTo>
                  <a:lnTo>
                    <a:pt x="281" y="149"/>
                  </a:lnTo>
                  <a:lnTo>
                    <a:pt x="284" y="149"/>
                  </a:lnTo>
                  <a:lnTo>
                    <a:pt x="285" y="149"/>
                  </a:lnTo>
                  <a:lnTo>
                    <a:pt x="286" y="149"/>
                  </a:lnTo>
                  <a:lnTo>
                    <a:pt x="286" y="148"/>
                  </a:lnTo>
                  <a:lnTo>
                    <a:pt x="287" y="150"/>
                  </a:lnTo>
                  <a:lnTo>
                    <a:pt x="288" y="151"/>
                  </a:lnTo>
                  <a:lnTo>
                    <a:pt x="290" y="154"/>
                  </a:lnTo>
                  <a:lnTo>
                    <a:pt x="291" y="156"/>
                  </a:lnTo>
                  <a:lnTo>
                    <a:pt x="293" y="157"/>
                  </a:lnTo>
                  <a:lnTo>
                    <a:pt x="293" y="160"/>
                  </a:lnTo>
                  <a:lnTo>
                    <a:pt x="293" y="162"/>
                  </a:lnTo>
                  <a:lnTo>
                    <a:pt x="293" y="163"/>
                  </a:lnTo>
                  <a:lnTo>
                    <a:pt x="293" y="164"/>
                  </a:lnTo>
                  <a:lnTo>
                    <a:pt x="292" y="167"/>
                  </a:lnTo>
                  <a:lnTo>
                    <a:pt x="292" y="168"/>
                  </a:lnTo>
                  <a:lnTo>
                    <a:pt x="292" y="170"/>
                  </a:lnTo>
                  <a:lnTo>
                    <a:pt x="291" y="174"/>
                  </a:lnTo>
                  <a:lnTo>
                    <a:pt x="291" y="176"/>
                  </a:lnTo>
                  <a:lnTo>
                    <a:pt x="290" y="178"/>
                  </a:lnTo>
                  <a:lnTo>
                    <a:pt x="290" y="181"/>
                  </a:lnTo>
                  <a:lnTo>
                    <a:pt x="288" y="183"/>
                  </a:lnTo>
                  <a:lnTo>
                    <a:pt x="288" y="185"/>
                  </a:lnTo>
                  <a:lnTo>
                    <a:pt x="288" y="188"/>
                  </a:lnTo>
                  <a:lnTo>
                    <a:pt x="287" y="189"/>
                  </a:lnTo>
                  <a:lnTo>
                    <a:pt x="287" y="190"/>
                  </a:lnTo>
                  <a:lnTo>
                    <a:pt x="287" y="191"/>
                  </a:lnTo>
                  <a:lnTo>
                    <a:pt x="285" y="192"/>
                  </a:lnTo>
                  <a:lnTo>
                    <a:pt x="283" y="193"/>
                  </a:lnTo>
                  <a:lnTo>
                    <a:pt x="280" y="193"/>
                  </a:lnTo>
                  <a:lnTo>
                    <a:pt x="278" y="195"/>
                  </a:lnTo>
                  <a:lnTo>
                    <a:pt x="276" y="196"/>
                  </a:lnTo>
                  <a:lnTo>
                    <a:pt x="274" y="197"/>
                  </a:lnTo>
                  <a:lnTo>
                    <a:pt x="272" y="197"/>
                  </a:lnTo>
                  <a:lnTo>
                    <a:pt x="270" y="198"/>
                  </a:lnTo>
                  <a:lnTo>
                    <a:pt x="268" y="199"/>
                  </a:lnTo>
                  <a:lnTo>
                    <a:pt x="265" y="200"/>
                  </a:lnTo>
                  <a:lnTo>
                    <a:pt x="263" y="200"/>
                  </a:lnTo>
                  <a:lnTo>
                    <a:pt x="261" y="202"/>
                  </a:lnTo>
                  <a:lnTo>
                    <a:pt x="258" y="203"/>
                  </a:lnTo>
                  <a:lnTo>
                    <a:pt x="256" y="204"/>
                  </a:lnTo>
                  <a:lnTo>
                    <a:pt x="254" y="205"/>
                  </a:lnTo>
                  <a:lnTo>
                    <a:pt x="251" y="205"/>
                  </a:lnTo>
                  <a:lnTo>
                    <a:pt x="249" y="206"/>
                  </a:lnTo>
                  <a:lnTo>
                    <a:pt x="248" y="207"/>
                  </a:lnTo>
                  <a:lnTo>
                    <a:pt x="245" y="207"/>
                  </a:lnTo>
                  <a:lnTo>
                    <a:pt x="243" y="207"/>
                  </a:lnTo>
                  <a:lnTo>
                    <a:pt x="241" y="207"/>
                  </a:lnTo>
                  <a:lnTo>
                    <a:pt x="238" y="209"/>
                  </a:lnTo>
                  <a:lnTo>
                    <a:pt x="236" y="209"/>
                  </a:lnTo>
                  <a:lnTo>
                    <a:pt x="235" y="209"/>
                  </a:lnTo>
                  <a:lnTo>
                    <a:pt x="233" y="210"/>
                  </a:lnTo>
                  <a:lnTo>
                    <a:pt x="230" y="210"/>
                  </a:lnTo>
                  <a:lnTo>
                    <a:pt x="228" y="210"/>
                  </a:lnTo>
                  <a:lnTo>
                    <a:pt x="226" y="211"/>
                  </a:lnTo>
                  <a:lnTo>
                    <a:pt x="223" y="211"/>
                  </a:lnTo>
                  <a:lnTo>
                    <a:pt x="221" y="211"/>
                  </a:lnTo>
                  <a:lnTo>
                    <a:pt x="220" y="211"/>
                  </a:lnTo>
                  <a:lnTo>
                    <a:pt x="217" y="212"/>
                  </a:lnTo>
                  <a:lnTo>
                    <a:pt x="215" y="212"/>
                  </a:lnTo>
                  <a:lnTo>
                    <a:pt x="213" y="212"/>
                  </a:lnTo>
                  <a:lnTo>
                    <a:pt x="210" y="213"/>
                  </a:lnTo>
                  <a:lnTo>
                    <a:pt x="209" y="213"/>
                  </a:lnTo>
                  <a:lnTo>
                    <a:pt x="207" y="213"/>
                  </a:lnTo>
                  <a:lnTo>
                    <a:pt x="207" y="214"/>
                  </a:lnTo>
                  <a:lnTo>
                    <a:pt x="205" y="216"/>
                  </a:lnTo>
                  <a:lnTo>
                    <a:pt x="202" y="217"/>
                  </a:lnTo>
                  <a:lnTo>
                    <a:pt x="200" y="218"/>
                  </a:lnTo>
                  <a:lnTo>
                    <a:pt x="198" y="219"/>
                  </a:lnTo>
                  <a:lnTo>
                    <a:pt x="197" y="220"/>
                  </a:lnTo>
                  <a:lnTo>
                    <a:pt x="195" y="221"/>
                  </a:lnTo>
                  <a:lnTo>
                    <a:pt x="194" y="224"/>
                  </a:lnTo>
                  <a:lnTo>
                    <a:pt x="192" y="226"/>
                  </a:lnTo>
                  <a:lnTo>
                    <a:pt x="190" y="230"/>
                  </a:lnTo>
                  <a:lnTo>
                    <a:pt x="188" y="231"/>
                  </a:lnTo>
                  <a:lnTo>
                    <a:pt x="188" y="232"/>
                  </a:lnTo>
                  <a:lnTo>
                    <a:pt x="188" y="234"/>
                  </a:lnTo>
                  <a:lnTo>
                    <a:pt x="187" y="237"/>
                  </a:lnTo>
                  <a:lnTo>
                    <a:pt x="186" y="238"/>
                  </a:lnTo>
                  <a:lnTo>
                    <a:pt x="184" y="239"/>
                  </a:lnTo>
                  <a:lnTo>
                    <a:pt x="183" y="239"/>
                  </a:lnTo>
                  <a:lnTo>
                    <a:pt x="181" y="239"/>
                  </a:lnTo>
                  <a:lnTo>
                    <a:pt x="179" y="238"/>
                  </a:lnTo>
                  <a:lnTo>
                    <a:pt x="178" y="235"/>
                  </a:lnTo>
                  <a:lnTo>
                    <a:pt x="178" y="234"/>
                  </a:lnTo>
                  <a:lnTo>
                    <a:pt x="177" y="234"/>
                  </a:lnTo>
                  <a:lnTo>
                    <a:pt x="174" y="234"/>
                  </a:lnTo>
                  <a:lnTo>
                    <a:pt x="172" y="235"/>
                  </a:lnTo>
                  <a:lnTo>
                    <a:pt x="169" y="234"/>
                  </a:lnTo>
                  <a:lnTo>
                    <a:pt x="166" y="234"/>
                  </a:lnTo>
                  <a:lnTo>
                    <a:pt x="163" y="234"/>
                  </a:lnTo>
                  <a:lnTo>
                    <a:pt x="159" y="233"/>
                  </a:lnTo>
                  <a:lnTo>
                    <a:pt x="158" y="233"/>
                  </a:lnTo>
                  <a:lnTo>
                    <a:pt x="156" y="232"/>
                  </a:lnTo>
                  <a:lnTo>
                    <a:pt x="153" y="232"/>
                  </a:lnTo>
                  <a:lnTo>
                    <a:pt x="151" y="232"/>
                  </a:lnTo>
                  <a:lnTo>
                    <a:pt x="149" y="232"/>
                  </a:lnTo>
                  <a:lnTo>
                    <a:pt x="148" y="232"/>
                  </a:lnTo>
                  <a:lnTo>
                    <a:pt x="146" y="232"/>
                  </a:lnTo>
                  <a:lnTo>
                    <a:pt x="145" y="232"/>
                  </a:lnTo>
                  <a:lnTo>
                    <a:pt x="144" y="232"/>
                  </a:lnTo>
                  <a:lnTo>
                    <a:pt x="143" y="232"/>
                  </a:lnTo>
                  <a:lnTo>
                    <a:pt x="142" y="232"/>
                  </a:lnTo>
                  <a:lnTo>
                    <a:pt x="141" y="233"/>
                  </a:lnTo>
                  <a:lnTo>
                    <a:pt x="140" y="233"/>
                  </a:lnTo>
                  <a:lnTo>
                    <a:pt x="138" y="234"/>
                  </a:lnTo>
                  <a:lnTo>
                    <a:pt x="138" y="233"/>
                  </a:lnTo>
                  <a:lnTo>
                    <a:pt x="137" y="233"/>
                  </a:lnTo>
                  <a:lnTo>
                    <a:pt x="136" y="233"/>
                  </a:lnTo>
                  <a:lnTo>
                    <a:pt x="135" y="232"/>
                  </a:lnTo>
                  <a:lnTo>
                    <a:pt x="134" y="231"/>
                  </a:lnTo>
                  <a:lnTo>
                    <a:pt x="133" y="231"/>
                  </a:lnTo>
                  <a:lnTo>
                    <a:pt x="131" y="231"/>
                  </a:lnTo>
                  <a:lnTo>
                    <a:pt x="130" y="231"/>
                  </a:lnTo>
                  <a:lnTo>
                    <a:pt x="129" y="232"/>
                  </a:lnTo>
                  <a:lnTo>
                    <a:pt x="128" y="233"/>
                  </a:lnTo>
                  <a:lnTo>
                    <a:pt x="129" y="234"/>
                  </a:lnTo>
                  <a:lnTo>
                    <a:pt x="128" y="235"/>
                  </a:lnTo>
                  <a:lnTo>
                    <a:pt x="128" y="237"/>
                  </a:lnTo>
                  <a:lnTo>
                    <a:pt x="128" y="238"/>
                  </a:lnTo>
                  <a:lnTo>
                    <a:pt x="128" y="239"/>
                  </a:lnTo>
                  <a:lnTo>
                    <a:pt x="128" y="240"/>
                  </a:lnTo>
                  <a:lnTo>
                    <a:pt x="128" y="241"/>
                  </a:lnTo>
                  <a:lnTo>
                    <a:pt x="129" y="241"/>
                  </a:lnTo>
                  <a:lnTo>
                    <a:pt x="129" y="242"/>
                  </a:lnTo>
                  <a:lnTo>
                    <a:pt x="129" y="244"/>
                  </a:lnTo>
                  <a:lnTo>
                    <a:pt x="128" y="244"/>
                  </a:lnTo>
                  <a:lnTo>
                    <a:pt x="128" y="245"/>
                  </a:lnTo>
                  <a:lnTo>
                    <a:pt x="127" y="246"/>
                  </a:lnTo>
                  <a:lnTo>
                    <a:pt x="127" y="247"/>
                  </a:lnTo>
                  <a:lnTo>
                    <a:pt x="126" y="247"/>
                  </a:lnTo>
                  <a:lnTo>
                    <a:pt x="126" y="248"/>
                  </a:lnTo>
                  <a:lnTo>
                    <a:pt x="124" y="248"/>
                  </a:lnTo>
                  <a:lnTo>
                    <a:pt x="123" y="248"/>
                  </a:lnTo>
                  <a:lnTo>
                    <a:pt x="124" y="247"/>
                  </a:lnTo>
                  <a:lnTo>
                    <a:pt x="123" y="247"/>
                  </a:lnTo>
                  <a:lnTo>
                    <a:pt x="123" y="246"/>
                  </a:lnTo>
                  <a:lnTo>
                    <a:pt x="123" y="245"/>
                  </a:lnTo>
                  <a:lnTo>
                    <a:pt x="123" y="244"/>
                  </a:lnTo>
                  <a:lnTo>
                    <a:pt x="122" y="244"/>
                  </a:lnTo>
                  <a:lnTo>
                    <a:pt x="123" y="244"/>
                  </a:lnTo>
                  <a:lnTo>
                    <a:pt x="122" y="244"/>
                  </a:lnTo>
                  <a:lnTo>
                    <a:pt x="122" y="242"/>
                  </a:lnTo>
                  <a:lnTo>
                    <a:pt x="121" y="241"/>
                  </a:lnTo>
                  <a:lnTo>
                    <a:pt x="120" y="240"/>
                  </a:lnTo>
                  <a:lnTo>
                    <a:pt x="120" y="239"/>
                  </a:lnTo>
                  <a:lnTo>
                    <a:pt x="120" y="238"/>
                  </a:lnTo>
                  <a:lnTo>
                    <a:pt x="119" y="238"/>
                  </a:lnTo>
                  <a:lnTo>
                    <a:pt x="119" y="237"/>
                  </a:lnTo>
                  <a:lnTo>
                    <a:pt x="117" y="237"/>
                  </a:lnTo>
                  <a:lnTo>
                    <a:pt x="117" y="235"/>
                  </a:lnTo>
                  <a:lnTo>
                    <a:pt x="117" y="237"/>
                  </a:lnTo>
                  <a:lnTo>
                    <a:pt x="117" y="238"/>
                  </a:lnTo>
                  <a:lnTo>
                    <a:pt x="117" y="237"/>
                  </a:lnTo>
                  <a:lnTo>
                    <a:pt x="117" y="235"/>
                  </a:lnTo>
                  <a:lnTo>
                    <a:pt x="116" y="234"/>
                  </a:lnTo>
                  <a:lnTo>
                    <a:pt x="116" y="233"/>
                  </a:lnTo>
                  <a:lnTo>
                    <a:pt x="116" y="232"/>
                  </a:lnTo>
                  <a:lnTo>
                    <a:pt x="116" y="231"/>
                  </a:lnTo>
                  <a:lnTo>
                    <a:pt x="115" y="231"/>
                  </a:lnTo>
                  <a:lnTo>
                    <a:pt x="114" y="230"/>
                  </a:lnTo>
                  <a:lnTo>
                    <a:pt x="113" y="228"/>
                  </a:lnTo>
                  <a:lnTo>
                    <a:pt x="112" y="227"/>
                  </a:lnTo>
                  <a:lnTo>
                    <a:pt x="110" y="226"/>
                  </a:lnTo>
                  <a:lnTo>
                    <a:pt x="109" y="226"/>
                  </a:lnTo>
                  <a:lnTo>
                    <a:pt x="109" y="225"/>
                  </a:lnTo>
                  <a:lnTo>
                    <a:pt x="108" y="225"/>
                  </a:lnTo>
                  <a:lnTo>
                    <a:pt x="108" y="224"/>
                  </a:lnTo>
                  <a:lnTo>
                    <a:pt x="107" y="224"/>
                  </a:lnTo>
                  <a:lnTo>
                    <a:pt x="107" y="223"/>
                  </a:lnTo>
                  <a:lnTo>
                    <a:pt x="106" y="221"/>
                  </a:lnTo>
                  <a:lnTo>
                    <a:pt x="106" y="220"/>
                  </a:lnTo>
                  <a:lnTo>
                    <a:pt x="105" y="220"/>
                  </a:lnTo>
                  <a:lnTo>
                    <a:pt x="105" y="219"/>
                  </a:lnTo>
                  <a:lnTo>
                    <a:pt x="105" y="218"/>
                  </a:lnTo>
                  <a:lnTo>
                    <a:pt x="103" y="218"/>
                  </a:lnTo>
                  <a:lnTo>
                    <a:pt x="103" y="217"/>
                  </a:lnTo>
                  <a:lnTo>
                    <a:pt x="103" y="216"/>
                  </a:lnTo>
                  <a:lnTo>
                    <a:pt x="103" y="214"/>
                  </a:lnTo>
                  <a:lnTo>
                    <a:pt x="102" y="214"/>
                  </a:lnTo>
                  <a:lnTo>
                    <a:pt x="102" y="213"/>
                  </a:lnTo>
                  <a:lnTo>
                    <a:pt x="101" y="213"/>
                  </a:lnTo>
                  <a:lnTo>
                    <a:pt x="100" y="212"/>
                  </a:lnTo>
                  <a:lnTo>
                    <a:pt x="100" y="211"/>
                  </a:lnTo>
                  <a:lnTo>
                    <a:pt x="100" y="210"/>
                  </a:lnTo>
                  <a:lnTo>
                    <a:pt x="100" y="209"/>
                  </a:lnTo>
                  <a:lnTo>
                    <a:pt x="99" y="209"/>
                  </a:lnTo>
                  <a:lnTo>
                    <a:pt x="99" y="207"/>
                  </a:lnTo>
                  <a:lnTo>
                    <a:pt x="99" y="206"/>
                  </a:lnTo>
                  <a:lnTo>
                    <a:pt x="99" y="205"/>
                  </a:lnTo>
                  <a:lnTo>
                    <a:pt x="98" y="205"/>
                  </a:lnTo>
                  <a:lnTo>
                    <a:pt x="98" y="204"/>
                  </a:lnTo>
                  <a:lnTo>
                    <a:pt x="98" y="203"/>
                  </a:lnTo>
                  <a:lnTo>
                    <a:pt x="96" y="203"/>
                  </a:lnTo>
                  <a:lnTo>
                    <a:pt x="96" y="202"/>
                  </a:lnTo>
                  <a:lnTo>
                    <a:pt x="95" y="202"/>
                  </a:lnTo>
                  <a:lnTo>
                    <a:pt x="96" y="202"/>
                  </a:lnTo>
                  <a:lnTo>
                    <a:pt x="95" y="202"/>
                  </a:lnTo>
                  <a:lnTo>
                    <a:pt x="95" y="200"/>
                  </a:lnTo>
                  <a:lnTo>
                    <a:pt x="95" y="199"/>
                  </a:lnTo>
                  <a:lnTo>
                    <a:pt x="94" y="198"/>
                  </a:lnTo>
                  <a:lnTo>
                    <a:pt x="93" y="197"/>
                  </a:lnTo>
                  <a:lnTo>
                    <a:pt x="93" y="196"/>
                  </a:lnTo>
                  <a:lnTo>
                    <a:pt x="93" y="195"/>
                  </a:lnTo>
                  <a:lnTo>
                    <a:pt x="92" y="195"/>
                  </a:lnTo>
                  <a:lnTo>
                    <a:pt x="91" y="195"/>
                  </a:lnTo>
                  <a:lnTo>
                    <a:pt x="92" y="195"/>
                  </a:lnTo>
                  <a:lnTo>
                    <a:pt x="91" y="195"/>
                  </a:lnTo>
                  <a:lnTo>
                    <a:pt x="91" y="193"/>
                  </a:lnTo>
                  <a:lnTo>
                    <a:pt x="89" y="193"/>
                  </a:lnTo>
                  <a:lnTo>
                    <a:pt x="89" y="192"/>
                  </a:lnTo>
                  <a:lnTo>
                    <a:pt x="89" y="191"/>
                  </a:lnTo>
                  <a:lnTo>
                    <a:pt x="88" y="191"/>
                  </a:lnTo>
                  <a:lnTo>
                    <a:pt x="87" y="190"/>
                  </a:lnTo>
                  <a:lnTo>
                    <a:pt x="86" y="190"/>
                  </a:lnTo>
                  <a:lnTo>
                    <a:pt x="86" y="189"/>
                  </a:lnTo>
                  <a:lnTo>
                    <a:pt x="85" y="189"/>
                  </a:lnTo>
                  <a:lnTo>
                    <a:pt x="85" y="188"/>
                  </a:lnTo>
                  <a:lnTo>
                    <a:pt x="84" y="188"/>
                  </a:lnTo>
                  <a:lnTo>
                    <a:pt x="82" y="186"/>
                  </a:lnTo>
                  <a:lnTo>
                    <a:pt x="81" y="186"/>
                  </a:lnTo>
                  <a:lnTo>
                    <a:pt x="80" y="186"/>
                  </a:lnTo>
                  <a:lnTo>
                    <a:pt x="81" y="186"/>
                  </a:lnTo>
                  <a:lnTo>
                    <a:pt x="79" y="186"/>
                  </a:lnTo>
                  <a:lnTo>
                    <a:pt x="79" y="185"/>
                  </a:lnTo>
                  <a:lnTo>
                    <a:pt x="78" y="185"/>
                  </a:lnTo>
                  <a:lnTo>
                    <a:pt x="77" y="184"/>
                  </a:lnTo>
                  <a:lnTo>
                    <a:pt x="76" y="183"/>
                  </a:lnTo>
                  <a:lnTo>
                    <a:pt x="76" y="182"/>
                  </a:lnTo>
                  <a:lnTo>
                    <a:pt x="76" y="181"/>
                  </a:lnTo>
                  <a:lnTo>
                    <a:pt x="74" y="179"/>
                  </a:lnTo>
                  <a:lnTo>
                    <a:pt x="73" y="179"/>
                  </a:lnTo>
                  <a:lnTo>
                    <a:pt x="73" y="178"/>
                  </a:lnTo>
                  <a:lnTo>
                    <a:pt x="74" y="178"/>
                  </a:lnTo>
                  <a:lnTo>
                    <a:pt x="73" y="178"/>
                  </a:lnTo>
                  <a:lnTo>
                    <a:pt x="72" y="177"/>
                  </a:lnTo>
                  <a:lnTo>
                    <a:pt x="72" y="176"/>
                  </a:lnTo>
                  <a:lnTo>
                    <a:pt x="71" y="176"/>
                  </a:lnTo>
                  <a:lnTo>
                    <a:pt x="71" y="175"/>
                  </a:lnTo>
                  <a:lnTo>
                    <a:pt x="71" y="174"/>
                  </a:lnTo>
                  <a:lnTo>
                    <a:pt x="70" y="174"/>
                  </a:lnTo>
                  <a:lnTo>
                    <a:pt x="70" y="172"/>
                  </a:lnTo>
                  <a:lnTo>
                    <a:pt x="69" y="171"/>
                  </a:lnTo>
                  <a:lnTo>
                    <a:pt x="69" y="170"/>
                  </a:lnTo>
                  <a:lnTo>
                    <a:pt x="70" y="169"/>
                  </a:lnTo>
                  <a:lnTo>
                    <a:pt x="70" y="168"/>
                  </a:lnTo>
                  <a:lnTo>
                    <a:pt x="69" y="168"/>
                  </a:lnTo>
                  <a:lnTo>
                    <a:pt x="70" y="168"/>
                  </a:lnTo>
                  <a:lnTo>
                    <a:pt x="69" y="167"/>
                  </a:lnTo>
                  <a:lnTo>
                    <a:pt x="69" y="165"/>
                  </a:lnTo>
                  <a:lnTo>
                    <a:pt x="69" y="164"/>
                  </a:lnTo>
                  <a:lnTo>
                    <a:pt x="67" y="164"/>
                  </a:lnTo>
                  <a:lnTo>
                    <a:pt x="69" y="164"/>
                  </a:lnTo>
                  <a:lnTo>
                    <a:pt x="69" y="163"/>
                  </a:lnTo>
                  <a:lnTo>
                    <a:pt x="69" y="164"/>
                  </a:lnTo>
                  <a:lnTo>
                    <a:pt x="67" y="164"/>
                  </a:lnTo>
                  <a:lnTo>
                    <a:pt x="67" y="163"/>
                  </a:lnTo>
                  <a:lnTo>
                    <a:pt x="67" y="162"/>
                  </a:lnTo>
                  <a:lnTo>
                    <a:pt x="66" y="162"/>
                  </a:lnTo>
                  <a:lnTo>
                    <a:pt x="66" y="161"/>
                  </a:lnTo>
                  <a:lnTo>
                    <a:pt x="65" y="160"/>
                  </a:lnTo>
                  <a:lnTo>
                    <a:pt x="66" y="158"/>
                  </a:lnTo>
                  <a:lnTo>
                    <a:pt x="66" y="160"/>
                  </a:lnTo>
                  <a:lnTo>
                    <a:pt x="66" y="158"/>
                  </a:lnTo>
                  <a:lnTo>
                    <a:pt x="67" y="158"/>
                  </a:lnTo>
                  <a:lnTo>
                    <a:pt x="67" y="157"/>
                  </a:lnTo>
                  <a:lnTo>
                    <a:pt x="66" y="157"/>
                  </a:lnTo>
                  <a:lnTo>
                    <a:pt x="66" y="156"/>
                  </a:lnTo>
                  <a:lnTo>
                    <a:pt x="67" y="156"/>
                  </a:lnTo>
                  <a:lnTo>
                    <a:pt x="67" y="155"/>
                  </a:lnTo>
                  <a:lnTo>
                    <a:pt x="67" y="154"/>
                  </a:lnTo>
                  <a:lnTo>
                    <a:pt x="69" y="154"/>
                  </a:lnTo>
                  <a:lnTo>
                    <a:pt x="69" y="153"/>
                  </a:lnTo>
                  <a:lnTo>
                    <a:pt x="67" y="153"/>
                  </a:lnTo>
                  <a:lnTo>
                    <a:pt x="67" y="154"/>
                  </a:lnTo>
                  <a:lnTo>
                    <a:pt x="67" y="153"/>
                  </a:lnTo>
                  <a:lnTo>
                    <a:pt x="67" y="151"/>
                  </a:lnTo>
                  <a:lnTo>
                    <a:pt x="67" y="150"/>
                  </a:lnTo>
                  <a:lnTo>
                    <a:pt x="66" y="149"/>
                  </a:lnTo>
                  <a:lnTo>
                    <a:pt x="66" y="148"/>
                  </a:lnTo>
                  <a:lnTo>
                    <a:pt x="65" y="148"/>
                  </a:lnTo>
                  <a:lnTo>
                    <a:pt x="66" y="148"/>
                  </a:lnTo>
                  <a:lnTo>
                    <a:pt x="66" y="147"/>
                  </a:lnTo>
                  <a:lnTo>
                    <a:pt x="65" y="147"/>
                  </a:lnTo>
                  <a:lnTo>
                    <a:pt x="65" y="148"/>
                  </a:lnTo>
                  <a:lnTo>
                    <a:pt x="65" y="147"/>
                  </a:lnTo>
                  <a:lnTo>
                    <a:pt x="64" y="146"/>
                  </a:lnTo>
                  <a:lnTo>
                    <a:pt x="64" y="144"/>
                  </a:lnTo>
                  <a:lnTo>
                    <a:pt x="64" y="146"/>
                  </a:lnTo>
                  <a:lnTo>
                    <a:pt x="65" y="146"/>
                  </a:lnTo>
                  <a:lnTo>
                    <a:pt x="65" y="144"/>
                  </a:lnTo>
                  <a:lnTo>
                    <a:pt x="64" y="144"/>
                  </a:lnTo>
                  <a:lnTo>
                    <a:pt x="63" y="143"/>
                  </a:lnTo>
                  <a:lnTo>
                    <a:pt x="63" y="144"/>
                  </a:lnTo>
                  <a:lnTo>
                    <a:pt x="63" y="143"/>
                  </a:lnTo>
                  <a:lnTo>
                    <a:pt x="63" y="142"/>
                  </a:lnTo>
                  <a:lnTo>
                    <a:pt x="63" y="141"/>
                  </a:lnTo>
                  <a:lnTo>
                    <a:pt x="62" y="141"/>
                  </a:lnTo>
                  <a:lnTo>
                    <a:pt x="62" y="140"/>
                  </a:lnTo>
                  <a:lnTo>
                    <a:pt x="60" y="139"/>
                  </a:lnTo>
                  <a:lnTo>
                    <a:pt x="60" y="137"/>
                  </a:lnTo>
                  <a:lnTo>
                    <a:pt x="60" y="136"/>
                  </a:lnTo>
                  <a:lnTo>
                    <a:pt x="60" y="135"/>
                  </a:lnTo>
                  <a:lnTo>
                    <a:pt x="59" y="135"/>
                  </a:lnTo>
                  <a:lnTo>
                    <a:pt x="58" y="134"/>
                  </a:lnTo>
                  <a:lnTo>
                    <a:pt x="58" y="133"/>
                  </a:lnTo>
                  <a:lnTo>
                    <a:pt x="57" y="132"/>
                  </a:lnTo>
                  <a:lnTo>
                    <a:pt x="57" y="130"/>
                  </a:lnTo>
                  <a:lnTo>
                    <a:pt x="56" y="130"/>
                  </a:lnTo>
                  <a:lnTo>
                    <a:pt x="56" y="129"/>
                  </a:lnTo>
                  <a:lnTo>
                    <a:pt x="55" y="129"/>
                  </a:lnTo>
                  <a:lnTo>
                    <a:pt x="55" y="128"/>
                  </a:lnTo>
                  <a:lnTo>
                    <a:pt x="53" y="128"/>
                  </a:lnTo>
                  <a:lnTo>
                    <a:pt x="52" y="127"/>
                  </a:lnTo>
                  <a:lnTo>
                    <a:pt x="51" y="127"/>
                  </a:lnTo>
                  <a:lnTo>
                    <a:pt x="51" y="126"/>
                  </a:lnTo>
                  <a:lnTo>
                    <a:pt x="50" y="126"/>
                  </a:lnTo>
                  <a:lnTo>
                    <a:pt x="50" y="125"/>
                  </a:lnTo>
                  <a:lnTo>
                    <a:pt x="50" y="126"/>
                  </a:lnTo>
                  <a:lnTo>
                    <a:pt x="50" y="125"/>
                  </a:lnTo>
                  <a:lnTo>
                    <a:pt x="50" y="126"/>
                  </a:lnTo>
                  <a:lnTo>
                    <a:pt x="49" y="126"/>
                  </a:lnTo>
                  <a:lnTo>
                    <a:pt x="49" y="125"/>
                  </a:lnTo>
                  <a:lnTo>
                    <a:pt x="48" y="125"/>
                  </a:lnTo>
                  <a:lnTo>
                    <a:pt x="48" y="123"/>
                  </a:lnTo>
                  <a:lnTo>
                    <a:pt x="46" y="123"/>
                  </a:lnTo>
                  <a:lnTo>
                    <a:pt x="45" y="123"/>
                  </a:lnTo>
                  <a:lnTo>
                    <a:pt x="44" y="123"/>
                  </a:lnTo>
                  <a:lnTo>
                    <a:pt x="43" y="122"/>
                  </a:lnTo>
                  <a:lnTo>
                    <a:pt x="43" y="121"/>
                  </a:lnTo>
                  <a:lnTo>
                    <a:pt x="41" y="118"/>
                  </a:lnTo>
                  <a:lnTo>
                    <a:pt x="41" y="116"/>
                  </a:lnTo>
                  <a:lnTo>
                    <a:pt x="39" y="116"/>
                  </a:lnTo>
                  <a:lnTo>
                    <a:pt x="39" y="115"/>
                  </a:lnTo>
                  <a:lnTo>
                    <a:pt x="38" y="115"/>
                  </a:lnTo>
                  <a:lnTo>
                    <a:pt x="38" y="114"/>
                  </a:lnTo>
                  <a:lnTo>
                    <a:pt x="39" y="114"/>
                  </a:lnTo>
                  <a:lnTo>
                    <a:pt x="39" y="113"/>
                  </a:lnTo>
                  <a:lnTo>
                    <a:pt x="41" y="113"/>
                  </a:lnTo>
                  <a:lnTo>
                    <a:pt x="41" y="112"/>
                  </a:lnTo>
                  <a:lnTo>
                    <a:pt x="39" y="112"/>
                  </a:lnTo>
                  <a:lnTo>
                    <a:pt x="39" y="111"/>
                  </a:lnTo>
                  <a:lnTo>
                    <a:pt x="39" y="109"/>
                  </a:lnTo>
                  <a:lnTo>
                    <a:pt x="39" y="108"/>
                  </a:lnTo>
                  <a:lnTo>
                    <a:pt x="38" y="108"/>
                  </a:lnTo>
                  <a:lnTo>
                    <a:pt x="38" y="107"/>
                  </a:lnTo>
                  <a:lnTo>
                    <a:pt x="37" y="107"/>
                  </a:lnTo>
                  <a:lnTo>
                    <a:pt x="37" y="106"/>
                  </a:lnTo>
                  <a:lnTo>
                    <a:pt x="37" y="105"/>
                  </a:lnTo>
                  <a:lnTo>
                    <a:pt x="36" y="104"/>
                  </a:lnTo>
                  <a:lnTo>
                    <a:pt x="35" y="102"/>
                  </a:lnTo>
                  <a:lnTo>
                    <a:pt x="35" y="101"/>
                  </a:lnTo>
                  <a:lnTo>
                    <a:pt x="34" y="101"/>
                  </a:lnTo>
                  <a:lnTo>
                    <a:pt x="34" y="100"/>
                  </a:lnTo>
                  <a:lnTo>
                    <a:pt x="32" y="100"/>
                  </a:lnTo>
                  <a:lnTo>
                    <a:pt x="31" y="100"/>
                  </a:lnTo>
                  <a:lnTo>
                    <a:pt x="31" y="99"/>
                  </a:lnTo>
                  <a:lnTo>
                    <a:pt x="30" y="99"/>
                  </a:lnTo>
                  <a:lnTo>
                    <a:pt x="30" y="98"/>
                  </a:lnTo>
                  <a:lnTo>
                    <a:pt x="31" y="98"/>
                  </a:lnTo>
                  <a:lnTo>
                    <a:pt x="31" y="97"/>
                  </a:lnTo>
                  <a:lnTo>
                    <a:pt x="31" y="95"/>
                  </a:lnTo>
                  <a:lnTo>
                    <a:pt x="30" y="95"/>
                  </a:lnTo>
                  <a:lnTo>
                    <a:pt x="29" y="95"/>
                  </a:lnTo>
                  <a:lnTo>
                    <a:pt x="29" y="94"/>
                  </a:lnTo>
                  <a:lnTo>
                    <a:pt x="28" y="94"/>
                  </a:lnTo>
                  <a:lnTo>
                    <a:pt x="28" y="92"/>
                  </a:lnTo>
                  <a:lnTo>
                    <a:pt x="27" y="92"/>
                  </a:lnTo>
                  <a:lnTo>
                    <a:pt x="27" y="91"/>
                  </a:lnTo>
                  <a:lnTo>
                    <a:pt x="25" y="88"/>
                  </a:lnTo>
                  <a:lnTo>
                    <a:pt x="24" y="86"/>
                  </a:lnTo>
                  <a:lnTo>
                    <a:pt x="23" y="85"/>
                  </a:lnTo>
                  <a:lnTo>
                    <a:pt x="22" y="85"/>
                  </a:lnTo>
                  <a:lnTo>
                    <a:pt x="22" y="84"/>
                  </a:lnTo>
                  <a:lnTo>
                    <a:pt x="21" y="83"/>
                  </a:lnTo>
                  <a:lnTo>
                    <a:pt x="21" y="81"/>
                  </a:lnTo>
                  <a:lnTo>
                    <a:pt x="20" y="81"/>
                  </a:lnTo>
                  <a:lnTo>
                    <a:pt x="20" y="80"/>
                  </a:lnTo>
                  <a:lnTo>
                    <a:pt x="18" y="79"/>
                  </a:lnTo>
                  <a:lnTo>
                    <a:pt x="17" y="78"/>
                  </a:lnTo>
                  <a:lnTo>
                    <a:pt x="17" y="77"/>
                  </a:lnTo>
                  <a:lnTo>
                    <a:pt x="16" y="76"/>
                  </a:lnTo>
                  <a:lnTo>
                    <a:pt x="15" y="74"/>
                  </a:lnTo>
                  <a:lnTo>
                    <a:pt x="14" y="73"/>
                  </a:lnTo>
                  <a:lnTo>
                    <a:pt x="13" y="72"/>
                  </a:lnTo>
                  <a:lnTo>
                    <a:pt x="13" y="71"/>
                  </a:lnTo>
                  <a:lnTo>
                    <a:pt x="13" y="70"/>
                  </a:lnTo>
                  <a:lnTo>
                    <a:pt x="12" y="70"/>
                  </a:lnTo>
                  <a:lnTo>
                    <a:pt x="12" y="69"/>
                  </a:lnTo>
                  <a:lnTo>
                    <a:pt x="12" y="67"/>
                  </a:lnTo>
                  <a:lnTo>
                    <a:pt x="10" y="67"/>
                  </a:lnTo>
                  <a:lnTo>
                    <a:pt x="10" y="66"/>
                  </a:lnTo>
                  <a:lnTo>
                    <a:pt x="9" y="65"/>
                  </a:lnTo>
                  <a:lnTo>
                    <a:pt x="8" y="64"/>
                  </a:lnTo>
                  <a:lnTo>
                    <a:pt x="8" y="65"/>
                  </a:lnTo>
                  <a:lnTo>
                    <a:pt x="8" y="64"/>
                  </a:lnTo>
                  <a:lnTo>
                    <a:pt x="8" y="63"/>
                  </a:lnTo>
                  <a:lnTo>
                    <a:pt x="7" y="63"/>
                  </a:lnTo>
                  <a:lnTo>
                    <a:pt x="6" y="63"/>
                  </a:lnTo>
                  <a:lnTo>
                    <a:pt x="5" y="63"/>
                  </a:lnTo>
                  <a:lnTo>
                    <a:pt x="3" y="63"/>
                  </a:lnTo>
                  <a:lnTo>
                    <a:pt x="2" y="63"/>
                  </a:lnTo>
                  <a:lnTo>
                    <a:pt x="3" y="63"/>
                  </a:lnTo>
                  <a:lnTo>
                    <a:pt x="2" y="63"/>
                  </a:lnTo>
                  <a:lnTo>
                    <a:pt x="1" y="63"/>
                  </a:lnTo>
                  <a:lnTo>
                    <a:pt x="1" y="64"/>
                  </a:lnTo>
                  <a:lnTo>
                    <a:pt x="1" y="63"/>
                  </a:lnTo>
                  <a:lnTo>
                    <a:pt x="1" y="64"/>
                  </a:lnTo>
                  <a:lnTo>
                    <a:pt x="0" y="64"/>
                  </a:lnTo>
                  <a:lnTo>
                    <a:pt x="0" y="63"/>
                  </a:lnTo>
                  <a:lnTo>
                    <a:pt x="0" y="62"/>
                  </a:lnTo>
                  <a:lnTo>
                    <a:pt x="1" y="62"/>
                  </a:lnTo>
                  <a:lnTo>
                    <a:pt x="0" y="62"/>
                  </a:lnTo>
                  <a:lnTo>
                    <a:pt x="1" y="62"/>
                  </a:lnTo>
                  <a:lnTo>
                    <a:pt x="1" y="60"/>
                  </a:lnTo>
                  <a:lnTo>
                    <a:pt x="1" y="59"/>
                  </a:lnTo>
                  <a:lnTo>
                    <a:pt x="1" y="58"/>
                  </a:lnTo>
                  <a:lnTo>
                    <a:pt x="2" y="58"/>
                  </a:lnTo>
                  <a:lnTo>
                    <a:pt x="2" y="57"/>
                  </a:lnTo>
                  <a:lnTo>
                    <a:pt x="2" y="56"/>
                  </a:lnTo>
                  <a:lnTo>
                    <a:pt x="2" y="55"/>
                  </a:lnTo>
                  <a:lnTo>
                    <a:pt x="2" y="53"/>
                  </a:lnTo>
                  <a:lnTo>
                    <a:pt x="2" y="52"/>
                  </a:lnTo>
                  <a:lnTo>
                    <a:pt x="2" y="51"/>
                  </a:lnTo>
                  <a:lnTo>
                    <a:pt x="2" y="50"/>
                  </a:lnTo>
                  <a:lnTo>
                    <a:pt x="2" y="49"/>
                  </a:lnTo>
                  <a:lnTo>
                    <a:pt x="2" y="48"/>
                  </a:lnTo>
                  <a:lnTo>
                    <a:pt x="2" y="46"/>
                  </a:lnTo>
                  <a:lnTo>
                    <a:pt x="2" y="45"/>
                  </a:lnTo>
                  <a:lnTo>
                    <a:pt x="3" y="44"/>
                  </a:lnTo>
                  <a:lnTo>
                    <a:pt x="3" y="43"/>
                  </a:lnTo>
                  <a:lnTo>
                    <a:pt x="5" y="43"/>
                  </a:lnTo>
                  <a:lnTo>
                    <a:pt x="6" y="44"/>
                  </a:lnTo>
                  <a:lnTo>
                    <a:pt x="8" y="44"/>
                  </a:lnTo>
                  <a:lnTo>
                    <a:pt x="10" y="44"/>
                  </a:lnTo>
                  <a:lnTo>
                    <a:pt x="13" y="44"/>
                  </a:lnTo>
                  <a:lnTo>
                    <a:pt x="14" y="45"/>
                  </a:lnTo>
                  <a:lnTo>
                    <a:pt x="15" y="45"/>
                  </a:lnTo>
                  <a:lnTo>
                    <a:pt x="16" y="45"/>
                  </a:lnTo>
                  <a:lnTo>
                    <a:pt x="17" y="45"/>
                  </a:lnTo>
                  <a:lnTo>
                    <a:pt x="18" y="45"/>
                  </a:lnTo>
                  <a:lnTo>
                    <a:pt x="20" y="44"/>
                  </a:lnTo>
                  <a:lnTo>
                    <a:pt x="21" y="43"/>
                  </a:lnTo>
                  <a:lnTo>
                    <a:pt x="22" y="42"/>
                  </a:lnTo>
                  <a:lnTo>
                    <a:pt x="23" y="41"/>
                  </a:lnTo>
                  <a:lnTo>
                    <a:pt x="24" y="39"/>
                  </a:lnTo>
                  <a:lnTo>
                    <a:pt x="24" y="38"/>
                  </a:lnTo>
                  <a:lnTo>
                    <a:pt x="25" y="37"/>
                  </a:lnTo>
                  <a:lnTo>
                    <a:pt x="25" y="36"/>
                  </a:lnTo>
                  <a:lnTo>
                    <a:pt x="27" y="35"/>
                  </a:lnTo>
                  <a:lnTo>
                    <a:pt x="28" y="35"/>
                  </a:lnTo>
                  <a:lnTo>
                    <a:pt x="29" y="35"/>
                  </a:lnTo>
                  <a:lnTo>
                    <a:pt x="30" y="34"/>
                  </a:lnTo>
                  <a:lnTo>
                    <a:pt x="32" y="34"/>
                  </a:lnTo>
                  <a:lnTo>
                    <a:pt x="35" y="34"/>
                  </a:lnTo>
                  <a:lnTo>
                    <a:pt x="36" y="32"/>
                  </a:lnTo>
                  <a:lnTo>
                    <a:pt x="37" y="31"/>
                  </a:lnTo>
                  <a:lnTo>
                    <a:pt x="37" y="30"/>
                  </a:lnTo>
                  <a:lnTo>
                    <a:pt x="37" y="29"/>
                  </a:lnTo>
                  <a:lnTo>
                    <a:pt x="37" y="28"/>
                  </a:lnTo>
                  <a:lnTo>
                    <a:pt x="38" y="28"/>
                  </a:lnTo>
                  <a:lnTo>
                    <a:pt x="39" y="27"/>
                  </a:lnTo>
                  <a:lnTo>
                    <a:pt x="41" y="25"/>
                  </a:lnTo>
                  <a:lnTo>
                    <a:pt x="42" y="25"/>
                  </a:lnTo>
                  <a:lnTo>
                    <a:pt x="41" y="24"/>
                  </a:lnTo>
                  <a:lnTo>
                    <a:pt x="39" y="22"/>
                  </a:lnTo>
                  <a:lnTo>
                    <a:pt x="38" y="21"/>
                  </a:lnTo>
                  <a:lnTo>
                    <a:pt x="36" y="18"/>
                  </a:lnTo>
                  <a:lnTo>
                    <a:pt x="35" y="17"/>
                  </a:lnTo>
                  <a:lnTo>
                    <a:pt x="32" y="15"/>
                  </a:lnTo>
                  <a:lnTo>
                    <a:pt x="30" y="13"/>
                  </a:lnTo>
                  <a:lnTo>
                    <a:pt x="29" y="11"/>
                  </a:lnTo>
                  <a:lnTo>
                    <a:pt x="27" y="9"/>
                  </a:lnTo>
                  <a:lnTo>
                    <a:pt x="30" y="8"/>
                  </a:lnTo>
                  <a:lnTo>
                    <a:pt x="32" y="7"/>
                  </a:lnTo>
                  <a:lnTo>
                    <a:pt x="36" y="7"/>
                  </a:lnTo>
                  <a:lnTo>
                    <a:pt x="37" y="6"/>
                  </a:lnTo>
                  <a:lnTo>
                    <a:pt x="39" y="6"/>
                  </a:lnTo>
                  <a:lnTo>
                    <a:pt x="42" y="5"/>
                  </a:lnTo>
                  <a:lnTo>
                    <a:pt x="45" y="3"/>
                  </a:lnTo>
                  <a:lnTo>
                    <a:pt x="48" y="2"/>
                  </a:lnTo>
                  <a:lnTo>
                    <a:pt x="51" y="2"/>
                  </a:lnTo>
                  <a:lnTo>
                    <a:pt x="52" y="1"/>
                  </a:lnTo>
                  <a:lnTo>
                    <a:pt x="55" y="0"/>
                  </a:lnTo>
                  <a:lnTo>
                    <a:pt x="57" y="0"/>
                  </a:lnTo>
                  <a:lnTo>
                    <a:pt x="60" y="0"/>
                  </a:lnTo>
                  <a:lnTo>
                    <a:pt x="63" y="1"/>
                  </a:lnTo>
                  <a:lnTo>
                    <a:pt x="65"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30" name="Rectangle 989">
              <a:extLst>
                <a:ext uri="{FF2B5EF4-FFF2-40B4-BE49-F238E27FC236}">
                  <a16:creationId xmlns:a16="http://schemas.microsoft.com/office/drawing/2014/main" id="{C7870BEA-6DE6-4D2B-8CBA-C8BDC336D1D0}"/>
                </a:ext>
              </a:extLst>
            </p:cNvPr>
            <p:cNvSpPr>
              <a:spLocks noChangeArrowheads="1"/>
            </p:cNvSpPr>
            <p:nvPr/>
          </p:nvSpPr>
          <p:spPr bwMode="auto">
            <a:xfrm>
              <a:off x="7977931" y="3028011"/>
              <a:ext cx="1336" cy="1336"/>
            </a:xfrm>
            <a:prstGeom prst="rect">
              <a:avLst/>
            </a:prstGeom>
            <a:solidFill>
              <a:srgbClr val="D2D2D2"/>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it-IT" dirty="0"/>
            </a:p>
          </p:txBody>
        </p:sp>
        <p:sp>
          <p:nvSpPr>
            <p:cNvPr id="231" name="Freeform 990">
              <a:extLst>
                <a:ext uri="{FF2B5EF4-FFF2-40B4-BE49-F238E27FC236}">
                  <a16:creationId xmlns:a16="http://schemas.microsoft.com/office/drawing/2014/main" id="{8D3038AE-DEAA-4A55-BB33-925580CFE0CB}"/>
                </a:ext>
              </a:extLst>
            </p:cNvPr>
            <p:cNvSpPr>
              <a:spLocks noEditPoints="1"/>
            </p:cNvSpPr>
            <p:nvPr/>
          </p:nvSpPr>
          <p:spPr bwMode="auto">
            <a:xfrm>
              <a:off x="6209745" y="2878436"/>
              <a:ext cx="305827" cy="287130"/>
            </a:xfrm>
            <a:custGeom>
              <a:avLst/>
              <a:gdLst>
                <a:gd name="T0" fmla="*/ 131 w 229"/>
                <a:gd name="T1" fmla="*/ 4 h 215"/>
                <a:gd name="T2" fmla="*/ 144 w 229"/>
                <a:gd name="T3" fmla="*/ 4 h 215"/>
                <a:gd name="T4" fmla="*/ 166 w 229"/>
                <a:gd name="T5" fmla="*/ 4 h 215"/>
                <a:gd name="T6" fmla="*/ 199 w 229"/>
                <a:gd name="T7" fmla="*/ 4 h 215"/>
                <a:gd name="T8" fmla="*/ 208 w 229"/>
                <a:gd name="T9" fmla="*/ 19 h 215"/>
                <a:gd name="T10" fmla="*/ 206 w 229"/>
                <a:gd name="T11" fmla="*/ 18 h 215"/>
                <a:gd name="T12" fmla="*/ 207 w 229"/>
                <a:gd name="T13" fmla="*/ 29 h 215"/>
                <a:gd name="T14" fmla="*/ 208 w 229"/>
                <a:gd name="T15" fmla="*/ 41 h 215"/>
                <a:gd name="T16" fmla="*/ 213 w 229"/>
                <a:gd name="T17" fmla="*/ 54 h 215"/>
                <a:gd name="T18" fmla="*/ 220 w 229"/>
                <a:gd name="T19" fmla="*/ 58 h 215"/>
                <a:gd name="T20" fmla="*/ 224 w 229"/>
                <a:gd name="T21" fmla="*/ 63 h 215"/>
                <a:gd name="T22" fmla="*/ 228 w 229"/>
                <a:gd name="T23" fmla="*/ 65 h 215"/>
                <a:gd name="T24" fmla="*/ 223 w 229"/>
                <a:gd name="T25" fmla="*/ 74 h 215"/>
                <a:gd name="T26" fmla="*/ 217 w 229"/>
                <a:gd name="T27" fmla="*/ 76 h 215"/>
                <a:gd name="T28" fmla="*/ 208 w 229"/>
                <a:gd name="T29" fmla="*/ 82 h 215"/>
                <a:gd name="T30" fmla="*/ 207 w 229"/>
                <a:gd name="T31" fmla="*/ 90 h 215"/>
                <a:gd name="T32" fmla="*/ 205 w 229"/>
                <a:gd name="T33" fmla="*/ 102 h 215"/>
                <a:gd name="T34" fmla="*/ 202 w 229"/>
                <a:gd name="T35" fmla="*/ 118 h 215"/>
                <a:gd name="T36" fmla="*/ 200 w 229"/>
                <a:gd name="T37" fmla="*/ 140 h 215"/>
                <a:gd name="T38" fmla="*/ 192 w 229"/>
                <a:gd name="T39" fmla="*/ 152 h 215"/>
                <a:gd name="T40" fmla="*/ 185 w 229"/>
                <a:gd name="T41" fmla="*/ 163 h 215"/>
                <a:gd name="T42" fmla="*/ 184 w 229"/>
                <a:gd name="T43" fmla="*/ 174 h 215"/>
                <a:gd name="T44" fmla="*/ 178 w 229"/>
                <a:gd name="T45" fmla="*/ 180 h 215"/>
                <a:gd name="T46" fmla="*/ 173 w 229"/>
                <a:gd name="T47" fmla="*/ 193 h 215"/>
                <a:gd name="T48" fmla="*/ 170 w 229"/>
                <a:gd name="T49" fmla="*/ 194 h 215"/>
                <a:gd name="T50" fmla="*/ 157 w 229"/>
                <a:gd name="T51" fmla="*/ 168 h 215"/>
                <a:gd name="T52" fmla="*/ 152 w 229"/>
                <a:gd name="T53" fmla="*/ 162 h 215"/>
                <a:gd name="T54" fmla="*/ 144 w 229"/>
                <a:gd name="T55" fmla="*/ 180 h 215"/>
                <a:gd name="T56" fmla="*/ 127 w 229"/>
                <a:gd name="T57" fmla="*/ 197 h 215"/>
                <a:gd name="T58" fmla="*/ 108 w 229"/>
                <a:gd name="T59" fmla="*/ 197 h 215"/>
                <a:gd name="T60" fmla="*/ 87 w 229"/>
                <a:gd name="T61" fmla="*/ 203 h 215"/>
                <a:gd name="T62" fmla="*/ 68 w 229"/>
                <a:gd name="T63" fmla="*/ 202 h 215"/>
                <a:gd name="T64" fmla="*/ 58 w 229"/>
                <a:gd name="T65" fmla="*/ 188 h 215"/>
                <a:gd name="T66" fmla="*/ 48 w 229"/>
                <a:gd name="T67" fmla="*/ 188 h 215"/>
                <a:gd name="T68" fmla="*/ 43 w 229"/>
                <a:gd name="T69" fmla="*/ 201 h 215"/>
                <a:gd name="T70" fmla="*/ 35 w 229"/>
                <a:gd name="T71" fmla="*/ 212 h 215"/>
                <a:gd name="T72" fmla="*/ 25 w 229"/>
                <a:gd name="T73" fmla="*/ 214 h 215"/>
                <a:gd name="T74" fmla="*/ 25 w 229"/>
                <a:gd name="T75" fmla="*/ 205 h 215"/>
                <a:gd name="T76" fmla="*/ 24 w 229"/>
                <a:gd name="T77" fmla="*/ 190 h 215"/>
                <a:gd name="T78" fmla="*/ 16 w 229"/>
                <a:gd name="T79" fmla="*/ 172 h 215"/>
                <a:gd name="T80" fmla="*/ 11 w 229"/>
                <a:gd name="T81" fmla="*/ 161 h 215"/>
                <a:gd name="T82" fmla="*/ 7 w 229"/>
                <a:gd name="T83" fmla="*/ 152 h 215"/>
                <a:gd name="T84" fmla="*/ 0 w 229"/>
                <a:gd name="T85" fmla="*/ 149 h 215"/>
                <a:gd name="T86" fmla="*/ 6 w 229"/>
                <a:gd name="T87" fmla="*/ 140 h 215"/>
                <a:gd name="T88" fmla="*/ 8 w 229"/>
                <a:gd name="T89" fmla="*/ 130 h 215"/>
                <a:gd name="T90" fmla="*/ 8 w 229"/>
                <a:gd name="T91" fmla="*/ 121 h 215"/>
                <a:gd name="T92" fmla="*/ 15 w 229"/>
                <a:gd name="T93" fmla="*/ 112 h 215"/>
                <a:gd name="T94" fmla="*/ 20 w 229"/>
                <a:gd name="T95" fmla="*/ 104 h 215"/>
                <a:gd name="T96" fmla="*/ 29 w 229"/>
                <a:gd name="T97" fmla="*/ 88 h 215"/>
                <a:gd name="T98" fmla="*/ 28 w 229"/>
                <a:gd name="T99" fmla="*/ 50 h 215"/>
                <a:gd name="T100" fmla="*/ 34 w 229"/>
                <a:gd name="T101" fmla="*/ 35 h 215"/>
                <a:gd name="T102" fmla="*/ 41 w 229"/>
                <a:gd name="T103" fmla="*/ 26 h 215"/>
                <a:gd name="T104" fmla="*/ 39 w 229"/>
                <a:gd name="T105" fmla="*/ 6 h 215"/>
                <a:gd name="T106" fmla="*/ 51 w 229"/>
                <a:gd name="T107" fmla="*/ 4 h 215"/>
                <a:gd name="T108" fmla="*/ 65 w 229"/>
                <a:gd name="T109" fmla="*/ 4 h 215"/>
                <a:gd name="T110" fmla="*/ 78 w 229"/>
                <a:gd name="T111" fmla="*/ 4 h 215"/>
                <a:gd name="T112" fmla="*/ 91 w 229"/>
                <a:gd name="T113" fmla="*/ 4 h 215"/>
                <a:gd name="T114" fmla="*/ 105 w 229"/>
                <a:gd name="T115" fmla="*/ 4 h 215"/>
                <a:gd name="T116" fmla="*/ 117 w 229"/>
                <a:gd name="T117" fmla="*/ 4 h 215"/>
                <a:gd name="T118" fmla="*/ 128 w 229"/>
                <a:gd name="T119"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9" h="215">
                  <a:moveTo>
                    <a:pt x="208" y="23"/>
                  </a:moveTo>
                  <a:lnTo>
                    <a:pt x="208" y="22"/>
                  </a:lnTo>
                  <a:lnTo>
                    <a:pt x="208" y="21"/>
                  </a:lnTo>
                  <a:lnTo>
                    <a:pt x="208" y="22"/>
                  </a:lnTo>
                  <a:lnTo>
                    <a:pt x="208" y="23"/>
                  </a:lnTo>
                  <a:close/>
                  <a:moveTo>
                    <a:pt x="128" y="2"/>
                  </a:moveTo>
                  <a:lnTo>
                    <a:pt x="128" y="4"/>
                  </a:lnTo>
                  <a:lnTo>
                    <a:pt x="129" y="4"/>
                  </a:lnTo>
                  <a:lnTo>
                    <a:pt x="130" y="4"/>
                  </a:lnTo>
                  <a:lnTo>
                    <a:pt x="131" y="4"/>
                  </a:lnTo>
                  <a:lnTo>
                    <a:pt x="132" y="4"/>
                  </a:lnTo>
                  <a:lnTo>
                    <a:pt x="134" y="4"/>
                  </a:lnTo>
                  <a:lnTo>
                    <a:pt x="136" y="4"/>
                  </a:lnTo>
                  <a:lnTo>
                    <a:pt x="137" y="4"/>
                  </a:lnTo>
                  <a:lnTo>
                    <a:pt x="138" y="4"/>
                  </a:lnTo>
                  <a:lnTo>
                    <a:pt x="139" y="4"/>
                  </a:lnTo>
                  <a:lnTo>
                    <a:pt x="141" y="4"/>
                  </a:lnTo>
                  <a:lnTo>
                    <a:pt x="142" y="4"/>
                  </a:lnTo>
                  <a:lnTo>
                    <a:pt x="143" y="4"/>
                  </a:lnTo>
                  <a:lnTo>
                    <a:pt x="144" y="4"/>
                  </a:lnTo>
                  <a:lnTo>
                    <a:pt x="145" y="4"/>
                  </a:lnTo>
                  <a:lnTo>
                    <a:pt x="146" y="4"/>
                  </a:lnTo>
                  <a:lnTo>
                    <a:pt x="148" y="4"/>
                  </a:lnTo>
                  <a:lnTo>
                    <a:pt x="150" y="4"/>
                  </a:lnTo>
                  <a:lnTo>
                    <a:pt x="151" y="4"/>
                  </a:lnTo>
                  <a:lnTo>
                    <a:pt x="153" y="4"/>
                  </a:lnTo>
                  <a:lnTo>
                    <a:pt x="157" y="4"/>
                  </a:lnTo>
                  <a:lnTo>
                    <a:pt x="160" y="4"/>
                  </a:lnTo>
                  <a:lnTo>
                    <a:pt x="164" y="4"/>
                  </a:lnTo>
                  <a:lnTo>
                    <a:pt x="166" y="4"/>
                  </a:lnTo>
                  <a:lnTo>
                    <a:pt x="170" y="4"/>
                  </a:lnTo>
                  <a:lnTo>
                    <a:pt x="173" y="4"/>
                  </a:lnTo>
                  <a:lnTo>
                    <a:pt x="177" y="4"/>
                  </a:lnTo>
                  <a:lnTo>
                    <a:pt x="179" y="4"/>
                  </a:lnTo>
                  <a:lnTo>
                    <a:pt x="182" y="4"/>
                  </a:lnTo>
                  <a:lnTo>
                    <a:pt x="186" y="4"/>
                  </a:lnTo>
                  <a:lnTo>
                    <a:pt x="188" y="4"/>
                  </a:lnTo>
                  <a:lnTo>
                    <a:pt x="192" y="4"/>
                  </a:lnTo>
                  <a:lnTo>
                    <a:pt x="195" y="4"/>
                  </a:lnTo>
                  <a:lnTo>
                    <a:pt x="199" y="4"/>
                  </a:lnTo>
                  <a:lnTo>
                    <a:pt x="201" y="4"/>
                  </a:lnTo>
                  <a:lnTo>
                    <a:pt x="201" y="5"/>
                  </a:lnTo>
                  <a:lnTo>
                    <a:pt x="201" y="6"/>
                  </a:lnTo>
                  <a:lnTo>
                    <a:pt x="202" y="8"/>
                  </a:lnTo>
                  <a:lnTo>
                    <a:pt x="202" y="9"/>
                  </a:lnTo>
                  <a:lnTo>
                    <a:pt x="203" y="12"/>
                  </a:lnTo>
                  <a:lnTo>
                    <a:pt x="206" y="15"/>
                  </a:lnTo>
                  <a:lnTo>
                    <a:pt x="207" y="16"/>
                  </a:lnTo>
                  <a:lnTo>
                    <a:pt x="208" y="18"/>
                  </a:lnTo>
                  <a:lnTo>
                    <a:pt x="208" y="19"/>
                  </a:lnTo>
                  <a:lnTo>
                    <a:pt x="207" y="19"/>
                  </a:lnTo>
                  <a:lnTo>
                    <a:pt x="207" y="18"/>
                  </a:lnTo>
                  <a:lnTo>
                    <a:pt x="207" y="19"/>
                  </a:lnTo>
                  <a:lnTo>
                    <a:pt x="208" y="19"/>
                  </a:lnTo>
                  <a:lnTo>
                    <a:pt x="207" y="18"/>
                  </a:lnTo>
                  <a:lnTo>
                    <a:pt x="207" y="16"/>
                  </a:lnTo>
                  <a:lnTo>
                    <a:pt x="206" y="16"/>
                  </a:lnTo>
                  <a:lnTo>
                    <a:pt x="206" y="15"/>
                  </a:lnTo>
                  <a:lnTo>
                    <a:pt x="206" y="16"/>
                  </a:lnTo>
                  <a:lnTo>
                    <a:pt x="206" y="18"/>
                  </a:lnTo>
                  <a:lnTo>
                    <a:pt x="206" y="19"/>
                  </a:lnTo>
                  <a:lnTo>
                    <a:pt x="206" y="20"/>
                  </a:lnTo>
                  <a:lnTo>
                    <a:pt x="207" y="21"/>
                  </a:lnTo>
                  <a:lnTo>
                    <a:pt x="207" y="23"/>
                  </a:lnTo>
                  <a:lnTo>
                    <a:pt x="207" y="25"/>
                  </a:lnTo>
                  <a:lnTo>
                    <a:pt x="208" y="26"/>
                  </a:lnTo>
                  <a:lnTo>
                    <a:pt x="208" y="27"/>
                  </a:lnTo>
                  <a:lnTo>
                    <a:pt x="208" y="28"/>
                  </a:lnTo>
                  <a:lnTo>
                    <a:pt x="207" y="28"/>
                  </a:lnTo>
                  <a:lnTo>
                    <a:pt x="207" y="29"/>
                  </a:lnTo>
                  <a:lnTo>
                    <a:pt x="207" y="30"/>
                  </a:lnTo>
                  <a:lnTo>
                    <a:pt x="208" y="32"/>
                  </a:lnTo>
                  <a:lnTo>
                    <a:pt x="208" y="33"/>
                  </a:lnTo>
                  <a:lnTo>
                    <a:pt x="208" y="34"/>
                  </a:lnTo>
                  <a:lnTo>
                    <a:pt x="208" y="35"/>
                  </a:lnTo>
                  <a:lnTo>
                    <a:pt x="209" y="37"/>
                  </a:lnTo>
                  <a:lnTo>
                    <a:pt x="209" y="39"/>
                  </a:lnTo>
                  <a:lnTo>
                    <a:pt x="209" y="40"/>
                  </a:lnTo>
                  <a:lnTo>
                    <a:pt x="208" y="40"/>
                  </a:lnTo>
                  <a:lnTo>
                    <a:pt x="208" y="41"/>
                  </a:lnTo>
                  <a:lnTo>
                    <a:pt x="209" y="41"/>
                  </a:lnTo>
                  <a:lnTo>
                    <a:pt x="209" y="42"/>
                  </a:lnTo>
                  <a:lnTo>
                    <a:pt x="209" y="43"/>
                  </a:lnTo>
                  <a:lnTo>
                    <a:pt x="210" y="47"/>
                  </a:lnTo>
                  <a:lnTo>
                    <a:pt x="210" y="48"/>
                  </a:lnTo>
                  <a:lnTo>
                    <a:pt x="210" y="49"/>
                  </a:lnTo>
                  <a:lnTo>
                    <a:pt x="212" y="50"/>
                  </a:lnTo>
                  <a:lnTo>
                    <a:pt x="212" y="51"/>
                  </a:lnTo>
                  <a:lnTo>
                    <a:pt x="212" y="53"/>
                  </a:lnTo>
                  <a:lnTo>
                    <a:pt x="213" y="54"/>
                  </a:lnTo>
                  <a:lnTo>
                    <a:pt x="213" y="55"/>
                  </a:lnTo>
                  <a:lnTo>
                    <a:pt x="214" y="55"/>
                  </a:lnTo>
                  <a:lnTo>
                    <a:pt x="215" y="55"/>
                  </a:lnTo>
                  <a:lnTo>
                    <a:pt x="216" y="55"/>
                  </a:lnTo>
                  <a:lnTo>
                    <a:pt x="216" y="56"/>
                  </a:lnTo>
                  <a:lnTo>
                    <a:pt x="216" y="57"/>
                  </a:lnTo>
                  <a:lnTo>
                    <a:pt x="217" y="56"/>
                  </a:lnTo>
                  <a:lnTo>
                    <a:pt x="217" y="57"/>
                  </a:lnTo>
                  <a:lnTo>
                    <a:pt x="219" y="57"/>
                  </a:lnTo>
                  <a:lnTo>
                    <a:pt x="220" y="58"/>
                  </a:lnTo>
                  <a:lnTo>
                    <a:pt x="221" y="60"/>
                  </a:lnTo>
                  <a:lnTo>
                    <a:pt x="222" y="60"/>
                  </a:lnTo>
                  <a:lnTo>
                    <a:pt x="222" y="61"/>
                  </a:lnTo>
                  <a:lnTo>
                    <a:pt x="221" y="61"/>
                  </a:lnTo>
                  <a:lnTo>
                    <a:pt x="222" y="62"/>
                  </a:lnTo>
                  <a:lnTo>
                    <a:pt x="222" y="63"/>
                  </a:lnTo>
                  <a:lnTo>
                    <a:pt x="223" y="63"/>
                  </a:lnTo>
                  <a:lnTo>
                    <a:pt x="223" y="62"/>
                  </a:lnTo>
                  <a:lnTo>
                    <a:pt x="224" y="62"/>
                  </a:lnTo>
                  <a:lnTo>
                    <a:pt x="224" y="63"/>
                  </a:lnTo>
                  <a:lnTo>
                    <a:pt x="223" y="63"/>
                  </a:lnTo>
                  <a:lnTo>
                    <a:pt x="224" y="63"/>
                  </a:lnTo>
                  <a:lnTo>
                    <a:pt x="226" y="63"/>
                  </a:lnTo>
                  <a:lnTo>
                    <a:pt x="226" y="64"/>
                  </a:lnTo>
                  <a:lnTo>
                    <a:pt x="226" y="63"/>
                  </a:lnTo>
                  <a:lnTo>
                    <a:pt x="227" y="64"/>
                  </a:lnTo>
                  <a:lnTo>
                    <a:pt x="228" y="64"/>
                  </a:lnTo>
                  <a:lnTo>
                    <a:pt x="228" y="65"/>
                  </a:lnTo>
                  <a:lnTo>
                    <a:pt x="228" y="64"/>
                  </a:lnTo>
                  <a:lnTo>
                    <a:pt x="228" y="65"/>
                  </a:lnTo>
                  <a:lnTo>
                    <a:pt x="229" y="65"/>
                  </a:lnTo>
                  <a:lnTo>
                    <a:pt x="229" y="67"/>
                  </a:lnTo>
                  <a:lnTo>
                    <a:pt x="227" y="69"/>
                  </a:lnTo>
                  <a:lnTo>
                    <a:pt x="226" y="71"/>
                  </a:lnTo>
                  <a:lnTo>
                    <a:pt x="226" y="72"/>
                  </a:lnTo>
                  <a:lnTo>
                    <a:pt x="224" y="72"/>
                  </a:lnTo>
                  <a:lnTo>
                    <a:pt x="224" y="74"/>
                  </a:lnTo>
                  <a:lnTo>
                    <a:pt x="224" y="75"/>
                  </a:lnTo>
                  <a:lnTo>
                    <a:pt x="223" y="75"/>
                  </a:lnTo>
                  <a:lnTo>
                    <a:pt x="223" y="74"/>
                  </a:lnTo>
                  <a:lnTo>
                    <a:pt x="222" y="74"/>
                  </a:lnTo>
                  <a:lnTo>
                    <a:pt x="222" y="75"/>
                  </a:lnTo>
                  <a:lnTo>
                    <a:pt x="222" y="74"/>
                  </a:lnTo>
                  <a:lnTo>
                    <a:pt x="221" y="74"/>
                  </a:lnTo>
                  <a:lnTo>
                    <a:pt x="220" y="75"/>
                  </a:lnTo>
                  <a:lnTo>
                    <a:pt x="220" y="76"/>
                  </a:lnTo>
                  <a:lnTo>
                    <a:pt x="219" y="76"/>
                  </a:lnTo>
                  <a:lnTo>
                    <a:pt x="219" y="75"/>
                  </a:lnTo>
                  <a:lnTo>
                    <a:pt x="217" y="75"/>
                  </a:lnTo>
                  <a:lnTo>
                    <a:pt x="217" y="76"/>
                  </a:lnTo>
                  <a:lnTo>
                    <a:pt x="216" y="77"/>
                  </a:lnTo>
                  <a:lnTo>
                    <a:pt x="214" y="77"/>
                  </a:lnTo>
                  <a:lnTo>
                    <a:pt x="214" y="78"/>
                  </a:lnTo>
                  <a:lnTo>
                    <a:pt x="214" y="79"/>
                  </a:lnTo>
                  <a:lnTo>
                    <a:pt x="214" y="81"/>
                  </a:lnTo>
                  <a:lnTo>
                    <a:pt x="213" y="82"/>
                  </a:lnTo>
                  <a:lnTo>
                    <a:pt x="212" y="82"/>
                  </a:lnTo>
                  <a:lnTo>
                    <a:pt x="210" y="82"/>
                  </a:lnTo>
                  <a:lnTo>
                    <a:pt x="209" y="82"/>
                  </a:lnTo>
                  <a:lnTo>
                    <a:pt x="208" y="82"/>
                  </a:lnTo>
                  <a:lnTo>
                    <a:pt x="207" y="82"/>
                  </a:lnTo>
                  <a:lnTo>
                    <a:pt x="208" y="83"/>
                  </a:lnTo>
                  <a:lnTo>
                    <a:pt x="207" y="83"/>
                  </a:lnTo>
                  <a:lnTo>
                    <a:pt x="207" y="84"/>
                  </a:lnTo>
                  <a:lnTo>
                    <a:pt x="208" y="84"/>
                  </a:lnTo>
                  <a:lnTo>
                    <a:pt x="208" y="85"/>
                  </a:lnTo>
                  <a:lnTo>
                    <a:pt x="208" y="86"/>
                  </a:lnTo>
                  <a:lnTo>
                    <a:pt x="207" y="88"/>
                  </a:lnTo>
                  <a:lnTo>
                    <a:pt x="207" y="89"/>
                  </a:lnTo>
                  <a:lnTo>
                    <a:pt x="207" y="90"/>
                  </a:lnTo>
                  <a:lnTo>
                    <a:pt x="206" y="90"/>
                  </a:lnTo>
                  <a:lnTo>
                    <a:pt x="207" y="91"/>
                  </a:lnTo>
                  <a:lnTo>
                    <a:pt x="207" y="92"/>
                  </a:lnTo>
                  <a:lnTo>
                    <a:pt x="207" y="93"/>
                  </a:lnTo>
                  <a:lnTo>
                    <a:pt x="207" y="95"/>
                  </a:lnTo>
                  <a:lnTo>
                    <a:pt x="207" y="96"/>
                  </a:lnTo>
                  <a:lnTo>
                    <a:pt x="206" y="97"/>
                  </a:lnTo>
                  <a:lnTo>
                    <a:pt x="206" y="99"/>
                  </a:lnTo>
                  <a:lnTo>
                    <a:pt x="205" y="100"/>
                  </a:lnTo>
                  <a:lnTo>
                    <a:pt x="205" y="102"/>
                  </a:lnTo>
                  <a:lnTo>
                    <a:pt x="205" y="103"/>
                  </a:lnTo>
                  <a:lnTo>
                    <a:pt x="203" y="103"/>
                  </a:lnTo>
                  <a:lnTo>
                    <a:pt x="203" y="106"/>
                  </a:lnTo>
                  <a:lnTo>
                    <a:pt x="203" y="107"/>
                  </a:lnTo>
                  <a:lnTo>
                    <a:pt x="202" y="110"/>
                  </a:lnTo>
                  <a:lnTo>
                    <a:pt x="202" y="111"/>
                  </a:lnTo>
                  <a:lnTo>
                    <a:pt x="201" y="112"/>
                  </a:lnTo>
                  <a:lnTo>
                    <a:pt x="201" y="114"/>
                  </a:lnTo>
                  <a:lnTo>
                    <a:pt x="201" y="117"/>
                  </a:lnTo>
                  <a:lnTo>
                    <a:pt x="202" y="118"/>
                  </a:lnTo>
                  <a:lnTo>
                    <a:pt x="202" y="119"/>
                  </a:lnTo>
                  <a:lnTo>
                    <a:pt x="202" y="121"/>
                  </a:lnTo>
                  <a:lnTo>
                    <a:pt x="202" y="123"/>
                  </a:lnTo>
                  <a:lnTo>
                    <a:pt x="203" y="126"/>
                  </a:lnTo>
                  <a:lnTo>
                    <a:pt x="202" y="131"/>
                  </a:lnTo>
                  <a:lnTo>
                    <a:pt x="202" y="132"/>
                  </a:lnTo>
                  <a:lnTo>
                    <a:pt x="202" y="133"/>
                  </a:lnTo>
                  <a:lnTo>
                    <a:pt x="201" y="135"/>
                  </a:lnTo>
                  <a:lnTo>
                    <a:pt x="201" y="137"/>
                  </a:lnTo>
                  <a:lnTo>
                    <a:pt x="200" y="140"/>
                  </a:lnTo>
                  <a:lnTo>
                    <a:pt x="199" y="146"/>
                  </a:lnTo>
                  <a:lnTo>
                    <a:pt x="199" y="147"/>
                  </a:lnTo>
                  <a:lnTo>
                    <a:pt x="198" y="147"/>
                  </a:lnTo>
                  <a:lnTo>
                    <a:pt x="199" y="148"/>
                  </a:lnTo>
                  <a:lnTo>
                    <a:pt x="199" y="151"/>
                  </a:lnTo>
                  <a:lnTo>
                    <a:pt x="198" y="151"/>
                  </a:lnTo>
                  <a:lnTo>
                    <a:pt x="196" y="151"/>
                  </a:lnTo>
                  <a:lnTo>
                    <a:pt x="193" y="151"/>
                  </a:lnTo>
                  <a:lnTo>
                    <a:pt x="193" y="152"/>
                  </a:lnTo>
                  <a:lnTo>
                    <a:pt x="192" y="152"/>
                  </a:lnTo>
                  <a:lnTo>
                    <a:pt x="192" y="153"/>
                  </a:lnTo>
                  <a:lnTo>
                    <a:pt x="189" y="158"/>
                  </a:lnTo>
                  <a:lnTo>
                    <a:pt x="188" y="158"/>
                  </a:lnTo>
                  <a:lnTo>
                    <a:pt x="188" y="159"/>
                  </a:lnTo>
                  <a:lnTo>
                    <a:pt x="188" y="160"/>
                  </a:lnTo>
                  <a:lnTo>
                    <a:pt x="187" y="160"/>
                  </a:lnTo>
                  <a:lnTo>
                    <a:pt x="187" y="161"/>
                  </a:lnTo>
                  <a:lnTo>
                    <a:pt x="187" y="162"/>
                  </a:lnTo>
                  <a:lnTo>
                    <a:pt x="186" y="163"/>
                  </a:lnTo>
                  <a:lnTo>
                    <a:pt x="185" y="163"/>
                  </a:lnTo>
                  <a:lnTo>
                    <a:pt x="185" y="165"/>
                  </a:lnTo>
                  <a:lnTo>
                    <a:pt x="184" y="165"/>
                  </a:lnTo>
                  <a:lnTo>
                    <a:pt x="184" y="166"/>
                  </a:lnTo>
                  <a:lnTo>
                    <a:pt x="184" y="167"/>
                  </a:lnTo>
                  <a:lnTo>
                    <a:pt x="184" y="168"/>
                  </a:lnTo>
                  <a:lnTo>
                    <a:pt x="185" y="168"/>
                  </a:lnTo>
                  <a:lnTo>
                    <a:pt x="185" y="169"/>
                  </a:lnTo>
                  <a:lnTo>
                    <a:pt x="182" y="173"/>
                  </a:lnTo>
                  <a:lnTo>
                    <a:pt x="182" y="174"/>
                  </a:lnTo>
                  <a:lnTo>
                    <a:pt x="184" y="174"/>
                  </a:lnTo>
                  <a:lnTo>
                    <a:pt x="184" y="175"/>
                  </a:lnTo>
                  <a:lnTo>
                    <a:pt x="182" y="179"/>
                  </a:lnTo>
                  <a:lnTo>
                    <a:pt x="184" y="179"/>
                  </a:lnTo>
                  <a:lnTo>
                    <a:pt x="182" y="180"/>
                  </a:lnTo>
                  <a:lnTo>
                    <a:pt x="182" y="181"/>
                  </a:lnTo>
                  <a:lnTo>
                    <a:pt x="181" y="181"/>
                  </a:lnTo>
                  <a:lnTo>
                    <a:pt x="181" y="182"/>
                  </a:lnTo>
                  <a:lnTo>
                    <a:pt x="180" y="182"/>
                  </a:lnTo>
                  <a:lnTo>
                    <a:pt x="180" y="181"/>
                  </a:lnTo>
                  <a:lnTo>
                    <a:pt x="178" y="180"/>
                  </a:lnTo>
                  <a:lnTo>
                    <a:pt x="176" y="181"/>
                  </a:lnTo>
                  <a:lnTo>
                    <a:pt x="176" y="182"/>
                  </a:lnTo>
                  <a:lnTo>
                    <a:pt x="174" y="184"/>
                  </a:lnTo>
                  <a:lnTo>
                    <a:pt x="173" y="184"/>
                  </a:lnTo>
                  <a:lnTo>
                    <a:pt x="174" y="186"/>
                  </a:lnTo>
                  <a:lnTo>
                    <a:pt x="174" y="189"/>
                  </a:lnTo>
                  <a:lnTo>
                    <a:pt x="174" y="190"/>
                  </a:lnTo>
                  <a:lnTo>
                    <a:pt x="174" y="191"/>
                  </a:lnTo>
                  <a:lnTo>
                    <a:pt x="174" y="193"/>
                  </a:lnTo>
                  <a:lnTo>
                    <a:pt x="173" y="193"/>
                  </a:lnTo>
                  <a:lnTo>
                    <a:pt x="172" y="198"/>
                  </a:lnTo>
                  <a:lnTo>
                    <a:pt x="171" y="201"/>
                  </a:lnTo>
                  <a:lnTo>
                    <a:pt x="171" y="202"/>
                  </a:lnTo>
                  <a:lnTo>
                    <a:pt x="169" y="202"/>
                  </a:lnTo>
                  <a:lnTo>
                    <a:pt x="169" y="201"/>
                  </a:lnTo>
                  <a:lnTo>
                    <a:pt x="169" y="200"/>
                  </a:lnTo>
                  <a:lnTo>
                    <a:pt x="169" y="198"/>
                  </a:lnTo>
                  <a:lnTo>
                    <a:pt x="170" y="196"/>
                  </a:lnTo>
                  <a:lnTo>
                    <a:pt x="170" y="195"/>
                  </a:lnTo>
                  <a:lnTo>
                    <a:pt x="170" y="194"/>
                  </a:lnTo>
                  <a:lnTo>
                    <a:pt x="170" y="193"/>
                  </a:lnTo>
                  <a:lnTo>
                    <a:pt x="169" y="190"/>
                  </a:lnTo>
                  <a:lnTo>
                    <a:pt x="166" y="188"/>
                  </a:lnTo>
                  <a:lnTo>
                    <a:pt x="163" y="184"/>
                  </a:lnTo>
                  <a:lnTo>
                    <a:pt x="162" y="183"/>
                  </a:lnTo>
                  <a:lnTo>
                    <a:pt x="158" y="182"/>
                  </a:lnTo>
                  <a:lnTo>
                    <a:pt x="158" y="181"/>
                  </a:lnTo>
                  <a:lnTo>
                    <a:pt x="158" y="180"/>
                  </a:lnTo>
                  <a:lnTo>
                    <a:pt x="158" y="174"/>
                  </a:lnTo>
                  <a:lnTo>
                    <a:pt x="157" y="168"/>
                  </a:lnTo>
                  <a:lnTo>
                    <a:pt x="157" y="167"/>
                  </a:lnTo>
                  <a:lnTo>
                    <a:pt x="158" y="165"/>
                  </a:lnTo>
                  <a:lnTo>
                    <a:pt x="157" y="162"/>
                  </a:lnTo>
                  <a:lnTo>
                    <a:pt x="158" y="160"/>
                  </a:lnTo>
                  <a:lnTo>
                    <a:pt x="158" y="159"/>
                  </a:lnTo>
                  <a:lnTo>
                    <a:pt x="151" y="159"/>
                  </a:lnTo>
                  <a:lnTo>
                    <a:pt x="151" y="160"/>
                  </a:lnTo>
                  <a:lnTo>
                    <a:pt x="152" y="160"/>
                  </a:lnTo>
                  <a:lnTo>
                    <a:pt x="152" y="161"/>
                  </a:lnTo>
                  <a:lnTo>
                    <a:pt x="152" y="162"/>
                  </a:lnTo>
                  <a:lnTo>
                    <a:pt x="148" y="162"/>
                  </a:lnTo>
                  <a:lnTo>
                    <a:pt x="143" y="162"/>
                  </a:lnTo>
                  <a:lnTo>
                    <a:pt x="146" y="166"/>
                  </a:lnTo>
                  <a:lnTo>
                    <a:pt x="146" y="167"/>
                  </a:lnTo>
                  <a:lnTo>
                    <a:pt x="146" y="168"/>
                  </a:lnTo>
                  <a:lnTo>
                    <a:pt x="146" y="172"/>
                  </a:lnTo>
                  <a:lnTo>
                    <a:pt x="146" y="173"/>
                  </a:lnTo>
                  <a:lnTo>
                    <a:pt x="146" y="174"/>
                  </a:lnTo>
                  <a:lnTo>
                    <a:pt x="148" y="176"/>
                  </a:lnTo>
                  <a:lnTo>
                    <a:pt x="144" y="180"/>
                  </a:lnTo>
                  <a:lnTo>
                    <a:pt x="142" y="183"/>
                  </a:lnTo>
                  <a:lnTo>
                    <a:pt x="141" y="183"/>
                  </a:lnTo>
                  <a:lnTo>
                    <a:pt x="141" y="186"/>
                  </a:lnTo>
                  <a:lnTo>
                    <a:pt x="139" y="188"/>
                  </a:lnTo>
                  <a:lnTo>
                    <a:pt x="137" y="190"/>
                  </a:lnTo>
                  <a:lnTo>
                    <a:pt x="135" y="194"/>
                  </a:lnTo>
                  <a:lnTo>
                    <a:pt x="131" y="196"/>
                  </a:lnTo>
                  <a:lnTo>
                    <a:pt x="131" y="197"/>
                  </a:lnTo>
                  <a:lnTo>
                    <a:pt x="128" y="197"/>
                  </a:lnTo>
                  <a:lnTo>
                    <a:pt x="127" y="197"/>
                  </a:lnTo>
                  <a:lnTo>
                    <a:pt x="125" y="197"/>
                  </a:lnTo>
                  <a:lnTo>
                    <a:pt x="121" y="194"/>
                  </a:lnTo>
                  <a:lnTo>
                    <a:pt x="118" y="191"/>
                  </a:lnTo>
                  <a:lnTo>
                    <a:pt x="115" y="189"/>
                  </a:lnTo>
                  <a:lnTo>
                    <a:pt x="114" y="189"/>
                  </a:lnTo>
                  <a:lnTo>
                    <a:pt x="110" y="191"/>
                  </a:lnTo>
                  <a:lnTo>
                    <a:pt x="109" y="193"/>
                  </a:lnTo>
                  <a:lnTo>
                    <a:pt x="109" y="195"/>
                  </a:lnTo>
                  <a:lnTo>
                    <a:pt x="109" y="196"/>
                  </a:lnTo>
                  <a:lnTo>
                    <a:pt x="108" y="197"/>
                  </a:lnTo>
                  <a:lnTo>
                    <a:pt x="105" y="198"/>
                  </a:lnTo>
                  <a:lnTo>
                    <a:pt x="102" y="198"/>
                  </a:lnTo>
                  <a:lnTo>
                    <a:pt x="101" y="200"/>
                  </a:lnTo>
                  <a:lnTo>
                    <a:pt x="100" y="201"/>
                  </a:lnTo>
                  <a:lnTo>
                    <a:pt x="99" y="202"/>
                  </a:lnTo>
                  <a:lnTo>
                    <a:pt x="99" y="203"/>
                  </a:lnTo>
                  <a:lnTo>
                    <a:pt x="99" y="204"/>
                  </a:lnTo>
                  <a:lnTo>
                    <a:pt x="93" y="204"/>
                  </a:lnTo>
                  <a:lnTo>
                    <a:pt x="88" y="204"/>
                  </a:lnTo>
                  <a:lnTo>
                    <a:pt x="87" y="203"/>
                  </a:lnTo>
                  <a:lnTo>
                    <a:pt x="86" y="200"/>
                  </a:lnTo>
                  <a:lnTo>
                    <a:pt x="85" y="200"/>
                  </a:lnTo>
                  <a:lnTo>
                    <a:pt x="84" y="200"/>
                  </a:lnTo>
                  <a:lnTo>
                    <a:pt x="82" y="200"/>
                  </a:lnTo>
                  <a:lnTo>
                    <a:pt x="81" y="200"/>
                  </a:lnTo>
                  <a:lnTo>
                    <a:pt x="80" y="200"/>
                  </a:lnTo>
                  <a:lnTo>
                    <a:pt x="79" y="200"/>
                  </a:lnTo>
                  <a:lnTo>
                    <a:pt x="78" y="200"/>
                  </a:lnTo>
                  <a:lnTo>
                    <a:pt x="74" y="200"/>
                  </a:lnTo>
                  <a:lnTo>
                    <a:pt x="68" y="202"/>
                  </a:lnTo>
                  <a:lnTo>
                    <a:pt x="67" y="202"/>
                  </a:lnTo>
                  <a:lnTo>
                    <a:pt x="67" y="201"/>
                  </a:lnTo>
                  <a:lnTo>
                    <a:pt x="64" y="197"/>
                  </a:lnTo>
                  <a:lnTo>
                    <a:pt x="61" y="194"/>
                  </a:lnTo>
                  <a:lnTo>
                    <a:pt x="60" y="194"/>
                  </a:lnTo>
                  <a:lnTo>
                    <a:pt x="60" y="193"/>
                  </a:lnTo>
                  <a:lnTo>
                    <a:pt x="59" y="191"/>
                  </a:lnTo>
                  <a:lnTo>
                    <a:pt x="58" y="191"/>
                  </a:lnTo>
                  <a:lnTo>
                    <a:pt x="58" y="190"/>
                  </a:lnTo>
                  <a:lnTo>
                    <a:pt x="58" y="188"/>
                  </a:lnTo>
                  <a:lnTo>
                    <a:pt x="57" y="187"/>
                  </a:lnTo>
                  <a:lnTo>
                    <a:pt x="56" y="187"/>
                  </a:lnTo>
                  <a:lnTo>
                    <a:pt x="54" y="187"/>
                  </a:lnTo>
                  <a:lnTo>
                    <a:pt x="53" y="187"/>
                  </a:lnTo>
                  <a:lnTo>
                    <a:pt x="53" y="188"/>
                  </a:lnTo>
                  <a:lnTo>
                    <a:pt x="52" y="188"/>
                  </a:lnTo>
                  <a:lnTo>
                    <a:pt x="51" y="188"/>
                  </a:lnTo>
                  <a:lnTo>
                    <a:pt x="50" y="188"/>
                  </a:lnTo>
                  <a:lnTo>
                    <a:pt x="49" y="188"/>
                  </a:lnTo>
                  <a:lnTo>
                    <a:pt x="48" y="188"/>
                  </a:lnTo>
                  <a:lnTo>
                    <a:pt x="48" y="189"/>
                  </a:lnTo>
                  <a:lnTo>
                    <a:pt x="48" y="188"/>
                  </a:lnTo>
                  <a:lnTo>
                    <a:pt x="46" y="189"/>
                  </a:lnTo>
                  <a:lnTo>
                    <a:pt x="45" y="190"/>
                  </a:lnTo>
                  <a:lnTo>
                    <a:pt x="45" y="191"/>
                  </a:lnTo>
                  <a:lnTo>
                    <a:pt x="45" y="193"/>
                  </a:lnTo>
                  <a:lnTo>
                    <a:pt x="45" y="194"/>
                  </a:lnTo>
                  <a:lnTo>
                    <a:pt x="44" y="195"/>
                  </a:lnTo>
                  <a:lnTo>
                    <a:pt x="43" y="196"/>
                  </a:lnTo>
                  <a:lnTo>
                    <a:pt x="43" y="201"/>
                  </a:lnTo>
                  <a:lnTo>
                    <a:pt x="42" y="202"/>
                  </a:lnTo>
                  <a:lnTo>
                    <a:pt x="42" y="203"/>
                  </a:lnTo>
                  <a:lnTo>
                    <a:pt x="41" y="203"/>
                  </a:lnTo>
                  <a:lnTo>
                    <a:pt x="41" y="207"/>
                  </a:lnTo>
                  <a:lnTo>
                    <a:pt x="39" y="209"/>
                  </a:lnTo>
                  <a:lnTo>
                    <a:pt x="39" y="211"/>
                  </a:lnTo>
                  <a:lnTo>
                    <a:pt x="38" y="211"/>
                  </a:lnTo>
                  <a:lnTo>
                    <a:pt x="37" y="211"/>
                  </a:lnTo>
                  <a:lnTo>
                    <a:pt x="36" y="212"/>
                  </a:lnTo>
                  <a:lnTo>
                    <a:pt x="35" y="212"/>
                  </a:lnTo>
                  <a:lnTo>
                    <a:pt x="35" y="214"/>
                  </a:lnTo>
                  <a:lnTo>
                    <a:pt x="34" y="214"/>
                  </a:lnTo>
                  <a:lnTo>
                    <a:pt x="34" y="215"/>
                  </a:lnTo>
                  <a:lnTo>
                    <a:pt x="32" y="214"/>
                  </a:lnTo>
                  <a:lnTo>
                    <a:pt x="31" y="214"/>
                  </a:lnTo>
                  <a:lnTo>
                    <a:pt x="30" y="214"/>
                  </a:lnTo>
                  <a:lnTo>
                    <a:pt x="29" y="214"/>
                  </a:lnTo>
                  <a:lnTo>
                    <a:pt x="28" y="214"/>
                  </a:lnTo>
                  <a:lnTo>
                    <a:pt x="27" y="214"/>
                  </a:lnTo>
                  <a:lnTo>
                    <a:pt x="25" y="214"/>
                  </a:lnTo>
                  <a:lnTo>
                    <a:pt x="24" y="214"/>
                  </a:lnTo>
                  <a:lnTo>
                    <a:pt x="24" y="212"/>
                  </a:lnTo>
                  <a:lnTo>
                    <a:pt x="25" y="211"/>
                  </a:lnTo>
                  <a:lnTo>
                    <a:pt x="25" y="210"/>
                  </a:lnTo>
                  <a:lnTo>
                    <a:pt x="25" y="209"/>
                  </a:lnTo>
                  <a:lnTo>
                    <a:pt x="24" y="210"/>
                  </a:lnTo>
                  <a:lnTo>
                    <a:pt x="24" y="209"/>
                  </a:lnTo>
                  <a:lnTo>
                    <a:pt x="24" y="207"/>
                  </a:lnTo>
                  <a:lnTo>
                    <a:pt x="25" y="207"/>
                  </a:lnTo>
                  <a:lnTo>
                    <a:pt x="25" y="205"/>
                  </a:lnTo>
                  <a:lnTo>
                    <a:pt x="27" y="205"/>
                  </a:lnTo>
                  <a:lnTo>
                    <a:pt x="27" y="204"/>
                  </a:lnTo>
                  <a:lnTo>
                    <a:pt x="27" y="203"/>
                  </a:lnTo>
                  <a:lnTo>
                    <a:pt x="27" y="202"/>
                  </a:lnTo>
                  <a:lnTo>
                    <a:pt x="27" y="201"/>
                  </a:lnTo>
                  <a:lnTo>
                    <a:pt x="27" y="200"/>
                  </a:lnTo>
                  <a:lnTo>
                    <a:pt x="27" y="198"/>
                  </a:lnTo>
                  <a:lnTo>
                    <a:pt x="27" y="196"/>
                  </a:lnTo>
                  <a:lnTo>
                    <a:pt x="27" y="195"/>
                  </a:lnTo>
                  <a:lnTo>
                    <a:pt x="24" y="190"/>
                  </a:lnTo>
                  <a:lnTo>
                    <a:pt x="22" y="187"/>
                  </a:lnTo>
                  <a:lnTo>
                    <a:pt x="18" y="183"/>
                  </a:lnTo>
                  <a:lnTo>
                    <a:pt x="17" y="182"/>
                  </a:lnTo>
                  <a:lnTo>
                    <a:pt x="15" y="180"/>
                  </a:lnTo>
                  <a:lnTo>
                    <a:pt x="15" y="179"/>
                  </a:lnTo>
                  <a:lnTo>
                    <a:pt x="16" y="176"/>
                  </a:lnTo>
                  <a:lnTo>
                    <a:pt x="16" y="175"/>
                  </a:lnTo>
                  <a:lnTo>
                    <a:pt x="16" y="174"/>
                  </a:lnTo>
                  <a:lnTo>
                    <a:pt x="16" y="173"/>
                  </a:lnTo>
                  <a:lnTo>
                    <a:pt x="16" y="172"/>
                  </a:lnTo>
                  <a:lnTo>
                    <a:pt x="15" y="172"/>
                  </a:lnTo>
                  <a:lnTo>
                    <a:pt x="14" y="172"/>
                  </a:lnTo>
                  <a:lnTo>
                    <a:pt x="14" y="170"/>
                  </a:lnTo>
                  <a:lnTo>
                    <a:pt x="13" y="169"/>
                  </a:lnTo>
                  <a:lnTo>
                    <a:pt x="11" y="169"/>
                  </a:lnTo>
                  <a:lnTo>
                    <a:pt x="11" y="168"/>
                  </a:lnTo>
                  <a:lnTo>
                    <a:pt x="10" y="168"/>
                  </a:lnTo>
                  <a:lnTo>
                    <a:pt x="10" y="167"/>
                  </a:lnTo>
                  <a:lnTo>
                    <a:pt x="11" y="162"/>
                  </a:lnTo>
                  <a:lnTo>
                    <a:pt x="11" y="161"/>
                  </a:lnTo>
                  <a:lnTo>
                    <a:pt x="11" y="160"/>
                  </a:lnTo>
                  <a:lnTo>
                    <a:pt x="11" y="161"/>
                  </a:lnTo>
                  <a:lnTo>
                    <a:pt x="10" y="161"/>
                  </a:lnTo>
                  <a:lnTo>
                    <a:pt x="9" y="161"/>
                  </a:lnTo>
                  <a:lnTo>
                    <a:pt x="9" y="160"/>
                  </a:lnTo>
                  <a:lnTo>
                    <a:pt x="9" y="159"/>
                  </a:lnTo>
                  <a:lnTo>
                    <a:pt x="8" y="155"/>
                  </a:lnTo>
                  <a:lnTo>
                    <a:pt x="8" y="154"/>
                  </a:lnTo>
                  <a:lnTo>
                    <a:pt x="9" y="152"/>
                  </a:lnTo>
                  <a:lnTo>
                    <a:pt x="7" y="152"/>
                  </a:lnTo>
                  <a:lnTo>
                    <a:pt x="6" y="149"/>
                  </a:lnTo>
                  <a:lnTo>
                    <a:pt x="6" y="151"/>
                  </a:lnTo>
                  <a:lnTo>
                    <a:pt x="4" y="151"/>
                  </a:lnTo>
                  <a:lnTo>
                    <a:pt x="4" y="152"/>
                  </a:lnTo>
                  <a:lnTo>
                    <a:pt x="3" y="152"/>
                  </a:lnTo>
                  <a:lnTo>
                    <a:pt x="2" y="152"/>
                  </a:lnTo>
                  <a:lnTo>
                    <a:pt x="1" y="152"/>
                  </a:lnTo>
                  <a:lnTo>
                    <a:pt x="1" y="151"/>
                  </a:lnTo>
                  <a:lnTo>
                    <a:pt x="1" y="149"/>
                  </a:lnTo>
                  <a:lnTo>
                    <a:pt x="0" y="149"/>
                  </a:lnTo>
                  <a:lnTo>
                    <a:pt x="0" y="148"/>
                  </a:lnTo>
                  <a:lnTo>
                    <a:pt x="1" y="147"/>
                  </a:lnTo>
                  <a:lnTo>
                    <a:pt x="2" y="145"/>
                  </a:lnTo>
                  <a:lnTo>
                    <a:pt x="2" y="144"/>
                  </a:lnTo>
                  <a:lnTo>
                    <a:pt x="3" y="144"/>
                  </a:lnTo>
                  <a:lnTo>
                    <a:pt x="4" y="144"/>
                  </a:lnTo>
                  <a:lnTo>
                    <a:pt x="4" y="142"/>
                  </a:lnTo>
                  <a:lnTo>
                    <a:pt x="6" y="141"/>
                  </a:lnTo>
                  <a:lnTo>
                    <a:pt x="7" y="140"/>
                  </a:lnTo>
                  <a:lnTo>
                    <a:pt x="6" y="140"/>
                  </a:lnTo>
                  <a:lnTo>
                    <a:pt x="6" y="139"/>
                  </a:lnTo>
                  <a:lnTo>
                    <a:pt x="6" y="138"/>
                  </a:lnTo>
                  <a:lnTo>
                    <a:pt x="6" y="137"/>
                  </a:lnTo>
                  <a:lnTo>
                    <a:pt x="4" y="135"/>
                  </a:lnTo>
                  <a:lnTo>
                    <a:pt x="4" y="134"/>
                  </a:lnTo>
                  <a:lnTo>
                    <a:pt x="3" y="134"/>
                  </a:lnTo>
                  <a:lnTo>
                    <a:pt x="3" y="133"/>
                  </a:lnTo>
                  <a:lnTo>
                    <a:pt x="4" y="131"/>
                  </a:lnTo>
                  <a:lnTo>
                    <a:pt x="6" y="131"/>
                  </a:lnTo>
                  <a:lnTo>
                    <a:pt x="8" y="130"/>
                  </a:lnTo>
                  <a:lnTo>
                    <a:pt x="9" y="128"/>
                  </a:lnTo>
                  <a:lnTo>
                    <a:pt x="10" y="128"/>
                  </a:lnTo>
                  <a:lnTo>
                    <a:pt x="10" y="127"/>
                  </a:lnTo>
                  <a:lnTo>
                    <a:pt x="9" y="126"/>
                  </a:lnTo>
                  <a:lnTo>
                    <a:pt x="8" y="126"/>
                  </a:lnTo>
                  <a:lnTo>
                    <a:pt x="8" y="125"/>
                  </a:lnTo>
                  <a:lnTo>
                    <a:pt x="8" y="124"/>
                  </a:lnTo>
                  <a:lnTo>
                    <a:pt x="8" y="123"/>
                  </a:lnTo>
                  <a:lnTo>
                    <a:pt x="7" y="121"/>
                  </a:lnTo>
                  <a:lnTo>
                    <a:pt x="8" y="121"/>
                  </a:lnTo>
                  <a:lnTo>
                    <a:pt x="8" y="120"/>
                  </a:lnTo>
                  <a:lnTo>
                    <a:pt x="11" y="119"/>
                  </a:lnTo>
                  <a:lnTo>
                    <a:pt x="11" y="118"/>
                  </a:lnTo>
                  <a:lnTo>
                    <a:pt x="11" y="117"/>
                  </a:lnTo>
                  <a:lnTo>
                    <a:pt x="11" y="116"/>
                  </a:lnTo>
                  <a:lnTo>
                    <a:pt x="11" y="114"/>
                  </a:lnTo>
                  <a:lnTo>
                    <a:pt x="13" y="114"/>
                  </a:lnTo>
                  <a:lnTo>
                    <a:pt x="14" y="113"/>
                  </a:lnTo>
                  <a:lnTo>
                    <a:pt x="14" y="112"/>
                  </a:lnTo>
                  <a:lnTo>
                    <a:pt x="15" y="112"/>
                  </a:lnTo>
                  <a:lnTo>
                    <a:pt x="15" y="111"/>
                  </a:lnTo>
                  <a:lnTo>
                    <a:pt x="15" y="109"/>
                  </a:lnTo>
                  <a:lnTo>
                    <a:pt x="15" y="107"/>
                  </a:lnTo>
                  <a:lnTo>
                    <a:pt x="14" y="106"/>
                  </a:lnTo>
                  <a:lnTo>
                    <a:pt x="14" y="105"/>
                  </a:lnTo>
                  <a:lnTo>
                    <a:pt x="15" y="105"/>
                  </a:lnTo>
                  <a:lnTo>
                    <a:pt x="16" y="105"/>
                  </a:lnTo>
                  <a:lnTo>
                    <a:pt x="16" y="104"/>
                  </a:lnTo>
                  <a:lnTo>
                    <a:pt x="17" y="103"/>
                  </a:lnTo>
                  <a:lnTo>
                    <a:pt x="20" y="104"/>
                  </a:lnTo>
                  <a:lnTo>
                    <a:pt x="21" y="103"/>
                  </a:lnTo>
                  <a:lnTo>
                    <a:pt x="23" y="103"/>
                  </a:lnTo>
                  <a:lnTo>
                    <a:pt x="25" y="103"/>
                  </a:lnTo>
                  <a:lnTo>
                    <a:pt x="27" y="103"/>
                  </a:lnTo>
                  <a:lnTo>
                    <a:pt x="29" y="103"/>
                  </a:lnTo>
                  <a:lnTo>
                    <a:pt x="29" y="102"/>
                  </a:lnTo>
                  <a:lnTo>
                    <a:pt x="29" y="98"/>
                  </a:lnTo>
                  <a:lnTo>
                    <a:pt x="29" y="95"/>
                  </a:lnTo>
                  <a:lnTo>
                    <a:pt x="29" y="91"/>
                  </a:lnTo>
                  <a:lnTo>
                    <a:pt x="29" y="88"/>
                  </a:lnTo>
                  <a:lnTo>
                    <a:pt x="29" y="83"/>
                  </a:lnTo>
                  <a:lnTo>
                    <a:pt x="28" y="79"/>
                  </a:lnTo>
                  <a:lnTo>
                    <a:pt x="28" y="76"/>
                  </a:lnTo>
                  <a:lnTo>
                    <a:pt x="28" y="72"/>
                  </a:lnTo>
                  <a:lnTo>
                    <a:pt x="28" y="69"/>
                  </a:lnTo>
                  <a:lnTo>
                    <a:pt x="28" y="65"/>
                  </a:lnTo>
                  <a:lnTo>
                    <a:pt x="28" y="62"/>
                  </a:lnTo>
                  <a:lnTo>
                    <a:pt x="28" y="57"/>
                  </a:lnTo>
                  <a:lnTo>
                    <a:pt x="28" y="54"/>
                  </a:lnTo>
                  <a:lnTo>
                    <a:pt x="28" y="50"/>
                  </a:lnTo>
                  <a:lnTo>
                    <a:pt x="27" y="47"/>
                  </a:lnTo>
                  <a:lnTo>
                    <a:pt x="27" y="43"/>
                  </a:lnTo>
                  <a:lnTo>
                    <a:pt x="27" y="41"/>
                  </a:lnTo>
                  <a:lnTo>
                    <a:pt x="27" y="39"/>
                  </a:lnTo>
                  <a:lnTo>
                    <a:pt x="27" y="37"/>
                  </a:lnTo>
                  <a:lnTo>
                    <a:pt x="27" y="35"/>
                  </a:lnTo>
                  <a:lnTo>
                    <a:pt x="29" y="35"/>
                  </a:lnTo>
                  <a:lnTo>
                    <a:pt x="30" y="35"/>
                  </a:lnTo>
                  <a:lnTo>
                    <a:pt x="31" y="35"/>
                  </a:lnTo>
                  <a:lnTo>
                    <a:pt x="34" y="35"/>
                  </a:lnTo>
                  <a:lnTo>
                    <a:pt x="35" y="35"/>
                  </a:lnTo>
                  <a:lnTo>
                    <a:pt x="37" y="35"/>
                  </a:lnTo>
                  <a:lnTo>
                    <a:pt x="39" y="35"/>
                  </a:lnTo>
                  <a:lnTo>
                    <a:pt x="41" y="35"/>
                  </a:lnTo>
                  <a:lnTo>
                    <a:pt x="41" y="33"/>
                  </a:lnTo>
                  <a:lnTo>
                    <a:pt x="41" y="32"/>
                  </a:lnTo>
                  <a:lnTo>
                    <a:pt x="41" y="30"/>
                  </a:lnTo>
                  <a:lnTo>
                    <a:pt x="41" y="28"/>
                  </a:lnTo>
                  <a:lnTo>
                    <a:pt x="41" y="27"/>
                  </a:lnTo>
                  <a:lnTo>
                    <a:pt x="41" y="26"/>
                  </a:lnTo>
                  <a:lnTo>
                    <a:pt x="39" y="23"/>
                  </a:lnTo>
                  <a:lnTo>
                    <a:pt x="39" y="21"/>
                  </a:lnTo>
                  <a:lnTo>
                    <a:pt x="39" y="19"/>
                  </a:lnTo>
                  <a:lnTo>
                    <a:pt x="39" y="18"/>
                  </a:lnTo>
                  <a:lnTo>
                    <a:pt x="39" y="15"/>
                  </a:lnTo>
                  <a:lnTo>
                    <a:pt x="39" y="13"/>
                  </a:lnTo>
                  <a:lnTo>
                    <a:pt x="39" y="12"/>
                  </a:lnTo>
                  <a:lnTo>
                    <a:pt x="39" y="9"/>
                  </a:lnTo>
                  <a:lnTo>
                    <a:pt x="39" y="7"/>
                  </a:lnTo>
                  <a:lnTo>
                    <a:pt x="39" y="6"/>
                  </a:lnTo>
                  <a:lnTo>
                    <a:pt x="39" y="4"/>
                  </a:lnTo>
                  <a:lnTo>
                    <a:pt x="41" y="4"/>
                  </a:lnTo>
                  <a:lnTo>
                    <a:pt x="42" y="4"/>
                  </a:lnTo>
                  <a:lnTo>
                    <a:pt x="43" y="4"/>
                  </a:lnTo>
                  <a:lnTo>
                    <a:pt x="44" y="4"/>
                  </a:lnTo>
                  <a:lnTo>
                    <a:pt x="46" y="4"/>
                  </a:lnTo>
                  <a:lnTo>
                    <a:pt x="48" y="4"/>
                  </a:lnTo>
                  <a:lnTo>
                    <a:pt x="49" y="4"/>
                  </a:lnTo>
                  <a:lnTo>
                    <a:pt x="50" y="4"/>
                  </a:lnTo>
                  <a:lnTo>
                    <a:pt x="51" y="4"/>
                  </a:lnTo>
                  <a:lnTo>
                    <a:pt x="52" y="4"/>
                  </a:lnTo>
                  <a:lnTo>
                    <a:pt x="53" y="4"/>
                  </a:lnTo>
                  <a:lnTo>
                    <a:pt x="56" y="4"/>
                  </a:lnTo>
                  <a:lnTo>
                    <a:pt x="57" y="4"/>
                  </a:lnTo>
                  <a:lnTo>
                    <a:pt x="58" y="4"/>
                  </a:lnTo>
                  <a:lnTo>
                    <a:pt x="59" y="4"/>
                  </a:lnTo>
                  <a:lnTo>
                    <a:pt x="60" y="4"/>
                  </a:lnTo>
                  <a:lnTo>
                    <a:pt x="61" y="4"/>
                  </a:lnTo>
                  <a:lnTo>
                    <a:pt x="63" y="4"/>
                  </a:lnTo>
                  <a:lnTo>
                    <a:pt x="65" y="4"/>
                  </a:lnTo>
                  <a:lnTo>
                    <a:pt x="66" y="4"/>
                  </a:lnTo>
                  <a:lnTo>
                    <a:pt x="67" y="4"/>
                  </a:lnTo>
                  <a:lnTo>
                    <a:pt x="68" y="4"/>
                  </a:lnTo>
                  <a:lnTo>
                    <a:pt x="70" y="4"/>
                  </a:lnTo>
                  <a:lnTo>
                    <a:pt x="71" y="4"/>
                  </a:lnTo>
                  <a:lnTo>
                    <a:pt x="72" y="4"/>
                  </a:lnTo>
                  <a:lnTo>
                    <a:pt x="73" y="4"/>
                  </a:lnTo>
                  <a:lnTo>
                    <a:pt x="75" y="4"/>
                  </a:lnTo>
                  <a:lnTo>
                    <a:pt x="77" y="4"/>
                  </a:lnTo>
                  <a:lnTo>
                    <a:pt x="78" y="4"/>
                  </a:lnTo>
                  <a:lnTo>
                    <a:pt x="79" y="4"/>
                  </a:lnTo>
                  <a:lnTo>
                    <a:pt x="80" y="4"/>
                  </a:lnTo>
                  <a:lnTo>
                    <a:pt x="81" y="4"/>
                  </a:lnTo>
                  <a:lnTo>
                    <a:pt x="82" y="4"/>
                  </a:lnTo>
                  <a:lnTo>
                    <a:pt x="85" y="4"/>
                  </a:lnTo>
                  <a:lnTo>
                    <a:pt x="86" y="4"/>
                  </a:lnTo>
                  <a:lnTo>
                    <a:pt x="87" y="4"/>
                  </a:lnTo>
                  <a:lnTo>
                    <a:pt x="88" y="4"/>
                  </a:lnTo>
                  <a:lnTo>
                    <a:pt x="89" y="4"/>
                  </a:lnTo>
                  <a:lnTo>
                    <a:pt x="91" y="4"/>
                  </a:lnTo>
                  <a:lnTo>
                    <a:pt x="92" y="4"/>
                  </a:lnTo>
                  <a:lnTo>
                    <a:pt x="94" y="4"/>
                  </a:lnTo>
                  <a:lnTo>
                    <a:pt x="95" y="4"/>
                  </a:lnTo>
                  <a:lnTo>
                    <a:pt x="96" y="4"/>
                  </a:lnTo>
                  <a:lnTo>
                    <a:pt x="98" y="4"/>
                  </a:lnTo>
                  <a:lnTo>
                    <a:pt x="99" y="4"/>
                  </a:lnTo>
                  <a:lnTo>
                    <a:pt x="100" y="4"/>
                  </a:lnTo>
                  <a:lnTo>
                    <a:pt x="101" y="4"/>
                  </a:lnTo>
                  <a:lnTo>
                    <a:pt x="103" y="4"/>
                  </a:lnTo>
                  <a:lnTo>
                    <a:pt x="105" y="4"/>
                  </a:lnTo>
                  <a:lnTo>
                    <a:pt x="106" y="4"/>
                  </a:lnTo>
                  <a:lnTo>
                    <a:pt x="107" y="4"/>
                  </a:lnTo>
                  <a:lnTo>
                    <a:pt x="108" y="4"/>
                  </a:lnTo>
                  <a:lnTo>
                    <a:pt x="109" y="4"/>
                  </a:lnTo>
                  <a:lnTo>
                    <a:pt x="110" y="4"/>
                  </a:lnTo>
                  <a:lnTo>
                    <a:pt x="113" y="4"/>
                  </a:lnTo>
                  <a:lnTo>
                    <a:pt x="114" y="4"/>
                  </a:lnTo>
                  <a:lnTo>
                    <a:pt x="115" y="4"/>
                  </a:lnTo>
                  <a:lnTo>
                    <a:pt x="116" y="4"/>
                  </a:lnTo>
                  <a:lnTo>
                    <a:pt x="117" y="4"/>
                  </a:lnTo>
                  <a:lnTo>
                    <a:pt x="118" y="4"/>
                  </a:lnTo>
                  <a:lnTo>
                    <a:pt x="120" y="4"/>
                  </a:lnTo>
                  <a:lnTo>
                    <a:pt x="122" y="4"/>
                  </a:lnTo>
                  <a:lnTo>
                    <a:pt x="123" y="4"/>
                  </a:lnTo>
                  <a:lnTo>
                    <a:pt x="124" y="4"/>
                  </a:lnTo>
                  <a:lnTo>
                    <a:pt x="125" y="2"/>
                  </a:lnTo>
                  <a:lnTo>
                    <a:pt x="125" y="1"/>
                  </a:lnTo>
                  <a:lnTo>
                    <a:pt x="125" y="0"/>
                  </a:lnTo>
                  <a:lnTo>
                    <a:pt x="127" y="0"/>
                  </a:lnTo>
                  <a:lnTo>
                    <a:pt x="128" y="0"/>
                  </a:lnTo>
                  <a:lnTo>
                    <a:pt x="128" y="1"/>
                  </a:lnTo>
                  <a:lnTo>
                    <a:pt x="128" y="2"/>
                  </a:lnTo>
                  <a:close/>
                </a:path>
              </a:pathLst>
            </a:custGeom>
            <a:solidFill>
              <a:srgbClr val="D2D2D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t-IT" sz="1200" dirty="0">
                <a:solidFill>
                  <a:schemeClr val="lt1"/>
                </a:solidFill>
              </a:endParaRPr>
            </a:p>
          </p:txBody>
        </p:sp>
        <p:sp>
          <p:nvSpPr>
            <p:cNvPr id="232" name="Freeform 991">
              <a:extLst>
                <a:ext uri="{FF2B5EF4-FFF2-40B4-BE49-F238E27FC236}">
                  <a16:creationId xmlns:a16="http://schemas.microsoft.com/office/drawing/2014/main" id="{688B1AE1-C49E-42F5-8478-BCA0D319A556}"/>
                </a:ext>
              </a:extLst>
            </p:cNvPr>
            <p:cNvSpPr>
              <a:spLocks/>
            </p:cNvSpPr>
            <p:nvPr/>
          </p:nvSpPr>
          <p:spPr bwMode="auto">
            <a:xfrm>
              <a:off x="6255152" y="3090779"/>
              <a:ext cx="220356" cy="182962"/>
            </a:xfrm>
            <a:custGeom>
              <a:avLst/>
              <a:gdLst>
                <a:gd name="T0" fmla="*/ 136 w 165"/>
                <a:gd name="T1" fmla="*/ 59 h 137"/>
                <a:gd name="T2" fmla="*/ 130 w 165"/>
                <a:gd name="T3" fmla="*/ 58 h 137"/>
                <a:gd name="T4" fmla="*/ 125 w 165"/>
                <a:gd name="T5" fmla="*/ 63 h 137"/>
                <a:gd name="T6" fmla="*/ 124 w 165"/>
                <a:gd name="T7" fmla="*/ 69 h 137"/>
                <a:gd name="T8" fmla="*/ 130 w 165"/>
                <a:gd name="T9" fmla="*/ 71 h 137"/>
                <a:gd name="T10" fmla="*/ 138 w 165"/>
                <a:gd name="T11" fmla="*/ 77 h 137"/>
                <a:gd name="T12" fmla="*/ 142 w 165"/>
                <a:gd name="T13" fmla="*/ 83 h 137"/>
                <a:gd name="T14" fmla="*/ 146 w 165"/>
                <a:gd name="T15" fmla="*/ 86 h 137"/>
                <a:gd name="T16" fmla="*/ 150 w 165"/>
                <a:gd name="T17" fmla="*/ 95 h 137"/>
                <a:gd name="T18" fmla="*/ 154 w 165"/>
                <a:gd name="T19" fmla="*/ 105 h 137"/>
                <a:gd name="T20" fmla="*/ 160 w 165"/>
                <a:gd name="T21" fmla="*/ 108 h 137"/>
                <a:gd name="T22" fmla="*/ 162 w 165"/>
                <a:gd name="T23" fmla="*/ 115 h 137"/>
                <a:gd name="T24" fmla="*/ 161 w 165"/>
                <a:gd name="T25" fmla="*/ 120 h 137"/>
                <a:gd name="T26" fmla="*/ 157 w 165"/>
                <a:gd name="T27" fmla="*/ 114 h 137"/>
                <a:gd name="T28" fmla="*/ 147 w 165"/>
                <a:gd name="T29" fmla="*/ 118 h 137"/>
                <a:gd name="T30" fmla="*/ 138 w 165"/>
                <a:gd name="T31" fmla="*/ 126 h 137"/>
                <a:gd name="T32" fmla="*/ 126 w 165"/>
                <a:gd name="T33" fmla="*/ 133 h 137"/>
                <a:gd name="T34" fmla="*/ 112 w 165"/>
                <a:gd name="T35" fmla="*/ 135 h 137"/>
                <a:gd name="T36" fmla="*/ 109 w 165"/>
                <a:gd name="T37" fmla="*/ 134 h 137"/>
                <a:gd name="T38" fmla="*/ 100 w 165"/>
                <a:gd name="T39" fmla="*/ 133 h 137"/>
                <a:gd name="T40" fmla="*/ 94 w 165"/>
                <a:gd name="T41" fmla="*/ 137 h 137"/>
                <a:gd name="T42" fmla="*/ 89 w 165"/>
                <a:gd name="T43" fmla="*/ 132 h 137"/>
                <a:gd name="T44" fmla="*/ 83 w 165"/>
                <a:gd name="T45" fmla="*/ 127 h 137"/>
                <a:gd name="T46" fmla="*/ 79 w 165"/>
                <a:gd name="T47" fmla="*/ 122 h 137"/>
                <a:gd name="T48" fmla="*/ 74 w 165"/>
                <a:gd name="T49" fmla="*/ 121 h 137"/>
                <a:gd name="T50" fmla="*/ 68 w 165"/>
                <a:gd name="T51" fmla="*/ 121 h 137"/>
                <a:gd name="T52" fmla="*/ 61 w 165"/>
                <a:gd name="T53" fmla="*/ 123 h 137"/>
                <a:gd name="T54" fmla="*/ 54 w 165"/>
                <a:gd name="T55" fmla="*/ 121 h 137"/>
                <a:gd name="T56" fmla="*/ 51 w 165"/>
                <a:gd name="T57" fmla="*/ 118 h 137"/>
                <a:gd name="T58" fmla="*/ 46 w 165"/>
                <a:gd name="T59" fmla="*/ 113 h 137"/>
                <a:gd name="T60" fmla="*/ 44 w 165"/>
                <a:gd name="T61" fmla="*/ 105 h 137"/>
                <a:gd name="T62" fmla="*/ 40 w 165"/>
                <a:gd name="T63" fmla="*/ 101 h 137"/>
                <a:gd name="T64" fmla="*/ 37 w 165"/>
                <a:gd name="T65" fmla="*/ 98 h 137"/>
                <a:gd name="T66" fmla="*/ 33 w 165"/>
                <a:gd name="T67" fmla="*/ 94 h 137"/>
                <a:gd name="T68" fmla="*/ 31 w 165"/>
                <a:gd name="T69" fmla="*/ 90 h 137"/>
                <a:gd name="T70" fmla="*/ 26 w 165"/>
                <a:gd name="T71" fmla="*/ 83 h 137"/>
                <a:gd name="T72" fmla="*/ 20 w 165"/>
                <a:gd name="T73" fmla="*/ 79 h 137"/>
                <a:gd name="T74" fmla="*/ 16 w 165"/>
                <a:gd name="T75" fmla="*/ 74 h 137"/>
                <a:gd name="T76" fmla="*/ 15 w 165"/>
                <a:gd name="T77" fmla="*/ 69 h 137"/>
                <a:gd name="T78" fmla="*/ 9 w 165"/>
                <a:gd name="T79" fmla="*/ 63 h 137"/>
                <a:gd name="T80" fmla="*/ 1 w 165"/>
                <a:gd name="T81" fmla="*/ 62 h 137"/>
                <a:gd name="T82" fmla="*/ 1 w 165"/>
                <a:gd name="T83" fmla="*/ 55 h 137"/>
                <a:gd name="T84" fmla="*/ 7 w 165"/>
                <a:gd name="T85" fmla="*/ 44 h 137"/>
                <a:gd name="T86" fmla="*/ 11 w 165"/>
                <a:gd name="T87" fmla="*/ 32 h 137"/>
                <a:gd name="T88" fmla="*/ 17 w 165"/>
                <a:gd name="T89" fmla="*/ 29 h 137"/>
                <a:gd name="T90" fmla="*/ 24 w 165"/>
                <a:gd name="T91" fmla="*/ 31 h 137"/>
                <a:gd name="T92" fmla="*/ 33 w 165"/>
                <a:gd name="T93" fmla="*/ 43 h 137"/>
                <a:gd name="T94" fmla="*/ 50 w 165"/>
                <a:gd name="T95" fmla="*/ 41 h 137"/>
                <a:gd name="T96" fmla="*/ 65 w 165"/>
                <a:gd name="T97" fmla="*/ 43 h 137"/>
                <a:gd name="T98" fmla="*/ 75 w 165"/>
                <a:gd name="T99" fmla="*/ 34 h 137"/>
                <a:gd name="T100" fmla="*/ 94 w 165"/>
                <a:gd name="T101" fmla="*/ 38 h 137"/>
                <a:gd name="T102" fmla="*/ 108 w 165"/>
                <a:gd name="T103" fmla="*/ 24 h 137"/>
                <a:gd name="T104" fmla="*/ 112 w 165"/>
                <a:gd name="T105" fmla="*/ 7 h 137"/>
                <a:gd name="T106" fmla="*/ 124 w 165"/>
                <a:gd name="T107" fmla="*/ 0 h 137"/>
                <a:gd name="T108" fmla="*/ 124 w 165"/>
                <a:gd name="T109" fmla="*/ 22 h 137"/>
                <a:gd name="T110" fmla="*/ 136 w 165"/>
                <a:gd name="T111" fmla="*/ 3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5" h="137">
                  <a:moveTo>
                    <a:pt x="137" y="43"/>
                  </a:moveTo>
                  <a:lnTo>
                    <a:pt x="138" y="46"/>
                  </a:lnTo>
                  <a:lnTo>
                    <a:pt x="138" y="51"/>
                  </a:lnTo>
                  <a:lnTo>
                    <a:pt x="138" y="56"/>
                  </a:lnTo>
                  <a:lnTo>
                    <a:pt x="138" y="57"/>
                  </a:lnTo>
                  <a:lnTo>
                    <a:pt x="138" y="58"/>
                  </a:lnTo>
                  <a:lnTo>
                    <a:pt x="137" y="59"/>
                  </a:lnTo>
                  <a:lnTo>
                    <a:pt x="136" y="59"/>
                  </a:lnTo>
                  <a:lnTo>
                    <a:pt x="135" y="59"/>
                  </a:lnTo>
                  <a:lnTo>
                    <a:pt x="133" y="59"/>
                  </a:lnTo>
                  <a:lnTo>
                    <a:pt x="133" y="60"/>
                  </a:lnTo>
                  <a:lnTo>
                    <a:pt x="132" y="60"/>
                  </a:lnTo>
                  <a:lnTo>
                    <a:pt x="132" y="59"/>
                  </a:lnTo>
                  <a:lnTo>
                    <a:pt x="131" y="59"/>
                  </a:lnTo>
                  <a:lnTo>
                    <a:pt x="130" y="59"/>
                  </a:lnTo>
                  <a:lnTo>
                    <a:pt x="130" y="58"/>
                  </a:lnTo>
                  <a:lnTo>
                    <a:pt x="130" y="59"/>
                  </a:lnTo>
                  <a:lnTo>
                    <a:pt x="129" y="59"/>
                  </a:lnTo>
                  <a:lnTo>
                    <a:pt x="128" y="59"/>
                  </a:lnTo>
                  <a:lnTo>
                    <a:pt x="126" y="59"/>
                  </a:lnTo>
                  <a:lnTo>
                    <a:pt x="125" y="59"/>
                  </a:lnTo>
                  <a:lnTo>
                    <a:pt x="125" y="60"/>
                  </a:lnTo>
                  <a:lnTo>
                    <a:pt x="125" y="62"/>
                  </a:lnTo>
                  <a:lnTo>
                    <a:pt x="125" y="63"/>
                  </a:lnTo>
                  <a:lnTo>
                    <a:pt x="125" y="64"/>
                  </a:lnTo>
                  <a:lnTo>
                    <a:pt x="124" y="64"/>
                  </a:lnTo>
                  <a:lnTo>
                    <a:pt x="124" y="65"/>
                  </a:lnTo>
                  <a:lnTo>
                    <a:pt x="124" y="66"/>
                  </a:lnTo>
                  <a:lnTo>
                    <a:pt x="123" y="66"/>
                  </a:lnTo>
                  <a:lnTo>
                    <a:pt x="123" y="67"/>
                  </a:lnTo>
                  <a:lnTo>
                    <a:pt x="123" y="69"/>
                  </a:lnTo>
                  <a:lnTo>
                    <a:pt x="124" y="69"/>
                  </a:lnTo>
                  <a:lnTo>
                    <a:pt x="124" y="70"/>
                  </a:lnTo>
                  <a:lnTo>
                    <a:pt x="125" y="70"/>
                  </a:lnTo>
                  <a:lnTo>
                    <a:pt x="126" y="70"/>
                  </a:lnTo>
                  <a:lnTo>
                    <a:pt x="128" y="70"/>
                  </a:lnTo>
                  <a:lnTo>
                    <a:pt x="128" y="71"/>
                  </a:lnTo>
                  <a:lnTo>
                    <a:pt x="129" y="70"/>
                  </a:lnTo>
                  <a:lnTo>
                    <a:pt x="130" y="70"/>
                  </a:lnTo>
                  <a:lnTo>
                    <a:pt x="130" y="71"/>
                  </a:lnTo>
                  <a:lnTo>
                    <a:pt x="131" y="71"/>
                  </a:lnTo>
                  <a:lnTo>
                    <a:pt x="132" y="71"/>
                  </a:lnTo>
                  <a:lnTo>
                    <a:pt x="133" y="71"/>
                  </a:lnTo>
                  <a:lnTo>
                    <a:pt x="133" y="72"/>
                  </a:lnTo>
                  <a:lnTo>
                    <a:pt x="135" y="73"/>
                  </a:lnTo>
                  <a:lnTo>
                    <a:pt x="136" y="73"/>
                  </a:lnTo>
                  <a:lnTo>
                    <a:pt x="137" y="76"/>
                  </a:lnTo>
                  <a:lnTo>
                    <a:pt x="138" y="77"/>
                  </a:lnTo>
                  <a:lnTo>
                    <a:pt x="138" y="78"/>
                  </a:lnTo>
                  <a:lnTo>
                    <a:pt x="138" y="79"/>
                  </a:lnTo>
                  <a:lnTo>
                    <a:pt x="139" y="79"/>
                  </a:lnTo>
                  <a:lnTo>
                    <a:pt x="140" y="79"/>
                  </a:lnTo>
                  <a:lnTo>
                    <a:pt x="140" y="80"/>
                  </a:lnTo>
                  <a:lnTo>
                    <a:pt x="140" y="81"/>
                  </a:lnTo>
                  <a:lnTo>
                    <a:pt x="142" y="81"/>
                  </a:lnTo>
                  <a:lnTo>
                    <a:pt x="142" y="83"/>
                  </a:lnTo>
                  <a:lnTo>
                    <a:pt x="144" y="83"/>
                  </a:lnTo>
                  <a:lnTo>
                    <a:pt x="144" y="84"/>
                  </a:lnTo>
                  <a:lnTo>
                    <a:pt x="145" y="84"/>
                  </a:lnTo>
                  <a:lnTo>
                    <a:pt x="145" y="85"/>
                  </a:lnTo>
                  <a:lnTo>
                    <a:pt x="144" y="85"/>
                  </a:lnTo>
                  <a:lnTo>
                    <a:pt x="145" y="85"/>
                  </a:lnTo>
                  <a:lnTo>
                    <a:pt x="145" y="86"/>
                  </a:lnTo>
                  <a:lnTo>
                    <a:pt x="146" y="86"/>
                  </a:lnTo>
                  <a:lnTo>
                    <a:pt x="147" y="87"/>
                  </a:lnTo>
                  <a:lnTo>
                    <a:pt x="147" y="88"/>
                  </a:lnTo>
                  <a:lnTo>
                    <a:pt x="148" y="90"/>
                  </a:lnTo>
                  <a:lnTo>
                    <a:pt x="148" y="91"/>
                  </a:lnTo>
                  <a:lnTo>
                    <a:pt x="148" y="92"/>
                  </a:lnTo>
                  <a:lnTo>
                    <a:pt x="148" y="93"/>
                  </a:lnTo>
                  <a:lnTo>
                    <a:pt x="150" y="94"/>
                  </a:lnTo>
                  <a:lnTo>
                    <a:pt x="150" y="95"/>
                  </a:lnTo>
                  <a:lnTo>
                    <a:pt x="151" y="97"/>
                  </a:lnTo>
                  <a:lnTo>
                    <a:pt x="151" y="98"/>
                  </a:lnTo>
                  <a:lnTo>
                    <a:pt x="151" y="99"/>
                  </a:lnTo>
                  <a:lnTo>
                    <a:pt x="151" y="100"/>
                  </a:lnTo>
                  <a:lnTo>
                    <a:pt x="152" y="102"/>
                  </a:lnTo>
                  <a:lnTo>
                    <a:pt x="153" y="104"/>
                  </a:lnTo>
                  <a:lnTo>
                    <a:pt x="153" y="105"/>
                  </a:lnTo>
                  <a:lnTo>
                    <a:pt x="154" y="105"/>
                  </a:lnTo>
                  <a:lnTo>
                    <a:pt x="155" y="106"/>
                  </a:lnTo>
                  <a:lnTo>
                    <a:pt x="155" y="107"/>
                  </a:lnTo>
                  <a:lnTo>
                    <a:pt x="155" y="108"/>
                  </a:lnTo>
                  <a:lnTo>
                    <a:pt x="157" y="108"/>
                  </a:lnTo>
                  <a:lnTo>
                    <a:pt x="157" y="107"/>
                  </a:lnTo>
                  <a:lnTo>
                    <a:pt x="158" y="107"/>
                  </a:lnTo>
                  <a:lnTo>
                    <a:pt x="159" y="107"/>
                  </a:lnTo>
                  <a:lnTo>
                    <a:pt x="160" y="108"/>
                  </a:lnTo>
                  <a:lnTo>
                    <a:pt x="160" y="107"/>
                  </a:lnTo>
                  <a:lnTo>
                    <a:pt x="161" y="107"/>
                  </a:lnTo>
                  <a:lnTo>
                    <a:pt x="162" y="108"/>
                  </a:lnTo>
                  <a:lnTo>
                    <a:pt x="162" y="109"/>
                  </a:lnTo>
                  <a:lnTo>
                    <a:pt x="162" y="111"/>
                  </a:lnTo>
                  <a:lnTo>
                    <a:pt x="162" y="112"/>
                  </a:lnTo>
                  <a:lnTo>
                    <a:pt x="162" y="113"/>
                  </a:lnTo>
                  <a:lnTo>
                    <a:pt x="162" y="115"/>
                  </a:lnTo>
                  <a:lnTo>
                    <a:pt x="162" y="116"/>
                  </a:lnTo>
                  <a:lnTo>
                    <a:pt x="162" y="118"/>
                  </a:lnTo>
                  <a:lnTo>
                    <a:pt x="165" y="120"/>
                  </a:lnTo>
                  <a:lnTo>
                    <a:pt x="164" y="120"/>
                  </a:lnTo>
                  <a:lnTo>
                    <a:pt x="162" y="120"/>
                  </a:lnTo>
                  <a:lnTo>
                    <a:pt x="162" y="119"/>
                  </a:lnTo>
                  <a:lnTo>
                    <a:pt x="161" y="119"/>
                  </a:lnTo>
                  <a:lnTo>
                    <a:pt x="161" y="120"/>
                  </a:lnTo>
                  <a:lnTo>
                    <a:pt x="160" y="120"/>
                  </a:lnTo>
                  <a:lnTo>
                    <a:pt x="159" y="118"/>
                  </a:lnTo>
                  <a:lnTo>
                    <a:pt x="159" y="116"/>
                  </a:lnTo>
                  <a:lnTo>
                    <a:pt x="160" y="115"/>
                  </a:lnTo>
                  <a:lnTo>
                    <a:pt x="159" y="115"/>
                  </a:lnTo>
                  <a:lnTo>
                    <a:pt x="157" y="115"/>
                  </a:lnTo>
                  <a:lnTo>
                    <a:pt x="158" y="113"/>
                  </a:lnTo>
                  <a:lnTo>
                    <a:pt x="157" y="114"/>
                  </a:lnTo>
                  <a:lnTo>
                    <a:pt x="155" y="114"/>
                  </a:lnTo>
                  <a:lnTo>
                    <a:pt x="154" y="114"/>
                  </a:lnTo>
                  <a:lnTo>
                    <a:pt x="153" y="115"/>
                  </a:lnTo>
                  <a:lnTo>
                    <a:pt x="152" y="115"/>
                  </a:lnTo>
                  <a:lnTo>
                    <a:pt x="151" y="115"/>
                  </a:lnTo>
                  <a:lnTo>
                    <a:pt x="150" y="116"/>
                  </a:lnTo>
                  <a:lnTo>
                    <a:pt x="148" y="116"/>
                  </a:lnTo>
                  <a:lnTo>
                    <a:pt x="147" y="118"/>
                  </a:lnTo>
                  <a:lnTo>
                    <a:pt x="146" y="118"/>
                  </a:lnTo>
                  <a:lnTo>
                    <a:pt x="145" y="119"/>
                  </a:lnTo>
                  <a:lnTo>
                    <a:pt x="144" y="119"/>
                  </a:lnTo>
                  <a:lnTo>
                    <a:pt x="143" y="120"/>
                  </a:lnTo>
                  <a:lnTo>
                    <a:pt x="142" y="121"/>
                  </a:lnTo>
                  <a:lnTo>
                    <a:pt x="140" y="122"/>
                  </a:lnTo>
                  <a:lnTo>
                    <a:pt x="139" y="125"/>
                  </a:lnTo>
                  <a:lnTo>
                    <a:pt x="138" y="126"/>
                  </a:lnTo>
                  <a:lnTo>
                    <a:pt x="137" y="127"/>
                  </a:lnTo>
                  <a:lnTo>
                    <a:pt x="136" y="128"/>
                  </a:lnTo>
                  <a:lnTo>
                    <a:pt x="133" y="130"/>
                  </a:lnTo>
                  <a:lnTo>
                    <a:pt x="132" y="132"/>
                  </a:lnTo>
                  <a:lnTo>
                    <a:pt x="131" y="133"/>
                  </a:lnTo>
                  <a:lnTo>
                    <a:pt x="130" y="134"/>
                  </a:lnTo>
                  <a:lnTo>
                    <a:pt x="128" y="133"/>
                  </a:lnTo>
                  <a:lnTo>
                    <a:pt x="126" y="133"/>
                  </a:lnTo>
                  <a:lnTo>
                    <a:pt x="124" y="132"/>
                  </a:lnTo>
                  <a:lnTo>
                    <a:pt x="123" y="132"/>
                  </a:lnTo>
                  <a:lnTo>
                    <a:pt x="122" y="133"/>
                  </a:lnTo>
                  <a:lnTo>
                    <a:pt x="121" y="133"/>
                  </a:lnTo>
                  <a:lnTo>
                    <a:pt x="118" y="133"/>
                  </a:lnTo>
                  <a:lnTo>
                    <a:pt x="116" y="134"/>
                  </a:lnTo>
                  <a:lnTo>
                    <a:pt x="115" y="134"/>
                  </a:lnTo>
                  <a:lnTo>
                    <a:pt x="112" y="135"/>
                  </a:lnTo>
                  <a:lnTo>
                    <a:pt x="112" y="136"/>
                  </a:lnTo>
                  <a:lnTo>
                    <a:pt x="112" y="137"/>
                  </a:lnTo>
                  <a:lnTo>
                    <a:pt x="111" y="137"/>
                  </a:lnTo>
                  <a:lnTo>
                    <a:pt x="111" y="136"/>
                  </a:lnTo>
                  <a:lnTo>
                    <a:pt x="110" y="136"/>
                  </a:lnTo>
                  <a:lnTo>
                    <a:pt x="109" y="136"/>
                  </a:lnTo>
                  <a:lnTo>
                    <a:pt x="109" y="135"/>
                  </a:lnTo>
                  <a:lnTo>
                    <a:pt x="109" y="134"/>
                  </a:lnTo>
                  <a:lnTo>
                    <a:pt x="108" y="133"/>
                  </a:lnTo>
                  <a:lnTo>
                    <a:pt x="107" y="133"/>
                  </a:lnTo>
                  <a:lnTo>
                    <a:pt x="105" y="134"/>
                  </a:lnTo>
                  <a:lnTo>
                    <a:pt x="104" y="134"/>
                  </a:lnTo>
                  <a:lnTo>
                    <a:pt x="103" y="135"/>
                  </a:lnTo>
                  <a:lnTo>
                    <a:pt x="102" y="134"/>
                  </a:lnTo>
                  <a:lnTo>
                    <a:pt x="101" y="133"/>
                  </a:lnTo>
                  <a:lnTo>
                    <a:pt x="100" y="133"/>
                  </a:lnTo>
                  <a:lnTo>
                    <a:pt x="98" y="133"/>
                  </a:lnTo>
                  <a:lnTo>
                    <a:pt x="97" y="133"/>
                  </a:lnTo>
                  <a:lnTo>
                    <a:pt x="97" y="134"/>
                  </a:lnTo>
                  <a:lnTo>
                    <a:pt x="96" y="134"/>
                  </a:lnTo>
                  <a:lnTo>
                    <a:pt x="95" y="134"/>
                  </a:lnTo>
                  <a:lnTo>
                    <a:pt x="95" y="135"/>
                  </a:lnTo>
                  <a:lnTo>
                    <a:pt x="94" y="136"/>
                  </a:lnTo>
                  <a:lnTo>
                    <a:pt x="94" y="137"/>
                  </a:lnTo>
                  <a:lnTo>
                    <a:pt x="94" y="136"/>
                  </a:lnTo>
                  <a:lnTo>
                    <a:pt x="93" y="135"/>
                  </a:lnTo>
                  <a:lnTo>
                    <a:pt x="93" y="134"/>
                  </a:lnTo>
                  <a:lnTo>
                    <a:pt x="93" y="135"/>
                  </a:lnTo>
                  <a:lnTo>
                    <a:pt x="91" y="135"/>
                  </a:lnTo>
                  <a:lnTo>
                    <a:pt x="90" y="135"/>
                  </a:lnTo>
                  <a:lnTo>
                    <a:pt x="90" y="134"/>
                  </a:lnTo>
                  <a:lnTo>
                    <a:pt x="89" y="132"/>
                  </a:lnTo>
                  <a:lnTo>
                    <a:pt x="88" y="132"/>
                  </a:lnTo>
                  <a:lnTo>
                    <a:pt x="87" y="130"/>
                  </a:lnTo>
                  <a:lnTo>
                    <a:pt x="86" y="130"/>
                  </a:lnTo>
                  <a:lnTo>
                    <a:pt x="84" y="130"/>
                  </a:lnTo>
                  <a:lnTo>
                    <a:pt x="84" y="129"/>
                  </a:lnTo>
                  <a:lnTo>
                    <a:pt x="84" y="128"/>
                  </a:lnTo>
                  <a:lnTo>
                    <a:pt x="83" y="128"/>
                  </a:lnTo>
                  <a:lnTo>
                    <a:pt x="83" y="127"/>
                  </a:lnTo>
                  <a:lnTo>
                    <a:pt x="82" y="127"/>
                  </a:lnTo>
                  <a:lnTo>
                    <a:pt x="82" y="126"/>
                  </a:lnTo>
                  <a:lnTo>
                    <a:pt x="81" y="126"/>
                  </a:lnTo>
                  <a:lnTo>
                    <a:pt x="81" y="125"/>
                  </a:lnTo>
                  <a:lnTo>
                    <a:pt x="81" y="123"/>
                  </a:lnTo>
                  <a:lnTo>
                    <a:pt x="80" y="123"/>
                  </a:lnTo>
                  <a:lnTo>
                    <a:pt x="79" y="123"/>
                  </a:lnTo>
                  <a:lnTo>
                    <a:pt x="79" y="122"/>
                  </a:lnTo>
                  <a:lnTo>
                    <a:pt x="79" y="121"/>
                  </a:lnTo>
                  <a:lnTo>
                    <a:pt x="79" y="120"/>
                  </a:lnTo>
                  <a:lnTo>
                    <a:pt x="78" y="120"/>
                  </a:lnTo>
                  <a:lnTo>
                    <a:pt x="76" y="119"/>
                  </a:lnTo>
                  <a:lnTo>
                    <a:pt x="75" y="119"/>
                  </a:lnTo>
                  <a:lnTo>
                    <a:pt x="74" y="119"/>
                  </a:lnTo>
                  <a:lnTo>
                    <a:pt x="74" y="120"/>
                  </a:lnTo>
                  <a:lnTo>
                    <a:pt x="74" y="121"/>
                  </a:lnTo>
                  <a:lnTo>
                    <a:pt x="73" y="122"/>
                  </a:lnTo>
                  <a:lnTo>
                    <a:pt x="73" y="123"/>
                  </a:lnTo>
                  <a:lnTo>
                    <a:pt x="72" y="123"/>
                  </a:lnTo>
                  <a:lnTo>
                    <a:pt x="71" y="125"/>
                  </a:lnTo>
                  <a:lnTo>
                    <a:pt x="71" y="123"/>
                  </a:lnTo>
                  <a:lnTo>
                    <a:pt x="69" y="122"/>
                  </a:lnTo>
                  <a:lnTo>
                    <a:pt x="68" y="122"/>
                  </a:lnTo>
                  <a:lnTo>
                    <a:pt x="68" y="121"/>
                  </a:lnTo>
                  <a:lnTo>
                    <a:pt x="67" y="122"/>
                  </a:lnTo>
                  <a:lnTo>
                    <a:pt x="66" y="122"/>
                  </a:lnTo>
                  <a:lnTo>
                    <a:pt x="65" y="121"/>
                  </a:lnTo>
                  <a:lnTo>
                    <a:pt x="64" y="121"/>
                  </a:lnTo>
                  <a:lnTo>
                    <a:pt x="64" y="122"/>
                  </a:lnTo>
                  <a:lnTo>
                    <a:pt x="62" y="122"/>
                  </a:lnTo>
                  <a:lnTo>
                    <a:pt x="62" y="123"/>
                  </a:lnTo>
                  <a:lnTo>
                    <a:pt x="61" y="123"/>
                  </a:lnTo>
                  <a:lnTo>
                    <a:pt x="60" y="125"/>
                  </a:lnTo>
                  <a:lnTo>
                    <a:pt x="59" y="125"/>
                  </a:lnTo>
                  <a:lnTo>
                    <a:pt x="59" y="123"/>
                  </a:lnTo>
                  <a:lnTo>
                    <a:pt x="58" y="123"/>
                  </a:lnTo>
                  <a:lnTo>
                    <a:pt x="57" y="123"/>
                  </a:lnTo>
                  <a:lnTo>
                    <a:pt x="55" y="122"/>
                  </a:lnTo>
                  <a:lnTo>
                    <a:pt x="54" y="122"/>
                  </a:lnTo>
                  <a:lnTo>
                    <a:pt x="54" y="121"/>
                  </a:lnTo>
                  <a:lnTo>
                    <a:pt x="53" y="121"/>
                  </a:lnTo>
                  <a:lnTo>
                    <a:pt x="53" y="120"/>
                  </a:lnTo>
                  <a:lnTo>
                    <a:pt x="53" y="121"/>
                  </a:lnTo>
                  <a:lnTo>
                    <a:pt x="52" y="121"/>
                  </a:lnTo>
                  <a:lnTo>
                    <a:pt x="52" y="120"/>
                  </a:lnTo>
                  <a:lnTo>
                    <a:pt x="51" y="120"/>
                  </a:lnTo>
                  <a:lnTo>
                    <a:pt x="51" y="119"/>
                  </a:lnTo>
                  <a:lnTo>
                    <a:pt x="51" y="118"/>
                  </a:lnTo>
                  <a:lnTo>
                    <a:pt x="51" y="116"/>
                  </a:lnTo>
                  <a:lnTo>
                    <a:pt x="50" y="116"/>
                  </a:lnTo>
                  <a:lnTo>
                    <a:pt x="50" y="115"/>
                  </a:lnTo>
                  <a:lnTo>
                    <a:pt x="48" y="115"/>
                  </a:lnTo>
                  <a:lnTo>
                    <a:pt x="47" y="115"/>
                  </a:lnTo>
                  <a:lnTo>
                    <a:pt x="47" y="114"/>
                  </a:lnTo>
                  <a:lnTo>
                    <a:pt x="46" y="114"/>
                  </a:lnTo>
                  <a:lnTo>
                    <a:pt x="46" y="113"/>
                  </a:lnTo>
                  <a:lnTo>
                    <a:pt x="46" y="112"/>
                  </a:lnTo>
                  <a:lnTo>
                    <a:pt x="45" y="111"/>
                  </a:lnTo>
                  <a:lnTo>
                    <a:pt x="44" y="109"/>
                  </a:lnTo>
                  <a:lnTo>
                    <a:pt x="44" y="108"/>
                  </a:lnTo>
                  <a:lnTo>
                    <a:pt x="44" y="107"/>
                  </a:lnTo>
                  <a:lnTo>
                    <a:pt x="43" y="107"/>
                  </a:lnTo>
                  <a:lnTo>
                    <a:pt x="44" y="107"/>
                  </a:lnTo>
                  <a:lnTo>
                    <a:pt x="44" y="105"/>
                  </a:lnTo>
                  <a:lnTo>
                    <a:pt x="44" y="104"/>
                  </a:lnTo>
                  <a:lnTo>
                    <a:pt x="44" y="105"/>
                  </a:lnTo>
                  <a:lnTo>
                    <a:pt x="43" y="105"/>
                  </a:lnTo>
                  <a:lnTo>
                    <a:pt x="43" y="104"/>
                  </a:lnTo>
                  <a:lnTo>
                    <a:pt x="43" y="102"/>
                  </a:lnTo>
                  <a:lnTo>
                    <a:pt x="41" y="102"/>
                  </a:lnTo>
                  <a:lnTo>
                    <a:pt x="41" y="101"/>
                  </a:lnTo>
                  <a:lnTo>
                    <a:pt x="40" y="101"/>
                  </a:lnTo>
                  <a:lnTo>
                    <a:pt x="40" y="100"/>
                  </a:lnTo>
                  <a:lnTo>
                    <a:pt x="39" y="100"/>
                  </a:lnTo>
                  <a:lnTo>
                    <a:pt x="39" y="99"/>
                  </a:lnTo>
                  <a:lnTo>
                    <a:pt x="38" y="99"/>
                  </a:lnTo>
                  <a:lnTo>
                    <a:pt x="38" y="100"/>
                  </a:lnTo>
                  <a:lnTo>
                    <a:pt x="38" y="99"/>
                  </a:lnTo>
                  <a:lnTo>
                    <a:pt x="37" y="99"/>
                  </a:lnTo>
                  <a:lnTo>
                    <a:pt x="37" y="98"/>
                  </a:lnTo>
                  <a:lnTo>
                    <a:pt x="36" y="98"/>
                  </a:lnTo>
                  <a:lnTo>
                    <a:pt x="34" y="98"/>
                  </a:lnTo>
                  <a:lnTo>
                    <a:pt x="33" y="98"/>
                  </a:lnTo>
                  <a:lnTo>
                    <a:pt x="33" y="97"/>
                  </a:lnTo>
                  <a:lnTo>
                    <a:pt x="32" y="97"/>
                  </a:lnTo>
                  <a:lnTo>
                    <a:pt x="32" y="95"/>
                  </a:lnTo>
                  <a:lnTo>
                    <a:pt x="33" y="95"/>
                  </a:lnTo>
                  <a:lnTo>
                    <a:pt x="33" y="94"/>
                  </a:lnTo>
                  <a:lnTo>
                    <a:pt x="32" y="94"/>
                  </a:lnTo>
                  <a:lnTo>
                    <a:pt x="32" y="93"/>
                  </a:lnTo>
                  <a:lnTo>
                    <a:pt x="31" y="93"/>
                  </a:lnTo>
                  <a:lnTo>
                    <a:pt x="31" y="92"/>
                  </a:lnTo>
                  <a:lnTo>
                    <a:pt x="30" y="92"/>
                  </a:lnTo>
                  <a:lnTo>
                    <a:pt x="30" y="91"/>
                  </a:lnTo>
                  <a:lnTo>
                    <a:pt x="30" y="90"/>
                  </a:lnTo>
                  <a:lnTo>
                    <a:pt x="31" y="90"/>
                  </a:lnTo>
                  <a:lnTo>
                    <a:pt x="31" y="88"/>
                  </a:lnTo>
                  <a:lnTo>
                    <a:pt x="31" y="87"/>
                  </a:lnTo>
                  <a:lnTo>
                    <a:pt x="30" y="86"/>
                  </a:lnTo>
                  <a:lnTo>
                    <a:pt x="29" y="86"/>
                  </a:lnTo>
                  <a:lnTo>
                    <a:pt x="27" y="85"/>
                  </a:lnTo>
                  <a:lnTo>
                    <a:pt x="27" y="84"/>
                  </a:lnTo>
                  <a:lnTo>
                    <a:pt x="26" y="84"/>
                  </a:lnTo>
                  <a:lnTo>
                    <a:pt x="26" y="83"/>
                  </a:lnTo>
                  <a:lnTo>
                    <a:pt x="26" y="81"/>
                  </a:lnTo>
                  <a:lnTo>
                    <a:pt x="25" y="81"/>
                  </a:lnTo>
                  <a:lnTo>
                    <a:pt x="24" y="81"/>
                  </a:lnTo>
                  <a:lnTo>
                    <a:pt x="24" y="80"/>
                  </a:lnTo>
                  <a:lnTo>
                    <a:pt x="23" y="80"/>
                  </a:lnTo>
                  <a:lnTo>
                    <a:pt x="23" y="79"/>
                  </a:lnTo>
                  <a:lnTo>
                    <a:pt x="22" y="79"/>
                  </a:lnTo>
                  <a:lnTo>
                    <a:pt x="20" y="79"/>
                  </a:lnTo>
                  <a:lnTo>
                    <a:pt x="20" y="78"/>
                  </a:lnTo>
                  <a:lnTo>
                    <a:pt x="19" y="78"/>
                  </a:lnTo>
                  <a:lnTo>
                    <a:pt x="18" y="78"/>
                  </a:lnTo>
                  <a:lnTo>
                    <a:pt x="18" y="77"/>
                  </a:lnTo>
                  <a:lnTo>
                    <a:pt x="17" y="77"/>
                  </a:lnTo>
                  <a:lnTo>
                    <a:pt x="17" y="76"/>
                  </a:lnTo>
                  <a:lnTo>
                    <a:pt x="16" y="76"/>
                  </a:lnTo>
                  <a:lnTo>
                    <a:pt x="16" y="74"/>
                  </a:lnTo>
                  <a:lnTo>
                    <a:pt x="15" y="74"/>
                  </a:lnTo>
                  <a:lnTo>
                    <a:pt x="15" y="73"/>
                  </a:lnTo>
                  <a:lnTo>
                    <a:pt x="15" y="72"/>
                  </a:lnTo>
                  <a:lnTo>
                    <a:pt x="16" y="72"/>
                  </a:lnTo>
                  <a:lnTo>
                    <a:pt x="16" y="71"/>
                  </a:lnTo>
                  <a:lnTo>
                    <a:pt x="16" y="70"/>
                  </a:lnTo>
                  <a:lnTo>
                    <a:pt x="16" y="69"/>
                  </a:lnTo>
                  <a:lnTo>
                    <a:pt x="15" y="69"/>
                  </a:lnTo>
                  <a:lnTo>
                    <a:pt x="15" y="67"/>
                  </a:lnTo>
                  <a:lnTo>
                    <a:pt x="14" y="67"/>
                  </a:lnTo>
                  <a:lnTo>
                    <a:pt x="12" y="67"/>
                  </a:lnTo>
                  <a:lnTo>
                    <a:pt x="11" y="66"/>
                  </a:lnTo>
                  <a:lnTo>
                    <a:pt x="11" y="65"/>
                  </a:lnTo>
                  <a:lnTo>
                    <a:pt x="10" y="65"/>
                  </a:lnTo>
                  <a:lnTo>
                    <a:pt x="9" y="64"/>
                  </a:lnTo>
                  <a:lnTo>
                    <a:pt x="9" y="63"/>
                  </a:lnTo>
                  <a:lnTo>
                    <a:pt x="8" y="63"/>
                  </a:lnTo>
                  <a:lnTo>
                    <a:pt x="7" y="63"/>
                  </a:lnTo>
                  <a:lnTo>
                    <a:pt x="5" y="63"/>
                  </a:lnTo>
                  <a:lnTo>
                    <a:pt x="4" y="63"/>
                  </a:lnTo>
                  <a:lnTo>
                    <a:pt x="4" y="62"/>
                  </a:lnTo>
                  <a:lnTo>
                    <a:pt x="3" y="62"/>
                  </a:lnTo>
                  <a:lnTo>
                    <a:pt x="2" y="62"/>
                  </a:lnTo>
                  <a:lnTo>
                    <a:pt x="1" y="62"/>
                  </a:lnTo>
                  <a:lnTo>
                    <a:pt x="0" y="60"/>
                  </a:lnTo>
                  <a:lnTo>
                    <a:pt x="0" y="59"/>
                  </a:lnTo>
                  <a:lnTo>
                    <a:pt x="1" y="58"/>
                  </a:lnTo>
                  <a:lnTo>
                    <a:pt x="1" y="57"/>
                  </a:lnTo>
                  <a:lnTo>
                    <a:pt x="1" y="56"/>
                  </a:lnTo>
                  <a:lnTo>
                    <a:pt x="1" y="55"/>
                  </a:lnTo>
                  <a:lnTo>
                    <a:pt x="0" y="55"/>
                  </a:lnTo>
                  <a:lnTo>
                    <a:pt x="1" y="55"/>
                  </a:lnTo>
                  <a:lnTo>
                    <a:pt x="1" y="53"/>
                  </a:lnTo>
                  <a:lnTo>
                    <a:pt x="2" y="53"/>
                  </a:lnTo>
                  <a:lnTo>
                    <a:pt x="3" y="52"/>
                  </a:lnTo>
                  <a:lnTo>
                    <a:pt x="4" y="52"/>
                  </a:lnTo>
                  <a:lnTo>
                    <a:pt x="5" y="52"/>
                  </a:lnTo>
                  <a:lnTo>
                    <a:pt x="5" y="50"/>
                  </a:lnTo>
                  <a:lnTo>
                    <a:pt x="7" y="48"/>
                  </a:lnTo>
                  <a:lnTo>
                    <a:pt x="7" y="44"/>
                  </a:lnTo>
                  <a:lnTo>
                    <a:pt x="8" y="44"/>
                  </a:lnTo>
                  <a:lnTo>
                    <a:pt x="8" y="43"/>
                  </a:lnTo>
                  <a:lnTo>
                    <a:pt x="9" y="42"/>
                  </a:lnTo>
                  <a:lnTo>
                    <a:pt x="9" y="37"/>
                  </a:lnTo>
                  <a:lnTo>
                    <a:pt x="10" y="36"/>
                  </a:lnTo>
                  <a:lnTo>
                    <a:pt x="11" y="35"/>
                  </a:lnTo>
                  <a:lnTo>
                    <a:pt x="11" y="34"/>
                  </a:lnTo>
                  <a:lnTo>
                    <a:pt x="11" y="32"/>
                  </a:lnTo>
                  <a:lnTo>
                    <a:pt x="11" y="31"/>
                  </a:lnTo>
                  <a:lnTo>
                    <a:pt x="12" y="30"/>
                  </a:lnTo>
                  <a:lnTo>
                    <a:pt x="14" y="29"/>
                  </a:lnTo>
                  <a:lnTo>
                    <a:pt x="14" y="30"/>
                  </a:lnTo>
                  <a:lnTo>
                    <a:pt x="14" y="29"/>
                  </a:lnTo>
                  <a:lnTo>
                    <a:pt x="15" y="29"/>
                  </a:lnTo>
                  <a:lnTo>
                    <a:pt x="16" y="29"/>
                  </a:lnTo>
                  <a:lnTo>
                    <a:pt x="17" y="29"/>
                  </a:lnTo>
                  <a:lnTo>
                    <a:pt x="18" y="29"/>
                  </a:lnTo>
                  <a:lnTo>
                    <a:pt x="19" y="29"/>
                  </a:lnTo>
                  <a:lnTo>
                    <a:pt x="19" y="28"/>
                  </a:lnTo>
                  <a:lnTo>
                    <a:pt x="20" y="28"/>
                  </a:lnTo>
                  <a:lnTo>
                    <a:pt x="22" y="28"/>
                  </a:lnTo>
                  <a:lnTo>
                    <a:pt x="23" y="28"/>
                  </a:lnTo>
                  <a:lnTo>
                    <a:pt x="24" y="29"/>
                  </a:lnTo>
                  <a:lnTo>
                    <a:pt x="24" y="31"/>
                  </a:lnTo>
                  <a:lnTo>
                    <a:pt x="24" y="32"/>
                  </a:lnTo>
                  <a:lnTo>
                    <a:pt x="25" y="32"/>
                  </a:lnTo>
                  <a:lnTo>
                    <a:pt x="26" y="34"/>
                  </a:lnTo>
                  <a:lnTo>
                    <a:pt x="26" y="35"/>
                  </a:lnTo>
                  <a:lnTo>
                    <a:pt x="27" y="35"/>
                  </a:lnTo>
                  <a:lnTo>
                    <a:pt x="30" y="38"/>
                  </a:lnTo>
                  <a:lnTo>
                    <a:pt x="33" y="42"/>
                  </a:lnTo>
                  <a:lnTo>
                    <a:pt x="33" y="43"/>
                  </a:lnTo>
                  <a:lnTo>
                    <a:pt x="34" y="43"/>
                  </a:lnTo>
                  <a:lnTo>
                    <a:pt x="40" y="41"/>
                  </a:lnTo>
                  <a:lnTo>
                    <a:pt x="44" y="41"/>
                  </a:lnTo>
                  <a:lnTo>
                    <a:pt x="45" y="41"/>
                  </a:lnTo>
                  <a:lnTo>
                    <a:pt x="46" y="41"/>
                  </a:lnTo>
                  <a:lnTo>
                    <a:pt x="47" y="41"/>
                  </a:lnTo>
                  <a:lnTo>
                    <a:pt x="48" y="41"/>
                  </a:lnTo>
                  <a:lnTo>
                    <a:pt x="50" y="41"/>
                  </a:lnTo>
                  <a:lnTo>
                    <a:pt x="51" y="41"/>
                  </a:lnTo>
                  <a:lnTo>
                    <a:pt x="52" y="41"/>
                  </a:lnTo>
                  <a:lnTo>
                    <a:pt x="53" y="44"/>
                  </a:lnTo>
                  <a:lnTo>
                    <a:pt x="54" y="45"/>
                  </a:lnTo>
                  <a:lnTo>
                    <a:pt x="59" y="45"/>
                  </a:lnTo>
                  <a:lnTo>
                    <a:pt x="65" y="45"/>
                  </a:lnTo>
                  <a:lnTo>
                    <a:pt x="65" y="44"/>
                  </a:lnTo>
                  <a:lnTo>
                    <a:pt x="65" y="43"/>
                  </a:lnTo>
                  <a:lnTo>
                    <a:pt x="66" y="42"/>
                  </a:lnTo>
                  <a:lnTo>
                    <a:pt x="67" y="41"/>
                  </a:lnTo>
                  <a:lnTo>
                    <a:pt x="68" y="39"/>
                  </a:lnTo>
                  <a:lnTo>
                    <a:pt x="71" y="39"/>
                  </a:lnTo>
                  <a:lnTo>
                    <a:pt x="74" y="38"/>
                  </a:lnTo>
                  <a:lnTo>
                    <a:pt x="75" y="37"/>
                  </a:lnTo>
                  <a:lnTo>
                    <a:pt x="75" y="36"/>
                  </a:lnTo>
                  <a:lnTo>
                    <a:pt x="75" y="34"/>
                  </a:lnTo>
                  <a:lnTo>
                    <a:pt x="76" y="32"/>
                  </a:lnTo>
                  <a:lnTo>
                    <a:pt x="80" y="30"/>
                  </a:lnTo>
                  <a:lnTo>
                    <a:pt x="81" y="30"/>
                  </a:lnTo>
                  <a:lnTo>
                    <a:pt x="84" y="32"/>
                  </a:lnTo>
                  <a:lnTo>
                    <a:pt x="87" y="35"/>
                  </a:lnTo>
                  <a:lnTo>
                    <a:pt x="91" y="38"/>
                  </a:lnTo>
                  <a:lnTo>
                    <a:pt x="93" y="38"/>
                  </a:lnTo>
                  <a:lnTo>
                    <a:pt x="94" y="38"/>
                  </a:lnTo>
                  <a:lnTo>
                    <a:pt x="97" y="38"/>
                  </a:lnTo>
                  <a:lnTo>
                    <a:pt x="97" y="37"/>
                  </a:lnTo>
                  <a:lnTo>
                    <a:pt x="101" y="35"/>
                  </a:lnTo>
                  <a:lnTo>
                    <a:pt x="103" y="31"/>
                  </a:lnTo>
                  <a:lnTo>
                    <a:pt x="105" y="29"/>
                  </a:lnTo>
                  <a:lnTo>
                    <a:pt x="107" y="27"/>
                  </a:lnTo>
                  <a:lnTo>
                    <a:pt x="107" y="24"/>
                  </a:lnTo>
                  <a:lnTo>
                    <a:pt x="108" y="24"/>
                  </a:lnTo>
                  <a:lnTo>
                    <a:pt x="110" y="21"/>
                  </a:lnTo>
                  <a:lnTo>
                    <a:pt x="114" y="17"/>
                  </a:lnTo>
                  <a:lnTo>
                    <a:pt x="112" y="15"/>
                  </a:lnTo>
                  <a:lnTo>
                    <a:pt x="112" y="14"/>
                  </a:lnTo>
                  <a:lnTo>
                    <a:pt x="112" y="13"/>
                  </a:lnTo>
                  <a:lnTo>
                    <a:pt x="112" y="9"/>
                  </a:lnTo>
                  <a:lnTo>
                    <a:pt x="112" y="8"/>
                  </a:lnTo>
                  <a:lnTo>
                    <a:pt x="112" y="7"/>
                  </a:lnTo>
                  <a:lnTo>
                    <a:pt x="109" y="3"/>
                  </a:lnTo>
                  <a:lnTo>
                    <a:pt x="114" y="3"/>
                  </a:lnTo>
                  <a:lnTo>
                    <a:pt x="118" y="3"/>
                  </a:lnTo>
                  <a:lnTo>
                    <a:pt x="118" y="2"/>
                  </a:lnTo>
                  <a:lnTo>
                    <a:pt x="118" y="1"/>
                  </a:lnTo>
                  <a:lnTo>
                    <a:pt x="117" y="1"/>
                  </a:lnTo>
                  <a:lnTo>
                    <a:pt x="117" y="0"/>
                  </a:lnTo>
                  <a:lnTo>
                    <a:pt x="124" y="0"/>
                  </a:lnTo>
                  <a:lnTo>
                    <a:pt x="124" y="1"/>
                  </a:lnTo>
                  <a:lnTo>
                    <a:pt x="123" y="3"/>
                  </a:lnTo>
                  <a:lnTo>
                    <a:pt x="124" y="6"/>
                  </a:lnTo>
                  <a:lnTo>
                    <a:pt x="123" y="8"/>
                  </a:lnTo>
                  <a:lnTo>
                    <a:pt x="123" y="9"/>
                  </a:lnTo>
                  <a:lnTo>
                    <a:pt x="124" y="15"/>
                  </a:lnTo>
                  <a:lnTo>
                    <a:pt x="124" y="21"/>
                  </a:lnTo>
                  <a:lnTo>
                    <a:pt x="124" y="22"/>
                  </a:lnTo>
                  <a:lnTo>
                    <a:pt x="124" y="23"/>
                  </a:lnTo>
                  <a:lnTo>
                    <a:pt x="128" y="24"/>
                  </a:lnTo>
                  <a:lnTo>
                    <a:pt x="129" y="25"/>
                  </a:lnTo>
                  <a:lnTo>
                    <a:pt x="132" y="29"/>
                  </a:lnTo>
                  <a:lnTo>
                    <a:pt x="135" y="31"/>
                  </a:lnTo>
                  <a:lnTo>
                    <a:pt x="136" y="34"/>
                  </a:lnTo>
                  <a:lnTo>
                    <a:pt x="136" y="35"/>
                  </a:lnTo>
                  <a:lnTo>
                    <a:pt x="136" y="36"/>
                  </a:lnTo>
                  <a:lnTo>
                    <a:pt x="136" y="37"/>
                  </a:lnTo>
                  <a:lnTo>
                    <a:pt x="135" y="39"/>
                  </a:lnTo>
                  <a:lnTo>
                    <a:pt x="135" y="41"/>
                  </a:lnTo>
                  <a:lnTo>
                    <a:pt x="135" y="42"/>
                  </a:lnTo>
                  <a:lnTo>
                    <a:pt x="135" y="43"/>
                  </a:lnTo>
                  <a:lnTo>
                    <a:pt x="137" y="43"/>
                  </a:lnTo>
                  <a:close/>
                </a:path>
              </a:pathLst>
            </a:custGeom>
            <a:solidFill>
              <a:srgbClr val="D2D2D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t-IT" sz="1200" dirty="0">
                <a:solidFill>
                  <a:schemeClr val="lt1"/>
                </a:solidFill>
              </a:endParaRPr>
            </a:p>
          </p:txBody>
        </p:sp>
        <p:sp>
          <p:nvSpPr>
            <p:cNvPr id="233" name="Freeform 992">
              <a:extLst>
                <a:ext uri="{FF2B5EF4-FFF2-40B4-BE49-F238E27FC236}">
                  <a16:creationId xmlns:a16="http://schemas.microsoft.com/office/drawing/2014/main" id="{10A52C8C-591B-4D16-BD04-FAA6E1A7A20F}"/>
                </a:ext>
              </a:extLst>
            </p:cNvPr>
            <p:cNvSpPr>
              <a:spLocks/>
            </p:cNvSpPr>
            <p:nvPr/>
          </p:nvSpPr>
          <p:spPr bwMode="auto">
            <a:xfrm>
              <a:off x="5483240" y="2995959"/>
              <a:ext cx="112181" cy="90813"/>
            </a:xfrm>
            <a:custGeom>
              <a:avLst/>
              <a:gdLst>
                <a:gd name="T0" fmla="*/ 75 w 84"/>
                <a:gd name="T1" fmla="*/ 37 h 68"/>
                <a:gd name="T2" fmla="*/ 77 w 84"/>
                <a:gd name="T3" fmla="*/ 45 h 68"/>
                <a:gd name="T4" fmla="*/ 76 w 84"/>
                <a:gd name="T5" fmla="*/ 50 h 68"/>
                <a:gd name="T6" fmla="*/ 78 w 84"/>
                <a:gd name="T7" fmla="*/ 53 h 68"/>
                <a:gd name="T8" fmla="*/ 82 w 84"/>
                <a:gd name="T9" fmla="*/ 54 h 68"/>
                <a:gd name="T10" fmla="*/ 84 w 84"/>
                <a:gd name="T11" fmla="*/ 58 h 68"/>
                <a:gd name="T12" fmla="*/ 84 w 84"/>
                <a:gd name="T13" fmla="*/ 64 h 68"/>
                <a:gd name="T14" fmla="*/ 84 w 84"/>
                <a:gd name="T15" fmla="*/ 67 h 68"/>
                <a:gd name="T16" fmla="*/ 76 w 84"/>
                <a:gd name="T17" fmla="*/ 67 h 68"/>
                <a:gd name="T18" fmla="*/ 68 w 84"/>
                <a:gd name="T19" fmla="*/ 67 h 68"/>
                <a:gd name="T20" fmla="*/ 61 w 84"/>
                <a:gd name="T21" fmla="*/ 66 h 68"/>
                <a:gd name="T22" fmla="*/ 52 w 84"/>
                <a:gd name="T23" fmla="*/ 63 h 68"/>
                <a:gd name="T24" fmla="*/ 32 w 84"/>
                <a:gd name="T25" fmla="*/ 63 h 68"/>
                <a:gd name="T26" fmla="*/ 20 w 84"/>
                <a:gd name="T27" fmla="*/ 67 h 68"/>
                <a:gd name="T28" fmla="*/ 16 w 84"/>
                <a:gd name="T29" fmla="*/ 67 h 68"/>
                <a:gd name="T30" fmla="*/ 11 w 84"/>
                <a:gd name="T31" fmla="*/ 65 h 68"/>
                <a:gd name="T32" fmla="*/ 14 w 84"/>
                <a:gd name="T33" fmla="*/ 65 h 68"/>
                <a:gd name="T34" fmla="*/ 20 w 84"/>
                <a:gd name="T35" fmla="*/ 64 h 68"/>
                <a:gd name="T36" fmla="*/ 25 w 84"/>
                <a:gd name="T37" fmla="*/ 65 h 68"/>
                <a:gd name="T38" fmla="*/ 28 w 84"/>
                <a:gd name="T39" fmla="*/ 60 h 68"/>
                <a:gd name="T40" fmla="*/ 27 w 84"/>
                <a:gd name="T41" fmla="*/ 64 h 68"/>
                <a:gd name="T42" fmla="*/ 22 w 84"/>
                <a:gd name="T43" fmla="*/ 64 h 68"/>
                <a:gd name="T44" fmla="*/ 16 w 84"/>
                <a:gd name="T45" fmla="*/ 64 h 68"/>
                <a:gd name="T46" fmla="*/ 13 w 84"/>
                <a:gd name="T47" fmla="*/ 63 h 68"/>
                <a:gd name="T48" fmla="*/ 11 w 84"/>
                <a:gd name="T49" fmla="*/ 64 h 68"/>
                <a:gd name="T50" fmla="*/ 10 w 84"/>
                <a:gd name="T51" fmla="*/ 61 h 68"/>
                <a:gd name="T52" fmla="*/ 11 w 84"/>
                <a:gd name="T53" fmla="*/ 57 h 68"/>
                <a:gd name="T54" fmla="*/ 22 w 84"/>
                <a:gd name="T55" fmla="*/ 56 h 68"/>
                <a:gd name="T56" fmla="*/ 27 w 84"/>
                <a:gd name="T57" fmla="*/ 52 h 68"/>
                <a:gd name="T58" fmla="*/ 32 w 84"/>
                <a:gd name="T59" fmla="*/ 49 h 68"/>
                <a:gd name="T60" fmla="*/ 39 w 84"/>
                <a:gd name="T61" fmla="*/ 52 h 68"/>
                <a:gd name="T62" fmla="*/ 47 w 84"/>
                <a:gd name="T63" fmla="*/ 53 h 68"/>
                <a:gd name="T64" fmla="*/ 50 w 84"/>
                <a:gd name="T65" fmla="*/ 50 h 68"/>
                <a:gd name="T66" fmla="*/ 43 w 84"/>
                <a:gd name="T67" fmla="*/ 51 h 68"/>
                <a:gd name="T68" fmla="*/ 38 w 84"/>
                <a:gd name="T69" fmla="*/ 49 h 68"/>
                <a:gd name="T70" fmla="*/ 32 w 84"/>
                <a:gd name="T71" fmla="*/ 46 h 68"/>
                <a:gd name="T72" fmla="*/ 28 w 84"/>
                <a:gd name="T73" fmla="*/ 49 h 68"/>
                <a:gd name="T74" fmla="*/ 20 w 84"/>
                <a:gd name="T75" fmla="*/ 49 h 68"/>
                <a:gd name="T76" fmla="*/ 13 w 84"/>
                <a:gd name="T77" fmla="*/ 47 h 68"/>
                <a:gd name="T78" fmla="*/ 12 w 84"/>
                <a:gd name="T79" fmla="*/ 46 h 68"/>
                <a:gd name="T80" fmla="*/ 14 w 84"/>
                <a:gd name="T81" fmla="*/ 43 h 68"/>
                <a:gd name="T82" fmla="*/ 11 w 84"/>
                <a:gd name="T83" fmla="*/ 46 h 68"/>
                <a:gd name="T84" fmla="*/ 13 w 84"/>
                <a:gd name="T85" fmla="*/ 42 h 68"/>
                <a:gd name="T86" fmla="*/ 13 w 84"/>
                <a:gd name="T87" fmla="*/ 40 h 68"/>
                <a:gd name="T88" fmla="*/ 11 w 84"/>
                <a:gd name="T89" fmla="*/ 43 h 68"/>
                <a:gd name="T90" fmla="*/ 9 w 84"/>
                <a:gd name="T91" fmla="*/ 39 h 68"/>
                <a:gd name="T92" fmla="*/ 5 w 84"/>
                <a:gd name="T93" fmla="*/ 32 h 68"/>
                <a:gd name="T94" fmla="*/ 2 w 84"/>
                <a:gd name="T95" fmla="*/ 32 h 68"/>
                <a:gd name="T96" fmla="*/ 9 w 84"/>
                <a:gd name="T97" fmla="*/ 24 h 68"/>
                <a:gd name="T98" fmla="*/ 14 w 84"/>
                <a:gd name="T99" fmla="*/ 9 h 68"/>
                <a:gd name="T100" fmla="*/ 18 w 84"/>
                <a:gd name="T101" fmla="*/ 3 h 68"/>
                <a:gd name="T102" fmla="*/ 22 w 84"/>
                <a:gd name="T103" fmla="*/ 3 h 68"/>
                <a:gd name="T104" fmla="*/ 27 w 84"/>
                <a:gd name="T105" fmla="*/ 2 h 68"/>
                <a:gd name="T106" fmla="*/ 34 w 84"/>
                <a:gd name="T107" fmla="*/ 1 h 68"/>
                <a:gd name="T108" fmla="*/ 38 w 84"/>
                <a:gd name="T109" fmla="*/ 0 h 68"/>
                <a:gd name="T110" fmla="*/ 46 w 84"/>
                <a:gd name="T111" fmla="*/ 1 h 68"/>
                <a:gd name="T112" fmla="*/ 49 w 84"/>
                <a:gd name="T113" fmla="*/ 7 h 68"/>
                <a:gd name="T114" fmla="*/ 53 w 84"/>
                <a:gd name="T115" fmla="*/ 9 h 68"/>
                <a:gd name="T116" fmla="*/ 57 w 84"/>
                <a:gd name="T117" fmla="*/ 10 h 68"/>
                <a:gd name="T118" fmla="*/ 60 w 84"/>
                <a:gd name="T119" fmla="*/ 16 h 68"/>
                <a:gd name="T120" fmla="*/ 63 w 84"/>
                <a:gd name="T121" fmla="*/ 21 h 68"/>
                <a:gd name="T122" fmla="*/ 66 w 84"/>
                <a:gd name="T123" fmla="*/ 24 h 68"/>
                <a:gd name="T124" fmla="*/ 70 w 84"/>
                <a:gd name="T125" fmla="*/ 2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 h="68">
                  <a:moveTo>
                    <a:pt x="73" y="30"/>
                  </a:moveTo>
                  <a:lnTo>
                    <a:pt x="74" y="31"/>
                  </a:lnTo>
                  <a:lnTo>
                    <a:pt x="74" y="32"/>
                  </a:lnTo>
                  <a:lnTo>
                    <a:pt x="74" y="33"/>
                  </a:lnTo>
                  <a:lnTo>
                    <a:pt x="74" y="35"/>
                  </a:lnTo>
                  <a:lnTo>
                    <a:pt x="74" y="36"/>
                  </a:lnTo>
                  <a:lnTo>
                    <a:pt x="75" y="37"/>
                  </a:lnTo>
                  <a:lnTo>
                    <a:pt x="76" y="38"/>
                  </a:lnTo>
                  <a:lnTo>
                    <a:pt x="76" y="39"/>
                  </a:lnTo>
                  <a:lnTo>
                    <a:pt x="76" y="40"/>
                  </a:lnTo>
                  <a:lnTo>
                    <a:pt x="76" y="42"/>
                  </a:lnTo>
                  <a:lnTo>
                    <a:pt x="76" y="43"/>
                  </a:lnTo>
                  <a:lnTo>
                    <a:pt x="77" y="44"/>
                  </a:lnTo>
                  <a:lnTo>
                    <a:pt x="77" y="45"/>
                  </a:lnTo>
                  <a:lnTo>
                    <a:pt x="76" y="45"/>
                  </a:lnTo>
                  <a:lnTo>
                    <a:pt x="76" y="46"/>
                  </a:lnTo>
                  <a:lnTo>
                    <a:pt x="75" y="46"/>
                  </a:lnTo>
                  <a:lnTo>
                    <a:pt x="75" y="47"/>
                  </a:lnTo>
                  <a:lnTo>
                    <a:pt x="76" y="47"/>
                  </a:lnTo>
                  <a:lnTo>
                    <a:pt x="76" y="49"/>
                  </a:lnTo>
                  <a:lnTo>
                    <a:pt x="76" y="50"/>
                  </a:lnTo>
                  <a:lnTo>
                    <a:pt x="77" y="50"/>
                  </a:lnTo>
                  <a:lnTo>
                    <a:pt x="77" y="51"/>
                  </a:lnTo>
                  <a:lnTo>
                    <a:pt x="78" y="51"/>
                  </a:lnTo>
                  <a:lnTo>
                    <a:pt x="77" y="51"/>
                  </a:lnTo>
                  <a:lnTo>
                    <a:pt x="77" y="52"/>
                  </a:lnTo>
                  <a:lnTo>
                    <a:pt x="78" y="52"/>
                  </a:lnTo>
                  <a:lnTo>
                    <a:pt x="78" y="53"/>
                  </a:lnTo>
                  <a:lnTo>
                    <a:pt x="80" y="52"/>
                  </a:lnTo>
                  <a:lnTo>
                    <a:pt x="80" y="51"/>
                  </a:lnTo>
                  <a:lnTo>
                    <a:pt x="80" y="52"/>
                  </a:lnTo>
                  <a:lnTo>
                    <a:pt x="81" y="52"/>
                  </a:lnTo>
                  <a:lnTo>
                    <a:pt x="82" y="52"/>
                  </a:lnTo>
                  <a:lnTo>
                    <a:pt x="82" y="53"/>
                  </a:lnTo>
                  <a:lnTo>
                    <a:pt x="82" y="54"/>
                  </a:lnTo>
                  <a:lnTo>
                    <a:pt x="82" y="56"/>
                  </a:lnTo>
                  <a:lnTo>
                    <a:pt x="83" y="56"/>
                  </a:lnTo>
                  <a:lnTo>
                    <a:pt x="83" y="57"/>
                  </a:lnTo>
                  <a:lnTo>
                    <a:pt x="84" y="57"/>
                  </a:lnTo>
                  <a:lnTo>
                    <a:pt x="84" y="58"/>
                  </a:lnTo>
                  <a:lnTo>
                    <a:pt x="84" y="59"/>
                  </a:lnTo>
                  <a:lnTo>
                    <a:pt x="84" y="58"/>
                  </a:lnTo>
                  <a:lnTo>
                    <a:pt x="84" y="59"/>
                  </a:lnTo>
                  <a:lnTo>
                    <a:pt x="84" y="60"/>
                  </a:lnTo>
                  <a:lnTo>
                    <a:pt x="84" y="61"/>
                  </a:lnTo>
                  <a:lnTo>
                    <a:pt x="84" y="63"/>
                  </a:lnTo>
                  <a:lnTo>
                    <a:pt x="83" y="63"/>
                  </a:lnTo>
                  <a:lnTo>
                    <a:pt x="83" y="64"/>
                  </a:lnTo>
                  <a:lnTo>
                    <a:pt x="84" y="64"/>
                  </a:lnTo>
                  <a:lnTo>
                    <a:pt x="84" y="65"/>
                  </a:lnTo>
                  <a:lnTo>
                    <a:pt x="83" y="65"/>
                  </a:lnTo>
                  <a:lnTo>
                    <a:pt x="84" y="65"/>
                  </a:lnTo>
                  <a:lnTo>
                    <a:pt x="84" y="66"/>
                  </a:lnTo>
                  <a:lnTo>
                    <a:pt x="84" y="65"/>
                  </a:lnTo>
                  <a:lnTo>
                    <a:pt x="84" y="66"/>
                  </a:lnTo>
                  <a:lnTo>
                    <a:pt x="84" y="67"/>
                  </a:lnTo>
                  <a:lnTo>
                    <a:pt x="83" y="67"/>
                  </a:lnTo>
                  <a:lnTo>
                    <a:pt x="82" y="67"/>
                  </a:lnTo>
                  <a:lnTo>
                    <a:pt x="81" y="67"/>
                  </a:lnTo>
                  <a:lnTo>
                    <a:pt x="80" y="67"/>
                  </a:lnTo>
                  <a:lnTo>
                    <a:pt x="78" y="67"/>
                  </a:lnTo>
                  <a:lnTo>
                    <a:pt x="77" y="67"/>
                  </a:lnTo>
                  <a:lnTo>
                    <a:pt x="76" y="67"/>
                  </a:lnTo>
                  <a:lnTo>
                    <a:pt x="75" y="67"/>
                  </a:lnTo>
                  <a:lnTo>
                    <a:pt x="74" y="68"/>
                  </a:lnTo>
                  <a:lnTo>
                    <a:pt x="71" y="68"/>
                  </a:lnTo>
                  <a:lnTo>
                    <a:pt x="70" y="68"/>
                  </a:lnTo>
                  <a:lnTo>
                    <a:pt x="69" y="67"/>
                  </a:lnTo>
                  <a:lnTo>
                    <a:pt x="68" y="68"/>
                  </a:lnTo>
                  <a:lnTo>
                    <a:pt x="68" y="67"/>
                  </a:lnTo>
                  <a:lnTo>
                    <a:pt x="67" y="67"/>
                  </a:lnTo>
                  <a:lnTo>
                    <a:pt x="66" y="67"/>
                  </a:lnTo>
                  <a:lnTo>
                    <a:pt x="66" y="66"/>
                  </a:lnTo>
                  <a:lnTo>
                    <a:pt x="64" y="66"/>
                  </a:lnTo>
                  <a:lnTo>
                    <a:pt x="63" y="65"/>
                  </a:lnTo>
                  <a:lnTo>
                    <a:pt x="62" y="66"/>
                  </a:lnTo>
                  <a:lnTo>
                    <a:pt x="61" y="66"/>
                  </a:lnTo>
                  <a:lnTo>
                    <a:pt x="61" y="65"/>
                  </a:lnTo>
                  <a:lnTo>
                    <a:pt x="61" y="64"/>
                  </a:lnTo>
                  <a:lnTo>
                    <a:pt x="60" y="64"/>
                  </a:lnTo>
                  <a:lnTo>
                    <a:pt x="59" y="64"/>
                  </a:lnTo>
                  <a:lnTo>
                    <a:pt x="57" y="64"/>
                  </a:lnTo>
                  <a:lnTo>
                    <a:pt x="56" y="64"/>
                  </a:lnTo>
                  <a:lnTo>
                    <a:pt x="52" y="63"/>
                  </a:lnTo>
                  <a:lnTo>
                    <a:pt x="47" y="63"/>
                  </a:lnTo>
                  <a:lnTo>
                    <a:pt x="43" y="63"/>
                  </a:lnTo>
                  <a:lnTo>
                    <a:pt x="42" y="63"/>
                  </a:lnTo>
                  <a:lnTo>
                    <a:pt x="38" y="63"/>
                  </a:lnTo>
                  <a:lnTo>
                    <a:pt x="36" y="63"/>
                  </a:lnTo>
                  <a:lnTo>
                    <a:pt x="33" y="63"/>
                  </a:lnTo>
                  <a:lnTo>
                    <a:pt x="32" y="63"/>
                  </a:lnTo>
                  <a:lnTo>
                    <a:pt x="31" y="64"/>
                  </a:lnTo>
                  <a:lnTo>
                    <a:pt x="29" y="64"/>
                  </a:lnTo>
                  <a:lnTo>
                    <a:pt x="28" y="65"/>
                  </a:lnTo>
                  <a:lnTo>
                    <a:pt x="25" y="67"/>
                  </a:lnTo>
                  <a:lnTo>
                    <a:pt x="22" y="67"/>
                  </a:lnTo>
                  <a:lnTo>
                    <a:pt x="21" y="67"/>
                  </a:lnTo>
                  <a:lnTo>
                    <a:pt x="20" y="67"/>
                  </a:lnTo>
                  <a:lnTo>
                    <a:pt x="20" y="66"/>
                  </a:lnTo>
                  <a:lnTo>
                    <a:pt x="19" y="66"/>
                  </a:lnTo>
                  <a:lnTo>
                    <a:pt x="18" y="66"/>
                  </a:lnTo>
                  <a:lnTo>
                    <a:pt x="18" y="67"/>
                  </a:lnTo>
                  <a:lnTo>
                    <a:pt x="18" y="66"/>
                  </a:lnTo>
                  <a:lnTo>
                    <a:pt x="17" y="67"/>
                  </a:lnTo>
                  <a:lnTo>
                    <a:pt x="16" y="67"/>
                  </a:lnTo>
                  <a:lnTo>
                    <a:pt x="14" y="68"/>
                  </a:lnTo>
                  <a:lnTo>
                    <a:pt x="13" y="68"/>
                  </a:lnTo>
                  <a:lnTo>
                    <a:pt x="11" y="68"/>
                  </a:lnTo>
                  <a:lnTo>
                    <a:pt x="10" y="67"/>
                  </a:lnTo>
                  <a:lnTo>
                    <a:pt x="10" y="66"/>
                  </a:lnTo>
                  <a:lnTo>
                    <a:pt x="10" y="65"/>
                  </a:lnTo>
                  <a:lnTo>
                    <a:pt x="11" y="65"/>
                  </a:lnTo>
                  <a:lnTo>
                    <a:pt x="12" y="65"/>
                  </a:lnTo>
                  <a:lnTo>
                    <a:pt x="12" y="64"/>
                  </a:lnTo>
                  <a:lnTo>
                    <a:pt x="13" y="64"/>
                  </a:lnTo>
                  <a:lnTo>
                    <a:pt x="13" y="65"/>
                  </a:lnTo>
                  <a:lnTo>
                    <a:pt x="13" y="64"/>
                  </a:lnTo>
                  <a:lnTo>
                    <a:pt x="14" y="64"/>
                  </a:lnTo>
                  <a:lnTo>
                    <a:pt x="14" y="65"/>
                  </a:lnTo>
                  <a:lnTo>
                    <a:pt x="16" y="65"/>
                  </a:lnTo>
                  <a:lnTo>
                    <a:pt x="17" y="64"/>
                  </a:lnTo>
                  <a:lnTo>
                    <a:pt x="17" y="65"/>
                  </a:lnTo>
                  <a:lnTo>
                    <a:pt x="18" y="64"/>
                  </a:lnTo>
                  <a:lnTo>
                    <a:pt x="18" y="65"/>
                  </a:lnTo>
                  <a:lnTo>
                    <a:pt x="19" y="64"/>
                  </a:lnTo>
                  <a:lnTo>
                    <a:pt x="20" y="64"/>
                  </a:lnTo>
                  <a:lnTo>
                    <a:pt x="21" y="64"/>
                  </a:lnTo>
                  <a:lnTo>
                    <a:pt x="21" y="65"/>
                  </a:lnTo>
                  <a:lnTo>
                    <a:pt x="22" y="65"/>
                  </a:lnTo>
                  <a:lnTo>
                    <a:pt x="24" y="65"/>
                  </a:lnTo>
                  <a:lnTo>
                    <a:pt x="24" y="64"/>
                  </a:lnTo>
                  <a:lnTo>
                    <a:pt x="24" y="65"/>
                  </a:lnTo>
                  <a:lnTo>
                    <a:pt x="25" y="65"/>
                  </a:lnTo>
                  <a:lnTo>
                    <a:pt x="26" y="65"/>
                  </a:lnTo>
                  <a:lnTo>
                    <a:pt x="27" y="65"/>
                  </a:lnTo>
                  <a:lnTo>
                    <a:pt x="27" y="64"/>
                  </a:lnTo>
                  <a:lnTo>
                    <a:pt x="27" y="63"/>
                  </a:lnTo>
                  <a:lnTo>
                    <a:pt x="27" y="61"/>
                  </a:lnTo>
                  <a:lnTo>
                    <a:pt x="28" y="61"/>
                  </a:lnTo>
                  <a:lnTo>
                    <a:pt x="28" y="60"/>
                  </a:lnTo>
                  <a:lnTo>
                    <a:pt x="28" y="61"/>
                  </a:lnTo>
                  <a:lnTo>
                    <a:pt x="29" y="61"/>
                  </a:lnTo>
                  <a:lnTo>
                    <a:pt x="29" y="60"/>
                  </a:lnTo>
                  <a:lnTo>
                    <a:pt x="28" y="60"/>
                  </a:lnTo>
                  <a:lnTo>
                    <a:pt x="27" y="61"/>
                  </a:lnTo>
                  <a:lnTo>
                    <a:pt x="27" y="63"/>
                  </a:lnTo>
                  <a:lnTo>
                    <a:pt x="27" y="64"/>
                  </a:lnTo>
                  <a:lnTo>
                    <a:pt x="26" y="64"/>
                  </a:lnTo>
                  <a:lnTo>
                    <a:pt x="26" y="65"/>
                  </a:lnTo>
                  <a:lnTo>
                    <a:pt x="25" y="65"/>
                  </a:lnTo>
                  <a:lnTo>
                    <a:pt x="25" y="64"/>
                  </a:lnTo>
                  <a:lnTo>
                    <a:pt x="24" y="64"/>
                  </a:lnTo>
                  <a:lnTo>
                    <a:pt x="22" y="65"/>
                  </a:lnTo>
                  <a:lnTo>
                    <a:pt x="22" y="64"/>
                  </a:lnTo>
                  <a:lnTo>
                    <a:pt x="21" y="64"/>
                  </a:lnTo>
                  <a:lnTo>
                    <a:pt x="20" y="63"/>
                  </a:lnTo>
                  <a:lnTo>
                    <a:pt x="20" y="64"/>
                  </a:lnTo>
                  <a:lnTo>
                    <a:pt x="19" y="64"/>
                  </a:lnTo>
                  <a:lnTo>
                    <a:pt x="18" y="64"/>
                  </a:lnTo>
                  <a:lnTo>
                    <a:pt x="17" y="64"/>
                  </a:lnTo>
                  <a:lnTo>
                    <a:pt x="16" y="64"/>
                  </a:lnTo>
                  <a:lnTo>
                    <a:pt x="16" y="65"/>
                  </a:lnTo>
                  <a:lnTo>
                    <a:pt x="14" y="65"/>
                  </a:lnTo>
                  <a:lnTo>
                    <a:pt x="14" y="64"/>
                  </a:lnTo>
                  <a:lnTo>
                    <a:pt x="14" y="63"/>
                  </a:lnTo>
                  <a:lnTo>
                    <a:pt x="13" y="63"/>
                  </a:lnTo>
                  <a:lnTo>
                    <a:pt x="13" y="64"/>
                  </a:lnTo>
                  <a:lnTo>
                    <a:pt x="13" y="63"/>
                  </a:lnTo>
                  <a:lnTo>
                    <a:pt x="12" y="63"/>
                  </a:lnTo>
                  <a:lnTo>
                    <a:pt x="12" y="64"/>
                  </a:lnTo>
                  <a:lnTo>
                    <a:pt x="12" y="63"/>
                  </a:lnTo>
                  <a:lnTo>
                    <a:pt x="12" y="61"/>
                  </a:lnTo>
                  <a:lnTo>
                    <a:pt x="12" y="63"/>
                  </a:lnTo>
                  <a:lnTo>
                    <a:pt x="12" y="64"/>
                  </a:lnTo>
                  <a:lnTo>
                    <a:pt x="11" y="64"/>
                  </a:lnTo>
                  <a:lnTo>
                    <a:pt x="11" y="65"/>
                  </a:lnTo>
                  <a:lnTo>
                    <a:pt x="10" y="65"/>
                  </a:lnTo>
                  <a:lnTo>
                    <a:pt x="10" y="64"/>
                  </a:lnTo>
                  <a:lnTo>
                    <a:pt x="10" y="63"/>
                  </a:lnTo>
                  <a:lnTo>
                    <a:pt x="11" y="63"/>
                  </a:lnTo>
                  <a:lnTo>
                    <a:pt x="11" y="61"/>
                  </a:lnTo>
                  <a:lnTo>
                    <a:pt x="10" y="61"/>
                  </a:lnTo>
                  <a:lnTo>
                    <a:pt x="10" y="63"/>
                  </a:lnTo>
                  <a:lnTo>
                    <a:pt x="10" y="61"/>
                  </a:lnTo>
                  <a:lnTo>
                    <a:pt x="10" y="60"/>
                  </a:lnTo>
                  <a:lnTo>
                    <a:pt x="10" y="59"/>
                  </a:lnTo>
                  <a:lnTo>
                    <a:pt x="10" y="58"/>
                  </a:lnTo>
                  <a:lnTo>
                    <a:pt x="11" y="58"/>
                  </a:lnTo>
                  <a:lnTo>
                    <a:pt x="11" y="57"/>
                  </a:lnTo>
                  <a:lnTo>
                    <a:pt x="11" y="56"/>
                  </a:lnTo>
                  <a:lnTo>
                    <a:pt x="12" y="56"/>
                  </a:lnTo>
                  <a:lnTo>
                    <a:pt x="14" y="56"/>
                  </a:lnTo>
                  <a:lnTo>
                    <a:pt x="17" y="56"/>
                  </a:lnTo>
                  <a:lnTo>
                    <a:pt x="19" y="56"/>
                  </a:lnTo>
                  <a:lnTo>
                    <a:pt x="21" y="56"/>
                  </a:lnTo>
                  <a:lnTo>
                    <a:pt x="22" y="56"/>
                  </a:lnTo>
                  <a:lnTo>
                    <a:pt x="24" y="56"/>
                  </a:lnTo>
                  <a:lnTo>
                    <a:pt x="24" y="54"/>
                  </a:lnTo>
                  <a:lnTo>
                    <a:pt x="24" y="53"/>
                  </a:lnTo>
                  <a:lnTo>
                    <a:pt x="24" y="52"/>
                  </a:lnTo>
                  <a:lnTo>
                    <a:pt x="25" y="52"/>
                  </a:lnTo>
                  <a:lnTo>
                    <a:pt x="26" y="52"/>
                  </a:lnTo>
                  <a:lnTo>
                    <a:pt x="27" y="52"/>
                  </a:lnTo>
                  <a:lnTo>
                    <a:pt x="28" y="52"/>
                  </a:lnTo>
                  <a:lnTo>
                    <a:pt x="29" y="52"/>
                  </a:lnTo>
                  <a:lnTo>
                    <a:pt x="31" y="52"/>
                  </a:lnTo>
                  <a:lnTo>
                    <a:pt x="32" y="52"/>
                  </a:lnTo>
                  <a:lnTo>
                    <a:pt x="32" y="51"/>
                  </a:lnTo>
                  <a:lnTo>
                    <a:pt x="32" y="50"/>
                  </a:lnTo>
                  <a:lnTo>
                    <a:pt x="32" y="49"/>
                  </a:lnTo>
                  <a:lnTo>
                    <a:pt x="33" y="49"/>
                  </a:lnTo>
                  <a:lnTo>
                    <a:pt x="34" y="50"/>
                  </a:lnTo>
                  <a:lnTo>
                    <a:pt x="35" y="51"/>
                  </a:lnTo>
                  <a:lnTo>
                    <a:pt x="36" y="51"/>
                  </a:lnTo>
                  <a:lnTo>
                    <a:pt x="38" y="51"/>
                  </a:lnTo>
                  <a:lnTo>
                    <a:pt x="38" y="52"/>
                  </a:lnTo>
                  <a:lnTo>
                    <a:pt x="39" y="52"/>
                  </a:lnTo>
                  <a:lnTo>
                    <a:pt x="40" y="52"/>
                  </a:lnTo>
                  <a:lnTo>
                    <a:pt x="41" y="53"/>
                  </a:lnTo>
                  <a:lnTo>
                    <a:pt x="42" y="53"/>
                  </a:lnTo>
                  <a:lnTo>
                    <a:pt x="43" y="54"/>
                  </a:lnTo>
                  <a:lnTo>
                    <a:pt x="45" y="54"/>
                  </a:lnTo>
                  <a:lnTo>
                    <a:pt x="46" y="54"/>
                  </a:lnTo>
                  <a:lnTo>
                    <a:pt x="47" y="53"/>
                  </a:lnTo>
                  <a:lnTo>
                    <a:pt x="48" y="53"/>
                  </a:lnTo>
                  <a:lnTo>
                    <a:pt x="49" y="53"/>
                  </a:lnTo>
                  <a:lnTo>
                    <a:pt x="50" y="53"/>
                  </a:lnTo>
                  <a:lnTo>
                    <a:pt x="50" y="52"/>
                  </a:lnTo>
                  <a:lnTo>
                    <a:pt x="52" y="51"/>
                  </a:lnTo>
                  <a:lnTo>
                    <a:pt x="50" y="51"/>
                  </a:lnTo>
                  <a:lnTo>
                    <a:pt x="50" y="50"/>
                  </a:lnTo>
                  <a:lnTo>
                    <a:pt x="49" y="49"/>
                  </a:lnTo>
                  <a:lnTo>
                    <a:pt x="48" y="49"/>
                  </a:lnTo>
                  <a:lnTo>
                    <a:pt x="47" y="49"/>
                  </a:lnTo>
                  <a:lnTo>
                    <a:pt x="47" y="50"/>
                  </a:lnTo>
                  <a:lnTo>
                    <a:pt x="46" y="50"/>
                  </a:lnTo>
                  <a:lnTo>
                    <a:pt x="45" y="51"/>
                  </a:lnTo>
                  <a:lnTo>
                    <a:pt x="43" y="51"/>
                  </a:lnTo>
                  <a:lnTo>
                    <a:pt x="42" y="50"/>
                  </a:lnTo>
                  <a:lnTo>
                    <a:pt x="41" y="49"/>
                  </a:lnTo>
                  <a:lnTo>
                    <a:pt x="41" y="47"/>
                  </a:lnTo>
                  <a:lnTo>
                    <a:pt x="40" y="47"/>
                  </a:lnTo>
                  <a:lnTo>
                    <a:pt x="39" y="47"/>
                  </a:lnTo>
                  <a:lnTo>
                    <a:pt x="39" y="49"/>
                  </a:lnTo>
                  <a:lnTo>
                    <a:pt x="38" y="49"/>
                  </a:lnTo>
                  <a:lnTo>
                    <a:pt x="38" y="47"/>
                  </a:lnTo>
                  <a:lnTo>
                    <a:pt x="38" y="46"/>
                  </a:lnTo>
                  <a:lnTo>
                    <a:pt x="36" y="46"/>
                  </a:lnTo>
                  <a:lnTo>
                    <a:pt x="36" y="45"/>
                  </a:lnTo>
                  <a:lnTo>
                    <a:pt x="34" y="45"/>
                  </a:lnTo>
                  <a:lnTo>
                    <a:pt x="33" y="45"/>
                  </a:lnTo>
                  <a:lnTo>
                    <a:pt x="32" y="46"/>
                  </a:lnTo>
                  <a:lnTo>
                    <a:pt x="31" y="46"/>
                  </a:lnTo>
                  <a:lnTo>
                    <a:pt x="31" y="45"/>
                  </a:lnTo>
                  <a:lnTo>
                    <a:pt x="29" y="45"/>
                  </a:lnTo>
                  <a:lnTo>
                    <a:pt x="29" y="46"/>
                  </a:lnTo>
                  <a:lnTo>
                    <a:pt x="28" y="46"/>
                  </a:lnTo>
                  <a:lnTo>
                    <a:pt x="28" y="47"/>
                  </a:lnTo>
                  <a:lnTo>
                    <a:pt x="28" y="49"/>
                  </a:lnTo>
                  <a:lnTo>
                    <a:pt x="27" y="49"/>
                  </a:lnTo>
                  <a:lnTo>
                    <a:pt x="26" y="49"/>
                  </a:lnTo>
                  <a:lnTo>
                    <a:pt x="25" y="49"/>
                  </a:lnTo>
                  <a:lnTo>
                    <a:pt x="24" y="49"/>
                  </a:lnTo>
                  <a:lnTo>
                    <a:pt x="22" y="49"/>
                  </a:lnTo>
                  <a:lnTo>
                    <a:pt x="21" y="49"/>
                  </a:lnTo>
                  <a:lnTo>
                    <a:pt x="20" y="49"/>
                  </a:lnTo>
                  <a:lnTo>
                    <a:pt x="19" y="49"/>
                  </a:lnTo>
                  <a:lnTo>
                    <a:pt x="18" y="49"/>
                  </a:lnTo>
                  <a:lnTo>
                    <a:pt x="17" y="49"/>
                  </a:lnTo>
                  <a:lnTo>
                    <a:pt x="16" y="49"/>
                  </a:lnTo>
                  <a:lnTo>
                    <a:pt x="14" y="49"/>
                  </a:lnTo>
                  <a:lnTo>
                    <a:pt x="13" y="49"/>
                  </a:lnTo>
                  <a:lnTo>
                    <a:pt x="13" y="47"/>
                  </a:lnTo>
                  <a:lnTo>
                    <a:pt x="14" y="47"/>
                  </a:lnTo>
                  <a:lnTo>
                    <a:pt x="13" y="46"/>
                  </a:lnTo>
                  <a:lnTo>
                    <a:pt x="14" y="46"/>
                  </a:lnTo>
                  <a:lnTo>
                    <a:pt x="13" y="46"/>
                  </a:lnTo>
                  <a:lnTo>
                    <a:pt x="13" y="47"/>
                  </a:lnTo>
                  <a:lnTo>
                    <a:pt x="12" y="47"/>
                  </a:lnTo>
                  <a:lnTo>
                    <a:pt x="12" y="46"/>
                  </a:lnTo>
                  <a:lnTo>
                    <a:pt x="12" y="45"/>
                  </a:lnTo>
                  <a:lnTo>
                    <a:pt x="13" y="45"/>
                  </a:lnTo>
                  <a:lnTo>
                    <a:pt x="13" y="44"/>
                  </a:lnTo>
                  <a:lnTo>
                    <a:pt x="13" y="45"/>
                  </a:lnTo>
                  <a:lnTo>
                    <a:pt x="14" y="45"/>
                  </a:lnTo>
                  <a:lnTo>
                    <a:pt x="14" y="44"/>
                  </a:lnTo>
                  <a:lnTo>
                    <a:pt x="14" y="43"/>
                  </a:lnTo>
                  <a:lnTo>
                    <a:pt x="14" y="42"/>
                  </a:lnTo>
                  <a:lnTo>
                    <a:pt x="14" y="43"/>
                  </a:lnTo>
                  <a:lnTo>
                    <a:pt x="13" y="44"/>
                  </a:lnTo>
                  <a:lnTo>
                    <a:pt x="12" y="44"/>
                  </a:lnTo>
                  <a:lnTo>
                    <a:pt x="12" y="45"/>
                  </a:lnTo>
                  <a:lnTo>
                    <a:pt x="11" y="45"/>
                  </a:lnTo>
                  <a:lnTo>
                    <a:pt x="11" y="46"/>
                  </a:lnTo>
                  <a:lnTo>
                    <a:pt x="11" y="45"/>
                  </a:lnTo>
                  <a:lnTo>
                    <a:pt x="11" y="44"/>
                  </a:lnTo>
                  <a:lnTo>
                    <a:pt x="11" y="43"/>
                  </a:lnTo>
                  <a:lnTo>
                    <a:pt x="12" y="43"/>
                  </a:lnTo>
                  <a:lnTo>
                    <a:pt x="13" y="42"/>
                  </a:lnTo>
                  <a:lnTo>
                    <a:pt x="13" y="43"/>
                  </a:lnTo>
                  <a:lnTo>
                    <a:pt x="13" y="42"/>
                  </a:lnTo>
                  <a:lnTo>
                    <a:pt x="13" y="40"/>
                  </a:lnTo>
                  <a:lnTo>
                    <a:pt x="14" y="40"/>
                  </a:lnTo>
                  <a:lnTo>
                    <a:pt x="14" y="39"/>
                  </a:lnTo>
                  <a:lnTo>
                    <a:pt x="16" y="39"/>
                  </a:lnTo>
                  <a:lnTo>
                    <a:pt x="14" y="39"/>
                  </a:lnTo>
                  <a:lnTo>
                    <a:pt x="14" y="40"/>
                  </a:lnTo>
                  <a:lnTo>
                    <a:pt x="13" y="40"/>
                  </a:lnTo>
                  <a:lnTo>
                    <a:pt x="13" y="42"/>
                  </a:lnTo>
                  <a:lnTo>
                    <a:pt x="12" y="42"/>
                  </a:lnTo>
                  <a:lnTo>
                    <a:pt x="11" y="42"/>
                  </a:lnTo>
                  <a:lnTo>
                    <a:pt x="12" y="40"/>
                  </a:lnTo>
                  <a:lnTo>
                    <a:pt x="11" y="40"/>
                  </a:lnTo>
                  <a:lnTo>
                    <a:pt x="11" y="42"/>
                  </a:lnTo>
                  <a:lnTo>
                    <a:pt x="11" y="43"/>
                  </a:lnTo>
                  <a:lnTo>
                    <a:pt x="10" y="43"/>
                  </a:lnTo>
                  <a:lnTo>
                    <a:pt x="11" y="45"/>
                  </a:lnTo>
                  <a:lnTo>
                    <a:pt x="10" y="45"/>
                  </a:lnTo>
                  <a:lnTo>
                    <a:pt x="10" y="42"/>
                  </a:lnTo>
                  <a:lnTo>
                    <a:pt x="10" y="40"/>
                  </a:lnTo>
                  <a:lnTo>
                    <a:pt x="10" y="39"/>
                  </a:lnTo>
                  <a:lnTo>
                    <a:pt x="9" y="39"/>
                  </a:lnTo>
                  <a:lnTo>
                    <a:pt x="9" y="38"/>
                  </a:lnTo>
                  <a:lnTo>
                    <a:pt x="9" y="37"/>
                  </a:lnTo>
                  <a:lnTo>
                    <a:pt x="9" y="36"/>
                  </a:lnTo>
                  <a:lnTo>
                    <a:pt x="7" y="36"/>
                  </a:lnTo>
                  <a:lnTo>
                    <a:pt x="6" y="35"/>
                  </a:lnTo>
                  <a:lnTo>
                    <a:pt x="6" y="33"/>
                  </a:lnTo>
                  <a:lnTo>
                    <a:pt x="5" y="32"/>
                  </a:lnTo>
                  <a:lnTo>
                    <a:pt x="5" y="31"/>
                  </a:lnTo>
                  <a:lnTo>
                    <a:pt x="4" y="31"/>
                  </a:lnTo>
                  <a:lnTo>
                    <a:pt x="3" y="31"/>
                  </a:lnTo>
                  <a:lnTo>
                    <a:pt x="3" y="30"/>
                  </a:lnTo>
                  <a:lnTo>
                    <a:pt x="2" y="30"/>
                  </a:lnTo>
                  <a:lnTo>
                    <a:pt x="2" y="31"/>
                  </a:lnTo>
                  <a:lnTo>
                    <a:pt x="2" y="32"/>
                  </a:lnTo>
                  <a:lnTo>
                    <a:pt x="2" y="31"/>
                  </a:lnTo>
                  <a:lnTo>
                    <a:pt x="0" y="30"/>
                  </a:lnTo>
                  <a:lnTo>
                    <a:pt x="3" y="30"/>
                  </a:lnTo>
                  <a:lnTo>
                    <a:pt x="3" y="29"/>
                  </a:lnTo>
                  <a:lnTo>
                    <a:pt x="5" y="28"/>
                  </a:lnTo>
                  <a:lnTo>
                    <a:pt x="7" y="24"/>
                  </a:lnTo>
                  <a:lnTo>
                    <a:pt x="9" y="24"/>
                  </a:lnTo>
                  <a:lnTo>
                    <a:pt x="10" y="23"/>
                  </a:lnTo>
                  <a:lnTo>
                    <a:pt x="11" y="18"/>
                  </a:lnTo>
                  <a:lnTo>
                    <a:pt x="12" y="17"/>
                  </a:lnTo>
                  <a:lnTo>
                    <a:pt x="14" y="14"/>
                  </a:lnTo>
                  <a:lnTo>
                    <a:pt x="14" y="12"/>
                  </a:lnTo>
                  <a:lnTo>
                    <a:pt x="14" y="10"/>
                  </a:lnTo>
                  <a:lnTo>
                    <a:pt x="14" y="9"/>
                  </a:lnTo>
                  <a:lnTo>
                    <a:pt x="16" y="9"/>
                  </a:lnTo>
                  <a:lnTo>
                    <a:pt x="16" y="8"/>
                  </a:lnTo>
                  <a:lnTo>
                    <a:pt x="16" y="7"/>
                  </a:lnTo>
                  <a:lnTo>
                    <a:pt x="17" y="7"/>
                  </a:lnTo>
                  <a:lnTo>
                    <a:pt x="17" y="4"/>
                  </a:lnTo>
                  <a:lnTo>
                    <a:pt x="17" y="3"/>
                  </a:lnTo>
                  <a:lnTo>
                    <a:pt x="18" y="3"/>
                  </a:lnTo>
                  <a:lnTo>
                    <a:pt x="18" y="2"/>
                  </a:lnTo>
                  <a:lnTo>
                    <a:pt x="19" y="2"/>
                  </a:lnTo>
                  <a:lnTo>
                    <a:pt x="20" y="2"/>
                  </a:lnTo>
                  <a:lnTo>
                    <a:pt x="21" y="3"/>
                  </a:lnTo>
                  <a:lnTo>
                    <a:pt x="21" y="2"/>
                  </a:lnTo>
                  <a:lnTo>
                    <a:pt x="22" y="2"/>
                  </a:lnTo>
                  <a:lnTo>
                    <a:pt x="22" y="3"/>
                  </a:lnTo>
                  <a:lnTo>
                    <a:pt x="22" y="2"/>
                  </a:lnTo>
                  <a:lnTo>
                    <a:pt x="24" y="2"/>
                  </a:lnTo>
                  <a:lnTo>
                    <a:pt x="25" y="2"/>
                  </a:lnTo>
                  <a:lnTo>
                    <a:pt x="25" y="3"/>
                  </a:lnTo>
                  <a:lnTo>
                    <a:pt x="26" y="3"/>
                  </a:lnTo>
                  <a:lnTo>
                    <a:pt x="27" y="3"/>
                  </a:lnTo>
                  <a:lnTo>
                    <a:pt x="27" y="2"/>
                  </a:lnTo>
                  <a:lnTo>
                    <a:pt x="28" y="2"/>
                  </a:lnTo>
                  <a:lnTo>
                    <a:pt x="29" y="1"/>
                  </a:lnTo>
                  <a:lnTo>
                    <a:pt x="29" y="2"/>
                  </a:lnTo>
                  <a:lnTo>
                    <a:pt x="31" y="2"/>
                  </a:lnTo>
                  <a:lnTo>
                    <a:pt x="32" y="1"/>
                  </a:lnTo>
                  <a:lnTo>
                    <a:pt x="32" y="2"/>
                  </a:lnTo>
                  <a:lnTo>
                    <a:pt x="34" y="1"/>
                  </a:lnTo>
                  <a:lnTo>
                    <a:pt x="34" y="0"/>
                  </a:lnTo>
                  <a:lnTo>
                    <a:pt x="34" y="1"/>
                  </a:lnTo>
                  <a:lnTo>
                    <a:pt x="35" y="1"/>
                  </a:lnTo>
                  <a:lnTo>
                    <a:pt x="35" y="0"/>
                  </a:lnTo>
                  <a:lnTo>
                    <a:pt x="36" y="0"/>
                  </a:lnTo>
                  <a:lnTo>
                    <a:pt x="36" y="1"/>
                  </a:lnTo>
                  <a:lnTo>
                    <a:pt x="38" y="0"/>
                  </a:lnTo>
                  <a:lnTo>
                    <a:pt x="40" y="1"/>
                  </a:lnTo>
                  <a:lnTo>
                    <a:pt x="41" y="1"/>
                  </a:lnTo>
                  <a:lnTo>
                    <a:pt x="42" y="1"/>
                  </a:lnTo>
                  <a:lnTo>
                    <a:pt x="43" y="1"/>
                  </a:lnTo>
                  <a:lnTo>
                    <a:pt x="43" y="0"/>
                  </a:lnTo>
                  <a:lnTo>
                    <a:pt x="45" y="1"/>
                  </a:lnTo>
                  <a:lnTo>
                    <a:pt x="46" y="1"/>
                  </a:lnTo>
                  <a:lnTo>
                    <a:pt x="46" y="2"/>
                  </a:lnTo>
                  <a:lnTo>
                    <a:pt x="47" y="2"/>
                  </a:lnTo>
                  <a:lnTo>
                    <a:pt x="47" y="3"/>
                  </a:lnTo>
                  <a:lnTo>
                    <a:pt x="48" y="4"/>
                  </a:lnTo>
                  <a:lnTo>
                    <a:pt x="49" y="4"/>
                  </a:lnTo>
                  <a:lnTo>
                    <a:pt x="49" y="5"/>
                  </a:lnTo>
                  <a:lnTo>
                    <a:pt x="49" y="7"/>
                  </a:lnTo>
                  <a:lnTo>
                    <a:pt x="50" y="7"/>
                  </a:lnTo>
                  <a:lnTo>
                    <a:pt x="50" y="8"/>
                  </a:lnTo>
                  <a:lnTo>
                    <a:pt x="52" y="8"/>
                  </a:lnTo>
                  <a:lnTo>
                    <a:pt x="52" y="9"/>
                  </a:lnTo>
                  <a:lnTo>
                    <a:pt x="52" y="8"/>
                  </a:lnTo>
                  <a:lnTo>
                    <a:pt x="53" y="8"/>
                  </a:lnTo>
                  <a:lnTo>
                    <a:pt x="53" y="9"/>
                  </a:lnTo>
                  <a:lnTo>
                    <a:pt x="54" y="9"/>
                  </a:lnTo>
                  <a:lnTo>
                    <a:pt x="55" y="9"/>
                  </a:lnTo>
                  <a:lnTo>
                    <a:pt x="55" y="8"/>
                  </a:lnTo>
                  <a:lnTo>
                    <a:pt x="56" y="8"/>
                  </a:lnTo>
                  <a:lnTo>
                    <a:pt x="56" y="9"/>
                  </a:lnTo>
                  <a:lnTo>
                    <a:pt x="57" y="9"/>
                  </a:lnTo>
                  <a:lnTo>
                    <a:pt x="57" y="10"/>
                  </a:lnTo>
                  <a:lnTo>
                    <a:pt x="57" y="11"/>
                  </a:lnTo>
                  <a:lnTo>
                    <a:pt x="59" y="11"/>
                  </a:lnTo>
                  <a:lnTo>
                    <a:pt x="59" y="12"/>
                  </a:lnTo>
                  <a:lnTo>
                    <a:pt x="59" y="14"/>
                  </a:lnTo>
                  <a:lnTo>
                    <a:pt x="59" y="15"/>
                  </a:lnTo>
                  <a:lnTo>
                    <a:pt x="60" y="15"/>
                  </a:lnTo>
                  <a:lnTo>
                    <a:pt x="60" y="16"/>
                  </a:lnTo>
                  <a:lnTo>
                    <a:pt x="61" y="16"/>
                  </a:lnTo>
                  <a:lnTo>
                    <a:pt x="61" y="17"/>
                  </a:lnTo>
                  <a:lnTo>
                    <a:pt x="62" y="17"/>
                  </a:lnTo>
                  <a:lnTo>
                    <a:pt x="62" y="18"/>
                  </a:lnTo>
                  <a:lnTo>
                    <a:pt x="63" y="18"/>
                  </a:lnTo>
                  <a:lnTo>
                    <a:pt x="63" y="19"/>
                  </a:lnTo>
                  <a:lnTo>
                    <a:pt x="63" y="21"/>
                  </a:lnTo>
                  <a:lnTo>
                    <a:pt x="64" y="21"/>
                  </a:lnTo>
                  <a:lnTo>
                    <a:pt x="64" y="22"/>
                  </a:lnTo>
                  <a:lnTo>
                    <a:pt x="66" y="22"/>
                  </a:lnTo>
                  <a:lnTo>
                    <a:pt x="64" y="22"/>
                  </a:lnTo>
                  <a:lnTo>
                    <a:pt x="64" y="23"/>
                  </a:lnTo>
                  <a:lnTo>
                    <a:pt x="66" y="23"/>
                  </a:lnTo>
                  <a:lnTo>
                    <a:pt x="66" y="24"/>
                  </a:lnTo>
                  <a:lnTo>
                    <a:pt x="67" y="24"/>
                  </a:lnTo>
                  <a:lnTo>
                    <a:pt x="67" y="25"/>
                  </a:lnTo>
                  <a:lnTo>
                    <a:pt x="68" y="24"/>
                  </a:lnTo>
                  <a:lnTo>
                    <a:pt x="68" y="25"/>
                  </a:lnTo>
                  <a:lnTo>
                    <a:pt x="69" y="25"/>
                  </a:lnTo>
                  <a:lnTo>
                    <a:pt x="70" y="26"/>
                  </a:lnTo>
                  <a:lnTo>
                    <a:pt x="70" y="28"/>
                  </a:lnTo>
                  <a:lnTo>
                    <a:pt x="71" y="29"/>
                  </a:lnTo>
                  <a:lnTo>
                    <a:pt x="73" y="29"/>
                  </a:lnTo>
                  <a:lnTo>
                    <a:pt x="73" y="30"/>
                  </a:lnTo>
                  <a:close/>
                </a:path>
              </a:pathLst>
            </a:custGeom>
            <a:solidFill>
              <a:srgbClr val="00539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t-IT" sz="1200" dirty="0"/>
            </a:p>
          </p:txBody>
        </p:sp>
        <p:sp>
          <p:nvSpPr>
            <p:cNvPr id="234" name="Rectangle 993">
              <a:extLst>
                <a:ext uri="{FF2B5EF4-FFF2-40B4-BE49-F238E27FC236}">
                  <a16:creationId xmlns:a16="http://schemas.microsoft.com/office/drawing/2014/main" id="{FCA871B9-7DF1-44B8-A17B-EF6EFB5A1DBD}"/>
                </a:ext>
              </a:extLst>
            </p:cNvPr>
            <p:cNvSpPr>
              <a:spLocks noChangeArrowheads="1"/>
            </p:cNvSpPr>
            <p:nvPr/>
          </p:nvSpPr>
          <p:spPr bwMode="auto">
            <a:xfrm>
              <a:off x="4358758" y="3011985"/>
              <a:ext cx="1336" cy="1336"/>
            </a:xfrm>
            <a:prstGeom prst="rect">
              <a:avLst/>
            </a:prstGeom>
            <a:solidFill>
              <a:srgbClr val="D2D2D2"/>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it-IT" dirty="0"/>
            </a:p>
          </p:txBody>
        </p:sp>
        <p:sp>
          <p:nvSpPr>
            <p:cNvPr id="235" name="Freeform 994">
              <a:extLst>
                <a:ext uri="{FF2B5EF4-FFF2-40B4-BE49-F238E27FC236}">
                  <a16:creationId xmlns:a16="http://schemas.microsoft.com/office/drawing/2014/main" id="{FBC3436E-2164-4F1D-8387-D893BF7FA5B3}"/>
                </a:ext>
              </a:extLst>
            </p:cNvPr>
            <p:cNvSpPr>
              <a:spLocks/>
            </p:cNvSpPr>
            <p:nvPr/>
          </p:nvSpPr>
          <p:spPr bwMode="auto">
            <a:xfrm>
              <a:off x="7737544" y="3317811"/>
              <a:ext cx="5342" cy="2671"/>
            </a:xfrm>
            <a:custGeom>
              <a:avLst/>
              <a:gdLst>
                <a:gd name="T0" fmla="*/ 2 w 4"/>
                <a:gd name="T1" fmla="*/ 0 h 2"/>
                <a:gd name="T2" fmla="*/ 3 w 4"/>
                <a:gd name="T3" fmla="*/ 0 h 2"/>
                <a:gd name="T4" fmla="*/ 4 w 4"/>
                <a:gd name="T5" fmla="*/ 0 h 2"/>
                <a:gd name="T6" fmla="*/ 4 w 4"/>
                <a:gd name="T7" fmla="*/ 1 h 2"/>
                <a:gd name="T8" fmla="*/ 4 w 4"/>
                <a:gd name="T9" fmla="*/ 1 h 2"/>
                <a:gd name="T10" fmla="*/ 4 w 4"/>
                <a:gd name="T11" fmla="*/ 1 h 2"/>
                <a:gd name="T12" fmla="*/ 4 w 4"/>
                <a:gd name="T13" fmla="*/ 1 h 2"/>
                <a:gd name="T14" fmla="*/ 4 w 4"/>
                <a:gd name="T15" fmla="*/ 1 h 2"/>
                <a:gd name="T16" fmla="*/ 4 w 4"/>
                <a:gd name="T17" fmla="*/ 1 h 2"/>
                <a:gd name="T18" fmla="*/ 3 w 4"/>
                <a:gd name="T19" fmla="*/ 2 h 2"/>
                <a:gd name="T20" fmla="*/ 3 w 4"/>
                <a:gd name="T21" fmla="*/ 2 h 2"/>
                <a:gd name="T22" fmla="*/ 3 w 4"/>
                <a:gd name="T23" fmla="*/ 2 h 2"/>
                <a:gd name="T24" fmla="*/ 2 w 4"/>
                <a:gd name="T25" fmla="*/ 2 h 2"/>
                <a:gd name="T26" fmla="*/ 2 w 4"/>
                <a:gd name="T27" fmla="*/ 2 h 2"/>
                <a:gd name="T28" fmla="*/ 2 w 4"/>
                <a:gd name="T29" fmla="*/ 2 h 2"/>
                <a:gd name="T30" fmla="*/ 2 w 4"/>
                <a:gd name="T31" fmla="*/ 2 h 2"/>
                <a:gd name="T32" fmla="*/ 2 w 4"/>
                <a:gd name="T33" fmla="*/ 2 h 2"/>
                <a:gd name="T34" fmla="*/ 2 w 4"/>
                <a:gd name="T35" fmla="*/ 2 h 2"/>
                <a:gd name="T36" fmla="*/ 2 w 4"/>
                <a:gd name="T37" fmla="*/ 2 h 2"/>
                <a:gd name="T38" fmla="*/ 2 w 4"/>
                <a:gd name="T39" fmla="*/ 2 h 2"/>
                <a:gd name="T40" fmla="*/ 1 w 4"/>
                <a:gd name="T41" fmla="*/ 2 h 2"/>
                <a:gd name="T42" fmla="*/ 1 w 4"/>
                <a:gd name="T43" fmla="*/ 2 h 2"/>
                <a:gd name="T44" fmla="*/ 1 w 4"/>
                <a:gd name="T45" fmla="*/ 2 h 2"/>
                <a:gd name="T46" fmla="*/ 1 w 4"/>
                <a:gd name="T47" fmla="*/ 2 h 2"/>
                <a:gd name="T48" fmla="*/ 0 w 4"/>
                <a:gd name="T49" fmla="*/ 2 h 2"/>
                <a:gd name="T50" fmla="*/ 0 w 4"/>
                <a:gd name="T51" fmla="*/ 2 h 2"/>
                <a:gd name="T52" fmla="*/ 0 w 4"/>
                <a:gd name="T53" fmla="*/ 1 h 2"/>
                <a:gd name="T54" fmla="*/ 0 w 4"/>
                <a:gd name="T55" fmla="*/ 1 h 2"/>
                <a:gd name="T56" fmla="*/ 0 w 4"/>
                <a:gd name="T57" fmla="*/ 1 h 2"/>
                <a:gd name="T58" fmla="*/ 0 w 4"/>
                <a:gd name="T59" fmla="*/ 0 h 2"/>
                <a:gd name="T60" fmla="*/ 0 w 4"/>
                <a:gd name="T61" fmla="*/ 0 h 2"/>
                <a:gd name="T62" fmla="*/ 0 w 4"/>
                <a:gd name="T63" fmla="*/ 0 h 2"/>
                <a:gd name="T64" fmla="*/ 1 w 4"/>
                <a:gd name="T65" fmla="*/ 0 h 2"/>
                <a:gd name="T66" fmla="*/ 1 w 4"/>
                <a:gd name="T67" fmla="*/ 0 h 2"/>
                <a:gd name="T68" fmla="*/ 1 w 4"/>
                <a:gd name="T69" fmla="*/ 0 h 2"/>
                <a:gd name="T70" fmla="*/ 1 w 4"/>
                <a:gd name="T71" fmla="*/ 0 h 2"/>
                <a:gd name="T72" fmla="*/ 2 w 4"/>
                <a:gd name="T73" fmla="*/ 0 h 2"/>
                <a:gd name="T74" fmla="*/ 2 w 4"/>
                <a:gd name="T75" fmla="*/ 0 h 2"/>
                <a:gd name="T76" fmla="*/ 2 w 4"/>
                <a:gd name="T77" fmla="*/ 0 h 2"/>
                <a:gd name="T78" fmla="*/ 2 w 4"/>
                <a:gd name="T7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 h="2">
                  <a:moveTo>
                    <a:pt x="2" y="0"/>
                  </a:moveTo>
                  <a:lnTo>
                    <a:pt x="3" y="0"/>
                  </a:lnTo>
                  <a:lnTo>
                    <a:pt x="4" y="0"/>
                  </a:lnTo>
                  <a:lnTo>
                    <a:pt x="4" y="1"/>
                  </a:lnTo>
                  <a:lnTo>
                    <a:pt x="4" y="1"/>
                  </a:lnTo>
                  <a:lnTo>
                    <a:pt x="4" y="1"/>
                  </a:lnTo>
                  <a:lnTo>
                    <a:pt x="4" y="1"/>
                  </a:lnTo>
                  <a:lnTo>
                    <a:pt x="4" y="1"/>
                  </a:lnTo>
                  <a:lnTo>
                    <a:pt x="4" y="1"/>
                  </a:lnTo>
                  <a:lnTo>
                    <a:pt x="3" y="2"/>
                  </a:lnTo>
                  <a:lnTo>
                    <a:pt x="3" y="2"/>
                  </a:lnTo>
                  <a:lnTo>
                    <a:pt x="3" y="2"/>
                  </a:lnTo>
                  <a:lnTo>
                    <a:pt x="2" y="2"/>
                  </a:lnTo>
                  <a:lnTo>
                    <a:pt x="2" y="2"/>
                  </a:lnTo>
                  <a:lnTo>
                    <a:pt x="2" y="2"/>
                  </a:lnTo>
                  <a:lnTo>
                    <a:pt x="2" y="2"/>
                  </a:lnTo>
                  <a:lnTo>
                    <a:pt x="2" y="2"/>
                  </a:lnTo>
                  <a:lnTo>
                    <a:pt x="2" y="2"/>
                  </a:lnTo>
                  <a:lnTo>
                    <a:pt x="2" y="2"/>
                  </a:lnTo>
                  <a:lnTo>
                    <a:pt x="2" y="2"/>
                  </a:lnTo>
                  <a:lnTo>
                    <a:pt x="1" y="2"/>
                  </a:lnTo>
                  <a:lnTo>
                    <a:pt x="1" y="2"/>
                  </a:lnTo>
                  <a:lnTo>
                    <a:pt x="1" y="2"/>
                  </a:lnTo>
                  <a:lnTo>
                    <a:pt x="1" y="2"/>
                  </a:lnTo>
                  <a:lnTo>
                    <a:pt x="0" y="2"/>
                  </a:lnTo>
                  <a:lnTo>
                    <a:pt x="0" y="2"/>
                  </a:lnTo>
                  <a:lnTo>
                    <a:pt x="0" y="1"/>
                  </a:lnTo>
                  <a:lnTo>
                    <a:pt x="0" y="1"/>
                  </a:lnTo>
                  <a:lnTo>
                    <a:pt x="0" y="1"/>
                  </a:lnTo>
                  <a:lnTo>
                    <a:pt x="0" y="0"/>
                  </a:lnTo>
                  <a:lnTo>
                    <a:pt x="0" y="0"/>
                  </a:lnTo>
                  <a:lnTo>
                    <a:pt x="0" y="0"/>
                  </a:lnTo>
                  <a:lnTo>
                    <a:pt x="1" y="0"/>
                  </a:lnTo>
                  <a:lnTo>
                    <a:pt x="1" y="0"/>
                  </a:lnTo>
                  <a:lnTo>
                    <a:pt x="1" y="0"/>
                  </a:lnTo>
                  <a:lnTo>
                    <a:pt x="1" y="0"/>
                  </a:lnTo>
                  <a:lnTo>
                    <a:pt x="2"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36" name="Freeform 995">
              <a:extLst>
                <a:ext uri="{FF2B5EF4-FFF2-40B4-BE49-F238E27FC236}">
                  <a16:creationId xmlns:a16="http://schemas.microsoft.com/office/drawing/2014/main" id="{96A06E2F-8BD5-455E-BDB4-126C537DB801}"/>
                </a:ext>
              </a:extLst>
            </p:cNvPr>
            <p:cNvSpPr>
              <a:spLocks noEditPoints="1"/>
            </p:cNvSpPr>
            <p:nvPr/>
          </p:nvSpPr>
          <p:spPr bwMode="auto">
            <a:xfrm>
              <a:off x="5208129" y="4481022"/>
              <a:ext cx="202994" cy="109510"/>
            </a:xfrm>
            <a:custGeom>
              <a:avLst/>
              <a:gdLst>
                <a:gd name="T0" fmla="*/ 144 w 152"/>
                <a:gd name="T1" fmla="*/ 81 h 82"/>
                <a:gd name="T2" fmla="*/ 142 w 152"/>
                <a:gd name="T3" fmla="*/ 82 h 82"/>
                <a:gd name="T4" fmla="*/ 142 w 152"/>
                <a:gd name="T5" fmla="*/ 81 h 82"/>
                <a:gd name="T6" fmla="*/ 149 w 152"/>
                <a:gd name="T7" fmla="*/ 76 h 82"/>
                <a:gd name="T8" fmla="*/ 149 w 152"/>
                <a:gd name="T9" fmla="*/ 75 h 82"/>
                <a:gd name="T10" fmla="*/ 152 w 152"/>
                <a:gd name="T11" fmla="*/ 67 h 82"/>
                <a:gd name="T12" fmla="*/ 149 w 152"/>
                <a:gd name="T13" fmla="*/ 66 h 82"/>
                <a:gd name="T14" fmla="*/ 152 w 152"/>
                <a:gd name="T15" fmla="*/ 67 h 82"/>
                <a:gd name="T16" fmla="*/ 147 w 152"/>
                <a:gd name="T17" fmla="*/ 58 h 82"/>
                <a:gd name="T18" fmla="*/ 144 w 152"/>
                <a:gd name="T19" fmla="*/ 46 h 82"/>
                <a:gd name="T20" fmla="*/ 142 w 152"/>
                <a:gd name="T21" fmla="*/ 47 h 82"/>
                <a:gd name="T22" fmla="*/ 137 w 152"/>
                <a:gd name="T23" fmla="*/ 41 h 82"/>
                <a:gd name="T24" fmla="*/ 137 w 152"/>
                <a:gd name="T25" fmla="*/ 41 h 82"/>
                <a:gd name="T26" fmla="*/ 131 w 152"/>
                <a:gd name="T27" fmla="*/ 35 h 82"/>
                <a:gd name="T28" fmla="*/ 131 w 152"/>
                <a:gd name="T29" fmla="*/ 35 h 82"/>
                <a:gd name="T30" fmla="*/ 14 w 152"/>
                <a:gd name="T31" fmla="*/ 7 h 82"/>
                <a:gd name="T32" fmla="*/ 0 w 152"/>
                <a:gd name="T33" fmla="*/ 0 h 82"/>
                <a:gd name="T34" fmla="*/ 7 w 152"/>
                <a:gd name="T35" fmla="*/ 0 h 82"/>
                <a:gd name="T36" fmla="*/ 9 w 152"/>
                <a:gd name="T37" fmla="*/ 0 h 82"/>
                <a:gd name="T38" fmla="*/ 11 w 152"/>
                <a:gd name="T39" fmla="*/ 2 h 82"/>
                <a:gd name="T40" fmla="*/ 12 w 152"/>
                <a:gd name="T41" fmla="*/ 2 h 82"/>
                <a:gd name="T42" fmla="*/ 13 w 152"/>
                <a:gd name="T43" fmla="*/ 2 h 82"/>
                <a:gd name="T44" fmla="*/ 14 w 152"/>
                <a:gd name="T45" fmla="*/ 3 h 82"/>
                <a:gd name="T46" fmla="*/ 16 w 152"/>
                <a:gd name="T47" fmla="*/ 2 h 82"/>
                <a:gd name="T48" fmla="*/ 17 w 152"/>
                <a:gd name="T49" fmla="*/ 2 h 82"/>
                <a:gd name="T50" fmla="*/ 18 w 152"/>
                <a:gd name="T51" fmla="*/ 3 h 82"/>
                <a:gd name="T52" fmla="*/ 19 w 152"/>
                <a:gd name="T53" fmla="*/ 3 h 82"/>
                <a:gd name="T54" fmla="*/ 20 w 152"/>
                <a:gd name="T55" fmla="*/ 3 h 82"/>
                <a:gd name="T56" fmla="*/ 18 w 152"/>
                <a:gd name="T57" fmla="*/ 4 h 82"/>
                <a:gd name="T58" fmla="*/ 20 w 152"/>
                <a:gd name="T59" fmla="*/ 4 h 82"/>
                <a:gd name="T60" fmla="*/ 20 w 152"/>
                <a:gd name="T61" fmla="*/ 5 h 82"/>
                <a:gd name="T62" fmla="*/ 21 w 152"/>
                <a:gd name="T63" fmla="*/ 5 h 82"/>
                <a:gd name="T64" fmla="*/ 21 w 152"/>
                <a:gd name="T65" fmla="*/ 5 h 82"/>
                <a:gd name="T66" fmla="*/ 23 w 152"/>
                <a:gd name="T67" fmla="*/ 5 h 82"/>
                <a:gd name="T68" fmla="*/ 25 w 152"/>
                <a:gd name="T69" fmla="*/ 6 h 82"/>
                <a:gd name="T70" fmla="*/ 27 w 152"/>
                <a:gd name="T71" fmla="*/ 7 h 82"/>
                <a:gd name="T72" fmla="*/ 27 w 152"/>
                <a:gd name="T73" fmla="*/ 9 h 82"/>
                <a:gd name="T74" fmla="*/ 28 w 152"/>
                <a:gd name="T75" fmla="*/ 10 h 82"/>
                <a:gd name="T76" fmla="*/ 30 w 152"/>
                <a:gd name="T77" fmla="*/ 12 h 82"/>
                <a:gd name="T78" fmla="*/ 30 w 152"/>
                <a:gd name="T79" fmla="*/ 13 h 82"/>
                <a:gd name="T80" fmla="*/ 27 w 152"/>
                <a:gd name="T81" fmla="*/ 12 h 82"/>
                <a:gd name="T82" fmla="*/ 28 w 152"/>
                <a:gd name="T83" fmla="*/ 13 h 82"/>
                <a:gd name="T84" fmla="*/ 28 w 152"/>
                <a:gd name="T85" fmla="*/ 14 h 82"/>
                <a:gd name="T86" fmla="*/ 26 w 152"/>
                <a:gd name="T87" fmla="*/ 13 h 82"/>
                <a:gd name="T88" fmla="*/ 25 w 152"/>
                <a:gd name="T89" fmla="*/ 11 h 82"/>
                <a:gd name="T90" fmla="*/ 21 w 152"/>
                <a:gd name="T91" fmla="*/ 10 h 82"/>
                <a:gd name="T92" fmla="*/ 19 w 152"/>
                <a:gd name="T93" fmla="*/ 9 h 82"/>
                <a:gd name="T94" fmla="*/ 18 w 152"/>
                <a:gd name="T95" fmla="*/ 6 h 82"/>
                <a:gd name="T96" fmla="*/ 16 w 152"/>
                <a:gd name="T97" fmla="*/ 5 h 82"/>
                <a:gd name="T98" fmla="*/ 13 w 152"/>
                <a:gd name="T99" fmla="*/ 5 h 82"/>
                <a:gd name="T100" fmla="*/ 13 w 152"/>
                <a:gd name="T101" fmla="*/ 4 h 82"/>
                <a:gd name="T102" fmla="*/ 11 w 152"/>
                <a:gd name="T103" fmla="*/ 5 h 82"/>
                <a:gd name="T104" fmla="*/ 11 w 152"/>
                <a:gd name="T105" fmla="*/ 4 h 82"/>
                <a:gd name="T106" fmla="*/ 11 w 152"/>
                <a:gd name="T107" fmla="*/ 3 h 82"/>
                <a:gd name="T108" fmla="*/ 7 w 152"/>
                <a:gd name="T109" fmla="*/ 3 h 82"/>
                <a:gd name="T110" fmla="*/ 6 w 152"/>
                <a:gd name="T111" fmla="*/ 3 h 82"/>
                <a:gd name="T112" fmla="*/ 6 w 152"/>
                <a:gd name="T113" fmla="*/ 2 h 82"/>
                <a:gd name="T114" fmla="*/ 3 w 152"/>
                <a:gd name="T115" fmla="*/ 2 h 82"/>
                <a:gd name="T116" fmla="*/ 3 w 152"/>
                <a:gd name="T117" fmla="*/ 0 h 82"/>
                <a:gd name="T118" fmla="*/ 6 w 152"/>
                <a:gd name="T119"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2" h="82">
                  <a:moveTo>
                    <a:pt x="145" y="82"/>
                  </a:moveTo>
                  <a:lnTo>
                    <a:pt x="144" y="82"/>
                  </a:lnTo>
                  <a:lnTo>
                    <a:pt x="144" y="81"/>
                  </a:lnTo>
                  <a:lnTo>
                    <a:pt x="145" y="81"/>
                  </a:lnTo>
                  <a:lnTo>
                    <a:pt x="145" y="82"/>
                  </a:lnTo>
                  <a:close/>
                  <a:moveTo>
                    <a:pt x="142" y="82"/>
                  </a:moveTo>
                  <a:lnTo>
                    <a:pt x="142" y="81"/>
                  </a:lnTo>
                  <a:lnTo>
                    <a:pt x="141" y="81"/>
                  </a:lnTo>
                  <a:lnTo>
                    <a:pt x="142" y="81"/>
                  </a:lnTo>
                  <a:lnTo>
                    <a:pt x="142" y="82"/>
                  </a:lnTo>
                  <a:close/>
                  <a:moveTo>
                    <a:pt x="149" y="75"/>
                  </a:moveTo>
                  <a:lnTo>
                    <a:pt x="149" y="76"/>
                  </a:lnTo>
                  <a:lnTo>
                    <a:pt x="149" y="75"/>
                  </a:lnTo>
                  <a:lnTo>
                    <a:pt x="148" y="75"/>
                  </a:lnTo>
                  <a:lnTo>
                    <a:pt x="149" y="75"/>
                  </a:lnTo>
                  <a:lnTo>
                    <a:pt x="151" y="75"/>
                  </a:lnTo>
                  <a:lnTo>
                    <a:pt x="149" y="75"/>
                  </a:lnTo>
                  <a:close/>
                  <a:moveTo>
                    <a:pt x="152" y="67"/>
                  </a:moveTo>
                  <a:lnTo>
                    <a:pt x="151" y="67"/>
                  </a:lnTo>
                  <a:lnTo>
                    <a:pt x="149" y="67"/>
                  </a:lnTo>
                  <a:lnTo>
                    <a:pt x="149" y="66"/>
                  </a:lnTo>
                  <a:lnTo>
                    <a:pt x="151" y="66"/>
                  </a:lnTo>
                  <a:lnTo>
                    <a:pt x="152" y="66"/>
                  </a:lnTo>
                  <a:lnTo>
                    <a:pt x="152" y="67"/>
                  </a:lnTo>
                  <a:close/>
                  <a:moveTo>
                    <a:pt x="148" y="56"/>
                  </a:moveTo>
                  <a:lnTo>
                    <a:pt x="148" y="58"/>
                  </a:lnTo>
                  <a:lnTo>
                    <a:pt x="147" y="58"/>
                  </a:lnTo>
                  <a:lnTo>
                    <a:pt x="147" y="56"/>
                  </a:lnTo>
                  <a:lnTo>
                    <a:pt x="148" y="56"/>
                  </a:lnTo>
                  <a:close/>
                  <a:moveTo>
                    <a:pt x="144" y="46"/>
                  </a:moveTo>
                  <a:lnTo>
                    <a:pt x="144" y="47"/>
                  </a:lnTo>
                  <a:lnTo>
                    <a:pt x="144" y="46"/>
                  </a:lnTo>
                  <a:lnTo>
                    <a:pt x="142" y="47"/>
                  </a:lnTo>
                  <a:lnTo>
                    <a:pt x="142" y="46"/>
                  </a:lnTo>
                  <a:lnTo>
                    <a:pt x="144" y="46"/>
                  </a:lnTo>
                  <a:close/>
                  <a:moveTo>
                    <a:pt x="137" y="41"/>
                  </a:moveTo>
                  <a:lnTo>
                    <a:pt x="135" y="41"/>
                  </a:lnTo>
                  <a:lnTo>
                    <a:pt x="137" y="40"/>
                  </a:lnTo>
                  <a:lnTo>
                    <a:pt x="137" y="41"/>
                  </a:lnTo>
                  <a:lnTo>
                    <a:pt x="138" y="41"/>
                  </a:lnTo>
                  <a:lnTo>
                    <a:pt x="137" y="41"/>
                  </a:lnTo>
                  <a:close/>
                  <a:moveTo>
                    <a:pt x="131" y="35"/>
                  </a:moveTo>
                  <a:lnTo>
                    <a:pt x="130" y="35"/>
                  </a:lnTo>
                  <a:lnTo>
                    <a:pt x="131" y="34"/>
                  </a:lnTo>
                  <a:lnTo>
                    <a:pt x="131" y="35"/>
                  </a:lnTo>
                  <a:close/>
                  <a:moveTo>
                    <a:pt x="16" y="9"/>
                  </a:moveTo>
                  <a:lnTo>
                    <a:pt x="14" y="9"/>
                  </a:lnTo>
                  <a:lnTo>
                    <a:pt x="14" y="7"/>
                  </a:lnTo>
                  <a:lnTo>
                    <a:pt x="16" y="9"/>
                  </a:lnTo>
                  <a:close/>
                  <a:moveTo>
                    <a:pt x="2" y="0"/>
                  </a:moveTo>
                  <a:lnTo>
                    <a:pt x="0" y="0"/>
                  </a:lnTo>
                  <a:lnTo>
                    <a:pt x="2" y="0"/>
                  </a:lnTo>
                  <a:close/>
                  <a:moveTo>
                    <a:pt x="5" y="0"/>
                  </a:moveTo>
                  <a:lnTo>
                    <a:pt x="7" y="0"/>
                  </a:lnTo>
                  <a:lnTo>
                    <a:pt x="9" y="0"/>
                  </a:lnTo>
                  <a:lnTo>
                    <a:pt x="10" y="0"/>
                  </a:lnTo>
                  <a:lnTo>
                    <a:pt x="9" y="0"/>
                  </a:lnTo>
                  <a:lnTo>
                    <a:pt x="9" y="2"/>
                  </a:lnTo>
                  <a:lnTo>
                    <a:pt x="10" y="2"/>
                  </a:lnTo>
                  <a:lnTo>
                    <a:pt x="11" y="2"/>
                  </a:lnTo>
                  <a:lnTo>
                    <a:pt x="12" y="2"/>
                  </a:lnTo>
                  <a:lnTo>
                    <a:pt x="13" y="2"/>
                  </a:lnTo>
                  <a:lnTo>
                    <a:pt x="12" y="2"/>
                  </a:lnTo>
                  <a:lnTo>
                    <a:pt x="12" y="3"/>
                  </a:lnTo>
                  <a:lnTo>
                    <a:pt x="13" y="3"/>
                  </a:lnTo>
                  <a:lnTo>
                    <a:pt x="13" y="2"/>
                  </a:lnTo>
                  <a:lnTo>
                    <a:pt x="14" y="2"/>
                  </a:lnTo>
                  <a:lnTo>
                    <a:pt x="13" y="3"/>
                  </a:lnTo>
                  <a:lnTo>
                    <a:pt x="14" y="3"/>
                  </a:lnTo>
                  <a:lnTo>
                    <a:pt x="16" y="2"/>
                  </a:lnTo>
                  <a:lnTo>
                    <a:pt x="14" y="2"/>
                  </a:lnTo>
                  <a:lnTo>
                    <a:pt x="16" y="2"/>
                  </a:lnTo>
                  <a:lnTo>
                    <a:pt x="17" y="2"/>
                  </a:lnTo>
                  <a:lnTo>
                    <a:pt x="17" y="3"/>
                  </a:lnTo>
                  <a:lnTo>
                    <a:pt x="17" y="2"/>
                  </a:lnTo>
                  <a:lnTo>
                    <a:pt x="18" y="3"/>
                  </a:lnTo>
                  <a:lnTo>
                    <a:pt x="19" y="3"/>
                  </a:lnTo>
                  <a:lnTo>
                    <a:pt x="18" y="3"/>
                  </a:lnTo>
                  <a:lnTo>
                    <a:pt x="18" y="4"/>
                  </a:lnTo>
                  <a:lnTo>
                    <a:pt x="18" y="3"/>
                  </a:lnTo>
                  <a:lnTo>
                    <a:pt x="19" y="3"/>
                  </a:lnTo>
                  <a:lnTo>
                    <a:pt x="20" y="3"/>
                  </a:lnTo>
                  <a:lnTo>
                    <a:pt x="20" y="4"/>
                  </a:lnTo>
                  <a:lnTo>
                    <a:pt x="20" y="3"/>
                  </a:lnTo>
                  <a:lnTo>
                    <a:pt x="20" y="4"/>
                  </a:lnTo>
                  <a:lnTo>
                    <a:pt x="19" y="4"/>
                  </a:lnTo>
                  <a:lnTo>
                    <a:pt x="18" y="4"/>
                  </a:lnTo>
                  <a:lnTo>
                    <a:pt x="19" y="4"/>
                  </a:lnTo>
                  <a:lnTo>
                    <a:pt x="19" y="5"/>
                  </a:lnTo>
                  <a:lnTo>
                    <a:pt x="20" y="4"/>
                  </a:lnTo>
                  <a:lnTo>
                    <a:pt x="21" y="4"/>
                  </a:lnTo>
                  <a:lnTo>
                    <a:pt x="21" y="5"/>
                  </a:lnTo>
                  <a:lnTo>
                    <a:pt x="20" y="5"/>
                  </a:lnTo>
                  <a:lnTo>
                    <a:pt x="21" y="5"/>
                  </a:lnTo>
                  <a:lnTo>
                    <a:pt x="21" y="6"/>
                  </a:lnTo>
                  <a:lnTo>
                    <a:pt x="21" y="5"/>
                  </a:lnTo>
                  <a:lnTo>
                    <a:pt x="23" y="6"/>
                  </a:lnTo>
                  <a:lnTo>
                    <a:pt x="23" y="5"/>
                  </a:lnTo>
                  <a:lnTo>
                    <a:pt x="21" y="5"/>
                  </a:lnTo>
                  <a:lnTo>
                    <a:pt x="21" y="4"/>
                  </a:lnTo>
                  <a:lnTo>
                    <a:pt x="23" y="4"/>
                  </a:lnTo>
                  <a:lnTo>
                    <a:pt x="23" y="5"/>
                  </a:lnTo>
                  <a:lnTo>
                    <a:pt x="24" y="5"/>
                  </a:lnTo>
                  <a:lnTo>
                    <a:pt x="24" y="6"/>
                  </a:lnTo>
                  <a:lnTo>
                    <a:pt x="25" y="6"/>
                  </a:lnTo>
                  <a:lnTo>
                    <a:pt x="25" y="7"/>
                  </a:lnTo>
                  <a:lnTo>
                    <a:pt x="26" y="7"/>
                  </a:lnTo>
                  <a:lnTo>
                    <a:pt x="27" y="7"/>
                  </a:lnTo>
                  <a:lnTo>
                    <a:pt x="27" y="9"/>
                  </a:lnTo>
                  <a:lnTo>
                    <a:pt x="26" y="9"/>
                  </a:lnTo>
                  <a:lnTo>
                    <a:pt x="27" y="9"/>
                  </a:lnTo>
                  <a:lnTo>
                    <a:pt x="27" y="10"/>
                  </a:lnTo>
                  <a:lnTo>
                    <a:pt x="28" y="9"/>
                  </a:lnTo>
                  <a:lnTo>
                    <a:pt x="28" y="10"/>
                  </a:lnTo>
                  <a:lnTo>
                    <a:pt x="28" y="11"/>
                  </a:lnTo>
                  <a:lnTo>
                    <a:pt x="30" y="11"/>
                  </a:lnTo>
                  <a:lnTo>
                    <a:pt x="30" y="12"/>
                  </a:lnTo>
                  <a:lnTo>
                    <a:pt x="31" y="12"/>
                  </a:lnTo>
                  <a:lnTo>
                    <a:pt x="30" y="12"/>
                  </a:lnTo>
                  <a:lnTo>
                    <a:pt x="30" y="13"/>
                  </a:lnTo>
                  <a:lnTo>
                    <a:pt x="28" y="13"/>
                  </a:lnTo>
                  <a:lnTo>
                    <a:pt x="28" y="12"/>
                  </a:lnTo>
                  <a:lnTo>
                    <a:pt x="27" y="12"/>
                  </a:lnTo>
                  <a:lnTo>
                    <a:pt x="28" y="13"/>
                  </a:lnTo>
                  <a:lnTo>
                    <a:pt x="30" y="13"/>
                  </a:lnTo>
                  <a:lnTo>
                    <a:pt x="28" y="13"/>
                  </a:lnTo>
                  <a:lnTo>
                    <a:pt x="30" y="13"/>
                  </a:lnTo>
                  <a:lnTo>
                    <a:pt x="28" y="13"/>
                  </a:lnTo>
                  <a:lnTo>
                    <a:pt x="28" y="14"/>
                  </a:lnTo>
                  <a:lnTo>
                    <a:pt x="27" y="14"/>
                  </a:lnTo>
                  <a:lnTo>
                    <a:pt x="27" y="13"/>
                  </a:lnTo>
                  <a:lnTo>
                    <a:pt x="26" y="13"/>
                  </a:lnTo>
                  <a:lnTo>
                    <a:pt x="26" y="12"/>
                  </a:lnTo>
                  <a:lnTo>
                    <a:pt x="25" y="12"/>
                  </a:lnTo>
                  <a:lnTo>
                    <a:pt x="25" y="11"/>
                  </a:lnTo>
                  <a:lnTo>
                    <a:pt x="24" y="11"/>
                  </a:lnTo>
                  <a:lnTo>
                    <a:pt x="23" y="10"/>
                  </a:lnTo>
                  <a:lnTo>
                    <a:pt x="21" y="10"/>
                  </a:lnTo>
                  <a:lnTo>
                    <a:pt x="21" y="9"/>
                  </a:lnTo>
                  <a:lnTo>
                    <a:pt x="20" y="9"/>
                  </a:lnTo>
                  <a:lnTo>
                    <a:pt x="19" y="9"/>
                  </a:lnTo>
                  <a:lnTo>
                    <a:pt x="19" y="7"/>
                  </a:lnTo>
                  <a:lnTo>
                    <a:pt x="18" y="7"/>
                  </a:lnTo>
                  <a:lnTo>
                    <a:pt x="18" y="6"/>
                  </a:lnTo>
                  <a:lnTo>
                    <a:pt x="17" y="6"/>
                  </a:lnTo>
                  <a:lnTo>
                    <a:pt x="17" y="5"/>
                  </a:lnTo>
                  <a:lnTo>
                    <a:pt x="16" y="5"/>
                  </a:lnTo>
                  <a:lnTo>
                    <a:pt x="14" y="6"/>
                  </a:lnTo>
                  <a:lnTo>
                    <a:pt x="14" y="5"/>
                  </a:lnTo>
                  <a:lnTo>
                    <a:pt x="13" y="5"/>
                  </a:lnTo>
                  <a:lnTo>
                    <a:pt x="14" y="5"/>
                  </a:lnTo>
                  <a:lnTo>
                    <a:pt x="13" y="5"/>
                  </a:lnTo>
                  <a:lnTo>
                    <a:pt x="13" y="4"/>
                  </a:lnTo>
                  <a:lnTo>
                    <a:pt x="12" y="5"/>
                  </a:lnTo>
                  <a:lnTo>
                    <a:pt x="12" y="4"/>
                  </a:lnTo>
                  <a:lnTo>
                    <a:pt x="11" y="5"/>
                  </a:lnTo>
                  <a:lnTo>
                    <a:pt x="10" y="5"/>
                  </a:lnTo>
                  <a:lnTo>
                    <a:pt x="10" y="4"/>
                  </a:lnTo>
                  <a:lnTo>
                    <a:pt x="11" y="4"/>
                  </a:lnTo>
                  <a:lnTo>
                    <a:pt x="10" y="4"/>
                  </a:lnTo>
                  <a:lnTo>
                    <a:pt x="10" y="3"/>
                  </a:lnTo>
                  <a:lnTo>
                    <a:pt x="11" y="3"/>
                  </a:lnTo>
                  <a:lnTo>
                    <a:pt x="10" y="3"/>
                  </a:lnTo>
                  <a:lnTo>
                    <a:pt x="9" y="3"/>
                  </a:lnTo>
                  <a:lnTo>
                    <a:pt x="7" y="3"/>
                  </a:lnTo>
                  <a:lnTo>
                    <a:pt x="9" y="3"/>
                  </a:lnTo>
                  <a:lnTo>
                    <a:pt x="7" y="3"/>
                  </a:lnTo>
                  <a:lnTo>
                    <a:pt x="6" y="3"/>
                  </a:lnTo>
                  <a:lnTo>
                    <a:pt x="6" y="2"/>
                  </a:lnTo>
                  <a:lnTo>
                    <a:pt x="5" y="2"/>
                  </a:lnTo>
                  <a:lnTo>
                    <a:pt x="6" y="2"/>
                  </a:lnTo>
                  <a:lnTo>
                    <a:pt x="5" y="2"/>
                  </a:lnTo>
                  <a:lnTo>
                    <a:pt x="4" y="2"/>
                  </a:lnTo>
                  <a:lnTo>
                    <a:pt x="3" y="2"/>
                  </a:lnTo>
                  <a:lnTo>
                    <a:pt x="2" y="2"/>
                  </a:lnTo>
                  <a:lnTo>
                    <a:pt x="2" y="0"/>
                  </a:lnTo>
                  <a:lnTo>
                    <a:pt x="3" y="0"/>
                  </a:lnTo>
                  <a:lnTo>
                    <a:pt x="4" y="0"/>
                  </a:lnTo>
                  <a:lnTo>
                    <a:pt x="5" y="0"/>
                  </a:lnTo>
                  <a:lnTo>
                    <a:pt x="6" y="0"/>
                  </a:lnTo>
                  <a:lnTo>
                    <a:pt x="5"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37" name="Freeform 996">
              <a:extLst>
                <a:ext uri="{FF2B5EF4-FFF2-40B4-BE49-F238E27FC236}">
                  <a16:creationId xmlns:a16="http://schemas.microsoft.com/office/drawing/2014/main" id="{69BBD487-41CB-42CE-AF90-2A289FAA4C02}"/>
                </a:ext>
              </a:extLst>
            </p:cNvPr>
            <p:cNvSpPr>
              <a:spLocks noEditPoints="1"/>
            </p:cNvSpPr>
            <p:nvPr/>
          </p:nvSpPr>
          <p:spPr bwMode="auto">
            <a:xfrm>
              <a:off x="5539330" y="3514129"/>
              <a:ext cx="162930" cy="686441"/>
            </a:xfrm>
            <a:custGeom>
              <a:avLst/>
              <a:gdLst>
                <a:gd name="T0" fmla="*/ 72 w 122"/>
                <a:gd name="T1" fmla="*/ 514 h 514"/>
                <a:gd name="T2" fmla="*/ 71 w 122"/>
                <a:gd name="T3" fmla="*/ 513 h 514"/>
                <a:gd name="T4" fmla="*/ 71 w 122"/>
                <a:gd name="T5" fmla="*/ 513 h 514"/>
                <a:gd name="T6" fmla="*/ 71 w 122"/>
                <a:gd name="T7" fmla="*/ 513 h 514"/>
                <a:gd name="T8" fmla="*/ 72 w 122"/>
                <a:gd name="T9" fmla="*/ 513 h 514"/>
                <a:gd name="T10" fmla="*/ 72 w 122"/>
                <a:gd name="T11" fmla="*/ 513 h 514"/>
                <a:gd name="T12" fmla="*/ 74 w 122"/>
                <a:gd name="T13" fmla="*/ 514 h 514"/>
                <a:gd name="T14" fmla="*/ 74 w 122"/>
                <a:gd name="T15" fmla="*/ 514 h 514"/>
                <a:gd name="T16" fmla="*/ 40 w 122"/>
                <a:gd name="T17" fmla="*/ 463 h 514"/>
                <a:gd name="T18" fmla="*/ 40 w 122"/>
                <a:gd name="T19" fmla="*/ 463 h 514"/>
                <a:gd name="T20" fmla="*/ 40 w 122"/>
                <a:gd name="T21" fmla="*/ 462 h 514"/>
                <a:gd name="T22" fmla="*/ 40 w 122"/>
                <a:gd name="T23" fmla="*/ 462 h 514"/>
                <a:gd name="T24" fmla="*/ 41 w 122"/>
                <a:gd name="T25" fmla="*/ 462 h 514"/>
                <a:gd name="T26" fmla="*/ 41 w 122"/>
                <a:gd name="T27" fmla="*/ 463 h 514"/>
                <a:gd name="T28" fmla="*/ 41 w 122"/>
                <a:gd name="T29" fmla="*/ 463 h 514"/>
                <a:gd name="T30" fmla="*/ 41 w 122"/>
                <a:gd name="T31" fmla="*/ 463 h 514"/>
                <a:gd name="T32" fmla="*/ 40 w 122"/>
                <a:gd name="T33" fmla="*/ 463 h 514"/>
                <a:gd name="T34" fmla="*/ 122 w 122"/>
                <a:gd name="T35" fmla="*/ 127 h 514"/>
                <a:gd name="T36" fmla="*/ 122 w 122"/>
                <a:gd name="T37" fmla="*/ 128 h 514"/>
                <a:gd name="T38" fmla="*/ 122 w 122"/>
                <a:gd name="T39" fmla="*/ 128 h 514"/>
                <a:gd name="T40" fmla="*/ 121 w 122"/>
                <a:gd name="T41" fmla="*/ 128 h 514"/>
                <a:gd name="T42" fmla="*/ 121 w 122"/>
                <a:gd name="T43" fmla="*/ 128 h 514"/>
                <a:gd name="T44" fmla="*/ 121 w 122"/>
                <a:gd name="T45" fmla="*/ 128 h 514"/>
                <a:gd name="T46" fmla="*/ 121 w 122"/>
                <a:gd name="T47" fmla="*/ 130 h 514"/>
                <a:gd name="T48" fmla="*/ 120 w 122"/>
                <a:gd name="T49" fmla="*/ 130 h 514"/>
                <a:gd name="T50" fmla="*/ 120 w 122"/>
                <a:gd name="T51" fmla="*/ 128 h 514"/>
                <a:gd name="T52" fmla="*/ 120 w 122"/>
                <a:gd name="T53" fmla="*/ 128 h 514"/>
                <a:gd name="T54" fmla="*/ 120 w 122"/>
                <a:gd name="T55" fmla="*/ 128 h 514"/>
                <a:gd name="T56" fmla="*/ 121 w 122"/>
                <a:gd name="T57" fmla="*/ 127 h 514"/>
                <a:gd name="T58" fmla="*/ 121 w 122"/>
                <a:gd name="T59" fmla="*/ 127 h 514"/>
                <a:gd name="T60" fmla="*/ 122 w 122"/>
                <a:gd name="T61" fmla="*/ 127 h 514"/>
                <a:gd name="T62" fmla="*/ 0 w 122"/>
                <a:gd name="T63" fmla="*/ 0 h 514"/>
                <a:gd name="T64" fmla="*/ 0 w 122"/>
                <a:gd name="T65" fmla="*/ 0 h 514"/>
                <a:gd name="T66" fmla="*/ 1 w 122"/>
                <a:gd name="T67" fmla="*/ 1 h 514"/>
                <a:gd name="T68" fmla="*/ 1 w 122"/>
                <a:gd name="T69" fmla="*/ 1 h 514"/>
                <a:gd name="T70" fmla="*/ 0 w 122"/>
                <a:gd name="T71" fmla="*/ 1 h 514"/>
                <a:gd name="T72" fmla="*/ 0 w 122"/>
                <a:gd name="T73" fmla="*/ 2 h 514"/>
                <a:gd name="T74" fmla="*/ 0 w 122"/>
                <a:gd name="T75" fmla="*/ 2 h 514"/>
                <a:gd name="T76" fmla="*/ 0 w 122"/>
                <a:gd name="T77" fmla="*/ 1 h 514"/>
                <a:gd name="T78" fmla="*/ 0 w 122"/>
                <a:gd name="T79" fmla="*/ 1 h 514"/>
                <a:gd name="T80" fmla="*/ 0 w 122"/>
                <a:gd name="T81" fmla="*/ 0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2" h="514">
                  <a:moveTo>
                    <a:pt x="74" y="514"/>
                  </a:moveTo>
                  <a:lnTo>
                    <a:pt x="72" y="514"/>
                  </a:lnTo>
                  <a:lnTo>
                    <a:pt x="72" y="514"/>
                  </a:lnTo>
                  <a:lnTo>
                    <a:pt x="71" y="513"/>
                  </a:lnTo>
                  <a:lnTo>
                    <a:pt x="71" y="513"/>
                  </a:lnTo>
                  <a:lnTo>
                    <a:pt x="71" y="513"/>
                  </a:lnTo>
                  <a:lnTo>
                    <a:pt x="71" y="513"/>
                  </a:lnTo>
                  <a:lnTo>
                    <a:pt x="71" y="513"/>
                  </a:lnTo>
                  <a:lnTo>
                    <a:pt x="72" y="513"/>
                  </a:lnTo>
                  <a:lnTo>
                    <a:pt x="72" y="513"/>
                  </a:lnTo>
                  <a:lnTo>
                    <a:pt x="72" y="513"/>
                  </a:lnTo>
                  <a:lnTo>
                    <a:pt x="72" y="513"/>
                  </a:lnTo>
                  <a:lnTo>
                    <a:pt x="72" y="514"/>
                  </a:lnTo>
                  <a:lnTo>
                    <a:pt x="74" y="514"/>
                  </a:lnTo>
                  <a:lnTo>
                    <a:pt x="74" y="514"/>
                  </a:lnTo>
                  <a:lnTo>
                    <a:pt x="74" y="514"/>
                  </a:lnTo>
                  <a:close/>
                  <a:moveTo>
                    <a:pt x="40" y="463"/>
                  </a:moveTo>
                  <a:lnTo>
                    <a:pt x="40" y="463"/>
                  </a:lnTo>
                  <a:lnTo>
                    <a:pt x="40" y="463"/>
                  </a:lnTo>
                  <a:lnTo>
                    <a:pt x="40" y="463"/>
                  </a:lnTo>
                  <a:lnTo>
                    <a:pt x="40" y="463"/>
                  </a:lnTo>
                  <a:lnTo>
                    <a:pt x="40" y="462"/>
                  </a:lnTo>
                  <a:lnTo>
                    <a:pt x="40" y="462"/>
                  </a:lnTo>
                  <a:lnTo>
                    <a:pt x="40" y="462"/>
                  </a:lnTo>
                  <a:lnTo>
                    <a:pt x="41" y="462"/>
                  </a:lnTo>
                  <a:lnTo>
                    <a:pt x="41" y="462"/>
                  </a:lnTo>
                  <a:lnTo>
                    <a:pt x="41" y="462"/>
                  </a:lnTo>
                  <a:lnTo>
                    <a:pt x="41" y="463"/>
                  </a:lnTo>
                  <a:lnTo>
                    <a:pt x="41" y="463"/>
                  </a:lnTo>
                  <a:lnTo>
                    <a:pt x="41" y="463"/>
                  </a:lnTo>
                  <a:lnTo>
                    <a:pt x="41" y="463"/>
                  </a:lnTo>
                  <a:lnTo>
                    <a:pt x="41" y="463"/>
                  </a:lnTo>
                  <a:lnTo>
                    <a:pt x="41" y="463"/>
                  </a:lnTo>
                  <a:lnTo>
                    <a:pt x="40" y="463"/>
                  </a:lnTo>
                  <a:close/>
                  <a:moveTo>
                    <a:pt x="122" y="127"/>
                  </a:moveTo>
                  <a:lnTo>
                    <a:pt x="122" y="127"/>
                  </a:lnTo>
                  <a:lnTo>
                    <a:pt x="122" y="128"/>
                  </a:lnTo>
                  <a:lnTo>
                    <a:pt x="122" y="128"/>
                  </a:lnTo>
                  <a:lnTo>
                    <a:pt x="122" y="128"/>
                  </a:lnTo>
                  <a:lnTo>
                    <a:pt x="122" y="128"/>
                  </a:lnTo>
                  <a:lnTo>
                    <a:pt x="122" y="128"/>
                  </a:lnTo>
                  <a:lnTo>
                    <a:pt x="121" y="128"/>
                  </a:lnTo>
                  <a:lnTo>
                    <a:pt x="121" y="130"/>
                  </a:lnTo>
                  <a:lnTo>
                    <a:pt x="121" y="128"/>
                  </a:lnTo>
                  <a:lnTo>
                    <a:pt x="121" y="128"/>
                  </a:lnTo>
                  <a:lnTo>
                    <a:pt x="121" y="128"/>
                  </a:lnTo>
                  <a:lnTo>
                    <a:pt x="121" y="128"/>
                  </a:lnTo>
                  <a:lnTo>
                    <a:pt x="121" y="130"/>
                  </a:lnTo>
                  <a:lnTo>
                    <a:pt x="121" y="130"/>
                  </a:lnTo>
                  <a:lnTo>
                    <a:pt x="120" y="130"/>
                  </a:lnTo>
                  <a:lnTo>
                    <a:pt x="120" y="130"/>
                  </a:lnTo>
                  <a:lnTo>
                    <a:pt x="120" y="128"/>
                  </a:lnTo>
                  <a:lnTo>
                    <a:pt x="120" y="128"/>
                  </a:lnTo>
                  <a:lnTo>
                    <a:pt x="120" y="128"/>
                  </a:lnTo>
                  <a:lnTo>
                    <a:pt x="120" y="128"/>
                  </a:lnTo>
                  <a:lnTo>
                    <a:pt x="120" y="128"/>
                  </a:lnTo>
                  <a:lnTo>
                    <a:pt x="121" y="127"/>
                  </a:lnTo>
                  <a:lnTo>
                    <a:pt x="121" y="127"/>
                  </a:lnTo>
                  <a:lnTo>
                    <a:pt x="121" y="127"/>
                  </a:lnTo>
                  <a:lnTo>
                    <a:pt x="121" y="127"/>
                  </a:lnTo>
                  <a:lnTo>
                    <a:pt x="121" y="127"/>
                  </a:lnTo>
                  <a:lnTo>
                    <a:pt x="122" y="127"/>
                  </a:lnTo>
                  <a:close/>
                  <a:moveTo>
                    <a:pt x="0" y="0"/>
                  </a:moveTo>
                  <a:lnTo>
                    <a:pt x="0" y="0"/>
                  </a:lnTo>
                  <a:lnTo>
                    <a:pt x="0" y="0"/>
                  </a:lnTo>
                  <a:lnTo>
                    <a:pt x="0" y="0"/>
                  </a:lnTo>
                  <a:lnTo>
                    <a:pt x="0" y="1"/>
                  </a:lnTo>
                  <a:lnTo>
                    <a:pt x="1" y="1"/>
                  </a:lnTo>
                  <a:lnTo>
                    <a:pt x="1" y="1"/>
                  </a:lnTo>
                  <a:lnTo>
                    <a:pt x="1" y="1"/>
                  </a:lnTo>
                  <a:lnTo>
                    <a:pt x="1" y="1"/>
                  </a:lnTo>
                  <a:lnTo>
                    <a:pt x="0" y="1"/>
                  </a:lnTo>
                  <a:lnTo>
                    <a:pt x="0" y="2"/>
                  </a:lnTo>
                  <a:lnTo>
                    <a:pt x="0" y="2"/>
                  </a:lnTo>
                  <a:lnTo>
                    <a:pt x="0" y="2"/>
                  </a:lnTo>
                  <a:lnTo>
                    <a:pt x="0" y="2"/>
                  </a:lnTo>
                  <a:lnTo>
                    <a:pt x="0" y="1"/>
                  </a:lnTo>
                  <a:lnTo>
                    <a:pt x="0" y="1"/>
                  </a:lnTo>
                  <a:lnTo>
                    <a:pt x="0" y="1"/>
                  </a:lnTo>
                  <a:lnTo>
                    <a:pt x="0" y="1"/>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38" name="Freeform 997">
              <a:extLst>
                <a:ext uri="{FF2B5EF4-FFF2-40B4-BE49-F238E27FC236}">
                  <a16:creationId xmlns:a16="http://schemas.microsoft.com/office/drawing/2014/main" id="{928DD410-26DE-40B8-8773-DFDA0D04C058}"/>
                </a:ext>
              </a:extLst>
            </p:cNvPr>
            <p:cNvSpPr>
              <a:spLocks noEditPoints="1"/>
            </p:cNvSpPr>
            <p:nvPr/>
          </p:nvSpPr>
          <p:spPr bwMode="auto">
            <a:xfrm>
              <a:off x="8696424" y="3487419"/>
              <a:ext cx="211007" cy="110846"/>
            </a:xfrm>
            <a:custGeom>
              <a:avLst/>
              <a:gdLst>
                <a:gd name="T0" fmla="*/ 149 w 158"/>
                <a:gd name="T1" fmla="*/ 80 h 83"/>
                <a:gd name="T2" fmla="*/ 61 w 158"/>
                <a:gd name="T3" fmla="*/ 83 h 83"/>
                <a:gd name="T4" fmla="*/ 54 w 158"/>
                <a:gd name="T5" fmla="*/ 78 h 83"/>
                <a:gd name="T6" fmla="*/ 145 w 158"/>
                <a:gd name="T7" fmla="*/ 74 h 83"/>
                <a:gd name="T8" fmla="*/ 139 w 158"/>
                <a:gd name="T9" fmla="*/ 66 h 83"/>
                <a:gd name="T10" fmla="*/ 136 w 158"/>
                <a:gd name="T11" fmla="*/ 66 h 83"/>
                <a:gd name="T12" fmla="*/ 144 w 158"/>
                <a:gd name="T13" fmla="*/ 57 h 83"/>
                <a:gd name="T14" fmla="*/ 75 w 158"/>
                <a:gd name="T15" fmla="*/ 57 h 83"/>
                <a:gd name="T16" fmla="*/ 85 w 158"/>
                <a:gd name="T17" fmla="*/ 61 h 83"/>
                <a:gd name="T18" fmla="*/ 87 w 158"/>
                <a:gd name="T19" fmla="*/ 67 h 83"/>
                <a:gd name="T20" fmla="*/ 82 w 158"/>
                <a:gd name="T21" fmla="*/ 66 h 83"/>
                <a:gd name="T22" fmla="*/ 78 w 158"/>
                <a:gd name="T23" fmla="*/ 61 h 83"/>
                <a:gd name="T24" fmla="*/ 157 w 158"/>
                <a:gd name="T25" fmla="*/ 52 h 83"/>
                <a:gd name="T26" fmla="*/ 86 w 158"/>
                <a:gd name="T27" fmla="*/ 49 h 83"/>
                <a:gd name="T28" fmla="*/ 78 w 158"/>
                <a:gd name="T29" fmla="*/ 49 h 83"/>
                <a:gd name="T30" fmla="*/ 60 w 158"/>
                <a:gd name="T31" fmla="*/ 45 h 83"/>
                <a:gd name="T32" fmla="*/ 67 w 158"/>
                <a:gd name="T33" fmla="*/ 49 h 83"/>
                <a:gd name="T34" fmla="*/ 64 w 158"/>
                <a:gd name="T35" fmla="*/ 53 h 83"/>
                <a:gd name="T36" fmla="*/ 54 w 158"/>
                <a:gd name="T37" fmla="*/ 48 h 83"/>
                <a:gd name="T38" fmla="*/ 57 w 158"/>
                <a:gd name="T39" fmla="*/ 45 h 83"/>
                <a:gd name="T40" fmla="*/ 62 w 158"/>
                <a:gd name="T41" fmla="*/ 40 h 83"/>
                <a:gd name="T42" fmla="*/ 61 w 158"/>
                <a:gd name="T43" fmla="*/ 38 h 83"/>
                <a:gd name="T44" fmla="*/ 47 w 158"/>
                <a:gd name="T45" fmla="*/ 39 h 83"/>
                <a:gd name="T46" fmla="*/ 26 w 158"/>
                <a:gd name="T47" fmla="*/ 35 h 83"/>
                <a:gd name="T48" fmla="*/ 35 w 158"/>
                <a:gd name="T49" fmla="*/ 35 h 83"/>
                <a:gd name="T50" fmla="*/ 33 w 158"/>
                <a:gd name="T51" fmla="*/ 32 h 83"/>
                <a:gd name="T52" fmla="*/ 23 w 158"/>
                <a:gd name="T53" fmla="*/ 33 h 83"/>
                <a:gd name="T54" fmla="*/ 22 w 158"/>
                <a:gd name="T55" fmla="*/ 29 h 83"/>
                <a:gd name="T56" fmla="*/ 54 w 158"/>
                <a:gd name="T57" fmla="*/ 31 h 83"/>
                <a:gd name="T58" fmla="*/ 72 w 158"/>
                <a:gd name="T59" fmla="*/ 29 h 83"/>
                <a:gd name="T60" fmla="*/ 75 w 158"/>
                <a:gd name="T61" fmla="*/ 36 h 83"/>
                <a:gd name="T62" fmla="*/ 76 w 158"/>
                <a:gd name="T63" fmla="*/ 45 h 83"/>
                <a:gd name="T64" fmla="*/ 73 w 158"/>
                <a:gd name="T65" fmla="*/ 43 h 83"/>
                <a:gd name="T66" fmla="*/ 69 w 158"/>
                <a:gd name="T67" fmla="*/ 33 h 83"/>
                <a:gd name="T68" fmla="*/ 69 w 158"/>
                <a:gd name="T69" fmla="*/ 27 h 83"/>
                <a:gd name="T70" fmla="*/ 21 w 158"/>
                <a:gd name="T71" fmla="*/ 25 h 83"/>
                <a:gd name="T72" fmla="*/ 28 w 158"/>
                <a:gd name="T73" fmla="*/ 25 h 83"/>
                <a:gd name="T74" fmla="*/ 30 w 158"/>
                <a:gd name="T75" fmla="*/ 31 h 83"/>
                <a:gd name="T76" fmla="*/ 26 w 158"/>
                <a:gd name="T77" fmla="*/ 28 h 83"/>
                <a:gd name="T78" fmla="*/ 24 w 158"/>
                <a:gd name="T79" fmla="*/ 27 h 83"/>
                <a:gd name="T80" fmla="*/ 25 w 158"/>
                <a:gd name="T81" fmla="*/ 22 h 83"/>
                <a:gd name="T82" fmla="*/ 12 w 158"/>
                <a:gd name="T83" fmla="*/ 22 h 83"/>
                <a:gd name="T84" fmla="*/ 21 w 158"/>
                <a:gd name="T85" fmla="*/ 25 h 83"/>
                <a:gd name="T86" fmla="*/ 14 w 158"/>
                <a:gd name="T87" fmla="*/ 19 h 83"/>
                <a:gd name="T88" fmla="*/ 16 w 158"/>
                <a:gd name="T89" fmla="*/ 20 h 83"/>
                <a:gd name="T90" fmla="*/ 12 w 158"/>
                <a:gd name="T91" fmla="*/ 17 h 83"/>
                <a:gd name="T92" fmla="*/ 42 w 158"/>
                <a:gd name="T93" fmla="*/ 15 h 83"/>
                <a:gd name="T94" fmla="*/ 47 w 158"/>
                <a:gd name="T95" fmla="*/ 20 h 83"/>
                <a:gd name="T96" fmla="*/ 55 w 158"/>
                <a:gd name="T97" fmla="*/ 25 h 83"/>
                <a:gd name="T98" fmla="*/ 58 w 158"/>
                <a:gd name="T99" fmla="*/ 32 h 83"/>
                <a:gd name="T100" fmla="*/ 51 w 158"/>
                <a:gd name="T101" fmla="*/ 26 h 83"/>
                <a:gd name="T102" fmla="*/ 45 w 158"/>
                <a:gd name="T103" fmla="*/ 22 h 83"/>
                <a:gd name="T104" fmla="*/ 40 w 158"/>
                <a:gd name="T105" fmla="*/ 15 h 83"/>
                <a:gd name="T106" fmla="*/ 38 w 158"/>
                <a:gd name="T107" fmla="*/ 14 h 83"/>
                <a:gd name="T108" fmla="*/ 38 w 158"/>
                <a:gd name="T109" fmla="*/ 13 h 83"/>
                <a:gd name="T110" fmla="*/ 0 w 158"/>
                <a:gd name="T111" fmla="*/ 13 h 83"/>
                <a:gd name="T112" fmla="*/ 8 w 158"/>
                <a:gd name="T113" fmla="*/ 5 h 83"/>
                <a:gd name="T114" fmla="*/ 15 w 158"/>
                <a:gd name="T115" fmla="*/ 1 h 83"/>
                <a:gd name="T116" fmla="*/ 22 w 158"/>
                <a:gd name="T117" fmla="*/ 8 h 83"/>
                <a:gd name="T118" fmla="*/ 26 w 158"/>
                <a:gd name="T119" fmla="*/ 11 h 83"/>
                <a:gd name="T120" fmla="*/ 22 w 158"/>
                <a:gd name="T121" fmla="*/ 11 h 83"/>
                <a:gd name="T122" fmla="*/ 14 w 158"/>
                <a:gd name="T12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 h="83">
                  <a:moveTo>
                    <a:pt x="151" y="80"/>
                  </a:moveTo>
                  <a:lnTo>
                    <a:pt x="150" y="80"/>
                  </a:lnTo>
                  <a:lnTo>
                    <a:pt x="151" y="80"/>
                  </a:lnTo>
                  <a:close/>
                  <a:moveTo>
                    <a:pt x="150" y="80"/>
                  </a:moveTo>
                  <a:lnTo>
                    <a:pt x="150" y="81"/>
                  </a:lnTo>
                  <a:lnTo>
                    <a:pt x="151" y="81"/>
                  </a:lnTo>
                  <a:lnTo>
                    <a:pt x="150" y="81"/>
                  </a:lnTo>
                  <a:lnTo>
                    <a:pt x="149" y="81"/>
                  </a:lnTo>
                  <a:lnTo>
                    <a:pt x="147" y="80"/>
                  </a:lnTo>
                  <a:lnTo>
                    <a:pt x="149" y="80"/>
                  </a:lnTo>
                  <a:lnTo>
                    <a:pt x="150" y="80"/>
                  </a:lnTo>
                  <a:close/>
                  <a:moveTo>
                    <a:pt x="55" y="77"/>
                  </a:moveTo>
                  <a:lnTo>
                    <a:pt x="55" y="78"/>
                  </a:lnTo>
                  <a:lnTo>
                    <a:pt x="57" y="78"/>
                  </a:lnTo>
                  <a:lnTo>
                    <a:pt x="58" y="80"/>
                  </a:lnTo>
                  <a:lnTo>
                    <a:pt x="59" y="80"/>
                  </a:lnTo>
                  <a:lnTo>
                    <a:pt x="59" y="81"/>
                  </a:lnTo>
                  <a:lnTo>
                    <a:pt x="60" y="82"/>
                  </a:lnTo>
                  <a:lnTo>
                    <a:pt x="61" y="82"/>
                  </a:lnTo>
                  <a:lnTo>
                    <a:pt x="61" y="83"/>
                  </a:lnTo>
                  <a:lnTo>
                    <a:pt x="60" y="83"/>
                  </a:lnTo>
                  <a:lnTo>
                    <a:pt x="59" y="83"/>
                  </a:lnTo>
                  <a:lnTo>
                    <a:pt x="59" y="82"/>
                  </a:lnTo>
                  <a:lnTo>
                    <a:pt x="59" y="81"/>
                  </a:lnTo>
                  <a:lnTo>
                    <a:pt x="58" y="81"/>
                  </a:lnTo>
                  <a:lnTo>
                    <a:pt x="58" y="80"/>
                  </a:lnTo>
                  <a:lnTo>
                    <a:pt x="57" y="80"/>
                  </a:lnTo>
                  <a:lnTo>
                    <a:pt x="55" y="80"/>
                  </a:lnTo>
                  <a:lnTo>
                    <a:pt x="54" y="80"/>
                  </a:lnTo>
                  <a:lnTo>
                    <a:pt x="54" y="78"/>
                  </a:lnTo>
                  <a:lnTo>
                    <a:pt x="53" y="78"/>
                  </a:lnTo>
                  <a:lnTo>
                    <a:pt x="54" y="77"/>
                  </a:lnTo>
                  <a:lnTo>
                    <a:pt x="55" y="77"/>
                  </a:lnTo>
                  <a:close/>
                  <a:moveTo>
                    <a:pt x="53" y="75"/>
                  </a:moveTo>
                  <a:lnTo>
                    <a:pt x="52" y="75"/>
                  </a:lnTo>
                  <a:lnTo>
                    <a:pt x="52" y="74"/>
                  </a:lnTo>
                  <a:lnTo>
                    <a:pt x="52" y="75"/>
                  </a:lnTo>
                  <a:lnTo>
                    <a:pt x="53" y="75"/>
                  </a:lnTo>
                  <a:close/>
                  <a:moveTo>
                    <a:pt x="146" y="74"/>
                  </a:moveTo>
                  <a:lnTo>
                    <a:pt x="145" y="74"/>
                  </a:lnTo>
                  <a:lnTo>
                    <a:pt x="145" y="75"/>
                  </a:lnTo>
                  <a:lnTo>
                    <a:pt x="145" y="74"/>
                  </a:lnTo>
                  <a:lnTo>
                    <a:pt x="145" y="73"/>
                  </a:lnTo>
                  <a:lnTo>
                    <a:pt x="145" y="74"/>
                  </a:lnTo>
                  <a:lnTo>
                    <a:pt x="146" y="74"/>
                  </a:lnTo>
                  <a:close/>
                  <a:moveTo>
                    <a:pt x="140" y="64"/>
                  </a:moveTo>
                  <a:lnTo>
                    <a:pt x="142" y="64"/>
                  </a:lnTo>
                  <a:lnTo>
                    <a:pt x="142" y="66"/>
                  </a:lnTo>
                  <a:lnTo>
                    <a:pt x="140" y="66"/>
                  </a:lnTo>
                  <a:lnTo>
                    <a:pt x="139" y="66"/>
                  </a:lnTo>
                  <a:lnTo>
                    <a:pt x="139" y="67"/>
                  </a:lnTo>
                  <a:lnTo>
                    <a:pt x="138" y="66"/>
                  </a:lnTo>
                  <a:lnTo>
                    <a:pt x="138" y="67"/>
                  </a:lnTo>
                  <a:lnTo>
                    <a:pt x="137" y="67"/>
                  </a:lnTo>
                  <a:lnTo>
                    <a:pt x="137" y="68"/>
                  </a:lnTo>
                  <a:lnTo>
                    <a:pt x="137" y="67"/>
                  </a:lnTo>
                  <a:lnTo>
                    <a:pt x="136" y="67"/>
                  </a:lnTo>
                  <a:lnTo>
                    <a:pt x="136" y="66"/>
                  </a:lnTo>
                  <a:lnTo>
                    <a:pt x="137" y="66"/>
                  </a:lnTo>
                  <a:lnTo>
                    <a:pt x="136" y="66"/>
                  </a:lnTo>
                  <a:lnTo>
                    <a:pt x="137" y="66"/>
                  </a:lnTo>
                  <a:lnTo>
                    <a:pt x="137" y="64"/>
                  </a:lnTo>
                  <a:lnTo>
                    <a:pt x="138" y="64"/>
                  </a:lnTo>
                  <a:lnTo>
                    <a:pt x="139" y="64"/>
                  </a:lnTo>
                  <a:lnTo>
                    <a:pt x="140" y="64"/>
                  </a:lnTo>
                  <a:close/>
                  <a:moveTo>
                    <a:pt x="136" y="61"/>
                  </a:moveTo>
                  <a:lnTo>
                    <a:pt x="136" y="60"/>
                  </a:lnTo>
                  <a:lnTo>
                    <a:pt x="137" y="61"/>
                  </a:lnTo>
                  <a:lnTo>
                    <a:pt x="136" y="61"/>
                  </a:lnTo>
                  <a:close/>
                  <a:moveTo>
                    <a:pt x="144" y="57"/>
                  </a:moveTo>
                  <a:lnTo>
                    <a:pt x="144" y="59"/>
                  </a:lnTo>
                  <a:lnTo>
                    <a:pt x="143" y="59"/>
                  </a:lnTo>
                  <a:lnTo>
                    <a:pt x="144" y="59"/>
                  </a:lnTo>
                  <a:lnTo>
                    <a:pt x="143" y="59"/>
                  </a:lnTo>
                  <a:lnTo>
                    <a:pt x="144" y="59"/>
                  </a:lnTo>
                  <a:lnTo>
                    <a:pt x="144" y="57"/>
                  </a:lnTo>
                  <a:close/>
                  <a:moveTo>
                    <a:pt x="81" y="59"/>
                  </a:moveTo>
                  <a:lnTo>
                    <a:pt x="81" y="57"/>
                  </a:lnTo>
                  <a:lnTo>
                    <a:pt x="81" y="59"/>
                  </a:lnTo>
                  <a:close/>
                  <a:moveTo>
                    <a:pt x="75" y="57"/>
                  </a:moveTo>
                  <a:lnTo>
                    <a:pt x="76" y="57"/>
                  </a:lnTo>
                  <a:lnTo>
                    <a:pt x="78" y="57"/>
                  </a:lnTo>
                  <a:lnTo>
                    <a:pt x="79" y="59"/>
                  </a:lnTo>
                  <a:lnTo>
                    <a:pt x="80" y="60"/>
                  </a:lnTo>
                  <a:lnTo>
                    <a:pt x="81" y="61"/>
                  </a:lnTo>
                  <a:lnTo>
                    <a:pt x="82" y="61"/>
                  </a:lnTo>
                  <a:lnTo>
                    <a:pt x="83" y="61"/>
                  </a:lnTo>
                  <a:lnTo>
                    <a:pt x="85" y="61"/>
                  </a:lnTo>
                  <a:lnTo>
                    <a:pt x="85" y="62"/>
                  </a:lnTo>
                  <a:lnTo>
                    <a:pt x="85" y="61"/>
                  </a:lnTo>
                  <a:lnTo>
                    <a:pt x="85" y="62"/>
                  </a:lnTo>
                  <a:lnTo>
                    <a:pt x="85" y="61"/>
                  </a:lnTo>
                  <a:lnTo>
                    <a:pt x="86" y="61"/>
                  </a:lnTo>
                  <a:lnTo>
                    <a:pt x="86" y="62"/>
                  </a:lnTo>
                  <a:lnTo>
                    <a:pt x="87" y="62"/>
                  </a:lnTo>
                  <a:lnTo>
                    <a:pt x="87" y="63"/>
                  </a:lnTo>
                  <a:lnTo>
                    <a:pt x="87" y="64"/>
                  </a:lnTo>
                  <a:lnTo>
                    <a:pt x="88" y="64"/>
                  </a:lnTo>
                  <a:lnTo>
                    <a:pt x="88" y="66"/>
                  </a:lnTo>
                  <a:lnTo>
                    <a:pt x="87" y="67"/>
                  </a:lnTo>
                  <a:lnTo>
                    <a:pt x="88" y="67"/>
                  </a:lnTo>
                  <a:lnTo>
                    <a:pt x="89" y="67"/>
                  </a:lnTo>
                  <a:lnTo>
                    <a:pt x="88" y="67"/>
                  </a:lnTo>
                  <a:lnTo>
                    <a:pt x="87" y="67"/>
                  </a:lnTo>
                  <a:lnTo>
                    <a:pt x="86" y="67"/>
                  </a:lnTo>
                  <a:lnTo>
                    <a:pt x="85" y="67"/>
                  </a:lnTo>
                  <a:lnTo>
                    <a:pt x="83" y="67"/>
                  </a:lnTo>
                  <a:lnTo>
                    <a:pt x="83" y="66"/>
                  </a:lnTo>
                  <a:lnTo>
                    <a:pt x="83" y="67"/>
                  </a:lnTo>
                  <a:lnTo>
                    <a:pt x="82" y="66"/>
                  </a:lnTo>
                  <a:lnTo>
                    <a:pt x="81" y="66"/>
                  </a:lnTo>
                  <a:lnTo>
                    <a:pt x="80" y="66"/>
                  </a:lnTo>
                  <a:lnTo>
                    <a:pt x="80" y="64"/>
                  </a:lnTo>
                  <a:lnTo>
                    <a:pt x="79" y="64"/>
                  </a:lnTo>
                  <a:lnTo>
                    <a:pt x="79" y="63"/>
                  </a:lnTo>
                  <a:lnTo>
                    <a:pt x="79" y="64"/>
                  </a:lnTo>
                  <a:lnTo>
                    <a:pt x="79" y="63"/>
                  </a:lnTo>
                  <a:lnTo>
                    <a:pt x="78" y="63"/>
                  </a:lnTo>
                  <a:lnTo>
                    <a:pt x="78" y="62"/>
                  </a:lnTo>
                  <a:lnTo>
                    <a:pt x="78" y="61"/>
                  </a:lnTo>
                  <a:lnTo>
                    <a:pt x="78" y="60"/>
                  </a:lnTo>
                  <a:lnTo>
                    <a:pt x="76" y="60"/>
                  </a:lnTo>
                  <a:lnTo>
                    <a:pt x="75" y="60"/>
                  </a:lnTo>
                  <a:lnTo>
                    <a:pt x="74" y="60"/>
                  </a:lnTo>
                  <a:lnTo>
                    <a:pt x="74" y="59"/>
                  </a:lnTo>
                  <a:lnTo>
                    <a:pt x="75" y="59"/>
                  </a:lnTo>
                  <a:lnTo>
                    <a:pt x="75" y="57"/>
                  </a:lnTo>
                  <a:close/>
                  <a:moveTo>
                    <a:pt x="158" y="53"/>
                  </a:moveTo>
                  <a:lnTo>
                    <a:pt x="157" y="53"/>
                  </a:lnTo>
                  <a:lnTo>
                    <a:pt x="157" y="52"/>
                  </a:lnTo>
                  <a:lnTo>
                    <a:pt x="158" y="52"/>
                  </a:lnTo>
                  <a:lnTo>
                    <a:pt x="158" y="53"/>
                  </a:lnTo>
                  <a:close/>
                  <a:moveTo>
                    <a:pt x="86" y="49"/>
                  </a:moveTo>
                  <a:lnTo>
                    <a:pt x="85" y="49"/>
                  </a:lnTo>
                  <a:lnTo>
                    <a:pt x="86" y="49"/>
                  </a:lnTo>
                  <a:lnTo>
                    <a:pt x="86" y="52"/>
                  </a:lnTo>
                  <a:lnTo>
                    <a:pt x="85" y="52"/>
                  </a:lnTo>
                  <a:lnTo>
                    <a:pt x="85" y="50"/>
                  </a:lnTo>
                  <a:lnTo>
                    <a:pt x="85" y="49"/>
                  </a:lnTo>
                  <a:lnTo>
                    <a:pt x="86" y="49"/>
                  </a:lnTo>
                  <a:close/>
                  <a:moveTo>
                    <a:pt x="79" y="45"/>
                  </a:moveTo>
                  <a:lnTo>
                    <a:pt x="79" y="46"/>
                  </a:lnTo>
                  <a:lnTo>
                    <a:pt x="79" y="47"/>
                  </a:lnTo>
                  <a:lnTo>
                    <a:pt x="80" y="47"/>
                  </a:lnTo>
                  <a:lnTo>
                    <a:pt x="80" y="48"/>
                  </a:lnTo>
                  <a:lnTo>
                    <a:pt x="80" y="49"/>
                  </a:lnTo>
                  <a:lnTo>
                    <a:pt x="80" y="50"/>
                  </a:lnTo>
                  <a:lnTo>
                    <a:pt x="79" y="50"/>
                  </a:lnTo>
                  <a:lnTo>
                    <a:pt x="79" y="49"/>
                  </a:lnTo>
                  <a:lnTo>
                    <a:pt x="78" y="49"/>
                  </a:lnTo>
                  <a:lnTo>
                    <a:pt x="78" y="48"/>
                  </a:lnTo>
                  <a:lnTo>
                    <a:pt x="78" y="47"/>
                  </a:lnTo>
                  <a:lnTo>
                    <a:pt x="78" y="46"/>
                  </a:lnTo>
                  <a:lnTo>
                    <a:pt x="78" y="45"/>
                  </a:lnTo>
                  <a:lnTo>
                    <a:pt x="78" y="43"/>
                  </a:lnTo>
                  <a:lnTo>
                    <a:pt x="78" y="45"/>
                  </a:lnTo>
                  <a:lnTo>
                    <a:pt x="79" y="45"/>
                  </a:lnTo>
                  <a:close/>
                  <a:moveTo>
                    <a:pt x="58" y="45"/>
                  </a:moveTo>
                  <a:lnTo>
                    <a:pt x="59" y="45"/>
                  </a:lnTo>
                  <a:lnTo>
                    <a:pt x="60" y="45"/>
                  </a:lnTo>
                  <a:lnTo>
                    <a:pt x="61" y="45"/>
                  </a:lnTo>
                  <a:lnTo>
                    <a:pt x="62" y="45"/>
                  </a:lnTo>
                  <a:lnTo>
                    <a:pt x="64" y="45"/>
                  </a:lnTo>
                  <a:lnTo>
                    <a:pt x="64" y="46"/>
                  </a:lnTo>
                  <a:lnTo>
                    <a:pt x="65" y="46"/>
                  </a:lnTo>
                  <a:lnTo>
                    <a:pt x="65" y="47"/>
                  </a:lnTo>
                  <a:lnTo>
                    <a:pt x="66" y="47"/>
                  </a:lnTo>
                  <a:lnTo>
                    <a:pt x="67" y="47"/>
                  </a:lnTo>
                  <a:lnTo>
                    <a:pt x="67" y="48"/>
                  </a:lnTo>
                  <a:lnTo>
                    <a:pt x="67" y="49"/>
                  </a:lnTo>
                  <a:lnTo>
                    <a:pt x="68" y="49"/>
                  </a:lnTo>
                  <a:lnTo>
                    <a:pt x="68" y="50"/>
                  </a:lnTo>
                  <a:lnTo>
                    <a:pt x="69" y="50"/>
                  </a:lnTo>
                  <a:lnTo>
                    <a:pt x="69" y="52"/>
                  </a:lnTo>
                  <a:lnTo>
                    <a:pt x="68" y="52"/>
                  </a:lnTo>
                  <a:lnTo>
                    <a:pt x="67" y="53"/>
                  </a:lnTo>
                  <a:lnTo>
                    <a:pt x="66" y="53"/>
                  </a:lnTo>
                  <a:lnTo>
                    <a:pt x="65" y="53"/>
                  </a:lnTo>
                  <a:lnTo>
                    <a:pt x="65" y="52"/>
                  </a:lnTo>
                  <a:lnTo>
                    <a:pt x="64" y="53"/>
                  </a:lnTo>
                  <a:lnTo>
                    <a:pt x="64" y="52"/>
                  </a:lnTo>
                  <a:lnTo>
                    <a:pt x="62" y="52"/>
                  </a:lnTo>
                  <a:lnTo>
                    <a:pt x="60" y="50"/>
                  </a:lnTo>
                  <a:lnTo>
                    <a:pt x="59" y="52"/>
                  </a:lnTo>
                  <a:lnTo>
                    <a:pt x="58" y="52"/>
                  </a:lnTo>
                  <a:lnTo>
                    <a:pt x="58" y="50"/>
                  </a:lnTo>
                  <a:lnTo>
                    <a:pt x="57" y="50"/>
                  </a:lnTo>
                  <a:lnTo>
                    <a:pt x="55" y="50"/>
                  </a:lnTo>
                  <a:lnTo>
                    <a:pt x="54" y="49"/>
                  </a:lnTo>
                  <a:lnTo>
                    <a:pt x="54" y="48"/>
                  </a:lnTo>
                  <a:lnTo>
                    <a:pt x="53" y="48"/>
                  </a:lnTo>
                  <a:lnTo>
                    <a:pt x="53" y="47"/>
                  </a:lnTo>
                  <a:lnTo>
                    <a:pt x="53" y="46"/>
                  </a:lnTo>
                  <a:lnTo>
                    <a:pt x="53" y="45"/>
                  </a:lnTo>
                  <a:lnTo>
                    <a:pt x="53" y="43"/>
                  </a:lnTo>
                  <a:lnTo>
                    <a:pt x="53" y="42"/>
                  </a:lnTo>
                  <a:lnTo>
                    <a:pt x="54" y="42"/>
                  </a:lnTo>
                  <a:lnTo>
                    <a:pt x="55" y="42"/>
                  </a:lnTo>
                  <a:lnTo>
                    <a:pt x="57" y="43"/>
                  </a:lnTo>
                  <a:lnTo>
                    <a:pt x="57" y="45"/>
                  </a:lnTo>
                  <a:lnTo>
                    <a:pt x="58" y="45"/>
                  </a:lnTo>
                  <a:close/>
                  <a:moveTo>
                    <a:pt x="57" y="40"/>
                  </a:moveTo>
                  <a:lnTo>
                    <a:pt x="57" y="41"/>
                  </a:lnTo>
                  <a:lnTo>
                    <a:pt x="57" y="40"/>
                  </a:lnTo>
                  <a:close/>
                  <a:moveTo>
                    <a:pt x="65" y="40"/>
                  </a:moveTo>
                  <a:lnTo>
                    <a:pt x="64" y="41"/>
                  </a:lnTo>
                  <a:lnTo>
                    <a:pt x="62" y="41"/>
                  </a:lnTo>
                  <a:lnTo>
                    <a:pt x="61" y="41"/>
                  </a:lnTo>
                  <a:lnTo>
                    <a:pt x="62" y="41"/>
                  </a:lnTo>
                  <a:lnTo>
                    <a:pt x="62" y="40"/>
                  </a:lnTo>
                  <a:lnTo>
                    <a:pt x="64" y="40"/>
                  </a:lnTo>
                  <a:lnTo>
                    <a:pt x="64" y="39"/>
                  </a:lnTo>
                  <a:lnTo>
                    <a:pt x="64" y="40"/>
                  </a:lnTo>
                  <a:lnTo>
                    <a:pt x="65" y="40"/>
                  </a:lnTo>
                  <a:close/>
                  <a:moveTo>
                    <a:pt x="49" y="39"/>
                  </a:moveTo>
                  <a:lnTo>
                    <a:pt x="49" y="40"/>
                  </a:lnTo>
                  <a:lnTo>
                    <a:pt x="47" y="40"/>
                  </a:lnTo>
                  <a:lnTo>
                    <a:pt x="47" y="39"/>
                  </a:lnTo>
                  <a:lnTo>
                    <a:pt x="49" y="39"/>
                  </a:lnTo>
                  <a:close/>
                  <a:moveTo>
                    <a:pt x="61" y="38"/>
                  </a:moveTo>
                  <a:lnTo>
                    <a:pt x="62" y="39"/>
                  </a:lnTo>
                  <a:lnTo>
                    <a:pt x="64" y="39"/>
                  </a:lnTo>
                  <a:lnTo>
                    <a:pt x="62" y="40"/>
                  </a:lnTo>
                  <a:lnTo>
                    <a:pt x="61" y="40"/>
                  </a:lnTo>
                  <a:lnTo>
                    <a:pt x="60" y="40"/>
                  </a:lnTo>
                  <a:lnTo>
                    <a:pt x="60" y="39"/>
                  </a:lnTo>
                  <a:lnTo>
                    <a:pt x="61" y="39"/>
                  </a:lnTo>
                  <a:lnTo>
                    <a:pt x="61" y="38"/>
                  </a:lnTo>
                  <a:close/>
                  <a:moveTo>
                    <a:pt x="47" y="38"/>
                  </a:moveTo>
                  <a:lnTo>
                    <a:pt x="47" y="39"/>
                  </a:lnTo>
                  <a:lnTo>
                    <a:pt x="47" y="40"/>
                  </a:lnTo>
                  <a:lnTo>
                    <a:pt x="46" y="40"/>
                  </a:lnTo>
                  <a:lnTo>
                    <a:pt x="46" y="39"/>
                  </a:lnTo>
                  <a:lnTo>
                    <a:pt x="46" y="38"/>
                  </a:lnTo>
                  <a:lnTo>
                    <a:pt x="47" y="38"/>
                  </a:lnTo>
                  <a:close/>
                  <a:moveTo>
                    <a:pt x="60" y="38"/>
                  </a:moveTo>
                  <a:lnTo>
                    <a:pt x="60" y="39"/>
                  </a:lnTo>
                  <a:lnTo>
                    <a:pt x="60" y="38"/>
                  </a:lnTo>
                  <a:close/>
                  <a:moveTo>
                    <a:pt x="26" y="34"/>
                  </a:moveTo>
                  <a:lnTo>
                    <a:pt x="26" y="35"/>
                  </a:lnTo>
                  <a:lnTo>
                    <a:pt x="25" y="34"/>
                  </a:lnTo>
                  <a:lnTo>
                    <a:pt x="24" y="34"/>
                  </a:lnTo>
                  <a:lnTo>
                    <a:pt x="24" y="33"/>
                  </a:lnTo>
                  <a:lnTo>
                    <a:pt x="25" y="34"/>
                  </a:lnTo>
                  <a:lnTo>
                    <a:pt x="25" y="33"/>
                  </a:lnTo>
                  <a:lnTo>
                    <a:pt x="25" y="34"/>
                  </a:lnTo>
                  <a:lnTo>
                    <a:pt x="25" y="33"/>
                  </a:lnTo>
                  <a:lnTo>
                    <a:pt x="26" y="33"/>
                  </a:lnTo>
                  <a:lnTo>
                    <a:pt x="26" y="34"/>
                  </a:lnTo>
                  <a:close/>
                  <a:moveTo>
                    <a:pt x="35" y="35"/>
                  </a:moveTo>
                  <a:lnTo>
                    <a:pt x="33" y="35"/>
                  </a:lnTo>
                  <a:lnTo>
                    <a:pt x="33" y="34"/>
                  </a:lnTo>
                  <a:lnTo>
                    <a:pt x="35" y="34"/>
                  </a:lnTo>
                  <a:lnTo>
                    <a:pt x="35" y="33"/>
                  </a:lnTo>
                  <a:lnTo>
                    <a:pt x="35" y="34"/>
                  </a:lnTo>
                  <a:lnTo>
                    <a:pt x="36" y="35"/>
                  </a:lnTo>
                  <a:lnTo>
                    <a:pt x="35" y="35"/>
                  </a:lnTo>
                  <a:close/>
                  <a:moveTo>
                    <a:pt x="32" y="31"/>
                  </a:moveTo>
                  <a:lnTo>
                    <a:pt x="33" y="31"/>
                  </a:lnTo>
                  <a:lnTo>
                    <a:pt x="33" y="32"/>
                  </a:lnTo>
                  <a:lnTo>
                    <a:pt x="33" y="33"/>
                  </a:lnTo>
                  <a:lnTo>
                    <a:pt x="32" y="34"/>
                  </a:lnTo>
                  <a:lnTo>
                    <a:pt x="31" y="34"/>
                  </a:lnTo>
                  <a:lnTo>
                    <a:pt x="30" y="33"/>
                  </a:lnTo>
                  <a:lnTo>
                    <a:pt x="30" y="32"/>
                  </a:lnTo>
                  <a:lnTo>
                    <a:pt x="31" y="32"/>
                  </a:lnTo>
                  <a:lnTo>
                    <a:pt x="31" y="31"/>
                  </a:lnTo>
                  <a:lnTo>
                    <a:pt x="32" y="31"/>
                  </a:lnTo>
                  <a:close/>
                  <a:moveTo>
                    <a:pt x="23" y="32"/>
                  </a:moveTo>
                  <a:lnTo>
                    <a:pt x="23" y="33"/>
                  </a:lnTo>
                  <a:lnTo>
                    <a:pt x="23" y="34"/>
                  </a:lnTo>
                  <a:lnTo>
                    <a:pt x="24" y="34"/>
                  </a:lnTo>
                  <a:lnTo>
                    <a:pt x="23" y="34"/>
                  </a:lnTo>
                  <a:lnTo>
                    <a:pt x="23" y="33"/>
                  </a:lnTo>
                  <a:lnTo>
                    <a:pt x="22" y="33"/>
                  </a:lnTo>
                  <a:lnTo>
                    <a:pt x="22" y="32"/>
                  </a:lnTo>
                  <a:lnTo>
                    <a:pt x="21" y="32"/>
                  </a:lnTo>
                  <a:lnTo>
                    <a:pt x="21" y="31"/>
                  </a:lnTo>
                  <a:lnTo>
                    <a:pt x="22" y="31"/>
                  </a:lnTo>
                  <a:lnTo>
                    <a:pt x="22" y="29"/>
                  </a:lnTo>
                  <a:lnTo>
                    <a:pt x="23" y="29"/>
                  </a:lnTo>
                  <a:lnTo>
                    <a:pt x="23" y="28"/>
                  </a:lnTo>
                  <a:lnTo>
                    <a:pt x="23" y="29"/>
                  </a:lnTo>
                  <a:lnTo>
                    <a:pt x="24" y="29"/>
                  </a:lnTo>
                  <a:lnTo>
                    <a:pt x="24" y="31"/>
                  </a:lnTo>
                  <a:lnTo>
                    <a:pt x="23" y="31"/>
                  </a:lnTo>
                  <a:lnTo>
                    <a:pt x="23" y="32"/>
                  </a:lnTo>
                  <a:close/>
                  <a:moveTo>
                    <a:pt x="55" y="29"/>
                  </a:moveTo>
                  <a:lnTo>
                    <a:pt x="55" y="31"/>
                  </a:lnTo>
                  <a:lnTo>
                    <a:pt x="54" y="31"/>
                  </a:lnTo>
                  <a:lnTo>
                    <a:pt x="54" y="29"/>
                  </a:lnTo>
                  <a:lnTo>
                    <a:pt x="54" y="31"/>
                  </a:lnTo>
                  <a:lnTo>
                    <a:pt x="54" y="29"/>
                  </a:lnTo>
                  <a:lnTo>
                    <a:pt x="53" y="29"/>
                  </a:lnTo>
                  <a:lnTo>
                    <a:pt x="53" y="28"/>
                  </a:lnTo>
                  <a:lnTo>
                    <a:pt x="54" y="28"/>
                  </a:lnTo>
                  <a:lnTo>
                    <a:pt x="55" y="28"/>
                  </a:lnTo>
                  <a:lnTo>
                    <a:pt x="55" y="29"/>
                  </a:lnTo>
                  <a:close/>
                  <a:moveTo>
                    <a:pt x="72" y="28"/>
                  </a:moveTo>
                  <a:lnTo>
                    <a:pt x="72" y="29"/>
                  </a:lnTo>
                  <a:lnTo>
                    <a:pt x="73" y="31"/>
                  </a:lnTo>
                  <a:lnTo>
                    <a:pt x="73" y="32"/>
                  </a:lnTo>
                  <a:lnTo>
                    <a:pt x="74" y="32"/>
                  </a:lnTo>
                  <a:lnTo>
                    <a:pt x="74" y="33"/>
                  </a:lnTo>
                  <a:lnTo>
                    <a:pt x="73" y="33"/>
                  </a:lnTo>
                  <a:lnTo>
                    <a:pt x="73" y="34"/>
                  </a:lnTo>
                  <a:lnTo>
                    <a:pt x="73" y="35"/>
                  </a:lnTo>
                  <a:lnTo>
                    <a:pt x="74" y="35"/>
                  </a:lnTo>
                  <a:lnTo>
                    <a:pt x="74" y="36"/>
                  </a:lnTo>
                  <a:lnTo>
                    <a:pt x="75" y="36"/>
                  </a:lnTo>
                  <a:lnTo>
                    <a:pt x="75" y="38"/>
                  </a:lnTo>
                  <a:lnTo>
                    <a:pt x="75" y="39"/>
                  </a:lnTo>
                  <a:lnTo>
                    <a:pt x="75" y="40"/>
                  </a:lnTo>
                  <a:lnTo>
                    <a:pt x="76" y="40"/>
                  </a:lnTo>
                  <a:lnTo>
                    <a:pt x="75" y="40"/>
                  </a:lnTo>
                  <a:lnTo>
                    <a:pt x="76" y="41"/>
                  </a:lnTo>
                  <a:lnTo>
                    <a:pt x="76" y="42"/>
                  </a:lnTo>
                  <a:lnTo>
                    <a:pt x="75" y="42"/>
                  </a:lnTo>
                  <a:lnTo>
                    <a:pt x="76" y="43"/>
                  </a:lnTo>
                  <a:lnTo>
                    <a:pt x="76" y="45"/>
                  </a:lnTo>
                  <a:lnTo>
                    <a:pt x="76" y="46"/>
                  </a:lnTo>
                  <a:lnTo>
                    <a:pt x="78" y="46"/>
                  </a:lnTo>
                  <a:lnTo>
                    <a:pt x="78" y="47"/>
                  </a:lnTo>
                  <a:lnTo>
                    <a:pt x="78" y="48"/>
                  </a:lnTo>
                  <a:lnTo>
                    <a:pt x="76" y="48"/>
                  </a:lnTo>
                  <a:lnTo>
                    <a:pt x="76" y="47"/>
                  </a:lnTo>
                  <a:lnTo>
                    <a:pt x="75" y="46"/>
                  </a:lnTo>
                  <a:lnTo>
                    <a:pt x="75" y="45"/>
                  </a:lnTo>
                  <a:lnTo>
                    <a:pt x="74" y="43"/>
                  </a:lnTo>
                  <a:lnTo>
                    <a:pt x="73" y="43"/>
                  </a:lnTo>
                  <a:lnTo>
                    <a:pt x="73" y="42"/>
                  </a:lnTo>
                  <a:lnTo>
                    <a:pt x="72" y="42"/>
                  </a:lnTo>
                  <a:lnTo>
                    <a:pt x="72" y="41"/>
                  </a:lnTo>
                  <a:lnTo>
                    <a:pt x="71" y="41"/>
                  </a:lnTo>
                  <a:lnTo>
                    <a:pt x="71" y="39"/>
                  </a:lnTo>
                  <a:lnTo>
                    <a:pt x="69" y="38"/>
                  </a:lnTo>
                  <a:lnTo>
                    <a:pt x="69" y="36"/>
                  </a:lnTo>
                  <a:lnTo>
                    <a:pt x="69" y="35"/>
                  </a:lnTo>
                  <a:lnTo>
                    <a:pt x="69" y="34"/>
                  </a:lnTo>
                  <a:lnTo>
                    <a:pt x="69" y="33"/>
                  </a:lnTo>
                  <a:lnTo>
                    <a:pt x="68" y="32"/>
                  </a:lnTo>
                  <a:lnTo>
                    <a:pt x="69" y="32"/>
                  </a:lnTo>
                  <a:lnTo>
                    <a:pt x="69" y="31"/>
                  </a:lnTo>
                  <a:lnTo>
                    <a:pt x="69" y="29"/>
                  </a:lnTo>
                  <a:lnTo>
                    <a:pt x="68" y="28"/>
                  </a:lnTo>
                  <a:lnTo>
                    <a:pt x="68" y="27"/>
                  </a:lnTo>
                  <a:lnTo>
                    <a:pt x="69" y="27"/>
                  </a:lnTo>
                  <a:lnTo>
                    <a:pt x="69" y="28"/>
                  </a:lnTo>
                  <a:lnTo>
                    <a:pt x="71" y="28"/>
                  </a:lnTo>
                  <a:lnTo>
                    <a:pt x="69" y="27"/>
                  </a:lnTo>
                  <a:lnTo>
                    <a:pt x="71" y="27"/>
                  </a:lnTo>
                  <a:lnTo>
                    <a:pt x="71" y="28"/>
                  </a:lnTo>
                  <a:lnTo>
                    <a:pt x="72" y="28"/>
                  </a:lnTo>
                  <a:close/>
                  <a:moveTo>
                    <a:pt x="21" y="27"/>
                  </a:moveTo>
                  <a:lnTo>
                    <a:pt x="19" y="26"/>
                  </a:lnTo>
                  <a:lnTo>
                    <a:pt x="19" y="25"/>
                  </a:lnTo>
                  <a:lnTo>
                    <a:pt x="19" y="26"/>
                  </a:lnTo>
                  <a:lnTo>
                    <a:pt x="21" y="26"/>
                  </a:lnTo>
                  <a:lnTo>
                    <a:pt x="21" y="27"/>
                  </a:lnTo>
                  <a:close/>
                  <a:moveTo>
                    <a:pt x="21" y="25"/>
                  </a:moveTo>
                  <a:lnTo>
                    <a:pt x="22" y="25"/>
                  </a:lnTo>
                  <a:lnTo>
                    <a:pt x="22" y="26"/>
                  </a:lnTo>
                  <a:lnTo>
                    <a:pt x="22" y="27"/>
                  </a:lnTo>
                  <a:lnTo>
                    <a:pt x="21" y="27"/>
                  </a:lnTo>
                  <a:lnTo>
                    <a:pt x="21" y="26"/>
                  </a:lnTo>
                  <a:lnTo>
                    <a:pt x="21" y="25"/>
                  </a:lnTo>
                  <a:close/>
                  <a:moveTo>
                    <a:pt x="16" y="24"/>
                  </a:moveTo>
                  <a:lnTo>
                    <a:pt x="17" y="24"/>
                  </a:lnTo>
                  <a:lnTo>
                    <a:pt x="16" y="24"/>
                  </a:lnTo>
                  <a:close/>
                  <a:moveTo>
                    <a:pt x="28" y="25"/>
                  </a:moveTo>
                  <a:lnTo>
                    <a:pt x="28" y="26"/>
                  </a:lnTo>
                  <a:lnTo>
                    <a:pt x="29" y="26"/>
                  </a:lnTo>
                  <a:lnTo>
                    <a:pt x="30" y="26"/>
                  </a:lnTo>
                  <a:lnTo>
                    <a:pt x="30" y="27"/>
                  </a:lnTo>
                  <a:lnTo>
                    <a:pt x="30" y="28"/>
                  </a:lnTo>
                  <a:lnTo>
                    <a:pt x="31" y="29"/>
                  </a:lnTo>
                  <a:lnTo>
                    <a:pt x="31" y="31"/>
                  </a:lnTo>
                  <a:lnTo>
                    <a:pt x="30" y="31"/>
                  </a:lnTo>
                  <a:lnTo>
                    <a:pt x="30" y="32"/>
                  </a:lnTo>
                  <a:lnTo>
                    <a:pt x="30" y="31"/>
                  </a:lnTo>
                  <a:lnTo>
                    <a:pt x="29" y="31"/>
                  </a:lnTo>
                  <a:lnTo>
                    <a:pt x="29" y="32"/>
                  </a:lnTo>
                  <a:lnTo>
                    <a:pt x="30" y="32"/>
                  </a:lnTo>
                  <a:lnTo>
                    <a:pt x="29" y="32"/>
                  </a:lnTo>
                  <a:lnTo>
                    <a:pt x="29" y="31"/>
                  </a:lnTo>
                  <a:lnTo>
                    <a:pt x="28" y="31"/>
                  </a:lnTo>
                  <a:lnTo>
                    <a:pt x="26" y="29"/>
                  </a:lnTo>
                  <a:lnTo>
                    <a:pt x="26" y="28"/>
                  </a:lnTo>
                  <a:lnTo>
                    <a:pt x="26" y="27"/>
                  </a:lnTo>
                  <a:lnTo>
                    <a:pt x="26" y="28"/>
                  </a:lnTo>
                  <a:lnTo>
                    <a:pt x="28" y="28"/>
                  </a:lnTo>
                  <a:lnTo>
                    <a:pt x="26" y="28"/>
                  </a:lnTo>
                  <a:lnTo>
                    <a:pt x="26" y="27"/>
                  </a:lnTo>
                  <a:lnTo>
                    <a:pt x="26" y="26"/>
                  </a:lnTo>
                  <a:lnTo>
                    <a:pt x="25" y="27"/>
                  </a:lnTo>
                  <a:lnTo>
                    <a:pt x="25" y="26"/>
                  </a:lnTo>
                  <a:lnTo>
                    <a:pt x="25" y="27"/>
                  </a:lnTo>
                  <a:lnTo>
                    <a:pt x="25" y="26"/>
                  </a:lnTo>
                  <a:lnTo>
                    <a:pt x="25" y="27"/>
                  </a:lnTo>
                  <a:lnTo>
                    <a:pt x="24" y="27"/>
                  </a:lnTo>
                  <a:lnTo>
                    <a:pt x="23" y="27"/>
                  </a:lnTo>
                  <a:lnTo>
                    <a:pt x="22" y="27"/>
                  </a:lnTo>
                  <a:lnTo>
                    <a:pt x="22" y="26"/>
                  </a:lnTo>
                  <a:lnTo>
                    <a:pt x="23" y="26"/>
                  </a:lnTo>
                  <a:lnTo>
                    <a:pt x="23" y="25"/>
                  </a:lnTo>
                  <a:lnTo>
                    <a:pt x="23" y="26"/>
                  </a:lnTo>
                  <a:lnTo>
                    <a:pt x="23" y="25"/>
                  </a:lnTo>
                  <a:lnTo>
                    <a:pt x="24" y="24"/>
                  </a:lnTo>
                  <a:lnTo>
                    <a:pt x="24" y="22"/>
                  </a:lnTo>
                  <a:lnTo>
                    <a:pt x="25" y="22"/>
                  </a:lnTo>
                  <a:lnTo>
                    <a:pt x="25" y="21"/>
                  </a:lnTo>
                  <a:lnTo>
                    <a:pt x="26" y="21"/>
                  </a:lnTo>
                  <a:lnTo>
                    <a:pt x="28" y="22"/>
                  </a:lnTo>
                  <a:lnTo>
                    <a:pt x="28" y="24"/>
                  </a:lnTo>
                  <a:lnTo>
                    <a:pt x="28" y="25"/>
                  </a:lnTo>
                  <a:close/>
                  <a:moveTo>
                    <a:pt x="14" y="25"/>
                  </a:moveTo>
                  <a:lnTo>
                    <a:pt x="12" y="26"/>
                  </a:lnTo>
                  <a:lnTo>
                    <a:pt x="12" y="25"/>
                  </a:lnTo>
                  <a:lnTo>
                    <a:pt x="12" y="24"/>
                  </a:lnTo>
                  <a:lnTo>
                    <a:pt x="12" y="22"/>
                  </a:lnTo>
                  <a:lnTo>
                    <a:pt x="12" y="21"/>
                  </a:lnTo>
                  <a:lnTo>
                    <a:pt x="14" y="21"/>
                  </a:lnTo>
                  <a:lnTo>
                    <a:pt x="14" y="22"/>
                  </a:lnTo>
                  <a:lnTo>
                    <a:pt x="14" y="24"/>
                  </a:lnTo>
                  <a:lnTo>
                    <a:pt x="14" y="25"/>
                  </a:lnTo>
                  <a:close/>
                  <a:moveTo>
                    <a:pt x="69" y="21"/>
                  </a:moveTo>
                  <a:lnTo>
                    <a:pt x="69" y="20"/>
                  </a:lnTo>
                  <a:lnTo>
                    <a:pt x="69" y="21"/>
                  </a:lnTo>
                  <a:close/>
                  <a:moveTo>
                    <a:pt x="22" y="24"/>
                  </a:moveTo>
                  <a:lnTo>
                    <a:pt x="21" y="25"/>
                  </a:lnTo>
                  <a:lnTo>
                    <a:pt x="19" y="25"/>
                  </a:lnTo>
                  <a:lnTo>
                    <a:pt x="19" y="24"/>
                  </a:lnTo>
                  <a:lnTo>
                    <a:pt x="18" y="22"/>
                  </a:lnTo>
                  <a:lnTo>
                    <a:pt x="18" y="21"/>
                  </a:lnTo>
                  <a:lnTo>
                    <a:pt x="19" y="20"/>
                  </a:lnTo>
                  <a:lnTo>
                    <a:pt x="21" y="20"/>
                  </a:lnTo>
                  <a:lnTo>
                    <a:pt x="22" y="21"/>
                  </a:lnTo>
                  <a:lnTo>
                    <a:pt x="22" y="22"/>
                  </a:lnTo>
                  <a:lnTo>
                    <a:pt x="22" y="24"/>
                  </a:lnTo>
                  <a:close/>
                  <a:moveTo>
                    <a:pt x="14" y="19"/>
                  </a:moveTo>
                  <a:lnTo>
                    <a:pt x="12" y="20"/>
                  </a:lnTo>
                  <a:lnTo>
                    <a:pt x="12" y="19"/>
                  </a:lnTo>
                  <a:lnTo>
                    <a:pt x="14" y="19"/>
                  </a:lnTo>
                  <a:close/>
                  <a:moveTo>
                    <a:pt x="15" y="15"/>
                  </a:moveTo>
                  <a:lnTo>
                    <a:pt x="15" y="17"/>
                  </a:lnTo>
                  <a:lnTo>
                    <a:pt x="16" y="18"/>
                  </a:lnTo>
                  <a:lnTo>
                    <a:pt x="17" y="18"/>
                  </a:lnTo>
                  <a:lnTo>
                    <a:pt x="17" y="19"/>
                  </a:lnTo>
                  <a:lnTo>
                    <a:pt x="16" y="19"/>
                  </a:lnTo>
                  <a:lnTo>
                    <a:pt x="16" y="20"/>
                  </a:lnTo>
                  <a:lnTo>
                    <a:pt x="15" y="20"/>
                  </a:lnTo>
                  <a:lnTo>
                    <a:pt x="15" y="21"/>
                  </a:lnTo>
                  <a:lnTo>
                    <a:pt x="15" y="20"/>
                  </a:lnTo>
                  <a:lnTo>
                    <a:pt x="14" y="20"/>
                  </a:lnTo>
                  <a:lnTo>
                    <a:pt x="14" y="19"/>
                  </a:lnTo>
                  <a:lnTo>
                    <a:pt x="14" y="18"/>
                  </a:lnTo>
                  <a:lnTo>
                    <a:pt x="12" y="18"/>
                  </a:lnTo>
                  <a:lnTo>
                    <a:pt x="14" y="18"/>
                  </a:lnTo>
                  <a:lnTo>
                    <a:pt x="12" y="18"/>
                  </a:lnTo>
                  <a:lnTo>
                    <a:pt x="12" y="17"/>
                  </a:lnTo>
                  <a:lnTo>
                    <a:pt x="14" y="15"/>
                  </a:lnTo>
                  <a:lnTo>
                    <a:pt x="15" y="15"/>
                  </a:lnTo>
                  <a:close/>
                  <a:moveTo>
                    <a:pt x="39" y="15"/>
                  </a:moveTo>
                  <a:lnTo>
                    <a:pt x="39" y="17"/>
                  </a:lnTo>
                  <a:lnTo>
                    <a:pt x="40" y="17"/>
                  </a:lnTo>
                  <a:lnTo>
                    <a:pt x="39" y="17"/>
                  </a:lnTo>
                  <a:lnTo>
                    <a:pt x="38" y="17"/>
                  </a:lnTo>
                  <a:lnTo>
                    <a:pt x="38" y="15"/>
                  </a:lnTo>
                  <a:lnTo>
                    <a:pt x="39" y="15"/>
                  </a:lnTo>
                  <a:close/>
                  <a:moveTo>
                    <a:pt x="42" y="15"/>
                  </a:moveTo>
                  <a:lnTo>
                    <a:pt x="43" y="15"/>
                  </a:lnTo>
                  <a:lnTo>
                    <a:pt x="44" y="17"/>
                  </a:lnTo>
                  <a:lnTo>
                    <a:pt x="44" y="15"/>
                  </a:lnTo>
                  <a:lnTo>
                    <a:pt x="44" y="17"/>
                  </a:lnTo>
                  <a:lnTo>
                    <a:pt x="45" y="17"/>
                  </a:lnTo>
                  <a:lnTo>
                    <a:pt x="45" y="18"/>
                  </a:lnTo>
                  <a:lnTo>
                    <a:pt x="46" y="19"/>
                  </a:lnTo>
                  <a:lnTo>
                    <a:pt x="47" y="19"/>
                  </a:lnTo>
                  <a:lnTo>
                    <a:pt x="46" y="19"/>
                  </a:lnTo>
                  <a:lnTo>
                    <a:pt x="47" y="20"/>
                  </a:lnTo>
                  <a:lnTo>
                    <a:pt x="49" y="20"/>
                  </a:lnTo>
                  <a:lnTo>
                    <a:pt x="49" y="21"/>
                  </a:lnTo>
                  <a:lnTo>
                    <a:pt x="50" y="21"/>
                  </a:lnTo>
                  <a:lnTo>
                    <a:pt x="51" y="21"/>
                  </a:lnTo>
                  <a:lnTo>
                    <a:pt x="51" y="22"/>
                  </a:lnTo>
                  <a:lnTo>
                    <a:pt x="52" y="22"/>
                  </a:lnTo>
                  <a:lnTo>
                    <a:pt x="53" y="22"/>
                  </a:lnTo>
                  <a:lnTo>
                    <a:pt x="53" y="24"/>
                  </a:lnTo>
                  <a:lnTo>
                    <a:pt x="54" y="25"/>
                  </a:lnTo>
                  <a:lnTo>
                    <a:pt x="55" y="25"/>
                  </a:lnTo>
                  <a:lnTo>
                    <a:pt x="58" y="27"/>
                  </a:lnTo>
                  <a:lnTo>
                    <a:pt x="58" y="28"/>
                  </a:lnTo>
                  <a:lnTo>
                    <a:pt x="57" y="28"/>
                  </a:lnTo>
                  <a:lnTo>
                    <a:pt x="57" y="29"/>
                  </a:lnTo>
                  <a:lnTo>
                    <a:pt x="58" y="29"/>
                  </a:lnTo>
                  <a:lnTo>
                    <a:pt x="58" y="28"/>
                  </a:lnTo>
                  <a:lnTo>
                    <a:pt x="58" y="29"/>
                  </a:lnTo>
                  <a:lnTo>
                    <a:pt x="58" y="31"/>
                  </a:lnTo>
                  <a:lnTo>
                    <a:pt x="59" y="31"/>
                  </a:lnTo>
                  <a:lnTo>
                    <a:pt x="58" y="32"/>
                  </a:lnTo>
                  <a:lnTo>
                    <a:pt x="58" y="31"/>
                  </a:lnTo>
                  <a:lnTo>
                    <a:pt x="57" y="31"/>
                  </a:lnTo>
                  <a:lnTo>
                    <a:pt x="57" y="29"/>
                  </a:lnTo>
                  <a:lnTo>
                    <a:pt x="55" y="29"/>
                  </a:lnTo>
                  <a:lnTo>
                    <a:pt x="55" y="28"/>
                  </a:lnTo>
                  <a:lnTo>
                    <a:pt x="54" y="28"/>
                  </a:lnTo>
                  <a:lnTo>
                    <a:pt x="53" y="27"/>
                  </a:lnTo>
                  <a:lnTo>
                    <a:pt x="52" y="27"/>
                  </a:lnTo>
                  <a:lnTo>
                    <a:pt x="52" y="26"/>
                  </a:lnTo>
                  <a:lnTo>
                    <a:pt x="51" y="26"/>
                  </a:lnTo>
                  <a:lnTo>
                    <a:pt x="50" y="26"/>
                  </a:lnTo>
                  <a:lnTo>
                    <a:pt x="50" y="25"/>
                  </a:lnTo>
                  <a:lnTo>
                    <a:pt x="49" y="24"/>
                  </a:lnTo>
                  <a:lnTo>
                    <a:pt x="49" y="25"/>
                  </a:lnTo>
                  <a:lnTo>
                    <a:pt x="47" y="24"/>
                  </a:lnTo>
                  <a:lnTo>
                    <a:pt x="46" y="24"/>
                  </a:lnTo>
                  <a:lnTo>
                    <a:pt x="46" y="22"/>
                  </a:lnTo>
                  <a:lnTo>
                    <a:pt x="46" y="24"/>
                  </a:lnTo>
                  <a:lnTo>
                    <a:pt x="46" y="22"/>
                  </a:lnTo>
                  <a:lnTo>
                    <a:pt x="45" y="22"/>
                  </a:lnTo>
                  <a:lnTo>
                    <a:pt x="45" y="21"/>
                  </a:lnTo>
                  <a:lnTo>
                    <a:pt x="44" y="21"/>
                  </a:lnTo>
                  <a:lnTo>
                    <a:pt x="44" y="20"/>
                  </a:lnTo>
                  <a:lnTo>
                    <a:pt x="43" y="20"/>
                  </a:lnTo>
                  <a:lnTo>
                    <a:pt x="43" y="19"/>
                  </a:lnTo>
                  <a:lnTo>
                    <a:pt x="42" y="19"/>
                  </a:lnTo>
                  <a:lnTo>
                    <a:pt x="42" y="18"/>
                  </a:lnTo>
                  <a:lnTo>
                    <a:pt x="42" y="17"/>
                  </a:lnTo>
                  <a:lnTo>
                    <a:pt x="40" y="17"/>
                  </a:lnTo>
                  <a:lnTo>
                    <a:pt x="40" y="15"/>
                  </a:lnTo>
                  <a:lnTo>
                    <a:pt x="39" y="15"/>
                  </a:lnTo>
                  <a:lnTo>
                    <a:pt x="40" y="15"/>
                  </a:lnTo>
                  <a:lnTo>
                    <a:pt x="42" y="15"/>
                  </a:lnTo>
                  <a:close/>
                  <a:moveTo>
                    <a:pt x="38" y="14"/>
                  </a:moveTo>
                  <a:lnTo>
                    <a:pt x="39" y="14"/>
                  </a:lnTo>
                  <a:lnTo>
                    <a:pt x="39" y="15"/>
                  </a:lnTo>
                  <a:lnTo>
                    <a:pt x="38" y="15"/>
                  </a:lnTo>
                  <a:lnTo>
                    <a:pt x="38" y="14"/>
                  </a:lnTo>
                  <a:lnTo>
                    <a:pt x="37" y="14"/>
                  </a:lnTo>
                  <a:lnTo>
                    <a:pt x="38" y="14"/>
                  </a:lnTo>
                  <a:close/>
                  <a:moveTo>
                    <a:pt x="26" y="13"/>
                  </a:moveTo>
                  <a:lnTo>
                    <a:pt x="28" y="13"/>
                  </a:lnTo>
                  <a:lnTo>
                    <a:pt x="29" y="13"/>
                  </a:lnTo>
                  <a:lnTo>
                    <a:pt x="28" y="13"/>
                  </a:lnTo>
                  <a:lnTo>
                    <a:pt x="26" y="13"/>
                  </a:lnTo>
                  <a:close/>
                  <a:moveTo>
                    <a:pt x="38" y="13"/>
                  </a:moveTo>
                  <a:lnTo>
                    <a:pt x="37" y="13"/>
                  </a:lnTo>
                  <a:lnTo>
                    <a:pt x="37" y="14"/>
                  </a:lnTo>
                  <a:lnTo>
                    <a:pt x="37" y="13"/>
                  </a:lnTo>
                  <a:lnTo>
                    <a:pt x="38" y="13"/>
                  </a:lnTo>
                  <a:close/>
                  <a:moveTo>
                    <a:pt x="31" y="14"/>
                  </a:moveTo>
                  <a:lnTo>
                    <a:pt x="30" y="14"/>
                  </a:lnTo>
                  <a:lnTo>
                    <a:pt x="29" y="13"/>
                  </a:lnTo>
                  <a:lnTo>
                    <a:pt x="30" y="13"/>
                  </a:lnTo>
                  <a:lnTo>
                    <a:pt x="31" y="13"/>
                  </a:lnTo>
                  <a:lnTo>
                    <a:pt x="31" y="14"/>
                  </a:lnTo>
                  <a:close/>
                  <a:moveTo>
                    <a:pt x="0" y="12"/>
                  </a:moveTo>
                  <a:lnTo>
                    <a:pt x="1" y="12"/>
                  </a:lnTo>
                  <a:lnTo>
                    <a:pt x="1" y="13"/>
                  </a:lnTo>
                  <a:lnTo>
                    <a:pt x="0" y="13"/>
                  </a:lnTo>
                  <a:lnTo>
                    <a:pt x="0" y="12"/>
                  </a:lnTo>
                  <a:close/>
                  <a:moveTo>
                    <a:pt x="4" y="7"/>
                  </a:moveTo>
                  <a:lnTo>
                    <a:pt x="4" y="8"/>
                  </a:lnTo>
                  <a:lnTo>
                    <a:pt x="3" y="8"/>
                  </a:lnTo>
                  <a:lnTo>
                    <a:pt x="2" y="8"/>
                  </a:lnTo>
                  <a:lnTo>
                    <a:pt x="2" y="7"/>
                  </a:lnTo>
                  <a:lnTo>
                    <a:pt x="2" y="6"/>
                  </a:lnTo>
                  <a:lnTo>
                    <a:pt x="3" y="6"/>
                  </a:lnTo>
                  <a:lnTo>
                    <a:pt x="4" y="7"/>
                  </a:lnTo>
                  <a:close/>
                  <a:moveTo>
                    <a:pt x="8" y="5"/>
                  </a:moveTo>
                  <a:lnTo>
                    <a:pt x="9" y="5"/>
                  </a:lnTo>
                  <a:lnTo>
                    <a:pt x="9" y="6"/>
                  </a:lnTo>
                  <a:lnTo>
                    <a:pt x="8" y="5"/>
                  </a:lnTo>
                  <a:lnTo>
                    <a:pt x="8" y="6"/>
                  </a:lnTo>
                  <a:lnTo>
                    <a:pt x="7" y="6"/>
                  </a:lnTo>
                  <a:lnTo>
                    <a:pt x="8" y="6"/>
                  </a:lnTo>
                  <a:lnTo>
                    <a:pt x="8" y="5"/>
                  </a:lnTo>
                  <a:lnTo>
                    <a:pt x="8" y="4"/>
                  </a:lnTo>
                  <a:lnTo>
                    <a:pt x="8" y="5"/>
                  </a:lnTo>
                  <a:close/>
                  <a:moveTo>
                    <a:pt x="15" y="1"/>
                  </a:moveTo>
                  <a:lnTo>
                    <a:pt x="16" y="1"/>
                  </a:lnTo>
                  <a:lnTo>
                    <a:pt x="17" y="3"/>
                  </a:lnTo>
                  <a:lnTo>
                    <a:pt x="18" y="3"/>
                  </a:lnTo>
                  <a:lnTo>
                    <a:pt x="19" y="4"/>
                  </a:lnTo>
                  <a:lnTo>
                    <a:pt x="21" y="4"/>
                  </a:lnTo>
                  <a:lnTo>
                    <a:pt x="21" y="5"/>
                  </a:lnTo>
                  <a:lnTo>
                    <a:pt x="22" y="5"/>
                  </a:lnTo>
                  <a:lnTo>
                    <a:pt x="22" y="6"/>
                  </a:lnTo>
                  <a:lnTo>
                    <a:pt x="22" y="7"/>
                  </a:lnTo>
                  <a:lnTo>
                    <a:pt x="22" y="8"/>
                  </a:lnTo>
                  <a:lnTo>
                    <a:pt x="23" y="8"/>
                  </a:lnTo>
                  <a:lnTo>
                    <a:pt x="23" y="10"/>
                  </a:lnTo>
                  <a:lnTo>
                    <a:pt x="24" y="10"/>
                  </a:lnTo>
                  <a:lnTo>
                    <a:pt x="24" y="11"/>
                  </a:lnTo>
                  <a:lnTo>
                    <a:pt x="25" y="11"/>
                  </a:lnTo>
                  <a:lnTo>
                    <a:pt x="25" y="12"/>
                  </a:lnTo>
                  <a:lnTo>
                    <a:pt x="25" y="11"/>
                  </a:lnTo>
                  <a:lnTo>
                    <a:pt x="25" y="12"/>
                  </a:lnTo>
                  <a:lnTo>
                    <a:pt x="26" y="12"/>
                  </a:lnTo>
                  <a:lnTo>
                    <a:pt x="26" y="11"/>
                  </a:lnTo>
                  <a:lnTo>
                    <a:pt x="28" y="11"/>
                  </a:lnTo>
                  <a:lnTo>
                    <a:pt x="28" y="12"/>
                  </a:lnTo>
                  <a:lnTo>
                    <a:pt x="26" y="12"/>
                  </a:lnTo>
                  <a:lnTo>
                    <a:pt x="26" y="13"/>
                  </a:lnTo>
                  <a:lnTo>
                    <a:pt x="25" y="13"/>
                  </a:lnTo>
                  <a:lnTo>
                    <a:pt x="24" y="13"/>
                  </a:lnTo>
                  <a:lnTo>
                    <a:pt x="24" y="12"/>
                  </a:lnTo>
                  <a:lnTo>
                    <a:pt x="23" y="12"/>
                  </a:lnTo>
                  <a:lnTo>
                    <a:pt x="22" y="12"/>
                  </a:lnTo>
                  <a:lnTo>
                    <a:pt x="22" y="11"/>
                  </a:lnTo>
                  <a:lnTo>
                    <a:pt x="21" y="11"/>
                  </a:lnTo>
                  <a:lnTo>
                    <a:pt x="19" y="10"/>
                  </a:lnTo>
                  <a:lnTo>
                    <a:pt x="18" y="8"/>
                  </a:lnTo>
                  <a:lnTo>
                    <a:pt x="18" y="7"/>
                  </a:lnTo>
                  <a:lnTo>
                    <a:pt x="17" y="7"/>
                  </a:lnTo>
                  <a:lnTo>
                    <a:pt x="17" y="6"/>
                  </a:lnTo>
                  <a:lnTo>
                    <a:pt x="16" y="5"/>
                  </a:lnTo>
                  <a:lnTo>
                    <a:pt x="15" y="4"/>
                  </a:lnTo>
                  <a:lnTo>
                    <a:pt x="14" y="3"/>
                  </a:lnTo>
                  <a:lnTo>
                    <a:pt x="14" y="1"/>
                  </a:lnTo>
                  <a:lnTo>
                    <a:pt x="14" y="0"/>
                  </a:lnTo>
                  <a:lnTo>
                    <a:pt x="15" y="0"/>
                  </a:lnTo>
                  <a:lnTo>
                    <a:pt x="15"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39" name="Freeform 998">
              <a:extLst>
                <a:ext uri="{FF2B5EF4-FFF2-40B4-BE49-F238E27FC236}">
                  <a16:creationId xmlns:a16="http://schemas.microsoft.com/office/drawing/2014/main" id="{89EAF335-2360-4D4F-9237-7E4DF7070387}"/>
                </a:ext>
              </a:extLst>
            </p:cNvPr>
            <p:cNvSpPr>
              <a:spLocks noEditPoints="1"/>
            </p:cNvSpPr>
            <p:nvPr/>
          </p:nvSpPr>
          <p:spPr bwMode="auto">
            <a:xfrm>
              <a:off x="5559363" y="3137521"/>
              <a:ext cx="56091" cy="64103"/>
            </a:xfrm>
            <a:custGeom>
              <a:avLst/>
              <a:gdLst>
                <a:gd name="T0" fmla="*/ 11 w 42"/>
                <a:gd name="T1" fmla="*/ 39 h 48"/>
                <a:gd name="T2" fmla="*/ 11 w 42"/>
                <a:gd name="T3" fmla="*/ 39 h 48"/>
                <a:gd name="T4" fmla="*/ 6 w 42"/>
                <a:gd name="T5" fmla="*/ 38 h 48"/>
                <a:gd name="T6" fmla="*/ 9 w 42"/>
                <a:gd name="T7" fmla="*/ 37 h 48"/>
                <a:gd name="T8" fmla="*/ 32 w 42"/>
                <a:gd name="T9" fmla="*/ 3 h 48"/>
                <a:gd name="T10" fmla="*/ 34 w 42"/>
                <a:gd name="T11" fmla="*/ 7 h 48"/>
                <a:gd name="T12" fmla="*/ 36 w 42"/>
                <a:gd name="T13" fmla="*/ 9 h 48"/>
                <a:gd name="T14" fmla="*/ 35 w 42"/>
                <a:gd name="T15" fmla="*/ 14 h 48"/>
                <a:gd name="T16" fmla="*/ 38 w 42"/>
                <a:gd name="T17" fmla="*/ 16 h 48"/>
                <a:gd name="T18" fmla="*/ 40 w 42"/>
                <a:gd name="T19" fmla="*/ 21 h 48"/>
                <a:gd name="T20" fmla="*/ 36 w 42"/>
                <a:gd name="T21" fmla="*/ 24 h 48"/>
                <a:gd name="T22" fmla="*/ 38 w 42"/>
                <a:gd name="T23" fmla="*/ 25 h 48"/>
                <a:gd name="T24" fmla="*/ 40 w 42"/>
                <a:gd name="T25" fmla="*/ 24 h 48"/>
                <a:gd name="T26" fmla="*/ 42 w 42"/>
                <a:gd name="T27" fmla="*/ 24 h 48"/>
                <a:gd name="T28" fmla="*/ 42 w 42"/>
                <a:gd name="T29" fmla="*/ 28 h 48"/>
                <a:gd name="T30" fmla="*/ 39 w 42"/>
                <a:gd name="T31" fmla="*/ 29 h 48"/>
                <a:gd name="T32" fmla="*/ 38 w 42"/>
                <a:gd name="T33" fmla="*/ 35 h 48"/>
                <a:gd name="T34" fmla="*/ 33 w 42"/>
                <a:gd name="T35" fmla="*/ 38 h 48"/>
                <a:gd name="T36" fmla="*/ 29 w 42"/>
                <a:gd name="T37" fmla="*/ 43 h 48"/>
                <a:gd name="T38" fmla="*/ 27 w 42"/>
                <a:gd name="T39" fmla="*/ 46 h 48"/>
                <a:gd name="T40" fmla="*/ 24 w 42"/>
                <a:gd name="T41" fmla="*/ 48 h 48"/>
                <a:gd name="T42" fmla="*/ 23 w 42"/>
                <a:gd name="T43" fmla="*/ 45 h 48"/>
                <a:gd name="T44" fmla="*/ 11 w 42"/>
                <a:gd name="T45" fmla="*/ 41 h 48"/>
                <a:gd name="T46" fmla="*/ 12 w 42"/>
                <a:gd name="T47" fmla="*/ 39 h 48"/>
                <a:gd name="T48" fmla="*/ 12 w 42"/>
                <a:gd name="T49" fmla="*/ 39 h 48"/>
                <a:gd name="T50" fmla="*/ 16 w 42"/>
                <a:gd name="T51" fmla="*/ 38 h 48"/>
                <a:gd name="T52" fmla="*/ 13 w 42"/>
                <a:gd name="T53" fmla="*/ 38 h 48"/>
                <a:gd name="T54" fmla="*/ 12 w 42"/>
                <a:gd name="T55" fmla="*/ 37 h 48"/>
                <a:gd name="T56" fmla="*/ 12 w 42"/>
                <a:gd name="T57" fmla="*/ 35 h 48"/>
                <a:gd name="T58" fmla="*/ 10 w 42"/>
                <a:gd name="T59" fmla="*/ 36 h 48"/>
                <a:gd name="T60" fmla="*/ 6 w 42"/>
                <a:gd name="T61" fmla="*/ 35 h 48"/>
                <a:gd name="T62" fmla="*/ 6 w 42"/>
                <a:gd name="T63" fmla="*/ 32 h 48"/>
                <a:gd name="T64" fmla="*/ 6 w 42"/>
                <a:gd name="T65" fmla="*/ 30 h 48"/>
                <a:gd name="T66" fmla="*/ 5 w 42"/>
                <a:gd name="T67" fmla="*/ 27 h 48"/>
                <a:gd name="T68" fmla="*/ 2 w 42"/>
                <a:gd name="T69" fmla="*/ 27 h 48"/>
                <a:gd name="T70" fmla="*/ 0 w 42"/>
                <a:gd name="T71" fmla="*/ 24 h 48"/>
                <a:gd name="T72" fmla="*/ 3 w 42"/>
                <a:gd name="T73" fmla="*/ 25 h 48"/>
                <a:gd name="T74" fmla="*/ 3 w 42"/>
                <a:gd name="T75" fmla="*/ 23 h 48"/>
                <a:gd name="T76" fmla="*/ 6 w 42"/>
                <a:gd name="T77" fmla="*/ 22 h 48"/>
                <a:gd name="T78" fmla="*/ 5 w 42"/>
                <a:gd name="T79" fmla="*/ 22 h 48"/>
                <a:gd name="T80" fmla="*/ 4 w 42"/>
                <a:gd name="T81" fmla="*/ 21 h 48"/>
                <a:gd name="T82" fmla="*/ 2 w 42"/>
                <a:gd name="T83" fmla="*/ 22 h 48"/>
                <a:gd name="T84" fmla="*/ 2 w 42"/>
                <a:gd name="T85" fmla="*/ 17 h 48"/>
                <a:gd name="T86" fmla="*/ 4 w 42"/>
                <a:gd name="T87" fmla="*/ 17 h 48"/>
                <a:gd name="T88" fmla="*/ 3 w 42"/>
                <a:gd name="T89" fmla="*/ 16 h 48"/>
                <a:gd name="T90" fmla="*/ 0 w 42"/>
                <a:gd name="T91" fmla="*/ 14 h 48"/>
                <a:gd name="T92" fmla="*/ 5 w 42"/>
                <a:gd name="T93" fmla="*/ 13 h 48"/>
                <a:gd name="T94" fmla="*/ 6 w 42"/>
                <a:gd name="T95" fmla="*/ 10 h 48"/>
                <a:gd name="T96" fmla="*/ 10 w 42"/>
                <a:gd name="T97" fmla="*/ 7 h 48"/>
                <a:gd name="T98" fmla="*/ 11 w 42"/>
                <a:gd name="T99" fmla="*/ 3 h 48"/>
                <a:gd name="T100" fmla="*/ 13 w 42"/>
                <a:gd name="T101" fmla="*/ 1 h 48"/>
                <a:gd name="T102" fmla="*/ 20 w 42"/>
                <a:gd name="T103" fmla="*/ 1 h 48"/>
                <a:gd name="T104" fmla="*/ 29 w 42"/>
                <a:gd name="T10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 h="48">
                  <a:moveTo>
                    <a:pt x="10" y="37"/>
                  </a:moveTo>
                  <a:lnTo>
                    <a:pt x="11" y="37"/>
                  </a:lnTo>
                  <a:lnTo>
                    <a:pt x="11" y="38"/>
                  </a:lnTo>
                  <a:lnTo>
                    <a:pt x="11" y="39"/>
                  </a:lnTo>
                  <a:lnTo>
                    <a:pt x="11" y="41"/>
                  </a:lnTo>
                  <a:lnTo>
                    <a:pt x="10" y="41"/>
                  </a:lnTo>
                  <a:lnTo>
                    <a:pt x="11" y="41"/>
                  </a:lnTo>
                  <a:lnTo>
                    <a:pt x="11" y="39"/>
                  </a:lnTo>
                  <a:lnTo>
                    <a:pt x="10" y="39"/>
                  </a:lnTo>
                  <a:lnTo>
                    <a:pt x="9" y="38"/>
                  </a:lnTo>
                  <a:lnTo>
                    <a:pt x="7" y="38"/>
                  </a:lnTo>
                  <a:lnTo>
                    <a:pt x="6" y="38"/>
                  </a:lnTo>
                  <a:lnTo>
                    <a:pt x="5" y="38"/>
                  </a:lnTo>
                  <a:lnTo>
                    <a:pt x="5" y="37"/>
                  </a:lnTo>
                  <a:lnTo>
                    <a:pt x="6" y="37"/>
                  </a:lnTo>
                  <a:lnTo>
                    <a:pt x="9" y="37"/>
                  </a:lnTo>
                  <a:lnTo>
                    <a:pt x="10" y="37"/>
                  </a:lnTo>
                  <a:close/>
                  <a:moveTo>
                    <a:pt x="31" y="1"/>
                  </a:moveTo>
                  <a:lnTo>
                    <a:pt x="32" y="2"/>
                  </a:lnTo>
                  <a:lnTo>
                    <a:pt x="32" y="3"/>
                  </a:lnTo>
                  <a:lnTo>
                    <a:pt x="33" y="4"/>
                  </a:lnTo>
                  <a:lnTo>
                    <a:pt x="33" y="6"/>
                  </a:lnTo>
                  <a:lnTo>
                    <a:pt x="34" y="6"/>
                  </a:lnTo>
                  <a:lnTo>
                    <a:pt x="34" y="7"/>
                  </a:lnTo>
                  <a:lnTo>
                    <a:pt x="34" y="8"/>
                  </a:lnTo>
                  <a:lnTo>
                    <a:pt x="35" y="8"/>
                  </a:lnTo>
                  <a:lnTo>
                    <a:pt x="35" y="9"/>
                  </a:lnTo>
                  <a:lnTo>
                    <a:pt x="36" y="9"/>
                  </a:lnTo>
                  <a:lnTo>
                    <a:pt x="36" y="10"/>
                  </a:lnTo>
                  <a:lnTo>
                    <a:pt x="36" y="11"/>
                  </a:lnTo>
                  <a:lnTo>
                    <a:pt x="36" y="13"/>
                  </a:lnTo>
                  <a:lnTo>
                    <a:pt x="35" y="14"/>
                  </a:lnTo>
                  <a:lnTo>
                    <a:pt x="36" y="14"/>
                  </a:lnTo>
                  <a:lnTo>
                    <a:pt x="38" y="14"/>
                  </a:lnTo>
                  <a:lnTo>
                    <a:pt x="38" y="15"/>
                  </a:lnTo>
                  <a:lnTo>
                    <a:pt x="38" y="16"/>
                  </a:lnTo>
                  <a:lnTo>
                    <a:pt x="38" y="17"/>
                  </a:lnTo>
                  <a:lnTo>
                    <a:pt x="38" y="18"/>
                  </a:lnTo>
                  <a:lnTo>
                    <a:pt x="39" y="20"/>
                  </a:lnTo>
                  <a:lnTo>
                    <a:pt x="40" y="21"/>
                  </a:lnTo>
                  <a:lnTo>
                    <a:pt x="39" y="21"/>
                  </a:lnTo>
                  <a:lnTo>
                    <a:pt x="38" y="22"/>
                  </a:lnTo>
                  <a:lnTo>
                    <a:pt x="38" y="23"/>
                  </a:lnTo>
                  <a:lnTo>
                    <a:pt x="36" y="24"/>
                  </a:lnTo>
                  <a:lnTo>
                    <a:pt x="36" y="25"/>
                  </a:lnTo>
                  <a:lnTo>
                    <a:pt x="36" y="27"/>
                  </a:lnTo>
                  <a:lnTo>
                    <a:pt x="36" y="25"/>
                  </a:lnTo>
                  <a:lnTo>
                    <a:pt x="38" y="25"/>
                  </a:lnTo>
                  <a:lnTo>
                    <a:pt x="38" y="27"/>
                  </a:lnTo>
                  <a:lnTo>
                    <a:pt x="39" y="27"/>
                  </a:lnTo>
                  <a:lnTo>
                    <a:pt x="39" y="25"/>
                  </a:lnTo>
                  <a:lnTo>
                    <a:pt x="40" y="24"/>
                  </a:lnTo>
                  <a:lnTo>
                    <a:pt x="40" y="23"/>
                  </a:lnTo>
                  <a:lnTo>
                    <a:pt x="41" y="23"/>
                  </a:lnTo>
                  <a:lnTo>
                    <a:pt x="42" y="23"/>
                  </a:lnTo>
                  <a:lnTo>
                    <a:pt x="42" y="24"/>
                  </a:lnTo>
                  <a:lnTo>
                    <a:pt x="42" y="27"/>
                  </a:lnTo>
                  <a:lnTo>
                    <a:pt x="41" y="27"/>
                  </a:lnTo>
                  <a:lnTo>
                    <a:pt x="41" y="28"/>
                  </a:lnTo>
                  <a:lnTo>
                    <a:pt x="42" y="28"/>
                  </a:lnTo>
                  <a:lnTo>
                    <a:pt x="41" y="28"/>
                  </a:lnTo>
                  <a:lnTo>
                    <a:pt x="41" y="29"/>
                  </a:lnTo>
                  <a:lnTo>
                    <a:pt x="40" y="29"/>
                  </a:lnTo>
                  <a:lnTo>
                    <a:pt x="39" y="29"/>
                  </a:lnTo>
                  <a:lnTo>
                    <a:pt x="39" y="30"/>
                  </a:lnTo>
                  <a:lnTo>
                    <a:pt x="38" y="30"/>
                  </a:lnTo>
                  <a:lnTo>
                    <a:pt x="38" y="31"/>
                  </a:lnTo>
                  <a:lnTo>
                    <a:pt x="38" y="35"/>
                  </a:lnTo>
                  <a:lnTo>
                    <a:pt x="36" y="35"/>
                  </a:lnTo>
                  <a:lnTo>
                    <a:pt x="36" y="36"/>
                  </a:lnTo>
                  <a:lnTo>
                    <a:pt x="34" y="38"/>
                  </a:lnTo>
                  <a:lnTo>
                    <a:pt x="33" y="38"/>
                  </a:lnTo>
                  <a:lnTo>
                    <a:pt x="33" y="39"/>
                  </a:lnTo>
                  <a:lnTo>
                    <a:pt x="31" y="41"/>
                  </a:lnTo>
                  <a:lnTo>
                    <a:pt x="31" y="42"/>
                  </a:lnTo>
                  <a:lnTo>
                    <a:pt x="29" y="43"/>
                  </a:lnTo>
                  <a:lnTo>
                    <a:pt x="28" y="43"/>
                  </a:lnTo>
                  <a:lnTo>
                    <a:pt x="27" y="44"/>
                  </a:lnTo>
                  <a:lnTo>
                    <a:pt x="27" y="45"/>
                  </a:lnTo>
                  <a:lnTo>
                    <a:pt x="27" y="46"/>
                  </a:lnTo>
                  <a:lnTo>
                    <a:pt x="26" y="46"/>
                  </a:lnTo>
                  <a:lnTo>
                    <a:pt x="26" y="48"/>
                  </a:lnTo>
                  <a:lnTo>
                    <a:pt x="25" y="48"/>
                  </a:lnTo>
                  <a:lnTo>
                    <a:pt x="24" y="48"/>
                  </a:lnTo>
                  <a:lnTo>
                    <a:pt x="24" y="46"/>
                  </a:lnTo>
                  <a:lnTo>
                    <a:pt x="24" y="48"/>
                  </a:lnTo>
                  <a:lnTo>
                    <a:pt x="24" y="46"/>
                  </a:lnTo>
                  <a:lnTo>
                    <a:pt x="23" y="45"/>
                  </a:lnTo>
                  <a:lnTo>
                    <a:pt x="20" y="44"/>
                  </a:lnTo>
                  <a:lnTo>
                    <a:pt x="17" y="43"/>
                  </a:lnTo>
                  <a:lnTo>
                    <a:pt x="14" y="42"/>
                  </a:lnTo>
                  <a:lnTo>
                    <a:pt x="11" y="41"/>
                  </a:lnTo>
                  <a:lnTo>
                    <a:pt x="12" y="41"/>
                  </a:lnTo>
                  <a:lnTo>
                    <a:pt x="13" y="41"/>
                  </a:lnTo>
                  <a:lnTo>
                    <a:pt x="12" y="41"/>
                  </a:lnTo>
                  <a:lnTo>
                    <a:pt x="12" y="39"/>
                  </a:lnTo>
                  <a:lnTo>
                    <a:pt x="12" y="41"/>
                  </a:lnTo>
                  <a:lnTo>
                    <a:pt x="12" y="39"/>
                  </a:lnTo>
                  <a:lnTo>
                    <a:pt x="11" y="39"/>
                  </a:lnTo>
                  <a:lnTo>
                    <a:pt x="12" y="39"/>
                  </a:lnTo>
                  <a:lnTo>
                    <a:pt x="12" y="38"/>
                  </a:lnTo>
                  <a:lnTo>
                    <a:pt x="13" y="38"/>
                  </a:lnTo>
                  <a:lnTo>
                    <a:pt x="14" y="38"/>
                  </a:lnTo>
                  <a:lnTo>
                    <a:pt x="16" y="38"/>
                  </a:lnTo>
                  <a:lnTo>
                    <a:pt x="16" y="37"/>
                  </a:lnTo>
                  <a:lnTo>
                    <a:pt x="14" y="37"/>
                  </a:lnTo>
                  <a:lnTo>
                    <a:pt x="14" y="38"/>
                  </a:lnTo>
                  <a:lnTo>
                    <a:pt x="13" y="38"/>
                  </a:lnTo>
                  <a:lnTo>
                    <a:pt x="12" y="38"/>
                  </a:lnTo>
                  <a:lnTo>
                    <a:pt x="12" y="37"/>
                  </a:lnTo>
                  <a:lnTo>
                    <a:pt x="11" y="37"/>
                  </a:lnTo>
                  <a:lnTo>
                    <a:pt x="12" y="37"/>
                  </a:lnTo>
                  <a:lnTo>
                    <a:pt x="11" y="37"/>
                  </a:lnTo>
                  <a:lnTo>
                    <a:pt x="11" y="36"/>
                  </a:lnTo>
                  <a:lnTo>
                    <a:pt x="11" y="35"/>
                  </a:lnTo>
                  <a:lnTo>
                    <a:pt x="12" y="35"/>
                  </a:lnTo>
                  <a:lnTo>
                    <a:pt x="12" y="36"/>
                  </a:lnTo>
                  <a:lnTo>
                    <a:pt x="12" y="35"/>
                  </a:lnTo>
                  <a:lnTo>
                    <a:pt x="11" y="36"/>
                  </a:lnTo>
                  <a:lnTo>
                    <a:pt x="10" y="36"/>
                  </a:lnTo>
                  <a:lnTo>
                    <a:pt x="9" y="36"/>
                  </a:lnTo>
                  <a:lnTo>
                    <a:pt x="7" y="35"/>
                  </a:lnTo>
                  <a:lnTo>
                    <a:pt x="7" y="34"/>
                  </a:lnTo>
                  <a:lnTo>
                    <a:pt x="6" y="35"/>
                  </a:lnTo>
                  <a:lnTo>
                    <a:pt x="6" y="34"/>
                  </a:lnTo>
                  <a:lnTo>
                    <a:pt x="5" y="34"/>
                  </a:lnTo>
                  <a:lnTo>
                    <a:pt x="5" y="32"/>
                  </a:lnTo>
                  <a:lnTo>
                    <a:pt x="6" y="32"/>
                  </a:lnTo>
                  <a:lnTo>
                    <a:pt x="7" y="32"/>
                  </a:lnTo>
                  <a:lnTo>
                    <a:pt x="6" y="32"/>
                  </a:lnTo>
                  <a:lnTo>
                    <a:pt x="6" y="31"/>
                  </a:lnTo>
                  <a:lnTo>
                    <a:pt x="6" y="30"/>
                  </a:lnTo>
                  <a:lnTo>
                    <a:pt x="6" y="29"/>
                  </a:lnTo>
                  <a:lnTo>
                    <a:pt x="5" y="29"/>
                  </a:lnTo>
                  <a:lnTo>
                    <a:pt x="5" y="28"/>
                  </a:lnTo>
                  <a:lnTo>
                    <a:pt x="5" y="27"/>
                  </a:lnTo>
                  <a:lnTo>
                    <a:pt x="5" y="28"/>
                  </a:lnTo>
                  <a:lnTo>
                    <a:pt x="4" y="28"/>
                  </a:lnTo>
                  <a:lnTo>
                    <a:pt x="3" y="28"/>
                  </a:lnTo>
                  <a:lnTo>
                    <a:pt x="2" y="27"/>
                  </a:lnTo>
                  <a:lnTo>
                    <a:pt x="3" y="27"/>
                  </a:lnTo>
                  <a:lnTo>
                    <a:pt x="2" y="27"/>
                  </a:lnTo>
                  <a:lnTo>
                    <a:pt x="2" y="25"/>
                  </a:lnTo>
                  <a:lnTo>
                    <a:pt x="0" y="24"/>
                  </a:lnTo>
                  <a:lnTo>
                    <a:pt x="0" y="23"/>
                  </a:lnTo>
                  <a:lnTo>
                    <a:pt x="2" y="23"/>
                  </a:lnTo>
                  <a:lnTo>
                    <a:pt x="3" y="24"/>
                  </a:lnTo>
                  <a:lnTo>
                    <a:pt x="3" y="25"/>
                  </a:lnTo>
                  <a:lnTo>
                    <a:pt x="4" y="25"/>
                  </a:lnTo>
                  <a:lnTo>
                    <a:pt x="4" y="24"/>
                  </a:lnTo>
                  <a:lnTo>
                    <a:pt x="3" y="24"/>
                  </a:lnTo>
                  <a:lnTo>
                    <a:pt x="3" y="23"/>
                  </a:lnTo>
                  <a:lnTo>
                    <a:pt x="4" y="23"/>
                  </a:lnTo>
                  <a:lnTo>
                    <a:pt x="4" y="22"/>
                  </a:lnTo>
                  <a:lnTo>
                    <a:pt x="5" y="22"/>
                  </a:lnTo>
                  <a:lnTo>
                    <a:pt x="6" y="22"/>
                  </a:lnTo>
                  <a:lnTo>
                    <a:pt x="5" y="22"/>
                  </a:lnTo>
                  <a:lnTo>
                    <a:pt x="6" y="22"/>
                  </a:lnTo>
                  <a:lnTo>
                    <a:pt x="6" y="21"/>
                  </a:lnTo>
                  <a:lnTo>
                    <a:pt x="5" y="22"/>
                  </a:lnTo>
                  <a:lnTo>
                    <a:pt x="4" y="22"/>
                  </a:lnTo>
                  <a:lnTo>
                    <a:pt x="3" y="22"/>
                  </a:lnTo>
                  <a:lnTo>
                    <a:pt x="4" y="22"/>
                  </a:lnTo>
                  <a:lnTo>
                    <a:pt x="4" y="21"/>
                  </a:lnTo>
                  <a:lnTo>
                    <a:pt x="3" y="21"/>
                  </a:lnTo>
                  <a:lnTo>
                    <a:pt x="3" y="22"/>
                  </a:lnTo>
                  <a:lnTo>
                    <a:pt x="3" y="23"/>
                  </a:lnTo>
                  <a:lnTo>
                    <a:pt x="2" y="22"/>
                  </a:lnTo>
                  <a:lnTo>
                    <a:pt x="2" y="21"/>
                  </a:lnTo>
                  <a:lnTo>
                    <a:pt x="2" y="20"/>
                  </a:lnTo>
                  <a:lnTo>
                    <a:pt x="2" y="18"/>
                  </a:lnTo>
                  <a:lnTo>
                    <a:pt x="2" y="17"/>
                  </a:lnTo>
                  <a:lnTo>
                    <a:pt x="3" y="17"/>
                  </a:lnTo>
                  <a:lnTo>
                    <a:pt x="4" y="17"/>
                  </a:lnTo>
                  <a:lnTo>
                    <a:pt x="5" y="17"/>
                  </a:lnTo>
                  <a:lnTo>
                    <a:pt x="4" y="17"/>
                  </a:lnTo>
                  <a:lnTo>
                    <a:pt x="3" y="17"/>
                  </a:lnTo>
                  <a:lnTo>
                    <a:pt x="3" y="16"/>
                  </a:lnTo>
                  <a:lnTo>
                    <a:pt x="4" y="16"/>
                  </a:lnTo>
                  <a:lnTo>
                    <a:pt x="3" y="16"/>
                  </a:lnTo>
                  <a:lnTo>
                    <a:pt x="2" y="16"/>
                  </a:lnTo>
                  <a:lnTo>
                    <a:pt x="0" y="16"/>
                  </a:lnTo>
                  <a:lnTo>
                    <a:pt x="0" y="15"/>
                  </a:lnTo>
                  <a:lnTo>
                    <a:pt x="0" y="14"/>
                  </a:lnTo>
                  <a:lnTo>
                    <a:pt x="2" y="14"/>
                  </a:lnTo>
                  <a:lnTo>
                    <a:pt x="3" y="15"/>
                  </a:lnTo>
                  <a:lnTo>
                    <a:pt x="4" y="14"/>
                  </a:lnTo>
                  <a:lnTo>
                    <a:pt x="5" y="13"/>
                  </a:lnTo>
                  <a:lnTo>
                    <a:pt x="5" y="11"/>
                  </a:lnTo>
                  <a:lnTo>
                    <a:pt x="5" y="10"/>
                  </a:lnTo>
                  <a:lnTo>
                    <a:pt x="6" y="11"/>
                  </a:lnTo>
                  <a:lnTo>
                    <a:pt x="6" y="10"/>
                  </a:lnTo>
                  <a:lnTo>
                    <a:pt x="7" y="10"/>
                  </a:lnTo>
                  <a:lnTo>
                    <a:pt x="7" y="9"/>
                  </a:lnTo>
                  <a:lnTo>
                    <a:pt x="9" y="9"/>
                  </a:lnTo>
                  <a:lnTo>
                    <a:pt x="10" y="7"/>
                  </a:lnTo>
                  <a:lnTo>
                    <a:pt x="10" y="6"/>
                  </a:lnTo>
                  <a:lnTo>
                    <a:pt x="10" y="4"/>
                  </a:lnTo>
                  <a:lnTo>
                    <a:pt x="11" y="4"/>
                  </a:lnTo>
                  <a:lnTo>
                    <a:pt x="11" y="3"/>
                  </a:lnTo>
                  <a:lnTo>
                    <a:pt x="11" y="2"/>
                  </a:lnTo>
                  <a:lnTo>
                    <a:pt x="12" y="2"/>
                  </a:lnTo>
                  <a:lnTo>
                    <a:pt x="12" y="1"/>
                  </a:lnTo>
                  <a:lnTo>
                    <a:pt x="13" y="1"/>
                  </a:lnTo>
                  <a:lnTo>
                    <a:pt x="14" y="1"/>
                  </a:lnTo>
                  <a:lnTo>
                    <a:pt x="16" y="1"/>
                  </a:lnTo>
                  <a:lnTo>
                    <a:pt x="17" y="1"/>
                  </a:lnTo>
                  <a:lnTo>
                    <a:pt x="20" y="1"/>
                  </a:lnTo>
                  <a:lnTo>
                    <a:pt x="20" y="0"/>
                  </a:lnTo>
                  <a:lnTo>
                    <a:pt x="26" y="0"/>
                  </a:lnTo>
                  <a:lnTo>
                    <a:pt x="28" y="0"/>
                  </a:lnTo>
                  <a:lnTo>
                    <a:pt x="29" y="0"/>
                  </a:lnTo>
                  <a:lnTo>
                    <a:pt x="3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40" name="Freeform 999">
              <a:extLst>
                <a:ext uri="{FF2B5EF4-FFF2-40B4-BE49-F238E27FC236}">
                  <a16:creationId xmlns:a16="http://schemas.microsoft.com/office/drawing/2014/main" id="{154E87DC-6C37-4B57-B321-B6E74093260B}"/>
                </a:ext>
              </a:extLst>
            </p:cNvPr>
            <p:cNvSpPr>
              <a:spLocks noEditPoints="1"/>
            </p:cNvSpPr>
            <p:nvPr/>
          </p:nvSpPr>
          <p:spPr bwMode="auto">
            <a:xfrm>
              <a:off x="4142409" y="3042701"/>
              <a:ext cx="45407" cy="28046"/>
            </a:xfrm>
            <a:custGeom>
              <a:avLst/>
              <a:gdLst>
                <a:gd name="T0" fmla="*/ 33 w 34"/>
                <a:gd name="T1" fmla="*/ 21 h 21"/>
                <a:gd name="T2" fmla="*/ 33 w 34"/>
                <a:gd name="T3" fmla="*/ 19 h 21"/>
                <a:gd name="T4" fmla="*/ 32 w 34"/>
                <a:gd name="T5" fmla="*/ 19 h 21"/>
                <a:gd name="T6" fmla="*/ 11 w 34"/>
                <a:gd name="T7" fmla="*/ 1 h 21"/>
                <a:gd name="T8" fmla="*/ 13 w 34"/>
                <a:gd name="T9" fmla="*/ 1 h 21"/>
                <a:gd name="T10" fmla="*/ 15 w 34"/>
                <a:gd name="T11" fmla="*/ 1 h 21"/>
                <a:gd name="T12" fmla="*/ 15 w 34"/>
                <a:gd name="T13" fmla="*/ 1 h 21"/>
                <a:gd name="T14" fmla="*/ 16 w 34"/>
                <a:gd name="T15" fmla="*/ 2 h 21"/>
                <a:gd name="T16" fmla="*/ 16 w 34"/>
                <a:gd name="T17" fmla="*/ 3 h 21"/>
                <a:gd name="T18" fmla="*/ 16 w 34"/>
                <a:gd name="T19" fmla="*/ 4 h 21"/>
                <a:gd name="T20" fmla="*/ 18 w 34"/>
                <a:gd name="T21" fmla="*/ 5 h 21"/>
                <a:gd name="T22" fmla="*/ 20 w 34"/>
                <a:gd name="T23" fmla="*/ 5 h 21"/>
                <a:gd name="T24" fmla="*/ 20 w 34"/>
                <a:gd name="T25" fmla="*/ 7 h 21"/>
                <a:gd name="T26" fmla="*/ 20 w 34"/>
                <a:gd name="T27" fmla="*/ 7 h 21"/>
                <a:gd name="T28" fmla="*/ 22 w 34"/>
                <a:gd name="T29" fmla="*/ 8 h 21"/>
                <a:gd name="T30" fmla="*/ 22 w 34"/>
                <a:gd name="T31" fmla="*/ 8 h 21"/>
                <a:gd name="T32" fmla="*/ 22 w 34"/>
                <a:gd name="T33" fmla="*/ 9 h 21"/>
                <a:gd name="T34" fmla="*/ 23 w 34"/>
                <a:gd name="T35" fmla="*/ 9 h 21"/>
                <a:gd name="T36" fmla="*/ 25 w 34"/>
                <a:gd name="T37" fmla="*/ 9 h 21"/>
                <a:gd name="T38" fmla="*/ 25 w 34"/>
                <a:gd name="T39" fmla="*/ 9 h 21"/>
                <a:gd name="T40" fmla="*/ 26 w 34"/>
                <a:gd name="T41" fmla="*/ 9 h 21"/>
                <a:gd name="T42" fmla="*/ 27 w 34"/>
                <a:gd name="T43" fmla="*/ 8 h 21"/>
                <a:gd name="T44" fmla="*/ 27 w 34"/>
                <a:gd name="T45" fmla="*/ 8 h 21"/>
                <a:gd name="T46" fmla="*/ 28 w 34"/>
                <a:gd name="T47" fmla="*/ 8 h 21"/>
                <a:gd name="T48" fmla="*/ 29 w 34"/>
                <a:gd name="T49" fmla="*/ 9 h 21"/>
                <a:gd name="T50" fmla="*/ 30 w 34"/>
                <a:gd name="T51" fmla="*/ 9 h 21"/>
                <a:gd name="T52" fmla="*/ 32 w 34"/>
                <a:gd name="T53" fmla="*/ 9 h 21"/>
                <a:gd name="T54" fmla="*/ 33 w 34"/>
                <a:gd name="T55" fmla="*/ 9 h 21"/>
                <a:gd name="T56" fmla="*/ 33 w 34"/>
                <a:gd name="T57" fmla="*/ 10 h 21"/>
                <a:gd name="T58" fmla="*/ 33 w 34"/>
                <a:gd name="T59" fmla="*/ 11 h 21"/>
                <a:gd name="T60" fmla="*/ 32 w 34"/>
                <a:gd name="T61" fmla="*/ 14 h 21"/>
                <a:gd name="T62" fmla="*/ 33 w 34"/>
                <a:gd name="T63" fmla="*/ 15 h 21"/>
                <a:gd name="T64" fmla="*/ 32 w 34"/>
                <a:gd name="T65" fmla="*/ 16 h 21"/>
                <a:gd name="T66" fmla="*/ 30 w 34"/>
                <a:gd name="T67" fmla="*/ 17 h 21"/>
                <a:gd name="T68" fmla="*/ 32 w 34"/>
                <a:gd name="T69" fmla="*/ 18 h 21"/>
                <a:gd name="T70" fmla="*/ 30 w 34"/>
                <a:gd name="T71" fmla="*/ 21 h 21"/>
                <a:gd name="T72" fmla="*/ 26 w 34"/>
                <a:gd name="T73" fmla="*/ 21 h 21"/>
                <a:gd name="T74" fmla="*/ 23 w 34"/>
                <a:gd name="T75" fmla="*/ 21 h 21"/>
                <a:gd name="T76" fmla="*/ 23 w 34"/>
                <a:gd name="T77" fmla="*/ 19 h 21"/>
                <a:gd name="T78" fmla="*/ 23 w 34"/>
                <a:gd name="T79" fmla="*/ 19 h 21"/>
                <a:gd name="T80" fmla="*/ 22 w 34"/>
                <a:gd name="T81" fmla="*/ 19 h 21"/>
                <a:gd name="T82" fmla="*/ 22 w 34"/>
                <a:gd name="T83" fmla="*/ 19 h 21"/>
                <a:gd name="T84" fmla="*/ 22 w 34"/>
                <a:gd name="T85" fmla="*/ 19 h 21"/>
                <a:gd name="T86" fmla="*/ 20 w 34"/>
                <a:gd name="T87" fmla="*/ 18 h 21"/>
                <a:gd name="T88" fmla="*/ 19 w 34"/>
                <a:gd name="T89" fmla="*/ 18 h 21"/>
                <a:gd name="T90" fmla="*/ 21 w 34"/>
                <a:gd name="T91" fmla="*/ 18 h 21"/>
                <a:gd name="T92" fmla="*/ 21 w 34"/>
                <a:gd name="T93" fmla="*/ 19 h 21"/>
                <a:gd name="T94" fmla="*/ 22 w 34"/>
                <a:gd name="T95" fmla="*/ 21 h 21"/>
                <a:gd name="T96" fmla="*/ 18 w 34"/>
                <a:gd name="T97" fmla="*/ 18 h 21"/>
                <a:gd name="T98" fmla="*/ 9 w 34"/>
                <a:gd name="T99" fmla="*/ 15 h 21"/>
                <a:gd name="T100" fmla="*/ 4 w 34"/>
                <a:gd name="T101" fmla="*/ 15 h 21"/>
                <a:gd name="T102" fmla="*/ 2 w 34"/>
                <a:gd name="T103" fmla="*/ 12 h 21"/>
                <a:gd name="T104" fmla="*/ 0 w 34"/>
                <a:gd name="T105" fmla="*/ 10 h 21"/>
                <a:gd name="T106" fmla="*/ 1 w 34"/>
                <a:gd name="T107" fmla="*/ 8 h 21"/>
                <a:gd name="T108" fmla="*/ 5 w 34"/>
                <a:gd name="T109" fmla="*/ 7 h 21"/>
                <a:gd name="T110" fmla="*/ 6 w 34"/>
                <a:gd name="T111" fmla="*/ 7 h 21"/>
                <a:gd name="T112" fmla="*/ 6 w 34"/>
                <a:gd name="T113" fmla="*/ 4 h 21"/>
                <a:gd name="T114" fmla="*/ 8 w 34"/>
                <a:gd name="T115" fmla="*/ 3 h 21"/>
                <a:gd name="T116" fmla="*/ 8 w 34"/>
                <a:gd name="T117" fmla="*/ 2 h 21"/>
                <a:gd name="T118" fmla="*/ 8 w 34"/>
                <a:gd name="T119" fmla="*/ 2 h 21"/>
                <a:gd name="T120" fmla="*/ 8 w 34"/>
                <a:gd name="T121" fmla="*/ 1 h 21"/>
                <a:gd name="T122" fmla="*/ 9 w 34"/>
                <a:gd name="T123" fmla="*/ 1 h 21"/>
                <a:gd name="T124" fmla="*/ 11 w 34"/>
                <a:gd name="T125"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 h="21">
                  <a:moveTo>
                    <a:pt x="33" y="21"/>
                  </a:moveTo>
                  <a:lnTo>
                    <a:pt x="33" y="21"/>
                  </a:lnTo>
                  <a:lnTo>
                    <a:pt x="33" y="21"/>
                  </a:lnTo>
                  <a:lnTo>
                    <a:pt x="33" y="21"/>
                  </a:lnTo>
                  <a:lnTo>
                    <a:pt x="33" y="21"/>
                  </a:lnTo>
                  <a:lnTo>
                    <a:pt x="33" y="21"/>
                  </a:lnTo>
                  <a:lnTo>
                    <a:pt x="33" y="19"/>
                  </a:lnTo>
                  <a:lnTo>
                    <a:pt x="33" y="19"/>
                  </a:lnTo>
                  <a:lnTo>
                    <a:pt x="33" y="19"/>
                  </a:lnTo>
                  <a:lnTo>
                    <a:pt x="33" y="19"/>
                  </a:lnTo>
                  <a:lnTo>
                    <a:pt x="33" y="19"/>
                  </a:lnTo>
                  <a:lnTo>
                    <a:pt x="33" y="19"/>
                  </a:lnTo>
                  <a:lnTo>
                    <a:pt x="33" y="21"/>
                  </a:lnTo>
                  <a:close/>
                  <a:moveTo>
                    <a:pt x="32" y="19"/>
                  </a:moveTo>
                  <a:lnTo>
                    <a:pt x="32" y="19"/>
                  </a:lnTo>
                  <a:lnTo>
                    <a:pt x="32" y="19"/>
                  </a:lnTo>
                  <a:lnTo>
                    <a:pt x="32" y="19"/>
                  </a:lnTo>
                  <a:lnTo>
                    <a:pt x="32" y="19"/>
                  </a:lnTo>
                  <a:lnTo>
                    <a:pt x="32" y="19"/>
                  </a:lnTo>
                  <a:lnTo>
                    <a:pt x="32" y="19"/>
                  </a:lnTo>
                  <a:lnTo>
                    <a:pt x="32" y="19"/>
                  </a:lnTo>
                  <a:lnTo>
                    <a:pt x="32" y="19"/>
                  </a:lnTo>
                  <a:close/>
                  <a:moveTo>
                    <a:pt x="11" y="0"/>
                  </a:moveTo>
                  <a:lnTo>
                    <a:pt x="11" y="1"/>
                  </a:lnTo>
                  <a:lnTo>
                    <a:pt x="11" y="1"/>
                  </a:lnTo>
                  <a:lnTo>
                    <a:pt x="11" y="0"/>
                  </a:lnTo>
                  <a:lnTo>
                    <a:pt x="12" y="1"/>
                  </a:lnTo>
                  <a:lnTo>
                    <a:pt x="12" y="1"/>
                  </a:lnTo>
                  <a:lnTo>
                    <a:pt x="12" y="1"/>
                  </a:lnTo>
                  <a:lnTo>
                    <a:pt x="13" y="1"/>
                  </a:lnTo>
                  <a:lnTo>
                    <a:pt x="13" y="1"/>
                  </a:lnTo>
                  <a:lnTo>
                    <a:pt x="14" y="1"/>
                  </a:lnTo>
                  <a:lnTo>
                    <a:pt x="14" y="2"/>
                  </a:lnTo>
                  <a:lnTo>
                    <a:pt x="14" y="2"/>
                  </a:lnTo>
                  <a:lnTo>
                    <a:pt x="14" y="1"/>
                  </a:lnTo>
                  <a:lnTo>
                    <a:pt x="15" y="1"/>
                  </a:lnTo>
                  <a:lnTo>
                    <a:pt x="15" y="1"/>
                  </a:lnTo>
                  <a:lnTo>
                    <a:pt x="15" y="1"/>
                  </a:lnTo>
                  <a:lnTo>
                    <a:pt x="15" y="1"/>
                  </a:lnTo>
                  <a:lnTo>
                    <a:pt x="15" y="1"/>
                  </a:lnTo>
                  <a:lnTo>
                    <a:pt x="15" y="1"/>
                  </a:lnTo>
                  <a:lnTo>
                    <a:pt x="15" y="1"/>
                  </a:lnTo>
                  <a:lnTo>
                    <a:pt x="15" y="2"/>
                  </a:lnTo>
                  <a:lnTo>
                    <a:pt x="15" y="2"/>
                  </a:lnTo>
                  <a:lnTo>
                    <a:pt x="15" y="2"/>
                  </a:lnTo>
                  <a:lnTo>
                    <a:pt x="15" y="2"/>
                  </a:lnTo>
                  <a:lnTo>
                    <a:pt x="15" y="2"/>
                  </a:lnTo>
                  <a:lnTo>
                    <a:pt x="16" y="2"/>
                  </a:lnTo>
                  <a:lnTo>
                    <a:pt x="16" y="3"/>
                  </a:lnTo>
                  <a:lnTo>
                    <a:pt x="16" y="3"/>
                  </a:lnTo>
                  <a:lnTo>
                    <a:pt x="16" y="3"/>
                  </a:lnTo>
                  <a:lnTo>
                    <a:pt x="16" y="3"/>
                  </a:lnTo>
                  <a:lnTo>
                    <a:pt x="16" y="3"/>
                  </a:lnTo>
                  <a:lnTo>
                    <a:pt x="16" y="3"/>
                  </a:lnTo>
                  <a:lnTo>
                    <a:pt x="16" y="4"/>
                  </a:lnTo>
                  <a:lnTo>
                    <a:pt x="16" y="4"/>
                  </a:lnTo>
                  <a:lnTo>
                    <a:pt x="16" y="4"/>
                  </a:lnTo>
                  <a:lnTo>
                    <a:pt x="16" y="4"/>
                  </a:lnTo>
                  <a:lnTo>
                    <a:pt x="16" y="4"/>
                  </a:lnTo>
                  <a:lnTo>
                    <a:pt x="16" y="4"/>
                  </a:lnTo>
                  <a:lnTo>
                    <a:pt x="18" y="4"/>
                  </a:lnTo>
                  <a:lnTo>
                    <a:pt x="18" y="4"/>
                  </a:lnTo>
                  <a:lnTo>
                    <a:pt x="18" y="4"/>
                  </a:lnTo>
                  <a:lnTo>
                    <a:pt x="18" y="4"/>
                  </a:lnTo>
                  <a:lnTo>
                    <a:pt x="18" y="5"/>
                  </a:lnTo>
                  <a:lnTo>
                    <a:pt x="18" y="5"/>
                  </a:lnTo>
                  <a:lnTo>
                    <a:pt x="19" y="5"/>
                  </a:lnTo>
                  <a:lnTo>
                    <a:pt x="19" y="5"/>
                  </a:lnTo>
                  <a:lnTo>
                    <a:pt x="19" y="5"/>
                  </a:lnTo>
                  <a:lnTo>
                    <a:pt x="19" y="5"/>
                  </a:lnTo>
                  <a:lnTo>
                    <a:pt x="20" y="5"/>
                  </a:lnTo>
                  <a:lnTo>
                    <a:pt x="20" y="5"/>
                  </a:lnTo>
                  <a:lnTo>
                    <a:pt x="20" y="5"/>
                  </a:lnTo>
                  <a:lnTo>
                    <a:pt x="20" y="7"/>
                  </a:lnTo>
                  <a:lnTo>
                    <a:pt x="20" y="7"/>
                  </a:lnTo>
                  <a:lnTo>
                    <a:pt x="20" y="7"/>
                  </a:lnTo>
                  <a:lnTo>
                    <a:pt x="20" y="7"/>
                  </a:lnTo>
                  <a:lnTo>
                    <a:pt x="20" y="7"/>
                  </a:lnTo>
                  <a:lnTo>
                    <a:pt x="20" y="7"/>
                  </a:lnTo>
                  <a:lnTo>
                    <a:pt x="20" y="7"/>
                  </a:lnTo>
                  <a:lnTo>
                    <a:pt x="20" y="7"/>
                  </a:lnTo>
                  <a:lnTo>
                    <a:pt x="20" y="7"/>
                  </a:lnTo>
                  <a:lnTo>
                    <a:pt x="20" y="7"/>
                  </a:lnTo>
                  <a:lnTo>
                    <a:pt x="20" y="7"/>
                  </a:lnTo>
                  <a:lnTo>
                    <a:pt x="21" y="7"/>
                  </a:lnTo>
                  <a:lnTo>
                    <a:pt x="21" y="7"/>
                  </a:lnTo>
                  <a:lnTo>
                    <a:pt x="22" y="8"/>
                  </a:lnTo>
                  <a:lnTo>
                    <a:pt x="22" y="8"/>
                  </a:lnTo>
                  <a:lnTo>
                    <a:pt x="22" y="8"/>
                  </a:lnTo>
                  <a:lnTo>
                    <a:pt x="22" y="8"/>
                  </a:lnTo>
                  <a:lnTo>
                    <a:pt x="22" y="8"/>
                  </a:lnTo>
                  <a:lnTo>
                    <a:pt x="22" y="8"/>
                  </a:lnTo>
                  <a:lnTo>
                    <a:pt x="22" y="8"/>
                  </a:lnTo>
                  <a:lnTo>
                    <a:pt x="22" y="8"/>
                  </a:lnTo>
                  <a:lnTo>
                    <a:pt x="22" y="8"/>
                  </a:lnTo>
                  <a:lnTo>
                    <a:pt x="22" y="8"/>
                  </a:lnTo>
                  <a:lnTo>
                    <a:pt x="22" y="8"/>
                  </a:lnTo>
                  <a:lnTo>
                    <a:pt x="22" y="8"/>
                  </a:lnTo>
                  <a:lnTo>
                    <a:pt x="22" y="8"/>
                  </a:lnTo>
                  <a:lnTo>
                    <a:pt x="22" y="8"/>
                  </a:lnTo>
                  <a:lnTo>
                    <a:pt x="22" y="9"/>
                  </a:lnTo>
                  <a:lnTo>
                    <a:pt x="22" y="9"/>
                  </a:lnTo>
                  <a:lnTo>
                    <a:pt x="22" y="9"/>
                  </a:lnTo>
                  <a:lnTo>
                    <a:pt x="22" y="9"/>
                  </a:lnTo>
                  <a:lnTo>
                    <a:pt x="22" y="9"/>
                  </a:lnTo>
                  <a:lnTo>
                    <a:pt x="23" y="9"/>
                  </a:lnTo>
                  <a:lnTo>
                    <a:pt x="23" y="9"/>
                  </a:lnTo>
                  <a:lnTo>
                    <a:pt x="23" y="9"/>
                  </a:lnTo>
                  <a:lnTo>
                    <a:pt x="23" y="9"/>
                  </a:lnTo>
                  <a:lnTo>
                    <a:pt x="25" y="9"/>
                  </a:lnTo>
                  <a:lnTo>
                    <a:pt x="25" y="9"/>
                  </a:lnTo>
                  <a:lnTo>
                    <a:pt x="25" y="9"/>
                  </a:lnTo>
                  <a:lnTo>
                    <a:pt x="25" y="9"/>
                  </a:lnTo>
                  <a:lnTo>
                    <a:pt x="25" y="9"/>
                  </a:lnTo>
                  <a:lnTo>
                    <a:pt x="25" y="9"/>
                  </a:lnTo>
                  <a:lnTo>
                    <a:pt x="25" y="9"/>
                  </a:lnTo>
                  <a:lnTo>
                    <a:pt x="25" y="9"/>
                  </a:lnTo>
                  <a:lnTo>
                    <a:pt x="25" y="9"/>
                  </a:lnTo>
                  <a:lnTo>
                    <a:pt x="25" y="9"/>
                  </a:lnTo>
                  <a:lnTo>
                    <a:pt x="25" y="9"/>
                  </a:lnTo>
                  <a:lnTo>
                    <a:pt x="25" y="9"/>
                  </a:lnTo>
                  <a:lnTo>
                    <a:pt x="26" y="9"/>
                  </a:lnTo>
                  <a:lnTo>
                    <a:pt x="26" y="9"/>
                  </a:lnTo>
                  <a:lnTo>
                    <a:pt x="26" y="9"/>
                  </a:lnTo>
                  <a:lnTo>
                    <a:pt x="26" y="9"/>
                  </a:lnTo>
                  <a:lnTo>
                    <a:pt x="26" y="9"/>
                  </a:lnTo>
                  <a:lnTo>
                    <a:pt x="26" y="8"/>
                  </a:lnTo>
                  <a:lnTo>
                    <a:pt x="26" y="8"/>
                  </a:lnTo>
                  <a:lnTo>
                    <a:pt x="26" y="8"/>
                  </a:lnTo>
                  <a:lnTo>
                    <a:pt x="26" y="8"/>
                  </a:lnTo>
                  <a:lnTo>
                    <a:pt x="26" y="8"/>
                  </a:lnTo>
                  <a:lnTo>
                    <a:pt x="27" y="8"/>
                  </a:lnTo>
                  <a:lnTo>
                    <a:pt x="26" y="8"/>
                  </a:lnTo>
                  <a:lnTo>
                    <a:pt x="26" y="8"/>
                  </a:lnTo>
                  <a:lnTo>
                    <a:pt x="26" y="8"/>
                  </a:lnTo>
                  <a:lnTo>
                    <a:pt x="26" y="8"/>
                  </a:lnTo>
                  <a:lnTo>
                    <a:pt x="26" y="8"/>
                  </a:lnTo>
                  <a:lnTo>
                    <a:pt x="27" y="8"/>
                  </a:lnTo>
                  <a:lnTo>
                    <a:pt x="27" y="8"/>
                  </a:lnTo>
                  <a:lnTo>
                    <a:pt x="27" y="8"/>
                  </a:lnTo>
                  <a:lnTo>
                    <a:pt x="27" y="8"/>
                  </a:lnTo>
                  <a:lnTo>
                    <a:pt x="27" y="8"/>
                  </a:lnTo>
                  <a:lnTo>
                    <a:pt x="28" y="8"/>
                  </a:lnTo>
                  <a:lnTo>
                    <a:pt x="28" y="8"/>
                  </a:lnTo>
                  <a:lnTo>
                    <a:pt x="28" y="8"/>
                  </a:lnTo>
                  <a:lnTo>
                    <a:pt x="28" y="8"/>
                  </a:lnTo>
                  <a:lnTo>
                    <a:pt x="29" y="8"/>
                  </a:lnTo>
                  <a:lnTo>
                    <a:pt x="29" y="9"/>
                  </a:lnTo>
                  <a:lnTo>
                    <a:pt x="29" y="9"/>
                  </a:lnTo>
                  <a:lnTo>
                    <a:pt x="29" y="9"/>
                  </a:lnTo>
                  <a:lnTo>
                    <a:pt x="30" y="9"/>
                  </a:lnTo>
                  <a:lnTo>
                    <a:pt x="30" y="9"/>
                  </a:lnTo>
                  <a:lnTo>
                    <a:pt x="30" y="9"/>
                  </a:lnTo>
                  <a:lnTo>
                    <a:pt x="30" y="9"/>
                  </a:lnTo>
                  <a:lnTo>
                    <a:pt x="30" y="9"/>
                  </a:lnTo>
                  <a:lnTo>
                    <a:pt x="30" y="9"/>
                  </a:lnTo>
                  <a:lnTo>
                    <a:pt x="30" y="9"/>
                  </a:lnTo>
                  <a:lnTo>
                    <a:pt x="30" y="9"/>
                  </a:lnTo>
                  <a:lnTo>
                    <a:pt x="30" y="9"/>
                  </a:lnTo>
                  <a:lnTo>
                    <a:pt x="30" y="9"/>
                  </a:lnTo>
                  <a:lnTo>
                    <a:pt x="32" y="9"/>
                  </a:lnTo>
                  <a:lnTo>
                    <a:pt x="32" y="9"/>
                  </a:lnTo>
                  <a:lnTo>
                    <a:pt x="32" y="9"/>
                  </a:lnTo>
                  <a:lnTo>
                    <a:pt x="32" y="9"/>
                  </a:lnTo>
                  <a:lnTo>
                    <a:pt x="32" y="9"/>
                  </a:lnTo>
                  <a:lnTo>
                    <a:pt x="32" y="9"/>
                  </a:lnTo>
                  <a:lnTo>
                    <a:pt x="32" y="9"/>
                  </a:lnTo>
                  <a:lnTo>
                    <a:pt x="33" y="9"/>
                  </a:lnTo>
                  <a:lnTo>
                    <a:pt x="33" y="9"/>
                  </a:lnTo>
                  <a:lnTo>
                    <a:pt x="33" y="9"/>
                  </a:lnTo>
                  <a:lnTo>
                    <a:pt x="33" y="9"/>
                  </a:lnTo>
                  <a:lnTo>
                    <a:pt x="33" y="9"/>
                  </a:lnTo>
                  <a:lnTo>
                    <a:pt x="33" y="9"/>
                  </a:lnTo>
                  <a:lnTo>
                    <a:pt x="33" y="10"/>
                  </a:lnTo>
                  <a:lnTo>
                    <a:pt x="34" y="10"/>
                  </a:lnTo>
                  <a:lnTo>
                    <a:pt x="33" y="10"/>
                  </a:lnTo>
                  <a:lnTo>
                    <a:pt x="33" y="11"/>
                  </a:lnTo>
                  <a:lnTo>
                    <a:pt x="33" y="11"/>
                  </a:lnTo>
                  <a:lnTo>
                    <a:pt x="33" y="11"/>
                  </a:lnTo>
                  <a:lnTo>
                    <a:pt x="33" y="11"/>
                  </a:lnTo>
                  <a:lnTo>
                    <a:pt x="33" y="11"/>
                  </a:lnTo>
                  <a:lnTo>
                    <a:pt x="33" y="12"/>
                  </a:lnTo>
                  <a:lnTo>
                    <a:pt x="33" y="12"/>
                  </a:lnTo>
                  <a:lnTo>
                    <a:pt x="33" y="12"/>
                  </a:lnTo>
                  <a:lnTo>
                    <a:pt x="33" y="14"/>
                  </a:lnTo>
                  <a:lnTo>
                    <a:pt x="32" y="14"/>
                  </a:lnTo>
                  <a:lnTo>
                    <a:pt x="32" y="15"/>
                  </a:lnTo>
                  <a:lnTo>
                    <a:pt x="32" y="15"/>
                  </a:lnTo>
                  <a:lnTo>
                    <a:pt x="32" y="15"/>
                  </a:lnTo>
                  <a:lnTo>
                    <a:pt x="33" y="15"/>
                  </a:lnTo>
                  <a:lnTo>
                    <a:pt x="33" y="15"/>
                  </a:lnTo>
                  <a:lnTo>
                    <a:pt x="33" y="15"/>
                  </a:lnTo>
                  <a:lnTo>
                    <a:pt x="33" y="15"/>
                  </a:lnTo>
                  <a:lnTo>
                    <a:pt x="33" y="16"/>
                  </a:lnTo>
                  <a:lnTo>
                    <a:pt x="33" y="16"/>
                  </a:lnTo>
                  <a:lnTo>
                    <a:pt x="33" y="16"/>
                  </a:lnTo>
                  <a:lnTo>
                    <a:pt x="32" y="16"/>
                  </a:lnTo>
                  <a:lnTo>
                    <a:pt x="32" y="16"/>
                  </a:lnTo>
                  <a:lnTo>
                    <a:pt x="32" y="16"/>
                  </a:lnTo>
                  <a:lnTo>
                    <a:pt x="32" y="16"/>
                  </a:lnTo>
                  <a:lnTo>
                    <a:pt x="32" y="16"/>
                  </a:lnTo>
                  <a:lnTo>
                    <a:pt x="32" y="16"/>
                  </a:lnTo>
                  <a:lnTo>
                    <a:pt x="30" y="17"/>
                  </a:lnTo>
                  <a:lnTo>
                    <a:pt x="30" y="17"/>
                  </a:lnTo>
                  <a:lnTo>
                    <a:pt x="30" y="17"/>
                  </a:lnTo>
                  <a:lnTo>
                    <a:pt x="30" y="17"/>
                  </a:lnTo>
                  <a:lnTo>
                    <a:pt x="32" y="18"/>
                  </a:lnTo>
                  <a:lnTo>
                    <a:pt x="32" y="18"/>
                  </a:lnTo>
                  <a:lnTo>
                    <a:pt x="32" y="18"/>
                  </a:lnTo>
                  <a:lnTo>
                    <a:pt x="32" y="18"/>
                  </a:lnTo>
                  <a:lnTo>
                    <a:pt x="32" y="18"/>
                  </a:lnTo>
                  <a:lnTo>
                    <a:pt x="32" y="19"/>
                  </a:lnTo>
                  <a:lnTo>
                    <a:pt x="30" y="19"/>
                  </a:lnTo>
                  <a:lnTo>
                    <a:pt x="29" y="19"/>
                  </a:lnTo>
                  <a:lnTo>
                    <a:pt x="29" y="21"/>
                  </a:lnTo>
                  <a:lnTo>
                    <a:pt x="30" y="21"/>
                  </a:lnTo>
                  <a:lnTo>
                    <a:pt x="29" y="21"/>
                  </a:lnTo>
                  <a:lnTo>
                    <a:pt x="28" y="21"/>
                  </a:lnTo>
                  <a:lnTo>
                    <a:pt x="27" y="21"/>
                  </a:lnTo>
                  <a:lnTo>
                    <a:pt x="27" y="21"/>
                  </a:lnTo>
                  <a:lnTo>
                    <a:pt x="27" y="21"/>
                  </a:lnTo>
                  <a:lnTo>
                    <a:pt x="26" y="21"/>
                  </a:lnTo>
                  <a:lnTo>
                    <a:pt x="25" y="21"/>
                  </a:lnTo>
                  <a:lnTo>
                    <a:pt x="23" y="21"/>
                  </a:lnTo>
                  <a:lnTo>
                    <a:pt x="23" y="21"/>
                  </a:lnTo>
                  <a:lnTo>
                    <a:pt x="23" y="21"/>
                  </a:lnTo>
                  <a:lnTo>
                    <a:pt x="23" y="21"/>
                  </a:lnTo>
                  <a:lnTo>
                    <a:pt x="23" y="21"/>
                  </a:lnTo>
                  <a:lnTo>
                    <a:pt x="23" y="19"/>
                  </a:lnTo>
                  <a:lnTo>
                    <a:pt x="23" y="19"/>
                  </a:lnTo>
                  <a:lnTo>
                    <a:pt x="23" y="19"/>
                  </a:lnTo>
                  <a:lnTo>
                    <a:pt x="23" y="19"/>
                  </a:lnTo>
                  <a:lnTo>
                    <a:pt x="23" y="19"/>
                  </a:lnTo>
                  <a:lnTo>
                    <a:pt x="23" y="19"/>
                  </a:lnTo>
                  <a:lnTo>
                    <a:pt x="23" y="19"/>
                  </a:lnTo>
                  <a:lnTo>
                    <a:pt x="23" y="19"/>
                  </a:lnTo>
                  <a:lnTo>
                    <a:pt x="22" y="19"/>
                  </a:lnTo>
                  <a:lnTo>
                    <a:pt x="23" y="19"/>
                  </a:lnTo>
                  <a:lnTo>
                    <a:pt x="23" y="19"/>
                  </a:lnTo>
                  <a:lnTo>
                    <a:pt x="23" y="19"/>
                  </a:lnTo>
                  <a:lnTo>
                    <a:pt x="23" y="19"/>
                  </a:lnTo>
                  <a:lnTo>
                    <a:pt x="23" y="21"/>
                  </a:lnTo>
                  <a:lnTo>
                    <a:pt x="23" y="21"/>
                  </a:lnTo>
                  <a:lnTo>
                    <a:pt x="22" y="21"/>
                  </a:lnTo>
                  <a:lnTo>
                    <a:pt x="22" y="19"/>
                  </a:lnTo>
                  <a:lnTo>
                    <a:pt x="22" y="19"/>
                  </a:lnTo>
                  <a:lnTo>
                    <a:pt x="22" y="19"/>
                  </a:lnTo>
                  <a:lnTo>
                    <a:pt x="22" y="19"/>
                  </a:lnTo>
                  <a:lnTo>
                    <a:pt x="22" y="19"/>
                  </a:lnTo>
                  <a:lnTo>
                    <a:pt x="22" y="19"/>
                  </a:lnTo>
                  <a:lnTo>
                    <a:pt x="22" y="19"/>
                  </a:lnTo>
                  <a:lnTo>
                    <a:pt x="22" y="19"/>
                  </a:lnTo>
                  <a:lnTo>
                    <a:pt x="22" y="18"/>
                  </a:lnTo>
                  <a:lnTo>
                    <a:pt x="22" y="19"/>
                  </a:lnTo>
                  <a:lnTo>
                    <a:pt x="22" y="19"/>
                  </a:lnTo>
                  <a:lnTo>
                    <a:pt x="22" y="19"/>
                  </a:lnTo>
                  <a:lnTo>
                    <a:pt x="22" y="19"/>
                  </a:lnTo>
                  <a:lnTo>
                    <a:pt x="22" y="19"/>
                  </a:lnTo>
                  <a:lnTo>
                    <a:pt x="21" y="19"/>
                  </a:lnTo>
                  <a:lnTo>
                    <a:pt x="21" y="19"/>
                  </a:lnTo>
                  <a:lnTo>
                    <a:pt x="21" y="18"/>
                  </a:lnTo>
                  <a:lnTo>
                    <a:pt x="21" y="18"/>
                  </a:lnTo>
                  <a:lnTo>
                    <a:pt x="21" y="18"/>
                  </a:lnTo>
                  <a:lnTo>
                    <a:pt x="20" y="18"/>
                  </a:lnTo>
                  <a:lnTo>
                    <a:pt x="20" y="18"/>
                  </a:lnTo>
                  <a:lnTo>
                    <a:pt x="20" y="18"/>
                  </a:lnTo>
                  <a:lnTo>
                    <a:pt x="19" y="18"/>
                  </a:lnTo>
                  <a:lnTo>
                    <a:pt x="19" y="18"/>
                  </a:lnTo>
                  <a:lnTo>
                    <a:pt x="19" y="18"/>
                  </a:lnTo>
                  <a:lnTo>
                    <a:pt x="19" y="18"/>
                  </a:lnTo>
                  <a:lnTo>
                    <a:pt x="19" y="18"/>
                  </a:lnTo>
                  <a:lnTo>
                    <a:pt x="19" y="18"/>
                  </a:lnTo>
                  <a:lnTo>
                    <a:pt x="19" y="19"/>
                  </a:lnTo>
                  <a:lnTo>
                    <a:pt x="20" y="18"/>
                  </a:lnTo>
                  <a:lnTo>
                    <a:pt x="21" y="18"/>
                  </a:lnTo>
                  <a:lnTo>
                    <a:pt x="21" y="18"/>
                  </a:lnTo>
                  <a:lnTo>
                    <a:pt x="21" y="19"/>
                  </a:lnTo>
                  <a:lnTo>
                    <a:pt x="21" y="19"/>
                  </a:lnTo>
                  <a:lnTo>
                    <a:pt x="21" y="19"/>
                  </a:lnTo>
                  <a:lnTo>
                    <a:pt x="21" y="19"/>
                  </a:lnTo>
                  <a:lnTo>
                    <a:pt x="21" y="19"/>
                  </a:lnTo>
                  <a:lnTo>
                    <a:pt x="21" y="19"/>
                  </a:lnTo>
                  <a:lnTo>
                    <a:pt x="20" y="19"/>
                  </a:lnTo>
                  <a:lnTo>
                    <a:pt x="20" y="19"/>
                  </a:lnTo>
                  <a:lnTo>
                    <a:pt x="21" y="19"/>
                  </a:lnTo>
                  <a:lnTo>
                    <a:pt x="22" y="19"/>
                  </a:lnTo>
                  <a:lnTo>
                    <a:pt x="22" y="21"/>
                  </a:lnTo>
                  <a:lnTo>
                    <a:pt x="22" y="21"/>
                  </a:lnTo>
                  <a:lnTo>
                    <a:pt x="22" y="21"/>
                  </a:lnTo>
                  <a:lnTo>
                    <a:pt x="21" y="21"/>
                  </a:lnTo>
                  <a:lnTo>
                    <a:pt x="21" y="19"/>
                  </a:lnTo>
                  <a:lnTo>
                    <a:pt x="21" y="19"/>
                  </a:lnTo>
                  <a:lnTo>
                    <a:pt x="18" y="19"/>
                  </a:lnTo>
                  <a:lnTo>
                    <a:pt x="18" y="18"/>
                  </a:lnTo>
                  <a:lnTo>
                    <a:pt x="14" y="17"/>
                  </a:lnTo>
                  <a:lnTo>
                    <a:pt x="13" y="16"/>
                  </a:lnTo>
                  <a:lnTo>
                    <a:pt x="12" y="16"/>
                  </a:lnTo>
                  <a:lnTo>
                    <a:pt x="11" y="15"/>
                  </a:lnTo>
                  <a:lnTo>
                    <a:pt x="11" y="15"/>
                  </a:lnTo>
                  <a:lnTo>
                    <a:pt x="9" y="15"/>
                  </a:lnTo>
                  <a:lnTo>
                    <a:pt x="8" y="15"/>
                  </a:lnTo>
                  <a:lnTo>
                    <a:pt x="7" y="15"/>
                  </a:lnTo>
                  <a:lnTo>
                    <a:pt x="6" y="15"/>
                  </a:lnTo>
                  <a:lnTo>
                    <a:pt x="6" y="15"/>
                  </a:lnTo>
                  <a:lnTo>
                    <a:pt x="5" y="15"/>
                  </a:lnTo>
                  <a:lnTo>
                    <a:pt x="4" y="15"/>
                  </a:lnTo>
                  <a:lnTo>
                    <a:pt x="4" y="15"/>
                  </a:lnTo>
                  <a:lnTo>
                    <a:pt x="4" y="14"/>
                  </a:lnTo>
                  <a:lnTo>
                    <a:pt x="4" y="14"/>
                  </a:lnTo>
                  <a:lnTo>
                    <a:pt x="4" y="14"/>
                  </a:lnTo>
                  <a:lnTo>
                    <a:pt x="4" y="14"/>
                  </a:lnTo>
                  <a:lnTo>
                    <a:pt x="2" y="12"/>
                  </a:lnTo>
                  <a:lnTo>
                    <a:pt x="1" y="12"/>
                  </a:lnTo>
                  <a:lnTo>
                    <a:pt x="0" y="11"/>
                  </a:lnTo>
                  <a:lnTo>
                    <a:pt x="0" y="10"/>
                  </a:lnTo>
                  <a:lnTo>
                    <a:pt x="0" y="10"/>
                  </a:lnTo>
                  <a:lnTo>
                    <a:pt x="0" y="10"/>
                  </a:lnTo>
                  <a:lnTo>
                    <a:pt x="0" y="10"/>
                  </a:lnTo>
                  <a:lnTo>
                    <a:pt x="0" y="9"/>
                  </a:lnTo>
                  <a:lnTo>
                    <a:pt x="0" y="9"/>
                  </a:lnTo>
                  <a:lnTo>
                    <a:pt x="1" y="9"/>
                  </a:lnTo>
                  <a:lnTo>
                    <a:pt x="1" y="9"/>
                  </a:lnTo>
                  <a:lnTo>
                    <a:pt x="1" y="9"/>
                  </a:lnTo>
                  <a:lnTo>
                    <a:pt x="1" y="8"/>
                  </a:lnTo>
                  <a:lnTo>
                    <a:pt x="1" y="8"/>
                  </a:lnTo>
                  <a:lnTo>
                    <a:pt x="1" y="8"/>
                  </a:lnTo>
                  <a:lnTo>
                    <a:pt x="4" y="7"/>
                  </a:lnTo>
                  <a:lnTo>
                    <a:pt x="4" y="7"/>
                  </a:lnTo>
                  <a:lnTo>
                    <a:pt x="4" y="7"/>
                  </a:lnTo>
                  <a:lnTo>
                    <a:pt x="5" y="7"/>
                  </a:lnTo>
                  <a:lnTo>
                    <a:pt x="5" y="7"/>
                  </a:lnTo>
                  <a:lnTo>
                    <a:pt x="5" y="7"/>
                  </a:lnTo>
                  <a:lnTo>
                    <a:pt x="5" y="7"/>
                  </a:lnTo>
                  <a:lnTo>
                    <a:pt x="5" y="7"/>
                  </a:lnTo>
                  <a:lnTo>
                    <a:pt x="6" y="7"/>
                  </a:lnTo>
                  <a:lnTo>
                    <a:pt x="6" y="7"/>
                  </a:lnTo>
                  <a:lnTo>
                    <a:pt x="6" y="7"/>
                  </a:lnTo>
                  <a:lnTo>
                    <a:pt x="6" y="7"/>
                  </a:lnTo>
                  <a:lnTo>
                    <a:pt x="6" y="5"/>
                  </a:lnTo>
                  <a:lnTo>
                    <a:pt x="6" y="5"/>
                  </a:lnTo>
                  <a:lnTo>
                    <a:pt x="6" y="4"/>
                  </a:lnTo>
                  <a:lnTo>
                    <a:pt x="6" y="4"/>
                  </a:lnTo>
                  <a:lnTo>
                    <a:pt x="7" y="4"/>
                  </a:lnTo>
                  <a:lnTo>
                    <a:pt x="7" y="4"/>
                  </a:lnTo>
                  <a:lnTo>
                    <a:pt x="8" y="3"/>
                  </a:lnTo>
                  <a:lnTo>
                    <a:pt x="9" y="3"/>
                  </a:lnTo>
                  <a:lnTo>
                    <a:pt x="9" y="3"/>
                  </a:lnTo>
                  <a:lnTo>
                    <a:pt x="8" y="3"/>
                  </a:lnTo>
                  <a:lnTo>
                    <a:pt x="8" y="3"/>
                  </a:lnTo>
                  <a:lnTo>
                    <a:pt x="8" y="3"/>
                  </a:lnTo>
                  <a:lnTo>
                    <a:pt x="8" y="3"/>
                  </a:lnTo>
                  <a:lnTo>
                    <a:pt x="8" y="3"/>
                  </a:lnTo>
                  <a:lnTo>
                    <a:pt x="8" y="2"/>
                  </a:lnTo>
                  <a:lnTo>
                    <a:pt x="8" y="2"/>
                  </a:lnTo>
                  <a:lnTo>
                    <a:pt x="8" y="2"/>
                  </a:lnTo>
                  <a:lnTo>
                    <a:pt x="8" y="2"/>
                  </a:lnTo>
                  <a:lnTo>
                    <a:pt x="8" y="2"/>
                  </a:lnTo>
                  <a:lnTo>
                    <a:pt x="8" y="2"/>
                  </a:lnTo>
                  <a:lnTo>
                    <a:pt x="8" y="2"/>
                  </a:lnTo>
                  <a:lnTo>
                    <a:pt x="8" y="2"/>
                  </a:lnTo>
                  <a:lnTo>
                    <a:pt x="8" y="2"/>
                  </a:lnTo>
                  <a:lnTo>
                    <a:pt x="8" y="2"/>
                  </a:lnTo>
                  <a:lnTo>
                    <a:pt x="8" y="1"/>
                  </a:lnTo>
                  <a:lnTo>
                    <a:pt x="8" y="1"/>
                  </a:lnTo>
                  <a:lnTo>
                    <a:pt x="8" y="1"/>
                  </a:lnTo>
                  <a:lnTo>
                    <a:pt x="8" y="1"/>
                  </a:lnTo>
                  <a:lnTo>
                    <a:pt x="8" y="1"/>
                  </a:lnTo>
                  <a:lnTo>
                    <a:pt x="8" y="1"/>
                  </a:lnTo>
                  <a:lnTo>
                    <a:pt x="8" y="1"/>
                  </a:lnTo>
                  <a:lnTo>
                    <a:pt x="9" y="1"/>
                  </a:lnTo>
                  <a:lnTo>
                    <a:pt x="9" y="1"/>
                  </a:lnTo>
                  <a:lnTo>
                    <a:pt x="9" y="1"/>
                  </a:lnTo>
                  <a:lnTo>
                    <a:pt x="9" y="1"/>
                  </a:lnTo>
                  <a:lnTo>
                    <a:pt x="9" y="1"/>
                  </a:lnTo>
                  <a:lnTo>
                    <a:pt x="9" y="1"/>
                  </a:lnTo>
                  <a:lnTo>
                    <a:pt x="11" y="1"/>
                  </a:lnTo>
                  <a:lnTo>
                    <a:pt x="11" y="1"/>
                  </a:lnTo>
                  <a:lnTo>
                    <a:pt x="11" y="1"/>
                  </a:lnTo>
                  <a:lnTo>
                    <a:pt x="11" y="0"/>
                  </a:lnTo>
                  <a:lnTo>
                    <a:pt x="11" y="0"/>
                  </a:lnTo>
                  <a:close/>
                </a:path>
              </a:pathLst>
            </a:custGeom>
            <a:solidFill>
              <a:srgbClr val="D2D2D2"/>
            </a:solidFill>
            <a:ln w="3175"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t-IT" sz="1200" dirty="0">
                <a:solidFill>
                  <a:schemeClr val="lt1"/>
                </a:solidFill>
              </a:endParaRPr>
            </a:p>
          </p:txBody>
        </p:sp>
        <p:sp>
          <p:nvSpPr>
            <p:cNvPr id="241" name="Freeform 1000">
              <a:extLst>
                <a:ext uri="{FF2B5EF4-FFF2-40B4-BE49-F238E27FC236}">
                  <a16:creationId xmlns:a16="http://schemas.microsoft.com/office/drawing/2014/main" id="{78383BFE-2926-43CE-ACE8-1FE2C21B3BB9}"/>
                </a:ext>
              </a:extLst>
            </p:cNvPr>
            <p:cNvSpPr>
              <a:spLocks/>
            </p:cNvSpPr>
            <p:nvPr/>
          </p:nvSpPr>
          <p:spPr bwMode="auto">
            <a:xfrm>
              <a:off x="6014764" y="2419028"/>
              <a:ext cx="2671" cy="2671"/>
            </a:xfrm>
            <a:custGeom>
              <a:avLst/>
              <a:gdLst>
                <a:gd name="T0" fmla="*/ 2 w 2"/>
                <a:gd name="T1" fmla="*/ 2 h 2"/>
                <a:gd name="T2" fmla="*/ 0 w 2"/>
                <a:gd name="T3" fmla="*/ 2 h 2"/>
                <a:gd name="T4" fmla="*/ 0 w 2"/>
                <a:gd name="T5" fmla="*/ 1 h 2"/>
                <a:gd name="T6" fmla="*/ 0 w 2"/>
                <a:gd name="T7" fmla="*/ 1 h 2"/>
                <a:gd name="T8" fmla="*/ 0 w 2"/>
                <a:gd name="T9" fmla="*/ 1 h 2"/>
                <a:gd name="T10" fmla="*/ 0 w 2"/>
                <a:gd name="T11" fmla="*/ 1 h 2"/>
                <a:gd name="T12" fmla="*/ 0 w 2"/>
                <a:gd name="T13" fmla="*/ 1 h 2"/>
                <a:gd name="T14" fmla="*/ 0 w 2"/>
                <a:gd name="T15" fmla="*/ 0 h 2"/>
                <a:gd name="T16" fmla="*/ 2 w 2"/>
                <a:gd name="T17" fmla="*/ 0 h 2"/>
                <a:gd name="T18" fmla="*/ 2 w 2"/>
                <a:gd name="T19" fmla="*/ 1 h 2"/>
                <a:gd name="T20" fmla="*/ 2 w 2"/>
                <a:gd name="T21" fmla="*/ 1 h 2"/>
                <a:gd name="T22" fmla="*/ 2 w 2"/>
                <a:gd name="T23" fmla="*/ 1 h 2"/>
                <a:gd name="T24" fmla="*/ 2 w 2"/>
                <a:gd name="T25" fmla="*/ 1 h 2"/>
                <a:gd name="T26" fmla="*/ 2 w 2"/>
                <a:gd name="T27" fmla="*/ 1 h 2"/>
                <a:gd name="T28" fmla="*/ 2 w 2"/>
                <a:gd name="T29" fmla="*/ 1 h 2"/>
                <a:gd name="T30" fmla="*/ 2 w 2"/>
                <a:gd name="T31" fmla="*/ 1 h 2"/>
                <a:gd name="T32" fmla="*/ 2 w 2"/>
                <a:gd name="T33" fmla="*/ 1 h 2"/>
                <a:gd name="T34" fmla="*/ 2 w 2"/>
                <a:gd name="T35" fmla="*/ 1 h 2"/>
                <a:gd name="T36" fmla="*/ 2 w 2"/>
                <a:gd name="T3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2">
                  <a:moveTo>
                    <a:pt x="2" y="2"/>
                  </a:moveTo>
                  <a:lnTo>
                    <a:pt x="0" y="2"/>
                  </a:lnTo>
                  <a:lnTo>
                    <a:pt x="0" y="1"/>
                  </a:lnTo>
                  <a:lnTo>
                    <a:pt x="0" y="1"/>
                  </a:lnTo>
                  <a:lnTo>
                    <a:pt x="0" y="1"/>
                  </a:lnTo>
                  <a:lnTo>
                    <a:pt x="0" y="1"/>
                  </a:lnTo>
                  <a:lnTo>
                    <a:pt x="0" y="1"/>
                  </a:lnTo>
                  <a:lnTo>
                    <a:pt x="0" y="0"/>
                  </a:lnTo>
                  <a:lnTo>
                    <a:pt x="2" y="0"/>
                  </a:lnTo>
                  <a:lnTo>
                    <a:pt x="2" y="1"/>
                  </a:lnTo>
                  <a:lnTo>
                    <a:pt x="2" y="1"/>
                  </a:lnTo>
                  <a:lnTo>
                    <a:pt x="2" y="1"/>
                  </a:lnTo>
                  <a:lnTo>
                    <a:pt x="2" y="1"/>
                  </a:lnTo>
                  <a:lnTo>
                    <a:pt x="2" y="1"/>
                  </a:lnTo>
                  <a:lnTo>
                    <a:pt x="2" y="1"/>
                  </a:lnTo>
                  <a:lnTo>
                    <a:pt x="2" y="1"/>
                  </a:lnTo>
                  <a:lnTo>
                    <a:pt x="2" y="1"/>
                  </a:lnTo>
                  <a:lnTo>
                    <a:pt x="2" y="1"/>
                  </a:lnTo>
                  <a:lnTo>
                    <a:pt x="2"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42" name="Freeform 1001">
              <a:extLst>
                <a:ext uri="{FF2B5EF4-FFF2-40B4-BE49-F238E27FC236}">
                  <a16:creationId xmlns:a16="http://schemas.microsoft.com/office/drawing/2014/main" id="{2C288499-6B7B-45F0-856F-D0EB378F52F9}"/>
                </a:ext>
              </a:extLst>
            </p:cNvPr>
            <p:cNvSpPr>
              <a:spLocks/>
            </p:cNvSpPr>
            <p:nvPr/>
          </p:nvSpPr>
          <p:spPr bwMode="auto">
            <a:xfrm>
              <a:off x="6597037" y="3104133"/>
              <a:ext cx="117523" cy="74787"/>
            </a:xfrm>
            <a:custGeom>
              <a:avLst/>
              <a:gdLst>
                <a:gd name="T0" fmla="*/ 87 w 88"/>
                <a:gd name="T1" fmla="*/ 13 h 56"/>
                <a:gd name="T2" fmla="*/ 88 w 88"/>
                <a:gd name="T3" fmla="*/ 24 h 56"/>
                <a:gd name="T4" fmla="*/ 88 w 88"/>
                <a:gd name="T5" fmla="*/ 33 h 56"/>
                <a:gd name="T6" fmla="*/ 83 w 88"/>
                <a:gd name="T7" fmla="*/ 42 h 56"/>
                <a:gd name="T8" fmla="*/ 79 w 88"/>
                <a:gd name="T9" fmla="*/ 50 h 56"/>
                <a:gd name="T10" fmla="*/ 71 w 88"/>
                <a:gd name="T11" fmla="*/ 56 h 56"/>
                <a:gd name="T12" fmla="*/ 60 w 88"/>
                <a:gd name="T13" fmla="*/ 55 h 56"/>
                <a:gd name="T14" fmla="*/ 54 w 88"/>
                <a:gd name="T15" fmla="*/ 53 h 56"/>
                <a:gd name="T16" fmla="*/ 46 w 88"/>
                <a:gd name="T17" fmla="*/ 50 h 56"/>
                <a:gd name="T18" fmla="*/ 40 w 88"/>
                <a:gd name="T19" fmla="*/ 48 h 56"/>
                <a:gd name="T20" fmla="*/ 33 w 88"/>
                <a:gd name="T21" fmla="*/ 46 h 56"/>
                <a:gd name="T22" fmla="*/ 26 w 88"/>
                <a:gd name="T23" fmla="*/ 42 h 56"/>
                <a:gd name="T24" fmla="*/ 19 w 88"/>
                <a:gd name="T25" fmla="*/ 40 h 56"/>
                <a:gd name="T26" fmla="*/ 14 w 88"/>
                <a:gd name="T27" fmla="*/ 35 h 56"/>
                <a:gd name="T28" fmla="*/ 11 w 88"/>
                <a:gd name="T29" fmla="*/ 33 h 56"/>
                <a:gd name="T30" fmla="*/ 10 w 88"/>
                <a:gd name="T31" fmla="*/ 31 h 56"/>
                <a:gd name="T32" fmla="*/ 9 w 88"/>
                <a:gd name="T33" fmla="*/ 29 h 56"/>
                <a:gd name="T34" fmla="*/ 7 w 88"/>
                <a:gd name="T35" fmla="*/ 26 h 56"/>
                <a:gd name="T36" fmla="*/ 4 w 88"/>
                <a:gd name="T37" fmla="*/ 22 h 56"/>
                <a:gd name="T38" fmla="*/ 2 w 88"/>
                <a:gd name="T39" fmla="*/ 18 h 56"/>
                <a:gd name="T40" fmla="*/ 0 w 88"/>
                <a:gd name="T41" fmla="*/ 14 h 56"/>
                <a:gd name="T42" fmla="*/ 1 w 88"/>
                <a:gd name="T43" fmla="*/ 12 h 56"/>
                <a:gd name="T44" fmla="*/ 2 w 88"/>
                <a:gd name="T45" fmla="*/ 11 h 56"/>
                <a:gd name="T46" fmla="*/ 3 w 88"/>
                <a:gd name="T47" fmla="*/ 8 h 56"/>
                <a:gd name="T48" fmla="*/ 8 w 88"/>
                <a:gd name="T49" fmla="*/ 0 h 56"/>
                <a:gd name="T50" fmla="*/ 10 w 88"/>
                <a:gd name="T51" fmla="*/ 3 h 56"/>
                <a:gd name="T52" fmla="*/ 11 w 88"/>
                <a:gd name="T53" fmla="*/ 3 h 56"/>
                <a:gd name="T54" fmla="*/ 12 w 88"/>
                <a:gd name="T55" fmla="*/ 6 h 56"/>
                <a:gd name="T56" fmla="*/ 12 w 88"/>
                <a:gd name="T57" fmla="*/ 7 h 56"/>
                <a:gd name="T58" fmla="*/ 19 w 88"/>
                <a:gd name="T59" fmla="*/ 14 h 56"/>
                <a:gd name="T60" fmla="*/ 24 w 88"/>
                <a:gd name="T61" fmla="*/ 18 h 56"/>
                <a:gd name="T62" fmla="*/ 29 w 88"/>
                <a:gd name="T63" fmla="*/ 18 h 56"/>
                <a:gd name="T64" fmla="*/ 32 w 88"/>
                <a:gd name="T65" fmla="*/ 18 h 56"/>
                <a:gd name="T66" fmla="*/ 36 w 88"/>
                <a:gd name="T67" fmla="*/ 15 h 56"/>
                <a:gd name="T68" fmla="*/ 38 w 88"/>
                <a:gd name="T69" fmla="*/ 14 h 56"/>
                <a:gd name="T70" fmla="*/ 40 w 88"/>
                <a:gd name="T71" fmla="*/ 12 h 56"/>
                <a:gd name="T72" fmla="*/ 43 w 88"/>
                <a:gd name="T73" fmla="*/ 11 h 56"/>
                <a:gd name="T74" fmla="*/ 44 w 88"/>
                <a:gd name="T75" fmla="*/ 11 h 56"/>
                <a:gd name="T76" fmla="*/ 45 w 88"/>
                <a:gd name="T77" fmla="*/ 11 h 56"/>
                <a:gd name="T78" fmla="*/ 47 w 88"/>
                <a:gd name="T79" fmla="*/ 12 h 56"/>
                <a:gd name="T80" fmla="*/ 51 w 88"/>
                <a:gd name="T81" fmla="*/ 13 h 56"/>
                <a:gd name="T82" fmla="*/ 54 w 88"/>
                <a:gd name="T83" fmla="*/ 13 h 56"/>
                <a:gd name="T84" fmla="*/ 55 w 88"/>
                <a:gd name="T85" fmla="*/ 12 h 56"/>
                <a:gd name="T86" fmla="*/ 59 w 88"/>
                <a:gd name="T87" fmla="*/ 10 h 56"/>
                <a:gd name="T88" fmla="*/ 62 w 88"/>
                <a:gd name="T89" fmla="*/ 8 h 56"/>
                <a:gd name="T90" fmla="*/ 65 w 88"/>
                <a:gd name="T91" fmla="*/ 6 h 56"/>
                <a:gd name="T92" fmla="*/ 69 w 88"/>
                <a:gd name="T93" fmla="*/ 7 h 56"/>
                <a:gd name="T94" fmla="*/ 76 w 88"/>
                <a:gd name="T95" fmla="*/ 6 h 56"/>
                <a:gd name="T96" fmla="*/ 78 w 88"/>
                <a:gd name="T97" fmla="*/ 5 h 56"/>
                <a:gd name="T98" fmla="*/ 78 w 88"/>
                <a:gd name="T99" fmla="*/ 5 h 56"/>
                <a:gd name="T100" fmla="*/ 79 w 88"/>
                <a:gd name="T101" fmla="*/ 4 h 56"/>
                <a:gd name="T102" fmla="*/ 82 w 88"/>
                <a:gd name="T103" fmla="*/ 4 h 56"/>
                <a:gd name="T104" fmla="*/ 87 w 88"/>
                <a:gd name="T105" fmla="*/ 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8" h="56">
                  <a:moveTo>
                    <a:pt x="87" y="5"/>
                  </a:moveTo>
                  <a:lnTo>
                    <a:pt x="87" y="6"/>
                  </a:lnTo>
                  <a:lnTo>
                    <a:pt x="87" y="8"/>
                  </a:lnTo>
                  <a:lnTo>
                    <a:pt x="87" y="10"/>
                  </a:lnTo>
                  <a:lnTo>
                    <a:pt x="87" y="12"/>
                  </a:lnTo>
                  <a:lnTo>
                    <a:pt x="87" y="13"/>
                  </a:lnTo>
                  <a:lnTo>
                    <a:pt x="87" y="15"/>
                  </a:lnTo>
                  <a:lnTo>
                    <a:pt x="87" y="17"/>
                  </a:lnTo>
                  <a:lnTo>
                    <a:pt x="87" y="19"/>
                  </a:lnTo>
                  <a:lnTo>
                    <a:pt x="88" y="20"/>
                  </a:lnTo>
                  <a:lnTo>
                    <a:pt x="88" y="22"/>
                  </a:lnTo>
                  <a:lnTo>
                    <a:pt x="88" y="24"/>
                  </a:lnTo>
                  <a:lnTo>
                    <a:pt x="88" y="26"/>
                  </a:lnTo>
                  <a:lnTo>
                    <a:pt x="88" y="28"/>
                  </a:lnTo>
                  <a:lnTo>
                    <a:pt x="88" y="29"/>
                  </a:lnTo>
                  <a:lnTo>
                    <a:pt x="88" y="32"/>
                  </a:lnTo>
                  <a:lnTo>
                    <a:pt x="88" y="32"/>
                  </a:lnTo>
                  <a:lnTo>
                    <a:pt x="88" y="33"/>
                  </a:lnTo>
                  <a:lnTo>
                    <a:pt x="87" y="34"/>
                  </a:lnTo>
                  <a:lnTo>
                    <a:pt x="87" y="36"/>
                  </a:lnTo>
                  <a:lnTo>
                    <a:pt x="86" y="38"/>
                  </a:lnTo>
                  <a:lnTo>
                    <a:pt x="84" y="39"/>
                  </a:lnTo>
                  <a:lnTo>
                    <a:pt x="84" y="40"/>
                  </a:lnTo>
                  <a:lnTo>
                    <a:pt x="83" y="42"/>
                  </a:lnTo>
                  <a:lnTo>
                    <a:pt x="82" y="43"/>
                  </a:lnTo>
                  <a:lnTo>
                    <a:pt x="81" y="45"/>
                  </a:lnTo>
                  <a:lnTo>
                    <a:pt x="81" y="46"/>
                  </a:lnTo>
                  <a:lnTo>
                    <a:pt x="80" y="47"/>
                  </a:lnTo>
                  <a:lnTo>
                    <a:pt x="79" y="49"/>
                  </a:lnTo>
                  <a:lnTo>
                    <a:pt x="79" y="50"/>
                  </a:lnTo>
                  <a:lnTo>
                    <a:pt x="78" y="52"/>
                  </a:lnTo>
                  <a:lnTo>
                    <a:pt x="76" y="53"/>
                  </a:lnTo>
                  <a:lnTo>
                    <a:pt x="76" y="55"/>
                  </a:lnTo>
                  <a:lnTo>
                    <a:pt x="75" y="56"/>
                  </a:lnTo>
                  <a:lnTo>
                    <a:pt x="73" y="56"/>
                  </a:lnTo>
                  <a:lnTo>
                    <a:pt x="71" y="56"/>
                  </a:lnTo>
                  <a:lnTo>
                    <a:pt x="69" y="56"/>
                  </a:lnTo>
                  <a:lnTo>
                    <a:pt x="67" y="56"/>
                  </a:lnTo>
                  <a:lnTo>
                    <a:pt x="65" y="56"/>
                  </a:lnTo>
                  <a:lnTo>
                    <a:pt x="62" y="56"/>
                  </a:lnTo>
                  <a:lnTo>
                    <a:pt x="61" y="56"/>
                  </a:lnTo>
                  <a:lnTo>
                    <a:pt x="60" y="55"/>
                  </a:lnTo>
                  <a:lnTo>
                    <a:pt x="60" y="55"/>
                  </a:lnTo>
                  <a:lnTo>
                    <a:pt x="59" y="55"/>
                  </a:lnTo>
                  <a:lnTo>
                    <a:pt x="58" y="54"/>
                  </a:lnTo>
                  <a:lnTo>
                    <a:pt x="57" y="54"/>
                  </a:lnTo>
                  <a:lnTo>
                    <a:pt x="55" y="54"/>
                  </a:lnTo>
                  <a:lnTo>
                    <a:pt x="54" y="53"/>
                  </a:lnTo>
                  <a:lnTo>
                    <a:pt x="53" y="53"/>
                  </a:lnTo>
                  <a:lnTo>
                    <a:pt x="52" y="53"/>
                  </a:lnTo>
                  <a:lnTo>
                    <a:pt x="51" y="52"/>
                  </a:lnTo>
                  <a:lnTo>
                    <a:pt x="48" y="52"/>
                  </a:lnTo>
                  <a:lnTo>
                    <a:pt x="47" y="50"/>
                  </a:lnTo>
                  <a:lnTo>
                    <a:pt x="46" y="50"/>
                  </a:lnTo>
                  <a:lnTo>
                    <a:pt x="45" y="50"/>
                  </a:lnTo>
                  <a:lnTo>
                    <a:pt x="44" y="49"/>
                  </a:lnTo>
                  <a:lnTo>
                    <a:pt x="43" y="49"/>
                  </a:lnTo>
                  <a:lnTo>
                    <a:pt x="41" y="48"/>
                  </a:lnTo>
                  <a:lnTo>
                    <a:pt x="40" y="48"/>
                  </a:lnTo>
                  <a:lnTo>
                    <a:pt x="40" y="48"/>
                  </a:lnTo>
                  <a:lnTo>
                    <a:pt x="39" y="48"/>
                  </a:lnTo>
                  <a:lnTo>
                    <a:pt x="38" y="47"/>
                  </a:lnTo>
                  <a:lnTo>
                    <a:pt x="37" y="47"/>
                  </a:lnTo>
                  <a:lnTo>
                    <a:pt x="36" y="47"/>
                  </a:lnTo>
                  <a:lnTo>
                    <a:pt x="34" y="46"/>
                  </a:lnTo>
                  <a:lnTo>
                    <a:pt x="33" y="46"/>
                  </a:lnTo>
                  <a:lnTo>
                    <a:pt x="32" y="45"/>
                  </a:lnTo>
                  <a:lnTo>
                    <a:pt x="31" y="45"/>
                  </a:lnTo>
                  <a:lnTo>
                    <a:pt x="30" y="45"/>
                  </a:lnTo>
                  <a:lnTo>
                    <a:pt x="29" y="43"/>
                  </a:lnTo>
                  <a:lnTo>
                    <a:pt x="27" y="43"/>
                  </a:lnTo>
                  <a:lnTo>
                    <a:pt x="26" y="42"/>
                  </a:lnTo>
                  <a:lnTo>
                    <a:pt x="25" y="42"/>
                  </a:lnTo>
                  <a:lnTo>
                    <a:pt x="24" y="42"/>
                  </a:lnTo>
                  <a:lnTo>
                    <a:pt x="22" y="41"/>
                  </a:lnTo>
                  <a:lnTo>
                    <a:pt x="20" y="41"/>
                  </a:lnTo>
                  <a:lnTo>
                    <a:pt x="19" y="40"/>
                  </a:lnTo>
                  <a:lnTo>
                    <a:pt x="19" y="40"/>
                  </a:lnTo>
                  <a:lnTo>
                    <a:pt x="18" y="39"/>
                  </a:lnTo>
                  <a:lnTo>
                    <a:pt x="17" y="38"/>
                  </a:lnTo>
                  <a:lnTo>
                    <a:pt x="15" y="36"/>
                  </a:lnTo>
                  <a:lnTo>
                    <a:pt x="14" y="35"/>
                  </a:lnTo>
                  <a:lnTo>
                    <a:pt x="14" y="35"/>
                  </a:lnTo>
                  <a:lnTo>
                    <a:pt x="14" y="35"/>
                  </a:lnTo>
                  <a:lnTo>
                    <a:pt x="14" y="35"/>
                  </a:lnTo>
                  <a:lnTo>
                    <a:pt x="14" y="35"/>
                  </a:lnTo>
                  <a:lnTo>
                    <a:pt x="12" y="34"/>
                  </a:lnTo>
                  <a:lnTo>
                    <a:pt x="11" y="34"/>
                  </a:lnTo>
                  <a:lnTo>
                    <a:pt x="11" y="33"/>
                  </a:lnTo>
                  <a:lnTo>
                    <a:pt x="11" y="33"/>
                  </a:lnTo>
                  <a:lnTo>
                    <a:pt x="11" y="33"/>
                  </a:lnTo>
                  <a:lnTo>
                    <a:pt x="11" y="32"/>
                  </a:lnTo>
                  <a:lnTo>
                    <a:pt x="10" y="32"/>
                  </a:lnTo>
                  <a:lnTo>
                    <a:pt x="10" y="32"/>
                  </a:lnTo>
                  <a:lnTo>
                    <a:pt x="10" y="32"/>
                  </a:lnTo>
                  <a:lnTo>
                    <a:pt x="10" y="31"/>
                  </a:lnTo>
                  <a:lnTo>
                    <a:pt x="10" y="31"/>
                  </a:lnTo>
                  <a:lnTo>
                    <a:pt x="10" y="31"/>
                  </a:lnTo>
                  <a:lnTo>
                    <a:pt x="10" y="31"/>
                  </a:lnTo>
                  <a:lnTo>
                    <a:pt x="9" y="31"/>
                  </a:lnTo>
                  <a:lnTo>
                    <a:pt x="9" y="31"/>
                  </a:lnTo>
                  <a:lnTo>
                    <a:pt x="9" y="29"/>
                  </a:lnTo>
                  <a:lnTo>
                    <a:pt x="9" y="29"/>
                  </a:lnTo>
                  <a:lnTo>
                    <a:pt x="8" y="27"/>
                  </a:lnTo>
                  <a:lnTo>
                    <a:pt x="8" y="26"/>
                  </a:lnTo>
                  <a:lnTo>
                    <a:pt x="8" y="26"/>
                  </a:lnTo>
                  <a:lnTo>
                    <a:pt x="7" y="26"/>
                  </a:lnTo>
                  <a:lnTo>
                    <a:pt x="7" y="26"/>
                  </a:lnTo>
                  <a:lnTo>
                    <a:pt x="5" y="25"/>
                  </a:lnTo>
                  <a:lnTo>
                    <a:pt x="5" y="25"/>
                  </a:lnTo>
                  <a:lnTo>
                    <a:pt x="5" y="24"/>
                  </a:lnTo>
                  <a:lnTo>
                    <a:pt x="5" y="24"/>
                  </a:lnTo>
                  <a:lnTo>
                    <a:pt x="5" y="22"/>
                  </a:lnTo>
                  <a:lnTo>
                    <a:pt x="4" y="22"/>
                  </a:lnTo>
                  <a:lnTo>
                    <a:pt x="3" y="21"/>
                  </a:lnTo>
                  <a:lnTo>
                    <a:pt x="3" y="21"/>
                  </a:lnTo>
                  <a:lnTo>
                    <a:pt x="2" y="20"/>
                  </a:lnTo>
                  <a:lnTo>
                    <a:pt x="2" y="19"/>
                  </a:lnTo>
                  <a:lnTo>
                    <a:pt x="2" y="18"/>
                  </a:lnTo>
                  <a:lnTo>
                    <a:pt x="2" y="18"/>
                  </a:lnTo>
                  <a:lnTo>
                    <a:pt x="2" y="17"/>
                  </a:lnTo>
                  <a:lnTo>
                    <a:pt x="1" y="17"/>
                  </a:lnTo>
                  <a:lnTo>
                    <a:pt x="1" y="15"/>
                  </a:lnTo>
                  <a:lnTo>
                    <a:pt x="0" y="14"/>
                  </a:lnTo>
                  <a:lnTo>
                    <a:pt x="0" y="14"/>
                  </a:lnTo>
                  <a:lnTo>
                    <a:pt x="0" y="14"/>
                  </a:lnTo>
                  <a:lnTo>
                    <a:pt x="1" y="14"/>
                  </a:lnTo>
                  <a:lnTo>
                    <a:pt x="1" y="14"/>
                  </a:lnTo>
                  <a:lnTo>
                    <a:pt x="1" y="14"/>
                  </a:lnTo>
                  <a:lnTo>
                    <a:pt x="1" y="13"/>
                  </a:lnTo>
                  <a:lnTo>
                    <a:pt x="1" y="13"/>
                  </a:lnTo>
                  <a:lnTo>
                    <a:pt x="1" y="12"/>
                  </a:lnTo>
                  <a:lnTo>
                    <a:pt x="1" y="12"/>
                  </a:lnTo>
                  <a:lnTo>
                    <a:pt x="2" y="12"/>
                  </a:lnTo>
                  <a:lnTo>
                    <a:pt x="2" y="12"/>
                  </a:lnTo>
                  <a:lnTo>
                    <a:pt x="2" y="11"/>
                  </a:lnTo>
                  <a:lnTo>
                    <a:pt x="2" y="11"/>
                  </a:lnTo>
                  <a:lnTo>
                    <a:pt x="2" y="11"/>
                  </a:lnTo>
                  <a:lnTo>
                    <a:pt x="2" y="11"/>
                  </a:lnTo>
                  <a:lnTo>
                    <a:pt x="3" y="10"/>
                  </a:lnTo>
                  <a:lnTo>
                    <a:pt x="3" y="10"/>
                  </a:lnTo>
                  <a:lnTo>
                    <a:pt x="3" y="10"/>
                  </a:lnTo>
                  <a:lnTo>
                    <a:pt x="3" y="8"/>
                  </a:lnTo>
                  <a:lnTo>
                    <a:pt x="3" y="8"/>
                  </a:lnTo>
                  <a:lnTo>
                    <a:pt x="7" y="3"/>
                  </a:lnTo>
                  <a:lnTo>
                    <a:pt x="8" y="0"/>
                  </a:lnTo>
                  <a:lnTo>
                    <a:pt x="8" y="1"/>
                  </a:lnTo>
                  <a:lnTo>
                    <a:pt x="8" y="1"/>
                  </a:lnTo>
                  <a:lnTo>
                    <a:pt x="9" y="1"/>
                  </a:lnTo>
                  <a:lnTo>
                    <a:pt x="8" y="0"/>
                  </a:lnTo>
                  <a:lnTo>
                    <a:pt x="9" y="1"/>
                  </a:lnTo>
                  <a:lnTo>
                    <a:pt x="9" y="1"/>
                  </a:lnTo>
                  <a:lnTo>
                    <a:pt x="9" y="1"/>
                  </a:lnTo>
                  <a:lnTo>
                    <a:pt x="9" y="1"/>
                  </a:lnTo>
                  <a:lnTo>
                    <a:pt x="10" y="3"/>
                  </a:lnTo>
                  <a:lnTo>
                    <a:pt x="10" y="3"/>
                  </a:lnTo>
                  <a:lnTo>
                    <a:pt x="10" y="3"/>
                  </a:lnTo>
                  <a:lnTo>
                    <a:pt x="10" y="3"/>
                  </a:lnTo>
                  <a:lnTo>
                    <a:pt x="11" y="3"/>
                  </a:lnTo>
                  <a:lnTo>
                    <a:pt x="11" y="3"/>
                  </a:lnTo>
                  <a:lnTo>
                    <a:pt x="11" y="3"/>
                  </a:lnTo>
                  <a:lnTo>
                    <a:pt x="11" y="3"/>
                  </a:lnTo>
                  <a:lnTo>
                    <a:pt x="11" y="3"/>
                  </a:lnTo>
                  <a:lnTo>
                    <a:pt x="11" y="4"/>
                  </a:lnTo>
                  <a:lnTo>
                    <a:pt x="11" y="5"/>
                  </a:lnTo>
                  <a:lnTo>
                    <a:pt x="11" y="5"/>
                  </a:lnTo>
                  <a:lnTo>
                    <a:pt x="12" y="6"/>
                  </a:lnTo>
                  <a:lnTo>
                    <a:pt x="12" y="6"/>
                  </a:lnTo>
                  <a:lnTo>
                    <a:pt x="12" y="6"/>
                  </a:lnTo>
                  <a:lnTo>
                    <a:pt x="12" y="6"/>
                  </a:lnTo>
                  <a:lnTo>
                    <a:pt x="12" y="6"/>
                  </a:lnTo>
                  <a:lnTo>
                    <a:pt x="12" y="6"/>
                  </a:lnTo>
                  <a:lnTo>
                    <a:pt x="12" y="6"/>
                  </a:lnTo>
                  <a:lnTo>
                    <a:pt x="12" y="7"/>
                  </a:lnTo>
                  <a:lnTo>
                    <a:pt x="14" y="7"/>
                  </a:lnTo>
                  <a:lnTo>
                    <a:pt x="14" y="8"/>
                  </a:lnTo>
                  <a:lnTo>
                    <a:pt x="15" y="11"/>
                  </a:lnTo>
                  <a:lnTo>
                    <a:pt x="16" y="12"/>
                  </a:lnTo>
                  <a:lnTo>
                    <a:pt x="17" y="13"/>
                  </a:lnTo>
                  <a:lnTo>
                    <a:pt x="19" y="14"/>
                  </a:lnTo>
                  <a:lnTo>
                    <a:pt x="20" y="15"/>
                  </a:lnTo>
                  <a:lnTo>
                    <a:pt x="20" y="15"/>
                  </a:lnTo>
                  <a:lnTo>
                    <a:pt x="23" y="17"/>
                  </a:lnTo>
                  <a:lnTo>
                    <a:pt x="23" y="18"/>
                  </a:lnTo>
                  <a:lnTo>
                    <a:pt x="24" y="18"/>
                  </a:lnTo>
                  <a:lnTo>
                    <a:pt x="24" y="18"/>
                  </a:lnTo>
                  <a:lnTo>
                    <a:pt x="25" y="18"/>
                  </a:lnTo>
                  <a:lnTo>
                    <a:pt x="26" y="18"/>
                  </a:lnTo>
                  <a:lnTo>
                    <a:pt x="27" y="18"/>
                  </a:lnTo>
                  <a:lnTo>
                    <a:pt x="27" y="18"/>
                  </a:lnTo>
                  <a:lnTo>
                    <a:pt x="27" y="18"/>
                  </a:lnTo>
                  <a:lnTo>
                    <a:pt x="29" y="18"/>
                  </a:lnTo>
                  <a:lnTo>
                    <a:pt x="29" y="18"/>
                  </a:lnTo>
                  <a:lnTo>
                    <a:pt x="30" y="18"/>
                  </a:lnTo>
                  <a:lnTo>
                    <a:pt x="31" y="18"/>
                  </a:lnTo>
                  <a:lnTo>
                    <a:pt x="31" y="18"/>
                  </a:lnTo>
                  <a:lnTo>
                    <a:pt x="32" y="18"/>
                  </a:lnTo>
                  <a:lnTo>
                    <a:pt x="32" y="18"/>
                  </a:lnTo>
                  <a:lnTo>
                    <a:pt x="32" y="17"/>
                  </a:lnTo>
                  <a:lnTo>
                    <a:pt x="32" y="17"/>
                  </a:lnTo>
                  <a:lnTo>
                    <a:pt x="34" y="17"/>
                  </a:lnTo>
                  <a:lnTo>
                    <a:pt x="34" y="15"/>
                  </a:lnTo>
                  <a:lnTo>
                    <a:pt x="34" y="15"/>
                  </a:lnTo>
                  <a:lnTo>
                    <a:pt x="36" y="15"/>
                  </a:lnTo>
                  <a:lnTo>
                    <a:pt x="37" y="14"/>
                  </a:lnTo>
                  <a:lnTo>
                    <a:pt x="37" y="14"/>
                  </a:lnTo>
                  <a:lnTo>
                    <a:pt x="38" y="14"/>
                  </a:lnTo>
                  <a:lnTo>
                    <a:pt x="38" y="14"/>
                  </a:lnTo>
                  <a:lnTo>
                    <a:pt x="38" y="14"/>
                  </a:lnTo>
                  <a:lnTo>
                    <a:pt x="38" y="14"/>
                  </a:lnTo>
                  <a:lnTo>
                    <a:pt x="39" y="14"/>
                  </a:lnTo>
                  <a:lnTo>
                    <a:pt x="39" y="13"/>
                  </a:lnTo>
                  <a:lnTo>
                    <a:pt x="39" y="13"/>
                  </a:lnTo>
                  <a:lnTo>
                    <a:pt x="40" y="13"/>
                  </a:lnTo>
                  <a:lnTo>
                    <a:pt x="40" y="12"/>
                  </a:lnTo>
                  <a:lnTo>
                    <a:pt x="40" y="12"/>
                  </a:lnTo>
                  <a:lnTo>
                    <a:pt x="41" y="12"/>
                  </a:lnTo>
                  <a:lnTo>
                    <a:pt x="41" y="12"/>
                  </a:lnTo>
                  <a:lnTo>
                    <a:pt x="41" y="12"/>
                  </a:lnTo>
                  <a:lnTo>
                    <a:pt x="43" y="12"/>
                  </a:lnTo>
                  <a:lnTo>
                    <a:pt x="43" y="11"/>
                  </a:lnTo>
                  <a:lnTo>
                    <a:pt x="43" y="11"/>
                  </a:lnTo>
                  <a:lnTo>
                    <a:pt x="43" y="11"/>
                  </a:lnTo>
                  <a:lnTo>
                    <a:pt x="43" y="11"/>
                  </a:lnTo>
                  <a:lnTo>
                    <a:pt x="43" y="11"/>
                  </a:lnTo>
                  <a:lnTo>
                    <a:pt x="44" y="11"/>
                  </a:lnTo>
                  <a:lnTo>
                    <a:pt x="44" y="11"/>
                  </a:lnTo>
                  <a:lnTo>
                    <a:pt x="44" y="11"/>
                  </a:lnTo>
                  <a:lnTo>
                    <a:pt x="44" y="11"/>
                  </a:lnTo>
                  <a:lnTo>
                    <a:pt x="44" y="11"/>
                  </a:lnTo>
                  <a:lnTo>
                    <a:pt x="44" y="11"/>
                  </a:lnTo>
                  <a:lnTo>
                    <a:pt x="44" y="11"/>
                  </a:lnTo>
                  <a:lnTo>
                    <a:pt x="45" y="12"/>
                  </a:lnTo>
                  <a:lnTo>
                    <a:pt x="45" y="11"/>
                  </a:lnTo>
                  <a:lnTo>
                    <a:pt x="45" y="11"/>
                  </a:lnTo>
                  <a:lnTo>
                    <a:pt x="46" y="12"/>
                  </a:lnTo>
                  <a:lnTo>
                    <a:pt x="46" y="12"/>
                  </a:lnTo>
                  <a:lnTo>
                    <a:pt x="47" y="12"/>
                  </a:lnTo>
                  <a:lnTo>
                    <a:pt x="47" y="12"/>
                  </a:lnTo>
                  <a:lnTo>
                    <a:pt x="47" y="12"/>
                  </a:lnTo>
                  <a:lnTo>
                    <a:pt x="48" y="12"/>
                  </a:lnTo>
                  <a:lnTo>
                    <a:pt x="50" y="12"/>
                  </a:lnTo>
                  <a:lnTo>
                    <a:pt x="50" y="12"/>
                  </a:lnTo>
                  <a:lnTo>
                    <a:pt x="50" y="12"/>
                  </a:lnTo>
                  <a:lnTo>
                    <a:pt x="51" y="13"/>
                  </a:lnTo>
                  <a:lnTo>
                    <a:pt x="51" y="13"/>
                  </a:lnTo>
                  <a:lnTo>
                    <a:pt x="52" y="13"/>
                  </a:lnTo>
                  <a:lnTo>
                    <a:pt x="52" y="13"/>
                  </a:lnTo>
                  <a:lnTo>
                    <a:pt x="53" y="13"/>
                  </a:lnTo>
                  <a:lnTo>
                    <a:pt x="53" y="13"/>
                  </a:lnTo>
                  <a:lnTo>
                    <a:pt x="53" y="13"/>
                  </a:lnTo>
                  <a:lnTo>
                    <a:pt x="54" y="13"/>
                  </a:lnTo>
                  <a:lnTo>
                    <a:pt x="54" y="13"/>
                  </a:lnTo>
                  <a:lnTo>
                    <a:pt x="54" y="13"/>
                  </a:lnTo>
                  <a:lnTo>
                    <a:pt x="55" y="13"/>
                  </a:lnTo>
                  <a:lnTo>
                    <a:pt x="55" y="13"/>
                  </a:lnTo>
                  <a:lnTo>
                    <a:pt x="55" y="12"/>
                  </a:lnTo>
                  <a:lnTo>
                    <a:pt x="55" y="12"/>
                  </a:lnTo>
                  <a:lnTo>
                    <a:pt x="57" y="12"/>
                  </a:lnTo>
                  <a:lnTo>
                    <a:pt x="58" y="11"/>
                  </a:lnTo>
                  <a:lnTo>
                    <a:pt x="58" y="11"/>
                  </a:lnTo>
                  <a:lnTo>
                    <a:pt x="59" y="11"/>
                  </a:lnTo>
                  <a:lnTo>
                    <a:pt x="59" y="11"/>
                  </a:lnTo>
                  <a:lnTo>
                    <a:pt x="59" y="10"/>
                  </a:lnTo>
                  <a:lnTo>
                    <a:pt x="59" y="10"/>
                  </a:lnTo>
                  <a:lnTo>
                    <a:pt x="59" y="10"/>
                  </a:lnTo>
                  <a:lnTo>
                    <a:pt x="59" y="10"/>
                  </a:lnTo>
                  <a:lnTo>
                    <a:pt x="60" y="10"/>
                  </a:lnTo>
                  <a:lnTo>
                    <a:pt x="61" y="8"/>
                  </a:lnTo>
                  <a:lnTo>
                    <a:pt x="62" y="8"/>
                  </a:lnTo>
                  <a:lnTo>
                    <a:pt x="62" y="7"/>
                  </a:lnTo>
                  <a:lnTo>
                    <a:pt x="62" y="7"/>
                  </a:lnTo>
                  <a:lnTo>
                    <a:pt x="64" y="7"/>
                  </a:lnTo>
                  <a:lnTo>
                    <a:pt x="64" y="7"/>
                  </a:lnTo>
                  <a:lnTo>
                    <a:pt x="64" y="6"/>
                  </a:lnTo>
                  <a:lnTo>
                    <a:pt x="65" y="6"/>
                  </a:lnTo>
                  <a:lnTo>
                    <a:pt x="65" y="6"/>
                  </a:lnTo>
                  <a:lnTo>
                    <a:pt x="66" y="6"/>
                  </a:lnTo>
                  <a:lnTo>
                    <a:pt x="66" y="6"/>
                  </a:lnTo>
                  <a:lnTo>
                    <a:pt x="67" y="5"/>
                  </a:lnTo>
                  <a:lnTo>
                    <a:pt x="67" y="6"/>
                  </a:lnTo>
                  <a:lnTo>
                    <a:pt x="69" y="7"/>
                  </a:lnTo>
                  <a:lnTo>
                    <a:pt x="69" y="7"/>
                  </a:lnTo>
                  <a:lnTo>
                    <a:pt x="71" y="6"/>
                  </a:lnTo>
                  <a:lnTo>
                    <a:pt x="73" y="6"/>
                  </a:lnTo>
                  <a:lnTo>
                    <a:pt x="73" y="6"/>
                  </a:lnTo>
                  <a:lnTo>
                    <a:pt x="75" y="6"/>
                  </a:lnTo>
                  <a:lnTo>
                    <a:pt x="76" y="6"/>
                  </a:lnTo>
                  <a:lnTo>
                    <a:pt x="76" y="6"/>
                  </a:lnTo>
                  <a:lnTo>
                    <a:pt x="76" y="6"/>
                  </a:lnTo>
                  <a:lnTo>
                    <a:pt x="76" y="5"/>
                  </a:lnTo>
                  <a:lnTo>
                    <a:pt x="76" y="5"/>
                  </a:lnTo>
                  <a:lnTo>
                    <a:pt x="76" y="5"/>
                  </a:lnTo>
                  <a:lnTo>
                    <a:pt x="78" y="5"/>
                  </a:lnTo>
                  <a:lnTo>
                    <a:pt x="78" y="5"/>
                  </a:lnTo>
                  <a:lnTo>
                    <a:pt x="78" y="5"/>
                  </a:lnTo>
                  <a:lnTo>
                    <a:pt x="78" y="5"/>
                  </a:lnTo>
                  <a:lnTo>
                    <a:pt x="78" y="5"/>
                  </a:lnTo>
                  <a:lnTo>
                    <a:pt x="78" y="5"/>
                  </a:lnTo>
                  <a:lnTo>
                    <a:pt x="78" y="5"/>
                  </a:lnTo>
                  <a:lnTo>
                    <a:pt x="79" y="5"/>
                  </a:lnTo>
                  <a:lnTo>
                    <a:pt x="79" y="5"/>
                  </a:lnTo>
                  <a:lnTo>
                    <a:pt x="79" y="5"/>
                  </a:lnTo>
                  <a:lnTo>
                    <a:pt x="79" y="4"/>
                  </a:lnTo>
                  <a:lnTo>
                    <a:pt x="79" y="4"/>
                  </a:lnTo>
                  <a:lnTo>
                    <a:pt x="79" y="4"/>
                  </a:lnTo>
                  <a:lnTo>
                    <a:pt x="80" y="4"/>
                  </a:lnTo>
                  <a:lnTo>
                    <a:pt x="80" y="4"/>
                  </a:lnTo>
                  <a:lnTo>
                    <a:pt x="81" y="4"/>
                  </a:lnTo>
                  <a:lnTo>
                    <a:pt x="81" y="4"/>
                  </a:lnTo>
                  <a:lnTo>
                    <a:pt x="82" y="4"/>
                  </a:lnTo>
                  <a:lnTo>
                    <a:pt x="82" y="4"/>
                  </a:lnTo>
                  <a:lnTo>
                    <a:pt x="83" y="4"/>
                  </a:lnTo>
                  <a:lnTo>
                    <a:pt x="83" y="4"/>
                  </a:lnTo>
                  <a:lnTo>
                    <a:pt x="84" y="4"/>
                  </a:lnTo>
                  <a:lnTo>
                    <a:pt x="84" y="4"/>
                  </a:lnTo>
                  <a:lnTo>
                    <a:pt x="86" y="5"/>
                  </a:lnTo>
                  <a:lnTo>
                    <a:pt x="87" y="5"/>
                  </a:lnTo>
                  <a:lnTo>
                    <a:pt x="87" y="5"/>
                  </a:lnTo>
                  <a:lnTo>
                    <a:pt x="87" y="5"/>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43" name="Freeform 1002">
              <a:extLst>
                <a:ext uri="{FF2B5EF4-FFF2-40B4-BE49-F238E27FC236}">
                  <a16:creationId xmlns:a16="http://schemas.microsoft.com/office/drawing/2014/main" id="{013BBF01-0C97-492D-8CAE-AB753C1D4446}"/>
                </a:ext>
              </a:extLst>
            </p:cNvPr>
            <p:cNvSpPr>
              <a:spLocks/>
            </p:cNvSpPr>
            <p:nvPr/>
          </p:nvSpPr>
          <p:spPr bwMode="auto">
            <a:xfrm>
              <a:off x="6570327" y="3094785"/>
              <a:ext cx="189639" cy="288465"/>
            </a:xfrm>
            <a:custGeom>
              <a:avLst/>
              <a:gdLst>
                <a:gd name="T0" fmla="*/ 4 w 142"/>
                <a:gd name="T1" fmla="*/ 210 h 216"/>
                <a:gd name="T2" fmla="*/ 0 w 142"/>
                <a:gd name="T3" fmla="*/ 204 h 216"/>
                <a:gd name="T4" fmla="*/ 0 w 142"/>
                <a:gd name="T5" fmla="*/ 195 h 216"/>
                <a:gd name="T6" fmla="*/ 0 w 142"/>
                <a:gd name="T7" fmla="*/ 182 h 216"/>
                <a:gd name="T8" fmla="*/ 0 w 142"/>
                <a:gd name="T9" fmla="*/ 169 h 216"/>
                <a:gd name="T10" fmla="*/ 0 w 142"/>
                <a:gd name="T11" fmla="*/ 157 h 216"/>
                <a:gd name="T12" fmla="*/ 0 w 142"/>
                <a:gd name="T13" fmla="*/ 145 h 216"/>
                <a:gd name="T14" fmla="*/ 6 w 142"/>
                <a:gd name="T15" fmla="*/ 137 h 216"/>
                <a:gd name="T16" fmla="*/ 13 w 142"/>
                <a:gd name="T17" fmla="*/ 126 h 216"/>
                <a:gd name="T18" fmla="*/ 21 w 142"/>
                <a:gd name="T19" fmla="*/ 123 h 216"/>
                <a:gd name="T20" fmla="*/ 27 w 142"/>
                <a:gd name="T21" fmla="*/ 118 h 216"/>
                <a:gd name="T22" fmla="*/ 36 w 142"/>
                <a:gd name="T23" fmla="*/ 112 h 216"/>
                <a:gd name="T24" fmla="*/ 44 w 142"/>
                <a:gd name="T25" fmla="*/ 111 h 216"/>
                <a:gd name="T26" fmla="*/ 52 w 142"/>
                <a:gd name="T27" fmla="*/ 112 h 216"/>
                <a:gd name="T28" fmla="*/ 60 w 142"/>
                <a:gd name="T29" fmla="*/ 104 h 216"/>
                <a:gd name="T30" fmla="*/ 70 w 142"/>
                <a:gd name="T31" fmla="*/ 92 h 216"/>
                <a:gd name="T32" fmla="*/ 75 w 142"/>
                <a:gd name="T33" fmla="*/ 85 h 216"/>
                <a:gd name="T34" fmla="*/ 81 w 142"/>
                <a:gd name="T35" fmla="*/ 80 h 216"/>
                <a:gd name="T36" fmla="*/ 87 w 142"/>
                <a:gd name="T37" fmla="*/ 73 h 216"/>
                <a:gd name="T38" fmla="*/ 92 w 142"/>
                <a:gd name="T39" fmla="*/ 68 h 216"/>
                <a:gd name="T40" fmla="*/ 96 w 142"/>
                <a:gd name="T41" fmla="*/ 60 h 216"/>
                <a:gd name="T42" fmla="*/ 102 w 142"/>
                <a:gd name="T43" fmla="*/ 50 h 216"/>
                <a:gd name="T44" fmla="*/ 108 w 142"/>
                <a:gd name="T45" fmla="*/ 40 h 216"/>
                <a:gd name="T46" fmla="*/ 108 w 142"/>
                <a:gd name="T47" fmla="*/ 27 h 216"/>
                <a:gd name="T48" fmla="*/ 107 w 142"/>
                <a:gd name="T49" fmla="*/ 15 h 216"/>
                <a:gd name="T50" fmla="*/ 113 w 142"/>
                <a:gd name="T51" fmla="*/ 10 h 216"/>
                <a:gd name="T52" fmla="*/ 120 w 142"/>
                <a:gd name="T53" fmla="*/ 8 h 216"/>
                <a:gd name="T54" fmla="*/ 125 w 142"/>
                <a:gd name="T55" fmla="*/ 6 h 216"/>
                <a:gd name="T56" fmla="*/ 131 w 142"/>
                <a:gd name="T57" fmla="*/ 0 h 216"/>
                <a:gd name="T58" fmla="*/ 137 w 142"/>
                <a:gd name="T59" fmla="*/ 3 h 216"/>
                <a:gd name="T60" fmla="*/ 137 w 142"/>
                <a:gd name="T61" fmla="*/ 6 h 216"/>
                <a:gd name="T62" fmla="*/ 138 w 142"/>
                <a:gd name="T63" fmla="*/ 13 h 216"/>
                <a:gd name="T64" fmla="*/ 137 w 142"/>
                <a:gd name="T65" fmla="*/ 22 h 216"/>
                <a:gd name="T66" fmla="*/ 138 w 142"/>
                <a:gd name="T67" fmla="*/ 24 h 216"/>
                <a:gd name="T68" fmla="*/ 142 w 142"/>
                <a:gd name="T69" fmla="*/ 26 h 216"/>
                <a:gd name="T70" fmla="*/ 135 w 142"/>
                <a:gd name="T71" fmla="*/ 27 h 216"/>
                <a:gd name="T72" fmla="*/ 134 w 142"/>
                <a:gd name="T73" fmla="*/ 35 h 216"/>
                <a:gd name="T74" fmla="*/ 132 w 142"/>
                <a:gd name="T75" fmla="*/ 42 h 216"/>
                <a:gd name="T76" fmla="*/ 129 w 142"/>
                <a:gd name="T77" fmla="*/ 48 h 216"/>
                <a:gd name="T78" fmla="*/ 128 w 142"/>
                <a:gd name="T79" fmla="*/ 55 h 216"/>
                <a:gd name="T80" fmla="*/ 122 w 142"/>
                <a:gd name="T81" fmla="*/ 62 h 216"/>
                <a:gd name="T82" fmla="*/ 120 w 142"/>
                <a:gd name="T83" fmla="*/ 69 h 216"/>
                <a:gd name="T84" fmla="*/ 113 w 142"/>
                <a:gd name="T85" fmla="*/ 84 h 216"/>
                <a:gd name="T86" fmla="*/ 108 w 142"/>
                <a:gd name="T87" fmla="*/ 97 h 216"/>
                <a:gd name="T88" fmla="*/ 98 w 142"/>
                <a:gd name="T89" fmla="*/ 117 h 216"/>
                <a:gd name="T90" fmla="*/ 84 w 142"/>
                <a:gd name="T91" fmla="*/ 134 h 216"/>
                <a:gd name="T92" fmla="*/ 74 w 142"/>
                <a:gd name="T93" fmla="*/ 146 h 216"/>
                <a:gd name="T94" fmla="*/ 65 w 142"/>
                <a:gd name="T95" fmla="*/ 154 h 216"/>
                <a:gd name="T96" fmla="*/ 51 w 142"/>
                <a:gd name="T97" fmla="*/ 164 h 216"/>
                <a:gd name="T98" fmla="*/ 43 w 142"/>
                <a:gd name="T99" fmla="*/ 172 h 216"/>
                <a:gd name="T100" fmla="*/ 37 w 142"/>
                <a:gd name="T101" fmla="*/ 176 h 216"/>
                <a:gd name="T102" fmla="*/ 24 w 142"/>
                <a:gd name="T103" fmla="*/ 193 h 216"/>
                <a:gd name="T104" fmla="*/ 21 w 142"/>
                <a:gd name="T105" fmla="*/ 196 h 216"/>
                <a:gd name="T106" fmla="*/ 15 w 142"/>
                <a:gd name="T107" fmla="*/ 203 h 216"/>
                <a:gd name="T108" fmla="*/ 13 w 142"/>
                <a:gd name="T109" fmla="*/ 204 h 216"/>
                <a:gd name="T110" fmla="*/ 13 w 142"/>
                <a:gd name="T111" fmla="*/ 209 h 216"/>
                <a:gd name="T112" fmla="*/ 8 w 142"/>
                <a:gd name="T113" fmla="*/ 215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2" h="216">
                  <a:moveTo>
                    <a:pt x="8" y="216"/>
                  </a:moveTo>
                  <a:lnTo>
                    <a:pt x="8" y="215"/>
                  </a:lnTo>
                  <a:lnTo>
                    <a:pt x="7" y="215"/>
                  </a:lnTo>
                  <a:lnTo>
                    <a:pt x="7" y="214"/>
                  </a:lnTo>
                  <a:lnTo>
                    <a:pt x="6" y="213"/>
                  </a:lnTo>
                  <a:lnTo>
                    <a:pt x="6" y="211"/>
                  </a:lnTo>
                  <a:lnTo>
                    <a:pt x="4" y="210"/>
                  </a:lnTo>
                  <a:lnTo>
                    <a:pt x="4" y="209"/>
                  </a:lnTo>
                  <a:lnTo>
                    <a:pt x="3" y="209"/>
                  </a:lnTo>
                  <a:lnTo>
                    <a:pt x="2" y="208"/>
                  </a:lnTo>
                  <a:lnTo>
                    <a:pt x="2" y="207"/>
                  </a:lnTo>
                  <a:lnTo>
                    <a:pt x="1" y="206"/>
                  </a:lnTo>
                  <a:lnTo>
                    <a:pt x="1" y="204"/>
                  </a:lnTo>
                  <a:lnTo>
                    <a:pt x="0" y="204"/>
                  </a:lnTo>
                  <a:lnTo>
                    <a:pt x="0" y="203"/>
                  </a:lnTo>
                  <a:lnTo>
                    <a:pt x="0" y="202"/>
                  </a:lnTo>
                  <a:lnTo>
                    <a:pt x="0" y="201"/>
                  </a:lnTo>
                  <a:lnTo>
                    <a:pt x="0" y="200"/>
                  </a:lnTo>
                  <a:lnTo>
                    <a:pt x="0" y="199"/>
                  </a:lnTo>
                  <a:lnTo>
                    <a:pt x="0" y="196"/>
                  </a:lnTo>
                  <a:lnTo>
                    <a:pt x="0" y="195"/>
                  </a:lnTo>
                  <a:lnTo>
                    <a:pt x="0" y="193"/>
                  </a:lnTo>
                  <a:lnTo>
                    <a:pt x="0" y="192"/>
                  </a:lnTo>
                  <a:lnTo>
                    <a:pt x="0" y="189"/>
                  </a:lnTo>
                  <a:lnTo>
                    <a:pt x="0" y="188"/>
                  </a:lnTo>
                  <a:lnTo>
                    <a:pt x="0" y="186"/>
                  </a:lnTo>
                  <a:lnTo>
                    <a:pt x="0" y="183"/>
                  </a:lnTo>
                  <a:lnTo>
                    <a:pt x="0" y="182"/>
                  </a:lnTo>
                  <a:lnTo>
                    <a:pt x="0" y="180"/>
                  </a:lnTo>
                  <a:lnTo>
                    <a:pt x="0" y="178"/>
                  </a:lnTo>
                  <a:lnTo>
                    <a:pt x="0" y="176"/>
                  </a:lnTo>
                  <a:lnTo>
                    <a:pt x="0" y="174"/>
                  </a:lnTo>
                  <a:lnTo>
                    <a:pt x="0" y="172"/>
                  </a:lnTo>
                  <a:lnTo>
                    <a:pt x="0" y="171"/>
                  </a:lnTo>
                  <a:lnTo>
                    <a:pt x="0" y="169"/>
                  </a:lnTo>
                  <a:lnTo>
                    <a:pt x="0" y="168"/>
                  </a:lnTo>
                  <a:lnTo>
                    <a:pt x="0" y="166"/>
                  </a:lnTo>
                  <a:lnTo>
                    <a:pt x="0" y="164"/>
                  </a:lnTo>
                  <a:lnTo>
                    <a:pt x="0" y="162"/>
                  </a:lnTo>
                  <a:lnTo>
                    <a:pt x="0" y="160"/>
                  </a:lnTo>
                  <a:lnTo>
                    <a:pt x="0" y="158"/>
                  </a:lnTo>
                  <a:lnTo>
                    <a:pt x="0" y="157"/>
                  </a:lnTo>
                  <a:lnTo>
                    <a:pt x="0" y="154"/>
                  </a:lnTo>
                  <a:lnTo>
                    <a:pt x="0" y="153"/>
                  </a:lnTo>
                  <a:lnTo>
                    <a:pt x="0" y="151"/>
                  </a:lnTo>
                  <a:lnTo>
                    <a:pt x="0" y="150"/>
                  </a:lnTo>
                  <a:lnTo>
                    <a:pt x="0" y="148"/>
                  </a:lnTo>
                  <a:lnTo>
                    <a:pt x="0" y="146"/>
                  </a:lnTo>
                  <a:lnTo>
                    <a:pt x="0" y="145"/>
                  </a:lnTo>
                  <a:lnTo>
                    <a:pt x="0" y="144"/>
                  </a:lnTo>
                  <a:lnTo>
                    <a:pt x="1" y="143"/>
                  </a:lnTo>
                  <a:lnTo>
                    <a:pt x="2" y="141"/>
                  </a:lnTo>
                  <a:lnTo>
                    <a:pt x="3" y="140"/>
                  </a:lnTo>
                  <a:lnTo>
                    <a:pt x="4" y="139"/>
                  </a:lnTo>
                  <a:lnTo>
                    <a:pt x="6" y="138"/>
                  </a:lnTo>
                  <a:lnTo>
                    <a:pt x="6" y="137"/>
                  </a:lnTo>
                  <a:lnTo>
                    <a:pt x="7" y="136"/>
                  </a:lnTo>
                  <a:lnTo>
                    <a:pt x="7" y="134"/>
                  </a:lnTo>
                  <a:lnTo>
                    <a:pt x="8" y="132"/>
                  </a:lnTo>
                  <a:lnTo>
                    <a:pt x="9" y="131"/>
                  </a:lnTo>
                  <a:lnTo>
                    <a:pt x="10" y="129"/>
                  </a:lnTo>
                  <a:lnTo>
                    <a:pt x="11" y="126"/>
                  </a:lnTo>
                  <a:lnTo>
                    <a:pt x="13" y="126"/>
                  </a:lnTo>
                  <a:lnTo>
                    <a:pt x="13" y="125"/>
                  </a:lnTo>
                  <a:lnTo>
                    <a:pt x="14" y="124"/>
                  </a:lnTo>
                  <a:lnTo>
                    <a:pt x="15" y="123"/>
                  </a:lnTo>
                  <a:lnTo>
                    <a:pt x="16" y="123"/>
                  </a:lnTo>
                  <a:lnTo>
                    <a:pt x="17" y="123"/>
                  </a:lnTo>
                  <a:lnTo>
                    <a:pt x="20" y="123"/>
                  </a:lnTo>
                  <a:lnTo>
                    <a:pt x="21" y="123"/>
                  </a:lnTo>
                  <a:lnTo>
                    <a:pt x="23" y="122"/>
                  </a:lnTo>
                  <a:lnTo>
                    <a:pt x="24" y="122"/>
                  </a:lnTo>
                  <a:lnTo>
                    <a:pt x="25" y="122"/>
                  </a:lnTo>
                  <a:lnTo>
                    <a:pt x="25" y="120"/>
                  </a:lnTo>
                  <a:lnTo>
                    <a:pt x="27" y="120"/>
                  </a:lnTo>
                  <a:lnTo>
                    <a:pt x="27" y="119"/>
                  </a:lnTo>
                  <a:lnTo>
                    <a:pt x="27" y="118"/>
                  </a:lnTo>
                  <a:lnTo>
                    <a:pt x="28" y="117"/>
                  </a:lnTo>
                  <a:lnTo>
                    <a:pt x="29" y="116"/>
                  </a:lnTo>
                  <a:lnTo>
                    <a:pt x="30" y="116"/>
                  </a:lnTo>
                  <a:lnTo>
                    <a:pt x="32" y="115"/>
                  </a:lnTo>
                  <a:lnTo>
                    <a:pt x="34" y="113"/>
                  </a:lnTo>
                  <a:lnTo>
                    <a:pt x="35" y="113"/>
                  </a:lnTo>
                  <a:lnTo>
                    <a:pt x="36" y="112"/>
                  </a:lnTo>
                  <a:lnTo>
                    <a:pt x="37" y="112"/>
                  </a:lnTo>
                  <a:lnTo>
                    <a:pt x="38" y="112"/>
                  </a:lnTo>
                  <a:lnTo>
                    <a:pt x="39" y="112"/>
                  </a:lnTo>
                  <a:lnTo>
                    <a:pt x="40" y="111"/>
                  </a:lnTo>
                  <a:lnTo>
                    <a:pt x="42" y="111"/>
                  </a:lnTo>
                  <a:lnTo>
                    <a:pt x="43" y="111"/>
                  </a:lnTo>
                  <a:lnTo>
                    <a:pt x="44" y="111"/>
                  </a:lnTo>
                  <a:lnTo>
                    <a:pt x="45" y="111"/>
                  </a:lnTo>
                  <a:lnTo>
                    <a:pt x="46" y="111"/>
                  </a:lnTo>
                  <a:lnTo>
                    <a:pt x="47" y="112"/>
                  </a:lnTo>
                  <a:lnTo>
                    <a:pt x="49" y="112"/>
                  </a:lnTo>
                  <a:lnTo>
                    <a:pt x="50" y="112"/>
                  </a:lnTo>
                  <a:lnTo>
                    <a:pt x="51" y="112"/>
                  </a:lnTo>
                  <a:lnTo>
                    <a:pt x="52" y="112"/>
                  </a:lnTo>
                  <a:lnTo>
                    <a:pt x="53" y="112"/>
                  </a:lnTo>
                  <a:lnTo>
                    <a:pt x="54" y="112"/>
                  </a:lnTo>
                  <a:lnTo>
                    <a:pt x="56" y="111"/>
                  </a:lnTo>
                  <a:lnTo>
                    <a:pt x="56" y="110"/>
                  </a:lnTo>
                  <a:lnTo>
                    <a:pt x="58" y="108"/>
                  </a:lnTo>
                  <a:lnTo>
                    <a:pt x="59" y="106"/>
                  </a:lnTo>
                  <a:lnTo>
                    <a:pt x="60" y="104"/>
                  </a:lnTo>
                  <a:lnTo>
                    <a:pt x="61" y="102"/>
                  </a:lnTo>
                  <a:lnTo>
                    <a:pt x="64" y="101"/>
                  </a:lnTo>
                  <a:lnTo>
                    <a:pt x="65" y="98"/>
                  </a:lnTo>
                  <a:lnTo>
                    <a:pt x="66" y="97"/>
                  </a:lnTo>
                  <a:lnTo>
                    <a:pt x="67" y="95"/>
                  </a:lnTo>
                  <a:lnTo>
                    <a:pt x="68" y="94"/>
                  </a:lnTo>
                  <a:lnTo>
                    <a:pt x="70" y="92"/>
                  </a:lnTo>
                  <a:lnTo>
                    <a:pt x="70" y="91"/>
                  </a:lnTo>
                  <a:lnTo>
                    <a:pt x="71" y="91"/>
                  </a:lnTo>
                  <a:lnTo>
                    <a:pt x="72" y="90"/>
                  </a:lnTo>
                  <a:lnTo>
                    <a:pt x="73" y="89"/>
                  </a:lnTo>
                  <a:lnTo>
                    <a:pt x="73" y="88"/>
                  </a:lnTo>
                  <a:lnTo>
                    <a:pt x="74" y="87"/>
                  </a:lnTo>
                  <a:lnTo>
                    <a:pt x="75" y="85"/>
                  </a:lnTo>
                  <a:lnTo>
                    <a:pt x="77" y="84"/>
                  </a:lnTo>
                  <a:lnTo>
                    <a:pt x="78" y="83"/>
                  </a:lnTo>
                  <a:lnTo>
                    <a:pt x="78" y="82"/>
                  </a:lnTo>
                  <a:lnTo>
                    <a:pt x="79" y="82"/>
                  </a:lnTo>
                  <a:lnTo>
                    <a:pt x="80" y="81"/>
                  </a:lnTo>
                  <a:lnTo>
                    <a:pt x="80" y="80"/>
                  </a:lnTo>
                  <a:lnTo>
                    <a:pt x="81" y="80"/>
                  </a:lnTo>
                  <a:lnTo>
                    <a:pt x="81" y="78"/>
                  </a:lnTo>
                  <a:lnTo>
                    <a:pt x="82" y="78"/>
                  </a:lnTo>
                  <a:lnTo>
                    <a:pt x="82" y="77"/>
                  </a:lnTo>
                  <a:lnTo>
                    <a:pt x="84" y="76"/>
                  </a:lnTo>
                  <a:lnTo>
                    <a:pt x="85" y="75"/>
                  </a:lnTo>
                  <a:lnTo>
                    <a:pt x="86" y="74"/>
                  </a:lnTo>
                  <a:lnTo>
                    <a:pt x="87" y="73"/>
                  </a:lnTo>
                  <a:lnTo>
                    <a:pt x="87" y="71"/>
                  </a:lnTo>
                  <a:lnTo>
                    <a:pt x="88" y="71"/>
                  </a:lnTo>
                  <a:lnTo>
                    <a:pt x="88" y="70"/>
                  </a:lnTo>
                  <a:lnTo>
                    <a:pt x="89" y="70"/>
                  </a:lnTo>
                  <a:lnTo>
                    <a:pt x="91" y="69"/>
                  </a:lnTo>
                  <a:lnTo>
                    <a:pt x="91" y="68"/>
                  </a:lnTo>
                  <a:lnTo>
                    <a:pt x="92" y="68"/>
                  </a:lnTo>
                  <a:lnTo>
                    <a:pt x="92" y="67"/>
                  </a:lnTo>
                  <a:lnTo>
                    <a:pt x="93" y="66"/>
                  </a:lnTo>
                  <a:lnTo>
                    <a:pt x="94" y="64"/>
                  </a:lnTo>
                  <a:lnTo>
                    <a:pt x="94" y="63"/>
                  </a:lnTo>
                  <a:lnTo>
                    <a:pt x="95" y="63"/>
                  </a:lnTo>
                  <a:lnTo>
                    <a:pt x="96" y="62"/>
                  </a:lnTo>
                  <a:lnTo>
                    <a:pt x="96" y="60"/>
                  </a:lnTo>
                  <a:lnTo>
                    <a:pt x="98" y="59"/>
                  </a:lnTo>
                  <a:lnTo>
                    <a:pt x="99" y="57"/>
                  </a:lnTo>
                  <a:lnTo>
                    <a:pt x="99" y="56"/>
                  </a:lnTo>
                  <a:lnTo>
                    <a:pt x="100" y="54"/>
                  </a:lnTo>
                  <a:lnTo>
                    <a:pt x="101" y="53"/>
                  </a:lnTo>
                  <a:lnTo>
                    <a:pt x="101" y="52"/>
                  </a:lnTo>
                  <a:lnTo>
                    <a:pt x="102" y="50"/>
                  </a:lnTo>
                  <a:lnTo>
                    <a:pt x="103" y="49"/>
                  </a:lnTo>
                  <a:lnTo>
                    <a:pt x="104" y="47"/>
                  </a:lnTo>
                  <a:lnTo>
                    <a:pt x="104" y="46"/>
                  </a:lnTo>
                  <a:lnTo>
                    <a:pt x="106" y="45"/>
                  </a:lnTo>
                  <a:lnTo>
                    <a:pt x="107" y="43"/>
                  </a:lnTo>
                  <a:lnTo>
                    <a:pt x="107" y="41"/>
                  </a:lnTo>
                  <a:lnTo>
                    <a:pt x="108" y="40"/>
                  </a:lnTo>
                  <a:lnTo>
                    <a:pt x="108" y="39"/>
                  </a:lnTo>
                  <a:lnTo>
                    <a:pt x="108" y="36"/>
                  </a:lnTo>
                  <a:lnTo>
                    <a:pt x="108" y="35"/>
                  </a:lnTo>
                  <a:lnTo>
                    <a:pt x="108" y="33"/>
                  </a:lnTo>
                  <a:lnTo>
                    <a:pt x="108" y="31"/>
                  </a:lnTo>
                  <a:lnTo>
                    <a:pt x="108" y="29"/>
                  </a:lnTo>
                  <a:lnTo>
                    <a:pt x="108" y="27"/>
                  </a:lnTo>
                  <a:lnTo>
                    <a:pt x="107" y="26"/>
                  </a:lnTo>
                  <a:lnTo>
                    <a:pt x="107" y="24"/>
                  </a:lnTo>
                  <a:lnTo>
                    <a:pt x="107" y="22"/>
                  </a:lnTo>
                  <a:lnTo>
                    <a:pt x="107" y="20"/>
                  </a:lnTo>
                  <a:lnTo>
                    <a:pt x="107" y="19"/>
                  </a:lnTo>
                  <a:lnTo>
                    <a:pt x="107" y="17"/>
                  </a:lnTo>
                  <a:lnTo>
                    <a:pt x="107" y="15"/>
                  </a:lnTo>
                  <a:lnTo>
                    <a:pt x="107" y="13"/>
                  </a:lnTo>
                  <a:lnTo>
                    <a:pt x="107" y="12"/>
                  </a:lnTo>
                  <a:lnTo>
                    <a:pt x="109" y="11"/>
                  </a:lnTo>
                  <a:lnTo>
                    <a:pt x="111" y="11"/>
                  </a:lnTo>
                  <a:lnTo>
                    <a:pt x="111" y="10"/>
                  </a:lnTo>
                  <a:lnTo>
                    <a:pt x="113" y="11"/>
                  </a:lnTo>
                  <a:lnTo>
                    <a:pt x="113" y="10"/>
                  </a:lnTo>
                  <a:lnTo>
                    <a:pt x="114" y="10"/>
                  </a:lnTo>
                  <a:lnTo>
                    <a:pt x="115" y="10"/>
                  </a:lnTo>
                  <a:lnTo>
                    <a:pt x="115" y="8"/>
                  </a:lnTo>
                  <a:lnTo>
                    <a:pt x="116" y="8"/>
                  </a:lnTo>
                  <a:lnTo>
                    <a:pt x="117" y="8"/>
                  </a:lnTo>
                  <a:lnTo>
                    <a:pt x="118" y="8"/>
                  </a:lnTo>
                  <a:lnTo>
                    <a:pt x="120" y="8"/>
                  </a:lnTo>
                  <a:lnTo>
                    <a:pt x="120" y="7"/>
                  </a:lnTo>
                  <a:lnTo>
                    <a:pt x="121" y="7"/>
                  </a:lnTo>
                  <a:lnTo>
                    <a:pt x="122" y="7"/>
                  </a:lnTo>
                  <a:lnTo>
                    <a:pt x="123" y="7"/>
                  </a:lnTo>
                  <a:lnTo>
                    <a:pt x="123" y="6"/>
                  </a:lnTo>
                  <a:lnTo>
                    <a:pt x="124" y="6"/>
                  </a:lnTo>
                  <a:lnTo>
                    <a:pt x="125" y="6"/>
                  </a:lnTo>
                  <a:lnTo>
                    <a:pt x="127" y="5"/>
                  </a:lnTo>
                  <a:lnTo>
                    <a:pt x="128" y="5"/>
                  </a:lnTo>
                  <a:lnTo>
                    <a:pt x="128" y="4"/>
                  </a:lnTo>
                  <a:lnTo>
                    <a:pt x="128" y="3"/>
                  </a:lnTo>
                  <a:lnTo>
                    <a:pt x="129" y="1"/>
                  </a:lnTo>
                  <a:lnTo>
                    <a:pt x="130" y="0"/>
                  </a:lnTo>
                  <a:lnTo>
                    <a:pt x="131" y="0"/>
                  </a:lnTo>
                  <a:lnTo>
                    <a:pt x="132" y="0"/>
                  </a:lnTo>
                  <a:lnTo>
                    <a:pt x="134" y="0"/>
                  </a:lnTo>
                  <a:lnTo>
                    <a:pt x="135" y="0"/>
                  </a:lnTo>
                  <a:lnTo>
                    <a:pt x="135" y="1"/>
                  </a:lnTo>
                  <a:lnTo>
                    <a:pt x="136" y="1"/>
                  </a:lnTo>
                  <a:lnTo>
                    <a:pt x="137" y="1"/>
                  </a:lnTo>
                  <a:lnTo>
                    <a:pt x="137" y="3"/>
                  </a:lnTo>
                  <a:lnTo>
                    <a:pt x="138" y="3"/>
                  </a:lnTo>
                  <a:lnTo>
                    <a:pt x="139" y="3"/>
                  </a:lnTo>
                  <a:lnTo>
                    <a:pt x="138" y="3"/>
                  </a:lnTo>
                  <a:lnTo>
                    <a:pt x="138" y="4"/>
                  </a:lnTo>
                  <a:lnTo>
                    <a:pt x="138" y="5"/>
                  </a:lnTo>
                  <a:lnTo>
                    <a:pt x="138" y="6"/>
                  </a:lnTo>
                  <a:lnTo>
                    <a:pt x="137" y="6"/>
                  </a:lnTo>
                  <a:lnTo>
                    <a:pt x="137" y="7"/>
                  </a:lnTo>
                  <a:lnTo>
                    <a:pt x="137" y="8"/>
                  </a:lnTo>
                  <a:lnTo>
                    <a:pt x="136" y="10"/>
                  </a:lnTo>
                  <a:lnTo>
                    <a:pt x="136" y="11"/>
                  </a:lnTo>
                  <a:lnTo>
                    <a:pt x="136" y="12"/>
                  </a:lnTo>
                  <a:lnTo>
                    <a:pt x="137" y="13"/>
                  </a:lnTo>
                  <a:lnTo>
                    <a:pt x="138" y="13"/>
                  </a:lnTo>
                  <a:lnTo>
                    <a:pt x="138" y="14"/>
                  </a:lnTo>
                  <a:lnTo>
                    <a:pt x="137" y="14"/>
                  </a:lnTo>
                  <a:lnTo>
                    <a:pt x="137" y="15"/>
                  </a:lnTo>
                  <a:lnTo>
                    <a:pt x="137" y="18"/>
                  </a:lnTo>
                  <a:lnTo>
                    <a:pt x="137" y="20"/>
                  </a:lnTo>
                  <a:lnTo>
                    <a:pt x="138" y="22"/>
                  </a:lnTo>
                  <a:lnTo>
                    <a:pt x="137" y="22"/>
                  </a:lnTo>
                  <a:lnTo>
                    <a:pt x="137" y="24"/>
                  </a:lnTo>
                  <a:lnTo>
                    <a:pt x="136" y="24"/>
                  </a:lnTo>
                  <a:lnTo>
                    <a:pt x="136" y="25"/>
                  </a:lnTo>
                  <a:lnTo>
                    <a:pt x="138" y="25"/>
                  </a:lnTo>
                  <a:lnTo>
                    <a:pt x="139" y="25"/>
                  </a:lnTo>
                  <a:lnTo>
                    <a:pt x="139" y="24"/>
                  </a:lnTo>
                  <a:lnTo>
                    <a:pt x="138" y="24"/>
                  </a:lnTo>
                  <a:lnTo>
                    <a:pt x="138" y="22"/>
                  </a:lnTo>
                  <a:lnTo>
                    <a:pt x="139" y="24"/>
                  </a:lnTo>
                  <a:lnTo>
                    <a:pt x="141" y="24"/>
                  </a:lnTo>
                  <a:lnTo>
                    <a:pt x="142" y="24"/>
                  </a:lnTo>
                  <a:lnTo>
                    <a:pt x="142" y="25"/>
                  </a:lnTo>
                  <a:lnTo>
                    <a:pt x="141" y="26"/>
                  </a:lnTo>
                  <a:lnTo>
                    <a:pt x="142" y="26"/>
                  </a:lnTo>
                  <a:lnTo>
                    <a:pt x="141" y="26"/>
                  </a:lnTo>
                  <a:lnTo>
                    <a:pt x="139" y="26"/>
                  </a:lnTo>
                  <a:lnTo>
                    <a:pt x="139" y="25"/>
                  </a:lnTo>
                  <a:lnTo>
                    <a:pt x="137" y="25"/>
                  </a:lnTo>
                  <a:lnTo>
                    <a:pt x="136" y="25"/>
                  </a:lnTo>
                  <a:lnTo>
                    <a:pt x="135" y="26"/>
                  </a:lnTo>
                  <a:lnTo>
                    <a:pt x="135" y="27"/>
                  </a:lnTo>
                  <a:lnTo>
                    <a:pt x="135" y="28"/>
                  </a:lnTo>
                  <a:lnTo>
                    <a:pt x="135" y="29"/>
                  </a:lnTo>
                  <a:lnTo>
                    <a:pt x="135" y="31"/>
                  </a:lnTo>
                  <a:lnTo>
                    <a:pt x="135" y="32"/>
                  </a:lnTo>
                  <a:lnTo>
                    <a:pt x="135" y="33"/>
                  </a:lnTo>
                  <a:lnTo>
                    <a:pt x="135" y="34"/>
                  </a:lnTo>
                  <a:lnTo>
                    <a:pt x="134" y="35"/>
                  </a:lnTo>
                  <a:lnTo>
                    <a:pt x="134" y="36"/>
                  </a:lnTo>
                  <a:lnTo>
                    <a:pt x="134" y="38"/>
                  </a:lnTo>
                  <a:lnTo>
                    <a:pt x="134" y="39"/>
                  </a:lnTo>
                  <a:lnTo>
                    <a:pt x="135" y="40"/>
                  </a:lnTo>
                  <a:lnTo>
                    <a:pt x="134" y="41"/>
                  </a:lnTo>
                  <a:lnTo>
                    <a:pt x="134" y="42"/>
                  </a:lnTo>
                  <a:lnTo>
                    <a:pt x="132" y="42"/>
                  </a:lnTo>
                  <a:lnTo>
                    <a:pt x="132" y="43"/>
                  </a:lnTo>
                  <a:lnTo>
                    <a:pt x="131" y="43"/>
                  </a:lnTo>
                  <a:lnTo>
                    <a:pt x="131" y="45"/>
                  </a:lnTo>
                  <a:lnTo>
                    <a:pt x="131" y="46"/>
                  </a:lnTo>
                  <a:lnTo>
                    <a:pt x="131" y="47"/>
                  </a:lnTo>
                  <a:lnTo>
                    <a:pt x="130" y="48"/>
                  </a:lnTo>
                  <a:lnTo>
                    <a:pt x="129" y="48"/>
                  </a:lnTo>
                  <a:lnTo>
                    <a:pt x="129" y="49"/>
                  </a:lnTo>
                  <a:lnTo>
                    <a:pt x="129" y="50"/>
                  </a:lnTo>
                  <a:lnTo>
                    <a:pt x="129" y="52"/>
                  </a:lnTo>
                  <a:lnTo>
                    <a:pt x="128" y="52"/>
                  </a:lnTo>
                  <a:lnTo>
                    <a:pt x="128" y="53"/>
                  </a:lnTo>
                  <a:lnTo>
                    <a:pt x="128" y="54"/>
                  </a:lnTo>
                  <a:lnTo>
                    <a:pt x="128" y="55"/>
                  </a:lnTo>
                  <a:lnTo>
                    <a:pt x="127" y="55"/>
                  </a:lnTo>
                  <a:lnTo>
                    <a:pt x="127" y="56"/>
                  </a:lnTo>
                  <a:lnTo>
                    <a:pt x="125" y="57"/>
                  </a:lnTo>
                  <a:lnTo>
                    <a:pt x="125" y="59"/>
                  </a:lnTo>
                  <a:lnTo>
                    <a:pt x="124" y="60"/>
                  </a:lnTo>
                  <a:lnTo>
                    <a:pt x="124" y="61"/>
                  </a:lnTo>
                  <a:lnTo>
                    <a:pt x="122" y="62"/>
                  </a:lnTo>
                  <a:lnTo>
                    <a:pt x="121" y="63"/>
                  </a:lnTo>
                  <a:lnTo>
                    <a:pt x="121" y="64"/>
                  </a:lnTo>
                  <a:lnTo>
                    <a:pt x="121" y="66"/>
                  </a:lnTo>
                  <a:lnTo>
                    <a:pt x="121" y="67"/>
                  </a:lnTo>
                  <a:lnTo>
                    <a:pt x="121" y="68"/>
                  </a:lnTo>
                  <a:lnTo>
                    <a:pt x="120" y="68"/>
                  </a:lnTo>
                  <a:lnTo>
                    <a:pt x="120" y="69"/>
                  </a:lnTo>
                  <a:lnTo>
                    <a:pt x="118" y="73"/>
                  </a:lnTo>
                  <a:lnTo>
                    <a:pt x="118" y="74"/>
                  </a:lnTo>
                  <a:lnTo>
                    <a:pt x="117" y="75"/>
                  </a:lnTo>
                  <a:lnTo>
                    <a:pt x="115" y="78"/>
                  </a:lnTo>
                  <a:lnTo>
                    <a:pt x="114" y="81"/>
                  </a:lnTo>
                  <a:lnTo>
                    <a:pt x="114" y="82"/>
                  </a:lnTo>
                  <a:lnTo>
                    <a:pt x="113" y="84"/>
                  </a:lnTo>
                  <a:lnTo>
                    <a:pt x="111" y="88"/>
                  </a:lnTo>
                  <a:lnTo>
                    <a:pt x="111" y="89"/>
                  </a:lnTo>
                  <a:lnTo>
                    <a:pt x="111" y="90"/>
                  </a:lnTo>
                  <a:lnTo>
                    <a:pt x="111" y="91"/>
                  </a:lnTo>
                  <a:lnTo>
                    <a:pt x="110" y="92"/>
                  </a:lnTo>
                  <a:lnTo>
                    <a:pt x="109" y="95"/>
                  </a:lnTo>
                  <a:lnTo>
                    <a:pt x="108" y="97"/>
                  </a:lnTo>
                  <a:lnTo>
                    <a:pt x="106" y="102"/>
                  </a:lnTo>
                  <a:lnTo>
                    <a:pt x="106" y="103"/>
                  </a:lnTo>
                  <a:lnTo>
                    <a:pt x="104" y="104"/>
                  </a:lnTo>
                  <a:lnTo>
                    <a:pt x="103" y="108"/>
                  </a:lnTo>
                  <a:lnTo>
                    <a:pt x="101" y="109"/>
                  </a:lnTo>
                  <a:lnTo>
                    <a:pt x="100" y="112"/>
                  </a:lnTo>
                  <a:lnTo>
                    <a:pt x="98" y="117"/>
                  </a:lnTo>
                  <a:lnTo>
                    <a:pt x="96" y="119"/>
                  </a:lnTo>
                  <a:lnTo>
                    <a:pt x="95" y="120"/>
                  </a:lnTo>
                  <a:lnTo>
                    <a:pt x="91" y="125"/>
                  </a:lnTo>
                  <a:lnTo>
                    <a:pt x="89" y="127"/>
                  </a:lnTo>
                  <a:lnTo>
                    <a:pt x="88" y="130"/>
                  </a:lnTo>
                  <a:lnTo>
                    <a:pt x="86" y="132"/>
                  </a:lnTo>
                  <a:lnTo>
                    <a:pt x="84" y="134"/>
                  </a:lnTo>
                  <a:lnTo>
                    <a:pt x="84" y="136"/>
                  </a:lnTo>
                  <a:lnTo>
                    <a:pt x="81" y="138"/>
                  </a:lnTo>
                  <a:lnTo>
                    <a:pt x="79" y="140"/>
                  </a:lnTo>
                  <a:lnTo>
                    <a:pt x="78" y="141"/>
                  </a:lnTo>
                  <a:lnTo>
                    <a:pt x="77" y="144"/>
                  </a:lnTo>
                  <a:lnTo>
                    <a:pt x="75" y="145"/>
                  </a:lnTo>
                  <a:lnTo>
                    <a:pt x="74" y="146"/>
                  </a:lnTo>
                  <a:lnTo>
                    <a:pt x="73" y="147"/>
                  </a:lnTo>
                  <a:lnTo>
                    <a:pt x="72" y="150"/>
                  </a:lnTo>
                  <a:lnTo>
                    <a:pt x="71" y="150"/>
                  </a:lnTo>
                  <a:lnTo>
                    <a:pt x="71" y="151"/>
                  </a:lnTo>
                  <a:lnTo>
                    <a:pt x="70" y="151"/>
                  </a:lnTo>
                  <a:lnTo>
                    <a:pt x="67" y="153"/>
                  </a:lnTo>
                  <a:lnTo>
                    <a:pt x="65" y="154"/>
                  </a:lnTo>
                  <a:lnTo>
                    <a:pt x="64" y="155"/>
                  </a:lnTo>
                  <a:lnTo>
                    <a:pt x="59" y="158"/>
                  </a:lnTo>
                  <a:lnTo>
                    <a:pt x="59" y="159"/>
                  </a:lnTo>
                  <a:lnTo>
                    <a:pt x="58" y="159"/>
                  </a:lnTo>
                  <a:lnTo>
                    <a:pt x="56" y="160"/>
                  </a:lnTo>
                  <a:lnTo>
                    <a:pt x="53" y="162"/>
                  </a:lnTo>
                  <a:lnTo>
                    <a:pt x="51" y="164"/>
                  </a:lnTo>
                  <a:lnTo>
                    <a:pt x="50" y="165"/>
                  </a:lnTo>
                  <a:lnTo>
                    <a:pt x="46" y="167"/>
                  </a:lnTo>
                  <a:lnTo>
                    <a:pt x="45" y="169"/>
                  </a:lnTo>
                  <a:lnTo>
                    <a:pt x="44" y="169"/>
                  </a:lnTo>
                  <a:lnTo>
                    <a:pt x="44" y="171"/>
                  </a:lnTo>
                  <a:lnTo>
                    <a:pt x="43" y="171"/>
                  </a:lnTo>
                  <a:lnTo>
                    <a:pt x="43" y="172"/>
                  </a:lnTo>
                  <a:lnTo>
                    <a:pt x="42" y="172"/>
                  </a:lnTo>
                  <a:lnTo>
                    <a:pt x="42" y="173"/>
                  </a:lnTo>
                  <a:lnTo>
                    <a:pt x="40" y="174"/>
                  </a:lnTo>
                  <a:lnTo>
                    <a:pt x="39" y="174"/>
                  </a:lnTo>
                  <a:lnTo>
                    <a:pt x="38" y="175"/>
                  </a:lnTo>
                  <a:lnTo>
                    <a:pt x="38" y="176"/>
                  </a:lnTo>
                  <a:lnTo>
                    <a:pt x="37" y="176"/>
                  </a:lnTo>
                  <a:lnTo>
                    <a:pt x="35" y="180"/>
                  </a:lnTo>
                  <a:lnTo>
                    <a:pt x="32" y="183"/>
                  </a:lnTo>
                  <a:lnTo>
                    <a:pt x="30" y="185"/>
                  </a:lnTo>
                  <a:lnTo>
                    <a:pt x="29" y="186"/>
                  </a:lnTo>
                  <a:lnTo>
                    <a:pt x="27" y="189"/>
                  </a:lnTo>
                  <a:lnTo>
                    <a:pt x="24" y="192"/>
                  </a:lnTo>
                  <a:lnTo>
                    <a:pt x="24" y="193"/>
                  </a:lnTo>
                  <a:lnTo>
                    <a:pt x="23" y="193"/>
                  </a:lnTo>
                  <a:lnTo>
                    <a:pt x="22" y="194"/>
                  </a:lnTo>
                  <a:lnTo>
                    <a:pt x="22" y="195"/>
                  </a:lnTo>
                  <a:lnTo>
                    <a:pt x="21" y="195"/>
                  </a:lnTo>
                  <a:lnTo>
                    <a:pt x="21" y="196"/>
                  </a:lnTo>
                  <a:lnTo>
                    <a:pt x="21" y="197"/>
                  </a:lnTo>
                  <a:lnTo>
                    <a:pt x="21" y="196"/>
                  </a:lnTo>
                  <a:lnTo>
                    <a:pt x="20" y="197"/>
                  </a:lnTo>
                  <a:lnTo>
                    <a:pt x="20" y="199"/>
                  </a:lnTo>
                  <a:lnTo>
                    <a:pt x="18" y="199"/>
                  </a:lnTo>
                  <a:lnTo>
                    <a:pt x="17" y="201"/>
                  </a:lnTo>
                  <a:lnTo>
                    <a:pt x="16" y="202"/>
                  </a:lnTo>
                  <a:lnTo>
                    <a:pt x="16" y="203"/>
                  </a:lnTo>
                  <a:lnTo>
                    <a:pt x="15" y="203"/>
                  </a:lnTo>
                  <a:lnTo>
                    <a:pt x="15" y="204"/>
                  </a:lnTo>
                  <a:lnTo>
                    <a:pt x="14" y="204"/>
                  </a:lnTo>
                  <a:lnTo>
                    <a:pt x="14" y="206"/>
                  </a:lnTo>
                  <a:lnTo>
                    <a:pt x="14" y="204"/>
                  </a:lnTo>
                  <a:lnTo>
                    <a:pt x="14" y="203"/>
                  </a:lnTo>
                  <a:lnTo>
                    <a:pt x="14" y="204"/>
                  </a:lnTo>
                  <a:lnTo>
                    <a:pt x="13" y="204"/>
                  </a:lnTo>
                  <a:lnTo>
                    <a:pt x="14" y="206"/>
                  </a:lnTo>
                  <a:lnTo>
                    <a:pt x="14" y="207"/>
                  </a:lnTo>
                  <a:lnTo>
                    <a:pt x="13" y="207"/>
                  </a:lnTo>
                  <a:lnTo>
                    <a:pt x="13" y="208"/>
                  </a:lnTo>
                  <a:lnTo>
                    <a:pt x="13" y="209"/>
                  </a:lnTo>
                  <a:lnTo>
                    <a:pt x="13" y="208"/>
                  </a:lnTo>
                  <a:lnTo>
                    <a:pt x="13" y="209"/>
                  </a:lnTo>
                  <a:lnTo>
                    <a:pt x="11" y="209"/>
                  </a:lnTo>
                  <a:lnTo>
                    <a:pt x="11" y="208"/>
                  </a:lnTo>
                  <a:lnTo>
                    <a:pt x="11" y="209"/>
                  </a:lnTo>
                  <a:lnTo>
                    <a:pt x="10" y="213"/>
                  </a:lnTo>
                  <a:lnTo>
                    <a:pt x="9" y="214"/>
                  </a:lnTo>
                  <a:lnTo>
                    <a:pt x="9" y="215"/>
                  </a:lnTo>
                  <a:lnTo>
                    <a:pt x="8" y="215"/>
                  </a:lnTo>
                  <a:lnTo>
                    <a:pt x="8" y="216"/>
                  </a:lnTo>
                  <a:close/>
                </a:path>
              </a:pathLst>
            </a:custGeom>
            <a:solidFill>
              <a:srgbClr val="D2D2D2"/>
            </a:solidFill>
            <a:ln w="3175" cap="flat" cmpd="sng" algn="ctr">
              <a:solidFill>
                <a:schemeClr val="bg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t-IT" sz="1200" dirty="0">
                <a:solidFill>
                  <a:schemeClr val="lt1"/>
                </a:solidFill>
              </a:endParaRPr>
            </a:p>
          </p:txBody>
        </p:sp>
        <p:sp>
          <p:nvSpPr>
            <p:cNvPr id="244" name="Freeform 1003">
              <a:extLst>
                <a:ext uri="{FF2B5EF4-FFF2-40B4-BE49-F238E27FC236}">
                  <a16:creationId xmlns:a16="http://schemas.microsoft.com/office/drawing/2014/main" id="{24887D3D-6895-4E8A-A00D-2BA154F744F3}"/>
                </a:ext>
              </a:extLst>
            </p:cNvPr>
            <p:cNvSpPr>
              <a:spLocks noEditPoints="1"/>
            </p:cNvSpPr>
            <p:nvPr/>
          </p:nvSpPr>
          <p:spPr bwMode="auto">
            <a:xfrm>
              <a:off x="4875593" y="2353589"/>
              <a:ext cx="4007" cy="8013"/>
            </a:xfrm>
            <a:custGeom>
              <a:avLst/>
              <a:gdLst>
                <a:gd name="T0" fmla="*/ 3 w 3"/>
                <a:gd name="T1" fmla="*/ 6 h 6"/>
                <a:gd name="T2" fmla="*/ 2 w 3"/>
                <a:gd name="T3" fmla="*/ 6 h 6"/>
                <a:gd name="T4" fmla="*/ 3 w 3"/>
                <a:gd name="T5" fmla="*/ 6 h 6"/>
                <a:gd name="T6" fmla="*/ 3 w 3"/>
                <a:gd name="T7" fmla="*/ 6 h 6"/>
                <a:gd name="T8" fmla="*/ 3 w 3"/>
                <a:gd name="T9" fmla="*/ 6 h 6"/>
                <a:gd name="T10" fmla="*/ 3 w 3"/>
                <a:gd name="T11" fmla="*/ 6 h 6"/>
                <a:gd name="T12" fmla="*/ 3 w 3"/>
                <a:gd name="T13" fmla="*/ 6 h 6"/>
                <a:gd name="T14" fmla="*/ 3 w 3"/>
                <a:gd name="T15" fmla="*/ 6 h 6"/>
                <a:gd name="T16" fmla="*/ 3 w 3"/>
                <a:gd name="T17" fmla="*/ 6 h 6"/>
                <a:gd name="T18" fmla="*/ 3 w 3"/>
                <a:gd name="T19" fmla="*/ 2 h 6"/>
                <a:gd name="T20" fmla="*/ 2 w 3"/>
                <a:gd name="T21" fmla="*/ 2 h 6"/>
                <a:gd name="T22" fmla="*/ 2 w 3"/>
                <a:gd name="T23" fmla="*/ 2 h 6"/>
                <a:gd name="T24" fmla="*/ 2 w 3"/>
                <a:gd name="T25" fmla="*/ 2 h 6"/>
                <a:gd name="T26" fmla="*/ 2 w 3"/>
                <a:gd name="T27" fmla="*/ 2 h 6"/>
                <a:gd name="T28" fmla="*/ 2 w 3"/>
                <a:gd name="T29" fmla="*/ 2 h 6"/>
                <a:gd name="T30" fmla="*/ 2 w 3"/>
                <a:gd name="T31" fmla="*/ 2 h 6"/>
                <a:gd name="T32" fmla="*/ 2 w 3"/>
                <a:gd name="T33" fmla="*/ 4 h 6"/>
                <a:gd name="T34" fmla="*/ 2 w 3"/>
                <a:gd name="T35" fmla="*/ 4 h 6"/>
                <a:gd name="T36" fmla="*/ 2 w 3"/>
                <a:gd name="T37" fmla="*/ 4 h 6"/>
                <a:gd name="T38" fmla="*/ 2 w 3"/>
                <a:gd name="T39" fmla="*/ 4 h 6"/>
                <a:gd name="T40" fmla="*/ 2 w 3"/>
                <a:gd name="T41" fmla="*/ 4 h 6"/>
                <a:gd name="T42" fmla="*/ 2 w 3"/>
                <a:gd name="T43" fmla="*/ 5 h 6"/>
                <a:gd name="T44" fmla="*/ 3 w 3"/>
                <a:gd name="T45" fmla="*/ 5 h 6"/>
                <a:gd name="T46" fmla="*/ 2 w 3"/>
                <a:gd name="T47" fmla="*/ 6 h 6"/>
                <a:gd name="T48" fmla="*/ 0 w 3"/>
                <a:gd name="T49" fmla="*/ 6 h 6"/>
                <a:gd name="T50" fmla="*/ 0 w 3"/>
                <a:gd name="T51" fmla="*/ 6 h 6"/>
                <a:gd name="T52" fmla="*/ 0 w 3"/>
                <a:gd name="T53" fmla="*/ 6 h 6"/>
                <a:gd name="T54" fmla="*/ 0 w 3"/>
                <a:gd name="T55" fmla="*/ 5 h 6"/>
                <a:gd name="T56" fmla="*/ 2 w 3"/>
                <a:gd name="T57" fmla="*/ 5 h 6"/>
                <a:gd name="T58" fmla="*/ 2 w 3"/>
                <a:gd name="T59" fmla="*/ 4 h 6"/>
                <a:gd name="T60" fmla="*/ 2 w 3"/>
                <a:gd name="T61" fmla="*/ 2 h 6"/>
                <a:gd name="T62" fmla="*/ 2 w 3"/>
                <a:gd name="T63" fmla="*/ 1 h 6"/>
                <a:gd name="T64" fmla="*/ 2 w 3"/>
                <a:gd name="T65" fmla="*/ 1 h 6"/>
                <a:gd name="T66" fmla="*/ 2 w 3"/>
                <a:gd name="T67" fmla="*/ 0 h 6"/>
                <a:gd name="T68" fmla="*/ 3 w 3"/>
                <a:gd name="T69" fmla="*/ 0 h 6"/>
                <a:gd name="T70" fmla="*/ 2 w 3"/>
                <a:gd name="T71" fmla="*/ 1 h 6"/>
                <a:gd name="T72" fmla="*/ 2 w 3"/>
                <a:gd name="T73" fmla="*/ 1 h 6"/>
                <a:gd name="T74" fmla="*/ 3 w 3"/>
                <a:gd name="T75" fmla="*/ 1 h 6"/>
                <a:gd name="T76" fmla="*/ 3 w 3"/>
                <a:gd name="T77" fmla="*/ 2 h 6"/>
                <a:gd name="T78" fmla="*/ 3 w 3"/>
                <a:gd name="T79" fmla="*/ 2 h 6"/>
                <a:gd name="T80" fmla="*/ 3 w 3"/>
                <a:gd name="T8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 h="6">
                  <a:moveTo>
                    <a:pt x="3" y="6"/>
                  </a:moveTo>
                  <a:lnTo>
                    <a:pt x="3" y="6"/>
                  </a:lnTo>
                  <a:lnTo>
                    <a:pt x="2" y="6"/>
                  </a:lnTo>
                  <a:lnTo>
                    <a:pt x="2" y="6"/>
                  </a:lnTo>
                  <a:lnTo>
                    <a:pt x="3" y="6"/>
                  </a:lnTo>
                  <a:lnTo>
                    <a:pt x="3" y="6"/>
                  </a:lnTo>
                  <a:lnTo>
                    <a:pt x="3" y="6"/>
                  </a:lnTo>
                  <a:lnTo>
                    <a:pt x="3" y="6"/>
                  </a:lnTo>
                  <a:lnTo>
                    <a:pt x="3" y="6"/>
                  </a:lnTo>
                  <a:lnTo>
                    <a:pt x="3" y="6"/>
                  </a:lnTo>
                  <a:lnTo>
                    <a:pt x="3" y="6"/>
                  </a:lnTo>
                  <a:lnTo>
                    <a:pt x="3" y="6"/>
                  </a:lnTo>
                  <a:lnTo>
                    <a:pt x="3" y="6"/>
                  </a:lnTo>
                  <a:lnTo>
                    <a:pt x="3" y="6"/>
                  </a:lnTo>
                  <a:lnTo>
                    <a:pt x="3" y="6"/>
                  </a:lnTo>
                  <a:lnTo>
                    <a:pt x="3" y="6"/>
                  </a:lnTo>
                  <a:lnTo>
                    <a:pt x="3" y="6"/>
                  </a:lnTo>
                  <a:lnTo>
                    <a:pt x="3" y="6"/>
                  </a:lnTo>
                  <a:close/>
                  <a:moveTo>
                    <a:pt x="3" y="2"/>
                  </a:moveTo>
                  <a:lnTo>
                    <a:pt x="3"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4"/>
                  </a:lnTo>
                  <a:lnTo>
                    <a:pt x="2" y="4"/>
                  </a:lnTo>
                  <a:lnTo>
                    <a:pt x="2" y="4"/>
                  </a:lnTo>
                  <a:lnTo>
                    <a:pt x="2" y="4"/>
                  </a:lnTo>
                  <a:lnTo>
                    <a:pt x="2" y="4"/>
                  </a:lnTo>
                  <a:lnTo>
                    <a:pt x="2" y="4"/>
                  </a:lnTo>
                  <a:lnTo>
                    <a:pt x="2" y="4"/>
                  </a:lnTo>
                  <a:lnTo>
                    <a:pt x="2" y="4"/>
                  </a:lnTo>
                  <a:lnTo>
                    <a:pt x="2" y="4"/>
                  </a:lnTo>
                  <a:lnTo>
                    <a:pt x="2" y="5"/>
                  </a:lnTo>
                  <a:lnTo>
                    <a:pt x="2" y="5"/>
                  </a:lnTo>
                  <a:lnTo>
                    <a:pt x="2" y="5"/>
                  </a:lnTo>
                  <a:lnTo>
                    <a:pt x="3" y="5"/>
                  </a:lnTo>
                  <a:lnTo>
                    <a:pt x="2" y="5"/>
                  </a:lnTo>
                  <a:lnTo>
                    <a:pt x="2" y="6"/>
                  </a:lnTo>
                  <a:lnTo>
                    <a:pt x="0" y="6"/>
                  </a:lnTo>
                  <a:lnTo>
                    <a:pt x="0" y="6"/>
                  </a:lnTo>
                  <a:lnTo>
                    <a:pt x="0" y="6"/>
                  </a:lnTo>
                  <a:lnTo>
                    <a:pt x="0" y="6"/>
                  </a:lnTo>
                  <a:lnTo>
                    <a:pt x="0" y="6"/>
                  </a:lnTo>
                  <a:lnTo>
                    <a:pt x="0" y="6"/>
                  </a:lnTo>
                  <a:lnTo>
                    <a:pt x="0" y="6"/>
                  </a:lnTo>
                  <a:lnTo>
                    <a:pt x="0" y="5"/>
                  </a:lnTo>
                  <a:lnTo>
                    <a:pt x="0" y="5"/>
                  </a:lnTo>
                  <a:lnTo>
                    <a:pt x="2" y="5"/>
                  </a:lnTo>
                  <a:lnTo>
                    <a:pt x="2" y="4"/>
                  </a:lnTo>
                  <a:lnTo>
                    <a:pt x="2" y="4"/>
                  </a:lnTo>
                  <a:lnTo>
                    <a:pt x="2" y="2"/>
                  </a:lnTo>
                  <a:lnTo>
                    <a:pt x="2" y="2"/>
                  </a:lnTo>
                  <a:lnTo>
                    <a:pt x="2" y="1"/>
                  </a:lnTo>
                  <a:lnTo>
                    <a:pt x="2" y="1"/>
                  </a:lnTo>
                  <a:lnTo>
                    <a:pt x="2" y="1"/>
                  </a:lnTo>
                  <a:lnTo>
                    <a:pt x="2" y="1"/>
                  </a:lnTo>
                  <a:lnTo>
                    <a:pt x="2" y="0"/>
                  </a:lnTo>
                  <a:lnTo>
                    <a:pt x="2" y="0"/>
                  </a:lnTo>
                  <a:lnTo>
                    <a:pt x="2" y="0"/>
                  </a:lnTo>
                  <a:lnTo>
                    <a:pt x="3" y="0"/>
                  </a:lnTo>
                  <a:lnTo>
                    <a:pt x="2" y="1"/>
                  </a:lnTo>
                  <a:lnTo>
                    <a:pt x="2" y="1"/>
                  </a:lnTo>
                  <a:lnTo>
                    <a:pt x="2" y="1"/>
                  </a:lnTo>
                  <a:lnTo>
                    <a:pt x="2" y="1"/>
                  </a:lnTo>
                  <a:lnTo>
                    <a:pt x="2" y="1"/>
                  </a:lnTo>
                  <a:lnTo>
                    <a:pt x="3" y="1"/>
                  </a:lnTo>
                  <a:lnTo>
                    <a:pt x="3" y="1"/>
                  </a:lnTo>
                  <a:lnTo>
                    <a:pt x="3" y="2"/>
                  </a:lnTo>
                  <a:lnTo>
                    <a:pt x="3" y="2"/>
                  </a:lnTo>
                  <a:lnTo>
                    <a:pt x="3" y="2"/>
                  </a:lnTo>
                  <a:lnTo>
                    <a:pt x="3" y="2"/>
                  </a:lnTo>
                  <a:lnTo>
                    <a:pt x="3"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45" name="Freeform 1004">
              <a:extLst>
                <a:ext uri="{FF2B5EF4-FFF2-40B4-BE49-F238E27FC236}">
                  <a16:creationId xmlns:a16="http://schemas.microsoft.com/office/drawing/2014/main" id="{F064B4B5-E75A-423F-86F9-81CBC9D83C9A}"/>
                </a:ext>
              </a:extLst>
            </p:cNvPr>
            <p:cNvSpPr>
              <a:spLocks/>
            </p:cNvSpPr>
            <p:nvPr/>
          </p:nvSpPr>
          <p:spPr bwMode="auto">
            <a:xfrm>
              <a:off x="6118932" y="2373622"/>
              <a:ext cx="74787" cy="82800"/>
            </a:xfrm>
            <a:custGeom>
              <a:avLst/>
              <a:gdLst>
                <a:gd name="T0" fmla="*/ 21 w 56"/>
                <a:gd name="T1" fmla="*/ 5 h 62"/>
                <a:gd name="T2" fmla="*/ 25 w 56"/>
                <a:gd name="T3" fmla="*/ 7 h 62"/>
                <a:gd name="T4" fmla="*/ 27 w 56"/>
                <a:gd name="T5" fmla="*/ 13 h 62"/>
                <a:gd name="T6" fmla="*/ 32 w 56"/>
                <a:gd name="T7" fmla="*/ 15 h 62"/>
                <a:gd name="T8" fmla="*/ 34 w 56"/>
                <a:gd name="T9" fmla="*/ 17 h 62"/>
                <a:gd name="T10" fmla="*/ 34 w 56"/>
                <a:gd name="T11" fmla="*/ 21 h 62"/>
                <a:gd name="T12" fmla="*/ 34 w 56"/>
                <a:gd name="T13" fmla="*/ 22 h 62"/>
                <a:gd name="T14" fmla="*/ 39 w 56"/>
                <a:gd name="T15" fmla="*/ 24 h 62"/>
                <a:gd name="T16" fmla="*/ 42 w 56"/>
                <a:gd name="T17" fmla="*/ 26 h 62"/>
                <a:gd name="T18" fmla="*/ 47 w 56"/>
                <a:gd name="T19" fmla="*/ 22 h 62"/>
                <a:gd name="T20" fmla="*/ 52 w 56"/>
                <a:gd name="T21" fmla="*/ 25 h 62"/>
                <a:gd name="T22" fmla="*/ 48 w 56"/>
                <a:gd name="T23" fmla="*/ 27 h 62"/>
                <a:gd name="T24" fmla="*/ 52 w 56"/>
                <a:gd name="T25" fmla="*/ 29 h 62"/>
                <a:gd name="T26" fmla="*/ 49 w 56"/>
                <a:gd name="T27" fmla="*/ 33 h 62"/>
                <a:gd name="T28" fmla="*/ 48 w 56"/>
                <a:gd name="T29" fmla="*/ 38 h 62"/>
                <a:gd name="T30" fmla="*/ 52 w 56"/>
                <a:gd name="T31" fmla="*/ 43 h 62"/>
                <a:gd name="T32" fmla="*/ 55 w 56"/>
                <a:gd name="T33" fmla="*/ 47 h 62"/>
                <a:gd name="T34" fmla="*/ 55 w 56"/>
                <a:gd name="T35" fmla="*/ 50 h 62"/>
                <a:gd name="T36" fmla="*/ 50 w 56"/>
                <a:gd name="T37" fmla="*/ 52 h 62"/>
                <a:gd name="T38" fmla="*/ 50 w 56"/>
                <a:gd name="T39" fmla="*/ 55 h 62"/>
                <a:gd name="T40" fmla="*/ 50 w 56"/>
                <a:gd name="T41" fmla="*/ 61 h 62"/>
                <a:gd name="T42" fmla="*/ 46 w 56"/>
                <a:gd name="T43" fmla="*/ 61 h 62"/>
                <a:gd name="T44" fmla="*/ 42 w 56"/>
                <a:gd name="T45" fmla="*/ 62 h 62"/>
                <a:gd name="T46" fmla="*/ 41 w 56"/>
                <a:gd name="T47" fmla="*/ 60 h 62"/>
                <a:gd name="T48" fmla="*/ 41 w 56"/>
                <a:gd name="T49" fmla="*/ 56 h 62"/>
                <a:gd name="T50" fmla="*/ 40 w 56"/>
                <a:gd name="T51" fmla="*/ 54 h 62"/>
                <a:gd name="T52" fmla="*/ 38 w 56"/>
                <a:gd name="T53" fmla="*/ 53 h 62"/>
                <a:gd name="T54" fmla="*/ 34 w 56"/>
                <a:gd name="T55" fmla="*/ 50 h 62"/>
                <a:gd name="T56" fmla="*/ 31 w 56"/>
                <a:gd name="T57" fmla="*/ 48 h 62"/>
                <a:gd name="T58" fmla="*/ 26 w 56"/>
                <a:gd name="T59" fmla="*/ 47 h 62"/>
                <a:gd name="T60" fmla="*/ 26 w 56"/>
                <a:gd name="T61" fmla="*/ 50 h 62"/>
                <a:gd name="T62" fmla="*/ 24 w 56"/>
                <a:gd name="T63" fmla="*/ 53 h 62"/>
                <a:gd name="T64" fmla="*/ 20 w 56"/>
                <a:gd name="T65" fmla="*/ 49 h 62"/>
                <a:gd name="T66" fmla="*/ 15 w 56"/>
                <a:gd name="T67" fmla="*/ 48 h 62"/>
                <a:gd name="T68" fmla="*/ 12 w 56"/>
                <a:gd name="T69" fmla="*/ 46 h 62"/>
                <a:gd name="T70" fmla="*/ 8 w 56"/>
                <a:gd name="T71" fmla="*/ 41 h 62"/>
                <a:gd name="T72" fmla="*/ 12 w 56"/>
                <a:gd name="T73" fmla="*/ 41 h 62"/>
                <a:gd name="T74" fmla="*/ 10 w 56"/>
                <a:gd name="T75" fmla="*/ 35 h 62"/>
                <a:gd name="T76" fmla="*/ 10 w 56"/>
                <a:gd name="T77" fmla="*/ 34 h 62"/>
                <a:gd name="T78" fmla="*/ 12 w 56"/>
                <a:gd name="T79" fmla="*/ 33 h 62"/>
                <a:gd name="T80" fmla="*/ 8 w 56"/>
                <a:gd name="T81" fmla="*/ 31 h 62"/>
                <a:gd name="T82" fmla="*/ 6 w 56"/>
                <a:gd name="T83" fmla="*/ 29 h 62"/>
                <a:gd name="T84" fmla="*/ 7 w 56"/>
                <a:gd name="T85" fmla="*/ 25 h 62"/>
                <a:gd name="T86" fmla="*/ 8 w 56"/>
                <a:gd name="T87" fmla="*/ 20 h 62"/>
                <a:gd name="T88" fmla="*/ 4 w 56"/>
                <a:gd name="T89" fmla="*/ 20 h 62"/>
                <a:gd name="T90" fmla="*/ 4 w 56"/>
                <a:gd name="T91" fmla="*/ 17 h 62"/>
                <a:gd name="T92" fmla="*/ 7 w 56"/>
                <a:gd name="T93" fmla="*/ 17 h 62"/>
                <a:gd name="T94" fmla="*/ 7 w 56"/>
                <a:gd name="T95" fmla="*/ 14 h 62"/>
                <a:gd name="T96" fmla="*/ 3 w 56"/>
                <a:gd name="T97" fmla="*/ 12 h 62"/>
                <a:gd name="T98" fmla="*/ 3 w 56"/>
                <a:gd name="T99" fmla="*/ 11 h 62"/>
                <a:gd name="T100" fmla="*/ 1 w 56"/>
                <a:gd name="T101" fmla="*/ 8 h 62"/>
                <a:gd name="T102" fmla="*/ 1 w 56"/>
                <a:gd name="T103" fmla="*/ 5 h 62"/>
                <a:gd name="T104" fmla="*/ 3 w 56"/>
                <a:gd name="T105" fmla="*/ 4 h 62"/>
                <a:gd name="T106" fmla="*/ 4 w 56"/>
                <a:gd name="T107" fmla="*/ 4 h 62"/>
                <a:gd name="T108" fmla="*/ 7 w 56"/>
                <a:gd name="T109" fmla="*/ 1 h 62"/>
                <a:gd name="T110" fmla="*/ 12 w 56"/>
                <a:gd name="T111" fmla="*/ 1 h 62"/>
                <a:gd name="T112" fmla="*/ 15 w 56"/>
                <a:gd name="T11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6" h="62">
                  <a:moveTo>
                    <a:pt x="18" y="1"/>
                  </a:moveTo>
                  <a:lnTo>
                    <a:pt x="19" y="3"/>
                  </a:lnTo>
                  <a:lnTo>
                    <a:pt x="19" y="4"/>
                  </a:lnTo>
                  <a:lnTo>
                    <a:pt x="20" y="4"/>
                  </a:lnTo>
                  <a:lnTo>
                    <a:pt x="21" y="5"/>
                  </a:lnTo>
                  <a:lnTo>
                    <a:pt x="22" y="5"/>
                  </a:lnTo>
                  <a:lnTo>
                    <a:pt x="22" y="6"/>
                  </a:lnTo>
                  <a:lnTo>
                    <a:pt x="24" y="6"/>
                  </a:lnTo>
                  <a:lnTo>
                    <a:pt x="24" y="7"/>
                  </a:lnTo>
                  <a:lnTo>
                    <a:pt x="25" y="7"/>
                  </a:lnTo>
                  <a:lnTo>
                    <a:pt x="25" y="8"/>
                  </a:lnTo>
                  <a:lnTo>
                    <a:pt x="25" y="10"/>
                  </a:lnTo>
                  <a:lnTo>
                    <a:pt x="25" y="11"/>
                  </a:lnTo>
                  <a:lnTo>
                    <a:pt x="26" y="12"/>
                  </a:lnTo>
                  <a:lnTo>
                    <a:pt x="27" y="13"/>
                  </a:lnTo>
                  <a:lnTo>
                    <a:pt x="28" y="13"/>
                  </a:lnTo>
                  <a:lnTo>
                    <a:pt x="29" y="14"/>
                  </a:lnTo>
                  <a:lnTo>
                    <a:pt x="31" y="14"/>
                  </a:lnTo>
                  <a:lnTo>
                    <a:pt x="31" y="15"/>
                  </a:lnTo>
                  <a:lnTo>
                    <a:pt x="32" y="15"/>
                  </a:lnTo>
                  <a:lnTo>
                    <a:pt x="33" y="15"/>
                  </a:lnTo>
                  <a:lnTo>
                    <a:pt x="34" y="15"/>
                  </a:lnTo>
                  <a:lnTo>
                    <a:pt x="34" y="17"/>
                  </a:lnTo>
                  <a:lnTo>
                    <a:pt x="35" y="17"/>
                  </a:lnTo>
                  <a:lnTo>
                    <a:pt x="34" y="17"/>
                  </a:lnTo>
                  <a:lnTo>
                    <a:pt x="34" y="18"/>
                  </a:lnTo>
                  <a:lnTo>
                    <a:pt x="33" y="19"/>
                  </a:lnTo>
                  <a:lnTo>
                    <a:pt x="34" y="19"/>
                  </a:lnTo>
                  <a:lnTo>
                    <a:pt x="35" y="20"/>
                  </a:lnTo>
                  <a:lnTo>
                    <a:pt x="34" y="21"/>
                  </a:lnTo>
                  <a:lnTo>
                    <a:pt x="34" y="20"/>
                  </a:lnTo>
                  <a:lnTo>
                    <a:pt x="34" y="21"/>
                  </a:lnTo>
                  <a:lnTo>
                    <a:pt x="33" y="21"/>
                  </a:lnTo>
                  <a:lnTo>
                    <a:pt x="34" y="21"/>
                  </a:lnTo>
                  <a:lnTo>
                    <a:pt x="34" y="22"/>
                  </a:lnTo>
                  <a:lnTo>
                    <a:pt x="35" y="22"/>
                  </a:lnTo>
                  <a:lnTo>
                    <a:pt x="36" y="22"/>
                  </a:lnTo>
                  <a:lnTo>
                    <a:pt x="36" y="24"/>
                  </a:lnTo>
                  <a:lnTo>
                    <a:pt x="38" y="24"/>
                  </a:lnTo>
                  <a:lnTo>
                    <a:pt x="39" y="24"/>
                  </a:lnTo>
                  <a:lnTo>
                    <a:pt x="40" y="24"/>
                  </a:lnTo>
                  <a:lnTo>
                    <a:pt x="41" y="24"/>
                  </a:lnTo>
                  <a:lnTo>
                    <a:pt x="42" y="24"/>
                  </a:lnTo>
                  <a:lnTo>
                    <a:pt x="42" y="25"/>
                  </a:lnTo>
                  <a:lnTo>
                    <a:pt x="42" y="26"/>
                  </a:lnTo>
                  <a:lnTo>
                    <a:pt x="43" y="26"/>
                  </a:lnTo>
                  <a:lnTo>
                    <a:pt x="45" y="26"/>
                  </a:lnTo>
                  <a:lnTo>
                    <a:pt x="46" y="24"/>
                  </a:lnTo>
                  <a:lnTo>
                    <a:pt x="47" y="24"/>
                  </a:lnTo>
                  <a:lnTo>
                    <a:pt x="47" y="22"/>
                  </a:lnTo>
                  <a:lnTo>
                    <a:pt x="48" y="22"/>
                  </a:lnTo>
                  <a:lnTo>
                    <a:pt x="49" y="24"/>
                  </a:lnTo>
                  <a:lnTo>
                    <a:pt x="49" y="25"/>
                  </a:lnTo>
                  <a:lnTo>
                    <a:pt x="50" y="25"/>
                  </a:lnTo>
                  <a:lnTo>
                    <a:pt x="52" y="25"/>
                  </a:lnTo>
                  <a:lnTo>
                    <a:pt x="52" y="26"/>
                  </a:lnTo>
                  <a:lnTo>
                    <a:pt x="50" y="26"/>
                  </a:lnTo>
                  <a:lnTo>
                    <a:pt x="49" y="26"/>
                  </a:lnTo>
                  <a:lnTo>
                    <a:pt x="48" y="26"/>
                  </a:lnTo>
                  <a:lnTo>
                    <a:pt x="48" y="27"/>
                  </a:lnTo>
                  <a:lnTo>
                    <a:pt x="48" y="28"/>
                  </a:lnTo>
                  <a:lnTo>
                    <a:pt x="49" y="28"/>
                  </a:lnTo>
                  <a:lnTo>
                    <a:pt x="49" y="29"/>
                  </a:lnTo>
                  <a:lnTo>
                    <a:pt x="50" y="29"/>
                  </a:lnTo>
                  <a:lnTo>
                    <a:pt x="52" y="29"/>
                  </a:lnTo>
                  <a:lnTo>
                    <a:pt x="52" y="31"/>
                  </a:lnTo>
                  <a:lnTo>
                    <a:pt x="50" y="31"/>
                  </a:lnTo>
                  <a:lnTo>
                    <a:pt x="50" y="32"/>
                  </a:lnTo>
                  <a:lnTo>
                    <a:pt x="50" y="33"/>
                  </a:lnTo>
                  <a:lnTo>
                    <a:pt x="49" y="33"/>
                  </a:lnTo>
                  <a:lnTo>
                    <a:pt x="49" y="34"/>
                  </a:lnTo>
                  <a:lnTo>
                    <a:pt x="48" y="34"/>
                  </a:lnTo>
                  <a:lnTo>
                    <a:pt x="48" y="35"/>
                  </a:lnTo>
                  <a:lnTo>
                    <a:pt x="48" y="36"/>
                  </a:lnTo>
                  <a:lnTo>
                    <a:pt x="48" y="38"/>
                  </a:lnTo>
                  <a:lnTo>
                    <a:pt x="48" y="39"/>
                  </a:lnTo>
                  <a:lnTo>
                    <a:pt x="49" y="40"/>
                  </a:lnTo>
                  <a:lnTo>
                    <a:pt x="49" y="41"/>
                  </a:lnTo>
                  <a:lnTo>
                    <a:pt x="50" y="42"/>
                  </a:lnTo>
                  <a:lnTo>
                    <a:pt x="52" y="43"/>
                  </a:lnTo>
                  <a:lnTo>
                    <a:pt x="53" y="43"/>
                  </a:lnTo>
                  <a:lnTo>
                    <a:pt x="54" y="45"/>
                  </a:lnTo>
                  <a:lnTo>
                    <a:pt x="54" y="46"/>
                  </a:lnTo>
                  <a:lnTo>
                    <a:pt x="55" y="46"/>
                  </a:lnTo>
                  <a:lnTo>
                    <a:pt x="55" y="47"/>
                  </a:lnTo>
                  <a:lnTo>
                    <a:pt x="56" y="47"/>
                  </a:lnTo>
                  <a:lnTo>
                    <a:pt x="56" y="48"/>
                  </a:lnTo>
                  <a:lnTo>
                    <a:pt x="56" y="49"/>
                  </a:lnTo>
                  <a:lnTo>
                    <a:pt x="55" y="49"/>
                  </a:lnTo>
                  <a:lnTo>
                    <a:pt x="55" y="50"/>
                  </a:lnTo>
                  <a:lnTo>
                    <a:pt x="54" y="50"/>
                  </a:lnTo>
                  <a:lnTo>
                    <a:pt x="54" y="52"/>
                  </a:lnTo>
                  <a:lnTo>
                    <a:pt x="53" y="52"/>
                  </a:lnTo>
                  <a:lnTo>
                    <a:pt x="52" y="52"/>
                  </a:lnTo>
                  <a:lnTo>
                    <a:pt x="50" y="52"/>
                  </a:lnTo>
                  <a:lnTo>
                    <a:pt x="50" y="53"/>
                  </a:lnTo>
                  <a:lnTo>
                    <a:pt x="50" y="54"/>
                  </a:lnTo>
                  <a:lnTo>
                    <a:pt x="52" y="54"/>
                  </a:lnTo>
                  <a:lnTo>
                    <a:pt x="50" y="54"/>
                  </a:lnTo>
                  <a:lnTo>
                    <a:pt x="50" y="55"/>
                  </a:lnTo>
                  <a:lnTo>
                    <a:pt x="50" y="56"/>
                  </a:lnTo>
                  <a:lnTo>
                    <a:pt x="52" y="57"/>
                  </a:lnTo>
                  <a:lnTo>
                    <a:pt x="52" y="59"/>
                  </a:lnTo>
                  <a:lnTo>
                    <a:pt x="52" y="60"/>
                  </a:lnTo>
                  <a:lnTo>
                    <a:pt x="50" y="61"/>
                  </a:lnTo>
                  <a:lnTo>
                    <a:pt x="49" y="61"/>
                  </a:lnTo>
                  <a:lnTo>
                    <a:pt x="49" y="60"/>
                  </a:lnTo>
                  <a:lnTo>
                    <a:pt x="48" y="60"/>
                  </a:lnTo>
                  <a:lnTo>
                    <a:pt x="47" y="61"/>
                  </a:lnTo>
                  <a:lnTo>
                    <a:pt x="46" y="61"/>
                  </a:lnTo>
                  <a:lnTo>
                    <a:pt x="45" y="60"/>
                  </a:lnTo>
                  <a:lnTo>
                    <a:pt x="45" y="61"/>
                  </a:lnTo>
                  <a:lnTo>
                    <a:pt x="43" y="61"/>
                  </a:lnTo>
                  <a:lnTo>
                    <a:pt x="42" y="61"/>
                  </a:lnTo>
                  <a:lnTo>
                    <a:pt x="42" y="62"/>
                  </a:lnTo>
                  <a:lnTo>
                    <a:pt x="41" y="62"/>
                  </a:lnTo>
                  <a:lnTo>
                    <a:pt x="40" y="62"/>
                  </a:lnTo>
                  <a:lnTo>
                    <a:pt x="40" y="61"/>
                  </a:lnTo>
                  <a:lnTo>
                    <a:pt x="40" y="60"/>
                  </a:lnTo>
                  <a:lnTo>
                    <a:pt x="41" y="60"/>
                  </a:lnTo>
                  <a:lnTo>
                    <a:pt x="40" y="59"/>
                  </a:lnTo>
                  <a:lnTo>
                    <a:pt x="41" y="59"/>
                  </a:lnTo>
                  <a:lnTo>
                    <a:pt x="41" y="57"/>
                  </a:lnTo>
                  <a:lnTo>
                    <a:pt x="42" y="56"/>
                  </a:lnTo>
                  <a:lnTo>
                    <a:pt x="41" y="56"/>
                  </a:lnTo>
                  <a:lnTo>
                    <a:pt x="42" y="56"/>
                  </a:lnTo>
                  <a:lnTo>
                    <a:pt x="42" y="55"/>
                  </a:lnTo>
                  <a:lnTo>
                    <a:pt x="41" y="55"/>
                  </a:lnTo>
                  <a:lnTo>
                    <a:pt x="40" y="55"/>
                  </a:lnTo>
                  <a:lnTo>
                    <a:pt x="40" y="54"/>
                  </a:lnTo>
                  <a:lnTo>
                    <a:pt x="39" y="54"/>
                  </a:lnTo>
                  <a:lnTo>
                    <a:pt x="38" y="54"/>
                  </a:lnTo>
                  <a:lnTo>
                    <a:pt x="36" y="54"/>
                  </a:lnTo>
                  <a:lnTo>
                    <a:pt x="38" y="54"/>
                  </a:lnTo>
                  <a:lnTo>
                    <a:pt x="38" y="53"/>
                  </a:lnTo>
                  <a:lnTo>
                    <a:pt x="38" y="52"/>
                  </a:lnTo>
                  <a:lnTo>
                    <a:pt x="36" y="52"/>
                  </a:lnTo>
                  <a:lnTo>
                    <a:pt x="35" y="52"/>
                  </a:lnTo>
                  <a:lnTo>
                    <a:pt x="35" y="50"/>
                  </a:lnTo>
                  <a:lnTo>
                    <a:pt x="34" y="50"/>
                  </a:lnTo>
                  <a:lnTo>
                    <a:pt x="34" y="49"/>
                  </a:lnTo>
                  <a:lnTo>
                    <a:pt x="33" y="49"/>
                  </a:lnTo>
                  <a:lnTo>
                    <a:pt x="33" y="48"/>
                  </a:lnTo>
                  <a:lnTo>
                    <a:pt x="32" y="48"/>
                  </a:lnTo>
                  <a:lnTo>
                    <a:pt x="31" y="48"/>
                  </a:lnTo>
                  <a:lnTo>
                    <a:pt x="29" y="47"/>
                  </a:lnTo>
                  <a:lnTo>
                    <a:pt x="29" y="46"/>
                  </a:lnTo>
                  <a:lnTo>
                    <a:pt x="28" y="46"/>
                  </a:lnTo>
                  <a:lnTo>
                    <a:pt x="27" y="47"/>
                  </a:lnTo>
                  <a:lnTo>
                    <a:pt x="26" y="47"/>
                  </a:lnTo>
                  <a:lnTo>
                    <a:pt x="27" y="47"/>
                  </a:lnTo>
                  <a:lnTo>
                    <a:pt x="27" y="48"/>
                  </a:lnTo>
                  <a:lnTo>
                    <a:pt x="27" y="49"/>
                  </a:lnTo>
                  <a:lnTo>
                    <a:pt x="26" y="49"/>
                  </a:lnTo>
                  <a:lnTo>
                    <a:pt x="26" y="50"/>
                  </a:lnTo>
                  <a:lnTo>
                    <a:pt x="25" y="50"/>
                  </a:lnTo>
                  <a:lnTo>
                    <a:pt x="25" y="52"/>
                  </a:lnTo>
                  <a:lnTo>
                    <a:pt x="26" y="52"/>
                  </a:lnTo>
                  <a:lnTo>
                    <a:pt x="25" y="53"/>
                  </a:lnTo>
                  <a:lnTo>
                    <a:pt x="24" y="53"/>
                  </a:lnTo>
                  <a:lnTo>
                    <a:pt x="24" y="52"/>
                  </a:lnTo>
                  <a:lnTo>
                    <a:pt x="22" y="50"/>
                  </a:lnTo>
                  <a:lnTo>
                    <a:pt x="21" y="50"/>
                  </a:lnTo>
                  <a:lnTo>
                    <a:pt x="20" y="50"/>
                  </a:lnTo>
                  <a:lnTo>
                    <a:pt x="20" y="49"/>
                  </a:lnTo>
                  <a:lnTo>
                    <a:pt x="19" y="49"/>
                  </a:lnTo>
                  <a:lnTo>
                    <a:pt x="19" y="48"/>
                  </a:lnTo>
                  <a:lnTo>
                    <a:pt x="18" y="48"/>
                  </a:lnTo>
                  <a:lnTo>
                    <a:pt x="17" y="48"/>
                  </a:lnTo>
                  <a:lnTo>
                    <a:pt x="15" y="48"/>
                  </a:lnTo>
                  <a:lnTo>
                    <a:pt x="15" y="47"/>
                  </a:lnTo>
                  <a:lnTo>
                    <a:pt x="14" y="47"/>
                  </a:lnTo>
                  <a:lnTo>
                    <a:pt x="13" y="47"/>
                  </a:lnTo>
                  <a:lnTo>
                    <a:pt x="13" y="46"/>
                  </a:lnTo>
                  <a:lnTo>
                    <a:pt x="12" y="46"/>
                  </a:lnTo>
                  <a:lnTo>
                    <a:pt x="11" y="45"/>
                  </a:lnTo>
                  <a:lnTo>
                    <a:pt x="11" y="43"/>
                  </a:lnTo>
                  <a:lnTo>
                    <a:pt x="8" y="43"/>
                  </a:lnTo>
                  <a:lnTo>
                    <a:pt x="8" y="42"/>
                  </a:lnTo>
                  <a:lnTo>
                    <a:pt x="8" y="41"/>
                  </a:lnTo>
                  <a:lnTo>
                    <a:pt x="10" y="41"/>
                  </a:lnTo>
                  <a:lnTo>
                    <a:pt x="10" y="40"/>
                  </a:lnTo>
                  <a:lnTo>
                    <a:pt x="11" y="40"/>
                  </a:lnTo>
                  <a:lnTo>
                    <a:pt x="11" y="41"/>
                  </a:lnTo>
                  <a:lnTo>
                    <a:pt x="12" y="41"/>
                  </a:lnTo>
                  <a:lnTo>
                    <a:pt x="12" y="40"/>
                  </a:lnTo>
                  <a:lnTo>
                    <a:pt x="12" y="39"/>
                  </a:lnTo>
                  <a:lnTo>
                    <a:pt x="11" y="38"/>
                  </a:lnTo>
                  <a:lnTo>
                    <a:pt x="10" y="36"/>
                  </a:lnTo>
                  <a:lnTo>
                    <a:pt x="10" y="35"/>
                  </a:lnTo>
                  <a:lnTo>
                    <a:pt x="8" y="35"/>
                  </a:lnTo>
                  <a:lnTo>
                    <a:pt x="8" y="34"/>
                  </a:lnTo>
                  <a:lnTo>
                    <a:pt x="10" y="34"/>
                  </a:lnTo>
                  <a:lnTo>
                    <a:pt x="10" y="35"/>
                  </a:lnTo>
                  <a:lnTo>
                    <a:pt x="10" y="34"/>
                  </a:lnTo>
                  <a:lnTo>
                    <a:pt x="11" y="34"/>
                  </a:lnTo>
                  <a:lnTo>
                    <a:pt x="12" y="34"/>
                  </a:lnTo>
                  <a:lnTo>
                    <a:pt x="13" y="34"/>
                  </a:lnTo>
                  <a:lnTo>
                    <a:pt x="13" y="33"/>
                  </a:lnTo>
                  <a:lnTo>
                    <a:pt x="12" y="33"/>
                  </a:lnTo>
                  <a:lnTo>
                    <a:pt x="11" y="33"/>
                  </a:lnTo>
                  <a:lnTo>
                    <a:pt x="11" y="32"/>
                  </a:lnTo>
                  <a:lnTo>
                    <a:pt x="10" y="32"/>
                  </a:lnTo>
                  <a:lnTo>
                    <a:pt x="10" y="31"/>
                  </a:lnTo>
                  <a:lnTo>
                    <a:pt x="8" y="31"/>
                  </a:lnTo>
                  <a:lnTo>
                    <a:pt x="8" y="29"/>
                  </a:lnTo>
                  <a:lnTo>
                    <a:pt x="8" y="31"/>
                  </a:lnTo>
                  <a:lnTo>
                    <a:pt x="7" y="31"/>
                  </a:lnTo>
                  <a:lnTo>
                    <a:pt x="7" y="29"/>
                  </a:lnTo>
                  <a:lnTo>
                    <a:pt x="6" y="29"/>
                  </a:lnTo>
                  <a:lnTo>
                    <a:pt x="6" y="28"/>
                  </a:lnTo>
                  <a:lnTo>
                    <a:pt x="6" y="27"/>
                  </a:lnTo>
                  <a:lnTo>
                    <a:pt x="6" y="26"/>
                  </a:lnTo>
                  <a:lnTo>
                    <a:pt x="6" y="25"/>
                  </a:lnTo>
                  <a:lnTo>
                    <a:pt x="7" y="25"/>
                  </a:lnTo>
                  <a:lnTo>
                    <a:pt x="7" y="24"/>
                  </a:lnTo>
                  <a:lnTo>
                    <a:pt x="8" y="24"/>
                  </a:lnTo>
                  <a:lnTo>
                    <a:pt x="8" y="22"/>
                  </a:lnTo>
                  <a:lnTo>
                    <a:pt x="8" y="21"/>
                  </a:lnTo>
                  <a:lnTo>
                    <a:pt x="8" y="20"/>
                  </a:lnTo>
                  <a:lnTo>
                    <a:pt x="7" y="20"/>
                  </a:lnTo>
                  <a:lnTo>
                    <a:pt x="6" y="20"/>
                  </a:lnTo>
                  <a:lnTo>
                    <a:pt x="5" y="20"/>
                  </a:lnTo>
                  <a:lnTo>
                    <a:pt x="4" y="21"/>
                  </a:lnTo>
                  <a:lnTo>
                    <a:pt x="4" y="20"/>
                  </a:lnTo>
                  <a:lnTo>
                    <a:pt x="5" y="20"/>
                  </a:lnTo>
                  <a:lnTo>
                    <a:pt x="5" y="19"/>
                  </a:lnTo>
                  <a:lnTo>
                    <a:pt x="5" y="18"/>
                  </a:lnTo>
                  <a:lnTo>
                    <a:pt x="5" y="17"/>
                  </a:lnTo>
                  <a:lnTo>
                    <a:pt x="4" y="17"/>
                  </a:lnTo>
                  <a:lnTo>
                    <a:pt x="5" y="17"/>
                  </a:lnTo>
                  <a:lnTo>
                    <a:pt x="5" y="15"/>
                  </a:lnTo>
                  <a:lnTo>
                    <a:pt x="6" y="15"/>
                  </a:lnTo>
                  <a:lnTo>
                    <a:pt x="6" y="17"/>
                  </a:lnTo>
                  <a:lnTo>
                    <a:pt x="7" y="17"/>
                  </a:lnTo>
                  <a:lnTo>
                    <a:pt x="7" y="15"/>
                  </a:lnTo>
                  <a:lnTo>
                    <a:pt x="7" y="17"/>
                  </a:lnTo>
                  <a:lnTo>
                    <a:pt x="8" y="17"/>
                  </a:lnTo>
                  <a:lnTo>
                    <a:pt x="8" y="15"/>
                  </a:lnTo>
                  <a:lnTo>
                    <a:pt x="7" y="14"/>
                  </a:lnTo>
                  <a:lnTo>
                    <a:pt x="5" y="14"/>
                  </a:lnTo>
                  <a:lnTo>
                    <a:pt x="4" y="13"/>
                  </a:lnTo>
                  <a:lnTo>
                    <a:pt x="3" y="13"/>
                  </a:lnTo>
                  <a:lnTo>
                    <a:pt x="4" y="12"/>
                  </a:lnTo>
                  <a:lnTo>
                    <a:pt x="3" y="12"/>
                  </a:lnTo>
                  <a:lnTo>
                    <a:pt x="3" y="11"/>
                  </a:lnTo>
                  <a:lnTo>
                    <a:pt x="4" y="11"/>
                  </a:lnTo>
                  <a:lnTo>
                    <a:pt x="4" y="10"/>
                  </a:lnTo>
                  <a:lnTo>
                    <a:pt x="3" y="10"/>
                  </a:lnTo>
                  <a:lnTo>
                    <a:pt x="3" y="11"/>
                  </a:lnTo>
                  <a:lnTo>
                    <a:pt x="1" y="11"/>
                  </a:lnTo>
                  <a:lnTo>
                    <a:pt x="1" y="10"/>
                  </a:lnTo>
                  <a:lnTo>
                    <a:pt x="1" y="8"/>
                  </a:lnTo>
                  <a:lnTo>
                    <a:pt x="3" y="8"/>
                  </a:lnTo>
                  <a:lnTo>
                    <a:pt x="1" y="8"/>
                  </a:lnTo>
                  <a:lnTo>
                    <a:pt x="1" y="7"/>
                  </a:lnTo>
                  <a:lnTo>
                    <a:pt x="1" y="6"/>
                  </a:lnTo>
                  <a:lnTo>
                    <a:pt x="0" y="6"/>
                  </a:lnTo>
                  <a:lnTo>
                    <a:pt x="0" y="5"/>
                  </a:lnTo>
                  <a:lnTo>
                    <a:pt x="1" y="5"/>
                  </a:lnTo>
                  <a:lnTo>
                    <a:pt x="0" y="5"/>
                  </a:lnTo>
                  <a:lnTo>
                    <a:pt x="1" y="5"/>
                  </a:lnTo>
                  <a:lnTo>
                    <a:pt x="1" y="4"/>
                  </a:lnTo>
                  <a:lnTo>
                    <a:pt x="3" y="5"/>
                  </a:lnTo>
                  <a:lnTo>
                    <a:pt x="3" y="4"/>
                  </a:lnTo>
                  <a:lnTo>
                    <a:pt x="1" y="4"/>
                  </a:lnTo>
                  <a:lnTo>
                    <a:pt x="3" y="4"/>
                  </a:lnTo>
                  <a:lnTo>
                    <a:pt x="3" y="3"/>
                  </a:lnTo>
                  <a:lnTo>
                    <a:pt x="4" y="3"/>
                  </a:lnTo>
                  <a:lnTo>
                    <a:pt x="4" y="4"/>
                  </a:lnTo>
                  <a:lnTo>
                    <a:pt x="5" y="4"/>
                  </a:lnTo>
                  <a:lnTo>
                    <a:pt x="6" y="4"/>
                  </a:lnTo>
                  <a:lnTo>
                    <a:pt x="6" y="3"/>
                  </a:lnTo>
                  <a:lnTo>
                    <a:pt x="7" y="3"/>
                  </a:lnTo>
                  <a:lnTo>
                    <a:pt x="7" y="1"/>
                  </a:lnTo>
                  <a:lnTo>
                    <a:pt x="8" y="1"/>
                  </a:lnTo>
                  <a:lnTo>
                    <a:pt x="8" y="0"/>
                  </a:lnTo>
                  <a:lnTo>
                    <a:pt x="10" y="0"/>
                  </a:lnTo>
                  <a:lnTo>
                    <a:pt x="11" y="0"/>
                  </a:lnTo>
                  <a:lnTo>
                    <a:pt x="12" y="1"/>
                  </a:lnTo>
                  <a:lnTo>
                    <a:pt x="13" y="0"/>
                  </a:lnTo>
                  <a:lnTo>
                    <a:pt x="14" y="0"/>
                  </a:lnTo>
                  <a:lnTo>
                    <a:pt x="14" y="1"/>
                  </a:lnTo>
                  <a:lnTo>
                    <a:pt x="15" y="1"/>
                  </a:lnTo>
                  <a:lnTo>
                    <a:pt x="15" y="0"/>
                  </a:lnTo>
                  <a:lnTo>
                    <a:pt x="17" y="1"/>
                  </a:lnTo>
                  <a:lnTo>
                    <a:pt x="18" y="1"/>
                  </a:lnTo>
                  <a:close/>
                </a:path>
              </a:pathLst>
            </a:custGeom>
            <a:solidFill>
              <a:srgbClr val="0053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46" name="Freeform 1005">
              <a:extLst>
                <a:ext uri="{FF2B5EF4-FFF2-40B4-BE49-F238E27FC236}">
                  <a16:creationId xmlns:a16="http://schemas.microsoft.com/office/drawing/2014/main" id="{13F0C44E-BBB9-4E7E-9AAB-02B6EDC5B19F}"/>
                </a:ext>
              </a:extLst>
            </p:cNvPr>
            <p:cNvSpPr>
              <a:spLocks noEditPoints="1"/>
            </p:cNvSpPr>
            <p:nvPr/>
          </p:nvSpPr>
          <p:spPr bwMode="auto">
            <a:xfrm>
              <a:off x="5926622" y="3311134"/>
              <a:ext cx="18697" cy="36059"/>
            </a:xfrm>
            <a:custGeom>
              <a:avLst/>
              <a:gdLst>
                <a:gd name="T0" fmla="*/ 2 w 14"/>
                <a:gd name="T1" fmla="*/ 26 h 27"/>
                <a:gd name="T2" fmla="*/ 2 w 14"/>
                <a:gd name="T3" fmla="*/ 27 h 27"/>
                <a:gd name="T4" fmla="*/ 1 w 14"/>
                <a:gd name="T5" fmla="*/ 27 h 27"/>
                <a:gd name="T6" fmla="*/ 1 w 14"/>
                <a:gd name="T7" fmla="*/ 27 h 27"/>
                <a:gd name="T8" fmla="*/ 1 w 14"/>
                <a:gd name="T9" fmla="*/ 27 h 27"/>
                <a:gd name="T10" fmla="*/ 1 w 14"/>
                <a:gd name="T11" fmla="*/ 26 h 27"/>
                <a:gd name="T12" fmla="*/ 1 w 14"/>
                <a:gd name="T13" fmla="*/ 26 h 27"/>
                <a:gd name="T14" fmla="*/ 1 w 14"/>
                <a:gd name="T15" fmla="*/ 26 h 27"/>
                <a:gd name="T16" fmla="*/ 0 w 14"/>
                <a:gd name="T17" fmla="*/ 24 h 27"/>
                <a:gd name="T18" fmla="*/ 0 w 14"/>
                <a:gd name="T19" fmla="*/ 24 h 27"/>
                <a:gd name="T20" fmla="*/ 0 w 14"/>
                <a:gd name="T21" fmla="*/ 24 h 27"/>
                <a:gd name="T22" fmla="*/ 1 w 14"/>
                <a:gd name="T23" fmla="*/ 23 h 27"/>
                <a:gd name="T24" fmla="*/ 1 w 14"/>
                <a:gd name="T25" fmla="*/ 23 h 27"/>
                <a:gd name="T26" fmla="*/ 1 w 14"/>
                <a:gd name="T27" fmla="*/ 23 h 27"/>
                <a:gd name="T28" fmla="*/ 2 w 14"/>
                <a:gd name="T29" fmla="*/ 21 h 27"/>
                <a:gd name="T30" fmla="*/ 2 w 14"/>
                <a:gd name="T31" fmla="*/ 21 h 27"/>
                <a:gd name="T32" fmla="*/ 4 w 14"/>
                <a:gd name="T33" fmla="*/ 21 h 27"/>
                <a:gd name="T34" fmla="*/ 5 w 14"/>
                <a:gd name="T35" fmla="*/ 23 h 27"/>
                <a:gd name="T36" fmla="*/ 5 w 14"/>
                <a:gd name="T37" fmla="*/ 24 h 27"/>
                <a:gd name="T38" fmla="*/ 5 w 14"/>
                <a:gd name="T39" fmla="*/ 24 h 27"/>
                <a:gd name="T40" fmla="*/ 5 w 14"/>
                <a:gd name="T41" fmla="*/ 24 h 27"/>
                <a:gd name="T42" fmla="*/ 4 w 14"/>
                <a:gd name="T43" fmla="*/ 25 h 27"/>
                <a:gd name="T44" fmla="*/ 4 w 14"/>
                <a:gd name="T45" fmla="*/ 26 h 27"/>
                <a:gd name="T46" fmla="*/ 4 w 14"/>
                <a:gd name="T47" fmla="*/ 26 h 27"/>
                <a:gd name="T48" fmla="*/ 4 w 14"/>
                <a:gd name="T49" fmla="*/ 26 h 27"/>
                <a:gd name="T50" fmla="*/ 2 w 14"/>
                <a:gd name="T51" fmla="*/ 26 h 27"/>
                <a:gd name="T52" fmla="*/ 2 w 14"/>
                <a:gd name="T53" fmla="*/ 26 h 27"/>
                <a:gd name="T54" fmla="*/ 14 w 14"/>
                <a:gd name="T55" fmla="*/ 3 h 27"/>
                <a:gd name="T56" fmla="*/ 14 w 14"/>
                <a:gd name="T57" fmla="*/ 3 h 27"/>
                <a:gd name="T58" fmla="*/ 14 w 14"/>
                <a:gd name="T59" fmla="*/ 3 h 27"/>
                <a:gd name="T60" fmla="*/ 13 w 14"/>
                <a:gd name="T61" fmla="*/ 3 h 27"/>
                <a:gd name="T62" fmla="*/ 13 w 14"/>
                <a:gd name="T63" fmla="*/ 4 h 27"/>
                <a:gd name="T64" fmla="*/ 13 w 14"/>
                <a:gd name="T65" fmla="*/ 3 h 27"/>
                <a:gd name="T66" fmla="*/ 13 w 14"/>
                <a:gd name="T67" fmla="*/ 3 h 27"/>
                <a:gd name="T68" fmla="*/ 13 w 14"/>
                <a:gd name="T69" fmla="*/ 3 h 27"/>
                <a:gd name="T70" fmla="*/ 13 w 14"/>
                <a:gd name="T71" fmla="*/ 3 h 27"/>
                <a:gd name="T72" fmla="*/ 13 w 14"/>
                <a:gd name="T73" fmla="*/ 2 h 27"/>
                <a:gd name="T74" fmla="*/ 13 w 14"/>
                <a:gd name="T75" fmla="*/ 2 h 27"/>
                <a:gd name="T76" fmla="*/ 13 w 14"/>
                <a:gd name="T77" fmla="*/ 2 h 27"/>
                <a:gd name="T78" fmla="*/ 13 w 14"/>
                <a:gd name="T79" fmla="*/ 2 h 27"/>
                <a:gd name="T80" fmla="*/ 14 w 14"/>
                <a:gd name="T81" fmla="*/ 0 h 27"/>
                <a:gd name="T82" fmla="*/ 14 w 14"/>
                <a:gd name="T83" fmla="*/ 0 h 27"/>
                <a:gd name="T84" fmla="*/ 14 w 14"/>
                <a:gd name="T85" fmla="*/ 2 h 27"/>
                <a:gd name="T86" fmla="*/ 14 w 14"/>
                <a:gd name="T87" fmla="*/ 2 h 27"/>
                <a:gd name="T88" fmla="*/ 14 w 14"/>
                <a:gd name="T89" fmla="*/ 2 h 27"/>
                <a:gd name="T90" fmla="*/ 14 w 14"/>
                <a:gd name="T91" fmla="*/ 2 h 27"/>
                <a:gd name="T92" fmla="*/ 14 w 14"/>
                <a:gd name="T93" fmla="*/ 2 h 27"/>
                <a:gd name="T94" fmla="*/ 14 w 14"/>
                <a:gd name="T95"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 h="27">
                  <a:moveTo>
                    <a:pt x="2" y="26"/>
                  </a:moveTo>
                  <a:lnTo>
                    <a:pt x="2" y="26"/>
                  </a:lnTo>
                  <a:lnTo>
                    <a:pt x="2" y="26"/>
                  </a:lnTo>
                  <a:lnTo>
                    <a:pt x="2" y="27"/>
                  </a:lnTo>
                  <a:lnTo>
                    <a:pt x="1" y="27"/>
                  </a:lnTo>
                  <a:lnTo>
                    <a:pt x="1" y="27"/>
                  </a:lnTo>
                  <a:lnTo>
                    <a:pt x="1" y="27"/>
                  </a:lnTo>
                  <a:lnTo>
                    <a:pt x="1" y="27"/>
                  </a:lnTo>
                  <a:lnTo>
                    <a:pt x="1" y="27"/>
                  </a:lnTo>
                  <a:lnTo>
                    <a:pt x="1" y="27"/>
                  </a:lnTo>
                  <a:lnTo>
                    <a:pt x="1" y="27"/>
                  </a:lnTo>
                  <a:lnTo>
                    <a:pt x="1" y="26"/>
                  </a:lnTo>
                  <a:lnTo>
                    <a:pt x="1" y="26"/>
                  </a:lnTo>
                  <a:lnTo>
                    <a:pt x="1" y="26"/>
                  </a:lnTo>
                  <a:lnTo>
                    <a:pt x="1" y="26"/>
                  </a:lnTo>
                  <a:lnTo>
                    <a:pt x="1" y="26"/>
                  </a:lnTo>
                  <a:lnTo>
                    <a:pt x="1" y="26"/>
                  </a:lnTo>
                  <a:lnTo>
                    <a:pt x="0" y="24"/>
                  </a:lnTo>
                  <a:lnTo>
                    <a:pt x="0" y="24"/>
                  </a:lnTo>
                  <a:lnTo>
                    <a:pt x="0" y="24"/>
                  </a:lnTo>
                  <a:lnTo>
                    <a:pt x="0" y="24"/>
                  </a:lnTo>
                  <a:lnTo>
                    <a:pt x="0" y="24"/>
                  </a:lnTo>
                  <a:lnTo>
                    <a:pt x="0" y="24"/>
                  </a:lnTo>
                  <a:lnTo>
                    <a:pt x="1" y="23"/>
                  </a:lnTo>
                  <a:lnTo>
                    <a:pt x="1" y="23"/>
                  </a:lnTo>
                  <a:lnTo>
                    <a:pt x="1" y="23"/>
                  </a:lnTo>
                  <a:lnTo>
                    <a:pt x="1" y="23"/>
                  </a:lnTo>
                  <a:lnTo>
                    <a:pt x="1" y="23"/>
                  </a:lnTo>
                  <a:lnTo>
                    <a:pt x="1" y="23"/>
                  </a:lnTo>
                  <a:lnTo>
                    <a:pt x="2" y="21"/>
                  </a:lnTo>
                  <a:lnTo>
                    <a:pt x="2" y="21"/>
                  </a:lnTo>
                  <a:lnTo>
                    <a:pt x="2" y="21"/>
                  </a:lnTo>
                  <a:lnTo>
                    <a:pt x="4" y="21"/>
                  </a:lnTo>
                  <a:lnTo>
                    <a:pt x="4" y="21"/>
                  </a:lnTo>
                  <a:lnTo>
                    <a:pt x="4" y="21"/>
                  </a:lnTo>
                  <a:lnTo>
                    <a:pt x="5" y="23"/>
                  </a:lnTo>
                  <a:lnTo>
                    <a:pt x="5" y="23"/>
                  </a:lnTo>
                  <a:lnTo>
                    <a:pt x="5" y="24"/>
                  </a:lnTo>
                  <a:lnTo>
                    <a:pt x="5" y="24"/>
                  </a:lnTo>
                  <a:lnTo>
                    <a:pt x="5" y="24"/>
                  </a:lnTo>
                  <a:lnTo>
                    <a:pt x="5" y="24"/>
                  </a:lnTo>
                  <a:lnTo>
                    <a:pt x="5" y="24"/>
                  </a:lnTo>
                  <a:lnTo>
                    <a:pt x="4" y="25"/>
                  </a:lnTo>
                  <a:lnTo>
                    <a:pt x="4" y="25"/>
                  </a:lnTo>
                  <a:lnTo>
                    <a:pt x="4" y="26"/>
                  </a:lnTo>
                  <a:lnTo>
                    <a:pt x="4" y="26"/>
                  </a:lnTo>
                  <a:lnTo>
                    <a:pt x="4" y="26"/>
                  </a:lnTo>
                  <a:lnTo>
                    <a:pt x="4" y="26"/>
                  </a:lnTo>
                  <a:lnTo>
                    <a:pt x="4" y="26"/>
                  </a:lnTo>
                  <a:lnTo>
                    <a:pt x="4" y="26"/>
                  </a:lnTo>
                  <a:lnTo>
                    <a:pt x="2" y="26"/>
                  </a:lnTo>
                  <a:lnTo>
                    <a:pt x="2" y="26"/>
                  </a:lnTo>
                  <a:lnTo>
                    <a:pt x="2" y="26"/>
                  </a:lnTo>
                  <a:lnTo>
                    <a:pt x="2" y="26"/>
                  </a:lnTo>
                  <a:close/>
                  <a:moveTo>
                    <a:pt x="14" y="2"/>
                  </a:moveTo>
                  <a:lnTo>
                    <a:pt x="14" y="3"/>
                  </a:lnTo>
                  <a:lnTo>
                    <a:pt x="14" y="3"/>
                  </a:lnTo>
                  <a:lnTo>
                    <a:pt x="14" y="3"/>
                  </a:lnTo>
                  <a:lnTo>
                    <a:pt x="14" y="3"/>
                  </a:lnTo>
                  <a:lnTo>
                    <a:pt x="14" y="3"/>
                  </a:lnTo>
                  <a:lnTo>
                    <a:pt x="13" y="3"/>
                  </a:lnTo>
                  <a:lnTo>
                    <a:pt x="13" y="3"/>
                  </a:lnTo>
                  <a:lnTo>
                    <a:pt x="13" y="4"/>
                  </a:lnTo>
                  <a:lnTo>
                    <a:pt x="13" y="4"/>
                  </a:lnTo>
                  <a:lnTo>
                    <a:pt x="13" y="3"/>
                  </a:lnTo>
                  <a:lnTo>
                    <a:pt x="13" y="3"/>
                  </a:lnTo>
                  <a:lnTo>
                    <a:pt x="13" y="3"/>
                  </a:lnTo>
                  <a:lnTo>
                    <a:pt x="13" y="3"/>
                  </a:lnTo>
                  <a:lnTo>
                    <a:pt x="13" y="3"/>
                  </a:lnTo>
                  <a:lnTo>
                    <a:pt x="13" y="3"/>
                  </a:lnTo>
                  <a:lnTo>
                    <a:pt x="13" y="3"/>
                  </a:lnTo>
                  <a:lnTo>
                    <a:pt x="13" y="3"/>
                  </a:lnTo>
                  <a:lnTo>
                    <a:pt x="13" y="3"/>
                  </a:lnTo>
                  <a:lnTo>
                    <a:pt x="13" y="2"/>
                  </a:lnTo>
                  <a:lnTo>
                    <a:pt x="13" y="2"/>
                  </a:lnTo>
                  <a:lnTo>
                    <a:pt x="13" y="2"/>
                  </a:lnTo>
                  <a:lnTo>
                    <a:pt x="13" y="2"/>
                  </a:lnTo>
                  <a:lnTo>
                    <a:pt x="13" y="2"/>
                  </a:lnTo>
                  <a:lnTo>
                    <a:pt x="13" y="2"/>
                  </a:lnTo>
                  <a:lnTo>
                    <a:pt x="13" y="2"/>
                  </a:lnTo>
                  <a:lnTo>
                    <a:pt x="13" y="0"/>
                  </a:lnTo>
                  <a:lnTo>
                    <a:pt x="14" y="0"/>
                  </a:lnTo>
                  <a:lnTo>
                    <a:pt x="14" y="0"/>
                  </a:lnTo>
                  <a:lnTo>
                    <a:pt x="14" y="0"/>
                  </a:lnTo>
                  <a:lnTo>
                    <a:pt x="14" y="0"/>
                  </a:lnTo>
                  <a:lnTo>
                    <a:pt x="14" y="2"/>
                  </a:lnTo>
                  <a:lnTo>
                    <a:pt x="14" y="2"/>
                  </a:lnTo>
                  <a:lnTo>
                    <a:pt x="14" y="2"/>
                  </a:lnTo>
                  <a:lnTo>
                    <a:pt x="14" y="2"/>
                  </a:lnTo>
                  <a:lnTo>
                    <a:pt x="14" y="2"/>
                  </a:lnTo>
                  <a:lnTo>
                    <a:pt x="14" y="2"/>
                  </a:lnTo>
                  <a:lnTo>
                    <a:pt x="14" y="2"/>
                  </a:lnTo>
                  <a:lnTo>
                    <a:pt x="14" y="2"/>
                  </a:lnTo>
                  <a:lnTo>
                    <a:pt x="14" y="2"/>
                  </a:lnTo>
                  <a:lnTo>
                    <a:pt x="14" y="2"/>
                  </a:lnTo>
                  <a:lnTo>
                    <a:pt x="14"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47" name="Freeform 1006">
              <a:extLst>
                <a:ext uri="{FF2B5EF4-FFF2-40B4-BE49-F238E27FC236}">
                  <a16:creationId xmlns:a16="http://schemas.microsoft.com/office/drawing/2014/main" id="{A9F19F1E-5C19-4B7B-8077-3A7477E15A89}"/>
                </a:ext>
              </a:extLst>
            </p:cNvPr>
            <p:cNvSpPr>
              <a:spLocks/>
            </p:cNvSpPr>
            <p:nvPr/>
          </p:nvSpPr>
          <p:spPr bwMode="auto">
            <a:xfrm>
              <a:off x="4727353" y="3221656"/>
              <a:ext cx="76123" cy="86807"/>
            </a:xfrm>
            <a:custGeom>
              <a:avLst/>
              <a:gdLst>
                <a:gd name="T0" fmla="*/ 51 w 57"/>
                <a:gd name="T1" fmla="*/ 13 h 65"/>
                <a:gd name="T2" fmla="*/ 50 w 57"/>
                <a:gd name="T3" fmla="*/ 20 h 65"/>
                <a:gd name="T4" fmla="*/ 50 w 57"/>
                <a:gd name="T5" fmla="*/ 25 h 65"/>
                <a:gd name="T6" fmla="*/ 50 w 57"/>
                <a:gd name="T7" fmla="*/ 29 h 65"/>
                <a:gd name="T8" fmla="*/ 52 w 57"/>
                <a:gd name="T9" fmla="*/ 32 h 65"/>
                <a:gd name="T10" fmla="*/ 54 w 57"/>
                <a:gd name="T11" fmla="*/ 36 h 65"/>
                <a:gd name="T12" fmla="*/ 56 w 57"/>
                <a:gd name="T13" fmla="*/ 41 h 65"/>
                <a:gd name="T14" fmla="*/ 52 w 57"/>
                <a:gd name="T15" fmla="*/ 45 h 65"/>
                <a:gd name="T16" fmla="*/ 53 w 57"/>
                <a:gd name="T17" fmla="*/ 50 h 65"/>
                <a:gd name="T18" fmla="*/ 51 w 57"/>
                <a:gd name="T19" fmla="*/ 55 h 65"/>
                <a:gd name="T20" fmla="*/ 47 w 57"/>
                <a:gd name="T21" fmla="*/ 57 h 65"/>
                <a:gd name="T22" fmla="*/ 45 w 57"/>
                <a:gd name="T23" fmla="*/ 56 h 65"/>
                <a:gd name="T24" fmla="*/ 40 w 57"/>
                <a:gd name="T25" fmla="*/ 53 h 65"/>
                <a:gd name="T26" fmla="*/ 37 w 57"/>
                <a:gd name="T27" fmla="*/ 56 h 65"/>
                <a:gd name="T28" fmla="*/ 31 w 57"/>
                <a:gd name="T29" fmla="*/ 57 h 65"/>
                <a:gd name="T30" fmla="*/ 28 w 57"/>
                <a:gd name="T31" fmla="*/ 55 h 65"/>
                <a:gd name="T32" fmla="*/ 26 w 57"/>
                <a:gd name="T33" fmla="*/ 57 h 65"/>
                <a:gd name="T34" fmla="*/ 28 w 57"/>
                <a:gd name="T35" fmla="*/ 60 h 65"/>
                <a:gd name="T36" fmla="*/ 29 w 57"/>
                <a:gd name="T37" fmla="*/ 65 h 65"/>
                <a:gd name="T38" fmla="*/ 23 w 57"/>
                <a:gd name="T39" fmla="*/ 65 h 65"/>
                <a:gd name="T40" fmla="*/ 18 w 57"/>
                <a:gd name="T41" fmla="*/ 63 h 65"/>
                <a:gd name="T42" fmla="*/ 15 w 57"/>
                <a:gd name="T43" fmla="*/ 58 h 65"/>
                <a:gd name="T44" fmla="*/ 14 w 57"/>
                <a:gd name="T45" fmla="*/ 53 h 65"/>
                <a:gd name="T46" fmla="*/ 11 w 57"/>
                <a:gd name="T47" fmla="*/ 51 h 65"/>
                <a:gd name="T48" fmla="*/ 11 w 57"/>
                <a:gd name="T49" fmla="*/ 48 h 65"/>
                <a:gd name="T50" fmla="*/ 10 w 57"/>
                <a:gd name="T51" fmla="*/ 45 h 65"/>
                <a:gd name="T52" fmla="*/ 9 w 57"/>
                <a:gd name="T53" fmla="*/ 42 h 65"/>
                <a:gd name="T54" fmla="*/ 5 w 57"/>
                <a:gd name="T55" fmla="*/ 42 h 65"/>
                <a:gd name="T56" fmla="*/ 3 w 57"/>
                <a:gd name="T57" fmla="*/ 37 h 65"/>
                <a:gd name="T58" fmla="*/ 1 w 57"/>
                <a:gd name="T59" fmla="*/ 32 h 65"/>
                <a:gd name="T60" fmla="*/ 0 w 57"/>
                <a:gd name="T61" fmla="*/ 28 h 65"/>
                <a:gd name="T62" fmla="*/ 2 w 57"/>
                <a:gd name="T63" fmla="*/ 22 h 65"/>
                <a:gd name="T64" fmla="*/ 2 w 57"/>
                <a:gd name="T65" fmla="*/ 18 h 65"/>
                <a:gd name="T66" fmla="*/ 3 w 57"/>
                <a:gd name="T67" fmla="*/ 16 h 65"/>
                <a:gd name="T68" fmla="*/ 7 w 57"/>
                <a:gd name="T69" fmla="*/ 15 h 65"/>
                <a:gd name="T70" fmla="*/ 10 w 57"/>
                <a:gd name="T71" fmla="*/ 13 h 65"/>
                <a:gd name="T72" fmla="*/ 10 w 57"/>
                <a:gd name="T73" fmla="*/ 11 h 65"/>
                <a:gd name="T74" fmla="*/ 11 w 57"/>
                <a:gd name="T75" fmla="*/ 9 h 65"/>
                <a:gd name="T76" fmla="*/ 12 w 57"/>
                <a:gd name="T77" fmla="*/ 3 h 65"/>
                <a:gd name="T78" fmla="*/ 15 w 57"/>
                <a:gd name="T79" fmla="*/ 0 h 65"/>
                <a:gd name="T80" fmla="*/ 21 w 57"/>
                <a:gd name="T81" fmla="*/ 1 h 65"/>
                <a:gd name="T82" fmla="*/ 26 w 57"/>
                <a:gd name="T83" fmla="*/ 2 h 65"/>
                <a:gd name="T84" fmla="*/ 30 w 57"/>
                <a:gd name="T85" fmla="*/ 3 h 65"/>
                <a:gd name="T86" fmla="*/ 30 w 57"/>
                <a:gd name="T87" fmla="*/ 0 h 65"/>
                <a:gd name="T88" fmla="*/ 38 w 57"/>
                <a:gd name="T89" fmla="*/ 0 h 65"/>
                <a:gd name="T90" fmla="*/ 42 w 57"/>
                <a:gd name="T91" fmla="*/ 2 h 65"/>
                <a:gd name="T92" fmla="*/ 43 w 57"/>
                <a:gd name="T93" fmla="*/ 2 h 65"/>
                <a:gd name="T94" fmla="*/ 42 w 57"/>
                <a:gd name="T95" fmla="*/ 0 h 65"/>
                <a:gd name="T96" fmla="*/ 52 w 57"/>
                <a:gd name="T97" fmla="*/ 1 h 65"/>
                <a:gd name="T98" fmla="*/ 57 w 57"/>
                <a:gd name="T99" fmla="*/ 3 h 65"/>
                <a:gd name="T100" fmla="*/ 56 w 57"/>
                <a:gd name="T101"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7" h="65">
                  <a:moveTo>
                    <a:pt x="54" y="10"/>
                  </a:moveTo>
                  <a:lnTo>
                    <a:pt x="53" y="10"/>
                  </a:lnTo>
                  <a:lnTo>
                    <a:pt x="52" y="11"/>
                  </a:lnTo>
                  <a:lnTo>
                    <a:pt x="52" y="13"/>
                  </a:lnTo>
                  <a:lnTo>
                    <a:pt x="51" y="13"/>
                  </a:lnTo>
                  <a:lnTo>
                    <a:pt x="51" y="14"/>
                  </a:lnTo>
                  <a:lnTo>
                    <a:pt x="50" y="15"/>
                  </a:lnTo>
                  <a:lnTo>
                    <a:pt x="50" y="16"/>
                  </a:lnTo>
                  <a:lnTo>
                    <a:pt x="50" y="17"/>
                  </a:lnTo>
                  <a:lnTo>
                    <a:pt x="50" y="20"/>
                  </a:lnTo>
                  <a:lnTo>
                    <a:pt x="50" y="21"/>
                  </a:lnTo>
                  <a:lnTo>
                    <a:pt x="50" y="22"/>
                  </a:lnTo>
                  <a:lnTo>
                    <a:pt x="50" y="23"/>
                  </a:lnTo>
                  <a:lnTo>
                    <a:pt x="50" y="24"/>
                  </a:lnTo>
                  <a:lnTo>
                    <a:pt x="50" y="25"/>
                  </a:lnTo>
                  <a:lnTo>
                    <a:pt x="50" y="27"/>
                  </a:lnTo>
                  <a:lnTo>
                    <a:pt x="51" y="27"/>
                  </a:lnTo>
                  <a:lnTo>
                    <a:pt x="51" y="28"/>
                  </a:lnTo>
                  <a:lnTo>
                    <a:pt x="50" y="28"/>
                  </a:lnTo>
                  <a:lnTo>
                    <a:pt x="50" y="29"/>
                  </a:lnTo>
                  <a:lnTo>
                    <a:pt x="51" y="29"/>
                  </a:lnTo>
                  <a:lnTo>
                    <a:pt x="51" y="30"/>
                  </a:lnTo>
                  <a:lnTo>
                    <a:pt x="51" y="31"/>
                  </a:lnTo>
                  <a:lnTo>
                    <a:pt x="52" y="31"/>
                  </a:lnTo>
                  <a:lnTo>
                    <a:pt x="52" y="32"/>
                  </a:lnTo>
                  <a:lnTo>
                    <a:pt x="52" y="34"/>
                  </a:lnTo>
                  <a:lnTo>
                    <a:pt x="53" y="34"/>
                  </a:lnTo>
                  <a:lnTo>
                    <a:pt x="53" y="35"/>
                  </a:lnTo>
                  <a:lnTo>
                    <a:pt x="54" y="35"/>
                  </a:lnTo>
                  <a:lnTo>
                    <a:pt x="54" y="36"/>
                  </a:lnTo>
                  <a:lnTo>
                    <a:pt x="54" y="37"/>
                  </a:lnTo>
                  <a:lnTo>
                    <a:pt x="56" y="37"/>
                  </a:lnTo>
                  <a:lnTo>
                    <a:pt x="56" y="38"/>
                  </a:lnTo>
                  <a:lnTo>
                    <a:pt x="56" y="39"/>
                  </a:lnTo>
                  <a:lnTo>
                    <a:pt x="56" y="41"/>
                  </a:lnTo>
                  <a:lnTo>
                    <a:pt x="54" y="42"/>
                  </a:lnTo>
                  <a:lnTo>
                    <a:pt x="54" y="43"/>
                  </a:lnTo>
                  <a:lnTo>
                    <a:pt x="53" y="43"/>
                  </a:lnTo>
                  <a:lnTo>
                    <a:pt x="53" y="44"/>
                  </a:lnTo>
                  <a:lnTo>
                    <a:pt x="52" y="45"/>
                  </a:lnTo>
                  <a:lnTo>
                    <a:pt x="53" y="45"/>
                  </a:lnTo>
                  <a:lnTo>
                    <a:pt x="53" y="46"/>
                  </a:lnTo>
                  <a:lnTo>
                    <a:pt x="53" y="48"/>
                  </a:lnTo>
                  <a:lnTo>
                    <a:pt x="53" y="49"/>
                  </a:lnTo>
                  <a:lnTo>
                    <a:pt x="53" y="50"/>
                  </a:lnTo>
                  <a:lnTo>
                    <a:pt x="52" y="50"/>
                  </a:lnTo>
                  <a:lnTo>
                    <a:pt x="52" y="51"/>
                  </a:lnTo>
                  <a:lnTo>
                    <a:pt x="51" y="52"/>
                  </a:lnTo>
                  <a:lnTo>
                    <a:pt x="51" y="53"/>
                  </a:lnTo>
                  <a:lnTo>
                    <a:pt x="51" y="55"/>
                  </a:lnTo>
                  <a:lnTo>
                    <a:pt x="50" y="56"/>
                  </a:lnTo>
                  <a:lnTo>
                    <a:pt x="49" y="56"/>
                  </a:lnTo>
                  <a:lnTo>
                    <a:pt x="49" y="57"/>
                  </a:lnTo>
                  <a:lnTo>
                    <a:pt x="47" y="58"/>
                  </a:lnTo>
                  <a:lnTo>
                    <a:pt x="47" y="57"/>
                  </a:lnTo>
                  <a:lnTo>
                    <a:pt x="47" y="58"/>
                  </a:lnTo>
                  <a:lnTo>
                    <a:pt x="46" y="58"/>
                  </a:lnTo>
                  <a:lnTo>
                    <a:pt x="45" y="58"/>
                  </a:lnTo>
                  <a:lnTo>
                    <a:pt x="45" y="57"/>
                  </a:lnTo>
                  <a:lnTo>
                    <a:pt x="45" y="56"/>
                  </a:lnTo>
                  <a:lnTo>
                    <a:pt x="44" y="56"/>
                  </a:lnTo>
                  <a:lnTo>
                    <a:pt x="43" y="56"/>
                  </a:lnTo>
                  <a:lnTo>
                    <a:pt x="42" y="55"/>
                  </a:lnTo>
                  <a:lnTo>
                    <a:pt x="42" y="53"/>
                  </a:lnTo>
                  <a:lnTo>
                    <a:pt x="40" y="53"/>
                  </a:lnTo>
                  <a:lnTo>
                    <a:pt x="40" y="55"/>
                  </a:lnTo>
                  <a:lnTo>
                    <a:pt x="39" y="55"/>
                  </a:lnTo>
                  <a:lnTo>
                    <a:pt x="38" y="55"/>
                  </a:lnTo>
                  <a:lnTo>
                    <a:pt x="37" y="55"/>
                  </a:lnTo>
                  <a:lnTo>
                    <a:pt x="37" y="56"/>
                  </a:lnTo>
                  <a:lnTo>
                    <a:pt x="36" y="56"/>
                  </a:lnTo>
                  <a:lnTo>
                    <a:pt x="35" y="56"/>
                  </a:lnTo>
                  <a:lnTo>
                    <a:pt x="33" y="56"/>
                  </a:lnTo>
                  <a:lnTo>
                    <a:pt x="32" y="57"/>
                  </a:lnTo>
                  <a:lnTo>
                    <a:pt x="31" y="57"/>
                  </a:lnTo>
                  <a:lnTo>
                    <a:pt x="31" y="56"/>
                  </a:lnTo>
                  <a:lnTo>
                    <a:pt x="30" y="56"/>
                  </a:lnTo>
                  <a:lnTo>
                    <a:pt x="29" y="56"/>
                  </a:lnTo>
                  <a:lnTo>
                    <a:pt x="29" y="55"/>
                  </a:lnTo>
                  <a:lnTo>
                    <a:pt x="28" y="55"/>
                  </a:lnTo>
                  <a:lnTo>
                    <a:pt x="28" y="56"/>
                  </a:lnTo>
                  <a:lnTo>
                    <a:pt x="28" y="57"/>
                  </a:lnTo>
                  <a:lnTo>
                    <a:pt x="26" y="57"/>
                  </a:lnTo>
                  <a:lnTo>
                    <a:pt x="26" y="58"/>
                  </a:lnTo>
                  <a:lnTo>
                    <a:pt x="26" y="57"/>
                  </a:lnTo>
                  <a:lnTo>
                    <a:pt x="25" y="58"/>
                  </a:lnTo>
                  <a:lnTo>
                    <a:pt x="25" y="59"/>
                  </a:lnTo>
                  <a:lnTo>
                    <a:pt x="26" y="59"/>
                  </a:lnTo>
                  <a:lnTo>
                    <a:pt x="26" y="60"/>
                  </a:lnTo>
                  <a:lnTo>
                    <a:pt x="28" y="60"/>
                  </a:lnTo>
                  <a:lnTo>
                    <a:pt x="28" y="62"/>
                  </a:lnTo>
                  <a:lnTo>
                    <a:pt x="29" y="62"/>
                  </a:lnTo>
                  <a:lnTo>
                    <a:pt x="29" y="63"/>
                  </a:lnTo>
                  <a:lnTo>
                    <a:pt x="29" y="64"/>
                  </a:lnTo>
                  <a:lnTo>
                    <a:pt x="29" y="65"/>
                  </a:lnTo>
                  <a:lnTo>
                    <a:pt x="28" y="65"/>
                  </a:lnTo>
                  <a:lnTo>
                    <a:pt x="26" y="65"/>
                  </a:lnTo>
                  <a:lnTo>
                    <a:pt x="25" y="65"/>
                  </a:lnTo>
                  <a:lnTo>
                    <a:pt x="24" y="65"/>
                  </a:lnTo>
                  <a:lnTo>
                    <a:pt x="23" y="65"/>
                  </a:lnTo>
                  <a:lnTo>
                    <a:pt x="23" y="64"/>
                  </a:lnTo>
                  <a:lnTo>
                    <a:pt x="22" y="64"/>
                  </a:lnTo>
                  <a:lnTo>
                    <a:pt x="21" y="64"/>
                  </a:lnTo>
                  <a:lnTo>
                    <a:pt x="19" y="63"/>
                  </a:lnTo>
                  <a:lnTo>
                    <a:pt x="18" y="63"/>
                  </a:lnTo>
                  <a:lnTo>
                    <a:pt x="17" y="63"/>
                  </a:lnTo>
                  <a:lnTo>
                    <a:pt x="16" y="60"/>
                  </a:lnTo>
                  <a:lnTo>
                    <a:pt x="16" y="59"/>
                  </a:lnTo>
                  <a:lnTo>
                    <a:pt x="16" y="58"/>
                  </a:lnTo>
                  <a:lnTo>
                    <a:pt x="15" y="58"/>
                  </a:lnTo>
                  <a:lnTo>
                    <a:pt x="15" y="57"/>
                  </a:lnTo>
                  <a:lnTo>
                    <a:pt x="15" y="56"/>
                  </a:lnTo>
                  <a:lnTo>
                    <a:pt x="14" y="56"/>
                  </a:lnTo>
                  <a:lnTo>
                    <a:pt x="14" y="55"/>
                  </a:lnTo>
                  <a:lnTo>
                    <a:pt x="14" y="53"/>
                  </a:lnTo>
                  <a:lnTo>
                    <a:pt x="14" y="52"/>
                  </a:lnTo>
                  <a:lnTo>
                    <a:pt x="12" y="53"/>
                  </a:lnTo>
                  <a:lnTo>
                    <a:pt x="12" y="52"/>
                  </a:lnTo>
                  <a:lnTo>
                    <a:pt x="12" y="51"/>
                  </a:lnTo>
                  <a:lnTo>
                    <a:pt x="11" y="51"/>
                  </a:lnTo>
                  <a:lnTo>
                    <a:pt x="11" y="50"/>
                  </a:lnTo>
                  <a:lnTo>
                    <a:pt x="10" y="50"/>
                  </a:lnTo>
                  <a:lnTo>
                    <a:pt x="10" y="49"/>
                  </a:lnTo>
                  <a:lnTo>
                    <a:pt x="11" y="49"/>
                  </a:lnTo>
                  <a:lnTo>
                    <a:pt x="11" y="48"/>
                  </a:lnTo>
                  <a:lnTo>
                    <a:pt x="10" y="48"/>
                  </a:lnTo>
                  <a:lnTo>
                    <a:pt x="10" y="46"/>
                  </a:lnTo>
                  <a:lnTo>
                    <a:pt x="11" y="46"/>
                  </a:lnTo>
                  <a:lnTo>
                    <a:pt x="10" y="46"/>
                  </a:lnTo>
                  <a:lnTo>
                    <a:pt x="10" y="45"/>
                  </a:lnTo>
                  <a:lnTo>
                    <a:pt x="10" y="44"/>
                  </a:lnTo>
                  <a:lnTo>
                    <a:pt x="10" y="43"/>
                  </a:lnTo>
                  <a:lnTo>
                    <a:pt x="10" y="42"/>
                  </a:lnTo>
                  <a:lnTo>
                    <a:pt x="9" y="41"/>
                  </a:lnTo>
                  <a:lnTo>
                    <a:pt x="9" y="42"/>
                  </a:lnTo>
                  <a:lnTo>
                    <a:pt x="8" y="42"/>
                  </a:lnTo>
                  <a:lnTo>
                    <a:pt x="8" y="41"/>
                  </a:lnTo>
                  <a:lnTo>
                    <a:pt x="8" y="42"/>
                  </a:lnTo>
                  <a:lnTo>
                    <a:pt x="7" y="42"/>
                  </a:lnTo>
                  <a:lnTo>
                    <a:pt x="5" y="42"/>
                  </a:lnTo>
                  <a:lnTo>
                    <a:pt x="4" y="41"/>
                  </a:lnTo>
                  <a:lnTo>
                    <a:pt x="4" y="39"/>
                  </a:lnTo>
                  <a:lnTo>
                    <a:pt x="4" y="38"/>
                  </a:lnTo>
                  <a:lnTo>
                    <a:pt x="3" y="38"/>
                  </a:lnTo>
                  <a:lnTo>
                    <a:pt x="3" y="37"/>
                  </a:lnTo>
                  <a:lnTo>
                    <a:pt x="2" y="37"/>
                  </a:lnTo>
                  <a:lnTo>
                    <a:pt x="2" y="36"/>
                  </a:lnTo>
                  <a:lnTo>
                    <a:pt x="2" y="35"/>
                  </a:lnTo>
                  <a:lnTo>
                    <a:pt x="1" y="34"/>
                  </a:lnTo>
                  <a:lnTo>
                    <a:pt x="1" y="32"/>
                  </a:lnTo>
                  <a:lnTo>
                    <a:pt x="0" y="32"/>
                  </a:lnTo>
                  <a:lnTo>
                    <a:pt x="0" y="31"/>
                  </a:lnTo>
                  <a:lnTo>
                    <a:pt x="0" y="30"/>
                  </a:lnTo>
                  <a:lnTo>
                    <a:pt x="0" y="29"/>
                  </a:lnTo>
                  <a:lnTo>
                    <a:pt x="0" y="28"/>
                  </a:lnTo>
                  <a:lnTo>
                    <a:pt x="1" y="27"/>
                  </a:lnTo>
                  <a:lnTo>
                    <a:pt x="1" y="25"/>
                  </a:lnTo>
                  <a:lnTo>
                    <a:pt x="1" y="24"/>
                  </a:lnTo>
                  <a:lnTo>
                    <a:pt x="2" y="23"/>
                  </a:lnTo>
                  <a:lnTo>
                    <a:pt x="2" y="22"/>
                  </a:lnTo>
                  <a:lnTo>
                    <a:pt x="2" y="21"/>
                  </a:lnTo>
                  <a:lnTo>
                    <a:pt x="2" y="20"/>
                  </a:lnTo>
                  <a:lnTo>
                    <a:pt x="2" y="18"/>
                  </a:lnTo>
                  <a:lnTo>
                    <a:pt x="1" y="18"/>
                  </a:lnTo>
                  <a:lnTo>
                    <a:pt x="2" y="18"/>
                  </a:lnTo>
                  <a:lnTo>
                    <a:pt x="2" y="17"/>
                  </a:lnTo>
                  <a:lnTo>
                    <a:pt x="2" y="16"/>
                  </a:lnTo>
                  <a:lnTo>
                    <a:pt x="3" y="16"/>
                  </a:lnTo>
                  <a:lnTo>
                    <a:pt x="3" y="17"/>
                  </a:lnTo>
                  <a:lnTo>
                    <a:pt x="3" y="16"/>
                  </a:lnTo>
                  <a:lnTo>
                    <a:pt x="4" y="16"/>
                  </a:lnTo>
                  <a:lnTo>
                    <a:pt x="4" y="15"/>
                  </a:lnTo>
                  <a:lnTo>
                    <a:pt x="5" y="15"/>
                  </a:lnTo>
                  <a:lnTo>
                    <a:pt x="5" y="16"/>
                  </a:lnTo>
                  <a:lnTo>
                    <a:pt x="7" y="15"/>
                  </a:lnTo>
                  <a:lnTo>
                    <a:pt x="8" y="16"/>
                  </a:lnTo>
                  <a:lnTo>
                    <a:pt x="9" y="15"/>
                  </a:lnTo>
                  <a:lnTo>
                    <a:pt x="10" y="15"/>
                  </a:lnTo>
                  <a:lnTo>
                    <a:pt x="10" y="14"/>
                  </a:lnTo>
                  <a:lnTo>
                    <a:pt x="10" y="13"/>
                  </a:lnTo>
                  <a:lnTo>
                    <a:pt x="11" y="13"/>
                  </a:lnTo>
                  <a:lnTo>
                    <a:pt x="11" y="14"/>
                  </a:lnTo>
                  <a:lnTo>
                    <a:pt x="11" y="13"/>
                  </a:lnTo>
                  <a:lnTo>
                    <a:pt x="11" y="11"/>
                  </a:lnTo>
                  <a:lnTo>
                    <a:pt x="10" y="11"/>
                  </a:lnTo>
                  <a:lnTo>
                    <a:pt x="11" y="11"/>
                  </a:lnTo>
                  <a:lnTo>
                    <a:pt x="10" y="11"/>
                  </a:lnTo>
                  <a:lnTo>
                    <a:pt x="10" y="10"/>
                  </a:lnTo>
                  <a:lnTo>
                    <a:pt x="10" y="9"/>
                  </a:lnTo>
                  <a:lnTo>
                    <a:pt x="11" y="9"/>
                  </a:lnTo>
                  <a:lnTo>
                    <a:pt x="11" y="8"/>
                  </a:lnTo>
                  <a:lnTo>
                    <a:pt x="11" y="7"/>
                  </a:lnTo>
                  <a:lnTo>
                    <a:pt x="12" y="7"/>
                  </a:lnTo>
                  <a:lnTo>
                    <a:pt x="12" y="4"/>
                  </a:lnTo>
                  <a:lnTo>
                    <a:pt x="12" y="3"/>
                  </a:lnTo>
                  <a:lnTo>
                    <a:pt x="12" y="2"/>
                  </a:lnTo>
                  <a:lnTo>
                    <a:pt x="14" y="2"/>
                  </a:lnTo>
                  <a:lnTo>
                    <a:pt x="14" y="1"/>
                  </a:lnTo>
                  <a:lnTo>
                    <a:pt x="14" y="0"/>
                  </a:lnTo>
                  <a:lnTo>
                    <a:pt x="15" y="0"/>
                  </a:lnTo>
                  <a:lnTo>
                    <a:pt x="16" y="0"/>
                  </a:lnTo>
                  <a:lnTo>
                    <a:pt x="17" y="0"/>
                  </a:lnTo>
                  <a:lnTo>
                    <a:pt x="18" y="0"/>
                  </a:lnTo>
                  <a:lnTo>
                    <a:pt x="19" y="0"/>
                  </a:lnTo>
                  <a:lnTo>
                    <a:pt x="21" y="1"/>
                  </a:lnTo>
                  <a:lnTo>
                    <a:pt x="22" y="1"/>
                  </a:lnTo>
                  <a:lnTo>
                    <a:pt x="23" y="1"/>
                  </a:lnTo>
                  <a:lnTo>
                    <a:pt x="24" y="1"/>
                  </a:lnTo>
                  <a:lnTo>
                    <a:pt x="25" y="2"/>
                  </a:lnTo>
                  <a:lnTo>
                    <a:pt x="26" y="2"/>
                  </a:lnTo>
                  <a:lnTo>
                    <a:pt x="28" y="2"/>
                  </a:lnTo>
                  <a:lnTo>
                    <a:pt x="29" y="3"/>
                  </a:lnTo>
                  <a:lnTo>
                    <a:pt x="30" y="3"/>
                  </a:lnTo>
                  <a:lnTo>
                    <a:pt x="30" y="4"/>
                  </a:lnTo>
                  <a:lnTo>
                    <a:pt x="30" y="3"/>
                  </a:lnTo>
                  <a:lnTo>
                    <a:pt x="30" y="2"/>
                  </a:lnTo>
                  <a:lnTo>
                    <a:pt x="29" y="2"/>
                  </a:lnTo>
                  <a:lnTo>
                    <a:pt x="29" y="1"/>
                  </a:lnTo>
                  <a:lnTo>
                    <a:pt x="30" y="1"/>
                  </a:lnTo>
                  <a:lnTo>
                    <a:pt x="30" y="0"/>
                  </a:lnTo>
                  <a:lnTo>
                    <a:pt x="31" y="0"/>
                  </a:lnTo>
                  <a:lnTo>
                    <a:pt x="32" y="0"/>
                  </a:lnTo>
                  <a:lnTo>
                    <a:pt x="33" y="0"/>
                  </a:lnTo>
                  <a:lnTo>
                    <a:pt x="37" y="0"/>
                  </a:lnTo>
                  <a:lnTo>
                    <a:pt x="38" y="0"/>
                  </a:lnTo>
                  <a:lnTo>
                    <a:pt x="38" y="1"/>
                  </a:lnTo>
                  <a:lnTo>
                    <a:pt x="39" y="1"/>
                  </a:lnTo>
                  <a:lnTo>
                    <a:pt x="40" y="1"/>
                  </a:lnTo>
                  <a:lnTo>
                    <a:pt x="40" y="2"/>
                  </a:lnTo>
                  <a:lnTo>
                    <a:pt x="42" y="2"/>
                  </a:lnTo>
                  <a:lnTo>
                    <a:pt x="40" y="2"/>
                  </a:lnTo>
                  <a:lnTo>
                    <a:pt x="42" y="2"/>
                  </a:lnTo>
                  <a:lnTo>
                    <a:pt x="43" y="2"/>
                  </a:lnTo>
                  <a:lnTo>
                    <a:pt x="44" y="2"/>
                  </a:lnTo>
                  <a:lnTo>
                    <a:pt x="43" y="2"/>
                  </a:lnTo>
                  <a:lnTo>
                    <a:pt x="42" y="2"/>
                  </a:lnTo>
                  <a:lnTo>
                    <a:pt x="42" y="1"/>
                  </a:lnTo>
                  <a:lnTo>
                    <a:pt x="40" y="1"/>
                  </a:lnTo>
                  <a:lnTo>
                    <a:pt x="40" y="0"/>
                  </a:lnTo>
                  <a:lnTo>
                    <a:pt x="42" y="0"/>
                  </a:lnTo>
                  <a:lnTo>
                    <a:pt x="43" y="0"/>
                  </a:lnTo>
                  <a:lnTo>
                    <a:pt x="46" y="0"/>
                  </a:lnTo>
                  <a:lnTo>
                    <a:pt x="47" y="0"/>
                  </a:lnTo>
                  <a:lnTo>
                    <a:pt x="50" y="1"/>
                  </a:lnTo>
                  <a:lnTo>
                    <a:pt x="52" y="1"/>
                  </a:lnTo>
                  <a:lnTo>
                    <a:pt x="53" y="1"/>
                  </a:lnTo>
                  <a:lnTo>
                    <a:pt x="54" y="2"/>
                  </a:lnTo>
                  <a:lnTo>
                    <a:pt x="56" y="2"/>
                  </a:lnTo>
                  <a:lnTo>
                    <a:pt x="57" y="2"/>
                  </a:lnTo>
                  <a:lnTo>
                    <a:pt x="57" y="3"/>
                  </a:lnTo>
                  <a:lnTo>
                    <a:pt x="57" y="4"/>
                  </a:lnTo>
                  <a:lnTo>
                    <a:pt x="56" y="4"/>
                  </a:lnTo>
                  <a:lnTo>
                    <a:pt x="56" y="6"/>
                  </a:lnTo>
                  <a:lnTo>
                    <a:pt x="56" y="7"/>
                  </a:lnTo>
                  <a:lnTo>
                    <a:pt x="56" y="8"/>
                  </a:lnTo>
                  <a:lnTo>
                    <a:pt x="54" y="8"/>
                  </a:lnTo>
                  <a:lnTo>
                    <a:pt x="54" y="9"/>
                  </a:lnTo>
                  <a:lnTo>
                    <a:pt x="54" y="1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48" name="Freeform 1007">
              <a:extLst>
                <a:ext uri="{FF2B5EF4-FFF2-40B4-BE49-F238E27FC236}">
                  <a16:creationId xmlns:a16="http://schemas.microsoft.com/office/drawing/2014/main" id="{914950DE-1DF9-4926-9B18-CC7DC78DBD21}"/>
                </a:ext>
              </a:extLst>
            </p:cNvPr>
            <p:cNvSpPr>
              <a:spLocks/>
            </p:cNvSpPr>
            <p:nvPr/>
          </p:nvSpPr>
          <p:spPr bwMode="auto">
            <a:xfrm>
              <a:off x="6081538" y="2304176"/>
              <a:ext cx="92149" cy="37394"/>
            </a:xfrm>
            <a:custGeom>
              <a:avLst/>
              <a:gdLst>
                <a:gd name="T0" fmla="*/ 68 w 69"/>
                <a:gd name="T1" fmla="*/ 9 h 28"/>
                <a:gd name="T2" fmla="*/ 67 w 69"/>
                <a:gd name="T3" fmla="*/ 13 h 28"/>
                <a:gd name="T4" fmla="*/ 66 w 69"/>
                <a:gd name="T5" fmla="*/ 15 h 28"/>
                <a:gd name="T6" fmla="*/ 64 w 69"/>
                <a:gd name="T7" fmla="*/ 17 h 28"/>
                <a:gd name="T8" fmla="*/ 62 w 69"/>
                <a:gd name="T9" fmla="*/ 18 h 28"/>
                <a:gd name="T10" fmla="*/ 59 w 69"/>
                <a:gd name="T11" fmla="*/ 17 h 28"/>
                <a:gd name="T12" fmla="*/ 56 w 69"/>
                <a:gd name="T13" fmla="*/ 16 h 28"/>
                <a:gd name="T14" fmla="*/ 53 w 69"/>
                <a:gd name="T15" fmla="*/ 16 h 28"/>
                <a:gd name="T16" fmla="*/ 49 w 69"/>
                <a:gd name="T17" fmla="*/ 16 h 28"/>
                <a:gd name="T18" fmla="*/ 46 w 69"/>
                <a:gd name="T19" fmla="*/ 16 h 28"/>
                <a:gd name="T20" fmla="*/ 43 w 69"/>
                <a:gd name="T21" fmla="*/ 17 h 28"/>
                <a:gd name="T22" fmla="*/ 42 w 69"/>
                <a:gd name="T23" fmla="*/ 20 h 28"/>
                <a:gd name="T24" fmla="*/ 40 w 69"/>
                <a:gd name="T25" fmla="*/ 22 h 28"/>
                <a:gd name="T26" fmla="*/ 36 w 69"/>
                <a:gd name="T27" fmla="*/ 22 h 28"/>
                <a:gd name="T28" fmla="*/ 34 w 69"/>
                <a:gd name="T29" fmla="*/ 21 h 28"/>
                <a:gd name="T30" fmla="*/ 32 w 69"/>
                <a:gd name="T31" fmla="*/ 23 h 28"/>
                <a:gd name="T32" fmla="*/ 28 w 69"/>
                <a:gd name="T33" fmla="*/ 23 h 28"/>
                <a:gd name="T34" fmla="*/ 25 w 69"/>
                <a:gd name="T35" fmla="*/ 23 h 28"/>
                <a:gd name="T36" fmla="*/ 25 w 69"/>
                <a:gd name="T37" fmla="*/ 24 h 28"/>
                <a:gd name="T38" fmla="*/ 24 w 69"/>
                <a:gd name="T39" fmla="*/ 28 h 28"/>
                <a:gd name="T40" fmla="*/ 18 w 69"/>
                <a:gd name="T41" fmla="*/ 28 h 28"/>
                <a:gd name="T42" fmla="*/ 13 w 69"/>
                <a:gd name="T43" fmla="*/ 28 h 28"/>
                <a:gd name="T44" fmla="*/ 11 w 69"/>
                <a:gd name="T45" fmla="*/ 27 h 28"/>
                <a:gd name="T46" fmla="*/ 9 w 69"/>
                <a:gd name="T47" fmla="*/ 25 h 28"/>
                <a:gd name="T48" fmla="*/ 5 w 69"/>
                <a:gd name="T49" fmla="*/ 24 h 28"/>
                <a:gd name="T50" fmla="*/ 4 w 69"/>
                <a:gd name="T51" fmla="*/ 22 h 28"/>
                <a:gd name="T52" fmla="*/ 2 w 69"/>
                <a:gd name="T53" fmla="*/ 21 h 28"/>
                <a:gd name="T54" fmla="*/ 0 w 69"/>
                <a:gd name="T55" fmla="*/ 18 h 28"/>
                <a:gd name="T56" fmla="*/ 2 w 69"/>
                <a:gd name="T57" fmla="*/ 16 h 28"/>
                <a:gd name="T58" fmla="*/ 2 w 69"/>
                <a:gd name="T59" fmla="*/ 13 h 28"/>
                <a:gd name="T60" fmla="*/ 4 w 69"/>
                <a:gd name="T61" fmla="*/ 11 h 28"/>
                <a:gd name="T62" fmla="*/ 7 w 69"/>
                <a:gd name="T63" fmla="*/ 11 h 28"/>
                <a:gd name="T64" fmla="*/ 11 w 69"/>
                <a:gd name="T65" fmla="*/ 10 h 28"/>
                <a:gd name="T66" fmla="*/ 13 w 69"/>
                <a:gd name="T67" fmla="*/ 8 h 28"/>
                <a:gd name="T68" fmla="*/ 14 w 69"/>
                <a:gd name="T69" fmla="*/ 6 h 28"/>
                <a:gd name="T70" fmla="*/ 18 w 69"/>
                <a:gd name="T71" fmla="*/ 3 h 28"/>
                <a:gd name="T72" fmla="*/ 20 w 69"/>
                <a:gd name="T73" fmla="*/ 1 h 28"/>
                <a:gd name="T74" fmla="*/ 24 w 69"/>
                <a:gd name="T75" fmla="*/ 1 h 28"/>
                <a:gd name="T76" fmla="*/ 25 w 69"/>
                <a:gd name="T77" fmla="*/ 3 h 28"/>
                <a:gd name="T78" fmla="*/ 27 w 69"/>
                <a:gd name="T79" fmla="*/ 3 h 28"/>
                <a:gd name="T80" fmla="*/ 28 w 69"/>
                <a:gd name="T81" fmla="*/ 1 h 28"/>
                <a:gd name="T82" fmla="*/ 31 w 69"/>
                <a:gd name="T83" fmla="*/ 0 h 28"/>
                <a:gd name="T84" fmla="*/ 32 w 69"/>
                <a:gd name="T85" fmla="*/ 2 h 28"/>
                <a:gd name="T86" fmla="*/ 34 w 69"/>
                <a:gd name="T87" fmla="*/ 3 h 28"/>
                <a:gd name="T88" fmla="*/ 35 w 69"/>
                <a:gd name="T89" fmla="*/ 6 h 28"/>
                <a:gd name="T90" fmla="*/ 39 w 69"/>
                <a:gd name="T91" fmla="*/ 6 h 28"/>
                <a:gd name="T92" fmla="*/ 40 w 69"/>
                <a:gd name="T93" fmla="*/ 3 h 28"/>
                <a:gd name="T94" fmla="*/ 42 w 69"/>
                <a:gd name="T95" fmla="*/ 2 h 28"/>
                <a:gd name="T96" fmla="*/ 45 w 69"/>
                <a:gd name="T97" fmla="*/ 2 h 28"/>
                <a:gd name="T98" fmla="*/ 47 w 69"/>
                <a:gd name="T99" fmla="*/ 3 h 28"/>
                <a:gd name="T100" fmla="*/ 49 w 69"/>
                <a:gd name="T101" fmla="*/ 4 h 28"/>
                <a:gd name="T102" fmla="*/ 49 w 69"/>
                <a:gd name="T103" fmla="*/ 2 h 28"/>
                <a:gd name="T104" fmla="*/ 52 w 69"/>
                <a:gd name="T105" fmla="*/ 3 h 28"/>
                <a:gd name="T106" fmla="*/ 54 w 69"/>
                <a:gd name="T107" fmla="*/ 2 h 28"/>
                <a:gd name="T108" fmla="*/ 57 w 69"/>
                <a:gd name="T109" fmla="*/ 2 h 28"/>
                <a:gd name="T110" fmla="*/ 61 w 69"/>
                <a:gd name="T111" fmla="*/ 3 h 28"/>
                <a:gd name="T112" fmla="*/ 62 w 69"/>
                <a:gd name="T113" fmla="*/ 6 h 28"/>
                <a:gd name="T114" fmla="*/ 64 w 69"/>
                <a:gd name="T115" fmla="*/ 7 h 28"/>
                <a:gd name="T116" fmla="*/ 67 w 69"/>
                <a:gd name="T11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9" h="28">
                  <a:moveTo>
                    <a:pt x="69" y="8"/>
                  </a:moveTo>
                  <a:lnTo>
                    <a:pt x="69" y="9"/>
                  </a:lnTo>
                  <a:lnTo>
                    <a:pt x="68" y="9"/>
                  </a:lnTo>
                  <a:lnTo>
                    <a:pt x="68" y="10"/>
                  </a:lnTo>
                  <a:lnTo>
                    <a:pt x="67" y="11"/>
                  </a:lnTo>
                  <a:lnTo>
                    <a:pt x="67" y="13"/>
                  </a:lnTo>
                  <a:lnTo>
                    <a:pt x="67" y="14"/>
                  </a:lnTo>
                  <a:lnTo>
                    <a:pt x="66" y="14"/>
                  </a:lnTo>
                  <a:lnTo>
                    <a:pt x="66" y="15"/>
                  </a:lnTo>
                  <a:lnTo>
                    <a:pt x="64" y="15"/>
                  </a:lnTo>
                  <a:lnTo>
                    <a:pt x="64" y="16"/>
                  </a:lnTo>
                  <a:lnTo>
                    <a:pt x="64" y="17"/>
                  </a:lnTo>
                  <a:lnTo>
                    <a:pt x="64" y="18"/>
                  </a:lnTo>
                  <a:lnTo>
                    <a:pt x="63" y="18"/>
                  </a:lnTo>
                  <a:lnTo>
                    <a:pt x="62" y="18"/>
                  </a:lnTo>
                  <a:lnTo>
                    <a:pt x="61" y="20"/>
                  </a:lnTo>
                  <a:lnTo>
                    <a:pt x="60" y="18"/>
                  </a:lnTo>
                  <a:lnTo>
                    <a:pt x="59" y="17"/>
                  </a:lnTo>
                  <a:lnTo>
                    <a:pt x="59" y="16"/>
                  </a:lnTo>
                  <a:lnTo>
                    <a:pt x="57" y="16"/>
                  </a:lnTo>
                  <a:lnTo>
                    <a:pt x="56" y="16"/>
                  </a:lnTo>
                  <a:lnTo>
                    <a:pt x="55" y="16"/>
                  </a:lnTo>
                  <a:lnTo>
                    <a:pt x="54" y="16"/>
                  </a:lnTo>
                  <a:lnTo>
                    <a:pt x="53" y="16"/>
                  </a:lnTo>
                  <a:lnTo>
                    <a:pt x="52" y="16"/>
                  </a:lnTo>
                  <a:lnTo>
                    <a:pt x="50" y="16"/>
                  </a:lnTo>
                  <a:lnTo>
                    <a:pt x="49" y="16"/>
                  </a:lnTo>
                  <a:lnTo>
                    <a:pt x="48" y="16"/>
                  </a:lnTo>
                  <a:lnTo>
                    <a:pt x="48" y="15"/>
                  </a:lnTo>
                  <a:lnTo>
                    <a:pt x="46" y="16"/>
                  </a:lnTo>
                  <a:lnTo>
                    <a:pt x="45" y="16"/>
                  </a:lnTo>
                  <a:lnTo>
                    <a:pt x="45" y="17"/>
                  </a:lnTo>
                  <a:lnTo>
                    <a:pt x="43" y="17"/>
                  </a:lnTo>
                  <a:lnTo>
                    <a:pt x="43" y="20"/>
                  </a:lnTo>
                  <a:lnTo>
                    <a:pt x="42" y="21"/>
                  </a:lnTo>
                  <a:lnTo>
                    <a:pt x="42" y="20"/>
                  </a:lnTo>
                  <a:lnTo>
                    <a:pt x="41" y="21"/>
                  </a:lnTo>
                  <a:lnTo>
                    <a:pt x="40" y="21"/>
                  </a:lnTo>
                  <a:lnTo>
                    <a:pt x="40" y="22"/>
                  </a:lnTo>
                  <a:lnTo>
                    <a:pt x="39" y="22"/>
                  </a:lnTo>
                  <a:lnTo>
                    <a:pt x="38" y="22"/>
                  </a:lnTo>
                  <a:lnTo>
                    <a:pt x="36" y="22"/>
                  </a:lnTo>
                  <a:lnTo>
                    <a:pt x="36" y="21"/>
                  </a:lnTo>
                  <a:lnTo>
                    <a:pt x="35" y="21"/>
                  </a:lnTo>
                  <a:lnTo>
                    <a:pt x="34" y="21"/>
                  </a:lnTo>
                  <a:lnTo>
                    <a:pt x="33" y="21"/>
                  </a:lnTo>
                  <a:lnTo>
                    <a:pt x="33" y="22"/>
                  </a:lnTo>
                  <a:lnTo>
                    <a:pt x="32" y="23"/>
                  </a:lnTo>
                  <a:lnTo>
                    <a:pt x="31" y="23"/>
                  </a:lnTo>
                  <a:lnTo>
                    <a:pt x="29" y="23"/>
                  </a:lnTo>
                  <a:lnTo>
                    <a:pt x="28" y="23"/>
                  </a:lnTo>
                  <a:lnTo>
                    <a:pt x="27" y="23"/>
                  </a:lnTo>
                  <a:lnTo>
                    <a:pt x="26" y="23"/>
                  </a:lnTo>
                  <a:lnTo>
                    <a:pt x="25" y="23"/>
                  </a:lnTo>
                  <a:lnTo>
                    <a:pt x="25" y="24"/>
                  </a:lnTo>
                  <a:lnTo>
                    <a:pt x="24" y="24"/>
                  </a:lnTo>
                  <a:lnTo>
                    <a:pt x="25" y="24"/>
                  </a:lnTo>
                  <a:lnTo>
                    <a:pt x="25" y="25"/>
                  </a:lnTo>
                  <a:lnTo>
                    <a:pt x="25" y="27"/>
                  </a:lnTo>
                  <a:lnTo>
                    <a:pt x="24" y="28"/>
                  </a:lnTo>
                  <a:lnTo>
                    <a:pt x="22" y="28"/>
                  </a:lnTo>
                  <a:lnTo>
                    <a:pt x="19" y="28"/>
                  </a:lnTo>
                  <a:lnTo>
                    <a:pt x="18" y="28"/>
                  </a:lnTo>
                  <a:lnTo>
                    <a:pt x="17" y="28"/>
                  </a:lnTo>
                  <a:lnTo>
                    <a:pt x="14" y="28"/>
                  </a:lnTo>
                  <a:lnTo>
                    <a:pt x="13" y="28"/>
                  </a:lnTo>
                  <a:lnTo>
                    <a:pt x="12" y="28"/>
                  </a:lnTo>
                  <a:lnTo>
                    <a:pt x="11" y="28"/>
                  </a:lnTo>
                  <a:lnTo>
                    <a:pt x="11" y="27"/>
                  </a:lnTo>
                  <a:lnTo>
                    <a:pt x="10" y="27"/>
                  </a:lnTo>
                  <a:lnTo>
                    <a:pt x="9" y="27"/>
                  </a:lnTo>
                  <a:lnTo>
                    <a:pt x="9" y="25"/>
                  </a:lnTo>
                  <a:lnTo>
                    <a:pt x="7" y="24"/>
                  </a:lnTo>
                  <a:lnTo>
                    <a:pt x="6" y="24"/>
                  </a:lnTo>
                  <a:lnTo>
                    <a:pt x="5" y="24"/>
                  </a:lnTo>
                  <a:lnTo>
                    <a:pt x="4" y="24"/>
                  </a:lnTo>
                  <a:lnTo>
                    <a:pt x="4" y="23"/>
                  </a:lnTo>
                  <a:lnTo>
                    <a:pt x="4" y="22"/>
                  </a:lnTo>
                  <a:lnTo>
                    <a:pt x="3" y="22"/>
                  </a:lnTo>
                  <a:lnTo>
                    <a:pt x="3" y="21"/>
                  </a:lnTo>
                  <a:lnTo>
                    <a:pt x="2" y="21"/>
                  </a:lnTo>
                  <a:lnTo>
                    <a:pt x="2" y="20"/>
                  </a:lnTo>
                  <a:lnTo>
                    <a:pt x="2" y="18"/>
                  </a:lnTo>
                  <a:lnTo>
                    <a:pt x="0" y="18"/>
                  </a:lnTo>
                  <a:lnTo>
                    <a:pt x="0" y="17"/>
                  </a:lnTo>
                  <a:lnTo>
                    <a:pt x="0" y="16"/>
                  </a:lnTo>
                  <a:lnTo>
                    <a:pt x="2" y="16"/>
                  </a:lnTo>
                  <a:lnTo>
                    <a:pt x="2" y="15"/>
                  </a:lnTo>
                  <a:lnTo>
                    <a:pt x="2" y="14"/>
                  </a:lnTo>
                  <a:lnTo>
                    <a:pt x="2" y="13"/>
                  </a:lnTo>
                  <a:lnTo>
                    <a:pt x="3" y="13"/>
                  </a:lnTo>
                  <a:lnTo>
                    <a:pt x="3" y="11"/>
                  </a:lnTo>
                  <a:lnTo>
                    <a:pt x="4" y="11"/>
                  </a:lnTo>
                  <a:lnTo>
                    <a:pt x="5" y="11"/>
                  </a:lnTo>
                  <a:lnTo>
                    <a:pt x="6" y="11"/>
                  </a:lnTo>
                  <a:lnTo>
                    <a:pt x="7" y="11"/>
                  </a:lnTo>
                  <a:lnTo>
                    <a:pt x="9" y="11"/>
                  </a:lnTo>
                  <a:lnTo>
                    <a:pt x="11" y="11"/>
                  </a:lnTo>
                  <a:lnTo>
                    <a:pt x="11" y="10"/>
                  </a:lnTo>
                  <a:lnTo>
                    <a:pt x="12" y="10"/>
                  </a:lnTo>
                  <a:lnTo>
                    <a:pt x="12" y="9"/>
                  </a:lnTo>
                  <a:lnTo>
                    <a:pt x="13" y="8"/>
                  </a:lnTo>
                  <a:lnTo>
                    <a:pt x="14" y="8"/>
                  </a:lnTo>
                  <a:lnTo>
                    <a:pt x="14" y="7"/>
                  </a:lnTo>
                  <a:lnTo>
                    <a:pt x="14" y="6"/>
                  </a:lnTo>
                  <a:lnTo>
                    <a:pt x="16" y="4"/>
                  </a:lnTo>
                  <a:lnTo>
                    <a:pt x="17" y="4"/>
                  </a:lnTo>
                  <a:lnTo>
                    <a:pt x="18" y="3"/>
                  </a:lnTo>
                  <a:lnTo>
                    <a:pt x="19" y="2"/>
                  </a:lnTo>
                  <a:lnTo>
                    <a:pt x="19" y="1"/>
                  </a:lnTo>
                  <a:lnTo>
                    <a:pt x="20" y="1"/>
                  </a:lnTo>
                  <a:lnTo>
                    <a:pt x="21" y="1"/>
                  </a:lnTo>
                  <a:lnTo>
                    <a:pt x="22" y="1"/>
                  </a:lnTo>
                  <a:lnTo>
                    <a:pt x="24" y="1"/>
                  </a:lnTo>
                  <a:lnTo>
                    <a:pt x="25" y="1"/>
                  </a:lnTo>
                  <a:lnTo>
                    <a:pt x="25" y="2"/>
                  </a:lnTo>
                  <a:lnTo>
                    <a:pt x="25" y="3"/>
                  </a:lnTo>
                  <a:lnTo>
                    <a:pt x="26" y="2"/>
                  </a:lnTo>
                  <a:lnTo>
                    <a:pt x="26" y="3"/>
                  </a:lnTo>
                  <a:lnTo>
                    <a:pt x="27" y="3"/>
                  </a:lnTo>
                  <a:lnTo>
                    <a:pt x="27" y="2"/>
                  </a:lnTo>
                  <a:lnTo>
                    <a:pt x="27" y="1"/>
                  </a:lnTo>
                  <a:lnTo>
                    <a:pt x="28" y="1"/>
                  </a:lnTo>
                  <a:lnTo>
                    <a:pt x="29" y="1"/>
                  </a:lnTo>
                  <a:lnTo>
                    <a:pt x="29" y="0"/>
                  </a:lnTo>
                  <a:lnTo>
                    <a:pt x="31" y="0"/>
                  </a:lnTo>
                  <a:lnTo>
                    <a:pt x="31" y="1"/>
                  </a:lnTo>
                  <a:lnTo>
                    <a:pt x="32" y="1"/>
                  </a:lnTo>
                  <a:lnTo>
                    <a:pt x="32" y="2"/>
                  </a:lnTo>
                  <a:lnTo>
                    <a:pt x="33" y="2"/>
                  </a:lnTo>
                  <a:lnTo>
                    <a:pt x="33" y="3"/>
                  </a:lnTo>
                  <a:lnTo>
                    <a:pt x="34" y="3"/>
                  </a:lnTo>
                  <a:lnTo>
                    <a:pt x="35" y="4"/>
                  </a:lnTo>
                  <a:lnTo>
                    <a:pt x="34" y="6"/>
                  </a:lnTo>
                  <a:lnTo>
                    <a:pt x="35" y="6"/>
                  </a:lnTo>
                  <a:lnTo>
                    <a:pt x="36" y="6"/>
                  </a:lnTo>
                  <a:lnTo>
                    <a:pt x="38" y="6"/>
                  </a:lnTo>
                  <a:lnTo>
                    <a:pt x="39" y="6"/>
                  </a:lnTo>
                  <a:lnTo>
                    <a:pt x="39" y="4"/>
                  </a:lnTo>
                  <a:lnTo>
                    <a:pt x="40" y="4"/>
                  </a:lnTo>
                  <a:lnTo>
                    <a:pt x="40" y="3"/>
                  </a:lnTo>
                  <a:lnTo>
                    <a:pt x="41" y="3"/>
                  </a:lnTo>
                  <a:lnTo>
                    <a:pt x="42" y="3"/>
                  </a:lnTo>
                  <a:lnTo>
                    <a:pt x="42" y="2"/>
                  </a:lnTo>
                  <a:lnTo>
                    <a:pt x="43" y="3"/>
                  </a:lnTo>
                  <a:lnTo>
                    <a:pt x="45" y="3"/>
                  </a:lnTo>
                  <a:lnTo>
                    <a:pt x="45" y="2"/>
                  </a:lnTo>
                  <a:lnTo>
                    <a:pt x="45" y="3"/>
                  </a:lnTo>
                  <a:lnTo>
                    <a:pt x="46" y="2"/>
                  </a:lnTo>
                  <a:lnTo>
                    <a:pt x="47" y="3"/>
                  </a:lnTo>
                  <a:lnTo>
                    <a:pt x="47" y="4"/>
                  </a:lnTo>
                  <a:lnTo>
                    <a:pt x="48" y="4"/>
                  </a:lnTo>
                  <a:lnTo>
                    <a:pt x="49" y="4"/>
                  </a:lnTo>
                  <a:lnTo>
                    <a:pt x="49" y="3"/>
                  </a:lnTo>
                  <a:lnTo>
                    <a:pt x="50" y="3"/>
                  </a:lnTo>
                  <a:lnTo>
                    <a:pt x="49" y="2"/>
                  </a:lnTo>
                  <a:lnTo>
                    <a:pt x="50" y="2"/>
                  </a:lnTo>
                  <a:lnTo>
                    <a:pt x="52" y="2"/>
                  </a:lnTo>
                  <a:lnTo>
                    <a:pt x="52" y="3"/>
                  </a:lnTo>
                  <a:lnTo>
                    <a:pt x="52" y="2"/>
                  </a:lnTo>
                  <a:lnTo>
                    <a:pt x="53" y="2"/>
                  </a:lnTo>
                  <a:lnTo>
                    <a:pt x="54" y="2"/>
                  </a:lnTo>
                  <a:lnTo>
                    <a:pt x="55" y="2"/>
                  </a:lnTo>
                  <a:lnTo>
                    <a:pt x="56" y="2"/>
                  </a:lnTo>
                  <a:lnTo>
                    <a:pt x="57" y="2"/>
                  </a:lnTo>
                  <a:lnTo>
                    <a:pt x="59" y="3"/>
                  </a:lnTo>
                  <a:lnTo>
                    <a:pt x="60" y="3"/>
                  </a:lnTo>
                  <a:lnTo>
                    <a:pt x="61" y="3"/>
                  </a:lnTo>
                  <a:lnTo>
                    <a:pt x="61" y="4"/>
                  </a:lnTo>
                  <a:lnTo>
                    <a:pt x="62" y="4"/>
                  </a:lnTo>
                  <a:lnTo>
                    <a:pt x="62" y="6"/>
                  </a:lnTo>
                  <a:lnTo>
                    <a:pt x="63" y="6"/>
                  </a:lnTo>
                  <a:lnTo>
                    <a:pt x="64" y="6"/>
                  </a:lnTo>
                  <a:lnTo>
                    <a:pt x="64" y="7"/>
                  </a:lnTo>
                  <a:lnTo>
                    <a:pt x="66" y="7"/>
                  </a:lnTo>
                  <a:lnTo>
                    <a:pt x="67" y="7"/>
                  </a:lnTo>
                  <a:lnTo>
                    <a:pt x="67" y="8"/>
                  </a:lnTo>
                  <a:lnTo>
                    <a:pt x="68" y="8"/>
                  </a:lnTo>
                  <a:lnTo>
                    <a:pt x="69" y="8"/>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49" name="Freeform 1008">
              <a:extLst>
                <a:ext uri="{FF2B5EF4-FFF2-40B4-BE49-F238E27FC236}">
                  <a16:creationId xmlns:a16="http://schemas.microsoft.com/office/drawing/2014/main" id="{5C43717C-42C7-4EE1-AFE0-A4F90DB9E27A}"/>
                </a:ext>
              </a:extLst>
            </p:cNvPr>
            <p:cNvSpPr>
              <a:spLocks/>
            </p:cNvSpPr>
            <p:nvPr/>
          </p:nvSpPr>
          <p:spPr bwMode="auto">
            <a:xfrm>
              <a:off x="6028119" y="2360267"/>
              <a:ext cx="52084" cy="29381"/>
            </a:xfrm>
            <a:custGeom>
              <a:avLst/>
              <a:gdLst>
                <a:gd name="T0" fmla="*/ 37 w 39"/>
                <a:gd name="T1" fmla="*/ 4 h 22"/>
                <a:gd name="T2" fmla="*/ 36 w 39"/>
                <a:gd name="T3" fmla="*/ 7 h 22"/>
                <a:gd name="T4" fmla="*/ 35 w 39"/>
                <a:gd name="T5" fmla="*/ 7 h 22"/>
                <a:gd name="T6" fmla="*/ 33 w 39"/>
                <a:gd name="T7" fmla="*/ 7 h 22"/>
                <a:gd name="T8" fmla="*/ 32 w 39"/>
                <a:gd name="T9" fmla="*/ 9 h 22"/>
                <a:gd name="T10" fmla="*/ 30 w 39"/>
                <a:gd name="T11" fmla="*/ 10 h 22"/>
                <a:gd name="T12" fmla="*/ 28 w 39"/>
                <a:gd name="T13" fmla="*/ 11 h 22"/>
                <a:gd name="T14" fmla="*/ 29 w 39"/>
                <a:gd name="T15" fmla="*/ 14 h 22"/>
                <a:gd name="T16" fmla="*/ 28 w 39"/>
                <a:gd name="T17" fmla="*/ 16 h 22"/>
                <a:gd name="T18" fmla="*/ 24 w 39"/>
                <a:gd name="T19" fmla="*/ 17 h 22"/>
                <a:gd name="T20" fmla="*/ 24 w 39"/>
                <a:gd name="T21" fmla="*/ 18 h 22"/>
                <a:gd name="T22" fmla="*/ 25 w 39"/>
                <a:gd name="T23" fmla="*/ 21 h 22"/>
                <a:gd name="T24" fmla="*/ 23 w 39"/>
                <a:gd name="T25" fmla="*/ 22 h 22"/>
                <a:gd name="T26" fmla="*/ 19 w 39"/>
                <a:gd name="T27" fmla="*/ 21 h 22"/>
                <a:gd name="T28" fmla="*/ 18 w 39"/>
                <a:gd name="T29" fmla="*/ 21 h 22"/>
                <a:gd name="T30" fmla="*/ 16 w 39"/>
                <a:gd name="T31" fmla="*/ 20 h 22"/>
                <a:gd name="T32" fmla="*/ 15 w 39"/>
                <a:gd name="T33" fmla="*/ 20 h 22"/>
                <a:gd name="T34" fmla="*/ 12 w 39"/>
                <a:gd name="T35" fmla="*/ 21 h 22"/>
                <a:gd name="T36" fmla="*/ 9 w 39"/>
                <a:gd name="T37" fmla="*/ 21 h 22"/>
                <a:gd name="T38" fmla="*/ 8 w 39"/>
                <a:gd name="T39" fmla="*/ 22 h 22"/>
                <a:gd name="T40" fmla="*/ 4 w 39"/>
                <a:gd name="T41" fmla="*/ 22 h 22"/>
                <a:gd name="T42" fmla="*/ 5 w 39"/>
                <a:gd name="T43" fmla="*/ 20 h 22"/>
                <a:gd name="T44" fmla="*/ 5 w 39"/>
                <a:gd name="T45" fmla="*/ 17 h 22"/>
                <a:gd name="T46" fmla="*/ 3 w 39"/>
                <a:gd name="T47" fmla="*/ 16 h 22"/>
                <a:gd name="T48" fmla="*/ 2 w 39"/>
                <a:gd name="T49" fmla="*/ 14 h 22"/>
                <a:gd name="T50" fmla="*/ 3 w 39"/>
                <a:gd name="T51" fmla="*/ 11 h 22"/>
                <a:gd name="T52" fmla="*/ 1 w 39"/>
                <a:gd name="T53" fmla="*/ 10 h 22"/>
                <a:gd name="T54" fmla="*/ 1 w 39"/>
                <a:gd name="T55" fmla="*/ 9 h 22"/>
                <a:gd name="T56" fmla="*/ 1 w 39"/>
                <a:gd name="T57" fmla="*/ 8 h 22"/>
                <a:gd name="T58" fmla="*/ 3 w 39"/>
                <a:gd name="T59" fmla="*/ 6 h 22"/>
                <a:gd name="T60" fmla="*/ 4 w 39"/>
                <a:gd name="T61" fmla="*/ 6 h 22"/>
                <a:gd name="T62" fmla="*/ 8 w 39"/>
                <a:gd name="T63" fmla="*/ 6 h 22"/>
                <a:gd name="T64" fmla="*/ 10 w 39"/>
                <a:gd name="T65" fmla="*/ 7 h 22"/>
                <a:gd name="T66" fmla="*/ 15 w 39"/>
                <a:gd name="T67" fmla="*/ 7 h 22"/>
                <a:gd name="T68" fmla="*/ 17 w 39"/>
                <a:gd name="T69" fmla="*/ 6 h 22"/>
                <a:gd name="T70" fmla="*/ 18 w 39"/>
                <a:gd name="T71" fmla="*/ 3 h 22"/>
                <a:gd name="T72" fmla="*/ 22 w 39"/>
                <a:gd name="T73" fmla="*/ 3 h 22"/>
                <a:gd name="T74" fmla="*/ 26 w 39"/>
                <a:gd name="T75" fmla="*/ 3 h 22"/>
                <a:gd name="T76" fmla="*/ 28 w 39"/>
                <a:gd name="T77" fmla="*/ 3 h 22"/>
                <a:gd name="T78" fmla="*/ 30 w 39"/>
                <a:gd name="T79" fmla="*/ 2 h 22"/>
                <a:gd name="T80" fmla="*/ 32 w 39"/>
                <a:gd name="T81" fmla="*/ 3 h 22"/>
                <a:gd name="T82" fmla="*/ 32 w 39"/>
                <a:gd name="T83" fmla="*/ 1 h 22"/>
                <a:gd name="T84" fmla="*/ 33 w 39"/>
                <a:gd name="T85" fmla="*/ 0 h 22"/>
                <a:gd name="T86" fmla="*/ 36 w 39"/>
                <a:gd name="T87" fmla="*/ 1 h 22"/>
                <a:gd name="T88" fmla="*/ 37 w 39"/>
                <a:gd name="T89" fmla="*/ 3 h 22"/>
                <a:gd name="T90" fmla="*/ 39 w 39"/>
                <a:gd name="T91"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 h="22">
                  <a:moveTo>
                    <a:pt x="39" y="6"/>
                  </a:moveTo>
                  <a:lnTo>
                    <a:pt x="38" y="6"/>
                  </a:lnTo>
                  <a:lnTo>
                    <a:pt x="37" y="4"/>
                  </a:lnTo>
                  <a:lnTo>
                    <a:pt x="36" y="4"/>
                  </a:lnTo>
                  <a:lnTo>
                    <a:pt x="36" y="6"/>
                  </a:lnTo>
                  <a:lnTo>
                    <a:pt x="36" y="7"/>
                  </a:lnTo>
                  <a:lnTo>
                    <a:pt x="36" y="8"/>
                  </a:lnTo>
                  <a:lnTo>
                    <a:pt x="35" y="8"/>
                  </a:lnTo>
                  <a:lnTo>
                    <a:pt x="35" y="7"/>
                  </a:lnTo>
                  <a:lnTo>
                    <a:pt x="33" y="7"/>
                  </a:lnTo>
                  <a:lnTo>
                    <a:pt x="33" y="8"/>
                  </a:lnTo>
                  <a:lnTo>
                    <a:pt x="33" y="7"/>
                  </a:lnTo>
                  <a:lnTo>
                    <a:pt x="33" y="8"/>
                  </a:lnTo>
                  <a:lnTo>
                    <a:pt x="32" y="8"/>
                  </a:lnTo>
                  <a:lnTo>
                    <a:pt x="32" y="9"/>
                  </a:lnTo>
                  <a:lnTo>
                    <a:pt x="31" y="9"/>
                  </a:lnTo>
                  <a:lnTo>
                    <a:pt x="30" y="9"/>
                  </a:lnTo>
                  <a:lnTo>
                    <a:pt x="30" y="10"/>
                  </a:lnTo>
                  <a:lnTo>
                    <a:pt x="29" y="10"/>
                  </a:lnTo>
                  <a:lnTo>
                    <a:pt x="28" y="10"/>
                  </a:lnTo>
                  <a:lnTo>
                    <a:pt x="28" y="11"/>
                  </a:lnTo>
                  <a:lnTo>
                    <a:pt x="29" y="11"/>
                  </a:lnTo>
                  <a:lnTo>
                    <a:pt x="29" y="13"/>
                  </a:lnTo>
                  <a:lnTo>
                    <a:pt x="29" y="14"/>
                  </a:lnTo>
                  <a:lnTo>
                    <a:pt x="29" y="15"/>
                  </a:lnTo>
                  <a:lnTo>
                    <a:pt x="29" y="16"/>
                  </a:lnTo>
                  <a:lnTo>
                    <a:pt x="28" y="16"/>
                  </a:lnTo>
                  <a:lnTo>
                    <a:pt x="26" y="16"/>
                  </a:lnTo>
                  <a:lnTo>
                    <a:pt x="25" y="17"/>
                  </a:lnTo>
                  <a:lnTo>
                    <a:pt x="24" y="17"/>
                  </a:lnTo>
                  <a:lnTo>
                    <a:pt x="24" y="18"/>
                  </a:lnTo>
                  <a:lnTo>
                    <a:pt x="25" y="18"/>
                  </a:lnTo>
                  <a:lnTo>
                    <a:pt x="24" y="18"/>
                  </a:lnTo>
                  <a:lnTo>
                    <a:pt x="24" y="20"/>
                  </a:lnTo>
                  <a:lnTo>
                    <a:pt x="24" y="21"/>
                  </a:lnTo>
                  <a:lnTo>
                    <a:pt x="25" y="21"/>
                  </a:lnTo>
                  <a:lnTo>
                    <a:pt x="25" y="22"/>
                  </a:lnTo>
                  <a:lnTo>
                    <a:pt x="24" y="22"/>
                  </a:lnTo>
                  <a:lnTo>
                    <a:pt x="23" y="22"/>
                  </a:lnTo>
                  <a:lnTo>
                    <a:pt x="22" y="21"/>
                  </a:lnTo>
                  <a:lnTo>
                    <a:pt x="21" y="21"/>
                  </a:lnTo>
                  <a:lnTo>
                    <a:pt x="19" y="21"/>
                  </a:lnTo>
                  <a:lnTo>
                    <a:pt x="19" y="22"/>
                  </a:lnTo>
                  <a:lnTo>
                    <a:pt x="18" y="22"/>
                  </a:lnTo>
                  <a:lnTo>
                    <a:pt x="18" y="21"/>
                  </a:lnTo>
                  <a:lnTo>
                    <a:pt x="17" y="21"/>
                  </a:lnTo>
                  <a:lnTo>
                    <a:pt x="17" y="20"/>
                  </a:lnTo>
                  <a:lnTo>
                    <a:pt x="16" y="20"/>
                  </a:lnTo>
                  <a:lnTo>
                    <a:pt x="16" y="18"/>
                  </a:lnTo>
                  <a:lnTo>
                    <a:pt x="15" y="18"/>
                  </a:lnTo>
                  <a:lnTo>
                    <a:pt x="15" y="20"/>
                  </a:lnTo>
                  <a:lnTo>
                    <a:pt x="15" y="21"/>
                  </a:lnTo>
                  <a:lnTo>
                    <a:pt x="14" y="21"/>
                  </a:lnTo>
                  <a:lnTo>
                    <a:pt x="12" y="21"/>
                  </a:lnTo>
                  <a:lnTo>
                    <a:pt x="11" y="21"/>
                  </a:lnTo>
                  <a:lnTo>
                    <a:pt x="10" y="21"/>
                  </a:lnTo>
                  <a:lnTo>
                    <a:pt x="9" y="21"/>
                  </a:lnTo>
                  <a:lnTo>
                    <a:pt x="8" y="21"/>
                  </a:lnTo>
                  <a:lnTo>
                    <a:pt x="9" y="21"/>
                  </a:lnTo>
                  <a:lnTo>
                    <a:pt x="8" y="22"/>
                  </a:lnTo>
                  <a:lnTo>
                    <a:pt x="7" y="22"/>
                  </a:lnTo>
                  <a:lnTo>
                    <a:pt x="5" y="22"/>
                  </a:lnTo>
                  <a:lnTo>
                    <a:pt x="4" y="22"/>
                  </a:lnTo>
                  <a:lnTo>
                    <a:pt x="3" y="21"/>
                  </a:lnTo>
                  <a:lnTo>
                    <a:pt x="4" y="21"/>
                  </a:lnTo>
                  <a:lnTo>
                    <a:pt x="5" y="20"/>
                  </a:lnTo>
                  <a:lnTo>
                    <a:pt x="7" y="20"/>
                  </a:lnTo>
                  <a:lnTo>
                    <a:pt x="7" y="18"/>
                  </a:lnTo>
                  <a:lnTo>
                    <a:pt x="5" y="17"/>
                  </a:lnTo>
                  <a:lnTo>
                    <a:pt x="4" y="17"/>
                  </a:lnTo>
                  <a:lnTo>
                    <a:pt x="4" y="16"/>
                  </a:lnTo>
                  <a:lnTo>
                    <a:pt x="3" y="16"/>
                  </a:lnTo>
                  <a:lnTo>
                    <a:pt x="3" y="15"/>
                  </a:lnTo>
                  <a:lnTo>
                    <a:pt x="3" y="14"/>
                  </a:lnTo>
                  <a:lnTo>
                    <a:pt x="2" y="14"/>
                  </a:lnTo>
                  <a:lnTo>
                    <a:pt x="2" y="13"/>
                  </a:lnTo>
                  <a:lnTo>
                    <a:pt x="2" y="11"/>
                  </a:lnTo>
                  <a:lnTo>
                    <a:pt x="3" y="11"/>
                  </a:lnTo>
                  <a:lnTo>
                    <a:pt x="3" y="10"/>
                  </a:lnTo>
                  <a:lnTo>
                    <a:pt x="2" y="10"/>
                  </a:lnTo>
                  <a:lnTo>
                    <a:pt x="1" y="10"/>
                  </a:lnTo>
                  <a:lnTo>
                    <a:pt x="1" y="9"/>
                  </a:lnTo>
                  <a:lnTo>
                    <a:pt x="1" y="10"/>
                  </a:lnTo>
                  <a:lnTo>
                    <a:pt x="1" y="9"/>
                  </a:lnTo>
                  <a:lnTo>
                    <a:pt x="0" y="9"/>
                  </a:lnTo>
                  <a:lnTo>
                    <a:pt x="0" y="8"/>
                  </a:lnTo>
                  <a:lnTo>
                    <a:pt x="1" y="8"/>
                  </a:lnTo>
                  <a:lnTo>
                    <a:pt x="2" y="7"/>
                  </a:lnTo>
                  <a:lnTo>
                    <a:pt x="3" y="7"/>
                  </a:lnTo>
                  <a:lnTo>
                    <a:pt x="3" y="6"/>
                  </a:lnTo>
                  <a:lnTo>
                    <a:pt x="4" y="6"/>
                  </a:lnTo>
                  <a:lnTo>
                    <a:pt x="3" y="6"/>
                  </a:lnTo>
                  <a:lnTo>
                    <a:pt x="4" y="6"/>
                  </a:lnTo>
                  <a:lnTo>
                    <a:pt x="5" y="6"/>
                  </a:lnTo>
                  <a:lnTo>
                    <a:pt x="7" y="6"/>
                  </a:lnTo>
                  <a:lnTo>
                    <a:pt x="8" y="6"/>
                  </a:lnTo>
                  <a:lnTo>
                    <a:pt x="9" y="6"/>
                  </a:lnTo>
                  <a:lnTo>
                    <a:pt x="9" y="7"/>
                  </a:lnTo>
                  <a:lnTo>
                    <a:pt x="10" y="7"/>
                  </a:lnTo>
                  <a:lnTo>
                    <a:pt x="12" y="7"/>
                  </a:lnTo>
                  <a:lnTo>
                    <a:pt x="14" y="7"/>
                  </a:lnTo>
                  <a:lnTo>
                    <a:pt x="15" y="7"/>
                  </a:lnTo>
                  <a:lnTo>
                    <a:pt x="16" y="7"/>
                  </a:lnTo>
                  <a:lnTo>
                    <a:pt x="16" y="6"/>
                  </a:lnTo>
                  <a:lnTo>
                    <a:pt x="17" y="6"/>
                  </a:lnTo>
                  <a:lnTo>
                    <a:pt x="17" y="4"/>
                  </a:lnTo>
                  <a:lnTo>
                    <a:pt x="18" y="4"/>
                  </a:lnTo>
                  <a:lnTo>
                    <a:pt x="18" y="3"/>
                  </a:lnTo>
                  <a:lnTo>
                    <a:pt x="19" y="3"/>
                  </a:lnTo>
                  <a:lnTo>
                    <a:pt x="21" y="3"/>
                  </a:lnTo>
                  <a:lnTo>
                    <a:pt x="22" y="3"/>
                  </a:lnTo>
                  <a:lnTo>
                    <a:pt x="24" y="3"/>
                  </a:lnTo>
                  <a:lnTo>
                    <a:pt x="25" y="3"/>
                  </a:lnTo>
                  <a:lnTo>
                    <a:pt x="26" y="3"/>
                  </a:lnTo>
                  <a:lnTo>
                    <a:pt x="26" y="2"/>
                  </a:lnTo>
                  <a:lnTo>
                    <a:pt x="28" y="2"/>
                  </a:lnTo>
                  <a:lnTo>
                    <a:pt x="28" y="3"/>
                  </a:lnTo>
                  <a:lnTo>
                    <a:pt x="28" y="2"/>
                  </a:lnTo>
                  <a:lnTo>
                    <a:pt x="29" y="2"/>
                  </a:lnTo>
                  <a:lnTo>
                    <a:pt x="30" y="2"/>
                  </a:lnTo>
                  <a:lnTo>
                    <a:pt x="31" y="2"/>
                  </a:lnTo>
                  <a:lnTo>
                    <a:pt x="32" y="2"/>
                  </a:lnTo>
                  <a:lnTo>
                    <a:pt x="32" y="3"/>
                  </a:lnTo>
                  <a:lnTo>
                    <a:pt x="32" y="2"/>
                  </a:lnTo>
                  <a:lnTo>
                    <a:pt x="31" y="1"/>
                  </a:lnTo>
                  <a:lnTo>
                    <a:pt x="32" y="1"/>
                  </a:lnTo>
                  <a:lnTo>
                    <a:pt x="31" y="1"/>
                  </a:lnTo>
                  <a:lnTo>
                    <a:pt x="32" y="0"/>
                  </a:lnTo>
                  <a:lnTo>
                    <a:pt x="33" y="0"/>
                  </a:lnTo>
                  <a:lnTo>
                    <a:pt x="35" y="0"/>
                  </a:lnTo>
                  <a:lnTo>
                    <a:pt x="36" y="0"/>
                  </a:lnTo>
                  <a:lnTo>
                    <a:pt x="36" y="1"/>
                  </a:lnTo>
                  <a:lnTo>
                    <a:pt x="36" y="2"/>
                  </a:lnTo>
                  <a:lnTo>
                    <a:pt x="37" y="2"/>
                  </a:lnTo>
                  <a:lnTo>
                    <a:pt x="37" y="3"/>
                  </a:lnTo>
                  <a:lnTo>
                    <a:pt x="38" y="3"/>
                  </a:lnTo>
                  <a:lnTo>
                    <a:pt x="38" y="4"/>
                  </a:lnTo>
                  <a:lnTo>
                    <a:pt x="39" y="6"/>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50" name="Freeform 1009">
              <a:extLst>
                <a:ext uri="{FF2B5EF4-FFF2-40B4-BE49-F238E27FC236}">
                  <a16:creationId xmlns:a16="http://schemas.microsoft.com/office/drawing/2014/main" id="{238CE6CC-5C34-4C1A-A104-4E6974C80BED}"/>
                </a:ext>
              </a:extLst>
            </p:cNvPr>
            <p:cNvSpPr>
              <a:spLocks/>
            </p:cNvSpPr>
            <p:nvPr/>
          </p:nvSpPr>
          <p:spPr bwMode="auto">
            <a:xfrm>
              <a:off x="6361991" y="3892071"/>
              <a:ext cx="24039" cy="33388"/>
            </a:xfrm>
            <a:custGeom>
              <a:avLst/>
              <a:gdLst>
                <a:gd name="T0" fmla="*/ 17 w 18"/>
                <a:gd name="T1" fmla="*/ 4 h 25"/>
                <a:gd name="T2" fmla="*/ 18 w 18"/>
                <a:gd name="T3" fmla="*/ 4 h 25"/>
                <a:gd name="T4" fmla="*/ 18 w 18"/>
                <a:gd name="T5" fmla="*/ 5 h 25"/>
                <a:gd name="T6" fmla="*/ 18 w 18"/>
                <a:gd name="T7" fmla="*/ 6 h 25"/>
                <a:gd name="T8" fmla="*/ 17 w 18"/>
                <a:gd name="T9" fmla="*/ 9 h 25"/>
                <a:gd name="T10" fmla="*/ 17 w 18"/>
                <a:gd name="T11" fmla="*/ 10 h 25"/>
                <a:gd name="T12" fmla="*/ 18 w 18"/>
                <a:gd name="T13" fmla="*/ 12 h 25"/>
                <a:gd name="T14" fmla="*/ 18 w 18"/>
                <a:gd name="T15" fmla="*/ 18 h 25"/>
                <a:gd name="T16" fmla="*/ 17 w 18"/>
                <a:gd name="T17" fmla="*/ 17 h 25"/>
                <a:gd name="T18" fmla="*/ 16 w 18"/>
                <a:gd name="T19" fmla="*/ 17 h 25"/>
                <a:gd name="T20" fmla="*/ 16 w 18"/>
                <a:gd name="T21" fmla="*/ 19 h 25"/>
                <a:gd name="T22" fmla="*/ 15 w 18"/>
                <a:gd name="T23" fmla="*/ 21 h 25"/>
                <a:gd name="T24" fmla="*/ 15 w 18"/>
                <a:gd name="T25" fmla="*/ 23 h 25"/>
                <a:gd name="T26" fmla="*/ 15 w 18"/>
                <a:gd name="T27" fmla="*/ 24 h 25"/>
                <a:gd name="T28" fmla="*/ 15 w 18"/>
                <a:gd name="T29" fmla="*/ 25 h 25"/>
                <a:gd name="T30" fmla="*/ 15 w 18"/>
                <a:gd name="T31" fmla="*/ 25 h 25"/>
                <a:gd name="T32" fmla="*/ 13 w 18"/>
                <a:gd name="T33" fmla="*/ 25 h 25"/>
                <a:gd name="T34" fmla="*/ 9 w 18"/>
                <a:gd name="T35" fmla="*/ 25 h 25"/>
                <a:gd name="T36" fmla="*/ 7 w 18"/>
                <a:gd name="T37" fmla="*/ 24 h 25"/>
                <a:gd name="T38" fmla="*/ 6 w 18"/>
                <a:gd name="T39" fmla="*/ 24 h 25"/>
                <a:gd name="T40" fmla="*/ 4 w 18"/>
                <a:gd name="T41" fmla="*/ 23 h 25"/>
                <a:gd name="T42" fmla="*/ 3 w 18"/>
                <a:gd name="T43" fmla="*/ 21 h 25"/>
                <a:gd name="T44" fmla="*/ 2 w 18"/>
                <a:gd name="T45" fmla="*/ 20 h 25"/>
                <a:gd name="T46" fmla="*/ 2 w 18"/>
                <a:gd name="T47" fmla="*/ 19 h 25"/>
                <a:gd name="T48" fmla="*/ 2 w 18"/>
                <a:gd name="T49" fmla="*/ 18 h 25"/>
                <a:gd name="T50" fmla="*/ 2 w 18"/>
                <a:gd name="T51" fmla="*/ 18 h 25"/>
                <a:gd name="T52" fmla="*/ 1 w 18"/>
                <a:gd name="T53" fmla="*/ 17 h 25"/>
                <a:gd name="T54" fmla="*/ 1 w 18"/>
                <a:gd name="T55" fmla="*/ 17 h 25"/>
                <a:gd name="T56" fmla="*/ 1 w 18"/>
                <a:gd name="T57" fmla="*/ 17 h 25"/>
                <a:gd name="T58" fmla="*/ 0 w 18"/>
                <a:gd name="T59" fmla="*/ 17 h 25"/>
                <a:gd name="T60" fmla="*/ 0 w 18"/>
                <a:gd name="T61" fmla="*/ 16 h 25"/>
                <a:gd name="T62" fmla="*/ 0 w 18"/>
                <a:gd name="T63" fmla="*/ 12 h 25"/>
                <a:gd name="T64" fmla="*/ 2 w 18"/>
                <a:gd name="T65" fmla="*/ 9 h 25"/>
                <a:gd name="T66" fmla="*/ 3 w 18"/>
                <a:gd name="T67" fmla="*/ 7 h 25"/>
                <a:gd name="T68" fmla="*/ 6 w 18"/>
                <a:gd name="T69" fmla="*/ 4 h 25"/>
                <a:gd name="T70" fmla="*/ 6 w 18"/>
                <a:gd name="T71" fmla="*/ 3 h 25"/>
                <a:gd name="T72" fmla="*/ 8 w 18"/>
                <a:gd name="T73" fmla="*/ 0 h 25"/>
                <a:gd name="T74" fmla="*/ 9 w 18"/>
                <a:gd name="T75" fmla="*/ 0 h 25"/>
                <a:gd name="T76" fmla="*/ 10 w 18"/>
                <a:gd name="T77" fmla="*/ 0 h 25"/>
                <a:gd name="T78" fmla="*/ 13 w 18"/>
                <a:gd name="T79" fmla="*/ 2 h 25"/>
                <a:gd name="T80" fmla="*/ 14 w 18"/>
                <a:gd name="T81" fmla="*/ 3 h 25"/>
                <a:gd name="T82" fmla="*/ 15 w 18"/>
                <a:gd name="T83" fmla="*/ 4 h 25"/>
                <a:gd name="T84" fmla="*/ 17 w 18"/>
                <a:gd name="T85"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25">
                  <a:moveTo>
                    <a:pt x="17" y="4"/>
                  </a:moveTo>
                  <a:lnTo>
                    <a:pt x="17" y="4"/>
                  </a:lnTo>
                  <a:lnTo>
                    <a:pt x="17" y="4"/>
                  </a:lnTo>
                  <a:lnTo>
                    <a:pt x="18" y="4"/>
                  </a:lnTo>
                  <a:lnTo>
                    <a:pt x="18" y="5"/>
                  </a:lnTo>
                  <a:lnTo>
                    <a:pt x="18" y="5"/>
                  </a:lnTo>
                  <a:lnTo>
                    <a:pt x="18" y="6"/>
                  </a:lnTo>
                  <a:lnTo>
                    <a:pt x="18" y="6"/>
                  </a:lnTo>
                  <a:lnTo>
                    <a:pt x="18" y="7"/>
                  </a:lnTo>
                  <a:lnTo>
                    <a:pt x="17" y="9"/>
                  </a:lnTo>
                  <a:lnTo>
                    <a:pt x="17" y="9"/>
                  </a:lnTo>
                  <a:lnTo>
                    <a:pt x="17" y="10"/>
                  </a:lnTo>
                  <a:lnTo>
                    <a:pt x="17" y="11"/>
                  </a:lnTo>
                  <a:lnTo>
                    <a:pt x="18" y="12"/>
                  </a:lnTo>
                  <a:lnTo>
                    <a:pt x="18" y="13"/>
                  </a:lnTo>
                  <a:lnTo>
                    <a:pt x="18" y="18"/>
                  </a:lnTo>
                  <a:lnTo>
                    <a:pt x="17" y="17"/>
                  </a:lnTo>
                  <a:lnTo>
                    <a:pt x="17" y="17"/>
                  </a:lnTo>
                  <a:lnTo>
                    <a:pt x="17" y="17"/>
                  </a:lnTo>
                  <a:lnTo>
                    <a:pt x="16" y="17"/>
                  </a:lnTo>
                  <a:lnTo>
                    <a:pt x="16" y="17"/>
                  </a:lnTo>
                  <a:lnTo>
                    <a:pt x="16" y="19"/>
                  </a:lnTo>
                  <a:lnTo>
                    <a:pt x="16" y="20"/>
                  </a:lnTo>
                  <a:lnTo>
                    <a:pt x="15" y="21"/>
                  </a:lnTo>
                  <a:lnTo>
                    <a:pt x="15" y="23"/>
                  </a:lnTo>
                  <a:lnTo>
                    <a:pt x="15" y="23"/>
                  </a:lnTo>
                  <a:lnTo>
                    <a:pt x="15" y="24"/>
                  </a:lnTo>
                  <a:lnTo>
                    <a:pt x="15" y="24"/>
                  </a:lnTo>
                  <a:lnTo>
                    <a:pt x="15" y="25"/>
                  </a:lnTo>
                  <a:lnTo>
                    <a:pt x="15" y="25"/>
                  </a:lnTo>
                  <a:lnTo>
                    <a:pt x="15" y="25"/>
                  </a:lnTo>
                  <a:lnTo>
                    <a:pt x="15" y="25"/>
                  </a:lnTo>
                  <a:lnTo>
                    <a:pt x="14" y="25"/>
                  </a:lnTo>
                  <a:lnTo>
                    <a:pt x="13" y="25"/>
                  </a:lnTo>
                  <a:lnTo>
                    <a:pt x="11" y="25"/>
                  </a:lnTo>
                  <a:lnTo>
                    <a:pt x="9" y="25"/>
                  </a:lnTo>
                  <a:lnTo>
                    <a:pt x="9" y="25"/>
                  </a:lnTo>
                  <a:lnTo>
                    <a:pt x="7" y="24"/>
                  </a:lnTo>
                  <a:lnTo>
                    <a:pt x="7" y="24"/>
                  </a:lnTo>
                  <a:lnTo>
                    <a:pt x="6" y="24"/>
                  </a:lnTo>
                  <a:lnTo>
                    <a:pt x="4" y="23"/>
                  </a:lnTo>
                  <a:lnTo>
                    <a:pt x="4" y="23"/>
                  </a:lnTo>
                  <a:lnTo>
                    <a:pt x="4" y="23"/>
                  </a:lnTo>
                  <a:lnTo>
                    <a:pt x="3" y="21"/>
                  </a:lnTo>
                  <a:lnTo>
                    <a:pt x="2" y="20"/>
                  </a:lnTo>
                  <a:lnTo>
                    <a:pt x="2" y="20"/>
                  </a:lnTo>
                  <a:lnTo>
                    <a:pt x="2" y="19"/>
                  </a:lnTo>
                  <a:lnTo>
                    <a:pt x="2" y="19"/>
                  </a:lnTo>
                  <a:lnTo>
                    <a:pt x="2" y="18"/>
                  </a:lnTo>
                  <a:lnTo>
                    <a:pt x="2" y="18"/>
                  </a:lnTo>
                  <a:lnTo>
                    <a:pt x="2" y="18"/>
                  </a:lnTo>
                  <a:lnTo>
                    <a:pt x="2" y="18"/>
                  </a:lnTo>
                  <a:lnTo>
                    <a:pt x="2" y="17"/>
                  </a:lnTo>
                  <a:lnTo>
                    <a:pt x="1" y="17"/>
                  </a:lnTo>
                  <a:lnTo>
                    <a:pt x="1" y="17"/>
                  </a:lnTo>
                  <a:lnTo>
                    <a:pt x="1" y="17"/>
                  </a:lnTo>
                  <a:lnTo>
                    <a:pt x="1" y="17"/>
                  </a:lnTo>
                  <a:lnTo>
                    <a:pt x="1" y="17"/>
                  </a:lnTo>
                  <a:lnTo>
                    <a:pt x="1" y="17"/>
                  </a:lnTo>
                  <a:lnTo>
                    <a:pt x="0" y="17"/>
                  </a:lnTo>
                  <a:lnTo>
                    <a:pt x="0" y="17"/>
                  </a:lnTo>
                  <a:lnTo>
                    <a:pt x="0" y="16"/>
                  </a:lnTo>
                  <a:lnTo>
                    <a:pt x="0" y="13"/>
                  </a:lnTo>
                  <a:lnTo>
                    <a:pt x="0" y="12"/>
                  </a:lnTo>
                  <a:lnTo>
                    <a:pt x="1" y="11"/>
                  </a:lnTo>
                  <a:lnTo>
                    <a:pt x="2" y="9"/>
                  </a:lnTo>
                  <a:lnTo>
                    <a:pt x="2" y="9"/>
                  </a:lnTo>
                  <a:lnTo>
                    <a:pt x="3" y="7"/>
                  </a:lnTo>
                  <a:lnTo>
                    <a:pt x="4" y="5"/>
                  </a:lnTo>
                  <a:lnTo>
                    <a:pt x="6" y="4"/>
                  </a:lnTo>
                  <a:lnTo>
                    <a:pt x="6" y="3"/>
                  </a:lnTo>
                  <a:lnTo>
                    <a:pt x="6" y="3"/>
                  </a:lnTo>
                  <a:lnTo>
                    <a:pt x="7" y="2"/>
                  </a:lnTo>
                  <a:lnTo>
                    <a:pt x="8" y="0"/>
                  </a:lnTo>
                  <a:lnTo>
                    <a:pt x="9" y="0"/>
                  </a:lnTo>
                  <a:lnTo>
                    <a:pt x="9" y="0"/>
                  </a:lnTo>
                  <a:lnTo>
                    <a:pt x="9" y="0"/>
                  </a:lnTo>
                  <a:lnTo>
                    <a:pt x="10" y="0"/>
                  </a:lnTo>
                  <a:lnTo>
                    <a:pt x="11" y="0"/>
                  </a:lnTo>
                  <a:lnTo>
                    <a:pt x="13" y="2"/>
                  </a:lnTo>
                  <a:lnTo>
                    <a:pt x="14" y="3"/>
                  </a:lnTo>
                  <a:lnTo>
                    <a:pt x="14" y="3"/>
                  </a:lnTo>
                  <a:lnTo>
                    <a:pt x="15" y="4"/>
                  </a:lnTo>
                  <a:lnTo>
                    <a:pt x="15" y="4"/>
                  </a:lnTo>
                  <a:lnTo>
                    <a:pt x="16" y="4"/>
                  </a:lnTo>
                  <a:lnTo>
                    <a:pt x="17" y="4"/>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51" name="Freeform 1010">
              <a:extLst>
                <a:ext uri="{FF2B5EF4-FFF2-40B4-BE49-F238E27FC236}">
                  <a16:creationId xmlns:a16="http://schemas.microsoft.com/office/drawing/2014/main" id="{191A5FD0-710F-400F-9886-1E884A0AD618}"/>
                </a:ext>
              </a:extLst>
            </p:cNvPr>
            <p:cNvSpPr>
              <a:spLocks/>
            </p:cNvSpPr>
            <p:nvPr/>
          </p:nvSpPr>
          <p:spPr bwMode="auto">
            <a:xfrm>
              <a:off x="4647224" y="2965243"/>
              <a:ext cx="1336" cy="2671"/>
            </a:xfrm>
            <a:custGeom>
              <a:avLst/>
              <a:gdLst>
                <a:gd name="T0" fmla="*/ 1 w 1"/>
                <a:gd name="T1" fmla="*/ 2 h 2"/>
                <a:gd name="T2" fmla="*/ 1 w 1"/>
                <a:gd name="T3" fmla="*/ 2 h 2"/>
                <a:gd name="T4" fmla="*/ 0 w 1"/>
                <a:gd name="T5" fmla="*/ 2 h 2"/>
                <a:gd name="T6" fmla="*/ 0 w 1"/>
                <a:gd name="T7" fmla="*/ 2 h 2"/>
                <a:gd name="T8" fmla="*/ 0 w 1"/>
                <a:gd name="T9" fmla="*/ 0 h 2"/>
                <a:gd name="T10" fmla="*/ 0 w 1"/>
                <a:gd name="T11" fmla="*/ 0 h 2"/>
                <a:gd name="T12" fmla="*/ 0 w 1"/>
                <a:gd name="T13" fmla="*/ 0 h 2"/>
                <a:gd name="T14" fmla="*/ 1 w 1"/>
                <a:gd name="T15" fmla="*/ 0 h 2"/>
                <a:gd name="T16" fmla="*/ 1 w 1"/>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1" y="2"/>
                  </a:moveTo>
                  <a:lnTo>
                    <a:pt x="1" y="2"/>
                  </a:lnTo>
                  <a:lnTo>
                    <a:pt x="0" y="2"/>
                  </a:lnTo>
                  <a:lnTo>
                    <a:pt x="0" y="2"/>
                  </a:lnTo>
                  <a:lnTo>
                    <a:pt x="0" y="0"/>
                  </a:lnTo>
                  <a:lnTo>
                    <a:pt x="0" y="0"/>
                  </a:lnTo>
                  <a:lnTo>
                    <a:pt x="0" y="0"/>
                  </a:lnTo>
                  <a:lnTo>
                    <a:pt x="1" y="0"/>
                  </a:lnTo>
                  <a:lnTo>
                    <a:pt x="1"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52" name="Freeform 1011">
              <a:extLst>
                <a:ext uri="{FF2B5EF4-FFF2-40B4-BE49-F238E27FC236}">
                  <a16:creationId xmlns:a16="http://schemas.microsoft.com/office/drawing/2014/main" id="{0A86A011-2D8C-46B4-850A-4B7F47DBE33A}"/>
                </a:ext>
              </a:extLst>
            </p:cNvPr>
            <p:cNvSpPr>
              <a:spLocks noEditPoints="1"/>
            </p:cNvSpPr>
            <p:nvPr/>
          </p:nvSpPr>
          <p:spPr bwMode="auto">
            <a:xfrm>
              <a:off x="6663811" y="3428657"/>
              <a:ext cx="189639" cy="125536"/>
            </a:xfrm>
            <a:custGeom>
              <a:avLst/>
              <a:gdLst>
                <a:gd name="T0" fmla="*/ 4 w 142"/>
                <a:gd name="T1" fmla="*/ 93 h 94"/>
                <a:gd name="T2" fmla="*/ 18 w 142"/>
                <a:gd name="T3" fmla="*/ 93 h 94"/>
                <a:gd name="T4" fmla="*/ 3 w 142"/>
                <a:gd name="T5" fmla="*/ 89 h 94"/>
                <a:gd name="T6" fmla="*/ 1 w 142"/>
                <a:gd name="T7" fmla="*/ 89 h 94"/>
                <a:gd name="T8" fmla="*/ 3 w 142"/>
                <a:gd name="T9" fmla="*/ 89 h 94"/>
                <a:gd name="T10" fmla="*/ 3 w 142"/>
                <a:gd name="T11" fmla="*/ 89 h 94"/>
                <a:gd name="T12" fmla="*/ 4 w 142"/>
                <a:gd name="T13" fmla="*/ 89 h 94"/>
                <a:gd name="T14" fmla="*/ 2 w 142"/>
                <a:gd name="T15" fmla="*/ 87 h 94"/>
                <a:gd name="T16" fmla="*/ 1 w 142"/>
                <a:gd name="T17" fmla="*/ 87 h 94"/>
                <a:gd name="T18" fmla="*/ 2 w 142"/>
                <a:gd name="T19" fmla="*/ 87 h 94"/>
                <a:gd name="T20" fmla="*/ 140 w 142"/>
                <a:gd name="T21" fmla="*/ 52 h 94"/>
                <a:gd name="T22" fmla="*/ 92 w 142"/>
                <a:gd name="T23" fmla="*/ 50 h 94"/>
                <a:gd name="T24" fmla="*/ 129 w 142"/>
                <a:gd name="T25" fmla="*/ 33 h 94"/>
                <a:gd name="T26" fmla="*/ 101 w 142"/>
                <a:gd name="T27" fmla="*/ 26 h 94"/>
                <a:gd name="T28" fmla="*/ 130 w 142"/>
                <a:gd name="T29" fmla="*/ 14 h 94"/>
                <a:gd name="T30" fmla="*/ 130 w 142"/>
                <a:gd name="T31" fmla="*/ 14 h 94"/>
                <a:gd name="T32" fmla="*/ 130 w 142"/>
                <a:gd name="T33" fmla="*/ 14 h 94"/>
                <a:gd name="T34" fmla="*/ 130 w 142"/>
                <a:gd name="T35" fmla="*/ 14 h 94"/>
                <a:gd name="T36" fmla="*/ 131 w 142"/>
                <a:gd name="T37" fmla="*/ 13 h 94"/>
                <a:gd name="T38" fmla="*/ 131 w 142"/>
                <a:gd name="T39" fmla="*/ 13 h 94"/>
                <a:gd name="T40" fmla="*/ 131 w 142"/>
                <a:gd name="T41" fmla="*/ 13 h 94"/>
                <a:gd name="T42" fmla="*/ 131 w 142"/>
                <a:gd name="T43" fmla="*/ 13 h 94"/>
                <a:gd name="T44" fmla="*/ 131 w 142"/>
                <a:gd name="T45" fmla="*/ 13 h 94"/>
                <a:gd name="T46" fmla="*/ 131 w 142"/>
                <a:gd name="T47" fmla="*/ 13 h 94"/>
                <a:gd name="T48" fmla="*/ 138 w 142"/>
                <a:gd name="T49" fmla="*/ 13 h 94"/>
                <a:gd name="T50" fmla="*/ 138 w 142"/>
                <a:gd name="T51" fmla="*/ 12 h 94"/>
                <a:gd name="T52" fmla="*/ 131 w 142"/>
                <a:gd name="T53" fmla="*/ 13 h 94"/>
                <a:gd name="T54" fmla="*/ 131 w 142"/>
                <a:gd name="T55" fmla="*/ 15 h 94"/>
                <a:gd name="T56" fmla="*/ 132 w 142"/>
                <a:gd name="T57" fmla="*/ 16 h 94"/>
                <a:gd name="T58" fmla="*/ 131 w 142"/>
                <a:gd name="T59" fmla="*/ 15 h 94"/>
                <a:gd name="T60" fmla="*/ 131 w 142"/>
                <a:gd name="T61" fmla="*/ 14 h 94"/>
                <a:gd name="T62" fmla="*/ 130 w 142"/>
                <a:gd name="T63" fmla="*/ 14 h 94"/>
                <a:gd name="T64" fmla="*/ 130 w 142"/>
                <a:gd name="T65" fmla="*/ 13 h 94"/>
                <a:gd name="T66" fmla="*/ 130 w 142"/>
                <a:gd name="T67" fmla="*/ 13 h 94"/>
                <a:gd name="T68" fmla="*/ 130 w 142"/>
                <a:gd name="T69" fmla="*/ 13 h 94"/>
                <a:gd name="T70" fmla="*/ 130 w 142"/>
                <a:gd name="T71" fmla="*/ 12 h 94"/>
                <a:gd name="T72" fmla="*/ 131 w 142"/>
                <a:gd name="T73" fmla="*/ 13 h 94"/>
                <a:gd name="T74" fmla="*/ 128 w 142"/>
                <a:gd name="T75" fmla="*/ 10 h 94"/>
                <a:gd name="T76" fmla="*/ 128 w 142"/>
                <a:gd name="T77" fmla="*/ 10 h 94"/>
                <a:gd name="T78" fmla="*/ 133 w 142"/>
                <a:gd name="T79" fmla="*/ 8 h 94"/>
                <a:gd name="T80" fmla="*/ 136 w 142"/>
                <a:gd name="T81" fmla="*/ 9 h 94"/>
                <a:gd name="T82" fmla="*/ 137 w 142"/>
                <a:gd name="T83" fmla="*/ 9 h 94"/>
                <a:gd name="T84" fmla="*/ 137 w 142"/>
                <a:gd name="T85" fmla="*/ 8 h 94"/>
                <a:gd name="T86" fmla="*/ 133 w 142"/>
                <a:gd name="T87" fmla="*/ 8 h 94"/>
                <a:gd name="T88" fmla="*/ 137 w 142"/>
                <a:gd name="T89" fmla="*/ 8 h 94"/>
                <a:gd name="T90" fmla="*/ 135 w 142"/>
                <a:gd name="T91" fmla="*/ 8 h 94"/>
                <a:gd name="T92" fmla="*/ 135 w 142"/>
                <a:gd name="T93" fmla="*/ 8 h 94"/>
                <a:gd name="T94" fmla="*/ 135 w 142"/>
                <a:gd name="T95" fmla="*/ 8 h 94"/>
                <a:gd name="T96" fmla="*/ 135 w 142"/>
                <a:gd name="T97" fmla="*/ 8 h 94"/>
                <a:gd name="T98" fmla="*/ 137 w 142"/>
                <a:gd name="T99" fmla="*/ 8 h 94"/>
                <a:gd name="T100" fmla="*/ 137 w 142"/>
                <a:gd name="T101" fmla="*/ 8 h 94"/>
                <a:gd name="T102" fmla="*/ 135 w 142"/>
                <a:gd name="T103" fmla="*/ 7 h 94"/>
                <a:gd name="T104" fmla="*/ 133 w 142"/>
                <a:gd name="T105" fmla="*/ 7 h 94"/>
                <a:gd name="T106" fmla="*/ 133 w 142"/>
                <a:gd name="T107" fmla="*/ 6 h 94"/>
                <a:gd name="T108" fmla="*/ 133 w 142"/>
                <a:gd name="T109"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2" h="94">
                  <a:moveTo>
                    <a:pt x="4" y="94"/>
                  </a:moveTo>
                  <a:lnTo>
                    <a:pt x="4" y="94"/>
                  </a:lnTo>
                  <a:lnTo>
                    <a:pt x="3" y="94"/>
                  </a:lnTo>
                  <a:lnTo>
                    <a:pt x="3" y="94"/>
                  </a:lnTo>
                  <a:lnTo>
                    <a:pt x="4" y="93"/>
                  </a:lnTo>
                  <a:lnTo>
                    <a:pt x="4" y="93"/>
                  </a:lnTo>
                  <a:lnTo>
                    <a:pt x="4" y="93"/>
                  </a:lnTo>
                  <a:lnTo>
                    <a:pt x="4" y="93"/>
                  </a:lnTo>
                  <a:lnTo>
                    <a:pt x="4" y="94"/>
                  </a:lnTo>
                  <a:close/>
                  <a:moveTo>
                    <a:pt x="18" y="93"/>
                  </a:moveTo>
                  <a:lnTo>
                    <a:pt x="18" y="93"/>
                  </a:lnTo>
                  <a:lnTo>
                    <a:pt x="18" y="93"/>
                  </a:lnTo>
                  <a:lnTo>
                    <a:pt x="18" y="93"/>
                  </a:lnTo>
                  <a:lnTo>
                    <a:pt x="18" y="93"/>
                  </a:lnTo>
                  <a:close/>
                  <a:moveTo>
                    <a:pt x="4" y="89"/>
                  </a:moveTo>
                  <a:lnTo>
                    <a:pt x="4" y="89"/>
                  </a:lnTo>
                  <a:lnTo>
                    <a:pt x="3" y="89"/>
                  </a:lnTo>
                  <a:lnTo>
                    <a:pt x="3" y="89"/>
                  </a:lnTo>
                  <a:lnTo>
                    <a:pt x="2" y="89"/>
                  </a:lnTo>
                  <a:lnTo>
                    <a:pt x="1" y="90"/>
                  </a:lnTo>
                  <a:lnTo>
                    <a:pt x="1" y="90"/>
                  </a:lnTo>
                  <a:lnTo>
                    <a:pt x="0" y="89"/>
                  </a:lnTo>
                  <a:lnTo>
                    <a:pt x="1" y="89"/>
                  </a:lnTo>
                  <a:lnTo>
                    <a:pt x="1" y="89"/>
                  </a:lnTo>
                  <a:lnTo>
                    <a:pt x="2" y="89"/>
                  </a:lnTo>
                  <a:lnTo>
                    <a:pt x="2" y="89"/>
                  </a:lnTo>
                  <a:lnTo>
                    <a:pt x="2" y="89"/>
                  </a:lnTo>
                  <a:lnTo>
                    <a:pt x="3" y="89"/>
                  </a:lnTo>
                  <a:lnTo>
                    <a:pt x="3" y="89"/>
                  </a:lnTo>
                  <a:lnTo>
                    <a:pt x="3" y="89"/>
                  </a:lnTo>
                  <a:lnTo>
                    <a:pt x="3" y="89"/>
                  </a:lnTo>
                  <a:lnTo>
                    <a:pt x="3" y="89"/>
                  </a:lnTo>
                  <a:lnTo>
                    <a:pt x="3" y="89"/>
                  </a:lnTo>
                  <a:lnTo>
                    <a:pt x="3" y="89"/>
                  </a:lnTo>
                  <a:lnTo>
                    <a:pt x="3" y="89"/>
                  </a:lnTo>
                  <a:lnTo>
                    <a:pt x="3" y="89"/>
                  </a:lnTo>
                  <a:lnTo>
                    <a:pt x="3" y="87"/>
                  </a:lnTo>
                  <a:lnTo>
                    <a:pt x="3" y="87"/>
                  </a:lnTo>
                  <a:lnTo>
                    <a:pt x="3" y="87"/>
                  </a:lnTo>
                  <a:lnTo>
                    <a:pt x="4" y="87"/>
                  </a:lnTo>
                  <a:lnTo>
                    <a:pt x="4" y="89"/>
                  </a:lnTo>
                  <a:lnTo>
                    <a:pt x="4" y="89"/>
                  </a:lnTo>
                  <a:lnTo>
                    <a:pt x="4" y="89"/>
                  </a:lnTo>
                  <a:close/>
                  <a:moveTo>
                    <a:pt x="3" y="87"/>
                  </a:moveTo>
                  <a:lnTo>
                    <a:pt x="3" y="87"/>
                  </a:lnTo>
                  <a:lnTo>
                    <a:pt x="2" y="87"/>
                  </a:lnTo>
                  <a:lnTo>
                    <a:pt x="2" y="87"/>
                  </a:lnTo>
                  <a:lnTo>
                    <a:pt x="2" y="87"/>
                  </a:lnTo>
                  <a:lnTo>
                    <a:pt x="2" y="87"/>
                  </a:lnTo>
                  <a:lnTo>
                    <a:pt x="1" y="87"/>
                  </a:lnTo>
                  <a:lnTo>
                    <a:pt x="1" y="87"/>
                  </a:lnTo>
                  <a:lnTo>
                    <a:pt x="1" y="87"/>
                  </a:lnTo>
                  <a:lnTo>
                    <a:pt x="1" y="87"/>
                  </a:lnTo>
                  <a:lnTo>
                    <a:pt x="1" y="87"/>
                  </a:lnTo>
                  <a:lnTo>
                    <a:pt x="1" y="87"/>
                  </a:lnTo>
                  <a:lnTo>
                    <a:pt x="1" y="87"/>
                  </a:lnTo>
                  <a:lnTo>
                    <a:pt x="1" y="87"/>
                  </a:lnTo>
                  <a:lnTo>
                    <a:pt x="1" y="87"/>
                  </a:lnTo>
                  <a:lnTo>
                    <a:pt x="2" y="87"/>
                  </a:lnTo>
                  <a:lnTo>
                    <a:pt x="2" y="87"/>
                  </a:lnTo>
                  <a:lnTo>
                    <a:pt x="3" y="87"/>
                  </a:lnTo>
                  <a:lnTo>
                    <a:pt x="3" y="87"/>
                  </a:lnTo>
                  <a:close/>
                  <a:moveTo>
                    <a:pt x="140" y="52"/>
                  </a:moveTo>
                  <a:lnTo>
                    <a:pt x="140" y="54"/>
                  </a:lnTo>
                  <a:lnTo>
                    <a:pt x="140" y="52"/>
                  </a:lnTo>
                  <a:lnTo>
                    <a:pt x="140" y="52"/>
                  </a:lnTo>
                  <a:lnTo>
                    <a:pt x="142" y="52"/>
                  </a:lnTo>
                  <a:lnTo>
                    <a:pt x="142" y="52"/>
                  </a:lnTo>
                  <a:lnTo>
                    <a:pt x="140" y="52"/>
                  </a:lnTo>
                  <a:close/>
                  <a:moveTo>
                    <a:pt x="92" y="50"/>
                  </a:moveTo>
                  <a:lnTo>
                    <a:pt x="92" y="50"/>
                  </a:lnTo>
                  <a:lnTo>
                    <a:pt x="92" y="50"/>
                  </a:lnTo>
                  <a:lnTo>
                    <a:pt x="92" y="50"/>
                  </a:lnTo>
                  <a:lnTo>
                    <a:pt x="92" y="50"/>
                  </a:lnTo>
                  <a:lnTo>
                    <a:pt x="92" y="50"/>
                  </a:lnTo>
                  <a:close/>
                  <a:moveTo>
                    <a:pt x="129" y="33"/>
                  </a:moveTo>
                  <a:lnTo>
                    <a:pt x="129" y="33"/>
                  </a:lnTo>
                  <a:lnTo>
                    <a:pt x="129" y="33"/>
                  </a:lnTo>
                  <a:lnTo>
                    <a:pt x="129" y="33"/>
                  </a:lnTo>
                  <a:lnTo>
                    <a:pt x="129" y="33"/>
                  </a:lnTo>
                  <a:close/>
                  <a:moveTo>
                    <a:pt x="101" y="26"/>
                  </a:moveTo>
                  <a:lnTo>
                    <a:pt x="101" y="26"/>
                  </a:lnTo>
                  <a:lnTo>
                    <a:pt x="101" y="26"/>
                  </a:lnTo>
                  <a:lnTo>
                    <a:pt x="101" y="26"/>
                  </a:lnTo>
                  <a:lnTo>
                    <a:pt x="101" y="26"/>
                  </a:lnTo>
                  <a:lnTo>
                    <a:pt x="101" y="26"/>
                  </a:lnTo>
                  <a:lnTo>
                    <a:pt x="101" y="26"/>
                  </a:lnTo>
                  <a:close/>
                  <a:moveTo>
                    <a:pt x="130" y="14"/>
                  </a:moveTo>
                  <a:lnTo>
                    <a:pt x="130" y="14"/>
                  </a:lnTo>
                  <a:lnTo>
                    <a:pt x="130" y="14"/>
                  </a:lnTo>
                  <a:lnTo>
                    <a:pt x="130" y="14"/>
                  </a:lnTo>
                  <a:lnTo>
                    <a:pt x="130" y="14"/>
                  </a:lnTo>
                  <a:lnTo>
                    <a:pt x="130" y="14"/>
                  </a:lnTo>
                  <a:lnTo>
                    <a:pt x="130" y="14"/>
                  </a:lnTo>
                  <a:lnTo>
                    <a:pt x="130" y="14"/>
                  </a:lnTo>
                  <a:lnTo>
                    <a:pt x="130" y="14"/>
                  </a:lnTo>
                  <a:lnTo>
                    <a:pt x="130" y="14"/>
                  </a:lnTo>
                  <a:lnTo>
                    <a:pt x="130" y="14"/>
                  </a:lnTo>
                  <a:lnTo>
                    <a:pt x="130" y="14"/>
                  </a:lnTo>
                  <a:lnTo>
                    <a:pt x="130" y="14"/>
                  </a:lnTo>
                  <a:close/>
                  <a:moveTo>
                    <a:pt x="130" y="14"/>
                  </a:moveTo>
                  <a:lnTo>
                    <a:pt x="130" y="14"/>
                  </a:lnTo>
                  <a:lnTo>
                    <a:pt x="130" y="14"/>
                  </a:lnTo>
                  <a:lnTo>
                    <a:pt x="130" y="14"/>
                  </a:lnTo>
                  <a:lnTo>
                    <a:pt x="130" y="14"/>
                  </a:lnTo>
                  <a:lnTo>
                    <a:pt x="129" y="14"/>
                  </a:lnTo>
                  <a:lnTo>
                    <a:pt x="130" y="14"/>
                  </a:lnTo>
                  <a:lnTo>
                    <a:pt x="130" y="14"/>
                  </a:lnTo>
                  <a:lnTo>
                    <a:pt x="130" y="14"/>
                  </a:lnTo>
                  <a:lnTo>
                    <a:pt x="130" y="14"/>
                  </a:lnTo>
                  <a:close/>
                  <a:moveTo>
                    <a:pt x="131" y="13"/>
                  </a:moveTo>
                  <a:lnTo>
                    <a:pt x="131" y="13"/>
                  </a:lnTo>
                  <a:lnTo>
                    <a:pt x="131" y="13"/>
                  </a:lnTo>
                  <a:lnTo>
                    <a:pt x="131" y="13"/>
                  </a:lnTo>
                  <a:lnTo>
                    <a:pt x="131" y="13"/>
                  </a:lnTo>
                  <a:lnTo>
                    <a:pt x="131" y="13"/>
                  </a:lnTo>
                  <a:lnTo>
                    <a:pt x="131" y="13"/>
                  </a:lnTo>
                  <a:lnTo>
                    <a:pt x="131" y="13"/>
                  </a:lnTo>
                  <a:lnTo>
                    <a:pt x="131" y="13"/>
                  </a:lnTo>
                  <a:lnTo>
                    <a:pt x="131" y="13"/>
                  </a:lnTo>
                  <a:lnTo>
                    <a:pt x="131" y="13"/>
                  </a:lnTo>
                  <a:lnTo>
                    <a:pt x="131" y="13"/>
                  </a:lnTo>
                  <a:lnTo>
                    <a:pt x="131" y="13"/>
                  </a:lnTo>
                  <a:close/>
                  <a:moveTo>
                    <a:pt x="131" y="13"/>
                  </a:moveTo>
                  <a:lnTo>
                    <a:pt x="131" y="13"/>
                  </a:lnTo>
                  <a:lnTo>
                    <a:pt x="131" y="13"/>
                  </a:lnTo>
                  <a:lnTo>
                    <a:pt x="131" y="13"/>
                  </a:lnTo>
                  <a:lnTo>
                    <a:pt x="131" y="13"/>
                  </a:lnTo>
                  <a:lnTo>
                    <a:pt x="131" y="13"/>
                  </a:lnTo>
                  <a:lnTo>
                    <a:pt x="131" y="13"/>
                  </a:lnTo>
                  <a:lnTo>
                    <a:pt x="131" y="13"/>
                  </a:lnTo>
                  <a:lnTo>
                    <a:pt x="131" y="13"/>
                  </a:lnTo>
                  <a:lnTo>
                    <a:pt x="131" y="13"/>
                  </a:lnTo>
                  <a:close/>
                  <a:moveTo>
                    <a:pt x="131" y="13"/>
                  </a:moveTo>
                  <a:lnTo>
                    <a:pt x="131" y="13"/>
                  </a:lnTo>
                  <a:lnTo>
                    <a:pt x="131" y="13"/>
                  </a:lnTo>
                  <a:lnTo>
                    <a:pt x="131" y="13"/>
                  </a:lnTo>
                  <a:lnTo>
                    <a:pt x="131" y="13"/>
                  </a:lnTo>
                  <a:lnTo>
                    <a:pt x="131" y="13"/>
                  </a:lnTo>
                  <a:lnTo>
                    <a:pt x="131" y="13"/>
                  </a:lnTo>
                  <a:lnTo>
                    <a:pt x="131" y="13"/>
                  </a:lnTo>
                  <a:lnTo>
                    <a:pt x="131" y="13"/>
                  </a:lnTo>
                  <a:lnTo>
                    <a:pt x="131" y="13"/>
                  </a:lnTo>
                  <a:lnTo>
                    <a:pt x="131" y="13"/>
                  </a:lnTo>
                  <a:lnTo>
                    <a:pt x="131" y="13"/>
                  </a:lnTo>
                  <a:lnTo>
                    <a:pt x="131" y="13"/>
                  </a:lnTo>
                  <a:lnTo>
                    <a:pt x="131" y="13"/>
                  </a:lnTo>
                  <a:lnTo>
                    <a:pt x="131" y="13"/>
                  </a:lnTo>
                  <a:close/>
                  <a:moveTo>
                    <a:pt x="138" y="13"/>
                  </a:moveTo>
                  <a:lnTo>
                    <a:pt x="138" y="13"/>
                  </a:lnTo>
                  <a:lnTo>
                    <a:pt x="137" y="13"/>
                  </a:lnTo>
                  <a:lnTo>
                    <a:pt x="137" y="13"/>
                  </a:lnTo>
                  <a:lnTo>
                    <a:pt x="137" y="13"/>
                  </a:lnTo>
                  <a:lnTo>
                    <a:pt x="137" y="12"/>
                  </a:lnTo>
                  <a:lnTo>
                    <a:pt x="137" y="12"/>
                  </a:lnTo>
                  <a:lnTo>
                    <a:pt x="138" y="12"/>
                  </a:lnTo>
                  <a:lnTo>
                    <a:pt x="138" y="13"/>
                  </a:lnTo>
                  <a:lnTo>
                    <a:pt x="138" y="13"/>
                  </a:lnTo>
                  <a:close/>
                  <a:moveTo>
                    <a:pt x="131" y="13"/>
                  </a:moveTo>
                  <a:lnTo>
                    <a:pt x="131" y="13"/>
                  </a:lnTo>
                  <a:lnTo>
                    <a:pt x="131" y="13"/>
                  </a:lnTo>
                  <a:lnTo>
                    <a:pt x="131" y="13"/>
                  </a:lnTo>
                  <a:lnTo>
                    <a:pt x="131" y="14"/>
                  </a:lnTo>
                  <a:lnTo>
                    <a:pt x="131" y="14"/>
                  </a:lnTo>
                  <a:lnTo>
                    <a:pt x="131" y="14"/>
                  </a:lnTo>
                  <a:lnTo>
                    <a:pt x="131" y="14"/>
                  </a:lnTo>
                  <a:lnTo>
                    <a:pt x="131" y="14"/>
                  </a:lnTo>
                  <a:lnTo>
                    <a:pt x="131" y="15"/>
                  </a:lnTo>
                  <a:lnTo>
                    <a:pt x="131" y="15"/>
                  </a:lnTo>
                  <a:lnTo>
                    <a:pt x="131" y="15"/>
                  </a:lnTo>
                  <a:lnTo>
                    <a:pt x="131" y="15"/>
                  </a:lnTo>
                  <a:lnTo>
                    <a:pt x="131" y="15"/>
                  </a:lnTo>
                  <a:lnTo>
                    <a:pt x="132" y="15"/>
                  </a:lnTo>
                  <a:lnTo>
                    <a:pt x="132" y="16"/>
                  </a:lnTo>
                  <a:lnTo>
                    <a:pt x="131" y="16"/>
                  </a:lnTo>
                  <a:lnTo>
                    <a:pt x="131" y="15"/>
                  </a:lnTo>
                  <a:lnTo>
                    <a:pt x="131" y="15"/>
                  </a:lnTo>
                  <a:lnTo>
                    <a:pt x="131" y="15"/>
                  </a:lnTo>
                  <a:lnTo>
                    <a:pt x="131" y="15"/>
                  </a:lnTo>
                  <a:lnTo>
                    <a:pt x="131" y="15"/>
                  </a:lnTo>
                  <a:lnTo>
                    <a:pt x="131" y="15"/>
                  </a:lnTo>
                  <a:lnTo>
                    <a:pt x="131" y="15"/>
                  </a:lnTo>
                  <a:lnTo>
                    <a:pt x="131" y="15"/>
                  </a:lnTo>
                  <a:lnTo>
                    <a:pt x="131" y="15"/>
                  </a:lnTo>
                  <a:lnTo>
                    <a:pt x="131" y="14"/>
                  </a:lnTo>
                  <a:lnTo>
                    <a:pt x="131" y="14"/>
                  </a:lnTo>
                  <a:lnTo>
                    <a:pt x="131" y="14"/>
                  </a:lnTo>
                  <a:lnTo>
                    <a:pt x="131" y="14"/>
                  </a:lnTo>
                  <a:lnTo>
                    <a:pt x="131" y="14"/>
                  </a:lnTo>
                  <a:lnTo>
                    <a:pt x="131" y="14"/>
                  </a:lnTo>
                  <a:lnTo>
                    <a:pt x="131" y="14"/>
                  </a:lnTo>
                  <a:lnTo>
                    <a:pt x="130" y="14"/>
                  </a:lnTo>
                  <a:lnTo>
                    <a:pt x="130" y="14"/>
                  </a:lnTo>
                  <a:lnTo>
                    <a:pt x="130" y="14"/>
                  </a:lnTo>
                  <a:lnTo>
                    <a:pt x="130" y="14"/>
                  </a:lnTo>
                  <a:lnTo>
                    <a:pt x="130" y="14"/>
                  </a:lnTo>
                  <a:lnTo>
                    <a:pt x="130" y="14"/>
                  </a:lnTo>
                  <a:lnTo>
                    <a:pt x="130" y="13"/>
                  </a:lnTo>
                  <a:lnTo>
                    <a:pt x="130" y="13"/>
                  </a:lnTo>
                  <a:lnTo>
                    <a:pt x="130" y="13"/>
                  </a:lnTo>
                  <a:lnTo>
                    <a:pt x="130" y="13"/>
                  </a:lnTo>
                  <a:lnTo>
                    <a:pt x="130" y="13"/>
                  </a:lnTo>
                  <a:lnTo>
                    <a:pt x="130" y="13"/>
                  </a:lnTo>
                  <a:lnTo>
                    <a:pt x="130" y="13"/>
                  </a:lnTo>
                  <a:lnTo>
                    <a:pt x="130" y="13"/>
                  </a:lnTo>
                  <a:lnTo>
                    <a:pt x="130" y="13"/>
                  </a:lnTo>
                  <a:lnTo>
                    <a:pt x="130" y="13"/>
                  </a:lnTo>
                  <a:lnTo>
                    <a:pt x="130" y="13"/>
                  </a:lnTo>
                  <a:lnTo>
                    <a:pt x="130" y="13"/>
                  </a:lnTo>
                  <a:lnTo>
                    <a:pt x="130" y="13"/>
                  </a:lnTo>
                  <a:lnTo>
                    <a:pt x="130" y="13"/>
                  </a:lnTo>
                  <a:lnTo>
                    <a:pt x="130" y="13"/>
                  </a:lnTo>
                  <a:lnTo>
                    <a:pt x="130" y="13"/>
                  </a:lnTo>
                  <a:lnTo>
                    <a:pt x="130" y="13"/>
                  </a:lnTo>
                  <a:lnTo>
                    <a:pt x="130" y="12"/>
                  </a:lnTo>
                  <a:lnTo>
                    <a:pt x="130" y="12"/>
                  </a:lnTo>
                  <a:lnTo>
                    <a:pt x="130" y="12"/>
                  </a:lnTo>
                  <a:lnTo>
                    <a:pt x="131" y="12"/>
                  </a:lnTo>
                  <a:lnTo>
                    <a:pt x="131" y="12"/>
                  </a:lnTo>
                  <a:lnTo>
                    <a:pt x="131" y="12"/>
                  </a:lnTo>
                  <a:lnTo>
                    <a:pt x="131" y="13"/>
                  </a:lnTo>
                  <a:lnTo>
                    <a:pt x="131" y="13"/>
                  </a:lnTo>
                  <a:lnTo>
                    <a:pt x="131" y="13"/>
                  </a:lnTo>
                  <a:lnTo>
                    <a:pt x="131" y="13"/>
                  </a:lnTo>
                  <a:lnTo>
                    <a:pt x="131" y="13"/>
                  </a:lnTo>
                  <a:lnTo>
                    <a:pt x="131" y="13"/>
                  </a:lnTo>
                  <a:lnTo>
                    <a:pt x="131" y="13"/>
                  </a:lnTo>
                  <a:close/>
                  <a:moveTo>
                    <a:pt x="128" y="10"/>
                  </a:moveTo>
                  <a:lnTo>
                    <a:pt x="128" y="10"/>
                  </a:lnTo>
                  <a:lnTo>
                    <a:pt x="128" y="10"/>
                  </a:lnTo>
                  <a:lnTo>
                    <a:pt x="128" y="10"/>
                  </a:lnTo>
                  <a:lnTo>
                    <a:pt x="128" y="10"/>
                  </a:lnTo>
                  <a:lnTo>
                    <a:pt x="128" y="10"/>
                  </a:lnTo>
                  <a:lnTo>
                    <a:pt x="128" y="10"/>
                  </a:lnTo>
                  <a:lnTo>
                    <a:pt x="128" y="10"/>
                  </a:lnTo>
                  <a:lnTo>
                    <a:pt x="128" y="10"/>
                  </a:lnTo>
                  <a:close/>
                  <a:moveTo>
                    <a:pt x="133" y="8"/>
                  </a:moveTo>
                  <a:lnTo>
                    <a:pt x="133" y="8"/>
                  </a:lnTo>
                  <a:lnTo>
                    <a:pt x="133" y="8"/>
                  </a:lnTo>
                  <a:lnTo>
                    <a:pt x="133" y="8"/>
                  </a:lnTo>
                  <a:lnTo>
                    <a:pt x="133" y="8"/>
                  </a:lnTo>
                  <a:lnTo>
                    <a:pt x="133" y="8"/>
                  </a:lnTo>
                  <a:close/>
                  <a:moveTo>
                    <a:pt x="136" y="9"/>
                  </a:moveTo>
                  <a:lnTo>
                    <a:pt x="136" y="9"/>
                  </a:lnTo>
                  <a:lnTo>
                    <a:pt x="136" y="9"/>
                  </a:lnTo>
                  <a:lnTo>
                    <a:pt x="136" y="9"/>
                  </a:lnTo>
                  <a:lnTo>
                    <a:pt x="136" y="9"/>
                  </a:lnTo>
                  <a:lnTo>
                    <a:pt x="136" y="8"/>
                  </a:lnTo>
                  <a:lnTo>
                    <a:pt x="136" y="8"/>
                  </a:lnTo>
                  <a:lnTo>
                    <a:pt x="136" y="8"/>
                  </a:lnTo>
                  <a:lnTo>
                    <a:pt x="136" y="8"/>
                  </a:lnTo>
                  <a:lnTo>
                    <a:pt x="137" y="9"/>
                  </a:lnTo>
                  <a:lnTo>
                    <a:pt x="136" y="9"/>
                  </a:lnTo>
                  <a:lnTo>
                    <a:pt x="136" y="9"/>
                  </a:lnTo>
                  <a:close/>
                  <a:moveTo>
                    <a:pt x="137" y="8"/>
                  </a:moveTo>
                  <a:lnTo>
                    <a:pt x="137" y="8"/>
                  </a:lnTo>
                  <a:lnTo>
                    <a:pt x="137" y="8"/>
                  </a:lnTo>
                  <a:lnTo>
                    <a:pt x="137" y="8"/>
                  </a:lnTo>
                  <a:lnTo>
                    <a:pt x="137" y="8"/>
                  </a:lnTo>
                  <a:lnTo>
                    <a:pt x="137" y="8"/>
                  </a:lnTo>
                  <a:lnTo>
                    <a:pt x="137" y="8"/>
                  </a:lnTo>
                  <a:close/>
                  <a:moveTo>
                    <a:pt x="133" y="8"/>
                  </a:moveTo>
                  <a:lnTo>
                    <a:pt x="133" y="8"/>
                  </a:lnTo>
                  <a:lnTo>
                    <a:pt x="133" y="8"/>
                  </a:lnTo>
                  <a:lnTo>
                    <a:pt x="133" y="8"/>
                  </a:lnTo>
                  <a:lnTo>
                    <a:pt x="133" y="8"/>
                  </a:lnTo>
                  <a:lnTo>
                    <a:pt x="133" y="8"/>
                  </a:lnTo>
                  <a:close/>
                  <a:moveTo>
                    <a:pt x="137" y="8"/>
                  </a:moveTo>
                  <a:lnTo>
                    <a:pt x="137" y="8"/>
                  </a:lnTo>
                  <a:lnTo>
                    <a:pt x="137" y="8"/>
                  </a:lnTo>
                  <a:lnTo>
                    <a:pt x="137" y="8"/>
                  </a:lnTo>
                  <a:lnTo>
                    <a:pt x="137" y="8"/>
                  </a:lnTo>
                  <a:lnTo>
                    <a:pt x="137" y="8"/>
                  </a:lnTo>
                  <a:lnTo>
                    <a:pt x="137" y="8"/>
                  </a:lnTo>
                  <a:lnTo>
                    <a:pt x="137" y="8"/>
                  </a:lnTo>
                  <a:close/>
                  <a:moveTo>
                    <a:pt x="135" y="8"/>
                  </a:moveTo>
                  <a:lnTo>
                    <a:pt x="135" y="8"/>
                  </a:lnTo>
                  <a:lnTo>
                    <a:pt x="135" y="8"/>
                  </a:lnTo>
                  <a:lnTo>
                    <a:pt x="136" y="8"/>
                  </a:lnTo>
                  <a:lnTo>
                    <a:pt x="136" y="8"/>
                  </a:lnTo>
                  <a:lnTo>
                    <a:pt x="136" y="8"/>
                  </a:lnTo>
                  <a:lnTo>
                    <a:pt x="135" y="8"/>
                  </a:lnTo>
                  <a:lnTo>
                    <a:pt x="135" y="8"/>
                  </a:lnTo>
                  <a:lnTo>
                    <a:pt x="135" y="8"/>
                  </a:lnTo>
                  <a:lnTo>
                    <a:pt x="135" y="8"/>
                  </a:lnTo>
                  <a:lnTo>
                    <a:pt x="135" y="8"/>
                  </a:lnTo>
                  <a:lnTo>
                    <a:pt x="135" y="8"/>
                  </a:lnTo>
                  <a:lnTo>
                    <a:pt x="135" y="8"/>
                  </a:lnTo>
                  <a:lnTo>
                    <a:pt x="135" y="8"/>
                  </a:lnTo>
                  <a:lnTo>
                    <a:pt x="135" y="8"/>
                  </a:lnTo>
                  <a:lnTo>
                    <a:pt x="133" y="8"/>
                  </a:lnTo>
                  <a:lnTo>
                    <a:pt x="133" y="8"/>
                  </a:lnTo>
                  <a:lnTo>
                    <a:pt x="133" y="8"/>
                  </a:lnTo>
                  <a:lnTo>
                    <a:pt x="135" y="8"/>
                  </a:lnTo>
                  <a:lnTo>
                    <a:pt x="135" y="8"/>
                  </a:lnTo>
                  <a:lnTo>
                    <a:pt x="135" y="8"/>
                  </a:lnTo>
                  <a:lnTo>
                    <a:pt x="135" y="8"/>
                  </a:lnTo>
                  <a:lnTo>
                    <a:pt x="135" y="8"/>
                  </a:lnTo>
                  <a:lnTo>
                    <a:pt x="135" y="8"/>
                  </a:lnTo>
                  <a:close/>
                  <a:moveTo>
                    <a:pt x="137" y="8"/>
                  </a:moveTo>
                  <a:lnTo>
                    <a:pt x="137" y="8"/>
                  </a:lnTo>
                  <a:lnTo>
                    <a:pt x="137" y="8"/>
                  </a:lnTo>
                  <a:lnTo>
                    <a:pt x="137" y="7"/>
                  </a:lnTo>
                  <a:lnTo>
                    <a:pt x="137" y="7"/>
                  </a:lnTo>
                  <a:lnTo>
                    <a:pt x="137" y="8"/>
                  </a:lnTo>
                  <a:lnTo>
                    <a:pt x="137" y="8"/>
                  </a:lnTo>
                  <a:close/>
                  <a:moveTo>
                    <a:pt x="135" y="8"/>
                  </a:moveTo>
                  <a:lnTo>
                    <a:pt x="135" y="8"/>
                  </a:lnTo>
                  <a:lnTo>
                    <a:pt x="135" y="8"/>
                  </a:lnTo>
                  <a:lnTo>
                    <a:pt x="135" y="7"/>
                  </a:lnTo>
                  <a:lnTo>
                    <a:pt x="135" y="7"/>
                  </a:lnTo>
                  <a:lnTo>
                    <a:pt x="135" y="7"/>
                  </a:lnTo>
                  <a:lnTo>
                    <a:pt x="135" y="7"/>
                  </a:lnTo>
                  <a:lnTo>
                    <a:pt x="135" y="7"/>
                  </a:lnTo>
                  <a:lnTo>
                    <a:pt x="135" y="7"/>
                  </a:lnTo>
                  <a:lnTo>
                    <a:pt x="135" y="7"/>
                  </a:lnTo>
                  <a:lnTo>
                    <a:pt x="135" y="8"/>
                  </a:lnTo>
                  <a:close/>
                  <a:moveTo>
                    <a:pt x="133" y="7"/>
                  </a:moveTo>
                  <a:lnTo>
                    <a:pt x="133" y="7"/>
                  </a:lnTo>
                  <a:lnTo>
                    <a:pt x="133" y="7"/>
                  </a:lnTo>
                  <a:lnTo>
                    <a:pt x="133" y="7"/>
                  </a:lnTo>
                  <a:lnTo>
                    <a:pt x="133" y="6"/>
                  </a:lnTo>
                  <a:lnTo>
                    <a:pt x="133" y="6"/>
                  </a:lnTo>
                  <a:lnTo>
                    <a:pt x="133" y="6"/>
                  </a:lnTo>
                  <a:lnTo>
                    <a:pt x="133" y="7"/>
                  </a:lnTo>
                  <a:close/>
                  <a:moveTo>
                    <a:pt x="133" y="0"/>
                  </a:moveTo>
                  <a:lnTo>
                    <a:pt x="133" y="0"/>
                  </a:lnTo>
                  <a:lnTo>
                    <a:pt x="133" y="0"/>
                  </a:lnTo>
                  <a:lnTo>
                    <a:pt x="133" y="0"/>
                  </a:lnTo>
                  <a:lnTo>
                    <a:pt x="133"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53" name="Freeform 1012">
              <a:extLst>
                <a:ext uri="{FF2B5EF4-FFF2-40B4-BE49-F238E27FC236}">
                  <a16:creationId xmlns:a16="http://schemas.microsoft.com/office/drawing/2014/main" id="{0FA7ACB8-9C49-4996-A1D0-A225E25CB3CF}"/>
                </a:ext>
              </a:extLst>
            </p:cNvPr>
            <p:cNvSpPr>
              <a:spLocks/>
            </p:cNvSpPr>
            <p:nvPr/>
          </p:nvSpPr>
          <p:spPr bwMode="auto">
            <a:xfrm>
              <a:off x="6431436" y="2559254"/>
              <a:ext cx="112181" cy="105504"/>
            </a:xfrm>
            <a:custGeom>
              <a:avLst/>
              <a:gdLst>
                <a:gd name="T0" fmla="*/ 82 w 84"/>
                <a:gd name="T1" fmla="*/ 7 h 79"/>
                <a:gd name="T2" fmla="*/ 72 w 84"/>
                <a:gd name="T3" fmla="*/ 13 h 79"/>
                <a:gd name="T4" fmla="*/ 72 w 84"/>
                <a:gd name="T5" fmla="*/ 21 h 79"/>
                <a:gd name="T6" fmla="*/ 74 w 84"/>
                <a:gd name="T7" fmla="*/ 28 h 79"/>
                <a:gd name="T8" fmla="*/ 74 w 84"/>
                <a:gd name="T9" fmla="*/ 34 h 79"/>
                <a:gd name="T10" fmla="*/ 72 w 84"/>
                <a:gd name="T11" fmla="*/ 44 h 79"/>
                <a:gd name="T12" fmla="*/ 69 w 84"/>
                <a:gd name="T13" fmla="*/ 48 h 79"/>
                <a:gd name="T14" fmla="*/ 63 w 84"/>
                <a:gd name="T15" fmla="*/ 51 h 79"/>
                <a:gd name="T16" fmla="*/ 58 w 84"/>
                <a:gd name="T17" fmla="*/ 54 h 79"/>
                <a:gd name="T18" fmla="*/ 54 w 84"/>
                <a:gd name="T19" fmla="*/ 57 h 79"/>
                <a:gd name="T20" fmla="*/ 48 w 84"/>
                <a:gd name="T21" fmla="*/ 61 h 79"/>
                <a:gd name="T22" fmla="*/ 40 w 84"/>
                <a:gd name="T23" fmla="*/ 67 h 79"/>
                <a:gd name="T24" fmla="*/ 33 w 84"/>
                <a:gd name="T25" fmla="*/ 71 h 79"/>
                <a:gd name="T26" fmla="*/ 27 w 84"/>
                <a:gd name="T27" fmla="*/ 76 h 79"/>
                <a:gd name="T28" fmla="*/ 20 w 84"/>
                <a:gd name="T29" fmla="*/ 79 h 79"/>
                <a:gd name="T30" fmla="*/ 15 w 84"/>
                <a:gd name="T31" fmla="*/ 78 h 79"/>
                <a:gd name="T32" fmla="*/ 11 w 84"/>
                <a:gd name="T33" fmla="*/ 76 h 79"/>
                <a:gd name="T34" fmla="*/ 8 w 84"/>
                <a:gd name="T35" fmla="*/ 74 h 79"/>
                <a:gd name="T36" fmla="*/ 7 w 84"/>
                <a:gd name="T37" fmla="*/ 71 h 79"/>
                <a:gd name="T38" fmla="*/ 7 w 84"/>
                <a:gd name="T39" fmla="*/ 67 h 79"/>
                <a:gd name="T40" fmla="*/ 6 w 84"/>
                <a:gd name="T41" fmla="*/ 65 h 79"/>
                <a:gd name="T42" fmla="*/ 7 w 84"/>
                <a:gd name="T43" fmla="*/ 62 h 79"/>
                <a:gd name="T44" fmla="*/ 8 w 84"/>
                <a:gd name="T45" fmla="*/ 58 h 79"/>
                <a:gd name="T46" fmla="*/ 8 w 84"/>
                <a:gd name="T47" fmla="*/ 56 h 79"/>
                <a:gd name="T48" fmla="*/ 12 w 84"/>
                <a:gd name="T49" fmla="*/ 55 h 79"/>
                <a:gd name="T50" fmla="*/ 12 w 84"/>
                <a:gd name="T51" fmla="*/ 54 h 79"/>
                <a:gd name="T52" fmla="*/ 14 w 84"/>
                <a:gd name="T53" fmla="*/ 50 h 79"/>
                <a:gd name="T54" fmla="*/ 14 w 84"/>
                <a:gd name="T55" fmla="*/ 47 h 79"/>
                <a:gd name="T56" fmla="*/ 13 w 84"/>
                <a:gd name="T57" fmla="*/ 46 h 79"/>
                <a:gd name="T58" fmla="*/ 12 w 84"/>
                <a:gd name="T59" fmla="*/ 44 h 79"/>
                <a:gd name="T60" fmla="*/ 10 w 84"/>
                <a:gd name="T61" fmla="*/ 42 h 79"/>
                <a:gd name="T62" fmla="*/ 8 w 84"/>
                <a:gd name="T63" fmla="*/ 43 h 79"/>
                <a:gd name="T64" fmla="*/ 6 w 84"/>
                <a:gd name="T65" fmla="*/ 42 h 79"/>
                <a:gd name="T66" fmla="*/ 5 w 84"/>
                <a:gd name="T67" fmla="*/ 39 h 79"/>
                <a:gd name="T68" fmla="*/ 4 w 84"/>
                <a:gd name="T69" fmla="*/ 35 h 79"/>
                <a:gd name="T70" fmla="*/ 4 w 84"/>
                <a:gd name="T71" fmla="*/ 32 h 79"/>
                <a:gd name="T72" fmla="*/ 1 w 84"/>
                <a:gd name="T73" fmla="*/ 28 h 79"/>
                <a:gd name="T74" fmla="*/ 1 w 84"/>
                <a:gd name="T75" fmla="*/ 26 h 79"/>
                <a:gd name="T76" fmla="*/ 3 w 84"/>
                <a:gd name="T77" fmla="*/ 22 h 79"/>
                <a:gd name="T78" fmla="*/ 6 w 84"/>
                <a:gd name="T79" fmla="*/ 23 h 79"/>
                <a:gd name="T80" fmla="*/ 7 w 84"/>
                <a:gd name="T81" fmla="*/ 21 h 79"/>
                <a:gd name="T82" fmla="*/ 10 w 84"/>
                <a:gd name="T83" fmla="*/ 18 h 79"/>
                <a:gd name="T84" fmla="*/ 11 w 84"/>
                <a:gd name="T85" fmla="*/ 16 h 79"/>
                <a:gd name="T86" fmla="*/ 10 w 84"/>
                <a:gd name="T87" fmla="*/ 13 h 79"/>
                <a:gd name="T88" fmla="*/ 11 w 84"/>
                <a:gd name="T89" fmla="*/ 8 h 79"/>
                <a:gd name="T90" fmla="*/ 15 w 84"/>
                <a:gd name="T91" fmla="*/ 9 h 79"/>
                <a:gd name="T92" fmla="*/ 18 w 84"/>
                <a:gd name="T93" fmla="*/ 11 h 79"/>
                <a:gd name="T94" fmla="*/ 22 w 84"/>
                <a:gd name="T95" fmla="*/ 9 h 79"/>
                <a:gd name="T96" fmla="*/ 29 w 84"/>
                <a:gd name="T97" fmla="*/ 7 h 79"/>
                <a:gd name="T98" fmla="*/ 35 w 84"/>
                <a:gd name="T99" fmla="*/ 8 h 79"/>
                <a:gd name="T100" fmla="*/ 41 w 84"/>
                <a:gd name="T101" fmla="*/ 11 h 79"/>
                <a:gd name="T102" fmla="*/ 44 w 84"/>
                <a:gd name="T103" fmla="*/ 11 h 79"/>
                <a:gd name="T104" fmla="*/ 55 w 84"/>
                <a:gd name="T105" fmla="*/ 7 h 79"/>
                <a:gd name="T106" fmla="*/ 60 w 84"/>
                <a:gd name="T107" fmla="*/ 5 h 79"/>
                <a:gd name="T108" fmla="*/ 65 w 84"/>
                <a:gd name="T109" fmla="*/ 4 h 79"/>
                <a:gd name="T110" fmla="*/ 72 w 84"/>
                <a:gd name="T111" fmla="*/ 4 h 79"/>
                <a:gd name="T112" fmla="*/ 82 w 84"/>
                <a:gd name="T113" fmla="*/ 0 h 79"/>
                <a:gd name="T114" fmla="*/ 84 w 84"/>
                <a:gd name="T115" fmla="*/ 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4" h="79">
                  <a:moveTo>
                    <a:pt x="84" y="4"/>
                  </a:moveTo>
                  <a:lnTo>
                    <a:pt x="84" y="5"/>
                  </a:lnTo>
                  <a:lnTo>
                    <a:pt x="83" y="5"/>
                  </a:lnTo>
                  <a:lnTo>
                    <a:pt x="82" y="7"/>
                  </a:lnTo>
                  <a:lnTo>
                    <a:pt x="80" y="9"/>
                  </a:lnTo>
                  <a:lnTo>
                    <a:pt x="78" y="12"/>
                  </a:lnTo>
                  <a:lnTo>
                    <a:pt x="74" y="13"/>
                  </a:lnTo>
                  <a:lnTo>
                    <a:pt x="72" y="13"/>
                  </a:lnTo>
                  <a:lnTo>
                    <a:pt x="72" y="15"/>
                  </a:lnTo>
                  <a:lnTo>
                    <a:pt x="71" y="15"/>
                  </a:lnTo>
                  <a:lnTo>
                    <a:pt x="72" y="20"/>
                  </a:lnTo>
                  <a:lnTo>
                    <a:pt x="72" y="21"/>
                  </a:lnTo>
                  <a:lnTo>
                    <a:pt x="74" y="23"/>
                  </a:lnTo>
                  <a:lnTo>
                    <a:pt x="75" y="25"/>
                  </a:lnTo>
                  <a:lnTo>
                    <a:pt x="75" y="27"/>
                  </a:lnTo>
                  <a:lnTo>
                    <a:pt x="74" y="28"/>
                  </a:lnTo>
                  <a:lnTo>
                    <a:pt x="74" y="29"/>
                  </a:lnTo>
                  <a:lnTo>
                    <a:pt x="74" y="32"/>
                  </a:lnTo>
                  <a:lnTo>
                    <a:pt x="74" y="33"/>
                  </a:lnTo>
                  <a:lnTo>
                    <a:pt x="74" y="34"/>
                  </a:lnTo>
                  <a:lnTo>
                    <a:pt x="74" y="37"/>
                  </a:lnTo>
                  <a:lnTo>
                    <a:pt x="75" y="40"/>
                  </a:lnTo>
                  <a:lnTo>
                    <a:pt x="75" y="41"/>
                  </a:lnTo>
                  <a:lnTo>
                    <a:pt x="72" y="44"/>
                  </a:lnTo>
                  <a:lnTo>
                    <a:pt x="72" y="46"/>
                  </a:lnTo>
                  <a:lnTo>
                    <a:pt x="72" y="47"/>
                  </a:lnTo>
                  <a:lnTo>
                    <a:pt x="71" y="47"/>
                  </a:lnTo>
                  <a:lnTo>
                    <a:pt x="69" y="48"/>
                  </a:lnTo>
                  <a:lnTo>
                    <a:pt x="67" y="49"/>
                  </a:lnTo>
                  <a:lnTo>
                    <a:pt x="65" y="49"/>
                  </a:lnTo>
                  <a:lnTo>
                    <a:pt x="64" y="50"/>
                  </a:lnTo>
                  <a:lnTo>
                    <a:pt x="63" y="51"/>
                  </a:lnTo>
                  <a:lnTo>
                    <a:pt x="62" y="51"/>
                  </a:lnTo>
                  <a:lnTo>
                    <a:pt x="62" y="53"/>
                  </a:lnTo>
                  <a:lnTo>
                    <a:pt x="60" y="53"/>
                  </a:lnTo>
                  <a:lnTo>
                    <a:pt x="58" y="54"/>
                  </a:lnTo>
                  <a:lnTo>
                    <a:pt x="57" y="55"/>
                  </a:lnTo>
                  <a:lnTo>
                    <a:pt x="56" y="56"/>
                  </a:lnTo>
                  <a:lnTo>
                    <a:pt x="55" y="56"/>
                  </a:lnTo>
                  <a:lnTo>
                    <a:pt x="54" y="57"/>
                  </a:lnTo>
                  <a:lnTo>
                    <a:pt x="53" y="58"/>
                  </a:lnTo>
                  <a:lnTo>
                    <a:pt x="50" y="60"/>
                  </a:lnTo>
                  <a:lnTo>
                    <a:pt x="49" y="60"/>
                  </a:lnTo>
                  <a:lnTo>
                    <a:pt x="48" y="61"/>
                  </a:lnTo>
                  <a:lnTo>
                    <a:pt x="47" y="62"/>
                  </a:lnTo>
                  <a:lnTo>
                    <a:pt x="46" y="63"/>
                  </a:lnTo>
                  <a:lnTo>
                    <a:pt x="42" y="64"/>
                  </a:lnTo>
                  <a:lnTo>
                    <a:pt x="40" y="67"/>
                  </a:lnTo>
                  <a:lnTo>
                    <a:pt x="39" y="67"/>
                  </a:lnTo>
                  <a:lnTo>
                    <a:pt x="36" y="69"/>
                  </a:lnTo>
                  <a:lnTo>
                    <a:pt x="35" y="70"/>
                  </a:lnTo>
                  <a:lnTo>
                    <a:pt x="33" y="71"/>
                  </a:lnTo>
                  <a:lnTo>
                    <a:pt x="30" y="72"/>
                  </a:lnTo>
                  <a:lnTo>
                    <a:pt x="29" y="74"/>
                  </a:lnTo>
                  <a:lnTo>
                    <a:pt x="28" y="74"/>
                  </a:lnTo>
                  <a:lnTo>
                    <a:pt x="27" y="76"/>
                  </a:lnTo>
                  <a:lnTo>
                    <a:pt x="25" y="76"/>
                  </a:lnTo>
                  <a:lnTo>
                    <a:pt x="23" y="78"/>
                  </a:lnTo>
                  <a:lnTo>
                    <a:pt x="21" y="79"/>
                  </a:lnTo>
                  <a:lnTo>
                    <a:pt x="20" y="79"/>
                  </a:lnTo>
                  <a:lnTo>
                    <a:pt x="19" y="79"/>
                  </a:lnTo>
                  <a:lnTo>
                    <a:pt x="18" y="78"/>
                  </a:lnTo>
                  <a:lnTo>
                    <a:pt x="16" y="78"/>
                  </a:lnTo>
                  <a:lnTo>
                    <a:pt x="15" y="78"/>
                  </a:lnTo>
                  <a:lnTo>
                    <a:pt x="14" y="77"/>
                  </a:lnTo>
                  <a:lnTo>
                    <a:pt x="13" y="76"/>
                  </a:lnTo>
                  <a:lnTo>
                    <a:pt x="12" y="76"/>
                  </a:lnTo>
                  <a:lnTo>
                    <a:pt x="11" y="76"/>
                  </a:lnTo>
                  <a:lnTo>
                    <a:pt x="11" y="75"/>
                  </a:lnTo>
                  <a:lnTo>
                    <a:pt x="10" y="75"/>
                  </a:lnTo>
                  <a:lnTo>
                    <a:pt x="10" y="74"/>
                  </a:lnTo>
                  <a:lnTo>
                    <a:pt x="8" y="74"/>
                  </a:lnTo>
                  <a:lnTo>
                    <a:pt x="7" y="72"/>
                  </a:lnTo>
                  <a:lnTo>
                    <a:pt x="6" y="72"/>
                  </a:lnTo>
                  <a:lnTo>
                    <a:pt x="7" y="72"/>
                  </a:lnTo>
                  <a:lnTo>
                    <a:pt x="7" y="71"/>
                  </a:lnTo>
                  <a:lnTo>
                    <a:pt x="7" y="70"/>
                  </a:lnTo>
                  <a:lnTo>
                    <a:pt x="8" y="69"/>
                  </a:lnTo>
                  <a:lnTo>
                    <a:pt x="7" y="69"/>
                  </a:lnTo>
                  <a:lnTo>
                    <a:pt x="7" y="67"/>
                  </a:lnTo>
                  <a:lnTo>
                    <a:pt x="6" y="67"/>
                  </a:lnTo>
                  <a:lnTo>
                    <a:pt x="7" y="67"/>
                  </a:lnTo>
                  <a:lnTo>
                    <a:pt x="7" y="65"/>
                  </a:lnTo>
                  <a:lnTo>
                    <a:pt x="6" y="65"/>
                  </a:lnTo>
                  <a:lnTo>
                    <a:pt x="6" y="64"/>
                  </a:lnTo>
                  <a:lnTo>
                    <a:pt x="6" y="63"/>
                  </a:lnTo>
                  <a:lnTo>
                    <a:pt x="6" y="62"/>
                  </a:lnTo>
                  <a:lnTo>
                    <a:pt x="7" y="62"/>
                  </a:lnTo>
                  <a:lnTo>
                    <a:pt x="7" y="61"/>
                  </a:lnTo>
                  <a:lnTo>
                    <a:pt x="7" y="60"/>
                  </a:lnTo>
                  <a:lnTo>
                    <a:pt x="8" y="60"/>
                  </a:lnTo>
                  <a:lnTo>
                    <a:pt x="8" y="58"/>
                  </a:lnTo>
                  <a:lnTo>
                    <a:pt x="7" y="58"/>
                  </a:lnTo>
                  <a:lnTo>
                    <a:pt x="7" y="57"/>
                  </a:lnTo>
                  <a:lnTo>
                    <a:pt x="7" y="56"/>
                  </a:lnTo>
                  <a:lnTo>
                    <a:pt x="8" y="56"/>
                  </a:lnTo>
                  <a:lnTo>
                    <a:pt x="8" y="55"/>
                  </a:lnTo>
                  <a:lnTo>
                    <a:pt x="10" y="55"/>
                  </a:lnTo>
                  <a:lnTo>
                    <a:pt x="11" y="55"/>
                  </a:lnTo>
                  <a:lnTo>
                    <a:pt x="12" y="55"/>
                  </a:lnTo>
                  <a:lnTo>
                    <a:pt x="13" y="55"/>
                  </a:lnTo>
                  <a:lnTo>
                    <a:pt x="12" y="55"/>
                  </a:lnTo>
                  <a:lnTo>
                    <a:pt x="11" y="54"/>
                  </a:lnTo>
                  <a:lnTo>
                    <a:pt x="12" y="54"/>
                  </a:lnTo>
                  <a:lnTo>
                    <a:pt x="12" y="53"/>
                  </a:lnTo>
                  <a:lnTo>
                    <a:pt x="13" y="51"/>
                  </a:lnTo>
                  <a:lnTo>
                    <a:pt x="14" y="51"/>
                  </a:lnTo>
                  <a:lnTo>
                    <a:pt x="14" y="50"/>
                  </a:lnTo>
                  <a:lnTo>
                    <a:pt x="15" y="49"/>
                  </a:lnTo>
                  <a:lnTo>
                    <a:pt x="14" y="49"/>
                  </a:lnTo>
                  <a:lnTo>
                    <a:pt x="14" y="48"/>
                  </a:lnTo>
                  <a:lnTo>
                    <a:pt x="14" y="47"/>
                  </a:lnTo>
                  <a:lnTo>
                    <a:pt x="13" y="47"/>
                  </a:lnTo>
                  <a:lnTo>
                    <a:pt x="14" y="47"/>
                  </a:lnTo>
                  <a:lnTo>
                    <a:pt x="14" y="46"/>
                  </a:lnTo>
                  <a:lnTo>
                    <a:pt x="13" y="46"/>
                  </a:lnTo>
                  <a:lnTo>
                    <a:pt x="12" y="46"/>
                  </a:lnTo>
                  <a:lnTo>
                    <a:pt x="12" y="44"/>
                  </a:lnTo>
                  <a:lnTo>
                    <a:pt x="11" y="44"/>
                  </a:lnTo>
                  <a:lnTo>
                    <a:pt x="12" y="44"/>
                  </a:lnTo>
                  <a:lnTo>
                    <a:pt x="12" y="43"/>
                  </a:lnTo>
                  <a:lnTo>
                    <a:pt x="11" y="43"/>
                  </a:lnTo>
                  <a:lnTo>
                    <a:pt x="11" y="42"/>
                  </a:lnTo>
                  <a:lnTo>
                    <a:pt x="10" y="42"/>
                  </a:lnTo>
                  <a:lnTo>
                    <a:pt x="10" y="43"/>
                  </a:lnTo>
                  <a:lnTo>
                    <a:pt x="8" y="43"/>
                  </a:lnTo>
                  <a:lnTo>
                    <a:pt x="8" y="42"/>
                  </a:lnTo>
                  <a:lnTo>
                    <a:pt x="8" y="43"/>
                  </a:lnTo>
                  <a:lnTo>
                    <a:pt x="7" y="43"/>
                  </a:lnTo>
                  <a:lnTo>
                    <a:pt x="7" y="42"/>
                  </a:lnTo>
                  <a:lnTo>
                    <a:pt x="7" y="43"/>
                  </a:lnTo>
                  <a:lnTo>
                    <a:pt x="6" y="42"/>
                  </a:lnTo>
                  <a:lnTo>
                    <a:pt x="5" y="42"/>
                  </a:lnTo>
                  <a:lnTo>
                    <a:pt x="5" y="41"/>
                  </a:lnTo>
                  <a:lnTo>
                    <a:pt x="5" y="40"/>
                  </a:lnTo>
                  <a:lnTo>
                    <a:pt x="5" y="39"/>
                  </a:lnTo>
                  <a:lnTo>
                    <a:pt x="4" y="39"/>
                  </a:lnTo>
                  <a:lnTo>
                    <a:pt x="4" y="37"/>
                  </a:lnTo>
                  <a:lnTo>
                    <a:pt x="4" y="36"/>
                  </a:lnTo>
                  <a:lnTo>
                    <a:pt x="4" y="35"/>
                  </a:lnTo>
                  <a:lnTo>
                    <a:pt x="5" y="34"/>
                  </a:lnTo>
                  <a:lnTo>
                    <a:pt x="5" y="33"/>
                  </a:lnTo>
                  <a:lnTo>
                    <a:pt x="4" y="33"/>
                  </a:lnTo>
                  <a:lnTo>
                    <a:pt x="4" y="32"/>
                  </a:lnTo>
                  <a:lnTo>
                    <a:pt x="4" y="30"/>
                  </a:lnTo>
                  <a:lnTo>
                    <a:pt x="3" y="29"/>
                  </a:lnTo>
                  <a:lnTo>
                    <a:pt x="1" y="29"/>
                  </a:lnTo>
                  <a:lnTo>
                    <a:pt x="1" y="28"/>
                  </a:lnTo>
                  <a:lnTo>
                    <a:pt x="0" y="28"/>
                  </a:lnTo>
                  <a:lnTo>
                    <a:pt x="1" y="28"/>
                  </a:lnTo>
                  <a:lnTo>
                    <a:pt x="1" y="27"/>
                  </a:lnTo>
                  <a:lnTo>
                    <a:pt x="1" y="26"/>
                  </a:lnTo>
                  <a:lnTo>
                    <a:pt x="1" y="25"/>
                  </a:lnTo>
                  <a:lnTo>
                    <a:pt x="1" y="23"/>
                  </a:lnTo>
                  <a:lnTo>
                    <a:pt x="3" y="23"/>
                  </a:lnTo>
                  <a:lnTo>
                    <a:pt x="3" y="22"/>
                  </a:lnTo>
                  <a:lnTo>
                    <a:pt x="4" y="22"/>
                  </a:lnTo>
                  <a:lnTo>
                    <a:pt x="4" y="23"/>
                  </a:lnTo>
                  <a:lnTo>
                    <a:pt x="5" y="23"/>
                  </a:lnTo>
                  <a:lnTo>
                    <a:pt x="6" y="23"/>
                  </a:lnTo>
                  <a:lnTo>
                    <a:pt x="6" y="22"/>
                  </a:lnTo>
                  <a:lnTo>
                    <a:pt x="6" y="21"/>
                  </a:lnTo>
                  <a:lnTo>
                    <a:pt x="7" y="22"/>
                  </a:lnTo>
                  <a:lnTo>
                    <a:pt x="7" y="21"/>
                  </a:lnTo>
                  <a:lnTo>
                    <a:pt x="8" y="21"/>
                  </a:lnTo>
                  <a:lnTo>
                    <a:pt x="8" y="19"/>
                  </a:lnTo>
                  <a:lnTo>
                    <a:pt x="8" y="18"/>
                  </a:lnTo>
                  <a:lnTo>
                    <a:pt x="10" y="18"/>
                  </a:lnTo>
                  <a:lnTo>
                    <a:pt x="11" y="18"/>
                  </a:lnTo>
                  <a:lnTo>
                    <a:pt x="12" y="18"/>
                  </a:lnTo>
                  <a:lnTo>
                    <a:pt x="12" y="16"/>
                  </a:lnTo>
                  <a:lnTo>
                    <a:pt x="11" y="16"/>
                  </a:lnTo>
                  <a:lnTo>
                    <a:pt x="11" y="15"/>
                  </a:lnTo>
                  <a:lnTo>
                    <a:pt x="10" y="15"/>
                  </a:lnTo>
                  <a:lnTo>
                    <a:pt x="10" y="14"/>
                  </a:lnTo>
                  <a:lnTo>
                    <a:pt x="10" y="13"/>
                  </a:lnTo>
                  <a:lnTo>
                    <a:pt x="10" y="12"/>
                  </a:lnTo>
                  <a:lnTo>
                    <a:pt x="10" y="11"/>
                  </a:lnTo>
                  <a:lnTo>
                    <a:pt x="10" y="9"/>
                  </a:lnTo>
                  <a:lnTo>
                    <a:pt x="11" y="8"/>
                  </a:lnTo>
                  <a:lnTo>
                    <a:pt x="13" y="8"/>
                  </a:lnTo>
                  <a:lnTo>
                    <a:pt x="14" y="8"/>
                  </a:lnTo>
                  <a:lnTo>
                    <a:pt x="14" y="9"/>
                  </a:lnTo>
                  <a:lnTo>
                    <a:pt x="15" y="9"/>
                  </a:lnTo>
                  <a:lnTo>
                    <a:pt x="15" y="11"/>
                  </a:lnTo>
                  <a:lnTo>
                    <a:pt x="16" y="12"/>
                  </a:lnTo>
                  <a:lnTo>
                    <a:pt x="16" y="11"/>
                  </a:lnTo>
                  <a:lnTo>
                    <a:pt x="18" y="11"/>
                  </a:lnTo>
                  <a:lnTo>
                    <a:pt x="19" y="11"/>
                  </a:lnTo>
                  <a:lnTo>
                    <a:pt x="20" y="11"/>
                  </a:lnTo>
                  <a:lnTo>
                    <a:pt x="21" y="11"/>
                  </a:lnTo>
                  <a:lnTo>
                    <a:pt x="22" y="9"/>
                  </a:lnTo>
                  <a:lnTo>
                    <a:pt x="23" y="9"/>
                  </a:lnTo>
                  <a:lnTo>
                    <a:pt x="26" y="9"/>
                  </a:lnTo>
                  <a:lnTo>
                    <a:pt x="28" y="8"/>
                  </a:lnTo>
                  <a:lnTo>
                    <a:pt x="29" y="7"/>
                  </a:lnTo>
                  <a:lnTo>
                    <a:pt x="30" y="7"/>
                  </a:lnTo>
                  <a:lnTo>
                    <a:pt x="32" y="7"/>
                  </a:lnTo>
                  <a:lnTo>
                    <a:pt x="34" y="7"/>
                  </a:lnTo>
                  <a:lnTo>
                    <a:pt x="35" y="8"/>
                  </a:lnTo>
                  <a:lnTo>
                    <a:pt x="36" y="9"/>
                  </a:lnTo>
                  <a:lnTo>
                    <a:pt x="37" y="11"/>
                  </a:lnTo>
                  <a:lnTo>
                    <a:pt x="39" y="11"/>
                  </a:lnTo>
                  <a:lnTo>
                    <a:pt x="41" y="11"/>
                  </a:lnTo>
                  <a:lnTo>
                    <a:pt x="41" y="9"/>
                  </a:lnTo>
                  <a:lnTo>
                    <a:pt x="42" y="9"/>
                  </a:lnTo>
                  <a:lnTo>
                    <a:pt x="43" y="11"/>
                  </a:lnTo>
                  <a:lnTo>
                    <a:pt x="44" y="11"/>
                  </a:lnTo>
                  <a:lnTo>
                    <a:pt x="47" y="11"/>
                  </a:lnTo>
                  <a:lnTo>
                    <a:pt x="51" y="9"/>
                  </a:lnTo>
                  <a:lnTo>
                    <a:pt x="54" y="8"/>
                  </a:lnTo>
                  <a:lnTo>
                    <a:pt x="55" y="7"/>
                  </a:lnTo>
                  <a:lnTo>
                    <a:pt x="56" y="7"/>
                  </a:lnTo>
                  <a:lnTo>
                    <a:pt x="57" y="6"/>
                  </a:lnTo>
                  <a:lnTo>
                    <a:pt x="58" y="5"/>
                  </a:lnTo>
                  <a:lnTo>
                    <a:pt x="60" y="5"/>
                  </a:lnTo>
                  <a:lnTo>
                    <a:pt x="61" y="5"/>
                  </a:lnTo>
                  <a:lnTo>
                    <a:pt x="62" y="4"/>
                  </a:lnTo>
                  <a:lnTo>
                    <a:pt x="63" y="4"/>
                  </a:lnTo>
                  <a:lnTo>
                    <a:pt x="65" y="4"/>
                  </a:lnTo>
                  <a:lnTo>
                    <a:pt x="68" y="4"/>
                  </a:lnTo>
                  <a:lnTo>
                    <a:pt x="69" y="4"/>
                  </a:lnTo>
                  <a:lnTo>
                    <a:pt x="69" y="5"/>
                  </a:lnTo>
                  <a:lnTo>
                    <a:pt x="72" y="4"/>
                  </a:lnTo>
                  <a:lnTo>
                    <a:pt x="78" y="2"/>
                  </a:lnTo>
                  <a:lnTo>
                    <a:pt x="79" y="2"/>
                  </a:lnTo>
                  <a:lnTo>
                    <a:pt x="80" y="1"/>
                  </a:lnTo>
                  <a:lnTo>
                    <a:pt x="82" y="0"/>
                  </a:lnTo>
                  <a:lnTo>
                    <a:pt x="82" y="1"/>
                  </a:lnTo>
                  <a:lnTo>
                    <a:pt x="83" y="1"/>
                  </a:lnTo>
                  <a:lnTo>
                    <a:pt x="84" y="1"/>
                  </a:lnTo>
                  <a:lnTo>
                    <a:pt x="84" y="2"/>
                  </a:lnTo>
                  <a:lnTo>
                    <a:pt x="84" y="4"/>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54" name="Freeform 1013">
              <a:extLst>
                <a:ext uri="{FF2B5EF4-FFF2-40B4-BE49-F238E27FC236}">
                  <a16:creationId xmlns:a16="http://schemas.microsoft.com/office/drawing/2014/main" id="{527991E6-B9FE-4324-B0FB-B1C672DC55DC}"/>
                </a:ext>
              </a:extLst>
            </p:cNvPr>
            <p:cNvSpPr>
              <a:spLocks noEditPoints="1"/>
            </p:cNvSpPr>
            <p:nvPr/>
          </p:nvSpPr>
          <p:spPr bwMode="auto">
            <a:xfrm>
              <a:off x="4484294" y="2883778"/>
              <a:ext cx="25375" cy="13355"/>
            </a:xfrm>
            <a:custGeom>
              <a:avLst/>
              <a:gdLst>
                <a:gd name="T0" fmla="*/ 11 w 19"/>
                <a:gd name="T1" fmla="*/ 10 h 10"/>
                <a:gd name="T2" fmla="*/ 12 w 19"/>
                <a:gd name="T3" fmla="*/ 10 h 10"/>
                <a:gd name="T4" fmla="*/ 12 w 19"/>
                <a:gd name="T5" fmla="*/ 10 h 10"/>
                <a:gd name="T6" fmla="*/ 16 w 19"/>
                <a:gd name="T7" fmla="*/ 10 h 10"/>
                <a:gd name="T8" fmla="*/ 18 w 19"/>
                <a:gd name="T9" fmla="*/ 10 h 10"/>
                <a:gd name="T10" fmla="*/ 18 w 19"/>
                <a:gd name="T11" fmla="*/ 8 h 10"/>
                <a:gd name="T12" fmla="*/ 19 w 19"/>
                <a:gd name="T13" fmla="*/ 8 h 10"/>
                <a:gd name="T14" fmla="*/ 13 w 19"/>
                <a:gd name="T15" fmla="*/ 8 h 10"/>
                <a:gd name="T16" fmla="*/ 13 w 19"/>
                <a:gd name="T17" fmla="*/ 7 h 10"/>
                <a:gd name="T18" fmla="*/ 13 w 19"/>
                <a:gd name="T19" fmla="*/ 7 h 10"/>
                <a:gd name="T20" fmla="*/ 13 w 19"/>
                <a:gd name="T21" fmla="*/ 7 h 10"/>
                <a:gd name="T22" fmla="*/ 0 w 19"/>
                <a:gd name="T23" fmla="*/ 5 h 10"/>
                <a:gd name="T24" fmla="*/ 1 w 19"/>
                <a:gd name="T25" fmla="*/ 4 h 10"/>
                <a:gd name="T26" fmla="*/ 14 w 19"/>
                <a:gd name="T27" fmla="*/ 4 h 10"/>
                <a:gd name="T28" fmla="*/ 13 w 19"/>
                <a:gd name="T29" fmla="*/ 3 h 10"/>
                <a:gd name="T30" fmla="*/ 13 w 19"/>
                <a:gd name="T31" fmla="*/ 3 h 10"/>
                <a:gd name="T32" fmla="*/ 14 w 19"/>
                <a:gd name="T33" fmla="*/ 3 h 10"/>
                <a:gd name="T34" fmla="*/ 14 w 19"/>
                <a:gd name="T35" fmla="*/ 4 h 10"/>
                <a:gd name="T36" fmla="*/ 11 w 19"/>
                <a:gd name="T37" fmla="*/ 2 h 10"/>
                <a:gd name="T38" fmla="*/ 12 w 19"/>
                <a:gd name="T39" fmla="*/ 2 h 10"/>
                <a:gd name="T40" fmla="*/ 12 w 19"/>
                <a:gd name="T41" fmla="*/ 3 h 10"/>
                <a:gd name="T42" fmla="*/ 12 w 19"/>
                <a:gd name="T43" fmla="*/ 3 h 10"/>
                <a:gd name="T44" fmla="*/ 12 w 19"/>
                <a:gd name="T45" fmla="*/ 3 h 10"/>
                <a:gd name="T46" fmla="*/ 11 w 19"/>
                <a:gd name="T47" fmla="*/ 3 h 10"/>
                <a:gd name="T48" fmla="*/ 9 w 19"/>
                <a:gd name="T49" fmla="*/ 3 h 10"/>
                <a:gd name="T50" fmla="*/ 9 w 19"/>
                <a:gd name="T51" fmla="*/ 2 h 10"/>
                <a:gd name="T52" fmla="*/ 6 w 19"/>
                <a:gd name="T53" fmla="*/ 2 h 10"/>
                <a:gd name="T54" fmla="*/ 6 w 19"/>
                <a:gd name="T55" fmla="*/ 2 h 10"/>
                <a:gd name="T56" fmla="*/ 4 w 19"/>
                <a:gd name="T57" fmla="*/ 3 h 10"/>
                <a:gd name="T58" fmla="*/ 5 w 19"/>
                <a:gd name="T59" fmla="*/ 2 h 10"/>
                <a:gd name="T60" fmla="*/ 5 w 19"/>
                <a:gd name="T61" fmla="*/ 2 h 10"/>
                <a:gd name="T62" fmla="*/ 5 w 19"/>
                <a:gd name="T63" fmla="*/ 3 h 10"/>
                <a:gd name="T64" fmla="*/ 5 w 19"/>
                <a:gd name="T65" fmla="*/ 3 h 10"/>
                <a:gd name="T66" fmla="*/ 4 w 19"/>
                <a:gd name="T67" fmla="*/ 3 h 10"/>
                <a:gd name="T68" fmla="*/ 2 w 19"/>
                <a:gd name="T69" fmla="*/ 3 h 10"/>
                <a:gd name="T70" fmla="*/ 4 w 19"/>
                <a:gd name="T71" fmla="*/ 3 h 10"/>
                <a:gd name="T72" fmla="*/ 2 w 19"/>
                <a:gd name="T73" fmla="*/ 3 h 10"/>
                <a:gd name="T74" fmla="*/ 2 w 19"/>
                <a:gd name="T75" fmla="*/ 3 h 10"/>
                <a:gd name="T76" fmla="*/ 2 w 19"/>
                <a:gd name="T77" fmla="*/ 3 h 10"/>
                <a:gd name="T78" fmla="*/ 2 w 19"/>
                <a:gd name="T79" fmla="*/ 3 h 10"/>
                <a:gd name="T80" fmla="*/ 2 w 19"/>
                <a:gd name="T81" fmla="*/ 3 h 10"/>
                <a:gd name="T82" fmla="*/ 2 w 19"/>
                <a:gd name="T83" fmla="*/ 2 h 10"/>
                <a:gd name="T84" fmla="*/ 6 w 19"/>
                <a:gd name="T85" fmla="*/ 1 h 10"/>
                <a:gd name="T86" fmla="*/ 6 w 19"/>
                <a:gd name="T87" fmla="*/ 2 h 10"/>
                <a:gd name="T88" fmla="*/ 8 w 19"/>
                <a:gd name="T89" fmla="*/ 2 h 10"/>
                <a:gd name="T90" fmla="*/ 8 w 19"/>
                <a:gd name="T91" fmla="*/ 2 h 10"/>
                <a:gd name="T92" fmla="*/ 8 w 19"/>
                <a:gd name="T93" fmla="*/ 2 h 10"/>
                <a:gd name="T94" fmla="*/ 8 w 19"/>
                <a:gd name="T95" fmla="*/ 1 h 10"/>
                <a:gd name="T96" fmla="*/ 7 w 19"/>
                <a:gd name="T97" fmla="*/ 1 h 10"/>
                <a:gd name="T98" fmla="*/ 7 w 19"/>
                <a:gd name="T99" fmla="*/ 1 h 10"/>
                <a:gd name="T100" fmla="*/ 7 w 19"/>
                <a:gd name="T101" fmla="*/ 1 h 10"/>
                <a:gd name="T102" fmla="*/ 7 w 19"/>
                <a:gd name="T103" fmla="*/ 0 h 10"/>
                <a:gd name="T104" fmla="*/ 8 w 19"/>
                <a:gd name="T105"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 h="10">
                  <a:moveTo>
                    <a:pt x="11" y="10"/>
                  </a:moveTo>
                  <a:lnTo>
                    <a:pt x="11" y="10"/>
                  </a:lnTo>
                  <a:lnTo>
                    <a:pt x="11" y="10"/>
                  </a:lnTo>
                  <a:lnTo>
                    <a:pt x="11" y="10"/>
                  </a:lnTo>
                  <a:lnTo>
                    <a:pt x="11" y="10"/>
                  </a:lnTo>
                  <a:lnTo>
                    <a:pt x="11" y="10"/>
                  </a:lnTo>
                  <a:lnTo>
                    <a:pt x="11" y="10"/>
                  </a:lnTo>
                  <a:close/>
                  <a:moveTo>
                    <a:pt x="12" y="10"/>
                  </a:moveTo>
                  <a:lnTo>
                    <a:pt x="11" y="10"/>
                  </a:lnTo>
                  <a:lnTo>
                    <a:pt x="11" y="10"/>
                  </a:lnTo>
                  <a:lnTo>
                    <a:pt x="11" y="10"/>
                  </a:lnTo>
                  <a:lnTo>
                    <a:pt x="12" y="10"/>
                  </a:lnTo>
                  <a:lnTo>
                    <a:pt x="12" y="10"/>
                  </a:lnTo>
                  <a:close/>
                  <a:moveTo>
                    <a:pt x="18" y="10"/>
                  </a:moveTo>
                  <a:lnTo>
                    <a:pt x="16" y="10"/>
                  </a:lnTo>
                  <a:lnTo>
                    <a:pt x="16" y="10"/>
                  </a:lnTo>
                  <a:lnTo>
                    <a:pt x="16" y="10"/>
                  </a:lnTo>
                  <a:lnTo>
                    <a:pt x="18" y="10"/>
                  </a:lnTo>
                  <a:lnTo>
                    <a:pt x="18" y="10"/>
                  </a:lnTo>
                  <a:lnTo>
                    <a:pt x="18" y="10"/>
                  </a:lnTo>
                  <a:lnTo>
                    <a:pt x="18" y="10"/>
                  </a:lnTo>
                  <a:close/>
                  <a:moveTo>
                    <a:pt x="19" y="8"/>
                  </a:moveTo>
                  <a:lnTo>
                    <a:pt x="18" y="9"/>
                  </a:lnTo>
                  <a:lnTo>
                    <a:pt x="18" y="8"/>
                  </a:lnTo>
                  <a:lnTo>
                    <a:pt x="18" y="8"/>
                  </a:lnTo>
                  <a:lnTo>
                    <a:pt x="18" y="8"/>
                  </a:lnTo>
                  <a:lnTo>
                    <a:pt x="19" y="7"/>
                  </a:lnTo>
                  <a:lnTo>
                    <a:pt x="19" y="8"/>
                  </a:lnTo>
                  <a:lnTo>
                    <a:pt x="19" y="8"/>
                  </a:lnTo>
                  <a:lnTo>
                    <a:pt x="19" y="8"/>
                  </a:lnTo>
                  <a:close/>
                  <a:moveTo>
                    <a:pt x="13" y="7"/>
                  </a:moveTo>
                  <a:lnTo>
                    <a:pt x="13" y="8"/>
                  </a:lnTo>
                  <a:lnTo>
                    <a:pt x="13" y="8"/>
                  </a:lnTo>
                  <a:lnTo>
                    <a:pt x="13" y="8"/>
                  </a:lnTo>
                  <a:lnTo>
                    <a:pt x="13" y="8"/>
                  </a:lnTo>
                  <a:lnTo>
                    <a:pt x="13" y="7"/>
                  </a:lnTo>
                  <a:lnTo>
                    <a:pt x="13" y="7"/>
                  </a:lnTo>
                  <a:lnTo>
                    <a:pt x="13" y="7"/>
                  </a:lnTo>
                  <a:lnTo>
                    <a:pt x="13" y="7"/>
                  </a:lnTo>
                  <a:lnTo>
                    <a:pt x="13" y="7"/>
                  </a:lnTo>
                  <a:lnTo>
                    <a:pt x="13" y="7"/>
                  </a:lnTo>
                  <a:lnTo>
                    <a:pt x="13" y="7"/>
                  </a:lnTo>
                  <a:lnTo>
                    <a:pt x="13" y="7"/>
                  </a:lnTo>
                  <a:lnTo>
                    <a:pt x="13" y="7"/>
                  </a:lnTo>
                  <a:close/>
                  <a:moveTo>
                    <a:pt x="0" y="5"/>
                  </a:moveTo>
                  <a:lnTo>
                    <a:pt x="0" y="5"/>
                  </a:lnTo>
                  <a:lnTo>
                    <a:pt x="0" y="5"/>
                  </a:lnTo>
                  <a:lnTo>
                    <a:pt x="0" y="5"/>
                  </a:lnTo>
                  <a:lnTo>
                    <a:pt x="0" y="4"/>
                  </a:lnTo>
                  <a:lnTo>
                    <a:pt x="0" y="4"/>
                  </a:lnTo>
                  <a:lnTo>
                    <a:pt x="0" y="4"/>
                  </a:lnTo>
                  <a:lnTo>
                    <a:pt x="1" y="4"/>
                  </a:lnTo>
                  <a:lnTo>
                    <a:pt x="1" y="4"/>
                  </a:lnTo>
                  <a:lnTo>
                    <a:pt x="0" y="5"/>
                  </a:lnTo>
                  <a:close/>
                  <a:moveTo>
                    <a:pt x="14" y="4"/>
                  </a:moveTo>
                  <a:lnTo>
                    <a:pt x="14" y="4"/>
                  </a:lnTo>
                  <a:lnTo>
                    <a:pt x="14" y="4"/>
                  </a:lnTo>
                  <a:lnTo>
                    <a:pt x="14" y="4"/>
                  </a:lnTo>
                  <a:lnTo>
                    <a:pt x="13" y="4"/>
                  </a:lnTo>
                  <a:lnTo>
                    <a:pt x="13" y="3"/>
                  </a:lnTo>
                  <a:lnTo>
                    <a:pt x="13" y="3"/>
                  </a:lnTo>
                  <a:lnTo>
                    <a:pt x="13" y="3"/>
                  </a:lnTo>
                  <a:lnTo>
                    <a:pt x="13" y="3"/>
                  </a:lnTo>
                  <a:lnTo>
                    <a:pt x="13" y="3"/>
                  </a:lnTo>
                  <a:lnTo>
                    <a:pt x="13" y="3"/>
                  </a:lnTo>
                  <a:lnTo>
                    <a:pt x="13" y="3"/>
                  </a:lnTo>
                  <a:lnTo>
                    <a:pt x="13" y="3"/>
                  </a:lnTo>
                  <a:lnTo>
                    <a:pt x="14" y="3"/>
                  </a:lnTo>
                  <a:lnTo>
                    <a:pt x="14" y="4"/>
                  </a:lnTo>
                  <a:lnTo>
                    <a:pt x="14" y="4"/>
                  </a:lnTo>
                  <a:lnTo>
                    <a:pt x="14" y="4"/>
                  </a:lnTo>
                  <a:lnTo>
                    <a:pt x="14" y="4"/>
                  </a:lnTo>
                  <a:close/>
                  <a:moveTo>
                    <a:pt x="9" y="2"/>
                  </a:moveTo>
                  <a:lnTo>
                    <a:pt x="9" y="2"/>
                  </a:lnTo>
                  <a:lnTo>
                    <a:pt x="9" y="2"/>
                  </a:lnTo>
                  <a:lnTo>
                    <a:pt x="11" y="2"/>
                  </a:lnTo>
                  <a:lnTo>
                    <a:pt x="11" y="2"/>
                  </a:lnTo>
                  <a:lnTo>
                    <a:pt x="12" y="2"/>
                  </a:lnTo>
                  <a:lnTo>
                    <a:pt x="12" y="2"/>
                  </a:lnTo>
                  <a:lnTo>
                    <a:pt x="12" y="2"/>
                  </a:lnTo>
                  <a:lnTo>
                    <a:pt x="12" y="2"/>
                  </a:lnTo>
                  <a:lnTo>
                    <a:pt x="12" y="3"/>
                  </a:lnTo>
                  <a:lnTo>
                    <a:pt x="12" y="3"/>
                  </a:lnTo>
                  <a:lnTo>
                    <a:pt x="12" y="3"/>
                  </a:lnTo>
                  <a:lnTo>
                    <a:pt x="12" y="2"/>
                  </a:lnTo>
                  <a:lnTo>
                    <a:pt x="12" y="2"/>
                  </a:lnTo>
                  <a:lnTo>
                    <a:pt x="12" y="3"/>
                  </a:lnTo>
                  <a:lnTo>
                    <a:pt x="12" y="3"/>
                  </a:lnTo>
                  <a:lnTo>
                    <a:pt x="12" y="3"/>
                  </a:lnTo>
                  <a:lnTo>
                    <a:pt x="12" y="3"/>
                  </a:lnTo>
                  <a:lnTo>
                    <a:pt x="12" y="3"/>
                  </a:lnTo>
                  <a:lnTo>
                    <a:pt x="12" y="3"/>
                  </a:lnTo>
                  <a:lnTo>
                    <a:pt x="11" y="3"/>
                  </a:lnTo>
                  <a:lnTo>
                    <a:pt x="11" y="3"/>
                  </a:lnTo>
                  <a:lnTo>
                    <a:pt x="11" y="3"/>
                  </a:lnTo>
                  <a:lnTo>
                    <a:pt x="11" y="3"/>
                  </a:lnTo>
                  <a:lnTo>
                    <a:pt x="11" y="3"/>
                  </a:lnTo>
                  <a:lnTo>
                    <a:pt x="9" y="3"/>
                  </a:lnTo>
                  <a:lnTo>
                    <a:pt x="9" y="3"/>
                  </a:lnTo>
                  <a:lnTo>
                    <a:pt x="9" y="3"/>
                  </a:lnTo>
                  <a:lnTo>
                    <a:pt x="9" y="2"/>
                  </a:lnTo>
                  <a:lnTo>
                    <a:pt x="9" y="2"/>
                  </a:lnTo>
                  <a:lnTo>
                    <a:pt x="9" y="2"/>
                  </a:lnTo>
                  <a:lnTo>
                    <a:pt x="9" y="2"/>
                  </a:lnTo>
                  <a:lnTo>
                    <a:pt x="9" y="2"/>
                  </a:lnTo>
                  <a:lnTo>
                    <a:pt x="9" y="2"/>
                  </a:lnTo>
                  <a:lnTo>
                    <a:pt x="9" y="2"/>
                  </a:lnTo>
                  <a:close/>
                  <a:moveTo>
                    <a:pt x="6" y="2"/>
                  </a:moveTo>
                  <a:lnTo>
                    <a:pt x="6" y="2"/>
                  </a:lnTo>
                  <a:lnTo>
                    <a:pt x="5" y="2"/>
                  </a:lnTo>
                  <a:lnTo>
                    <a:pt x="6" y="2"/>
                  </a:lnTo>
                  <a:lnTo>
                    <a:pt x="6" y="2"/>
                  </a:lnTo>
                  <a:lnTo>
                    <a:pt x="6" y="2"/>
                  </a:lnTo>
                  <a:close/>
                  <a:moveTo>
                    <a:pt x="2" y="2"/>
                  </a:moveTo>
                  <a:lnTo>
                    <a:pt x="4" y="3"/>
                  </a:lnTo>
                  <a:lnTo>
                    <a:pt x="4" y="3"/>
                  </a:lnTo>
                  <a:lnTo>
                    <a:pt x="4" y="3"/>
                  </a:lnTo>
                  <a:lnTo>
                    <a:pt x="5" y="3"/>
                  </a:lnTo>
                  <a:lnTo>
                    <a:pt x="5" y="3"/>
                  </a:lnTo>
                  <a:lnTo>
                    <a:pt x="5" y="2"/>
                  </a:lnTo>
                  <a:lnTo>
                    <a:pt x="5" y="2"/>
                  </a:lnTo>
                  <a:lnTo>
                    <a:pt x="5" y="2"/>
                  </a:lnTo>
                  <a:lnTo>
                    <a:pt x="6" y="2"/>
                  </a:lnTo>
                  <a:lnTo>
                    <a:pt x="5" y="2"/>
                  </a:lnTo>
                  <a:lnTo>
                    <a:pt x="5" y="3"/>
                  </a:lnTo>
                  <a:lnTo>
                    <a:pt x="5" y="3"/>
                  </a:lnTo>
                  <a:lnTo>
                    <a:pt x="5" y="3"/>
                  </a:lnTo>
                  <a:lnTo>
                    <a:pt x="5" y="3"/>
                  </a:lnTo>
                  <a:lnTo>
                    <a:pt x="5" y="3"/>
                  </a:lnTo>
                  <a:lnTo>
                    <a:pt x="5" y="3"/>
                  </a:lnTo>
                  <a:lnTo>
                    <a:pt x="5" y="3"/>
                  </a:lnTo>
                  <a:lnTo>
                    <a:pt x="5" y="3"/>
                  </a:lnTo>
                  <a:lnTo>
                    <a:pt x="5" y="3"/>
                  </a:lnTo>
                  <a:lnTo>
                    <a:pt x="5" y="3"/>
                  </a:lnTo>
                  <a:lnTo>
                    <a:pt x="4" y="3"/>
                  </a:lnTo>
                  <a:lnTo>
                    <a:pt x="4" y="3"/>
                  </a:lnTo>
                  <a:lnTo>
                    <a:pt x="4" y="3"/>
                  </a:lnTo>
                  <a:lnTo>
                    <a:pt x="4" y="3"/>
                  </a:lnTo>
                  <a:lnTo>
                    <a:pt x="2" y="3"/>
                  </a:lnTo>
                  <a:lnTo>
                    <a:pt x="2" y="3"/>
                  </a:lnTo>
                  <a:lnTo>
                    <a:pt x="2" y="3"/>
                  </a:lnTo>
                  <a:lnTo>
                    <a:pt x="2" y="3"/>
                  </a:lnTo>
                  <a:lnTo>
                    <a:pt x="4" y="3"/>
                  </a:lnTo>
                  <a:lnTo>
                    <a:pt x="4" y="3"/>
                  </a:lnTo>
                  <a:lnTo>
                    <a:pt x="4" y="3"/>
                  </a:lnTo>
                  <a:lnTo>
                    <a:pt x="4"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2"/>
                  </a:lnTo>
                  <a:lnTo>
                    <a:pt x="2" y="2"/>
                  </a:lnTo>
                  <a:lnTo>
                    <a:pt x="2" y="2"/>
                  </a:lnTo>
                  <a:lnTo>
                    <a:pt x="2" y="3"/>
                  </a:lnTo>
                  <a:lnTo>
                    <a:pt x="2" y="2"/>
                  </a:lnTo>
                  <a:lnTo>
                    <a:pt x="2" y="2"/>
                  </a:lnTo>
                  <a:lnTo>
                    <a:pt x="2" y="2"/>
                  </a:lnTo>
                  <a:lnTo>
                    <a:pt x="2" y="2"/>
                  </a:lnTo>
                  <a:close/>
                  <a:moveTo>
                    <a:pt x="6" y="2"/>
                  </a:moveTo>
                  <a:lnTo>
                    <a:pt x="6" y="2"/>
                  </a:lnTo>
                  <a:lnTo>
                    <a:pt x="6" y="2"/>
                  </a:lnTo>
                  <a:lnTo>
                    <a:pt x="6" y="1"/>
                  </a:lnTo>
                  <a:lnTo>
                    <a:pt x="6" y="1"/>
                  </a:lnTo>
                  <a:lnTo>
                    <a:pt x="6" y="1"/>
                  </a:lnTo>
                  <a:lnTo>
                    <a:pt x="6" y="2"/>
                  </a:lnTo>
                  <a:lnTo>
                    <a:pt x="6" y="2"/>
                  </a:lnTo>
                  <a:close/>
                  <a:moveTo>
                    <a:pt x="8" y="1"/>
                  </a:moveTo>
                  <a:lnTo>
                    <a:pt x="8" y="1"/>
                  </a:lnTo>
                  <a:lnTo>
                    <a:pt x="8" y="1"/>
                  </a:lnTo>
                  <a:lnTo>
                    <a:pt x="8" y="2"/>
                  </a:lnTo>
                  <a:lnTo>
                    <a:pt x="8" y="2"/>
                  </a:lnTo>
                  <a:lnTo>
                    <a:pt x="9" y="2"/>
                  </a:lnTo>
                  <a:lnTo>
                    <a:pt x="8" y="2"/>
                  </a:lnTo>
                  <a:lnTo>
                    <a:pt x="8" y="2"/>
                  </a:lnTo>
                  <a:lnTo>
                    <a:pt x="8" y="2"/>
                  </a:lnTo>
                  <a:lnTo>
                    <a:pt x="8" y="2"/>
                  </a:lnTo>
                  <a:lnTo>
                    <a:pt x="8" y="2"/>
                  </a:lnTo>
                  <a:lnTo>
                    <a:pt x="8" y="2"/>
                  </a:lnTo>
                  <a:lnTo>
                    <a:pt x="8" y="2"/>
                  </a:lnTo>
                  <a:lnTo>
                    <a:pt x="8" y="2"/>
                  </a:lnTo>
                  <a:lnTo>
                    <a:pt x="8" y="1"/>
                  </a:lnTo>
                  <a:lnTo>
                    <a:pt x="8" y="1"/>
                  </a:lnTo>
                  <a:lnTo>
                    <a:pt x="8" y="1"/>
                  </a:lnTo>
                  <a:lnTo>
                    <a:pt x="8" y="1"/>
                  </a:lnTo>
                  <a:lnTo>
                    <a:pt x="8" y="1"/>
                  </a:lnTo>
                  <a:lnTo>
                    <a:pt x="7" y="1"/>
                  </a:lnTo>
                  <a:lnTo>
                    <a:pt x="7" y="1"/>
                  </a:lnTo>
                  <a:lnTo>
                    <a:pt x="7" y="1"/>
                  </a:lnTo>
                  <a:lnTo>
                    <a:pt x="7" y="1"/>
                  </a:lnTo>
                  <a:lnTo>
                    <a:pt x="7" y="1"/>
                  </a:lnTo>
                  <a:lnTo>
                    <a:pt x="7" y="1"/>
                  </a:lnTo>
                  <a:lnTo>
                    <a:pt x="7" y="1"/>
                  </a:lnTo>
                  <a:lnTo>
                    <a:pt x="7" y="1"/>
                  </a:lnTo>
                  <a:lnTo>
                    <a:pt x="7" y="1"/>
                  </a:lnTo>
                  <a:lnTo>
                    <a:pt x="7" y="1"/>
                  </a:lnTo>
                  <a:lnTo>
                    <a:pt x="7" y="1"/>
                  </a:lnTo>
                  <a:lnTo>
                    <a:pt x="7" y="0"/>
                  </a:lnTo>
                  <a:lnTo>
                    <a:pt x="7" y="0"/>
                  </a:lnTo>
                  <a:lnTo>
                    <a:pt x="8" y="0"/>
                  </a:lnTo>
                  <a:lnTo>
                    <a:pt x="8" y="0"/>
                  </a:lnTo>
                  <a:lnTo>
                    <a:pt x="8" y="0"/>
                  </a:lnTo>
                  <a:lnTo>
                    <a:pt x="8" y="1"/>
                  </a:lnTo>
                  <a:lnTo>
                    <a:pt x="8"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55" name="Freeform 1014">
              <a:extLst>
                <a:ext uri="{FF2B5EF4-FFF2-40B4-BE49-F238E27FC236}">
                  <a16:creationId xmlns:a16="http://schemas.microsoft.com/office/drawing/2014/main" id="{0AFBF94B-D9C1-4F20-8064-320BF31C8D57}"/>
                </a:ext>
              </a:extLst>
            </p:cNvPr>
            <p:cNvSpPr>
              <a:spLocks/>
            </p:cNvSpPr>
            <p:nvPr/>
          </p:nvSpPr>
          <p:spPr bwMode="auto">
            <a:xfrm>
              <a:off x="6053493" y="2851727"/>
              <a:ext cx="194981" cy="337879"/>
            </a:xfrm>
            <a:custGeom>
              <a:avLst/>
              <a:gdLst>
                <a:gd name="T0" fmla="*/ 145 w 146"/>
                <a:gd name="T1" fmla="*/ 96 h 253"/>
                <a:gd name="T2" fmla="*/ 142 w 146"/>
                <a:gd name="T3" fmla="*/ 123 h 253"/>
                <a:gd name="T4" fmla="*/ 132 w 146"/>
                <a:gd name="T5" fmla="*/ 127 h 253"/>
                <a:gd name="T6" fmla="*/ 128 w 146"/>
                <a:gd name="T7" fmla="*/ 138 h 253"/>
                <a:gd name="T8" fmla="*/ 127 w 146"/>
                <a:gd name="T9" fmla="*/ 147 h 253"/>
                <a:gd name="T10" fmla="*/ 123 w 146"/>
                <a:gd name="T11" fmla="*/ 157 h 253"/>
                <a:gd name="T12" fmla="*/ 119 w 146"/>
                <a:gd name="T13" fmla="*/ 165 h 253"/>
                <a:gd name="T14" fmla="*/ 121 w 146"/>
                <a:gd name="T15" fmla="*/ 171 h 253"/>
                <a:gd name="T16" fmla="*/ 127 w 146"/>
                <a:gd name="T17" fmla="*/ 181 h 253"/>
                <a:gd name="T18" fmla="*/ 131 w 146"/>
                <a:gd name="T19" fmla="*/ 190 h 253"/>
                <a:gd name="T20" fmla="*/ 130 w 146"/>
                <a:gd name="T21" fmla="*/ 197 h 253"/>
                <a:gd name="T22" fmla="*/ 123 w 146"/>
                <a:gd name="T23" fmla="*/ 200 h 253"/>
                <a:gd name="T24" fmla="*/ 117 w 146"/>
                <a:gd name="T25" fmla="*/ 203 h 253"/>
                <a:gd name="T26" fmla="*/ 112 w 146"/>
                <a:gd name="T27" fmla="*/ 213 h 253"/>
                <a:gd name="T28" fmla="*/ 106 w 146"/>
                <a:gd name="T29" fmla="*/ 221 h 253"/>
                <a:gd name="T30" fmla="*/ 99 w 146"/>
                <a:gd name="T31" fmla="*/ 225 h 253"/>
                <a:gd name="T32" fmla="*/ 95 w 146"/>
                <a:gd name="T33" fmla="*/ 227 h 253"/>
                <a:gd name="T34" fmla="*/ 84 w 146"/>
                <a:gd name="T35" fmla="*/ 229 h 253"/>
                <a:gd name="T36" fmla="*/ 78 w 146"/>
                <a:gd name="T37" fmla="*/ 232 h 253"/>
                <a:gd name="T38" fmla="*/ 76 w 146"/>
                <a:gd name="T39" fmla="*/ 241 h 253"/>
                <a:gd name="T40" fmla="*/ 61 w 146"/>
                <a:gd name="T41" fmla="*/ 245 h 253"/>
                <a:gd name="T42" fmla="*/ 53 w 146"/>
                <a:gd name="T43" fmla="*/ 250 h 253"/>
                <a:gd name="T44" fmla="*/ 46 w 146"/>
                <a:gd name="T45" fmla="*/ 250 h 253"/>
                <a:gd name="T46" fmla="*/ 40 w 146"/>
                <a:gd name="T47" fmla="*/ 251 h 253"/>
                <a:gd name="T48" fmla="*/ 32 w 146"/>
                <a:gd name="T49" fmla="*/ 250 h 253"/>
                <a:gd name="T50" fmla="*/ 25 w 146"/>
                <a:gd name="T51" fmla="*/ 235 h 253"/>
                <a:gd name="T52" fmla="*/ 10 w 146"/>
                <a:gd name="T53" fmla="*/ 221 h 253"/>
                <a:gd name="T54" fmla="*/ 25 w 146"/>
                <a:gd name="T55" fmla="*/ 214 h 253"/>
                <a:gd name="T56" fmla="*/ 27 w 146"/>
                <a:gd name="T57" fmla="*/ 208 h 253"/>
                <a:gd name="T58" fmla="*/ 24 w 146"/>
                <a:gd name="T59" fmla="*/ 197 h 253"/>
                <a:gd name="T60" fmla="*/ 24 w 146"/>
                <a:gd name="T61" fmla="*/ 187 h 253"/>
                <a:gd name="T62" fmla="*/ 24 w 146"/>
                <a:gd name="T63" fmla="*/ 180 h 253"/>
                <a:gd name="T64" fmla="*/ 19 w 146"/>
                <a:gd name="T65" fmla="*/ 171 h 253"/>
                <a:gd name="T66" fmla="*/ 17 w 146"/>
                <a:gd name="T67" fmla="*/ 166 h 253"/>
                <a:gd name="T68" fmla="*/ 14 w 146"/>
                <a:gd name="T69" fmla="*/ 164 h 253"/>
                <a:gd name="T70" fmla="*/ 3 w 146"/>
                <a:gd name="T71" fmla="*/ 154 h 253"/>
                <a:gd name="T72" fmla="*/ 0 w 146"/>
                <a:gd name="T73" fmla="*/ 143 h 253"/>
                <a:gd name="T74" fmla="*/ 6 w 146"/>
                <a:gd name="T75" fmla="*/ 134 h 253"/>
                <a:gd name="T76" fmla="*/ 11 w 146"/>
                <a:gd name="T77" fmla="*/ 125 h 253"/>
                <a:gd name="T78" fmla="*/ 18 w 146"/>
                <a:gd name="T79" fmla="*/ 116 h 253"/>
                <a:gd name="T80" fmla="*/ 27 w 146"/>
                <a:gd name="T81" fmla="*/ 106 h 253"/>
                <a:gd name="T82" fmla="*/ 28 w 146"/>
                <a:gd name="T83" fmla="*/ 95 h 253"/>
                <a:gd name="T84" fmla="*/ 30 w 146"/>
                <a:gd name="T85" fmla="*/ 83 h 253"/>
                <a:gd name="T86" fmla="*/ 30 w 146"/>
                <a:gd name="T87" fmla="*/ 71 h 253"/>
                <a:gd name="T88" fmla="*/ 31 w 146"/>
                <a:gd name="T89" fmla="*/ 61 h 253"/>
                <a:gd name="T90" fmla="*/ 33 w 146"/>
                <a:gd name="T91" fmla="*/ 50 h 253"/>
                <a:gd name="T92" fmla="*/ 27 w 146"/>
                <a:gd name="T93" fmla="*/ 42 h 253"/>
                <a:gd name="T94" fmla="*/ 25 w 146"/>
                <a:gd name="T95" fmla="*/ 33 h 253"/>
                <a:gd name="T96" fmla="*/ 23 w 146"/>
                <a:gd name="T97" fmla="*/ 24 h 253"/>
                <a:gd name="T98" fmla="*/ 20 w 146"/>
                <a:gd name="T99" fmla="*/ 12 h 253"/>
                <a:gd name="T100" fmla="*/ 25 w 146"/>
                <a:gd name="T101" fmla="*/ 5 h 253"/>
                <a:gd name="T102" fmla="*/ 38 w 146"/>
                <a:gd name="T103" fmla="*/ 4 h 253"/>
                <a:gd name="T104" fmla="*/ 54 w 146"/>
                <a:gd name="T105" fmla="*/ 13 h 253"/>
                <a:gd name="T106" fmla="*/ 71 w 146"/>
                <a:gd name="T107" fmla="*/ 22 h 253"/>
                <a:gd name="T108" fmla="*/ 89 w 146"/>
                <a:gd name="T109" fmla="*/ 32 h 253"/>
                <a:gd name="T110" fmla="*/ 106 w 146"/>
                <a:gd name="T111" fmla="*/ 42 h 253"/>
                <a:gd name="T112" fmla="*/ 124 w 146"/>
                <a:gd name="T113" fmla="*/ 52 h 253"/>
                <a:gd name="T114" fmla="*/ 140 w 146"/>
                <a:gd name="T115" fmla="*/ 61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6" h="253">
                  <a:moveTo>
                    <a:pt x="144" y="63"/>
                  </a:moveTo>
                  <a:lnTo>
                    <a:pt x="144" y="67"/>
                  </a:lnTo>
                  <a:lnTo>
                    <a:pt x="145" y="70"/>
                  </a:lnTo>
                  <a:lnTo>
                    <a:pt x="145" y="74"/>
                  </a:lnTo>
                  <a:lnTo>
                    <a:pt x="145" y="77"/>
                  </a:lnTo>
                  <a:lnTo>
                    <a:pt x="145" y="82"/>
                  </a:lnTo>
                  <a:lnTo>
                    <a:pt x="145" y="85"/>
                  </a:lnTo>
                  <a:lnTo>
                    <a:pt x="145" y="89"/>
                  </a:lnTo>
                  <a:lnTo>
                    <a:pt x="145" y="92"/>
                  </a:lnTo>
                  <a:lnTo>
                    <a:pt x="145" y="96"/>
                  </a:lnTo>
                  <a:lnTo>
                    <a:pt x="145" y="99"/>
                  </a:lnTo>
                  <a:lnTo>
                    <a:pt x="146" y="103"/>
                  </a:lnTo>
                  <a:lnTo>
                    <a:pt x="146" y="108"/>
                  </a:lnTo>
                  <a:lnTo>
                    <a:pt x="146" y="111"/>
                  </a:lnTo>
                  <a:lnTo>
                    <a:pt x="146" y="115"/>
                  </a:lnTo>
                  <a:lnTo>
                    <a:pt x="146" y="118"/>
                  </a:lnTo>
                  <a:lnTo>
                    <a:pt x="146" y="122"/>
                  </a:lnTo>
                  <a:lnTo>
                    <a:pt x="146" y="123"/>
                  </a:lnTo>
                  <a:lnTo>
                    <a:pt x="144" y="123"/>
                  </a:lnTo>
                  <a:lnTo>
                    <a:pt x="142" y="123"/>
                  </a:lnTo>
                  <a:lnTo>
                    <a:pt x="140" y="123"/>
                  </a:lnTo>
                  <a:lnTo>
                    <a:pt x="138" y="123"/>
                  </a:lnTo>
                  <a:lnTo>
                    <a:pt x="137" y="124"/>
                  </a:lnTo>
                  <a:lnTo>
                    <a:pt x="134" y="123"/>
                  </a:lnTo>
                  <a:lnTo>
                    <a:pt x="133" y="124"/>
                  </a:lnTo>
                  <a:lnTo>
                    <a:pt x="133" y="125"/>
                  </a:lnTo>
                  <a:lnTo>
                    <a:pt x="132" y="125"/>
                  </a:lnTo>
                  <a:lnTo>
                    <a:pt x="131" y="125"/>
                  </a:lnTo>
                  <a:lnTo>
                    <a:pt x="131" y="126"/>
                  </a:lnTo>
                  <a:lnTo>
                    <a:pt x="132" y="127"/>
                  </a:lnTo>
                  <a:lnTo>
                    <a:pt x="132" y="129"/>
                  </a:lnTo>
                  <a:lnTo>
                    <a:pt x="132" y="131"/>
                  </a:lnTo>
                  <a:lnTo>
                    <a:pt x="132" y="132"/>
                  </a:lnTo>
                  <a:lnTo>
                    <a:pt x="131" y="132"/>
                  </a:lnTo>
                  <a:lnTo>
                    <a:pt x="131" y="133"/>
                  </a:lnTo>
                  <a:lnTo>
                    <a:pt x="130" y="134"/>
                  </a:lnTo>
                  <a:lnTo>
                    <a:pt x="128" y="134"/>
                  </a:lnTo>
                  <a:lnTo>
                    <a:pt x="128" y="136"/>
                  </a:lnTo>
                  <a:lnTo>
                    <a:pt x="128" y="137"/>
                  </a:lnTo>
                  <a:lnTo>
                    <a:pt x="128" y="138"/>
                  </a:lnTo>
                  <a:lnTo>
                    <a:pt x="128" y="139"/>
                  </a:lnTo>
                  <a:lnTo>
                    <a:pt x="125" y="140"/>
                  </a:lnTo>
                  <a:lnTo>
                    <a:pt x="125" y="141"/>
                  </a:lnTo>
                  <a:lnTo>
                    <a:pt x="124" y="141"/>
                  </a:lnTo>
                  <a:lnTo>
                    <a:pt x="125" y="143"/>
                  </a:lnTo>
                  <a:lnTo>
                    <a:pt x="125" y="144"/>
                  </a:lnTo>
                  <a:lnTo>
                    <a:pt x="125" y="145"/>
                  </a:lnTo>
                  <a:lnTo>
                    <a:pt x="125" y="146"/>
                  </a:lnTo>
                  <a:lnTo>
                    <a:pt x="126" y="146"/>
                  </a:lnTo>
                  <a:lnTo>
                    <a:pt x="127" y="147"/>
                  </a:lnTo>
                  <a:lnTo>
                    <a:pt x="127" y="148"/>
                  </a:lnTo>
                  <a:lnTo>
                    <a:pt x="126" y="148"/>
                  </a:lnTo>
                  <a:lnTo>
                    <a:pt x="125" y="150"/>
                  </a:lnTo>
                  <a:lnTo>
                    <a:pt x="123" y="151"/>
                  </a:lnTo>
                  <a:lnTo>
                    <a:pt x="121" y="151"/>
                  </a:lnTo>
                  <a:lnTo>
                    <a:pt x="120" y="153"/>
                  </a:lnTo>
                  <a:lnTo>
                    <a:pt x="120" y="154"/>
                  </a:lnTo>
                  <a:lnTo>
                    <a:pt x="121" y="154"/>
                  </a:lnTo>
                  <a:lnTo>
                    <a:pt x="121" y="155"/>
                  </a:lnTo>
                  <a:lnTo>
                    <a:pt x="123" y="157"/>
                  </a:lnTo>
                  <a:lnTo>
                    <a:pt x="123" y="158"/>
                  </a:lnTo>
                  <a:lnTo>
                    <a:pt x="123" y="159"/>
                  </a:lnTo>
                  <a:lnTo>
                    <a:pt x="123" y="160"/>
                  </a:lnTo>
                  <a:lnTo>
                    <a:pt x="124" y="160"/>
                  </a:lnTo>
                  <a:lnTo>
                    <a:pt x="123" y="161"/>
                  </a:lnTo>
                  <a:lnTo>
                    <a:pt x="121" y="162"/>
                  </a:lnTo>
                  <a:lnTo>
                    <a:pt x="121" y="164"/>
                  </a:lnTo>
                  <a:lnTo>
                    <a:pt x="120" y="164"/>
                  </a:lnTo>
                  <a:lnTo>
                    <a:pt x="119" y="164"/>
                  </a:lnTo>
                  <a:lnTo>
                    <a:pt x="119" y="165"/>
                  </a:lnTo>
                  <a:lnTo>
                    <a:pt x="118" y="167"/>
                  </a:lnTo>
                  <a:lnTo>
                    <a:pt x="117" y="168"/>
                  </a:lnTo>
                  <a:lnTo>
                    <a:pt x="117" y="169"/>
                  </a:lnTo>
                  <a:lnTo>
                    <a:pt x="118" y="169"/>
                  </a:lnTo>
                  <a:lnTo>
                    <a:pt x="118" y="171"/>
                  </a:lnTo>
                  <a:lnTo>
                    <a:pt x="118" y="172"/>
                  </a:lnTo>
                  <a:lnTo>
                    <a:pt x="119" y="172"/>
                  </a:lnTo>
                  <a:lnTo>
                    <a:pt x="120" y="172"/>
                  </a:lnTo>
                  <a:lnTo>
                    <a:pt x="121" y="172"/>
                  </a:lnTo>
                  <a:lnTo>
                    <a:pt x="121" y="171"/>
                  </a:lnTo>
                  <a:lnTo>
                    <a:pt x="123" y="171"/>
                  </a:lnTo>
                  <a:lnTo>
                    <a:pt x="123" y="169"/>
                  </a:lnTo>
                  <a:lnTo>
                    <a:pt x="124" y="172"/>
                  </a:lnTo>
                  <a:lnTo>
                    <a:pt x="126" y="172"/>
                  </a:lnTo>
                  <a:lnTo>
                    <a:pt x="125" y="174"/>
                  </a:lnTo>
                  <a:lnTo>
                    <a:pt x="125" y="175"/>
                  </a:lnTo>
                  <a:lnTo>
                    <a:pt x="126" y="179"/>
                  </a:lnTo>
                  <a:lnTo>
                    <a:pt x="126" y="180"/>
                  </a:lnTo>
                  <a:lnTo>
                    <a:pt x="126" y="181"/>
                  </a:lnTo>
                  <a:lnTo>
                    <a:pt x="127" y="181"/>
                  </a:lnTo>
                  <a:lnTo>
                    <a:pt x="128" y="181"/>
                  </a:lnTo>
                  <a:lnTo>
                    <a:pt x="128" y="180"/>
                  </a:lnTo>
                  <a:lnTo>
                    <a:pt x="128" y="181"/>
                  </a:lnTo>
                  <a:lnTo>
                    <a:pt x="128" y="182"/>
                  </a:lnTo>
                  <a:lnTo>
                    <a:pt x="127" y="187"/>
                  </a:lnTo>
                  <a:lnTo>
                    <a:pt x="127" y="188"/>
                  </a:lnTo>
                  <a:lnTo>
                    <a:pt x="128" y="188"/>
                  </a:lnTo>
                  <a:lnTo>
                    <a:pt x="128" y="189"/>
                  </a:lnTo>
                  <a:lnTo>
                    <a:pt x="130" y="189"/>
                  </a:lnTo>
                  <a:lnTo>
                    <a:pt x="131" y="190"/>
                  </a:lnTo>
                  <a:lnTo>
                    <a:pt x="131" y="192"/>
                  </a:lnTo>
                  <a:lnTo>
                    <a:pt x="132" y="192"/>
                  </a:lnTo>
                  <a:lnTo>
                    <a:pt x="133" y="192"/>
                  </a:lnTo>
                  <a:lnTo>
                    <a:pt x="133" y="193"/>
                  </a:lnTo>
                  <a:lnTo>
                    <a:pt x="133" y="194"/>
                  </a:lnTo>
                  <a:lnTo>
                    <a:pt x="133" y="195"/>
                  </a:lnTo>
                  <a:lnTo>
                    <a:pt x="133" y="196"/>
                  </a:lnTo>
                  <a:lnTo>
                    <a:pt x="132" y="199"/>
                  </a:lnTo>
                  <a:lnTo>
                    <a:pt x="131" y="199"/>
                  </a:lnTo>
                  <a:lnTo>
                    <a:pt x="130" y="197"/>
                  </a:lnTo>
                  <a:lnTo>
                    <a:pt x="128" y="197"/>
                  </a:lnTo>
                  <a:lnTo>
                    <a:pt x="127" y="197"/>
                  </a:lnTo>
                  <a:lnTo>
                    <a:pt x="126" y="197"/>
                  </a:lnTo>
                  <a:lnTo>
                    <a:pt x="126" y="199"/>
                  </a:lnTo>
                  <a:lnTo>
                    <a:pt x="125" y="199"/>
                  </a:lnTo>
                  <a:lnTo>
                    <a:pt x="124" y="199"/>
                  </a:lnTo>
                  <a:lnTo>
                    <a:pt x="124" y="200"/>
                  </a:lnTo>
                  <a:lnTo>
                    <a:pt x="123" y="200"/>
                  </a:lnTo>
                  <a:lnTo>
                    <a:pt x="123" y="201"/>
                  </a:lnTo>
                  <a:lnTo>
                    <a:pt x="123" y="200"/>
                  </a:lnTo>
                  <a:lnTo>
                    <a:pt x="121" y="200"/>
                  </a:lnTo>
                  <a:lnTo>
                    <a:pt x="120" y="200"/>
                  </a:lnTo>
                  <a:lnTo>
                    <a:pt x="120" y="201"/>
                  </a:lnTo>
                  <a:lnTo>
                    <a:pt x="120" y="202"/>
                  </a:lnTo>
                  <a:lnTo>
                    <a:pt x="119" y="202"/>
                  </a:lnTo>
                  <a:lnTo>
                    <a:pt x="119" y="203"/>
                  </a:lnTo>
                  <a:lnTo>
                    <a:pt x="118" y="203"/>
                  </a:lnTo>
                  <a:lnTo>
                    <a:pt x="118" y="202"/>
                  </a:lnTo>
                  <a:lnTo>
                    <a:pt x="118" y="203"/>
                  </a:lnTo>
                  <a:lnTo>
                    <a:pt x="117" y="203"/>
                  </a:lnTo>
                  <a:lnTo>
                    <a:pt x="117" y="204"/>
                  </a:lnTo>
                  <a:lnTo>
                    <a:pt x="117" y="206"/>
                  </a:lnTo>
                  <a:lnTo>
                    <a:pt x="117" y="207"/>
                  </a:lnTo>
                  <a:lnTo>
                    <a:pt x="117" y="208"/>
                  </a:lnTo>
                  <a:lnTo>
                    <a:pt x="117" y="209"/>
                  </a:lnTo>
                  <a:lnTo>
                    <a:pt x="116" y="209"/>
                  </a:lnTo>
                  <a:lnTo>
                    <a:pt x="116" y="210"/>
                  </a:lnTo>
                  <a:lnTo>
                    <a:pt x="114" y="210"/>
                  </a:lnTo>
                  <a:lnTo>
                    <a:pt x="113" y="210"/>
                  </a:lnTo>
                  <a:lnTo>
                    <a:pt x="112" y="213"/>
                  </a:lnTo>
                  <a:lnTo>
                    <a:pt x="112" y="214"/>
                  </a:lnTo>
                  <a:lnTo>
                    <a:pt x="111" y="214"/>
                  </a:lnTo>
                  <a:lnTo>
                    <a:pt x="110" y="214"/>
                  </a:lnTo>
                  <a:lnTo>
                    <a:pt x="110" y="215"/>
                  </a:lnTo>
                  <a:lnTo>
                    <a:pt x="109" y="216"/>
                  </a:lnTo>
                  <a:lnTo>
                    <a:pt x="109" y="217"/>
                  </a:lnTo>
                  <a:lnTo>
                    <a:pt x="107" y="217"/>
                  </a:lnTo>
                  <a:lnTo>
                    <a:pt x="106" y="218"/>
                  </a:lnTo>
                  <a:lnTo>
                    <a:pt x="106" y="220"/>
                  </a:lnTo>
                  <a:lnTo>
                    <a:pt x="106" y="221"/>
                  </a:lnTo>
                  <a:lnTo>
                    <a:pt x="105" y="221"/>
                  </a:lnTo>
                  <a:lnTo>
                    <a:pt x="105" y="222"/>
                  </a:lnTo>
                  <a:lnTo>
                    <a:pt x="104" y="222"/>
                  </a:lnTo>
                  <a:lnTo>
                    <a:pt x="104" y="223"/>
                  </a:lnTo>
                  <a:lnTo>
                    <a:pt x="104" y="222"/>
                  </a:lnTo>
                  <a:lnTo>
                    <a:pt x="104" y="223"/>
                  </a:lnTo>
                  <a:lnTo>
                    <a:pt x="103" y="223"/>
                  </a:lnTo>
                  <a:lnTo>
                    <a:pt x="102" y="224"/>
                  </a:lnTo>
                  <a:lnTo>
                    <a:pt x="101" y="224"/>
                  </a:lnTo>
                  <a:lnTo>
                    <a:pt x="99" y="225"/>
                  </a:lnTo>
                  <a:lnTo>
                    <a:pt x="101" y="225"/>
                  </a:lnTo>
                  <a:lnTo>
                    <a:pt x="99" y="225"/>
                  </a:lnTo>
                  <a:lnTo>
                    <a:pt x="99" y="227"/>
                  </a:lnTo>
                  <a:lnTo>
                    <a:pt x="98" y="227"/>
                  </a:lnTo>
                  <a:lnTo>
                    <a:pt x="98" y="228"/>
                  </a:lnTo>
                  <a:lnTo>
                    <a:pt x="97" y="228"/>
                  </a:lnTo>
                  <a:lnTo>
                    <a:pt x="96" y="227"/>
                  </a:lnTo>
                  <a:lnTo>
                    <a:pt x="96" y="228"/>
                  </a:lnTo>
                  <a:lnTo>
                    <a:pt x="95" y="228"/>
                  </a:lnTo>
                  <a:lnTo>
                    <a:pt x="95" y="227"/>
                  </a:lnTo>
                  <a:lnTo>
                    <a:pt x="94" y="227"/>
                  </a:lnTo>
                  <a:lnTo>
                    <a:pt x="94" y="228"/>
                  </a:lnTo>
                  <a:lnTo>
                    <a:pt x="92" y="228"/>
                  </a:lnTo>
                  <a:lnTo>
                    <a:pt x="91" y="229"/>
                  </a:lnTo>
                  <a:lnTo>
                    <a:pt x="90" y="229"/>
                  </a:lnTo>
                  <a:lnTo>
                    <a:pt x="89" y="229"/>
                  </a:lnTo>
                  <a:lnTo>
                    <a:pt x="88" y="229"/>
                  </a:lnTo>
                  <a:lnTo>
                    <a:pt x="87" y="229"/>
                  </a:lnTo>
                  <a:lnTo>
                    <a:pt x="85" y="229"/>
                  </a:lnTo>
                  <a:lnTo>
                    <a:pt x="84" y="229"/>
                  </a:lnTo>
                  <a:lnTo>
                    <a:pt x="83" y="229"/>
                  </a:lnTo>
                  <a:lnTo>
                    <a:pt x="82" y="229"/>
                  </a:lnTo>
                  <a:lnTo>
                    <a:pt x="81" y="229"/>
                  </a:lnTo>
                  <a:lnTo>
                    <a:pt x="80" y="229"/>
                  </a:lnTo>
                  <a:lnTo>
                    <a:pt x="80" y="230"/>
                  </a:lnTo>
                  <a:lnTo>
                    <a:pt x="78" y="230"/>
                  </a:lnTo>
                  <a:lnTo>
                    <a:pt x="78" y="231"/>
                  </a:lnTo>
                  <a:lnTo>
                    <a:pt x="77" y="231"/>
                  </a:lnTo>
                  <a:lnTo>
                    <a:pt x="78" y="231"/>
                  </a:lnTo>
                  <a:lnTo>
                    <a:pt x="78" y="232"/>
                  </a:lnTo>
                  <a:lnTo>
                    <a:pt x="80" y="234"/>
                  </a:lnTo>
                  <a:lnTo>
                    <a:pt x="81" y="234"/>
                  </a:lnTo>
                  <a:lnTo>
                    <a:pt x="81" y="235"/>
                  </a:lnTo>
                  <a:lnTo>
                    <a:pt x="80" y="235"/>
                  </a:lnTo>
                  <a:lnTo>
                    <a:pt x="80" y="236"/>
                  </a:lnTo>
                  <a:lnTo>
                    <a:pt x="78" y="238"/>
                  </a:lnTo>
                  <a:lnTo>
                    <a:pt x="78" y="239"/>
                  </a:lnTo>
                  <a:lnTo>
                    <a:pt x="77" y="239"/>
                  </a:lnTo>
                  <a:lnTo>
                    <a:pt x="77" y="241"/>
                  </a:lnTo>
                  <a:lnTo>
                    <a:pt x="76" y="241"/>
                  </a:lnTo>
                  <a:lnTo>
                    <a:pt x="75" y="242"/>
                  </a:lnTo>
                  <a:lnTo>
                    <a:pt x="74" y="242"/>
                  </a:lnTo>
                  <a:lnTo>
                    <a:pt x="74" y="243"/>
                  </a:lnTo>
                  <a:lnTo>
                    <a:pt x="74" y="244"/>
                  </a:lnTo>
                  <a:lnTo>
                    <a:pt x="73" y="244"/>
                  </a:lnTo>
                  <a:lnTo>
                    <a:pt x="67" y="245"/>
                  </a:lnTo>
                  <a:lnTo>
                    <a:pt x="66" y="245"/>
                  </a:lnTo>
                  <a:lnTo>
                    <a:pt x="64" y="245"/>
                  </a:lnTo>
                  <a:lnTo>
                    <a:pt x="63" y="245"/>
                  </a:lnTo>
                  <a:lnTo>
                    <a:pt x="61" y="245"/>
                  </a:lnTo>
                  <a:lnTo>
                    <a:pt x="60" y="245"/>
                  </a:lnTo>
                  <a:lnTo>
                    <a:pt x="60" y="246"/>
                  </a:lnTo>
                  <a:lnTo>
                    <a:pt x="59" y="246"/>
                  </a:lnTo>
                  <a:lnTo>
                    <a:pt x="57" y="246"/>
                  </a:lnTo>
                  <a:lnTo>
                    <a:pt x="57" y="248"/>
                  </a:lnTo>
                  <a:lnTo>
                    <a:pt x="55" y="248"/>
                  </a:lnTo>
                  <a:lnTo>
                    <a:pt x="55" y="249"/>
                  </a:lnTo>
                  <a:lnTo>
                    <a:pt x="54" y="249"/>
                  </a:lnTo>
                  <a:lnTo>
                    <a:pt x="54" y="250"/>
                  </a:lnTo>
                  <a:lnTo>
                    <a:pt x="53" y="250"/>
                  </a:lnTo>
                  <a:lnTo>
                    <a:pt x="52" y="250"/>
                  </a:lnTo>
                  <a:lnTo>
                    <a:pt x="52" y="251"/>
                  </a:lnTo>
                  <a:lnTo>
                    <a:pt x="50" y="251"/>
                  </a:lnTo>
                  <a:lnTo>
                    <a:pt x="49" y="251"/>
                  </a:lnTo>
                  <a:lnTo>
                    <a:pt x="49" y="252"/>
                  </a:lnTo>
                  <a:lnTo>
                    <a:pt x="48" y="252"/>
                  </a:lnTo>
                  <a:lnTo>
                    <a:pt x="48" y="251"/>
                  </a:lnTo>
                  <a:lnTo>
                    <a:pt x="47" y="251"/>
                  </a:lnTo>
                  <a:lnTo>
                    <a:pt x="47" y="250"/>
                  </a:lnTo>
                  <a:lnTo>
                    <a:pt x="46" y="250"/>
                  </a:lnTo>
                  <a:lnTo>
                    <a:pt x="46" y="249"/>
                  </a:lnTo>
                  <a:lnTo>
                    <a:pt x="45" y="248"/>
                  </a:lnTo>
                  <a:lnTo>
                    <a:pt x="46" y="248"/>
                  </a:lnTo>
                  <a:lnTo>
                    <a:pt x="45" y="248"/>
                  </a:lnTo>
                  <a:lnTo>
                    <a:pt x="43" y="249"/>
                  </a:lnTo>
                  <a:lnTo>
                    <a:pt x="43" y="250"/>
                  </a:lnTo>
                  <a:lnTo>
                    <a:pt x="42" y="250"/>
                  </a:lnTo>
                  <a:lnTo>
                    <a:pt x="41" y="250"/>
                  </a:lnTo>
                  <a:lnTo>
                    <a:pt x="41" y="251"/>
                  </a:lnTo>
                  <a:lnTo>
                    <a:pt x="40" y="251"/>
                  </a:lnTo>
                  <a:lnTo>
                    <a:pt x="39" y="251"/>
                  </a:lnTo>
                  <a:lnTo>
                    <a:pt x="38" y="252"/>
                  </a:lnTo>
                  <a:lnTo>
                    <a:pt x="37" y="253"/>
                  </a:lnTo>
                  <a:lnTo>
                    <a:pt x="35" y="253"/>
                  </a:lnTo>
                  <a:lnTo>
                    <a:pt x="34" y="253"/>
                  </a:lnTo>
                  <a:lnTo>
                    <a:pt x="33" y="252"/>
                  </a:lnTo>
                  <a:lnTo>
                    <a:pt x="32" y="252"/>
                  </a:lnTo>
                  <a:lnTo>
                    <a:pt x="31" y="252"/>
                  </a:lnTo>
                  <a:lnTo>
                    <a:pt x="32" y="251"/>
                  </a:lnTo>
                  <a:lnTo>
                    <a:pt x="32" y="250"/>
                  </a:lnTo>
                  <a:lnTo>
                    <a:pt x="32" y="249"/>
                  </a:lnTo>
                  <a:lnTo>
                    <a:pt x="31" y="249"/>
                  </a:lnTo>
                  <a:lnTo>
                    <a:pt x="31" y="248"/>
                  </a:lnTo>
                  <a:lnTo>
                    <a:pt x="30" y="248"/>
                  </a:lnTo>
                  <a:lnTo>
                    <a:pt x="30" y="246"/>
                  </a:lnTo>
                  <a:lnTo>
                    <a:pt x="28" y="243"/>
                  </a:lnTo>
                  <a:lnTo>
                    <a:pt x="26" y="238"/>
                  </a:lnTo>
                  <a:lnTo>
                    <a:pt x="26" y="237"/>
                  </a:lnTo>
                  <a:lnTo>
                    <a:pt x="25" y="236"/>
                  </a:lnTo>
                  <a:lnTo>
                    <a:pt x="25" y="235"/>
                  </a:lnTo>
                  <a:lnTo>
                    <a:pt x="24" y="235"/>
                  </a:lnTo>
                  <a:lnTo>
                    <a:pt x="23" y="235"/>
                  </a:lnTo>
                  <a:lnTo>
                    <a:pt x="23" y="234"/>
                  </a:lnTo>
                  <a:lnTo>
                    <a:pt x="23" y="232"/>
                  </a:lnTo>
                  <a:lnTo>
                    <a:pt x="21" y="232"/>
                  </a:lnTo>
                  <a:lnTo>
                    <a:pt x="20" y="232"/>
                  </a:lnTo>
                  <a:lnTo>
                    <a:pt x="18" y="229"/>
                  </a:lnTo>
                  <a:lnTo>
                    <a:pt x="14" y="227"/>
                  </a:lnTo>
                  <a:lnTo>
                    <a:pt x="14" y="225"/>
                  </a:lnTo>
                  <a:lnTo>
                    <a:pt x="10" y="221"/>
                  </a:lnTo>
                  <a:lnTo>
                    <a:pt x="9" y="220"/>
                  </a:lnTo>
                  <a:lnTo>
                    <a:pt x="9" y="218"/>
                  </a:lnTo>
                  <a:lnTo>
                    <a:pt x="10" y="217"/>
                  </a:lnTo>
                  <a:lnTo>
                    <a:pt x="11" y="216"/>
                  </a:lnTo>
                  <a:lnTo>
                    <a:pt x="12" y="214"/>
                  </a:lnTo>
                  <a:lnTo>
                    <a:pt x="16" y="214"/>
                  </a:lnTo>
                  <a:lnTo>
                    <a:pt x="20" y="215"/>
                  </a:lnTo>
                  <a:lnTo>
                    <a:pt x="23" y="214"/>
                  </a:lnTo>
                  <a:lnTo>
                    <a:pt x="24" y="214"/>
                  </a:lnTo>
                  <a:lnTo>
                    <a:pt x="25" y="214"/>
                  </a:lnTo>
                  <a:lnTo>
                    <a:pt x="26" y="214"/>
                  </a:lnTo>
                  <a:lnTo>
                    <a:pt x="28" y="215"/>
                  </a:lnTo>
                  <a:lnTo>
                    <a:pt x="30" y="215"/>
                  </a:lnTo>
                  <a:lnTo>
                    <a:pt x="33" y="214"/>
                  </a:lnTo>
                  <a:lnTo>
                    <a:pt x="32" y="213"/>
                  </a:lnTo>
                  <a:lnTo>
                    <a:pt x="31" y="213"/>
                  </a:lnTo>
                  <a:lnTo>
                    <a:pt x="31" y="211"/>
                  </a:lnTo>
                  <a:lnTo>
                    <a:pt x="30" y="211"/>
                  </a:lnTo>
                  <a:lnTo>
                    <a:pt x="30" y="210"/>
                  </a:lnTo>
                  <a:lnTo>
                    <a:pt x="27" y="208"/>
                  </a:lnTo>
                  <a:lnTo>
                    <a:pt x="27" y="207"/>
                  </a:lnTo>
                  <a:lnTo>
                    <a:pt x="26" y="206"/>
                  </a:lnTo>
                  <a:lnTo>
                    <a:pt x="25" y="206"/>
                  </a:lnTo>
                  <a:lnTo>
                    <a:pt x="25" y="204"/>
                  </a:lnTo>
                  <a:lnTo>
                    <a:pt x="25" y="203"/>
                  </a:lnTo>
                  <a:lnTo>
                    <a:pt x="24" y="201"/>
                  </a:lnTo>
                  <a:lnTo>
                    <a:pt x="24" y="200"/>
                  </a:lnTo>
                  <a:lnTo>
                    <a:pt x="25" y="199"/>
                  </a:lnTo>
                  <a:lnTo>
                    <a:pt x="24" y="199"/>
                  </a:lnTo>
                  <a:lnTo>
                    <a:pt x="24" y="197"/>
                  </a:lnTo>
                  <a:lnTo>
                    <a:pt x="24" y="196"/>
                  </a:lnTo>
                  <a:lnTo>
                    <a:pt x="24" y="195"/>
                  </a:lnTo>
                  <a:lnTo>
                    <a:pt x="24" y="194"/>
                  </a:lnTo>
                  <a:lnTo>
                    <a:pt x="24" y="193"/>
                  </a:lnTo>
                  <a:lnTo>
                    <a:pt x="24" y="192"/>
                  </a:lnTo>
                  <a:lnTo>
                    <a:pt x="24" y="190"/>
                  </a:lnTo>
                  <a:lnTo>
                    <a:pt x="25" y="189"/>
                  </a:lnTo>
                  <a:lnTo>
                    <a:pt x="25" y="188"/>
                  </a:lnTo>
                  <a:lnTo>
                    <a:pt x="24" y="188"/>
                  </a:lnTo>
                  <a:lnTo>
                    <a:pt x="24" y="187"/>
                  </a:lnTo>
                  <a:lnTo>
                    <a:pt x="24" y="186"/>
                  </a:lnTo>
                  <a:lnTo>
                    <a:pt x="25" y="186"/>
                  </a:lnTo>
                  <a:lnTo>
                    <a:pt x="24" y="186"/>
                  </a:lnTo>
                  <a:lnTo>
                    <a:pt x="25" y="186"/>
                  </a:lnTo>
                  <a:lnTo>
                    <a:pt x="25" y="185"/>
                  </a:lnTo>
                  <a:lnTo>
                    <a:pt x="24" y="185"/>
                  </a:lnTo>
                  <a:lnTo>
                    <a:pt x="24" y="183"/>
                  </a:lnTo>
                  <a:lnTo>
                    <a:pt x="24" y="182"/>
                  </a:lnTo>
                  <a:lnTo>
                    <a:pt x="24" y="181"/>
                  </a:lnTo>
                  <a:lnTo>
                    <a:pt x="24" y="180"/>
                  </a:lnTo>
                  <a:lnTo>
                    <a:pt x="23" y="180"/>
                  </a:lnTo>
                  <a:lnTo>
                    <a:pt x="21" y="180"/>
                  </a:lnTo>
                  <a:lnTo>
                    <a:pt x="21" y="179"/>
                  </a:lnTo>
                  <a:lnTo>
                    <a:pt x="21" y="178"/>
                  </a:lnTo>
                  <a:lnTo>
                    <a:pt x="21" y="176"/>
                  </a:lnTo>
                  <a:lnTo>
                    <a:pt x="21" y="175"/>
                  </a:lnTo>
                  <a:lnTo>
                    <a:pt x="21" y="174"/>
                  </a:lnTo>
                  <a:lnTo>
                    <a:pt x="20" y="172"/>
                  </a:lnTo>
                  <a:lnTo>
                    <a:pt x="19" y="172"/>
                  </a:lnTo>
                  <a:lnTo>
                    <a:pt x="19" y="171"/>
                  </a:lnTo>
                  <a:lnTo>
                    <a:pt x="19" y="172"/>
                  </a:lnTo>
                  <a:lnTo>
                    <a:pt x="19" y="171"/>
                  </a:lnTo>
                  <a:lnTo>
                    <a:pt x="18" y="171"/>
                  </a:lnTo>
                  <a:lnTo>
                    <a:pt x="18" y="169"/>
                  </a:lnTo>
                  <a:lnTo>
                    <a:pt x="17" y="169"/>
                  </a:lnTo>
                  <a:lnTo>
                    <a:pt x="17" y="168"/>
                  </a:lnTo>
                  <a:lnTo>
                    <a:pt x="16" y="168"/>
                  </a:lnTo>
                  <a:lnTo>
                    <a:pt x="16" y="167"/>
                  </a:lnTo>
                  <a:lnTo>
                    <a:pt x="16" y="166"/>
                  </a:lnTo>
                  <a:lnTo>
                    <a:pt x="17" y="166"/>
                  </a:lnTo>
                  <a:lnTo>
                    <a:pt x="18" y="166"/>
                  </a:lnTo>
                  <a:lnTo>
                    <a:pt x="19" y="166"/>
                  </a:lnTo>
                  <a:lnTo>
                    <a:pt x="19" y="165"/>
                  </a:lnTo>
                  <a:lnTo>
                    <a:pt x="19" y="164"/>
                  </a:lnTo>
                  <a:lnTo>
                    <a:pt x="18" y="164"/>
                  </a:lnTo>
                  <a:lnTo>
                    <a:pt x="18" y="162"/>
                  </a:lnTo>
                  <a:lnTo>
                    <a:pt x="17" y="162"/>
                  </a:lnTo>
                  <a:lnTo>
                    <a:pt x="16" y="162"/>
                  </a:lnTo>
                  <a:lnTo>
                    <a:pt x="14" y="162"/>
                  </a:lnTo>
                  <a:lnTo>
                    <a:pt x="14" y="164"/>
                  </a:lnTo>
                  <a:lnTo>
                    <a:pt x="13" y="164"/>
                  </a:lnTo>
                  <a:lnTo>
                    <a:pt x="14" y="164"/>
                  </a:lnTo>
                  <a:lnTo>
                    <a:pt x="14" y="165"/>
                  </a:lnTo>
                  <a:lnTo>
                    <a:pt x="13" y="165"/>
                  </a:lnTo>
                  <a:lnTo>
                    <a:pt x="13" y="164"/>
                  </a:lnTo>
                  <a:lnTo>
                    <a:pt x="13" y="165"/>
                  </a:lnTo>
                  <a:lnTo>
                    <a:pt x="10" y="165"/>
                  </a:lnTo>
                  <a:lnTo>
                    <a:pt x="6" y="160"/>
                  </a:lnTo>
                  <a:lnTo>
                    <a:pt x="4" y="154"/>
                  </a:lnTo>
                  <a:lnTo>
                    <a:pt x="3" y="154"/>
                  </a:lnTo>
                  <a:lnTo>
                    <a:pt x="3" y="153"/>
                  </a:lnTo>
                  <a:lnTo>
                    <a:pt x="3" y="152"/>
                  </a:lnTo>
                  <a:lnTo>
                    <a:pt x="3" y="151"/>
                  </a:lnTo>
                  <a:lnTo>
                    <a:pt x="3" y="150"/>
                  </a:lnTo>
                  <a:lnTo>
                    <a:pt x="2" y="148"/>
                  </a:lnTo>
                  <a:lnTo>
                    <a:pt x="2" y="147"/>
                  </a:lnTo>
                  <a:lnTo>
                    <a:pt x="2" y="146"/>
                  </a:lnTo>
                  <a:lnTo>
                    <a:pt x="2" y="145"/>
                  </a:lnTo>
                  <a:lnTo>
                    <a:pt x="0" y="144"/>
                  </a:lnTo>
                  <a:lnTo>
                    <a:pt x="0" y="143"/>
                  </a:lnTo>
                  <a:lnTo>
                    <a:pt x="2" y="143"/>
                  </a:lnTo>
                  <a:lnTo>
                    <a:pt x="3" y="141"/>
                  </a:lnTo>
                  <a:lnTo>
                    <a:pt x="4" y="141"/>
                  </a:lnTo>
                  <a:lnTo>
                    <a:pt x="4" y="140"/>
                  </a:lnTo>
                  <a:lnTo>
                    <a:pt x="4" y="139"/>
                  </a:lnTo>
                  <a:lnTo>
                    <a:pt x="5" y="139"/>
                  </a:lnTo>
                  <a:lnTo>
                    <a:pt x="5" y="138"/>
                  </a:lnTo>
                  <a:lnTo>
                    <a:pt x="5" y="137"/>
                  </a:lnTo>
                  <a:lnTo>
                    <a:pt x="5" y="136"/>
                  </a:lnTo>
                  <a:lnTo>
                    <a:pt x="6" y="134"/>
                  </a:lnTo>
                  <a:lnTo>
                    <a:pt x="6" y="133"/>
                  </a:lnTo>
                  <a:lnTo>
                    <a:pt x="7" y="132"/>
                  </a:lnTo>
                  <a:lnTo>
                    <a:pt x="7" y="131"/>
                  </a:lnTo>
                  <a:lnTo>
                    <a:pt x="9" y="131"/>
                  </a:lnTo>
                  <a:lnTo>
                    <a:pt x="9" y="130"/>
                  </a:lnTo>
                  <a:lnTo>
                    <a:pt x="10" y="129"/>
                  </a:lnTo>
                  <a:lnTo>
                    <a:pt x="10" y="127"/>
                  </a:lnTo>
                  <a:lnTo>
                    <a:pt x="11" y="127"/>
                  </a:lnTo>
                  <a:lnTo>
                    <a:pt x="11" y="126"/>
                  </a:lnTo>
                  <a:lnTo>
                    <a:pt x="11" y="125"/>
                  </a:lnTo>
                  <a:lnTo>
                    <a:pt x="12" y="125"/>
                  </a:lnTo>
                  <a:lnTo>
                    <a:pt x="12" y="124"/>
                  </a:lnTo>
                  <a:lnTo>
                    <a:pt x="13" y="123"/>
                  </a:lnTo>
                  <a:lnTo>
                    <a:pt x="14" y="122"/>
                  </a:lnTo>
                  <a:lnTo>
                    <a:pt x="14" y="120"/>
                  </a:lnTo>
                  <a:lnTo>
                    <a:pt x="16" y="120"/>
                  </a:lnTo>
                  <a:lnTo>
                    <a:pt x="17" y="119"/>
                  </a:lnTo>
                  <a:lnTo>
                    <a:pt x="17" y="118"/>
                  </a:lnTo>
                  <a:lnTo>
                    <a:pt x="18" y="117"/>
                  </a:lnTo>
                  <a:lnTo>
                    <a:pt x="18" y="116"/>
                  </a:lnTo>
                  <a:lnTo>
                    <a:pt x="19" y="116"/>
                  </a:lnTo>
                  <a:lnTo>
                    <a:pt x="20" y="115"/>
                  </a:lnTo>
                  <a:lnTo>
                    <a:pt x="20" y="113"/>
                  </a:lnTo>
                  <a:lnTo>
                    <a:pt x="21" y="112"/>
                  </a:lnTo>
                  <a:lnTo>
                    <a:pt x="23" y="111"/>
                  </a:lnTo>
                  <a:lnTo>
                    <a:pt x="24" y="110"/>
                  </a:lnTo>
                  <a:lnTo>
                    <a:pt x="25" y="109"/>
                  </a:lnTo>
                  <a:lnTo>
                    <a:pt x="25" y="108"/>
                  </a:lnTo>
                  <a:lnTo>
                    <a:pt x="26" y="106"/>
                  </a:lnTo>
                  <a:lnTo>
                    <a:pt x="27" y="106"/>
                  </a:lnTo>
                  <a:lnTo>
                    <a:pt x="27" y="105"/>
                  </a:lnTo>
                  <a:lnTo>
                    <a:pt x="28" y="104"/>
                  </a:lnTo>
                  <a:lnTo>
                    <a:pt x="28" y="103"/>
                  </a:lnTo>
                  <a:lnTo>
                    <a:pt x="28" y="102"/>
                  </a:lnTo>
                  <a:lnTo>
                    <a:pt x="28" y="101"/>
                  </a:lnTo>
                  <a:lnTo>
                    <a:pt x="28" y="99"/>
                  </a:lnTo>
                  <a:lnTo>
                    <a:pt x="28" y="98"/>
                  </a:lnTo>
                  <a:lnTo>
                    <a:pt x="28" y="97"/>
                  </a:lnTo>
                  <a:lnTo>
                    <a:pt x="28" y="96"/>
                  </a:lnTo>
                  <a:lnTo>
                    <a:pt x="28" y="95"/>
                  </a:lnTo>
                  <a:lnTo>
                    <a:pt x="28" y="94"/>
                  </a:lnTo>
                  <a:lnTo>
                    <a:pt x="28" y="92"/>
                  </a:lnTo>
                  <a:lnTo>
                    <a:pt x="28" y="91"/>
                  </a:lnTo>
                  <a:lnTo>
                    <a:pt x="30" y="90"/>
                  </a:lnTo>
                  <a:lnTo>
                    <a:pt x="30" y="89"/>
                  </a:lnTo>
                  <a:lnTo>
                    <a:pt x="30" y="88"/>
                  </a:lnTo>
                  <a:lnTo>
                    <a:pt x="30" y="87"/>
                  </a:lnTo>
                  <a:lnTo>
                    <a:pt x="30" y="85"/>
                  </a:lnTo>
                  <a:lnTo>
                    <a:pt x="30" y="84"/>
                  </a:lnTo>
                  <a:lnTo>
                    <a:pt x="30" y="83"/>
                  </a:lnTo>
                  <a:lnTo>
                    <a:pt x="30" y="82"/>
                  </a:lnTo>
                  <a:lnTo>
                    <a:pt x="30" y="81"/>
                  </a:lnTo>
                  <a:lnTo>
                    <a:pt x="30" y="80"/>
                  </a:lnTo>
                  <a:lnTo>
                    <a:pt x="30" y="78"/>
                  </a:lnTo>
                  <a:lnTo>
                    <a:pt x="30" y="77"/>
                  </a:lnTo>
                  <a:lnTo>
                    <a:pt x="30" y="76"/>
                  </a:lnTo>
                  <a:lnTo>
                    <a:pt x="30" y="75"/>
                  </a:lnTo>
                  <a:lnTo>
                    <a:pt x="30" y="74"/>
                  </a:lnTo>
                  <a:lnTo>
                    <a:pt x="30" y="73"/>
                  </a:lnTo>
                  <a:lnTo>
                    <a:pt x="30" y="71"/>
                  </a:lnTo>
                  <a:lnTo>
                    <a:pt x="30" y="70"/>
                  </a:lnTo>
                  <a:lnTo>
                    <a:pt x="30" y="69"/>
                  </a:lnTo>
                  <a:lnTo>
                    <a:pt x="31" y="69"/>
                  </a:lnTo>
                  <a:lnTo>
                    <a:pt x="31" y="68"/>
                  </a:lnTo>
                  <a:lnTo>
                    <a:pt x="31" y="67"/>
                  </a:lnTo>
                  <a:lnTo>
                    <a:pt x="31" y="66"/>
                  </a:lnTo>
                  <a:lnTo>
                    <a:pt x="31" y="64"/>
                  </a:lnTo>
                  <a:lnTo>
                    <a:pt x="31" y="63"/>
                  </a:lnTo>
                  <a:lnTo>
                    <a:pt x="31" y="62"/>
                  </a:lnTo>
                  <a:lnTo>
                    <a:pt x="31" y="61"/>
                  </a:lnTo>
                  <a:lnTo>
                    <a:pt x="31" y="60"/>
                  </a:lnTo>
                  <a:lnTo>
                    <a:pt x="31" y="59"/>
                  </a:lnTo>
                  <a:lnTo>
                    <a:pt x="31" y="57"/>
                  </a:lnTo>
                  <a:lnTo>
                    <a:pt x="31" y="56"/>
                  </a:lnTo>
                  <a:lnTo>
                    <a:pt x="31" y="55"/>
                  </a:lnTo>
                  <a:lnTo>
                    <a:pt x="32" y="55"/>
                  </a:lnTo>
                  <a:lnTo>
                    <a:pt x="32" y="54"/>
                  </a:lnTo>
                  <a:lnTo>
                    <a:pt x="32" y="53"/>
                  </a:lnTo>
                  <a:lnTo>
                    <a:pt x="33" y="52"/>
                  </a:lnTo>
                  <a:lnTo>
                    <a:pt x="33" y="50"/>
                  </a:lnTo>
                  <a:lnTo>
                    <a:pt x="34" y="50"/>
                  </a:lnTo>
                  <a:lnTo>
                    <a:pt x="34" y="49"/>
                  </a:lnTo>
                  <a:lnTo>
                    <a:pt x="33" y="49"/>
                  </a:lnTo>
                  <a:lnTo>
                    <a:pt x="32" y="48"/>
                  </a:lnTo>
                  <a:lnTo>
                    <a:pt x="32" y="47"/>
                  </a:lnTo>
                  <a:lnTo>
                    <a:pt x="31" y="46"/>
                  </a:lnTo>
                  <a:lnTo>
                    <a:pt x="30" y="45"/>
                  </a:lnTo>
                  <a:lnTo>
                    <a:pt x="28" y="43"/>
                  </a:lnTo>
                  <a:lnTo>
                    <a:pt x="28" y="42"/>
                  </a:lnTo>
                  <a:lnTo>
                    <a:pt x="27" y="42"/>
                  </a:lnTo>
                  <a:lnTo>
                    <a:pt x="27" y="41"/>
                  </a:lnTo>
                  <a:lnTo>
                    <a:pt x="28" y="40"/>
                  </a:lnTo>
                  <a:lnTo>
                    <a:pt x="28" y="39"/>
                  </a:lnTo>
                  <a:lnTo>
                    <a:pt x="27" y="39"/>
                  </a:lnTo>
                  <a:lnTo>
                    <a:pt x="27" y="38"/>
                  </a:lnTo>
                  <a:lnTo>
                    <a:pt x="27" y="36"/>
                  </a:lnTo>
                  <a:lnTo>
                    <a:pt x="26" y="36"/>
                  </a:lnTo>
                  <a:lnTo>
                    <a:pt x="26" y="35"/>
                  </a:lnTo>
                  <a:lnTo>
                    <a:pt x="25" y="34"/>
                  </a:lnTo>
                  <a:lnTo>
                    <a:pt x="25" y="33"/>
                  </a:lnTo>
                  <a:lnTo>
                    <a:pt x="24" y="33"/>
                  </a:lnTo>
                  <a:lnTo>
                    <a:pt x="24" y="32"/>
                  </a:lnTo>
                  <a:lnTo>
                    <a:pt x="23" y="32"/>
                  </a:lnTo>
                  <a:lnTo>
                    <a:pt x="23" y="31"/>
                  </a:lnTo>
                  <a:lnTo>
                    <a:pt x="23" y="29"/>
                  </a:lnTo>
                  <a:lnTo>
                    <a:pt x="23" y="28"/>
                  </a:lnTo>
                  <a:lnTo>
                    <a:pt x="23" y="27"/>
                  </a:lnTo>
                  <a:lnTo>
                    <a:pt x="23" y="26"/>
                  </a:lnTo>
                  <a:lnTo>
                    <a:pt x="23" y="25"/>
                  </a:lnTo>
                  <a:lnTo>
                    <a:pt x="23" y="24"/>
                  </a:lnTo>
                  <a:lnTo>
                    <a:pt x="23" y="22"/>
                  </a:lnTo>
                  <a:lnTo>
                    <a:pt x="21" y="21"/>
                  </a:lnTo>
                  <a:lnTo>
                    <a:pt x="21" y="20"/>
                  </a:lnTo>
                  <a:lnTo>
                    <a:pt x="21" y="19"/>
                  </a:lnTo>
                  <a:lnTo>
                    <a:pt x="21" y="18"/>
                  </a:lnTo>
                  <a:lnTo>
                    <a:pt x="21" y="17"/>
                  </a:lnTo>
                  <a:lnTo>
                    <a:pt x="20" y="15"/>
                  </a:lnTo>
                  <a:lnTo>
                    <a:pt x="20" y="14"/>
                  </a:lnTo>
                  <a:lnTo>
                    <a:pt x="20" y="13"/>
                  </a:lnTo>
                  <a:lnTo>
                    <a:pt x="20" y="12"/>
                  </a:lnTo>
                  <a:lnTo>
                    <a:pt x="20" y="11"/>
                  </a:lnTo>
                  <a:lnTo>
                    <a:pt x="19" y="10"/>
                  </a:lnTo>
                  <a:lnTo>
                    <a:pt x="19" y="8"/>
                  </a:lnTo>
                  <a:lnTo>
                    <a:pt x="19" y="7"/>
                  </a:lnTo>
                  <a:lnTo>
                    <a:pt x="20" y="7"/>
                  </a:lnTo>
                  <a:lnTo>
                    <a:pt x="21" y="7"/>
                  </a:lnTo>
                  <a:lnTo>
                    <a:pt x="21" y="6"/>
                  </a:lnTo>
                  <a:lnTo>
                    <a:pt x="23" y="6"/>
                  </a:lnTo>
                  <a:lnTo>
                    <a:pt x="24" y="5"/>
                  </a:lnTo>
                  <a:lnTo>
                    <a:pt x="25" y="5"/>
                  </a:lnTo>
                  <a:lnTo>
                    <a:pt x="26" y="4"/>
                  </a:lnTo>
                  <a:lnTo>
                    <a:pt x="27" y="4"/>
                  </a:lnTo>
                  <a:lnTo>
                    <a:pt x="28" y="3"/>
                  </a:lnTo>
                  <a:lnTo>
                    <a:pt x="30" y="3"/>
                  </a:lnTo>
                  <a:lnTo>
                    <a:pt x="31" y="1"/>
                  </a:lnTo>
                  <a:lnTo>
                    <a:pt x="32" y="1"/>
                  </a:lnTo>
                  <a:lnTo>
                    <a:pt x="33" y="0"/>
                  </a:lnTo>
                  <a:lnTo>
                    <a:pt x="34" y="1"/>
                  </a:lnTo>
                  <a:lnTo>
                    <a:pt x="35" y="3"/>
                  </a:lnTo>
                  <a:lnTo>
                    <a:pt x="38" y="4"/>
                  </a:lnTo>
                  <a:lnTo>
                    <a:pt x="39" y="4"/>
                  </a:lnTo>
                  <a:lnTo>
                    <a:pt x="41" y="5"/>
                  </a:lnTo>
                  <a:lnTo>
                    <a:pt x="42" y="6"/>
                  </a:lnTo>
                  <a:lnTo>
                    <a:pt x="45" y="7"/>
                  </a:lnTo>
                  <a:lnTo>
                    <a:pt x="46" y="8"/>
                  </a:lnTo>
                  <a:lnTo>
                    <a:pt x="48" y="8"/>
                  </a:lnTo>
                  <a:lnTo>
                    <a:pt x="49" y="10"/>
                  </a:lnTo>
                  <a:lnTo>
                    <a:pt x="52" y="11"/>
                  </a:lnTo>
                  <a:lnTo>
                    <a:pt x="53" y="12"/>
                  </a:lnTo>
                  <a:lnTo>
                    <a:pt x="54" y="13"/>
                  </a:lnTo>
                  <a:lnTo>
                    <a:pt x="56" y="14"/>
                  </a:lnTo>
                  <a:lnTo>
                    <a:pt x="57" y="14"/>
                  </a:lnTo>
                  <a:lnTo>
                    <a:pt x="60" y="15"/>
                  </a:lnTo>
                  <a:lnTo>
                    <a:pt x="61" y="17"/>
                  </a:lnTo>
                  <a:lnTo>
                    <a:pt x="63" y="18"/>
                  </a:lnTo>
                  <a:lnTo>
                    <a:pt x="64" y="19"/>
                  </a:lnTo>
                  <a:lnTo>
                    <a:pt x="67" y="20"/>
                  </a:lnTo>
                  <a:lnTo>
                    <a:pt x="68" y="20"/>
                  </a:lnTo>
                  <a:lnTo>
                    <a:pt x="70" y="21"/>
                  </a:lnTo>
                  <a:lnTo>
                    <a:pt x="71" y="22"/>
                  </a:lnTo>
                  <a:lnTo>
                    <a:pt x="74" y="24"/>
                  </a:lnTo>
                  <a:lnTo>
                    <a:pt x="75" y="25"/>
                  </a:lnTo>
                  <a:lnTo>
                    <a:pt x="77" y="26"/>
                  </a:lnTo>
                  <a:lnTo>
                    <a:pt x="78" y="26"/>
                  </a:lnTo>
                  <a:lnTo>
                    <a:pt x="81" y="27"/>
                  </a:lnTo>
                  <a:lnTo>
                    <a:pt x="82" y="28"/>
                  </a:lnTo>
                  <a:lnTo>
                    <a:pt x="84" y="29"/>
                  </a:lnTo>
                  <a:lnTo>
                    <a:pt x="85" y="31"/>
                  </a:lnTo>
                  <a:lnTo>
                    <a:pt x="87" y="32"/>
                  </a:lnTo>
                  <a:lnTo>
                    <a:pt x="89" y="32"/>
                  </a:lnTo>
                  <a:lnTo>
                    <a:pt x="90" y="33"/>
                  </a:lnTo>
                  <a:lnTo>
                    <a:pt x="92" y="34"/>
                  </a:lnTo>
                  <a:lnTo>
                    <a:pt x="94" y="35"/>
                  </a:lnTo>
                  <a:lnTo>
                    <a:pt x="96" y="36"/>
                  </a:lnTo>
                  <a:lnTo>
                    <a:pt x="97" y="36"/>
                  </a:lnTo>
                  <a:lnTo>
                    <a:pt x="99" y="38"/>
                  </a:lnTo>
                  <a:lnTo>
                    <a:pt x="101" y="39"/>
                  </a:lnTo>
                  <a:lnTo>
                    <a:pt x="103" y="40"/>
                  </a:lnTo>
                  <a:lnTo>
                    <a:pt x="104" y="41"/>
                  </a:lnTo>
                  <a:lnTo>
                    <a:pt x="106" y="42"/>
                  </a:lnTo>
                  <a:lnTo>
                    <a:pt x="107" y="42"/>
                  </a:lnTo>
                  <a:lnTo>
                    <a:pt x="110" y="43"/>
                  </a:lnTo>
                  <a:lnTo>
                    <a:pt x="111" y="45"/>
                  </a:lnTo>
                  <a:lnTo>
                    <a:pt x="113" y="46"/>
                  </a:lnTo>
                  <a:lnTo>
                    <a:pt x="114" y="47"/>
                  </a:lnTo>
                  <a:lnTo>
                    <a:pt x="117" y="48"/>
                  </a:lnTo>
                  <a:lnTo>
                    <a:pt x="118" y="48"/>
                  </a:lnTo>
                  <a:lnTo>
                    <a:pt x="120" y="49"/>
                  </a:lnTo>
                  <a:lnTo>
                    <a:pt x="121" y="50"/>
                  </a:lnTo>
                  <a:lnTo>
                    <a:pt x="124" y="52"/>
                  </a:lnTo>
                  <a:lnTo>
                    <a:pt x="125" y="53"/>
                  </a:lnTo>
                  <a:lnTo>
                    <a:pt x="127" y="54"/>
                  </a:lnTo>
                  <a:lnTo>
                    <a:pt x="128" y="54"/>
                  </a:lnTo>
                  <a:lnTo>
                    <a:pt x="130" y="55"/>
                  </a:lnTo>
                  <a:lnTo>
                    <a:pt x="132" y="56"/>
                  </a:lnTo>
                  <a:lnTo>
                    <a:pt x="133" y="57"/>
                  </a:lnTo>
                  <a:lnTo>
                    <a:pt x="135" y="59"/>
                  </a:lnTo>
                  <a:lnTo>
                    <a:pt x="137" y="60"/>
                  </a:lnTo>
                  <a:lnTo>
                    <a:pt x="139" y="60"/>
                  </a:lnTo>
                  <a:lnTo>
                    <a:pt x="140" y="61"/>
                  </a:lnTo>
                  <a:lnTo>
                    <a:pt x="142" y="62"/>
                  </a:lnTo>
                  <a:lnTo>
                    <a:pt x="144" y="63"/>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56" name="Freeform 1015">
              <a:extLst>
                <a:ext uri="{FF2B5EF4-FFF2-40B4-BE49-F238E27FC236}">
                  <a16:creationId xmlns:a16="http://schemas.microsoft.com/office/drawing/2014/main" id="{051B3692-9492-4566-978F-0403E6983209}"/>
                </a:ext>
              </a:extLst>
            </p:cNvPr>
            <p:cNvSpPr>
              <a:spLocks/>
            </p:cNvSpPr>
            <p:nvPr/>
          </p:nvSpPr>
          <p:spPr bwMode="auto">
            <a:xfrm>
              <a:off x="5803757" y="3112146"/>
              <a:ext cx="36059" cy="108175"/>
            </a:xfrm>
            <a:custGeom>
              <a:avLst/>
              <a:gdLst>
                <a:gd name="T0" fmla="*/ 14 w 27"/>
                <a:gd name="T1" fmla="*/ 5 h 81"/>
                <a:gd name="T2" fmla="*/ 13 w 27"/>
                <a:gd name="T3" fmla="*/ 11 h 81"/>
                <a:gd name="T4" fmla="*/ 19 w 27"/>
                <a:gd name="T5" fmla="*/ 18 h 81"/>
                <a:gd name="T6" fmla="*/ 21 w 27"/>
                <a:gd name="T7" fmla="*/ 25 h 81"/>
                <a:gd name="T8" fmla="*/ 21 w 27"/>
                <a:gd name="T9" fmla="*/ 26 h 81"/>
                <a:gd name="T10" fmla="*/ 23 w 27"/>
                <a:gd name="T11" fmla="*/ 32 h 81"/>
                <a:gd name="T12" fmla="*/ 25 w 27"/>
                <a:gd name="T13" fmla="*/ 41 h 81"/>
                <a:gd name="T14" fmla="*/ 25 w 27"/>
                <a:gd name="T15" fmla="*/ 43 h 81"/>
                <a:gd name="T16" fmla="*/ 25 w 27"/>
                <a:gd name="T17" fmla="*/ 48 h 81"/>
                <a:gd name="T18" fmla="*/ 25 w 27"/>
                <a:gd name="T19" fmla="*/ 63 h 81"/>
                <a:gd name="T20" fmla="*/ 25 w 27"/>
                <a:gd name="T21" fmla="*/ 68 h 81"/>
                <a:gd name="T22" fmla="*/ 25 w 27"/>
                <a:gd name="T23" fmla="*/ 70 h 81"/>
                <a:gd name="T24" fmla="*/ 25 w 27"/>
                <a:gd name="T25" fmla="*/ 72 h 81"/>
                <a:gd name="T26" fmla="*/ 26 w 27"/>
                <a:gd name="T27" fmla="*/ 72 h 81"/>
                <a:gd name="T28" fmla="*/ 26 w 27"/>
                <a:gd name="T29" fmla="*/ 74 h 81"/>
                <a:gd name="T30" fmla="*/ 25 w 27"/>
                <a:gd name="T31" fmla="*/ 78 h 81"/>
                <a:gd name="T32" fmla="*/ 19 w 27"/>
                <a:gd name="T33" fmla="*/ 81 h 81"/>
                <a:gd name="T34" fmla="*/ 16 w 27"/>
                <a:gd name="T35" fmla="*/ 78 h 81"/>
                <a:gd name="T36" fmla="*/ 14 w 27"/>
                <a:gd name="T37" fmla="*/ 76 h 81"/>
                <a:gd name="T38" fmla="*/ 12 w 27"/>
                <a:gd name="T39" fmla="*/ 74 h 81"/>
                <a:gd name="T40" fmla="*/ 12 w 27"/>
                <a:gd name="T41" fmla="*/ 72 h 81"/>
                <a:gd name="T42" fmla="*/ 11 w 27"/>
                <a:gd name="T43" fmla="*/ 70 h 81"/>
                <a:gd name="T44" fmla="*/ 9 w 27"/>
                <a:gd name="T45" fmla="*/ 68 h 81"/>
                <a:gd name="T46" fmla="*/ 11 w 27"/>
                <a:gd name="T47" fmla="*/ 65 h 81"/>
                <a:gd name="T48" fmla="*/ 12 w 27"/>
                <a:gd name="T49" fmla="*/ 61 h 81"/>
                <a:gd name="T50" fmla="*/ 9 w 27"/>
                <a:gd name="T51" fmla="*/ 58 h 81"/>
                <a:gd name="T52" fmla="*/ 11 w 27"/>
                <a:gd name="T53" fmla="*/ 56 h 81"/>
                <a:gd name="T54" fmla="*/ 11 w 27"/>
                <a:gd name="T55" fmla="*/ 51 h 81"/>
                <a:gd name="T56" fmla="*/ 11 w 27"/>
                <a:gd name="T57" fmla="*/ 48 h 81"/>
                <a:gd name="T58" fmla="*/ 11 w 27"/>
                <a:gd name="T59" fmla="*/ 47 h 81"/>
                <a:gd name="T60" fmla="*/ 12 w 27"/>
                <a:gd name="T61" fmla="*/ 44 h 81"/>
                <a:gd name="T62" fmla="*/ 12 w 27"/>
                <a:gd name="T63" fmla="*/ 44 h 81"/>
                <a:gd name="T64" fmla="*/ 8 w 27"/>
                <a:gd name="T65" fmla="*/ 41 h 81"/>
                <a:gd name="T66" fmla="*/ 8 w 27"/>
                <a:gd name="T67" fmla="*/ 39 h 81"/>
                <a:gd name="T68" fmla="*/ 8 w 27"/>
                <a:gd name="T69" fmla="*/ 37 h 81"/>
                <a:gd name="T70" fmla="*/ 8 w 27"/>
                <a:gd name="T71" fmla="*/ 34 h 81"/>
                <a:gd name="T72" fmla="*/ 9 w 27"/>
                <a:gd name="T73" fmla="*/ 32 h 81"/>
                <a:gd name="T74" fmla="*/ 9 w 27"/>
                <a:gd name="T75" fmla="*/ 29 h 81"/>
                <a:gd name="T76" fmla="*/ 9 w 27"/>
                <a:gd name="T77" fmla="*/ 27 h 81"/>
                <a:gd name="T78" fmla="*/ 7 w 27"/>
                <a:gd name="T79" fmla="*/ 27 h 81"/>
                <a:gd name="T80" fmla="*/ 6 w 27"/>
                <a:gd name="T81" fmla="*/ 28 h 81"/>
                <a:gd name="T82" fmla="*/ 6 w 27"/>
                <a:gd name="T83" fmla="*/ 26 h 81"/>
                <a:gd name="T84" fmla="*/ 5 w 27"/>
                <a:gd name="T85" fmla="*/ 26 h 81"/>
                <a:gd name="T86" fmla="*/ 7 w 27"/>
                <a:gd name="T87" fmla="*/ 25 h 81"/>
                <a:gd name="T88" fmla="*/ 6 w 27"/>
                <a:gd name="T89" fmla="*/ 23 h 81"/>
                <a:gd name="T90" fmla="*/ 7 w 27"/>
                <a:gd name="T91" fmla="*/ 22 h 81"/>
                <a:gd name="T92" fmla="*/ 7 w 27"/>
                <a:gd name="T93" fmla="*/ 20 h 81"/>
                <a:gd name="T94" fmla="*/ 7 w 27"/>
                <a:gd name="T95" fmla="*/ 19 h 81"/>
                <a:gd name="T96" fmla="*/ 8 w 27"/>
                <a:gd name="T97" fmla="*/ 18 h 81"/>
                <a:gd name="T98" fmla="*/ 7 w 27"/>
                <a:gd name="T99" fmla="*/ 14 h 81"/>
                <a:gd name="T100" fmla="*/ 6 w 27"/>
                <a:gd name="T101" fmla="*/ 13 h 81"/>
                <a:gd name="T102" fmla="*/ 6 w 27"/>
                <a:gd name="T103" fmla="*/ 12 h 81"/>
                <a:gd name="T104" fmla="*/ 5 w 27"/>
                <a:gd name="T105" fmla="*/ 12 h 81"/>
                <a:gd name="T106" fmla="*/ 2 w 27"/>
                <a:gd name="T107" fmla="*/ 9 h 81"/>
                <a:gd name="T108" fmla="*/ 1 w 27"/>
                <a:gd name="T109" fmla="*/ 8 h 81"/>
                <a:gd name="T110" fmla="*/ 1 w 27"/>
                <a:gd name="T111" fmla="*/ 6 h 81"/>
                <a:gd name="T112" fmla="*/ 2 w 27"/>
                <a:gd name="T113" fmla="*/ 2 h 81"/>
                <a:gd name="T114" fmla="*/ 1 w 27"/>
                <a:gd name="T115" fmla="*/ 1 h 81"/>
                <a:gd name="T116" fmla="*/ 2 w 27"/>
                <a:gd name="T117" fmla="*/ 1 h 81"/>
                <a:gd name="T118" fmla="*/ 9 w 27"/>
                <a:gd name="T119" fmla="*/ 2 h 81"/>
                <a:gd name="T120" fmla="*/ 15 w 27"/>
                <a:gd name="T121" fmla="*/ 2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 h="81">
                  <a:moveTo>
                    <a:pt x="15" y="2"/>
                  </a:moveTo>
                  <a:lnTo>
                    <a:pt x="14" y="4"/>
                  </a:lnTo>
                  <a:lnTo>
                    <a:pt x="14" y="4"/>
                  </a:lnTo>
                  <a:lnTo>
                    <a:pt x="14" y="4"/>
                  </a:lnTo>
                  <a:lnTo>
                    <a:pt x="14" y="5"/>
                  </a:lnTo>
                  <a:lnTo>
                    <a:pt x="14" y="5"/>
                  </a:lnTo>
                  <a:lnTo>
                    <a:pt x="14" y="5"/>
                  </a:lnTo>
                  <a:lnTo>
                    <a:pt x="14" y="5"/>
                  </a:lnTo>
                  <a:lnTo>
                    <a:pt x="14" y="6"/>
                  </a:lnTo>
                  <a:lnTo>
                    <a:pt x="14" y="6"/>
                  </a:lnTo>
                  <a:lnTo>
                    <a:pt x="14" y="6"/>
                  </a:lnTo>
                  <a:lnTo>
                    <a:pt x="13" y="7"/>
                  </a:lnTo>
                  <a:lnTo>
                    <a:pt x="13" y="7"/>
                  </a:lnTo>
                  <a:lnTo>
                    <a:pt x="13" y="8"/>
                  </a:lnTo>
                  <a:lnTo>
                    <a:pt x="13" y="9"/>
                  </a:lnTo>
                  <a:lnTo>
                    <a:pt x="13" y="11"/>
                  </a:lnTo>
                  <a:lnTo>
                    <a:pt x="13" y="12"/>
                  </a:lnTo>
                  <a:lnTo>
                    <a:pt x="13" y="12"/>
                  </a:lnTo>
                  <a:lnTo>
                    <a:pt x="13" y="13"/>
                  </a:lnTo>
                  <a:lnTo>
                    <a:pt x="14" y="13"/>
                  </a:lnTo>
                  <a:lnTo>
                    <a:pt x="15" y="14"/>
                  </a:lnTo>
                  <a:lnTo>
                    <a:pt x="16" y="15"/>
                  </a:lnTo>
                  <a:lnTo>
                    <a:pt x="18" y="15"/>
                  </a:lnTo>
                  <a:lnTo>
                    <a:pt x="19" y="18"/>
                  </a:lnTo>
                  <a:lnTo>
                    <a:pt x="21" y="19"/>
                  </a:lnTo>
                  <a:lnTo>
                    <a:pt x="21" y="19"/>
                  </a:lnTo>
                  <a:lnTo>
                    <a:pt x="21" y="19"/>
                  </a:lnTo>
                  <a:lnTo>
                    <a:pt x="21" y="20"/>
                  </a:lnTo>
                  <a:lnTo>
                    <a:pt x="21" y="22"/>
                  </a:lnTo>
                  <a:lnTo>
                    <a:pt x="21" y="23"/>
                  </a:lnTo>
                  <a:lnTo>
                    <a:pt x="21" y="23"/>
                  </a:lnTo>
                  <a:lnTo>
                    <a:pt x="21" y="25"/>
                  </a:lnTo>
                  <a:lnTo>
                    <a:pt x="21" y="25"/>
                  </a:lnTo>
                  <a:lnTo>
                    <a:pt x="21" y="25"/>
                  </a:lnTo>
                  <a:lnTo>
                    <a:pt x="21" y="25"/>
                  </a:lnTo>
                  <a:lnTo>
                    <a:pt x="21" y="25"/>
                  </a:lnTo>
                  <a:lnTo>
                    <a:pt x="21" y="26"/>
                  </a:lnTo>
                  <a:lnTo>
                    <a:pt x="21" y="26"/>
                  </a:lnTo>
                  <a:lnTo>
                    <a:pt x="21" y="26"/>
                  </a:lnTo>
                  <a:lnTo>
                    <a:pt x="21" y="26"/>
                  </a:lnTo>
                  <a:lnTo>
                    <a:pt x="21" y="27"/>
                  </a:lnTo>
                  <a:lnTo>
                    <a:pt x="21" y="27"/>
                  </a:lnTo>
                  <a:lnTo>
                    <a:pt x="21" y="27"/>
                  </a:lnTo>
                  <a:lnTo>
                    <a:pt x="21" y="28"/>
                  </a:lnTo>
                  <a:lnTo>
                    <a:pt x="22" y="29"/>
                  </a:lnTo>
                  <a:lnTo>
                    <a:pt x="22" y="29"/>
                  </a:lnTo>
                  <a:lnTo>
                    <a:pt x="22" y="29"/>
                  </a:lnTo>
                  <a:lnTo>
                    <a:pt x="23" y="32"/>
                  </a:lnTo>
                  <a:lnTo>
                    <a:pt x="23" y="32"/>
                  </a:lnTo>
                  <a:lnTo>
                    <a:pt x="25" y="33"/>
                  </a:lnTo>
                  <a:lnTo>
                    <a:pt x="25" y="33"/>
                  </a:lnTo>
                  <a:lnTo>
                    <a:pt x="25" y="34"/>
                  </a:lnTo>
                  <a:lnTo>
                    <a:pt x="25" y="35"/>
                  </a:lnTo>
                  <a:lnTo>
                    <a:pt x="25" y="37"/>
                  </a:lnTo>
                  <a:lnTo>
                    <a:pt x="25" y="39"/>
                  </a:lnTo>
                  <a:lnTo>
                    <a:pt x="25" y="41"/>
                  </a:lnTo>
                  <a:lnTo>
                    <a:pt x="25" y="41"/>
                  </a:lnTo>
                  <a:lnTo>
                    <a:pt x="25" y="41"/>
                  </a:lnTo>
                  <a:lnTo>
                    <a:pt x="25" y="42"/>
                  </a:lnTo>
                  <a:lnTo>
                    <a:pt x="25" y="42"/>
                  </a:lnTo>
                  <a:lnTo>
                    <a:pt x="25" y="42"/>
                  </a:lnTo>
                  <a:lnTo>
                    <a:pt x="25" y="42"/>
                  </a:lnTo>
                  <a:lnTo>
                    <a:pt x="25" y="43"/>
                  </a:lnTo>
                  <a:lnTo>
                    <a:pt x="25" y="43"/>
                  </a:lnTo>
                  <a:lnTo>
                    <a:pt x="25" y="43"/>
                  </a:lnTo>
                  <a:lnTo>
                    <a:pt x="25" y="44"/>
                  </a:lnTo>
                  <a:lnTo>
                    <a:pt x="25" y="44"/>
                  </a:lnTo>
                  <a:lnTo>
                    <a:pt x="25" y="44"/>
                  </a:lnTo>
                  <a:lnTo>
                    <a:pt x="25" y="44"/>
                  </a:lnTo>
                  <a:lnTo>
                    <a:pt x="25" y="44"/>
                  </a:lnTo>
                  <a:lnTo>
                    <a:pt x="25" y="46"/>
                  </a:lnTo>
                  <a:lnTo>
                    <a:pt x="25" y="48"/>
                  </a:lnTo>
                  <a:lnTo>
                    <a:pt x="25" y="50"/>
                  </a:lnTo>
                  <a:lnTo>
                    <a:pt x="25" y="53"/>
                  </a:lnTo>
                  <a:lnTo>
                    <a:pt x="25" y="56"/>
                  </a:lnTo>
                  <a:lnTo>
                    <a:pt x="25" y="56"/>
                  </a:lnTo>
                  <a:lnTo>
                    <a:pt x="25" y="57"/>
                  </a:lnTo>
                  <a:lnTo>
                    <a:pt x="25" y="58"/>
                  </a:lnTo>
                  <a:lnTo>
                    <a:pt x="25" y="61"/>
                  </a:lnTo>
                  <a:lnTo>
                    <a:pt x="25" y="63"/>
                  </a:lnTo>
                  <a:lnTo>
                    <a:pt x="25" y="65"/>
                  </a:lnTo>
                  <a:lnTo>
                    <a:pt x="25" y="65"/>
                  </a:lnTo>
                  <a:lnTo>
                    <a:pt x="23" y="65"/>
                  </a:lnTo>
                  <a:lnTo>
                    <a:pt x="23" y="67"/>
                  </a:lnTo>
                  <a:lnTo>
                    <a:pt x="23" y="68"/>
                  </a:lnTo>
                  <a:lnTo>
                    <a:pt x="23" y="68"/>
                  </a:lnTo>
                  <a:lnTo>
                    <a:pt x="25" y="68"/>
                  </a:lnTo>
                  <a:lnTo>
                    <a:pt x="25" y="68"/>
                  </a:lnTo>
                  <a:lnTo>
                    <a:pt x="25" y="68"/>
                  </a:lnTo>
                  <a:lnTo>
                    <a:pt x="25" y="69"/>
                  </a:lnTo>
                  <a:lnTo>
                    <a:pt x="25" y="69"/>
                  </a:lnTo>
                  <a:lnTo>
                    <a:pt x="25" y="69"/>
                  </a:lnTo>
                  <a:lnTo>
                    <a:pt x="25" y="69"/>
                  </a:lnTo>
                  <a:lnTo>
                    <a:pt x="25" y="70"/>
                  </a:lnTo>
                  <a:lnTo>
                    <a:pt x="25" y="70"/>
                  </a:lnTo>
                  <a:lnTo>
                    <a:pt x="25" y="70"/>
                  </a:lnTo>
                  <a:lnTo>
                    <a:pt x="25" y="70"/>
                  </a:lnTo>
                  <a:lnTo>
                    <a:pt x="25" y="71"/>
                  </a:lnTo>
                  <a:lnTo>
                    <a:pt x="25" y="71"/>
                  </a:lnTo>
                  <a:lnTo>
                    <a:pt x="25" y="71"/>
                  </a:lnTo>
                  <a:lnTo>
                    <a:pt x="25" y="71"/>
                  </a:lnTo>
                  <a:lnTo>
                    <a:pt x="25" y="71"/>
                  </a:lnTo>
                  <a:lnTo>
                    <a:pt x="25" y="72"/>
                  </a:lnTo>
                  <a:lnTo>
                    <a:pt x="25" y="72"/>
                  </a:lnTo>
                  <a:lnTo>
                    <a:pt x="25" y="72"/>
                  </a:lnTo>
                  <a:lnTo>
                    <a:pt x="25" y="72"/>
                  </a:lnTo>
                  <a:lnTo>
                    <a:pt x="25" y="72"/>
                  </a:lnTo>
                  <a:lnTo>
                    <a:pt x="25" y="72"/>
                  </a:lnTo>
                  <a:lnTo>
                    <a:pt x="25" y="72"/>
                  </a:lnTo>
                  <a:lnTo>
                    <a:pt x="25" y="72"/>
                  </a:lnTo>
                  <a:lnTo>
                    <a:pt x="25" y="72"/>
                  </a:lnTo>
                  <a:lnTo>
                    <a:pt x="26" y="72"/>
                  </a:lnTo>
                  <a:lnTo>
                    <a:pt x="26" y="72"/>
                  </a:lnTo>
                  <a:lnTo>
                    <a:pt x="26" y="72"/>
                  </a:lnTo>
                  <a:lnTo>
                    <a:pt x="26" y="74"/>
                  </a:lnTo>
                  <a:lnTo>
                    <a:pt x="26" y="74"/>
                  </a:lnTo>
                  <a:lnTo>
                    <a:pt x="26" y="74"/>
                  </a:lnTo>
                  <a:lnTo>
                    <a:pt x="26" y="74"/>
                  </a:lnTo>
                  <a:lnTo>
                    <a:pt x="26" y="74"/>
                  </a:lnTo>
                  <a:lnTo>
                    <a:pt x="26" y="74"/>
                  </a:lnTo>
                  <a:lnTo>
                    <a:pt x="26" y="75"/>
                  </a:lnTo>
                  <a:lnTo>
                    <a:pt x="26" y="75"/>
                  </a:lnTo>
                  <a:lnTo>
                    <a:pt x="27" y="75"/>
                  </a:lnTo>
                  <a:lnTo>
                    <a:pt x="27" y="76"/>
                  </a:lnTo>
                  <a:lnTo>
                    <a:pt x="27" y="77"/>
                  </a:lnTo>
                  <a:lnTo>
                    <a:pt x="27" y="77"/>
                  </a:lnTo>
                  <a:lnTo>
                    <a:pt x="25" y="78"/>
                  </a:lnTo>
                  <a:lnTo>
                    <a:pt x="25" y="78"/>
                  </a:lnTo>
                  <a:lnTo>
                    <a:pt x="25" y="78"/>
                  </a:lnTo>
                  <a:lnTo>
                    <a:pt x="25" y="78"/>
                  </a:lnTo>
                  <a:lnTo>
                    <a:pt x="25" y="78"/>
                  </a:lnTo>
                  <a:lnTo>
                    <a:pt x="22" y="78"/>
                  </a:lnTo>
                  <a:lnTo>
                    <a:pt x="20" y="79"/>
                  </a:lnTo>
                  <a:lnTo>
                    <a:pt x="19" y="81"/>
                  </a:lnTo>
                  <a:lnTo>
                    <a:pt x="19" y="81"/>
                  </a:lnTo>
                  <a:lnTo>
                    <a:pt x="19" y="81"/>
                  </a:lnTo>
                  <a:lnTo>
                    <a:pt x="19" y="79"/>
                  </a:lnTo>
                  <a:lnTo>
                    <a:pt x="19" y="79"/>
                  </a:lnTo>
                  <a:lnTo>
                    <a:pt x="18" y="79"/>
                  </a:lnTo>
                  <a:lnTo>
                    <a:pt x="18" y="79"/>
                  </a:lnTo>
                  <a:lnTo>
                    <a:pt x="18" y="79"/>
                  </a:lnTo>
                  <a:lnTo>
                    <a:pt x="16" y="78"/>
                  </a:lnTo>
                  <a:lnTo>
                    <a:pt x="16" y="78"/>
                  </a:lnTo>
                  <a:lnTo>
                    <a:pt x="16" y="78"/>
                  </a:lnTo>
                  <a:lnTo>
                    <a:pt x="16" y="78"/>
                  </a:lnTo>
                  <a:lnTo>
                    <a:pt x="16" y="78"/>
                  </a:lnTo>
                  <a:lnTo>
                    <a:pt x="16" y="78"/>
                  </a:lnTo>
                  <a:lnTo>
                    <a:pt x="16" y="77"/>
                  </a:lnTo>
                  <a:lnTo>
                    <a:pt x="15" y="77"/>
                  </a:lnTo>
                  <a:lnTo>
                    <a:pt x="14" y="76"/>
                  </a:lnTo>
                  <a:lnTo>
                    <a:pt x="14" y="76"/>
                  </a:lnTo>
                  <a:lnTo>
                    <a:pt x="14" y="76"/>
                  </a:lnTo>
                  <a:lnTo>
                    <a:pt x="14" y="76"/>
                  </a:lnTo>
                  <a:lnTo>
                    <a:pt x="13" y="75"/>
                  </a:lnTo>
                  <a:lnTo>
                    <a:pt x="13" y="75"/>
                  </a:lnTo>
                  <a:lnTo>
                    <a:pt x="13" y="75"/>
                  </a:lnTo>
                  <a:lnTo>
                    <a:pt x="12" y="74"/>
                  </a:lnTo>
                  <a:lnTo>
                    <a:pt x="12" y="74"/>
                  </a:lnTo>
                  <a:lnTo>
                    <a:pt x="12" y="74"/>
                  </a:lnTo>
                  <a:lnTo>
                    <a:pt x="12" y="74"/>
                  </a:lnTo>
                  <a:lnTo>
                    <a:pt x="12" y="72"/>
                  </a:lnTo>
                  <a:lnTo>
                    <a:pt x="12" y="72"/>
                  </a:lnTo>
                  <a:lnTo>
                    <a:pt x="12" y="72"/>
                  </a:lnTo>
                  <a:lnTo>
                    <a:pt x="12" y="72"/>
                  </a:lnTo>
                  <a:lnTo>
                    <a:pt x="12" y="72"/>
                  </a:lnTo>
                  <a:lnTo>
                    <a:pt x="12" y="72"/>
                  </a:lnTo>
                  <a:lnTo>
                    <a:pt x="12" y="72"/>
                  </a:lnTo>
                  <a:lnTo>
                    <a:pt x="12" y="72"/>
                  </a:lnTo>
                  <a:lnTo>
                    <a:pt x="12" y="72"/>
                  </a:lnTo>
                  <a:lnTo>
                    <a:pt x="11" y="71"/>
                  </a:lnTo>
                  <a:lnTo>
                    <a:pt x="11" y="71"/>
                  </a:lnTo>
                  <a:lnTo>
                    <a:pt x="11" y="71"/>
                  </a:lnTo>
                  <a:lnTo>
                    <a:pt x="11" y="70"/>
                  </a:lnTo>
                  <a:lnTo>
                    <a:pt x="11" y="70"/>
                  </a:lnTo>
                  <a:lnTo>
                    <a:pt x="11" y="70"/>
                  </a:lnTo>
                  <a:lnTo>
                    <a:pt x="11" y="70"/>
                  </a:lnTo>
                  <a:lnTo>
                    <a:pt x="11" y="70"/>
                  </a:lnTo>
                  <a:lnTo>
                    <a:pt x="11" y="70"/>
                  </a:lnTo>
                  <a:lnTo>
                    <a:pt x="9" y="69"/>
                  </a:lnTo>
                  <a:lnTo>
                    <a:pt x="9" y="69"/>
                  </a:lnTo>
                  <a:lnTo>
                    <a:pt x="9" y="69"/>
                  </a:lnTo>
                  <a:lnTo>
                    <a:pt x="9" y="69"/>
                  </a:lnTo>
                  <a:lnTo>
                    <a:pt x="9" y="68"/>
                  </a:lnTo>
                  <a:lnTo>
                    <a:pt x="9" y="68"/>
                  </a:lnTo>
                  <a:lnTo>
                    <a:pt x="9" y="68"/>
                  </a:lnTo>
                  <a:lnTo>
                    <a:pt x="9" y="67"/>
                  </a:lnTo>
                  <a:lnTo>
                    <a:pt x="9" y="67"/>
                  </a:lnTo>
                  <a:lnTo>
                    <a:pt x="9" y="67"/>
                  </a:lnTo>
                  <a:lnTo>
                    <a:pt x="9" y="67"/>
                  </a:lnTo>
                  <a:lnTo>
                    <a:pt x="9" y="67"/>
                  </a:lnTo>
                  <a:lnTo>
                    <a:pt x="11" y="67"/>
                  </a:lnTo>
                  <a:lnTo>
                    <a:pt x="11" y="65"/>
                  </a:lnTo>
                  <a:lnTo>
                    <a:pt x="11" y="65"/>
                  </a:lnTo>
                  <a:lnTo>
                    <a:pt x="11" y="64"/>
                  </a:lnTo>
                  <a:lnTo>
                    <a:pt x="11" y="64"/>
                  </a:lnTo>
                  <a:lnTo>
                    <a:pt x="11" y="63"/>
                  </a:lnTo>
                  <a:lnTo>
                    <a:pt x="11" y="62"/>
                  </a:lnTo>
                  <a:lnTo>
                    <a:pt x="11" y="62"/>
                  </a:lnTo>
                  <a:lnTo>
                    <a:pt x="11" y="61"/>
                  </a:lnTo>
                  <a:lnTo>
                    <a:pt x="12" y="61"/>
                  </a:lnTo>
                  <a:lnTo>
                    <a:pt x="11" y="60"/>
                  </a:lnTo>
                  <a:lnTo>
                    <a:pt x="11" y="60"/>
                  </a:lnTo>
                  <a:lnTo>
                    <a:pt x="11" y="60"/>
                  </a:lnTo>
                  <a:lnTo>
                    <a:pt x="11" y="60"/>
                  </a:lnTo>
                  <a:lnTo>
                    <a:pt x="9" y="60"/>
                  </a:lnTo>
                  <a:lnTo>
                    <a:pt x="9" y="60"/>
                  </a:lnTo>
                  <a:lnTo>
                    <a:pt x="9" y="58"/>
                  </a:lnTo>
                  <a:lnTo>
                    <a:pt x="9" y="58"/>
                  </a:lnTo>
                  <a:lnTo>
                    <a:pt x="9" y="57"/>
                  </a:lnTo>
                  <a:lnTo>
                    <a:pt x="9" y="57"/>
                  </a:lnTo>
                  <a:lnTo>
                    <a:pt x="9" y="56"/>
                  </a:lnTo>
                  <a:lnTo>
                    <a:pt x="9" y="56"/>
                  </a:lnTo>
                  <a:lnTo>
                    <a:pt x="9" y="56"/>
                  </a:lnTo>
                  <a:lnTo>
                    <a:pt x="9" y="56"/>
                  </a:lnTo>
                  <a:lnTo>
                    <a:pt x="11" y="56"/>
                  </a:lnTo>
                  <a:lnTo>
                    <a:pt x="11" y="56"/>
                  </a:lnTo>
                  <a:lnTo>
                    <a:pt x="11" y="56"/>
                  </a:lnTo>
                  <a:lnTo>
                    <a:pt x="11" y="55"/>
                  </a:lnTo>
                  <a:lnTo>
                    <a:pt x="11" y="55"/>
                  </a:lnTo>
                  <a:lnTo>
                    <a:pt x="11" y="55"/>
                  </a:lnTo>
                  <a:lnTo>
                    <a:pt x="11" y="55"/>
                  </a:lnTo>
                  <a:lnTo>
                    <a:pt x="11" y="54"/>
                  </a:lnTo>
                  <a:lnTo>
                    <a:pt x="11" y="53"/>
                  </a:lnTo>
                  <a:lnTo>
                    <a:pt x="11" y="51"/>
                  </a:lnTo>
                  <a:lnTo>
                    <a:pt x="11" y="51"/>
                  </a:lnTo>
                  <a:lnTo>
                    <a:pt x="11" y="50"/>
                  </a:lnTo>
                  <a:lnTo>
                    <a:pt x="11" y="50"/>
                  </a:lnTo>
                  <a:lnTo>
                    <a:pt x="11" y="50"/>
                  </a:lnTo>
                  <a:lnTo>
                    <a:pt x="11" y="49"/>
                  </a:lnTo>
                  <a:lnTo>
                    <a:pt x="11" y="48"/>
                  </a:lnTo>
                  <a:lnTo>
                    <a:pt x="11" y="48"/>
                  </a:lnTo>
                  <a:lnTo>
                    <a:pt x="11" y="48"/>
                  </a:lnTo>
                  <a:lnTo>
                    <a:pt x="11" y="48"/>
                  </a:lnTo>
                  <a:lnTo>
                    <a:pt x="11" y="48"/>
                  </a:lnTo>
                  <a:lnTo>
                    <a:pt x="11" y="48"/>
                  </a:lnTo>
                  <a:lnTo>
                    <a:pt x="11" y="47"/>
                  </a:lnTo>
                  <a:lnTo>
                    <a:pt x="11" y="47"/>
                  </a:lnTo>
                  <a:lnTo>
                    <a:pt x="11" y="47"/>
                  </a:lnTo>
                  <a:lnTo>
                    <a:pt x="11" y="47"/>
                  </a:lnTo>
                  <a:lnTo>
                    <a:pt x="11" y="47"/>
                  </a:lnTo>
                  <a:lnTo>
                    <a:pt x="11" y="47"/>
                  </a:lnTo>
                  <a:lnTo>
                    <a:pt x="11" y="47"/>
                  </a:lnTo>
                  <a:lnTo>
                    <a:pt x="11" y="47"/>
                  </a:lnTo>
                  <a:lnTo>
                    <a:pt x="11" y="46"/>
                  </a:lnTo>
                  <a:lnTo>
                    <a:pt x="12" y="46"/>
                  </a:lnTo>
                  <a:lnTo>
                    <a:pt x="12" y="46"/>
                  </a:lnTo>
                  <a:lnTo>
                    <a:pt x="12" y="46"/>
                  </a:lnTo>
                  <a:lnTo>
                    <a:pt x="12" y="44"/>
                  </a:lnTo>
                  <a:lnTo>
                    <a:pt x="12" y="44"/>
                  </a:lnTo>
                  <a:lnTo>
                    <a:pt x="12" y="44"/>
                  </a:lnTo>
                  <a:lnTo>
                    <a:pt x="12" y="44"/>
                  </a:lnTo>
                  <a:lnTo>
                    <a:pt x="12" y="44"/>
                  </a:lnTo>
                  <a:lnTo>
                    <a:pt x="12" y="44"/>
                  </a:lnTo>
                  <a:lnTo>
                    <a:pt x="12" y="44"/>
                  </a:lnTo>
                  <a:lnTo>
                    <a:pt x="12" y="44"/>
                  </a:lnTo>
                  <a:lnTo>
                    <a:pt x="12" y="44"/>
                  </a:lnTo>
                  <a:lnTo>
                    <a:pt x="12" y="43"/>
                  </a:lnTo>
                  <a:lnTo>
                    <a:pt x="11" y="43"/>
                  </a:lnTo>
                  <a:lnTo>
                    <a:pt x="11" y="42"/>
                  </a:lnTo>
                  <a:lnTo>
                    <a:pt x="9" y="42"/>
                  </a:lnTo>
                  <a:lnTo>
                    <a:pt x="9" y="42"/>
                  </a:lnTo>
                  <a:lnTo>
                    <a:pt x="9" y="41"/>
                  </a:lnTo>
                  <a:lnTo>
                    <a:pt x="9" y="41"/>
                  </a:lnTo>
                  <a:lnTo>
                    <a:pt x="8" y="41"/>
                  </a:lnTo>
                  <a:lnTo>
                    <a:pt x="8" y="40"/>
                  </a:lnTo>
                  <a:lnTo>
                    <a:pt x="7" y="39"/>
                  </a:lnTo>
                  <a:lnTo>
                    <a:pt x="7" y="37"/>
                  </a:lnTo>
                  <a:lnTo>
                    <a:pt x="7" y="37"/>
                  </a:lnTo>
                  <a:lnTo>
                    <a:pt x="7" y="37"/>
                  </a:lnTo>
                  <a:lnTo>
                    <a:pt x="7" y="37"/>
                  </a:lnTo>
                  <a:lnTo>
                    <a:pt x="8" y="37"/>
                  </a:lnTo>
                  <a:lnTo>
                    <a:pt x="8" y="39"/>
                  </a:lnTo>
                  <a:lnTo>
                    <a:pt x="8" y="37"/>
                  </a:lnTo>
                  <a:lnTo>
                    <a:pt x="8" y="37"/>
                  </a:lnTo>
                  <a:lnTo>
                    <a:pt x="8" y="37"/>
                  </a:lnTo>
                  <a:lnTo>
                    <a:pt x="8" y="37"/>
                  </a:lnTo>
                  <a:lnTo>
                    <a:pt x="8" y="37"/>
                  </a:lnTo>
                  <a:lnTo>
                    <a:pt x="8" y="37"/>
                  </a:lnTo>
                  <a:lnTo>
                    <a:pt x="8" y="37"/>
                  </a:lnTo>
                  <a:lnTo>
                    <a:pt x="8" y="37"/>
                  </a:lnTo>
                  <a:lnTo>
                    <a:pt x="8" y="37"/>
                  </a:lnTo>
                  <a:lnTo>
                    <a:pt x="9" y="37"/>
                  </a:lnTo>
                  <a:lnTo>
                    <a:pt x="9" y="36"/>
                  </a:lnTo>
                  <a:lnTo>
                    <a:pt x="9" y="36"/>
                  </a:lnTo>
                  <a:lnTo>
                    <a:pt x="9" y="36"/>
                  </a:lnTo>
                  <a:lnTo>
                    <a:pt x="9" y="35"/>
                  </a:lnTo>
                  <a:lnTo>
                    <a:pt x="8" y="34"/>
                  </a:lnTo>
                  <a:lnTo>
                    <a:pt x="8" y="34"/>
                  </a:lnTo>
                  <a:lnTo>
                    <a:pt x="8" y="34"/>
                  </a:lnTo>
                  <a:lnTo>
                    <a:pt x="8" y="34"/>
                  </a:lnTo>
                  <a:lnTo>
                    <a:pt x="8" y="33"/>
                  </a:lnTo>
                  <a:lnTo>
                    <a:pt x="8" y="33"/>
                  </a:lnTo>
                  <a:lnTo>
                    <a:pt x="8" y="33"/>
                  </a:lnTo>
                  <a:lnTo>
                    <a:pt x="8" y="32"/>
                  </a:lnTo>
                  <a:lnTo>
                    <a:pt x="8" y="32"/>
                  </a:lnTo>
                  <a:lnTo>
                    <a:pt x="9" y="32"/>
                  </a:lnTo>
                  <a:lnTo>
                    <a:pt x="9" y="32"/>
                  </a:lnTo>
                  <a:lnTo>
                    <a:pt x="9" y="30"/>
                  </a:lnTo>
                  <a:lnTo>
                    <a:pt x="9" y="30"/>
                  </a:lnTo>
                  <a:lnTo>
                    <a:pt x="9" y="30"/>
                  </a:lnTo>
                  <a:lnTo>
                    <a:pt x="9" y="30"/>
                  </a:lnTo>
                  <a:lnTo>
                    <a:pt x="9" y="30"/>
                  </a:lnTo>
                  <a:lnTo>
                    <a:pt x="9" y="29"/>
                  </a:lnTo>
                  <a:lnTo>
                    <a:pt x="9" y="29"/>
                  </a:lnTo>
                  <a:lnTo>
                    <a:pt x="9" y="29"/>
                  </a:lnTo>
                  <a:lnTo>
                    <a:pt x="9" y="28"/>
                  </a:lnTo>
                  <a:lnTo>
                    <a:pt x="9" y="28"/>
                  </a:lnTo>
                  <a:lnTo>
                    <a:pt x="9" y="28"/>
                  </a:lnTo>
                  <a:lnTo>
                    <a:pt x="9" y="27"/>
                  </a:lnTo>
                  <a:lnTo>
                    <a:pt x="9" y="27"/>
                  </a:lnTo>
                  <a:lnTo>
                    <a:pt x="9" y="27"/>
                  </a:lnTo>
                  <a:lnTo>
                    <a:pt x="9" y="27"/>
                  </a:lnTo>
                  <a:lnTo>
                    <a:pt x="9" y="27"/>
                  </a:lnTo>
                  <a:lnTo>
                    <a:pt x="9" y="27"/>
                  </a:lnTo>
                  <a:lnTo>
                    <a:pt x="9" y="27"/>
                  </a:lnTo>
                  <a:lnTo>
                    <a:pt x="9" y="27"/>
                  </a:lnTo>
                  <a:lnTo>
                    <a:pt x="8" y="27"/>
                  </a:lnTo>
                  <a:lnTo>
                    <a:pt x="8" y="27"/>
                  </a:lnTo>
                  <a:lnTo>
                    <a:pt x="7" y="27"/>
                  </a:lnTo>
                  <a:lnTo>
                    <a:pt x="7" y="27"/>
                  </a:lnTo>
                  <a:lnTo>
                    <a:pt x="7" y="27"/>
                  </a:lnTo>
                  <a:lnTo>
                    <a:pt x="7" y="27"/>
                  </a:lnTo>
                  <a:lnTo>
                    <a:pt x="7" y="27"/>
                  </a:lnTo>
                  <a:lnTo>
                    <a:pt x="7" y="27"/>
                  </a:lnTo>
                  <a:lnTo>
                    <a:pt x="7" y="27"/>
                  </a:lnTo>
                  <a:lnTo>
                    <a:pt x="6" y="28"/>
                  </a:lnTo>
                  <a:lnTo>
                    <a:pt x="6" y="28"/>
                  </a:lnTo>
                  <a:lnTo>
                    <a:pt x="6" y="28"/>
                  </a:lnTo>
                  <a:lnTo>
                    <a:pt x="5" y="27"/>
                  </a:lnTo>
                  <a:lnTo>
                    <a:pt x="6" y="27"/>
                  </a:lnTo>
                  <a:lnTo>
                    <a:pt x="6" y="27"/>
                  </a:lnTo>
                  <a:lnTo>
                    <a:pt x="6" y="27"/>
                  </a:lnTo>
                  <a:lnTo>
                    <a:pt x="6" y="27"/>
                  </a:lnTo>
                  <a:lnTo>
                    <a:pt x="6" y="27"/>
                  </a:lnTo>
                  <a:lnTo>
                    <a:pt x="6" y="26"/>
                  </a:lnTo>
                  <a:lnTo>
                    <a:pt x="6" y="26"/>
                  </a:lnTo>
                  <a:lnTo>
                    <a:pt x="6" y="26"/>
                  </a:lnTo>
                  <a:lnTo>
                    <a:pt x="6" y="26"/>
                  </a:lnTo>
                  <a:lnTo>
                    <a:pt x="6" y="26"/>
                  </a:lnTo>
                  <a:lnTo>
                    <a:pt x="6" y="26"/>
                  </a:lnTo>
                  <a:lnTo>
                    <a:pt x="6" y="26"/>
                  </a:lnTo>
                  <a:lnTo>
                    <a:pt x="5" y="26"/>
                  </a:lnTo>
                  <a:lnTo>
                    <a:pt x="5" y="26"/>
                  </a:lnTo>
                  <a:lnTo>
                    <a:pt x="5" y="26"/>
                  </a:lnTo>
                  <a:lnTo>
                    <a:pt x="6" y="26"/>
                  </a:lnTo>
                  <a:lnTo>
                    <a:pt x="6" y="25"/>
                  </a:lnTo>
                  <a:lnTo>
                    <a:pt x="6" y="26"/>
                  </a:lnTo>
                  <a:lnTo>
                    <a:pt x="6" y="25"/>
                  </a:lnTo>
                  <a:lnTo>
                    <a:pt x="7" y="25"/>
                  </a:lnTo>
                  <a:lnTo>
                    <a:pt x="7" y="25"/>
                  </a:lnTo>
                  <a:lnTo>
                    <a:pt x="7" y="25"/>
                  </a:lnTo>
                  <a:lnTo>
                    <a:pt x="7" y="25"/>
                  </a:lnTo>
                  <a:lnTo>
                    <a:pt x="7" y="25"/>
                  </a:lnTo>
                  <a:lnTo>
                    <a:pt x="7" y="25"/>
                  </a:lnTo>
                  <a:lnTo>
                    <a:pt x="7" y="25"/>
                  </a:lnTo>
                  <a:lnTo>
                    <a:pt x="6" y="25"/>
                  </a:lnTo>
                  <a:lnTo>
                    <a:pt x="6" y="25"/>
                  </a:lnTo>
                  <a:lnTo>
                    <a:pt x="6" y="25"/>
                  </a:lnTo>
                  <a:lnTo>
                    <a:pt x="6" y="23"/>
                  </a:lnTo>
                  <a:lnTo>
                    <a:pt x="6" y="23"/>
                  </a:lnTo>
                  <a:lnTo>
                    <a:pt x="6" y="23"/>
                  </a:lnTo>
                  <a:lnTo>
                    <a:pt x="7" y="23"/>
                  </a:lnTo>
                  <a:lnTo>
                    <a:pt x="7" y="23"/>
                  </a:lnTo>
                  <a:lnTo>
                    <a:pt x="7" y="23"/>
                  </a:lnTo>
                  <a:lnTo>
                    <a:pt x="7" y="23"/>
                  </a:lnTo>
                  <a:lnTo>
                    <a:pt x="7" y="23"/>
                  </a:lnTo>
                  <a:lnTo>
                    <a:pt x="7" y="23"/>
                  </a:lnTo>
                  <a:lnTo>
                    <a:pt x="7" y="22"/>
                  </a:lnTo>
                  <a:lnTo>
                    <a:pt x="7" y="22"/>
                  </a:lnTo>
                  <a:lnTo>
                    <a:pt x="7" y="22"/>
                  </a:lnTo>
                  <a:lnTo>
                    <a:pt x="7" y="22"/>
                  </a:lnTo>
                  <a:lnTo>
                    <a:pt x="7" y="21"/>
                  </a:lnTo>
                  <a:lnTo>
                    <a:pt x="7" y="21"/>
                  </a:lnTo>
                  <a:lnTo>
                    <a:pt x="7" y="20"/>
                  </a:lnTo>
                  <a:lnTo>
                    <a:pt x="7" y="20"/>
                  </a:lnTo>
                  <a:lnTo>
                    <a:pt x="7" y="20"/>
                  </a:lnTo>
                  <a:lnTo>
                    <a:pt x="7" y="20"/>
                  </a:lnTo>
                  <a:lnTo>
                    <a:pt x="7" y="20"/>
                  </a:lnTo>
                  <a:lnTo>
                    <a:pt x="7" y="19"/>
                  </a:lnTo>
                  <a:lnTo>
                    <a:pt x="7" y="19"/>
                  </a:lnTo>
                  <a:lnTo>
                    <a:pt x="7" y="19"/>
                  </a:lnTo>
                  <a:lnTo>
                    <a:pt x="7" y="19"/>
                  </a:lnTo>
                  <a:lnTo>
                    <a:pt x="7" y="19"/>
                  </a:lnTo>
                  <a:lnTo>
                    <a:pt x="7" y="19"/>
                  </a:lnTo>
                  <a:lnTo>
                    <a:pt x="7" y="18"/>
                  </a:lnTo>
                  <a:lnTo>
                    <a:pt x="7" y="18"/>
                  </a:lnTo>
                  <a:lnTo>
                    <a:pt x="7" y="18"/>
                  </a:lnTo>
                  <a:lnTo>
                    <a:pt x="7" y="18"/>
                  </a:lnTo>
                  <a:lnTo>
                    <a:pt x="7" y="18"/>
                  </a:lnTo>
                  <a:lnTo>
                    <a:pt x="7" y="18"/>
                  </a:lnTo>
                  <a:lnTo>
                    <a:pt x="8" y="18"/>
                  </a:lnTo>
                  <a:lnTo>
                    <a:pt x="8" y="18"/>
                  </a:lnTo>
                  <a:lnTo>
                    <a:pt x="7" y="18"/>
                  </a:lnTo>
                  <a:lnTo>
                    <a:pt x="7" y="18"/>
                  </a:lnTo>
                  <a:lnTo>
                    <a:pt x="7" y="16"/>
                  </a:lnTo>
                  <a:lnTo>
                    <a:pt x="7" y="16"/>
                  </a:lnTo>
                  <a:lnTo>
                    <a:pt x="7" y="15"/>
                  </a:lnTo>
                  <a:lnTo>
                    <a:pt x="7" y="15"/>
                  </a:lnTo>
                  <a:lnTo>
                    <a:pt x="7" y="15"/>
                  </a:lnTo>
                  <a:lnTo>
                    <a:pt x="7" y="14"/>
                  </a:lnTo>
                  <a:lnTo>
                    <a:pt x="7" y="14"/>
                  </a:lnTo>
                  <a:lnTo>
                    <a:pt x="8" y="14"/>
                  </a:lnTo>
                  <a:lnTo>
                    <a:pt x="7" y="14"/>
                  </a:lnTo>
                  <a:lnTo>
                    <a:pt x="7" y="14"/>
                  </a:lnTo>
                  <a:lnTo>
                    <a:pt x="7" y="14"/>
                  </a:lnTo>
                  <a:lnTo>
                    <a:pt x="6" y="14"/>
                  </a:lnTo>
                  <a:lnTo>
                    <a:pt x="7" y="13"/>
                  </a:lnTo>
                  <a:lnTo>
                    <a:pt x="6" y="13"/>
                  </a:lnTo>
                  <a:lnTo>
                    <a:pt x="6" y="13"/>
                  </a:lnTo>
                  <a:lnTo>
                    <a:pt x="6" y="13"/>
                  </a:lnTo>
                  <a:lnTo>
                    <a:pt x="6" y="13"/>
                  </a:lnTo>
                  <a:lnTo>
                    <a:pt x="6" y="12"/>
                  </a:lnTo>
                  <a:lnTo>
                    <a:pt x="6" y="12"/>
                  </a:lnTo>
                  <a:lnTo>
                    <a:pt x="6" y="12"/>
                  </a:lnTo>
                  <a:lnTo>
                    <a:pt x="6" y="12"/>
                  </a:lnTo>
                  <a:lnTo>
                    <a:pt x="6" y="12"/>
                  </a:lnTo>
                  <a:lnTo>
                    <a:pt x="6" y="12"/>
                  </a:lnTo>
                  <a:lnTo>
                    <a:pt x="6" y="12"/>
                  </a:lnTo>
                  <a:lnTo>
                    <a:pt x="5" y="12"/>
                  </a:lnTo>
                  <a:lnTo>
                    <a:pt x="5" y="12"/>
                  </a:lnTo>
                  <a:lnTo>
                    <a:pt x="5" y="12"/>
                  </a:lnTo>
                  <a:lnTo>
                    <a:pt x="5" y="12"/>
                  </a:lnTo>
                  <a:lnTo>
                    <a:pt x="5" y="12"/>
                  </a:lnTo>
                  <a:lnTo>
                    <a:pt x="5" y="12"/>
                  </a:lnTo>
                  <a:lnTo>
                    <a:pt x="5" y="12"/>
                  </a:lnTo>
                  <a:lnTo>
                    <a:pt x="4" y="11"/>
                  </a:lnTo>
                  <a:lnTo>
                    <a:pt x="4" y="11"/>
                  </a:lnTo>
                  <a:lnTo>
                    <a:pt x="2" y="9"/>
                  </a:lnTo>
                  <a:lnTo>
                    <a:pt x="2" y="9"/>
                  </a:lnTo>
                  <a:lnTo>
                    <a:pt x="2" y="9"/>
                  </a:lnTo>
                  <a:lnTo>
                    <a:pt x="2" y="9"/>
                  </a:lnTo>
                  <a:lnTo>
                    <a:pt x="2" y="9"/>
                  </a:lnTo>
                  <a:lnTo>
                    <a:pt x="2" y="9"/>
                  </a:lnTo>
                  <a:lnTo>
                    <a:pt x="2" y="8"/>
                  </a:lnTo>
                  <a:lnTo>
                    <a:pt x="1" y="8"/>
                  </a:lnTo>
                  <a:lnTo>
                    <a:pt x="1" y="8"/>
                  </a:lnTo>
                  <a:lnTo>
                    <a:pt x="1" y="8"/>
                  </a:lnTo>
                  <a:lnTo>
                    <a:pt x="1" y="8"/>
                  </a:lnTo>
                  <a:lnTo>
                    <a:pt x="1" y="8"/>
                  </a:lnTo>
                  <a:lnTo>
                    <a:pt x="1" y="8"/>
                  </a:lnTo>
                  <a:lnTo>
                    <a:pt x="1" y="8"/>
                  </a:lnTo>
                  <a:lnTo>
                    <a:pt x="1" y="8"/>
                  </a:lnTo>
                  <a:lnTo>
                    <a:pt x="1" y="7"/>
                  </a:lnTo>
                  <a:lnTo>
                    <a:pt x="1" y="7"/>
                  </a:lnTo>
                  <a:lnTo>
                    <a:pt x="1" y="6"/>
                  </a:lnTo>
                  <a:lnTo>
                    <a:pt x="1" y="6"/>
                  </a:lnTo>
                  <a:lnTo>
                    <a:pt x="1" y="6"/>
                  </a:lnTo>
                  <a:lnTo>
                    <a:pt x="1" y="6"/>
                  </a:lnTo>
                  <a:lnTo>
                    <a:pt x="1" y="6"/>
                  </a:lnTo>
                  <a:lnTo>
                    <a:pt x="1" y="5"/>
                  </a:lnTo>
                  <a:lnTo>
                    <a:pt x="1" y="5"/>
                  </a:lnTo>
                  <a:lnTo>
                    <a:pt x="1" y="5"/>
                  </a:lnTo>
                  <a:lnTo>
                    <a:pt x="2" y="4"/>
                  </a:lnTo>
                  <a:lnTo>
                    <a:pt x="2" y="4"/>
                  </a:lnTo>
                  <a:lnTo>
                    <a:pt x="2" y="2"/>
                  </a:lnTo>
                  <a:lnTo>
                    <a:pt x="2" y="2"/>
                  </a:lnTo>
                  <a:lnTo>
                    <a:pt x="2" y="2"/>
                  </a:lnTo>
                  <a:lnTo>
                    <a:pt x="2" y="2"/>
                  </a:lnTo>
                  <a:lnTo>
                    <a:pt x="2" y="2"/>
                  </a:lnTo>
                  <a:lnTo>
                    <a:pt x="2" y="1"/>
                  </a:lnTo>
                  <a:lnTo>
                    <a:pt x="2" y="1"/>
                  </a:lnTo>
                  <a:lnTo>
                    <a:pt x="1" y="1"/>
                  </a:lnTo>
                  <a:lnTo>
                    <a:pt x="1" y="1"/>
                  </a:lnTo>
                  <a:lnTo>
                    <a:pt x="1" y="1"/>
                  </a:lnTo>
                  <a:lnTo>
                    <a:pt x="1" y="1"/>
                  </a:lnTo>
                  <a:lnTo>
                    <a:pt x="0" y="1"/>
                  </a:lnTo>
                  <a:lnTo>
                    <a:pt x="0" y="1"/>
                  </a:lnTo>
                  <a:lnTo>
                    <a:pt x="0" y="1"/>
                  </a:lnTo>
                  <a:lnTo>
                    <a:pt x="0" y="0"/>
                  </a:lnTo>
                  <a:lnTo>
                    <a:pt x="0" y="0"/>
                  </a:lnTo>
                  <a:lnTo>
                    <a:pt x="1" y="1"/>
                  </a:lnTo>
                  <a:lnTo>
                    <a:pt x="2" y="1"/>
                  </a:lnTo>
                  <a:lnTo>
                    <a:pt x="6" y="2"/>
                  </a:lnTo>
                  <a:lnTo>
                    <a:pt x="7" y="2"/>
                  </a:lnTo>
                  <a:lnTo>
                    <a:pt x="9" y="2"/>
                  </a:lnTo>
                  <a:lnTo>
                    <a:pt x="9" y="2"/>
                  </a:lnTo>
                  <a:lnTo>
                    <a:pt x="9" y="2"/>
                  </a:lnTo>
                  <a:lnTo>
                    <a:pt x="9" y="2"/>
                  </a:lnTo>
                  <a:lnTo>
                    <a:pt x="9" y="2"/>
                  </a:lnTo>
                  <a:lnTo>
                    <a:pt x="9" y="2"/>
                  </a:lnTo>
                  <a:lnTo>
                    <a:pt x="9" y="2"/>
                  </a:lnTo>
                  <a:lnTo>
                    <a:pt x="9" y="2"/>
                  </a:lnTo>
                  <a:lnTo>
                    <a:pt x="9" y="2"/>
                  </a:lnTo>
                  <a:lnTo>
                    <a:pt x="9" y="4"/>
                  </a:lnTo>
                  <a:lnTo>
                    <a:pt x="11" y="2"/>
                  </a:lnTo>
                  <a:lnTo>
                    <a:pt x="12" y="2"/>
                  </a:lnTo>
                  <a:lnTo>
                    <a:pt x="13" y="2"/>
                  </a:lnTo>
                  <a:lnTo>
                    <a:pt x="15"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57" name="Freeform 1016">
              <a:extLst>
                <a:ext uri="{FF2B5EF4-FFF2-40B4-BE49-F238E27FC236}">
                  <a16:creationId xmlns:a16="http://schemas.microsoft.com/office/drawing/2014/main" id="{EFD2408E-FE8E-4C5B-90FF-5615BE05E10B}"/>
                </a:ext>
              </a:extLst>
            </p:cNvPr>
            <p:cNvSpPr>
              <a:spLocks noEditPoints="1"/>
            </p:cNvSpPr>
            <p:nvPr/>
          </p:nvSpPr>
          <p:spPr bwMode="auto">
            <a:xfrm>
              <a:off x="7591976" y="2915830"/>
              <a:ext cx="161594" cy="313840"/>
            </a:xfrm>
            <a:custGeom>
              <a:avLst/>
              <a:gdLst>
                <a:gd name="T0" fmla="*/ 47 w 121"/>
                <a:gd name="T1" fmla="*/ 209 h 235"/>
                <a:gd name="T2" fmla="*/ 33 w 121"/>
                <a:gd name="T3" fmla="*/ 196 h 235"/>
                <a:gd name="T4" fmla="*/ 30 w 121"/>
                <a:gd name="T5" fmla="*/ 197 h 235"/>
                <a:gd name="T6" fmla="*/ 28 w 121"/>
                <a:gd name="T7" fmla="*/ 181 h 235"/>
                <a:gd name="T8" fmla="*/ 52 w 121"/>
                <a:gd name="T9" fmla="*/ 175 h 235"/>
                <a:gd name="T10" fmla="*/ 52 w 121"/>
                <a:gd name="T11" fmla="*/ 168 h 235"/>
                <a:gd name="T12" fmla="*/ 81 w 121"/>
                <a:gd name="T13" fmla="*/ 133 h 235"/>
                <a:gd name="T14" fmla="*/ 40 w 121"/>
                <a:gd name="T15" fmla="*/ 6 h 235"/>
                <a:gd name="T16" fmla="*/ 46 w 121"/>
                <a:gd name="T17" fmla="*/ 13 h 235"/>
                <a:gd name="T18" fmla="*/ 53 w 121"/>
                <a:gd name="T19" fmla="*/ 25 h 235"/>
                <a:gd name="T20" fmla="*/ 53 w 121"/>
                <a:gd name="T21" fmla="*/ 39 h 235"/>
                <a:gd name="T22" fmla="*/ 59 w 121"/>
                <a:gd name="T23" fmla="*/ 42 h 235"/>
                <a:gd name="T24" fmla="*/ 71 w 121"/>
                <a:gd name="T25" fmla="*/ 40 h 235"/>
                <a:gd name="T26" fmla="*/ 82 w 121"/>
                <a:gd name="T27" fmla="*/ 33 h 235"/>
                <a:gd name="T28" fmla="*/ 97 w 121"/>
                <a:gd name="T29" fmla="*/ 41 h 235"/>
                <a:gd name="T30" fmla="*/ 106 w 121"/>
                <a:gd name="T31" fmla="*/ 60 h 235"/>
                <a:gd name="T32" fmla="*/ 116 w 121"/>
                <a:gd name="T33" fmla="*/ 71 h 235"/>
                <a:gd name="T34" fmla="*/ 120 w 121"/>
                <a:gd name="T35" fmla="*/ 85 h 235"/>
                <a:gd name="T36" fmla="*/ 114 w 121"/>
                <a:gd name="T37" fmla="*/ 98 h 235"/>
                <a:gd name="T38" fmla="*/ 102 w 121"/>
                <a:gd name="T39" fmla="*/ 96 h 235"/>
                <a:gd name="T40" fmla="*/ 87 w 121"/>
                <a:gd name="T41" fmla="*/ 98 h 235"/>
                <a:gd name="T42" fmla="*/ 80 w 121"/>
                <a:gd name="T43" fmla="*/ 113 h 235"/>
                <a:gd name="T44" fmla="*/ 85 w 121"/>
                <a:gd name="T45" fmla="*/ 131 h 235"/>
                <a:gd name="T46" fmla="*/ 84 w 121"/>
                <a:gd name="T47" fmla="*/ 132 h 235"/>
                <a:gd name="T48" fmla="*/ 77 w 121"/>
                <a:gd name="T49" fmla="*/ 126 h 235"/>
                <a:gd name="T50" fmla="*/ 66 w 121"/>
                <a:gd name="T51" fmla="*/ 124 h 235"/>
                <a:gd name="T52" fmla="*/ 60 w 121"/>
                <a:gd name="T53" fmla="*/ 110 h 235"/>
                <a:gd name="T54" fmla="*/ 47 w 121"/>
                <a:gd name="T55" fmla="*/ 113 h 235"/>
                <a:gd name="T56" fmla="*/ 49 w 121"/>
                <a:gd name="T57" fmla="*/ 131 h 235"/>
                <a:gd name="T58" fmla="*/ 43 w 121"/>
                <a:gd name="T59" fmla="*/ 147 h 235"/>
                <a:gd name="T60" fmla="*/ 40 w 121"/>
                <a:gd name="T61" fmla="*/ 159 h 235"/>
                <a:gd name="T62" fmla="*/ 40 w 121"/>
                <a:gd name="T63" fmla="*/ 170 h 235"/>
                <a:gd name="T64" fmla="*/ 50 w 121"/>
                <a:gd name="T65" fmla="*/ 176 h 235"/>
                <a:gd name="T66" fmla="*/ 55 w 121"/>
                <a:gd name="T67" fmla="*/ 189 h 235"/>
                <a:gd name="T68" fmla="*/ 59 w 121"/>
                <a:gd name="T69" fmla="*/ 204 h 235"/>
                <a:gd name="T70" fmla="*/ 61 w 121"/>
                <a:gd name="T71" fmla="*/ 211 h 235"/>
                <a:gd name="T72" fmla="*/ 74 w 121"/>
                <a:gd name="T73" fmla="*/ 215 h 235"/>
                <a:gd name="T74" fmla="*/ 82 w 121"/>
                <a:gd name="T75" fmla="*/ 231 h 235"/>
                <a:gd name="T76" fmla="*/ 70 w 121"/>
                <a:gd name="T77" fmla="*/ 233 h 235"/>
                <a:gd name="T78" fmla="*/ 66 w 121"/>
                <a:gd name="T79" fmla="*/ 223 h 235"/>
                <a:gd name="T80" fmla="*/ 57 w 121"/>
                <a:gd name="T81" fmla="*/ 219 h 235"/>
                <a:gd name="T82" fmla="*/ 49 w 121"/>
                <a:gd name="T83" fmla="*/ 212 h 235"/>
                <a:gd name="T84" fmla="*/ 46 w 121"/>
                <a:gd name="T85" fmla="*/ 208 h 235"/>
                <a:gd name="T86" fmla="*/ 39 w 121"/>
                <a:gd name="T87" fmla="*/ 197 h 235"/>
                <a:gd name="T88" fmla="*/ 32 w 121"/>
                <a:gd name="T89" fmla="*/ 193 h 235"/>
                <a:gd name="T90" fmla="*/ 28 w 121"/>
                <a:gd name="T91" fmla="*/ 183 h 235"/>
                <a:gd name="T92" fmla="*/ 31 w 121"/>
                <a:gd name="T93" fmla="*/ 169 h 235"/>
                <a:gd name="T94" fmla="*/ 34 w 121"/>
                <a:gd name="T95" fmla="*/ 159 h 235"/>
                <a:gd name="T96" fmla="*/ 41 w 121"/>
                <a:gd name="T97" fmla="*/ 144 h 235"/>
                <a:gd name="T98" fmla="*/ 40 w 121"/>
                <a:gd name="T99" fmla="*/ 128 h 235"/>
                <a:gd name="T100" fmla="*/ 35 w 121"/>
                <a:gd name="T101" fmla="*/ 113 h 235"/>
                <a:gd name="T102" fmla="*/ 23 w 121"/>
                <a:gd name="T103" fmla="*/ 93 h 235"/>
                <a:gd name="T104" fmla="*/ 21 w 121"/>
                <a:gd name="T105" fmla="*/ 81 h 235"/>
                <a:gd name="T106" fmla="*/ 26 w 121"/>
                <a:gd name="T107" fmla="*/ 65 h 235"/>
                <a:gd name="T108" fmla="*/ 19 w 121"/>
                <a:gd name="T109" fmla="*/ 57 h 235"/>
                <a:gd name="T110" fmla="*/ 11 w 121"/>
                <a:gd name="T111" fmla="*/ 47 h 235"/>
                <a:gd name="T112" fmla="*/ 4 w 121"/>
                <a:gd name="T113" fmla="*/ 34 h 235"/>
                <a:gd name="T114" fmla="*/ 5 w 121"/>
                <a:gd name="T115" fmla="*/ 27 h 235"/>
                <a:gd name="T116" fmla="*/ 6 w 121"/>
                <a:gd name="T117" fmla="*/ 12 h 235"/>
                <a:gd name="T118" fmla="*/ 19 w 121"/>
                <a:gd name="T119" fmla="*/ 8 h 235"/>
                <a:gd name="T120" fmla="*/ 26 w 121"/>
                <a:gd name="T121" fmla="*/ 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1" h="235">
                  <a:moveTo>
                    <a:pt x="45" y="219"/>
                  </a:moveTo>
                  <a:lnTo>
                    <a:pt x="43" y="221"/>
                  </a:lnTo>
                  <a:lnTo>
                    <a:pt x="43" y="219"/>
                  </a:lnTo>
                  <a:lnTo>
                    <a:pt x="45" y="219"/>
                  </a:lnTo>
                  <a:close/>
                  <a:moveTo>
                    <a:pt x="50" y="221"/>
                  </a:moveTo>
                  <a:lnTo>
                    <a:pt x="49" y="221"/>
                  </a:lnTo>
                  <a:lnTo>
                    <a:pt x="49" y="219"/>
                  </a:lnTo>
                  <a:lnTo>
                    <a:pt x="49" y="218"/>
                  </a:lnTo>
                  <a:lnTo>
                    <a:pt x="49" y="217"/>
                  </a:lnTo>
                  <a:lnTo>
                    <a:pt x="50" y="218"/>
                  </a:lnTo>
                  <a:lnTo>
                    <a:pt x="50" y="219"/>
                  </a:lnTo>
                  <a:lnTo>
                    <a:pt x="50" y="221"/>
                  </a:lnTo>
                  <a:close/>
                  <a:moveTo>
                    <a:pt x="47" y="209"/>
                  </a:moveTo>
                  <a:lnTo>
                    <a:pt x="46" y="209"/>
                  </a:lnTo>
                  <a:lnTo>
                    <a:pt x="46" y="210"/>
                  </a:lnTo>
                  <a:lnTo>
                    <a:pt x="46" y="209"/>
                  </a:lnTo>
                  <a:lnTo>
                    <a:pt x="47" y="209"/>
                  </a:lnTo>
                  <a:close/>
                  <a:moveTo>
                    <a:pt x="41" y="205"/>
                  </a:moveTo>
                  <a:lnTo>
                    <a:pt x="40" y="204"/>
                  </a:lnTo>
                  <a:lnTo>
                    <a:pt x="40" y="203"/>
                  </a:lnTo>
                  <a:lnTo>
                    <a:pt x="41" y="203"/>
                  </a:lnTo>
                  <a:lnTo>
                    <a:pt x="41" y="204"/>
                  </a:lnTo>
                  <a:lnTo>
                    <a:pt x="41" y="205"/>
                  </a:lnTo>
                  <a:close/>
                  <a:moveTo>
                    <a:pt x="41" y="203"/>
                  </a:moveTo>
                  <a:lnTo>
                    <a:pt x="40" y="202"/>
                  </a:lnTo>
                  <a:lnTo>
                    <a:pt x="41" y="202"/>
                  </a:lnTo>
                  <a:lnTo>
                    <a:pt x="41" y="203"/>
                  </a:lnTo>
                  <a:close/>
                  <a:moveTo>
                    <a:pt x="33" y="195"/>
                  </a:moveTo>
                  <a:lnTo>
                    <a:pt x="34" y="196"/>
                  </a:lnTo>
                  <a:lnTo>
                    <a:pt x="34" y="198"/>
                  </a:lnTo>
                  <a:lnTo>
                    <a:pt x="33" y="197"/>
                  </a:lnTo>
                  <a:lnTo>
                    <a:pt x="34" y="197"/>
                  </a:lnTo>
                  <a:lnTo>
                    <a:pt x="34" y="196"/>
                  </a:lnTo>
                  <a:lnTo>
                    <a:pt x="33" y="196"/>
                  </a:lnTo>
                  <a:lnTo>
                    <a:pt x="33" y="195"/>
                  </a:lnTo>
                  <a:close/>
                  <a:moveTo>
                    <a:pt x="30" y="194"/>
                  </a:moveTo>
                  <a:lnTo>
                    <a:pt x="31" y="195"/>
                  </a:lnTo>
                  <a:lnTo>
                    <a:pt x="31" y="196"/>
                  </a:lnTo>
                  <a:lnTo>
                    <a:pt x="32" y="196"/>
                  </a:lnTo>
                  <a:lnTo>
                    <a:pt x="32" y="195"/>
                  </a:lnTo>
                  <a:lnTo>
                    <a:pt x="32" y="196"/>
                  </a:lnTo>
                  <a:lnTo>
                    <a:pt x="32" y="197"/>
                  </a:lnTo>
                  <a:lnTo>
                    <a:pt x="31" y="197"/>
                  </a:lnTo>
                  <a:lnTo>
                    <a:pt x="32" y="198"/>
                  </a:lnTo>
                  <a:lnTo>
                    <a:pt x="32" y="200"/>
                  </a:lnTo>
                  <a:lnTo>
                    <a:pt x="31" y="200"/>
                  </a:lnTo>
                  <a:lnTo>
                    <a:pt x="31" y="201"/>
                  </a:lnTo>
                  <a:lnTo>
                    <a:pt x="30" y="201"/>
                  </a:lnTo>
                  <a:lnTo>
                    <a:pt x="30" y="200"/>
                  </a:lnTo>
                  <a:lnTo>
                    <a:pt x="30" y="198"/>
                  </a:lnTo>
                  <a:lnTo>
                    <a:pt x="30" y="197"/>
                  </a:lnTo>
                  <a:lnTo>
                    <a:pt x="30" y="196"/>
                  </a:lnTo>
                  <a:lnTo>
                    <a:pt x="30" y="195"/>
                  </a:lnTo>
                  <a:lnTo>
                    <a:pt x="30" y="194"/>
                  </a:lnTo>
                  <a:close/>
                  <a:moveTo>
                    <a:pt x="34" y="195"/>
                  </a:moveTo>
                  <a:lnTo>
                    <a:pt x="34" y="196"/>
                  </a:lnTo>
                  <a:lnTo>
                    <a:pt x="34" y="195"/>
                  </a:lnTo>
                  <a:lnTo>
                    <a:pt x="33" y="195"/>
                  </a:lnTo>
                  <a:lnTo>
                    <a:pt x="34" y="195"/>
                  </a:lnTo>
                  <a:lnTo>
                    <a:pt x="34" y="194"/>
                  </a:lnTo>
                  <a:lnTo>
                    <a:pt x="34" y="195"/>
                  </a:lnTo>
                  <a:close/>
                  <a:moveTo>
                    <a:pt x="28" y="182"/>
                  </a:moveTo>
                  <a:lnTo>
                    <a:pt x="28" y="183"/>
                  </a:lnTo>
                  <a:lnTo>
                    <a:pt x="28" y="182"/>
                  </a:lnTo>
                  <a:lnTo>
                    <a:pt x="28" y="181"/>
                  </a:lnTo>
                  <a:lnTo>
                    <a:pt x="30" y="182"/>
                  </a:lnTo>
                  <a:lnTo>
                    <a:pt x="28" y="182"/>
                  </a:lnTo>
                  <a:close/>
                  <a:moveTo>
                    <a:pt x="28" y="181"/>
                  </a:moveTo>
                  <a:lnTo>
                    <a:pt x="28" y="180"/>
                  </a:lnTo>
                  <a:lnTo>
                    <a:pt x="28" y="179"/>
                  </a:lnTo>
                  <a:lnTo>
                    <a:pt x="30" y="180"/>
                  </a:lnTo>
                  <a:lnTo>
                    <a:pt x="28" y="180"/>
                  </a:lnTo>
                  <a:lnTo>
                    <a:pt x="30" y="181"/>
                  </a:lnTo>
                  <a:lnTo>
                    <a:pt x="28" y="181"/>
                  </a:lnTo>
                  <a:close/>
                  <a:moveTo>
                    <a:pt x="23" y="175"/>
                  </a:moveTo>
                  <a:lnTo>
                    <a:pt x="23" y="174"/>
                  </a:lnTo>
                  <a:lnTo>
                    <a:pt x="23" y="175"/>
                  </a:lnTo>
                  <a:close/>
                  <a:moveTo>
                    <a:pt x="48" y="173"/>
                  </a:moveTo>
                  <a:lnTo>
                    <a:pt x="47" y="173"/>
                  </a:lnTo>
                  <a:lnTo>
                    <a:pt x="48" y="173"/>
                  </a:lnTo>
                  <a:close/>
                  <a:moveTo>
                    <a:pt x="53" y="172"/>
                  </a:moveTo>
                  <a:lnTo>
                    <a:pt x="53" y="173"/>
                  </a:lnTo>
                  <a:lnTo>
                    <a:pt x="53" y="174"/>
                  </a:lnTo>
                  <a:lnTo>
                    <a:pt x="52" y="174"/>
                  </a:lnTo>
                  <a:lnTo>
                    <a:pt x="52" y="175"/>
                  </a:lnTo>
                  <a:lnTo>
                    <a:pt x="52" y="174"/>
                  </a:lnTo>
                  <a:lnTo>
                    <a:pt x="50" y="174"/>
                  </a:lnTo>
                  <a:lnTo>
                    <a:pt x="52" y="173"/>
                  </a:lnTo>
                  <a:lnTo>
                    <a:pt x="50" y="173"/>
                  </a:lnTo>
                  <a:lnTo>
                    <a:pt x="50" y="172"/>
                  </a:lnTo>
                  <a:lnTo>
                    <a:pt x="52" y="172"/>
                  </a:lnTo>
                  <a:lnTo>
                    <a:pt x="53" y="173"/>
                  </a:lnTo>
                  <a:lnTo>
                    <a:pt x="53" y="172"/>
                  </a:lnTo>
                  <a:close/>
                  <a:moveTo>
                    <a:pt x="30" y="169"/>
                  </a:moveTo>
                  <a:lnTo>
                    <a:pt x="30" y="170"/>
                  </a:lnTo>
                  <a:lnTo>
                    <a:pt x="30" y="169"/>
                  </a:lnTo>
                  <a:close/>
                  <a:moveTo>
                    <a:pt x="52" y="168"/>
                  </a:moveTo>
                  <a:lnTo>
                    <a:pt x="53" y="169"/>
                  </a:lnTo>
                  <a:lnTo>
                    <a:pt x="53" y="170"/>
                  </a:lnTo>
                  <a:lnTo>
                    <a:pt x="52" y="170"/>
                  </a:lnTo>
                  <a:lnTo>
                    <a:pt x="52" y="169"/>
                  </a:lnTo>
                  <a:lnTo>
                    <a:pt x="52" y="168"/>
                  </a:lnTo>
                  <a:close/>
                  <a:moveTo>
                    <a:pt x="84" y="138"/>
                  </a:moveTo>
                  <a:lnTo>
                    <a:pt x="84" y="139"/>
                  </a:lnTo>
                  <a:lnTo>
                    <a:pt x="85" y="138"/>
                  </a:lnTo>
                  <a:lnTo>
                    <a:pt x="85" y="139"/>
                  </a:lnTo>
                  <a:lnTo>
                    <a:pt x="85" y="140"/>
                  </a:lnTo>
                  <a:lnTo>
                    <a:pt x="84" y="140"/>
                  </a:lnTo>
                  <a:lnTo>
                    <a:pt x="84" y="139"/>
                  </a:lnTo>
                  <a:lnTo>
                    <a:pt x="84" y="138"/>
                  </a:lnTo>
                  <a:close/>
                  <a:moveTo>
                    <a:pt x="80" y="131"/>
                  </a:moveTo>
                  <a:lnTo>
                    <a:pt x="81" y="132"/>
                  </a:lnTo>
                  <a:lnTo>
                    <a:pt x="82" y="132"/>
                  </a:lnTo>
                  <a:lnTo>
                    <a:pt x="82" y="133"/>
                  </a:lnTo>
                  <a:lnTo>
                    <a:pt x="82" y="134"/>
                  </a:lnTo>
                  <a:lnTo>
                    <a:pt x="83" y="134"/>
                  </a:lnTo>
                  <a:lnTo>
                    <a:pt x="82" y="134"/>
                  </a:lnTo>
                  <a:lnTo>
                    <a:pt x="81" y="134"/>
                  </a:lnTo>
                  <a:lnTo>
                    <a:pt x="81" y="133"/>
                  </a:lnTo>
                  <a:lnTo>
                    <a:pt x="80" y="132"/>
                  </a:lnTo>
                  <a:lnTo>
                    <a:pt x="80" y="131"/>
                  </a:lnTo>
                  <a:close/>
                  <a:moveTo>
                    <a:pt x="32" y="1"/>
                  </a:moveTo>
                  <a:lnTo>
                    <a:pt x="33" y="1"/>
                  </a:lnTo>
                  <a:lnTo>
                    <a:pt x="33" y="2"/>
                  </a:lnTo>
                  <a:lnTo>
                    <a:pt x="34" y="2"/>
                  </a:lnTo>
                  <a:lnTo>
                    <a:pt x="34" y="4"/>
                  </a:lnTo>
                  <a:lnTo>
                    <a:pt x="34" y="2"/>
                  </a:lnTo>
                  <a:lnTo>
                    <a:pt x="35" y="2"/>
                  </a:lnTo>
                  <a:lnTo>
                    <a:pt x="35" y="1"/>
                  </a:lnTo>
                  <a:lnTo>
                    <a:pt x="37" y="1"/>
                  </a:lnTo>
                  <a:lnTo>
                    <a:pt x="38" y="1"/>
                  </a:lnTo>
                  <a:lnTo>
                    <a:pt x="38" y="4"/>
                  </a:lnTo>
                  <a:lnTo>
                    <a:pt x="39" y="4"/>
                  </a:lnTo>
                  <a:lnTo>
                    <a:pt x="39" y="5"/>
                  </a:lnTo>
                  <a:lnTo>
                    <a:pt x="40" y="5"/>
                  </a:lnTo>
                  <a:lnTo>
                    <a:pt x="40" y="6"/>
                  </a:lnTo>
                  <a:lnTo>
                    <a:pt x="40" y="7"/>
                  </a:lnTo>
                  <a:lnTo>
                    <a:pt x="40" y="8"/>
                  </a:lnTo>
                  <a:lnTo>
                    <a:pt x="40" y="9"/>
                  </a:lnTo>
                  <a:lnTo>
                    <a:pt x="39" y="9"/>
                  </a:lnTo>
                  <a:lnTo>
                    <a:pt x="39" y="11"/>
                  </a:lnTo>
                  <a:lnTo>
                    <a:pt x="39" y="12"/>
                  </a:lnTo>
                  <a:lnTo>
                    <a:pt x="40" y="13"/>
                  </a:lnTo>
                  <a:lnTo>
                    <a:pt x="40" y="14"/>
                  </a:lnTo>
                  <a:lnTo>
                    <a:pt x="41" y="14"/>
                  </a:lnTo>
                  <a:lnTo>
                    <a:pt x="41" y="15"/>
                  </a:lnTo>
                  <a:lnTo>
                    <a:pt x="42" y="15"/>
                  </a:lnTo>
                  <a:lnTo>
                    <a:pt x="42" y="14"/>
                  </a:lnTo>
                  <a:lnTo>
                    <a:pt x="43" y="15"/>
                  </a:lnTo>
                  <a:lnTo>
                    <a:pt x="45" y="15"/>
                  </a:lnTo>
                  <a:lnTo>
                    <a:pt x="45" y="14"/>
                  </a:lnTo>
                  <a:lnTo>
                    <a:pt x="46" y="14"/>
                  </a:lnTo>
                  <a:lnTo>
                    <a:pt x="46" y="13"/>
                  </a:lnTo>
                  <a:lnTo>
                    <a:pt x="47" y="13"/>
                  </a:lnTo>
                  <a:lnTo>
                    <a:pt x="48" y="13"/>
                  </a:lnTo>
                  <a:lnTo>
                    <a:pt x="48" y="14"/>
                  </a:lnTo>
                  <a:lnTo>
                    <a:pt x="49" y="14"/>
                  </a:lnTo>
                  <a:lnTo>
                    <a:pt x="50" y="14"/>
                  </a:lnTo>
                  <a:lnTo>
                    <a:pt x="52" y="14"/>
                  </a:lnTo>
                  <a:lnTo>
                    <a:pt x="52" y="15"/>
                  </a:lnTo>
                  <a:lnTo>
                    <a:pt x="50" y="15"/>
                  </a:lnTo>
                  <a:lnTo>
                    <a:pt x="50" y="16"/>
                  </a:lnTo>
                  <a:lnTo>
                    <a:pt x="50" y="18"/>
                  </a:lnTo>
                  <a:lnTo>
                    <a:pt x="52" y="18"/>
                  </a:lnTo>
                  <a:lnTo>
                    <a:pt x="52" y="20"/>
                  </a:lnTo>
                  <a:lnTo>
                    <a:pt x="52" y="21"/>
                  </a:lnTo>
                  <a:lnTo>
                    <a:pt x="53" y="21"/>
                  </a:lnTo>
                  <a:lnTo>
                    <a:pt x="54" y="22"/>
                  </a:lnTo>
                  <a:lnTo>
                    <a:pt x="53" y="23"/>
                  </a:lnTo>
                  <a:lnTo>
                    <a:pt x="53" y="25"/>
                  </a:lnTo>
                  <a:lnTo>
                    <a:pt x="53" y="26"/>
                  </a:lnTo>
                  <a:lnTo>
                    <a:pt x="53" y="27"/>
                  </a:lnTo>
                  <a:lnTo>
                    <a:pt x="53" y="28"/>
                  </a:lnTo>
                  <a:lnTo>
                    <a:pt x="53" y="29"/>
                  </a:lnTo>
                  <a:lnTo>
                    <a:pt x="53" y="30"/>
                  </a:lnTo>
                  <a:lnTo>
                    <a:pt x="52" y="30"/>
                  </a:lnTo>
                  <a:lnTo>
                    <a:pt x="52" y="32"/>
                  </a:lnTo>
                  <a:lnTo>
                    <a:pt x="50" y="32"/>
                  </a:lnTo>
                  <a:lnTo>
                    <a:pt x="50" y="33"/>
                  </a:lnTo>
                  <a:lnTo>
                    <a:pt x="52" y="33"/>
                  </a:lnTo>
                  <a:lnTo>
                    <a:pt x="53" y="34"/>
                  </a:lnTo>
                  <a:lnTo>
                    <a:pt x="53" y="35"/>
                  </a:lnTo>
                  <a:lnTo>
                    <a:pt x="53" y="36"/>
                  </a:lnTo>
                  <a:lnTo>
                    <a:pt x="53" y="37"/>
                  </a:lnTo>
                  <a:lnTo>
                    <a:pt x="54" y="37"/>
                  </a:lnTo>
                  <a:lnTo>
                    <a:pt x="54" y="39"/>
                  </a:lnTo>
                  <a:lnTo>
                    <a:pt x="53" y="39"/>
                  </a:lnTo>
                  <a:lnTo>
                    <a:pt x="53" y="40"/>
                  </a:lnTo>
                  <a:lnTo>
                    <a:pt x="52" y="41"/>
                  </a:lnTo>
                  <a:lnTo>
                    <a:pt x="52" y="42"/>
                  </a:lnTo>
                  <a:lnTo>
                    <a:pt x="52" y="43"/>
                  </a:lnTo>
                  <a:lnTo>
                    <a:pt x="52" y="44"/>
                  </a:lnTo>
                  <a:lnTo>
                    <a:pt x="50" y="44"/>
                  </a:lnTo>
                  <a:lnTo>
                    <a:pt x="50" y="46"/>
                  </a:lnTo>
                  <a:lnTo>
                    <a:pt x="52" y="46"/>
                  </a:lnTo>
                  <a:lnTo>
                    <a:pt x="53" y="46"/>
                  </a:lnTo>
                  <a:lnTo>
                    <a:pt x="53" y="47"/>
                  </a:lnTo>
                  <a:lnTo>
                    <a:pt x="54" y="47"/>
                  </a:lnTo>
                  <a:lnTo>
                    <a:pt x="55" y="47"/>
                  </a:lnTo>
                  <a:lnTo>
                    <a:pt x="55" y="46"/>
                  </a:lnTo>
                  <a:lnTo>
                    <a:pt x="56" y="46"/>
                  </a:lnTo>
                  <a:lnTo>
                    <a:pt x="57" y="43"/>
                  </a:lnTo>
                  <a:lnTo>
                    <a:pt x="59" y="43"/>
                  </a:lnTo>
                  <a:lnTo>
                    <a:pt x="59" y="42"/>
                  </a:lnTo>
                  <a:lnTo>
                    <a:pt x="60" y="42"/>
                  </a:lnTo>
                  <a:lnTo>
                    <a:pt x="60" y="41"/>
                  </a:lnTo>
                  <a:lnTo>
                    <a:pt x="61" y="41"/>
                  </a:lnTo>
                  <a:lnTo>
                    <a:pt x="62" y="40"/>
                  </a:lnTo>
                  <a:lnTo>
                    <a:pt x="62" y="39"/>
                  </a:lnTo>
                  <a:lnTo>
                    <a:pt x="62" y="37"/>
                  </a:lnTo>
                  <a:lnTo>
                    <a:pt x="63" y="37"/>
                  </a:lnTo>
                  <a:lnTo>
                    <a:pt x="63" y="39"/>
                  </a:lnTo>
                  <a:lnTo>
                    <a:pt x="66" y="36"/>
                  </a:lnTo>
                  <a:lnTo>
                    <a:pt x="66" y="35"/>
                  </a:lnTo>
                  <a:lnTo>
                    <a:pt x="67" y="35"/>
                  </a:lnTo>
                  <a:lnTo>
                    <a:pt x="67" y="36"/>
                  </a:lnTo>
                  <a:lnTo>
                    <a:pt x="68" y="36"/>
                  </a:lnTo>
                  <a:lnTo>
                    <a:pt x="69" y="37"/>
                  </a:lnTo>
                  <a:lnTo>
                    <a:pt x="70" y="39"/>
                  </a:lnTo>
                  <a:lnTo>
                    <a:pt x="71" y="39"/>
                  </a:lnTo>
                  <a:lnTo>
                    <a:pt x="71" y="40"/>
                  </a:lnTo>
                  <a:lnTo>
                    <a:pt x="73" y="40"/>
                  </a:lnTo>
                  <a:lnTo>
                    <a:pt x="74" y="40"/>
                  </a:lnTo>
                  <a:lnTo>
                    <a:pt x="74" y="41"/>
                  </a:lnTo>
                  <a:lnTo>
                    <a:pt x="75" y="42"/>
                  </a:lnTo>
                  <a:lnTo>
                    <a:pt x="75" y="41"/>
                  </a:lnTo>
                  <a:lnTo>
                    <a:pt x="76" y="41"/>
                  </a:lnTo>
                  <a:lnTo>
                    <a:pt x="76" y="40"/>
                  </a:lnTo>
                  <a:lnTo>
                    <a:pt x="77" y="40"/>
                  </a:lnTo>
                  <a:lnTo>
                    <a:pt x="78" y="39"/>
                  </a:lnTo>
                  <a:lnTo>
                    <a:pt x="80" y="39"/>
                  </a:lnTo>
                  <a:lnTo>
                    <a:pt x="80" y="37"/>
                  </a:lnTo>
                  <a:lnTo>
                    <a:pt x="80" y="36"/>
                  </a:lnTo>
                  <a:lnTo>
                    <a:pt x="81" y="36"/>
                  </a:lnTo>
                  <a:lnTo>
                    <a:pt x="81" y="35"/>
                  </a:lnTo>
                  <a:lnTo>
                    <a:pt x="82" y="35"/>
                  </a:lnTo>
                  <a:lnTo>
                    <a:pt x="82" y="34"/>
                  </a:lnTo>
                  <a:lnTo>
                    <a:pt x="82" y="33"/>
                  </a:lnTo>
                  <a:lnTo>
                    <a:pt x="82" y="32"/>
                  </a:lnTo>
                  <a:lnTo>
                    <a:pt x="83" y="32"/>
                  </a:lnTo>
                  <a:lnTo>
                    <a:pt x="84" y="32"/>
                  </a:lnTo>
                  <a:lnTo>
                    <a:pt x="85" y="32"/>
                  </a:lnTo>
                  <a:lnTo>
                    <a:pt x="87" y="33"/>
                  </a:lnTo>
                  <a:lnTo>
                    <a:pt x="88" y="33"/>
                  </a:lnTo>
                  <a:lnTo>
                    <a:pt x="89" y="33"/>
                  </a:lnTo>
                  <a:lnTo>
                    <a:pt x="89" y="34"/>
                  </a:lnTo>
                  <a:lnTo>
                    <a:pt x="90" y="34"/>
                  </a:lnTo>
                  <a:lnTo>
                    <a:pt x="91" y="34"/>
                  </a:lnTo>
                  <a:lnTo>
                    <a:pt x="92" y="34"/>
                  </a:lnTo>
                  <a:lnTo>
                    <a:pt x="94" y="35"/>
                  </a:lnTo>
                  <a:lnTo>
                    <a:pt x="94" y="37"/>
                  </a:lnTo>
                  <a:lnTo>
                    <a:pt x="95" y="37"/>
                  </a:lnTo>
                  <a:lnTo>
                    <a:pt x="96" y="39"/>
                  </a:lnTo>
                  <a:lnTo>
                    <a:pt x="96" y="40"/>
                  </a:lnTo>
                  <a:lnTo>
                    <a:pt x="97" y="41"/>
                  </a:lnTo>
                  <a:lnTo>
                    <a:pt x="98" y="42"/>
                  </a:lnTo>
                  <a:lnTo>
                    <a:pt x="99" y="43"/>
                  </a:lnTo>
                  <a:lnTo>
                    <a:pt x="99" y="44"/>
                  </a:lnTo>
                  <a:lnTo>
                    <a:pt x="101" y="44"/>
                  </a:lnTo>
                  <a:lnTo>
                    <a:pt x="103" y="46"/>
                  </a:lnTo>
                  <a:lnTo>
                    <a:pt x="104" y="47"/>
                  </a:lnTo>
                  <a:lnTo>
                    <a:pt x="104" y="48"/>
                  </a:lnTo>
                  <a:lnTo>
                    <a:pt x="105" y="48"/>
                  </a:lnTo>
                  <a:lnTo>
                    <a:pt x="105" y="49"/>
                  </a:lnTo>
                  <a:lnTo>
                    <a:pt x="105" y="50"/>
                  </a:lnTo>
                  <a:lnTo>
                    <a:pt x="106" y="51"/>
                  </a:lnTo>
                  <a:lnTo>
                    <a:pt x="105" y="54"/>
                  </a:lnTo>
                  <a:lnTo>
                    <a:pt x="105" y="55"/>
                  </a:lnTo>
                  <a:lnTo>
                    <a:pt x="105" y="56"/>
                  </a:lnTo>
                  <a:lnTo>
                    <a:pt x="106" y="56"/>
                  </a:lnTo>
                  <a:lnTo>
                    <a:pt x="106" y="57"/>
                  </a:lnTo>
                  <a:lnTo>
                    <a:pt x="106" y="60"/>
                  </a:lnTo>
                  <a:lnTo>
                    <a:pt x="106" y="61"/>
                  </a:lnTo>
                  <a:lnTo>
                    <a:pt x="106" y="62"/>
                  </a:lnTo>
                  <a:lnTo>
                    <a:pt x="106" y="63"/>
                  </a:lnTo>
                  <a:lnTo>
                    <a:pt x="107" y="63"/>
                  </a:lnTo>
                  <a:lnTo>
                    <a:pt x="109" y="63"/>
                  </a:lnTo>
                  <a:lnTo>
                    <a:pt x="109" y="64"/>
                  </a:lnTo>
                  <a:lnTo>
                    <a:pt x="109" y="65"/>
                  </a:lnTo>
                  <a:lnTo>
                    <a:pt x="110" y="65"/>
                  </a:lnTo>
                  <a:lnTo>
                    <a:pt x="111" y="65"/>
                  </a:lnTo>
                  <a:lnTo>
                    <a:pt x="111" y="67"/>
                  </a:lnTo>
                  <a:lnTo>
                    <a:pt x="111" y="68"/>
                  </a:lnTo>
                  <a:lnTo>
                    <a:pt x="111" y="69"/>
                  </a:lnTo>
                  <a:lnTo>
                    <a:pt x="112" y="69"/>
                  </a:lnTo>
                  <a:lnTo>
                    <a:pt x="114" y="70"/>
                  </a:lnTo>
                  <a:lnTo>
                    <a:pt x="117" y="70"/>
                  </a:lnTo>
                  <a:lnTo>
                    <a:pt x="117" y="71"/>
                  </a:lnTo>
                  <a:lnTo>
                    <a:pt x="116" y="71"/>
                  </a:lnTo>
                  <a:lnTo>
                    <a:pt x="117" y="72"/>
                  </a:lnTo>
                  <a:lnTo>
                    <a:pt x="117" y="74"/>
                  </a:lnTo>
                  <a:lnTo>
                    <a:pt x="118" y="74"/>
                  </a:lnTo>
                  <a:lnTo>
                    <a:pt x="119" y="74"/>
                  </a:lnTo>
                  <a:lnTo>
                    <a:pt x="119" y="75"/>
                  </a:lnTo>
                  <a:lnTo>
                    <a:pt x="120" y="75"/>
                  </a:lnTo>
                  <a:lnTo>
                    <a:pt x="120" y="76"/>
                  </a:lnTo>
                  <a:lnTo>
                    <a:pt x="120" y="77"/>
                  </a:lnTo>
                  <a:lnTo>
                    <a:pt x="120" y="78"/>
                  </a:lnTo>
                  <a:lnTo>
                    <a:pt x="120" y="79"/>
                  </a:lnTo>
                  <a:lnTo>
                    <a:pt x="119" y="81"/>
                  </a:lnTo>
                  <a:lnTo>
                    <a:pt x="120" y="81"/>
                  </a:lnTo>
                  <a:lnTo>
                    <a:pt x="120" y="82"/>
                  </a:lnTo>
                  <a:lnTo>
                    <a:pt x="119" y="83"/>
                  </a:lnTo>
                  <a:lnTo>
                    <a:pt x="119" y="84"/>
                  </a:lnTo>
                  <a:lnTo>
                    <a:pt x="119" y="85"/>
                  </a:lnTo>
                  <a:lnTo>
                    <a:pt x="120" y="85"/>
                  </a:lnTo>
                  <a:lnTo>
                    <a:pt x="120" y="86"/>
                  </a:lnTo>
                  <a:lnTo>
                    <a:pt x="121" y="86"/>
                  </a:lnTo>
                  <a:lnTo>
                    <a:pt x="120" y="86"/>
                  </a:lnTo>
                  <a:lnTo>
                    <a:pt x="120" y="88"/>
                  </a:lnTo>
                  <a:lnTo>
                    <a:pt x="120" y="89"/>
                  </a:lnTo>
                  <a:lnTo>
                    <a:pt x="120" y="90"/>
                  </a:lnTo>
                  <a:lnTo>
                    <a:pt x="120" y="91"/>
                  </a:lnTo>
                  <a:lnTo>
                    <a:pt x="120" y="92"/>
                  </a:lnTo>
                  <a:lnTo>
                    <a:pt x="120" y="93"/>
                  </a:lnTo>
                  <a:lnTo>
                    <a:pt x="120" y="95"/>
                  </a:lnTo>
                  <a:lnTo>
                    <a:pt x="120" y="96"/>
                  </a:lnTo>
                  <a:lnTo>
                    <a:pt x="119" y="96"/>
                  </a:lnTo>
                  <a:lnTo>
                    <a:pt x="118" y="96"/>
                  </a:lnTo>
                  <a:lnTo>
                    <a:pt x="118" y="97"/>
                  </a:lnTo>
                  <a:lnTo>
                    <a:pt x="117" y="97"/>
                  </a:lnTo>
                  <a:lnTo>
                    <a:pt x="116" y="98"/>
                  </a:lnTo>
                  <a:lnTo>
                    <a:pt x="114" y="98"/>
                  </a:lnTo>
                  <a:lnTo>
                    <a:pt x="113" y="97"/>
                  </a:lnTo>
                  <a:lnTo>
                    <a:pt x="113" y="96"/>
                  </a:lnTo>
                  <a:lnTo>
                    <a:pt x="112" y="96"/>
                  </a:lnTo>
                  <a:lnTo>
                    <a:pt x="111" y="96"/>
                  </a:lnTo>
                  <a:lnTo>
                    <a:pt x="111" y="95"/>
                  </a:lnTo>
                  <a:lnTo>
                    <a:pt x="111" y="96"/>
                  </a:lnTo>
                  <a:lnTo>
                    <a:pt x="110" y="96"/>
                  </a:lnTo>
                  <a:lnTo>
                    <a:pt x="109" y="96"/>
                  </a:lnTo>
                  <a:lnTo>
                    <a:pt x="107" y="96"/>
                  </a:lnTo>
                  <a:lnTo>
                    <a:pt x="107" y="97"/>
                  </a:lnTo>
                  <a:lnTo>
                    <a:pt x="107" y="96"/>
                  </a:lnTo>
                  <a:lnTo>
                    <a:pt x="106" y="96"/>
                  </a:lnTo>
                  <a:lnTo>
                    <a:pt x="106" y="97"/>
                  </a:lnTo>
                  <a:lnTo>
                    <a:pt x="105" y="96"/>
                  </a:lnTo>
                  <a:lnTo>
                    <a:pt x="104" y="96"/>
                  </a:lnTo>
                  <a:lnTo>
                    <a:pt x="103" y="96"/>
                  </a:lnTo>
                  <a:lnTo>
                    <a:pt x="102" y="96"/>
                  </a:lnTo>
                  <a:lnTo>
                    <a:pt x="101" y="97"/>
                  </a:lnTo>
                  <a:lnTo>
                    <a:pt x="99" y="96"/>
                  </a:lnTo>
                  <a:lnTo>
                    <a:pt x="99" y="97"/>
                  </a:lnTo>
                  <a:lnTo>
                    <a:pt x="98" y="97"/>
                  </a:lnTo>
                  <a:lnTo>
                    <a:pt x="98" y="96"/>
                  </a:lnTo>
                  <a:lnTo>
                    <a:pt x="97" y="96"/>
                  </a:lnTo>
                  <a:lnTo>
                    <a:pt x="96" y="96"/>
                  </a:lnTo>
                  <a:lnTo>
                    <a:pt x="96" y="95"/>
                  </a:lnTo>
                  <a:lnTo>
                    <a:pt x="95" y="95"/>
                  </a:lnTo>
                  <a:lnTo>
                    <a:pt x="95" y="96"/>
                  </a:lnTo>
                  <a:lnTo>
                    <a:pt x="94" y="96"/>
                  </a:lnTo>
                  <a:lnTo>
                    <a:pt x="92" y="96"/>
                  </a:lnTo>
                  <a:lnTo>
                    <a:pt x="91" y="97"/>
                  </a:lnTo>
                  <a:lnTo>
                    <a:pt x="90" y="97"/>
                  </a:lnTo>
                  <a:lnTo>
                    <a:pt x="89" y="97"/>
                  </a:lnTo>
                  <a:lnTo>
                    <a:pt x="88" y="97"/>
                  </a:lnTo>
                  <a:lnTo>
                    <a:pt x="87" y="98"/>
                  </a:lnTo>
                  <a:lnTo>
                    <a:pt x="87" y="99"/>
                  </a:lnTo>
                  <a:lnTo>
                    <a:pt x="85" y="99"/>
                  </a:lnTo>
                  <a:lnTo>
                    <a:pt x="85" y="100"/>
                  </a:lnTo>
                  <a:lnTo>
                    <a:pt x="85" y="102"/>
                  </a:lnTo>
                  <a:lnTo>
                    <a:pt x="84" y="103"/>
                  </a:lnTo>
                  <a:lnTo>
                    <a:pt x="84" y="104"/>
                  </a:lnTo>
                  <a:lnTo>
                    <a:pt x="83" y="105"/>
                  </a:lnTo>
                  <a:lnTo>
                    <a:pt x="83" y="106"/>
                  </a:lnTo>
                  <a:lnTo>
                    <a:pt x="82" y="107"/>
                  </a:lnTo>
                  <a:lnTo>
                    <a:pt x="82" y="109"/>
                  </a:lnTo>
                  <a:lnTo>
                    <a:pt x="81" y="109"/>
                  </a:lnTo>
                  <a:lnTo>
                    <a:pt x="80" y="109"/>
                  </a:lnTo>
                  <a:lnTo>
                    <a:pt x="78" y="109"/>
                  </a:lnTo>
                  <a:lnTo>
                    <a:pt x="78" y="110"/>
                  </a:lnTo>
                  <a:lnTo>
                    <a:pt x="78" y="111"/>
                  </a:lnTo>
                  <a:lnTo>
                    <a:pt x="78" y="112"/>
                  </a:lnTo>
                  <a:lnTo>
                    <a:pt x="80" y="113"/>
                  </a:lnTo>
                  <a:lnTo>
                    <a:pt x="80" y="116"/>
                  </a:lnTo>
                  <a:lnTo>
                    <a:pt x="81" y="117"/>
                  </a:lnTo>
                  <a:lnTo>
                    <a:pt x="81" y="118"/>
                  </a:lnTo>
                  <a:lnTo>
                    <a:pt x="82" y="118"/>
                  </a:lnTo>
                  <a:lnTo>
                    <a:pt x="82" y="119"/>
                  </a:lnTo>
                  <a:lnTo>
                    <a:pt x="82" y="120"/>
                  </a:lnTo>
                  <a:lnTo>
                    <a:pt x="82" y="121"/>
                  </a:lnTo>
                  <a:lnTo>
                    <a:pt x="82" y="123"/>
                  </a:lnTo>
                  <a:lnTo>
                    <a:pt x="82" y="124"/>
                  </a:lnTo>
                  <a:lnTo>
                    <a:pt x="83" y="124"/>
                  </a:lnTo>
                  <a:lnTo>
                    <a:pt x="84" y="124"/>
                  </a:lnTo>
                  <a:lnTo>
                    <a:pt x="85" y="125"/>
                  </a:lnTo>
                  <a:lnTo>
                    <a:pt x="85" y="126"/>
                  </a:lnTo>
                  <a:lnTo>
                    <a:pt x="87" y="126"/>
                  </a:lnTo>
                  <a:lnTo>
                    <a:pt x="87" y="127"/>
                  </a:lnTo>
                  <a:lnTo>
                    <a:pt x="85" y="128"/>
                  </a:lnTo>
                  <a:lnTo>
                    <a:pt x="85" y="131"/>
                  </a:lnTo>
                  <a:lnTo>
                    <a:pt x="85" y="132"/>
                  </a:lnTo>
                  <a:lnTo>
                    <a:pt x="87" y="133"/>
                  </a:lnTo>
                  <a:lnTo>
                    <a:pt x="88" y="134"/>
                  </a:lnTo>
                  <a:lnTo>
                    <a:pt x="89" y="135"/>
                  </a:lnTo>
                  <a:lnTo>
                    <a:pt x="89" y="137"/>
                  </a:lnTo>
                  <a:lnTo>
                    <a:pt x="90" y="138"/>
                  </a:lnTo>
                  <a:lnTo>
                    <a:pt x="90" y="139"/>
                  </a:lnTo>
                  <a:lnTo>
                    <a:pt x="90" y="138"/>
                  </a:lnTo>
                  <a:lnTo>
                    <a:pt x="89" y="138"/>
                  </a:lnTo>
                  <a:lnTo>
                    <a:pt x="88" y="135"/>
                  </a:lnTo>
                  <a:lnTo>
                    <a:pt x="88" y="134"/>
                  </a:lnTo>
                  <a:lnTo>
                    <a:pt x="87" y="133"/>
                  </a:lnTo>
                  <a:lnTo>
                    <a:pt x="85" y="131"/>
                  </a:lnTo>
                  <a:lnTo>
                    <a:pt x="84" y="131"/>
                  </a:lnTo>
                  <a:lnTo>
                    <a:pt x="84" y="132"/>
                  </a:lnTo>
                  <a:lnTo>
                    <a:pt x="84" y="133"/>
                  </a:lnTo>
                  <a:lnTo>
                    <a:pt x="84" y="132"/>
                  </a:lnTo>
                  <a:lnTo>
                    <a:pt x="83" y="132"/>
                  </a:lnTo>
                  <a:lnTo>
                    <a:pt x="81" y="131"/>
                  </a:lnTo>
                  <a:lnTo>
                    <a:pt x="80" y="131"/>
                  </a:lnTo>
                  <a:lnTo>
                    <a:pt x="81" y="131"/>
                  </a:lnTo>
                  <a:lnTo>
                    <a:pt x="80" y="130"/>
                  </a:lnTo>
                  <a:lnTo>
                    <a:pt x="81" y="130"/>
                  </a:lnTo>
                  <a:lnTo>
                    <a:pt x="81" y="128"/>
                  </a:lnTo>
                  <a:lnTo>
                    <a:pt x="81" y="127"/>
                  </a:lnTo>
                  <a:lnTo>
                    <a:pt x="81" y="128"/>
                  </a:lnTo>
                  <a:lnTo>
                    <a:pt x="80" y="128"/>
                  </a:lnTo>
                  <a:lnTo>
                    <a:pt x="80" y="127"/>
                  </a:lnTo>
                  <a:lnTo>
                    <a:pt x="78" y="127"/>
                  </a:lnTo>
                  <a:lnTo>
                    <a:pt x="80" y="127"/>
                  </a:lnTo>
                  <a:lnTo>
                    <a:pt x="80" y="128"/>
                  </a:lnTo>
                  <a:lnTo>
                    <a:pt x="78" y="127"/>
                  </a:lnTo>
                  <a:lnTo>
                    <a:pt x="77" y="127"/>
                  </a:lnTo>
                  <a:lnTo>
                    <a:pt x="77" y="126"/>
                  </a:lnTo>
                  <a:lnTo>
                    <a:pt x="77" y="125"/>
                  </a:lnTo>
                  <a:lnTo>
                    <a:pt x="76" y="125"/>
                  </a:lnTo>
                  <a:lnTo>
                    <a:pt x="76" y="126"/>
                  </a:lnTo>
                  <a:lnTo>
                    <a:pt x="76" y="125"/>
                  </a:lnTo>
                  <a:lnTo>
                    <a:pt x="75" y="125"/>
                  </a:lnTo>
                  <a:lnTo>
                    <a:pt x="75" y="124"/>
                  </a:lnTo>
                  <a:lnTo>
                    <a:pt x="75" y="125"/>
                  </a:lnTo>
                  <a:lnTo>
                    <a:pt x="74" y="125"/>
                  </a:lnTo>
                  <a:lnTo>
                    <a:pt x="75" y="125"/>
                  </a:lnTo>
                  <a:lnTo>
                    <a:pt x="74" y="124"/>
                  </a:lnTo>
                  <a:lnTo>
                    <a:pt x="73" y="123"/>
                  </a:lnTo>
                  <a:lnTo>
                    <a:pt x="71" y="123"/>
                  </a:lnTo>
                  <a:lnTo>
                    <a:pt x="70" y="124"/>
                  </a:lnTo>
                  <a:lnTo>
                    <a:pt x="69" y="124"/>
                  </a:lnTo>
                  <a:lnTo>
                    <a:pt x="68" y="124"/>
                  </a:lnTo>
                  <a:lnTo>
                    <a:pt x="67" y="124"/>
                  </a:lnTo>
                  <a:lnTo>
                    <a:pt x="66" y="124"/>
                  </a:lnTo>
                  <a:lnTo>
                    <a:pt x="63" y="123"/>
                  </a:lnTo>
                  <a:lnTo>
                    <a:pt x="62" y="123"/>
                  </a:lnTo>
                  <a:lnTo>
                    <a:pt x="62" y="124"/>
                  </a:lnTo>
                  <a:lnTo>
                    <a:pt x="61" y="124"/>
                  </a:lnTo>
                  <a:lnTo>
                    <a:pt x="60" y="124"/>
                  </a:lnTo>
                  <a:lnTo>
                    <a:pt x="60" y="123"/>
                  </a:lnTo>
                  <a:lnTo>
                    <a:pt x="60" y="121"/>
                  </a:lnTo>
                  <a:lnTo>
                    <a:pt x="60" y="120"/>
                  </a:lnTo>
                  <a:lnTo>
                    <a:pt x="60" y="119"/>
                  </a:lnTo>
                  <a:lnTo>
                    <a:pt x="60" y="118"/>
                  </a:lnTo>
                  <a:lnTo>
                    <a:pt x="60" y="117"/>
                  </a:lnTo>
                  <a:lnTo>
                    <a:pt x="60" y="116"/>
                  </a:lnTo>
                  <a:lnTo>
                    <a:pt x="60" y="114"/>
                  </a:lnTo>
                  <a:lnTo>
                    <a:pt x="60" y="113"/>
                  </a:lnTo>
                  <a:lnTo>
                    <a:pt x="60" y="112"/>
                  </a:lnTo>
                  <a:lnTo>
                    <a:pt x="60" y="111"/>
                  </a:lnTo>
                  <a:lnTo>
                    <a:pt x="60" y="110"/>
                  </a:lnTo>
                  <a:lnTo>
                    <a:pt x="60" y="111"/>
                  </a:lnTo>
                  <a:lnTo>
                    <a:pt x="59" y="111"/>
                  </a:lnTo>
                  <a:lnTo>
                    <a:pt x="57" y="110"/>
                  </a:lnTo>
                  <a:lnTo>
                    <a:pt x="56" y="110"/>
                  </a:lnTo>
                  <a:lnTo>
                    <a:pt x="55" y="110"/>
                  </a:lnTo>
                  <a:lnTo>
                    <a:pt x="54" y="109"/>
                  </a:lnTo>
                  <a:lnTo>
                    <a:pt x="55" y="109"/>
                  </a:lnTo>
                  <a:lnTo>
                    <a:pt x="54" y="109"/>
                  </a:lnTo>
                  <a:lnTo>
                    <a:pt x="54" y="110"/>
                  </a:lnTo>
                  <a:lnTo>
                    <a:pt x="53" y="110"/>
                  </a:lnTo>
                  <a:lnTo>
                    <a:pt x="52" y="110"/>
                  </a:lnTo>
                  <a:lnTo>
                    <a:pt x="50" y="110"/>
                  </a:lnTo>
                  <a:lnTo>
                    <a:pt x="49" y="110"/>
                  </a:lnTo>
                  <a:lnTo>
                    <a:pt x="48" y="111"/>
                  </a:lnTo>
                  <a:lnTo>
                    <a:pt x="47" y="111"/>
                  </a:lnTo>
                  <a:lnTo>
                    <a:pt x="47" y="112"/>
                  </a:lnTo>
                  <a:lnTo>
                    <a:pt x="47" y="113"/>
                  </a:lnTo>
                  <a:lnTo>
                    <a:pt x="46" y="113"/>
                  </a:lnTo>
                  <a:lnTo>
                    <a:pt x="47" y="114"/>
                  </a:lnTo>
                  <a:lnTo>
                    <a:pt x="48" y="116"/>
                  </a:lnTo>
                  <a:lnTo>
                    <a:pt x="48" y="117"/>
                  </a:lnTo>
                  <a:lnTo>
                    <a:pt x="48" y="118"/>
                  </a:lnTo>
                  <a:lnTo>
                    <a:pt x="48" y="119"/>
                  </a:lnTo>
                  <a:lnTo>
                    <a:pt x="48" y="120"/>
                  </a:lnTo>
                  <a:lnTo>
                    <a:pt x="47" y="121"/>
                  </a:lnTo>
                  <a:lnTo>
                    <a:pt x="47" y="123"/>
                  </a:lnTo>
                  <a:lnTo>
                    <a:pt x="47" y="124"/>
                  </a:lnTo>
                  <a:lnTo>
                    <a:pt x="48" y="125"/>
                  </a:lnTo>
                  <a:lnTo>
                    <a:pt x="48" y="126"/>
                  </a:lnTo>
                  <a:lnTo>
                    <a:pt x="48" y="127"/>
                  </a:lnTo>
                  <a:lnTo>
                    <a:pt x="48" y="128"/>
                  </a:lnTo>
                  <a:lnTo>
                    <a:pt x="48" y="130"/>
                  </a:lnTo>
                  <a:lnTo>
                    <a:pt x="48" y="131"/>
                  </a:lnTo>
                  <a:lnTo>
                    <a:pt x="49" y="131"/>
                  </a:lnTo>
                  <a:lnTo>
                    <a:pt x="48" y="131"/>
                  </a:lnTo>
                  <a:lnTo>
                    <a:pt x="48" y="132"/>
                  </a:lnTo>
                  <a:lnTo>
                    <a:pt x="48" y="133"/>
                  </a:lnTo>
                  <a:lnTo>
                    <a:pt x="47" y="134"/>
                  </a:lnTo>
                  <a:lnTo>
                    <a:pt x="47" y="135"/>
                  </a:lnTo>
                  <a:lnTo>
                    <a:pt x="47" y="137"/>
                  </a:lnTo>
                  <a:lnTo>
                    <a:pt x="46" y="137"/>
                  </a:lnTo>
                  <a:lnTo>
                    <a:pt x="47" y="138"/>
                  </a:lnTo>
                  <a:lnTo>
                    <a:pt x="46" y="138"/>
                  </a:lnTo>
                  <a:lnTo>
                    <a:pt x="45" y="140"/>
                  </a:lnTo>
                  <a:lnTo>
                    <a:pt x="45" y="141"/>
                  </a:lnTo>
                  <a:lnTo>
                    <a:pt x="45" y="142"/>
                  </a:lnTo>
                  <a:lnTo>
                    <a:pt x="43" y="144"/>
                  </a:lnTo>
                  <a:lnTo>
                    <a:pt x="43" y="145"/>
                  </a:lnTo>
                  <a:lnTo>
                    <a:pt x="43" y="146"/>
                  </a:lnTo>
                  <a:lnTo>
                    <a:pt x="45" y="146"/>
                  </a:lnTo>
                  <a:lnTo>
                    <a:pt x="43" y="147"/>
                  </a:lnTo>
                  <a:lnTo>
                    <a:pt x="43" y="146"/>
                  </a:lnTo>
                  <a:lnTo>
                    <a:pt x="43" y="147"/>
                  </a:lnTo>
                  <a:lnTo>
                    <a:pt x="43" y="148"/>
                  </a:lnTo>
                  <a:lnTo>
                    <a:pt x="43" y="149"/>
                  </a:lnTo>
                  <a:lnTo>
                    <a:pt x="43" y="151"/>
                  </a:lnTo>
                  <a:lnTo>
                    <a:pt x="43" y="152"/>
                  </a:lnTo>
                  <a:lnTo>
                    <a:pt x="42" y="152"/>
                  </a:lnTo>
                  <a:lnTo>
                    <a:pt x="42" y="153"/>
                  </a:lnTo>
                  <a:lnTo>
                    <a:pt x="42" y="154"/>
                  </a:lnTo>
                  <a:lnTo>
                    <a:pt x="41" y="154"/>
                  </a:lnTo>
                  <a:lnTo>
                    <a:pt x="41" y="155"/>
                  </a:lnTo>
                  <a:lnTo>
                    <a:pt x="41" y="156"/>
                  </a:lnTo>
                  <a:lnTo>
                    <a:pt x="40" y="156"/>
                  </a:lnTo>
                  <a:lnTo>
                    <a:pt x="40" y="158"/>
                  </a:lnTo>
                  <a:lnTo>
                    <a:pt x="41" y="158"/>
                  </a:lnTo>
                  <a:lnTo>
                    <a:pt x="40" y="158"/>
                  </a:lnTo>
                  <a:lnTo>
                    <a:pt x="40" y="159"/>
                  </a:lnTo>
                  <a:lnTo>
                    <a:pt x="41" y="159"/>
                  </a:lnTo>
                  <a:lnTo>
                    <a:pt x="41" y="160"/>
                  </a:lnTo>
                  <a:lnTo>
                    <a:pt x="40" y="160"/>
                  </a:lnTo>
                  <a:lnTo>
                    <a:pt x="39" y="160"/>
                  </a:lnTo>
                  <a:lnTo>
                    <a:pt x="39" y="161"/>
                  </a:lnTo>
                  <a:lnTo>
                    <a:pt x="40" y="161"/>
                  </a:lnTo>
                  <a:lnTo>
                    <a:pt x="40" y="162"/>
                  </a:lnTo>
                  <a:lnTo>
                    <a:pt x="41" y="161"/>
                  </a:lnTo>
                  <a:lnTo>
                    <a:pt x="41" y="162"/>
                  </a:lnTo>
                  <a:lnTo>
                    <a:pt x="40" y="162"/>
                  </a:lnTo>
                  <a:lnTo>
                    <a:pt x="40" y="163"/>
                  </a:lnTo>
                  <a:lnTo>
                    <a:pt x="40" y="165"/>
                  </a:lnTo>
                  <a:lnTo>
                    <a:pt x="40" y="166"/>
                  </a:lnTo>
                  <a:lnTo>
                    <a:pt x="40" y="167"/>
                  </a:lnTo>
                  <a:lnTo>
                    <a:pt x="40" y="168"/>
                  </a:lnTo>
                  <a:lnTo>
                    <a:pt x="40" y="169"/>
                  </a:lnTo>
                  <a:lnTo>
                    <a:pt x="40" y="170"/>
                  </a:lnTo>
                  <a:lnTo>
                    <a:pt x="40" y="172"/>
                  </a:lnTo>
                  <a:lnTo>
                    <a:pt x="41" y="172"/>
                  </a:lnTo>
                  <a:lnTo>
                    <a:pt x="41" y="173"/>
                  </a:lnTo>
                  <a:lnTo>
                    <a:pt x="42" y="174"/>
                  </a:lnTo>
                  <a:lnTo>
                    <a:pt x="42" y="175"/>
                  </a:lnTo>
                  <a:lnTo>
                    <a:pt x="41" y="176"/>
                  </a:lnTo>
                  <a:lnTo>
                    <a:pt x="42" y="177"/>
                  </a:lnTo>
                  <a:lnTo>
                    <a:pt x="43" y="177"/>
                  </a:lnTo>
                  <a:lnTo>
                    <a:pt x="43" y="179"/>
                  </a:lnTo>
                  <a:lnTo>
                    <a:pt x="45" y="179"/>
                  </a:lnTo>
                  <a:lnTo>
                    <a:pt x="46" y="177"/>
                  </a:lnTo>
                  <a:lnTo>
                    <a:pt x="46" y="176"/>
                  </a:lnTo>
                  <a:lnTo>
                    <a:pt x="47" y="177"/>
                  </a:lnTo>
                  <a:lnTo>
                    <a:pt x="47" y="176"/>
                  </a:lnTo>
                  <a:lnTo>
                    <a:pt x="48" y="176"/>
                  </a:lnTo>
                  <a:lnTo>
                    <a:pt x="49" y="176"/>
                  </a:lnTo>
                  <a:lnTo>
                    <a:pt x="50" y="176"/>
                  </a:lnTo>
                  <a:lnTo>
                    <a:pt x="50" y="177"/>
                  </a:lnTo>
                  <a:lnTo>
                    <a:pt x="50" y="179"/>
                  </a:lnTo>
                  <a:lnTo>
                    <a:pt x="50" y="180"/>
                  </a:lnTo>
                  <a:lnTo>
                    <a:pt x="52" y="180"/>
                  </a:lnTo>
                  <a:lnTo>
                    <a:pt x="52" y="181"/>
                  </a:lnTo>
                  <a:lnTo>
                    <a:pt x="52" y="182"/>
                  </a:lnTo>
                  <a:lnTo>
                    <a:pt x="52" y="183"/>
                  </a:lnTo>
                  <a:lnTo>
                    <a:pt x="52" y="184"/>
                  </a:lnTo>
                  <a:lnTo>
                    <a:pt x="53" y="187"/>
                  </a:lnTo>
                  <a:lnTo>
                    <a:pt x="53" y="188"/>
                  </a:lnTo>
                  <a:lnTo>
                    <a:pt x="54" y="188"/>
                  </a:lnTo>
                  <a:lnTo>
                    <a:pt x="54" y="189"/>
                  </a:lnTo>
                  <a:lnTo>
                    <a:pt x="54" y="190"/>
                  </a:lnTo>
                  <a:lnTo>
                    <a:pt x="55" y="190"/>
                  </a:lnTo>
                  <a:lnTo>
                    <a:pt x="55" y="191"/>
                  </a:lnTo>
                  <a:lnTo>
                    <a:pt x="55" y="190"/>
                  </a:lnTo>
                  <a:lnTo>
                    <a:pt x="55" y="189"/>
                  </a:lnTo>
                  <a:lnTo>
                    <a:pt x="56" y="189"/>
                  </a:lnTo>
                  <a:lnTo>
                    <a:pt x="56" y="190"/>
                  </a:lnTo>
                  <a:lnTo>
                    <a:pt x="57" y="193"/>
                  </a:lnTo>
                  <a:lnTo>
                    <a:pt x="57" y="195"/>
                  </a:lnTo>
                  <a:lnTo>
                    <a:pt x="59" y="198"/>
                  </a:lnTo>
                  <a:lnTo>
                    <a:pt x="59" y="200"/>
                  </a:lnTo>
                  <a:lnTo>
                    <a:pt x="60" y="205"/>
                  </a:lnTo>
                  <a:lnTo>
                    <a:pt x="61" y="208"/>
                  </a:lnTo>
                  <a:lnTo>
                    <a:pt x="62" y="209"/>
                  </a:lnTo>
                  <a:lnTo>
                    <a:pt x="62" y="210"/>
                  </a:lnTo>
                  <a:lnTo>
                    <a:pt x="61" y="209"/>
                  </a:lnTo>
                  <a:lnTo>
                    <a:pt x="60" y="209"/>
                  </a:lnTo>
                  <a:lnTo>
                    <a:pt x="60" y="208"/>
                  </a:lnTo>
                  <a:lnTo>
                    <a:pt x="60" y="207"/>
                  </a:lnTo>
                  <a:lnTo>
                    <a:pt x="60" y="205"/>
                  </a:lnTo>
                  <a:lnTo>
                    <a:pt x="60" y="204"/>
                  </a:lnTo>
                  <a:lnTo>
                    <a:pt x="59" y="204"/>
                  </a:lnTo>
                  <a:lnTo>
                    <a:pt x="57" y="204"/>
                  </a:lnTo>
                  <a:lnTo>
                    <a:pt x="59" y="203"/>
                  </a:lnTo>
                  <a:lnTo>
                    <a:pt x="59" y="202"/>
                  </a:lnTo>
                  <a:lnTo>
                    <a:pt x="57" y="201"/>
                  </a:lnTo>
                  <a:lnTo>
                    <a:pt x="56" y="201"/>
                  </a:lnTo>
                  <a:lnTo>
                    <a:pt x="56" y="202"/>
                  </a:lnTo>
                  <a:lnTo>
                    <a:pt x="56" y="203"/>
                  </a:lnTo>
                  <a:lnTo>
                    <a:pt x="56" y="204"/>
                  </a:lnTo>
                  <a:lnTo>
                    <a:pt x="56" y="205"/>
                  </a:lnTo>
                  <a:lnTo>
                    <a:pt x="57" y="205"/>
                  </a:lnTo>
                  <a:lnTo>
                    <a:pt x="57" y="207"/>
                  </a:lnTo>
                  <a:lnTo>
                    <a:pt x="59" y="208"/>
                  </a:lnTo>
                  <a:lnTo>
                    <a:pt x="60" y="208"/>
                  </a:lnTo>
                  <a:lnTo>
                    <a:pt x="60" y="209"/>
                  </a:lnTo>
                  <a:lnTo>
                    <a:pt x="60" y="210"/>
                  </a:lnTo>
                  <a:lnTo>
                    <a:pt x="61" y="210"/>
                  </a:lnTo>
                  <a:lnTo>
                    <a:pt x="61" y="211"/>
                  </a:lnTo>
                  <a:lnTo>
                    <a:pt x="62" y="211"/>
                  </a:lnTo>
                  <a:lnTo>
                    <a:pt x="62" y="210"/>
                  </a:lnTo>
                  <a:lnTo>
                    <a:pt x="62" y="209"/>
                  </a:lnTo>
                  <a:lnTo>
                    <a:pt x="63" y="210"/>
                  </a:lnTo>
                  <a:lnTo>
                    <a:pt x="66" y="214"/>
                  </a:lnTo>
                  <a:lnTo>
                    <a:pt x="67" y="214"/>
                  </a:lnTo>
                  <a:lnTo>
                    <a:pt x="68" y="215"/>
                  </a:lnTo>
                  <a:lnTo>
                    <a:pt x="69" y="215"/>
                  </a:lnTo>
                  <a:lnTo>
                    <a:pt x="71" y="215"/>
                  </a:lnTo>
                  <a:lnTo>
                    <a:pt x="73" y="215"/>
                  </a:lnTo>
                  <a:lnTo>
                    <a:pt x="74" y="215"/>
                  </a:lnTo>
                  <a:lnTo>
                    <a:pt x="73" y="215"/>
                  </a:lnTo>
                  <a:lnTo>
                    <a:pt x="73" y="214"/>
                  </a:lnTo>
                  <a:lnTo>
                    <a:pt x="71" y="214"/>
                  </a:lnTo>
                  <a:lnTo>
                    <a:pt x="73" y="214"/>
                  </a:lnTo>
                  <a:lnTo>
                    <a:pt x="74" y="214"/>
                  </a:lnTo>
                  <a:lnTo>
                    <a:pt x="74" y="215"/>
                  </a:lnTo>
                  <a:lnTo>
                    <a:pt x="75" y="215"/>
                  </a:lnTo>
                  <a:lnTo>
                    <a:pt x="76" y="215"/>
                  </a:lnTo>
                  <a:lnTo>
                    <a:pt x="76" y="216"/>
                  </a:lnTo>
                  <a:lnTo>
                    <a:pt x="78" y="218"/>
                  </a:lnTo>
                  <a:lnTo>
                    <a:pt x="78" y="219"/>
                  </a:lnTo>
                  <a:lnTo>
                    <a:pt x="80" y="221"/>
                  </a:lnTo>
                  <a:lnTo>
                    <a:pt x="80" y="222"/>
                  </a:lnTo>
                  <a:lnTo>
                    <a:pt x="82" y="222"/>
                  </a:lnTo>
                  <a:lnTo>
                    <a:pt x="83" y="224"/>
                  </a:lnTo>
                  <a:lnTo>
                    <a:pt x="84" y="224"/>
                  </a:lnTo>
                  <a:lnTo>
                    <a:pt x="84" y="225"/>
                  </a:lnTo>
                  <a:lnTo>
                    <a:pt x="84" y="226"/>
                  </a:lnTo>
                  <a:lnTo>
                    <a:pt x="84" y="228"/>
                  </a:lnTo>
                  <a:lnTo>
                    <a:pt x="83" y="228"/>
                  </a:lnTo>
                  <a:lnTo>
                    <a:pt x="82" y="229"/>
                  </a:lnTo>
                  <a:lnTo>
                    <a:pt x="82" y="230"/>
                  </a:lnTo>
                  <a:lnTo>
                    <a:pt x="82" y="231"/>
                  </a:lnTo>
                  <a:lnTo>
                    <a:pt x="81" y="231"/>
                  </a:lnTo>
                  <a:lnTo>
                    <a:pt x="81" y="232"/>
                  </a:lnTo>
                  <a:lnTo>
                    <a:pt x="81" y="233"/>
                  </a:lnTo>
                  <a:lnTo>
                    <a:pt x="80" y="232"/>
                  </a:lnTo>
                  <a:lnTo>
                    <a:pt x="78" y="232"/>
                  </a:lnTo>
                  <a:lnTo>
                    <a:pt x="78" y="231"/>
                  </a:lnTo>
                  <a:lnTo>
                    <a:pt x="77" y="231"/>
                  </a:lnTo>
                  <a:lnTo>
                    <a:pt x="77" y="230"/>
                  </a:lnTo>
                  <a:lnTo>
                    <a:pt x="76" y="230"/>
                  </a:lnTo>
                  <a:lnTo>
                    <a:pt x="75" y="231"/>
                  </a:lnTo>
                  <a:lnTo>
                    <a:pt x="74" y="231"/>
                  </a:lnTo>
                  <a:lnTo>
                    <a:pt x="74" y="232"/>
                  </a:lnTo>
                  <a:lnTo>
                    <a:pt x="73" y="232"/>
                  </a:lnTo>
                  <a:lnTo>
                    <a:pt x="73" y="233"/>
                  </a:lnTo>
                  <a:lnTo>
                    <a:pt x="71" y="235"/>
                  </a:lnTo>
                  <a:lnTo>
                    <a:pt x="70" y="235"/>
                  </a:lnTo>
                  <a:lnTo>
                    <a:pt x="70" y="233"/>
                  </a:lnTo>
                  <a:lnTo>
                    <a:pt x="69" y="233"/>
                  </a:lnTo>
                  <a:lnTo>
                    <a:pt x="69" y="232"/>
                  </a:lnTo>
                  <a:lnTo>
                    <a:pt x="69" y="231"/>
                  </a:lnTo>
                  <a:lnTo>
                    <a:pt x="69" y="230"/>
                  </a:lnTo>
                  <a:lnTo>
                    <a:pt x="70" y="230"/>
                  </a:lnTo>
                  <a:lnTo>
                    <a:pt x="70" y="229"/>
                  </a:lnTo>
                  <a:lnTo>
                    <a:pt x="70" y="228"/>
                  </a:lnTo>
                  <a:lnTo>
                    <a:pt x="70" y="226"/>
                  </a:lnTo>
                  <a:lnTo>
                    <a:pt x="70" y="225"/>
                  </a:lnTo>
                  <a:lnTo>
                    <a:pt x="69" y="225"/>
                  </a:lnTo>
                  <a:lnTo>
                    <a:pt x="69" y="224"/>
                  </a:lnTo>
                  <a:lnTo>
                    <a:pt x="68" y="224"/>
                  </a:lnTo>
                  <a:lnTo>
                    <a:pt x="68" y="225"/>
                  </a:lnTo>
                  <a:lnTo>
                    <a:pt x="67" y="225"/>
                  </a:lnTo>
                  <a:lnTo>
                    <a:pt x="67" y="224"/>
                  </a:lnTo>
                  <a:lnTo>
                    <a:pt x="67" y="223"/>
                  </a:lnTo>
                  <a:lnTo>
                    <a:pt x="66" y="223"/>
                  </a:lnTo>
                  <a:lnTo>
                    <a:pt x="66" y="222"/>
                  </a:lnTo>
                  <a:lnTo>
                    <a:pt x="64" y="222"/>
                  </a:lnTo>
                  <a:lnTo>
                    <a:pt x="64" y="221"/>
                  </a:lnTo>
                  <a:lnTo>
                    <a:pt x="63" y="222"/>
                  </a:lnTo>
                  <a:lnTo>
                    <a:pt x="62" y="221"/>
                  </a:lnTo>
                  <a:lnTo>
                    <a:pt x="61" y="221"/>
                  </a:lnTo>
                  <a:lnTo>
                    <a:pt x="60" y="221"/>
                  </a:lnTo>
                  <a:lnTo>
                    <a:pt x="60" y="219"/>
                  </a:lnTo>
                  <a:lnTo>
                    <a:pt x="59" y="219"/>
                  </a:lnTo>
                  <a:lnTo>
                    <a:pt x="59" y="218"/>
                  </a:lnTo>
                  <a:lnTo>
                    <a:pt x="59" y="217"/>
                  </a:lnTo>
                  <a:lnTo>
                    <a:pt x="57" y="217"/>
                  </a:lnTo>
                  <a:lnTo>
                    <a:pt x="57" y="218"/>
                  </a:lnTo>
                  <a:lnTo>
                    <a:pt x="57" y="217"/>
                  </a:lnTo>
                  <a:lnTo>
                    <a:pt x="57" y="218"/>
                  </a:lnTo>
                  <a:lnTo>
                    <a:pt x="56" y="219"/>
                  </a:lnTo>
                  <a:lnTo>
                    <a:pt x="57" y="219"/>
                  </a:lnTo>
                  <a:lnTo>
                    <a:pt x="56" y="219"/>
                  </a:lnTo>
                  <a:lnTo>
                    <a:pt x="56" y="221"/>
                  </a:lnTo>
                  <a:lnTo>
                    <a:pt x="56" y="222"/>
                  </a:lnTo>
                  <a:lnTo>
                    <a:pt x="56" y="221"/>
                  </a:lnTo>
                  <a:lnTo>
                    <a:pt x="55" y="221"/>
                  </a:lnTo>
                  <a:lnTo>
                    <a:pt x="55" y="219"/>
                  </a:lnTo>
                  <a:lnTo>
                    <a:pt x="54" y="219"/>
                  </a:lnTo>
                  <a:lnTo>
                    <a:pt x="54" y="218"/>
                  </a:lnTo>
                  <a:lnTo>
                    <a:pt x="54" y="217"/>
                  </a:lnTo>
                  <a:lnTo>
                    <a:pt x="53" y="217"/>
                  </a:lnTo>
                  <a:lnTo>
                    <a:pt x="53" y="216"/>
                  </a:lnTo>
                  <a:lnTo>
                    <a:pt x="52" y="217"/>
                  </a:lnTo>
                  <a:lnTo>
                    <a:pt x="52" y="216"/>
                  </a:lnTo>
                  <a:lnTo>
                    <a:pt x="50" y="215"/>
                  </a:lnTo>
                  <a:lnTo>
                    <a:pt x="50" y="214"/>
                  </a:lnTo>
                  <a:lnTo>
                    <a:pt x="50" y="212"/>
                  </a:lnTo>
                  <a:lnTo>
                    <a:pt x="49" y="212"/>
                  </a:lnTo>
                  <a:lnTo>
                    <a:pt x="50" y="212"/>
                  </a:lnTo>
                  <a:lnTo>
                    <a:pt x="50" y="211"/>
                  </a:lnTo>
                  <a:lnTo>
                    <a:pt x="49" y="211"/>
                  </a:lnTo>
                  <a:lnTo>
                    <a:pt x="49" y="210"/>
                  </a:lnTo>
                  <a:lnTo>
                    <a:pt x="49" y="211"/>
                  </a:lnTo>
                  <a:lnTo>
                    <a:pt x="49" y="210"/>
                  </a:lnTo>
                  <a:lnTo>
                    <a:pt x="48" y="210"/>
                  </a:lnTo>
                  <a:lnTo>
                    <a:pt x="48" y="209"/>
                  </a:lnTo>
                  <a:lnTo>
                    <a:pt x="48" y="208"/>
                  </a:lnTo>
                  <a:lnTo>
                    <a:pt x="48" y="207"/>
                  </a:lnTo>
                  <a:lnTo>
                    <a:pt x="48" y="208"/>
                  </a:lnTo>
                  <a:lnTo>
                    <a:pt x="47" y="208"/>
                  </a:lnTo>
                  <a:lnTo>
                    <a:pt x="47" y="207"/>
                  </a:lnTo>
                  <a:lnTo>
                    <a:pt x="47" y="208"/>
                  </a:lnTo>
                  <a:lnTo>
                    <a:pt x="47" y="209"/>
                  </a:lnTo>
                  <a:lnTo>
                    <a:pt x="47" y="208"/>
                  </a:lnTo>
                  <a:lnTo>
                    <a:pt x="46" y="208"/>
                  </a:lnTo>
                  <a:lnTo>
                    <a:pt x="45" y="207"/>
                  </a:lnTo>
                  <a:lnTo>
                    <a:pt x="45" y="205"/>
                  </a:lnTo>
                  <a:lnTo>
                    <a:pt x="45" y="204"/>
                  </a:lnTo>
                  <a:lnTo>
                    <a:pt x="43" y="203"/>
                  </a:lnTo>
                  <a:lnTo>
                    <a:pt x="43" y="202"/>
                  </a:lnTo>
                  <a:lnTo>
                    <a:pt x="42" y="202"/>
                  </a:lnTo>
                  <a:lnTo>
                    <a:pt x="42" y="201"/>
                  </a:lnTo>
                  <a:lnTo>
                    <a:pt x="41" y="201"/>
                  </a:lnTo>
                  <a:lnTo>
                    <a:pt x="41" y="202"/>
                  </a:lnTo>
                  <a:lnTo>
                    <a:pt x="40" y="202"/>
                  </a:lnTo>
                  <a:lnTo>
                    <a:pt x="40" y="201"/>
                  </a:lnTo>
                  <a:lnTo>
                    <a:pt x="40" y="200"/>
                  </a:lnTo>
                  <a:lnTo>
                    <a:pt x="40" y="198"/>
                  </a:lnTo>
                  <a:lnTo>
                    <a:pt x="41" y="198"/>
                  </a:lnTo>
                  <a:lnTo>
                    <a:pt x="40" y="198"/>
                  </a:lnTo>
                  <a:lnTo>
                    <a:pt x="39" y="198"/>
                  </a:lnTo>
                  <a:lnTo>
                    <a:pt x="39" y="197"/>
                  </a:lnTo>
                  <a:lnTo>
                    <a:pt x="39" y="196"/>
                  </a:lnTo>
                  <a:lnTo>
                    <a:pt x="38" y="196"/>
                  </a:lnTo>
                  <a:lnTo>
                    <a:pt x="38" y="197"/>
                  </a:lnTo>
                  <a:lnTo>
                    <a:pt x="37" y="196"/>
                  </a:lnTo>
                  <a:lnTo>
                    <a:pt x="37" y="195"/>
                  </a:lnTo>
                  <a:lnTo>
                    <a:pt x="35" y="195"/>
                  </a:lnTo>
                  <a:lnTo>
                    <a:pt x="35" y="194"/>
                  </a:lnTo>
                  <a:lnTo>
                    <a:pt x="35" y="193"/>
                  </a:lnTo>
                  <a:lnTo>
                    <a:pt x="35" y="194"/>
                  </a:lnTo>
                  <a:lnTo>
                    <a:pt x="35" y="193"/>
                  </a:lnTo>
                  <a:lnTo>
                    <a:pt x="34" y="193"/>
                  </a:lnTo>
                  <a:lnTo>
                    <a:pt x="34" y="191"/>
                  </a:lnTo>
                  <a:lnTo>
                    <a:pt x="34" y="190"/>
                  </a:lnTo>
                  <a:lnTo>
                    <a:pt x="34" y="191"/>
                  </a:lnTo>
                  <a:lnTo>
                    <a:pt x="33" y="191"/>
                  </a:lnTo>
                  <a:lnTo>
                    <a:pt x="32" y="191"/>
                  </a:lnTo>
                  <a:lnTo>
                    <a:pt x="32" y="193"/>
                  </a:lnTo>
                  <a:lnTo>
                    <a:pt x="31" y="193"/>
                  </a:lnTo>
                  <a:lnTo>
                    <a:pt x="32" y="193"/>
                  </a:lnTo>
                  <a:lnTo>
                    <a:pt x="32" y="194"/>
                  </a:lnTo>
                  <a:lnTo>
                    <a:pt x="32" y="195"/>
                  </a:lnTo>
                  <a:lnTo>
                    <a:pt x="31" y="195"/>
                  </a:lnTo>
                  <a:lnTo>
                    <a:pt x="31" y="194"/>
                  </a:lnTo>
                  <a:lnTo>
                    <a:pt x="30" y="194"/>
                  </a:lnTo>
                  <a:lnTo>
                    <a:pt x="30" y="193"/>
                  </a:lnTo>
                  <a:lnTo>
                    <a:pt x="28" y="190"/>
                  </a:lnTo>
                  <a:lnTo>
                    <a:pt x="28" y="189"/>
                  </a:lnTo>
                  <a:lnTo>
                    <a:pt x="28" y="188"/>
                  </a:lnTo>
                  <a:lnTo>
                    <a:pt x="28" y="189"/>
                  </a:lnTo>
                  <a:lnTo>
                    <a:pt x="28" y="188"/>
                  </a:lnTo>
                  <a:lnTo>
                    <a:pt x="28" y="187"/>
                  </a:lnTo>
                  <a:lnTo>
                    <a:pt x="28" y="186"/>
                  </a:lnTo>
                  <a:lnTo>
                    <a:pt x="28" y="184"/>
                  </a:lnTo>
                  <a:lnTo>
                    <a:pt x="28" y="183"/>
                  </a:lnTo>
                  <a:lnTo>
                    <a:pt x="28" y="182"/>
                  </a:lnTo>
                  <a:lnTo>
                    <a:pt x="30" y="182"/>
                  </a:lnTo>
                  <a:lnTo>
                    <a:pt x="30" y="181"/>
                  </a:lnTo>
                  <a:lnTo>
                    <a:pt x="30" y="180"/>
                  </a:lnTo>
                  <a:lnTo>
                    <a:pt x="30" y="179"/>
                  </a:lnTo>
                  <a:lnTo>
                    <a:pt x="30" y="177"/>
                  </a:lnTo>
                  <a:lnTo>
                    <a:pt x="30" y="179"/>
                  </a:lnTo>
                  <a:lnTo>
                    <a:pt x="30" y="177"/>
                  </a:lnTo>
                  <a:lnTo>
                    <a:pt x="30" y="176"/>
                  </a:lnTo>
                  <a:lnTo>
                    <a:pt x="30" y="175"/>
                  </a:lnTo>
                  <a:lnTo>
                    <a:pt x="31" y="174"/>
                  </a:lnTo>
                  <a:lnTo>
                    <a:pt x="31" y="173"/>
                  </a:lnTo>
                  <a:lnTo>
                    <a:pt x="32" y="173"/>
                  </a:lnTo>
                  <a:lnTo>
                    <a:pt x="32" y="172"/>
                  </a:lnTo>
                  <a:lnTo>
                    <a:pt x="31" y="172"/>
                  </a:lnTo>
                  <a:lnTo>
                    <a:pt x="31" y="170"/>
                  </a:lnTo>
                  <a:lnTo>
                    <a:pt x="31" y="169"/>
                  </a:lnTo>
                  <a:lnTo>
                    <a:pt x="31" y="170"/>
                  </a:lnTo>
                  <a:lnTo>
                    <a:pt x="32" y="170"/>
                  </a:lnTo>
                  <a:lnTo>
                    <a:pt x="32" y="169"/>
                  </a:lnTo>
                  <a:lnTo>
                    <a:pt x="31" y="169"/>
                  </a:lnTo>
                  <a:lnTo>
                    <a:pt x="32" y="169"/>
                  </a:lnTo>
                  <a:lnTo>
                    <a:pt x="32" y="168"/>
                  </a:lnTo>
                  <a:lnTo>
                    <a:pt x="31" y="168"/>
                  </a:lnTo>
                  <a:lnTo>
                    <a:pt x="31" y="167"/>
                  </a:lnTo>
                  <a:lnTo>
                    <a:pt x="32" y="167"/>
                  </a:lnTo>
                  <a:lnTo>
                    <a:pt x="32" y="166"/>
                  </a:lnTo>
                  <a:lnTo>
                    <a:pt x="33" y="166"/>
                  </a:lnTo>
                  <a:lnTo>
                    <a:pt x="32" y="166"/>
                  </a:lnTo>
                  <a:lnTo>
                    <a:pt x="33" y="165"/>
                  </a:lnTo>
                  <a:lnTo>
                    <a:pt x="33" y="162"/>
                  </a:lnTo>
                  <a:lnTo>
                    <a:pt x="33" y="161"/>
                  </a:lnTo>
                  <a:lnTo>
                    <a:pt x="33" y="160"/>
                  </a:lnTo>
                  <a:lnTo>
                    <a:pt x="34" y="159"/>
                  </a:lnTo>
                  <a:lnTo>
                    <a:pt x="34" y="158"/>
                  </a:lnTo>
                  <a:lnTo>
                    <a:pt x="34" y="156"/>
                  </a:lnTo>
                  <a:lnTo>
                    <a:pt x="33" y="155"/>
                  </a:lnTo>
                  <a:lnTo>
                    <a:pt x="33" y="154"/>
                  </a:lnTo>
                  <a:lnTo>
                    <a:pt x="34" y="154"/>
                  </a:lnTo>
                  <a:lnTo>
                    <a:pt x="34" y="153"/>
                  </a:lnTo>
                  <a:lnTo>
                    <a:pt x="35" y="153"/>
                  </a:lnTo>
                  <a:lnTo>
                    <a:pt x="37" y="153"/>
                  </a:lnTo>
                  <a:lnTo>
                    <a:pt x="37" y="152"/>
                  </a:lnTo>
                  <a:lnTo>
                    <a:pt x="37" y="151"/>
                  </a:lnTo>
                  <a:lnTo>
                    <a:pt x="38" y="151"/>
                  </a:lnTo>
                  <a:lnTo>
                    <a:pt x="38" y="149"/>
                  </a:lnTo>
                  <a:lnTo>
                    <a:pt x="39" y="148"/>
                  </a:lnTo>
                  <a:lnTo>
                    <a:pt x="39" y="146"/>
                  </a:lnTo>
                  <a:lnTo>
                    <a:pt x="40" y="146"/>
                  </a:lnTo>
                  <a:lnTo>
                    <a:pt x="40" y="145"/>
                  </a:lnTo>
                  <a:lnTo>
                    <a:pt x="41" y="144"/>
                  </a:lnTo>
                  <a:lnTo>
                    <a:pt x="41" y="142"/>
                  </a:lnTo>
                  <a:lnTo>
                    <a:pt x="41" y="141"/>
                  </a:lnTo>
                  <a:lnTo>
                    <a:pt x="41" y="140"/>
                  </a:lnTo>
                  <a:lnTo>
                    <a:pt x="42" y="140"/>
                  </a:lnTo>
                  <a:lnTo>
                    <a:pt x="43" y="139"/>
                  </a:lnTo>
                  <a:lnTo>
                    <a:pt x="43" y="138"/>
                  </a:lnTo>
                  <a:lnTo>
                    <a:pt x="43" y="137"/>
                  </a:lnTo>
                  <a:lnTo>
                    <a:pt x="43" y="135"/>
                  </a:lnTo>
                  <a:lnTo>
                    <a:pt x="42" y="135"/>
                  </a:lnTo>
                  <a:lnTo>
                    <a:pt x="42" y="134"/>
                  </a:lnTo>
                  <a:lnTo>
                    <a:pt x="42" y="133"/>
                  </a:lnTo>
                  <a:lnTo>
                    <a:pt x="42" y="132"/>
                  </a:lnTo>
                  <a:lnTo>
                    <a:pt x="41" y="132"/>
                  </a:lnTo>
                  <a:lnTo>
                    <a:pt x="41" y="131"/>
                  </a:lnTo>
                  <a:lnTo>
                    <a:pt x="41" y="130"/>
                  </a:lnTo>
                  <a:lnTo>
                    <a:pt x="40" y="130"/>
                  </a:lnTo>
                  <a:lnTo>
                    <a:pt x="40" y="128"/>
                  </a:lnTo>
                  <a:lnTo>
                    <a:pt x="40" y="127"/>
                  </a:lnTo>
                  <a:lnTo>
                    <a:pt x="40" y="126"/>
                  </a:lnTo>
                  <a:lnTo>
                    <a:pt x="40" y="125"/>
                  </a:lnTo>
                  <a:lnTo>
                    <a:pt x="39" y="124"/>
                  </a:lnTo>
                  <a:lnTo>
                    <a:pt x="38" y="124"/>
                  </a:lnTo>
                  <a:lnTo>
                    <a:pt x="38" y="123"/>
                  </a:lnTo>
                  <a:lnTo>
                    <a:pt x="37" y="123"/>
                  </a:lnTo>
                  <a:lnTo>
                    <a:pt x="37" y="121"/>
                  </a:lnTo>
                  <a:lnTo>
                    <a:pt x="37" y="120"/>
                  </a:lnTo>
                  <a:lnTo>
                    <a:pt x="35" y="120"/>
                  </a:lnTo>
                  <a:lnTo>
                    <a:pt x="35" y="119"/>
                  </a:lnTo>
                  <a:lnTo>
                    <a:pt x="35" y="118"/>
                  </a:lnTo>
                  <a:lnTo>
                    <a:pt x="34" y="117"/>
                  </a:lnTo>
                  <a:lnTo>
                    <a:pt x="34" y="116"/>
                  </a:lnTo>
                  <a:lnTo>
                    <a:pt x="34" y="114"/>
                  </a:lnTo>
                  <a:lnTo>
                    <a:pt x="35" y="114"/>
                  </a:lnTo>
                  <a:lnTo>
                    <a:pt x="35" y="113"/>
                  </a:lnTo>
                  <a:lnTo>
                    <a:pt x="35" y="112"/>
                  </a:lnTo>
                  <a:lnTo>
                    <a:pt x="35" y="111"/>
                  </a:lnTo>
                  <a:lnTo>
                    <a:pt x="34" y="109"/>
                  </a:lnTo>
                  <a:lnTo>
                    <a:pt x="34" y="107"/>
                  </a:lnTo>
                  <a:lnTo>
                    <a:pt x="34" y="106"/>
                  </a:lnTo>
                  <a:lnTo>
                    <a:pt x="33" y="105"/>
                  </a:lnTo>
                  <a:lnTo>
                    <a:pt x="33" y="104"/>
                  </a:lnTo>
                  <a:lnTo>
                    <a:pt x="32" y="103"/>
                  </a:lnTo>
                  <a:lnTo>
                    <a:pt x="31" y="102"/>
                  </a:lnTo>
                  <a:lnTo>
                    <a:pt x="31" y="100"/>
                  </a:lnTo>
                  <a:lnTo>
                    <a:pt x="30" y="100"/>
                  </a:lnTo>
                  <a:lnTo>
                    <a:pt x="28" y="99"/>
                  </a:lnTo>
                  <a:lnTo>
                    <a:pt x="27" y="98"/>
                  </a:lnTo>
                  <a:lnTo>
                    <a:pt x="26" y="97"/>
                  </a:lnTo>
                  <a:lnTo>
                    <a:pt x="25" y="96"/>
                  </a:lnTo>
                  <a:lnTo>
                    <a:pt x="24" y="93"/>
                  </a:lnTo>
                  <a:lnTo>
                    <a:pt x="23" y="93"/>
                  </a:lnTo>
                  <a:lnTo>
                    <a:pt x="23" y="92"/>
                  </a:lnTo>
                  <a:lnTo>
                    <a:pt x="21" y="91"/>
                  </a:lnTo>
                  <a:lnTo>
                    <a:pt x="20" y="89"/>
                  </a:lnTo>
                  <a:lnTo>
                    <a:pt x="19" y="89"/>
                  </a:lnTo>
                  <a:lnTo>
                    <a:pt x="19" y="88"/>
                  </a:lnTo>
                  <a:lnTo>
                    <a:pt x="19" y="86"/>
                  </a:lnTo>
                  <a:lnTo>
                    <a:pt x="19" y="85"/>
                  </a:lnTo>
                  <a:lnTo>
                    <a:pt x="18" y="85"/>
                  </a:lnTo>
                  <a:lnTo>
                    <a:pt x="18" y="84"/>
                  </a:lnTo>
                  <a:lnTo>
                    <a:pt x="19" y="84"/>
                  </a:lnTo>
                  <a:lnTo>
                    <a:pt x="19" y="83"/>
                  </a:lnTo>
                  <a:lnTo>
                    <a:pt x="18" y="83"/>
                  </a:lnTo>
                  <a:lnTo>
                    <a:pt x="19" y="83"/>
                  </a:lnTo>
                  <a:lnTo>
                    <a:pt x="19" y="82"/>
                  </a:lnTo>
                  <a:lnTo>
                    <a:pt x="20" y="82"/>
                  </a:lnTo>
                  <a:lnTo>
                    <a:pt x="21" y="82"/>
                  </a:lnTo>
                  <a:lnTo>
                    <a:pt x="21" y="81"/>
                  </a:lnTo>
                  <a:lnTo>
                    <a:pt x="23" y="81"/>
                  </a:lnTo>
                  <a:lnTo>
                    <a:pt x="24" y="81"/>
                  </a:lnTo>
                  <a:lnTo>
                    <a:pt x="24" y="79"/>
                  </a:lnTo>
                  <a:lnTo>
                    <a:pt x="23" y="77"/>
                  </a:lnTo>
                  <a:lnTo>
                    <a:pt x="23" y="76"/>
                  </a:lnTo>
                  <a:lnTo>
                    <a:pt x="23" y="75"/>
                  </a:lnTo>
                  <a:lnTo>
                    <a:pt x="23" y="72"/>
                  </a:lnTo>
                  <a:lnTo>
                    <a:pt x="23" y="71"/>
                  </a:lnTo>
                  <a:lnTo>
                    <a:pt x="23" y="70"/>
                  </a:lnTo>
                  <a:lnTo>
                    <a:pt x="21" y="70"/>
                  </a:lnTo>
                  <a:lnTo>
                    <a:pt x="23" y="70"/>
                  </a:lnTo>
                  <a:lnTo>
                    <a:pt x="23" y="69"/>
                  </a:lnTo>
                  <a:lnTo>
                    <a:pt x="24" y="69"/>
                  </a:lnTo>
                  <a:lnTo>
                    <a:pt x="25" y="69"/>
                  </a:lnTo>
                  <a:lnTo>
                    <a:pt x="26" y="68"/>
                  </a:lnTo>
                  <a:lnTo>
                    <a:pt x="26" y="67"/>
                  </a:lnTo>
                  <a:lnTo>
                    <a:pt x="26" y="65"/>
                  </a:lnTo>
                  <a:lnTo>
                    <a:pt x="26" y="64"/>
                  </a:lnTo>
                  <a:lnTo>
                    <a:pt x="25" y="64"/>
                  </a:lnTo>
                  <a:lnTo>
                    <a:pt x="25" y="63"/>
                  </a:lnTo>
                  <a:lnTo>
                    <a:pt x="25" y="64"/>
                  </a:lnTo>
                  <a:lnTo>
                    <a:pt x="24" y="65"/>
                  </a:lnTo>
                  <a:lnTo>
                    <a:pt x="24" y="67"/>
                  </a:lnTo>
                  <a:lnTo>
                    <a:pt x="23" y="65"/>
                  </a:lnTo>
                  <a:lnTo>
                    <a:pt x="23" y="64"/>
                  </a:lnTo>
                  <a:lnTo>
                    <a:pt x="23" y="63"/>
                  </a:lnTo>
                  <a:lnTo>
                    <a:pt x="21" y="62"/>
                  </a:lnTo>
                  <a:lnTo>
                    <a:pt x="21" y="61"/>
                  </a:lnTo>
                  <a:lnTo>
                    <a:pt x="20" y="61"/>
                  </a:lnTo>
                  <a:lnTo>
                    <a:pt x="20" y="60"/>
                  </a:lnTo>
                  <a:lnTo>
                    <a:pt x="19" y="58"/>
                  </a:lnTo>
                  <a:lnTo>
                    <a:pt x="20" y="58"/>
                  </a:lnTo>
                  <a:lnTo>
                    <a:pt x="20" y="57"/>
                  </a:lnTo>
                  <a:lnTo>
                    <a:pt x="19" y="57"/>
                  </a:lnTo>
                  <a:lnTo>
                    <a:pt x="20" y="57"/>
                  </a:lnTo>
                  <a:lnTo>
                    <a:pt x="20" y="56"/>
                  </a:lnTo>
                  <a:lnTo>
                    <a:pt x="19" y="56"/>
                  </a:lnTo>
                  <a:lnTo>
                    <a:pt x="19" y="55"/>
                  </a:lnTo>
                  <a:lnTo>
                    <a:pt x="18" y="55"/>
                  </a:lnTo>
                  <a:lnTo>
                    <a:pt x="18" y="54"/>
                  </a:lnTo>
                  <a:lnTo>
                    <a:pt x="17" y="54"/>
                  </a:lnTo>
                  <a:lnTo>
                    <a:pt x="16" y="54"/>
                  </a:lnTo>
                  <a:lnTo>
                    <a:pt x="17" y="53"/>
                  </a:lnTo>
                  <a:lnTo>
                    <a:pt x="16" y="53"/>
                  </a:lnTo>
                  <a:lnTo>
                    <a:pt x="16" y="51"/>
                  </a:lnTo>
                  <a:lnTo>
                    <a:pt x="14" y="51"/>
                  </a:lnTo>
                  <a:lnTo>
                    <a:pt x="13" y="50"/>
                  </a:lnTo>
                  <a:lnTo>
                    <a:pt x="13" y="49"/>
                  </a:lnTo>
                  <a:lnTo>
                    <a:pt x="12" y="49"/>
                  </a:lnTo>
                  <a:lnTo>
                    <a:pt x="12" y="48"/>
                  </a:lnTo>
                  <a:lnTo>
                    <a:pt x="11" y="47"/>
                  </a:lnTo>
                  <a:lnTo>
                    <a:pt x="11" y="46"/>
                  </a:lnTo>
                  <a:lnTo>
                    <a:pt x="10" y="46"/>
                  </a:lnTo>
                  <a:lnTo>
                    <a:pt x="7" y="43"/>
                  </a:lnTo>
                  <a:lnTo>
                    <a:pt x="7" y="42"/>
                  </a:lnTo>
                  <a:lnTo>
                    <a:pt x="6" y="42"/>
                  </a:lnTo>
                  <a:lnTo>
                    <a:pt x="6" y="41"/>
                  </a:lnTo>
                  <a:lnTo>
                    <a:pt x="6" y="40"/>
                  </a:lnTo>
                  <a:lnTo>
                    <a:pt x="7" y="40"/>
                  </a:lnTo>
                  <a:lnTo>
                    <a:pt x="7" y="39"/>
                  </a:lnTo>
                  <a:lnTo>
                    <a:pt x="6" y="39"/>
                  </a:lnTo>
                  <a:lnTo>
                    <a:pt x="6" y="37"/>
                  </a:lnTo>
                  <a:lnTo>
                    <a:pt x="5" y="36"/>
                  </a:lnTo>
                  <a:lnTo>
                    <a:pt x="5" y="35"/>
                  </a:lnTo>
                  <a:lnTo>
                    <a:pt x="4" y="35"/>
                  </a:lnTo>
                  <a:lnTo>
                    <a:pt x="5" y="35"/>
                  </a:lnTo>
                  <a:lnTo>
                    <a:pt x="5" y="34"/>
                  </a:lnTo>
                  <a:lnTo>
                    <a:pt x="4" y="34"/>
                  </a:lnTo>
                  <a:lnTo>
                    <a:pt x="3" y="34"/>
                  </a:lnTo>
                  <a:lnTo>
                    <a:pt x="3" y="35"/>
                  </a:lnTo>
                  <a:lnTo>
                    <a:pt x="3" y="34"/>
                  </a:lnTo>
                  <a:lnTo>
                    <a:pt x="2" y="34"/>
                  </a:lnTo>
                  <a:lnTo>
                    <a:pt x="2" y="33"/>
                  </a:lnTo>
                  <a:lnTo>
                    <a:pt x="2" y="32"/>
                  </a:lnTo>
                  <a:lnTo>
                    <a:pt x="0" y="32"/>
                  </a:lnTo>
                  <a:lnTo>
                    <a:pt x="0" y="30"/>
                  </a:lnTo>
                  <a:lnTo>
                    <a:pt x="2" y="30"/>
                  </a:lnTo>
                  <a:lnTo>
                    <a:pt x="2" y="32"/>
                  </a:lnTo>
                  <a:lnTo>
                    <a:pt x="2" y="30"/>
                  </a:lnTo>
                  <a:lnTo>
                    <a:pt x="3" y="30"/>
                  </a:lnTo>
                  <a:lnTo>
                    <a:pt x="4" y="30"/>
                  </a:lnTo>
                  <a:lnTo>
                    <a:pt x="5" y="30"/>
                  </a:lnTo>
                  <a:lnTo>
                    <a:pt x="5" y="29"/>
                  </a:lnTo>
                  <a:lnTo>
                    <a:pt x="5" y="28"/>
                  </a:lnTo>
                  <a:lnTo>
                    <a:pt x="5" y="27"/>
                  </a:lnTo>
                  <a:lnTo>
                    <a:pt x="5" y="26"/>
                  </a:lnTo>
                  <a:lnTo>
                    <a:pt x="4" y="25"/>
                  </a:lnTo>
                  <a:lnTo>
                    <a:pt x="4" y="23"/>
                  </a:lnTo>
                  <a:lnTo>
                    <a:pt x="4" y="22"/>
                  </a:lnTo>
                  <a:lnTo>
                    <a:pt x="5" y="21"/>
                  </a:lnTo>
                  <a:lnTo>
                    <a:pt x="5" y="20"/>
                  </a:lnTo>
                  <a:lnTo>
                    <a:pt x="5" y="19"/>
                  </a:lnTo>
                  <a:lnTo>
                    <a:pt x="4" y="19"/>
                  </a:lnTo>
                  <a:lnTo>
                    <a:pt x="5" y="19"/>
                  </a:lnTo>
                  <a:lnTo>
                    <a:pt x="5" y="18"/>
                  </a:lnTo>
                  <a:lnTo>
                    <a:pt x="4" y="18"/>
                  </a:lnTo>
                  <a:lnTo>
                    <a:pt x="4" y="16"/>
                  </a:lnTo>
                  <a:lnTo>
                    <a:pt x="5" y="15"/>
                  </a:lnTo>
                  <a:lnTo>
                    <a:pt x="4" y="14"/>
                  </a:lnTo>
                  <a:lnTo>
                    <a:pt x="5" y="14"/>
                  </a:lnTo>
                  <a:lnTo>
                    <a:pt x="6" y="13"/>
                  </a:lnTo>
                  <a:lnTo>
                    <a:pt x="6" y="12"/>
                  </a:lnTo>
                  <a:lnTo>
                    <a:pt x="6" y="11"/>
                  </a:lnTo>
                  <a:lnTo>
                    <a:pt x="7" y="11"/>
                  </a:lnTo>
                  <a:lnTo>
                    <a:pt x="9" y="12"/>
                  </a:lnTo>
                  <a:lnTo>
                    <a:pt x="10" y="12"/>
                  </a:lnTo>
                  <a:lnTo>
                    <a:pt x="10" y="13"/>
                  </a:lnTo>
                  <a:lnTo>
                    <a:pt x="10" y="12"/>
                  </a:lnTo>
                  <a:lnTo>
                    <a:pt x="11" y="12"/>
                  </a:lnTo>
                  <a:lnTo>
                    <a:pt x="12" y="12"/>
                  </a:lnTo>
                  <a:lnTo>
                    <a:pt x="13" y="12"/>
                  </a:lnTo>
                  <a:lnTo>
                    <a:pt x="14" y="12"/>
                  </a:lnTo>
                  <a:lnTo>
                    <a:pt x="16" y="11"/>
                  </a:lnTo>
                  <a:lnTo>
                    <a:pt x="17" y="11"/>
                  </a:lnTo>
                  <a:lnTo>
                    <a:pt x="18" y="11"/>
                  </a:lnTo>
                  <a:lnTo>
                    <a:pt x="19" y="11"/>
                  </a:lnTo>
                  <a:lnTo>
                    <a:pt x="20" y="9"/>
                  </a:lnTo>
                  <a:lnTo>
                    <a:pt x="19" y="9"/>
                  </a:lnTo>
                  <a:lnTo>
                    <a:pt x="19" y="8"/>
                  </a:lnTo>
                  <a:lnTo>
                    <a:pt x="19" y="7"/>
                  </a:lnTo>
                  <a:lnTo>
                    <a:pt x="19" y="6"/>
                  </a:lnTo>
                  <a:lnTo>
                    <a:pt x="20" y="6"/>
                  </a:lnTo>
                  <a:lnTo>
                    <a:pt x="20" y="5"/>
                  </a:lnTo>
                  <a:lnTo>
                    <a:pt x="21" y="5"/>
                  </a:lnTo>
                  <a:lnTo>
                    <a:pt x="23" y="5"/>
                  </a:lnTo>
                  <a:lnTo>
                    <a:pt x="23" y="6"/>
                  </a:lnTo>
                  <a:lnTo>
                    <a:pt x="24" y="6"/>
                  </a:lnTo>
                  <a:lnTo>
                    <a:pt x="25" y="6"/>
                  </a:lnTo>
                  <a:lnTo>
                    <a:pt x="26" y="5"/>
                  </a:lnTo>
                  <a:lnTo>
                    <a:pt x="26" y="4"/>
                  </a:lnTo>
                  <a:lnTo>
                    <a:pt x="25" y="4"/>
                  </a:lnTo>
                  <a:lnTo>
                    <a:pt x="25" y="2"/>
                  </a:lnTo>
                  <a:lnTo>
                    <a:pt x="25" y="1"/>
                  </a:lnTo>
                  <a:lnTo>
                    <a:pt x="24" y="1"/>
                  </a:lnTo>
                  <a:lnTo>
                    <a:pt x="25" y="1"/>
                  </a:lnTo>
                  <a:lnTo>
                    <a:pt x="26" y="2"/>
                  </a:lnTo>
                  <a:lnTo>
                    <a:pt x="27" y="2"/>
                  </a:lnTo>
                  <a:lnTo>
                    <a:pt x="28" y="2"/>
                  </a:lnTo>
                  <a:lnTo>
                    <a:pt x="30" y="2"/>
                  </a:lnTo>
                  <a:lnTo>
                    <a:pt x="30" y="1"/>
                  </a:lnTo>
                  <a:lnTo>
                    <a:pt x="30" y="0"/>
                  </a:lnTo>
                  <a:lnTo>
                    <a:pt x="31" y="0"/>
                  </a:lnTo>
                  <a:lnTo>
                    <a:pt x="32" y="0"/>
                  </a:lnTo>
                  <a:lnTo>
                    <a:pt x="3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58" name="Freeform 1018">
              <a:extLst>
                <a:ext uri="{FF2B5EF4-FFF2-40B4-BE49-F238E27FC236}">
                  <a16:creationId xmlns:a16="http://schemas.microsoft.com/office/drawing/2014/main" id="{006F8F4C-0F45-4E46-84AF-88059F09A1D1}"/>
                </a:ext>
              </a:extLst>
            </p:cNvPr>
            <p:cNvSpPr>
              <a:spLocks noEditPoints="1"/>
            </p:cNvSpPr>
            <p:nvPr/>
          </p:nvSpPr>
          <p:spPr bwMode="auto">
            <a:xfrm>
              <a:off x="6965631" y="2481796"/>
              <a:ext cx="146904" cy="92149"/>
            </a:xfrm>
            <a:custGeom>
              <a:avLst/>
              <a:gdLst>
                <a:gd name="T0" fmla="*/ 40 w 110"/>
                <a:gd name="T1" fmla="*/ 18 h 69"/>
                <a:gd name="T2" fmla="*/ 38 w 110"/>
                <a:gd name="T3" fmla="*/ 3 h 69"/>
                <a:gd name="T4" fmla="*/ 34 w 110"/>
                <a:gd name="T5" fmla="*/ 8 h 69"/>
                <a:gd name="T6" fmla="*/ 41 w 110"/>
                <a:gd name="T7" fmla="*/ 13 h 69"/>
                <a:gd name="T8" fmla="*/ 40 w 110"/>
                <a:gd name="T9" fmla="*/ 16 h 69"/>
                <a:gd name="T10" fmla="*/ 35 w 110"/>
                <a:gd name="T11" fmla="*/ 15 h 69"/>
                <a:gd name="T12" fmla="*/ 25 w 110"/>
                <a:gd name="T13" fmla="*/ 16 h 69"/>
                <a:gd name="T14" fmla="*/ 24 w 110"/>
                <a:gd name="T15" fmla="*/ 20 h 69"/>
                <a:gd name="T16" fmla="*/ 32 w 110"/>
                <a:gd name="T17" fmla="*/ 23 h 69"/>
                <a:gd name="T18" fmla="*/ 39 w 110"/>
                <a:gd name="T19" fmla="*/ 22 h 69"/>
                <a:gd name="T20" fmla="*/ 45 w 110"/>
                <a:gd name="T21" fmla="*/ 25 h 69"/>
                <a:gd name="T22" fmla="*/ 52 w 110"/>
                <a:gd name="T23" fmla="*/ 22 h 69"/>
                <a:gd name="T24" fmla="*/ 58 w 110"/>
                <a:gd name="T25" fmla="*/ 25 h 69"/>
                <a:gd name="T26" fmla="*/ 61 w 110"/>
                <a:gd name="T27" fmla="*/ 25 h 69"/>
                <a:gd name="T28" fmla="*/ 66 w 110"/>
                <a:gd name="T29" fmla="*/ 27 h 69"/>
                <a:gd name="T30" fmla="*/ 73 w 110"/>
                <a:gd name="T31" fmla="*/ 25 h 69"/>
                <a:gd name="T32" fmla="*/ 77 w 110"/>
                <a:gd name="T33" fmla="*/ 24 h 69"/>
                <a:gd name="T34" fmla="*/ 83 w 110"/>
                <a:gd name="T35" fmla="*/ 29 h 69"/>
                <a:gd name="T36" fmla="*/ 84 w 110"/>
                <a:gd name="T37" fmla="*/ 35 h 69"/>
                <a:gd name="T38" fmla="*/ 90 w 110"/>
                <a:gd name="T39" fmla="*/ 39 h 69"/>
                <a:gd name="T40" fmla="*/ 96 w 110"/>
                <a:gd name="T41" fmla="*/ 38 h 69"/>
                <a:gd name="T42" fmla="*/ 102 w 110"/>
                <a:gd name="T43" fmla="*/ 43 h 69"/>
                <a:gd name="T44" fmla="*/ 105 w 110"/>
                <a:gd name="T45" fmla="*/ 50 h 69"/>
                <a:gd name="T46" fmla="*/ 108 w 110"/>
                <a:gd name="T47" fmla="*/ 56 h 69"/>
                <a:gd name="T48" fmla="*/ 104 w 110"/>
                <a:gd name="T49" fmla="*/ 57 h 69"/>
                <a:gd name="T50" fmla="*/ 96 w 110"/>
                <a:gd name="T51" fmla="*/ 58 h 69"/>
                <a:gd name="T52" fmla="*/ 92 w 110"/>
                <a:gd name="T53" fmla="*/ 58 h 69"/>
                <a:gd name="T54" fmla="*/ 82 w 110"/>
                <a:gd name="T55" fmla="*/ 58 h 69"/>
                <a:gd name="T56" fmla="*/ 76 w 110"/>
                <a:gd name="T57" fmla="*/ 63 h 69"/>
                <a:gd name="T58" fmla="*/ 67 w 110"/>
                <a:gd name="T59" fmla="*/ 67 h 69"/>
                <a:gd name="T60" fmla="*/ 63 w 110"/>
                <a:gd name="T61" fmla="*/ 60 h 69"/>
                <a:gd name="T62" fmla="*/ 62 w 110"/>
                <a:gd name="T63" fmla="*/ 52 h 69"/>
                <a:gd name="T64" fmla="*/ 58 w 110"/>
                <a:gd name="T65" fmla="*/ 49 h 69"/>
                <a:gd name="T66" fmla="*/ 54 w 110"/>
                <a:gd name="T67" fmla="*/ 42 h 69"/>
                <a:gd name="T68" fmla="*/ 47 w 110"/>
                <a:gd name="T69" fmla="*/ 41 h 69"/>
                <a:gd name="T70" fmla="*/ 45 w 110"/>
                <a:gd name="T71" fmla="*/ 46 h 69"/>
                <a:gd name="T72" fmla="*/ 45 w 110"/>
                <a:gd name="T73" fmla="*/ 51 h 69"/>
                <a:gd name="T74" fmla="*/ 41 w 110"/>
                <a:gd name="T75" fmla="*/ 53 h 69"/>
                <a:gd name="T76" fmla="*/ 35 w 110"/>
                <a:gd name="T77" fmla="*/ 56 h 69"/>
                <a:gd name="T78" fmla="*/ 35 w 110"/>
                <a:gd name="T79" fmla="*/ 62 h 69"/>
                <a:gd name="T80" fmla="*/ 28 w 110"/>
                <a:gd name="T81" fmla="*/ 58 h 69"/>
                <a:gd name="T82" fmla="*/ 25 w 110"/>
                <a:gd name="T83" fmla="*/ 60 h 69"/>
                <a:gd name="T84" fmla="*/ 20 w 110"/>
                <a:gd name="T85" fmla="*/ 64 h 69"/>
                <a:gd name="T86" fmla="*/ 16 w 110"/>
                <a:gd name="T87" fmla="*/ 58 h 69"/>
                <a:gd name="T88" fmla="*/ 17 w 110"/>
                <a:gd name="T89" fmla="*/ 51 h 69"/>
                <a:gd name="T90" fmla="*/ 17 w 110"/>
                <a:gd name="T91" fmla="*/ 43 h 69"/>
                <a:gd name="T92" fmla="*/ 12 w 110"/>
                <a:gd name="T93" fmla="*/ 36 h 69"/>
                <a:gd name="T94" fmla="*/ 10 w 110"/>
                <a:gd name="T95" fmla="*/ 31 h 69"/>
                <a:gd name="T96" fmla="*/ 3 w 110"/>
                <a:gd name="T97" fmla="*/ 29 h 69"/>
                <a:gd name="T98" fmla="*/ 2 w 110"/>
                <a:gd name="T99" fmla="*/ 24 h 69"/>
                <a:gd name="T100" fmla="*/ 13 w 110"/>
                <a:gd name="T101" fmla="*/ 23 h 69"/>
                <a:gd name="T102" fmla="*/ 17 w 110"/>
                <a:gd name="T103" fmla="*/ 17 h 69"/>
                <a:gd name="T104" fmla="*/ 16 w 110"/>
                <a:gd name="T105" fmla="*/ 15 h 69"/>
                <a:gd name="T106" fmla="*/ 16 w 110"/>
                <a:gd name="T107" fmla="*/ 13 h 69"/>
                <a:gd name="T108" fmla="*/ 21 w 110"/>
                <a:gd name="T109" fmla="*/ 10 h 69"/>
                <a:gd name="T110" fmla="*/ 20 w 110"/>
                <a:gd name="T111" fmla="*/ 3 h 69"/>
                <a:gd name="T112" fmla="*/ 26 w 110"/>
                <a:gd name="T113" fmla="*/ 4 h 69"/>
                <a:gd name="T114" fmla="*/ 34 w 110"/>
                <a:gd name="T115" fmla="*/ 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0" h="69">
                  <a:moveTo>
                    <a:pt x="40" y="18"/>
                  </a:moveTo>
                  <a:lnTo>
                    <a:pt x="41" y="18"/>
                  </a:lnTo>
                  <a:lnTo>
                    <a:pt x="41" y="20"/>
                  </a:lnTo>
                  <a:lnTo>
                    <a:pt x="40" y="20"/>
                  </a:lnTo>
                  <a:lnTo>
                    <a:pt x="40" y="18"/>
                  </a:lnTo>
                  <a:lnTo>
                    <a:pt x="39" y="18"/>
                  </a:lnTo>
                  <a:lnTo>
                    <a:pt x="39" y="17"/>
                  </a:lnTo>
                  <a:lnTo>
                    <a:pt x="40" y="18"/>
                  </a:lnTo>
                  <a:close/>
                  <a:moveTo>
                    <a:pt x="35" y="1"/>
                  </a:moveTo>
                  <a:lnTo>
                    <a:pt x="34" y="1"/>
                  </a:lnTo>
                  <a:lnTo>
                    <a:pt x="34" y="0"/>
                  </a:lnTo>
                  <a:lnTo>
                    <a:pt x="35" y="0"/>
                  </a:lnTo>
                  <a:lnTo>
                    <a:pt x="35" y="1"/>
                  </a:lnTo>
                  <a:close/>
                  <a:moveTo>
                    <a:pt x="34" y="1"/>
                  </a:moveTo>
                  <a:lnTo>
                    <a:pt x="37" y="3"/>
                  </a:lnTo>
                  <a:lnTo>
                    <a:pt x="38" y="3"/>
                  </a:lnTo>
                  <a:lnTo>
                    <a:pt x="37" y="3"/>
                  </a:lnTo>
                  <a:lnTo>
                    <a:pt x="38" y="4"/>
                  </a:lnTo>
                  <a:lnTo>
                    <a:pt x="39" y="4"/>
                  </a:lnTo>
                  <a:lnTo>
                    <a:pt x="38" y="6"/>
                  </a:lnTo>
                  <a:lnTo>
                    <a:pt x="37" y="7"/>
                  </a:lnTo>
                  <a:lnTo>
                    <a:pt x="35" y="7"/>
                  </a:lnTo>
                  <a:lnTo>
                    <a:pt x="35" y="8"/>
                  </a:lnTo>
                  <a:lnTo>
                    <a:pt x="34" y="8"/>
                  </a:lnTo>
                  <a:lnTo>
                    <a:pt x="34" y="9"/>
                  </a:lnTo>
                  <a:lnTo>
                    <a:pt x="35" y="9"/>
                  </a:lnTo>
                  <a:lnTo>
                    <a:pt x="35" y="10"/>
                  </a:lnTo>
                  <a:lnTo>
                    <a:pt x="37" y="10"/>
                  </a:lnTo>
                  <a:lnTo>
                    <a:pt x="38" y="11"/>
                  </a:lnTo>
                  <a:lnTo>
                    <a:pt x="39" y="13"/>
                  </a:lnTo>
                  <a:lnTo>
                    <a:pt x="40" y="13"/>
                  </a:lnTo>
                  <a:lnTo>
                    <a:pt x="41" y="13"/>
                  </a:lnTo>
                  <a:lnTo>
                    <a:pt x="42" y="13"/>
                  </a:lnTo>
                  <a:lnTo>
                    <a:pt x="44" y="13"/>
                  </a:lnTo>
                  <a:lnTo>
                    <a:pt x="44" y="14"/>
                  </a:lnTo>
                  <a:lnTo>
                    <a:pt x="42" y="14"/>
                  </a:lnTo>
                  <a:lnTo>
                    <a:pt x="41" y="14"/>
                  </a:lnTo>
                  <a:lnTo>
                    <a:pt x="40" y="14"/>
                  </a:lnTo>
                  <a:lnTo>
                    <a:pt x="40" y="15"/>
                  </a:lnTo>
                  <a:lnTo>
                    <a:pt x="40" y="16"/>
                  </a:lnTo>
                  <a:lnTo>
                    <a:pt x="39" y="17"/>
                  </a:lnTo>
                  <a:lnTo>
                    <a:pt x="38" y="17"/>
                  </a:lnTo>
                  <a:lnTo>
                    <a:pt x="38" y="16"/>
                  </a:lnTo>
                  <a:lnTo>
                    <a:pt x="39" y="16"/>
                  </a:lnTo>
                  <a:lnTo>
                    <a:pt x="39" y="15"/>
                  </a:lnTo>
                  <a:lnTo>
                    <a:pt x="38" y="15"/>
                  </a:lnTo>
                  <a:lnTo>
                    <a:pt x="37" y="15"/>
                  </a:lnTo>
                  <a:lnTo>
                    <a:pt x="35" y="15"/>
                  </a:lnTo>
                  <a:lnTo>
                    <a:pt x="35" y="14"/>
                  </a:lnTo>
                  <a:lnTo>
                    <a:pt x="34" y="14"/>
                  </a:lnTo>
                  <a:lnTo>
                    <a:pt x="33" y="14"/>
                  </a:lnTo>
                  <a:lnTo>
                    <a:pt x="31" y="13"/>
                  </a:lnTo>
                  <a:lnTo>
                    <a:pt x="26" y="14"/>
                  </a:lnTo>
                  <a:lnTo>
                    <a:pt x="25" y="14"/>
                  </a:lnTo>
                  <a:lnTo>
                    <a:pt x="25" y="15"/>
                  </a:lnTo>
                  <a:lnTo>
                    <a:pt x="25" y="16"/>
                  </a:lnTo>
                  <a:lnTo>
                    <a:pt x="26" y="17"/>
                  </a:lnTo>
                  <a:lnTo>
                    <a:pt x="25" y="17"/>
                  </a:lnTo>
                  <a:lnTo>
                    <a:pt x="24" y="16"/>
                  </a:lnTo>
                  <a:lnTo>
                    <a:pt x="23" y="16"/>
                  </a:lnTo>
                  <a:lnTo>
                    <a:pt x="23" y="17"/>
                  </a:lnTo>
                  <a:lnTo>
                    <a:pt x="23" y="18"/>
                  </a:lnTo>
                  <a:lnTo>
                    <a:pt x="23" y="20"/>
                  </a:lnTo>
                  <a:lnTo>
                    <a:pt x="24" y="20"/>
                  </a:lnTo>
                  <a:lnTo>
                    <a:pt x="24" y="21"/>
                  </a:lnTo>
                  <a:lnTo>
                    <a:pt x="25" y="23"/>
                  </a:lnTo>
                  <a:lnTo>
                    <a:pt x="26" y="23"/>
                  </a:lnTo>
                  <a:lnTo>
                    <a:pt x="27" y="23"/>
                  </a:lnTo>
                  <a:lnTo>
                    <a:pt x="28" y="23"/>
                  </a:lnTo>
                  <a:lnTo>
                    <a:pt x="30" y="23"/>
                  </a:lnTo>
                  <a:lnTo>
                    <a:pt x="31" y="23"/>
                  </a:lnTo>
                  <a:lnTo>
                    <a:pt x="32" y="23"/>
                  </a:lnTo>
                  <a:lnTo>
                    <a:pt x="33" y="23"/>
                  </a:lnTo>
                  <a:lnTo>
                    <a:pt x="34" y="23"/>
                  </a:lnTo>
                  <a:lnTo>
                    <a:pt x="35" y="23"/>
                  </a:lnTo>
                  <a:lnTo>
                    <a:pt x="37" y="22"/>
                  </a:lnTo>
                  <a:lnTo>
                    <a:pt x="37" y="23"/>
                  </a:lnTo>
                  <a:lnTo>
                    <a:pt x="38" y="23"/>
                  </a:lnTo>
                  <a:lnTo>
                    <a:pt x="39" y="23"/>
                  </a:lnTo>
                  <a:lnTo>
                    <a:pt x="39" y="22"/>
                  </a:lnTo>
                  <a:lnTo>
                    <a:pt x="40" y="22"/>
                  </a:lnTo>
                  <a:lnTo>
                    <a:pt x="40" y="23"/>
                  </a:lnTo>
                  <a:lnTo>
                    <a:pt x="41" y="23"/>
                  </a:lnTo>
                  <a:lnTo>
                    <a:pt x="42" y="23"/>
                  </a:lnTo>
                  <a:lnTo>
                    <a:pt x="42" y="24"/>
                  </a:lnTo>
                  <a:lnTo>
                    <a:pt x="44" y="24"/>
                  </a:lnTo>
                  <a:lnTo>
                    <a:pt x="44" y="25"/>
                  </a:lnTo>
                  <a:lnTo>
                    <a:pt x="45" y="25"/>
                  </a:lnTo>
                  <a:lnTo>
                    <a:pt x="46" y="25"/>
                  </a:lnTo>
                  <a:lnTo>
                    <a:pt x="47" y="25"/>
                  </a:lnTo>
                  <a:lnTo>
                    <a:pt x="48" y="24"/>
                  </a:lnTo>
                  <a:lnTo>
                    <a:pt x="48" y="23"/>
                  </a:lnTo>
                  <a:lnTo>
                    <a:pt x="49" y="23"/>
                  </a:lnTo>
                  <a:lnTo>
                    <a:pt x="51" y="23"/>
                  </a:lnTo>
                  <a:lnTo>
                    <a:pt x="52" y="23"/>
                  </a:lnTo>
                  <a:lnTo>
                    <a:pt x="52" y="22"/>
                  </a:lnTo>
                  <a:lnTo>
                    <a:pt x="53" y="22"/>
                  </a:lnTo>
                  <a:lnTo>
                    <a:pt x="54" y="23"/>
                  </a:lnTo>
                  <a:lnTo>
                    <a:pt x="53" y="23"/>
                  </a:lnTo>
                  <a:lnTo>
                    <a:pt x="53" y="24"/>
                  </a:lnTo>
                  <a:lnTo>
                    <a:pt x="54" y="24"/>
                  </a:lnTo>
                  <a:lnTo>
                    <a:pt x="55" y="24"/>
                  </a:lnTo>
                  <a:lnTo>
                    <a:pt x="56" y="24"/>
                  </a:lnTo>
                  <a:lnTo>
                    <a:pt x="58" y="25"/>
                  </a:lnTo>
                  <a:lnTo>
                    <a:pt x="58" y="27"/>
                  </a:lnTo>
                  <a:lnTo>
                    <a:pt x="56" y="27"/>
                  </a:lnTo>
                  <a:lnTo>
                    <a:pt x="58" y="27"/>
                  </a:lnTo>
                  <a:lnTo>
                    <a:pt x="58" y="28"/>
                  </a:lnTo>
                  <a:lnTo>
                    <a:pt x="59" y="28"/>
                  </a:lnTo>
                  <a:lnTo>
                    <a:pt x="60" y="27"/>
                  </a:lnTo>
                  <a:lnTo>
                    <a:pt x="61" y="27"/>
                  </a:lnTo>
                  <a:lnTo>
                    <a:pt x="61" y="25"/>
                  </a:lnTo>
                  <a:lnTo>
                    <a:pt x="61" y="27"/>
                  </a:lnTo>
                  <a:lnTo>
                    <a:pt x="62" y="27"/>
                  </a:lnTo>
                  <a:lnTo>
                    <a:pt x="62" y="28"/>
                  </a:lnTo>
                  <a:lnTo>
                    <a:pt x="63" y="28"/>
                  </a:lnTo>
                  <a:lnTo>
                    <a:pt x="64" y="29"/>
                  </a:lnTo>
                  <a:lnTo>
                    <a:pt x="64" y="28"/>
                  </a:lnTo>
                  <a:lnTo>
                    <a:pt x="64" y="27"/>
                  </a:lnTo>
                  <a:lnTo>
                    <a:pt x="66" y="27"/>
                  </a:lnTo>
                  <a:lnTo>
                    <a:pt x="67" y="27"/>
                  </a:lnTo>
                  <a:lnTo>
                    <a:pt x="67" y="25"/>
                  </a:lnTo>
                  <a:lnTo>
                    <a:pt x="68" y="27"/>
                  </a:lnTo>
                  <a:lnTo>
                    <a:pt x="68" y="25"/>
                  </a:lnTo>
                  <a:lnTo>
                    <a:pt x="69" y="25"/>
                  </a:lnTo>
                  <a:lnTo>
                    <a:pt x="71" y="27"/>
                  </a:lnTo>
                  <a:lnTo>
                    <a:pt x="71" y="25"/>
                  </a:lnTo>
                  <a:lnTo>
                    <a:pt x="73" y="25"/>
                  </a:lnTo>
                  <a:lnTo>
                    <a:pt x="73" y="27"/>
                  </a:lnTo>
                  <a:lnTo>
                    <a:pt x="74" y="27"/>
                  </a:lnTo>
                  <a:lnTo>
                    <a:pt x="74" y="25"/>
                  </a:lnTo>
                  <a:lnTo>
                    <a:pt x="75" y="25"/>
                  </a:lnTo>
                  <a:lnTo>
                    <a:pt x="75" y="27"/>
                  </a:lnTo>
                  <a:lnTo>
                    <a:pt x="76" y="27"/>
                  </a:lnTo>
                  <a:lnTo>
                    <a:pt x="77" y="25"/>
                  </a:lnTo>
                  <a:lnTo>
                    <a:pt x="77" y="24"/>
                  </a:lnTo>
                  <a:lnTo>
                    <a:pt x="80" y="24"/>
                  </a:lnTo>
                  <a:lnTo>
                    <a:pt x="81" y="24"/>
                  </a:lnTo>
                  <a:lnTo>
                    <a:pt x="81" y="25"/>
                  </a:lnTo>
                  <a:lnTo>
                    <a:pt x="82" y="25"/>
                  </a:lnTo>
                  <a:lnTo>
                    <a:pt x="82" y="27"/>
                  </a:lnTo>
                  <a:lnTo>
                    <a:pt x="82" y="28"/>
                  </a:lnTo>
                  <a:lnTo>
                    <a:pt x="82" y="29"/>
                  </a:lnTo>
                  <a:lnTo>
                    <a:pt x="83" y="29"/>
                  </a:lnTo>
                  <a:lnTo>
                    <a:pt x="83" y="30"/>
                  </a:lnTo>
                  <a:lnTo>
                    <a:pt x="84" y="30"/>
                  </a:lnTo>
                  <a:lnTo>
                    <a:pt x="84" y="31"/>
                  </a:lnTo>
                  <a:lnTo>
                    <a:pt x="85" y="31"/>
                  </a:lnTo>
                  <a:lnTo>
                    <a:pt x="85" y="32"/>
                  </a:lnTo>
                  <a:lnTo>
                    <a:pt x="84" y="32"/>
                  </a:lnTo>
                  <a:lnTo>
                    <a:pt x="84" y="34"/>
                  </a:lnTo>
                  <a:lnTo>
                    <a:pt x="84" y="35"/>
                  </a:lnTo>
                  <a:lnTo>
                    <a:pt x="85" y="35"/>
                  </a:lnTo>
                  <a:lnTo>
                    <a:pt x="85" y="36"/>
                  </a:lnTo>
                  <a:lnTo>
                    <a:pt x="87" y="37"/>
                  </a:lnTo>
                  <a:lnTo>
                    <a:pt x="87" y="38"/>
                  </a:lnTo>
                  <a:lnTo>
                    <a:pt x="88" y="38"/>
                  </a:lnTo>
                  <a:lnTo>
                    <a:pt x="89" y="38"/>
                  </a:lnTo>
                  <a:lnTo>
                    <a:pt x="89" y="39"/>
                  </a:lnTo>
                  <a:lnTo>
                    <a:pt x="90" y="39"/>
                  </a:lnTo>
                  <a:lnTo>
                    <a:pt x="91" y="39"/>
                  </a:lnTo>
                  <a:lnTo>
                    <a:pt x="91" y="38"/>
                  </a:lnTo>
                  <a:lnTo>
                    <a:pt x="90" y="38"/>
                  </a:lnTo>
                  <a:lnTo>
                    <a:pt x="91" y="38"/>
                  </a:lnTo>
                  <a:lnTo>
                    <a:pt x="91" y="37"/>
                  </a:lnTo>
                  <a:lnTo>
                    <a:pt x="92" y="37"/>
                  </a:lnTo>
                  <a:lnTo>
                    <a:pt x="94" y="37"/>
                  </a:lnTo>
                  <a:lnTo>
                    <a:pt x="96" y="38"/>
                  </a:lnTo>
                  <a:lnTo>
                    <a:pt x="98" y="38"/>
                  </a:lnTo>
                  <a:lnTo>
                    <a:pt x="99" y="39"/>
                  </a:lnTo>
                  <a:lnTo>
                    <a:pt x="101" y="39"/>
                  </a:lnTo>
                  <a:lnTo>
                    <a:pt x="101" y="41"/>
                  </a:lnTo>
                  <a:lnTo>
                    <a:pt x="102" y="41"/>
                  </a:lnTo>
                  <a:lnTo>
                    <a:pt x="102" y="42"/>
                  </a:lnTo>
                  <a:lnTo>
                    <a:pt x="101" y="43"/>
                  </a:lnTo>
                  <a:lnTo>
                    <a:pt x="102" y="43"/>
                  </a:lnTo>
                  <a:lnTo>
                    <a:pt x="102" y="44"/>
                  </a:lnTo>
                  <a:lnTo>
                    <a:pt x="103" y="46"/>
                  </a:lnTo>
                  <a:lnTo>
                    <a:pt x="104" y="48"/>
                  </a:lnTo>
                  <a:lnTo>
                    <a:pt x="104" y="49"/>
                  </a:lnTo>
                  <a:lnTo>
                    <a:pt x="105" y="49"/>
                  </a:lnTo>
                  <a:lnTo>
                    <a:pt x="105" y="50"/>
                  </a:lnTo>
                  <a:lnTo>
                    <a:pt x="104" y="50"/>
                  </a:lnTo>
                  <a:lnTo>
                    <a:pt x="105" y="50"/>
                  </a:lnTo>
                  <a:lnTo>
                    <a:pt x="105" y="51"/>
                  </a:lnTo>
                  <a:lnTo>
                    <a:pt x="106" y="51"/>
                  </a:lnTo>
                  <a:lnTo>
                    <a:pt x="106" y="52"/>
                  </a:lnTo>
                  <a:lnTo>
                    <a:pt x="105" y="52"/>
                  </a:lnTo>
                  <a:lnTo>
                    <a:pt x="105" y="53"/>
                  </a:lnTo>
                  <a:lnTo>
                    <a:pt x="106" y="53"/>
                  </a:lnTo>
                  <a:lnTo>
                    <a:pt x="106" y="55"/>
                  </a:lnTo>
                  <a:lnTo>
                    <a:pt x="108" y="56"/>
                  </a:lnTo>
                  <a:lnTo>
                    <a:pt x="109" y="56"/>
                  </a:lnTo>
                  <a:lnTo>
                    <a:pt x="110" y="57"/>
                  </a:lnTo>
                  <a:lnTo>
                    <a:pt x="110" y="58"/>
                  </a:lnTo>
                  <a:lnTo>
                    <a:pt x="109" y="59"/>
                  </a:lnTo>
                  <a:lnTo>
                    <a:pt x="108" y="59"/>
                  </a:lnTo>
                  <a:lnTo>
                    <a:pt x="106" y="58"/>
                  </a:lnTo>
                  <a:lnTo>
                    <a:pt x="105" y="58"/>
                  </a:lnTo>
                  <a:lnTo>
                    <a:pt x="104" y="57"/>
                  </a:lnTo>
                  <a:lnTo>
                    <a:pt x="103" y="57"/>
                  </a:lnTo>
                  <a:lnTo>
                    <a:pt x="102" y="57"/>
                  </a:lnTo>
                  <a:lnTo>
                    <a:pt x="101" y="57"/>
                  </a:lnTo>
                  <a:lnTo>
                    <a:pt x="99" y="57"/>
                  </a:lnTo>
                  <a:lnTo>
                    <a:pt x="98" y="57"/>
                  </a:lnTo>
                  <a:lnTo>
                    <a:pt x="98" y="58"/>
                  </a:lnTo>
                  <a:lnTo>
                    <a:pt x="97" y="58"/>
                  </a:lnTo>
                  <a:lnTo>
                    <a:pt x="96" y="58"/>
                  </a:lnTo>
                  <a:lnTo>
                    <a:pt x="95" y="58"/>
                  </a:lnTo>
                  <a:lnTo>
                    <a:pt x="95" y="59"/>
                  </a:lnTo>
                  <a:lnTo>
                    <a:pt x="94" y="59"/>
                  </a:lnTo>
                  <a:lnTo>
                    <a:pt x="92" y="59"/>
                  </a:lnTo>
                  <a:lnTo>
                    <a:pt x="91" y="59"/>
                  </a:lnTo>
                  <a:lnTo>
                    <a:pt x="90" y="59"/>
                  </a:lnTo>
                  <a:lnTo>
                    <a:pt x="91" y="58"/>
                  </a:lnTo>
                  <a:lnTo>
                    <a:pt x="92" y="58"/>
                  </a:lnTo>
                  <a:lnTo>
                    <a:pt x="91" y="57"/>
                  </a:lnTo>
                  <a:lnTo>
                    <a:pt x="90" y="56"/>
                  </a:lnTo>
                  <a:lnTo>
                    <a:pt x="88" y="56"/>
                  </a:lnTo>
                  <a:lnTo>
                    <a:pt x="87" y="56"/>
                  </a:lnTo>
                  <a:lnTo>
                    <a:pt x="85" y="56"/>
                  </a:lnTo>
                  <a:lnTo>
                    <a:pt x="84" y="57"/>
                  </a:lnTo>
                  <a:lnTo>
                    <a:pt x="83" y="58"/>
                  </a:lnTo>
                  <a:lnTo>
                    <a:pt x="82" y="58"/>
                  </a:lnTo>
                  <a:lnTo>
                    <a:pt x="82" y="59"/>
                  </a:lnTo>
                  <a:lnTo>
                    <a:pt x="81" y="59"/>
                  </a:lnTo>
                  <a:lnTo>
                    <a:pt x="80" y="59"/>
                  </a:lnTo>
                  <a:lnTo>
                    <a:pt x="80" y="60"/>
                  </a:lnTo>
                  <a:lnTo>
                    <a:pt x="80" y="62"/>
                  </a:lnTo>
                  <a:lnTo>
                    <a:pt x="80" y="63"/>
                  </a:lnTo>
                  <a:lnTo>
                    <a:pt x="77" y="63"/>
                  </a:lnTo>
                  <a:lnTo>
                    <a:pt x="76" y="63"/>
                  </a:lnTo>
                  <a:lnTo>
                    <a:pt x="75" y="63"/>
                  </a:lnTo>
                  <a:lnTo>
                    <a:pt x="74" y="64"/>
                  </a:lnTo>
                  <a:lnTo>
                    <a:pt x="74" y="65"/>
                  </a:lnTo>
                  <a:lnTo>
                    <a:pt x="73" y="65"/>
                  </a:lnTo>
                  <a:lnTo>
                    <a:pt x="70" y="67"/>
                  </a:lnTo>
                  <a:lnTo>
                    <a:pt x="69" y="69"/>
                  </a:lnTo>
                  <a:lnTo>
                    <a:pt x="68" y="69"/>
                  </a:lnTo>
                  <a:lnTo>
                    <a:pt x="67" y="67"/>
                  </a:lnTo>
                  <a:lnTo>
                    <a:pt x="66" y="67"/>
                  </a:lnTo>
                  <a:lnTo>
                    <a:pt x="66" y="66"/>
                  </a:lnTo>
                  <a:lnTo>
                    <a:pt x="66" y="65"/>
                  </a:lnTo>
                  <a:lnTo>
                    <a:pt x="64" y="64"/>
                  </a:lnTo>
                  <a:lnTo>
                    <a:pt x="63" y="64"/>
                  </a:lnTo>
                  <a:lnTo>
                    <a:pt x="63" y="63"/>
                  </a:lnTo>
                  <a:lnTo>
                    <a:pt x="63" y="62"/>
                  </a:lnTo>
                  <a:lnTo>
                    <a:pt x="63" y="60"/>
                  </a:lnTo>
                  <a:lnTo>
                    <a:pt x="62" y="59"/>
                  </a:lnTo>
                  <a:lnTo>
                    <a:pt x="63" y="59"/>
                  </a:lnTo>
                  <a:lnTo>
                    <a:pt x="63" y="58"/>
                  </a:lnTo>
                  <a:lnTo>
                    <a:pt x="62" y="57"/>
                  </a:lnTo>
                  <a:lnTo>
                    <a:pt x="62" y="56"/>
                  </a:lnTo>
                  <a:lnTo>
                    <a:pt x="62" y="55"/>
                  </a:lnTo>
                  <a:lnTo>
                    <a:pt x="62" y="53"/>
                  </a:lnTo>
                  <a:lnTo>
                    <a:pt x="62" y="52"/>
                  </a:lnTo>
                  <a:lnTo>
                    <a:pt x="61" y="51"/>
                  </a:lnTo>
                  <a:lnTo>
                    <a:pt x="62" y="51"/>
                  </a:lnTo>
                  <a:lnTo>
                    <a:pt x="62" y="50"/>
                  </a:lnTo>
                  <a:lnTo>
                    <a:pt x="62" y="49"/>
                  </a:lnTo>
                  <a:lnTo>
                    <a:pt x="61" y="49"/>
                  </a:lnTo>
                  <a:lnTo>
                    <a:pt x="60" y="49"/>
                  </a:lnTo>
                  <a:lnTo>
                    <a:pt x="59" y="49"/>
                  </a:lnTo>
                  <a:lnTo>
                    <a:pt x="58" y="49"/>
                  </a:lnTo>
                  <a:lnTo>
                    <a:pt x="58" y="48"/>
                  </a:lnTo>
                  <a:lnTo>
                    <a:pt x="58" y="46"/>
                  </a:lnTo>
                  <a:lnTo>
                    <a:pt x="58" y="45"/>
                  </a:lnTo>
                  <a:lnTo>
                    <a:pt x="58" y="44"/>
                  </a:lnTo>
                  <a:lnTo>
                    <a:pt x="58" y="43"/>
                  </a:lnTo>
                  <a:lnTo>
                    <a:pt x="56" y="43"/>
                  </a:lnTo>
                  <a:lnTo>
                    <a:pt x="55" y="42"/>
                  </a:lnTo>
                  <a:lnTo>
                    <a:pt x="54" y="42"/>
                  </a:lnTo>
                  <a:lnTo>
                    <a:pt x="53" y="41"/>
                  </a:lnTo>
                  <a:lnTo>
                    <a:pt x="52" y="41"/>
                  </a:lnTo>
                  <a:lnTo>
                    <a:pt x="52" y="39"/>
                  </a:lnTo>
                  <a:lnTo>
                    <a:pt x="51" y="39"/>
                  </a:lnTo>
                  <a:lnTo>
                    <a:pt x="51" y="41"/>
                  </a:lnTo>
                  <a:lnTo>
                    <a:pt x="49" y="41"/>
                  </a:lnTo>
                  <a:lnTo>
                    <a:pt x="48" y="41"/>
                  </a:lnTo>
                  <a:lnTo>
                    <a:pt x="47" y="41"/>
                  </a:lnTo>
                  <a:lnTo>
                    <a:pt x="48" y="42"/>
                  </a:lnTo>
                  <a:lnTo>
                    <a:pt x="47" y="42"/>
                  </a:lnTo>
                  <a:lnTo>
                    <a:pt x="47" y="43"/>
                  </a:lnTo>
                  <a:lnTo>
                    <a:pt x="47" y="44"/>
                  </a:lnTo>
                  <a:lnTo>
                    <a:pt x="46" y="44"/>
                  </a:lnTo>
                  <a:lnTo>
                    <a:pt x="46" y="45"/>
                  </a:lnTo>
                  <a:lnTo>
                    <a:pt x="46" y="46"/>
                  </a:lnTo>
                  <a:lnTo>
                    <a:pt x="45" y="46"/>
                  </a:lnTo>
                  <a:lnTo>
                    <a:pt x="45" y="48"/>
                  </a:lnTo>
                  <a:lnTo>
                    <a:pt x="44" y="48"/>
                  </a:lnTo>
                  <a:lnTo>
                    <a:pt x="44" y="49"/>
                  </a:lnTo>
                  <a:lnTo>
                    <a:pt x="45" y="49"/>
                  </a:lnTo>
                  <a:lnTo>
                    <a:pt x="44" y="49"/>
                  </a:lnTo>
                  <a:lnTo>
                    <a:pt x="44" y="50"/>
                  </a:lnTo>
                  <a:lnTo>
                    <a:pt x="45" y="50"/>
                  </a:lnTo>
                  <a:lnTo>
                    <a:pt x="45" y="51"/>
                  </a:lnTo>
                  <a:lnTo>
                    <a:pt x="46" y="52"/>
                  </a:lnTo>
                  <a:lnTo>
                    <a:pt x="46" y="53"/>
                  </a:lnTo>
                  <a:lnTo>
                    <a:pt x="45" y="53"/>
                  </a:lnTo>
                  <a:lnTo>
                    <a:pt x="45" y="55"/>
                  </a:lnTo>
                  <a:lnTo>
                    <a:pt x="44" y="55"/>
                  </a:lnTo>
                  <a:lnTo>
                    <a:pt x="42" y="55"/>
                  </a:lnTo>
                  <a:lnTo>
                    <a:pt x="41" y="55"/>
                  </a:lnTo>
                  <a:lnTo>
                    <a:pt x="41" y="53"/>
                  </a:lnTo>
                  <a:lnTo>
                    <a:pt x="40" y="53"/>
                  </a:lnTo>
                  <a:lnTo>
                    <a:pt x="40" y="55"/>
                  </a:lnTo>
                  <a:lnTo>
                    <a:pt x="40" y="53"/>
                  </a:lnTo>
                  <a:lnTo>
                    <a:pt x="39" y="53"/>
                  </a:lnTo>
                  <a:lnTo>
                    <a:pt x="38" y="55"/>
                  </a:lnTo>
                  <a:lnTo>
                    <a:pt x="37" y="53"/>
                  </a:lnTo>
                  <a:lnTo>
                    <a:pt x="35" y="55"/>
                  </a:lnTo>
                  <a:lnTo>
                    <a:pt x="35" y="56"/>
                  </a:lnTo>
                  <a:lnTo>
                    <a:pt x="34" y="56"/>
                  </a:lnTo>
                  <a:lnTo>
                    <a:pt x="35" y="57"/>
                  </a:lnTo>
                  <a:lnTo>
                    <a:pt x="35" y="58"/>
                  </a:lnTo>
                  <a:lnTo>
                    <a:pt x="35" y="59"/>
                  </a:lnTo>
                  <a:lnTo>
                    <a:pt x="37" y="59"/>
                  </a:lnTo>
                  <a:lnTo>
                    <a:pt x="37" y="60"/>
                  </a:lnTo>
                  <a:lnTo>
                    <a:pt x="35" y="60"/>
                  </a:lnTo>
                  <a:lnTo>
                    <a:pt x="35" y="62"/>
                  </a:lnTo>
                  <a:lnTo>
                    <a:pt x="34" y="62"/>
                  </a:lnTo>
                  <a:lnTo>
                    <a:pt x="33" y="60"/>
                  </a:lnTo>
                  <a:lnTo>
                    <a:pt x="32" y="60"/>
                  </a:lnTo>
                  <a:lnTo>
                    <a:pt x="32" y="59"/>
                  </a:lnTo>
                  <a:lnTo>
                    <a:pt x="31" y="59"/>
                  </a:lnTo>
                  <a:lnTo>
                    <a:pt x="31" y="58"/>
                  </a:lnTo>
                  <a:lnTo>
                    <a:pt x="30" y="58"/>
                  </a:lnTo>
                  <a:lnTo>
                    <a:pt x="28" y="58"/>
                  </a:lnTo>
                  <a:lnTo>
                    <a:pt x="30" y="58"/>
                  </a:lnTo>
                  <a:lnTo>
                    <a:pt x="30" y="59"/>
                  </a:lnTo>
                  <a:lnTo>
                    <a:pt x="28" y="58"/>
                  </a:lnTo>
                  <a:lnTo>
                    <a:pt x="28" y="59"/>
                  </a:lnTo>
                  <a:lnTo>
                    <a:pt x="27" y="59"/>
                  </a:lnTo>
                  <a:lnTo>
                    <a:pt x="26" y="59"/>
                  </a:lnTo>
                  <a:lnTo>
                    <a:pt x="26" y="60"/>
                  </a:lnTo>
                  <a:lnTo>
                    <a:pt x="25" y="60"/>
                  </a:lnTo>
                  <a:lnTo>
                    <a:pt x="24" y="60"/>
                  </a:lnTo>
                  <a:lnTo>
                    <a:pt x="24" y="62"/>
                  </a:lnTo>
                  <a:lnTo>
                    <a:pt x="23" y="62"/>
                  </a:lnTo>
                  <a:lnTo>
                    <a:pt x="21" y="62"/>
                  </a:lnTo>
                  <a:lnTo>
                    <a:pt x="23" y="63"/>
                  </a:lnTo>
                  <a:lnTo>
                    <a:pt x="21" y="63"/>
                  </a:lnTo>
                  <a:lnTo>
                    <a:pt x="20" y="63"/>
                  </a:lnTo>
                  <a:lnTo>
                    <a:pt x="20" y="64"/>
                  </a:lnTo>
                  <a:lnTo>
                    <a:pt x="19" y="64"/>
                  </a:lnTo>
                  <a:lnTo>
                    <a:pt x="18" y="64"/>
                  </a:lnTo>
                  <a:lnTo>
                    <a:pt x="18" y="63"/>
                  </a:lnTo>
                  <a:lnTo>
                    <a:pt x="17" y="63"/>
                  </a:lnTo>
                  <a:lnTo>
                    <a:pt x="16" y="62"/>
                  </a:lnTo>
                  <a:lnTo>
                    <a:pt x="14" y="60"/>
                  </a:lnTo>
                  <a:lnTo>
                    <a:pt x="16" y="59"/>
                  </a:lnTo>
                  <a:lnTo>
                    <a:pt x="16" y="58"/>
                  </a:lnTo>
                  <a:lnTo>
                    <a:pt x="14" y="58"/>
                  </a:lnTo>
                  <a:lnTo>
                    <a:pt x="14" y="57"/>
                  </a:lnTo>
                  <a:lnTo>
                    <a:pt x="14" y="56"/>
                  </a:lnTo>
                  <a:lnTo>
                    <a:pt x="14" y="55"/>
                  </a:lnTo>
                  <a:lnTo>
                    <a:pt x="14" y="53"/>
                  </a:lnTo>
                  <a:lnTo>
                    <a:pt x="16" y="53"/>
                  </a:lnTo>
                  <a:lnTo>
                    <a:pt x="16" y="52"/>
                  </a:lnTo>
                  <a:lnTo>
                    <a:pt x="17" y="51"/>
                  </a:lnTo>
                  <a:lnTo>
                    <a:pt x="17" y="50"/>
                  </a:lnTo>
                  <a:lnTo>
                    <a:pt x="17" y="49"/>
                  </a:lnTo>
                  <a:lnTo>
                    <a:pt x="18" y="49"/>
                  </a:lnTo>
                  <a:lnTo>
                    <a:pt x="18" y="48"/>
                  </a:lnTo>
                  <a:lnTo>
                    <a:pt x="18" y="46"/>
                  </a:lnTo>
                  <a:lnTo>
                    <a:pt x="19" y="45"/>
                  </a:lnTo>
                  <a:lnTo>
                    <a:pt x="18" y="44"/>
                  </a:lnTo>
                  <a:lnTo>
                    <a:pt x="17" y="43"/>
                  </a:lnTo>
                  <a:lnTo>
                    <a:pt x="16" y="43"/>
                  </a:lnTo>
                  <a:lnTo>
                    <a:pt x="16" y="42"/>
                  </a:lnTo>
                  <a:lnTo>
                    <a:pt x="14" y="42"/>
                  </a:lnTo>
                  <a:lnTo>
                    <a:pt x="14" y="41"/>
                  </a:lnTo>
                  <a:lnTo>
                    <a:pt x="13" y="39"/>
                  </a:lnTo>
                  <a:lnTo>
                    <a:pt x="13" y="38"/>
                  </a:lnTo>
                  <a:lnTo>
                    <a:pt x="12" y="37"/>
                  </a:lnTo>
                  <a:lnTo>
                    <a:pt x="12" y="36"/>
                  </a:lnTo>
                  <a:lnTo>
                    <a:pt x="12" y="35"/>
                  </a:lnTo>
                  <a:lnTo>
                    <a:pt x="13" y="35"/>
                  </a:lnTo>
                  <a:lnTo>
                    <a:pt x="13" y="34"/>
                  </a:lnTo>
                  <a:lnTo>
                    <a:pt x="12" y="32"/>
                  </a:lnTo>
                  <a:lnTo>
                    <a:pt x="12" y="31"/>
                  </a:lnTo>
                  <a:lnTo>
                    <a:pt x="11" y="31"/>
                  </a:lnTo>
                  <a:lnTo>
                    <a:pt x="11" y="32"/>
                  </a:lnTo>
                  <a:lnTo>
                    <a:pt x="10" y="31"/>
                  </a:lnTo>
                  <a:lnTo>
                    <a:pt x="9" y="32"/>
                  </a:lnTo>
                  <a:lnTo>
                    <a:pt x="6" y="32"/>
                  </a:lnTo>
                  <a:lnTo>
                    <a:pt x="6" y="31"/>
                  </a:lnTo>
                  <a:lnTo>
                    <a:pt x="6" y="30"/>
                  </a:lnTo>
                  <a:lnTo>
                    <a:pt x="5" y="30"/>
                  </a:lnTo>
                  <a:lnTo>
                    <a:pt x="5" y="29"/>
                  </a:lnTo>
                  <a:lnTo>
                    <a:pt x="4" y="29"/>
                  </a:lnTo>
                  <a:lnTo>
                    <a:pt x="3" y="29"/>
                  </a:lnTo>
                  <a:lnTo>
                    <a:pt x="2" y="29"/>
                  </a:lnTo>
                  <a:lnTo>
                    <a:pt x="2" y="28"/>
                  </a:lnTo>
                  <a:lnTo>
                    <a:pt x="0" y="28"/>
                  </a:lnTo>
                  <a:lnTo>
                    <a:pt x="0" y="27"/>
                  </a:lnTo>
                  <a:lnTo>
                    <a:pt x="2" y="27"/>
                  </a:lnTo>
                  <a:lnTo>
                    <a:pt x="2" y="25"/>
                  </a:lnTo>
                  <a:lnTo>
                    <a:pt x="0" y="24"/>
                  </a:lnTo>
                  <a:lnTo>
                    <a:pt x="2" y="24"/>
                  </a:lnTo>
                  <a:lnTo>
                    <a:pt x="2" y="23"/>
                  </a:lnTo>
                  <a:lnTo>
                    <a:pt x="3" y="23"/>
                  </a:lnTo>
                  <a:lnTo>
                    <a:pt x="4" y="22"/>
                  </a:lnTo>
                  <a:lnTo>
                    <a:pt x="5" y="22"/>
                  </a:lnTo>
                  <a:lnTo>
                    <a:pt x="10" y="23"/>
                  </a:lnTo>
                  <a:lnTo>
                    <a:pt x="11" y="23"/>
                  </a:lnTo>
                  <a:lnTo>
                    <a:pt x="12" y="23"/>
                  </a:lnTo>
                  <a:lnTo>
                    <a:pt x="13" y="23"/>
                  </a:lnTo>
                  <a:lnTo>
                    <a:pt x="14" y="23"/>
                  </a:lnTo>
                  <a:lnTo>
                    <a:pt x="14" y="22"/>
                  </a:lnTo>
                  <a:lnTo>
                    <a:pt x="16" y="22"/>
                  </a:lnTo>
                  <a:lnTo>
                    <a:pt x="16" y="21"/>
                  </a:lnTo>
                  <a:lnTo>
                    <a:pt x="14" y="18"/>
                  </a:lnTo>
                  <a:lnTo>
                    <a:pt x="16" y="18"/>
                  </a:lnTo>
                  <a:lnTo>
                    <a:pt x="17" y="18"/>
                  </a:lnTo>
                  <a:lnTo>
                    <a:pt x="17" y="17"/>
                  </a:lnTo>
                  <a:lnTo>
                    <a:pt x="16" y="16"/>
                  </a:lnTo>
                  <a:lnTo>
                    <a:pt x="17" y="16"/>
                  </a:lnTo>
                  <a:lnTo>
                    <a:pt x="17" y="17"/>
                  </a:lnTo>
                  <a:lnTo>
                    <a:pt x="18" y="18"/>
                  </a:lnTo>
                  <a:lnTo>
                    <a:pt x="18" y="17"/>
                  </a:lnTo>
                  <a:lnTo>
                    <a:pt x="17" y="16"/>
                  </a:lnTo>
                  <a:lnTo>
                    <a:pt x="16" y="16"/>
                  </a:lnTo>
                  <a:lnTo>
                    <a:pt x="16" y="15"/>
                  </a:lnTo>
                  <a:lnTo>
                    <a:pt x="17" y="15"/>
                  </a:lnTo>
                  <a:lnTo>
                    <a:pt x="18" y="15"/>
                  </a:lnTo>
                  <a:lnTo>
                    <a:pt x="18" y="14"/>
                  </a:lnTo>
                  <a:lnTo>
                    <a:pt x="14" y="14"/>
                  </a:lnTo>
                  <a:lnTo>
                    <a:pt x="13" y="14"/>
                  </a:lnTo>
                  <a:lnTo>
                    <a:pt x="13" y="13"/>
                  </a:lnTo>
                  <a:lnTo>
                    <a:pt x="14" y="13"/>
                  </a:lnTo>
                  <a:lnTo>
                    <a:pt x="16" y="13"/>
                  </a:lnTo>
                  <a:lnTo>
                    <a:pt x="17" y="13"/>
                  </a:lnTo>
                  <a:lnTo>
                    <a:pt x="18" y="13"/>
                  </a:lnTo>
                  <a:lnTo>
                    <a:pt x="19" y="13"/>
                  </a:lnTo>
                  <a:lnTo>
                    <a:pt x="20" y="13"/>
                  </a:lnTo>
                  <a:lnTo>
                    <a:pt x="21" y="13"/>
                  </a:lnTo>
                  <a:lnTo>
                    <a:pt x="20" y="11"/>
                  </a:lnTo>
                  <a:lnTo>
                    <a:pt x="21" y="11"/>
                  </a:lnTo>
                  <a:lnTo>
                    <a:pt x="21" y="10"/>
                  </a:lnTo>
                  <a:lnTo>
                    <a:pt x="20" y="9"/>
                  </a:lnTo>
                  <a:lnTo>
                    <a:pt x="20" y="8"/>
                  </a:lnTo>
                  <a:lnTo>
                    <a:pt x="19" y="8"/>
                  </a:lnTo>
                  <a:lnTo>
                    <a:pt x="19" y="7"/>
                  </a:lnTo>
                  <a:lnTo>
                    <a:pt x="20" y="7"/>
                  </a:lnTo>
                  <a:lnTo>
                    <a:pt x="20" y="6"/>
                  </a:lnTo>
                  <a:lnTo>
                    <a:pt x="20" y="4"/>
                  </a:lnTo>
                  <a:lnTo>
                    <a:pt x="20" y="3"/>
                  </a:lnTo>
                  <a:lnTo>
                    <a:pt x="21" y="3"/>
                  </a:lnTo>
                  <a:lnTo>
                    <a:pt x="23" y="3"/>
                  </a:lnTo>
                  <a:lnTo>
                    <a:pt x="23" y="4"/>
                  </a:lnTo>
                  <a:lnTo>
                    <a:pt x="24" y="4"/>
                  </a:lnTo>
                  <a:lnTo>
                    <a:pt x="24" y="6"/>
                  </a:lnTo>
                  <a:lnTo>
                    <a:pt x="25" y="6"/>
                  </a:lnTo>
                  <a:lnTo>
                    <a:pt x="26" y="6"/>
                  </a:lnTo>
                  <a:lnTo>
                    <a:pt x="26" y="4"/>
                  </a:lnTo>
                  <a:lnTo>
                    <a:pt x="28" y="4"/>
                  </a:lnTo>
                  <a:lnTo>
                    <a:pt x="30" y="3"/>
                  </a:lnTo>
                  <a:lnTo>
                    <a:pt x="31" y="2"/>
                  </a:lnTo>
                  <a:lnTo>
                    <a:pt x="32" y="2"/>
                  </a:lnTo>
                  <a:lnTo>
                    <a:pt x="32" y="1"/>
                  </a:lnTo>
                  <a:lnTo>
                    <a:pt x="32" y="0"/>
                  </a:lnTo>
                  <a:lnTo>
                    <a:pt x="33" y="0"/>
                  </a:lnTo>
                  <a:lnTo>
                    <a:pt x="34"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59" name="Freeform 1019">
              <a:extLst>
                <a:ext uri="{FF2B5EF4-FFF2-40B4-BE49-F238E27FC236}">
                  <a16:creationId xmlns:a16="http://schemas.microsoft.com/office/drawing/2014/main" id="{7882C084-D1DC-4239-B769-CA54E857AD0D}"/>
                </a:ext>
              </a:extLst>
            </p:cNvPr>
            <p:cNvSpPr>
              <a:spLocks noEditPoints="1"/>
            </p:cNvSpPr>
            <p:nvPr/>
          </p:nvSpPr>
          <p:spPr bwMode="auto">
            <a:xfrm>
              <a:off x="6698534" y="2444402"/>
              <a:ext cx="264427" cy="161594"/>
            </a:xfrm>
            <a:custGeom>
              <a:avLst/>
              <a:gdLst>
                <a:gd name="T0" fmla="*/ 19 w 198"/>
                <a:gd name="T1" fmla="*/ 63 h 121"/>
                <a:gd name="T2" fmla="*/ 82 w 198"/>
                <a:gd name="T3" fmla="*/ 4 h 121"/>
                <a:gd name="T4" fmla="*/ 93 w 198"/>
                <a:gd name="T5" fmla="*/ 9 h 121"/>
                <a:gd name="T6" fmla="*/ 99 w 198"/>
                <a:gd name="T7" fmla="*/ 16 h 121"/>
                <a:gd name="T8" fmla="*/ 102 w 198"/>
                <a:gd name="T9" fmla="*/ 23 h 121"/>
                <a:gd name="T10" fmla="*/ 116 w 198"/>
                <a:gd name="T11" fmla="*/ 24 h 121"/>
                <a:gd name="T12" fmla="*/ 126 w 198"/>
                <a:gd name="T13" fmla="*/ 31 h 121"/>
                <a:gd name="T14" fmla="*/ 133 w 198"/>
                <a:gd name="T15" fmla="*/ 41 h 121"/>
                <a:gd name="T16" fmla="*/ 150 w 198"/>
                <a:gd name="T17" fmla="*/ 53 h 121"/>
                <a:gd name="T18" fmla="*/ 170 w 198"/>
                <a:gd name="T19" fmla="*/ 65 h 121"/>
                <a:gd name="T20" fmla="*/ 188 w 198"/>
                <a:gd name="T21" fmla="*/ 72 h 121"/>
                <a:gd name="T22" fmla="*/ 196 w 198"/>
                <a:gd name="T23" fmla="*/ 79 h 121"/>
                <a:gd name="T24" fmla="*/ 196 w 198"/>
                <a:gd name="T25" fmla="*/ 86 h 121"/>
                <a:gd name="T26" fmla="*/ 185 w 198"/>
                <a:gd name="T27" fmla="*/ 84 h 121"/>
                <a:gd name="T28" fmla="*/ 176 w 198"/>
                <a:gd name="T29" fmla="*/ 93 h 121"/>
                <a:gd name="T30" fmla="*/ 171 w 198"/>
                <a:gd name="T31" fmla="*/ 105 h 121"/>
                <a:gd name="T32" fmla="*/ 163 w 198"/>
                <a:gd name="T33" fmla="*/ 109 h 121"/>
                <a:gd name="T34" fmla="*/ 159 w 198"/>
                <a:gd name="T35" fmla="*/ 116 h 121"/>
                <a:gd name="T36" fmla="*/ 150 w 198"/>
                <a:gd name="T37" fmla="*/ 120 h 121"/>
                <a:gd name="T38" fmla="*/ 139 w 198"/>
                <a:gd name="T39" fmla="*/ 115 h 121"/>
                <a:gd name="T40" fmla="*/ 133 w 198"/>
                <a:gd name="T41" fmla="*/ 106 h 121"/>
                <a:gd name="T42" fmla="*/ 131 w 198"/>
                <a:gd name="T43" fmla="*/ 97 h 121"/>
                <a:gd name="T44" fmla="*/ 116 w 198"/>
                <a:gd name="T45" fmla="*/ 92 h 121"/>
                <a:gd name="T46" fmla="*/ 106 w 198"/>
                <a:gd name="T47" fmla="*/ 88 h 121"/>
                <a:gd name="T48" fmla="*/ 97 w 198"/>
                <a:gd name="T49" fmla="*/ 80 h 121"/>
                <a:gd name="T50" fmla="*/ 90 w 198"/>
                <a:gd name="T51" fmla="*/ 81 h 121"/>
                <a:gd name="T52" fmla="*/ 76 w 198"/>
                <a:gd name="T53" fmla="*/ 74 h 121"/>
                <a:gd name="T54" fmla="*/ 68 w 198"/>
                <a:gd name="T55" fmla="*/ 71 h 121"/>
                <a:gd name="T56" fmla="*/ 62 w 198"/>
                <a:gd name="T57" fmla="*/ 74 h 121"/>
                <a:gd name="T58" fmla="*/ 50 w 198"/>
                <a:gd name="T59" fmla="*/ 76 h 121"/>
                <a:gd name="T60" fmla="*/ 43 w 198"/>
                <a:gd name="T61" fmla="*/ 84 h 121"/>
                <a:gd name="T62" fmla="*/ 32 w 198"/>
                <a:gd name="T63" fmla="*/ 79 h 121"/>
                <a:gd name="T64" fmla="*/ 29 w 198"/>
                <a:gd name="T65" fmla="*/ 64 h 121"/>
                <a:gd name="T66" fmla="*/ 26 w 198"/>
                <a:gd name="T67" fmla="*/ 59 h 121"/>
                <a:gd name="T68" fmla="*/ 24 w 198"/>
                <a:gd name="T69" fmla="*/ 57 h 121"/>
                <a:gd name="T70" fmla="*/ 18 w 198"/>
                <a:gd name="T71" fmla="*/ 55 h 121"/>
                <a:gd name="T72" fmla="*/ 19 w 198"/>
                <a:gd name="T73" fmla="*/ 49 h 121"/>
                <a:gd name="T74" fmla="*/ 25 w 198"/>
                <a:gd name="T75" fmla="*/ 51 h 121"/>
                <a:gd name="T76" fmla="*/ 20 w 198"/>
                <a:gd name="T77" fmla="*/ 50 h 121"/>
                <a:gd name="T78" fmla="*/ 18 w 198"/>
                <a:gd name="T79" fmla="*/ 45 h 121"/>
                <a:gd name="T80" fmla="*/ 12 w 198"/>
                <a:gd name="T81" fmla="*/ 45 h 121"/>
                <a:gd name="T82" fmla="*/ 10 w 198"/>
                <a:gd name="T83" fmla="*/ 32 h 121"/>
                <a:gd name="T84" fmla="*/ 12 w 198"/>
                <a:gd name="T85" fmla="*/ 30 h 121"/>
                <a:gd name="T86" fmla="*/ 18 w 198"/>
                <a:gd name="T87" fmla="*/ 32 h 121"/>
                <a:gd name="T88" fmla="*/ 25 w 198"/>
                <a:gd name="T89" fmla="*/ 34 h 121"/>
                <a:gd name="T90" fmla="*/ 27 w 198"/>
                <a:gd name="T91" fmla="*/ 31 h 121"/>
                <a:gd name="T92" fmla="*/ 32 w 198"/>
                <a:gd name="T93" fmla="*/ 30 h 121"/>
                <a:gd name="T94" fmla="*/ 27 w 198"/>
                <a:gd name="T95" fmla="*/ 23 h 121"/>
                <a:gd name="T96" fmla="*/ 19 w 198"/>
                <a:gd name="T97" fmla="*/ 15 h 121"/>
                <a:gd name="T98" fmla="*/ 8 w 198"/>
                <a:gd name="T99" fmla="*/ 11 h 121"/>
                <a:gd name="T100" fmla="*/ 6 w 198"/>
                <a:gd name="T101" fmla="*/ 22 h 121"/>
                <a:gd name="T102" fmla="*/ 4 w 198"/>
                <a:gd name="T103" fmla="*/ 21 h 121"/>
                <a:gd name="T104" fmla="*/ 8 w 198"/>
                <a:gd name="T105" fmla="*/ 9 h 121"/>
                <a:gd name="T106" fmla="*/ 31 w 198"/>
                <a:gd name="T107" fmla="*/ 14 h 121"/>
                <a:gd name="T108" fmla="*/ 39 w 198"/>
                <a:gd name="T109" fmla="*/ 23 h 121"/>
                <a:gd name="T110" fmla="*/ 54 w 198"/>
                <a:gd name="T111" fmla="*/ 23 h 121"/>
                <a:gd name="T112" fmla="*/ 60 w 198"/>
                <a:gd name="T113" fmla="*/ 20 h 121"/>
                <a:gd name="T114" fmla="*/ 60 w 198"/>
                <a:gd name="T115" fmla="*/ 16 h 121"/>
                <a:gd name="T116" fmla="*/ 68 w 198"/>
                <a:gd name="T117" fmla="*/ 18 h 121"/>
                <a:gd name="T118" fmla="*/ 66 w 198"/>
                <a:gd name="T119" fmla="*/ 11 h 121"/>
                <a:gd name="T120" fmla="*/ 68 w 198"/>
                <a:gd name="T121" fmla="*/ 4 h 121"/>
                <a:gd name="T122" fmla="*/ 72 w 198"/>
                <a:gd name="T123" fmla="*/ 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8" h="121">
                  <a:moveTo>
                    <a:pt x="19" y="64"/>
                  </a:moveTo>
                  <a:lnTo>
                    <a:pt x="19" y="63"/>
                  </a:lnTo>
                  <a:lnTo>
                    <a:pt x="18" y="62"/>
                  </a:lnTo>
                  <a:lnTo>
                    <a:pt x="18" y="60"/>
                  </a:lnTo>
                  <a:lnTo>
                    <a:pt x="17" y="59"/>
                  </a:lnTo>
                  <a:lnTo>
                    <a:pt x="17" y="58"/>
                  </a:lnTo>
                  <a:lnTo>
                    <a:pt x="18" y="58"/>
                  </a:lnTo>
                  <a:lnTo>
                    <a:pt x="18" y="59"/>
                  </a:lnTo>
                  <a:lnTo>
                    <a:pt x="18" y="60"/>
                  </a:lnTo>
                  <a:lnTo>
                    <a:pt x="18" y="62"/>
                  </a:lnTo>
                  <a:lnTo>
                    <a:pt x="19" y="63"/>
                  </a:lnTo>
                  <a:lnTo>
                    <a:pt x="19" y="64"/>
                  </a:lnTo>
                  <a:close/>
                  <a:moveTo>
                    <a:pt x="21" y="50"/>
                  </a:moveTo>
                  <a:lnTo>
                    <a:pt x="21" y="51"/>
                  </a:lnTo>
                  <a:lnTo>
                    <a:pt x="22" y="51"/>
                  </a:lnTo>
                  <a:lnTo>
                    <a:pt x="21" y="51"/>
                  </a:lnTo>
                  <a:lnTo>
                    <a:pt x="21" y="50"/>
                  </a:lnTo>
                  <a:close/>
                  <a:moveTo>
                    <a:pt x="75" y="0"/>
                  </a:moveTo>
                  <a:lnTo>
                    <a:pt x="78" y="3"/>
                  </a:lnTo>
                  <a:lnTo>
                    <a:pt x="79" y="4"/>
                  </a:lnTo>
                  <a:lnTo>
                    <a:pt x="81" y="4"/>
                  </a:lnTo>
                  <a:lnTo>
                    <a:pt x="82" y="4"/>
                  </a:lnTo>
                  <a:lnTo>
                    <a:pt x="83" y="6"/>
                  </a:lnTo>
                  <a:lnTo>
                    <a:pt x="84" y="6"/>
                  </a:lnTo>
                  <a:lnTo>
                    <a:pt x="84" y="7"/>
                  </a:lnTo>
                  <a:lnTo>
                    <a:pt x="85" y="7"/>
                  </a:lnTo>
                  <a:lnTo>
                    <a:pt x="85" y="8"/>
                  </a:lnTo>
                  <a:lnTo>
                    <a:pt x="86" y="8"/>
                  </a:lnTo>
                  <a:lnTo>
                    <a:pt x="88" y="8"/>
                  </a:lnTo>
                  <a:lnTo>
                    <a:pt x="90" y="8"/>
                  </a:lnTo>
                  <a:lnTo>
                    <a:pt x="91" y="8"/>
                  </a:lnTo>
                  <a:lnTo>
                    <a:pt x="92" y="8"/>
                  </a:lnTo>
                  <a:lnTo>
                    <a:pt x="93" y="9"/>
                  </a:lnTo>
                  <a:lnTo>
                    <a:pt x="95" y="9"/>
                  </a:lnTo>
                  <a:lnTo>
                    <a:pt x="95" y="10"/>
                  </a:lnTo>
                  <a:lnTo>
                    <a:pt x="95" y="11"/>
                  </a:lnTo>
                  <a:lnTo>
                    <a:pt x="96" y="13"/>
                  </a:lnTo>
                  <a:lnTo>
                    <a:pt x="95" y="13"/>
                  </a:lnTo>
                  <a:lnTo>
                    <a:pt x="95" y="14"/>
                  </a:lnTo>
                  <a:lnTo>
                    <a:pt x="96" y="14"/>
                  </a:lnTo>
                  <a:lnTo>
                    <a:pt x="97" y="14"/>
                  </a:lnTo>
                  <a:lnTo>
                    <a:pt x="98" y="15"/>
                  </a:lnTo>
                  <a:lnTo>
                    <a:pt x="99" y="15"/>
                  </a:lnTo>
                  <a:lnTo>
                    <a:pt x="99" y="16"/>
                  </a:lnTo>
                  <a:lnTo>
                    <a:pt x="98" y="16"/>
                  </a:lnTo>
                  <a:lnTo>
                    <a:pt x="97" y="16"/>
                  </a:lnTo>
                  <a:lnTo>
                    <a:pt x="97" y="17"/>
                  </a:lnTo>
                  <a:lnTo>
                    <a:pt x="98" y="17"/>
                  </a:lnTo>
                  <a:lnTo>
                    <a:pt x="99" y="18"/>
                  </a:lnTo>
                  <a:lnTo>
                    <a:pt x="99" y="20"/>
                  </a:lnTo>
                  <a:lnTo>
                    <a:pt x="98" y="20"/>
                  </a:lnTo>
                  <a:lnTo>
                    <a:pt x="98" y="22"/>
                  </a:lnTo>
                  <a:lnTo>
                    <a:pt x="99" y="22"/>
                  </a:lnTo>
                  <a:lnTo>
                    <a:pt x="100" y="23"/>
                  </a:lnTo>
                  <a:lnTo>
                    <a:pt x="102" y="23"/>
                  </a:lnTo>
                  <a:lnTo>
                    <a:pt x="103" y="24"/>
                  </a:lnTo>
                  <a:lnTo>
                    <a:pt x="104" y="24"/>
                  </a:lnTo>
                  <a:lnTo>
                    <a:pt x="105" y="25"/>
                  </a:lnTo>
                  <a:lnTo>
                    <a:pt x="106" y="24"/>
                  </a:lnTo>
                  <a:lnTo>
                    <a:pt x="110" y="24"/>
                  </a:lnTo>
                  <a:lnTo>
                    <a:pt x="111" y="25"/>
                  </a:lnTo>
                  <a:lnTo>
                    <a:pt x="111" y="24"/>
                  </a:lnTo>
                  <a:lnTo>
                    <a:pt x="112" y="24"/>
                  </a:lnTo>
                  <a:lnTo>
                    <a:pt x="114" y="25"/>
                  </a:lnTo>
                  <a:lnTo>
                    <a:pt x="116" y="25"/>
                  </a:lnTo>
                  <a:lnTo>
                    <a:pt x="116" y="24"/>
                  </a:lnTo>
                  <a:lnTo>
                    <a:pt x="117" y="24"/>
                  </a:lnTo>
                  <a:lnTo>
                    <a:pt x="117" y="23"/>
                  </a:lnTo>
                  <a:lnTo>
                    <a:pt x="118" y="24"/>
                  </a:lnTo>
                  <a:lnTo>
                    <a:pt x="119" y="24"/>
                  </a:lnTo>
                  <a:lnTo>
                    <a:pt x="123" y="27"/>
                  </a:lnTo>
                  <a:lnTo>
                    <a:pt x="124" y="27"/>
                  </a:lnTo>
                  <a:lnTo>
                    <a:pt x="125" y="28"/>
                  </a:lnTo>
                  <a:lnTo>
                    <a:pt x="125" y="29"/>
                  </a:lnTo>
                  <a:lnTo>
                    <a:pt x="125" y="30"/>
                  </a:lnTo>
                  <a:lnTo>
                    <a:pt x="126" y="30"/>
                  </a:lnTo>
                  <a:lnTo>
                    <a:pt x="126" y="31"/>
                  </a:lnTo>
                  <a:lnTo>
                    <a:pt x="126" y="32"/>
                  </a:lnTo>
                  <a:lnTo>
                    <a:pt x="127" y="32"/>
                  </a:lnTo>
                  <a:lnTo>
                    <a:pt x="127" y="34"/>
                  </a:lnTo>
                  <a:lnTo>
                    <a:pt x="128" y="35"/>
                  </a:lnTo>
                  <a:lnTo>
                    <a:pt x="130" y="36"/>
                  </a:lnTo>
                  <a:lnTo>
                    <a:pt x="131" y="36"/>
                  </a:lnTo>
                  <a:lnTo>
                    <a:pt x="132" y="37"/>
                  </a:lnTo>
                  <a:lnTo>
                    <a:pt x="132" y="38"/>
                  </a:lnTo>
                  <a:lnTo>
                    <a:pt x="133" y="38"/>
                  </a:lnTo>
                  <a:lnTo>
                    <a:pt x="133" y="39"/>
                  </a:lnTo>
                  <a:lnTo>
                    <a:pt x="133" y="41"/>
                  </a:lnTo>
                  <a:lnTo>
                    <a:pt x="134" y="41"/>
                  </a:lnTo>
                  <a:lnTo>
                    <a:pt x="134" y="42"/>
                  </a:lnTo>
                  <a:lnTo>
                    <a:pt x="134" y="43"/>
                  </a:lnTo>
                  <a:lnTo>
                    <a:pt x="135" y="44"/>
                  </a:lnTo>
                  <a:lnTo>
                    <a:pt x="136" y="45"/>
                  </a:lnTo>
                  <a:lnTo>
                    <a:pt x="138" y="45"/>
                  </a:lnTo>
                  <a:lnTo>
                    <a:pt x="139" y="46"/>
                  </a:lnTo>
                  <a:lnTo>
                    <a:pt x="141" y="48"/>
                  </a:lnTo>
                  <a:lnTo>
                    <a:pt x="143" y="49"/>
                  </a:lnTo>
                  <a:lnTo>
                    <a:pt x="148" y="52"/>
                  </a:lnTo>
                  <a:lnTo>
                    <a:pt x="150" y="53"/>
                  </a:lnTo>
                  <a:lnTo>
                    <a:pt x="152" y="55"/>
                  </a:lnTo>
                  <a:lnTo>
                    <a:pt x="153" y="56"/>
                  </a:lnTo>
                  <a:lnTo>
                    <a:pt x="154" y="57"/>
                  </a:lnTo>
                  <a:lnTo>
                    <a:pt x="156" y="58"/>
                  </a:lnTo>
                  <a:lnTo>
                    <a:pt x="159" y="59"/>
                  </a:lnTo>
                  <a:lnTo>
                    <a:pt x="161" y="60"/>
                  </a:lnTo>
                  <a:lnTo>
                    <a:pt x="162" y="60"/>
                  </a:lnTo>
                  <a:lnTo>
                    <a:pt x="163" y="60"/>
                  </a:lnTo>
                  <a:lnTo>
                    <a:pt x="164" y="62"/>
                  </a:lnTo>
                  <a:lnTo>
                    <a:pt x="168" y="64"/>
                  </a:lnTo>
                  <a:lnTo>
                    <a:pt x="170" y="65"/>
                  </a:lnTo>
                  <a:lnTo>
                    <a:pt x="171" y="65"/>
                  </a:lnTo>
                  <a:lnTo>
                    <a:pt x="173" y="66"/>
                  </a:lnTo>
                  <a:lnTo>
                    <a:pt x="175" y="67"/>
                  </a:lnTo>
                  <a:lnTo>
                    <a:pt x="176" y="69"/>
                  </a:lnTo>
                  <a:lnTo>
                    <a:pt x="178" y="70"/>
                  </a:lnTo>
                  <a:lnTo>
                    <a:pt x="180" y="70"/>
                  </a:lnTo>
                  <a:lnTo>
                    <a:pt x="183" y="72"/>
                  </a:lnTo>
                  <a:lnTo>
                    <a:pt x="184" y="72"/>
                  </a:lnTo>
                  <a:lnTo>
                    <a:pt x="185" y="71"/>
                  </a:lnTo>
                  <a:lnTo>
                    <a:pt x="187" y="71"/>
                  </a:lnTo>
                  <a:lnTo>
                    <a:pt x="188" y="72"/>
                  </a:lnTo>
                  <a:lnTo>
                    <a:pt x="189" y="72"/>
                  </a:lnTo>
                  <a:lnTo>
                    <a:pt x="190" y="73"/>
                  </a:lnTo>
                  <a:lnTo>
                    <a:pt x="191" y="73"/>
                  </a:lnTo>
                  <a:lnTo>
                    <a:pt x="192" y="74"/>
                  </a:lnTo>
                  <a:lnTo>
                    <a:pt x="194" y="74"/>
                  </a:lnTo>
                  <a:lnTo>
                    <a:pt x="195" y="74"/>
                  </a:lnTo>
                  <a:lnTo>
                    <a:pt x="196" y="76"/>
                  </a:lnTo>
                  <a:lnTo>
                    <a:pt x="197" y="76"/>
                  </a:lnTo>
                  <a:lnTo>
                    <a:pt x="197" y="77"/>
                  </a:lnTo>
                  <a:lnTo>
                    <a:pt x="197" y="78"/>
                  </a:lnTo>
                  <a:lnTo>
                    <a:pt x="196" y="79"/>
                  </a:lnTo>
                  <a:lnTo>
                    <a:pt x="197" y="80"/>
                  </a:lnTo>
                  <a:lnTo>
                    <a:pt x="197" y="81"/>
                  </a:lnTo>
                  <a:lnTo>
                    <a:pt x="197" y="83"/>
                  </a:lnTo>
                  <a:lnTo>
                    <a:pt x="197" y="84"/>
                  </a:lnTo>
                  <a:lnTo>
                    <a:pt x="198" y="84"/>
                  </a:lnTo>
                  <a:lnTo>
                    <a:pt x="198" y="85"/>
                  </a:lnTo>
                  <a:lnTo>
                    <a:pt x="197" y="85"/>
                  </a:lnTo>
                  <a:lnTo>
                    <a:pt x="198" y="85"/>
                  </a:lnTo>
                  <a:lnTo>
                    <a:pt x="198" y="86"/>
                  </a:lnTo>
                  <a:lnTo>
                    <a:pt x="197" y="86"/>
                  </a:lnTo>
                  <a:lnTo>
                    <a:pt x="196" y="86"/>
                  </a:lnTo>
                  <a:lnTo>
                    <a:pt x="195" y="86"/>
                  </a:lnTo>
                  <a:lnTo>
                    <a:pt x="195" y="85"/>
                  </a:lnTo>
                  <a:lnTo>
                    <a:pt x="194" y="85"/>
                  </a:lnTo>
                  <a:lnTo>
                    <a:pt x="192" y="85"/>
                  </a:lnTo>
                  <a:lnTo>
                    <a:pt x="192" y="84"/>
                  </a:lnTo>
                  <a:lnTo>
                    <a:pt x="189" y="84"/>
                  </a:lnTo>
                  <a:lnTo>
                    <a:pt x="189" y="83"/>
                  </a:lnTo>
                  <a:lnTo>
                    <a:pt x="188" y="83"/>
                  </a:lnTo>
                  <a:lnTo>
                    <a:pt x="187" y="83"/>
                  </a:lnTo>
                  <a:lnTo>
                    <a:pt x="187" y="84"/>
                  </a:lnTo>
                  <a:lnTo>
                    <a:pt x="185" y="84"/>
                  </a:lnTo>
                  <a:lnTo>
                    <a:pt x="187" y="85"/>
                  </a:lnTo>
                  <a:lnTo>
                    <a:pt x="187" y="86"/>
                  </a:lnTo>
                  <a:lnTo>
                    <a:pt x="185" y="86"/>
                  </a:lnTo>
                  <a:lnTo>
                    <a:pt x="185" y="87"/>
                  </a:lnTo>
                  <a:lnTo>
                    <a:pt x="180" y="87"/>
                  </a:lnTo>
                  <a:lnTo>
                    <a:pt x="178" y="88"/>
                  </a:lnTo>
                  <a:lnTo>
                    <a:pt x="176" y="90"/>
                  </a:lnTo>
                  <a:lnTo>
                    <a:pt x="176" y="91"/>
                  </a:lnTo>
                  <a:lnTo>
                    <a:pt x="177" y="92"/>
                  </a:lnTo>
                  <a:lnTo>
                    <a:pt x="177" y="93"/>
                  </a:lnTo>
                  <a:lnTo>
                    <a:pt x="176" y="93"/>
                  </a:lnTo>
                  <a:lnTo>
                    <a:pt x="176" y="97"/>
                  </a:lnTo>
                  <a:lnTo>
                    <a:pt x="176" y="98"/>
                  </a:lnTo>
                  <a:lnTo>
                    <a:pt x="176" y="99"/>
                  </a:lnTo>
                  <a:lnTo>
                    <a:pt x="176" y="100"/>
                  </a:lnTo>
                  <a:lnTo>
                    <a:pt x="176" y="101"/>
                  </a:lnTo>
                  <a:lnTo>
                    <a:pt x="176" y="102"/>
                  </a:lnTo>
                  <a:lnTo>
                    <a:pt x="175" y="102"/>
                  </a:lnTo>
                  <a:lnTo>
                    <a:pt x="175" y="104"/>
                  </a:lnTo>
                  <a:lnTo>
                    <a:pt x="174" y="104"/>
                  </a:lnTo>
                  <a:lnTo>
                    <a:pt x="173" y="105"/>
                  </a:lnTo>
                  <a:lnTo>
                    <a:pt x="171" y="105"/>
                  </a:lnTo>
                  <a:lnTo>
                    <a:pt x="170" y="106"/>
                  </a:lnTo>
                  <a:lnTo>
                    <a:pt x="170" y="107"/>
                  </a:lnTo>
                  <a:lnTo>
                    <a:pt x="169" y="107"/>
                  </a:lnTo>
                  <a:lnTo>
                    <a:pt x="169" y="106"/>
                  </a:lnTo>
                  <a:lnTo>
                    <a:pt x="169" y="107"/>
                  </a:lnTo>
                  <a:lnTo>
                    <a:pt x="168" y="107"/>
                  </a:lnTo>
                  <a:lnTo>
                    <a:pt x="167" y="107"/>
                  </a:lnTo>
                  <a:lnTo>
                    <a:pt x="166" y="107"/>
                  </a:lnTo>
                  <a:lnTo>
                    <a:pt x="164" y="107"/>
                  </a:lnTo>
                  <a:lnTo>
                    <a:pt x="164" y="108"/>
                  </a:lnTo>
                  <a:lnTo>
                    <a:pt x="163" y="109"/>
                  </a:lnTo>
                  <a:lnTo>
                    <a:pt x="162" y="109"/>
                  </a:lnTo>
                  <a:lnTo>
                    <a:pt x="159" y="109"/>
                  </a:lnTo>
                  <a:lnTo>
                    <a:pt x="159" y="111"/>
                  </a:lnTo>
                  <a:lnTo>
                    <a:pt x="160" y="111"/>
                  </a:lnTo>
                  <a:lnTo>
                    <a:pt x="160" y="112"/>
                  </a:lnTo>
                  <a:lnTo>
                    <a:pt x="161" y="112"/>
                  </a:lnTo>
                  <a:lnTo>
                    <a:pt x="160" y="113"/>
                  </a:lnTo>
                  <a:lnTo>
                    <a:pt x="160" y="114"/>
                  </a:lnTo>
                  <a:lnTo>
                    <a:pt x="160" y="115"/>
                  </a:lnTo>
                  <a:lnTo>
                    <a:pt x="160" y="116"/>
                  </a:lnTo>
                  <a:lnTo>
                    <a:pt x="159" y="116"/>
                  </a:lnTo>
                  <a:lnTo>
                    <a:pt x="157" y="118"/>
                  </a:lnTo>
                  <a:lnTo>
                    <a:pt x="156" y="118"/>
                  </a:lnTo>
                  <a:lnTo>
                    <a:pt x="156" y="119"/>
                  </a:lnTo>
                  <a:lnTo>
                    <a:pt x="155" y="119"/>
                  </a:lnTo>
                  <a:lnTo>
                    <a:pt x="154" y="120"/>
                  </a:lnTo>
                  <a:lnTo>
                    <a:pt x="154" y="119"/>
                  </a:lnTo>
                  <a:lnTo>
                    <a:pt x="153" y="119"/>
                  </a:lnTo>
                  <a:lnTo>
                    <a:pt x="152" y="119"/>
                  </a:lnTo>
                  <a:lnTo>
                    <a:pt x="150" y="120"/>
                  </a:lnTo>
                  <a:lnTo>
                    <a:pt x="150" y="121"/>
                  </a:lnTo>
                  <a:lnTo>
                    <a:pt x="150" y="120"/>
                  </a:lnTo>
                  <a:lnTo>
                    <a:pt x="149" y="119"/>
                  </a:lnTo>
                  <a:lnTo>
                    <a:pt x="149" y="118"/>
                  </a:lnTo>
                  <a:lnTo>
                    <a:pt x="148" y="118"/>
                  </a:lnTo>
                  <a:lnTo>
                    <a:pt x="146" y="116"/>
                  </a:lnTo>
                  <a:lnTo>
                    <a:pt x="146" y="115"/>
                  </a:lnTo>
                  <a:lnTo>
                    <a:pt x="145" y="115"/>
                  </a:lnTo>
                  <a:lnTo>
                    <a:pt x="143" y="116"/>
                  </a:lnTo>
                  <a:lnTo>
                    <a:pt x="142" y="116"/>
                  </a:lnTo>
                  <a:lnTo>
                    <a:pt x="141" y="116"/>
                  </a:lnTo>
                  <a:lnTo>
                    <a:pt x="140" y="115"/>
                  </a:lnTo>
                  <a:lnTo>
                    <a:pt x="139" y="115"/>
                  </a:lnTo>
                  <a:lnTo>
                    <a:pt x="138" y="114"/>
                  </a:lnTo>
                  <a:lnTo>
                    <a:pt x="136" y="113"/>
                  </a:lnTo>
                  <a:lnTo>
                    <a:pt x="135" y="113"/>
                  </a:lnTo>
                  <a:lnTo>
                    <a:pt x="135" y="112"/>
                  </a:lnTo>
                  <a:lnTo>
                    <a:pt x="135" y="111"/>
                  </a:lnTo>
                  <a:lnTo>
                    <a:pt x="135" y="109"/>
                  </a:lnTo>
                  <a:lnTo>
                    <a:pt x="134" y="109"/>
                  </a:lnTo>
                  <a:lnTo>
                    <a:pt x="134" y="108"/>
                  </a:lnTo>
                  <a:lnTo>
                    <a:pt x="133" y="108"/>
                  </a:lnTo>
                  <a:lnTo>
                    <a:pt x="133" y="107"/>
                  </a:lnTo>
                  <a:lnTo>
                    <a:pt x="133" y="106"/>
                  </a:lnTo>
                  <a:lnTo>
                    <a:pt x="133" y="105"/>
                  </a:lnTo>
                  <a:lnTo>
                    <a:pt x="133" y="104"/>
                  </a:lnTo>
                  <a:lnTo>
                    <a:pt x="132" y="102"/>
                  </a:lnTo>
                  <a:lnTo>
                    <a:pt x="132" y="101"/>
                  </a:lnTo>
                  <a:lnTo>
                    <a:pt x="132" y="100"/>
                  </a:lnTo>
                  <a:lnTo>
                    <a:pt x="132" y="99"/>
                  </a:lnTo>
                  <a:lnTo>
                    <a:pt x="131" y="99"/>
                  </a:lnTo>
                  <a:lnTo>
                    <a:pt x="132" y="99"/>
                  </a:lnTo>
                  <a:lnTo>
                    <a:pt x="132" y="98"/>
                  </a:lnTo>
                  <a:lnTo>
                    <a:pt x="131" y="98"/>
                  </a:lnTo>
                  <a:lnTo>
                    <a:pt x="131" y="97"/>
                  </a:lnTo>
                  <a:lnTo>
                    <a:pt x="130" y="97"/>
                  </a:lnTo>
                  <a:lnTo>
                    <a:pt x="128" y="97"/>
                  </a:lnTo>
                  <a:lnTo>
                    <a:pt x="127" y="97"/>
                  </a:lnTo>
                  <a:lnTo>
                    <a:pt x="124" y="97"/>
                  </a:lnTo>
                  <a:lnTo>
                    <a:pt x="123" y="97"/>
                  </a:lnTo>
                  <a:lnTo>
                    <a:pt x="120" y="97"/>
                  </a:lnTo>
                  <a:lnTo>
                    <a:pt x="119" y="97"/>
                  </a:lnTo>
                  <a:lnTo>
                    <a:pt x="119" y="95"/>
                  </a:lnTo>
                  <a:lnTo>
                    <a:pt x="118" y="95"/>
                  </a:lnTo>
                  <a:lnTo>
                    <a:pt x="117" y="93"/>
                  </a:lnTo>
                  <a:lnTo>
                    <a:pt x="116" y="92"/>
                  </a:lnTo>
                  <a:lnTo>
                    <a:pt x="116" y="91"/>
                  </a:lnTo>
                  <a:lnTo>
                    <a:pt x="114" y="91"/>
                  </a:lnTo>
                  <a:lnTo>
                    <a:pt x="113" y="91"/>
                  </a:lnTo>
                  <a:lnTo>
                    <a:pt x="112" y="90"/>
                  </a:lnTo>
                  <a:lnTo>
                    <a:pt x="111" y="90"/>
                  </a:lnTo>
                  <a:lnTo>
                    <a:pt x="110" y="88"/>
                  </a:lnTo>
                  <a:lnTo>
                    <a:pt x="109" y="88"/>
                  </a:lnTo>
                  <a:lnTo>
                    <a:pt x="109" y="90"/>
                  </a:lnTo>
                  <a:lnTo>
                    <a:pt x="109" y="88"/>
                  </a:lnTo>
                  <a:lnTo>
                    <a:pt x="107" y="88"/>
                  </a:lnTo>
                  <a:lnTo>
                    <a:pt x="106" y="88"/>
                  </a:lnTo>
                  <a:lnTo>
                    <a:pt x="106" y="87"/>
                  </a:lnTo>
                  <a:lnTo>
                    <a:pt x="105" y="86"/>
                  </a:lnTo>
                  <a:lnTo>
                    <a:pt x="105" y="85"/>
                  </a:lnTo>
                  <a:lnTo>
                    <a:pt x="104" y="85"/>
                  </a:lnTo>
                  <a:lnTo>
                    <a:pt x="104" y="84"/>
                  </a:lnTo>
                  <a:lnTo>
                    <a:pt x="104" y="83"/>
                  </a:lnTo>
                  <a:lnTo>
                    <a:pt x="103" y="83"/>
                  </a:lnTo>
                  <a:lnTo>
                    <a:pt x="100" y="81"/>
                  </a:lnTo>
                  <a:lnTo>
                    <a:pt x="99" y="81"/>
                  </a:lnTo>
                  <a:lnTo>
                    <a:pt x="98" y="81"/>
                  </a:lnTo>
                  <a:lnTo>
                    <a:pt x="97" y="80"/>
                  </a:lnTo>
                  <a:lnTo>
                    <a:pt x="96" y="80"/>
                  </a:lnTo>
                  <a:lnTo>
                    <a:pt x="96" y="81"/>
                  </a:lnTo>
                  <a:lnTo>
                    <a:pt x="96" y="80"/>
                  </a:lnTo>
                  <a:lnTo>
                    <a:pt x="96" y="81"/>
                  </a:lnTo>
                  <a:lnTo>
                    <a:pt x="95" y="81"/>
                  </a:lnTo>
                  <a:lnTo>
                    <a:pt x="95" y="80"/>
                  </a:lnTo>
                  <a:lnTo>
                    <a:pt x="93" y="80"/>
                  </a:lnTo>
                  <a:lnTo>
                    <a:pt x="92" y="80"/>
                  </a:lnTo>
                  <a:lnTo>
                    <a:pt x="92" y="81"/>
                  </a:lnTo>
                  <a:lnTo>
                    <a:pt x="91" y="81"/>
                  </a:lnTo>
                  <a:lnTo>
                    <a:pt x="90" y="81"/>
                  </a:lnTo>
                  <a:lnTo>
                    <a:pt x="89" y="80"/>
                  </a:lnTo>
                  <a:lnTo>
                    <a:pt x="88" y="79"/>
                  </a:lnTo>
                  <a:lnTo>
                    <a:pt x="86" y="79"/>
                  </a:lnTo>
                  <a:lnTo>
                    <a:pt x="84" y="78"/>
                  </a:lnTo>
                  <a:lnTo>
                    <a:pt x="83" y="78"/>
                  </a:lnTo>
                  <a:lnTo>
                    <a:pt x="82" y="77"/>
                  </a:lnTo>
                  <a:lnTo>
                    <a:pt x="81" y="77"/>
                  </a:lnTo>
                  <a:lnTo>
                    <a:pt x="79" y="77"/>
                  </a:lnTo>
                  <a:lnTo>
                    <a:pt x="78" y="77"/>
                  </a:lnTo>
                  <a:lnTo>
                    <a:pt x="76" y="76"/>
                  </a:lnTo>
                  <a:lnTo>
                    <a:pt x="76" y="74"/>
                  </a:lnTo>
                  <a:lnTo>
                    <a:pt x="76" y="73"/>
                  </a:lnTo>
                  <a:lnTo>
                    <a:pt x="75" y="73"/>
                  </a:lnTo>
                  <a:lnTo>
                    <a:pt x="75" y="72"/>
                  </a:lnTo>
                  <a:lnTo>
                    <a:pt x="74" y="72"/>
                  </a:lnTo>
                  <a:lnTo>
                    <a:pt x="74" y="71"/>
                  </a:lnTo>
                  <a:lnTo>
                    <a:pt x="72" y="71"/>
                  </a:lnTo>
                  <a:lnTo>
                    <a:pt x="72" y="72"/>
                  </a:lnTo>
                  <a:lnTo>
                    <a:pt x="71" y="72"/>
                  </a:lnTo>
                  <a:lnTo>
                    <a:pt x="69" y="72"/>
                  </a:lnTo>
                  <a:lnTo>
                    <a:pt x="68" y="72"/>
                  </a:lnTo>
                  <a:lnTo>
                    <a:pt x="68" y="71"/>
                  </a:lnTo>
                  <a:lnTo>
                    <a:pt x="67" y="71"/>
                  </a:lnTo>
                  <a:lnTo>
                    <a:pt x="66" y="72"/>
                  </a:lnTo>
                  <a:lnTo>
                    <a:pt x="66" y="71"/>
                  </a:lnTo>
                  <a:lnTo>
                    <a:pt x="64" y="71"/>
                  </a:lnTo>
                  <a:lnTo>
                    <a:pt x="63" y="71"/>
                  </a:lnTo>
                  <a:lnTo>
                    <a:pt x="63" y="72"/>
                  </a:lnTo>
                  <a:lnTo>
                    <a:pt x="62" y="72"/>
                  </a:lnTo>
                  <a:lnTo>
                    <a:pt x="62" y="73"/>
                  </a:lnTo>
                  <a:lnTo>
                    <a:pt x="63" y="73"/>
                  </a:lnTo>
                  <a:lnTo>
                    <a:pt x="63" y="74"/>
                  </a:lnTo>
                  <a:lnTo>
                    <a:pt x="62" y="74"/>
                  </a:lnTo>
                  <a:lnTo>
                    <a:pt x="61" y="74"/>
                  </a:lnTo>
                  <a:lnTo>
                    <a:pt x="60" y="74"/>
                  </a:lnTo>
                  <a:lnTo>
                    <a:pt x="59" y="74"/>
                  </a:lnTo>
                  <a:lnTo>
                    <a:pt x="57" y="74"/>
                  </a:lnTo>
                  <a:lnTo>
                    <a:pt x="56" y="74"/>
                  </a:lnTo>
                  <a:lnTo>
                    <a:pt x="56" y="73"/>
                  </a:lnTo>
                  <a:lnTo>
                    <a:pt x="55" y="73"/>
                  </a:lnTo>
                  <a:lnTo>
                    <a:pt x="53" y="74"/>
                  </a:lnTo>
                  <a:lnTo>
                    <a:pt x="52" y="74"/>
                  </a:lnTo>
                  <a:lnTo>
                    <a:pt x="50" y="74"/>
                  </a:lnTo>
                  <a:lnTo>
                    <a:pt x="50" y="76"/>
                  </a:lnTo>
                  <a:lnTo>
                    <a:pt x="49" y="76"/>
                  </a:lnTo>
                  <a:lnTo>
                    <a:pt x="48" y="76"/>
                  </a:lnTo>
                  <a:lnTo>
                    <a:pt x="48" y="77"/>
                  </a:lnTo>
                  <a:lnTo>
                    <a:pt x="47" y="77"/>
                  </a:lnTo>
                  <a:lnTo>
                    <a:pt x="47" y="78"/>
                  </a:lnTo>
                  <a:lnTo>
                    <a:pt x="45" y="79"/>
                  </a:lnTo>
                  <a:lnTo>
                    <a:pt x="45" y="80"/>
                  </a:lnTo>
                  <a:lnTo>
                    <a:pt x="45" y="81"/>
                  </a:lnTo>
                  <a:lnTo>
                    <a:pt x="45" y="83"/>
                  </a:lnTo>
                  <a:lnTo>
                    <a:pt x="45" y="84"/>
                  </a:lnTo>
                  <a:lnTo>
                    <a:pt x="43" y="84"/>
                  </a:lnTo>
                  <a:lnTo>
                    <a:pt x="43" y="85"/>
                  </a:lnTo>
                  <a:lnTo>
                    <a:pt x="42" y="85"/>
                  </a:lnTo>
                  <a:lnTo>
                    <a:pt x="42" y="84"/>
                  </a:lnTo>
                  <a:lnTo>
                    <a:pt x="40" y="85"/>
                  </a:lnTo>
                  <a:lnTo>
                    <a:pt x="39" y="86"/>
                  </a:lnTo>
                  <a:lnTo>
                    <a:pt x="38" y="86"/>
                  </a:lnTo>
                  <a:lnTo>
                    <a:pt x="34" y="86"/>
                  </a:lnTo>
                  <a:lnTo>
                    <a:pt x="33" y="84"/>
                  </a:lnTo>
                  <a:lnTo>
                    <a:pt x="33" y="83"/>
                  </a:lnTo>
                  <a:lnTo>
                    <a:pt x="33" y="81"/>
                  </a:lnTo>
                  <a:lnTo>
                    <a:pt x="32" y="79"/>
                  </a:lnTo>
                  <a:lnTo>
                    <a:pt x="31" y="74"/>
                  </a:lnTo>
                  <a:lnTo>
                    <a:pt x="31" y="73"/>
                  </a:lnTo>
                  <a:lnTo>
                    <a:pt x="31" y="72"/>
                  </a:lnTo>
                  <a:lnTo>
                    <a:pt x="31" y="71"/>
                  </a:lnTo>
                  <a:lnTo>
                    <a:pt x="29" y="70"/>
                  </a:lnTo>
                  <a:lnTo>
                    <a:pt x="29" y="69"/>
                  </a:lnTo>
                  <a:lnTo>
                    <a:pt x="29" y="67"/>
                  </a:lnTo>
                  <a:lnTo>
                    <a:pt x="28" y="66"/>
                  </a:lnTo>
                  <a:lnTo>
                    <a:pt x="28" y="65"/>
                  </a:lnTo>
                  <a:lnTo>
                    <a:pt x="29" y="65"/>
                  </a:lnTo>
                  <a:lnTo>
                    <a:pt x="29" y="64"/>
                  </a:lnTo>
                  <a:lnTo>
                    <a:pt x="29" y="63"/>
                  </a:lnTo>
                  <a:lnTo>
                    <a:pt x="29" y="62"/>
                  </a:lnTo>
                  <a:lnTo>
                    <a:pt x="29" y="60"/>
                  </a:lnTo>
                  <a:lnTo>
                    <a:pt x="29" y="62"/>
                  </a:lnTo>
                  <a:lnTo>
                    <a:pt x="29" y="60"/>
                  </a:lnTo>
                  <a:lnTo>
                    <a:pt x="28" y="60"/>
                  </a:lnTo>
                  <a:lnTo>
                    <a:pt x="28" y="59"/>
                  </a:lnTo>
                  <a:lnTo>
                    <a:pt x="27" y="59"/>
                  </a:lnTo>
                  <a:lnTo>
                    <a:pt x="26" y="59"/>
                  </a:lnTo>
                  <a:lnTo>
                    <a:pt x="26" y="58"/>
                  </a:lnTo>
                  <a:lnTo>
                    <a:pt x="26" y="59"/>
                  </a:lnTo>
                  <a:lnTo>
                    <a:pt x="26" y="58"/>
                  </a:lnTo>
                  <a:lnTo>
                    <a:pt x="25" y="57"/>
                  </a:lnTo>
                  <a:lnTo>
                    <a:pt x="26" y="57"/>
                  </a:lnTo>
                  <a:lnTo>
                    <a:pt x="25" y="57"/>
                  </a:lnTo>
                  <a:lnTo>
                    <a:pt x="25" y="56"/>
                  </a:lnTo>
                  <a:lnTo>
                    <a:pt x="25" y="57"/>
                  </a:lnTo>
                  <a:lnTo>
                    <a:pt x="25" y="58"/>
                  </a:lnTo>
                  <a:lnTo>
                    <a:pt x="25" y="57"/>
                  </a:lnTo>
                  <a:lnTo>
                    <a:pt x="24" y="57"/>
                  </a:lnTo>
                  <a:lnTo>
                    <a:pt x="24" y="56"/>
                  </a:lnTo>
                  <a:lnTo>
                    <a:pt x="24" y="57"/>
                  </a:lnTo>
                  <a:lnTo>
                    <a:pt x="24" y="56"/>
                  </a:lnTo>
                  <a:lnTo>
                    <a:pt x="24" y="55"/>
                  </a:lnTo>
                  <a:lnTo>
                    <a:pt x="22" y="56"/>
                  </a:lnTo>
                  <a:lnTo>
                    <a:pt x="24" y="55"/>
                  </a:lnTo>
                  <a:lnTo>
                    <a:pt x="22" y="55"/>
                  </a:lnTo>
                  <a:lnTo>
                    <a:pt x="21" y="55"/>
                  </a:lnTo>
                  <a:lnTo>
                    <a:pt x="20" y="55"/>
                  </a:lnTo>
                  <a:lnTo>
                    <a:pt x="19" y="55"/>
                  </a:lnTo>
                  <a:lnTo>
                    <a:pt x="19" y="53"/>
                  </a:lnTo>
                  <a:lnTo>
                    <a:pt x="18" y="53"/>
                  </a:lnTo>
                  <a:lnTo>
                    <a:pt x="18" y="55"/>
                  </a:lnTo>
                  <a:lnTo>
                    <a:pt x="18" y="56"/>
                  </a:lnTo>
                  <a:lnTo>
                    <a:pt x="19" y="56"/>
                  </a:lnTo>
                  <a:lnTo>
                    <a:pt x="19" y="57"/>
                  </a:lnTo>
                  <a:lnTo>
                    <a:pt x="18" y="57"/>
                  </a:lnTo>
                  <a:lnTo>
                    <a:pt x="18" y="55"/>
                  </a:lnTo>
                  <a:lnTo>
                    <a:pt x="17" y="53"/>
                  </a:lnTo>
                  <a:lnTo>
                    <a:pt x="17" y="52"/>
                  </a:lnTo>
                  <a:lnTo>
                    <a:pt x="18" y="51"/>
                  </a:lnTo>
                  <a:lnTo>
                    <a:pt x="18" y="50"/>
                  </a:lnTo>
                  <a:lnTo>
                    <a:pt x="18" y="49"/>
                  </a:lnTo>
                  <a:lnTo>
                    <a:pt x="19" y="49"/>
                  </a:lnTo>
                  <a:lnTo>
                    <a:pt x="18" y="50"/>
                  </a:lnTo>
                  <a:lnTo>
                    <a:pt x="18" y="51"/>
                  </a:lnTo>
                  <a:lnTo>
                    <a:pt x="20" y="51"/>
                  </a:lnTo>
                  <a:lnTo>
                    <a:pt x="21" y="51"/>
                  </a:lnTo>
                  <a:lnTo>
                    <a:pt x="21" y="52"/>
                  </a:lnTo>
                  <a:lnTo>
                    <a:pt x="22" y="52"/>
                  </a:lnTo>
                  <a:lnTo>
                    <a:pt x="22" y="51"/>
                  </a:lnTo>
                  <a:lnTo>
                    <a:pt x="22" y="52"/>
                  </a:lnTo>
                  <a:lnTo>
                    <a:pt x="24" y="52"/>
                  </a:lnTo>
                  <a:lnTo>
                    <a:pt x="24" y="51"/>
                  </a:lnTo>
                  <a:lnTo>
                    <a:pt x="25" y="51"/>
                  </a:lnTo>
                  <a:lnTo>
                    <a:pt x="24" y="51"/>
                  </a:lnTo>
                  <a:lnTo>
                    <a:pt x="22" y="51"/>
                  </a:lnTo>
                  <a:lnTo>
                    <a:pt x="24" y="51"/>
                  </a:lnTo>
                  <a:lnTo>
                    <a:pt x="24" y="50"/>
                  </a:lnTo>
                  <a:lnTo>
                    <a:pt x="22" y="50"/>
                  </a:lnTo>
                  <a:lnTo>
                    <a:pt x="21" y="50"/>
                  </a:lnTo>
                  <a:lnTo>
                    <a:pt x="21" y="49"/>
                  </a:lnTo>
                  <a:lnTo>
                    <a:pt x="21" y="50"/>
                  </a:lnTo>
                  <a:lnTo>
                    <a:pt x="21" y="49"/>
                  </a:lnTo>
                  <a:lnTo>
                    <a:pt x="20" y="49"/>
                  </a:lnTo>
                  <a:lnTo>
                    <a:pt x="20" y="50"/>
                  </a:lnTo>
                  <a:lnTo>
                    <a:pt x="20" y="49"/>
                  </a:lnTo>
                  <a:lnTo>
                    <a:pt x="20" y="48"/>
                  </a:lnTo>
                  <a:lnTo>
                    <a:pt x="19" y="48"/>
                  </a:lnTo>
                  <a:lnTo>
                    <a:pt x="20" y="46"/>
                  </a:lnTo>
                  <a:lnTo>
                    <a:pt x="20" y="45"/>
                  </a:lnTo>
                  <a:lnTo>
                    <a:pt x="21" y="45"/>
                  </a:lnTo>
                  <a:lnTo>
                    <a:pt x="21" y="44"/>
                  </a:lnTo>
                  <a:lnTo>
                    <a:pt x="20" y="44"/>
                  </a:lnTo>
                  <a:lnTo>
                    <a:pt x="19" y="44"/>
                  </a:lnTo>
                  <a:lnTo>
                    <a:pt x="18" y="44"/>
                  </a:lnTo>
                  <a:lnTo>
                    <a:pt x="18" y="45"/>
                  </a:lnTo>
                  <a:lnTo>
                    <a:pt x="17" y="45"/>
                  </a:lnTo>
                  <a:lnTo>
                    <a:pt x="17" y="44"/>
                  </a:lnTo>
                  <a:lnTo>
                    <a:pt x="15" y="44"/>
                  </a:lnTo>
                  <a:lnTo>
                    <a:pt x="14" y="44"/>
                  </a:lnTo>
                  <a:lnTo>
                    <a:pt x="13" y="44"/>
                  </a:lnTo>
                  <a:lnTo>
                    <a:pt x="12" y="44"/>
                  </a:lnTo>
                  <a:lnTo>
                    <a:pt x="13" y="45"/>
                  </a:lnTo>
                  <a:lnTo>
                    <a:pt x="13" y="46"/>
                  </a:lnTo>
                  <a:lnTo>
                    <a:pt x="14" y="48"/>
                  </a:lnTo>
                  <a:lnTo>
                    <a:pt x="13" y="46"/>
                  </a:lnTo>
                  <a:lnTo>
                    <a:pt x="12" y="45"/>
                  </a:lnTo>
                  <a:lnTo>
                    <a:pt x="11" y="44"/>
                  </a:lnTo>
                  <a:lnTo>
                    <a:pt x="10" y="43"/>
                  </a:lnTo>
                  <a:lnTo>
                    <a:pt x="10" y="42"/>
                  </a:lnTo>
                  <a:lnTo>
                    <a:pt x="10" y="41"/>
                  </a:lnTo>
                  <a:lnTo>
                    <a:pt x="8" y="41"/>
                  </a:lnTo>
                  <a:lnTo>
                    <a:pt x="8" y="39"/>
                  </a:lnTo>
                  <a:lnTo>
                    <a:pt x="8" y="36"/>
                  </a:lnTo>
                  <a:lnTo>
                    <a:pt x="8" y="35"/>
                  </a:lnTo>
                  <a:lnTo>
                    <a:pt x="10" y="35"/>
                  </a:lnTo>
                  <a:lnTo>
                    <a:pt x="10" y="34"/>
                  </a:lnTo>
                  <a:lnTo>
                    <a:pt x="10" y="32"/>
                  </a:lnTo>
                  <a:lnTo>
                    <a:pt x="8" y="32"/>
                  </a:lnTo>
                  <a:lnTo>
                    <a:pt x="8" y="31"/>
                  </a:lnTo>
                  <a:lnTo>
                    <a:pt x="8" y="30"/>
                  </a:lnTo>
                  <a:lnTo>
                    <a:pt x="10" y="29"/>
                  </a:lnTo>
                  <a:lnTo>
                    <a:pt x="8" y="28"/>
                  </a:lnTo>
                  <a:lnTo>
                    <a:pt x="8" y="27"/>
                  </a:lnTo>
                  <a:lnTo>
                    <a:pt x="10" y="28"/>
                  </a:lnTo>
                  <a:lnTo>
                    <a:pt x="10" y="29"/>
                  </a:lnTo>
                  <a:lnTo>
                    <a:pt x="11" y="29"/>
                  </a:lnTo>
                  <a:lnTo>
                    <a:pt x="11" y="30"/>
                  </a:lnTo>
                  <a:lnTo>
                    <a:pt x="12" y="30"/>
                  </a:lnTo>
                  <a:lnTo>
                    <a:pt x="11" y="30"/>
                  </a:lnTo>
                  <a:lnTo>
                    <a:pt x="11" y="31"/>
                  </a:lnTo>
                  <a:lnTo>
                    <a:pt x="12" y="31"/>
                  </a:lnTo>
                  <a:lnTo>
                    <a:pt x="13" y="32"/>
                  </a:lnTo>
                  <a:lnTo>
                    <a:pt x="13" y="31"/>
                  </a:lnTo>
                  <a:lnTo>
                    <a:pt x="14" y="31"/>
                  </a:lnTo>
                  <a:lnTo>
                    <a:pt x="14" y="32"/>
                  </a:lnTo>
                  <a:lnTo>
                    <a:pt x="15" y="31"/>
                  </a:lnTo>
                  <a:lnTo>
                    <a:pt x="15" y="32"/>
                  </a:lnTo>
                  <a:lnTo>
                    <a:pt x="17" y="32"/>
                  </a:lnTo>
                  <a:lnTo>
                    <a:pt x="18" y="32"/>
                  </a:lnTo>
                  <a:lnTo>
                    <a:pt x="18" y="31"/>
                  </a:lnTo>
                  <a:lnTo>
                    <a:pt x="18" y="30"/>
                  </a:lnTo>
                  <a:lnTo>
                    <a:pt x="19" y="30"/>
                  </a:lnTo>
                  <a:lnTo>
                    <a:pt x="19" y="31"/>
                  </a:lnTo>
                  <a:lnTo>
                    <a:pt x="19" y="32"/>
                  </a:lnTo>
                  <a:lnTo>
                    <a:pt x="20" y="32"/>
                  </a:lnTo>
                  <a:lnTo>
                    <a:pt x="20" y="34"/>
                  </a:lnTo>
                  <a:lnTo>
                    <a:pt x="21" y="34"/>
                  </a:lnTo>
                  <a:lnTo>
                    <a:pt x="22" y="34"/>
                  </a:lnTo>
                  <a:lnTo>
                    <a:pt x="24" y="34"/>
                  </a:lnTo>
                  <a:lnTo>
                    <a:pt x="25" y="34"/>
                  </a:lnTo>
                  <a:lnTo>
                    <a:pt x="25" y="32"/>
                  </a:lnTo>
                  <a:lnTo>
                    <a:pt x="26" y="32"/>
                  </a:lnTo>
                  <a:lnTo>
                    <a:pt x="27" y="32"/>
                  </a:lnTo>
                  <a:lnTo>
                    <a:pt x="27" y="34"/>
                  </a:lnTo>
                  <a:lnTo>
                    <a:pt x="29" y="34"/>
                  </a:lnTo>
                  <a:lnTo>
                    <a:pt x="28" y="34"/>
                  </a:lnTo>
                  <a:lnTo>
                    <a:pt x="28" y="32"/>
                  </a:lnTo>
                  <a:lnTo>
                    <a:pt x="29" y="32"/>
                  </a:lnTo>
                  <a:lnTo>
                    <a:pt x="28" y="32"/>
                  </a:lnTo>
                  <a:lnTo>
                    <a:pt x="27" y="32"/>
                  </a:lnTo>
                  <a:lnTo>
                    <a:pt x="27" y="31"/>
                  </a:lnTo>
                  <a:lnTo>
                    <a:pt x="27" y="30"/>
                  </a:lnTo>
                  <a:lnTo>
                    <a:pt x="26" y="30"/>
                  </a:lnTo>
                  <a:lnTo>
                    <a:pt x="27" y="30"/>
                  </a:lnTo>
                  <a:lnTo>
                    <a:pt x="27" y="29"/>
                  </a:lnTo>
                  <a:lnTo>
                    <a:pt x="27" y="30"/>
                  </a:lnTo>
                  <a:lnTo>
                    <a:pt x="28" y="30"/>
                  </a:lnTo>
                  <a:lnTo>
                    <a:pt x="29" y="30"/>
                  </a:lnTo>
                  <a:lnTo>
                    <a:pt x="29" y="31"/>
                  </a:lnTo>
                  <a:lnTo>
                    <a:pt x="31" y="31"/>
                  </a:lnTo>
                  <a:lnTo>
                    <a:pt x="32" y="31"/>
                  </a:lnTo>
                  <a:lnTo>
                    <a:pt x="32" y="30"/>
                  </a:lnTo>
                  <a:lnTo>
                    <a:pt x="33" y="29"/>
                  </a:lnTo>
                  <a:lnTo>
                    <a:pt x="32" y="28"/>
                  </a:lnTo>
                  <a:lnTo>
                    <a:pt x="31" y="28"/>
                  </a:lnTo>
                  <a:lnTo>
                    <a:pt x="31" y="27"/>
                  </a:lnTo>
                  <a:lnTo>
                    <a:pt x="32" y="27"/>
                  </a:lnTo>
                  <a:lnTo>
                    <a:pt x="32" y="28"/>
                  </a:lnTo>
                  <a:lnTo>
                    <a:pt x="32" y="27"/>
                  </a:lnTo>
                  <a:lnTo>
                    <a:pt x="31" y="27"/>
                  </a:lnTo>
                  <a:lnTo>
                    <a:pt x="31" y="25"/>
                  </a:lnTo>
                  <a:lnTo>
                    <a:pt x="29" y="25"/>
                  </a:lnTo>
                  <a:lnTo>
                    <a:pt x="27" y="23"/>
                  </a:lnTo>
                  <a:lnTo>
                    <a:pt x="26" y="23"/>
                  </a:lnTo>
                  <a:lnTo>
                    <a:pt x="25" y="23"/>
                  </a:lnTo>
                  <a:lnTo>
                    <a:pt x="25" y="22"/>
                  </a:lnTo>
                  <a:lnTo>
                    <a:pt x="24" y="22"/>
                  </a:lnTo>
                  <a:lnTo>
                    <a:pt x="22" y="21"/>
                  </a:lnTo>
                  <a:lnTo>
                    <a:pt x="21" y="21"/>
                  </a:lnTo>
                  <a:lnTo>
                    <a:pt x="21" y="20"/>
                  </a:lnTo>
                  <a:lnTo>
                    <a:pt x="21" y="18"/>
                  </a:lnTo>
                  <a:lnTo>
                    <a:pt x="20" y="17"/>
                  </a:lnTo>
                  <a:lnTo>
                    <a:pt x="20" y="16"/>
                  </a:lnTo>
                  <a:lnTo>
                    <a:pt x="19" y="15"/>
                  </a:lnTo>
                  <a:lnTo>
                    <a:pt x="19" y="14"/>
                  </a:lnTo>
                  <a:lnTo>
                    <a:pt x="18" y="14"/>
                  </a:lnTo>
                  <a:lnTo>
                    <a:pt x="18" y="13"/>
                  </a:lnTo>
                  <a:lnTo>
                    <a:pt x="18" y="11"/>
                  </a:lnTo>
                  <a:lnTo>
                    <a:pt x="17" y="11"/>
                  </a:lnTo>
                  <a:lnTo>
                    <a:pt x="17" y="10"/>
                  </a:lnTo>
                  <a:lnTo>
                    <a:pt x="15" y="10"/>
                  </a:lnTo>
                  <a:lnTo>
                    <a:pt x="14" y="10"/>
                  </a:lnTo>
                  <a:lnTo>
                    <a:pt x="11" y="11"/>
                  </a:lnTo>
                  <a:lnTo>
                    <a:pt x="10" y="11"/>
                  </a:lnTo>
                  <a:lnTo>
                    <a:pt x="8" y="11"/>
                  </a:lnTo>
                  <a:lnTo>
                    <a:pt x="7" y="11"/>
                  </a:lnTo>
                  <a:lnTo>
                    <a:pt x="6" y="13"/>
                  </a:lnTo>
                  <a:lnTo>
                    <a:pt x="6" y="14"/>
                  </a:lnTo>
                  <a:lnTo>
                    <a:pt x="5" y="16"/>
                  </a:lnTo>
                  <a:lnTo>
                    <a:pt x="5" y="17"/>
                  </a:lnTo>
                  <a:lnTo>
                    <a:pt x="5" y="18"/>
                  </a:lnTo>
                  <a:lnTo>
                    <a:pt x="5" y="17"/>
                  </a:lnTo>
                  <a:lnTo>
                    <a:pt x="6" y="17"/>
                  </a:lnTo>
                  <a:lnTo>
                    <a:pt x="6" y="18"/>
                  </a:lnTo>
                  <a:lnTo>
                    <a:pt x="6" y="20"/>
                  </a:lnTo>
                  <a:lnTo>
                    <a:pt x="6" y="22"/>
                  </a:lnTo>
                  <a:lnTo>
                    <a:pt x="6" y="23"/>
                  </a:lnTo>
                  <a:lnTo>
                    <a:pt x="7" y="24"/>
                  </a:lnTo>
                  <a:lnTo>
                    <a:pt x="8" y="27"/>
                  </a:lnTo>
                  <a:lnTo>
                    <a:pt x="8" y="28"/>
                  </a:lnTo>
                  <a:lnTo>
                    <a:pt x="7" y="27"/>
                  </a:lnTo>
                  <a:lnTo>
                    <a:pt x="7" y="25"/>
                  </a:lnTo>
                  <a:lnTo>
                    <a:pt x="7" y="24"/>
                  </a:lnTo>
                  <a:lnTo>
                    <a:pt x="6" y="24"/>
                  </a:lnTo>
                  <a:lnTo>
                    <a:pt x="6" y="23"/>
                  </a:lnTo>
                  <a:lnTo>
                    <a:pt x="5" y="22"/>
                  </a:lnTo>
                  <a:lnTo>
                    <a:pt x="4" y="21"/>
                  </a:lnTo>
                  <a:lnTo>
                    <a:pt x="3" y="21"/>
                  </a:lnTo>
                  <a:lnTo>
                    <a:pt x="3" y="20"/>
                  </a:lnTo>
                  <a:lnTo>
                    <a:pt x="3" y="18"/>
                  </a:lnTo>
                  <a:lnTo>
                    <a:pt x="2" y="17"/>
                  </a:lnTo>
                  <a:lnTo>
                    <a:pt x="0" y="17"/>
                  </a:lnTo>
                  <a:lnTo>
                    <a:pt x="0" y="16"/>
                  </a:lnTo>
                  <a:lnTo>
                    <a:pt x="2" y="14"/>
                  </a:lnTo>
                  <a:lnTo>
                    <a:pt x="4" y="13"/>
                  </a:lnTo>
                  <a:lnTo>
                    <a:pt x="5" y="10"/>
                  </a:lnTo>
                  <a:lnTo>
                    <a:pt x="7" y="10"/>
                  </a:lnTo>
                  <a:lnTo>
                    <a:pt x="8" y="9"/>
                  </a:lnTo>
                  <a:lnTo>
                    <a:pt x="11" y="8"/>
                  </a:lnTo>
                  <a:lnTo>
                    <a:pt x="13" y="8"/>
                  </a:lnTo>
                  <a:lnTo>
                    <a:pt x="15" y="8"/>
                  </a:lnTo>
                  <a:lnTo>
                    <a:pt x="18" y="7"/>
                  </a:lnTo>
                  <a:lnTo>
                    <a:pt x="19" y="7"/>
                  </a:lnTo>
                  <a:lnTo>
                    <a:pt x="20" y="8"/>
                  </a:lnTo>
                  <a:lnTo>
                    <a:pt x="22" y="9"/>
                  </a:lnTo>
                  <a:lnTo>
                    <a:pt x="25" y="10"/>
                  </a:lnTo>
                  <a:lnTo>
                    <a:pt x="26" y="11"/>
                  </a:lnTo>
                  <a:lnTo>
                    <a:pt x="28" y="11"/>
                  </a:lnTo>
                  <a:lnTo>
                    <a:pt x="31" y="14"/>
                  </a:lnTo>
                  <a:lnTo>
                    <a:pt x="32" y="14"/>
                  </a:lnTo>
                  <a:lnTo>
                    <a:pt x="32" y="15"/>
                  </a:lnTo>
                  <a:lnTo>
                    <a:pt x="32" y="16"/>
                  </a:lnTo>
                  <a:lnTo>
                    <a:pt x="34" y="17"/>
                  </a:lnTo>
                  <a:lnTo>
                    <a:pt x="34" y="18"/>
                  </a:lnTo>
                  <a:lnTo>
                    <a:pt x="35" y="20"/>
                  </a:lnTo>
                  <a:lnTo>
                    <a:pt x="36" y="21"/>
                  </a:lnTo>
                  <a:lnTo>
                    <a:pt x="38" y="21"/>
                  </a:lnTo>
                  <a:lnTo>
                    <a:pt x="38" y="22"/>
                  </a:lnTo>
                  <a:lnTo>
                    <a:pt x="39" y="22"/>
                  </a:lnTo>
                  <a:lnTo>
                    <a:pt x="39" y="23"/>
                  </a:lnTo>
                  <a:lnTo>
                    <a:pt x="40" y="23"/>
                  </a:lnTo>
                  <a:lnTo>
                    <a:pt x="40" y="24"/>
                  </a:lnTo>
                  <a:lnTo>
                    <a:pt x="41" y="24"/>
                  </a:lnTo>
                  <a:lnTo>
                    <a:pt x="42" y="24"/>
                  </a:lnTo>
                  <a:lnTo>
                    <a:pt x="43" y="24"/>
                  </a:lnTo>
                  <a:lnTo>
                    <a:pt x="45" y="23"/>
                  </a:lnTo>
                  <a:lnTo>
                    <a:pt x="46" y="23"/>
                  </a:lnTo>
                  <a:lnTo>
                    <a:pt x="47" y="23"/>
                  </a:lnTo>
                  <a:lnTo>
                    <a:pt x="49" y="23"/>
                  </a:lnTo>
                  <a:lnTo>
                    <a:pt x="52" y="23"/>
                  </a:lnTo>
                  <a:lnTo>
                    <a:pt x="54" y="23"/>
                  </a:lnTo>
                  <a:lnTo>
                    <a:pt x="57" y="24"/>
                  </a:lnTo>
                  <a:lnTo>
                    <a:pt x="59" y="24"/>
                  </a:lnTo>
                  <a:lnTo>
                    <a:pt x="60" y="24"/>
                  </a:lnTo>
                  <a:lnTo>
                    <a:pt x="61" y="24"/>
                  </a:lnTo>
                  <a:lnTo>
                    <a:pt x="61" y="23"/>
                  </a:lnTo>
                  <a:lnTo>
                    <a:pt x="62" y="23"/>
                  </a:lnTo>
                  <a:lnTo>
                    <a:pt x="62" y="22"/>
                  </a:lnTo>
                  <a:lnTo>
                    <a:pt x="61" y="22"/>
                  </a:lnTo>
                  <a:lnTo>
                    <a:pt x="60" y="22"/>
                  </a:lnTo>
                  <a:lnTo>
                    <a:pt x="60" y="21"/>
                  </a:lnTo>
                  <a:lnTo>
                    <a:pt x="60" y="20"/>
                  </a:lnTo>
                  <a:lnTo>
                    <a:pt x="59" y="20"/>
                  </a:lnTo>
                  <a:lnTo>
                    <a:pt x="59" y="18"/>
                  </a:lnTo>
                  <a:lnTo>
                    <a:pt x="57" y="17"/>
                  </a:lnTo>
                  <a:lnTo>
                    <a:pt x="57" y="16"/>
                  </a:lnTo>
                  <a:lnTo>
                    <a:pt x="57" y="15"/>
                  </a:lnTo>
                  <a:lnTo>
                    <a:pt x="57" y="14"/>
                  </a:lnTo>
                  <a:lnTo>
                    <a:pt x="59" y="14"/>
                  </a:lnTo>
                  <a:lnTo>
                    <a:pt x="59" y="16"/>
                  </a:lnTo>
                  <a:lnTo>
                    <a:pt x="59" y="17"/>
                  </a:lnTo>
                  <a:lnTo>
                    <a:pt x="60" y="17"/>
                  </a:lnTo>
                  <a:lnTo>
                    <a:pt x="60" y="16"/>
                  </a:lnTo>
                  <a:lnTo>
                    <a:pt x="61" y="17"/>
                  </a:lnTo>
                  <a:lnTo>
                    <a:pt x="61" y="18"/>
                  </a:lnTo>
                  <a:lnTo>
                    <a:pt x="62" y="18"/>
                  </a:lnTo>
                  <a:lnTo>
                    <a:pt x="63" y="20"/>
                  </a:lnTo>
                  <a:lnTo>
                    <a:pt x="64" y="20"/>
                  </a:lnTo>
                  <a:lnTo>
                    <a:pt x="64" y="18"/>
                  </a:lnTo>
                  <a:lnTo>
                    <a:pt x="64" y="20"/>
                  </a:lnTo>
                  <a:lnTo>
                    <a:pt x="66" y="20"/>
                  </a:lnTo>
                  <a:lnTo>
                    <a:pt x="66" y="18"/>
                  </a:lnTo>
                  <a:lnTo>
                    <a:pt x="67" y="18"/>
                  </a:lnTo>
                  <a:lnTo>
                    <a:pt x="68" y="18"/>
                  </a:lnTo>
                  <a:lnTo>
                    <a:pt x="68" y="17"/>
                  </a:lnTo>
                  <a:lnTo>
                    <a:pt x="69" y="17"/>
                  </a:lnTo>
                  <a:lnTo>
                    <a:pt x="69" y="16"/>
                  </a:lnTo>
                  <a:lnTo>
                    <a:pt x="69" y="15"/>
                  </a:lnTo>
                  <a:lnTo>
                    <a:pt x="68" y="15"/>
                  </a:lnTo>
                  <a:lnTo>
                    <a:pt x="68" y="14"/>
                  </a:lnTo>
                  <a:lnTo>
                    <a:pt x="67" y="14"/>
                  </a:lnTo>
                  <a:lnTo>
                    <a:pt x="66" y="14"/>
                  </a:lnTo>
                  <a:lnTo>
                    <a:pt x="66" y="13"/>
                  </a:lnTo>
                  <a:lnTo>
                    <a:pt x="67" y="13"/>
                  </a:lnTo>
                  <a:lnTo>
                    <a:pt x="66" y="11"/>
                  </a:lnTo>
                  <a:lnTo>
                    <a:pt x="64" y="11"/>
                  </a:lnTo>
                  <a:lnTo>
                    <a:pt x="64" y="10"/>
                  </a:lnTo>
                  <a:lnTo>
                    <a:pt x="66" y="10"/>
                  </a:lnTo>
                  <a:lnTo>
                    <a:pt x="67" y="10"/>
                  </a:lnTo>
                  <a:lnTo>
                    <a:pt x="67" y="9"/>
                  </a:lnTo>
                  <a:lnTo>
                    <a:pt x="68" y="8"/>
                  </a:lnTo>
                  <a:lnTo>
                    <a:pt x="68" y="7"/>
                  </a:lnTo>
                  <a:lnTo>
                    <a:pt x="67" y="7"/>
                  </a:lnTo>
                  <a:lnTo>
                    <a:pt x="67" y="6"/>
                  </a:lnTo>
                  <a:lnTo>
                    <a:pt x="68" y="6"/>
                  </a:lnTo>
                  <a:lnTo>
                    <a:pt x="68" y="4"/>
                  </a:lnTo>
                  <a:lnTo>
                    <a:pt x="69" y="4"/>
                  </a:lnTo>
                  <a:lnTo>
                    <a:pt x="69" y="6"/>
                  </a:lnTo>
                  <a:lnTo>
                    <a:pt x="70" y="6"/>
                  </a:lnTo>
                  <a:lnTo>
                    <a:pt x="71" y="6"/>
                  </a:lnTo>
                  <a:lnTo>
                    <a:pt x="72" y="6"/>
                  </a:lnTo>
                  <a:lnTo>
                    <a:pt x="74" y="7"/>
                  </a:lnTo>
                  <a:lnTo>
                    <a:pt x="74" y="8"/>
                  </a:lnTo>
                  <a:lnTo>
                    <a:pt x="75" y="8"/>
                  </a:lnTo>
                  <a:lnTo>
                    <a:pt x="74" y="7"/>
                  </a:lnTo>
                  <a:lnTo>
                    <a:pt x="72" y="6"/>
                  </a:lnTo>
                  <a:lnTo>
                    <a:pt x="72" y="4"/>
                  </a:lnTo>
                  <a:lnTo>
                    <a:pt x="71" y="4"/>
                  </a:lnTo>
                  <a:lnTo>
                    <a:pt x="69" y="3"/>
                  </a:lnTo>
                  <a:lnTo>
                    <a:pt x="69" y="2"/>
                  </a:lnTo>
                  <a:lnTo>
                    <a:pt x="70" y="2"/>
                  </a:lnTo>
                  <a:lnTo>
                    <a:pt x="72" y="2"/>
                  </a:lnTo>
                  <a:lnTo>
                    <a:pt x="74" y="2"/>
                  </a:lnTo>
                  <a:lnTo>
                    <a:pt x="74" y="1"/>
                  </a:lnTo>
                  <a:lnTo>
                    <a:pt x="74" y="0"/>
                  </a:lnTo>
                  <a:lnTo>
                    <a:pt x="75"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60" name="Freeform 1020">
              <a:extLst>
                <a:ext uri="{FF2B5EF4-FFF2-40B4-BE49-F238E27FC236}">
                  <a16:creationId xmlns:a16="http://schemas.microsoft.com/office/drawing/2014/main" id="{DC042FBD-B36E-4ECC-9DA9-43EB82BE9A53}"/>
                </a:ext>
              </a:extLst>
            </p:cNvPr>
            <p:cNvSpPr>
              <a:spLocks noEditPoints="1"/>
            </p:cNvSpPr>
            <p:nvPr/>
          </p:nvSpPr>
          <p:spPr bwMode="auto">
            <a:xfrm>
              <a:off x="8107473" y="3520806"/>
              <a:ext cx="61432" cy="28046"/>
            </a:xfrm>
            <a:custGeom>
              <a:avLst/>
              <a:gdLst>
                <a:gd name="T0" fmla="*/ 4 w 46"/>
                <a:gd name="T1" fmla="*/ 20 h 21"/>
                <a:gd name="T2" fmla="*/ 4 w 46"/>
                <a:gd name="T3" fmla="*/ 21 h 21"/>
                <a:gd name="T4" fmla="*/ 3 w 46"/>
                <a:gd name="T5" fmla="*/ 21 h 21"/>
                <a:gd name="T6" fmla="*/ 3 w 46"/>
                <a:gd name="T7" fmla="*/ 21 h 21"/>
                <a:gd name="T8" fmla="*/ 2 w 46"/>
                <a:gd name="T9" fmla="*/ 20 h 21"/>
                <a:gd name="T10" fmla="*/ 1 w 46"/>
                <a:gd name="T11" fmla="*/ 20 h 21"/>
                <a:gd name="T12" fmla="*/ 0 w 46"/>
                <a:gd name="T13" fmla="*/ 18 h 21"/>
                <a:gd name="T14" fmla="*/ 2 w 46"/>
                <a:gd name="T15" fmla="*/ 17 h 21"/>
                <a:gd name="T16" fmla="*/ 5 w 46"/>
                <a:gd name="T17" fmla="*/ 16 h 21"/>
                <a:gd name="T18" fmla="*/ 5 w 46"/>
                <a:gd name="T19" fmla="*/ 17 h 21"/>
                <a:gd name="T20" fmla="*/ 5 w 46"/>
                <a:gd name="T21" fmla="*/ 18 h 21"/>
                <a:gd name="T22" fmla="*/ 44 w 46"/>
                <a:gd name="T23" fmla="*/ 3 h 21"/>
                <a:gd name="T24" fmla="*/ 45 w 46"/>
                <a:gd name="T25" fmla="*/ 2 h 21"/>
                <a:gd name="T26" fmla="*/ 46 w 46"/>
                <a:gd name="T27" fmla="*/ 3 h 21"/>
                <a:gd name="T28" fmla="*/ 45 w 46"/>
                <a:gd name="T29" fmla="*/ 6 h 21"/>
                <a:gd name="T30" fmla="*/ 43 w 46"/>
                <a:gd name="T31" fmla="*/ 8 h 21"/>
                <a:gd name="T32" fmla="*/ 37 w 46"/>
                <a:gd name="T33" fmla="*/ 9 h 21"/>
                <a:gd name="T34" fmla="*/ 36 w 46"/>
                <a:gd name="T35" fmla="*/ 10 h 21"/>
                <a:gd name="T36" fmla="*/ 33 w 46"/>
                <a:gd name="T37" fmla="*/ 13 h 21"/>
                <a:gd name="T38" fmla="*/ 26 w 46"/>
                <a:gd name="T39" fmla="*/ 15 h 21"/>
                <a:gd name="T40" fmla="*/ 25 w 46"/>
                <a:gd name="T41" fmla="*/ 15 h 21"/>
                <a:gd name="T42" fmla="*/ 23 w 46"/>
                <a:gd name="T43" fmla="*/ 16 h 21"/>
                <a:gd name="T44" fmla="*/ 21 w 46"/>
                <a:gd name="T45" fmla="*/ 17 h 21"/>
                <a:gd name="T46" fmla="*/ 17 w 46"/>
                <a:gd name="T47" fmla="*/ 20 h 21"/>
                <a:gd name="T48" fmla="*/ 16 w 46"/>
                <a:gd name="T49" fmla="*/ 20 h 21"/>
                <a:gd name="T50" fmla="*/ 14 w 46"/>
                <a:gd name="T51" fmla="*/ 20 h 21"/>
                <a:gd name="T52" fmla="*/ 14 w 46"/>
                <a:gd name="T53" fmla="*/ 18 h 21"/>
                <a:gd name="T54" fmla="*/ 12 w 46"/>
                <a:gd name="T55" fmla="*/ 17 h 21"/>
                <a:gd name="T56" fmla="*/ 14 w 46"/>
                <a:gd name="T57" fmla="*/ 16 h 21"/>
                <a:gd name="T58" fmla="*/ 15 w 46"/>
                <a:gd name="T59" fmla="*/ 16 h 21"/>
                <a:gd name="T60" fmla="*/ 16 w 46"/>
                <a:gd name="T61" fmla="*/ 16 h 21"/>
                <a:gd name="T62" fmla="*/ 16 w 46"/>
                <a:gd name="T63" fmla="*/ 16 h 21"/>
                <a:gd name="T64" fmla="*/ 16 w 46"/>
                <a:gd name="T65" fmla="*/ 14 h 21"/>
                <a:gd name="T66" fmla="*/ 15 w 46"/>
                <a:gd name="T67" fmla="*/ 13 h 21"/>
                <a:gd name="T68" fmla="*/ 15 w 46"/>
                <a:gd name="T69" fmla="*/ 14 h 21"/>
                <a:gd name="T70" fmla="*/ 12 w 46"/>
                <a:gd name="T71" fmla="*/ 14 h 21"/>
                <a:gd name="T72" fmla="*/ 12 w 46"/>
                <a:gd name="T73" fmla="*/ 13 h 21"/>
                <a:gd name="T74" fmla="*/ 15 w 46"/>
                <a:gd name="T75" fmla="*/ 10 h 21"/>
                <a:gd name="T76" fmla="*/ 16 w 46"/>
                <a:gd name="T77" fmla="*/ 9 h 21"/>
                <a:gd name="T78" fmla="*/ 17 w 46"/>
                <a:gd name="T79" fmla="*/ 7 h 21"/>
                <a:gd name="T80" fmla="*/ 18 w 46"/>
                <a:gd name="T81" fmla="*/ 7 h 21"/>
                <a:gd name="T82" fmla="*/ 22 w 46"/>
                <a:gd name="T83" fmla="*/ 7 h 21"/>
                <a:gd name="T84" fmla="*/ 23 w 46"/>
                <a:gd name="T85" fmla="*/ 6 h 21"/>
                <a:gd name="T86" fmla="*/ 28 w 46"/>
                <a:gd name="T87" fmla="*/ 4 h 21"/>
                <a:gd name="T88" fmla="*/ 30 w 46"/>
                <a:gd name="T89" fmla="*/ 6 h 21"/>
                <a:gd name="T90" fmla="*/ 32 w 46"/>
                <a:gd name="T91" fmla="*/ 4 h 21"/>
                <a:gd name="T92" fmla="*/ 35 w 46"/>
                <a:gd name="T93" fmla="*/ 4 h 21"/>
                <a:gd name="T94" fmla="*/ 36 w 46"/>
                <a:gd name="T95" fmla="*/ 4 h 21"/>
                <a:gd name="T96" fmla="*/ 38 w 46"/>
                <a:gd name="T97" fmla="*/ 4 h 21"/>
                <a:gd name="T98" fmla="*/ 39 w 46"/>
                <a:gd name="T99" fmla="*/ 4 h 21"/>
                <a:gd name="T100" fmla="*/ 43 w 46"/>
                <a:gd name="T101" fmla="*/ 2 h 21"/>
                <a:gd name="T102" fmla="*/ 23 w 46"/>
                <a:gd name="T103" fmla="*/ 2 h 21"/>
                <a:gd name="T104" fmla="*/ 22 w 46"/>
                <a:gd name="T105" fmla="*/ 2 h 21"/>
                <a:gd name="T106" fmla="*/ 23 w 46"/>
                <a:gd name="T107" fmla="*/ 1 h 21"/>
                <a:gd name="T108" fmla="*/ 24 w 46"/>
                <a:gd name="T109" fmla="*/ 0 h 21"/>
                <a:gd name="T110" fmla="*/ 23 w 46"/>
                <a:gd name="T111"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 h="21">
                  <a:moveTo>
                    <a:pt x="4" y="18"/>
                  </a:moveTo>
                  <a:lnTo>
                    <a:pt x="4" y="20"/>
                  </a:lnTo>
                  <a:lnTo>
                    <a:pt x="4" y="20"/>
                  </a:lnTo>
                  <a:lnTo>
                    <a:pt x="4" y="20"/>
                  </a:lnTo>
                  <a:lnTo>
                    <a:pt x="4" y="20"/>
                  </a:lnTo>
                  <a:lnTo>
                    <a:pt x="4" y="20"/>
                  </a:lnTo>
                  <a:lnTo>
                    <a:pt x="4" y="20"/>
                  </a:lnTo>
                  <a:lnTo>
                    <a:pt x="4" y="21"/>
                  </a:lnTo>
                  <a:lnTo>
                    <a:pt x="4" y="21"/>
                  </a:lnTo>
                  <a:lnTo>
                    <a:pt x="4" y="21"/>
                  </a:lnTo>
                  <a:lnTo>
                    <a:pt x="3" y="21"/>
                  </a:lnTo>
                  <a:lnTo>
                    <a:pt x="3" y="21"/>
                  </a:lnTo>
                  <a:lnTo>
                    <a:pt x="3" y="21"/>
                  </a:lnTo>
                  <a:lnTo>
                    <a:pt x="3" y="21"/>
                  </a:lnTo>
                  <a:lnTo>
                    <a:pt x="3" y="21"/>
                  </a:lnTo>
                  <a:lnTo>
                    <a:pt x="3" y="21"/>
                  </a:lnTo>
                  <a:lnTo>
                    <a:pt x="3" y="21"/>
                  </a:lnTo>
                  <a:lnTo>
                    <a:pt x="3" y="21"/>
                  </a:lnTo>
                  <a:lnTo>
                    <a:pt x="3" y="21"/>
                  </a:lnTo>
                  <a:lnTo>
                    <a:pt x="3" y="21"/>
                  </a:lnTo>
                  <a:lnTo>
                    <a:pt x="3" y="20"/>
                  </a:lnTo>
                  <a:lnTo>
                    <a:pt x="3" y="20"/>
                  </a:lnTo>
                  <a:lnTo>
                    <a:pt x="3" y="20"/>
                  </a:lnTo>
                  <a:lnTo>
                    <a:pt x="3" y="20"/>
                  </a:lnTo>
                  <a:lnTo>
                    <a:pt x="2" y="20"/>
                  </a:lnTo>
                  <a:lnTo>
                    <a:pt x="2" y="20"/>
                  </a:lnTo>
                  <a:lnTo>
                    <a:pt x="2" y="20"/>
                  </a:lnTo>
                  <a:lnTo>
                    <a:pt x="2" y="20"/>
                  </a:lnTo>
                  <a:lnTo>
                    <a:pt x="2" y="20"/>
                  </a:lnTo>
                  <a:lnTo>
                    <a:pt x="1" y="20"/>
                  </a:lnTo>
                  <a:lnTo>
                    <a:pt x="1" y="20"/>
                  </a:lnTo>
                  <a:lnTo>
                    <a:pt x="1" y="20"/>
                  </a:lnTo>
                  <a:lnTo>
                    <a:pt x="1" y="20"/>
                  </a:lnTo>
                  <a:lnTo>
                    <a:pt x="0" y="18"/>
                  </a:lnTo>
                  <a:lnTo>
                    <a:pt x="0" y="18"/>
                  </a:lnTo>
                  <a:lnTo>
                    <a:pt x="1" y="18"/>
                  </a:lnTo>
                  <a:lnTo>
                    <a:pt x="2" y="18"/>
                  </a:lnTo>
                  <a:lnTo>
                    <a:pt x="2" y="17"/>
                  </a:lnTo>
                  <a:lnTo>
                    <a:pt x="2" y="17"/>
                  </a:lnTo>
                  <a:lnTo>
                    <a:pt x="2" y="17"/>
                  </a:lnTo>
                  <a:lnTo>
                    <a:pt x="3" y="17"/>
                  </a:lnTo>
                  <a:lnTo>
                    <a:pt x="3" y="16"/>
                  </a:lnTo>
                  <a:lnTo>
                    <a:pt x="5" y="16"/>
                  </a:lnTo>
                  <a:lnTo>
                    <a:pt x="5" y="16"/>
                  </a:lnTo>
                  <a:lnTo>
                    <a:pt x="5" y="16"/>
                  </a:lnTo>
                  <a:lnTo>
                    <a:pt x="5" y="16"/>
                  </a:lnTo>
                  <a:lnTo>
                    <a:pt x="5" y="16"/>
                  </a:lnTo>
                  <a:lnTo>
                    <a:pt x="5" y="16"/>
                  </a:lnTo>
                  <a:lnTo>
                    <a:pt x="5" y="16"/>
                  </a:lnTo>
                  <a:lnTo>
                    <a:pt x="5" y="17"/>
                  </a:lnTo>
                  <a:lnTo>
                    <a:pt x="5" y="17"/>
                  </a:lnTo>
                  <a:lnTo>
                    <a:pt x="5" y="18"/>
                  </a:lnTo>
                  <a:lnTo>
                    <a:pt x="5" y="18"/>
                  </a:lnTo>
                  <a:lnTo>
                    <a:pt x="5" y="18"/>
                  </a:lnTo>
                  <a:lnTo>
                    <a:pt x="5" y="18"/>
                  </a:lnTo>
                  <a:lnTo>
                    <a:pt x="4" y="18"/>
                  </a:lnTo>
                  <a:lnTo>
                    <a:pt x="4" y="18"/>
                  </a:lnTo>
                  <a:lnTo>
                    <a:pt x="4" y="18"/>
                  </a:lnTo>
                  <a:lnTo>
                    <a:pt x="4" y="18"/>
                  </a:lnTo>
                  <a:close/>
                  <a:moveTo>
                    <a:pt x="44" y="3"/>
                  </a:moveTo>
                  <a:lnTo>
                    <a:pt x="44" y="3"/>
                  </a:lnTo>
                  <a:lnTo>
                    <a:pt x="44" y="3"/>
                  </a:lnTo>
                  <a:lnTo>
                    <a:pt x="45" y="3"/>
                  </a:lnTo>
                  <a:lnTo>
                    <a:pt x="45" y="2"/>
                  </a:lnTo>
                  <a:lnTo>
                    <a:pt x="45" y="2"/>
                  </a:lnTo>
                  <a:lnTo>
                    <a:pt x="45" y="2"/>
                  </a:lnTo>
                  <a:lnTo>
                    <a:pt x="45" y="3"/>
                  </a:lnTo>
                  <a:lnTo>
                    <a:pt x="45" y="3"/>
                  </a:lnTo>
                  <a:lnTo>
                    <a:pt x="45" y="3"/>
                  </a:lnTo>
                  <a:lnTo>
                    <a:pt x="46" y="3"/>
                  </a:lnTo>
                  <a:lnTo>
                    <a:pt x="46" y="3"/>
                  </a:lnTo>
                  <a:lnTo>
                    <a:pt x="46" y="3"/>
                  </a:lnTo>
                  <a:lnTo>
                    <a:pt x="46" y="4"/>
                  </a:lnTo>
                  <a:lnTo>
                    <a:pt x="46" y="4"/>
                  </a:lnTo>
                  <a:lnTo>
                    <a:pt x="45" y="6"/>
                  </a:lnTo>
                  <a:lnTo>
                    <a:pt x="45" y="6"/>
                  </a:lnTo>
                  <a:lnTo>
                    <a:pt x="44" y="7"/>
                  </a:lnTo>
                  <a:lnTo>
                    <a:pt x="43" y="8"/>
                  </a:lnTo>
                  <a:lnTo>
                    <a:pt x="43" y="8"/>
                  </a:lnTo>
                  <a:lnTo>
                    <a:pt x="43" y="8"/>
                  </a:lnTo>
                  <a:lnTo>
                    <a:pt x="42" y="8"/>
                  </a:lnTo>
                  <a:lnTo>
                    <a:pt x="40" y="9"/>
                  </a:lnTo>
                  <a:lnTo>
                    <a:pt x="40" y="9"/>
                  </a:lnTo>
                  <a:lnTo>
                    <a:pt x="38" y="9"/>
                  </a:lnTo>
                  <a:lnTo>
                    <a:pt x="37" y="9"/>
                  </a:lnTo>
                  <a:lnTo>
                    <a:pt x="37" y="9"/>
                  </a:lnTo>
                  <a:lnTo>
                    <a:pt x="37" y="10"/>
                  </a:lnTo>
                  <a:lnTo>
                    <a:pt x="37" y="10"/>
                  </a:lnTo>
                  <a:lnTo>
                    <a:pt x="37" y="10"/>
                  </a:lnTo>
                  <a:lnTo>
                    <a:pt x="36" y="10"/>
                  </a:lnTo>
                  <a:lnTo>
                    <a:pt x="36" y="10"/>
                  </a:lnTo>
                  <a:lnTo>
                    <a:pt x="36" y="10"/>
                  </a:lnTo>
                  <a:lnTo>
                    <a:pt x="35" y="11"/>
                  </a:lnTo>
                  <a:lnTo>
                    <a:pt x="35" y="13"/>
                  </a:lnTo>
                  <a:lnTo>
                    <a:pt x="33" y="13"/>
                  </a:lnTo>
                  <a:lnTo>
                    <a:pt x="30" y="13"/>
                  </a:lnTo>
                  <a:lnTo>
                    <a:pt x="30" y="13"/>
                  </a:lnTo>
                  <a:lnTo>
                    <a:pt x="30" y="14"/>
                  </a:lnTo>
                  <a:lnTo>
                    <a:pt x="29" y="14"/>
                  </a:lnTo>
                  <a:lnTo>
                    <a:pt x="26" y="15"/>
                  </a:lnTo>
                  <a:lnTo>
                    <a:pt x="26" y="15"/>
                  </a:lnTo>
                  <a:lnTo>
                    <a:pt x="25" y="15"/>
                  </a:lnTo>
                  <a:lnTo>
                    <a:pt x="25" y="15"/>
                  </a:lnTo>
                  <a:lnTo>
                    <a:pt x="25" y="15"/>
                  </a:lnTo>
                  <a:lnTo>
                    <a:pt x="25" y="15"/>
                  </a:lnTo>
                  <a:lnTo>
                    <a:pt x="25" y="16"/>
                  </a:lnTo>
                  <a:lnTo>
                    <a:pt x="24" y="16"/>
                  </a:lnTo>
                  <a:lnTo>
                    <a:pt x="24" y="16"/>
                  </a:lnTo>
                  <a:lnTo>
                    <a:pt x="23" y="16"/>
                  </a:lnTo>
                  <a:lnTo>
                    <a:pt x="23" y="16"/>
                  </a:lnTo>
                  <a:lnTo>
                    <a:pt x="22" y="16"/>
                  </a:lnTo>
                  <a:lnTo>
                    <a:pt x="22" y="16"/>
                  </a:lnTo>
                  <a:lnTo>
                    <a:pt x="22" y="16"/>
                  </a:lnTo>
                  <a:lnTo>
                    <a:pt x="22" y="16"/>
                  </a:lnTo>
                  <a:lnTo>
                    <a:pt x="21" y="17"/>
                  </a:lnTo>
                  <a:lnTo>
                    <a:pt x="18" y="17"/>
                  </a:lnTo>
                  <a:lnTo>
                    <a:pt x="18" y="18"/>
                  </a:lnTo>
                  <a:lnTo>
                    <a:pt x="17" y="18"/>
                  </a:lnTo>
                  <a:lnTo>
                    <a:pt x="17" y="18"/>
                  </a:lnTo>
                  <a:lnTo>
                    <a:pt x="17" y="20"/>
                  </a:lnTo>
                  <a:lnTo>
                    <a:pt x="17" y="20"/>
                  </a:lnTo>
                  <a:lnTo>
                    <a:pt x="16" y="20"/>
                  </a:lnTo>
                  <a:lnTo>
                    <a:pt x="16" y="20"/>
                  </a:lnTo>
                  <a:lnTo>
                    <a:pt x="16" y="20"/>
                  </a:lnTo>
                  <a:lnTo>
                    <a:pt x="16" y="20"/>
                  </a:lnTo>
                  <a:lnTo>
                    <a:pt x="15" y="20"/>
                  </a:lnTo>
                  <a:lnTo>
                    <a:pt x="15" y="20"/>
                  </a:lnTo>
                  <a:lnTo>
                    <a:pt x="15" y="21"/>
                  </a:lnTo>
                  <a:lnTo>
                    <a:pt x="14" y="21"/>
                  </a:lnTo>
                  <a:lnTo>
                    <a:pt x="14" y="20"/>
                  </a:lnTo>
                  <a:lnTo>
                    <a:pt x="14" y="20"/>
                  </a:lnTo>
                  <a:lnTo>
                    <a:pt x="14" y="20"/>
                  </a:lnTo>
                  <a:lnTo>
                    <a:pt x="14" y="18"/>
                  </a:lnTo>
                  <a:lnTo>
                    <a:pt x="14" y="18"/>
                  </a:lnTo>
                  <a:lnTo>
                    <a:pt x="14" y="18"/>
                  </a:lnTo>
                  <a:lnTo>
                    <a:pt x="14" y="18"/>
                  </a:lnTo>
                  <a:lnTo>
                    <a:pt x="14" y="18"/>
                  </a:lnTo>
                  <a:lnTo>
                    <a:pt x="14" y="18"/>
                  </a:lnTo>
                  <a:lnTo>
                    <a:pt x="12" y="17"/>
                  </a:lnTo>
                  <a:lnTo>
                    <a:pt x="12" y="17"/>
                  </a:lnTo>
                  <a:lnTo>
                    <a:pt x="12" y="17"/>
                  </a:lnTo>
                  <a:lnTo>
                    <a:pt x="12" y="16"/>
                  </a:lnTo>
                  <a:lnTo>
                    <a:pt x="14" y="16"/>
                  </a:lnTo>
                  <a:lnTo>
                    <a:pt x="14" y="16"/>
                  </a:lnTo>
                  <a:lnTo>
                    <a:pt x="14" y="16"/>
                  </a:lnTo>
                  <a:lnTo>
                    <a:pt x="14" y="16"/>
                  </a:lnTo>
                  <a:lnTo>
                    <a:pt x="14" y="16"/>
                  </a:lnTo>
                  <a:lnTo>
                    <a:pt x="15" y="16"/>
                  </a:lnTo>
                  <a:lnTo>
                    <a:pt x="15" y="16"/>
                  </a:lnTo>
                  <a:lnTo>
                    <a:pt x="15" y="16"/>
                  </a:lnTo>
                  <a:lnTo>
                    <a:pt x="15" y="16"/>
                  </a:lnTo>
                  <a:lnTo>
                    <a:pt x="15" y="16"/>
                  </a:lnTo>
                  <a:lnTo>
                    <a:pt x="15" y="16"/>
                  </a:lnTo>
                  <a:lnTo>
                    <a:pt x="15" y="16"/>
                  </a:lnTo>
                  <a:lnTo>
                    <a:pt x="16" y="16"/>
                  </a:lnTo>
                  <a:lnTo>
                    <a:pt x="16" y="16"/>
                  </a:lnTo>
                  <a:lnTo>
                    <a:pt x="16" y="16"/>
                  </a:lnTo>
                  <a:lnTo>
                    <a:pt x="16" y="16"/>
                  </a:lnTo>
                  <a:lnTo>
                    <a:pt x="16" y="16"/>
                  </a:lnTo>
                  <a:lnTo>
                    <a:pt x="16" y="16"/>
                  </a:lnTo>
                  <a:lnTo>
                    <a:pt x="16" y="15"/>
                  </a:lnTo>
                  <a:lnTo>
                    <a:pt x="16" y="15"/>
                  </a:lnTo>
                  <a:lnTo>
                    <a:pt x="16" y="14"/>
                  </a:lnTo>
                  <a:lnTo>
                    <a:pt x="16" y="14"/>
                  </a:lnTo>
                  <a:lnTo>
                    <a:pt x="16" y="14"/>
                  </a:lnTo>
                  <a:lnTo>
                    <a:pt x="16" y="14"/>
                  </a:lnTo>
                  <a:lnTo>
                    <a:pt x="15" y="13"/>
                  </a:lnTo>
                  <a:lnTo>
                    <a:pt x="15" y="13"/>
                  </a:lnTo>
                  <a:lnTo>
                    <a:pt x="15" y="13"/>
                  </a:lnTo>
                  <a:lnTo>
                    <a:pt x="15" y="13"/>
                  </a:lnTo>
                  <a:lnTo>
                    <a:pt x="15" y="13"/>
                  </a:lnTo>
                  <a:lnTo>
                    <a:pt x="15" y="13"/>
                  </a:lnTo>
                  <a:lnTo>
                    <a:pt x="15" y="14"/>
                  </a:lnTo>
                  <a:lnTo>
                    <a:pt x="15" y="14"/>
                  </a:lnTo>
                  <a:lnTo>
                    <a:pt x="15" y="14"/>
                  </a:lnTo>
                  <a:lnTo>
                    <a:pt x="14" y="14"/>
                  </a:lnTo>
                  <a:lnTo>
                    <a:pt x="14" y="14"/>
                  </a:lnTo>
                  <a:lnTo>
                    <a:pt x="14" y="15"/>
                  </a:lnTo>
                  <a:lnTo>
                    <a:pt x="14" y="15"/>
                  </a:lnTo>
                  <a:lnTo>
                    <a:pt x="12" y="14"/>
                  </a:lnTo>
                  <a:lnTo>
                    <a:pt x="12" y="14"/>
                  </a:lnTo>
                  <a:lnTo>
                    <a:pt x="12" y="14"/>
                  </a:lnTo>
                  <a:lnTo>
                    <a:pt x="12" y="14"/>
                  </a:lnTo>
                  <a:lnTo>
                    <a:pt x="12" y="14"/>
                  </a:lnTo>
                  <a:lnTo>
                    <a:pt x="12" y="13"/>
                  </a:lnTo>
                  <a:lnTo>
                    <a:pt x="12" y="13"/>
                  </a:lnTo>
                  <a:lnTo>
                    <a:pt x="12" y="13"/>
                  </a:lnTo>
                  <a:lnTo>
                    <a:pt x="14" y="13"/>
                  </a:lnTo>
                  <a:lnTo>
                    <a:pt x="14" y="11"/>
                  </a:lnTo>
                  <a:lnTo>
                    <a:pt x="15" y="10"/>
                  </a:lnTo>
                  <a:lnTo>
                    <a:pt x="15" y="10"/>
                  </a:lnTo>
                  <a:lnTo>
                    <a:pt x="15" y="10"/>
                  </a:lnTo>
                  <a:lnTo>
                    <a:pt x="15" y="10"/>
                  </a:lnTo>
                  <a:lnTo>
                    <a:pt x="16" y="10"/>
                  </a:lnTo>
                  <a:lnTo>
                    <a:pt x="16" y="9"/>
                  </a:lnTo>
                  <a:lnTo>
                    <a:pt x="16" y="8"/>
                  </a:lnTo>
                  <a:lnTo>
                    <a:pt x="16" y="8"/>
                  </a:lnTo>
                  <a:lnTo>
                    <a:pt x="16" y="8"/>
                  </a:lnTo>
                  <a:lnTo>
                    <a:pt x="16" y="7"/>
                  </a:lnTo>
                  <a:lnTo>
                    <a:pt x="17" y="7"/>
                  </a:lnTo>
                  <a:lnTo>
                    <a:pt x="17" y="7"/>
                  </a:lnTo>
                  <a:lnTo>
                    <a:pt x="17" y="7"/>
                  </a:lnTo>
                  <a:lnTo>
                    <a:pt x="17" y="7"/>
                  </a:lnTo>
                  <a:lnTo>
                    <a:pt x="18" y="7"/>
                  </a:lnTo>
                  <a:lnTo>
                    <a:pt x="18" y="7"/>
                  </a:lnTo>
                  <a:lnTo>
                    <a:pt x="18" y="7"/>
                  </a:lnTo>
                  <a:lnTo>
                    <a:pt x="19" y="7"/>
                  </a:lnTo>
                  <a:lnTo>
                    <a:pt x="19" y="7"/>
                  </a:lnTo>
                  <a:lnTo>
                    <a:pt x="21" y="7"/>
                  </a:lnTo>
                  <a:lnTo>
                    <a:pt x="22" y="7"/>
                  </a:lnTo>
                  <a:lnTo>
                    <a:pt x="22" y="6"/>
                  </a:lnTo>
                  <a:lnTo>
                    <a:pt x="22" y="6"/>
                  </a:lnTo>
                  <a:lnTo>
                    <a:pt x="23" y="6"/>
                  </a:lnTo>
                  <a:lnTo>
                    <a:pt x="23" y="6"/>
                  </a:lnTo>
                  <a:lnTo>
                    <a:pt x="23" y="6"/>
                  </a:lnTo>
                  <a:lnTo>
                    <a:pt x="23" y="6"/>
                  </a:lnTo>
                  <a:lnTo>
                    <a:pt x="24" y="6"/>
                  </a:lnTo>
                  <a:lnTo>
                    <a:pt x="24" y="6"/>
                  </a:lnTo>
                  <a:lnTo>
                    <a:pt x="26" y="4"/>
                  </a:lnTo>
                  <a:lnTo>
                    <a:pt x="28" y="4"/>
                  </a:lnTo>
                  <a:lnTo>
                    <a:pt x="29" y="6"/>
                  </a:lnTo>
                  <a:lnTo>
                    <a:pt x="29" y="6"/>
                  </a:lnTo>
                  <a:lnTo>
                    <a:pt x="30" y="6"/>
                  </a:lnTo>
                  <a:lnTo>
                    <a:pt x="30" y="6"/>
                  </a:lnTo>
                  <a:lnTo>
                    <a:pt x="30" y="6"/>
                  </a:lnTo>
                  <a:lnTo>
                    <a:pt x="30" y="6"/>
                  </a:lnTo>
                  <a:lnTo>
                    <a:pt x="31" y="6"/>
                  </a:lnTo>
                  <a:lnTo>
                    <a:pt x="31" y="6"/>
                  </a:lnTo>
                  <a:lnTo>
                    <a:pt x="32" y="6"/>
                  </a:lnTo>
                  <a:lnTo>
                    <a:pt x="32" y="4"/>
                  </a:lnTo>
                  <a:lnTo>
                    <a:pt x="32" y="4"/>
                  </a:lnTo>
                  <a:lnTo>
                    <a:pt x="33" y="4"/>
                  </a:lnTo>
                  <a:lnTo>
                    <a:pt x="33" y="4"/>
                  </a:lnTo>
                  <a:lnTo>
                    <a:pt x="33" y="4"/>
                  </a:lnTo>
                  <a:lnTo>
                    <a:pt x="35" y="4"/>
                  </a:lnTo>
                  <a:lnTo>
                    <a:pt x="35" y="4"/>
                  </a:lnTo>
                  <a:lnTo>
                    <a:pt x="35" y="4"/>
                  </a:lnTo>
                  <a:lnTo>
                    <a:pt x="35" y="4"/>
                  </a:lnTo>
                  <a:lnTo>
                    <a:pt x="35" y="4"/>
                  </a:lnTo>
                  <a:lnTo>
                    <a:pt x="36" y="4"/>
                  </a:lnTo>
                  <a:lnTo>
                    <a:pt x="36" y="4"/>
                  </a:lnTo>
                  <a:lnTo>
                    <a:pt x="36" y="6"/>
                  </a:lnTo>
                  <a:lnTo>
                    <a:pt x="37" y="4"/>
                  </a:lnTo>
                  <a:lnTo>
                    <a:pt x="38" y="4"/>
                  </a:lnTo>
                  <a:lnTo>
                    <a:pt x="38" y="4"/>
                  </a:lnTo>
                  <a:lnTo>
                    <a:pt x="38" y="4"/>
                  </a:lnTo>
                  <a:lnTo>
                    <a:pt x="38" y="4"/>
                  </a:lnTo>
                  <a:lnTo>
                    <a:pt x="39" y="4"/>
                  </a:lnTo>
                  <a:lnTo>
                    <a:pt x="39" y="4"/>
                  </a:lnTo>
                  <a:lnTo>
                    <a:pt x="39" y="4"/>
                  </a:lnTo>
                  <a:lnTo>
                    <a:pt x="39" y="3"/>
                  </a:lnTo>
                  <a:lnTo>
                    <a:pt x="40" y="3"/>
                  </a:lnTo>
                  <a:lnTo>
                    <a:pt x="42" y="2"/>
                  </a:lnTo>
                  <a:lnTo>
                    <a:pt x="42" y="2"/>
                  </a:lnTo>
                  <a:lnTo>
                    <a:pt x="43" y="2"/>
                  </a:lnTo>
                  <a:lnTo>
                    <a:pt x="43" y="2"/>
                  </a:lnTo>
                  <a:lnTo>
                    <a:pt x="44" y="3"/>
                  </a:lnTo>
                  <a:lnTo>
                    <a:pt x="44" y="3"/>
                  </a:lnTo>
                  <a:close/>
                  <a:moveTo>
                    <a:pt x="23" y="2"/>
                  </a:moveTo>
                  <a:lnTo>
                    <a:pt x="23" y="2"/>
                  </a:lnTo>
                  <a:lnTo>
                    <a:pt x="23" y="2"/>
                  </a:lnTo>
                  <a:lnTo>
                    <a:pt x="23" y="2"/>
                  </a:lnTo>
                  <a:lnTo>
                    <a:pt x="22" y="2"/>
                  </a:lnTo>
                  <a:lnTo>
                    <a:pt x="22" y="2"/>
                  </a:lnTo>
                  <a:lnTo>
                    <a:pt x="22" y="2"/>
                  </a:lnTo>
                  <a:lnTo>
                    <a:pt x="22" y="2"/>
                  </a:lnTo>
                  <a:lnTo>
                    <a:pt x="22" y="1"/>
                  </a:lnTo>
                  <a:lnTo>
                    <a:pt x="22" y="1"/>
                  </a:lnTo>
                  <a:lnTo>
                    <a:pt x="22" y="1"/>
                  </a:lnTo>
                  <a:lnTo>
                    <a:pt x="23" y="1"/>
                  </a:lnTo>
                  <a:lnTo>
                    <a:pt x="23" y="1"/>
                  </a:lnTo>
                  <a:lnTo>
                    <a:pt x="23" y="0"/>
                  </a:lnTo>
                  <a:lnTo>
                    <a:pt x="23" y="0"/>
                  </a:lnTo>
                  <a:lnTo>
                    <a:pt x="24" y="0"/>
                  </a:lnTo>
                  <a:lnTo>
                    <a:pt x="24" y="0"/>
                  </a:lnTo>
                  <a:lnTo>
                    <a:pt x="24" y="0"/>
                  </a:lnTo>
                  <a:lnTo>
                    <a:pt x="23" y="2"/>
                  </a:lnTo>
                  <a:lnTo>
                    <a:pt x="23" y="2"/>
                  </a:lnTo>
                  <a:lnTo>
                    <a:pt x="23" y="2"/>
                  </a:lnTo>
                  <a:lnTo>
                    <a:pt x="23"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61" name="Freeform 1022">
              <a:extLst>
                <a:ext uri="{FF2B5EF4-FFF2-40B4-BE49-F238E27FC236}">
                  <a16:creationId xmlns:a16="http://schemas.microsoft.com/office/drawing/2014/main" id="{BA15C099-01F2-46B9-9D96-F666975A81D3}"/>
                </a:ext>
              </a:extLst>
            </p:cNvPr>
            <p:cNvSpPr>
              <a:spLocks noEditPoints="1"/>
            </p:cNvSpPr>
            <p:nvPr/>
          </p:nvSpPr>
          <p:spPr bwMode="auto">
            <a:xfrm>
              <a:off x="4657908" y="3108140"/>
              <a:ext cx="28046" cy="28046"/>
            </a:xfrm>
            <a:custGeom>
              <a:avLst/>
              <a:gdLst>
                <a:gd name="T0" fmla="*/ 13 w 21"/>
                <a:gd name="T1" fmla="*/ 10 h 21"/>
                <a:gd name="T2" fmla="*/ 13 w 21"/>
                <a:gd name="T3" fmla="*/ 12 h 21"/>
                <a:gd name="T4" fmla="*/ 13 w 21"/>
                <a:gd name="T5" fmla="*/ 14 h 21"/>
                <a:gd name="T6" fmla="*/ 13 w 21"/>
                <a:gd name="T7" fmla="*/ 16 h 21"/>
                <a:gd name="T8" fmla="*/ 13 w 21"/>
                <a:gd name="T9" fmla="*/ 18 h 21"/>
                <a:gd name="T10" fmla="*/ 12 w 21"/>
                <a:gd name="T11" fmla="*/ 19 h 21"/>
                <a:gd name="T12" fmla="*/ 11 w 21"/>
                <a:gd name="T13" fmla="*/ 21 h 21"/>
                <a:gd name="T14" fmla="*/ 10 w 21"/>
                <a:gd name="T15" fmla="*/ 21 h 21"/>
                <a:gd name="T16" fmla="*/ 6 w 21"/>
                <a:gd name="T17" fmla="*/ 21 h 21"/>
                <a:gd name="T18" fmla="*/ 5 w 21"/>
                <a:gd name="T19" fmla="*/ 21 h 21"/>
                <a:gd name="T20" fmla="*/ 4 w 21"/>
                <a:gd name="T21" fmla="*/ 21 h 21"/>
                <a:gd name="T22" fmla="*/ 4 w 21"/>
                <a:gd name="T23" fmla="*/ 21 h 21"/>
                <a:gd name="T24" fmla="*/ 2 w 21"/>
                <a:gd name="T25" fmla="*/ 21 h 21"/>
                <a:gd name="T26" fmla="*/ 0 w 21"/>
                <a:gd name="T27" fmla="*/ 21 h 21"/>
                <a:gd name="T28" fmla="*/ 2 w 21"/>
                <a:gd name="T29" fmla="*/ 19 h 21"/>
                <a:gd name="T30" fmla="*/ 3 w 21"/>
                <a:gd name="T31" fmla="*/ 19 h 21"/>
                <a:gd name="T32" fmla="*/ 4 w 21"/>
                <a:gd name="T33" fmla="*/ 18 h 21"/>
                <a:gd name="T34" fmla="*/ 5 w 21"/>
                <a:gd name="T35" fmla="*/ 17 h 21"/>
                <a:gd name="T36" fmla="*/ 6 w 21"/>
                <a:gd name="T37" fmla="*/ 17 h 21"/>
                <a:gd name="T38" fmla="*/ 7 w 21"/>
                <a:gd name="T39" fmla="*/ 17 h 21"/>
                <a:gd name="T40" fmla="*/ 7 w 21"/>
                <a:gd name="T41" fmla="*/ 16 h 21"/>
                <a:gd name="T42" fmla="*/ 7 w 21"/>
                <a:gd name="T43" fmla="*/ 16 h 21"/>
                <a:gd name="T44" fmla="*/ 7 w 21"/>
                <a:gd name="T45" fmla="*/ 16 h 21"/>
                <a:gd name="T46" fmla="*/ 7 w 21"/>
                <a:gd name="T47" fmla="*/ 15 h 21"/>
                <a:gd name="T48" fmla="*/ 7 w 21"/>
                <a:gd name="T49" fmla="*/ 14 h 21"/>
                <a:gd name="T50" fmla="*/ 7 w 21"/>
                <a:gd name="T51" fmla="*/ 11 h 21"/>
                <a:gd name="T52" fmla="*/ 5 w 21"/>
                <a:gd name="T53" fmla="*/ 10 h 21"/>
                <a:gd name="T54" fmla="*/ 5 w 21"/>
                <a:gd name="T55" fmla="*/ 10 h 21"/>
                <a:gd name="T56" fmla="*/ 6 w 21"/>
                <a:gd name="T57" fmla="*/ 9 h 21"/>
                <a:gd name="T58" fmla="*/ 7 w 21"/>
                <a:gd name="T59" fmla="*/ 9 h 21"/>
                <a:gd name="T60" fmla="*/ 7 w 21"/>
                <a:gd name="T61" fmla="*/ 9 h 21"/>
                <a:gd name="T62" fmla="*/ 7 w 21"/>
                <a:gd name="T63" fmla="*/ 9 h 21"/>
                <a:gd name="T64" fmla="*/ 7 w 21"/>
                <a:gd name="T65" fmla="*/ 9 h 21"/>
                <a:gd name="T66" fmla="*/ 9 w 21"/>
                <a:gd name="T67" fmla="*/ 9 h 21"/>
                <a:gd name="T68" fmla="*/ 9 w 21"/>
                <a:gd name="T69" fmla="*/ 9 h 21"/>
                <a:gd name="T70" fmla="*/ 11 w 21"/>
                <a:gd name="T71" fmla="*/ 9 h 21"/>
                <a:gd name="T72" fmla="*/ 13 w 21"/>
                <a:gd name="T73" fmla="*/ 8 h 21"/>
                <a:gd name="T74" fmla="*/ 21 w 21"/>
                <a:gd name="T75" fmla="*/ 1 h 21"/>
                <a:gd name="T76" fmla="*/ 20 w 21"/>
                <a:gd name="T77" fmla="*/ 1 h 21"/>
                <a:gd name="T78" fmla="*/ 20 w 21"/>
                <a:gd name="T79" fmla="*/ 2 h 21"/>
                <a:gd name="T80" fmla="*/ 19 w 21"/>
                <a:gd name="T81" fmla="*/ 2 h 21"/>
                <a:gd name="T82" fmla="*/ 19 w 21"/>
                <a:gd name="T83" fmla="*/ 2 h 21"/>
                <a:gd name="T84" fmla="*/ 17 w 21"/>
                <a:gd name="T85" fmla="*/ 3 h 21"/>
                <a:gd name="T86" fmla="*/ 17 w 21"/>
                <a:gd name="T87" fmla="*/ 3 h 21"/>
                <a:gd name="T88" fmla="*/ 17 w 21"/>
                <a:gd name="T89" fmla="*/ 3 h 21"/>
                <a:gd name="T90" fmla="*/ 18 w 21"/>
                <a:gd name="T91" fmla="*/ 1 h 21"/>
                <a:gd name="T92" fmla="*/ 19 w 21"/>
                <a:gd name="T93" fmla="*/ 1 h 21"/>
                <a:gd name="T94" fmla="*/ 20 w 21"/>
                <a:gd name="T95" fmla="*/ 1 h 21"/>
                <a:gd name="T96" fmla="*/ 21 w 21"/>
                <a:gd name="T9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 h="21">
                  <a:moveTo>
                    <a:pt x="16" y="8"/>
                  </a:moveTo>
                  <a:lnTo>
                    <a:pt x="14" y="9"/>
                  </a:lnTo>
                  <a:lnTo>
                    <a:pt x="13" y="10"/>
                  </a:lnTo>
                  <a:lnTo>
                    <a:pt x="13" y="10"/>
                  </a:lnTo>
                  <a:lnTo>
                    <a:pt x="13" y="10"/>
                  </a:lnTo>
                  <a:lnTo>
                    <a:pt x="13" y="11"/>
                  </a:lnTo>
                  <a:lnTo>
                    <a:pt x="13" y="11"/>
                  </a:lnTo>
                  <a:lnTo>
                    <a:pt x="13" y="12"/>
                  </a:lnTo>
                  <a:lnTo>
                    <a:pt x="13" y="12"/>
                  </a:lnTo>
                  <a:lnTo>
                    <a:pt x="13" y="14"/>
                  </a:lnTo>
                  <a:lnTo>
                    <a:pt x="13" y="14"/>
                  </a:lnTo>
                  <a:lnTo>
                    <a:pt x="13" y="14"/>
                  </a:lnTo>
                  <a:lnTo>
                    <a:pt x="13" y="15"/>
                  </a:lnTo>
                  <a:lnTo>
                    <a:pt x="13" y="15"/>
                  </a:lnTo>
                  <a:lnTo>
                    <a:pt x="13" y="15"/>
                  </a:lnTo>
                  <a:lnTo>
                    <a:pt x="13" y="16"/>
                  </a:lnTo>
                  <a:lnTo>
                    <a:pt x="14" y="16"/>
                  </a:lnTo>
                  <a:lnTo>
                    <a:pt x="13" y="17"/>
                  </a:lnTo>
                  <a:lnTo>
                    <a:pt x="13" y="17"/>
                  </a:lnTo>
                  <a:lnTo>
                    <a:pt x="13" y="18"/>
                  </a:lnTo>
                  <a:lnTo>
                    <a:pt x="13" y="19"/>
                  </a:lnTo>
                  <a:lnTo>
                    <a:pt x="13" y="19"/>
                  </a:lnTo>
                  <a:lnTo>
                    <a:pt x="13" y="19"/>
                  </a:lnTo>
                  <a:lnTo>
                    <a:pt x="12" y="19"/>
                  </a:lnTo>
                  <a:lnTo>
                    <a:pt x="12" y="19"/>
                  </a:lnTo>
                  <a:lnTo>
                    <a:pt x="12" y="19"/>
                  </a:lnTo>
                  <a:lnTo>
                    <a:pt x="12" y="19"/>
                  </a:lnTo>
                  <a:lnTo>
                    <a:pt x="11" y="21"/>
                  </a:lnTo>
                  <a:lnTo>
                    <a:pt x="11" y="21"/>
                  </a:lnTo>
                  <a:lnTo>
                    <a:pt x="11" y="21"/>
                  </a:lnTo>
                  <a:lnTo>
                    <a:pt x="10" y="21"/>
                  </a:lnTo>
                  <a:lnTo>
                    <a:pt x="10" y="21"/>
                  </a:lnTo>
                  <a:lnTo>
                    <a:pt x="9" y="21"/>
                  </a:lnTo>
                  <a:lnTo>
                    <a:pt x="7" y="21"/>
                  </a:lnTo>
                  <a:lnTo>
                    <a:pt x="6" y="21"/>
                  </a:lnTo>
                  <a:lnTo>
                    <a:pt x="6" y="21"/>
                  </a:lnTo>
                  <a:lnTo>
                    <a:pt x="6" y="21"/>
                  </a:lnTo>
                  <a:lnTo>
                    <a:pt x="6" y="21"/>
                  </a:lnTo>
                  <a:lnTo>
                    <a:pt x="5" y="21"/>
                  </a:lnTo>
                  <a:lnTo>
                    <a:pt x="5" y="21"/>
                  </a:lnTo>
                  <a:lnTo>
                    <a:pt x="5" y="21"/>
                  </a:lnTo>
                  <a:lnTo>
                    <a:pt x="5" y="21"/>
                  </a:lnTo>
                  <a:lnTo>
                    <a:pt x="4" y="21"/>
                  </a:lnTo>
                  <a:lnTo>
                    <a:pt x="4" y="21"/>
                  </a:lnTo>
                  <a:lnTo>
                    <a:pt x="4" y="21"/>
                  </a:lnTo>
                  <a:lnTo>
                    <a:pt x="4" y="21"/>
                  </a:lnTo>
                  <a:lnTo>
                    <a:pt x="4" y="21"/>
                  </a:lnTo>
                  <a:lnTo>
                    <a:pt x="4" y="21"/>
                  </a:lnTo>
                  <a:lnTo>
                    <a:pt x="3" y="21"/>
                  </a:lnTo>
                  <a:lnTo>
                    <a:pt x="2" y="21"/>
                  </a:lnTo>
                  <a:lnTo>
                    <a:pt x="2" y="21"/>
                  </a:lnTo>
                  <a:lnTo>
                    <a:pt x="2" y="21"/>
                  </a:lnTo>
                  <a:lnTo>
                    <a:pt x="2" y="21"/>
                  </a:lnTo>
                  <a:lnTo>
                    <a:pt x="0" y="21"/>
                  </a:lnTo>
                  <a:lnTo>
                    <a:pt x="0" y="21"/>
                  </a:lnTo>
                  <a:lnTo>
                    <a:pt x="0" y="21"/>
                  </a:lnTo>
                  <a:lnTo>
                    <a:pt x="0" y="21"/>
                  </a:lnTo>
                  <a:lnTo>
                    <a:pt x="2" y="19"/>
                  </a:lnTo>
                  <a:lnTo>
                    <a:pt x="2" y="19"/>
                  </a:lnTo>
                  <a:lnTo>
                    <a:pt x="2" y="19"/>
                  </a:lnTo>
                  <a:lnTo>
                    <a:pt x="2" y="19"/>
                  </a:lnTo>
                  <a:lnTo>
                    <a:pt x="2" y="19"/>
                  </a:lnTo>
                  <a:lnTo>
                    <a:pt x="2" y="19"/>
                  </a:lnTo>
                  <a:lnTo>
                    <a:pt x="3" y="19"/>
                  </a:lnTo>
                  <a:lnTo>
                    <a:pt x="3" y="19"/>
                  </a:lnTo>
                  <a:lnTo>
                    <a:pt x="4" y="18"/>
                  </a:lnTo>
                  <a:lnTo>
                    <a:pt x="4" y="18"/>
                  </a:lnTo>
                  <a:lnTo>
                    <a:pt x="4" y="18"/>
                  </a:lnTo>
                  <a:lnTo>
                    <a:pt x="5" y="18"/>
                  </a:lnTo>
                  <a:lnTo>
                    <a:pt x="5" y="18"/>
                  </a:lnTo>
                  <a:lnTo>
                    <a:pt x="5" y="17"/>
                  </a:lnTo>
                  <a:lnTo>
                    <a:pt x="5" y="17"/>
                  </a:lnTo>
                  <a:lnTo>
                    <a:pt x="5" y="17"/>
                  </a:lnTo>
                  <a:lnTo>
                    <a:pt x="6" y="17"/>
                  </a:lnTo>
                  <a:lnTo>
                    <a:pt x="6" y="17"/>
                  </a:lnTo>
                  <a:lnTo>
                    <a:pt x="6" y="17"/>
                  </a:lnTo>
                  <a:lnTo>
                    <a:pt x="6" y="17"/>
                  </a:lnTo>
                  <a:lnTo>
                    <a:pt x="6" y="17"/>
                  </a:lnTo>
                  <a:lnTo>
                    <a:pt x="6" y="17"/>
                  </a:lnTo>
                  <a:lnTo>
                    <a:pt x="7" y="17"/>
                  </a:lnTo>
                  <a:lnTo>
                    <a:pt x="7" y="17"/>
                  </a:lnTo>
                  <a:lnTo>
                    <a:pt x="7" y="17"/>
                  </a:lnTo>
                  <a:lnTo>
                    <a:pt x="7" y="16"/>
                  </a:lnTo>
                  <a:lnTo>
                    <a:pt x="7" y="16"/>
                  </a:lnTo>
                  <a:lnTo>
                    <a:pt x="7" y="16"/>
                  </a:lnTo>
                  <a:lnTo>
                    <a:pt x="7" y="16"/>
                  </a:lnTo>
                  <a:lnTo>
                    <a:pt x="7" y="16"/>
                  </a:lnTo>
                  <a:lnTo>
                    <a:pt x="7" y="16"/>
                  </a:lnTo>
                  <a:lnTo>
                    <a:pt x="7" y="16"/>
                  </a:lnTo>
                  <a:lnTo>
                    <a:pt x="7" y="16"/>
                  </a:lnTo>
                  <a:lnTo>
                    <a:pt x="7" y="16"/>
                  </a:lnTo>
                  <a:lnTo>
                    <a:pt x="7" y="16"/>
                  </a:lnTo>
                  <a:lnTo>
                    <a:pt x="7" y="15"/>
                  </a:lnTo>
                  <a:lnTo>
                    <a:pt x="7" y="15"/>
                  </a:lnTo>
                  <a:lnTo>
                    <a:pt x="7" y="15"/>
                  </a:lnTo>
                  <a:lnTo>
                    <a:pt x="7" y="15"/>
                  </a:lnTo>
                  <a:lnTo>
                    <a:pt x="7" y="15"/>
                  </a:lnTo>
                  <a:lnTo>
                    <a:pt x="7" y="15"/>
                  </a:lnTo>
                  <a:lnTo>
                    <a:pt x="7" y="14"/>
                  </a:lnTo>
                  <a:lnTo>
                    <a:pt x="7" y="14"/>
                  </a:lnTo>
                  <a:lnTo>
                    <a:pt x="7" y="12"/>
                  </a:lnTo>
                  <a:lnTo>
                    <a:pt x="7" y="12"/>
                  </a:lnTo>
                  <a:lnTo>
                    <a:pt x="7" y="11"/>
                  </a:lnTo>
                  <a:lnTo>
                    <a:pt x="7" y="11"/>
                  </a:lnTo>
                  <a:lnTo>
                    <a:pt x="6" y="11"/>
                  </a:lnTo>
                  <a:lnTo>
                    <a:pt x="6" y="11"/>
                  </a:lnTo>
                  <a:lnTo>
                    <a:pt x="6" y="10"/>
                  </a:lnTo>
                  <a:lnTo>
                    <a:pt x="5" y="10"/>
                  </a:lnTo>
                  <a:lnTo>
                    <a:pt x="5" y="10"/>
                  </a:lnTo>
                  <a:lnTo>
                    <a:pt x="5" y="10"/>
                  </a:lnTo>
                  <a:lnTo>
                    <a:pt x="5" y="10"/>
                  </a:lnTo>
                  <a:lnTo>
                    <a:pt x="5" y="10"/>
                  </a:lnTo>
                  <a:lnTo>
                    <a:pt x="5" y="10"/>
                  </a:lnTo>
                  <a:lnTo>
                    <a:pt x="5" y="10"/>
                  </a:lnTo>
                  <a:lnTo>
                    <a:pt x="6" y="10"/>
                  </a:lnTo>
                  <a:lnTo>
                    <a:pt x="6" y="9"/>
                  </a:lnTo>
                  <a:lnTo>
                    <a:pt x="7" y="9"/>
                  </a:lnTo>
                  <a:lnTo>
                    <a:pt x="7" y="9"/>
                  </a:lnTo>
                  <a:lnTo>
                    <a:pt x="7" y="9"/>
                  </a:lnTo>
                  <a:lnTo>
                    <a:pt x="7" y="9"/>
                  </a:lnTo>
                  <a:lnTo>
                    <a:pt x="7" y="9"/>
                  </a:lnTo>
                  <a:lnTo>
                    <a:pt x="7" y="9"/>
                  </a:lnTo>
                  <a:lnTo>
                    <a:pt x="7" y="9"/>
                  </a:lnTo>
                  <a:lnTo>
                    <a:pt x="7" y="9"/>
                  </a:lnTo>
                  <a:lnTo>
                    <a:pt x="7" y="9"/>
                  </a:lnTo>
                  <a:lnTo>
                    <a:pt x="7" y="9"/>
                  </a:lnTo>
                  <a:lnTo>
                    <a:pt x="7" y="9"/>
                  </a:lnTo>
                  <a:lnTo>
                    <a:pt x="7" y="9"/>
                  </a:lnTo>
                  <a:lnTo>
                    <a:pt x="7" y="9"/>
                  </a:lnTo>
                  <a:lnTo>
                    <a:pt x="7" y="9"/>
                  </a:lnTo>
                  <a:lnTo>
                    <a:pt x="7" y="9"/>
                  </a:lnTo>
                  <a:lnTo>
                    <a:pt x="7" y="9"/>
                  </a:lnTo>
                  <a:lnTo>
                    <a:pt x="7" y="9"/>
                  </a:lnTo>
                  <a:lnTo>
                    <a:pt x="9" y="9"/>
                  </a:lnTo>
                  <a:lnTo>
                    <a:pt x="9" y="9"/>
                  </a:lnTo>
                  <a:lnTo>
                    <a:pt x="9" y="9"/>
                  </a:lnTo>
                  <a:lnTo>
                    <a:pt x="9" y="9"/>
                  </a:lnTo>
                  <a:lnTo>
                    <a:pt x="9" y="9"/>
                  </a:lnTo>
                  <a:lnTo>
                    <a:pt x="9" y="9"/>
                  </a:lnTo>
                  <a:lnTo>
                    <a:pt x="9" y="9"/>
                  </a:lnTo>
                  <a:lnTo>
                    <a:pt x="9" y="9"/>
                  </a:lnTo>
                  <a:lnTo>
                    <a:pt x="9" y="9"/>
                  </a:lnTo>
                  <a:lnTo>
                    <a:pt x="10" y="9"/>
                  </a:lnTo>
                  <a:lnTo>
                    <a:pt x="11" y="9"/>
                  </a:lnTo>
                  <a:lnTo>
                    <a:pt x="12" y="9"/>
                  </a:lnTo>
                  <a:lnTo>
                    <a:pt x="12" y="9"/>
                  </a:lnTo>
                  <a:lnTo>
                    <a:pt x="12" y="9"/>
                  </a:lnTo>
                  <a:lnTo>
                    <a:pt x="13" y="8"/>
                  </a:lnTo>
                  <a:lnTo>
                    <a:pt x="14" y="8"/>
                  </a:lnTo>
                  <a:lnTo>
                    <a:pt x="16" y="8"/>
                  </a:lnTo>
                  <a:close/>
                  <a:moveTo>
                    <a:pt x="21" y="0"/>
                  </a:moveTo>
                  <a:lnTo>
                    <a:pt x="21" y="1"/>
                  </a:lnTo>
                  <a:lnTo>
                    <a:pt x="21" y="1"/>
                  </a:lnTo>
                  <a:lnTo>
                    <a:pt x="20" y="1"/>
                  </a:lnTo>
                  <a:lnTo>
                    <a:pt x="20" y="1"/>
                  </a:lnTo>
                  <a:lnTo>
                    <a:pt x="20" y="1"/>
                  </a:lnTo>
                  <a:lnTo>
                    <a:pt x="20" y="2"/>
                  </a:lnTo>
                  <a:lnTo>
                    <a:pt x="20" y="2"/>
                  </a:lnTo>
                  <a:lnTo>
                    <a:pt x="20" y="2"/>
                  </a:lnTo>
                  <a:lnTo>
                    <a:pt x="20" y="2"/>
                  </a:lnTo>
                  <a:lnTo>
                    <a:pt x="20" y="2"/>
                  </a:lnTo>
                  <a:lnTo>
                    <a:pt x="20" y="2"/>
                  </a:lnTo>
                  <a:lnTo>
                    <a:pt x="20" y="2"/>
                  </a:lnTo>
                  <a:lnTo>
                    <a:pt x="19" y="2"/>
                  </a:lnTo>
                  <a:lnTo>
                    <a:pt x="19" y="2"/>
                  </a:lnTo>
                  <a:lnTo>
                    <a:pt x="19" y="2"/>
                  </a:lnTo>
                  <a:lnTo>
                    <a:pt x="19" y="2"/>
                  </a:lnTo>
                  <a:lnTo>
                    <a:pt x="19" y="2"/>
                  </a:lnTo>
                  <a:lnTo>
                    <a:pt x="19" y="2"/>
                  </a:lnTo>
                  <a:lnTo>
                    <a:pt x="18" y="3"/>
                  </a:lnTo>
                  <a:lnTo>
                    <a:pt x="18" y="3"/>
                  </a:lnTo>
                  <a:lnTo>
                    <a:pt x="17" y="3"/>
                  </a:lnTo>
                  <a:lnTo>
                    <a:pt x="17" y="3"/>
                  </a:lnTo>
                  <a:lnTo>
                    <a:pt x="17" y="3"/>
                  </a:lnTo>
                  <a:lnTo>
                    <a:pt x="17" y="3"/>
                  </a:lnTo>
                  <a:lnTo>
                    <a:pt x="17" y="3"/>
                  </a:lnTo>
                  <a:lnTo>
                    <a:pt x="17" y="3"/>
                  </a:lnTo>
                  <a:lnTo>
                    <a:pt x="17" y="3"/>
                  </a:lnTo>
                  <a:lnTo>
                    <a:pt x="17" y="3"/>
                  </a:lnTo>
                  <a:lnTo>
                    <a:pt x="17" y="3"/>
                  </a:lnTo>
                  <a:lnTo>
                    <a:pt x="17" y="3"/>
                  </a:lnTo>
                  <a:lnTo>
                    <a:pt x="17" y="2"/>
                  </a:lnTo>
                  <a:lnTo>
                    <a:pt x="17" y="2"/>
                  </a:lnTo>
                  <a:lnTo>
                    <a:pt x="18" y="1"/>
                  </a:lnTo>
                  <a:lnTo>
                    <a:pt x="19" y="1"/>
                  </a:lnTo>
                  <a:lnTo>
                    <a:pt x="19" y="1"/>
                  </a:lnTo>
                  <a:lnTo>
                    <a:pt x="19" y="1"/>
                  </a:lnTo>
                  <a:lnTo>
                    <a:pt x="19" y="1"/>
                  </a:lnTo>
                  <a:lnTo>
                    <a:pt x="20" y="1"/>
                  </a:lnTo>
                  <a:lnTo>
                    <a:pt x="20" y="1"/>
                  </a:lnTo>
                  <a:lnTo>
                    <a:pt x="20" y="1"/>
                  </a:lnTo>
                  <a:lnTo>
                    <a:pt x="20" y="1"/>
                  </a:lnTo>
                  <a:lnTo>
                    <a:pt x="20" y="1"/>
                  </a:lnTo>
                  <a:lnTo>
                    <a:pt x="20" y="0"/>
                  </a:lnTo>
                  <a:lnTo>
                    <a:pt x="21" y="0"/>
                  </a:lnTo>
                  <a:lnTo>
                    <a:pt x="2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62" name="Freeform 1023">
              <a:extLst>
                <a:ext uri="{FF2B5EF4-FFF2-40B4-BE49-F238E27FC236}">
                  <a16:creationId xmlns:a16="http://schemas.microsoft.com/office/drawing/2014/main" id="{4293E368-7260-4A45-9035-DDF154EEE8DA}"/>
                </a:ext>
              </a:extLst>
            </p:cNvPr>
            <p:cNvSpPr>
              <a:spLocks noEditPoints="1"/>
            </p:cNvSpPr>
            <p:nvPr/>
          </p:nvSpPr>
          <p:spPr bwMode="auto">
            <a:xfrm>
              <a:off x="5938641" y="2559254"/>
              <a:ext cx="73452" cy="149575"/>
            </a:xfrm>
            <a:custGeom>
              <a:avLst/>
              <a:gdLst>
                <a:gd name="T0" fmla="*/ 46 w 55"/>
                <a:gd name="T1" fmla="*/ 57 h 112"/>
                <a:gd name="T2" fmla="*/ 43 w 55"/>
                <a:gd name="T3" fmla="*/ 56 h 112"/>
                <a:gd name="T4" fmla="*/ 47 w 55"/>
                <a:gd name="T5" fmla="*/ 42 h 112"/>
                <a:gd name="T6" fmla="*/ 50 w 55"/>
                <a:gd name="T7" fmla="*/ 41 h 112"/>
                <a:gd name="T8" fmla="*/ 50 w 55"/>
                <a:gd name="T9" fmla="*/ 40 h 112"/>
                <a:gd name="T10" fmla="*/ 28 w 55"/>
                <a:gd name="T11" fmla="*/ 1 h 112"/>
                <a:gd name="T12" fmla="*/ 31 w 55"/>
                <a:gd name="T13" fmla="*/ 1 h 112"/>
                <a:gd name="T14" fmla="*/ 34 w 55"/>
                <a:gd name="T15" fmla="*/ 2 h 112"/>
                <a:gd name="T16" fmla="*/ 35 w 55"/>
                <a:gd name="T17" fmla="*/ 6 h 112"/>
                <a:gd name="T18" fmla="*/ 35 w 55"/>
                <a:gd name="T19" fmla="*/ 7 h 112"/>
                <a:gd name="T20" fmla="*/ 39 w 55"/>
                <a:gd name="T21" fmla="*/ 9 h 112"/>
                <a:gd name="T22" fmla="*/ 42 w 55"/>
                <a:gd name="T23" fmla="*/ 6 h 112"/>
                <a:gd name="T24" fmla="*/ 46 w 55"/>
                <a:gd name="T25" fmla="*/ 5 h 112"/>
                <a:gd name="T26" fmla="*/ 45 w 55"/>
                <a:gd name="T27" fmla="*/ 8 h 112"/>
                <a:gd name="T28" fmla="*/ 42 w 55"/>
                <a:gd name="T29" fmla="*/ 14 h 112"/>
                <a:gd name="T30" fmla="*/ 39 w 55"/>
                <a:gd name="T31" fmla="*/ 18 h 112"/>
                <a:gd name="T32" fmla="*/ 40 w 55"/>
                <a:gd name="T33" fmla="*/ 22 h 112"/>
                <a:gd name="T34" fmla="*/ 43 w 55"/>
                <a:gd name="T35" fmla="*/ 26 h 112"/>
                <a:gd name="T36" fmla="*/ 46 w 55"/>
                <a:gd name="T37" fmla="*/ 29 h 112"/>
                <a:gd name="T38" fmla="*/ 48 w 55"/>
                <a:gd name="T39" fmla="*/ 33 h 112"/>
                <a:gd name="T40" fmla="*/ 46 w 55"/>
                <a:gd name="T41" fmla="*/ 36 h 112"/>
                <a:gd name="T42" fmla="*/ 43 w 55"/>
                <a:gd name="T43" fmla="*/ 41 h 112"/>
                <a:gd name="T44" fmla="*/ 40 w 55"/>
                <a:gd name="T45" fmla="*/ 44 h 112"/>
                <a:gd name="T46" fmla="*/ 35 w 55"/>
                <a:gd name="T47" fmla="*/ 47 h 112"/>
                <a:gd name="T48" fmla="*/ 33 w 55"/>
                <a:gd name="T49" fmla="*/ 50 h 112"/>
                <a:gd name="T50" fmla="*/ 38 w 55"/>
                <a:gd name="T51" fmla="*/ 57 h 112"/>
                <a:gd name="T52" fmla="*/ 42 w 55"/>
                <a:gd name="T53" fmla="*/ 57 h 112"/>
                <a:gd name="T54" fmla="*/ 43 w 55"/>
                <a:gd name="T55" fmla="*/ 61 h 112"/>
                <a:gd name="T56" fmla="*/ 48 w 55"/>
                <a:gd name="T57" fmla="*/ 60 h 112"/>
                <a:gd name="T58" fmla="*/ 50 w 55"/>
                <a:gd name="T59" fmla="*/ 64 h 112"/>
                <a:gd name="T60" fmla="*/ 49 w 55"/>
                <a:gd name="T61" fmla="*/ 65 h 112"/>
                <a:gd name="T62" fmla="*/ 52 w 55"/>
                <a:gd name="T63" fmla="*/ 64 h 112"/>
                <a:gd name="T64" fmla="*/ 53 w 55"/>
                <a:gd name="T65" fmla="*/ 69 h 112"/>
                <a:gd name="T66" fmla="*/ 54 w 55"/>
                <a:gd name="T67" fmla="*/ 75 h 112"/>
                <a:gd name="T68" fmla="*/ 53 w 55"/>
                <a:gd name="T69" fmla="*/ 78 h 112"/>
                <a:gd name="T70" fmla="*/ 43 w 55"/>
                <a:gd name="T71" fmla="*/ 85 h 112"/>
                <a:gd name="T72" fmla="*/ 40 w 55"/>
                <a:gd name="T73" fmla="*/ 89 h 112"/>
                <a:gd name="T74" fmla="*/ 36 w 55"/>
                <a:gd name="T75" fmla="*/ 93 h 112"/>
                <a:gd name="T76" fmla="*/ 39 w 55"/>
                <a:gd name="T77" fmla="*/ 101 h 112"/>
                <a:gd name="T78" fmla="*/ 33 w 55"/>
                <a:gd name="T79" fmla="*/ 110 h 112"/>
                <a:gd name="T80" fmla="*/ 28 w 55"/>
                <a:gd name="T81" fmla="*/ 108 h 112"/>
                <a:gd name="T82" fmla="*/ 26 w 55"/>
                <a:gd name="T83" fmla="*/ 100 h 112"/>
                <a:gd name="T84" fmla="*/ 24 w 55"/>
                <a:gd name="T85" fmla="*/ 91 h 112"/>
                <a:gd name="T86" fmla="*/ 21 w 55"/>
                <a:gd name="T87" fmla="*/ 83 h 112"/>
                <a:gd name="T88" fmla="*/ 12 w 55"/>
                <a:gd name="T89" fmla="*/ 74 h 112"/>
                <a:gd name="T90" fmla="*/ 5 w 55"/>
                <a:gd name="T91" fmla="*/ 65 h 112"/>
                <a:gd name="T92" fmla="*/ 3 w 55"/>
                <a:gd name="T93" fmla="*/ 61 h 112"/>
                <a:gd name="T94" fmla="*/ 0 w 55"/>
                <a:gd name="T95" fmla="*/ 55 h 112"/>
                <a:gd name="T96" fmla="*/ 1 w 55"/>
                <a:gd name="T97" fmla="*/ 50 h 112"/>
                <a:gd name="T98" fmla="*/ 4 w 55"/>
                <a:gd name="T99" fmla="*/ 46 h 112"/>
                <a:gd name="T100" fmla="*/ 8 w 55"/>
                <a:gd name="T101" fmla="*/ 44 h 112"/>
                <a:gd name="T102" fmla="*/ 10 w 55"/>
                <a:gd name="T103" fmla="*/ 37 h 112"/>
                <a:gd name="T104" fmla="*/ 11 w 55"/>
                <a:gd name="T105" fmla="*/ 33 h 112"/>
                <a:gd name="T106" fmla="*/ 11 w 55"/>
                <a:gd name="T107" fmla="*/ 27 h 112"/>
                <a:gd name="T108" fmla="*/ 10 w 55"/>
                <a:gd name="T109" fmla="*/ 21 h 112"/>
                <a:gd name="T110" fmla="*/ 11 w 55"/>
                <a:gd name="T111" fmla="*/ 14 h 112"/>
                <a:gd name="T112" fmla="*/ 8 w 55"/>
                <a:gd name="T113" fmla="*/ 12 h 112"/>
                <a:gd name="T114" fmla="*/ 11 w 55"/>
                <a:gd name="T115" fmla="*/ 8 h 112"/>
                <a:gd name="T116" fmla="*/ 13 w 55"/>
                <a:gd name="T117" fmla="*/ 7 h 112"/>
                <a:gd name="T118" fmla="*/ 17 w 55"/>
                <a:gd name="T119" fmla="*/ 5 h 112"/>
                <a:gd name="T120" fmla="*/ 20 w 55"/>
                <a:gd name="T121" fmla="*/ 2 h 112"/>
                <a:gd name="T122" fmla="*/ 26 w 55"/>
                <a:gd name="T1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5" h="112">
                  <a:moveTo>
                    <a:pt x="46" y="54"/>
                  </a:moveTo>
                  <a:lnTo>
                    <a:pt x="46" y="55"/>
                  </a:lnTo>
                  <a:lnTo>
                    <a:pt x="47" y="55"/>
                  </a:lnTo>
                  <a:lnTo>
                    <a:pt x="47" y="56"/>
                  </a:lnTo>
                  <a:lnTo>
                    <a:pt x="46" y="57"/>
                  </a:lnTo>
                  <a:lnTo>
                    <a:pt x="46" y="58"/>
                  </a:lnTo>
                  <a:lnTo>
                    <a:pt x="45" y="58"/>
                  </a:lnTo>
                  <a:lnTo>
                    <a:pt x="45" y="57"/>
                  </a:lnTo>
                  <a:lnTo>
                    <a:pt x="43" y="57"/>
                  </a:lnTo>
                  <a:lnTo>
                    <a:pt x="43" y="56"/>
                  </a:lnTo>
                  <a:lnTo>
                    <a:pt x="43" y="55"/>
                  </a:lnTo>
                  <a:lnTo>
                    <a:pt x="43" y="54"/>
                  </a:lnTo>
                  <a:lnTo>
                    <a:pt x="45" y="55"/>
                  </a:lnTo>
                  <a:lnTo>
                    <a:pt x="46" y="54"/>
                  </a:lnTo>
                  <a:close/>
                  <a:moveTo>
                    <a:pt x="47" y="42"/>
                  </a:moveTo>
                  <a:lnTo>
                    <a:pt x="47" y="43"/>
                  </a:lnTo>
                  <a:lnTo>
                    <a:pt x="46" y="42"/>
                  </a:lnTo>
                  <a:lnTo>
                    <a:pt x="47" y="42"/>
                  </a:lnTo>
                  <a:close/>
                  <a:moveTo>
                    <a:pt x="49" y="41"/>
                  </a:moveTo>
                  <a:lnTo>
                    <a:pt x="50" y="41"/>
                  </a:lnTo>
                  <a:lnTo>
                    <a:pt x="48" y="42"/>
                  </a:lnTo>
                  <a:lnTo>
                    <a:pt x="48" y="41"/>
                  </a:lnTo>
                  <a:lnTo>
                    <a:pt x="49" y="41"/>
                  </a:lnTo>
                  <a:lnTo>
                    <a:pt x="49" y="40"/>
                  </a:lnTo>
                  <a:lnTo>
                    <a:pt x="50" y="40"/>
                  </a:lnTo>
                  <a:lnTo>
                    <a:pt x="49" y="40"/>
                  </a:lnTo>
                  <a:lnTo>
                    <a:pt x="49" y="41"/>
                  </a:lnTo>
                  <a:close/>
                  <a:moveTo>
                    <a:pt x="29" y="0"/>
                  </a:moveTo>
                  <a:lnTo>
                    <a:pt x="29" y="1"/>
                  </a:lnTo>
                  <a:lnTo>
                    <a:pt x="28" y="1"/>
                  </a:lnTo>
                  <a:lnTo>
                    <a:pt x="28" y="2"/>
                  </a:lnTo>
                  <a:lnTo>
                    <a:pt x="29" y="2"/>
                  </a:lnTo>
                  <a:lnTo>
                    <a:pt x="31" y="2"/>
                  </a:lnTo>
                  <a:lnTo>
                    <a:pt x="29" y="1"/>
                  </a:lnTo>
                  <a:lnTo>
                    <a:pt x="31" y="1"/>
                  </a:lnTo>
                  <a:lnTo>
                    <a:pt x="32" y="1"/>
                  </a:lnTo>
                  <a:lnTo>
                    <a:pt x="33" y="1"/>
                  </a:lnTo>
                  <a:lnTo>
                    <a:pt x="34" y="2"/>
                  </a:lnTo>
                  <a:lnTo>
                    <a:pt x="35" y="2"/>
                  </a:lnTo>
                  <a:lnTo>
                    <a:pt x="34" y="2"/>
                  </a:lnTo>
                  <a:lnTo>
                    <a:pt x="33" y="2"/>
                  </a:lnTo>
                  <a:lnTo>
                    <a:pt x="34" y="4"/>
                  </a:lnTo>
                  <a:lnTo>
                    <a:pt x="34" y="5"/>
                  </a:lnTo>
                  <a:lnTo>
                    <a:pt x="34" y="6"/>
                  </a:lnTo>
                  <a:lnTo>
                    <a:pt x="35" y="6"/>
                  </a:lnTo>
                  <a:lnTo>
                    <a:pt x="35" y="7"/>
                  </a:lnTo>
                  <a:lnTo>
                    <a:pt x="36" y="7"/>
                  </a:lnTo>
                  <a:lnTo>
                    <a:pt x="35" y="7"/>
                  </a:lnTo>
                  <a:lnTo>
                    <a:pt x="35" y="8"/>
                  </a:lnTo>
                  <a:lnTo>
                    <a:pt x="35" y="7"/>
                  </a:lnTo>
                  <a:lnTo>
                    <a:pt x="34" y="8"/>
                  </a:lnTo>
                  <a:lnTo>
                    <a:pt x="35" y="8"/>
                  </a:lnTo>
                  <a:lnTo>
                    <a:pt x="36" y="9"/>
                  </a:lnTo>
                  <a:lnTo>
                    <a:pt x="38" y="9"/>
                  </a:lnTo>
                  <a:lnTo>
                    <a:pt x="39" y="9"/>
                  </a:lnTo>
                  <a:lnTo>
                    <a:pt x="39" y="8"/>
                  </a:lnTo>
                  <a:lnTo>
                    <a:pt x="39" y="7"/>
                  </a:lnTo>
                  <a:lnTo>
                    <a:pt x="40" y="7"/>
                  </a:lnTo>
                  <a:lnTo>
                    <a:pt x="41" y="7"/>
                  </a:lnTo>
                  <a:lnTo>
                    <a:pt x="42" y="6"/>
                  </a:lnTo>
                  <a:lnTo>
                    <a:pt x="43" y="5"/>
                  </a:lnTo>
                  <a:lnTo>
                    <a:pt x="45" y="5"/>
                  </a:lnTo>
                  <a:lnTo>
                    <a:pt x="45" y="4"/>
                  </a:lnTo>
                  <a:lnTo>
                    <a:pt x="46" y="4"/>
                  </a:lnTo>
                  <a:lnTo>
                    <a:pt x="46" y="5"/>
                  </a:lnTo>
                  <a:lnTo>
                    <a:pt x="46" y="6"/>
                  </a:lnTo>
                  <a:lnTo>
                    <a:pt x="46" y="7"/>
                  </a:lnTo>
                  <a:lnTo>
                    <a:pt x="47" y="7"/>
                  </a:lnTo>
                  <a:lnTo>
                    <a:pt x="46" y="8"/>
                  </a:lnTo>
                  <a:lnTo>
                    <a:pt x="45" y="8"/>
                  </a:lnTo>
                  <a:lnTo>
                    <a:pt x="45" y="9"/>
                  </a:lnTo>
                  <a:lnTo>
                    <a:pt x="45" y="11"/>
                  </a:lnTo>
                  <a:lnTo>
                    <a:pt x="43" y="12"/>
                  </a:lnTo>
                  <a:lnTo>
                    <a:pt x="42" y="13"/>
                  </a:lnTo>
                  <a:lnTo>
                    <a:pt x="42" y="14"/>
                  </a:lnTo>
                  <a:lnTo>
                    <a:pt x="41" y="14"/>
                  </a:lnTo>
                  <a:lnTo>
                    <a:pt x="40" y="15"/>
                  </a:lnTo>
                  <a:lnTo>
                    <a:pt x="39" y="15"/>
                  </a:lnTo>
                  <a:lnTo>
                    <a:pt x="39" y="16"/>
                  </a:lnTo>
                  <a:lnTo>
                    <a:pt x="39" y="18"/>
                  </a:lnTo>
                  <a:lnTo>
                    <a:pt x="39" y="19"/>
                  </a:lnTo>
                  <a:lnTo>
                    <a:pt x="39" y="20"/>
                  </a:lnTo>
                  <a:lnTo>
                    <a:pt x="39" y="21"/>
                  </a:lnTo>
                  <a:lnTo>
                    <a:pt x="39" y="22"/>
                  </a:lnTo>
                  <a:lnTo>
                    <a:pt x="40" y="22"/>
                  </a:lnTo>
                  <a:lnTo>
                    <a:pt x="40" y="23"/>
                  </a:lnTo>
                  <a:lnTo>
                    <a:pt x="41" y="25"/>
                  </a:lnTo>
                  <a:lnTo>
                    <a:pt x="42" y="25"/>
                  </a:lnTo>
                  <a:lnTo>
                    <a:pt x="43" y="25"/>
                  </a:lnTo>
                  <a:lnTo>
                    <a:pt x="43" y="26"/>
                  </a:lnTo>
                  <a:lnTo>
                    <a:pt x="45" y="27"/>
                  </a:lnTo>
                  <a:lnTo>
                    <a:pt x="46" y="27"/>
                  </a:lnTo>
                  <a:lnTo>
                    <a:pt x="46" y="28"/>
                  </a:lnTo>
                  <a:lnTo>
                    <a:pt x="47" y="29"/>
                  </a:lnTo>
                  <a:lnTo>
                    <a:pt x="46" y="29"/>
                  </a:lnTo>
                  <a:lnTo>
                    <a:pt x="46" y="30"/>
                  </a:lnTo>
                  <a:lnTo>
                    <a:pt x="46" y="32"/>
                  </a:lnTo>
                  <a:lnTo>
                    <a:pt x="47" y="32"/>
                  </a:lnTo>
                  <a:lnTo>
                    <a:pt x="47" y="33"/>
                  </a:lnTo>
                  <a:lnTo>
                    <a:pt x="48" y="33"/>
                  </a:lnTo>
                  <a:lnTo>
                    <a:pt x="48" y="34"/>
                  </a:lnTo>
                  <a:lnTo>
                    <a:pt x="47" y="34"/>
                  </a:lnTo>
                  <a:lnTo>
                    <a:pt x="47" y="35"/>
                  </a:lnTo>
                  <a:lnTo>
                    <a:pt x="46" y="35"/>
                  </a:lnTo>
                  <a:lnTo>
                    <a:pt x="46" y="36"/>
                  </a:lnTo>
                  <a:lnTo>
                    <a:pt x="45" y="37"/>
                  </a:lnTo>
                  <a:lnTo>
                    <a:pt x="45" y="39"/>
                  </a:lnTo>
                  <a:lnTo>
                    <a:pt x="45" y="40"/>
                  </a:lnTo>
                  <a:lnTo>
                    <a:pt x="43" y="40"/>
                  </a:lnTo>
                  <a:lnTo>
                    <a:pt x="43" y="41"/>
                  </a:lnTo>
                  <a:lnTo>
                    <a:pt x="42" y="42"/>
                  </a:lnTo>
                  <a:lnTo>
                    <a:pt x="41" y="42"/>
                  </a:lnTo>
                  <a:lnTo>
                    <a:pt x="41" y="43"/>
                  </a:lnTo>
                  <a:lnTo>
                    <a:pt x="41" y="44"/>
                  </a:lnTo>
                  <a:lnTo>
                    <a:pt x="40" y="44"/>
                  </a:lnTo>
                  <a:lnTo>
                    <a:pt x="39" y="44"/>
                  </a:lnTo>
                  <a:lnTo>
                    <a:pt x="38" y="46"/>
                  </a:lnTo>
                  <a:lnTo>
                    <a:pt x="36" y="46"/>
                  </a:lnTo>
                  <a:lnTo>
                    <a:pt x="36" y="47"/>
                  </a:lnTo>
                  <a:lnTo>
                    <a:pt x="35" y="47"/>
                  </a:lnTo>
                  <a:lnTo>
                    <a:pt x="35" y="48"/>
                  </a:lnTo>
                  <a:lnTo>
                    <a:pt x="34" y="48"/>
                  </a:lnTo>
                  <a:lnTo>
                    <a:pt x="34" y="49"/>
                  </a:lnTo>
                  <a:lnTo>
                    <a:pt x="34" y="50"/>
                  </a:lnTo>
                  <a:lnTo>
                    <a:pt x="33" y="50"/>
                  </a:lnTo>
                  <a:lnTo>
                    <a:pt x="33" y="51"/>
                  </a:lnTo>
                  <a:lnTo>
                    <a:pt x="34" y="53"/>
                  </a:lnTo>
                  <a:lnTo>
                    <a:pt x="34" y="54"/>
                  </a:lnTo>
                  <a:lnTo>
                    <a:pt x="35" y="55"/>
                  </a:lnTo>
                  <a:lnTo>
                    <a:pt x="38" y="57"/>
                  </a:lnTo>
                  <a:lnTo>
                    <a:pt x="39" y="57"/>
                  </a:lnTo>
                  <a:lnTo>
                    <a:pt x="39" y="58"/>
                  </a:lnTo>
                  <a:lnTo>
                    <a:pt x="40" y="58"/>
                  </a:lnTo>
                  <a:lnTo>
                    <a:pt x="41" y="58"/>
                  </a:lnTo>
                  <a:lnTo>
                    <a:pt x="42" y="57"/>
                  </a:lnTo>
                  <a:lnTo>
                    <a:pt x="43" y="57"/>
                  </a:lnTo>
                  <a:lnTo>
                    <a:pt x="43" y="58"/>
                  </a:lnTo>
                  <a:lnTo>
                    <a:pt x="42" y="60"/>
                  </a:lnTo>
                  <a:lnTo>
                    <a:pt x="42" y="61"/>
                  </a:lnTo>
                  <a:lnTo>
                    <a:pt x="43" y="61"/>
                  </a:lnTo>
                  <a:lnTo>
                    <a:pt x="45" y="60"/>
                  </a:lnTo>
                  <a:lnTo>
                    <a:pt x="46" y="60"/>
                  </a:lnTo>
                  <a:lnTo>
                    <a:pt x="46" y="58"/>
                  </a:lnTo>
                  <a:lnTo>
                    <a:pt x="47" y="58"/>
                  </a:lnTo>
                  <a:lnTo>
                    <a:pt x="48" y="60"/>
                  </a:lnTo>
                  <a:lnTo>
                    <a:pt x="48" y="61"/>
                  </a:lnTo>
                  <a:lnTo>
                    <a:pt x="48" y="62"/>
                  </a:lnTo>
                  <a:lnTo>
                    <a:pt x="48" y="63"/>
                  </a:lnTo>
                  <a:lnTo>
                    <a:pt x="49" y="63"/>
                  </a:lnTo>
                  <a:lnTo>
                    <a:pt x="50" y="64"/>
                  </a:lnTo>
                  <a:lnTo>
                    <a:pt x="49" y="63"/>
                  </a:lnTo>
                  <a:lnTo>
                    <a:pt x="48" y="63"/>
                  </a:lnTo>
                  <a:lnTo>
                    <a:pt x="48" y="64"/>
                  </a:lnTo>
                  <a:lnTo>
                    <a:pt x="49" y="64"/>
                  </a:lnTo>
                  <a:lnTo>
                    <a:pt x="49" y="65"/>
                  </a:lnTo>
                  <a:lnTo>
                    <a:pt x="50" y="65"/>
                  </a:lnTo>
                  <a:lnTo>
                    <a:pt x="52" y="65"/>
                  </a:lnTo>
                  <a:lnTo>
                    <a:pt x="53" y="65"/>
                  </a:lnTo>
                  <a:lnTo>
                    <a:pt x="52" y="65"/>
                  </a:lnTo>
                  <a:lnTo>
                    <a:pt x="52" y="64"/>
                  </a:lnTo>
                  <a:lnTo>
                    <a:pt x="53" y="65"/>
                  </a:lnTo>
                  <a:lnTo>
                    <a:pt x="54" y="65"/>
                  </a:lnTo>
                  <a:lnTo>
                    <a:pt x="54" y="67"/>
                  </a:lnTo>
                  <a:lnTo>
                    <a:pt x="53" y="68"/>
                  </a:lnTo>
                  <a:lnTo>
                    <a:pt x="53" y="69"/>
                  </a:lnTo>
                  <a:lnTo>
                    <a:pt x="53" y="70"/>
                  </a:lnTo>
                  <a:lnTo>
                    <a:pt x="53" y="71"/>
                  </a:lnTo>
                  <a:lnTo>
                    <a:pt x="53" y="74"/>
                  </a:lnTo>
                  <a:lnTo>
                    <a:pt x="53" y="75"/>
                  </a:lnTo>
                  <a:lnTo>
                    <a:pt x="54" y="75"/>
                  </a:lnTo>
                  <a:lnTo>
                    <a:pt x="54" y="76"/>
                  </a:lnTo>
                  <a:lnTo>
                    <a:pt x="55" y="76"/>
                  </a:lnTo>
                  <a:lnTo>
                    <a:pt x="55" y="77"/>
                  </a:lnTo>
                  <a:lnTo>
                    <a:pt x="54" y="78"/>
                  </a:lnTo>
                  <a:lnTo>
                    <a:pt x="53" y="78"/>
                  </a:lnTo>
                  <a:lnTo>
                    <a:pt x="49" y="81"/>
                  </a:lnTo>
                  <a:lnTo>
                    <a:pt x="46" y="82"/>
                  </a:lnTo>
                  <a:lnTo>
                    <a:pt x="46" y="83"/>
                  </a:lnTo>
                  <a:lnTo>
                    <a:pt x="45" y="84"/>
                  </a:lnTo>
                  <a:lnTo>
                    <a:pt x="43" y="85"/>
                  </a:lnTo>
                  <a:lnTo>
                    <a:pt x="42" y="85"/>
                  </a:lnTo>
                  <a:lnTo>
                    <a:pt x="42" y="86"/>
                  </a:lnTo>
                  <a:lnTo>
                    <a:pt x="41" y="88"/>
                  </a:lnTo>
                  <a:lnTo>
                    <a:pt x="41" y="89"/>
                  </a:lnTo>
                  <a:lnTo>
                    <a:pt x="40" y="89"/>
                  </a:lnTo>
                  <a:lnTo>
                    <a:pt x="39" y="89"/>
                  </a:lnTo>
                  <a:lnTo>
                    <a:pt x="38" y="90"/>
                  </a:lnTo>
                  <a:lnTo>
                    <a:pt x="36" y="91"/>
                  </a:lnTo>
                  <a:lnTo>
                    <a:pt x="36" y="92"/>
                  </a:lnTo>
                  <a:lnTo>
                    <a:pt x="36" y="93"/>
                  </a:lnTo>
                  <a:lnTo>
                    <a:pt x="36" y="96"/>
                  </a:lnTo>
                  <a:lnTo>
                    <a:pt x="38" y="98"/>
                  </a:lnTo>
                  <a:lnTo>
                    <a:pt x="38" y="99"/>
                  </a:lnTo>
                  <a:lnTo>
                    <a:pt x="38" y="100"/>
                  </a:lnTo>
                  <a:lnTo>
                    <a:pt x="39" y="101"/>
                  </a:lnTo>
                  <a:lnTo>
                    <a:pt x="38" y="103"/>
                  </a:lnTo>
                  <a:lnTo>
                    <a:pt x="38" y="104"/>
                  </a:lnTo>
                  <a:lnTo>
                    <a:pt x="36" y="106"/>
                  </a:lnTo>
                  <a:lnTo>
                    <a:pt x="35" y="108"/>
                  </a:lnTo>
                  <a:lnTo>
                    <a:pt x="33" y="110"/>
                  </a:lnTo>
                  <a:lnTo>
                    <a:pt x="33" y="111"/>
                  </a:lnTo>
                  <a:lnTo>
                    <a:pt x="32" y="111"/>
                  </a:lnTo>
                  <a:lnTo>
                    <a:pt x="28" y="112"/>
                  </a:lnTo>
                  <a:lnTo>
                    <a:pt x="28" y="111"/>
                  </a:lnTo>
                  <a:lnTo>
                    <a:pt x="28" y="108"/>
                  </a:lnTo>
                  <a:lnTo>
                    <a:pt x="27" y="107"/>
                  </a:lnTo>
                  <a:lnTo>
                    <a:pt x="27" y="105"/>
                  </a:lnTo>
                  <a:lnTo>
                    <a:pt x="26" y="104"/>
                  </a:lnTo>
                  <a:lnTo>
                    <a:pt x="26" y="101"/>
                  </a:lnTo>
                  <a:lnTo>
                    <a:pt x="26" y="100"/>
                  </a:lnTo>
                  <a:lnTo>
                    <a:pt x="25" y="98"/>
                  </a:lnTo>
                  <a:lnTo>
                    <a:pt x="25" y="97"/>
                  </a:lnTo>
                  <a:lnTo>
                    <a:pt x="25" y="94"/>
                  </a:lnTo>
                  <a:lnTo>
                    <a:pt x="24" y="93"/>
                  </a:lnTo>
                  <a:lnTo>
                    <a:pt x="24" y="91"/>
                  </a:lnTo>
                  <a:lnTo>
                    <a:pt x="24" y="90"/>
                  </a:lnTo>
                  <a:lnTo>
                    <a:pt x="22" y="88"/>
                  </a:lnTo>
                  <a:lnTo>
                    <a:pt x="22" y="86"/>
                  </a:lnTo>
                  <a:lnTo>
                    <a:pt x="21" y="84"/>
                  </a:lnTo>
                  <a:lnTo>
                    <a:pt x="21" y="83"/>
                  </a:lnTo>
                  <a:lnTo>
                    <a:pt x="19" y="81"/>
                  </a:lnTo>
                  <a:lnTo>
                    <a:pt x="15" y="79"/>
                  </a:lnTo>
                  <a:lnTo>
                    <a:pt x="14" y="77"/>
                  </a:lnTo>
                  <a:lnTo>
                    <a:pt x="12" y="76"/>
                  </a:lnTo>
                  <a:lnTo>
                    <a:pt x="12" y="74"/>
                  </a:lnTo>
                  <a:lnTo>
                    <a:pt x="11" y="71"/>
                  </a:lnTo>
                  <a:lnTo>
                    <a:pt x="10" y="69"/>
                  </a:lnTo>
                  <a:lnTo>
                    <a:pt x="8" y="67"/>
                  </a:lnTo>
                  <a:lnTo>
                    <a:pt x="7" y="67"/>
                  </a:lnTo>
                  <a:lnTo>
                    <a:pt x="5" y="65"/>
                  </a:lnTo>
                  <a:lnTo>
                    <a:pt x="4" y="65"/>
                  </a:lnTo>
                  <a:lnTo>
                    <a:pt x="4" y="64"/>
                  </a:lnTo>
                  <a:lnTo>
                    <a:pt x="3" y="64"/>
                  </a:lnTo>
                  <a:lnTo>
                    <a:pt x="3" y="62"/>
                  </a:lnTo>
                  <a:lnTo>
                    <a:pt x="3" y="61"/>
                  </a:lnTo>
                  <a:lnTo>
                    <a:pt x="1" y="60"/>
                  </a:lnTo>
                  <a:lnTo>
                    <a:pt x="1" y="58"/>
                  </a:lnTo>
                  <a:lnTo>
                    <a:pt x="0" y="57"/>
                  </a:lnTo>
                  <a:lnTo>
                    <a:pt x="0" y="56"/>
                  </a:lnTo>
                  <a:lnTo>
                    <a:pt x="0" y="55"/>
                  </a:lnTo>
                  <a:lnTo>
                    <a:pt x="0" y="54"/>
                  </a:lnTo>
                  <a:lnTo>
                    <a:pt x="0" y="53"/>
                  </a:lnTo>
                  <a:lnTo>
                    <a:pt x="0" y="51"/>
                  </a:lnTo>
                  <a:lnTo>
                    <a:pt x="0" y="50"/>
                  </a:lnTo>
                  <a:lnTo>
                    <a:pt x="1" y="50"/>
                  </a:lnTo>
                  <a:lnTo>
                    <a:pt x="1" y="49"/>
                  </a:lnTo>
                  <a:lnTo>
                    <a:pt x="3" y="49"/>
                  </a:lnTo>
                  <a:lnTo>
                    <a:pt x="4" y="49"/>
                  </a:lnTo>
                  <a:lnTo>
                    <a:pt x="4" y="47"/>
                  </a:lnTo>
                  <a:lnTo>
                    <a:pt x="4" y="46"/>
                  </a:lnTo>
                  <a:lnTo>
                    <a:pt x="5" y="46"/>
                  </a:lnTo>
                  <a:lnTo>
                    <a:pt x="6" y="46"/>
                  </a:lnTo>
                  <a:lnTo>
                    <a:pt x="6" y="44"/>
                  </a:lnTo>
                  <a:lnTo>
                    <a:pt x="7" y="44"/>
                  </a:lnTo>
                  <a:lnTo>
                    <a:pt x="8" y="44"/>
                  </a:lnTo>
                  <a:lnTo>
                    <a:pt x="8" y="43"/>
                  </a:lnTo>
                  <a:lnTo>
                    <a:pt x="10" y="42"/>
                  </a:lnTo>
                  <a:lnTo>
                    <a:pt x="10" y="41"/>
                  </a:lnTo>
                  <a:lnTo>
                    <a:pt x="10" y="39"/>
                  </a:lnTo>
                  <a:lnTo>
                    <a:pt x="10" y="37"/>
                  </a:lnTo>
                  <a:lnTo>
                    <a:pt x="11" y="36"/>
                  </a:lnTo>
                  <a:lnTo>
                    <a:pt x="11" y="35"/>
                  </a:lnTo>
                  <a:lnTo>
                    <a:pt x="11" y="34"/>
                  </a:lnTo>
                  <a:lnTo>
                    <a:pt x="12" y="33"/>
                  </a:lnTo>
                  <a:lnTo>
                    <a:pt x="11" y="33"/>
                  </a:lnTo>
                  <a:lnTo>
                    <a:pt x="10" y="32"/>
                  </a:lnTo>
                  <a:lnTo>
                    <a:pt x="10" y="30"/>
                  </a:lnTo>
                  <a:lnTo>
                    <a:pt x="11" y="29"/>
                  </a:lnTo>
                  <a:lnTo>
                    <a:pt x="11" y="28"/>
                  </a:lnTo>
                  <a:lnTo>
                    <a:pt x="11" y="27"/>
                  </a:lnTo>
                  <a:lnTo>
                    <a:pt x="10" y="26"/>
                  </a:lnTo>
                  <a:lnTo>
                    <a:pt x="10" y="25"/>
                  </a:lnTo>
                  <a:lnTo>
                    <a:pt x="10" y="23"/>
                  </a:lnTo>
                  <a:lnTo>
                    <a:pt x="10" y="22"/>
                  </a:lnTo>
                  <a:lnTo>
                    <a:pt x="10" y="21"/>
                  </a:lnTo>
                  <a:lnTo>
                    <a:pt x="10" y="20"/>
                  </a:lnTo>
                  <a:lnTo>
                    <a:pt x="10" y="19"/>
                  </a:lnTo>
                  <a:lnTo>
                    <a:pt x="10" y="18"/>
                  </a:lnTo>
                  <a:lnTo>
                    <a:pt x="11" y="15"/>
                  </a:lnTo>
                  <a:lnTo>
                    <a:pt x="11" y="14"/>
                  </a:lnTo>
                  <a:lnTo>
                    <a:pt x="10" y="14"/>
                  </a:lnTo>
                  <a:lnTo>
                    <a:pt x="8" y="13"/>
                  </a:lnTo>
                  <a:lnTo>
                    <a:pt x="7" y="13"/>
                  </a:lnTo>
                  <a:lnTo>
                    <a:pt x="8" y="13"/>
                  </a:lnTo>
                  <a:lnTo>
                    <a:pt x="8" y="12"/>
                  </a:lnTo>
                  <a:lnTo>
                    <a:pt x="10" y="12"/>
                  </a:lnTo>
                  <a:lnTo>
                    <a:pt x="11" y="11"/>
                  </a:lnTo>
                  <a:lnTo>
                    <a:pt x="12" y="9"/>
                  </a:lnTo>
                  <a:lnTo>
                    <a:pt x="11" y="9"/>
                  </a:lnTo>
                  <a:lnTo>
                    <a:pt x="11" y="8"/>
                  </a:lnTo>
                  <a:lnTo>
                    <a:pt x="12" y="8"/>
                  </a:lnTo>
                  <a:lnTo>
                    <a:pt x="13" y="8"/>
                  </a:lnTo>
                  <a:lnTo>
                    <a:pt x="14" y="8"/>
                  </a:lnTo>
                  <a:lnTo>
                    <a:pt x="14" y="7"/>
                  </a:lnTo>
                  <a:lnTo>
                    <a:pt x="13" y="7"/>
                  </a:lnTo>
                  <a:lnTo>
                    <a:pt x="13" y="6"/>
                  </a:lnTo>
                  <a:lnTo>
                    <a:pt x="14" y="6"/>
                  </a:lnTo>
                  <a:lnTo>
                    <a:pt x="15" y="6"/>
                  </a:lnTo>
                  <a:lnTo>
                    <a:pt x="17" y="6"/>
                  </a:lnTo>
                  <a:lnTo>
                    <a:pt x="17" y="5"/>
                  </a:lnTo>
                  <a:lnTo>
                    <a:pt x="18" y="5"/>
                  </a:lnTo>
                  <a:lnTo>
                    <a:pt x="18" y="4"/>
                  </a:lnTo>
                  <a:lnTo>
                    <a:pt x="19" y="4"/>
                  </a:lnTo>
                  <a:lnTo>
                    <a:pt x="19" y="2"/>
                  </a:lnTo>
                  <a:lnTo>
                    <a:pt x="20" y="2"/>
                  </a:lnTo>
                  <a:lnTo>
                    <a:pt x="21" y="1"/>
                  </a:lnTo>
                  <a:lnTo>
                    <a:pt x="22" y="1"/>
                  </a:lnTo>
                  <a:lnTo>
                    <a:pt x="24" y="1"/>
                  </a:lnTo>
                  <a:lnTo>
                    <a:pt x="25" y="1"/>
                  </a:lnTo>
                  <a:lnTo>
                    <a:pt x="26" y="0"/>
                  </a:lnTo>
                  <a:lnTo>
                    <a:pt x="27" y="0"/>
                  </a:lnTo>
                  <a:lnTo>
                    <a:pt x="28" y="0"/>
                  </a:lnTo>
                  <a:lnTo>
                    <a:pt x="29" y="0"/>
                  </a:lnTo>
                  <a:close/>
                </a:path>
              </a:pathLst>
            </a:custGeom>
            <a:solidFill>
              <a:srgbClr val="0053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solidFill>
                  <a:schemeClr val="tx1"/>
                </a:solidFill>
              </a:endParaRPr>
            </a:p>
          </p:txBody>
        </p:sp>
        <p:sp>
          <p:nvSpPr>
            <p:cNvPr id="263" name="Freeform 1024">
              <a:extLst>
                <a:ext uri="{FF2B5EF4-FFF2-40B4-BE49-F238E27FC236}">
                  <a16:creationId xmlns:a16="http://schemas.microsoft.com/office/drawing/2014/main" id="{C7112BE6-3119-4B39-AF06-FF0F8590B8C4}"/>
                </a:ext>
              </a:extLst>
            </p:cNvPr>
            <p:cNvSpPr>
              <a:spLocks noEditPoints="1"/>
            </p:cNvSpPr>
            <p:nvPr/>
          </p:nvSpPr>
          <p:spPr bwMode="auto">
            <a:xfrm>
              <a:off x="6247139" y="2459093"/>
              <a:ext cx="337879" cy="130878"/>
            </a:xfrm>
            <a:custGeom>
              <a:avLst/>
              <a:gdLst>
                <a:gd name="T0" fmla="*/ 25 w 253"/>
                <a:gd name="T1" fmla="*/ 26 h 98"/>
                <a:gd name="T2" fmla="*/ 22 w 253"/>
                <a:gd name="T3" fmla="*/ 2 h 98"/>
                <a:gd name="T4" fmla="*/ 32 w 253"/>
                <a:gd name="T5" fmla="*/ 10 h 98"/>
                <a:gd name="T6" fmla="*/ 35 w 253"/>
                <a:gd name="T7" fmla="*/ 17 h 98"/>
                <a:gd name="T8" fmla="*/ 18 w 253"/>
                <a:gd name="T9" fmla="*/ 23 h 98"/>
                <a:gd name="T10" fmla="*/ 8 w 253"/>
                <a:gd name="T11" fmla="*/ 31 h 98"/>
                <a:gd name="T12" fmla="*/ 13 w 253"/>
                <a:gd name="T13" fmla="*/ 23 h 98"/>
                <a:gd name="T14" fmla="*/ 7 w 253"/>
                <a:gd name="T15" fmla="*/ 19 h 98"/>
                <a:gd name="T16" fmla="*/ 8 w 253"/>
                <a:gd name="T17" fmla="*/ 7 h 98"/>
                <a:gd name="T18" fmla="*/ 16 w 253"/>
                <a:gd name="T19" fmla="*/ 0 h 98"/>
                <a:gd name="T20" fmla="*/ 121 w 253"/>
                <a:gd name="T21" fmla="*/ 6 h 98"/>
                <a:gd name="T22" fmla="*/ 132 w 253"/>
                <a:gd name="T23" fmla="*/ 12 h 98"/>
                <a:gd name="T24" fmla="*/ 148 w 253"/>
                <a:gd name="T25" fmla="*/ 16 h 98"/>
                <a:gd name="T26" fmla="*/ 163 w 253"/>
                <a:gd name="T27" fmla="*/ 18 h 98"/>
                <a:gd name="T28" fmla="*/ 179 w 253"/>
                <a:gd name="T29" fmla="*/ 17 h 98"/>
                <a:gd name="T30" fmla="*/ 195 w 253"/>
                <a:gd name="T31" fmla="*/ 12 h 98"/>
                <a:gd name="T32" fmla="*/ 212 w 253"/>
                <a:gd name="T33" fmla="*/ 11 h 98"/>
                <a:gd name="T34" fmla="*/ 223 w 253"/>
                <a:gd name="T35" fmla="*/ 14 h 98"/>
                <a:gd name="T36" fmla="*/ 229 w 253"/>
                <a:gd name="T37" fmla="*/ 26 h 98"/>
                <a:gd name="T38" fmla="*/ 241 w 253"/>
                <a:gd name="T39" fmla="*/ 33 h 98"/>
                <a:gd name="T40" fmla="*/ 242 w 253"/>
                <a:gd name="T41" fmla="*/ 42 h 98"/>
                <a:gd name="T42" fmla="*/ 243 w 253"/>
                <a:gd name="T43" fmla="*/ 52 h 98"/>
                <a:gd name="T44" fmla="*/ 244 w 253"/>
                <a:gd name="T45" fmla="*/ 67 h 98"/>
                <a:gd name="T46" fmla="*/ 253 w 253"/>
                <a:gd name="T47" fmla="*/ 76 h 98"/>
                <a:gd name="T48" fmla="*/ 243 w 253"/>
                <a:gd name="T49" fmla="*/ 75 h 98"/>
                <a:gd name="T50" fmla="*/ 227 w 253"/>
                <a:gd name="T51" fmla="*/ 75 h 98"/>
                <a:gd name="T52" fmla="*/ 203 w 253"/>
                <a:gd name="T53" fmla="*/ 79 h 98"/>
                <a:gd name="T54" fmla="*/ 177 w 253"/>
                <a:gd name="T55" fmla="*/ 86 h 98"/>
                <a:gd name="T56" fmla="*/ 154 w 253"/>
                <a:gd name="T57" fmla="*/ 87 h 98"/>
                <a:gd name="T58" fmla="*/ 149 w 253"/>
                <a:gd name="T59" fmla="*/ 93 h 98"/>
                <a:gd name="T60" fmla="*/ 139 w 253"/>
                <a:gd name="T61" fmla="*/ 93 h 98"/>
                <a:gd name="T62" fmla="*/ 137 w 253"/>
                <a:gd name="T63" fmla="*/ 84 h 98"/>
                <a:gd name="T64" fmla="*/ 135 w 253"/>
                <a:gd name="T65" fmla="*/ 87 h 98"/>
                <a:gd name="T66" fmla="*/ 117 w 253"/>
                <a:gd name="T67" fmla="*/ 87 h 98"/>
                <a:gd name="T68" fmla="*/ 108 w 253"/>
                <a:gd name="T69" fmla="*/ 94 h 98"/>
                <a:gd name="T70" fmla="*/ 93 w 253"/>
                <a:gd name="T71" fmla="*/ 91 h 98"/>
                <a:gd name="T72" fmla="*/ 74 w 253"/>
                <a:gd name="T73" fmla="*/ 82 h 98"/>
                <a:gd name="T74" fmla="*/ 67 w 253"/>
                <a:gd name="T75" fmla="*/ 91 h 98"/>
                <a:gd name="T76" fmla="*/ 59 w 253"/>
                <a:gd name="T77" fmla="*/ 94 h 98"/>
                <a:gd name="T78" fmla="*/ 51 w 253"/>
                <a:gd name="T79" fmla="*/ 89 h 98"/>
                <a:gd name="T80" fmla="*/ 47 w 253"/>
                <a:gd name="T81" fmla="*/ 84 h 98"/>
                <a:gd name="T82" fmla="*/ 39 w 253"/>
                <a:gd name="T83" fmla="*/ 82 h 98"/>
                <a:gd name="T84" fmla="*/ 37 w 253"/>
                <a:gd name="T85" fmla="*/ 83 h 98"/>
                <a:gd name="T86" fmla="*/ 30 w 253"/>
                <a:gd name="T87" fmla="*/ 83 h 98"/>
                <a:gd name="T88" fmla="*/ 36 w 253"/>
                <a:gd name="T89" fmla="*/ 80 h 98"/>
                <a:gd name="T90" fmla="*/ 25 w 253"/>
                <a:gd name="T91" fmla="*/ 81 h 98"/>
                <a:gd name="T92" fmla="*/ 29 w 253"/>
                <a:gd name="T93" fmla="*/ 76 h 98"/>
                <a:gd name="T94" fmla="*/ 21 w 253"/>
                <a:gd name="T95" fmla="*/ 69 h 98"/>
                <a:gd name="T96" fmla="*/ 16 w 253"/>
                <a:gd name="T97" fmla="*/ 61 h 98"/>
                <a:gd name="T98" fmla="*/ 13 w 253"/>
                <a:gd name="T99" fmla="*/ 60 h 98"/>
                <a:gd name="T100" fmla="*/ 15 w 253"/>
                <a:gd name="T101" fmla="*/ 56 h 98"/>
                <a:gd name="T102" fmla="*/ 18 w 253"/>
                <a:gd name="T103" fmla="*/ 56 h 98"/>
                <a:gd name="T104" fmla="*/ 17 w 253"/>
                <a:gd name="T105" fmla="*/ 49 h 98"/>
                <a:gd name="T106" fmla="*/ 17 w 253"/>
                <a:gd name="T107" fmla="*/ 39 h 98"/>
                <a:gd name="T108" fmla="*/ 7 w 253"/>
                <a:gd name="T109" fmla="*/ 33 h 98"/>
                <a:gd name="T110" fmla="*/ 21 w 253"/>
                <a:gd name="T111" fmla="*/ 27 h 98"/>
                <a:gd name="T112" fmla="*/ 29 w 253"/>
                <a:gd name="T113" fmla="*/ 25 h 98"/>
                <a:gd name="T114" fmla="*/ 40 w 253"/>
                <a:gd name="T115" fmla="*/ 27 h 98"/>
                <a:gd name="T116" fmla="*/ 47 w 253"/>
                <a:gd name="T117" fmla="*/ 23 h 98"/>
                <a:gd name="T118" fmla="*/ 45 w 253"/>
                <a:gd name="T119" fmla="*/ 20 h 98"/>
                <a:gd name="T120" fmla="*/ 56 w 253"/>
                <a:gd name="T121" fmla="*/ 14 h 98"/>
                <a:gd name="T122" fmla="*/ 74 w 253"/>
                <a:gd name="T123" fmla="*/ 11 h 98"/>
                <a:gd name="T124" fmla="*/ 92 w 253"/>
                <a:gd name="T125" fmla="*/ 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3" h="98">
                  <a:moveTo>
                    <a:pt x="6" y="35"/>
                  </a:moveTo>
                  <a:lnTo>
                    <a:pt x="6" y="37"/>
                  </a:lnTo>
                  <a:lnTo>
                    <a:pt x="4" y="35"/>
                  </a:lnTo>
                  <a:lnTo>
                    <a:pt x="6" y="35"/>
                  </a:lnTo>
                  <a:close/>
                  <a:moveTo>
                    <a:pt x="3" y="31"/>
                  </a:moveTo>
                  <a:lnTo>
                    <a:pt x="4" y="31"/>
                  </a:lnTo>
                  <a:lnTo>
                    <a:pt x="3" y="31"/>
                  </a:lnTo>
                  <a:lnTo>
                    <a:pt x="2" y="31"/>
                  </a:lnTo>
                  <a:lnTo>
                    <a:pt x="1" y="32"/>
                  </a:lnTo>
                  <a:lnTo>
                    <a:pt x="1" y="31"/>
                  </a:lnTo>
                  <a:lnTo>
                    <a:pt x="0" y="31"/>
                  </a:lnTo>
                  <a:lnTo>
                    <a:pt x="1" y="30"/>
                  </a:lnTo>
                  <a:lnTo>
                    <a:pt x="2" y="30"/>
                  </a:lnTo>
                  <a:lnTo>
                    <a:pt x="3" y="30"/>
                  </a:lnTo>
                  <a:lnTo>
                    <a:pt x="3" y="31"/>
                  </a:lnTo>
                  <a:close/>
                  <a:moveTo>
                    <a:pt x="24" y="26"/>
                  </a:moveTo>
                  <a:lnTo>
                    <a:pt x="25" y="26"/>
                  </a:lnTo>
                  <a:lnTo>
                    <a:pt x="24" y="26"/>
                  </a:lnTo>
                  <a:lnTo>
                    <a:pt x="24" y="25"/>
                  </a:lnTo>
                  <a:lnTo>
                    <a:pt x="24" y="26"/>
                  </a:lnTo>
                  <a:close/>
                  <a:moveTo>
                    <a:pt x="24" y="23"/>
                  </a:moveTo>
                  <a:lnTo>
                    <a:pt x="25" y="23"/>
                  </a:lnTo>
                  <a:lnTo>
                    <a:pt x="25" y="24"/>
                  </a:lnTo>
                  <a:lnTo>
                    <a:pt x="24" y="24"/>
                  </a:lnTo>
                  <a:lnTo>
                    <a:pt x="23" y="24"/>
                  </a:lnTo>
                  <a:lnTo>
                    <a:pt x="23" y="23"/>
                  </a:lnTo>
                  <a:lnTo>
                    <a:pt x="24" y="23"/>
                  </a:lnTo>
                  <a:close/>
                  <a:moveTo>
                    <a:pt x="17" y="0"/>
                  </a:moveTo>
                  <a:lnTo>
                    <a:pt x="18" y="2"/>
                  </a:lnTo>
                  <a:lnTo>
                    <a:pt x="20" y="2"/>
                  </a:lnTo>
                  <a:lnTo>
                    <a:pt x="20" y="3"/>
                  </a:lnTo>
                  <a:lnTo>
                    <a:pt x="21" y="3"/>
                  </a:lnTo>
                  <a:lnTo>
                    <a:pt x="22" y="3"/>
                  </a:lnTo>
                  <a:lnTo>
                    <a:pt x="22" y="2"/>
                  </a:lnTo>
                  <a:lnTo>
                    <a:pt x="23" y="2"/>
                  </a:lnTo>
                  <a:lnTo>
                    <a:pt x="23" y="3"/>
                  </a:lnTo>
                  <a:lnTo>
                    <a:pt x="24" y="3"/>
                  </a:lnTo>
                  <a:lnTo>
                    <a:pt x="24" y="2"/>
                  </a:lnTo>
                  <a:lnTo>
                    <a:pt x="25" y="2"/>
                  </a:lnTo>
                  <a:lnTo>
                    <a:pt x="26" y="2"/>
                  </a:lnTo>
                  <a:lnTo>
                    <a:pt x="26" y="3"/>
                  </a:lnTo>
                  <a:lnTo>
                    <a:pt x="28" y="3"/>
                  </a:lnTo>
                  <a:lnTo>
                    <a:pt x="26" y="3"/>
                  </a:lnTo>
                  <a:lnTo>
                    <a:pt x="26" y="4"/>
                  </a:lnTo>
                  <a:lnTo>
                    <a:pt x="26" y="5"/>
                  </a:lnTo>
                  <a:lnTo>
                    <a:pt x="28" y="6"/>
                  </a:lnTo>
                  <a:lnTo>
                    <a:pt x="28" y="7"/>
                  </a:lnTo>
                  <a:lnTo>
                    <a:pt x="29" y="7"/>
                  </a:lnTo>
                  <a:lnTo>
                    <a:pt x="29" y="9"/>
                  </a:lnTo>
                  <a:lnTo>
                    <a:pt x="30" y="9"/>
                  </a:lnTo>
                  <a:lnTo>
                    <a:pt x="32" y="10"/>
                  </a:lnTo>
                  <a:lnTo>
                    <a:pt x="35" y="11"/>
                  </a:lnTo>
                  <a:lnTo>
                    <a:pt x="39" y="13"/>
                  </a:lnTo>
                  <a:lnTo>
                    <a:pt x="40" y="13"/>
                  </a:lnTo>
                  <a:lnTo>
                    <a:pt x="42" y="13"/>
                  </a:lnTo>
                  <a:lnTo>
                    <a:pt x="42" y="14"/>
                  </a:lnTo>
                  <a:lnTo>
                    <a:pt x="42" y="16"/>
                  </a:lnTo>
                  <a:lnTo>
                    <a:pt x="42" y="17"/>
                  </a:lnTo>
                  <a:lnTo>
                    <a:pt x="40" y="17"/>
                  </a:lnTo>
                  <a:lnTo>
                    <a:pt x="39" y="18"/>
                  </a:lnTo>
                  <a:lnTo>
                    <a:pt x="38" y="18"/>
                  </a:lnTo>
                  <a:lnTo>
                    <a:pt x="36" y="18"/>
                  </a:lnTo>
                  <a:lnTo>
                    <a:pt x="36" y="17"/>
                  </a:lnTo>
                  <a:lnTo>
                    <a:pt x="35" y="16"/>
                  </a:lnTo>
                  <a:lnTo>
                    <a:pt x="35" y="17"/>
                  </a:lnTo>
                  <a:lnTo>
                    <a:pt x="36" y="17"/>
                  </a:lnTo>
                  <a:lnTo>
                    <a:pt x="35" y="18"/>
                  </a:lnTo>
                  <a:lnTo>
                    <a:pt x="35" y="17"/>
                  </a:lnTo>
                  <a:lnTo>
                    <a:pt x="33" y="17"/>
                  </a:lnTo>
                  <a:lnTo>
                    <a:pt x="32" y="17"/>
                  </a:lnTo>
                  <a:lnTo>
                    <a:pt x="32" y="16"/>
                  </a:lnTo>
                  <a:lnTo>
                    <a:pt x="31" y="16"/>
                  </a:lnTo>
                  <a:lnTo>
                    <a:pt x="30" y="16"/>
                  </a:lnTo>
                  <a:lnTo>
                    <a:pt x="29" y="16"/>
                  </a:lnTo>
                  <a:lnTo>
                    <a:pt x="29" y="17"/>
                  </a:lnTo>
                  <a:lnTo>
                    <a:pt x="28" y="17"/>
                  </a:lnTo>
                  <a:lnTo>
                    <a:pt x="28" y="18"/>
                  </a:lnTo>
                  <a:lnTo>
                    <a:pt x="26" y="18"/>
                  </a:lnTo>
                  <a:lnTo>
                    <a:pt x="26" y="17"/>
                  </a:lnTo>
                  <a:lnTo>
                    <a:pt x="25" y="17"/>
                  </a:lnTo>
                  <a:lnTo>
                    <a:pt x="22" y="18"/>
                  </a:lnTo>
                  <a:lnTo>
                    <a:pt x="22" y="19"/>
                  </a:lnTo>
                  <a:lnTo>
                    <a:pt x="21" y="20"/>
                  </a:lnTo>
                  <a:lnTo>
                    <a:pt x="20" y="21"/>
                  </a:lnTo>
                  <a:lnTo>
                    <a:pt x="18" y="23"/>
                  </a:lnTo>
                  <a:lnTo>
                    <a:pt x="17" y="24"/>
                  </a:lnTo>
                  <a:lnTo>
                    <a:pt x="16" y="24"/>
                  </a:lnTo>
                  <a:lnTo>
                    <a:pt x="15" y="24"/>
                  </a:lnTo>
                  <a:lnTo>
                    <a:pt x="15" y="25"/>
                  </a:lnTo>
                  <a:lnTo>
                    <a:pt x="14" y="25"/>
                  </a:lnTo>
                  <a:lnTo>
                    <a:pt x="13" y="25"/>
                  </a:lnTo>
                  <a:lnTo>
                    <a:pt x="13" y="26"/>
                  </a:lnTo>
                  <a:lnTo>
                    <a:pt x="11" y="26"/>
                  </a:lnTo>
                  <a:lnTo>
                    <a:pt x="11" y="27"/>
                  </a:lnTo>
                  <a:lnTo>
                    <a:pt x="11" y="28"/>
                  </a:lnTo>
                  <a:lnTo>
                    <a:pt x="10" y="28"/>
                  </a:lnTo>
                  <a:lnTo>
                    <a:pt x="10" y="30"/>
                  </a:lnTo>
                  <a:lnTo>
                    <a:pt x="9" y="30"/>
                  </a:lnTo>
                  <a:lnTo>
                    <a:pt x="8" y="30"/>
                  </a:lnTo>
                  <a:lnTo>
                    <a:pt x="9" y="30"/>
                  </a:lnTo>
                  <a:lnTo>
                    <a:pt x="9" y="31"/>
                  </a:lnTo>
                  <a:lnTo>
                    <a:pt x="8" y="31"/>
                  </a:lnTo>
                  <a:lnTo>
                    <a:pt x="8" y="32"/>
                  </a:lnTo>
                  <a:lnTo>
                    <a:pt x="7" y="32"/>
                  </a:lnTo>
                  <a:lnTo>
                    <a:pt x="7" y="31"/>
                  </a:lnTo>
                  <a:lnTo>
                    <a:pt x="8" y="30"/>
                  </a:lnTo>
                  <a:lnTo>
                    <a:pt x="8" y="28"/>
                  </a:lnTo>
                  <a:lnTo>
                    <a:pt x="7" y="28"/>
                  </a:lnTo>
                  <a:lnTo>
                    <a:pt x="7" y="27"/>
                  </a:lnTo>
                  <a:lnTo>
                    <a:pt x="8" y="27"/>
                  </a:lnTo>
                  <a:lnTo>
                    <a:pt x="9" y="26"/>
                  </a:lnTo>
                  <a:lnTo>
                    <a:pt x="10" y="26"/>
                  </a:lnTo>
                  <a:lnTo>
                    <a:pt x="10" y="25"/>
                  </a:lnTo>
                  <a:lnTo>
                    <a:pt x="11" y="25"/>
                  </a:lnTo>
                  <a:lnTo>
                    <a:pt x="13" y="25"/>
                  </a:lnTo>
                  <a:lnTo>
                    <a:pt x="13" y="24"/>
                  </a:lnTo>
                  <a:lnTo>
                    <a:pt x="14" y="24"/>
                  </a:lnTo>
                  <a:lnTo>
                    <a:pt x="14" y="23"/>
                  </a:lnTo>
                  <a:lnTo>
                    <a:pt x="13" y="23"/>
                  </a:lnTo>
                  <a:lnTo>
                    <a:pt x="11" y="23"/>
                  </a:lnTo>
                  <a:lnTo>
                    <a:pt x="10" y="23"/>
                  </a:lnTo>
                  <a:lnTo>
                    <a:pt x="10" y="24"/>
                  </a:lnTo>
                  <a:lnTo>
                    <a:pt x="9" y="24"/>
                  </a:lnTo>
                  <a:lnTo>
                    <a:pt x="8" y="24"/>
                  </a:lnTo>
                  <a:lnTo>
                    <a:pt x="7" y="24"/>
                  </a:lnTo>
                  <a:lnTo>
                    <a:pt x="4" y="24"/>
                  </a:lnTo>
                  <a:lnTo>
                    <a:pt x="4" y="23"/>
                  </a:lnTo>
                  <a:lnTo>
                    <a:pt x="4" y="21"/>
                  </a:lnTo>
                  <a:lnTo>
                    <a:pt x="3" y="21"/>
                  </a:lnTo>
                  <a:lnTo>
                    <a:pt x="4" y="21"/>
                  </a:lnTo>
                  <a:lnTo>
                    <a:pt x="4" y="20"/>
                  </a:lnTo>
                  <a:lnTo>
                    <a:pt x="6" y="20"/>
                  </a:lnTo>
                  <a:lnTo>
                    <a:pt x="6" y="19"/>
                  </a:lnTo>
                  <a:lnTo>
                    <a:pt x="6" y="18"/>
                  </a:lnTo>
                  <a:lnTo>
                    <a:pt x="7" y="18"/>
                  </a:lnTo>
                  <a:lnTo>
                    <a:pt x="7" y="19"/>
                  </a:lnTo>
                  <a:lnTo>
                    <a:pt x="7" y="18"/>
                  </a:lnTo>
                  <a:lnTo>
                    <a:pt x="7" y="17"/>
                  </a:lnTo>
                  <a:lnTo>
                    <a:pt x="8" y="17"/>
                  </a:lnTo>
                  <a:lnTo>
                    <a:pt x="7" y="17"/>
                  </a:lnTo>
                  <a:lnTo>
                    <a:pt x="7" y="16"/>
                  </a:lnTo>
                  <a:lnTo>
                    <a:pt x="7" y="14"/>
                  </a:lnTo>
                  <a:lnTo>
                    <a:pt x="7" y="13"/>
                  </a:lnTo>
                  <a:lnTo>
                    <a:pt x="8" y="13"/>
                  </a:lnTo>
                  <a:lnTo>
                    <a:pt x="8" y="12"/>
                  </a:lnTo>
                  <a:lnTo>
                    <a:pt x="9" y="12"/>
                  </a:lnTo>
                  <a:lnTo>
                    <a:pt x="10" y="12"/>
                  </a:lnTo>
                  <a:lnTo>
                    <a:pt x="10" y="11"/>
                  </a:lnTo>
                  <a:lnTo>
                    <a:pt x="10" y="10"/>
                  </a:lnTo>
                  <a:lnTo>
                    <a:pt x="9" y="10"/>
                  </a:lnTo>
                  <a:lnTo>
                    <a:pt x="9" y="9"/>
                  </a:lnTo>
                  <a:lnTo>
                    <a:pt x="9" y="7"/>
                  </a:lnTo>
                  <a:lnTo>
                    <a:pt x="8" y="7"/>
                  </a:lnTo>
                  <a:lnTo>
                    <a:pt x="8" y="6"/>
                  </a:lnTo>
                  <a:lnTo>
                    <a:pt x="7" y="6"/>
                  </a:lnTo>
                  <a:lnTo>
                    <a:pt x="6" y="6"/>
                  </a:lnTo>
                  <a:lnTo>
                    <a:pt x="6" y="5"/>
                  </a:lnTo>
                  <a:lnTo>
                    <a:pt x="6" y="4"/>
                  </a:lnTo>
                  <a:lnTo>
                    <a:pt x="7" y="4"/>
                  </a:lnTo>
                  <a:lnTo>
                    <a:pt x="8" y="4"/>
                  </a:lnTo>
                  <a:lnTo>
                    <a:pt x="8" y="3"/>
                  </a:lnTo>
                  <a:lnTo>
                    <a:pt x="9" y="2"/>
                  </a:lnTo>
                  <a:lnTo>
                    <a:pt x="10" y="3"/>
                  </a:lnTo>
                  <a:lnTo>
                    <a:pt x="10" y="2"/>
                  </a:lnTo>
                  <a:lnTo>
                    <a:pt x="11" y="2"/>
                  </a:lnTo>
                  <a:lnTo>
                    <a:pt x="13" y="2"/>
                  </a:lnTo>
                  <a:lnTo>
                    <a:pt x="14" y="2"/>
                  </a:lnTo>
                  <a:lnTo>
                    <a:pt x="14" y="0"/>
                  </a:lnTo>
                  <a:lnTo>
                    <a:pt x="15" y="0"/>
                  </a:lnTo>
                  <a:lnTo>
                    <a:pt x="16" y="0"/>
                  </a:lnTo>
                  <a:lnTo>
                    <a:pt x="17" y="0"/>
                  </a:lnTo>
                  <a:close/>
                  <a:moveTo>
                    <a:pt x="115" y="0"/>
                  </a:moveTo>
                  <a:lnTo>
                    <a:pt x="116" y="0"/>
                  </a:lnTo>
                  <a:lnTo>
                    <a:pt x="116" y="2"/>
                  </a:lnTo>
                  <a:lnTo>
                    <a:pt x="117" y="2"/>
                  </a:lnTo>
                  <a:lnTo>
                    <a:pt x="117" y="0"/>
                  </a:lnTo>
                  <a:lnTo>
                    <a:pt x="118" y="2"/>
                  </a:lnTo>
                  <a:lnTo>
                    <a:pt x="117" y="2"/>
                  </a:lnTo>
                  <a:lnTo>
                    <a:pt x="116" y="2"/>
                  </a:lnTo>
                  <a:lnTo>
                    <a:pt x="116" y="3"/>
                  </a:lnTo>
                  <a:lnTo>
                    <a:pt x="117" y="3"/>
                  </a:lnTo>
                  <a:lnTo>
                    <a:pt x="117" y="4"/>
                  </a:lnTo>
                  <a:lnTo>
                    <a:pt x="118" y="4"/>
                  </a:lnTo>
                  <a:lnTo>
                    <a:pt x="118" y="5"/>
                  </a:lnTo>
                  <a:lnTo>
                    <a:pt x="120" y="5"/>
                  </a:lnTo>
                  <a:lnTo>
                    <a:pt x="120" y="6"/>
                  </a:lnTo>
                  <a:lnTo>
                    <a:pt x="121" y="6"/>
                  </a:lnTo>
                  <a:lnTo>
                    <a:pt x="122" y="6"/>
                  </a:lnTo>
                  <a:lnTo>
                    <a:pt x="122" y="7"/>
                  </a:lnTo>
                  <a:lnTo>
                    <a:pt x="123" y="7"/>
                  </a:lnTo>
                  <a:lnTo>
                    <a:pt x="124" y="7"/>
                  </a:lnTo>
                  <a:lnTo>
                    <a:pt x="125" y="6"/>
                  </a:lnTo>
                  <a:lnTo>
                    <a:pt x="127" y="6"/>
                  </a:lnTo>
                  <a:lnTo>
                    <a:pt x="128" y="6"/>
                  </a:lnTo>
                  <a:lnTo>
                    <a:pt x="128" y="7"/>
                  </a:lnTo>
                  <a:lnTo>
                    <a:pt x="128" y="6"/>
                  </a:lnTo>
                  <a:lnTo>
                    <a:pt x="129" y="6"/>
                  </a:lnTo>
                  <a:lnTo>
                    <a:pt x="130" y="7"/>
                  </a:lnTo>
                  <a:lnTo>
                    <a:pt x="131" y="7"/>
                  </a:lnTo>
                  <a:lnTo>
                    <a:pt x="131" y="9"/>
                  </a:lnTo>
                  <a:lnTo>
                    <a:pt x="131" y="10"/>
                  </a:lnTo>
                  <a:lnTo>
                    <a:pt x="131" y="11"/>
                  </a:lnTo>
                  <a:lnTo>
                    <a:pt x="132" y="11"/>
                  </a:lnTo>
                  <a:lnTo>
                    <a:pt x="132" y="12"/>
                  </a:lnTo>
                  <a:lnTo>
                    <a:pt x="134" y="12"/>
                  </a:lnTo>
                  <a:lnTo>
                    <a:pt x="135" y="13"/>
                  </a:lnTo>
                  <a:lnTo>
                    <a:pt x="136" y="13"/>
                  </a:lnTo>
                  <a:lnTo>
                    <a:pt x="137" y="13"/>
                  </a:lnTo>
                  <a:lnTo>
                    <a:pt x="137" y="12"/>
                  </a:lnTo>
                  <a:lnTo>
                    <a:pt x="137" y="11"/>
                  </a:lnTo>
                  <a:lnTo>
                    <a:pt x="138" y="11"/>
                  </a:lnTo>
                  <a:lnTo>
                    <a:pt x="139" y="11"/>
                  </a:lnTo>
                  <a:lnTo>
                    <a:pt x="141" y="12"/>
                  </a:lnTo>
                  <a:lnTo>
                    <a:pt x="143" y="12"/>
                  </a:lnTo>
                  <a:lnTo>
                    <a:pt x="143" y="13"/>
                  </a:lnTo>
                  <a:lnTo>
                    <a:pt x="143" y="14"/>
                  </a:lnTo>
                  <a:lnTo>
                    <a:pt x="144" y="14"/>
                  </a:lnTo>
                  <a:lnTo>
                    <a:pt x="145" y="14"/>
                  </a:lnTo>
                  <a:lnTo>
                    <a:pt x="146" y="14"/>
                  </a:lnTo>
                  <a:lnTo>
                    <a:pt x="146" y="16"/>
                  </a:lnTo>
                  <a:lnTo>
                    <a:pt x="148" y="16"/>
                  </a:lnTo>
                  <a:lnTo>
                    <a:pt x="149" y="16"/>
                  </a:lnTo>
                  <a:lnTo>
                    <a:pt x="150" y="17"/>
                  </a:lnTo>
                  <a:lnTo>
                    <a:pt x="151" y="17"/>
                  </a:lnTo>
                  <a:lnTo>
                    <a:pt x="151" y="16"/>
                  </a:lnTo>
                  <a:lnTo>
                    <a:pt x="152" y="16"/>
                  </a:lnTo>
                  <a:lnTo>
                    <a:pt x="153" y="16"/>
                  </a:lnTo>
                  <a:lnTo>
                    <a:pt x="153" y="17"/>
                  </a:lnTo>
                  <a:lnTo>
                    <a:pt x="154" y="17"/>
                  </a:lnTo>
                  <a:lnTo>
                    <a:pt x="154" y="18"/>
                  </a:lnTo>
                  <a:lnTo>
                    <a:pt x="156" y="17"/>
                  </a:lnTo>
                  <a:lnTo>
                    <a:pt x="156" y="18"/>
                  </a:lnTo>
                  <a:lnTo>
                    <a:pt x="158" y="18"/>
                  </a:lnTo>
                  <a:lnTo>
                    <a:pt x="159" y="18"/>
                  </a:lnTo>
                  <a:lnTo>
                    <a:pt x="160" y="18"/>
                  </a:lnTo>
                  <a:lnTo>
                    <a:pt x="161" y="18"/>
                  </a:lnTo>
                  <a:lnTo>
                    <a:pt x="163" y="19"/>
                  </a:lnTo>
                  <a:lnTo>
                    <a:pt x="163" y="18"/>
                  </a:lnTo>
                  <a:lnTo>
                    <a:pt x="164" y="18"/>
                  </a:lnTo>
                  <a:lnTo>
                    <a:pt x="165" y="18"/>
                  </a:lnTo>
                  <a:lnTo>
                    <a:pt x="166" y="18"/>
                  </a:lnTo>
                  <a:lnTo>
                    <a:pt x="166" y="17"/>
                  </a:lnTo>
                  <a:lnTo>
                    <a:pt x="167" y="17"/>
                  </a:lnTo>
                  <a:lnTo>
                    <a:pt x="170" y="17"/>
                  </a:lnTo>
                  <a:lnTo>
                    <a:pt x="171" y="17"/>
                  </a:lnTo>
                  <a:lnTo>
                    <a:pt x="171" y="16"/>
                  </a:lnTo>
                  <a:lnTo>
                    <a:pt x="172" y="16"/>
                  </a:lnTo>
                  <a:lnTo>
                    <a:pt x="172" y="17"/>
                  </a:lnTo>
                  <a:lnTo>
                    <a:pt x="173" y="16"/>
                  </a:lnTo>
                  <a:lnTo>
                    <a:pt x="174" y="16"/>
                  </a:lnTo>
                  <a:lnTo>
                    <a:pt x="175" y="16"/>
                  </a:lnTo>
                  <a:lnTo>
                    <a:pt x="175" y="17"/>
                  </a:lnTo>
                  <a:lnTo>
                    <a:pt x="177" y="17"/>
                  </a:lnTo>
                  <a:lnTo>
                    <a:pt x="178" y="17"/>
                  </a:lnTo>
                  <a:lnTo>
                    <a:pt x="179" y="17"/>
                  </a:lnTo>
                  <a:lnTo>
                    <a:pt x="180" y="18"/>
                  </a:lnTo>
                  <a:lnTo>
                    <a:pt x="181" y="18"/>
                  </a:lnTo>
                  <a:lnTo>
                    <a:pt x="182" y="18"/>
                  </a:lnTo>
                  <a:lnTo>
                    <a:pt x="184" y="18"/>
                  </a:lnTo>
                  <a:lnTo>
                    <a:pt x="185" y="18"/>
                  </a:lnTo>
                  <a:lnTo>
                    <a:pt x="186" y="18"/>
                  </a:lnTo>
                  <a:lnTo>
                    <a:pt x="187" y="17"/>
                  </a:lnTo>
                  <a:lnTo>
                    <a:pt x="188" y="17"/>
                  </a:lnTo>
                  <a:lnTo>
                    <a:pt x="189" y="17"/>
                  </a:lnTo>
                  <a:lnTo>
                    <a:pt x="189" y="16"/>
                  </a:lnTo>
                  <a:lnTo>
                    <a:pt x="191" y="16"/>
                  </a:lnTo>
                  <a:lnTo>
                    <a:pt x="191" y="14"/>
                  </a:lnTo>
                  <a:lnTo>
                    <a:pt x="192" y="14"/>
                  </a:lnTo>
                  <a:lnTo>
                    <a:pt x="193" y="14"/>
                  </a:lnTo>
                  <a:lnTo>
                    <a:pt x="194" y="13"/>
                  </a:lnTo>
                  <a:lnTo>
                    <a:pt x="195" y="13"/>
                  </a:lnTo>
                  <a:lnTo>
                    <a:pt x="195" y="12"/>
                  </a:lnTo>
                  <a:lnTo>
                    <a:pt x="196" y="12"/>
                  </a:lnTo>
                  <a:lnTo>
                    <a:pt x="198" y="12"/>
                  </a:lnTo>
                  <a:lnTo>
                    <a:pt x="198" y="11"/>
                  </a:lnTo>
                  <a:lnTo>
                    <a:pt x="199" y="11"/>
                  </a:lnTo>
                  <a:lnTo>
                    <a:pt x="199" y="10"/>
                  </a:lnTo>
                  <a:lnTo>
                    <a:pt x="200" y="10"/>
                  </a:lnTo>
                  <a:lnTo>
                    <a:pt x="200" y="9"/>
                  </a:lnTo>
                  <a:lnTo>
                    <a:pt x="201" y="10"/>
                  </a:lnTo>
                  <a:lnTo>
                    <a:pt x="202" y="10"/>
                  </a:lnTo>
                  <a:lnTo>
                    <a:pt x="203" y="10"/>
                  </a:lnTo>
                  <a:lnTo>
                    <a:pt x="203" y="11"/>
                  </a:lnTo>
                  <a:lnTo>
                    <a:pt x="205" y="10"/>
                  </a:lnTo>
                  <a:lnTo>
                    <a:pt x="206" y="10"/>
                  </a:lnTo>
                  <a:lnTo>
                    <a:pt x="207" y="10"/>
                  </a:lnTo>
                  <a:lnTo>
                    <a:pt x="208" y="10"/>
                  </a:lnTo>
                  <a:lnTo>
                    <a:pt x="209" y="10"/>
                  </a:lnTo>
                  <a:lnTo>
                    <a:pt x="212" y="11"/>
                  </a:lnTo>
                  <a:lnTo>
                    <a:pt x="213" y="10"/>
                  </a:lnTo>
                  <a:lnTo>
                    <a:pt x="213" y="9"/>
                  </a:lnTo>
                  <a:lnTo>
                    <a:pt x="214" y="9"/>
                  </a:lnTo>
                  <a:lnTo>
                    <a:pt x="214" y="7"/>
                  </a:lnTo>
                  <a:lnTo>
                    <a:pt x="216" y="9"/>
                  </a:lnTo>
                  <a:lnTo>
                    <a:pt x="215" y="10"/>
                  </a:lnTo>
                  <a:lnTo>
                    <a:pt x="216" y="10"/>
                  </a:lnTo>
                  <a:lnTo>
                    <a:pt x="217" y="10"/>
                  </a:lnTo>
                  <a:lnTo>
                    <a:pt x="218" y="10"/>
                  </a:lnTo>
                  <a:lnTo>
                    <a:pt x="218" y="11"/>
                  </a:lnTo>
                  <a:lnTo>
                    <a:pt x="220" y="12"/>
                  </a:lnTo>
                  <a:lnTo>
                    <a:pt x="221" y="12"/>
                  </a:lnTo>
                  <a:lnTo>
                    <a:pt x="222" y="12"/>
                  </a:lnTo>
                  <a:lnTo>
                    <a:pt x="221" y="13"/>
                  </a:lnTo>
                  <a:lnTo>
                    <a:pt x="222" y="13"/>
                  </a:lnTo>
                  <a:lnTo>
                    <a:pt x="222" y="14"/>
                  </a:lnTo>
                  <a:lnTo>
                    <a:pt x="223" y="14"/>
                  </a:lnTo>
                  <a:lnTo>
                    <a:pt x="224" y="14"/>
                  </a:lnTo>
                  <a:lnTo>
                    <a:pt x="225" y="14"/>
                  </a:lnTo>
                  <a:lnTo>
                    <a:pt x="225" y="16"/>
                  </a:lnTo>
                  <a:lnTo>
                    <a:pt x="225" y="17"/>
                  </a:lnTo>
                  <a:lnTo>
                    <a:pt x="227" y="17"/>
                  </a:lnTo>
                  <a:lnTo>
                    <a:pt x="228" y="18"/>
                  </a:lnTo>
                  <a:lnTo>
                    <a:pt x="229" y="19"/>
                  </a:lnTo>
                  <a:lnTo>
                    <a:pt x="229" y="20"/>
                  </a:lnTo>
                  <a:lnTo>
                    <a:pt x="230" y="20"/>
                  </a:lnTo>
                  <a:lnTo>
                    <a:pt x="230" y="21"/>
                  </a:lnTo>
                  <a:lnTo>
                    <a:pt x="230" y="23"/>
                  </a:lnTo>
                  <a:lnTo>
                    <a:pt x="230" y="24"/>
                  </a:lnTo>
                  <a:lnTo>
                    <a:pt x="230" y="25"/>
                  </a:lnTo>
                  <a:lnTo>
                    <a:pt x="229" y="25"/>
                  </a:lnTo>
                  <a:lnTo>
                    <a:pt x="230" y="25"/>
                  </a:lnTo>
                  <a:lnTo>
                    <a:pt x="229" y="25"/>
                  </a:lnTo>
                  <a:lnTo>
                    <a:pt x="229" y="26"/>
                  </a:lnTo>
                  <a:lnTo>
                    <a:pt x="230" y="26"/>
                  </a:lnTo>
                  <a:lnTo>
                    <a:pt x="230" y="27"/>
                  </a:lnTo>
                  <a:lnTo>
                    <a:pt x="229" y="27"/>
                  </a:lnTo>
                  <a:lnTo>
                    <a:pt x="230" y="27"/>
                  </a:lnTo>
                  <a:lnTo>
                    <a:pt x="230" y="28"/>
                  </a:lnTo>
                  <a:lnTo>
                    <a:pt x="231" y="28"/>
                  </a:lnTo>
                  <a:lnTo>
                    <a:pt x="231" y="30"/>
                  </a:lnTo>
                  <a:lnTo>
                    <a:pt x="231" y="31"/>
                  </a:lnTo>
                  <a:lnTo>
                    <a:pt x="231" y="32"/>
                  </a:lnTo>
                  <a:lnTo>
                    <a:pt x="232" y="32"/>
                  </a:lnTo>
                  <a:lnTo>
                    <a:pt x="235" y="33"/>
                  </a:lnTo>
                  <a:lnTo>
                    <a:pt x="236" y="33"/>
                  </a:lnTo>
                  <a:lnTo>
                    <a:pt x="237" y="32"/>
                  </a:lnTo>
                  <a:lnTo>
                    <a:pt x="237" y="33"/>
                  </a:lnTo>
                  <a:lnTo>
                    <a:pt x="238" y="32"/>
                  </a:lnTo>
                  <a:lnTo>
                    <a:pt x="239" y="32"/>
                  </a:lnTo>
                  <a:lnTo>
                    <a:pt x="241" y="33"/>
                  </a:lnTo>
                  <a:lnTo>
                    <a:pt x="242" y="33"/>
                  </a:lnTo>
                  <a:lnTo>
                    <a:pt x="243" y="34"/>
                  </a:lnTo>
                  <a:lnTo>
                    <a:pt x="243" y="35"/>
                  </a:lnTo>
                  <a:lnTo>
                    <a:pt x="244" y="35"/>
                  </a:lnTo>
                  <a:lnTo>
                    <a:pt x="245" y="37"/>
                  </a:lnTo>
                  <a:lnTo>
                    <a:pt x="246" y="38"/>
                  </a:lnTo>
                  <a:lnTo>
                    <a:pt x="246" y="39"/>
                  </a:lnTo>
                  <a:lnTo>
                    <a:pt x="248" y="39"/>
                  </a:lnTo>
                  <a:lnTo>
                    <a:pt x="246" y="38"/>
                  </a:lnTo>
                  <a:lnTo>
                    <a:pt x="245" y="38"/>
                  </a:lnTo>
                  <a:lnTo>
                    <a:pt x="244" y="37"/>
                  </a:lnTo>
                  <a:lnTo>
                    <a:pt x="243" y="38"/>
                  </a:lnTo>
                  <a:lnTo>
                    <a:pt x="243" y="39"/>
                  </a:lnTo>
                  <a:lnTo>
                    <a:pt x="242" y="40"/>
                  </a:lnTo>
                  <a:lnTo>
                    <a:pt x="243" y="40"/>
                  </a:lnTo>
                  <a:lnTo>
                    <a:pt x="243" y="41"/>
                  </a:lnTo>
                  <a:lnTo>
                    <a:pt x="242" y="42"/>
                  </a:lnTo>
                  <a:lnTo>
                    <a:pt x="241" y="42"/>
                  </a:lnTo>
                  <a:lnTo>
                    <a:pt x="239" y="42"/>
                  </a:lnTo>
                  <a:lnTo>
                    <a:pt x="238" y="42"/>
                  </a:lnTo>
                  <a:lnTo>
                    <a:pt x="237" y="42"/>
                  </a:lnTo>
                  <a:lnTo>
                    <a:pt x="238" y="42"/>
                  </a:lnTo>
                  <a:lnTo>
                    <a:pt x="238" y="44"/>
                  </a:lnTo>
                  <a:lnTo>
                    <a:pt x="238" y="45"/>
                  </a:lnTo>
                  <a:lnTo>
                    <a:pt x="239" y="45"/>
                  </a:lnTo>
                  <a:lnTo>
                    <a:pt x="239" y="46"/>
                  </a:lnTo>
                  <a:lnTo>
                    <a:pt x="241" y="46"/>
                  </a:lnTo>
                  <a:lnTo>
                    <a:pt x="241" y="47"/>
                  </a:lnTo>
                  <a:lnTo>
                    <a:pt x="241" y="48"/>
                  </a:lnTo>
                  <a:lnTo>
                    <a:pt x="241" y="49"/>
                  </a:lnTo>
                  <a:lnTo>
                    <a:pt x="241" y="51"/>
                  </a:lnTo>
                  <a:lnTo>
                    <a:pt x="242" y="51"/>
                  </a:lnTo>
                  <a:lnTo>
                    <a:pt x="243" y="51"/>
                  </a:lnTo>
                  <a:lnTo>
                    <a:pt x="243" y="52"/>
                  </a:lnTo>
                  <a:lnTo>
                    <a:pt x="243" y="53"/>
                  </a:lnTo>
                  <a:lnTo>
                    <a:pt x="243" y="54"/>
                  </a:lnTo>
                  <a:lnTo>
                    <a:pt x="243" y="55"/>
                  </a:lnTo>
                  <a:lnTo>
                    <a:pt x="244" y="56"/>
                  </a:lnTo>
                  <a:lnTo>
                    <a:pt x="244" y="58"/>
                  </a:lnTo>
                  <a:lnTo>
                    <a:pt x="244" y="59"/>
                  </a:lnTo>
                  <a:lnTo>
                    <a:pt x="245" y="59"/>
                  </a:lnTo>
                  <a:lnTo>
                    <a:pt x="246" y="59"/>
                  </a:lnTo>
                  <a:lnTo>
                    <a:pt x="246" y="60"/>
                  </a:lnTo>
                  <a:lnTo>
                    <a:pt x="245" y="60"/>
                  </a:lnTo>
                  <a:lnTo>
                    <a:pt x="245" y="61"/>
                  </a:lnTo>
                  <a:lnTo>
                    <a:pt x="245" y="62"/>
                  </a:lnTo>
                  <a:lnTo>
                    <a:pt x="245" y="63"/>
                  </a:lnTo>
                  <a:lnTo>
                    <a:pt x="244" y="63"/>
                  </a:lnTo>
                  <a:lnTo>
                    <a:pt x="244" y="65"/>
                  </a:lnTo>
                  <a:lnTo>
                    <a:pt x="244" y="66"/>
                  </a:lnTo>
                  <a:lnTo>
                    <a:pt x="244" y="67"/>
                  </a:lnTo>
                  <a:lnTo>
                    <a:pt x="245" y="67"/>
                  </a:lnTo>
                  <a:lnTo>
                    <a:pt x="246" y="67"/>
                  </a:lnTo>
                  <a:lnTo>
                    <a:pt x="248" y="67"/>
                  </a:lnTo>
                  <a:lnTo>
                    <a:pt x="248" y="68"/>
                  </a:lnTo>
                  <a:lnTo>
                    <a:pt x="249" y="68"/>
                  </a:lnTo>
                  <a:lnTo>
                    <a:pt x="250" y="69"/>
                  </a:lnTo>
                  <a:lnTo>
                    <a:pt x="249" y="69"/>
                  </a:lnTo>
                  <a:lnTo>
                    <a:pt x="249" y="70"/>
                  </a:lnTo>
                  <a:lnTo>
                    <a:pt x="250" y="70"/>
                  </a:lnTo>
                  <a:lnTo>
                    <a:pt x="250" y="72"/>
                  </a:lnTo>
                  <a:lnTo>
                    <a:pt x="250" y="73"/>
                  </a:lnTo>
                  <a:lnTo>
                    <a:pt x="250" y="74"/>
                  </a:lnTo>
                  <a:lnTo>
                    <a:pt x="251" y="74"/>
                  </a:lnTo>
                  <a:lnTo>
                    <a:pt x="252" y="74"/>
                  </a:lnTo>
                  <a:lnTo>
                    <a:pt x="252" y="75"/>
                  </a:lnTo>
                  <a:lnTo>
                    <a:pt x="253" y="75"/>
                  </a:lnTo>
                  <a:lnTo>
                    <a:pt x="253" y="76"/>
                  </a:lnTo>
                  <a:lnTo>
                    <a:pt x="253" y="77"/>
                  </a:lnTo>
                  <a:lnTo>
                    <a:pt x="251" y="77"/>
                  </a:lnTo>
                  <a:lnTo>
                    <a:pt x="250" y="77"/>
                  </a:lnTo>
                  <a:lnTo>
                    <a:pt x="250" y="79"/>
                  </a:lnTo>
                  <a:lnTo>
                    <a:pt x="249" y="80"/>
                  </a:lnTo>
                  <a:lnTo>
                    <a:pt x="248" y="80"/>
                  </a:lnTo>
                  <a:lnTo>
                    <a:pt x="248" y="81"/>
                  </a:lnTo>
                  <a:lnTo>
                    <a:pt x="246" y="81"/>
                  </a:lnTo>
                  <a:lnTo>
                    <a:pt x="246" y="80"/>
                  </a:lnTo>
                  <a:lnTo>
                    <a:pt x="246" y="79"/>
                  </a:lnTo>
                  <a:lnTo>
                    <a:pt x="245" y="79"/>
                  </a:lnTo>
                  <a:lnTo>
                    <a:pt x="246" y="79"/>
                  </a:lnTo>
                  <a:lnTo>
                    <a:pt x="246" y="77"/>
                  </a:lnTo>
                  <a:lnTo>
                    <a:pt x="246" y="76"/>
                  </a:lnTo>
                  <a:lnTo>
                    <a:pt x="245" y="76"/>
                  </a:lnTo>
                  <a:lnTo>
                    <a:pt x="244" y="75"/>
                  </a:lnTo>
                  <a:lnTo>
                    <a:pt x="243" y="75"/>
                  </a:lnTo>
                  <a:lnTo>
                    <a:pt x="243" y="76"/>
                  </a:lnTo>
                  <a:lnTo>
                    <a:pt x="242" y="76"/>
                  </a:lnTo>
                  <a:lnTo>
                    <a:pt x="241" y="76"/>
                  </a:lnTo>
                  <a:lnTo>
                    <a:pt x="241" y="77"/>
                  </a:lnTo>
                  <a:lnTo>
                    <a:pt x="241" y="76"/>
                  </a:lnTo>
                  <a:lnTo>
                    <a:pt x="239" y="76"/>
                  </a:lnTo>
                  <a:lnTo>
                    <a:pt x="238" y="76"/>
                  </a:lnTo>
                  <a:lnTo>
                    <a:pt x="237" y="76"/>
                  </a:lnTo>
                  <a:lnTo>
                    <a:pt x="236" y="76"/>
                  </a:lnTo>
                  <a:lnTo>
                    <a:pt x="235" y="75"/>
                  </a:lnTo>
                  <a:lnTo>
                    <a:pt x="234" y="75"/>
                  </a:lnTo>
                  <a:lnTo>
                    <a:pt x="231" y="74"/>
                  </a:lnTo>
                  <a:lnTo>
                    <a:pt x="230" y="75"/>
                  </a:lnTo>
                  <a:lnTo>
                    <a:pt x="229" y="75"/>
                  </a:lnTo>
                  <a:lnTo>
                    <a:pt x="228" y="75"/>
                  </a:lnTo>
                  <a:lnTo>
                    <a:pt x="227" y="74"/>
                  </a:lnTo>
                  <a:lnTo>
                    <a:pt x="227" y="75"/>
                  </a:lnTo>
                  <a:lnTo>
                    <a:pt x="225" y="75"/>
                  </a:lnTo>
                  <a:lnTo>
                    <a:pt x="224" y="77"/>
                  </a:lnTo>
                  <a:lnTo>
                    <a:pt x="223" y="79"/>
                  </a:lnTo>
                  <a:lnTo>
                    <a:pt x="222" y="79"/>
                  </a:lnTo>
                  <a:lnTo>
                    <a:pt x="222" y="77"/>
                  </a:lnTo>
                  <a:lnTo>
                    <a:pt x="222" y="76"/>
                  </a:lnTo>
                  <a:lnTo>
                    <a:pt x="221" y="76"/>
                  </a:lnTo>
                  <a:lnTo>
                    <a:pt x="220" y="76"/>
                  </a:lnTo>
                  <a:lnTo>
                    <a:pt x="220" y="75"/>
                  </a:lnTo>
                  <a:lnTo>
                    <a:pt x="218" y="76"/>
                  </a:lnTo>
                  <a:lnTo>
                    <a:pt x="217" y="77"/>
                  </a:lnTo>
                  <a:lnTo>
                    <a:pt x="216" y="77"/>
                  </a:lnTo>
                  <a:lnTo>
                    <a:pt x="210" y="79"/>
                  </a:lnTo>
                  <a:lnTo>
                    <a:pt x="207" y="80"/>
                  </a:lnTo>
                  <a:lnTo>
                    <a:pt x="207" y="79"/>
                  </a:lnTo>
                  <a:lnTo>
                    <a:pt x="206" y="79"/>
                  </a:lnTo>
                  <a:lnTo>
                    <a:pt x="203" y="79"/>
                  </a:lnTo>
                  <a:lnTo>
                    <a:pt x="201" y="79"/>
                  </a:lnTo>
                  <a:lnTo>
                    <a:pt x="200" y="79"/>
                  </a:lnTo>
                  <a:lnTo>
                    <a:pt x="199" y="80"/>
                  </a:lnTo>
                  <a:lnTo>
                    <a:pt x="198" y="80"/>
                  </a:lnTo>
                  <a:lnTo>
                    <a:pt x="196" y="80"/>
                  </a:lnTo>
                  <a:lnTo>
                    <a:pt x="195" y="81"/>
                  </a:lnTo>
                  <a:lnTo>
                    <a:pt x="194" y="82"/>
                  </a:lnTo>
                  <a:lnTo>
                    <a:pt x="193" y="82"/>
                  </a:lnTo>
                  <a:lnTo>
                    <a:pt x="192" y="83"/>
                  </a:lnTo>
                  <a:lnTo>
                    <a:pt x="189" y="84"/>
                  </a:lnTo>
                  <a:lnTo>
                    <a:pt x="185" y="86"/>
                  </a:lnTo>
                  <a:lnTo>
                    <a:pt x="182" y="86"/>
                  </a:lnTo>
                  <a:lnTo>
                    <a:pt x="181" y="86"/>
                  </a:lnTo>
                  <a:lnTo>
                    <a:pt x="180" y="84"/>
                  </a:lnTo>
                  <a:lnTo>
                    <a:pt x="179" y="84"/>
                  </a:lnTo>
                  <a:lnTo>
                    <a:pt x="179" y="86"/>
                  </a:lnTo>
                  <a:lnTo>
                    <a:pt x="177" y="86"/>
                  </a:lnTo>
                  <a:lnTo>
                    <a:pt x="175" y="86"/>
                  </a:lnTo>
                  <a:lnTo>
                    <a:pt x="174" y="84"/>
                  </a:lnTo>
                  <a:lnTo>
                    <a:pt x="173" y="83"/>
                  </a:lnTo>
                  <a:lnTo>
                    <a:pt x="172" y="82"/>
                  </a:lnTo>
                  <a:lnTo>
                    <a:pt x="170" y="82"/>
                  </a:lnTo>
                  <a:lnTo>
                    <a:pt x="168" y="82"/>
                  </a:lnTo>
                  <a:lnTo>
                    <a:pt x="167" y="82"/>
                  </a:lnTo>
                  <a:lnTo>
                    <a:pt x="166" y="83"/>
                  </a:lnTo>
                  <a:lnTo>
                    <a:pt x="164" y="84"/>
                  </a:lnTo>
                  <a:lnTo>
                    <a:pt x="161" y="84"/>
                  </a:lnTo>
                  <a:lnTo>
                    <a:pt x="160" y="84"/>
                  </a:lnTo>
                  <a:lnTo>
                    <a:pt x="159" y="86"/>
                  </a:lnTo>
                  <a:lnTo>
                    <a:pt x="158" y="86"/>
                  </a:lnTo>
                  <a:lnTo>
                    <a:pt x="157" y="86"/>
                  </a:lnTo>
                  <a:lnTo>
                    <a:pt x="156" y="86"/>
                  </a:lnTo>
                  <a:lnTo>
                    <a:pt x="154" y="86"/>
                  </a:lnTo>
                  <a:lnTo>
                    <a:pt x="154" y="87"/>
                  </a:lnTo>
                  <a:lnTo>
                    <a:pt x="153" y="86"/>
                  </a:lnTo>
                  <a:lnTo>
                    <a:pt x="153" y="84"/>
                  </a:lnTo>
                  <a:lnTo>
                    <a:pt x="152" y="84"/>
                  </a:lnTo>
                  <a:lnTo>
                    <a:pt x="152" y="83"/>
                  </a:lnTo>
                  <a:lnTo>
                    <a:pt x="151" y="83"/>
                  </a:lnTo>
                  <a:lnTo>
                    <a:pt x="149" y="83"/>
                  </a:lnTo>
                  <a:lnTo>
                    <a:pt x="148" y="84"/>
                  </a:lnTo>
                  <a:lnTo>
                    <a:pt x="148" y="86"/>
                  </a:lnTo>
                  <a:lnTo>
                    <a:pt x="148" y="87"/>
                  </a:lnTo>
                  <a:lnTo>
                    <a:pt x="148" y="88"/>
                  </a:lnTo>
                  <a:lnTo>
                    <a:pt x="148" y="89"/>
                  </a:lnTo>
                  <a:lnTo>
                    <a:pt x="148" y="90"/>
                  </a:lnTo>
                  <a:lnTo>
                    <a:pt x="149" y="90"/>
                  </a:lnTo>
                  <a:lnTo>
                    <a:pt x="149" y="91"/>
                  </a:lnTo>
                  <a:lnTo>
                    <a:pt x="150" y="91"/>
                  </a:lnTo>
                  <a:lnTo>
                    <a:pt x="150" y="93"/>
                  </a:lnTo>
                  <a:lnTo>
                    <a:pt x="149" y="93"/>
                  </a:lnTo>
                  <a:lnTo>
                    <a:pt x="148" y="93"/>
                  </a:lnTo>
                  <a:lnTo>
                    <a:pt x="146" y="93"/>
                  </a:lnTo>
                  <a:lnTo>
                    <a:pt x="146" y="94"/>
                  </a:lnTo>
                  <a:lnTo>
                    <a:pt x="146" y="96"/>
                  </a:lnTo>
                  <a:lnTo>
                    <a:pt x="145" y="96"/>
                  </a:lnTo>
                  <a:lnTo>
                    <a:pt x="145" y="97"/>
                  </a:lnTo>
                  <a:lnTo>
                    <a:pt x="144" y="96"/>
                  </a:lnTo>
                  <a:lnTo>
                    <a:pt x="144" y="97"/>
                  </a:lnTo>
                  <a:lnTo>
                    <a:pt x="144" y="98"/>
                  </a:lnTo>
                  <a:lnTo>
                    <a:pt x="143" y="98"/>
                  </a:lnTo>
                  <a:lnTo>
                    <a:pt x="142" y="98"/>
                  </a:lnTo>
                  <a:lnTo>
                    <a:pt x="142" y="97"/>
                  </a:lnTo>
                  <a:lnTo>
                    <a:pt x="141" y="97"/>
                  </a:lnTo>
                  <a:lnTo>
                    <a:pt x="141" y="96"/>
                  </a:lnTo>
                  <a:lnTo>
                    <a:pt x="142" y="96"/>
                  </a:lnTo>
                  <a:lnTo>
                    <a:pt x="141" y="95"/>
                  </a:lnTo>
                  <a:lnTo>
                    <a:pt x="139" y="93"/>
                  </a:lnTo>
                  <a:lnTo>
                    <a:pt x="138" y="91"/>
                  </a:lnTo>
                  <a:lnTo>
                    <a:pt x="138" y="90"/>
                  </a:lnTo>
                  <a:lnTo>
                    <a:pt x="139" y="90"/>
                  </a:lnTo>
                  <a:lnTo>
                    <a:pt x="139" y="89"/>
                  </a:lnTo>
                  <a:lnTo>
                    <a:pt x="141" y="88"/>
                  </a:lnTo>
                  <a:lnTo>
                    <a:pt x="142" y="88"/>
                  </a:lnTo>
                  <a:lnTo>
                    <a:pt x="143" y="87"/>
                  </a:lnTo>
                  <a:lnTo>
                    <a:pt x="143" y="86"/>
                  </a:lnTo>
                  <a:lnTo>
                    <a:pt x="143" y="84"/>
                  </a:lnTo>
                  <a:lnTo>
                    <a:pt x="143" y="83"/>
                  </a:lnTo>
                  <a:lnTo>
                    <a:pt x="142" y="82"/>
                  </a:lnTo>
                  <a:lnTo>
                    <a:pt x="141" y="82"/>
                  </a:lnTo>
                  <a:lnTo>
                    <a:pt x="139" y="81"/>
                  </a:lnTo>
                  <a:lnTo>
                    <a:pt x="139" y="82"/>
                  </a:lnTo>
                  <a:lnTo>
                    <a:pt x="138" y="83"/>
                  </a:lnTo>
                  <a:lnTo>
                    <a:pt x="137" y="83"/>
                  </a:lnTo>
                  <a:lnTo>
                    <a:pt x="137" y="84"/>
                  </a:lnTo>
                  <a:lnTo>
                    <a:pt x="136" y="84"/>
                  </a:lnTo>
                  <a:lnTo>
                    <a:pt x="135" y="84"/>
                  </a:lnTo>
                  <a:lnTo>
                    <a:pt x="135" y="86"/>
                  </a:lnTo>
                  <a:lnTo>
                    <a:pt x="135" y="84"/>
                  </a:lnTo>
                  <a:lnTo>
                    <a:pt x="135" y="86"/>
                  </a:lnTo>
                  <a:lnTo>
                    <a:pt x="135" y="84"/>
                  </a:lnTo>
                  <a:lnTo>
                    <a:pt x="136" y="84"/>
                  </a:lnTo>
                  <a:lnTo>
                    <a:pt x="135" y="84"/>
                  </a:lnTo>
                  <a:lnTo>
                    <a:pt x="136" y="84"/>
                  </a:lnTo>
                  <a:lnTo>
                    <a:pt x="135" y="86"/>
                  </a:lnTo>
                  <a:lnTo>
                    <a:pt x="136" y="86"/>
                  </a:lnTo>
                  <a:lnTo>
                    <a:pt x="136" y="84"/>
                  </a:lnTo>
                  <a:lnTo>
                    <a:pt x="136" y="86"/>
                  </a:lnTo>
                  <a:lnTo>
                    <a:pt x="136" y="87"/>
                  </a:lnTo>
                  <a:lnTo>
                    <a:pt x="135" y="87"/>
                  </a:lnTo>
                  <a:lnTo>
                    <a:pt x="134" y="87"/>
                  </a:lnTo>
                  <a:lnTo>
                    <a:pt x="135" y="87"/>
                  </a:lnTo>
                  <a:lnTo>
                    <a:pt x="134" y="87"/>
                  </a:lnTo>
                  <a:lnTo>
                    <a:pt x="132" y="87"/>
                  </a:lnTo>
                  <a:lnTo>
                    <a:pt x="132" y="88"/>
                  </a:lnTo>
                  <a:lnTo>
                    <a:pt x="131" y="88"/>
                  </a:lnTo>
                  <a:lnTo>
                    <a:pt x="131" y="87"/>
                  </a:lnTo>
                  <a:lnTo>
                    <a:pt x="128" y="86"/>
                  </a:lnTo>
                  <a:lnTo>
                    <a:pt x="128" y="84"/>
                  </a:lnTo>
                  <a:lnTo>
                    <a:pt x="127" y="84"/>
                  </a:lnTo>
                  <a:lnTo>
                    <a:pt x="125" y="84"/>
                  </a:lnTo>
                  <a:lnTo>
                    <a:pt x="125" y="83"/>
                  </a:lnTo>
                  <a:lnTo>
                    <a:pt x="124" y="83"/>
                  </a:lnTo>
                  <a:lnTo>
                    <a:pt x="123" y="83"/>
                  </a:lnTo>
                  <a:lnTo>
                    <a:pt x="122" y="83"/>
                  </a:lnTo>
                  <a:lnTo>
                    <a:pt x="121" y="84"/>
                  </a:lnTo>
                  <a:lnTo>
                    <a:pt x="120" y="86"/>
                  </a:lnTo>
                  <a:lnTo>
                    <a:pt x="118" y="87"/>
                  </a:lnTo>
                  <a:lnTo>
                    <a:pt x="117" y="87"/>
                  </a:lnTo>
                  <a:lnTo>
                    <a:pt x="117" y="88"/>
                  </a:lnTo>
                  <a:lnTo>
                    <a:pt x="117" y="89"/>
                  </a:lnTo>
                  <a:lnTo>
                    <a:pt x="116" y="89"/>
                  </a:lnTo>
                  <a:lnTo>
                    <a:pt x="116" y="90"/>
                  </a:lnTo>
                  <a:lnTo>
                    <a:pt x="115" y="91"/>
                  </a:lnTo>
                  <a:lnTo>
                    <a:pt x="115" y="93"/>
                  </a:lnTo>
                  <a:lnTo>
                    <a:pt x="114" y="93"/>
                  </a:lnTo>
                  <a:lnTo>
                    <a:pt x="114" y="91"/>
                  </a:lnTo>
                  <a:lnTo>
                    <a:pt x="113" y="91"/>
                  </a:lnTo>
                  <a:lnTo>
                    <a:pt x="113" y="93"/>
                  </a:lnTo>
                  <a:lnTo>
                    <a:pt x="111" y="93"/>
                  </a:lnTo>
                  <a:lnTo>
                    <a:pt x="111" y="94"/>
                  </a:lnTo>
                  <a:lnTo>
                    <a:pt x="110" y="94"/>
                  </a:lnTo>
                  <a:lnTo>
                    <a:pt x="110" y="93"/>
                  </a:lnTo>
                  <a:lnTo>
                    <a:pt x="110" y="94"/>
                  </a:lnTo>
                  <a:lnTo>
                    <a:pt x="109" y="94"/>
                  </a:lnTo>
                  <a:lnTo>
                    <a:pt x="108" y="94"/>
                  </a:lnTo>
                  <a:lnTo>
                    <a:pt x="107" y="94"/>
                  </a:lnTo>
                  <a:lnTo>
                    <a:pt x="106" y="94"/>
                  </a:lnTo>
                  <a:lnTo>
                    <a:pt x="104" y="94"/>
                  </a:lnTo>
                  <a:lnTo>
                    <a:pt x="103" y="94"/>
                  </a:lnTo>
                  <a:lnTo>
                    <a:pt x="103" y="95"/>
                  </a:lnTo>
                  <a:lnTo>
                    <a:pt x="102" y="95"/>
                  </a:lnTo>
                  <a:lnTo>
                    <a:pt x="101" y="95"/>
                  </a:lnTo>
                  <a:lnTo>
                    <a:pt x="100" y="95"/>
                  </a:lnTo>
                  <a:lnTo>
                    <a:pt x="100" y="96"/>
                  </a:lnTo>
                  <a:lnTo>
                    <a:pt x="99" y="96"/>
                  </a:lnTo>
                  <a:lnTo>
                    <a:pt x="97" y="95"/>
                  </a:lnTo>
                  <a:lnTo>
                    <a:pt x="96" y="95"/>
                  </a:lnTo>
                  <a:lnTo>
                    <a:pt x="95" y="95"/>
                  </a:lnTo>
                  <a:lnTo>
                    <a:pt x="95" y="94"/>
                  </a:lnTo>
                  <a:lnTo>
                    <a:pt x="94" y="94"/>
                  </a:lnTo>
                  <a:lnTo>
                    <a:pt x="93" y="93"/>
                  </a:lnTo>
                  <a:lnTo>
                    <a:pt x="93" y="91"/>
                  </a:lnTo>
                  <a:lnTo>
                    <a:pt x="92" y="91"/>
                  </a:lnTo>
                  <a:lnTo>
                    <a:pt x="90" y="90"/>
                  </a:lnTo>
                  <a:lnTo>
                    <a:pt x="90" y="89"/>
                  </a:lnTo>
                  <a:lnTo>
                    <a:pt x="89" y="89"/>
                  </a:lnTo>
                  <a:lnTo>
                    <a:pt x="89" y="88"/>
                  </a:lnTo>
                  <a:lnTo>
                    <a:pt x="88" y="88"/>
                  </a:lnTo>
                  <a:lnTo>
                    <a:pt x="88" y="87"/>
                  </a:lnTo>
                  <a:lnTo>
                    <a:pt x="87" y="87"/>
                  </a:lnTo>
                  <a:lnTo>
                    <a:pt x="86" y="87"/>
                  </a:lnTo>
                  <a:lnTo>
                    <a:pt x="85" y="87"/>
                  </a:lnTo>
                  <a:lnTo>
                    <a:pt x="85" y="86"/>
                  </a:lnTo>
                  <a:lnTo>
                    <a:pt x="84" y="86"/>
                  </a:lnTo>
                  <a:lnTo>
                    <a:pt x="82" y="86"/>
                  </a:lnTo>
                  <a:lnTo>
                    <a:pt x="80" y="84"/>
                  </a:lnTo>
                  <a:lnTo>
                    <a:pt x="80" y="83"/>
                  </a:lnTo>
                  <a:lnTo>
                    <a:pt x="79" y="83"/>
                  </a:lnTo>
                  <a:lnTo>
                    <a:pt x="74" y="82"/>
                  </a:lnTo>
                  <a:lnTo>
                    <a:pt x="72" y="82"/>
                  </a:lnTo>
                  <a:lnTo>
                    <a:pt x="71" y="82"/>
                  </a:lnTo>
                  <a:lnTo>
                    <a:pt x="70" y="82"/>
                  </a:lnTo>
                  <a:lnTo>
                    <a:pt x="70" y="83"/>
                  </a:lnTo>
                  <a:lnTo>
                    <a:pt x="70" y="84"/>
                  </a:lnTo>
                  <a:lnTo>
                    <a:pt x="70" y="86"/>
                  </a:lnTo>
                  <a:lnTo>
                    <a:pt x="70" y="87"/>
                  </a:lnTo>
                  <a:lnTo>
                    <a:pt x="70" y="88"/>
                  </a:lnTo>
                  <a:lnTo>
                    <a:pt x="68" y="88"/>
                  </a:lnTo>
                  <a:lnTo>
                    <a:pt x="68" y="89"/>
                  </a:lnTo>
                  <a:lnTo>
                    <a:pt x="68" y="90"/>
                  </a:lnTo>
                  <a:lnTo>
                    <a:pt x="70" y="90"/>
                  </a:lnTo>
                  <a:lnTo>
                    <a:pt x="70" y="91"/>
                  </a:lnTo>
                  <a:lnTo>
                    <a:pt x="68" y="91"/>
                  </a:lnTo>
                  <a:lnTo>
                    <a:pt x="68" y="93"/>
                  </a:lnTo>
                  <a:lnTo>
                    <a:pt x="67" y="93"/>
                  </a:lnTo>
                  <a:lnTo>
                    <a:pt x="67" y="91"/>
                  </a:lnTo>
                  <a:lnTo>
                    <a:pt x="66" y="91"/>
                  </a:lnTo>
                  <a:lnTo>
                    <a:pt x="65" y="91"/>
                  </a:lnTo>
                  <a:lnTo>
                    <a:pt x="64" y="91"/>
                  </a:lnTo>
                  <a:lnTo>
                    <a:pt x="64" y="93"/>
                  </a:lnTo>
                  <a:lnTo>
                    <a:pt x="64" y="91"/>
                  </a:lnTo>
                  <a:lnTo>
                    <a:pt x="64" y="93"/>
                  </a:lnTo>
                  <a:lnTo>
                    <a:pt x="64" y="91"/>
                  </a:lnTo>
                  <a:lnTo>
                    <a:pt x="63" y="91"/>
                  </a:lnTo>
                  <a:lnTo>
                    <a:pt x="64" y="91"/>
                  </a:lnTo>
                  <a:lnTo>
                    <a:pt x="64" y="93"/>
                  </a:lnTo>
                  <a:lnTo>
                    <a:pt x="63" y="93"/>
                  </a:lnTo>
                  <a:lnTo>
                    <a:pt x="61" y="93"/>
                  </a:lnTo>
                  <a:lnTo>
                    <a:pt x="60" y="93"/>
                  </a:lnTo>
                  <a:lnTo>
                    <a:pt x="60" y="94"/>
                  </a:lnTo>
                  <a:lnTo>
                    <a:pt x="59" y="94"/>
                  </a:lnTo>
                  <a:lnTo>
                    <a:pt x="60" y="94"/>
                  </a:lnTo>
                  <a:lnTo>
                    <a:pt x="59" y="94"/>
                  </a:lnTo>
                  <a:lnTo>
                    <a:pt x="58" y="94"/>
                  </a:lnTo>
                  <a:lnTo>
                    <a:pt x="58" y="93"/>
                  </a:lnTo>
                  <a:lnTo>
                    <a:pt x="57" y="93"/>
                  </a:lnTo>
                  <a:lnTo>
                    <a:pt x="58" y="93"/>
                  </a:lnTo>
                  <a:lnTo>
                    <a:pt x="57" y="93"/>
                  </a:lnTo>
                  <a:lnTo>
                    <a:pt x="56" y="93"/>
                  </a:lnTo>
                  <a:lnTo>
                    <a:pt x="54" y="93"/>
                  </a:lnTo>
                  <a:lnTo>
                    <a:pt x="54" y="91"/>
                  </a:lnTo>
                  <a:lnTo>
                    <a:pt x="54" y="93"/>
                  </a:lnTo>
                  <a:lnTo>
                    <a:pt x="53" y="93"/>
                  </a:lnTo>
                  <a:lnTo>
                    <a:pt x="53" y="91"/>
                  </a:lnTo>
                  <a:lnTo>
                    <a:pt x="53" y="93"/>
                  </a:lnTo>
                  <a:lnTo>
                    <a:pt x="53" y="91"/>
                  </a:lnTo>
                  <a:lnTo>
                    <a:pt x="52" y="91"/>
                  </a:lnTo>
                  <a:lnTo>
                    <a:pt x="52" y="90"/>
                  </a:lnTo>
                  <a:lnTo>
                    <a:pt x="51" y="90"/>
                  </a:lnTo>
                  <a:lnTo>
                    <a:pt x="51" y="89"/>
                  </a:lnTo>
                  <a:lnTo>
                    <a:pt x="50" y="88"/>
                  </a:lnTo>
                  <a:lnTo>
                    <a:pt x="51" y="88"/>
                  </a:lnTo>
                  <a:lnTo>
                    <a:pt x="51" y="87"/>
                  </a:lnTo>
                  <a:lnTo>
                    <a:pt x="50" y="88"/>
                  </a:lnTo>
                  <a:lnTo>
                    <a:pt x="50" y="87"/>
                  </a:lnTo>
                  <a:lnTo>
                    <a:pt x="50" y="88"/>
                  </a:lnTo>
                  <a:lnTo>
                    <a:pt x="49" y="88"/>
                  </a:lnTo>
                  <a:lnTo>
                    <a:pt x="50" y="87"/>
                  </a:lnTo>
                  <a:lnTo>
                    <a:pt x="49" y="87"/>
                  </a:lnTo>
                  <a:lnTo>
                    <a:pt x="50" y="87"/>
                  </a:lnTo>
                  <a:lnTo>
                    <a:pt x="50" y="86"/>
                  </a:lnTo>
                  <a:lnTo>
                    <a:pt x="50" y="87"/>
                  </a:lnTo>
                  <a:lnTo>
                    <a:pt x="50" y="86"/>
                  </a:lnTo>
                  <a:lnTo>
                    <a:pt x="51" y="86"/>
                  </a:lnTo>
                  <a:lnTo>
                    <a:pt x="50" y="86"/>
                  </a:lnTo>
                  <a:lnTo>
                    <a:pt x="49" y="84"/>
                  </a:lnTo>
                  <a:lnTo>
                    <a:pt x="47" y="84"/>
                  </a:lnTo>
                  <a:lnTo>
                    <a:pt x="47" y="86"/>
                  </a:lnTo>
                  <a:lnTo>
                    <a:pt x="46" y="86"/>
                  </a:lnTo>
                  <a:lnTo>
                    <a:pt x="47" y="86"/>
                  </a:lnTo>
                  <a:lnTo>
                    <a:pt x="47" y="87"/>
                  </a:lnTo>
                  <a:lnTo>
                    <a:pt x="46" y="87"/>
                  </a:lnTo>
                  <a:lnTo>
                    <a:pt x="46" y="86"/>
                  </a:lnTo>
                  <a:lnTo>
                    <a:pt x="45" y="84"/>
                  </a:lnTo>
                  <a:lnTo>
                    <a:pt x="44" y="86"/>
                  </a:lnTo>
                  <a:lnTo>
                    <a:pt x="44" y="84"/>
                  </a:lnTo>
                  <a:lnTo>
                    <a:pt x="44" y="83"/>
                  </a:lnTo>
                  <a:lnTo>
                    <a:pt x="43" y="83"/>
                  </a:lnTo>
                  <a:lnTo>
                    <a:pt x="42" y="83"/>
                  </a:lnTo>
                  <a:lnTo>
                    <a:pt x="42" y="82"/>
                  </a:lnTo>
                  <a:lnTo>
                    <a:pt x="40" y="82"/>
                  </a:lnTo>
                  <a:lnTo>
                    <a:pt x="40" y="83"/>
                  </a:lnTo>
                  <a:lnTo>
                    <a:pt x="39" y="83"/>
                  </a:lnTo>
                  <a:lnTo>
                    <a:pt x="39" y="82"/>
                  </a:lnTo>
                  <a:lnTo>
                    <a:pt x="38" y="83"/>
                  </a:lnTo>
                  <a:lnTo>
                    <a:pt x="39" y="83"/>
                  </a:lnTo>
                  <a:lnTo>
                    <a:pt x="39" y="84"/>
                  </a:lnTo>
                  <a:lnTo>
                    <a:pt x="38" y="84"/>
                  </a:lnTo>
                  <a:lnTo>
                    <a:pt x="39" y="84"/>
                  </a:lnTo>
                  <a:lnTo>
                    <a:pt x="38" y="86"/>
                  </a:lnTo>
                  <a:lnTo>
                    <a:pt x="37" y="86"/>
                  </a:lnTo>
                  <a:lnTo>
                    <a:pt x="37" y="87"/>
                  </a:lnTo>
                  <a:lnTo>
                    <a:pt x="36" y="87"/>
                  </a:lnTo>
                  <a:lnTo>
                    <a:pt x="37" y="87"/>
                  </a:lnTo>
                  <a:lnTo>
                    <a:pt x="37" y="86"/>
                  </a:lnTo>
                  <a:lnTo>
                    <a:pt x="36" y="86"/>
                  </a:lnTo>
                  <a:lnTo>
                    <a:pt x="37" y="86"/>
                  </a:lnTo>
                  <a:lnTo>
                    <a:pt x="36" y="86"/>
                  </a:lnTo>
                  <a:lnTo>
                    <a:pt x="36" y="84"/>
                  </a:lnTo>
                  <a:lnTo>
                    <a:pt x="37" y="84"/>
                  </a:lnTo>
                  <a:lnTo>
                    <a:pt x="37" y="83"/>
                  </a:lnTo>
                  <a:lnTo>
                    <a:pt x="37" y="84"/>
                  </a:lnTo>
                  <a:lnTo>
                    <a:pt x="37" y="83"/>
                  </a:lnTo>
                  <a:lnTo>
                    <a:pt x="36" y="84"/>
                  </a:lnTo>
                  <a:lnTo>
                    <a:pt x="36" y="83"/>
                  </a:lnTo>
                  <a:lnTo>
                    <a:pt x="36" y="84"/>
                  </a:lnTo>
                  <a:lnTo>
                    <a:pt x="35" y="84"/>
                  </a:lnTo>
                  <a:lnTo>
                    <a:pt x="33" y="84"/>
                  </a:lnTo>
                  <a:lnTo>
                    <a:pt x="32" y="84"/>
                  </a:lnTo>
                  <a:lnTo>
                    <a:pt x="31" y="84"/>
                  </a:lnTo>
                  <a:lnTo>
                    <a:pt x="31" y="86"/>
                  </a:lnTo>
                  <a:lnTo>
                    <a:pt x="30" y="86"/>
                  </a:lnTo>
                  <a:lnTo>
                    <a:pt x="29" y="86"/>
                  </a:lnTo>
                  <a:lnTo>
                    <a:pt x="28" y="86"/>
                  </a:lnTo>
                  <a:lnTo>
                    <a:pt x="28" y="84"/>
                  </a:lnTo>
                  <a:lnTo>
                    <a:pt x="29" y="84"/>
                  </a:lnTo>
                  <a:lnTo>
                    <a:pt x="30" y="84"/>
                  </a:lnTo>
                  <a:lnTo>
                    <a:pt x="30" y="83"/>
                  </a:lnTo>
                  <a:lnTo>
                    <a:pt x="31" y="83"/>
                  </a:lnTo>
                  <a:lnTo>
                    <a:pt x="32" y="83"/>
                  </a:lnTo>
                  <a:lnTo>
                    <a:pt x="33" y="83"/>
                  </a:lnTo>
                  <a:lnTo>
                    <a:pt x="35" y="83"/>
                  </a:lnTo>
                  <a:lnTo>
                    <a:pt x="36" y="83"/>
                  </a:lnTo>
                  <a:lnTo>
                    <a:pt x="36" y="82"/>
                  </a:lnTo>
                  <a:lnTo>
                    <a:pt x="36" y="81"/>
                  </a:lnTo>
                  <a:lnTo>
                    <a:pt x="37" y="81"/>
                  </a:lnTo>
                  <a:lnTo>
                    <a:pt x="37" y="82"/>
                  </a:lnTo>
                  <a:lnTo>
                    <a:pt x="37" y="81"/>
                  </a:lnTo>
                  <a:lnTo>
                    <a:pt x="38" y="81"/>
                  </a:lnTo>
                  <a:lnTo>
                    <a:pt x="38" y="80"/>
                  </a:lnTo>
                  <a:lnTo>
                    <a:pt x="38" y="81"/>
                  </a:lnTo>
                  <a:lnTo>
                    <a:pt x="38" y="80"/>
                  </a:lnTo>
                  <a:lnTo>
                    <a:pt x="39" y="80"/>
                  </a:lnTo>
                  <a:lnTo>
                    <a:pt x="37" y="80"/>
                  </a:lnTo>
                  <a:lnTo>
                    <a:pt x="36" y="80"/>
                  </a:lnTo>
                  <a:lnTo>
                    <a:pt x="35" y="80"/>
                  </a:lnTo>
                  <a:lnTo>
                    <a:pt x="33" y="80"/>
                  </a:lnTo>
                  <a:lnTo>
                    <a:pt x="32" y="80"/>
                  </a:lnTo>
                  <a:lnTo>
                    <a:pt x="31" y="80"/>
                  </a:lnTo>
                  <a:lnTo>
                    <a:pt x="30" y="81"/>
                  </a:lnTo>
                  <a:lnTo>
                    <a:pt x="30" y="80"/>
                  </a:lnTo>
                  <a:lnTo>
                    <a:pt x="30" y="81"/>
                  </a:lnTo>
                  <a:lnTo>
                    <a:pt x="29" y="81"/>
                  </a:lnTo>
                  <a:lnTo>
                    <a:pt x="29" y="80"/>
                  </a:lnTo>
                  <a:lnTo>
                    <a:pt x="29" y="81"/>
                  </a:lnTo>
                  <a:lnTo>
                    <a:pt x="29" y="80"/>
                  </a:lnTo>
                  <a:lnTo>
                    <a:pt x="28" y="80"/>
                  </a:lnTo>
                  <a:lnTo>
                    <a:pt x="26" y="80"/>
                  </a:lnTo>
                  <a:lnTo>
                    <a:pt x="28" y="80"/>
                  </a:lnTo>
                  <a:lnTo>
                    <a:pt x="26" y="80"/>
                  </a:lnTo>
                  <a:lnTo>
                    <a:pt x="26" y="81"/>
                  </a:lnTo>
                  <a:lnTo>
                    <a:pt x="25" y="81"/>
                  </a:lnTo>
                  <a:lnTo>
                    <a:pt x="25" y="80"/>
                  </a:lnTo>
                  <a:lnTo>
                    <a:pt x="25" y="79"/>
                  </a:lnTo>
                  <a:lnTo>
                    <a:pt x="26" y="79"/>
                  </a:lnTo>
                  <a:lnTo>
                    <a:pt x="26" y="77"/>
                  </a:lnTo>
                  <a:lnTo>
                    <a:pt x="26" y="79"/>
                  </a:lnTo>
                  <a:lnTo>
                    <a:pt x="26" y="77"/>
                  </a:lnTo>
                  <a:lnTo>
                    <a:pt x="26" y="79"/>
                  </a:lnTo>
                  <a:lnTo>
                    <a:pt x="28" y="79"/>
                  </a:lnTo>
                  <a:lnTo>
                    <a:pt x="29" y="79"/>
                  </a:lnTo>
                  <a:lnTo>
                    <a:pt x="30" y="79"/>
                  </a:lnTo>
                  <a:lnTo>
                    <a:pt x="29" y="79"/>
                  </a:lnTo>
                  <a:lnTo>
                    <a:pt x="29" y="77"/>
                  </a:lnTo>
                  <a:lnTo>
                    <a:pt x="30" y="77"/>
                  </a:lnTo>
                  <a:lnTo>
                    <a:pt x="29" y="77"/>
                  </a:lnTo>
                  <a:lnTo>
                    <a:pt x="30" y="77"/>
                  </a:lnTo>
                  <a:lnTo>
                    <a:pt x="30" y="76"/>
                  </a:lnTo>
                  <a:lnTo>
                    <a:pt x="29" y="76"/>
                  </a:lnTo>
                  <a:lnTo>
                    <a:pt x="28" y="76"/>
                  </a:lnTo>
                  <a:lnTo>
                    <a:pt x="28" y="75"/>
                  </a:lnTo>
                  <a:lnTo>
                    <a:pt x="26" y="75"/>
                  </a:lnTo>
                  <a:lnTo>
                    <a:pt x="26" y="74"/>
                  </a:lnTo>
                  <a:lnTo>
                    <a:pt x="28" y="74"/>
                  </a:lnTo>
                  <a:lnTo>
                    <a:pt x="26" y="74"/>
                  </a:lnTo>
                  <a:lnTo>
                    <a:pt x="25" y="74"/>
                  </a:lnTo>
                  <a:lnTo>
                    <a:pt x="26" y="75"/>
                  </a:lnTo>
                  <a:lnTo>
                    <a:pt x="25" y="75"/>
                  </a:lnTo>
                  <a:lnTo>
                    <a:pt x="24" y="75"/>
                  </a:lnTo>
                  <a:lnTo>
                    <a:pt x="24" y="74"/>
                  </a:lnTo>
                  <a:lnTo>
                    <a:pt x="24" y="73"/>
                  </a:lnTo>
                  <a:lnTo>
                    <a:pt x="24" y="72"/>
                  </a:lnTo>
                  <a:lnTo>
                    <a:pt x="24" y="70"/>
                  </a:lnTo>
                  <a:lnTo>
                    <a:pt x="23" y="70"/>
                  </a:lnTo>
                  <a:lnTo>
                    <a:pt x="22" y="70"/>
                  </a:lnTo>
                  <a:lnTo>
                    <a:pt x="21" y="69"/>
                  </a:lnTo>
                  <a:lnTo>
                    <a:pt x="22" y="69"/>
                  </a:lnTo>
                  <a:lnTo>
                    <a:pt x="23" y="69"/>
                  </a:lnTo>
                  <a:lnTo>
                    <a:pt x="24" y="69"/>
                  </a:lnTo>
                  <a:lnTo>
                    <a:pt x="24" y="68"/>
                  </a:lnTo>
                  <a:lnTo>
                    <a:pt x="24" y="67"/>
                  </a:lnTo>
                  <a:lnTo>
                    <a:pt x="24" y="66"/>
                  </a:lnTo>
                  <a:lnTo>
                    <a:pt x="24" y="65"/>
                  </a:lnTo>
                  <a:lnTo>
                    <a:pt x="23" y="65"/>
                  </a:lnTo>
                  <a:lnTo>
                    <a:pt x="22" y="65"/>
                  </a:lnTo>
                  <a:lnTo>
                    <a:pt x="22" y="63"/>
                  </a:lnTo>
                  <a:lnTo>
                    <a:pt x="21" y="63"/>
                  </a:lnTo>
                  <a:lnTo>
                    <a:pt x="20" y="63"/>
                  </a:lnTo>
                  <a:lnTo>
                    <a:pt x="18" y="63"/>
                  </a:lnTo>
                  <a:lnTo>
                    <a:pt x="18" y="62"/>
                  </a:lnTo>
                  <a:lnTo>
                    <a:pt x="17" y="62"/>
                  </a:lnTo>
                  <a:lnTo>
                    <a:pt x="17" y="61"/>
                  </a:lnTo>
                  <a:lnTo>
                    <a:pt x="16" y="61"/>
                  </a:lnTo>
                  <a:lnTo>
                    <a:pt x="15" y="62"/>
                  </a:lnTo>
                  <a:lnTo>
                    <a:pt x="14" y="62"/>
                  </a:lnTo>
                  <a:lnTo>
                    <a:pt x="14" y="61"/>
                  </a:lnTo>
                  <a:lnTo>
                    <a:pt x="14" y="62"/>
                  </a:lnTo>
                  <a:lnTo>
                    <a:pt x="14" y="61"/>
                  </a:lnTo>
                  <a:lnTo>
                    <a:pt x="13" y="61"/>
                  </a:lnTo>
                  <a:lnTo>
                    <a:pt x="13" y="60"/>
                  </a:lnTo>
                  <a:lnTo>
                    <a:pt x="13" y="61"/>
                  </a:lnTo>
                  <a:lnTo>
                    <a:pt x="11" y="61"/>
                  </a:lnTo>
                  <a:lnTo>
                    <a:pt x="11" y="60"/>
                  </a:lnTo>
                  <a:lnTo>
                    <a:pt x="10" y="60"/>
                  </a:lnTo>
                  <a:lnTo>
                    <a:pt x="11" y="60"/>
                  </a:lnTo>
                  <a:lnTo>
                    <a:pt x="11" y="59"/>
                  </a:lnTo>
                  <a:lnTo>
                    <a:pt x="10" y="59"/>
                  </a:lnTo>
                  <a:lnTo>
                    <a:pt x="11" y="59"/>
                  </a:lnTo>
                  <a:lnTo>
                    <a:pt x="11" y="60"/>
                  </a:lnTo>
                  <a:lnTo>
                    <a:pt x="13" y="60"/>
                  </a:lnTo>
                  <a:lnTo>
                    <a:pt x="13" y="59"/>
                  </a:lnTo>
                  <a:lnTo>
                    <a:pt x="14" y="59"/>
                  </a:lnTo>
                  <a:lnTo>
                    <a:pt x="13" y="58"/>
                  </a:lnTo>
                  <a:lnTo>
                    <a:pt x="14" y="58"/>
                  </a:lnTo>
                  <a:lnTo>
                    <a:pt x="13" y="58"/>
                  </a:lnTo>
                  <a:lnTo>
                    <a:pt x="13" y="56"/>
                  </a:lnTo>
                  <a:lnTo>
                    <a:pt x="13" y="58"/>
                  </a:lnTo>
                  <a:lnTo>
                    <a:pt x="11" y="58"/>
                  </a:lnTo>
                  <a:lnTo>
                    <a:pt x="13" y="58"/>
                  </a:lnTo>
                  <a:lnTo>
                    <a:pt x="13" y="56"/>
                  </a:lnTo>
                  <a:lnTo>
                    <a:pt x="11" y="56"/>
                  </a:lnTo>
                  <a:lnTo>
                    <a:pt x="11" y="55"/>
                  </a:lnTo>
                  <a:lnTo>
                    <a:pt x="11" y="54"/>
                  </a:lnTo>
                  <a:lnTo>
                    <a:pt x="13" y="54"/>
                  </a:lnTo>
                  <a:lnTo>
                    <a:pt x="14" y="54"/>
                  </a:lnTo>
                  <a:lnTo>
                    <a:pt x="14" y="55"/>
                  </a:lnTo>
                  <a:lnTo>
                    <a:pt x="15" y="56"/>
                  </a:lnTo>
                  <a:lnTo>
                    <a:pt x="15" y="58"/>
                  </a:lnTo>
                  <a:lnTo>
                    <a:pt x="15" y="59"/>
                  </a:lnTo>
                  <a:lnTo>
                    <a:pt x="16" y="59"/>
                  </a:lnTo>
                  <a:lnTo>
                    <a:pt x="16" y="60"/>
                  </a:lnTo>
                  <a:lnTo>
                    <a:pt x="16" y="59"/>
                  </a:lnTo>
                  <a:lnTo>
                    <a:pt x="16" y="58"/>
                  </a:lnTo>
                  <a:lnTo>
                    <a:pt x="17" y="58"/>
                  </a:lnTo>
                  <a:lnTo>
                    <a:pt x="17" y="59"/>
                  </a:lnTo>
                  <a:lnTo>
                    <a:pt x="18" y="59"/>
                  </a:lnTo>
                  <a:lnTo>
                    <a:pt x="20" y="59"/>
                  </a:lnTo>
                  <a:lnTo>
                    <a:pt x="20" y="58"/>
                  </a:lnTo>
                  <a:lnTo>
                    <a:pt x="21" y="58"/>
                  </a:lnTo>
                  <a:lnTo>
                    <a:pt x="22" y="58"/>
                  </a:lnTo>
                  <a:lnTo>
                    <a:pt x="21" y="58"/>
                  </a:lnTo>
                  <a:lnTo>
                    <a:pt x="20" y="58"/>
                  </a:lnTo>
                  <a:lnTo>
                    <a:pt x="18" y="58"/>
                  </a:lnTo>
                  <a:lnTo>
                    <a:pt x="18" y="56"/>
                  </a:lnTo>
                  <a:lnTo>
                    <a:pt x="17" y="56"/>
                  </a:lnTo>
                  <a:lnTo>
                    <a:pt x="18" y="56"/>
                  </a:lnTo>
                  <a:lnTo>
                    <a:pt x="17" y="56"/>
                  </a:lnTo>
                  <a:lnTo>
                    <a:pt x="17" y="55"/>
                  </a:lnTo>
                  <a:lnTo>
                    <a:pt x="16" y="55"/>
                  </a:lnTo>
                  <a:lnTo>
                    <a:pt x="16" y="54"/>
                  </a:lnTo>
                  <a:lnTo>
                    <a:pt x="16" y="53"/>
                  </a:lnTo>
                  <a:lnTo>
                    <a:pt x="17" y="53"/>
                  </a:lnTo>
                  <a:lnTo>
                    <a:pt x="18" y="53"/>
                  </a:lnTo>
                  <a:lnTo>
                    <a:pt x="18" y="52"/>
                  </a:lnTo>
                  <a:lnTo>
                    <a:pt x="18" y="51"/>
                  </a:lnTo>
                  <a:lnTo>
                    <a:pt x="20" y="51"/>
                  </a:lnTo>
                  <a:lnTo>
                    <a:pt x="20" y="49"/>
                  </a:lnTo>
                  <a:lnTo>
                    <a:pt x="18" y="49"/>
                  </a:lnTo>
                  <a:lnTo>
                    <a:pt x="17" y="49"/>
                  </a:lnTo>
                  <a:lnTo>
                    <a:pt x="17" y="51"/>
                  </a:lnTo>
                  <a:lnTo>
                    <a:pt x="17" y="49"/>
                  </a:lnTo>
                  <a:lnTo>
                    <a:pt x="16" y="49"/>
                  </a:lnTo>
                  <a:lnTo>
                    <a:pt x="16" y="48"/>
                  </a:lnTo>
                  <a:lnTo>
                    <a:pt x="17" y="48"/>
                  </a:lnTo>
                  <a:lnTo>
                    <a:pt x="17" y="47"/>
                  </a:lnTo>
                  <a:lnTo>
                    <a:pt x="16" y="46"/>
                  </a:lnTo>
                  <a:lnTo>
                    <a:pt x="15" y="46"/>
                  </a:lnTo>
                  <a:lnTo>
                    <a:pt x="15" y="45"/>
                  </a:lnTo>
                  <a:lnTo>
                    <a:pt x="14" y="45"/>
                  </a:lnTo>
                  <a:lnTo>
                    <a:pt x="14" y="44"/>
                  </a:lnTo>
                  <a:lnTo>
                    <a:pt x="14" y="45"/>
                  </a:lnTo>
                  <a:lnTo>
                    <a:pt x="14" y="44"/>
                  </a:lnTo>
                  <a:lnTo>
                    <a:pt x="15" y="44"/>
                  </a:lnTo>
                  <a:lnTo>
                    <a:pt x="16" y="42"/>
                  </a:lnTo>
                  <a:lnTo>
                    <a:pt x="16" y="41"/>
                  </a:lnTo>
                  <a:lnTo>
                    <a:pt x="17" y="41"/>
                  </a:lnTo>
                  <a:lnTo>
                    <a:pt x="17" y="40"/>
                  </a:lnTo>
                  <a:lnTo>
                    <a:pt x="17" y="39"/>
                  </a:lnTo>
                  <a:lnTo>
                    <a:pt x="16" y="39"/>
                  </a:lnTo>
                  <a:lnTo>
                    <a:pt x="16" y="40"/>
                  </a:lnTo>
                  <a:lnTo>
                    <a:pt x="14" y="40"/>
                  </a:lnTo>
                  <a:lnTo>
                    <a:pt x="11" y="40"/>
                  </a:lnTo>
                  <a:lnTo>
                    <a:pt x="10" y="40"/>
                  </a:lnTo>
                  <a:lnTo>
                    <a:pt x="10" y="41"/>
                  </a:lnTo>
                  <a:lnTo>
                    <a:pt x="9" y="41"/>
                  </a:lnTo>
                  <a:lnTo>
                    <a:pt x="8" y="41"/>
                  </a:lnTo>
                  <a:lnTo>
                    <a:pt x="7" y="41"/>
                  </a:lnTo>
                  <a:lnTo>
                    <a:pt x="6" y="41"/>
                  </a:lnTo>
                  <a:lnTo>
                    <a:pt x="7" y="40"/>
                  </a:lnTo>
                  <a:lnTo>
                    <a:pt x="7" y="39"/>
                  </a:lnTo>
                  <a:lnTo>
                    <a:pt x="7" y="38"/>
                  </a:lnTo>
                  <a:lnTo>
                    <a:pt x="7" y="37"/>
                  </a:lnTo>
                  <a:lnTo>
                    <a:pt x="7" y="35"/>
                  </a:lnTo>
                  <a:lnTo>
                    <a:pt x="7" y="34"/>
                  </a:lnTo>
                  <a:lnTo>
                    <a:pt x="7" y="33"/>
                  </a:lnTo>
                  <a:lnTo>
                    <a:pt x="8" y="33"/>
                  </a:lnTo>
                  <a:lnTo>
                    <a:pt x="9" y="32"/>
                  </a:lnTo>
                  <a:lnTo>
                    <a:pt x="9" y="31"/>
                  </a:lnTo>
                  <a:lnTo>
                    <a:pt x="9" y="30"/>
                  </a:lnTo>
                  <a:lnTo>
                    <a:pt x="10" y="30"/>
                  </a:lnTo>
                  <a:lnTo>
                    <a:pt x="11" y="28"/>
                  </a:lnTo>
                  <a:lnTo>
                    <a:pt x="13" y="27"/>
                  </a:lnTo>
                  <a:lnTo>
                    <a:pt x="13" y="26"/>
                  </a:lnTo>
                  <a:lnTo>
                    <a:pt x="14" y="26"/>
                  </a:lnTo>
                  <a:lnTo>
                    <a:pt x="15" y="26"/>
                  </a:lnTo>
                  <a:lnTo>
                    <a:pt x="16" y="27"/>
                  </a:lnTo>
                  <a:lnTo>
                    <a:pt x="17" y="27"/>
                  </a:lnTo>
                  <a:lnTo>
                    <a:pt x="17" y="26"/>
                  </a:lnTo>
                  <a:lnTo>
                    <a:pt x="18" y="26"/>
                  </a:lnTo>
                  <a:lnTo>
                    <a:pt x="20" y="26"/>
                  </a:lnTo>
                  <a:lnTo>
                    <a:pt x="21" y="26"/>
                  </a:lnTo>
                  <a:lnTo>
                    <a:pt x="21" y="27"/>
                  </a:lnTo>
                  <a:lnTo>
                    <a:pt x="22" y="27"/>
                  </a:lnTo>
                  <a:lnTo>
                    <a:pt x="23" y="28"/>
                  </a:lnTo>
                  <a:lnTo>
                    <a:pt x="24" y="28"/>
                  </a:lnTo>
                  <a:lnTo>
                    <a:pt x="24" y="27"/>
                  </a:lnTo>
                  <a:lnTo>
                    <a:pt x="25" y="27"/>
                  </a:lnTo>
                  <a:lnTo>
                    <a:pt x="25" y="28"/>
                  </a:lnTo>
                  <a:lnTo>
                    <a:pt x="25" y="27"/>
                  </a:lnTo>
                  <a:lnTo>
                    <a:pt x="26" y="28"/>
                  </a:lnTo>
                  <a:lnTo>
                    <a:pt x="26" y="27"/>
                  </a:lnTo>
                  <a:lnTo>
                    <a:pt x="28" y="27"/>
                  </a:lnTo>
                  <a:lnTo>
                    <a:pt x="26" y="26"/>
                  </a:lnTo>
                  <a:lnTo>
                    <a:pt x="26" y="27"/>
                  </a:lnTo>
                  <a:lnTo>
                    <a:pt x="26" y="26"/>
                  </a:lnTo>
                  <a:lnTo>
                    <a:pt x="25" y="26"/>
                  </a:lnTo>
                  <a:lnTo>
                    <a:pt x="25" y="25"/>
                  </a:lnTo>
                  <a:lnTo>
                    <a:pt x="26" y="25"/>
                  </a:lnTo>
                  <a:lnTo>
                    <a:pt x="29" y="25"/>
                  </a:lnTo>
                  <a:lnTo>
                    <a:pt x="30" y="25"/>
                  </a:lnTo>
                  <a:lnTo>
                    <a:pt x="30" y="26"/>
                  </a:lnTo>
                  <a:lnTo>
                    <a:pt x="29" y="26"/>
                  </a:lnTo>
                  <a:lnTo>
                    <a:pt x="28" y="26"/>
                  </a:lnTo>
                  <a:lnTo>
                    <a:pt x="28" y="27"/>
                  </a:lnTo>
                  <a:lnTo>
                    <a:pt x="29" y="27"/>
                  </a:lnTo>
                  <a:lnTo>
                    <a:pt x="30" y="27"/>
                  </a:lnTo>
                  <a:lnTo>
                    <a:pt x="31" y="27"/>
                  </a:lnTo>
                  <a:lnTo>
                    <a:pt x="33" y="26"/>
                  </a:lnTo>
                  <a:lnTo>
                    <a:pt x="35" y="27"/>
                  </a:lnTo>
                  <a:lnTo>
                    <a:pt x="36" y="26"/>
                  </a:lnTo>
                  <a:lnTo>
                    <a:pt x="36" y="27"/>
                  </a:lnTo>
                  <a:lnTo>
                    <a:pt x="37" y="27"/>
                  </a:lnTo>
                  <a:lnTo>
                    <a:pt x="38" y="27"/>
                  </a:lnTo>
                  <a:lnTo>
                    <a:pt x="39" y="27"/>
                  </a:lnTo>
                  <a:lnTo>
                    <a:pt x="39" y="26"/>
                  </a:lnTo>
                  <a:lnTo>
                    <a:pt x="40" y="27"/>
                  </a:lnTo>
                  <a:lnTo>
                    <a:pt x="42" y="27"/>
                  </a:lnTo>
                  <a:lnTo>
                    <a:pt x="43" y="27"/>
                  </a:lnTo>
                  <a:lnTo>
                    <a:pt x="43" y="26"/>
                  </a:lnTo>
                  <a:lnTo>
                    <a:pt x="44" y="26"/>
                  </a:lnTo>
                  <a:lnTo>
                    <a:pt x="43" y="25"/>
                  </a:lnTo>
                  <a:lnTo>
                    <a:pt x="42" y="25"/>
                  </a:lnTo>
                  <a:lnTo>
                    <a:pt x="42" y="26"/>
                  </a:lnTo>
                  <a:lnTo>
                    <a:pt x="40" y="26"/>
                  </a:lnTo>
                  <a:lnTo>
                    <a:pt x="39" y="25"/>
                  </a:lnTo>
                  <a:lnTo>
                    <a:pt x="39" y="24"/>
                  </a:lnTo>
                  <a:lnTo>
                    <a:pt x="40" y="24"/>
                  </a:lnTo>
                  <a:lnTo>
                    <a:pt x="42" y="23"/>
                  </a:lnTo>
                  <a:lnTo>
                    <a:pt x="45" y="23"/>
                  </a:lnTo>
                  <a:lnTo>
                    <a:pt x="46" y="23"/>
                  </a:lnTo>
                  <a:lnTo>
                    <a:pt x="46" y="21"/>
                  </a:lnTo>
                  <a:lnTo>
                    <a:pt x="46" y="23"/>
                  </a:lnTo>
                  <a:lnTo>
                    <a:pt x="47" y="23"/>
                  </a:lnTo>
                  <a:lnTo>
                    <a:pt x="47" y="21"/>
                  </a:lnTo>
                  <a:lnTo>
                    <a:pt x="49" y="21"/>
                  </a:lnTo>
                  <a:lnTo>
                    <a:pt x="49" y="23"/>
                  </a:lnTo>
                  <a:lnTo>
                    <a:pt x="51" y="21"/>
                  </a:lnTo>
                  <a:lnTo>
                    <a:pt x="52" y="21"/>
                  </a:lnTo>
                  <a:lnTo>
                    <a:pt x="53" y="21"/>
                  </a:lnTo>
                  <a:lnTo>
                    <a:pt x="52" y="21"/>
                  </a:lnTo>
                  <a:lnTo>
                    <a:pt x="51" y="21"/>
                  </a:lnTo>
                  <a:lnTo>
                    <a:pt x="51" y="20"/>
                  </a:lnTo>
                  <a:lnTo>
                    <a:pt x="50" y="20"/>
                  </a:lnTo>
                  <a:lnTo>
                    <a:pt x="47" y="20"/>
                  </a:lnTo>
                  <a:lnTo>
                    <a:pt x="46" y="20"/>
                  </a:lnTo>
                  <a:lnTo>
                    <a:pt x="46" y="21"/>
                  </a:lnTo>
                  <a:lnTo>
                    <a:pt x="46" y="20"/>
                  </a:lnTo>
                  <a:lnTo>
                    <a:pt x="45" y="20"/>
                  </a:lnTo>
                  <a:lnTo>
                    <a:pt x="46" y="20"/>
                  </a:lnTo>
                  <a:lnTo>
                    <a:pt x="45" y="20"/>
                  </a:lnTo>
                  <a:lnTo>
                    <a:pt x="45" y="19"/>
                  </a:lnTo>
                  <a:lnTo>
                    <a:pt x="44" y="19"/>
                  </a:lnTo>
                  <a:lnTo>
                    <a:pt x="43" y="19"/>
                  </a:lnTo>
                  <a:lnTo>
                    <a:pt x="43" y="18"/>
                  </a:lnTo>
                  <a:lnTo>
                    <a:pt x="42" y="18"/>
                  </a:lnTo>
                  <a:lnTo>
                    <a:pt x="42" y="17"/>
                  </a:lnTo>
                  <a:lnTo>
                    <a:pt x="40" y="17"/>
                  </a:lnTo>
                  <a:lnTo>
                    <a:pt x="42" y="17"/>
                  </a:lnTo>
                  <a:lnTo>
                    <a:pt x="42" y="16"/>
                  </a:lnTo>
                  <a:lnTo>
                    <a:pt x="42" y="14"/>
                  </a:lnTo>
                  <a:lnTo>
                    <a:pt x="43" y="14"/>
                  </a:lnTo>
                  <a:lnTo>
                    <a:pt x="43" y="13"/>
                  </a:lnTo>
                  <a:lnTo>
                    <a:pt x="44" y="13"/>
                  </a:lnTo>
                  <a:lnTo>
                    <a:pt x="46" y="14"/>
                  </a:lnTo>
                  <a:lnTo>
                    <a:pt x="49" y="14"/>
                  </a:lnTo>
                  <a:lnTo>
                    <a:pt x="52" y="14"/>
                  </a:lnTo>
                  <a:lnTo>
                    <a:pt x="56" y="14"/>
                  </a:lnTo>
                  <a:lnTo>
                    <a:pt x="57" y="14"/>
                  </a:lnTo>
                  <a:lnTo>
                    <a:pt x="57" y="13"/>
                  </a:lnTo>
                  <a:lnTo>
                    <a:pt x="57" y="14"/>
                  </a:lnTo>
                  <a:lnTo>
                    <a:pt x="58" y="14"/>
                  </a:lnTo>
                  <a:lnTo>
                    <a:pt x="63" y="16"/>
                  </a:lnTo>
                  <a:lnTo>
                    <a:pt x="64" y="16"/>
                  </a:lnTo>
                  <a:lnTo>
                    <a:pt x="67" y="16"/>
                  </a:lnTo>
                  <a:lnTo>
                    <a:pt x="68" y="16"/>
                  </a:lnTo>
                  <a:lnTo>
                    <a:pt x="70" y="16"/>
                  </a:lnTo>
                  <a:lnTo>
                    <a:pt x="71" y="16"/>
                  </a:lnTo>
                  <a:lnTo>
                    <a:pt x="71" y="14"/>
                  </a:lnTo>
                  <a:lnTo>
                    <a:pt x="71" y="13"/>
                  </a:lnTo>
                  <a:lnTo>
                    <a:pt x="72" y="13"/>
                  </a:lnTo>
                  <a:lnTo>
                    <a:pt x="71" y="13"/>
                  </a:lnTo>
                  <a:lnTo>
                    <a:pt x="71" y="12"/>
                  </a:lnTo>
                  <a:lnTo>
                    <a:pt x="72" y="12"/>
                  </a:lnTo>
                  <a:lnTo>
                    <a:pt x="74" y="11"/>
                  </a:lnTo>
                  <a:lnTo>
                    <a:pt x="77" y="10"/>
                  </a:lnTo>
                  <a:lnTo>
                    <a:pt x="78" y="9"/>
                  </a:lnTo>
                  <a:lnTo>
                    <a:pt x="79" y="9"/>
                  </a:lnTo>
                  <a:lnTo>
                    <a:pt x="80" y="7"/>
                  </a:lnTo>
                  <a:lnTo>
                    <a:pt x="81" y="6"/>
                  </a:lnTo>
                  <a:lnTo>
                    <a:pt x="82" y="6"/>
                  </a:lnTo>
                  <a:lnTo>
                    <a:pt x="82" y="5"/>
                  </a:lnTo>
                  <a:lnTo>
                    <a:pt x="84" y="5"/>
                  </a:lnTo>
                  <a:lnTo>
                    <a:pt x="85" y="5"/>
                  </a:lnTo>
                  <a:lnTo>
                    <a:pt x="85" y="4"/>
                  </a:lnTo>
                  <a:lnTo>
                    <a:pt x="86" y="4"/>
                  </a:lnTo>
                  <a:lnTo>
                    <a:pt x="87" y="4"/>
                  </a:lnTo>
                  <a:lnTo>
                    <a:pt x="88" y="4"/>
                  </a:lnTo>
                  <a:lnTo>
                    <a:pt x="89" y="4"/>
                  </a:lnTo>
                  <a:lnTo>
                    <a:pt x="89" y="3"/>
                  </a:lnTo>
                  <a:lnTo>
                    <a:pt x="90" y="3"/>
                  </a:lnTo>
                  <a:lnTo>
                    <a:pt x="92" y="3"/>
                  </a:lnTo>
                  <a:lnTo>
                    <a:pt x="94" y="2"/>
                  </a:lnTo>
                  <a:lnTo>
                    <a:pt x="95" y="2"/>
                  </a:lnTo>
                  <a:lnTo>
                    <a:pt x="96" y="2"/>
                  </a:lnTo>
                  <a:lnTo>
                    <a:pt x="97" y="2"/>
                  </a:lnTo>
                  <a:lnTo>
                    <a:pt x="101" y="2"/>
                  </a:lnTo>
                  <a:lnTo>
                    <a:pt x="102" y="2"/>
                  </a:lnTo>
                  <a:lnTo>
                    <a:pt x="107" y="3"/>
                  </a:lnTo>
                  <a:lnTo>
                    <a:pt x="108" y="2"/>
                  </a:lnTo>
                  <a:lnTo>
                    <a:pt x="109" y="2"/>
                  </a:lnTo>
                  <a:lnTo>
                    <a:pt x="110" y="3"/>
                  </a:lnTo>
                  <a:lnTo>
                    <a:pt x="111" y="3"/>
                  </a:lnTo>
                  <a:lnTo>
                    <a:pt x="113" y="3"/>
                  </a:lnTo>
                  <a:lnTo>
                    <a:pt x="113" y="2"/>
                  </a:lnTo>
                  <a:lnTo>
                    <a:pt x="114" y="2"/>
                  </a:lnTo>
                  <a:lnTo>
                    <a:pt x="114" y="0"/>
                  </a:lnTo>
                  <a:lnTo>
                    <a:pt x="115"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64" name="Freeform 1025">
              <a:extLst>
                <a:ext uri="{FF2B5EF4-FFF2-40B4-BE49-F238E27FC236}">
                  <a16:creationId xmlns:a16="http://schemas.microsoft.com/office/drawing/2014/main" id="{DC3C86A8-9863-4B1C-AFDE-8592D07A2998}"/>
                </a:ext>
              </a:extLst>
            </p:cNvPr>
            <p:cNvSpPr>
              <a:spLocks noEditPoints="1"/>
            </p:cNvSpPr>
            <p:nvPr/>
          </p:nvSpPr>
          <p:spPr bwMode="auto">
            <a:xfrm>
              <a:off x="9081045" y="3467386"/>
              <a:ext cx="62768" cy="80129"/>
            </a:xfrm>
            <a:custGeom>
              <a:avLst/>
              <a:gdLst>
                <a:gd name="T0" fmla="*/ 47 w 47"/>
                <a:gd name="T1" fmla="*/ 60 h 60"/>
                <a:gd name="T2" fmla="*/ 47 w 47"/>
                <a:gd name="T3" fmla="*/ 60 h 60"/>
                <a:gd name="T4" fmla="*/ 47 w 47"/>
                <a:gd name="T5" fmla="*/ 60 h 60"/>
                <a:gd name="T6" fmla="*/ 47 w 47"/>
                <a:gd name="T7" fmla="*/ 58 h 60"/>
                <a:gd name="T8" fmla="*/ 47 w 47"/>
                <a:gd name="T9" fmla="*/ 58 h 60"/>
                <a:gd name="T10" fmla="*/ 47 w 47"/>
                <a:gd name="T11" fmla="*/ 58 h 60"/>
                <a:gd name="T12" fmla="*/ 47 w 47"/>
                <a:gd name="T13" fmla="*/ 58 h 60"/>
                <a:gd name="T14" fmla="*/ 39 w 47"/>
                <a:gd name="T15" fmla="*/ 46 h 60"/>
                <a:gd name="T16" fmla="*/ 39 w 47"/>
                <a:gd name="T17" fmla="*/ 46 h 60"/>
                <a:gd name="T18" fmla="*/ 39 w 47"/>
                <a:gd name="T19" fmla="*/ 46 h 60"/>
                <a:gd name="T20" fmla="*/ 39 w 47"/>
                <a:gd name="T21" fmla="*/ 44 h 60"/>
                <a:gd name="T22" fmla="*/ 39 w 47"/>
                <a:gd name="T23" fmla="*/ 46 h 60"/>
                <a:gd name="T24" fmla="*/ 39 w 47"/>
                <a:gd name="T25" fmla="*/ 46 h 60"/>
                <a:gd name="T26" fmla="*/ 28 w 47"/>
                <a:gd name="T27" fmla="*/ 37 h 60"/>
                <a:gd name="T28" fmla="*/ 28 w 47"/>
                <a:gd name="T29" fmla="*/ 39 h 60"/>
                <a:gd name="T30" fmla="*/ 28 w 47"/>
                <a:gd name="T31" fmla="*/ 37 h 60"/>
                <a:gd name="T32" fmla="*/ 34 w 47"/>
                <a:gd name="T33" fmla="*/ 29 h 60"/>
                <a:gd name="T34" fmla="*/ 33 w 47"/>
                <a:gd name="T35" fmla="*/ 29 h 60"/>
                <a:gd name="T36" fmla="*/ 33 w 47"/>
                <a:gd name="T37" fmla="*/ 28 h 60"/>
                <a:gd name="T38" fmla="*/ 34 w 47"/>
                <a:gd name="T39" fmla="*/ 29 h 60"/>
                <a:gd name="T40" fmla="*/ 34 w 47"/>
                <a:gd name="T41" fmla="*/ 29 h 60"/>
                <a:gd name="T42" fmla="*/ 12 w 47"/>
                <a:gd name="T43" fmla="*/ 25 h 60"/>
                <a:gd name="T44" fmla="*/ 13 w 47"/>
                <a:gd name="T45" fmla="*/ 25 h 60"/>
                <a:gd name="T46" fmla="*/ 12 w 47"/>
                <a:gd name="T47" fmla="*/ 25 h 60"/>
                <a:gd name="T48" fmla="*/ 13 w 47"/>
                <a:gd name="T49" fmla="*/ 25 h 60"/>
                <a:gd name="T50" fmla="*/ 3 w 47"/>
                <a:gd name="T51" fmla="*/ 11 h 60"/>
                <a:gd name="T52" fmla="*/ 3 w 47"/>
                <a:gd name="T53" fmla="*/ 11 h 60"/>
                <a:gd name="T54" fmla="*/ 17 w 47"/>
                <a:gd name="T55" fmla="*/ 7 h 60"/>
                <a:gd name="T56" fmla="*/ 17 w 47"/>
                <a:gd name="T57" fmla="*/ 7 h 60"/>
                <a:gd name="T58" fmla="*/ 17 w 47"/>
                <a:gd name="T59" fmla="*/ 7 h 60"/>
                <a:gd name="T60" fmla="*/ 17 w 47"/>
                <a:gd name="T61" fmla="*/ 7 h 60"/>
                <a:gd name="T62" fmla="*/ 0 w 47"/>
                <a:gd name="T63" fmla="*/ 1 h 60"/>
                <a:gd name="T64" fmla="*/ 0 w 47"/>
                <a:gd name="T65" fmla="*/ 1 h 60"/>
                <a:gd name="T66" fmla="*/ 0 w 47"/>
                <a:gd name="T6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 h="60">
                  <a:moveTo>
                    <a:pt x="47" y="60"/>
                  </a:moveTo>
                  <a:lnTo>
                    <a:pt x="47" y="60"/>
                  </a:lnTo>
                  <a:lnTo>
                    <a:pt x="47" y="60"/>
                  </a:lnTo>
                  <a:lnTo>
                    <a:pt x="47" y="60"/>
                  </a:lnTo>
                  <a:lnTo>
                    <a:pt x="47" y="60"/>
                  </a:lnTo>
                  <a:lnTo>
                    <a:pt x="47" y="60"/>
                  </a:lnTo>
                  <a:lnTo>
                    <a:pt x="47" y="60"/>
                  </a:lnTo>
                  <a:close/>
                  <a:moveTo>
                    <a:pt x="47" y="58"/>
                  </a:moveTo>
                  <a:lnTo>
                    <a:pt x="47" y="58"/>
                  </a:lnTo>
                  <a:lnTo>
                    <a:pt x="47" y="58"/>
                  </a:lnTo>
                  <a:lnTo>
                    <a:pt x="47" y="58"/>
                  </a:lnTo>
                  <a:lnTo>
                    <a:pt x="47" y="58"/>
                  </a:lnTo>
                  <a:lnTo>
                    <a:pt x="47" y="58"/>
                  </a:lnTo>
                  <a:lnTo>
                    <a:pt x="47" y="58"/>
                  </a:lnTo>
                  <a:close/>
                  <a:moveTo>
                    <a:pt x="39" y="46"/>
                  </a:moveTo>
                  <a:lnTo>
                    <a:pt x="39" y="46"/>
                  </a:lnTo>
                  <a:lnTo>
                    <a:pt x="39" y="46"/>
                  </a:lnTo>
                  <a:lnTo>
                    <a:pt x="39" y="46"/>
                  </a:lnTo>
                  <a:lnTo>
                    <a:pt x="39" y="46"/>
                  </a:lnTo>
                  <a:lnTo>
                    <a:pt x="39" y="46"/>
                  </a:lnTo>
                  <a:lnTo>
                    <a:pt x="39" y="44"/>
                  </a:lnTo>
                  <a:lnTo>
                    <a:pt x="39" y="44"/>
                  </a:lnTo>
                  <a:lnTo>
                    <a:pt x="39" y="44"/>
                  </a:lnTo>
                  <a:lnTo>
                    <a:pt x="39" y="46"/>
                  </a:lnTo>
                  <a:lnTo>
                    <a:pt x="39" y="46"/>
                  </a:lnTo>
                  <a:lnTo>
                    <a:pt x="39" y="46"/>
                  </a:lnTo>
                  <a:lnTo>
                    <a:pt x="39" y="46"/>
                  </a:lnTo>
                  <a:close/>
                  <a:moveTo>
                    <a:pt x="28" y="37"/>
                  </a:moveTo>
                  <a:lnTo>
                    <a:pt x="28" y="39"/>
                  </a:lnTo>
                  <a:lnTo>
                    <a:pt x="28" y="39"/>
                  </a:lnTo>
                  <a:lnTo>
                    <a:pt x="28" y="39"/>
                  </a:lnTo>
                  <a:lnTo>
                    <a:pt x="28" y="37"/>
                  </a:lnTo>
                  <a:lnTo>
                    <a:pt x="28" y="37"/>
                  </a:lnTo>
                  <a:close/>
                  <a:moveTo>
                    <a:pt x="34" y="29"/>
                  </a:moveTo>
                  <a:lnTo>
                    <a:pt x="33" y="29"/>
                  </a:lnTo>
                  <a:lnTo>
                    <a:pt x="33" y="29"/>
                  </a:lnTo>
                  <a:lnTo>
                    <a:pt x="33" y="29"/>
                  </a:lnTo>
                  <a:lnTo>
                    <a:pt x="33" y="28"/>
                  </a:lnTo>
                  <a:lnTo>
                    <a:pt x="33" y="29"/>
                  </a:lnTo>
                  <a:lnTo>
                    <a:pt x="34" y="29"/>
                  </a:lnTo>
                  <a:lnTo>
                    <a:pt x="34" y="29"/>
                  </a:lnTo>
                  <a:lnTo>
                    <a:pt x="34" y="29"/>
                  </a:lnTo>
                  <a:close/>
                  <a:moveTo>
                    <a:pt x="13" y="25"/>
                  </a:moveTo>
                  <a:lnTo>
                    <a:pt x="12" y="25"/>
                  </a:lnTo>
                  <a:lnTo>
                    <a:pt x="13" y="25"/>
                  </a:lnTo>
                  <a:lnTo>
                    <a:pt x="13" y="25"/>
                  </a:lnTo>
                  <a:lnTo>
                    <a:pt x="12" y="25"/>
                  </a:lnTo>
                  <a:lnTo>
                    <a:pt x="12" y="25"/>
                  </a:lnTo>
                  <a:lnTo>
                    <a:pt x="13" y="25"/>
                  </a:lnTo>
                  <a:lnTo>
                    <a:pt x="13" y="25"/>
                  </a:lnTo>
                  <a:close/>
                  <a:moveTo>
                    <a:pt x="3" y="11"/>
                  </a:moveTo>
                  <a:lnTo>
                    <a:pt x="3" y="11"/>
                  </a:lnTo>
                  <a:lnTo>
                    <a:pt x="3" y="11"/>
                  </a:lnTo>
                  <a:lnTo>
                    <a:pt x="3" y="11"/>
                  </a:lnTo>
                  <a:lnTo>
                    <a:pt x="3" y="11"/>
                  </a:lnTo>
                  <a:close/>
                  <a:moveTo>
                    <a:pt x="17" y="7"/>
                  </a:moveTo>
                  <a:lnTo>
                    <a:pt x="17" y="7"/>
                  </a:lnTo>
                  <a:lnTo>
                    <a:pt x="17" y="7"/>
                  </a:lnTo>
                  <a:lnTo>
                    <a:pt x="17" y="7"/>
                  </a:lnTo>
                  <a:lnTo>
                    <a:pt x="17" y="7"/>
                  </a:lnTo>
                  <a:lnTo>
                    <a:pt x="17" y="7"/>
                  </a:lnTo>
                  <a:lnTo>
                    <a:pt x="17" y="7"/>
                  </a:lnTo>
                  <a:lnTo>
                    <a:pt x="17" y="7"/>
                  </a:lnTo>
                  <a:close/>
                  <a:moveTo>
                    <a:pt x="0" y="1"/>
                  </a:moveTo>
                  <a:lnTo>
                    <a:pt x="0" y="1"/>
                  </a:lnTo>
                  <a:lnTo>
                    <a:pt x="0" y="1"/>
                  </a:lnTo>
                  <a:lnTo>
                    <a:pt x="0" y="0"/>
                  </a:lnTo>
                  <a:lnTo>
                    <a:pt x="0" y="0"/>
                  </a:lnTo>
                  <a:lnTo>
                    <a:pt x="0" y="1"/>
                  </a:lnTo>
                  <a:close/>
                </a:path>
              </a:pathLst>
            </a:custGeom>
            <a:solidFill>
              <a:srgbClr val="CC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65" name="Freeform 1026">
              <a:extLst>
                <a:ext uri="{FF2B5EF4-FFF2-40B4-BE49-F238E27FC236}">
                  <a16:creationId xmlns:a16="http://schemas.microsoft.com/office/drawing/2014/main" id="{A650A25D-CB1A-44CF-AD41-81846D404FDD}"/>
                </a:ext>
              </a:extLst>
            </p:cNvPr>
            <p:cNvSpPr>
              <a:spLocks noEditPoints="1"/>
            </p:cNvSpPr>
            <p:nvPr/>
          </p:nvSpPr>
          <p:spPr bwMode="auto">
            <a:xfrm>
              <a:off x="7952557" y="2812997"/>
              <a:ext cx="70781" cy="72116"/>
            </a:xfrm>
            <a:custGeom>
              <a:avLst/>
              <a:gdLst>
                <a:gd name="T0" fmla="*/ 52 w 53"/>
                <a:gd name="T1" fmla="*/ 51 h 54"/>
                <a:gd name="T2" fmla="*/ 27 w 53"/>
                <a:gd name="T3" fmla="*/ 29 h 54"/>
                <a:gd name="T4" fmla="*/ 27 w 53"/>
                <a:gd name="T5" fmla="*/ 29 h 54"/>
                <a:gd name="T6" fmla="*/ 20 w 53"/>
                <a:gd name="T7" fmla="*/ 28 h 54"/>
                <a:gd name="T8" fmla="*/ 19 w 53"/>
                <a:gd name="T9" fmla="*/ 28 h 54"/>
                <a:gd name="T10" fmla="*/ 19 w 53"/>
                <a:gd name="T11" fmla="*/ 27 h 54"/>
                <a:gd name="T12" fmla="*/ 20 w 53"/>
                <a:gd name="T13" fmla="*/ 26 h 54"/>
                <a:gd name="T14" fmla="*/ 3 w 53"/>
                <a:gd name="T15" fmla="*/ 13 h 54"/>
                <a:gd name="T16" fmla="*/ 0 w 53"/>
                <a:gd name="T17" fmla="*/ 14 h 54"/>
                <a:gd name="T18" fmla="*/ 43 w 53"/>
                <a:gd name="T19" fmla="*/ 1 h 54"/>
                <a:gd name="T20" fmla="*/ 47 w 53"/>
                <a:gd name="T21" fmla="*/ 4 h 54"/>
                <a:gd name="T22" fmla="*/ 49 w 53"/>
                <a:gd name="T23" fmla="*/ 5 h 54"/>
                <a:gd name="T24" fmla="*/ 47 w 53"/>
                <a:gd name="T25" fmla="*/ 8 h 54"/>
                <a:gd name="T26" fmla="*/ 48 w 53"/>
                <a:gd name="T27" fmla="*/ 11 h 54"/>
                <a:gd name="T28" fmla="*/ 48 w 53"/>
                <a:gd name="T29" fmla="*/ 14 h 54"/>
                <a:gd name="T30" fmla="*/ 47 w 53"/>
                <a:gd name="T31" fmla="*/ 16 h 54"/>
                <a:gd name="T32" fmla="*/ 47 w 53"/>
                <a:gd name="T33" fmla="*/ 20 h 54"/>
                <a:gd name="T34" fmla="*/ 47 w 53"/>
                <a:gd name="T35" fmla="*/ 23 h 54"/>
                <a:gd name="T36" fmla="*/ 47 w 53"/>
                <a:gd name="T37" fmla="*/ 32 h 54"/>
                <a:gd name="T38" fmla="*/ 47 w 53"/>
                <a:gd name="T39" fmla="*/ 35 h 54"/>
                <a:gd name="T40" fmla="*/ 46 w 53"/>
                <a:gd name="T41" fmla="*/ 37 h 54"/>
                <a:gd name="T42" fmla="*/ 45 w 53"/>
                <a:gd name="T43" fmla="*/ 40 h 54"/>
                <a:gd name="T44" fmla="*/ 43 w 53"/>
                <a:gd name="T45" fmla="*/ 42 h 54"/>
                <a:gd name="T46" fmla="*/ 42 w 53"/>
                <a:gd name="T47" fmla="*/ 44 h 54"/>
                <a:gd name="T48" fmla="*/ 42 w 53"/>
                <a:gd name="T49" fmla="*/ 48 h 54"/>
                <a:gd name="T50" fmla="*/ 42 w 53"/>
                <a:gd name="T51" fmla="*/ 53 h 54"/>
                <a:gd name="T52" fmla="*/ 41 w 53"/>
                <a:gd name="T53" fmla="*/ 54 h 54"/>
                <a:gd name="T54" fmla="*/ 40 w 53"/>
                <a:gd name="T55" fmla="*/ 51 h 54"/>
                <a:gd name="T56" fmla="*/ 38 w 53"/>
                <a:gd name="T57" fmla="*/ 47 h 54"/>
                <a:gd name="T58" fmla="*/ 35 w 53"/>
                <a:gd name="T59" fmla="*/ 46 h 54"/>
                <a:gd name="T60" fmla="*/ 33 w 53"/>
                <a:gd name="T61" fmla="*/ 43 h 54"/>
                <a:gd name="T62" fmla="*/ 33 w 53"/>
                <a:gd name="T63" fmla="*/ 43 h 54"/>
                <a:gd name="T64" fmla="*/ 32 w 53"/>
                <a:gd name="T65" fmla="*/ 41 h 54"/>
                <a:gd name="T66" fmla="*/ 32 w 53"/>
                <a:gd name="T67" fmla="*/ 40 h 54"/>
                <a:gd name="T68" fmla="*/ 31 w 53"/>
                <a:gd name="T69" fmla="*/ 37 h 54"/>
                <a:gd name="T70" fmla="*/ 30 w 53"/>
                <a:gd name="T71" fmla="*/ 36 h 54"/>
                <a:gd name="T72" fmla="*/ 30 w 53"/>
                <a:gd name="T73" fmla="*/ 35 h 54"/>
                <a:gd name="T74" fmla="*/ 28 w 53"/>
                <a:gd name="T75" fmla="*/ 33 h 54"/>
                <a:gd name="T76" fmla="*/ 28 w 53"/>
                <a:gd name="T77" fmla="*/ 32 h 54"/>
                <a:gd name="T78" fmla="*/ 28 w 53"/>
                <a:gd name="T79" fmla="*/ 30 h 54"/>
                <a:gd name="T80" fmla="*/ 28 w 53"/>
                <a:gd name="T81" fmla="*/ 27 h 54"/>
                <a:gd name="T82" fmla="*/ 28 w 53"/>
                <a:gd name="T83" fmla="*/ 23 h 54"/>
                <a:gd name="T84" fmla="*/ 30 w 53"/>
                <a:gd name="T85" fmla="*/ 21 h 54"/>
                <a:gd name="T86" fmla="*/ 30 w 53"/>
                <a:gd name="T87" fmla="*/ 19 h 54"/>
                <a:gd name="T88" fmla="*/ 31 w 53"/>
                <a:gd name="T89" fmla="*/ 16 h 54"/>
                <a:gd name="T90" fmla="*/ 32 w 53"/>
                <a:gd name="T91" fmla="*/ 14 h 54"/>
                <a:gd name="T92" fmla="*/ 32 w 53"/>
                <a:gd name="T93" fmla="*/ 11 h 54"/>
                <a:gd name="T94" fmla="*/ 34 w 53"/>
                <a:gd name="T95" fmla="*/ 9 h 54"/>
                <a:gd name="T96" fmla="*/ 34 w 53"/>
                <a:gd name="T97" fmla="*/ 6 h 54"/>
                <a:gd name="T98" fmla="*/ 35 w 53"/>
                <a:gd name="T99" fmla="*/ 4 h 54"/>
                <a:gd name="T100" fmla="*/ 39 w 53"/>
                <a:gd name="T101" fmla="*/ 2 h 54"/>
                <a:gd name="T102" fmla="*/ 40 w 53"/>
                <a:gd name="T103" fmla="*/ 2 h 54"/>
                <a:gd name="T104" fmla="*/ 42 w 53"/>
                <a:gd name="T10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3" h="54">
                  <a:moveTo>
                    <a:pt x="53" y="53"/>
                  </a:moveTo>
                  <a:lnTo>
                    <a:pt x="52" y="53"/>
                  </a:lnTo>
                  <a:lnTo>
                    <a:pt x="52" y="51"/>
                  </a:lnTo>
                  <a:lnTo>
                    <a:pt x="53" y="51"/>
                  </a:lnTo>
                  <a:lnTo>
                    <a:pt x="53" y="53"/>
                  </a:lnTo>
                  <a:close/>
                  <a:moveTo>
                    <a:pt x="27" y="29"/>
                  </a:moveTo>
                  <a:lnTo>
                    <a:pt x="27" y="28"/>
                  </a:lnTo>
                  <a:lnTo>
                    <a:pt x="28" y="28"/>
                  </a:lnTo>
                  <a:lnTo>
                    <a:pt x="27" y="29"/>
                  </a:lnTo>
                  <a:close/>
                  <a:moveTo>
                    <a:pt x="21" y="27"/>
                  </a:moveTo>
                  <a:lnTo>
                    <a:pt x="21" y="28"/>
                  </a:lnTo>
                  <a:lnTo>
                    <a:pt x="20" y="28"/>
                  </a:lnTo>
                  <a:lnTo>
                    <a:pt x="20" y="27"/>
                  </a:lnTo>
                  <a:lnTo>
                    <a:pt x="21" y="27"/>
                  </a:lnTo>
                  <a:close/>
                  <a:moveTo>
                    <a:pt x="19" y="28"/>
                  </a:moveTo>
                  <a:lnTo>
                    <a:pt x="19" y="27"/>
                  </a:lnTo>
                  <a:lnTo>
                    <a:pt x="19" y="26"/>
                  </a:lnTo>
                  <a:lnTo>
                    <a:pt x="19" y="27"/>
                  </a:lnTo>
                  <a:lnTo>
                    <a:pt x="19" y="28"/>
                  </a:lnTo>
                  <a:close/>
                  <a:moveTo>
                    <a:pt x="20" y="27"/>
                  </a:moveTo>
                  <a:lnTo>
                    <a:pt x="20" y="26"/>
                  </a:lnTo>
                  <a:lnTo>
                    <a:pt x="20" y="27"/>
                  </a:lnTo>
                  <a:close/>
                  <a:moveTo>
                    <a:pt x="2" y="13"/>
                  </a:moveTo>
                  <a:lnTo>
                    <a:pt x="3" y="13"/>
                  </a:lnTo>
                  <a:lnTo>
                    <a:pt x="3" y="14"/>
                  </a:lnTo>
                  <a:lnTo>
                    <a:pt x="2" y="14"/>
                  </a:lnTo>
                  <a:lnTo>
                    <a:pt x="0" y="14"/>
                  </a:lnTo>
                  <a:lnTo>
                    <a:pt x="0" y="13"/>
                  </a:lnTo>
                  <a:lnTo>
                    <a:pt x="2" y="13"/>
                  </a:lnTo>
                  <a:close/>
                  <a:moveTo>
                    <a:pt x="43" y="1"/>
                  </a:moveTo>
                  <a:lnTo>
                    <a:pt x="43" y="2"/>
                  </a:lnTo>
                  <a:lnTo>
                    <a:pt x="45" y="2"/>
                  </a:lnTo>
                  <a:lnTo>
                    <a:pt x="47" y="4"/>
                  </a:lnTo>
                  <a:lnTo>
                    <a:pt x="47" y="5"/>
                  </a:lnTo>
                  <a:lnTo>
                    <a:pt x="48" y="5"/>
                  </a:lnTo>
                  <a:lnTo>
                    <a:pt x="49" y="5"/>
                  </a:lnTo>
                  <a:lnTo>
                    <a:pt x="48" y="6"/>
                  </a:lnTo>
                  <a:lnTo>
                    <a:pt x="47" y="7"/>
                  </a:lnTo>
                  <a:lnTo>
                    <a:pt x="47" y="8"/>
                  </a:lnTo>
                  <a:lnTo>
                    <a:pt x="47" y="9"/>
                  </a:lnTo>
                  <a:lnTo>
                    <a:pt x="47" y="11"/>
                  </a:lnTo>
                  <a:lnTo>
                    <a:pt x="48" y="11"/>
                  </a:lnTo>
                  <a:lnTo>
                    <a:pt x="48" y="12"/>
                  </a:lnTo>
                  <a:lnTo>
                    <a:pt x="48" y="13"/>
                  </a:lnTo>
                  <a:lnTo>
                    <a:pt x="48" y="14"/>
                  </a:lnTo>
                  <a:lnTo>
                    <a:pt x="48" y="15"/>
                  </a:lnTo>
                  <a:lnTo>
                    <a:pt x="48" y="16"/>
                  </a:lnTo>
                  <a:lnTo>
                    <a:pt x="47" y="16"/>
                  </a:lnTo>
                  <a:lnTo>
                    <a:pt x="47" y="18"/>
                  </a:lnTo>
                  <a:lnTo>
                    <a:pt x="47" y="19"/>
                  </a:lnTo>
                  <a:lnTo>
                    <a:pt x="47" y="20"/>
                  </a:lnTo>
                  <a:lnTo>
                    <a:pt x="47" y="21"/>
                  </a:lnTo>
                  <a:lnTo>
                    <a:pt x="47" y="22"/>
                  </a:lnTo>
                  <a:lnTo>
                    <a:pt x="47" y="23"/>
                  </a:lnTo>
                  <a:lnTo>
                    <a:pt x="47" y="26"/>
                  </a:lnTo>
                  <a:lnTo>
                    <a:pt x="47" y="29"/>
                  </a:lnTo>
                  <a:lnTo>
                    <a:pt x="47" y="32"/>
                  </a:lnTo>
                  <a:lnTo>
                    <a:pt x="47" y="33"/>
                  </a:lnTo>
                  <a:lnTo>
                    <a:pt x="47" y="34"/>
                  </a:lnTo>
                  <a:lnTo>
                    <a:pt x="47" y="35"/>
                  </a:lnTo>
                  <a:lnTo>
                    <a:pt x="46" y="35"/>
                  </a:lnTo>
                  <a:lnTo>
                    <a:pt x="46" y="36"/>
                  </a:lnTo>
                  <a:lnTo>
                    <a:pt x="46" y="37"/>
                  </a:lnTo>
                  <a:lnTo>
                    <a:pt x="46" y="39"/>
                  </a:lnTo>
                  <a:lnTo>
                    <a:pt x="45" y="39"/>
                  </a:lnTo>
                  <a:lnTo>
                    <a:pt x="45" y="40"/>
                  </a:lnTo>
                  <a:lnTo>
                    <a:pt x="45" y="41"/>
                  </a:lnTo>
                  <a:lnTo>
                    <a:pt x="43" y="41"/>
                  </a:lnTo>
                  <a:lnTo>
                    <a:pt x="43" y="42"/>
                  </a:lnTo>
                  <a:lnTo>
                    <a:pt x="43" y="43"/>
                  </a:lnTo>
                  <a:lnTo>
                    <a:pt x="42" y="43"/>
                  </a:lnTo>
                  <a:lnTo>
                    <a:pt x="42" y="44"/>
                  </a:lnTo>
                  <a:lnTo>
                    <a:pt x="42" y="46"/>
                  </a:lnTo>
                  <a:lnTo>
                    <a:pt x="42" y="47"/>
                  </a:lnTo>
                  <a:lnTo>
                    <a:pt x="42" y="48"/>
                  </a:lnTo>
                  <a:lnTo>
                    <a:pt x="42" y="49"/>
                  </a:lnTo>
                  <a:lnTo>
                    <a:pt x="43" y="51"/>
                  </a:lnTo>
                  <a:lnTo>
                    <a:pt x="42" y="53"/>
                  </a:lnTo>
                  <a:lnTo>
                    <a:pt x="42" y="54"/>
                  </a:lnTo>
                  <a:lnTo>
                    <a:pt x="41" y="53"/>
                  </a:lnTo>
                  <a:lnTo>
                    <a:pt x="41" y="54"/>
                  </a:lnTo>
                  <a:lnTo>
                    <a:pt x="41" y="53"/>
                  </a:lnTo>
                  <a:lnTo>
                    <a:pt x="40" y="53"/>
                  </a:lnTo>
                  <a:lnTo>
                    <a:pt x="40" y="51"/>
                  </a:lnTo>
                  <a:lnTo>
                    <a:pt x="40" y="50"/>
                  </a:lnTo>
                  <a:lnTo>
                    <a:pt x="39" y="48"/>
                  </a:lnTo>
                  <a:lnTo>
                    <a:pt x="38" y="47"/>
                  </a:lnTo>
                  <a:lnTo>
                    <a:pt x="38" y="46"/>
                  </a:lnTo>
                  <a:lnTo>
                    <a:pt x="36" y="46"/>
                  </a:lnTo>
                  <a:lnTo>
                    <a:pt x="35" y="46"/>
                  </a:lnTo>
                  <a:lnTo>
                    <a:pt x="35" y="44"/>
                  </a:lnTo>
                  <a:lnTo>
                    <a:pt x="34" y="44"/>
                  </a:lnTo>
                  <a:lnTo>
                    <a:pt x="33" y="43"/>
                  </a:lnTo>
                  <a:lnTo>
                    <a:pt x="34" y="44"/>
                  </a:lnTo>
                  <a:lnTo>
                    <a:pt x="34" y="43"/>
                  </a:lnTo>
                  <a:lnTo>
                    <a:pt x="33" y="43"/>
                  </a:lnTo>
                  <a:lnTo>
                    <a:pt x="33" y="42"/>
                  </a:lnTo>
                  <a:lnTo>
                    <a:pt x="32" y="42"/>
                  </a:lnTo>
                  <a:lnTo>
                    <a:pt x="32" y="41"/>
                  </a:lnTo>
                  <a:lnTo>
                    <a:pt x="32" y="40"/>
                  </a:lnTo>
                  <a:lnTo>
                    <a:pt x="31" y="40"/>
                  </a:lnTo>
                  <a:lnTo>
                    <a:pt x="32" y="40"/>
                  </a:lnTo>
                  <a:lnTo>
                    <a:pt x="32" y="39"/>
                  </a:lnTo>
                  <a:lnTo>
                    <a:pt x="31" y="39"/>
                  </a:lnTo>
                  <a:lnTo>
                    <a:pt x="31" y="37"/>
                  </a:lnTo>
                  <a:lnTo>
                    <a:pt x="30" y="37"/>
                  </a:lnTo>
                  <a:lnTo>
                    <a:pt x="31" y="36"/>
                  </a:lnTo>
                  <a:lnTo>
                    <a:pt x="30" y="36"/>
                  </a:lnTo>
                  <a:lnTo>
                    <a:pt x="28" y="36"/>
                  </a:lnTo>
                  <a:lnTo>
                    <a:pt x="28" y="35"/>
                  </a:lnTo>
                  <a:lnTo>
                    <a:pt x="30" y="35"/>
                  </a:lnTo>
                  <a:lnTo>
                    <a:pt x="28" y="35"/>
                  </a:lnTo>
                  <a:lnTo>
                    <a:pt x="28" y="34"/>
                  </a:lnTo>
                  <a:lnTo>
                    <a:pt x="28" y="33"/>
                  </a:lnTo>
                  <a:lnTo>
                    <a:pt x="28" y="32"/>
                  </a:lnTo>
                  <a:lnTo>
                    <a:pt x="30" y="32"/>
                  </a:lnTo>
                  <a:lnTo>
                    <a:pt x="28" y="32"/>
                  </a:lnTo>
                  <a:lnTo>
                    <a:pt x="28" y="30"/>
                  </a:lnTo>
                  <a:lnTo>
                    <a:pt x="30" y="30"/>
                  </a:lnTo>
                  <a:lnTo>
                    <a:pt x="28" y="30"/>
                  </a:lnTo>
                  <a:lnTo>
                    <a:pt x="28" y="29"/>
                  </a:lnTo>
                  <a:lnTo>
                    <a:pt x="28" y="28"/>
                  </a:lnTo>
                  <a:lnTo>
                    <a:pt x="28" y="27"/>
                  </a:lnTo>
                  <a:lnTo>
                    <a:pt x="28" y="26"/>
                  </a:lnTo>
                  <a:lnTo>
                    <a:pt x="28" y="25"/>
                  </a:lnTo>
                  <a:lnTo>
                    <a:pt x="28" y="23"/>
                  </a:lnTo>
                  <a:lnTo>
                    <a:pt x="28" y="22"/>
                  </a:lnTo>
                  <a:lnTo>
                    <a:pt x="30" y="22"/>
                  </a:lnTo>
                  <a:lnTo>
                    <a:pt x="30" y="21"/>
                  </a:lnTo>
                  <a:lnTo>
                    <a:pt x="30" y="20"/>
                  </a:lnTo>
                  <a:lnTo>
                    <a:pt x="31" y="19"/>
                  </a:lnTo>
                  <a:lnTo>
                    <a:pt x="30" y="19"/>
                  </a:lnTo>
                  <a:lnTo>
                    <a:pt x="31" y="19"/>
                  </a:lnTo>
                  <a:lnTo>
                    <a:pt x="31" y="18"/>
                  </a:lnTo>
                  <a:lnTo>
                    <a:pt x="31" y="16"/>
                  </a:lnTo>
                  <a:lnTo>
                    <a:pt x="31" y="15"/>
                  </a:lnTo>
                  <a:lnTo>
                    <a:pt x="31" y="14"/>
                  </a:lnTo>
                  <a:lnTo>
                    <a:pt x="32" y="14"/>
                  </a:lnTo>
                  <a:lnTo>
                    <a:pt x="32" y="13"/>
                  </a:lnTo>
                  <a:lnTo>
                    <a:pt x="32" y="12"/>
                  </a:lnTo>
                  <a:lnTo>
                    <a:pt x="32" y="11"/>
                  </a:lnTo>
                  <a:lnTo>
                    <a:pt x="33" y="11"/>
                  </a:lnTo>
                  <a:lnTo>
                    <a:pt x="34" y="11"/>
                  </a:lnTo>
                  <a:lnTo>
                    <a:pt x="34" y="9"/>
                  </a:lnTo>
                  <a:lnTo>
                    <a:pt x="34" y="8"/>
                  </a:lnTo>
                  <a:lnTo>
                    <a:pt x="34" y="7"/>
                  </a:lnTo>
                  <a:lnTo>
                    <a:pt x="34" y="6"/>
                  </a:lnTo>
                  <a:lnTo>
                    <a:pt x="35" y="6"/>
                  </a:lnTo>
                  <a:lnTo>
                    <a:pt x="35" y="5"/>
                  </a:lnTo>
                  <a:lnTo>
                    <a:pt x="35" y="4"/>
                  </a:lnTo>
                  <a:lnTo>
                    <a:pt x="36" y="4"/>
                  </a:lnTo>
                  <a:lnTo>
                    <a:pt x="38" y="4"/>
                  </a:lnTo>
                  <a:lnTo>
                    <a:pt x="39" y="2"/>
                  </a:lnTo>
                  <a:lnTo>
                    <a:pt x="40" y="2"/>
                  </a:lnTo>
                  <a:lnTo>
                    <a:pt x="41" y="2"/>
                  </a:lnTo>
                  <a:lnTo>
                    <a:pt x="40" y="2"/>
                  </a:lnTo>
                  <a:lnTo>
                    <a:pt x="40" y="1"/>
                  </a:lnTo>
                  <a:lnTo>
                    <a:pt x="41" y="0"/>
                  </a:lnTo>
                  <a:lnTo>
                    <a:pt x="42" y="0"/>
                  </a:lnTo>
                  <a:lnTo>
                    <a:pt x="43"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66" name="Freeform 1027">
              <a:extLst>
                <a:ext uri="{FF2B5EF4-FFF2-40B4-BE49-F238E27FC236}">
                  <a16:creationId xmlns:a16="http://schemas.microsoft.com/office/drawing/2014/main" id="{C0E68467-27D5-417A-991C-6A7D1192766B}"/>
                </a:ext>
              </a:extLst>
            </p:cNvPr>
            <p:cNvSpPr>
              <a:spLocks noEditPoints="1"/>
            </p:cNvSpPr>
            <p:nvPr/>
          </p:nvSpPr>
          <p:spPr bwMode="auto">
            <a:xfrm>
              <a:off x="6356649" y="3369896"/>
              <a:ext cx="198988" cy="227033"/>
            </a:xfrm>
            <a:custGeom>
              <a:avLst/>
              <a:gdLst>
                <a:gd name="T0" fmla="*/ 140 w 149"/>
                <a:gd name="T1" fmla="*/ 108 h 170"/>
                <a:gd name="T2" fmla="*/ 136 w 149"/>
                <a:gd name="T3" fmla="*/ 79 h 170"/>
                <a:gd name="T4" fmla="*/ 138 w 149"/>
                <a:gd name="T5" fmla="*/ 85 h 170"/>
                <a:gd name="T6" fmla="*/ 134 w 149"/>
                <a:gd name="T7" fmla="*/ 77 h 170"/>
                <a:gd name="T8" fmla="*/ 142 w 149"/>
                <a:gd name="T9" fmla="*/ 61 h 170"/>
                <a:gd name="T10" fmla="*/ 142 w 149"/>
                <a:gd name="T11" fmla="*/ 70 h 170"/>
                <a:gd name="T12" fmla="*/ 141 w 149"/>
                <a:gd name="T13" fmla="*/ 65 h 170"/>
                <a:gd name="T14" fmla="*/ 40 w 149"/>
                <a:gd name="T15" fmla="*/ 21 h 170"/>
                <a:gd name="T16" fmla="*/ 32 w 149"/>
                <a:gd name="T17" fmla="*/ 19 h 170"/>
                <a:gd name="T18" fmla="*/ 50 w 149"/>
                <a:gd name="T19" fmla="*/ 17 h 170"/>
                <a:gd name="T20" fmla="*/ 47 w 149"/>
                <a:gd name="T21" fmla="*/ 15 h 170"/>
                <a:gd name="T22" fmla="*/ 33 w 149"/>
                <a:gd name="T23" fmla="*/ 9 h 170"/>
                <a:gd name="T24" fmla="*/ 33 w 149"/>
                <a:gd name="T25" fmla="*/ 1 h 170"/>
                <a:gd name="T26" fmla="*/ 29 w 149"/>
                <a:gd name="T27" fmla="*/ 16 h 170"/>
                <a:gd name="T28" fmla="*/ 31 w 149"/>
                <a:gd name="T29" fmla="*/ 24 h 170"/>
                <a:gd name="T30" fmla="*/ 34 w 149"/>
                <a:gd name="T31" fmla="*/ 26 h 170"/>
                <a:gd name="T32" fmla="*/ 35 w 149"/>
                <a:gd name="T33" fmla="*/ 22 h 170"/>
                <a:gd name="T34" fmla="*/ 41 w 149"/>
                <a:gd name="T35" fmla="*/ 23 h 170"/>
                <a:gd name="T36" fmla="*/ 45 w 149"/>
                <a:gd name="T37" fmla="*/ 24 h 170"/>
                <a:gd name="T38" fmla="*/ 46 w 149"/>
                <a:gd name="T39" fmla="*/ 31 h 170"/>
                <a:gd name="T40" fmla="*/ 47 w 149"/>
                <a:gd name="T41" fmla="*/ 22 h 170"/>
                <a:gd name="T42" fmla="*/ 55 w 149"/>
                <a:gd name="T43" fmla="*/ 23 h 170"/>
                <a:gd name="T44" fmla="*/ 56 w 149"/>
                <a:gd name="T45" fmla="*/ 18 h 170"/>
                <a:gd name="T46" fmla="*/ 56 w 149"/>
                <a:gd name="T47" fmla="*/ 15 h 170"/>
                <a:gd name="T48" fmla="*/ 57 w 149"/>
                <a:gd name="T49" fmla="*/ 10 h 170"/>
                <a:gd name="T50" fmla="*/ 61 w 149"/>
                <a:gd name="T51" fmla="*/ 8 h 170"/>
                <a:gd name="T52" fmla="*/ 62 w 149"/>
                <a:gd name="T53" fmla="*/ 2 h 170"/>
                <a:gd name="T54" fmla="*/ 97 w 149"/>
                <a:gd name="T55" fmla="*/ 22 h 170"/>
                <a:gd name="T56" fmla="*/ 113 w 149"/>
                <a:gd name="T57" fmla="*/ 39 h 170"/>
                <a:gd name="T58" fmla="*/ 128 w 149"/>
                <a:gd name="T59" fmla="*/ 53 h 170"/>
                <a:gd name="T60" fmla="*/ 133 w 149"/>
                <a:gd name="T61" fmla="*/ 63 h 170"/>
                <a:gd name="T62" fmla="*/ 128 w 149"/>
                <a:gd name="T63" fmla="*/ 77 h 170"/>
                <a:gd name="T64" fmla="*/ 132 w 149"/>
                <a:gd name="T65" fmla="*/ 87 h 170"/>
                <a:gd name="T66" fmla="*/ 138 w 149"/>
                <a:gd name="T67" fmla="*/ 96 h 170"/>
                <a:gd name="T68" fmla="*/ 135 w 149"/>
                <a:gd name="T69" fmla="*/ 107 h 170"/>
                <a:gd name="T70" fmla="*/ 135 w 149"/>
                <a:gd name="T71" fmla="*/ 119 h 170"/>
                <a:gd name="T72" fmla="*/ 139 w 149"/>
                <a:gd name="T73" fmla="*/ 130 h 170"/>
                <a:gd name="T74" fmla="*/ 141 w 149"/>
                <a:gd name="T75" fmla="*/ 140 h 170"/>
                <a:gd name="T76" fmla="*/ 145 w 149"/>
                <a:gd name="T77" fmla="*/ 144 h 170"/>
                <a:gd name="T78" fmla="*/ 148 w 149"/>
                <a:gd name="T79" fmla="*/ 148 h 170"/>
                <a:gd name="T80" fmla="*/ 138 w 149"/>
                <a:gd name="T81" fmla="*/ 157 h 170"/>
                <a:gd name="T82" fmla="*/ 120 w 149"/>
                <a:gd name="T83" fmla="*/ 164 h 170"/>
                <a:gd name="T84" fmla="*/ 109 w 149"/>
                <a:gd name="T85" fmla="*/ 169 h 170"/>
                <a:gd name="T86" fmla="*/ 95 w 149"/>
                <a:gd name="T87" fmla="*/ 170 h 170"/>
                <a:gd name="T88" fmla="*/ 85 w 149"/>
                <a:gd name="T89" fmla="*/ 164 h 170"/>
                <a:gd name="T90" fmla="*/ 71 w 149"/>
                <a:gd name="T91" fmla="*/ 164 h 170"/>
                <a:gd name="T92" fmla="*/ 68 w 149"/>
                <a:gd name="T93" fmla="*/ 150 h 170"/>
                <a:gd name="T94" fmla="*/ 62 w 149"/>
                <a:gd name="T95" fmla="*/ 135 h 170"/>
                <a:gd name="T96" fmla="*/ 52 w 149"/>
                <a:gd name="T97" fmla="*/ 136 h 170"/>
                <a:gd name="T98" fmla="*/ 36 w 149"/>
                <a:gd name="T99" fmla="*/ 128 h 170"/>
                <a:gd name="T100" fmla="*/ 25 w 149"/>
                <a:gd name="T101" fmla="*/ 121 h 170"/>
                <a:gd name="T102" fmla="*/ 19 w 149"/>
                <a:gd name="T103" fmla="*/ 112 h 170"/>
                <a:gd name="T104" fmla="*/ 13 w 149"/>
                <a:gd name="T105" fmla="*/ 99 h 170"/>
                <a:gd name="T106" fmla="*/ 7 w 149"/>
                <a:gd name="T107" fmla="*/ 86 h 170"/>
                <a:gd name="T108" fmla="*/ 5 w 149"/>
                <a:gd name="T109" fmla="*/ 78 h 170"/>
                <a:gd name="T110" fmla="*/ 3 w 149"/>
                <a:gd name="T111" fmla="*/ 64 h 170"/>
                <a:gd name="T112" fmla="*/ 6 w 149"/>
                <a:gd name="T113" fmla="*/ 50 h 170"/>
                <a:gd name="T114" fmla="*/ 15 w 149"/>
                <a:gd name="T115" fmla="*/ 38 h 170"/>
                <a:gd name="T116" fmla="*/ 14 w 149"/>
                <a:gd name="T117" fmla="*/ 30 h 170"/>
                <a:gd name="T118" fmla="*/ 15 w 149"/>
                <a:gd name="T119" fmla="*/ 21 h 170"/>
                <a:gd name="T120" fmla="*/ 18 w 149"/>
                <a:gd name="T121" fmla="*/ 9 h 170"/>
                <a:gd name="T122" fmla="*/ 18 w 149"/>
                <a:gd name="T123"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9" h="170">
                  <a:moveTo>
                    <a:pt x="141" y="112"/>
                  </a:moveTo>
                  <a:lnTo>
                    <a:pt x="140" y="112"/>
                  </a:lnTo>
                  <a:lnTo>
                    <a:pt x="140" y="110"/>
                  </a:lnTo>
                  <a:lnTo>
                    <a:pt x="141" y="110"/>
                  </a:lnTo>
                  <a:lnTo>
                    <a:pt x="141" y="112"/>
                  </a:lnTo>
                  <a:close/>
                  <a:moveTo>
                    <a:pt x="143" y="107"/>
                  </a:moveTo>
                  <a:lnTo>
                    <a:pt x="142" y="107"/>
                  </a:lnTo>
                  <a:lnTo>
                    <a:pt x="142" y="108"/>
                  </a:lnTo>
                  <a:lnTo>
                    <a:pt x="142" y="109"/>
                  </a:lnTo>
                  <a:lnTo>
                    <a:pt x="141" y="109"/>
                  </a:lnTo>
                  <a:lnTo>
                    <a:pt x="140" y="110"/>
                  </a:lnTo>
                  <a:lnTo>
                    <a:pt x="139" y="110"/>
                  </a:lnTo>
                  <a:lnTo>
                    <a:pt x="139" y="109"/>
                  </a:lnTo>
                  <a:lnTo>
                    <a:pt x="140" y="109"/>
                  </a:lnTo>
                  <a:lnTo>
                    <a:pt x="140" y="108"/>
                  </a:lnTo>
                  <a:lnTo>
                    <a:pt x="140" y="107"/>
                  </a:lnTo>
                  <a:lnTo>
                    <a:pt x="141" y="107"/>
                  </a:lnTo>
                  <a:lnTo>
                    <a:pt x="142" y="107"/>
                  </a:lnTo>
                  <a:lnTo>
                    <a:pt x="141" y="107"/>
                  </a:lnTo>
                  <a:lnTo>
                    <a:pt x="142" y="107"/>
                  </a:lnTo>
                  <a:lnTo>
                    <a:pt x="142" y="106"/>
                  </a:lnTo>
                  <a:lnTo>
                    <a:pt x="142" y="105"/>
                  </a:lnTo>
                  <a:lnTo>
                    <a:pt x="143" y="105"/>
                  </a:lnTo>
                  <a:lnTo>
                    <a:pt x="143" y="106"/>
                  </a:lnTo>
                  <a:lnTo>
                    <a:pt x="143" y="107"/>
                  </a:lnTo>
                  <a:close/>
                  <a:moveTo>
                    <a:pt x="134" y="77"/>
                  </a:moveTo>
                  <a:lnTo>
                    <a:pt x="134" y="75"/>
                  </a:lnTo>
                  <a:lnTo>
                    <a:pt x="134" y="77"/>
                  </a:lnTo>
                  <a:close/>
                  <a:moveTo>
                    <a:pt x="136" y="78"/>
                  </a:moveTo>
                  <a:lnTo>
                    <a:pt x="136" y="79"/>
                  </a:lnTo>
                  <a:lnTo>
                    <a:pt x="136" y="80"/>
                  </a:lnTo>
                  <a:lnTo>
                    <a:pt x="136" y="81"/>
                  </a:lnTo>
                  <a:lnTo>
                    <a:pt x="138" y="81"/>
                  </a:lnTo>
                  <a:lnTo>
                    <a:pt x="136" y="81"/>
                  </a:lnTo>
                  <a:lnTo>
                    <a:pt x="138" y="81"/>
                  </a:lnTo>
                  <a:lnTo>
                    <a:pt x="138" y="82"/>
                  </a:lnTo>
                  <a:lnTo>
                    <a:pt x="138" y="81"/>
                  </a:lnTo>
                  <a:lnTo>
                    <a:pt x="138" y="80"/>
                  </a:lnTo>
                  <a:lnTo>
                    <a:pt x="138" y="81"/>
                  </a:lnTo>
                  <a:lnTo>
                    <a:pt x="139" y="81"/>
                  </a:lnTo>
                  <a:lnTo>
                    <a:pt x="139" y="84"/>
                  </a:lnTo>
                  <a:lnTo>
                    <a:pt x="139" y="85"/>
                  </a:lnTo>
                  <a:lnTo>
                    <a:pt x="139" y="86"/>
                  </a:lnTo>
                  <a:lnTo>
                    <a:pt x="138" y="86"/>
                  </a:lnTo>
                  <a:lnTo>
                    <a:pt x="138" y="85"/>
                  </a:lnTo>
                  <a:lnTo>
                    <a:pt x="136" y="85"/>
                  </a:lnTo>
                  <a:lnTo>
                    <a:pt x="136" y="84"/>
                  </a:lnTo>
                  <a:lnTo>
                    <a:pt x="136" y="85"/>
                  </a:lnTo>
                  <a:lnTo>
                    <a:pt x="136" y="84"/>
                  </a:lnTo>
                  <a:lnTo>
                    <a:pt x="135" y="84"/>
                  </a:lnTo>
                  <a:lnTo>
                    <a:pt x="135" y="82"/>
                  </a:lnTo>
                  <a:lnTo>
                    <a:pt x="135" y="84"/>
                  </a:lnTo>
                  <a:lnTo>
                    <a:pt x="134" y="84"/>
                  </a:lnTo>
                  <a:lnTo>
                    <a:pt x="134" y="82"/>
                  </a:lnTo>
                  <a:lnTo>
                    <a:pt x="134" y="81"/>
                  </a:lnTo>
                  <a:lnTo>
                    <a:pt x="133" y="81"/>
                  </a:lnTo>
                  <a:lnTo>
                    <a:pt x="134" y="80"/>
                  </a:lnTo>
                  <a:lnTo>
                    <a:pt x="134" y="79"/>
                  </a:lnTo>
                  <a:lnTo>
                    <a:pt x="134" y="78"/>
                  </a:lnTo>
                  <a:lnTo>
                    <a:pt x="134" y="77"/>
                  </a:lnTo>
                  <a:lnTo>
                    <a:pt x="134" y="78"/>
                  </a:lnTo>
                  <a:lnTo>
                    <a:pt x="134" y="77"/>
                  </a:lnTo>
                  <a:lnTo>
                    <a:pt x="135" y="77"/>
                  </a:lnTo>
                  <a:lnTo>
                    <a:pt x="135" y="75"/>
                  </a:lnTo>
                  <a:lnTo>
                    <a:pt x="135" y="74"/>
                  </a:lnTo>
                  <a:lnTo>
                    <a:pt x="136" y="75"/>
                  </a:lnTo>
                  <a:lnTo>
                    <a:pt x="136" y="77"/>
                  </a:lnTo>
                  <a:lnTo>
                    <a:pt x="136" y="78"/>
                  </a:lnTo>
                  <a:close/>
                  <a:moveTo>
                    <a:pt x="140" y="71"/>
                  </a:moveTo>
                  <a:lnTo>
                    <a:pt x="140" y="70"/>
                  </a:lnTo>
                  <a:lnTo>
                    <a:pt x="139" y="70"/>
                  </a:lnTo>
                  <a:lnTo>
                    <a:pt x="140" y="70"/>
                  </a:lnTo>
                  <a:lnTo>
                    <a:pt x="140" y="71"/>
                  </a:lnTo>
                  <a:close/>
                  <a:moveTo>
                    <a:pt x="141" y="61"/>
                  </a:moveTo>
                  <a:lnTo>
                    <a:pt x="142" y="61"/>
                  </a:lnTo>
                  <a:lnTo>
                    <a:pt x="142" y="63"/>
                  </a:lnTo>
                  <a:lnTo>
                    <a:pt x="143" y="61"/>
                  </a:lnTo>
                  <a:lnTo>
                    <a:pt x="143" y="63"/>
                  </a:lnTo>
                  <a:lnTo>
                    <a:pt x="143" y="61"/>
                  </a:lnTo>
                  <a:lnTo>
                    <a:pt x="143" y="63"/>
                  </a:lnTo>
                  <a:lnTo>
                    <a:pt x="143" y="64"/>
                  </a:lnTo>
                  <a:lnTo>
                    <a:pt x="142" y="64"/>
                  </a:lnTo>
                  <a:lnTo>
                    <a:pt x="142" y="65"/>
                  </a:lnTo>
                  <a:lnTo>
                    <a:pt x="143" y="65"/>
                  </a:lnTo>
                  <a:lnTo>
                    <a:pt x="143" y="66"/>
                  </a:lnTo>
                  <a:lnTo>
                    <a:pt x="143" y="67"/>
                  </a:lnTo>
                  <a:lnTo>
                    <a:pt x="142" y="68"/>
                  </a:lnTo>
                  <a:lnTo>
                    <a:pt x="142" y="70"/>
                  </a:lnTo>
                  <a:lnTo>
                    <a:pt x="142" y="68"/>
                  </a:lnTo>
                  <a:lnTo>
                    <a:pt x="142" y="70"/>
                  </a:lnTo>
                  <a:lnTo>
                    <a:pt x="141" y="70"/>
                  </a:lnTo>
                  <a:lnTo>
                    <a:pt x="140" y="70"/>
                  </a:lnTo>
                  <a:lnTo>
                    <a:pt x="140" y="68"/>
                  </a:lnTo>
                  <a:lnTo>
                    <a:pt x="141" y="68"/>
                  </a:lnTo>
                  <a:lnTo>
                    <a:pt x="140" y="67"/>
                  </a:lnTo>
                  <a:lnTo>
                    <a:pt x="141" y="67"/>
                  </a:lnTo>
                  <a:lnTo>
                    <a:pt x="142" y="67"/>
                  </a:lnTo>
                  <a:lnTo>
                    <a:pt x="142" y="66"/>
                  </a:lnTo>
                  <a:lnTo>
                    <a:pt x="142" y="67"/>
                  </a:lnTo>
                  <a:lnTo>
                    <a:pt x="141" y="66"/>
                  </a:lnTo>
                  <a:lnTo>
                    <a:pt x="140" y="66"/>
                  </a:lnTo>
                  <a:lnTo>
                    <a:pt x="141" y="66"/>
                  </a:lnTo>
                  <a:lnTo>
                    <a:pt x="141" y="65"/>
                  </a:lnTo>
                  <a:lnTo>
                    <a:pt x="141" y="66"/>
                  </a:lnTo>
                  <a:lnTo>
                    <a:pt x="141" y="65"/>
                  </a:lnTo>
                  <a:lnTo>
                    <a:pt x="141" y="64"/>
                  </a:lnTo>
                  <a:lnTo>
                    <a:pt x="141" y="63"/>
                  </a:lnTo>
                  <a:lnTo>
                    <a:pt x="141" y="61"/>
                  </a:lnTo>
                  <a:close/>
                  <a:moveTo>
                    <a:pt x="40" y="19"/>
                  </a:moveTo>
                  <a:lnTo>
                    <a:pt x="41" y="19"/>
                  </a:lnTo>
                  <a:lnTo>
                    <a:pt x="41" y="21"/>
                  </a:lnTo>
                  <a:lnTo>
                    <a:pt x="41" y="19"/>
                  </a:lnTo>
                  <a:lnTo>
                    <a:pt x="42" y="19"/>
                  </a:lnTo>
                  <a:lnTo>
                    <a:pt x="42" y="21"/>
                  </a:lnTo>
                  <a:lnTo>
                    <a:pt x="41" y="21"/>
                  </a:lnTo>
                  <a:lnTo>
                    <a:pt x="41" y="22"/>
                  </a:lnTo>
                  <a:lnTo>
                    <a:pt x="41" y="21"/>
                  </a:lnTo>
                  <a:lnTo>
                    <a:pt x="41" y="22"/>
                  </a:lnTo>
                  <a:lnTo>
                    <a:pt x="40" y="22"/>
                  </a:lnTo>
                  <a:lnTo>
                    <a:pt x="40" y="21"/>
                  </a:lnTo>
                  <a:lnTo>
                    <a:pt x="40" y="19"/>
                  </a:lnTo>
                  <a:close/>
                  <a:moveTo>
                    <a:pt x="35" y="19"/>
                  </a:moveTo>
                  <a:lnTo>
                    <a:pt x="35" y="21"/>
                  </a:lnTo>
                  <a:lnTo>
                    <a:pt x="34" y="21"/>
                  </a:lnTo>
                  <a:lnTo>
                    <a:pt x="34" y="19"/>
                  </a:lnTo>
                  <a:lnTo>
                    <a:pt x="35" y="19"/>
                  </a:lnTo>
                  <a:close/>
                  <a:moveTo>
                    <a:pt x="32" y="19"/>
                  </a:moveTo>
                  <a:lnTo>
                    <a:pt x="33" y="19"/>
                  </a:lnTo>
                  <a:lnTo>
                    <a:pt x="33" y="21"/>
                  </a:lnTo>
                  <a:lnTo>
                    <a:pt x="33" y="22"/>
                  </a:lnTo>
                  <a:lnTo>
                    <a:pt x="33" y="23"/>
                  </a:lnTo>
                  <a:lnTo>
                    <a:pt x="32" y="23"/>
                  </a:lnTo>
                  <a:lnTo>
                    <a:pt x="32" y="22"/>
                  </a:lnTo>
                  <a:lnTo>
                    <a:pt x="32" y="21"/>
                  </a:lnTo>
                  <a:lnTo>
                    <a:pt x="32" y="19"/>
                  </a:lnTo>
                  <a:lnTo>
                    <a:pt x="32" y="18"/>
                  </a:lnTo>
                  <a:lnTo>
                    <a:pt x="32" y="19"/>
                  </a:lnTo>
                  <a:close/>
                  <a:moveTo>
                    <a:pt x="32" y="17"/>
                  </a:moveTo>
                  <a:lnTo>
                    <a:pt x="32" y="18"/>
                  </a:lnTo>
                  <a:lnTo>
                    <a:pt x="32" y="17"/>
                  </a:lnTo>
                  <a:lnTo>
                    <a:pt x="31" y="17"/>
                  </a:lnTo>
                  <a:lnTo>
                    <a:pt x="32" y="17"/>
                  </a:lnTo>
                  <a:close/>
                  <a:moveTo>
                    <a:pt x="47" y="15"/>
                  </a:moveTo>
                  <a:lnTo>
                    <a:pt x="48" y="15"/>
                  </a:lnTo>
                  <a:lnTo>
                    <a:pt x="49" y="15"/>
                  </a:lnTo>
                  <a:lnTo>
                    <a:pt x="50" y="15"/>
                  </a:lnTo>
                  <a:lnTo>
                    <a:pt x="50" y="16"/>
                  </a:lnTo>
                  <a:lnTo>
                    <a:pt x="49" y="16"/>
                  </a:lnTo>
                  <a:lnTo>
                    <a:pt x="50" y="16"/>
                  </a:lnTo>
                  <a:lnTo>
                    <a:pt x="50" y="17"/>
                  </a:lnTo>
                  <a:lnTo>
                    <a:pt x="50" y="18"/>
                  </a:lnTo>
                  <a:lnTo>
                    <a:pt x="50" y="17"/>
                  </a:lnTo>
                  <a:lnTo>
                    <a:pt x="50" y="18"/>
                  </a:lnTo>
                  <a:lnTo>
                    <a:pt x="49" y="17"/>
                  </a:lnTo>
                  <a:lnTo>
                    <a:pt x="48" y="17"/>
                  </a:lnTo>
                  <a:lnTo>
                    <a:pt x="47" y="17"/>
                  </a:lnTo>
                  <a:lnTo>
                    <a:pt x="47" y="16"/>
                  </a:lnTo>
                  <a:lnTo>
                    <a:pt x="46" y="16"/>
                  </a:lnTo>
                  <a:lnTo>
                    <a:pt x="47" y="16"/>
                  </a:lnTo>
                  <a:lnTo>
                    <a:pt x="47" y="15"/>
                  </a:lnTo>
                  <a:lnTo>
                    <a:pt x="46" y="15"/>
                  </a:lnTo>
                  <a:lnTo>
                    <a:pt x="47" y="15"/>
                  </a:lnTo>
                  <a:lnTo>
                    <a:pt x="47" y="14"/>
                  </a:lnTo>
                  <a:lnTo>
                    <a:pt x="48" y="14"/>
                  </a:lnTo>
                  <a:lnTo>
                    <a:pt x="47" y="15"/>
                  </a:lnTo>
                  <a:close/>
                  <a:moveTo>
                    <a:pt x="49" y="12"/>
                  </a:moveTo>
                  <a:lnTo>
                    <a:pt x="49" y="14"/>
                  </a:lnTo>
                  <a:lnTo>
                    <a:pt x="48" y="14"/>
                  </a:lnTo>
                  <a:lnTo>
                    <a:pt x="48" y="12"/>
                  </a:lnTo>
                  <a:lnTo>
                    <a:pt x="49" y="12"/>
                  </a:lnTo>
                  <a:close/>
                  <a:moveTo>
                    <a:pt x="32" y="12"/>
                  </a:moveTo>
                  <a:lnTo>
                    <a:pt x="32" y="11"/>
                  </a:lnTo>
                  <a:lnTo>
                    <a:pt x="32" y="12"/>
                  </a:lnTo>
                  <a:close/>
                  <a:moveTo>
                    <a:pt x="33" y="9"/>
                  </a:moveTo>
                  <a:lnTo>
                    <a:pt x="33" y="10"/>
                  </a:lnTo>
                  <a:lnTo>
                    <a:pt x="34" y="10"/>
                  </a:lnTo>
                  <a:lnTo>
                    <a:pt x="33" y="10"/>
                  </a:lnTo>
                  <a:lnTo>
                    <a:pt x="33" y="11"/>
                  </a:lnTo>
                  <a:lnTo>
                    <a:pt x="33" y="10"/>
                  </a:lnTo>
                  <a:lnTo>
                    <a:pt x="33" y="9"/>
                  </a:lnTo>
                  <a:close/>
                  <a:moveTo>
                    <a:pt x="18" y="0"/>
                  </a:moveTo>
                  <a:lnTo>
                    <a:pt x="19" y="0"/>
                  </a:lnTo>
                  <a:lnTo>
                    <a:pt x="21" y="0"/>
                  </a:lnTo>
                  <a:lnTo>
                    <a:pt x="24" y="0"/>
                  </a:lnTo>
                  <a:lnTo>
                    <a:pt x="25" y="0"/>
                  </a:lnTo>
                  <a:lnTo>
                    <a:pt x="27" y="0"/>
                  </a:lnTo>
                  <a:lnTo>
                    <a:pt x="29" y="0"/>
                  </a:lnTo>
                  <a:lnTo>
                    <a:pt x="32" y="0"/>
                  </a:lnTo>
                  <a:lnTo>
                    <a:pt x="31" y="0"/>
                  </a:lnTo>
                  <a:lnTo>
                    <a:pt x="32" y="1"/>
                  </a:lnTo>
                  <a:lnTo>
                    <a:pt x="32" y="0"/>
                  </a:lnTo>
                  <a:lnTo>
                    <a:pt x="33" y="0"/>
                  </a:lnTo>
                  <a:lnTo>
                    <a:pt x="33" y="1"/>
                  </a:lnTo>
                  <a:lnTo>
                    <a:pt x="32" y="1"/>
                  </a:lnTo>
                  <a:lnTo>
                    <a:pt x="33" y="1"/>
                  </a:lnTo>
                  <a:lnTo>
                    <a:pt x="32" y="1"/>
                  </a:lnTo>
                  <a:lnTo>
                    <a:pt x="33" y="1"/>
                  </a:lnTo>
                  <a:lnTo>
                    <a:pt x="33" y="2"/>
                  </a:lnTo>
                  <a:lnTo>
                    <a:pt x="32" y="4"/>
                  </a:lnTo>
                  <a:lnTo>
                    <a:pt x="32" y="5"/>
                  </a:lnTo>
                  <a:lnTo>
                    <a:pt x="32" y="7"/>
                  </a:lnTo>
                  <a:lnTo>
                    <a:pt x="31" y="7"/>
                  </a:lnTo>
                  <a:lnTo>
                    <a:pt x="31" y="8"/>
                  </a:lnTo>
                  <a:lnTo>
                    <a:pt x="31" y="9"/>
                  </a:lnTo>
                  <a:lnTo>
                    <a:pt x="31" y="10"/>
                  </a:lnTo>
                  <a:lnTo>
                    <a:pt x="31" y="11"/>
                  </a:lnTo>
                  <a:lnTo>
                    <a:pt x="31" y="12"/>
                  </a:lnTo>
                  <a:lnTo>
                    <a:pt x="29" y="14"/>
                  </a:lnTo>
                  <a:lnTo>
                    <a:pt x="29" y="15"/>
                  </a:lnTo>
                  <a:lnTo>
                    <a:pt x="29" y="16"/>
                  </a:lnTo>
                  <a:lnTo>
                    <a:pt x="31" y="16"/>
                  </a:lnTo>
                  <a:lnTo>
                    <a:pt x="29" y="16"/>
                  </a:lnTo>
                  <a:lnTo>
                    <a:pt x="31" y="16"/>
                  </a:lnTo>
                  <a:lnTo>
                    <a:pt x="31" y="17"/>
                  </a:lnTo>
                  <a:lnTo>
                    <a:pt x="29" y="17"/>
                  </a:lnTo>
                  <a:lnTo>
                    <a:pt x="31" y="17"/>
                  </a:lnTo>
                  <a:lnTo>
                    <a:pt x="29" y="18"/>
                  </a:lnTo>
                  <a:lnTo>
                    <a:pt x="29" y="19"/>
                  </a:lnTo>
                  <a:lnTo>
                    <a:pt x="29" y="21"/>
                  </a:lnTo>
                  <a:lnTo>
                    <a:pt x="31" y="21"/>
                  </a:lnTo>
                  <a:lnTo>
                    <a:pt x="31" y="22"/>
                  </a:lnTo>
                  <a:lnTo>
                    <a:pt x="32" y="22"/>
                  </a:lnTo>
                  <a:lnTo>
                    <a:pt x="32" y="23"/>
                  </a:lnTo>
                  <a:lnTo>
                    <a:pt x="31" y="23"/>
                  </a:lnTo>
                  <a:lnTo>
                    <a:pt x="31" y="24"/>
                  </a:lnTo>
                  <a:lnTo>
                    <a:pt x="31" y="25"/>
                  </a:lnTo>
                  <a:lnTo>
                    <a:pt x="32" y="25"/>
                  </a:lnTo>
                  <a:lnTo>
                    <a:pt x="31" y="25"/>
                  </a:lnTo>
                  <a:lnTo>
                    <a:pt x="31" y="26"/>
                  </a:lnTo>
                  <a:lnTo>
                    <a:pt x="32" y="26"/>
                  </a:lnTo>
                  <a:lnTo>
                    <a:pt x="32" y="28"/>
                  </a:lnTo>
                  <a:lnTo>
                    <a:pt x="32" y="29"/>
                  </a:lnTo>
                  <a:lnTo>
                    <a:pt x="32" y="28"/>
                  </a:lnTo>
                  <a:lnTo>
                    <a:pt x="32" y="26"/>
                  </a:lnTo>
                  <a:lnTo>
                    <a:pt x="33" y="26"/>
                  </a:lnTo>
                  <a:lnTo>
                    <a:pt x="33" y="25"/>
                  </a:lnTo>
                  <a:lnTo>
                    <a:pt x="33" y="26"/>
                  </a:lnTo>
                  <a:lnTo>
                    <a:pt x="34" y="26"/>
                  </a:lnTo>
                  <a:lnTo>
                    <a:pt x="34" y="28"/>
                  </a:lnTo>
                  <a:lnTo>
                    <a:pt x="34" y="26"/>
                  </a:lnTo>
                  <a:lnTo>
                    <a:pt x="34" y="25"/>
                  </a:lnTo>
                  <a:lnTo>
                    <a:pt x="33" y="25"/>
                  </a:lnTo>
                  <a:lnTo>
                    <a:pt x="33" y="24"/>
                  </a:lnTo>
                  <a:lnTo>
                    <a:pt x="34" y="24"/>
                  </a:lnTo>
                  <a:lnTo>
                    <a:pt x="34" y="25"/>
                  </a:lnTo>
                  <a:lnTo>
                    <a:pt x="34" y="24"/>
                  </a:lnTo>
                  <a:lnTo>
                    <a:pt x="34" y="23"/>
                  </a:lnTo>
                  <a:lnTo>
                    <a:pt x="35" y="23"/>
                  </a:lnTo>
                  <a:lnTo>
                    <a:pt x="35" y="24"/>
                  </a:lnTo>
                  <a:lnTo>
                    <a:pt x="35" y="23"/>
                  </a:lnTo>
                  <a:lnTo>
                    <a:pt x="35" y="24"/>
                  </a:lnTo>
                  <a:lnTo>
                    <a:pt x="36" y="24"/>
                  </a:lnTo>
                  <a:lnTo>
                    <a:pt x="36" y="23"/>
                  </a:lnTo>
                  <a:lnTo>
                    <a:pt x="35" y="23"/>
                  </a:lnTo>
                  <a:lnTo>
                    <a:pt x="35" y="22"/>
                  </a:lnTo>
                  <a:lnTo>
                    <a:pt x="35" y="21"/>
                  </a:lnTo>
                  <a:lnTo>
                    <a:pt x="35" y="22"/>
                  </a:lnTo>
                  <a:lnTo>
                    <a:pt x="36" y="22"/>
                  </a:lnTo>
                  <a:lnTo>
                    <a:pt x="38" y="21"/>
                  </a:lnTo>
                  <a:lnTo>
                    <a:pt x="38" y="19"/>
                  </a:lnTo>
                  <a:lnTo>
                    <a:pt x="39" y="19"/>
                  </a:lnTo>
                  <a:lnTo>
                    <a:pt x="39" y="21"/>
                  </a:lnTo>
                  <a:lnTo>
                    <a:pt x="40" y="21"/>
                  </a:lnTo>
                  <a:lnTo>
                    <a:pt x="39" y="21"/>
                  </a:lnTo>
                  <a:lnTo>
                    <a:pt x="39" y="22"/>
                  </a:lnTo>
                  <a:lnTo>
                    <a:pt x="40" y="22"/>
                  </a:lnTo>
                  <a:lnTo>
                    <a:pt x="39" y="22"/>
                  </a:lnTo>
                  <a:lnTo>
                    <a:pt x="40" y="22"/>
                  </a:lnTo>
                  <a:lnTo>
                    <a:pt x="40" y="23"/>
                  </a:lnTo>
                  <a:lnTo>
                    <a:pt x="41" y="23"/>
                  </a:lnTo>
                  <a:lnTo>
                    <a:pt x="42" y="23"/>
                  </a:lnTo>
                  <a:lnTo>
                    <a:pt x="42" y="22"/>
                  </a:lnTo>
                  <a:lnTo>
                    <a:pt x="42" y="23"/>
                  </a:lnTo>
                  <a:lnTo>
                    <a:pt x="41" y="23"/>
                  </a:lnTo>
                  <a:lnTo>
                    <a:pt x="41" y="24"/>
                  </a:lnTo>
                  <a:lnTo>
                    <a:pt x="42" y="24"/>
                  </a:lnTo>
                  <a:lnTo>
                    <a:pt x="43" y="23"/>
                  </a:lnTo>
                  <a:lnTo>
                    <a:pt x="43" y="22"/>
                  </a:lnTo>
                  <a:lnTo>
                    <a:pt x="43" y="23"/>
                  </a:lnTo>
                  <a:lnTo>
                    <a:pt x="45" y="23"/>
                  </a:lnTo>
                  <a:lnTo>
                    <a:pt x="43" y="23"/>
                  </a:lnTo>
                  <a:lnTo>
                    <a:pt x="43" y="24"/>
                  </a:lnTo>
                  <a:lnTo>
                    <a:pt x="43" y="23"/>
                  </a:lnTo>
                  <a:lnTo>
                    <a:pt x="45" y="23"/>
                  </a:lnTo>
                  <a:lnTo>
                    <a:pt x="45" y="24"/>
                  </a:lnTo>
                  <a:lnTo>
                    <a:pt x="45" y="23"/>
                  </a:lnTo>
                  <a:lnTo>
                    <a:pt x="46" y="23"/>
                  </a:lnTo>
                  <a:lnTo>
                    <a:pt x="46" y="24"/>
                  </a:lnTo>
                  <a:lnTo>
                    <a:pt x="46" y="25"/>
                  </a:lnTo>
                  <a:lnTo>
                    <a:pt x="46" y="26"/>
                  </a:lnTo>
                  <a:lnTo>
                    <a:pt x="47" y="26"/>
                  </a:lnTo>
                  <a:lnTo>
                    <a:pt x="47" y="28"/>
                  </a:lnTo>
                  <a:lnTo>
                    <a:pt x="46" y="28"/>
                  </a:lnTo>
                  <a:lnTo>
                    <a:pt x="46" y="29"/>
                  </a:lnTo>
                  <a:lnTo>
                    <a:pt x="45" y="29"/>
                  </a:lnTo>
                  <a:lnTo>
                    <a:pt x="45" y="30"/>
                  </a:lnTo>
                  <a:lnTo>
                    <a:pt x="46" y="30"/>
                  </a:lnTo>
                  <a:lnTo>
                    <a:pt x="45" y="30"/>
                  </a:lnTo>
                  <a:lnTo>
                    <a:pt x="45" y="31"/>
                  </a:lnTo>
                  <a:lnTo>
                    <a:pt x="46" y="31"/>
                  </a:lnTo>
                  <a:lnTo>
                    <a:pt x="46" y="30"/>
                  </a:lnTo>
                  <a:lnTo>
                    <a:pt x="46" y="29"/>
                  </a:lnTo>
                  <a:lnTo>
                    <a:pt x="47" y="29"/>
                  </a:lnTo>
                  <a:lnTo>
                    <a:pt x="47" y="28"/>
                  </a:lnTo>
                  <a:lnTo>
                    <a:pt x="47" y="29"/>
                  </a:lnTo>
                  <a:lnTo>
                    <a:pt x="48" y="29"/>
                  </a:lnTo>
                  <a:lnTo>
                    <a:pt x="47" y="29"/>
                  </a:lnTo>
                  <a:lnTo>
                    <a:pt x="47" y="28"/>
                  </a:lnTo>
                  <a:lnTo>
                    <a:pt x="48" y="28"/>
                  </a:lnTo>
                  <a:lnTo>
                    <a:pt x="47" y="28"/>
                  </a:lnTo>
                  <a:lnTo>
                    <a:pt x="47" y="26"/>
                  </a:lnTo>
                  <a:lnTo>
                    <a:pt x="47" y="25"/>
                  </a:lnTo>
                  <a:lnTo>
                    <a:pt x="47" y="24"/>
                  </a:lnTo>
                  <a:lnTo>
                    <a:pt x="47" y="23"/>
                  </a:lnTo>
                  <a:lnTo>
                    <a:pt x="47" y="22"/>
                  </a:lnTo>
                  <a:lnTo>
                    <a:pt x="48" y="22"/>
                  </a:lnTo>
                  <a:lnTo>
                    <a:pt x="49" y="22"/>
                  </a:lnTo>
                  <a:lnTo>
                    <a:pt x="50" y="22"/>
                  </a:lnTo>
                  <a:lnTo>
                    <a:pt x="50" y="23"/>
                  </a:lnTo>
                  <a:lnTo>
                    <a:pt x="52" y="23"/>
                  </a:lnTo>
                  <a:lnTo>
                    <a:pt x="52" y="24"/>
                  </a:lnTo>
                  <a:lnTo>
                    <a:pt x="53" y="23"/>
                  </a:lnTo>
                  <a:lnTo>
                    <a:pt x="53" y="24"/>
                  </a:lnTo>
                  <a:lnTo>
                    <a:pt x="53" y="23"/>
                  </a:lnTo>
                  <a:lnTo>
                    <a:pt x="53" y="24"/>
                  </a:lnTo>
                  <a:lnTo>
                    <a:pt x="54" y="24"/>
                  </a:lnTo>
                  <a:lnTo>
                    <a:pt x="55" y="24"/>
                  </a:lnTo>
                  <a:lnTo>
                    <a:pt x="55" y="23"/>
                  </a:lnTo>
                  <a:lnTo>
                    <a:pt x="54" y="23"/>
                  </a:lnTo>
                  <a:lnTo>
                    <a:pt x="55" y="23"/>
                  </a:lnTo>
                  <a:lnTo>
                    <a:pt x="55" y="22"/>
                  </a:lnTo>
                  <a:lnTo>
                    <a:pt x="55" y="23"/>
                  </a:lnTo>
                  <a:lnTo>
                    <a:pt x="56" y="22"/>
                  </a:lnTo>
                  <a:lnTo>
                    <a:pt x="55" y="22"/>
                  </a:lnTo>
                  <a:lnTo>
                    <a:pt x="56" y="22"/>
                  </a:lnTo>
                  <a:lnTo>
                    <a:pt x="56" y="21"/>
                  </a:lnTo>
                  <a:lnTo>
                    <a:pt x="57" y="21"/>
                  </a:lnTo>
                  <a:lnTo>
                    <a:pt x="59" y="19"/>
                  </a:lnTo>
                  <a:lnTo>
                    <a:pt x="60" y="19"/>
                  </a:lnTo>
                  <a:lnTo>
                    <a:pt x="60" y="18"/>
                  </a:lnTo>
                  <a:lnTo>
                    <a:pt x="60" y="17"/>
                  </a:lnTo>
                  <a:lnTo>
                    <a:pt x="59" y="17"/>
                  </a:lnTo>
                  <a:lnTo>
                    <a:pt x="57" y="17"/>
                  </a:lnTo>
                  <a:lnTo>
                    <a:pt x="57" y="18"/>
                  </a:lnTo>
                  <a:lnTo>
                    <a:pt x="56" y="18"/>
                  </a:lnTo>
                  <a:lnTo>
                    <a:pt x="55" y="18"/>
                  </a:lnTo>
                  <a:lnTo>
                    <a:pt x="54" y="18"/>
                  </a:lnTo>
                  <a:lnTo>
                    <a:pt x="53" y="18"/>
                  </a:lnTo>
                  <a:lnTo>
                    <a:pt x="53" y="17"/>
                  </a:lnTo>
                  <a:lnTo>
                    <a:pt x="52" y="17"/>
                  </a:lnTo>
                  <a:lnTo>
                    <a:pt x="52" y="16"/>
                  </a:lnTo>
                  <a:lnTo>
                    <a:pt x="53" y="16"/>
                  </a:lnTo>
                  <a:lnTo>
                    <a:pt x="52" y="16"/>
                  </a:lnTo>
                  <a:lnTo>
                    <a:pt x="53" y="15"/>
                  </a:lnTo>
                  <a:lnTo>
                    <a:pt x="53" y="16"/>
                  </a:lnTo>
                  <a:lnTo>
                    <a:pt x="54" y="16"/>
                  </a:lnTo>
                  <a:lnTo>
                    <a:pt x="54" y="15"/>
                  </a:lnTo>
                  <a:lnTo>
                    <a:pt x="55" y="16"/>
                  </a:lnTo>
                  <a:lnTo>
                    <a:pt x="56" y="16"/>
                  </a:lnTo>
                  <a:lnTo>
                    <a:pt x="56" y="15"/>
                  </a:lnTo>
                  <a:lnTo>
                    <a:pt x="55" y="15"/>
                  </a:lnTo>
                  <a:lnTo>
                    <a:pt x="55" y="14"/>
                  </a:lnTo>
                  <a:lnTo>
                    <a:pt x="54" y="14"/>
                  </a:lnTo>
                  <a:lnTo>
                    <a:pt x="53" y="14"/>
                  </a:lnTo>
                  <a:lnTo>
                    <a:pt x="53" y="15"/>
                  </a:lnTo>
                  <a:lnTo>
                    <a:pt x="53" y="14"/>
                  </a:lnTo>
                  <a:lnTo>
                    <a:pt x="53" y="12"/>
                  </a:lnTo>
                  <a:lnTo>
                    <a:pt x="54" y="12"/>
                  </a:lnTo>
                  <a:lnTo>
                    <a:pt x="55" y="12"/>
                  </a:lnTo>
                  <a:lnTo>
                    <a:pt x="56" y="12"/>
                  </a:lnTo>
                  <a:lnTo>
                    <a:pt x="56" y="11"/>
                  </a:lnTo>
                  <a:lnTo>
                    <a:pt x="57" y="11"/>
                  </a:lnTo>
                  <a:lnTo>
                    <a:pt x="56" y="11"/>
                  </a:lnTo>
                  <a:lnTo>
                    <a:pt x="56" y="10"/>
                  </a:lnTo>
                  <a:lnTo>
                    <a:pt x="57" y="10"/>
                  </a:lnTo>
                  <a:lnTo>
                    <a:pt x="59" y="10"/>
                  </a:lnTo>
                  <a:lnTo>
                    <a:pt x="59" y="9"/>
                  </a:lnTo>
                  <a:lnTo>
                    <a:pt x="59" y="10"/>
                  </a:lnTo>
                  <a:lnTo>
                    <a:pt x="57" y="10"/>
                  </a:lnTo>
                  <a:lnTo>
                    <a:pt x="57" y="9"/>
                  </a:lnTo>
                  <a:lnTo>
                    <a:pt x="57" y="8"/>
                  </a:lnTo>
                  <a:lnTo>
                    <a:pt x="57" y="7"/>
                  </a:lnTo>
                  <a:lnTo>
                    <a:pt x="59" y="7"/>
                  </a:lnTo>
                  <a:lnTo>
                    <a:pt x="59" y="8"/>
                  </a:lnTo>
                  <a:lnTo>
                    <a:pt x="59" y="7"/>
                  </a:lnTo>
                  <a:lnTo>
                    <a:pt x="60" y="7"/>
                  </a:lnTo>
                  <a:lnTo>
                    <a:pt x="60" y="8"/>
                  </a:lnTo>
                  <a:lnTo>
                    <a:pt x="61" y="8"/>
                  </a:lnTo>
                  <a:lnTo>
                    <a:pt x="62" y="8"/>
                  </a:lnTo>
                  <a:lnTo>
                    <a:pt x="61" y="8"/>
                  </a:lnTo>
                  <a:lnTo>
                    <a:pt x="61" y="7"/>
                  </a:lnTo>
                  <a:lnTo>
                    <a:pt x="61" y="8"/>
                  </a:lnTo>
                  <a:lnTo>
                    <a:pt x="61" y="7"/>
                  </a:lnTo>
                  <a:lnTo>
                    <a:pt x="60" y="7"/>
                  </a:lnTo>
                  <a:lnTo>
                    <a:pt x="60" y="5"/>
                  </a:lnTo>
                  <a:lnTo>
                    <a:pt x="61" y="5"/>
                  </a:lnTo>
                  <a:lnTo>
                    <a:pt x="60" y="5"/>
                  </a:lnTo>
                  <a:lnTo>
                    <a:pt x="60" y="4"/>
                  </a:lnTo>
                  <a:lnTo>
                    <a:pt x="61" y="4"/>
                  </a:lnTo>
                  <a:lnTo>
                    <a:pt x="62" y="4"/>
                  </a:lnTo>
                  <a:lnTo>
                    <a:pt x="62" y="5"/>
                  </a:lnTo>
                  <a:lnTo>
                    <a:pt x="62" y="4"/>
                  </a:lnTo>
                  <a:lnTo>
                    <a:pt x="61" y="4"/>
                  </a:lnTo>
                  <a:lnTo>
                    <a:pt x="61" y="3"/>
                  </a:lnTo>
                  <a:lnTo>
                    <a:pt x="62" y="2"/>
                  </a:lnTo>
                  <a:lnTo>
                    <a:pt x="62" y="1"/>
                  </a:lnTo>
                  <a:lnTo>
                    <a:pt x="63" y="1"/>
                  </a:lnTo>
                  <a:lnTo>
                    <a:pt x="64" y="1"/>
                  </a:lnTo>
                  <a:lnTo>
                    <a:pt x="67" y="3"/>
                  </a:lnTo>
                  <a:lnTo>
                    <a:pt x="70" y="4"/>
                  </a:lnTo>
                  <a:lnTo>
                    <a:pt x="72" y="7"/>
                  </a:lnTo>
                  <a:lnTo>
                    <a:pt x="76" y="9"/>
                  </a:lnTo>
                  <a:lnTo>
                    <a:pt x="79" y="10"/>
                  </a:lnTo>
                  <a:lnTo>
                    <a:pt x="79" y="11"/>
                  </a:lnTo>
                  <a:lnTo>
                    <a:pt x="82" y="12"/>
                  </a:lnTo>
                  <a:lnTo>
                    <a:pt x="85" y="14"/>
                  </a:lnTo>
                  <a:lnTo>
                    <a:pt x="88" y="16"/>
                  </a:lnTo>
                  <a:lnTo>
                    <a:pt x="91" y="18"/>
                  </a:lnTo>
                  <a:lnTo>
                    <a:pt x="93" y="19"/>
                  </a:lnTo>
                  <a:lnTo>
                    <a:pt x="97" y="22"/>
                  </a:lnTo>
                  <a:lnTo>
                    <a:pt x="100" y="24"/>
                  </a:lnTo>
                  <a:lnTo>
                    <a:pt x="103" y="25"/>
                  </a:lnTo>
                  <a:lnTo>
                    <a:pt x="106" y="28"/>
                  </a:lnTo>
                  <a:lnTo>
                    <a:pt x="109" y="29"/>
                  </a:lnTo>
                  <a:lnTo>
                    <a:pt x="110" y="30"/>
                  </a:lnTo>
                  <a:lnTo>
                    <a:pt x="112" y="31"/>
                  </a:lnTo>
                  <a:lnTo>
                    <a:pt x="113" y="32"/>
                  </a:lnTo>
                  <a:lnTo>
                    <a:pt x="113" y="33"/>
                  </a:lnTo>
                  <a:lnTo>
                    <a:pt x="113" y="35"/>
                  </a:lnTo>
                  <a:lnTo>
                    <a:pt x="113" y="36"/>
                  </a:lnTo>
                  <a:lnTo>
                    <a:pt x="113" y="37"/>
                  </a:lnTo>
                  <a:lnTo>
                    <a:pt x="112" y="37"/>
                  </a:lnTo>
                  <a:lnTo>
                    <a:pt x="112" y="38"/>
                  </a:lnTo>
                  <a:lnTo>
                    <a:pt x="112" y="39"/>
                  </a:lnTo>
                  <a:lnTo>
                    <a:pt x="113" y="39"/>
                  </a:lnTo>
                  <a:lnTo>
                    <a:pt x="114" y="39"/>
                  </a:lnTo>
                  <a:lnTo>
                    <a:pt x="114" y="40"/>
                  </a:lnTo>
                  <a:lnTo>
                    <a:pt x="114" y="42"/>
                  </a:lnTo>
                  <a:lnTo>
                    <a:pt x="116" y="42"/>
                  </a:lnTo>
                  <a:lnTo>
                    <a:pt x="117" y="43"/>
                  </a:lnTo>
                  <a:lnTo>
                    <a:pt x="118" y="44"/>
                  </a:lnTo>
                  <a:lnTo>
                    <a:pt x="119" y="45"/>
                  </a:lnTo>
                  <a:lnTo>
                    <a:pt x="120" y="46"/>
                  </a:lnTo>
                  <a:lnTo>
                    <a:pt x="121" y="47"/>
                  </a:lnTo>
                  <a:lnTo>
                    <a:pt x="123" y="47"/>
                  </a:lnTo>
                  <a:lnTo>
                    <a:pt x="124" y="49"/>
                  </a:lnTo>
                  <a:lnTo>
                    <a:pt x="125" y="50"/>
                  </a:lnTo>
                  <a:lnTo>
                    <a:pt x="126" y="51"/>
                  </a:lnTo>
                  <a:lnTo>
                    <a:pt x="127" y="52"/>
                  </a:lnTo>
                  <a:lnTo>
                    <a:pt x="128" y="53"/>
                  </a:lnTo>
                  <a:lnTo>
                    <a:pt x="130" y="53"/>
                  </a:lnTo>
                  <a:lnTo>
                    <a:pt x="131" y="54"/>
                  </a:lnTo>
                  <a:lnTo>
                    <a:pt x="132" y="56"/>
                  </a:lnTo>
                  <a:lnTo>
                    <a:pt x="133" y="57"/>
                  </a:lnTo>
                  <a:lnTo>
                    <a:pt x="134" y="58"/>
                  </a:lnTo>
                  <a:lnTo>
                    <a:pt x="134" y="59"/>
                  </a:lnTo>
                  <a:lnTo>
                    <a:pt x="134" y="60"/>
                  </a:lnTo>
                  <a:lnTo>
                    <a:pt x="134" y="61"/>
                  </a:lnTo>
                  <a:lnTo>
                    <a:pt x="133" y="61"/>
                  </a:lnTo>
                  <a:lnTo>
                    <a:pt x="134" y="61"/>
                  </a:lnTo>
                  <a:lnTo>
                    <a:pt x="134" y="60"/>
                  </a:lnTo>
                  <a:lnTo>
                    <a:pt x="133" y="61"/>
                  </a:lnTo>
                  <a:lnTo>
                    <a:pt x="133" y="63"/>
                  </a:lnTo>
                  <a:lnTo>
                    <a:pt x="133" y="64"/>
                  </a:lnTo>
                  <a:lnTo>
                    <a:pt x="133" y="63"/>
                  </a:lnTo>
                  <a:lnTo>
                    <a:pt x="133" y="64"/>
                  </a:lnTo>
                  <a:lnTo>
                    <a:pt x="133" y="65"/>
                  </a:lnTo>
                  <a:lnTo>
                    <a:pt x="132" y="66"/>
                  </a:lnTo>
                  <a:lnTo>
                    <a:pt x="132" y="67"/>
                  </a:lnTo>
                  <a:lnTo>
                    <a:pt x="132" y="66"/>
                  </a:lnTo>
                  <a:lnTo>
                    <a:pt x="132" y="68"/>
                  </a:lnTo>
                  <a:lnTo>
                    <a:pt x="132" y="70"/>
                  </a:lnTo>
                  <a:lnTo>
                    <a:pt x="131" y="70"/>
                  </a:lnTo>
                  <a:lnTo>
                    <a:pt x="131" y="71"/>
                  </a:lnTo>
                  <a:lnTo>
                    <a:pt x="131" y="72"/>
                  </a:lnTo>
                  <a:lnTo>
                    <a:pt x="130" y="73"/>
                  </a:lnTo>
                  <a:lnTo>
                    <a:pt x="130" y="74"/>
                  </a:lnTo>
                  <a:lnTo>
                    <a:pt x="130" y="75"/>
                  </a:lnTo>
                  <a:lnTo>
                    <a:pt x="128" y="75"/>
                  </a:lnTo>
                  <a:lnTo>
                    <a:pt x="128" y="77"/>
                  </a:lnTo>
                  <a:lnTo>
                    <a:pt x="128" y="78"/>
                  </a:lnTo>
                  <a:lnTo>
                    <a:pt x="128" y="79"/>
                  </a:lnTo>
                  <a:lnTo>
                    <a:pt x="128" y="80"/>
                  </a:lnTo>
                  <a:lnTo>
                    <a:pt x="128" y="81"/>
                  </a:lnTo>
                  <a:lnTo>
                    <a:pt x="130" y="81"/>
                  </a:lnTo>
                  <a:lnTo>
                    <a:pt x="130" y="82"/>
                  </a:lnTo>
                  <a:lnTo>
                    <a:pt x="128" y="82"/>
                  </a:lnTo>
                  <a:lnTo>
                    <a:pt x="128" y="84"/>
                  </a:lnTo>
                  <a:lnTo>
                    <a:pt x="130" y="85"/>
                  </a:lnTo>
                  <a:lnTo>
                    <a:pt x="130" y="86"/>
                  </a:lnTo>
                  <a:lnTo>
                    <a:pt x="131" y="86"/>
                  </a:lnTo>
                  <a:lnTo>
                    <a:pt x="132" y="86"/>
                  </a:lnTo>
                  <a:lnTo>
                    <a:pt x="131" y="86"/>
                  </a:lnTo>
                  <a:lnTo>
                    <a:pt x="132" y="86"/>
                  </a:lnTo>
                  <a:lnTo>
                    <a:pt x="132" y="87"/>
                  </a:lnTo>
                  <a:lnTo>
                    <a:pt x="133" y="87"/>
                  </a:lnTo>
                  <a:lnTo>
                    <a:pt x="133" y="88"/>
                  </a:lnTo>
                  <a:lnTo>
                    <a:pt x="134" y="88"/>
                  </a:lnTo>
                  <a:lnTo>
                    <a:pt x="134" y="89"/>
                  </a:lnTo>
                  <a:lnTo>
                    <a:pt x="134" y="91"/>
                  </a:lnTo>
                  <a:lnTo>
                    <a:pt x="135" y="91"/>
                  </a:lnTo>
                  <a:lnTo>
                    <a:pt x="134" y="92"/>
                  </a:lnTo>
                  <a:lnTo>
                    <a:pt x="135" y="92"/>
                  </a:lnTo>
                  <a:lnTo>
                    <a:pt x="136" y="92"/>
                  </a:lnTo>
                  <a:lnTo>
                    <a:pt x="138" y="92"/>
                  </a:lnTo>
                  <a:lnTo>
                    <a:pt x="138" y="93"/>
                  </a:lnTo>
                  <a:lnTo>
                    <a:pt x="139" y="94"/>
                  </a:lnTo>
                  <a:lnTo>
                    <a:pt x="139" y="95"/>
                  </a:lnTo>
                  <a:lnTo>
                    <a:pt x="139" y="96"/>
                  </a:lnTo>
                  <a:lnTo>
                    <a:pt x="138" y="96"/>
                  </a:lnTo>
                  <a:lnTo>
                    <a:pt x="138" y="98"/>
                  </a:lnTo>
                  <a:lnTo>
                    <a:pt x="138" y="96"/>
                  </a:lnTo>
                  <a:lnTo>
                    <a:pt x="136" y="98"/>
                  </a:lnTo>
                  <a:lnTo>
                    <a:pt x="136" y="99"/>
                  </a:lnTo>
                  <a:lnTo>
                    <a:pt x="135" y="99"/>
                  </a:lnTo>
                  <a:lnTo>
                    <a:pt x="135" y="100"/>
                  </a:lnTo>
                  <a:lnTo>
                    <a:pt x="135" y="101"/>
                  </a:lnTo>
                  <a:lnTo>
                    <a:pt x="134" y="102"/>
                  </a:lnTo>
                  <a:lnTo>
                    <a:pt x="134" y="103"/>
                  </a:lnTo>
                  <a:lnTo>
                    <a:pt x="134" y="105"/>
                  </a:lnTo>
                  <a:lnTo>
                    <a:pt x="134" y="106"/>
                  </a:lnTo>
                  <a:lnTo>
                    <a:pt x="134" y="107"/>
                  </a:lnTo>
                  <a:lnTo>
                    <a:pt x="134" y="108"/>
                  </a:lnTo>
                  <a:lnTo>
                    <a:pt x="134" y="107"/>
                  </a:lnTo>
                  <a:lnTo>
                    <a:pt x="135" y="107"/>
                  </a:lnTo>
                  <a:lnTo>
                    <a:pt x="135" y="106"/>
                  </a:lnTo>
                  <a:lnTo>
                    <a:pt x="135" y="107"/>
                  </a:lnTo>
                  <a:lnTo>
                    <a:pt x="136" y="107"/>
                  </a:lnTo>
                  <a:lnTo>
                    <a:pt x="136" y="108"/>
                  </a:lnTo>
                  <a:lnTo>
                    <a:pt x="136" y="109"/>
                  </a:lnTo>
                  <a:lnTo>
                    <a:pt x="136" y="110"/>
                  </a:lnTo>
                  <a:lnTo>
                    <a:pt x="136" y="112"/>
                  </a:lnTo>
                  <a:lnTo>
                    <a:pt x="135" y="113"/>
                  </a:lnTo>
                  <a:lnTo>
                    <a:pt x="135" y="114"/>
                  </a:lnTo>
                  <a:lnTo>
                    <a:pt x="135" y="115"/>
                  </a:lnTo>
                  <a:lnTo>
                    <a:pt x="134" y="115"/>
                  </a:lnTo>
                  <a:lnTo>
                    <a:pt x="134" y="116"/>
                  </a:lnTo>
                  <a:lnTo>
                    <a:pt x="134" y="117"/>
                  </a:lnTo>
                  <a:lnTo>
                    <a:pt x="134" y="119"/>
                  </a:lnTo>
                  <a:lnTo>
                    <a:pt x="135" y="119"/>
                  </a:lnTo>
                  <a:lnTo>
                    <a:pt x="135" y="120"/>
                  </a:lnTo>
                  <a:lnTo>
                    <a:pt x="135" y="121"/>
                  </a:lnTo>
                  <a:lnTo>
                    <a:pt x="135" y="122"/>
                  </a:lnTo>
                  <a:lnTo>
                    <a:pt x="136" y="122"/>
                  </a:lnTo>
                  <a:lnTo>
                    <a:pt x="136" y="123"/>
                  </a:lnTo>
                  <a:lnTo>
                    <a:pt x="138" y="124"/>
                  </a:lnTo>
                  <a:lnTo>
                    <a:pt x="136" y="124"/>
                  </a:lnTo>
                  <a:lnTo>
                    <a:pt x="135" y="124"/>
                  </a:lnTo>
                  <a:lnTo>
                    <a:pt x="136" y="124"/>
                  </a:lnTo>
                  <a:lnTo>
                    <a:pt x="136" y="126"/>
                  </a:lnTo>
                  <a:lnTo>
                    <a:pt x="136" y="127"/>
                  </a:lnTo>
                  <a:lnTo>
                    <a:pt x="136" y="128"/>
                  </a:lnTo>
                  <a:lnTo>
                    <a:pt x="138" y="128"/>
                  </a:lnTo>
                  <a:lnTo>
                    <a:pt x="139" y="129"/>
                  </a:lnTo>
                  <a:lnTo>
                    <a:pt x="139" y="130"/>
                  </a:lnTo>
                  <a:lnTo>
                    <a:pt x="139" y="131"/>
                  </a:lnTo>
                  <a:lnTo>
                    <a:pt x="139" y="133"/>
                  </a:lnTo>
                  <a:lnTo>
                    <a:pt x="138" y="133"/>
                  </a:lnTo>
                  <a:lnTo>
                    <a:pt x="138" y="134"/>
                  </a:lnTo>
                  <a:lnTo>
                    <a:pt x="138" y="133"/>
                  </a:lnTo>
                  <a:lnTo>
                    <a:pt x="139" y="133"/>
                  </a:lnTo>
                  <a:lnTo>
                    <a:pt x="139" y="134"/>
                  </a:lnTo>
                  <a:lnTo>
                    <a:pt x="139" y="135"/>
                  </a:lnTo>
                  <a:lnTo>
                    <a:pt x="140" y="135"/>
                  </a:lnTo>
                  <a:lnTo>
                    <a:pt x="140" y="136"/>
                  </a:lnTo>
                  <a:lnTo>
                    <a:pt x="140" y="137"/>
                  </a:lnTo>
                  <a:lnTo>
                    <a:pt x="139" y="138"/>
                  </a:lnTo>
                  <a:lnTo>
                    <a:pt x="140" y="138"/>
                  </a:lnTo>
                  <a:lnTo>
                    <a:pt x="141" y="138"/>
                  </a:lnTo>
                  <a:lnTo>
                    <a:pt x="141" y="140"/>
                  </a:lnTo>
                  <a:lnTo>
                    <a:pt x="140" y="140"/>
                  </a:lnTo>
                  <a:lnTo>
                    <a:pt x="140" y="141"/>
                  </a:lnTo>
                  <a:lnTo>
                    <a:pt x="141" y="141"/>
                  </a:lnTo>
                  <a:lnTo>
                    <a:pt x="140" y="141"/>
                  </a:lnTo>
                  <a:lnTo>
                    <a:pt x="140" y="142"/>
                  </a:lnTo>
                  <a:lnTo>
                    <a:pt x="139" y="142"/>
                  </a:lnTo>
                  <a:lnTo>
                    <a:pt x="139" y="143"/>
                  </a:lnTo>
                  <a:lnTo>
                    <a:pt x="140" y="143"/>
                  </a:lnTo>
                  <a:lnTo>
                    <a:pt x="140" y="142"/>
                  </a:lnTo>
                  <a:lnTo>
                    <a:pt x="141" y="142"/>
                  </a:lnTo>
                  <a:lnTo>
                    <a:pt x="142" y="142"/>
                  </a:lnTo>
                  <a:lnTo>
                    <a:pt x="143" y="144"/>
                  </a:lnTo>
                  <a:lnTo>
                    <a:pt x="143" y="145"/>
                  </a:lnTo>
                  <a:lnTo>
                    <a:pt x="143" y="144"/>
                  </a:lnTo>
                  <a:lnTo>
                    <a:pt x="145" y="144"/>
                  </a:lnTo>
                  <a:lnTo>
                    <a:pt x="146" y="144"/>
                  </a:lnTo>
                  <a:lnTo>
                    <a:pt x="146" y="145"/>
                  </a:lnTo>
                  <a:lnTo>
                    <a:pt x="145" y="145"/>
                  </a:lnTo>
                  <a:lnTo>
                    <a:pt x="146" y="145"/>
                  </a:lnTo>
                  <a:lnTo>
                    <a:pt x="145" y="145"/>
                  </a:lnTo>
                  <a:lnTo>
                    <a:pt x="145" y="147"/>
                  </a:lnTo>
                  <a:lnTo>
                    <a:pt x="146" y="147"/>
                  </a:lnTo>
                  <a:lnTo>
                    <a:pt x="146" y="145"/>
                  </a:lnTo>
                  <a:lnTo>
                    <a:pt x="146" y="147"/>
                  </a:lnTo>
                  <a:lnTo>
                    <a:pt x="147" y="147"/>
                  </a:lnTo>
                  <a:lnTo>
                    <a:pt x="146" y="145"/>
                  </a:lnTo>
                  <a:lnTo>
                    <a:pt x="147" y="145"/>
                  </a:lnTo>
                  <a:lnTo>
                    <a:pt x="147" y="147"/>
                  </a:lnTo>
                  <a:lnTo>
                    <a:pt x="148" y="147"/>
                  </a:lnTo>
                  <a:lnTo>
                    <a:pt x="148" y="148"/>
                  </a:lnTo>
                  <a:lnTo>
                    <a:pt x="149" y="148"/>
                  </a:lnTo>
                  <a:lnTo>
                    <a:pt x="149" y="147"/>
                  </a:lnTo>
                  <a:lnTo>
                    <a:pt x="149" y="148"/>
                  </a:lnTo>
                  <a:lnTo>
                    <a:pt x="149" y="149"/>
                  </a:lnTo>
                  <a:lnTo>
                    <a:pt x="149" y="150"/>
                  </a:lnTo>
                  <a:lnTo>
                    <a:pt x="148" y="150"/>
                  </a:lnTo>
                  <a:lnTo>
                    <a:pt x="148" y="151"/>
                  </a:lnTo>
                  <a:lnTo>
                    <a:pt x="147" y="151"/>
                  </a:lnTo>
                  <a:lnTo>
                    <a:pt x="146" y="152"/>
                  </a:lnTo>
                  <a:lnTo>
                    <a:pt x="146" y="154"/>
                  </a:lnTo>
                  <a:lnTo>
                    <a:pt x="145" y="154"/>
                  </a:lnTo>
                  <a:lnTo>
                    <a:pt x="143" y="155"/>
                  </a:lnTo>
                  <a:lnTo>
                    <a:pt x="141" y="156"/>
                  </a:lnTo>
                  <a:lnTo>
                    <a:pt x="140" y="157"/>
                  </a:lnTo>
                  <a:lnTo>
                    <a:pt x="138" y="157"/>
                  </a:lnTo>
                  <a:lnTo>
                    <a:pt x="136" y="157"/>
                  </a:lnTo>
                  <a:lnTo>
                    <a:pt x="135" y="158"/>
                  </a:lnTo>
                  <a:lnTo>
                    <a:pt x="133" y="161"/>
                  </a:lnTo>
                  <a:lnTo>
                    <a:pt x="132" y="161"/>
                  </a:lnTo>
                  <a:lnTo>
                    <a:pt x="131" y="161"/>
                  </a:lnTo>
                  <a:lnTo>
                    <a:pt x="130" y="161"/>
                  </a:lnTo>
                  <a:lnTo>
                    <a:pt x="128" y="161"/>
                  </a:lnTo>
                  <a:lnTo>
                    <a:pt x="127" y="161"/>
                  </a:lnTo>
                  <a:lnTo>
                    <a:pt x="126" y="162"/>
                  </a:lnTo>
                  <a:lnTo>
                    <a:pt x="125" y="162"/>
                  </a:lnTo>
                  <a:lnTo>
                    <a:pt x="124" y="162"/>
                  </a:lnTo>
                  <a:lnTo>
                    <a:pt x="124" y="163"/>
                  </a:lnTo>
                  <a:lnTo>
                    <a:pt x="123" y="164"/>
                  </a:lnTo>
                  <a:lnTo>
                    <a:pt x="121" y="164"/>
                  </a:lnTo>
                  <a:lnTo>
                    <a:pt x="120" y="164"/>
                  </a:lnTo>
                  <a:lnTo>
                    <a:pt x="120" y="163"/>
                  </a:lnTo>
                  <a:lnTo>
                    <a:pt x="119" y="163"/>
                  </a:lnTo>
                  <a:lnTo>
                    <a:pt x="119" y="162"/>
                  </a:lnTo>
                  <a:lnTo>
                    <a:pt x="118" y="162"/>
                  </a:lnTo>
                  <a:lnTo>
                    <a:pt x="117" y="162"/>
                  </a:lnTo>
                  <a:lnTo>
                    <a:pt x="116" y="162"/>
                  </a:lnTo>
                  <a:lnTo>
                    <a:pt x="114" y="162"/>
                  </a:lnTo>
                  <a:lnTo>
                    <a:pt x="113" y="163"/>
                  </a:lnTo>
                  <a:lnTo>
                    <a:pt x="113" y="164"/>
                  </a:lnTo>
                  <a:lnTo>
                    <a:pt x="112" y="165"/>
                  </a:lnTo>
                  <a:lnTo>
                    <a:pt x="112" y="166"/>
                  </a:lnTo>
                  <a:lnTo>
                    <a:pt x="111" y="168"/>
                  </a:lnTo>
                  <a:lnTo>
                    <a:pt x="110" y="168"/>
                  </a:lnTo>
                  <a:lnTo>
                    <a:pt x="109" y="168"/>
                  </a:lnTo>
                  <a:lnTo>
                    <a:pt x="109" y="169"/>
                  </a:lnTo>
                  <a:lnTo>
                    <a:pt x="107" y="169"/>
                  </a:lnTo>
                  <a:lnTo>
                    <a:pt x="106" y="169"/>
                  </a:lnTo>
                  <a:lnTo>
                    <a:pt x="105" y="169"/>
                  </a:lnTo>
                  <a:lnTo>
                    <a:pt x="104" y="169"/>
                  </a:lnTo>
                  <a:lnTo>
                    <a:pt x="103" y="169"/>
                  </a:lnTo>
                  <a:lnTo>
                    <a:pt x="102" y="168"/>
                  </a:lnTo>
                  <a:lnTo>
                    <a:pt x="102" y="166"/>
                  </a:lnTo>
                  <a:lnTo>
                    <a:pt x="102" y="168"/>
                  </a:lnTo>
                  <a:lnTo>
                    <a:pt x="99" y="168"/>
                  </a:lnTo>
                  <a:lnTo>
                    <a:pt x="99" y="166"/>
                  </a:lnTo>
                  <a:lnTo>
                    <a:pt x="98" y="166"/>
                  </a:lnTo>
                  <a:lnTo>
                    <a:pt x="98" y="168"/>
                  </a:lnTo>
                  <a:lnTo>
                    <a:pt x="97" y="169"/>
                  </a:lnTo>
                  <a:lnTo>
                    <a:pt x="96" y="169"/>
                  </a:lnTo>
                  <a:lnTo>
                    <a:pt x="95" y="170"/>
                  </a:lnTo>
                  <a:lnTo>
                    <a:pt x="95" y="169"/>
                  </a:lnTo>
                  <a:lnTo>
                    <a:pt x="93" y="169"/>
                  </a:lnTo>
                  <a:lnTo>
                    <a:pt x="92" y="169"/>
                  </a:lnTo>
                  <a:lnTo>
                    <a:pt x="91" y="169"/>
                  </a:lnTo>
                  <a:lnTo>
                    <a:pt x="90" y="169"/>
                  </a:lnTo>
                  <a:lnTo>
                    <a:pt x="90" y="168"/>
                  </a:lnTo>
                  <a:lnTo>
                    <a:pt x="90" y="166"/>
                  </a:lnTo>
                  <a:lnTo>
                    <a:pt x="89" y="166"/>
                  </a:lnTo>
                  <a:lnTo>
                    <a:pt x="88" y="166"/>
                  </a:lnTo>
                  <a:lnTo>
                    <a:pt x="88" y="165"/>
                  </a:lnTo>
                  <a:lnTo>
                    <a:pt x="88" y="166"/>
                  </a:lnTo>
                  <a:lnTo>
                    <a:pt x="86" y="165"/>
                  </a:lnTo>
                  <a:lnTo>
                    <a:pt x="86" y="164"/>
                  </a:lnTo>
                  <a:lnTo>
                    <a:pt x="86" y="165"/>
                  </a:lnTo>
                  <a:lnTo>
                    <a:pt x="85" y="164"/>
                  </a:lnTo>
                  <a:lnTo>
                    <a:pt x="84" y="164"/>
                  </a:lnTo>
                  <a:lnTo>
                    <a:pt x="84" y="165"/>
                  </a:lnTo>
                  <a:lnTo>
                    <a:pt x="83" y="165"/>
                  </a:lnTo>
                  <a:lnTo>
                    <a:pt x="83" y="166"/>
                  </a:lnTo>
                  <a:lnTo>
                    <a:pt x="82" y="168"/>
                  </a:lnTo>
                  <a:lnTo>
                    <a:pt x="81" y="168"/>
                  </a:lnTo>
                  <a:lnTo>
                    <a:pt x="81" y="166"/>
                  </a:lnTo>
                  <a:lnTo>
                    <a:pt x="81" y="168"/>
                  </a:lnTo>
                  <a:lnTo>
                    <a:pt x="79" y="168"/>
                  </a:lnTo>
                  <a:lnTo>
                    <a:pt x="79" y="166"/>
                  </a:lnTo>
                  <a:lnTo>
                    <a:pt x="78" y="166"/>
                  </a:lnTo>
                  <a:lnTo>
                    <a:pt x="72" y="166"/>
                  </a:lnTo>
                  <a:lnTo>
                    <a:pt x="72" y="165"/>
                  </a:lnTo>
                  <a:lnTo>
                    <a:pt x="72" y="164"/>
                  </a:lnTo>
                  <a:lnTo>
                    <a:pt x="71" y="164"/>
                  </a:lnTo>
                  <a:lnTo>
                    <a:pt x="71" y="163"/>
                  </a:lnTo>
                  <a:lnTo>
                    <a:pt x="70" y="163"/>
                  </a:lnTo>
                  <a:lnTo>
                    <a:pt x="70" y="162"/>
                  </a:lnTo>
                  <a:lnTo>
                    <a:pt x="69" y="161"/>
                  </a:lnTo>
                  <a:lnTo>
                    <a:pt x="68" y="159"/>
                  </a:lnTo>
                  <a:lnTo>
                    <a:pt x="68" y="158"/>
                  </a:lnTo>
                  <a:lnTo>
                    <a:pt x="68" y="157"/>
                  </a:lnTo>
                  <a:lnTo>
                    <a:pt x="69" y="157"/>
                  </a:lnTo>
                  <a:lnTo>
                    <a:pt x="69" y="156"/>
                  </a:lnTo>
                  <a:lnTo>
                    <a:pt x="69" y="155"/>
                  </a:lnTo>
                  <a:lnTo>
                    <a:pt x="69" y="154"/>
                  </a:lnTo>
                  <a:lnTo>
                    <a:pt x="69" y="152"/>
                  </a:lnTo>
                  <a:lnTo>
                    <a:pt x="69" y="151"/>
                  </a:lnTo>
                  <a:lnTo>
                    <a:pt x="68" y="151"/>
                  </a:lnTo>
                  <a:lnTo>
                    <a:pt x="68" y="150"/>
                  </a:lnTo>
                  <a:lnTo>
                    <a:pt x="68" y="149"/>
                  </a:lnTo>
                  <a:lnTo>
                    <a:pt x="68" y="147"/>
                  </a:lnTo>
                  <a:lnTo>
                    <a:pt x="68" y="145"/>
                  </a:lnTo>
                  <a:lnTo>
                    <a:pt x="68" y="144"/>
                  </a:lnTo>
                  <a:lnTo>
                    <a:pt x="68" y="143"/>
                  </a:lnTo>
                  <a:lnTo>
                    <a:pt x="68" y="142"/>
                  </a:lnTo>
                  <a:lnTo>
                    <a:pt x="67" y="142"/>
                  </a:lnTo>
                  <a:lnTo>
                    <a:pt x="67" y="141"/>
                  </a:lnTo>
                  <a:lnTo>
                    <a:pt x="66" y="140"/>
                  </a:lnTo>
                  <a:lnTo>
                    <a:pt x="66" y="138"/>
                  </a:lnTo>
                  <a:lnTo>
                    <a:pt x="64" y="138"/>
                  </a:lnTo>
                  <a:lnTo>
                    <a:pt x="64" y="137"/>
                  </a:lnTo>
                  <a:lnTo>
                    <a:pt x="63" y="136"/>
                  </a:lnTo>
                  <a:lnTo>
                    <a:pt x="62" y="136"/>
                  </a:lnTo>
                  <a:lnTo>
                    <a:pt x="62" y="135"/>
                  </a:lnTo>
                  <a:lnTo>
                    <a:pt x="62" y="134"/>
                  </a:lnTo>
                  <a:lnTo>
                    <a:pt x="61" y="134"/>
                  </a:lnTo>
                  <a:lnTo>
                    <a:pt x="60" y="134"/>
                  </a:lnTo>
                  <a:lnTo>
                    <a:pt x="60" y="135"/>
                  </a:lnTo>
                  <a:lnTo>
                    <a:pt x="60" y="136"/>
                  </a:lnTo>
                  <a:lnTo>
                    <a:pt x="60" y="137"/>
                  </a:lnTo>
                  <a:lnTo>
                    <a:pt x="59" y="137"/>
                  </a:lnTo>
                  <a:lnTo>
                    <a:pt x="59" y="136"/>
                  </a:lnTo>
                  <a:lnTo>
                    <a:pt x="57" y="136"/>
                  </a:lnTo>
                  <a:lnTo>
                    <a:pt x="56" y="135"/>
                  </a:lnTo>
                  <a:lnTo>
                    <a:pt x="56" y="136"/>
                  </a:lnTo>
                  <a:lnTo>
                    <a:pt x="55" y="136"/>
                  </a:lnTo>
                  <a:lnTo>
                    <a:pt x="54" y="136"/>
                  </a:lnTo>
                  <a:lnTo>
                    <a:pt x="53" y="136"/>
                  </a:lnTo>
                  <a:lnTo>
                    <a:pt x="52" y="136"/>
                  </a:lnTo>
                  <a:lnTo>
                    <a:pt x="52" y="135"/>
                  </a:lnTo>
                  <a:lnTo>
                    <a:pt x="50" y="134"/>
                  </a:lnTo>
                  <a:lnTo>
                    <a:pt x="49" y="134"/>
                  </a:lnTo>
                  <a:lnTo>
                    <a:pt x="48" y="134"/>
                  </a:lnTo>
                  <a:lnTo>
                    <a:pt x="47" y="133"/>
                  </a:lnTo>
                  <a:lnTo>
                    <a:pt x="46" y="133"/>
                  </a:lnTo>
                  <a:lnTo>
                    <a:pt x="45" y="131"/>
                  </a:lnTo>
                  <a:lnTo>
                    <a:pt x="43" y="131"/>
                  </a:lnTo>
                  <a:lnTo>
                    <a:pt x="42" y="130"/>
                  </a:lnTo>
                  <a:lnTo>
                    <a:pt x="41" y="130"/>
                  </a:lnTo>
                  <a:lnTo>
                    <a:pt x="40" y="130"/>
                  </a:lnTo>
                  <a:lnTo>
                    <a:pt x="39" y="129"/>
                  </a:lnTo>
                  <a:lnTo>
                    <a:pt x="39" y="128"/>
                  </a:lnTo>
                  <a:lnTo>
                    <a:pt x="38" y="128"/>
                  </a:lnTo>
                  <a:lnTo>
                    <a:pt x="36" y="128"/>
                  </a:lnTo>
                  <a:lnTo>
                    <a:pt x="35" y="128"/>
                  </a:lnTo>
                  <a:lnTo>
                    <a:pt x="35" y="127"/>
                  </a:lnTo>
                  <a:lnTo>
                    <a:pt x="34" y="127"/>
                  </a:lnTo>
                  <a:lnTo>
                    <a:pt x="33" y="127"/>
                  </a:lnTo>
                  <a:lnTo>
                    <a:pt x="32" y="127"/>
                  </a:lnTo>
                  <a:lnTo>
                    <a:pt x="32" y="126"/>
                  </a:lnTo>
                  <a:lnTo>
                    <a:pt x="29" y="124"/>
                  </a:lnTo>
                  <a:lnTo>
                    <a:pt x="28" y="124"/>
                  </a:lnTo>
                  <a:lnTo>
                    <a:pt x="27" y="123"/>
                  </a:lnTo>
                  <a:lnTo>
                    <a:pt x="26" y="122"/>
                  </a:lnTo>
                  <a:lnTo>
                    <a:pt x="27" y="122"/>
                  </a:lnTo>
                  <a:lnTo>
                    <a:pt x="26" y="121"/>
                  </a:lnTo>
                  <a:lnTo>
                    <a:pt x="25" y="121"/>
                  </a:lnTo>
                  <a:lnTo>
                    <a:pt x="25" y="120"/>
                  </a:lnTo>
                  <a:lnTo>
                    <a:pt x="25" y="121"/>
                  </a:lnTo>
                  <a:lnTo>
                    <a:pt x="25" y="120"/>
                  </a:lnTo>
                  <a:lnTo>
                    <a:pt x="24" y="120"/>
                  </a:lnTo>
                  <a:lnTo>
                    <a:pt x="22" y="120"/>
                  </a:lnTo>
                  <a:lnTo>
                    <a:pt x="21" y="120"/>
                  </a:lnTo>
                  <a:lnTo>
                    <a:pt x="21" y="119"/>
                  </a:lnTo>
                  <a:lnTo>
                    <a:pt x="21" y="117"/>
                  </a:lnTo>
                  <a:lnTo>
                    <a:pt x="21" y="116"/>
                  </a:lnTo>
                  <a:lnTo>
                    <a:pt x="20" y="116"/>
                  </a:lnTo>
                  <a:lnTo>
                    <a:pt x="20" y="115"/>
                  </a:lnTo>
                  <a:lnTo>
                    <a:pt x="19" y="115"/>
                  </a:lnTo>
                  <a:lnTo>
                    <a:pt x="19" y="114"/>
                  </a:lnTo>
                  <a:lnTo>
                    <a:pt x="19" y="113"/>
                  </a:lnTo>
                  <a:lnTo>
                    <a:pt x="18" y="113"/>
                  </a:lnTo>
                  <a:lnTo>
                    <a:pt x="19" y="113"/>
                  </a:lnTo>
                  <a:lnTo>
                    <a:pt x="19" y="112"/>
                  </a:lnTo>
                  <a:lnTo>
                    <a:pt x="18" y="112"/>
                  </a:lnTo>
                  <a:lnTo>
                    <a:pt x="18" y="110"/>
                  </a:lnTo>
                  <a:lnTo>
                    <a:pt x="17" y="109"/>
                  </a:lnTo>
                  <a:lnTo>
                    <a:pt x="17" y="108"/>
                  </a:lnTo>
                  <a:lnTo>
                    <a:pt x="15" y="106"/>
                  </a:lnTo>
                  <a:lnTo>
                    <a:pt x="15" y="105"/>
                  </a:lnTo>
                  <a:lnTo>
                    <a:pt x="14" y="105"/>
                  </a:lnTo>
                  <a:lnTo>
                    <a:pt x="14" y="103"/>
                  </a:lnTo>
                  <a:lnTo>
                    <a:pt x="13" y="102"/>
                  </a:lnTo>
                  <a:lnTo>
                    <a:pt x="14" y="102"/>
                  </a:lnTo>
                  <a:lnTo>
                    <a:pt x="14" y="101"/>
                  </a:lnTo>
                  <a:lnTo>
                    <a:pt x="13" y="101"/>
                  </a:lnTo>
                  <a:lnTo>
                    <a:pt x="14" y="101"/>
                  </a:lnTo>
                  <a:lnTo>
                    <a:pt x="14" y="100"/>
                  </a:lnTo>
                  <a:lnTo>
                    <a:pt x="13" y="99"/>
                  </a:lnTo>
                  <a:lnTo>
                    <a:pt x="13" y="98"/>
                  </a:lnTo>
                  <a:lnTo>
                    <a:pt x="13" y="96"/>
                  </a:lnTo>
                  <a:lnTo>
                    <a:pt x="12" y="96"/>
                  </a:lnTo>
                  <a:lnTo>
                    <a:pt x="13" y="96"/>
                  </a:lnTo>
                  <a:lnTo>
                    <a:pt x="13" y="95"/>
                  </a:lnTo>
                  <a:lnTo>
                    <a:pt x="13" y="94"/>
                  </a:lnTo>
                  <a:lnTo>
                    <a:pt x="13" y="93"/>
                  </a:lnTo>
                  <a:lnTo>
                    <a:pt x="12" y="93"/>
                  </a:lnTo>
                  <a:lnTo>
                    <a:pt x="11" y="92"/>
                  </a:lnTo>
                  <a:lnTo>
                    <a:pt x="11" y="91"/>
                  </a:lnTo>
                  <a:lnTo>
                    <a:pt x="11" y="89"/>
                  </a:lnTo>
                  <a:lnTo>
                    <a:pt x="10" y="88"/>
                  </a:lnTo>
                  <a:lnTo>
                    <a:pt x="8" y="87"/>
                  </a:lnTo>
                  <a:lnTo>
                    <a:pt x="8" y="86"/>
                  </a:lnTo>
                  <a:lnTo>
                    <a:pt x="7" y="86"/>
                  </a:lnTo>
                  <a:lnTo>
                    <a:pt x="6" y="86"/>
                  </a:lnTo>
                  <a:lnTo>
                    <a:pt x="5" y="87"/>
                  </a:lnTo>
                  <a:lnTo>
                    <a:pt x="5" y="86"/>
                  </a:lnTo>
                  <a:lnTo>
                    <a:pt x="4" y="86"/>
                  </a:lnTo>
                  <a:lnTo>
                    <a:pt x="4" y="85"/>
                  </a:lnTo>
                  <a:lnTo>
                    <a:pt x="3" y="84"/>
                  </a:lnTo>
                  <a:lnTo>
                    <a:pt x="3" y="82"/>
                  </a:lnTo>
                  <a:lnTo>
                    <a:pt x="2" y="82"/>
                  </a:lnTo>
                  <a:lnTo>
                    <a:pt x="2" y="81"/>
                  </a:lnTo>
                  <a:lnTo>
                    <a:pt x="2" y="80"/>
                  </a:lnTo>
                  <a:lnTo>
                    <a:pt x="2" y="79"/>
                  </a:lnTo>
                  <a:lnTo>
                    <a:pt x="3" y="79"/>
                  </a:lnTo>
                  <a:lnTo>
                    <a:pt x="4" y="79"/>
                  </a:lnTo>
                  <a:lnTo>
                    <a:pt x="4" y="78"/>
                  </a:lnTo>
                  <a:lnTo>
                    <a:pt x="5" y="78"/>
                  </a:lnTo>
                  <a:lnTo>
                    <a:pt x="5" y="77"/>
                  </a:lnTo>
                  <a:lnTo>
                    <a:pt x="5" y="75"/>
                  </a:lnTo>
                  <a:lnTo>
                    <a:pt x="4" y="72"/>
                  </a:lnTo>
                  <a:lnTo>
                    <a:pt x="4" y="71"/>
                  </a:lnTo>
                  <a:lnTo>
                    <a:pt x="3" y="71"/>
                  </a:lnTo>
                  <a:lnTo>
                    <a:pt x="3" y="70"/>
                  </a:lnTo>
                  <a:lnTo>
                    <a:pt x="3" y="68"/>
                  </a:lnTo>
                  <a:lnTo>
                    <a:pt x="3" y="67"/>
                  </a:lnTo>
                  <a:lnTo>
                    <a:pt x="3" y="66"/>
                  </a:lnTo>
                  <a:lnTo>
                    <a:pt x="4" y="66"/>
                  </a:lnTo>
                  <a:lnTo>
                    <a:pt x="3" y="66"/>
                  </a:lnTo>
                  <a:lnTo>
                    <a:pt x="4" y="66"/>
                  </a:lnTo>
                  <a:lnTo>
                    <a:pt x="4" y="65"/>
                  </a:lnTo>
                  <a:lnTo>
                    <a:pt x="4" y="64"/>
                  </a:lnTo>
                  <a:lnTo>
                    <a:pt x="3" y="64"/>
                  </a:lnTo>
                  <a:lnTo>
                    <a:pt x="3" y="63"/>
                  </a:lnTo>
                  <a:lnTo>
                    <a:pt x="2" y="63"/>
                  </a:lnTo>
                  <a:lnTo>
                    <a:pt x="2" y="61"/>
                  </a:lnTo>
                  <a:lnTo>
                    <a:pt x="0" y="61"/>
                  </a:lnTo>
                  <a:lnTo>
                    <a:pt x="0" y="60"/>
                  </a:lnTo>
                  <a:lnTo>
                    <a:pt x="0" y="59"/>
                  </a:lnTo>
                  <a:lnTo>
                    <a:pt x="2" y="56"/>
                  </a:lnTo>
                  <a:lnTo>
                    <a:pt x="2" y="54"/>
                  </a:lnTo>
                  <a:lnTo>
                    <a:pt x="3" y="54"/>
                  </a:lnTo>
                  <a:lnTo>
                    <a:pt x="3" y="53"/>
                  </a:lnTo>
                  <a:lnTo>
                    <a:pt x="4" y="53"/>
                  </a:lnTo>
                  <a:lnTo>
                    <a:pt x="5" y="52"/>
                  </a:lnTo>
                  <a:lnTo>
                    <a:pt x="6" y="52"/>
                  </a:lnTo>
                  <a:lnTo>
                    <a:pt x="6" y="51"/>
                  </a:lnTo>
                  <a:lnTo>
                    <a:pt x="6" y="50"/>
                  </a:lnTo>
                  <a:lnTo>
                    <a:pt x="7" y="50"/>
                  </a:lnTo>
                  <a:lnTo>
                    <a:pt x="7" y="49"/>
                  </a:lnTo>
                  <a:lnTo>
                    <a:pt x="8" y="49"/>
                  </a:lnTo>
                  <a:lnTo>
                    <a:pt x="8" y="47"/>
                  </a:lnTo>
                  <a:lnTo>
                    <a:pt x="10" y="46"/>
                  </a:lnTo>
                  <a:lnTo>
                    <a:pt x="10" y="45"/>
                  </a:lnTo>
                  <a:lnTo>
                    <a:pt x="11" y="44"/>
                  </a:lnTo>
                  <a:lnTo>
                    <a:pt x="12" y="44"/>
                  </a:lnTo>
                  <a:lnTo>
                    <a:pt x="12" y="43"/>
                  </a:lnTo>
                  <a:lnTo>
                    <a:pt x="12" y="42"/>
                  </a:lnTo>
                  <a:lnTo>
                    <a:pt x="12" y="40"/>
                  </a:lnTo>
                  <a:lnTo>
                    <a:pt x="13" y="39"/>
                  </a:lnTo>
                  <a:lnTo>
                    <a:pt x="14" y="39"/>
                  </a:lnTo>
                  <a:lnTo>
                    <a:pt x="14" y="38"/>
                  </a:lnTo>
                  <a:lnTo>
                    <a:pt x="15" y="38"/>
                  </a:lnTo>
                  <a:lnTo>
                    <a:pt x="15" y="37"/>
                  </a:lnTo>
                  <a:lnTo>
                    <a:pt x="14" y="37"/>
                  </a:lnTo>
                  <a:lnTo>
                    <a:pt x="15" y="37"/>
                  </a:lnTo>
                  <a:lnTo>
                    <a:pt x="15" y="36"/>
                  </a:lnTo>
                  <a:lnTo>
                    <a:pt x="17" y="36"/>
                  </a:lnTo>
                  <a:lnTo>
                    <a:pt x="18" y="36"/>
                  </a:lnTo>
                  <a:lnTo>
                    <a:pt x="18" y="35"/>
                  </a:lnTo>
                  <a:lnTo>
                    <a:pt x="18" y="33"/>
                  </a:lnTo>
                  <a:lnTo>
                    <a:pt x="18" y="32"/>
                  </a:lnTo>
                  <a:lnTo>
                    <a:pt x="17" y="32"/>
                  </a:lnTo>
                  <a:lnTo>
                    <a:pt x="18" y="31"/>
                  </a:lnTo>
                  <a:lnTo>
                    <a:pt x="17" y="31"/>
                  </a:lnTo>
                  <a:lnTo>
                    <a:pt x="15" y="31"/>
                  </a:lnTo>
                  <a:lnTo>
                    <a:pt x="15" y="30"/>
                  </a:lnTo>
                  <a:lnTo>
                    <a:pt x="14" y="30"/>
                  </a:lnTo>
                  <a:lnTo>
                    <a:pt x="13" y="30"/>
                  </a:lnTo>
                  <a:lnTo>
                    <a:pt x="12" y="29"/>
                  </a:lnTo>
                  <a:lnTo>
                    <a:pt x="13" y="28"/>
                  </a:lnTo>
                  <a:lnTo>
                    <a:pt x="13" y="26"/>
                  </a:lnTo>
                  <a:lnTo>
                    <a:pt x="13" y="25"/>
                  </a:lnTo>
                  <a:lnTo>
                    <a:pt x="13" y="26"/>
                  </a:lnTo>
                  <a:lnTo>
                    <a:pt x="12" y="26"/>
                  </a:lnTo>
                  <a:lnTo>
                    <a:pt x="12" y="25"/>
                  </a:lnTo>
                  <a:lnTo>
                    <a:pt x="13" y="25"/>
                  </a:lnTo>
                  <a:lnTo>
                    <a:pt x="13" y="24"/>
                  </a:lnTo>
                  <a:lnTo>
                    <a:pt x="13" y="23"/>
                  </a:lnTo>
                  <a:lnTo>
                    <a:pt x="13" y="22"/>
                  </a:lnTo>
                  <a:lnTo>
                    <a:pt x="14" y="22"/>
                  </a:lnTo>
                  <a:lnTo>
                    <a:pt x="15" y="22"/>
                  </a:lnTo>
                  <a:lnTo>
                    <a:pt x="15" y="21"/>
                  </a:lnTo>
                  <a:lnTo>
                    <a:pt x="17" y="21"/>
                  </a:lnTo>
                  <a:lnTo>
                    <a:pt x="17" y="22"/>
                  </a:lnTo>
                  <a:lnTo>
                    <a:pt x="18" y="22"/>
                  </a:lnTo>
                  <a:lnTo>
                    <a:pt x="18" y="21"/>
                  </a:lnTo>
                  <a:lnTo>
                    <a:pt x="18" y="19"/>
                  </a:lnTo>
                  <a:lnTo>
                    <a:pt x="18" y="18"/>
                  </a:lnTo>
                  <a:lnTo>
                    <a:pt x="19" y="17"/>
                  </a:lnTo>
                  <a:lnTo>
                    <a:pt x="19" y="16"/>
                  </a:lnTo>
                  <a:lnTo>
                    <a:pt x="18" y="16"/>
                  </a:lnTo>
                  <a:lnTo>
                    <a:pt x="18" y="15"/>
                  </a:lnTo>
                  <a:lnTo>
                    <a:pt x="18" y="14"/>
                  </a:lnTo>
                  <a:lnTo>
                    <a:pt x="18" y="12"/>
                  </a:lnTo>
                  <a:lnTo>
                    <a:pt x="18" y="11"/>
                  </a:lnTo>
                  <a:lnTo>
                    <a:pt x="18" y="10"/>
                  </a:lnTo>
                  <a:lnTo>
                    <a:pt x="18" y="9"/>
                  </a:lnTo>
                  <a:lnTo>
                    <a:pt x="18" y="8"/>
                  </a:lnTo>
                  <a:lnTo>
                    <a:pt x="17" y="8"/>
                  </a:lnTo>
                  <a:lnTo>
                    <a:pt x="17" y="7"/>
                  </a:lnTo>
                  <a:lnTo>
                    <a:pt x="17" y="5"/>
                  </a:lnTo>
                  <a:lnTo>
                    <a:pt x="15" y="5"/>
                  </a:lnTo>
                  <a:lnTo>
                    <a:pt x="14" y="5"/>
                  </a:lnTo>
                  <a:lnTo>
                    <a:pt x="14" y="4"/>
                  </a:lnTo>
                  <a:lnTo>
                    <a:pt x="14" y="3"/>
                  </a:lnTo>
                  <a:lnTo>
                    <a:pt x="13" y="3"/>
                  </a:lnTo>
                  <a:lnTo>
                    <a:pt x="13" y="2"/>
                  </a:lnTo>
                  <a:lnTo>
                    <a:pt x="13" y="1"/>
                  </a:lnTo>
                  <a:lnTo>
                    <a:pt x="14" y="1"/>
                  </a:lnTo>
                  <a:lnTo>
                    <a:pt x="15" y="1"/>
                  </a:lnTo>
                  <a:lnTo>
                    <a:pt x="17" y="0"/>
                  </a:lnTo>
                  <a:lnTo>
                    <a:pt x="18"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67" name="Freeform 1028">
              <a:extLst>
                <a:ext uri="{FF2B5EF4-FFF2-40B4-BE49-F238E27FC236}">
                  <a16:creationId xmlns:a16="http://schemas.microsoft.com/office/drawing/2014/main" id="{3DC695CE-43E2-4234-B55C-98AFD8416499}"/>
                </a:ext>
              </a:extLst>
            </p:cNvPr>
            <p:cNvSpPr>
              <a:spLocks noEditPoints="1"/>
            </p:cNvSpPr>
            <p:nvPr/>
          </p:nvSpPr>
          <p:spPr bwMode="auto">
            <a:xfrm>
              <a:off x="6356649" y="3259050"/>
              <a:ext cx="101497" cy="120194"/>
            </a:xfrm>
            <a:custGeom>
              <a:avLst/>
              <a:gdLst>
                <a:gd name="T0" fmla="*/ 35 w 76"/>
                <a:gd name="T1" fmla="*/ 70 h 90"/>
                <a:gd name="T2" fmla="*/ 39 w 76"/>
                <a:gd name="T3" fmla="*/ 73 h 90"/>
                <a:gd name="T4" fmla="*/ 38 w 76"/>
                <a:gd name="T5" fmla="*/ 73 h 90"/>
                <a:gd name="T6" fmla="*/ 39 w 76"/>
                <a:gd name="T7" fmla="*/ 71 h 90"/>
                <a:gd name="T8" fmla="*/ 59 w 76"/>
                <a:gd name="T9" fmla="*/ 69 h 90"/>
                <a:gd name="T10" fmla="*/ 46 w 76"/>
                <a:gd name="T11" fmla="*/ 69 h 90"/>
                <a:gd name="T12" fmla="*/ 46 w 76"/>
                <a:gd name="T13" fmla="*/ 66 h 90"/>
                <a:gd name="T14" fmla="*/ 52 w 76"/>
                <a:gd name="T15" fmla="*/ 66 h 90"/>
                <a:gd name="T16" fmla="*/ 60 w 76"/>
                <a:gd name="T17" fmla="*/ 65 h 90"/>
                <a:gd name="T18" fmla="*/ 53 w 76"/>
                <a:gd name="T19" fmla="*/ 63 h 90"/>
                <a:gd name="T20" fmla="*/ 53 w 76"/>
                <a:gd name="T21" fmla="*/ 65 h 90"/>
                <a:gd name="T22" fmla="*/ 53 w 76"/>
                <a:gd name="T23" fmla="*/ 63 h 90"/>
                <a:gd name="T24" fmla="*/ 68 w 76"/>
                <a:gd name="T25" fmla="*/ 8 h 90"/>
                <a:gd name="T26" fmla="*/ 68 w 76"/>
                <a:gd name="T27" fmla="*/ 16 h 90"/>
                <a:gd name="T28" fmla="*/ 71 w 76"/>
                <a:gd name="T29" fmla="*/ 21 h 90"/>
                <a:gd name="T30" fmla="*/ 75 w 76"/>
                <a:gd name="T31" fmla="*/ 28 h 90"/>
                <a:gd name="T32" fmla="*/ 76 w 76"/>
                <a:gd name="T33" fmla="*/ 36 h 90"/>
                <a:gd name="T34" fmla="*/ 74 w 76"/>
                <a:gd name="T35" fmla="*/ 45 h 90"/>
                <a:gd name="T36" fmla="*/ 70 w 76"/>
                <a:gd name="T37" fmla="*/ 50 h 90"/>
                <a:gd name="T38" fmla="*/ 67 w 76"/>
                <a:gd name="T39" fmla="*/ 55 h 90"/>
                <a:gd name="T40" fmla="*/ 63 w 76"/>
                <a:gd name="T41" fmla="*/ 59 h 90"/>
                <a:gd name="T42" fmla="*/ 60 w 76"/>
                <a:gd name="T43" fmla="*/ 63 h 90"/>
                <a:gd name="T44" fmla="*/ 56 w 76"/>
                <a:gd name="T45" fmla="*/ 63 h 90"/>
                <a:gd name="T46" fmla="*/ 55 w 76"/>
                <a:gd name="T47" fmla="*/ 64 h 90"/>
                <a:gd name="T48" fmla="*/ 54 w 76"/>
                <a:gd name="T49" fmla="*/ 62 h 90"/>
                <a:gd name="T50" fmla="*/ 53 w 76"/>
                <a:gd name="T51" fmla="*/ 62 h 90"/>
                <a:gd name="T52" fmla="*/ 52 w 76"/>
                <a:gd name="T53" fmla="*/ 60 h 90"/>
                <a:gd name="T54" fmla="*/ 50 w 76"/>
                <a:gd name="T55" fmla="*/ 63 h 90"/>
                <a:gd name="T56" fmla="*/ 45 w 76"/>
                <a:gd name="T57" fmla="*/ 65 h 90"/>
                <a:gd name="T58" fmla="*/ 43 w 76"/>
                <a:gd name="T59" fmla="*/ 63 h 90"/>
                <a:gd name="T60" fmla="*/ 41 w 76"/>
                <a:gd name="T61" fmla="*/ 65 h 90"/>
                <a:gd name="T62" fmla="*/ 40 w 76"/>
                <a:gd name="T63" fmla="*/ 66 h 90"/>
                <a:gd name="T64" fmla="*/ 38 w 76"/>
                <a:gd name="T65" fmla="*/ 67 h 90"/>
                <a:gd name="T66" fmla="*/ 33 w 76"/>
                <a:gd name="T67" fmla="*/ 70 h 90"/>
                <a:gd name="T68" fmla="*/ 33 w 76"/>
                <a:gd name="T69" fmla="*/ 74 h 90"/>
                <a:gd name="T70" fmla="*/ 32 w 76"/>
                <a:gd name="T71" fmla="*/ 80 h 90"/>
                <a:gd name="T72" fmla="*/ 24 w 76"/>
                <a:gd name="T73" fmla="*/ 83 h 90"/>
                <a:gd name="T74" fmla="*/ 13 w 76"/>
                <a:gd name="T75" fmla="*/ 84 h 90"/>
                <a:gd name="T76" fmla="*/ 8 w 76"/>
                <a:gd name="T77" fmla="*/ 87 h 90"/>
                <a:gd name="T78" fmla="*/ 4 w 76"/>
                <a:gd name="T79" fmla="*/ 87 h 90"/>
                <a:gd name="T80" fmla="*/ 0 w 76"/>
                <a:gd name="T81" fmla="*/ 85 h 90"/>
                <a:gd name="T82" fmla="*/ 2 w 76"/>
                <a:gd name="T83" fmla="*/ 78 h 90"/>
                <a:gd name="T84" fmla="*/ 4 w 76"/>
                <a:gd name="T85" fmla="*/ 72 h 90"/>
                <a:gd name="T86" fmla="*/ 3 w 76"/>
                <a:gd name="T87" fmla="*/ 67 h 90"/>
                <a:gd name="T88" fmla="*/ 4 w 76"/>
                <a:gd name="T89" fmla="*/ 62 h 90"/>
                <a:gd name="T90" fmla="*/ 6 w 76"/>
                <a:gd name="T91" fmla="*/ 56 h 90"/>
                <a:gd name="T92" fmla="*/ 10 w 76"/>
                <a:gd name="T93" fmla="*/ 49 h 90"/>
                <a:gd name="T94" fmla="*/ 13 w 76"/>
                <a:gd name="T95" fmla="*/ 49 h 90"/>
                <a:gd name="T96" fmla="*/ 15 w 76"/>
                <a:gd name="T97" fmla="*/ 50 h 90"/>
                <a:gd name="T98" fmla="*/ 22 w 76"/>
                <a:gd name="T99" fmla="*/ 42 h 90"/>
                <a:gd name="T100" fmla="*/ 26 w 76"/>
                <a:gd name="T101" fmla="*/ 37 h 90"/>
                <a:gd name="T102" fmla="*/ 27 w 76"/>
                <a:gd name="T103" fmla="*/ 30 h 90"/>
                <a:gd name="T104" fmla="*/ 22 w 76"/>
                <a:gd name="T105" fmla="*/ 31 h 90"/>
                <a:gd name="T106" fmla="*/ 18 w 76"/>
                <a:gd name="T107" fmla="*/ 29 h 90"/>
                <a:gd name="T108" fmla="*/ 18 w 76"/>
                <a:gd name="T109" fmla="*/ 22 h 90"/>
                <a:gd name="T110" fmla="*/ 19 w 76"/>
                <a:gd name="T111" fmla="*/ 14 h 90"/>
                <a:gd name="T112" fmla="*/ 20 w 76"/>
                <a:gd name="T113" fmla="*/ 8 h 90"/>
                <a:gd name="T114" fmla="*/ 27 w 76"/>
                <a:gd name="T115" fmla="*/ 9 h 90"/>
                <a:gd name="T116" fmla="*/ 33 w 76"/>
                <a:gd name="T117" fmla="*/ 10 h 90"/>
                <a:gd name="T118" fmla="*/ 39 w 76"/>
                <a:gd name="T119" fmla="*/ 8 h 90"/>
                <a:gd name="T120" fmla="*/ 50 w 76"/>
                <a:gd name="T121" fmla="*/ 7 h 90"/>
                <a:gd name="T122" fmla="*/ 61 w 76"/>
                <a:gd name="T123" fmla="*/ 1 h 90"/>
                <a:gd name="T124" fmla="*/ 63 w 76"/>
                <a:gd name="T125" fmla="*/ 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 h="90">
                  <a:moveTo>
                    <a:pt x="42" y="72"/>
                  </a:moveTo>
                  <a:lnTo>
                    <a:pt x="42" y="73"/>
                  </a:lnTo>
                  <a:lnTo>
                    <a:pt x="41" y="74"/>
                  </a:lnTo>
                  <a:lnTo>
                    <a:pt x="41" y="73"/>
                  </a:lnTo>
                  <a:lnTo>
                    <a:pt x="42" y="73"/>
                  </a:lnTo>
                  <a:lnTo>
                    <a:pt x="42" y="72"/>
                  </a:lnTo>
                  <a:close/>
                  <a:moveTo>
                    <a:pt x="35" y="70"/>
                  </a:moveTo>
                  <a:lnTo>
                    <a:pt x="36" y="71"/>
                  </a:lnTo>
                  <a:lnTo>
                    <a:pt x="36" y="72"/>
                  </a:lnTo>
                  <a:lnTo>
                    <a:pt x="38" y="72"/>
                  </a:lnTo>
                  <a:lnTo>
                    <a:pt x="39" y="72"/>
                  </a:lnTo>
                  <a:lnTo>
                    <a:pt x="39" y="71"/>
                  </a:lnTo>
                  <a:lnTo>
                    <a:pt x="39" y="72"/>
                  </a:lnTo>
                  <a:lnTo>
                    <a:pt x="39" y="73"/>
                  </a:lnTo>
                  <a:lnTo>
                    <a:pt x="39" y="74"/>
                  </a:lnTo>
                  <a:lnTo>
                    <a:pt x="38" y="74"/>
                  </a:lnTo>
                  <a:lnTo>
                    <a:pt x="36" y="74"/>
                  </a:lnTo>
                  <a:lnTo>
                    <a:pt x="36" y="76"/>
                  </a:lnTo>
                  <a:lnTo>
                    <a:pt x="36" y="74"/>
                  </a:lnTo>
                  <a:lnTo>
                    <a:pt x="36" y="73"/>
                  </a:lnTo>
                  <a:lnTo>
                    <a:pt x="38" y="73"/>
                  </a:lnTo>
                  <a:lnTo>
                    <a:pt x="38" y="72"/>
                  </a:lnTo>
                  <a:lnTo>
                    <a:pt x="36" y="72"/>
                  </a:lnTo>
                  <a:lnTo>
                    <a:pt x="36" y="71"/>
                  </a:lnTo>
                  <a:lnTo>
                    <a:pt x="35" y="71"/>
                  </a:lnTo>
                  <a:lnTo>
                    <a:pt x="35" y="70"/>
                  </a:lnTo>
                  <a:close/>
                  <a:moveTo>
                    <a:pt x="40" y="71"/>
                  </a:moveTo>
                  <a:lnTo>
                    <a:pt x="39" y="71"/>
                  </a:lnTo>
                  <a:lnTo>
                    <a:pt x="39" y="70"/>
                  </a:lnTo>
                  <a:lnTo>
                    <a:pt x="40" y="71"/>
                  </a:lnTo>
                  <a:close/>
                  <a:moveTo>
                    <a:pt x="59" y="69"/>
                  </a:moveTo>
                  <a:lnTo>
                    <a:pt x="59" y="70"/>
                  </a:lnTo>
                  <a:lnTo>
                    <a:pt x="59" y="69"/>
                  </a:lnTo>
                  <a:lnTo>
                    <a:pt x="59" y="70"/>
                  </a:lnTo>
                  <a:lnTo>
                    <a:pt x="59" y="69"/>
                  </a:lnTo>
                  <a:lnTo>
                    <a:pt x="57" y="69"/>
                  </a:lnTo>
                  <a:lnTo>
                    <a:pt x="59" y="69"/>
                  </a:lnTo>
                  <a:close/>
                  <a:moveTo>
                    <a:pt x="45" y="67"/>
                  </a:moveTo>
                  <a:lnTo>
                    <a:pt x="45" y="69"/>
                  </a:lnTo>
                  <a:lnTo>
                    <a:pt x="46" y="69"/>
                  </a:lnTo>
                  <a:lnTo>
                    <a:pt x="46" y="67"/>
                  </a:lnTo>
                  <a:lnTo>
                    <a:pt x="46" y="69"/>
                  </a:lnTo>
                  <a:lnTo>
                    <a:pt x="45" y="69"/>
                  </a:lnTo>
                  <a:lnTo>
                    <a:pt x="43" y="69"/>
                  </a:lnTo>
                  <a:lnTo>
                    <a:pt x="45" y="69"/>
                  </a:lnTo>
                  <a:lnTo>
                    <a:pt x="45" y="67"/>
                  </a:lnTo>
                  <a:lnTo>
                    <a:pt x="45" y="69"/>
                  </a:lnTo>
                  <a:lnTo>
                    <a:pt x="45" y="67"/>
                  </a:lnTo>
                  <a:close/>
                  <a:moveTo>
                    <a:pt x="46" y="66"/>
                  </a:moveTo>
                  <a:lnTo>
                    <a:pt x="46" y="67"/>
                  </a:lnTo>
                  <a:lnTo>
                    <a:pt x="45" y="67"/>
                  </a:lnTo>
                  <a:lnTo>
                    <a:pt x="46" y="67"/>
                  </a:lnTo>
                  <a:lnTo>
                    <a:pt x="45" y="66"/>
                  </a:lnTo>
                  <a:lnTo>
                    <a:pt x="46" y="66"/>
                  </a:lnTo>
                  <a:close/>
                  <a:moveTo>
                    <a:pt x="53" y="66"/>
                  </a:moveTo>
                  <a:lnTo>
                    <a:pt x="52" y="66"/>
                  </a:lnTo>
                  <a:lnTo>
                    <a:pt x="53" y="65"/>
                  </a:lnTo>
                  <a:lnTo>
                    <a:pt x="53" y="66"/>
                  </a:lnTo>
                  <a:close/>
                  <a:moveTo>
                    <a:pt x="60" y="65"/>
                  </a:moveTo>
                  <a:lnTo>
                    <a:pt x="61" y="65"/>
                  </a:lnTo>
                  <a:lnTo>
                    <a:pt x="60" y="65"/>
                  </a:lnTo>
                  <a:lnTo>
                    <a:pt x="59" y="65"/>
                  </a:lnTo>
                  <a:lnTo>
                    <a:pt x="60" y="65"/>
                  </a:lnTo>
                  <a:close/>
                  <a:moveTo>
                    <a:pt x="50" y="65"/>
                  </a:moveTo>
                  <a:lnTo>
                    <a:pt x="50" y="64"/>
                  </a:lnTo>
                  <a:lnTo>
                    <a:pt x="52" y="64"/>
                  </a:lnTo>
                  <a:lnTo>
                    <a:pt x="50" y="65"/>
                  </a:lnTo>
                  <a:close/>
                  <a:moveTo>
                    <a:pt x="53" y="63"/>
                  </a:moveTo>
                  <a:lnTo>
                    <a:pt x="54" y="63"/>
                  </a:lnTo>
                  <a:lnTo>
                    <a:pt x="53" y="63"/>
                  </a:lnTo>
                  <a:lnTo>
                    <a:pt x="54" y="63"/>
                  </a:lnTo>
                  <a:lnTo>
                    <a:pt x="54" y="62"/>
                  </a:lnTo>
                  <a:lnTo>
                    <a:pt x="54" y="63"/>
                  </a:lnTo>
                  <a:lnTo>
                    <a:pt x="53" y="64"/>
                  </a:lnTo>
                  <a:lnTo>
                    <a:pt x="53" y="63"/>
                  </a:lnTo>
                  <a:lnTo>
                    <a:pt x="53" y="64"/>
                  </a:lnTo>
                  <a:lnTo>
                    <a:pt x="53" y="65"/>
                  </a:lnTo>
                  <a:lnTo>
                    <a:pt x="53" y="64"/>
                  </a:lnTo>
                  <a:lnTo>
                    <a:pt x="53" y="65"/>
                  </a:lnTo>
                  <a:lnTo>
                    <a:pt x="52" y="64"/>
                  </a:lnTo>
                  <a:lnTo>
                    <a:pt x="52" y="63"/>
                  </a:lnTo>
                  <a:lnTo>
                    <a:pt x="52" y="62"/>
                  </a:lnTo>
                  <a:lnTo>
                    <a:pt x="53" y="62"/>
                  </a:lnTo>
                  <a:lnTo>
                    <a:pt x="53" y="63"/>
                  </a:lnTo>
                  <a:close/>
                  <a:moveTo>
                    <a:pt x="63" y="6"/>
                  </a:moveTo>
                  <a:lnTo>
                    <a:pt x="64" y="6"/>
                  </a:lnTo>
                  <a:lnTo>
                    <a:pt x="64" y="7"/>
                  </a:lnTo>
                  <a:lnTo>
                    <a:pt x="66" y="7"/>
                  </a:lnTo>
                  <a:lnTo>
                    <a:pt x="66" y="8"/>
                  </a:lnTo>
                  <a:lnTo>
                    <a:pt x="67" y="8"/>
                  </a:lnTo>
                  <a:lnTo>
                    <a:pt x="68" y="8"/>
                  </a:lnTo>
                  <a:lnTo>
                    <a:pt x="68" y="9"/>
                  </a:lnTo>
                  <a:lnTo>
                    <a:pt x="68" y="10"/>
                  </a:lnTo>
                  <a:lnTo>
                    <a:pt x="68" y="11"/>
                  </a:lnTo>
                  <a:lnTo>
                    <a:pt x="68" y="13"/>
                  </a:lnTo>
                  <a:lnTo>
                    <a:pt x="68" y="14"/>
                  </a:lnTo>
                  <a:lnTo>
                    <a:pt x="68" y="15"/>
                  </a:lnTo>
                  <a:lnTo>
                    <a:pt x="68" y="16"/>
                  </a:lnTo>
                  <a:lnTo>
                    <a:pt x="69" y="17"/>
                  </a:lnTo>
                  <a:lnTo>
                    <a:pt x="70" y="17"/>
                  </a:lnTo>
                  <a:lnTo>
                    <a:pt x="70" y="20"/>
                  </a:lnTo>
                  <a:lnTo>
                    <a:pt x="70" y="21"/>
                  </a:lnTo>
                  <a:lnTo>
                    <a:pt x="71" y="21"/>
                  </a:lnTo>
                  <a:lnTo>
                    <a:pt x="71" y="22"/>
                  </a:lnTo>
                  <a:lnTo>
                    <a:pt x="71" y="21"/>
                  </a:lnTo>
                  <a:lnTo>
                    <a:pt x="72" y="22"/>
                  </a:lnTo>
                  <a:lnTo>
                    <a:pt x="72" y="23"/>
                  </a:lnTo>
                  <a:lnTo>
                    <a:pt x="72" y="24"/>
                  </a:lnTo>
                  <a:lnTo>
                    <a:pt x="74" y="25"/>
                  </a:lnTo>
                  <a:lnTo>
                    <a:pt x="75" y="25"/>
                  </a:lnTo>
                  <a:lnTo>
                    <a:pt x="75" y="27"/>
                  </a:lnTo>
                  <a:lnTo>
                    <a:pt x="75" y="28"/>
                  </a:lnTo>
                  <a:lnTo>
                    <a:pt x="75" y="29"/>
                  </a:lnTo>
                  <a:lnTo>
                    <a:pt x="74" y="29"/>
                  </a:lnTo>
                  <a:lnTo>
                    <a:pt x="75" y="30"/>
                  </a:lnTo>
                  <a:lnTo>
                    <a:pt x="75" y="31"/>
                  </a:lnTo>
                  <a:lnTo>
                    <a:pt x="76" y="34"/>
                  </a:lnTo>
                  <a:lnTo>
                    <a:pt x="76" y="35"/>
                  </a:lnTo>
                  <a:lnTo>
                    <a:pt x="76" y="36"/>
                  </a:lnTo>
                  <a:lnTo>
                    <a:pt x="76" y="37"/>
                  </a:lnTo>
                  <a:lnTo>
                    <a:pt x="76" y="41"/>
                  </a:lnTo>
                  <a:lnTo>
                    <a:pt x="76" y="42"/>
                  </a:lnTo>
                  <a:lnTo>
                    <a:pt x="75" y="42"/>
                  </a:lnTo>
                  <a:lnTo>
                    <a:pt x="75" y="43"/>
                  </a:lnTo>
                  <a:lnTo>
                    <a:pt x="74" y="44"/>
                  </a:lnTo>
                  <a:lnTo>
                    <a:pt x="74" y="45"/>
                  </a:lnTo>
                  <a:lnTo>
                    <a:pt x="74" y="46"/>
                  </a:lnTo>
                  <a:lnTo>
                    <a:pt x="74" y="48"/>
                  </a:lnTo>
                  <a:lnTo>
                    <a:pt x="72" y="48"/>
                  </a:lnTo>
                  <a:lnTo>
                    <a:pt x="71" y="48"/>
                  </a:lnTo>
                  <a:lnTo>
                    <a:pt x="71" y="49"/>
                  </a:lnTo>
                  <a:lnTo>
                    <a:pt x="70" y="49"/>
                  </a:lnTo>
                  <a:lnTo>
                    <a:pt x="70" y="50"/>
                  </a:lnTo>
                  <a:lnTo>
                    <a:pt x="70" y="49"/>
                  </a:lnTo>
                  <a:lnTo>
                    <a:pt x="69" y="49"/>
                  </a:lnTo>
                  <a:lnTo>
                    <a:pt x="69" y="50"/>
                  </a:lnTo>
                  <a:lnTo>
                    <a:pt x="69" y="51"/>
                  </a:lnTo>
                  <a:lnTo>
                    <a:pt x="68" y="52"/>
                  </a:lnTo>
                  <a:lnTo>
                    <a:pt x="68" y="53"/>
                  </a:lnTo>
                  <a:lnTo>
                    <a:pt x="67" y="55"/>
                  </a:lnTo>
                  <a:lnTo>
                    <a:pt x="67" y="56"/>
                  </a:lnTo>
                  <a:lnTo>
                    <a:pt x="66" y="56"/>
                  </a:lnTo>
                  <a:lnTo>
                    <a:pt x="66" y="57"/>
                  </a:lnTo>
                  <a:lnTo>
                    <a:pt x="64" y="57"/>
                  </a:lnTo>
                  <a:lnTo>
                    <a:pt x="64" y="58"/>
                  </a:lnTo>
                  <a:lnTo>
                    <a:pt x="64" y="59"/>
                  </a:lnTo>
                  <a:lnTo>
                    <a:pt x="63" y="59"/>
                  </a:lnTo>
                  <a:lnTo>
                    <a:pt x="63" y="60"/>
                  </a:lnTo>
                  <a:lnTo>
                    <a:pt x="63" y="62"/>
                  </a:lnTo>
                  <a:lnTo>
                    <a:pt x="62" y="63"/>
                  </a:lnTo>
                  <a:lnTo>
                    <a:pt x="61" y="63"/>
                  </a:lnTo>
                  <a:lnTo>
                    <a:pt x="61" y="64"/>
                  </a:lnTo>
                  <a:lnTo>
                    <a:pt x="60" y="64"/>
                  </a:lnTo>
                  <a:lnTo>
                    <a:pt x="60" y="63"/>
                  </a:lnTo>
                  <a:lnTo>
                    <a:pt x="60" y="64"/>
                  </a:lnTo>
                  <a:lnTo>
                    <a:pt x="59" y="64"/>
                  </a:lnTo>
                  <a:lnTo>
                    <a:pt x="59" y="63"/>
                  </a:lnTo>
                  <a:lnTo>
                    <a:pt x="59" y="62"/>
                  </a:lnTo>
                  <a:lnTo>
                    <a:pt x="57" y="62"/>
                  </a:lnTo>
                  <a:lnTo>
                    <a:pt x="57" y="63"/>
                  </a:lnTo>
                  <a:lnTo>
                    <a:pt x="56" y="63"/>
                  </a:lnTo>
                  <a:lnTo>
                    <a:pt x="56" y="64"/>
                  </a:lnTo>
                  <a:lnTo>
                    <a:pt x="55" y="64"/>
                  </a:lnTo>
                  <a:lnTo>
                    <a:pt x="56" y="64"/>
                  </a:lnTo>
                  <a:lnTo>
                    <a:pt x="56" y="63"/>
                  </a:lnTo>
                  <a:lnTo>
                    <a:pt x="55" y="64"/>
                  </a:lnTo>
                  <a:lnTo>
                    <a:pt x="55" y="63"/>
                  </a:lnTo>
                  <a:lnTo>
                    <a:pt x="55" y="64"/>
                  </a:lnTo>
                  <a:lnTo>
                    <a:pt x="55" y="63"/>
                  </a:lnTo>
                  <a:lnTo>
                    <a:pt x="54" y="63"/>
                  </a:lnTo>
                  <a:lnTo>
                    <a:pt x="55" y="63"/>
                  </a:lnTo>
                  <a:lnTo>
                    <a:pt x="54" y="63"/>
                  </a:lnTo>
                  <a:lnTo>
                    <a:pt x="55" y="63"/>
                  </a:lnTo>
                  <a:lnTo>
                    <a:pt x="54" y="63"/>
                  </a:lnTo>
                  <a:lnTo>
                    <a:pt x="54" y="62"/>
                  </a:lnTo>
                  <a:lnTo>
                    <a:pt x="55" y="62"/>
                  </a:lnTo>
                  <a:lnTo>
                    <a:pt x="55" y="63"/>
                  </a:lnTo>
                  <a:lnTo>
                    <a:pt x="55" y="62"/>
                  </a:lnTo>
                  <a:lnTo>
                    <a:pt x="54" y="62"/>
                  </a:lnTo>
                  <a:lnTo>
                    <a:pt x="54" y="60"/>
                  </a:lnTo>
                  <a:lnTo>
                    <a:pt x="53" y="60"/>
                  </a:lnTo>
                  <a:lnTo>
                    <a:pt x="53" y="62"/>
                  </a:lnTo>
                  <a:lnTo>
                    <a:pt x="53" y="60"/>
                  </a:lnTo>
                  <a:lnTo>
                    <a:pt x="54" y="60"/>
                  </a:lnTo>
                  <a:lnTo>
                    <a:pt x="53" y="60"/>
                  </a:lnTo>
                  <a:lnTo>
                    <a:pt x="54" y="59"/>
                  </a:lnTo>
                  <a:lnTo>
                    <a:pt x="53" y="59"/>
                  </a:lnTo>
                  <a:lnTo>
                    <a:pt x="52" y="59"/>
                  </a:lnTo>
                  <a:lnTo>
                    <a:pt x="52" y="60"/>
                  </a:lnTo>
                  <a:lnTo>
                    <a:pt x="53" y="60"/>
                  </a:lnTo>
                  <a:lnTo>
                    <a:pt x="52" y="60"/>
                  </a:lnTo>
                  <a:lnTo>
                    <a:pt x="52" y="62"/>
                  </a:lnTo>
                  <a:lnTo>
                    <a:pt x="50" y="62"/>
                  </a:lnTo>
                  <a:lnTo>
                    <a:pt x="50" y="63"/>
                  </a:lnTo>
                  <a:lnTo>
                    <a:pt x="49" y="63"/>
                  </a:lnTo>
                  <a:lnTo>
                    <a:pt x="50" y="63"/>
                  </a:lnTo>
                  <a:lnTo>
                    <a:pt x="49" y="64"/>
                  </a:lnTo>
                  <a:lnTo>
                    <a:pt x="48" y="65"/>
                  </a:lnTo>
                  <a:lnTo>
                    <a:pt x="47" y="65"/>
                  </a:lnTo>
                  <a:lnTo>
                    <a:pt x="47" y="64"/>
                  </a:lnTo>
                  <a:lnTo>
                    <a:pt x="46" y="64"/>
                  </a:lnTo>
                  <a:lnTo>
                    <a:pt x="46" y="65"/>
                  </a:lnTo>
                  <a:lnTo>
                    <a:pt x="45" y="65"/>
                  </a:lnTo>
                  <a:lnTo>
                    <a:pt x="43" y="65"/>
                  </a:lnTo>
                  <a:lnTo>
                    <a:pt x="43" y="64"/>
                  </a:lnTo>
                  <a:lnTo>
                    <a:pt x="45" y="64"/>
                  </a:lnTo>
                  <a:lnTo>
                    <a:pt x="43" y="64"/>
                  </a:lnTo>
                  <a:lnTo>
                    <a:pt x="43" y="63"/>
                  </a:lnTo>
                  <a:lnTo>
                    <a:pt x="43" y="62"/>
                  </a:lnTo>
                  <a:lnTo>
                    <a:pt x="43" y="63"/>
                  </a:lnTo>
                  <a:lnTo>
                    <a:pt x="42" y="64"/>
                  </a:lnTo>
                  <a:lnTo>
                    <a:pt x="42" y="65"/>
                  </a:lnTo>
                  <a:lnTo>
                    <a:pt x="42" y="66"/>
                  </a:lnTo>
                  <a:lnTo>
                    <a:pt x="42" y="65"/>
                  </a:lnTo>
                  <a:lnTo>
                    <a:pt x="42" y="66"/>
                  </a:lnTo>
                  <a:lnTo>
                    <a:pt x="41" y="66"/>
                  </a:lnTo>
                  <a:lnTo>
                    <a:pt x="41" y="65"/>
                  </a:lnTo>
                  <a:lnTo>
                    <a:pt x="41" y="66"/>
                  </a:lnTo>
                  <a:lnTo>
                    <a:pt x="40" y="66"/>
                  </a:lnTo>
                  <a:lnTo>
                    <a:pt x="41" y="65"/>
                  </a:lnTo>
                  <a:lnTo>
                    <a:pt x="40" y="65"/>
                  </a:lnTo>
                  <a:lnTo>
                    <a:pt x="40" y="66"/>
                  </a:lnTo>
                  <a:lnTo>
                    <a:pt x="40" y="67"/>
                  </a:lnTo>
                  <a:lnTo>
                    <a:pt x="40" y="66"/>
                  </a:lnTo>
                  <a:lnTo>
                    <a:pt x="39" y="66"/>
                  </a:lnTo>
                  <a:lnTo>
                    <a:pt x="38" y="66"/>
                  </a:lnTo>
                  <a:lnTo>
                    <a:pt x="39" y="66"/>
                  </a:lnTo>
                  <a:lnTo>
                    <a:pt x="39" y="67"/>
                  </a:lnTo>
                  <a:lnTo>
                    <a:pt x="38" y="67"/>
                  </a:lnTo>
                  <a:lnTo>
                    <a:pt x="38" y="66"/>
                  </a:lnTo>
                  <a:lnTo>
                    <a:pt x="38" y="67"/>
                  </a:lnTo>
                  <a:lnTo>
                    <a:pt x="36" y="67"/>
                  </a:lnTo>
                  <a:lnTo>
                    <a:pt x="35" y="67"/>
                  </a:lnTo>
                  <a:lnTo>
                    <a:pt x="35" y="69"/>
                  </a:lnTo>
                  <a:lnTo>
                    <a:pt x="34" y="69"/>
                  </a:lnTo>
                  <a:lnTo>
                    <a:pt x="33" y="69"/>
                  </a:lnTo>
                  <a:lnTo>
                    <a:pt x="34" y="69"/>
                  </a:lnTo>
                  <a:lnTo>
                    <a:pt x="33" y="70"/>
                  </a:lnTo>
                  <a:lnTo>
                    <a:pt x="34" y="70"/>
                  </a:lnTo>
                  <a:lnTo>
                    <a:pt x="34" y="71"/>
                  </a:lnTo>
                  <a:lnTo>
                    <a:pt x="35" y="71"/>
                  </a:lnTo>
                  <a:lnTo>
                    <a:pt x="35" y="72"/>
                  </a:lnTo>
                  <a:lnTo>
                    <a:pt x="34" y="72"/>
                  </a:lnTo>
                  <a:lnTo>
                    <a:pt x="33" y="73"/>
                  </a:lnTo>
                  <a:lnTo>
                    <a:pt x="33" y="74"/>
                  </a:lnTo>
                  <a:lnTo>
                    <a:pt x="32" y="74"/>
                  </a:lnTo>
                  <a:lnTo>
                    <a:pt x="32" y="76"/>
                  </a:lnTo>
                  <a:lnTo>
                    <a:pt x="32" y="77"/>
                  </a:lnTo>
                  <a:lnTo>
                    <a:pt x="31" y="78"/>
                  </a:lnTo>
                  <a:lnTo>
                    <a:pt x="31" y="79"/>
                  </a:lnTo>
                  <a:lnTo>
                    <a:pt x="31" y="80"/>
                  </a:lnTo>
                  <a:lnTo>
                    <a:pt x="32" y="80"/>
                  </a:lnTo>
                  <a:lnTo>
                    <a:pt x="31" y="81"/>
                  </a:lnTo>
                  <a:lnTo>
                    <a:pt x="32" y="81"/>
                  </a:lnTo>
                  <a:lnTo>
                    <a:pt x="32" y="83"/>
                  </a:lnTo>
                  <a:lnTo>
                    <a:pt x="29" y="83"/>
                  </a:lnTo>
                  <a:lnTo>
                    <a:pt x="27" y="83"/>
                  </a:lnTo>
                  <a:lnTo>
                    <a:pt x="25" y="83"/>
                  </a:lnTo>
                  <a:lnTo>
                    <a:pt x="24" y="83"/>
                  </a:lnTo>
                  <a:lnTo>
                    <a:pt x="21" y="83"/>
                  </a:lnTo>
                  <a:lnTo>
                    <a:pt x="19" y="83"/>
                  </a:lnTo>
                  <a:lnTo>
                    <a:pt x="18" y="83"/>
                  </a:lnTo>
                  <a:lnTo>
                    <a:pt x="17" y="83"/>
                  </a:lnTo>
                  <a:lnTo>
                    <a:pt x="15" y="84"/>
                  </a:lnTo>
                  <a:lnTo>
                    <a:pt x="14" y="84"/>
                  </a:lnTo>
                  <a:lnTo>
                    <a:pt x="13" y="84"/>
                  </a:lnTo>
                  <a:lnTo>
                    <a:pt x="12" y="84"/>
                  </a:lnTo>
                  <a:lnTo>
                    <a:pt x="11" y="84"/>
                  </a:lnTo>
                  <a:lnTo>
                    <a:pt x="11" y="85"/>
                  </a:lnTo>
                  <a:lnTo>
                    <a:pt x="11" y="86"/>
                  </a:lnTo>
                  <a:lnTo>
                    <a:pt x="10" y="86"/>
                  </a:lnTo>
                  <a:lnTo>
                    <a:pt x="10" y="87"/>
                  </a:lnTo>
                  <a:lnTo>
                    <a:pt x="8" y="87"/>
                  </a:lnTo>
                  <a:lnTo>
                    <a:pt x="8" y="88"/>
                  </a:lnTo>
                  <a:lnTo>
                    <a:pt x="7" y="88"/>
                  </a:lnTo>
                  <a:lnTo>
                    <a:pt x="7" y="90"/>
                  </a:lnTo>
                  <a:lnTo>
                    <a:pt x="6" y="90"/>
                  </a:lnTo>
                  <a:lnTo>
                    <a:pt x="5" y="90"/>
                  </a:lnTo>
                  <a:lnTo>
                    <a:pt x="5" y="88"/>
                  </a:lnTo>
                  <a:lnTo>
                    <a:pt x="4" y="87"/>
                  </a:lnTo>
                  <a:lnTo>
                    <a:pt x="4" y="88"/>
                  </a:lnTo>
                  <a:lnTo>
                    <a:pt x="3" y="88"/>
                  </a:lnTo>
                  <a:lnTo>
                    <a:pt x="2" y="88"/>
                  </a:lnTo>
                  <a:lnTo>
                    <a:pt x="0" y="88"/>
                  </a:lnTo>
                  <a:lnTo>
                    <a:pt x="0" y="87"/>
                  </a:lnTo>
                  <a:lnTo>
                    <a:pt x="0" y="86"/>
                  </a:lnTo>
                  <a:lnTo>
                    <a:pt x="0" y="85"/>
                  </a:lnTo>
                  <a:lnTo>
                    <a:pt x="0" y="84"/>
                  </a:lnTo>
                  <a:lnTo>
                    <a:pt x="0" y="83"/>
                  </a:lnTo>
                  <a:lnTo>
                    <a:pt x="0" y="81"/>
                  </a:lnTo>
                  <a:lnTo>
                    <a:pt x="0" y="80"/>
                  </a:lnTo>
                  <a:lnTo>
                    <a:pt x="2" y="80"/>
                  </a:lnTo>
                  <a:lnTo>
                    <a:pt x="2" y="79"/>
                  </a:lnTo>
                  <a:lnTo>
                    <a:pt x="2" y="78"/>
                  </a:lnTo>
                  <a:lnTo>
                    <a:pt x="2" y="77"/>
                  </a:lnTo>
                  <a:lnTo>
                    <a:pt x="2" y="76"/>
                  </a:lnTo>
                  <a:lnTo>
                    <a:pt x="2" y="74"/>
                  </a:lnTo>
                  <a:lnTo>
                    <a:pt x="2" y="73"/>
                  </a:lnTo>
                  <a:lnTo>
                    <a:pt x="3" y="73"/>
                  </a:lnTo>
                  <a:lnTo>
                    <a:pt x="4" y="73"/>
                  </a:lnTo>
                  <a:lnTo>
                    <a:pt x="4" y="72"/>
                  </a:lnTo>
                  <a:lnTo>
                    <a:pt x="5" y="72"/>
                  </a:lnTo>
                  <a:lnTo>
                    <a:pt x="5" y="71"/>
                  </a:lnTo>
                  <a:lnTo>
                    <a:pt x="5" y="70"/>
                  </a:lnTo>
                  <a:lnTo>
                    <a:pt x="5" y="69"/>
                  </a:lnTo>
                  <a:lnTo>
                    <a:pt x="4" y="70"/>
                  </a:lnTo>
                  <a:lnTo>
                    <a:pt x="4" y="69"/>
                  </a:lnTo>
                  <a:lnTo>
                    <a:pt x="3" y="67"/>
                  </a:lnTo>
                  <a:lnTo>
                    <a:pt x="3" y="69"/>
                  </a:lnTo>
                  <a:lnTo>
                    <a:pt x="3" y="67"/>
                  </a:lnTo>
                  <a:lnTo>
                    <a:pt x="3" y="66"/>
                  </a:lnTo>
                  <a:lnTo>
                    <a:pt x="3" y="65"/>
                  </a:lnTo>
                  <a:lnTo>
                    <a:pt x="3" y="64"/>
                  </a:lnTo>
                  <a:lnTo>
                    <a:pt x="4" y="64"/>
                  </a:lnTo>
                  <a:lnTo>
                    <a:pt x="4" y="62"/>
                  </a:lnTo>
                  <a:lnTo>
                    <a:pt x="4" y="60"/>
                  </a:lnTo>
                  <a:lnTo>
                    <a:pt x="5" y="60"/>
                  </a:lnTo>
                  <a:lnTo>
                    <a:pt x="5" y="59"/>
                  </a:lnTo>
                  <a:lnTo>
                    <a:pt x="6" y="59"/>
                  </a:lnTo>
                  <a:lnTo>
                    <a:pt x="6" y="58"/>
                  </a:lnTo>
                  <a:lnTo>
                    <a:pt x="5" y="57"/>
                  </a:lnTo>
                  <a:lnTo>
                    <a:pt x="6" y="56"/>
                  </a:lnTo>
                  <a:lnTo>
                    <a:pt x="5" y="55"/>
                  </a:lnTo>
                  <a:lnTo>
                    <a:pt x="6" y="53"/>
                  </a:lnTo>
                  <a:lnTo>
                    <a:pt x="7" y="52"/>
                  </a:lnTo>
                  <a:lnTo>
                    <a:pt x="8" y="52"/>
                  </a:lnTo>
                  <a:lnTo>
                    <a:pt x="10" y="51"/>
                  </a:lnTo>
                  <a:lnTo>
                    <a:pt x="10" y="50"/>
                  </a:lnTo>
                  <a:lnTo>
                    <a:pt x="10" y="49"/>
                  </a:lnTo>
                  <a:lnTo>
                    <a:pt x="11" y="49"/>
                  </a:lnTo>
                  <a:lnTo>
                    <a:pt x="11" y="48"/>
                  </a:lnTo>
                  <a:lnTo>
                    <a:pt x="11" y="49"/>
                  </a:lnTo>
                  <a:lnTo>
                    <a:pt x="11" y="48"/>
                  </a:lnTo>
                  <a:lnTo>
                    <a:pt x="12" y="48"/>
                  </a:lnTo>
                  <a:lnTo>
                    <a:pt x="13" y="48"/>
                  </a:lnTo>
                  <a:lnTo>
                    <a:pt x="13" y="49"/>
                  </a:lnTo>
                  <a:lnTo>
                    <a:pt x="13" y="50"/>
                  </a:lnTo>
                  <a:lnTo>
                    <a:pt x="14" y="50"/>
                  </a:lnTo>
                  <a:lnTo>
                    <a:pt x="14" y="51"/>
                  </a:lnTo>
                  <a:lnTo>
                    <a:pt x="14" y="50"/>
                  </a:lnTo>
                  <a:lnTo>
                    <a:pt x="15" y="50"/>
                  </a:lnTo>
                  <a:lnTo>
                    <a:pt x="14" y="50"/>
                  </a:lnTo>
                  <a:lnTo>
                    <a:pt x="15" y="50"/>
                  </a:lnTo>
                  <a:lnTo>
                    <a:pt x="17" y="48"/>
                  </a:lnTo>
                  <a:lnTo>
                    <a:pt x="19" y="44"/>
                  </a:lnTo>
                  <a:lnTo>
                    <a:pt x="19" y="43"/>
                  </a:lnTo>
                  <a:lnTo>
                    <a:pt x="20" y="43"/>
                  </a:lnTo>
                  <a:lnTo>
                    <a:pt x="20" y="42"/>
                  </a:lnTo>
                  <a:lnTo>
                    <a:pt x="21" y="42"/>
                  </a:lnTo>
                  <a:lnTo>
                    <a:pt x="22" y="42"/>
                  </a:lnTo>
                  <a:lnTo>
                    <a:pt x="22" y="41"/>
                  </a:lnTo>
                  <a:lnTo>
                    <a:pt x="24" y="41"/>
                  </a:lnTo>
                  <a:lnTo>
                    <a:pt x="25" y="39"/>
                  </a:lnTo>
                  <a:lnTo>
                    <a:pt x="25" y="38"/>
                  </a:lnTo>
                  <a:lnTo>
                    <a:pt x="25" y="37"/>
                  </a:lnTo>
                  <a:lnTo>
                    <a:pt x="26" y="38"/>
                  </a:lnTo>
                  <a:lnTo>
                    <a:pt x="26" y="37"/>
                  </a:lnTo>
                  <a:lnTo>
                    <a:pt x="26" y="36"/>
                  </a:lnTo>
                  <a:lnTo>
                    <a:pt x="26" y="35"/>
                  </a:lnTo>
                  <a:lnTo>
                    <a:pt x="26" y="34"/>
                  </a:lnTo>
                  <a:lnTo>
                    <a:pt x="26" y="32"/>
                  </a:lnTo>
                  <a:lnTo>
                    <a:pt x="26" y="31"/>
                  </a:lnTo>
                  <a:lnTo>
                    <a:pt x="26" y="30"/>
                  </a:lnTo>
                  <a:lnTo>
                    <a:pt x="27" y="30"/>
                  </a:lnTo>
                  <a:lnTo>
                    <a:pt x="27" y="29"/>
                  </a:lnTo>
                  <a:lnTo>
                    <a:pt x="26" y="30"/>
                  </a:lnTo>
                  <a:lnTo>
                    <a:pt x="25" y="31"/>
                  </a:lnTo>
                  <a:lnTo>
                    <a:pt x="25" y="32"/>
                  </a:lnTo>
                  <a:lnTo>
                    <a:pt x="24" y="32"/>
                  </a:lnTo>
                  <a:lnTo>
                    <a:pt x="24" y="31"/>
                  </a:lnTo>
                  <a:lnTo>
                    <a:pt x="22" y="31"/>
                  </a:lnTo>
                  <a:lnTo>
                    <a:pt x="22" y="30"/>
                  </a:lnTo>
                  <a:lnTo>
                    <a:pt x="21" y="30"/>
                  </a:lnTo>
                  <a:lnTo>
                    <a:pt x="20" y="29"/>
                  </a:lnTo>
                  <a:lnTo>
                    <a:pt x="19" y="29"/>
                  </a:lnTo>
                  <a:lnTo>
                    <a:pt x="19" y="30"/>
                  </a:lnTo>
                  <a:lnTo>
                    <a:pt x="18" y="30"/>
                  </a:lnTo>
                  <a:lnTo>
                    <a:pt x="18" y="29"/>
                  </a:lnTo>
                  <a:lnTo>
                    <a:pt x="18" y="28"/>
                  </a:lnTo>
                  <a:lnTo>
                    <a:pt x="17" y="28"/>
                  </a:lnTo>
                  <a:lnTo>
                    <a:pt x="17" y="27"/>
                  </a:lnTo>
                  <a:lnTo>
                    <a:pt x="17" y="25"/>
                  </a:lnTo>
                  <a:lnTo>
                    <a:pt x="17" y="24"/>
                  </a:lnTo>
                  <a:lnTo>
                    <a:pt x="18" y="23"/>
                  </a:lnTo>
                  <a:lnTo>
                    <a:pt x="18" y="22"/>
                  </a:lnTo>
                  <a:lnTo>
                    <a:pt x="18" y="21"/>
                  </a:lnTo>
                  <a:lnTo>
                    <a:pt x="18" y="20"/>
                  </a:lnTo>
                  <a:lnTo>
                    <a:pt x="17" y="18"/>
                  </a:lnTo>
                  <a:lnTo>
                    <a:pt x="17" y="17"/>
                  </a:lnTo>
                  <a:lnTo>
                    <a:pt x="18" y="15"/>
                  </a:lnTo>
                  <a:lnTo>
                    <a:pt x="18" y="14"/>
                  </a:lnTo>
                  <a:lnTo>
                    <a:pt x="19" y="14"/>
                  </a:lnTo>
                  <a:lnTo>
                    <a:pt x="19" y="13"/>
                  </a:lnTo>
                  <a:lnTo>
                    <a:pt x="19" y="11"/>
                  </a:lnTo>
                  <a:lnTo>
                    <a:pt x="18" y="11"/>
                  </a:lnTo>
                  <a:lnTo>
                    <a:pt x="18" y="10"/>
                  </a:lnTo>
                  <a:lnTo>
                    <a:pt x="19" y="9"/>
                  </a:lnTo>
                  <a:lnTo>
                    <a:pt x="19" y="8"/>
                  </a:lnTo>
                  <a:lnTo>
                    <a:pt x="20" y="8"/>
                  </a:lnTo>
                  <a:lnTo>
                    <a:pt x="21" y="8"/>
                  </a:lnTo>
                  <a:lnTo>
                    <a:pt x="21" y="7"/>
                  </a:lnTo>
                  <a:lnTo>
                    <a:pt x="22" y="7"/>
                  </a:lnTo>
                  <a:lnTo>
                    <a:pt x="24" y="7"/>
                  </a:lnTo>
                  <a:lnTo>
                    <a:pt x="25" y="7"/>
                  </a:lnTo>
                  <a:lnTo>
                    <a:pt x="26" y="8"/>
                  </a:lnTo>
                  <a:lnTo>
                    <a:pt x="27" y="9"/>
                  </a:lnTo>
                  <a:lnTo>
                    <a:pt x="28" y="8"/>
                  </a:lnTo>
                  <a:lnTo>
                    <a:pt x="29" y="8"/>
                  </a:lnTo>
                  <a:lnTo>
                    <a:pt x="31" y="7"/>
                  </a:lnTo>
                  <a:lnTo>
                    <a:pt x="32" y="7"/>
                  </a:lnTo>
                  <a:lnTo>
                    <a:pt x="33" y="8"/>
                  </a:lnTo>
                  <a:lnTo>
                    <a:pt x="33" y="9"/>
                  </a:lnTo>
                  <a:lnTo>
                    <a:pt x="33" y="10"/>
                  </a:lnTo>
                  <a:lnTo>
                    <a:pt x="34" y="10"/>
                  </a:lnTo>
                  <a:lnTo>
                    <a:pt x="35" y="10"/>
                  </a:lnTo>
                  <a:lnTo>
                    <a:pt x="35" y="11"/>
                  </a:lnTo>
                  <a:lnTo>
                    <a:pt x="36" y="11"/>
                  </a:lnTo>
                  <a:lnTo>
                    <a:pt x="36" y="10"/>
                  </a:lnTo>
                  <a:lnTo>
                    <a:pt x="36" y="9"/>
                  </a:lnTo>
                  <a:lnTo>
                    <a:pt x="39" y="8"/>
                  </a:lnTo>
                  <a:lnTo>
                    <a:pt x="40" y="8"/>
                  </a:lnTo>
                  <a:lnTo>
                    <a:pt x="42" y="7"/>
                  </a:lnTo>
                  <a:lnTo>
                    <a:pt x="45" y="7"/>
                  </a:lnTo>
                  <a:lnTo>
                    <a:pt x="46" y="7"/>
                  </a:lnTo>
                  <a:lnTo>
                    <a:pt x="47" y="6"/>
                  </a:lnTo>
                  <a:lnTo>
                    <a:pt x="48" y="6"/>
                  </a:lnTo>
                  <a:lnTo>
                    <a:pt x="50" y="7"/>
                  </a:lnTo>
                  <a:lnTo>
                    <a:pt x="52" y="7"/>
                  </a:lnTo>
                  <a:lnTo>
                    <a:pt x="54" y="8"/>
                  </a:lnTo>
                  <a:lnTo>
                    <a:pt x="55" y="7"/>
                  </a:lnTo>
                  <a:lnTo>
                    <a:pt x="56" y="6"/>
                  </a:lnTo>
                  <a:lnTo>
                    <a:pt x="57" y="4"/>
                  </a:lnTo>
                  <a:lnTo>
                    <a:pt x="60" y="2"/>
                  </a:lnTo>
                  <a:lnTo>
                    <a:pt x="61" y="1"/>
                  </a:lnTo>
                  <a:lnTo>
                    <a:pt x="62" y="0"/>
                  </a:lnTo>
                  <a:lnTo>
                    <a:pt x="62" y="1"/>
                  </a:lnTo>
                  <a:lnTo>
                    <a:pt x="62" y="2"/>
                  </a:lnTo>
                  <a:lnTo>
                    <a:pt x="63" y="2"/>
                  </a:lnTo>
                  <a:lnTo>
                    <a:pt x="63" y="3"/>
                  </a:lnTo>
                  <a:lnTo>
                    <a:pt x="63" y="4"/>
                  </a:lnTo>
                  <a:lnTo>
                    <a:pt x="63" y="6"/>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68" name="Freeform 1030">
              <a:extLst>
                <a:ext uri="{FF2B5EF4-FFF2-40B4-BE49-F238E27FC236}">
                  <a16:creationId xmlns:a16="http://schemas.microsoft.com/office/drawing/2014/main" id="{49552918-06CF-4D6C-AB65-C925AFAB904E}"/>
                </a:ext>
              </a:extLst>
            </p:cNvPr>
            <p:cNvSpPr>
              <a:spLocks/>
            </p:cNvSpPr>
            <p:nvPr/>
          </p:nvSpPr>
          <p:spPr bwMode="auto">
            <a:xfrm>
              <a:off x="4771424" y="3984220"/>
              <a:ext cx="93484" cy="102833"/>
            </a:xfrm>
            <a:custGeom>
              <a:avLst/>
              <a:gdLst>
                <a:gd name="T0" fmla="*/ 68 w 70"/>
                <a:gd name="T1" fmla="*/ 42 h 77"/>
                <a:gd name="T2" fmla="*/ 68 w 70"/>
                <a:gd name="T3" fmla="*/ 45 h 77"/>
                <a:gd name="T4" fmla="*/ 64 w 70"/>
                <a:gd name="T5" fmla="*/ 48 h 77"/>
                <a:gd name="T6" fmla="*/ 66 w 70"/>
                <a:gd name="T7" fmla="*/ 50 h 77"/>
                <a:gd name="T8" fmla="*/ 67 w 70"/>
                <a:gd name="T9" fmla="*/ 55 h 77"/>
                <a:gd name="T10" fmla="*/ 69 w 70"/>
                <a:gd name="T11" fmla="*/ 57 h 77"/>
                <a:gd name="T12" fmla="*/ 69 w 70"/>
                <a:gd name="T13" fmla="*/ 63 h 77"/>
                <a:gd name="T14" fmla="*/ 67 w 70"/>
                <a:gd name="T15" fmla="*/ 67 h 77"/>
                <a:gd name="T16" fmla="*/ 62 w 70"/>
                <a:gd name="T17" fmla="*/ 73 h 77"/>
                <a:gd name="T18" fmla="*/ 60 w 70"/>
                <a:gd name="T19" fmla="*/ 73 h 77"/>
                <a:gd name="T20" fmla="*/ 56 w 70"/>
                <a:gd name="T21" fmla="*/ 75 h 77"/>
                <a:gd name="T22" fmla="*/ 53 w 70"/>
                <a:gd name="T23" fmla="*/ 76 h 77"/>
                <a:gd name="T24" fmla="*/ 47 w 70"/>
                <a:gd name="T25" fmla="*/ 75 h 77"/>
                <a:gd name="T26" fmla="*/ 42 w 70"/>
                <a:gd name="T27" fmla="*/ 74 h 77"/>
                <a:gd name="T28" fmla="*/ 38 w 70"/>
                <a:gd name="T29" fmla="*/ 76 h 77"/>
                <a:gd name="T30" fmla="*/ 34 w 70"/>
                <a:gd name="T31" fmla="*/ 76 h 77"/>
                <a:gd name="T32" fmla="*/ 30 w 70"/>
                <a:gd name="T33" fmla="*/ 74 h 77"/>
                <a:gd name="T34" fmla="*/ 26 w 70"/>
                <a:gd name="T35" fmla="*/ 71 h 77"/>
                <a:gd name="T36" fmla="*/ 23 w 70"/>
                <a:gd name="T37" fmla="*/ 69 h 77"/>
                <a:gd name="T38" fmla="*/ 18 w 70"/>
                <a:gd name="T39" fmla="*/ 68 h 77"/>
                <a:gd name="T40" fmla="*/ 14 w 70"/>
                <a:gd name="T41" fmla="*/ 69 h 77"/>
                <a:gd name="T42" fmla="*/ 11 w 70"/>
                <a:gd name="T43" fmla="*/ 67 h 77"/>
                <a:gd name="T44" fmla="*/ 6 w 70"/>
                <a:gd name="T45" fmla="*/ 63 h 77"/>
                <a:gd name="T46" fmla="*/ 3 w 70"/>
                <a:gd name="T47" fmla="*/ 57 h 77"/>
                <a:gd name="T48" fmla="*/ 3 w 70"/>
                <a:gd name="T49" fmla="*/ 50 h 77"/>
                <a:gd name="T50" fmla="*/ 5 w 70"/>
                <a:gd name="T51" fmla="*/ 47 h 77"/>
                <a:gd name="T52" fmla="*/ 4 w 70"/>
                <a:gd name="T53" fmla="*/ 43 h 77"/>
                <a:gd name="T54" fmla="*/ 3 w 70"/>
                <a:gd name="T55" fmla="*/ 38 h 77"/>
                <a:gd name="T56" fmla="*/ 2 w 70"/>
                <a:gd name="T57" fmla="*/ 32 h 77"/>
                <a:gd name="T58" fmla="*/ 2 w 70"/>
                <a:gd name="T59" fmla="*/ 27 h 77"/>
                <a:gd name="T60" fmla="*/ 2 w 70"/>
                <a:gd name="T61" fmla="*/ 22 h 77"/>
                <a:gd name="T62" fmla="*/ 3 w 70"/>
                <a:gd name="T63" fmla="*/ 17 h 77"/>
                <a:gd name="T64" fmla="*/ 4 w 70"/>
                <a:gd name="T65" fmla="*/ 12 h 77"/>
                <a:gd name="T66" fmla="*/ 2 w 70"/>
                <a:gd name="T67" fmla="*/ 8 h 77"/>
                <a:gd name="T68" fmla="*/ 4 w 70"/>
                <a:gd name="T69" fmla="*/ 1 h 77"/>
                <a:gd name="T70" fmla="*/ 9 w 70"/>
                <a:gd name="T71" fmla="*/ 3 h 77"/>
                <a:gd name="T72" fmla="*/ 12 w 70"/>
                <a:gd name="T73" fmla="*/ 0 h 77"/>
                <a:gd name="T74" fmla="*/ 17 w 70"/>
                <a:gd name="T75" fmla="*/ 1 h 77"/>
                <a:gd name="T76" fmla="*/ 21 w 70"/>
                <a:gd name="T77" fmla="*/ 6 h 77"/>
                <a:gd name="T78" fmla="*/ 26 w 70"/>
                <a:gd name="T79" fmla="*/ 10 h 77"/>
                <a:gd name="T80" fmla="*/ 27 w 70"/>
                <a:gd name="T81" fmla="*/ 14 h 77"/>
                <a:gd name="T82" fmla="*/ 31 w 70"/>
                <a:gd name="T83" fmla="*/ 14 h 77"/>
                <a:gd name="T84" fmla="*/ 34 w 70"/>
                <a:gd name="T85" fmla="*/ 13 h 77"/>
                <a:gd name="T86" fmla="*/ 38 w 70"/>
                <a:gd name="T87" fmla="*/ 17 h 77"/>
                <a:gd name="T88" fmla="*/ 41 w 70"/>
                <a:gd name="T89" fmla="*/ 19 h 77"/>
                <a:gd name="T90" fmla="*/ 45 w 70"/>
                <a:gd name="T91" fmla="*/ 21 h 77"/>
                <a:gd name="T92" fmla="*/ 49 w 70"/>
                <a:gd name="T93" fmla="*/ 24 h 77"/>
                <a:gd name="T94" fmla="*/ 53 w 70"/>
                <a:gd name="T95" fmla="*/ 27 h 77"/>
                <a:gd name="T96" fmla="*/ 57 w 70"/>
                <a:gd name="T97" fmla="*/ 29 h 77"/>
                <a:gd name="T98" fmla="*/ 61 w 70"/>
                <a:gd name="T99" fmla="*/ 32 h 77"/>
                <a:gd name="T100" fmla="*/ 64 w 70"/>
                <a:gd name="T101" fmla="*/ 38 h 77"/>
                <a:gd name="T102" fmla="*/ 70 w 70"/>
                <a:gd name="T103" fmla="*/ 4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 h="77">
                  <a:moveTo>
                    <a:pt x="70" y="40"/>
                  </a:moveTo>
                  <a:lnTo>
                    <a:pt x="70" y="41"/>
                  </a:lnTo>
                  <a:lnTo>
                    <a:pt x="69" y="41"/>
                  </a:lnTo>
                  <a:lnTo>
                    <a:pt x="69" y="42"/>
                  </a:lnTo>
                  <a:lnTo>
                    <a:pt x="68" y="42"/>
                  </a:lnTo>
                  <a:lnTo>
                    <a:pt x="69" y="43"/>
                  </a:lnTo>
                  <a:lnTo>
                    <a:pt x="68" y="43"/>
                  </a:lnTo>
                  <a:lnTo>
                    <a:pt x="68" y="45"/>
                  </a:lnTo>
                  <a:lnTo>
                    <a:pt x="69" y="45"/>
                  </a:lnTo>
                  <a:lnTo>
                    <a:pt x="68" y="45"/>
                  </a:lnTo>
                  <a:lnTo>
                    <a:pt x="67" y="45"/>
                  </a:lnTo>
                  <a:lnTo>
                    <a:pt x="67" y="46"/>
                  </a:lnTo>
                  <a:lnTo>
                    <a:pt x="66" y="47"/>
                  </a:lnTo>
                  <a:lnTo>
                    <a:pt x="64" y="47"/>
                  </a:lnTo>
                  <a:lnTo>
                    <a:pt x="64" y="48"/>
                  </a:lnTo>
                  <a:lnTo>
                    <a:pt x="66" y="48"/>
                  </a:lnTo>
                  <a:lnTo>
                    <a:pt x="64" y="48"/>
                  </a:lnTo>
                  <a:lnTo>
                    <a:pt x="64" y="49"/>
                  </a:lnTo>
                  <a:lnTo>
                    <a:pt x="66" y="49"/>
                  </a:lnTo>
                  <a:lnTo>
                    <a:pt x="66" y="50"/>
                  </a:lnTo>
                  <a:lnTo>
                    <a:pt x="66" y="52"/>
                  </a:lnTo>
                  <a:lnTo>
                    <a:pt x="67" y="52"/>
                  </a:lnTo>
                  <a:lnTo>
                    <a:pt x="67" y="53"/>
                  </a:lnTo>
                  <a:lnTo>
                    <a:pt x="67" y="54"/>
                  </a:lnTo>
                  <a:lnTo>
                    <a:pt x="67" y="55"/>
                  </a:lnTo>
                  <a:lnTo>
                    <a:pt x="68" y="56"/>
                  </a:lnTo>
                  <a:lnTo>
                    <a:pt x="69" y="56"/>
                  </a:lnTo>
                  <a:lnTo>
                    <a:pt x="69" y="57"/>
                  </a:lnTo>
                  <a:lnTo>
                    <a:pt x="70" y="57"/>
                  </a:lnTo>
                  <a:lnTo>
                    <a:pt x="69" y="57"/>
                  </a:lnTo>
                  <a:lnTo>
                    <a:pt x="69" y="59"/>
                  </a:lnTo>
                  <a:lnTo>
                    <a:pt x="69" y="60"/>
                  </a:lnTo>
                  <a:lnTo>
                    <a:pt x="69" y="61"/>
                  </a:lnTo>
                  <a:lnTo>
                    <a:pt x="69" y="62"/>
                  </a:lnTo>
                  <a:lnTo>
                    <a:pt x="69" y="63"/>
                  </a:lnTo>
                  <a:lnTo>
                    <a:pt x="68" y="63"/>
                  </a:lnTo>
                  <a:lnTo>
                    <a:pt x="68" y="64"/>
                  </a:lnTo>
                  <a:lnTo>
                    <a:pt x="67" y="64"/>
                  </a:lnTo>
                  <a:lnTo>
                    <a:pt x="67" y="66"/>
                  </a:lnTo>
                  <a:lnTo>
                    <a:pt x="67" y="67"/>
                  </a:lnTo>
                  <a:lnTo>
                    <a:pt x="67" y="68"/>
                  </a:lnTo>
                  <a:lnTo>
                    <a:pt x="66" y="68"/>
                  </a:lnTo>
                  <a:lnTo>
                    <a:pt x="64" y="69"/>
                  </a:lnTo>
                  <a:lnTo>
                    <a:pt x="62" y="71"/>
                  </a:lnTo>
                  <a:lnTo>
                    <a:pt x="62" y="73"/>
                  </a:lnTo>
                  <a:lnTo>
                    <a:pt x="61" y="73"/>
                  </a:lnTo>
                  <a:lnTo>
                    <a:pt x="61" y="71"/>
                  </a:lnTo>
                  <a:lnTo>
                    <a:pt x="60" y="70"/>
                  </a:lnTo>
                  <a:lnTo>
                    <a:pt x="60" y="71"/>
                  </a:lnTo>
                  <a:lnTo>
                    <a:pt x="60" y="73"/>
                  </a:lnTo>
                  <a:lnTo>
                    <a:pt x="60" y="71"/>
                  </a:lnTo>
                  <a:lnTo>
                    <a:pt x="61" y="73"/>
                  </a:lnTo>
                  <a:lnTo>
                    <a:pt x="60" y="73"/>
                  </a:lnTo>
                  <a:lnTo>
                    <a:pt x="57" y="75"/>
                  </a:lnTo>
                  <a:lnTo>
                    <a:pt x="56" y="75"/>
                  </a:lnTo>
                  <a:lnTo>
                    <a:pt x="55" y="75"/>
                  </a:lnTo>
                  <a:lnTo>
                    <a:pt x="54" y="76"/>
                  </a:lnTo>
                  <a:lnTo>
                    <a:pt x="53" y="76"/>
                  </a:lnTo>
                  <a:lnTo>
                    <a:pt x="53" y="77"/>
                  </a:lnTo>
                  <a:lnTo>
                    <a:pt x="53" y="76"/>
                  </a:lnTo>
                  <a:lnTo>
                    <a:pt x="52" y="76"/>
                  </a:lnTo>
                  <a:lnTo>
                    <a:pt x="50" y="76"/>
                  </a:lnTo>
                  <a:lnTo>
                    <a:pt x="49" y="76"/>
                  </a:lnTo>
                  <a:lnTo>
                    <a:pt x="48" y="76"/>
                  </a:lnTo>
                  <a:lnTo>
                    <a:pt x="47" y="75"/>
                  </a:lnTo>
                  <a:lnTo>
                    <a:pt x="46" y="75"/>
                  </a:lnTo>
                  <a:lnTo>
                    <a:pt x="46" y="74"/>
                  </a:lnTo>
                  <a:lnTo>
                    <a:pt x="45" y="75"/>
                  </a:lnTo>
                  <a:lnTo>
                    <a:pt x="43" y="74"/>
                  </a:lnTo>
                  <a:lnTo>
                    <a:pt x="42" y="74"/>
                  </a:lnTo>
                  <a:lnTo>
                    <a:pt x="41" y="74"/>
                  </a:lnTo>
                  <a:lnTo>
                    <a:pt x="40" y="74"/>
                  </a:lnTo>
                  <a:lnTo>
                    <a:pt x="40" y="75"/>
                  </a:lnTo>
                  <a:lnTo>
                    <a:pt x="39" y="75"/>
                  </a:lnTo>
                  <a:lnTo>
                    <a:pt x="38" y="76"/>
                  </a:lnTo>
                  <a:lnTo>
                    <a:pt x="36" y="76"/>
                  </a:lnTo>
                  <a:lnTo>
                    <a:pt x="35" y="76"/>
                  </a:lnTo>
                  <a:lnTo>
                    <a:pt x="36" y="76"/>
                  </a:lnTo>
                  <a:lnTo>
                    <a:pt x="35" y="76"/>
                  </a:lnTo>
                  <a:lnTo>
                    <a:pt x="34" y="76"/>
                  </a:lnTo>
                  <a:lnTo>
                    <a:pt x="33" y="75"/>
                  </a:lnTo>
                  <a:lnTo>
                    <a:pt x="33" y="74"/>
                  </a:lnTo>
                  <a:lnTo>
                    <a:pt x="32" y="74"/>
                  </a:lnTo>
                  <a:lnTo>
                    <a:pt x="31" y="74"/>
                  </a:lnTo>
                  <a:lnTo>
                    <a:pt x="30" y="74"/>
                  </a:lnTo>
                  <a:lnTo>
                    <a:pt x="30" y="73"/>
                  </a:lnTo>
                  <a:lnTo>
                    <a:pt x="28" y="73"/>
                  </a:lnTo>
                  <a:lnTo>
                    <a:pt x="27" y="73"/>
                  </a:lnTo>
                  <a:lnTo>
                    <a:pt x="26" y="73"/>
                  </a:lnTo>
                  <a:lnTo>
                    <a:pt x="26" y="71"/>
                  </a:lnTo>
                  <a:lnTo>
                    <a:pt x="25" y="71"/>
                  </a:lnTo>
                  <a:lnTo>
                    <a:pt x="25" y="70"/>
                  </a:lnTo>
                  <a:lnTo>
                    <a:pt x="24" y="70"/>
                  </a:lnTo>
                  <a:lnTo>
                    <a:pt x="24" y="69"/>
                  </a:lnTo>
                  <a:lnTo>
                    <a:pt x="23" y="69"/>
                  </a:lnTo>
                  <a:lnTo>
                    <a:pt x="21" y="69"/>
                  </a:lnTo>
                  <a:lnTo>
                    <a:pt x="20" y="69"/>
                  </a:lnTo>
                  <a:lnTo>
                    <a:pt x="19" y="69"/>
                  </a:lnTo>
                  <a:lnTo>
                    <a:pt x="18" y="69"/>
                  </a:lnTo>
                  <a:lnTo>
                    <a:pt x="18" y="68"/>
                  </a:lnTo>
                  <a:lnTo>
                    <a:pt x="18" y="69"/>
                  </a:lnTo>
                  <a:lnTo>
                    <a:pt x="17" y="69"/>
                  </a:lnTo>
                  <a:lnTo>
                    <a:pt x="17" y="68"/>
                  </a:lnTo>
                  <a:lnTo>
                    <a:pt x="16" y="69"/>
                  </a:lnTo>
                  <a:lnTo>
                    <a:pt x="14" y="69"/>
                  </a:lnTo>
                  <a:lnTo>
                    <a:pt x="13" y="69"/>
                  </a:lnTo>
                  <a:lnTo>
                    <a:pt x="12" y="69"/>
                  </a:lnTo>
                  <a:lnTo>
                    <a:pt x="12" y="68"/>
                  </a:lnTo>
                  <a:lnTo>
                    <a:pt x="12" y="67"/>
                  </a:lnTo>
                  <a:lnTo>
                    <a:pt x="11" y="67"/>
                  </a:lnTo>
                  <a:lnTo>
                    <a:pt x="10" y="66"/>
                  </a:lnTo>
                  <a:lnTo>
                    <a:pt x="9" y="64"/>
                  </a:lnTo>
                  <a:lnTo>
                    <a:pt x="7" y="64"/>
                  </a:lnTo>
                  <a:lnTo>
                    <a:pt x="7" y="63"/>
                  </a:lnTo>
                  <a:lnTo>
                    <a:pt x="6" y="63"/>
                  </a:lnTo>
                  <a:lnTo>
                    <a:pt x="5" y="61"/>
                  </a:lnTo>
                  <a:lnTo>
                    <a:pt x="4" y="61"/>
                  </a:lnTo>
                  <a:lnTo>
                    <a:pt x="4" y="60"/>
                  </a:lnTo>
                  <a:lnTo>
                    <a:pt x="3" y="59"/>
                  </a:lnTo>
                  <a:lnTo>
                    <a:pt x="3" y="57"/>
                  </a:lnTo>
                  <a:lnTo>
                    <a:pt x="3" y="55"/>
                  </a:lnTo>
                  <a:lnTo>
                    <a:pt x="3" y="54"/>
                  </a:lnTo>
                  <a:lnTo>
                    <a:pt x="3" y="53"/>
                  </a:lnTo>
                  <a:lnTo>
                    <a:pt x="3" y="52"/>
                  </a:lnTo>
                  <a:lnTo>
                    <a:pt x="3" y="50"/>
                  </a:lnTo>
                  <a:lnTo>
                    <a:pt x="3" y="49"/>
                  </a:lnTo>
                  <a:lnTo>
                    <a:pt x="3" y="48"/>
                  </a:lnTo>
                  <a:lnTo>
                    <a:pt x="4" y="48"/>
                  </a:lnTo>
                  <a:lnTo>
                    <a:pt x="5" y="48"/>
                  </a:lnTo>
                  <a:lnTo>
                    <a:pt x="5" y="47"/>
                  </a:lnTo>
                  <a:lnTo>
                    <a:pt x="6" y="47"/>
                  </a:lnTo>
                  <a:lnTo>
                    <a:pt x="5" y="46"/>
                  </a:lnTo>
                  <a:lnTo>
                    <a:pt x="6" y="45"/>
                  </a:lnTo>
                  <a:lnTo>
                    <a:pt x="5" y="43"/>
                  </a:lnTo>
                  <a:lnTo>
                    <a:pt x="4" y="43"/>
                  </a:lnTo>
                  <a:lnTo>
                    <a:pt x="4" y="42"/>
                  </a:lnTo>
                  <a:lnTo>
                    <a:pt x="4" y="41"/>
                  </a:lnTo>
                  <a:lnTo>
                    <a:pt x="4" y="40"/>
                  </a:lnTo>
                  <a:lnTo>
                    <a:pt x="3" y="39"/>
                  </a:lnTo>
                  <a:lnTo>
                    <a:pt x="3" y="38"/>
                  </a:lnTo>
                  <a:lnTo>
                    <a:pt x="3" y="36"/>
                  </a:lnTo>
                  <a:lnTo>
                    <a:pt x="3" y="35"/>
                  </a:lnTo>
                  <a:lnTo>
                    <a:pt x="3" y="34"/>
                  </a:lnTo>
                  <a:lnTo>
                    <a:pt x="2" y="33"/>
                  </a:lnTo>
                  <a:lnTo>
                    <a:pt x="2" y="32"/>
                  </a:lnTo>
                  <a:lnTo>
                    <a:pt x="2" y="31"/>
                  </a:lnTo>
                  <a:lnTo>
                    <a:pt x="2" y="29"/>
                  </a:lnTo>
                  <a:lnTo>
                    <a:pt x="2" y="28"/>
                  </a:lnTo>
                  <a:lnTo>
                    <a:pt x="0" y="28"/>
                  </a:lnTo>
                  <a:lnTo>
                    <a:pt x="2" y="27"/>
                  </a:lnTo>
                  <a:lnTo>
                    <a:pt x="3" y="27"/>
                  </a:lnTo>
                  <a:lnTo>
                    <a:pt x="3" y="25"/>
                  </a:lnTo>
                  <a:lnTo>
                    <a:pt x="3" y="24"/>
                  </a:lnTo>
                  <a:lnTo>
                    <a:pt x="3" y="22"/>
                  </a:lnTo>
                  <a:lnTo>
                    <a:pt x="2" y="22"/>
                  </a:lnTo>
                  <a:lnTo>
                    <a:pt x="2" y="21"/>
                  </a:lnTo>
                  <a:lnTo>
                    <a:pt x="3" y="20"/>
                  </a:lnTo>
                  <a:lnTo>
                    <a:pt x="3" y="19"/>
                  </a:lnTo>
                  <a:lnTo>
                    <a:pt x="3" y="18"/>
                  </a:lnTo>
                  <a:lnTo>
                    <a:pt x="3" y="17"/>
                  </a:lnTo>
                  <a:lnTo>
                    <a:pt x="3" y="15"/>
                  </a:lnTo>
                  <a:lnTo>
                    <a:pt x="3" y="14"/>
                  </a:lnTo>
                  <a:lnTo>
                    <a:pt x="3" y="13"/>
                  </a:lnTo>
                  <a:lnTo>
                    <a:pt x="4" y="13"/>
                  </a:lnTo>
                  <a:lnTo>
                    <a:pt x="4" y="12"/>
                  </a:lnTo>
                  <a:lnTo>
                    <a:pt x="4" y="11"/>
                  </a:lnTo>
                  <a:lnTo>
                    <a:pt x="3" y="11"/>
                  </a:lnTo>
                  <a:lnTo>
                    <a:pt x="3" y="10"/>
                  </a:lnTo>
                  <a:lnTo>
                    <a:pt x="3" y="8"/>
                  </a:lnTo>
                  <a:lnTo>
                    <a:pt x="2" y="8"/>
                  </a:lnTo>
                  <a:lnTo>
                    <a:pt x="2" y="7"/>
                  </a:lnTo>
                  <a:lnTo>
                    <a:pt x="2" y="6"/>
                  </a:lnTo>
                  <a:lnTo>
                    <a:pt x="4" y="4"/>
                  </a:lnTo>
                  <a:lnTo>
                    <a:pt x="4" y="3"/>
                  </a:lnTo>
                  <a:lnTo>
                    <a:pt x="4" y="1"/>
                  </a:lnTo>
                  <a:lnTo>
                    <a:pt x="5" y="1"/>
                  </a:lnTo>
                  <a:lnTo>
                    <a:pt x="5" y="3"/>
                  </a:lnTo>
                  <a:lnTo>
                    <a:pt x="6" y="3"/>
                  </a:lnTo>
                  <a:lnTo>
                    <a:pt x="7" y="3"/>
                  </a:lnTo>
                  <a:lnTo>
                    <a:pt x="9" y="3"/>
                  </a:lnTo>
                  <a:lnTo>
                    <a:pt x="10" y="3"/>
                  </a:lnTo>
                  <a:lnTo>
                    <a:pt x="11" y="3"/>
                  </a:lnTo>
                  <a:lnTo>
                    <a:pt x="11" y="1"/>
                  </a:lnTo>
                  <a:lnTo>
                    <a:pt x="11" y="0"/>
                  </a:lnTo>
                  <a:lnTo>
                    <a:pt x="12" y="0"/>
                  </a:lnTo>
                  <a:lnTo>
                    <a:pt x="13" y="0"/>
                  </a:lnTo>
                  <a:lnTo>
                    <a:pt x="14" y="0"/>
                  </a:lnTo>
                  <a:lnTo>
                    <a:pt x="16" y="0"/>
                  </a:lnTo>
                  <a:lnTo>
                    <a:pt x="16" y="1"/>
                  </a:lnTo>
                  <a:lnTo>
                    <a:pt x="17" y="1"/>
                  </a:lnTo>
                  <a:lnTo>
                    <a:pt x="18" y="3"/>
                  </a:lnTo>
                  <a:lnTo>
                    <a:pt x="18" y="4"/>
                  </a:lnTo>
                  <a:lnTo>
                    <a:pt x="19" y="4"/>
                  </a:lnTo>
                  <a:lnTo>
                    <a:pt x="20" y="5"/>
                  </a:lnTo>
                  <a:lnTo>
                    <a:pt x="21" y="6"/>
                  </a:lnTo>
                  <a:lnTo>
                    <a:pt x="23" y="6"/>
                  </a:lnTo>
                  <a:lnTo>
                    <a:pt x="24" y="7"/>
                  </a:lnTo>
                  <a:lnTo>
                    <a:pt x="25" y="8"/>
                  </a:lnTo>
                  <a:lnTo>
                    <a:pt x="25" y="10"/>
                  </a:lnTo>
                  <a:lnTo>
                    <a:pt x="26" y="10"/>
                  </a:lnTo>
                  <a:lnTo>
                    <a:pt x="26" y="11"/>
                  </a:lnTo>
                  <a:lnTo>
                    <a:pt x="27" y="11"/>
                  </a:lnTo>
                  <a:lnTo>
                    <a:pt x="27" y="12"/>
                  </a:lnTo>
                  <a:lnTo>
                    <a:pt x="27" y="13"/>
                  </a:lnTo>
                  <a:lnTo>
                    <a:pt x="27" y="14"/>
                  </a:lnTo>
                  <a:lnTo>
                    <a:pt x="27" y="15"/>
                  </a:lnTo>
                  <a:lnTo>
                    <a:pt x="28" y="15"/>
                  </a:lnTo>
                  <a:lnTo>
                    <a:pt x="30" y="15"/>
                  </a:lnTo>
                  <a:lnTo>
                    <a:pt x="31" y="15"/>
                  </a:lnTo>
                  <a:lnTo>
                    <a:pt x="31" y="14"/>
                  </a:lnTo>
                  <a:lnTo>
                    <a:pt x="31" y="13"/>
                  </a:lnTo>
                  <a:lnTo>
                    <a:pt x="32" y="13"/>
                  </a:lnTo>
                  <a:lnTo>
                    <a:pt x="32" y="12"/>
                  </a:lnTo>
                  <a:lnTo>
                    <a:pt x="33" y="12"/>
                  </a:lnTo>
                  <a:lnTo>
                    <a:pt x="34" y="13"/>
                  </a:lnTo>
                  <a:lnTo>
                    <a:pt x="35" y="13"/>
                  </a:lnTo>
                  <a:lnTo>
                    <a:pt x="36" y="14"/>
                  </a:lnTo>
                  <a:lnTo>
                    <a:pt x="36" y="15"/>
                  </a:lnTo>
                  <a:lnTo>
                    <a:pt x="36" y="17"/>
                  </a:lnTo>
                  <a:lnTo>
                    <a:pt x="38" y="17"/>
                  </a:lnTo>
                  <a:lnTo>
                    <a:pt x="38" y="18"/>
                  </a:lnTo>
                  <a:lnTo>
                    <a:pt x="39" y="18"/>
                  </a:lnTo>
                  <a:lnTo>
                    <a:pt x="39" y="19"/>
                  </a:lnTo>
                  <a:lnTo>
                    <a:pt x="40" y="19"/>
                  </a:lnTo>
                  <a:lnTo>
                    <a:pt x="41" y="19"/>
                  </a:lnTo>
                  <a:lnTo>
                    <a:pt x="42" y="19"/>
                  </a:lnTo>
                  <a:lnTo>
                    <a:pt x="42" y="20"/>
                  </a:lnTo>
                  <a:lnTo>
                    <a:pt x="43" y="20"/>
                  </a:lnTo>
                  <a:lnTo>
                    <a:pt x="43" y="21"/>
                  </a:lnTo>
                  <a:lnTo>
                    <a:pt x="45" y="21"/>
                  </a:lnTo>
                  <a:lnTo>
                    <a:pt x="47" y="21"/>
                  </a:lnTo>
                  <a:lnTo>
                    <a:pt x="48" y="21"/>
                  </a:lnTo>
                  <a:lnTo>
                    <a:pt x="48" y="22"/>
                  </a:lnTo>
                  <a:lnTo>
                    <a:pt x="49" y="22"/>
                  </a:lnTo>
                  <a:lnTo>
                    <a:pt x="49" y="24"/>
                  </a:lnTo>
                  <a:lnTo>
                    <a:pt x="49" y="25"/>
                  </a:lnTo>
                  <a:lnTo>
                    <a:pt x="50" y="25"/>
                  </a:lnTo>
                  <a:lnTo>
                    <a:pt x="50" y="26"/>
                  </a:lnTo>
                  <a:lnTo>
                    <a:pt x="52" y="26"/>
                  </a:lnTo>
                  <a:lnTo>
                    <a:pt x="53" y="27"/>
                  </a:lnTo>
                  <a:lnTo>
                    <a:pt x="54" y="28"/>
                  </a:lnTo>
                  <a:lnTo>
                    <a:pt x="55" y="28"/>
                  </a:lnTo>
                  <a:lnTo>
                    <a:pt x="56" y="28"/>
                  </a:lnTo>
                  <a:lnTo>
                    <a:pt x="56" y="29"/>
                  </a:lnTo>
                  <a:lnTo>
                    <a:pt x="57" y="29"/>
                  </a:lnTo>
                  <a:lnTo>
                    <a:pt x="59" y="29"/>
                  </a:lnTo>
                  <a:lnTo>
                    <a:pt x="59" y="31"/>
                  </a:lnTo>
                  <a:lnTo>
                    <a:pt x="60" y="31"/>
                  </a:lnTo>
                  <a:lnTo>
                    <a:pt x="61" y="31"/>
                  </a:lnTo>
                  <a:lnTo>
                    <a:pt x="61" y="32"/>
                  </a:lnTo>
                  <a:lnTo>
                    <a:pt x="61" y="33"/>
                  </a:lnTo>
                  <a:lnTo>
                    <a:pt x="62" y="34"/>
                  </a:lnTo>
                  <a:lnTo>
                    <a:pt x="62" y="35"/>
                  </a:lnTo>
                  <a:lnTo>
                    <a:pt x="63" y="36"/>
                  </a:lnTo>
                  <a:lnTo>
                    <a:pt x="64" y="38"/>
                  </a:lnTo>
                  <a:lnTo>
                    <a:pt x="66" y="38"/>
                  </a:lnTo>
                  <a:lnTo>
                    <a:pt x="67" y="39"/>
                  </a:lnTo>
                  <a:lnTo>
                    <a:pt x="68" y="40"/>
                  </a:lnTo>
                  <a:lnTo>
                    <a:pt x="69" y="40"/>
                  </a:lnTo>
                  <a:lnTo>
                    <a:pt x="70" y="4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70" name="Freeform 1032">
              <a:extLst>
                <a:ext uri="{FF2B5EF4-FFF2-40B4-BE49-F238E27FC236}">
                  <a16:creationId xmlns:a16="http://schemas.microsoft.com/office/drawing/2014/main" id="{DEC3E5BA-6806-4762-B9C0-709F76AA9BB9}"/>
                </a:ext>
              </a:extLst>
            </p:cNvPr>
            <p:cNvSpPr>
              <a:spLocks noEditPoints="1"/>
            </p:cNvSpPr>
            <p:nvPr/>
          </p:nvSpPr>
          <p:spPr bwMode="auto">
            <a:xfrm>
              <a:off x="4429539" y="2925178"/>
              <a:ext cx="4007" cy="1336"/>
            </a:xfrm>
            <a:custGeom>
              <a:avLst/>
              <a:gdLst>
                <a:gd name="T0" fmla="*/ 2 w 3"/>
                <a:gd name="T1" fmla="*/ 1 h 1"/>
                <a:gd name="T2" fmla="*/ 2 w 3"/>
                <a:gd name="T3" fmla="*/ 1 h 1"/>
                <a:gd name="T4" fmla="*/ 0 w 3"/>
                <a:gd name="T5" fmla="*/ 1 h 1"/>
                <a:gd name="T6" fmla="*/ 0 w 3"/>
                <a:gd name="T7" fmla="*/ 1 h 1"/>
                <a:gd name="T8" fmla="*/ 0 w 3"/>
                <a:gd name="T9" fmla="*/ 1 h 1"/>
                <a:gd name="T10" fmla="*/ 0 w 3"/>
                <a:gd name="T11" fmla="*/ 1 h 1"/>
                <a:gd name="T12" fmla="*/ 0 w 3"/>
                <a:gd name="T13" fmla="*/ 1 h 1"/>
                <a:gd name="T14" fmla="*/ 0 w 3"/>
                <a:gd name="T15" fmla="*/ 1 h 1"/>
                <a:gd name="T16" fmla="*/ 0 w 3"/>
                <a:gd name="T17" fmla="*/ 1 h 1"/>
                <a:gd name="T18" fmla="*/ 0 w 3"/>
                <a:gd name="T19" fmla="*/ 1 h 1"/>
                <a:gd name="T20" fmla="*/ 0 w 3"/>
                <a:gd name="T21" fmla="*/ 1 h 1"/>
                <a:gd name="T22" fmla="*/ 2 w 3"/>
                <a:gd name="T23" fmla="*/ 1 h 1"/>
                <a:gd name="T24" fmla="*/ 0 w 3"/>
                <a:gd name="T25" fmla="*/ 1 h 1"/>
                <a:gd name="T26" fmla="*/ 0 w 3"/>
                <a:gd name="T27" fmla="*/ 1 h 1"/>
                <a:gd name="T28" fmla="*/ 0 w 3"/>
                <a:gd name="T29" fmla="*/ 1 h 1"/>
                <a:gd name="T30" fmla="*/ 0 w 3"/>
                <a:gd name="T31" fmla="*/ 1 h 1"/>
                <a:gd name="T32" fmla="*/ 2 w 3"/>
                <a:gd name="T33" fmla="*/ 0 h 1"/>
                <a:gd name="T34" fmla="*/ 2 w 3"/>
                <a:gd name="T35" fmla="*/ 0 h 1"/>
                <a:gd name="T36" fmla="*/ 2 w 3"/>
                <a:gd name="T37" fmla="*/ 0 h 1"/>
                <a:gd name="T38" fmla="*/ 2 w 3"/>
                <a:gd name="T39" fmla="*/ 1 h 1"/>
                <a:gd name="T40" fmla="*/ 2 w 3"/>
                <a:gd name="T41" fmla="*/ 1 h 1"/>
                <a:gd name="T42" fmla="*/ 2 w 3"/>
                <a:gd name="T43" fmla="*/ 1 h 1"/>
                <a:gd name="T44" fmla="*/ 2 w 3"/>
                <a:gd name="T45" fmla="*/ 1 h 1"/>
                <a:gd name="T46" fmla="*/ 2 w 3"/>
                <a:gd name="T47" fmla="*/ 1 h 1"/>
                <a:gd name="T48" fmla="*/ 3 w 3"/>
                <a:gd name="T49" fmla="*/ 0 h 1"/>
                <a:gd name="T50" fmla="*/ 3 w 3"/>
                <a:gd name="T51" fmla="*/ 1 h 1"/>
                <a:gd name="T52" fmla="*/ 2 w 3"/>
                <a:gd name="T53" fmla="*/ 1 h 1"/>
                <a:gd name="T54" fmla="*/ 2 w 3"/>
                <a:gd name="T55" fmla="*/ 1 h 1"/>
                <a:gd name="T56" fmla="*/ 2 w 3"/>
                <a:gd name="T57" fmla="*/ 1 h 1"/>
                <a:gd name="T58" fmla="*/ 2 w 3"/>
                <a:gd name="T59" fmla="*/ 1 h 1"/>
                <a:gd name="T60" fmla="*/ 2 w 3"/>
                <a:gd name="T61" fmla="*/ 1 h 1"/>
                <a:gd name="T62" fmla="*/ 2 w 3"/>
                <a:gd name="T63" fmla="*/ 1 h 1"/>
                <a:gd name="T64" fmla="*/ 2 w 3"/>
                <a:gd name="T65" fmla="*/ 1 h 1"/>
                <a:gd name="T66" fmla="*/ 2 w 3"/>
                <a:gd name="T67" fmla="*/ 1 h 1"/>
                <a:gd name="T68" fmla="*/ 2 w 3"/>
                <a:gd name="T69" fmla="*/ 1 h 1"/>
                <a:gd name="T70" fmla="*/ 3 w 3"/>
                <a:gd name="T71" fmla="*/ 1 h 1"/>
                <a:gd name="T72" fmla="*/ 3 w 3"/>
                <a:gd name="T73" fmla="*/ 1 h 1"/>
                <a:gd name="T74" fmla="*/ 3 w 3"/>
                <a:gd name="T75" fmla="*/ 1 h 1"/>
                <a:gd name="T76" fmla="*/ 2 w 3"/>
                <a:gd name="T77" fmla="*/ 0 h 1"/>
                <a:gd name="T78" fmla="*/ 2 w 3"/>
                <a:gd name="T79" fmla="*/ 1 h 1"/>
                <a:gd name="T80" fmla="*/ 2 w 3"/>
                <a:gd name="T81" fmla="*/ 1 h 1"/>
                <a:gd name="T82" fmla="*/ 2 w 3"/>
                <a:gd name="T83" fmla="*/ 0 h 1"/>
                <a:gd name="T84" fmla="*/ 2 w 3"/>
                <a:gd name="T85" fmla="*/ 0 h 1"/>
                <a:gd name="T86" fmla="*/ 3 w 3"/>
                <a:gd name="T8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 h="1">
                  <a:moveTo>
                    <a:pt x="2" y="1"/>
                  </a:moveTo>
                  <a:lnTo>
                    <a:pt x="2" y="1"/>
                  </a:lnTo>
                  <a:lnTo>
                    <a:pt x="0" y="1"/>
                  </a:lnTo>
                  <a:lnTo>
                    <a:pt x="0" y="1"/>
                  </a:lnTo>
                  <a:lnTo>
                    <a:pt x="0" y="1"/>
                  </a:lnTo>
                  <a:lnTo>
                    <a:pt x="0" y="1"/>
                  </a:lnTo>
                  <a:lnTo>
                    <a:pt x="0" y="1"/>
                  </a:lnTo>
                  <a:lnTo>
                    <a:pt x="0" y="1"/>
                  </a:lnTo>
                  <a:lnTo>
                    <a:pt x="0" y="1"/>
                  </a:lnTo>
                  <a:lnTo>
                    <a:pt x="0" y="1"/>
                  </a:lnTo>
                  <a:lnTo>
                    <a:pt x="0" y="1"/>
                  </a:lnTo>
                  <a:lnTo>
                    <a:pt x="2" y="1"/>
                  </a:lnTo>
                  <a:lnTo>
                    <a:pt x="0" y="1"/>
                  </a:lnTo>
                  <a:lnTo>
                    <a:pt x="0" y="1"/>
                  </a:lnTo>
                  <a:lnTo>
                    <a:pt x="0" y="1"/>
                  </a:lnTo>
                  <a:lnTo>
                    <a:pt x="0" y="1"/>
                  </a:lnTo>
                  <a:lnTo>
                    <a:pt x="2" y="0"/>
                  </a:lnTo>
                  <a:lnTo>
                    <a:pt x="2" y="0"/>
                  </a:lnTo>
                  <a:lnTo>
                    <a:pt x="2" y="0"/>
                  </a:lnTo>
                  <a:lnTo>
                    <a:pt x="2" y="1"/>
                  </a:lnTo>
                  <a:lnTo>
                    <a:pt x="2" y="1"/>
                  </a:lnTo>
                  <a:lnTo>
                    <a:pt x="2" y="1"/>
                  </a:lnTo>
                  <a:lnTo>
                    <a:pt x="2" y="1"/>
                  </a:lnTo>
                  <a:lnTo>
                    <a:pt x="2" y="1"/>
                  </a:lnTo>
                  <a:close/>
                  <a:moveTo>
                    <a:pt x="3" y="0"/>
                  </a:moveTo>
                  <a:lnTo>
                    <a:pt x="3" y="1"/>
                  </a:lnTo>
                  <a:lnTo>
                    <a:pt x="2" y="1"/>
                  </a:lnTo>
                  <a:lnTo>
                    <a:pt x="2" y="1"/>
                  </a:lnTo>
                  <a:lnTo>
                    <a:pt x="2" y="1"/>
                  </a:lnTo>
                  <a:lnTo>
                    <a:pt x="2" y="1"/>
                  </a:lnTo>
                  <a:lnTo>
                    <a:pt x="2" y="1"/>
                  </a:lnTo>
                  <a:lnTo>
                    <a:pt x="2" y="1"/>
                  </a:lnTo>
                  <a:lnTo>
                    <a:pt x="2" y="1"/>
                  </a:lnTo>
                  <a:lnTo>
                    <a:pt x="2" y="1"/>
                  </a:lnTo>
                  <a:lnTo>
                    <a:pt x="2" y="1"/>
                  </a:lnTo>
                  <a:lnTo>
                    <a:pt x="3" y="1"/>
                  </a:lnTo>
                  <a:lnTo>
                    <a:pt x="3" y="1"/>
                  </a:lnTo>
                  <a:lnTo>
                    <a:pt x="3" y="1"/>
                  </a:lnTo>
                  <a:lnTo>
                    <a:pt x="2" y="0"/>
                  </a:lnTo>
                  <a:lnTo>
                    <a:pt x="2" y="1"/>
                  </a:lnTo>
                  <a:lnTo>
                    <a:pt x="2" y="1"/>
                  </a:lnTo>
                  <a:lnTo>
                    <a:pt x="2" y="0"/>
                  </a:lnTo>
                  <a:lnTo>
                    <a:pt x="2" y="0"/>
                  </a:lnTo>
                  <a:lnTo>
                    <a:pt x="3"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71" name="Freeform 1033">
              <a:extLst>
                <a:ext uri="{FF2B5EF4-FFF2-40B4-BE49-F238E27FC236}">
                  <a16:creationId xmlns:a16="http://schemas.microsoft.com/office/drawing/2014/main" id="{96FB9D6F-6664-434E-AF6E-13F72CEC9E8A}"/>
                </a:ext>
              </a:extLst>
            </p:cNvPr>
            <p:cNvSpPr>
              <a:spLocks noEditPoints="1"/>
            </p:cNvSpPr>
            <p:nvPr/>
          </p:nvSpPr>
          <p:spPr bwMode="auto">
            <a:xfrm>
              <a:off x="6741269" y="2386977"/>
              <a:ext cx="315175" cy="174949"/>
            </a:xfrm>
            <a:custGeom>
              <a:avLst/>
              <a:gdLst>
                <a:gd name="T0" fmla="*/ 213 w 236"/>
                <a:gd name="T1" fmla="*/ 88 h 131"/>
                <a:gd name="T2" fmla="*/ 35 w 236"/>
                <a:gd name="T3" fmla="*/ 16 h 131"/>
                <a:gd name="T4" fmla="*/ 35 w 236"/>
                <a:gd name="T5" fmla="*/ 8 h 131"/>
                <a:gd name="T6" fmla="*/ 37 w 236"/>
                <a:gd name="T7" fmla="*/ 3 h 131"/>
                <a:gd name="T8" fmla="*/ 46 w 236"/>
                <a:gd name="T9" fmla="*/ 17 h 131"/>
                <a:gd name="T10" fmla="*/ 52 w 236"/>
                <a:gd name="T11" fmla="*/ 19 h 131"/>
                <a:gd name="T12" fmla="*/ 57 w 236"/>
                <a:gd name="T13" fmla="*/ 14 h 131"/>
                <a:gd name="T14" fmla="*/ 74 w 236"/>
                <a:gd name="T15" fmla="*/ 26 h 131"/>
                <a:gd name="T16" fmla="*/ 88 w 236"/>
                <a:gd name="T17" fmla="*/ 31 h 131"/>
                <a:gd name="T18" fmla="*/ 108 w 236"/>
                <a:gd name="T19" fmla="*/ 31 h 131"/>
                <a:gd name="T20" fmla="*/ 125 w 236"/>
                <a:gd name="T21" fmla="*/ 35 h 131"/>
                <a:gd name="T22" fmla="*/ 138 w 236"/>
                <a:gd name="T23" fmla="*/ 50 h 131"/>
                <a:gd name="T24" fmla="*/ 152 w 236"/>
                <a:gd name="T25" fmla="*/ 68 h 131"/>
                <a:gd name="T26" fmla="*/ 170 w 236"/>
                <a:gd name="T27" fmla="*/ 70 h 131"/>
                <a:gd name="T28" fmla="*/ 175 w 236"/>
                <a:gd name="T29" fmla="*/ 77 h 131"/>
                <a:gd name="T30" fmla="*/ 180 w 236"/>
                <a:gd name="T31" fmla="*/ 68 h 131"/>
                <a:gd name="T32" fmla="*/ 185 w 236"/>
                <a:gd name="T33" fmla="*/ 63 h 131"/>
                <a:gd name="T34" fmla="*/ 194 w 236"/>
                <a:gd name="T35" fmla="*/ 56 h 131"/>
                <a:gd name="T36" fmla="*/ 205 w 236"/>
                <a:gd name="T37" fmla="*/ 52 h 131"/>
                <a:gd name="T38" fmla="*/ 196 w 236"/>
                <a:gd name="T39" fmla="*/ 60 h 131"/>
                <a:gd name="T40" fmla="*/ 203 w 236"/>
                <a:gd name="T41" fmla="*/ 67 h 131"/>
                <a:gd name="T42" fmla="*/ 212 w 236"/>
                <a:gd name="T43" fmla="*/ 68 h 131"/>
                <a:gd name="T44" fmla="*/ 215 w 236"/>
                <a:gd name="T45" fmla="*/ 65 h 131"/>
                <a:gd name="T46" fmla="*/ 226 w 236"/>
                <a:gd name="T47" fmla="*/ 71 h 131"/>
                <a:gd name="T48" fmla="*/ 235 w 236"/>
                <a:gd name="T49" fmla="*/ 75 h 131"/>
                <a:gd name="T50" fmla="*/ 229 w 236"/>
                <a:gd name="T51" fmla="*/ 80 h 131"/>
                <a:gd name="T52" fmla="*/ 222 w 236"/>
                <a:gd name="T53" fmla="*/ 82 h 131"/>
                <a:gd name="T54" fmla="*/ 215 w 236"/>
                <a:gd name="T55" fmla="*/ 81 h 131"/>
                <a:gd name="T56" fmla="*/ 202 w 236"/>
                <a:gd name="T57" fmla="*/ 80 h 131"/>
                <a:gd name="T58" fmla="*/ 200 w 236"/>
                <a:gd name="T59" fmla="*/ 71 h 131"/>
                <a:gd name="T60" fmla="*/ 189 w 236"/>
                <a:gd name="T61" fmla="*/ 74 h 131"/>
                <a:gd name="T62" fmla="*/ 188 w 236"/>
                <a:gd name="T63" fmla="*/ 84 h 131"/>
                <a:gd name="T64" fmla="*/ 184 w 236"/>
                <a:gd name="T65" fmla="*/ 87 h 131"/>
                <a:gd name="T66" fmla="*/ 182 w 236"/>
                <a:gd name="T67" fmla="*/ 93 h 131"/>
                <a:gd name="T68" fmla="*/ 170 w 236"/>
                <a:gd name="T69" fmla="*/ 98 h 131"/>
                <a:gd name="T70" fmla="*/ 178 w 236"/>
                <a:gd name="T71" fmla="*/ 102 h 131"/>
                <a:gd name="T72" fmla="*/ 182 w 236"/>
                <a:gd name="T73" fmla="*/ 113 h 131"/>
                <a:gd name="T74" fmla="*/ 184 w 236"/>
                <a:gd name="T75" fmla="*/ 124 h 131"/>
                <a:gd name="T76" fmla="*/ 178 w 236"/>
                <a:gd name="T77" fmla="*/ 130 h 131"/>
                <a:gd name="T78" fmla="*/ 167 w 236"/>
                <a:gd name="T79" fmla="*/ 128 h 131"/>
                <a:gd name="T80" fmla="*/ 164 w 236"/>
                <a:gd name="T81" fmla="*/ 119 h 131"/>
                <a:gd name="T82" fmla="*/ 146 w 236"/>
                <a:gd name="T83" fmla="*/ 113 h 131"/>
                <a:gd name="T84" fmla="*/ 122 w 236"/>
                <a:gd name="T85" fmla="*/ 100 h 131"/>
                <a:gd name="T86" fmla="*/ 102 w 236"/>
                <a:gd name="T87" fmla="*/ 84 h 131"/>
                <a:gd name="T88" fmla="*/ 94 w 236"/>
                <a:gd name="T89" fmla="*/ 73 h 131"/>
                <a:gd name="T90" fmla="*/ 80 w 236"/>
                <a:gd name="T91" fmla="*/ 67 h 131"/>
                <a:gd name="T92" fmla="*/ 67 w 236"/>
                <a:gd name="T93" fmla="*/ 63 h 131"/>
                <a:gd name="T94" fmla="*/ 64 w 236"/>
                <a:gd name="T95" fmla="*/ 56 h 131"/>
                <a:gd name="T96" fmla="*/ 52 w 236"/>
                <a:gd name="T97" fmla="*/ 49 h 131"/>
                <a:gd name="T98" fmla="*/ 37 w 236"/>
                <a:gd name="T99" fmla="*/ 46 h 131"/>
                <a:gd name="T100" fmla="*/ 36 w 236"/>
                <a:gd name="T101" fmla="*/ 47 h 131"/>
                <a:gd name="T102" fmla="*/ 30 w 236"/>
                <a:gd name="T103" fmla="*/ 51 h 131"/>
                <a:gd name="T104" fmla="*/ 28 w 236"/>
                <a:gd name="T105" fmla="*/ 64 h 131"/>
                <a:gd name="T106" fmla="*/ 15 w 236"/>
                <a:gd name="T107" fmla="*/ 66 h 131"/>
                <a:gd name="T108" fmla="*/ 3 w 236"/>
                <a:gd name="T109" fmla="*/ 19 h 131"/>
                <a:gd name="T110" fmla="*/ 10 w 236"/>
                <a:gd name="T111" fmla="*/ 5 h 131"/>
                <a:gd name="T112" fmla="*/ 27 w 236"/>
                <a:gd name="T113" fmla="*/ 1 h 131"/>
                <a:gd name="T114" fmla="*/ 29 w 236"/>
                <a:gd name="T115" fmla="*/ 10 h 131"/>
                <a:gd name="T116" fmla="*/ 202 w 236"/>
                <a:gd name="T117" fmla="*/ 7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6" h="131">
                  <a:moveTo>
                    <a:pt x="223" y="88"/>
                  </a:moveTo>
                  <a:lnTo>
                    <a:pt x="222" y="88"/>
                  </a:lnTo>
                  <a:lnTo>
                    <a:pt x="222" y="87"/>
                  </a:lnTo>
                  <a:lnTo>
                    <a:pt x="223" y="87"/>
                  </a:lnTo>
                  <a:lnTo>
                    <a:pt x="223" y="88"/>
                  </a:lnTo>
                  <a:close/>
                  <a:moveTo>
                    <a:pt x="215" y="86"/>
                  </a:moveTo>
                  <a:lnTo>
                    <a:pt x="216" y="86"/>
                  </a:lnTo>
                  <a:lnTo>
                    <a:pt x="215" y="87"/>
                  </a:lnTo>
                  <a:lnTo>
                    <a:pt x="216" y="88"/>
                  </a:lnTo>
                  <a:lnTo>
                    <a:pt x="215" y="88"/>
                  </a:lnTo>
                  <a:lnTo>
                    <a:pt x="215" y="89"/>
                  </a:lnTo>
                  <a:lnTo>
                    <a:pt x="214" y="88"/>
                  </a:lnTo>
                  <a:lnTo>
                    <a:pt x="213" y="88"/>
                  </a:lnTo>
                  <a:lnTo>
                    <a:pt x="214" y="87"/>
                  </a:lnTo>
                  <a:lnTo>
                    <a:pt x="213" y="87"/>
                  </a:lnTo>
                  <a:lnTo>
                    <a:pt x="212" y="86"/>
                  </a:lnTo>
                  <a:lnTo>
                    <a:pt x="212" y="85"/>
                  </a:lnTo>
                  <a:lnTo>
                    <a:pt x="213" y="85"/>
                  </a:lnTo>
                  <a:lnTo>
                    <a:pt x="213" y="86"/>
                  </a:lnTo>
                  <a:lnTo>
                    <a:pt x="214" y="86"/>
                  </a:lnTo>
                  <a:lnTo>
                    <a:pt x="215" y="86"/>
                  </a:lnTo>
                  <a:close/>
                  <a:moveTo>
                    <a:pt x="31" y="17"/>
                  </a:moveTo>
                  <a:lnTo>
                    <a:pt x="32" y="17"/>
                  </a:lnTo>
                  <a:lnTo>
                    <a:pt x="34" y="17"/>
                  </a:lnTo>
                  <a:lnTo>
                    <a:pt x="34" y="16"/>
                  </a:lnTo>
                  <a:lnTo>
                    <a:pt x="35" y="16"/>
                  </a:lnTo>
                  <a:lnTo>
                    <a:pt x="35" y="15"/>
                  </a:lnTo>
                  <a:lnTo>
                    <a:pt x="35" y="14"/>
                  </a:lnTo>
                  <a:lnTo>
                    <a:pt x="36" y="14"/>
                  </a:lnTo>
                  <a:lnTo>
                    <a:pt x="35" y="14"/>
                  </a:lnTo>
                  <a:lnTo>
                    <a:pt x="34" y="14"/>
                  </a:lnTo>
                  <a:lnTo>
                    <a:pt x="34" y="12"/>
                  </a:lnTo>
                  <a:lnTo>
                    <a:pt x="35" y="12"/>
                  </a:lnTo>
                  <a:lnTo>
                    <a:pt x="36" y="12"/>
                  </a:lnTo>
                  <a:lnTo>
                    <a:pt x="36" y="11"/>
                  </a:lnTo>
                  <a:lnTo>
                    <a:pt x="35" y="11"/>
                  </a:lnTo>
                  <a:lnTo>
                    <a:pt x="35" y="10"/>
                  </a:lnTo>
                  <a:lnTo>
                    <a:pt x="35" y="9"/>
                  </a:lnTo>
                  <a:lnTo>
                    <a:pt x="35" y="8"/>
                  </a:lnTo>
                  <a:lnTo>
                    <a:pt x="35" y="9"/>
                  </a:lnTo>
                  <a:lnTo>
                    <a:pt x="34" y="9"/>
                  </a:lnTo>
                  <a:lnTo>
                    <a:pt x="34" y="8"/>
                  </a:lnTo>
                  <a:lnTo>
                    <a:pt x="34" y="7"/>
                  </a:lnTo>
                  <a:lnTo>
                    <a:pt x="35" y="5"/>
                  </a:lnTo>
                  <a:lnTo>
                    <a:pt x="34" y="5"/>
                  </a:lnTo>
                  <a:lnTo>
                    <a:pt x="32" y="4"/>
                  </a:lnTo>
                  <a:lnTo>
                    <a:pt x="32" y="3"/>
                  </a:lnTo>
                  <a:lnTo>
                    <a:pt x="32" y="2"/>
                  </a:lnTo>
                  <a:lnTo>
                    <a:pt x="32" y="1"/>
                  </a:lnTo>
                  <a:lnTo>
                    <a:pt x="34" y="2"/>
                  </a:lnTo>
                  <a:lnTo>
                    <a:pt x="36" y="3"/>
                  </a:lnTo>
                  <a:lnTo>
                    <a:pt x="37" y="3"/>
                  </a:lnTo>
                  <a:lnTo>
                    <a:pt x="38" y="4"/>
                  </a:lnTo>
                  <a:lnTo>
                    <a:pt x="40" y="5"/>
                  </a:lnTo>
                  <a:lnTo>
                    <a:pt x="43" y="7"/>
                  </a:lnTo>
                  <a:lnTo>
                    <a:pt x="43" y="8"/>
                  </a:lnTo>
                  <a:lnTo>
                    <a:pt x="42" y="8"/>
                  </a:lnTo>
                  <a:lnTo>
                    <a:pt x="42" y="9"/>
                  </a:lnTo>
                  <a:lnTo>
                    <a:pt x="42" y="10"/>
                  </a:lnTo>
                  <a:lnTo>
                    <a:pt x="42" y="11"/>
                  </a:lnTo>
                  <a:lnTo>
                    <a:pt x="42" y="12"/>
                  </a:lnTo>
                  <a:lnTo>
                    <a:pt x="42" y="14"/>
                  </a:lnTo>
                  <a:lnTo>
                    <a:pt x="43" y="15"/>
                  </a:lnTo>
                  <a:lnTo>
                    <a:pt x="44" y="16"/>
                  </a:lnTo>
                  <a:lnTo>
                    <a:pt x="46" y="17"/>
                  </a:lnTo>
                  <a:lnTo>
                    <a:pt x="47" y="18"/>
                  </a:lnTo>
                  <a:lnTo>
                    <a:pt x="49" y="18"/>
                  </a:lnTo>
                  <a:lnTo>
                    <a:pt x="49" y="19"/>
                  </a:lnTo>
                  <a:lnTo>
                    <a:pt x="49" y="21"/>
                  </a:lnTo>
                  <a:lnTo>
                    <a:pt x="47" y="21"/>
                  </a:lnTo>
                  <a:lnTo>
                    <a:pt x="47" y="22"/>
                  </a:lnTo>
                  <a:lnTo>
                    <a:pt x="49" y="22"/>
                  </a:lnTo>
                  <a:lnTo>
                    <a:pt x="50" y="22"/>
                  </a:lnTo>
                  <a:lnTo>
                    <a:pt x="51" y="22"/>
                  </a:lnTo>
                  <a:lnTo>
                    <a:pt x="52" y="22"/>
                  </a:lnTo>
                  <a:lnTo>
                    <a:pt x="52" y="21"/>
                  </a:lnTo>
                  <a:lnTo>
                    <a:pt x="53" y="21"/>
                  </a:lnTo>
                  <a:lnTo>
                    <a:pt x="52" y="19"/>
                  </a:lnTo>
                  <a:lnTo>
                    <a:pt x="53" y="19"/>
                  </a:lnTo>
                  <a:lnTo>
                    <a:pt x="53" y="18"/>
                  </a:lnTo>
                  <a:lnTo>
                    <a:pt x="53" y="17"/>
                  </a:lnTo>
                  <a:lnTo>
                    <a:pt x="52" y="16"/>
                  </a:lnTo>
                  <a:lnTo>
                    <a:pt x="52" y="15"/>
                  </a:lnTo>
                  <a:lnTo>
                    <a:pt x="51" y="14"/>
                  </a:lnTo>
                  <a:lnTo>
                    <a:pt x="52" y="14"/>
                  </a:lnTo>
                  <a:lnTo>
                    <a:pt x="52" y="12"/>
                  </a:lnTo>
                  <a:lnTo>
                    <a:pt x="52" y="11"/>
                  </a:lnTo>
                  <a:lnTo>
                    <a:pt x="51" y="11"/>
                  </a:lnTo>
                  <a:lnTo>
                    <a:pt x="52" y="11"/>
                  </a:lnTo>
                  <a:lnTo>
                    <a:pt x="54" y="12"/>
                  </a:lnTo>
                  <a:lnTo>
                    <a:pt x="57" y="14"/>
                  </a:lnTo>
                  <a:lnTo>
                    <a:pt x="60" y="15"/>
                  </a:lnTo>
                  <a:lnTo>
                    <a:pt x="61" y="16"/>
                  </a:lnTo>
                  <a:lnTo>
                    <a:pt x="64" y="17"/>
                  </a:lnTo>
                  <a:lnTo>
                    <a:pt x="65" y="18"/>
                  </a:lnTo>
                  <a:lnTo>
                    <a:pt x="66" y="18"/>
                  </a:lnTo>
                  <a:lnTo>
                    <a:pt x="67" y="19"/>
                  </a:lnTo>
                  <a:lnTo>
                    <a:pt x="67" y="21"/>
                  </a:lnTo>
                  <a:lnTo>
                    <a:pt x="68" y="22"/>
                  </a:lnTo>
                  <a:lnTo>
                    <a:pt x="71" y="23"/>
                  </a:lnTo>
                  <a:lnTo>
                    <a:pt x="71" y="24"/>
                  </a:lnTo>
                  <a:lnTo>
                    <a:pt x="72" y="24"/>
                  </a:lnTo>
                  <a:lnTo>
                    <a:pt x="73" y="25"/>
                  </a:lnTo>
                  <a:lnTo>
                    <a:pt x="74" y="26"/>
                  </a:lnTo>
                  <a:lnTo>
                    <a:pt x="75" y="26"/>
                  </a:lnTo>
                  <a:lnTo>
                    <a:pt x="77" y="28"/>
                  </a:lnTo>
                  <a:lnTo>
                    <a:pt x="77" y="29"/>
                  </a:lnTo>
                  <a:lnTo>
                    <a:pt x="78" y="29"/>
                  </a:lnTo>
                  <a:lnTo>
                    <a:pt x="79" y="30"/>
                  </a:lnTo>
                  <a:lnTo>
                    <a:pt x="80" y="30"/>
                  </a:lnTo>
                  <a:lnTo>
                    <a:pt x="81" y="31"/>
                  </a:lnTo>
                  <a:lnTo>
                    <a:pt x="82" y="32"/>
                  </a:lnTo>
                  <a:lnTo>
                    <a:pt x="84" y="32"/>
                  </a:lnTo>
                  <a:lnTo>
                    <a:pt x="85" y="32"/>
                  </a:lnTo>
                  <a:lnTo>
                    <a:pt x="86" y="32"/>
                  </a:lnTo>
                  <a:lnTo>
                    <a:pt x="87" y="31"/>
                  </a:lnTo>
                  <a:lnTo>
                    <a:pt x="88" y="31"/>
                  </a:lnTo>
                  <a:lnTo>
                    <a:pt x="89" y="31"/>
                  </a:lnTo>
                  <a:lnTo>
                    <a:pt x="91" y="31"/>
                  </a:lnTo>
                  <a:lnTo>
                    <a:pt x="92" y="31"/>
                  </a:lnTo>
                  <a:lnTo>
                    <a:pt x="93" y="31"/>
                  </a:lnTo>
                  <a:lnTo>
                    <a:pt x="94" y="30"/>
                  </a:lnTo>
                  <a:lnTo>
                    <a:pt x="95" y="30"/>
                  </a:lnTo>
                  <a:lnTo>
                    <a:pt x="96" y="30"/>
                  </a:lnTo>
                  <a:lnTo>
                    <a:pt x="99" y="30"/>
                  </a:lnTo>
                  <a:lnTo>
                    <a:pt x="101" y="30"/>
                  </a:lnTo>
                  <a:lnTo>
                    <a:pt x="102" y="31"/>
                  </a:lnTo>
                  <a:lnTo>
                    <a:pt x="104" y="31"/>
                  </a:lnTo>
                  <a:lnTo>
                    <a:pt x="107" y="31"/>
                  </a:lnTo>
                  <a:lnTo>
                    <a:pt x="108" y="31"/>
                  </a:lnTo>
                  <a:lnTo>
                    <a:pt x="110" y="31"/>
                  </a:lnTo>
                  <a:lnTo>
                    <a:pt x="111" y="31"/>
                  </a:lnTo>
                  <a:lnTo>
                    <a:pt x="113" y="31"/>
                  </a:lnTo>
                  <a:lnTo>
                    <a:pt x="114" y="31"/>
                  </a:lnTo>
                  <a:lnTo>
                    <a:pt x="115" y="30"/>
                  </a:lnTo>
                  <a:lnTo>
                    <a:pt x="116" y="30"/>
                  </a:lnTo>
                  <a:lnTo>
                    <a:pt x="117" y="29"/>
                  </a:lnTo>
                  <a:lnTo>
                    <a:pt x="118" y="29"/>
                  </a:lnTo>
                  <a:lnTo>
                    <a:pt x="121" y="31"/>
                  </a:lnTo>
                  <a:lnTo>
                    <a:pt x="122" y="32"/>
                  </a:lnTo>
                  <a:lnTo>
                    <a:pt x="123" y="32"/>
                  </a:lnTo>
                  <a:lnTo>
                    <a:pt x="124" y="33"/>
                  </a:lnTo>
                  <a:lnTo>
                    <a:pt x="125" y="35"/>
                  </a:lnTo>
                  <a:lnTo>
                    <a:pt x="127" y="35"/>
                  </a:lnTo>
                  <a:lnTo>
                    <a:pt x="128" y="36"/>
                  </a:lnTo>
                  <a:lnTo>
                    <a:pt x="129" y="37"/>
                  </a:lnTo>
                  <a:lnTo>
                    <a:pt x="130" y="38"/>
                  </a:lnTo>
                  <a:lnTo>
                    <a:pt x="131" y="40"/>
                  </a:lnTo>
                  <a:lnTo>
                    <a:pt x="132" y="42"/>
                  </a:lnTo>
                  <a:lnTo>
                    <a:pt x="134" y="42"/>
                  </a:lnTo>
                  <a:lnTo>
                    <a:pt x="135" y="40"/>
                  </a:lnTo>
                  <a:lnTo>
                    <a:pt x="136" y="40"/>
                  </a:lnTo>
                  <a:lnTo>
                    <a:pt x="137" y="44"/>
                  </a:lnTo>
                  <a:lnTo>
                    <a:pt x="138" y="47"/>
                  </a:lnTo>
                  <a:lnTo>
                    <a:pt x="138" y="49"/>
                  </a:lnTo>
                  <a:lnTo>
                    <a:pt x="138" y="50"/>
                  </a:lnTo>
                  <a:lnTo>
                    <a:pt x="138" y="52"/>
                  </a:lnTo>
                  <a:lnTo>
                    <a:pt x="139" y="56"/>
                  </a:lnTo>
                  <a:lnTo>
                    <a:pt x="142" y="56"/>
                  </a:lnTo>
                  <a:lnTo>
                    <a:pt x="143" y="56"/>
                  </a:lnTo>
                  <a:lnTo>
                    <a:pt x="144" y="56"/>
                  </a:lnTo>
                  <a:lnTo>
                    <a:pt x="145" y="56"/>
                  </a:lnTo>
                  <a:lnTo>
                    <a:pt x="146" y="56"/>
                  </a:lnTo>
                  <a:lnTo>
                    <a:pt x="146" y="58"/>
                  </a:lnTo>
                  <a:lnTo>
                    <a:pt x="148" y="59"/>
                  </a:lnTo>
                  <a:lnTo>
                    <a:pt x="149" y="61"/>
                  </a:lnTo>
                  <a:lnTo>
                    <a:pt x="150" y="64"/>
                  </a:lnTo>
                  <a:lnTo>
                    <a:pt x="151" y="66"/>
                  </a:lnTo>
                  <a:lnTo>
                    <a:pt x="152" y="68"/>
                  </a:lnTo>
                  <a:lnTo>
                    <a:pt x="153" y="68"/>
                  </a:lnTo>
                  <a:lnTo>
                    <a:pt x="156" y="68"/>
                  </a:lnTo>
                  <a:lnTo>
                    <a:pt x="157" y="68"/>
                  </a:lnTo>
                  <a:lnTo>
                    <a:pt x="158" y="68"/>
                  </a:lnTo>
                  <a:lnTo>
                    <a:pt x="159" y="68"/>
                  </a:lnTo>
                  <a:lnTo>
                    <a:pt x="162" y="68"/>
                  </a:lnTo>
                  <a:lnTo>
                    <a:pt x="163" y="68"/>
                  </a:lnTo>
                  <a:lnTo>
                    <a:pt x="164" y="68"/>
                  </a:lnTo>
                  <a:lnTo>
                    <a:pt x="166" y="68"/>
                  </a:lnTo>
                  <a:lnTo>
                    <a:pt x="167" y="68"/>
                  </a:lnTo>
                  <a:lnTo>
                    <a:pt x="168" y="68"/>
                  </a:lnTo>
                  <a:lnTo>
                    <a:pt x="168" y="70"/>
                  </a:lnTo>
                  <a:lnTo>
                    <a:pt x="170" y="70"/>
                  </a:lnTo>
                  <a:lnTo>
                    <a:pt x="170" y="71"/>
                  </a:lnTo>
                  <a:lnTo>
                    <a:pt x="171" y="71"/>
                  </a:lnTo>
                  <a:lnTo>
                    <a:pt x="171" y="70"/>
                  </a:lnTo>
                  <a:lnTo>
                    <a:pt x="171" y="71"/>
                  </a:lnTo>
                  <a:lnTo>
                    <a:pt x="171" y="72"/>
                  </a:lnTo>
                  <a:lnTo>
                    <a:pt x="172" y="72"/>
                  </a:lnTo>
                  <a:lnTo>
                    <a:pt x="171" y="73"/>
                  </a:lnTo>
                  <a:lnTo>
                    <a:pt x="171" y="74"/>
                  </a:lnTo>
                  <a:lnTo>
                    <a:pt x="172" y="74"/>
                  </a:lnTo>
                  <a:lnTo>
                    <a:pt x="172" y="75"/>
                  </a:lnTo>
                  <a:lnTo>
                    <a:pt x="173" y="75"/>
                  </a:lnTo>
                  <a:lnTo>
                    <a:pt x="174" y="77"/>
                  </a:lnTo>
                  <a:lnTo>
                    <a:pt x="175" y="77"/>
                  </a:lnTo>
                  <a:lnTo>
                    <a:pt x="178" y="78"/>
                  </a:lnTo>
                  <a:lnTo>
                    <a:pt x="179" y="78"/>
                  </a:lnTo>
                  <a:lnTo>
                    <a:pt x="179" y="77"/>
                  </a:lnTo>
                  <a:lnTo>
                    <a:pt x="179" y="75"/>
                  </a:lnTo>
                  <a:lnTo>
                    <a:pt x="178" y="75"/>
                  </a:lnTo>
                  <a:lnTo>
                    <a:pt x="178" y="74"/>
                  </a:lnTo>
                  <a:lnTo>
                    <a:pt x="178" y="73"/>
                  </a:lnTo>
                  <a:lnTo>
                    <a:pt x="178" y="72"/>
                  </a:lnTo>
                  <a:lnTo>
                    <a:pt x="179" y="72"/>
                  </a:lnTo>
                  <a:lnTo>
                    <a:pt x="179" y="71"/>
                  </a:lnTo>
                  <a:lnTo>
                    <a:pt x="179" y="70"/>
                  </a:lnTo>
                  <a:lnTo>
                    <a:pt x="180" y="70"/>
                  </a:lnTo>
                  <a:lnTo>
                    <a:pt x="180" y="68"/>
                  </a:lnTo>
                  <a:lnTo>
                    <a:pt x="181" y="68"/>
                  </a:lnTo>
                  <a:lnTo>
                    <a:pt x="182" y="68"/>
                  </a:lnTo>
                  <a:lnTo>
                    <a:pt x="182" y="67"/>
                  </a:lnTo>
                  <a:lnTo>
                    <a:pt x="181" y="67"/>
                  </a:lnTo>
                  <a:lnTo>
                    <a:pt x="181" y="66"/>
                  </a:lnTo>
                  <a:lnTo>
                    <a:pt x="181" y="65"/>
                  </a:lnTo>
                  <a:lnTo>
                    <a:pt x="182" y="65"/>
                  </a:lnTo>
                  <a:lnTo>
                    <a:pt x="182" y="64"/>
                  </a:lnTo>
                  <a:lnTo>
                    <a:pt x="184" y="64"/>
                  </a:lnTo>
                  <a:lnTo>
                    <a:pt x="185" y="64"/>
                  </a:lnTo>
                  <a:lnTo>
                    <a:pt x="186" y="64"/>
                  </a:lnTo>
                  <a:lnTo>
                    <a:pt x="185" y="64"/>
                  </a:lnTo>
                  <a:lnTo>
                    <a:pt x="185" y="63"/>
                  </a:lnTo>
                  <a:lnTo>
                    <a:pt x="186" y="63"/>
                  </a:lnTo>
                  <a:lnTo>
                    <a:pt x="186" y="61"/>
                  </a:lnTo>
                  <a:lnTo>
                    <a:pt x="187" y="61"/>
                  </a:lnTo>
                  <a:lnTo>
                    <a:pt x="187" y="60"/>
                  </a:lnTo>
                  <a:lnTo>
                    <a:pt x="188" y="60"/>
                  </a:lnTo>
                  <a:lnTo>
                    <a:pt x="189" y="60"/>
                  </a:lnTo>
                  <a:lnTo>
                    <a:pt x="191" y="60"/>
                  </a:lnTo>
                  <a:lnTo>
                    <a:pt x="191" y="59"/>
                  </a:lnTo>
                  <a:lnTo>
                    <a:pt x="192" y="59"/>
                  </a:lnTo>
                  <a:lnTo>
                    <a:pt x="193" y="58"/>
                  </a:lnTo>
                  <a:lnTo>
                    <a:pt x="193" y="57"/>
                  </a:lnTo>
                  <a:lnTo>
                    <a:pt x="194" y="57"/>
                  </a:lnTo>
                  <a:lnTo>
                    <a:pt x="194" y="56"/>
                  </a:lnTo>
                  <a:lnTo>
                    <a:pt x="194" y="54"/>
                  </a:lnTo>
                  <a:lnTo>
                    <a:pt x="195" y="54"/>
                  </a:lnTo>
                  <a:lnTo>
                    <a:pt x="196" y="54"/>
                  </a:lnTo>
                  <a:lnTo>
                    <a:pt x="198" y="56"/>
                  </a:lnTo>
                  <a:lnTo>
                    <a:pt x="198" y="54"/>
                  </a:lnTo>
                  <a:lnTo>
                    <a:pt x="199" y="54"/>
                  </a:lnTo>
                  <a:lnTo>
                    <a:pt x="199" y="53"/>
                  </a:lnTo>
                  <a:lnTo>
                    <a:pt x="199" y="52"/>
                  </a:lnTo>
                  <a:lnTo>
                    <a:pt x="200" y="52"/>
                  </a:lnTo>
                  <a:lnTo>
                    <a:pt x="201" y="52"/>
                  </a:lnTo>
                  <a:lnTo>
                    <a:pt x="201" y="51"/>
                  </a:lnTo>
                  <a:lnTo>
                    <a:pt x="202" y="51"/>
                  </a:lnTo>
                  <a:lnTo>
                    <a:pt x="205" y="52"/>
                  </a:lnTo>
                  <a:lnTo>
                    <a:pt x="206" y="52"/>
                  </a:lnTo>
                  <a:lnTo>
                    <a:pt x="206" y="53"/>
                  </a:lnTo>
                  <a:lnTo>
                    <a:pt x="205" y="53"/>
                  </a:lnTo>
                  <a:lnTo>
                    <a:pt x="202" y="54"/>
                  </a:lnTo>
                  <a:lnTo>
                    <a:pt x="201" y="54"/>
                  </a:lnTo>
                  <a:lnTo>
                    <a:pt x="201" y="56"/>
                  </a:lnTo>
                  <a:lnTo>
                    <a:pt x="201" y="57"/>
                  </a:lnTo>
                  <a:lnTo>
                    <a:pt x="200" y="57"/>
                  </a:lnTo>
                  <a:lnTo>
                    <a:pt x="199" y="57"/>
                  </a:lnTo>
                  <a:lnTo>
                    <a:pt x="199" y="58"/>
                  </a:lnTo>
                  <a:lnTo>
                    <a:pt x="198" y="59"/>
                  </a:lnTo>
                  <a:lnTo>
                    <a:pt x="198" y="60"/>
                  </a:lnTo>
                  <a:lnTo>
                    <a:pt x="196" y="60"/>
                  </a:lnTo>
                  <a:lnTo>
                    <a:pt x="196" y="61"/>
                  </a:lnTo>
                  <a:lnTo>
                    <a:pt x="194" y="63"/>
                  </a:lnTo>
                  <a:lnTo>
                    <a:pt x="195" y="63"/>
                  </a:lnTo>
                  <a:lnTo>
                    <a:pt x="195" y="64"/>
                  </a:lnTo>
                  <a:lnTo>
                    <a:pt x="198" y="64"/>
                  </a:lnTo>
                  <a:lnTo>
                    <a:pt x="199" y="64"/>
                  </a:lnTo>
                  <a:lnTo>
                    <a:pt x="199" y="65"/>
                  </a:lnTo>
                  <a:lnTo>
                    <a:pt x="200" y="65"/>
                  </a:lnTo>
                  <a:lnTo>
                    <a:pt x="201" y="64"/>
                  </a:lnTo>
                  <a:lnTo>
                    <a:pt x="202" y="64"/>
                  </a:lnTo>
                  <a:lnTo>
                    <a:pt x="203" y="65"/>
                  </a:lnTo>
                  <a:lnTo>
                    <a:pt x="203" y="66"/>
                  </a:lnTo>
                  <a:lnTo>
                    <a:pt x="203" y="67"/>
                  </a:lnTo>
                  <a:lnTo>
                    <a:pt x="205" y="67"/>
                  </a:lnTo>
                  <a:lnTo>
                    <a:pt x="206" y="67"/>
                  </a:lnTo>
                  <a:lnTo>
                    <a:pt x="206" y="68"/>
                  </a:lnTo>
                  <a:lnTo>
                    <a:pt x="207" y="68"/>
                  </a:lnTo>
                  <a:lnTo>
                    <a:pt x="208" y="68"/>
                  </a:lnTo>
                  <a:lnTo>
                    <a:pt x="209" y="68"/>
                  </a:lnTo>
                  <a:lnTo>
                    <a:pt x="209" y="70"/>
                  </a:lnTo>
                  <a:lnTo>
                    <a:pt x="210" y="70"/>
                  </a:lnTo>
                  <a:lnTo>
                    <a:pt x="209" y="68"/>
                  </a:lnTo>
                  <a:lnTo>
                    <a:pt x="210" y="68"/>
                  </a:lnTo>
                  <a:lnTo>
                    <a:pt x="210" y="70"/>
                  </a:lnTo>
                  <a:lnTo>
                    <a:pt x="212" y="70"/>
                  </a:lnTo>
                  <a:lnTo>
                    <a:pt x="212" y="68"/>
                  </a:lnTo>
                  <a:lnTo>
                    <a:pt x="213" y="70"/>
                  </a:lnTo>
                  <a:lnTo>
                    <a:pt x="213" y="68"/>
                  </a:lnTo>
                  <a:lnTo>
                    <a:pt x="212" y="66"/>
                  </a:lnTo>
                  <a:lnTo>
                    <a:pt x="213" y="66"/>
                  </a:lnTo>
                  <a:lnTo>
                    <a:pt x="214" y="66"/>
                  </a:lnTo>
                  <a:lnTo>
                    <a:pt x="214" y="65"/>
                  </a:lnTo>
                  <a:lnTo>
                    <a:pt x="214" y="64"/>
                  </a:lnTo>
                  <a:lnTo>
                    <a:pt x="213" y="64"/>
                  </a:lnTo>
                  <a:lnTo>
                    <a:pt x="214" y="63"/>
                  </a:lnTo>
                  <a:lnTo>
                    <a:pt x="215" y="64"/>
                  </a:lnTo>
                  <a:lnTo>
                    <a:pt x="215" y="65"/>
                  </a:lnTo>
                  <a:lnTo>
                    <a:pt x="215" y="64"/>
                  </a:lnTo>
                  <a:lnTo>
                    <a:pt x="215" y="65"/>
                  </a:lnTo>
                  <a:lnTo>
                    <a:pt x="215" y="64"/>
                  </a:lnTo>
                  <a:lnTo>
                    <a:pt x="217" y="66"/>
                  </a:lnTo>
                  <a:lnTo>
                    <a:pt x="217" y="67"/>
                  </a:lnTo>
                  <a:lnTo>
                    <a:pt x="219" y="67"/>
                  </a:lnTo>
                  <a:lnTo>
                    <a:pt x="219" y="68"/>
                  </a:lnTo>
                  <a:lnTo>
                    <a:pt x="220" y="68"/>
                  </a:lnTo>
                  <a:lnTo>
                    <a:pt x="221" y="68"/>
                  </a:lnTo>
                  <a:lnTo>
                    <a:pt x="222" y="68"/>
                  </a:lnTo>
                  <a:lnTo>
                    <a:pt x="222" y="70"/>
                  </a:lnTo>
                  <a:lnTo>
                    <a:pt x="223" y="71"/>
                  </a:lnTo>
                  <a:lnTo>
                    <a:pt x="224" y="71"/>
                  </a:lnTo>
                  <a:lnTo>
                    <a:pt x="224" y="70"/>
                  </a:lnTo>
                  <a:lnTo>
                    <a:pt x="226" y="71"/>
                  </a:lnTo>
                  <a:lnTo>
                    <a:pt x="227" y="71"/>
                  </a:lnTo>
                  <a:lnTo>
                    <a:pt x="227" y="72"/>
                  </a:lnTo>
                  <a:lnTo>
                    <a:pt x="228" y="72"/>
                  </a:lnTo>
                  <a:lnTo>
                    <a:pt x="229" y="73"/>
                  </a:lnTo>
                  <a:lnTo>
                    <a:pt x="230" y="73"/>
                  </a:lnTo>
                  <a:lnTo>
                    <a:pt x="232" y="73"/>
                  </a:lnTo>
                  <a:lnTo>
                    <a:pt x="232" y="74"/>
                  </a:lnTo>
                  <a:lnTo>
                    <a:pt x="234" y="73"/>
                  </a:lnTo>
                  <a:lnTo>
                    <a:pt x="235" y="73"/>
                  </a:lnTo>
                  <a:lnTo>
                    <a:pt x="235" y="74"/>
                  </a:lnTo>
                  <a:lnTo>
                    <a:pt x="236" y="74"/>
                  </a:lnTo>
                  <a:lnTo>
                    <a:pt x="236" y="75"/>
                  </a:lnTo>
                  <a:lnTo>
                    <a:pt x="235" y="75"/>
                  </a:lnTo>
                  <a:lnTo>
                    <a:pt x="234" y="75"/>
                  </a:lnTo>
                  <a:lnTo>
                    <a:pt x="232" y="77"/>
                  </a:lnTo>
                  <a:lnTo>
                    <a:pt x="232" y="78"/>
                  </a:lnTo>
                  <a:lnTo>
                    <a:pt x="231" y="78"/>
                  </a:lnTo>
                  <a:lnTo>
                    <a:pt x="231" y="79"/>
                  </a:lnTo>
                  <a:lnTo>
                    <a:pt x="230" y="79"/>
                  </a:lnTo>
                  <a:lnTo>
                    <a:pt x="229" y="78"/>
                  </a:lnTo>
                  <a:lnTo>
                    <a:pt x="228" y="78"/>
                  </a:lnTo>
                  <a:lnTo>
                    <a:pt x="227" y="78"/>
                  </a:lnTo>
                  <a:lnTo>
                    <a:pt x="228" y="78"/>
                  </a:lnTo>
                  <a:lnTo>
                    <a:pt x="228" y="79"/>
                  </a:lnTo>
                  <a:lnTo>
                    <a:pt x="229" y="79"/>
                  </a:lnTo>
                  <a:lnTo>
                    <a:pt x="229" y="80"/>
                  </a:lnTo>
                  <a:lnTo>
                    <a:pt x="229" y="81"/>
                  </a:lnTo>
                  <a:lnTo>
                    <a:pt x="228" y="81"/>
                  </a:lnTo>
                  <a:lnTo>
                    <a:pt x="228" y="80"/>
                  </a:lnTo>
                  <a:lnTo>
                    <a:pt x="227" y="80"/>
                  </a:lnTo>
                  <a:lnTo>
                    <a:pt x="226" y="80"/>
                  </a:lnTo>
                  <a:lnTo>
                    <a:pt x="224" y="80"/>
                  </a:lnTo>
                  <a:lnTo>
                    <a:pt x="224" y="81"/>
                  </a:lnTo>
                  <a:lnTo>
                    <a:pt x="223" y="82"/>
                  </a:lnTo>
                  <a:lnTo>
                    <a:pt x="224" y="82"/>
                  </a:lnTo>
                  <a:lnTo>
                    <a:pt x="224" y="84"/>
                  </a:lnTo>
                  <a:lnTo>
                    <a:pt x="223" y="84"/>
                  </a:lnTo>
                  <a:lnTo>
                    <a:pt x="223" y="82"/>
                  </a:lnTo>
                  <a:lnTo>
                    <a:pt x="222" y="82"/>
                  </a:lnTo>
                  <a:lnTo>
                    <a:pt x="222" y="84"/>
                  </a:lnTo>
                  <a:lnTo>
                    <a:pt x="222" y="85"/>
                  </a:lnTo>
                  <a:lnTo>
                    <a:pt x="221" y="85"/>
                  </a:lnTo>
                  <a:lnTo>
                    <a:pt x="221" y="84"/>
                  </a:lnTo>
                  <a:lnTo>
                    <a:pt x="220" y="84"/>
                  </a:lnTo>
                  <a:lnTo>
                    <a:pt x="220" y="82"/>
                  </a:lnTo>
                  <a:lnTo>
                    <a:pt x="220" y="84"/>
                  </a:lnTo>
                  <a:lnTo>
                    <a:pt x="219" y="84"/>
                  </a:lnTo>
                  <a:lnTo>
                    <a:pt x="217" y="84"/>
                  </a:lnTo>
                  <a:lnTo>
                    <a:pt x="217" y="82"/>
                  </a:lnTo>
                  <a:lnTo>
                    <a:pt x="216" y="82"/>
                  </a:lnTo>
                  <a:lnTo>
                    <a:pt x="215" y="82"/>
                  </a:lnTo>
                  <a:lnTo>
                    <a:pt x="215" y="81"/>
                  </a:lnTo>
                  <a:lnTo>
                    <a:pt x="214" y="82"/>
                  </a:lnTo>
                  <a:lnTo>
                    <a:pt x="213" y="82"/>
                  </a:lnTo>
                  <a:lnTo>
                    <a:pt x="212" y="82"/>
                  </a:lnTo>
                  <a:lnTo>
                    <a:pt x="212" y="84"/>
                  </a:lnTo>
                  <a:lnTo>
                    <a:pt x="210" y="84"/>
                  </a:lnTo>
                  <a:lnTo>
                    <a:pt x="209" y="84"/>
                  </a:lnTo>
                  <a:lnTo>
                    <a:pt x="208" y="84"/>
                  </a:lnTo>
                  <a:lnTo>
                    <a:pt x="207" y="84"/>
                  </a:lnTo>
                  <a:lnTo>
                    <a:pt x="206" y="82"/>
                  </a:lnTo>
                  <a:lnTo>
                    <a:pt x="205" y="81"/>
                  </a:lnTo>
                  <a:lnTo>
                    <a:pt x="203" y="81"/>
                  </a:lnTo>
                  <a:lnTo>
                    <a:pt x="203" y="80"/>
                  </a:lnTo>
                  <a:lnTo>
                    <a:pt x="202" y="80"/>
                  </a:lnTo>
                  <a:lnTo>
                    <a:pt x="202" y="79"/>
                  </a:lnTo>
                  <a:lnTo>
                    <a:pt x="203" y="79"/>
                  </a:lnTo>
                  <a:lnTo>
                    <a:pt x="203" y="78"/>
                  </a:lnTo>
                  <a:lnTo>
                    <a:pt x="205" y="78"/>
                  </a:lnTo>
                  <a:lnTo>
                    <a:pt x="206" y="77"/>
                  </a:lnTo>
                  <a:lnTo>
                    <a:pt x="207" y="75"/>
                  </a:lnTo>
                  <a:lnTo>
                    <a:pt x="206" y="75"/>
                  </a:lnTo>
                  <a:lnTo>
                    <a:pt x="205" y="74"/>
                  </a:lnTo>
                  <a:lnTo>
                    <a:pt x="206" y="74"/>
                  </a:lnTo>
                  <a:lnTo>
                    <a:pt x="205" y="74"/>
                  </a:lnTo>
                  <a:lnTo>
                    <a:pt x="202" y="72"/>
                  </a:lnTo>
                  <a:lnTo>
                    <a:pt x="201" y="71"/>
                  </a:lnTo>
                  <a:lnTo>
                    <a:pt x="200" y="71"/>
                  </a:lnTo>
                  <a:lnTo>
                    <a:pt x="200" y="72"/>
                  </a:lnTo>
                  <a:lnTo>
                    <a:pt x="200" y="73"/>
                  </a:lnTo>
                  <a:lnTo>
                    <a:pt x="199" y="73"/>
                  </a:lnTo>
                  <a:lnTo>
                    <a:pt x="198" y="74"/>
                  </a:lnTo>
                  <a:lnTo>
                    <a:pt x="196" y="75"/>
                  </a:lnTo>
                  <a:lnTo>
                    <a:pt x="194" y="75"/>
                  </a:lnTo>
                  <a:lnTo>
                    <a:pt x="194" y="77"/>
                  </a:lnTo>
                  <a:lnTo>
                    <a:pt x="193" y="77"/>
                  </a:lnTo>
                  <a:lnTo>
                    <a:pt x="192" y="77"/>
                  </a:lnTo>
                  <a:lnTo>
                    <a:pt x="192" y="75"/>
                  </a:lnTo>
                  <a:lnTo>
                    <a:pt x="191" y="75"/>
                  </a:lnTo>
                  <a:lnTo>
                    <a:pt x="191" y="74"/>
                  </a:lnTo>
                  <a:lnTo>
                    <a:pt x="189" y="74"/>
                  </a:lnTo>
                  <a:lnTo>
                    <a:pt x="188" y="74"/>
                  </a:lnTo>
                  <a:lnTo>
                    <a:pt x="188" y="75"/>
                  </a:lnTo>
                  <a:lnTo>
                    <a:pt x="188" y="77"/>
                  </a:lnTo>
                  <a:lnTo>
                    <a:pt x="188" y="78"/>
                  </a:lnTo>
                  <a:lnTo>
                    <a:pt x="187" y="78"/>
                  </a:lnTo>
                  <a:lnTo>
                    <a:pt x="187" y="79"/>
                  </a:lnTo>
                  <a:lnTo>
                    <a:pt x="188" y="79"/>
                  </a:lnTo>
                  <a:lnTo>
                    <a:pt x="188" y="80"/>
                  </a:lnTo>
                  <a:lnTo>
                    <a:pt x="189" y="81"/>
                  </a:lnTo>
                  <a:lnTo>
                    <a:pt x="189" y="82"/>
                  </a:lnTo>
                  <a:lnTo>
                    <a:pt x="188" y="82"/>
                  </a:lnTo>
                  <a:lnTo>
                    <a:pt x="189" y="84"/>
                  </a:lnTo>
                  <a:lnTo>
                    <a:pt x="188" y="84"/>
                  </a:lnTo>
                  <a:lnTo>
                    <a:pt x="187" y="84"/>
                  </a:lnTo>
                  <a:lnTo>
                    <a:pt x="186" y="84"/>
                  </a:lnTo>
                  <a:lnTo>
                    <a:pt x="185" y="84"/>
                  </a:lnTo>
                  <a:lnTo>
                    <a:pt x="184" y="84"/>
                  </a:lnTo>
                  <a:lnTo>
                    <a:pt x="182" y="84"/>
                  </a:lnTo>
                  <a:lnTo>
                    <a:pt x="181" y="84"/>
                  </a:lnTo>
                  <a:lnTo>
                    <a:pt x="181" y="85"/>
                  </a:lnTo>
                  <a:lnTo>
                    <a:pt x="182" y="85"/>
                  </a:lnTo>
                  <a:lnTo>
                    <a:pt x="186" y="85"/>
                  </a:lnTo>
                  <a:lnTo>
                    <a:pt x="186" y="86"/>
                  </a:lnTo>
                  <a:lnTo>
                    <a:pt x="185" y="86"/>
                  </a:lnTo>
                  <a:lnTo>
                    <a:pt x="184" y="86"/>
                  </a:lnTo>
                  <a:lnTo>
                    <a:pt x="184" y="87"/>
                  </a:lnTo>
                  <a:lnTo>
                    <a:pt x="185" y="87"/>
                  </a:lnTo>
                  <a:lnTo>
                    <a:pt x="186" y="88"/>
                  </a:lnTo>
                  <a:lnTo>
                    <a:pt x="186" y="89"/>
                  </a:lnTo>
                  <a:lnTo>
                    <a:pt x="185" y="88"/>
                  </a:lnTo>
                  <a:lnTo>
                    <a:pt x="185" y="87"/>
                  </a:lnTo>
                  <a:lnTo>
                    <a:pt x="184" y="87"/>
                  </a:lnTo>
                  <a:lnTo>
                    <a:pt x="185" y="88"/>
                  </a:lnTo>
                  <a:lnTo>
                    <a:pt x="185" y="89"/>
                  </a:lnTo>
                  <a:lnTo>
                    <a:pt x="184" y="89"/>
                  </a:lnTo>
                  <a:lnTo>
                    <a:pt x="182" y="89"/>
                  </a:lnTo>
                  <a:lnTo>
                    <a:pt x="184" y="92"/>
                  </a:lnTo>
                  <a:lnTo>
                    <a:pt x="184" y="93"/>
                  </a:lnTo>
                  <a:lnTo>
                    <a:pt x="182" y="93"/>
                  </a:lnTo>
                  <a:lnTo>
                    <a:pt x="182" y="94"/>
                  </a:lnTo>
                  <a:lnTo>
                    <a:pt x="181" y="94"/>
                  </a:lnTo>
                  <a:lnTo>
                    <a:pt x="180" y="94"/>
                  </a:lnTo>
                  <a:lnTo>
                    <a:pt x="179" y="94"/>
                  </a:lnTo>
                  <a:lnTo>
                    <a:pt x="178" y="94"/>
                  </a:lnTo>
                  <a:lnTo>
                    <a:pt x="173" y="93"/>
                  </a:lnTo>
                  <a:lnTo>
                    <a:pt x="172" y="93"/>
                  </a:lnTo>
                  <a:lnTo>
                    <a:pt x="171" y="94"/>
                  </a:lnTo>
                  <a:lnTo>
                    <a:pt x="170" y="94"/>
                  </a:lnTo>
                  <a:lnTo>
                    <a:pt x="170" y="95"/>
                  </a:lnTo>
                  <a:lnTo>
                    <a:pt x="168" y="95"/>
                  </a:lnTo>
                  <a:lnTo>
                    <a:pt x="170" y="96"/>
                  </a:lnTo>
                  <a:lnTo>
                    <a:pt x="170" y="98"/>
                  </a:lnTo>
                  <a:lnTo>
                    <a:pt x="168" y="98"/>
                  </a:lnTo>
                  <a:lnTo>
                    <a:pt x="168" y="99"/>
                  </a:lnTo>
                  <a:lnTo>
                    <a:pt x="170" y="99"/>
                  </a:lnTo>
                  <a:lnTo>
                    <a:pt x="170" y="100"/>
                  </a:lnTo>
                  <a:lnTo>
                    <a:pt x="171" y="100"/>
                  </a:lnTo>
                  <a:lnTo>
                    <a:pt x="172" y="100"/>
                  </a:lnTo>
                  <a:lnTo>
                    <a:pt x="173" y="100"/>
                  </a:lnTo>
                  <a:lnTo>
                    <a:pt x="173" y="101"/>
                  </a:lnTo>
                  <a:lnTo>
                    <a:pt x="174" y="101"/>
                  </a:lnTo>
                  <a:lnTo>
                    <a:pt x="174" y="102"/>
                  </a:lnTo>
                  <a:lnTo>
                    <a:pt x="174" y="103"/>
                  </a:lnTo>
                  <a:lnTo>
                    <a:pt x="177" y="103"/>
                  </a:lnTo>
                  <a:lnTo>
                    <a:pt x="178" y="102"/>
                  </a:lnTo>
                  <a:lnTo>
                    <a:pt x="179" y="103"/>
                  </a:lnTo>
                  <a:lnTo>
                    <a:pt x="179" y="102"/>
                  </a:lnTo>
                  <a:lnTo>
                    <a:pt x="180" y="102"/>
                  </a:lnTo>
                  <a:lnTo>
                    <a:pt x="180" y="103"/>
                  </a:lnTo>
                  <a:lnTo>
                    <a:pt x="181" y="105"/>
                  </a:lnTo>
                  <a:lnTo>
                    <a:pt x="181" y="106"/>
                  </a:lnTo>
                  <a:lnTo>
                    <a:pt x="180" y="106"/>
                  </a:lnTo>
                  <a:lnTo>
                    <a:pt x="180" y="107"/>
                  </a:lnTo>
                  <a:lnTo>
                    <a:pt x="180" y="108"/>
                  </a:lnTo>
                  <a:lnTo>
                    <a:pt x="181" y="109"/>
                  </a:lnTo>
                  <a:lnTo>
                    <a:pt x="181" y="110"/>
                  </a:lnTo>
                  <a:lnTo>
                    <a:pt x="182" y="112"/>
                  </a:lnTo>
                  <a:lnTo>
                    <a:pt x="182" y="113"/>
                  </a:lnTo>
                  <a:lnTo>
                    <a:pt x="184" y="113"/>
                  </a:lnTo>
                  <a:lnTo>
                    <a:pt x="184" y="114"/>
                  </a:lnTo>
                  <a:lnTo>
                    <a:pt x="185" y="114"/>
                  </a:lnTo>
                  <a:lnTo>
                    <a:pt x="186" y="115"/>
                  </a:lnTo>
                  <a:lnTo>
                    <a:pt x="187" y="116"/>
                  </a:lnTo>
                  <a:lnTo>
                    <a:pt x="186" y="117"/>
                  </a:lnTo>
                  <a:lnTo>
                    <a:pt x="186" y="119"/>
                  </a:lnTo>
                  <a:lnTo>
                    <a:pt x="186" y="120"/>
                  </a:lnTo>
                  <a:lnTo>
                    <a:pt x="185" y="120"/>
                  </a:lnTo>
                  <a:lnTo>
                    <a:pt x="185" y="121"/>
                  </a:lnTo>
                  <a:lnTo>
                    <a:pt x="185" y="122"/>
                  </a:lnTo>
                  <a:lnTo>
                    <a:pt x="184" y="123"/>
                  </a:lnTo>
                  <a:lnTo>
                    <a:pt x="184" y="124"/>
                  </a:lnTo>
                  <a:lnTo>
                    <a:pt x="182" y="124"/>
                  </a:lnTo>
                  <a:lnTo>
                    <a:pt x="182" y="126"/>
                  </a:lnTo>
                  <a:lnTo>
                    <a:pt x="182" y="127"/>
                  </a:lnTo>
                  <a:lnTo>
                    <a:pt x="182" y="128"/>
                  </a:lnTo>
                  <a:lnTo>
                    <a:pt x="182" y="129"/>
                  </a:lnTo>
                  <a:lnTo>
                    <a:pt x="184" y="129"/>
                  </a:lnTo>
                  <a:lnTo>
                    <a:pt x="184" y="130"/>
                  </a:lnTo>
                  <a:lnTo>
                    <a:pt x="182" y="131"/>
                  </a:lnTo>
                  <a:lnTo>
                    <a:pt x="182" y="130"/>
                  </a:lnTo>
                  <a:lnTo>
                    <a:pt x="181" y="130"/>
                  </a:lnTo>
                  <a:lnTo>
                    <a:pt x="180" y="130"/>
                  </a:lnTo>
                  <a:lnTo>
                    <a:pt x="179" y="130"/>
                  </a:lnTo>
                  <a:lnTo>
                    <a:pt x="178" y="130"/>
                  </a:lnTo>
                  <a:lnTo>
                    <a:pt x="178" y="131"/>
                  </a:lnTo>
                  <a:lnTo>
                    <a:pt x="177" y="131"/>
                  </a:lnTo>
                  <a:lnTo>
                    <a:pt x="175" y="131"/>
                  </a:lnTo>
                  <a:lnTo>
                    <a:pt x="175" y="130"/>
                  </a:lnTo>
                  <a:lnTo>
                    <a:pt x="174" y="130"/>
                  </a:lnTo>
                  <a:lnTo>
                    <a:pt x="174" y="129"/>
                  </a:lnTo>
                  <a:lnTo>
                    <a:pt x="173" y="129"/>
                  </a:lnTo>
                  <a:lnTo>
                    <a:pt x="172" y="128"/>
                  </a:lnTo>
                  <a:lnTo>
                    <a:pt x="171" y="128"/>
                  </a:lnTo>
                  <a:lnTo>
                    <a:pt x="168" y="128"/>
                  </a:lnTo>
                  <a:lnTo>
                    <a:pt x="168" y="129"/>
                  </a:lnTo>
                  <a:lnTo>
                    <a:pt x="167" y="129"/>
                  </a:lnTo>
                  <a:lnTo>
                    <a:pt x="167" y="128"/>
                  </a:lnTo>
                  <a:lnTo>
                    <a:pt x="166" y="128"/>
                  </a:lnTo>
                  <a:lnTo>
                    <a:pt x="165" y="128"/>
                  </a:lnTo>
                  <a:lnTo>
                    <a:pt x="166" y="128"/>
                  </a:lnTo>
                  <a:lnTo>
                    <a:pt x="166" y="127"/>
                  </a:lnTo>
                  <a:lnTo>
                    <a:pt x="165" y="127"/>
                  </a:lnTo>
                  <a:lnTo>
                    <a:pt x="165" y="126"/>
                  </a:lnTo>
                  <a:lnTo>
                    <a:pt x="165" y="124"/>
                  </a:lnTo>
                  <a:lnTo>
                    <a:pt x="165" y="123"/>
                  </a:lnTo>
                  <a:lnTo>
                    <a:pt x="164" y="122"/>
                  </a:lnTo>
                  <a:lnTo>
                    <a:pt x="165" y="121"/>
                  </a:lnTo>
                  <a:lnTo>
                    <a:pt x="165" y="120"/>
                  </a:lnTo>
                  <a:lnTo>
                    <a:pt x="165" y="119"/>
                  </a:lnTo>
                  <a:lnTo>
                    <a:pt x="164" y="119"/>
                  </a:lnTo>
                  <a:lnTo>
                    <a:pt x="163" y="117"/>
                  </a:lnTo>
                  <a:lnTo>
                    <a:pt x="162" y="117"/>
                  </a:lnTo>
                  <a:lnTo>
                    <a:pt x="160" y="117"/>
                  </a:lnTo>
                  <a:lnTo>
                    <a:pt x="159" y="116"/>
                  </a:lnTo>
                  <a:lnTo>
                    <a:pt x="158" y="116"/>
                  </a:lnTo>
                  <a:lnTo>
                    <a:pt x="157" y="115"/>
                  </a:lnTo>
                  <a:lnTo>
                    <a:pt x="156" y="115"/>
                  </a:lnTo>
                  <a:lnTo>
                    <a:pt x="155" y="114"/>
                  </a:lnTo>
                  <a:lnTo>
                    <a:pt x="153" y="114"/>
                  </a:lnTo>
                  <a:lnTo>
                    <a:pt x="152" y="115"/>
                  </a:lnTo>
                  <a:lnTo>
                    <a:pt x="151" y="115"/>
                  </a:lnTo>
                  <a:lnTo>
                    <a:pt x="148" y="113"/>
                  </a:lnTo>
                  <a:lnTo>
                    <a:pt x="146" y="113"/>
                  </a:lnTo>
                  <a:lnTo>
                    <a:pt x="144" y="112"/>
                  </a:lnTo>
                  <a:lnTo>
                    <a:pt x="143" y="110"/>
                  </a:lnTo>
                  <a:lnTo>
                    <a:pt x="141" y="109"/>
                  </a:lnTo>
                  <a:lnTo>
                    <a:pt x="139" y="108"/>
                  </a:lnTo>
                  <a:lnTo>
                    <a:pt x="138" y="108"/>
                  </a:lnTo>
                  <a:lnTo>
                    <a:pt x="136" y="107"/>
                  </a:lnTo>
                  <a:lnTo>
                    <a:pt x="132" y="105"/>
                  </a:lnTo>
                  <a:lnTo>
                    <a:pt x="131" y="103"/>
                  </a:lnTo>
                  <a:lnTo>
                    <a:pt x="130" y="103"/>
                  </a:lnTo>
                  <a:lnTo>
                    <a:pt x="129" y="103"/>
                  </a:lnTo>
                  <a:lnTo>
                    <a:pt x="127" y="102"/>
                  </a:lnTo>
                  <a:lnTo>
                    <a:pt x="124" y="101"/>
                  </a:lnTo>
                  <a:lnTo>
                    <a:pt x="122" y="100"/>
                  </a:lnTo>
                  <a:lnTo>
                    <a:pt x="121" y="99"/>
                  </a:lnTo>
                  <a:lnTo>
                    <a:pt x="120" y="98"/>
                  </a:lnTo>
                  <a:lnTo>
                    <a:pt x="118" y="96"/>
                  </a:lnTo>
                  <a:lnTo>
                    <a:pt x="116" y="95"/>
                  </a:lnTo>
                  <a:lnTo>
                    <a:pt x="111" y="92"/>
                  </a:lnTo>
                  <a:lnTo>
                    <a:pt x="109" y="91"/>
                  </a:lnTo>
                  <a:lnTo>
                    <a:pt x="107" y="89"/>
                  </a:lnTo>
                  <a:lnTo>
                    <a:pt x="106" y="88"/>
                  </a:lnTo>
                  <a:lnTo>
                    <a:pt x="104" y="88"/>
                  </a:lnTo>
                  <a:lnTo>
                    <a:pt x="103" y="87"/>
                  </a:lnTo>
                  <a:lnTo>
                    <a:pt x="102" y="86"/>
                  </a:lnTo>
                  <a:lnTo>
                    <a:pt x="102" y="85"/>
                  </a:lnTo>
                  <a:lnTo>
                    <a:pt x="102" y="84"/>
                  </a:lnTo>
                  <a:lnTo>
                    <a:pt x="101" y="84"/>
                  </a:lnTo>
                  <a:lnTo>
                    <a:pt x="101" y="82"/>
                  </a:lnTo>
                  <a:lnTo>
                    <a:pt x="101" y="81"/>
                  </a:lnTo>
                  <a:lnTo>
                    <a:pt x="100" y="81"/>
                  </a:lnTo>
                  <a:lnTo>
                    <a:pt x="100" y="80"/>
                  </a:lnTo>
                  <a:lnTo>
                    <a:pt x="99" y="79"/>
                  </a:lnTo>
                  <a:lnTo>
                    <a:pt x="98" y="79"/>
                  </a:lnTo>
                  <a:lnTo>
                    <a:pt x="96" y="78"/>
                  </a:lnTo>
                  <a:lnTo>
                    <a:pt x="95" y="77"/>
                  </a:lnTo>
                  <a:lnTo>
                    <a:pt x="95" y="75"/>
                  </a:lnTo>
                  <a:lnTo>
                    <a:pt x="94" y="75"/>
                  </a:lnTo>
                  <a:lnTo>
                    <a:pt x="94" y="74"/>
                  </a:lnTo>
                  <a:lnTo>
                    <a:pt x="94" y="73"/>
                  </a:lnTo>
                  <a:lnTo>
                    <a:pt x="93" y="73"/>
                  </a:lnTo>
                  <a:lnTo>
                    <a:pt x="93" y="72"/>
                  </a:lnTo>
                  <a:lnTo>
                    <a:pt x="93" y="71"/>
                  </a:lnTo>
                  <a:lnTo>
                    <a:pt x="92" y="70"/>
                  </a:lnTo>
                  <a:lnTo>
                    <a:pt x="91" y="70"/>
                  </a:lnTo>
                  <a:lnTo>
                    <a:pt x="87" y="67"/>
                  </a:lnTo>
                  <a:lnTo>
                    <a:pt x="86" y="67"/>
                  </a:lnTo>
                  <a:lnTo>
                    <a:pt x="85" y="66"/>
                  </a:lnTo>
                  <a:lnTo>
                    <a:pt x="85" y="67"/>
                  </a:lnTo>
                  <a:lnTo>
                    <a:pt x="84" y="67"/>
                  </a:lnTo>
                  <a:lnTo>
                    <a:pt x="84" y="68"/>
                  </a:lnTo>
                  <a:lnTo>
                    <a:pt x="82" y="68"/>
                  </a:lnTo>
                  <a:lnTo>
                    <a:pt x="80" y="67"/>
                  </a:lnTo>
                  <a:lnTo>
                    <a:pt x="79" y="67"/>
                  </a:lnTo>
                  <a:lnTo>
                    <a:pt x="79" y="68"/>
                  </a:lnTo>
                  <a:lnTo>
                    <a:pt x="78" y="67"/>
                  </a:lnTo>
                  <a:lnTo>
                    <a:pt x="74" y="67"/>
                  </a:lnTo>
                  <a:lnTo>
                    <a:pt x="73" y="68"/>
                  </a:lnTo>
                  <a:lnTo>
                    <a:pt x="72" y="67"/>
                  </a:lnTo>
                  <a:lnTo>
                    <a:pt x="71" y="67"/>
                  </a:lnTo>
                  <a:lnTo>
                    <a:pt x="70" y="66"/>
                  </a:lnTo>
                  <a:lnTo>
                    <a:pt x="68" y="66"/>
                  </a:lnTo>
                  <a:lnTo>
                    <a:pt x="67" y="65"/>
                  </a:lnTo>
                  <a:lnTo>
                    <a:pt x="66" y="65"/>
                  </a:lnTo>
                  <a:lnTo>
                    <a:pt x="66" y="63"/>
                  </a:lnTo>
                  <a:lnTo>
                    <a:pt x="67" y="63"/>
                  </a:lnTo>
                  <a:lnTo>
                    <a:pt x="67" y="61"/>
                  </a:lnTo>
                  <a:lnTo>
                    <a:pt x="66" y="60"/>
                  </a:lnTo>
                  <a:lnTo>
                    <a:pt x="65" y="60"/>
                  </a:lnTo>
                  <a:lnTo>
                    <a:pt x="65" y="59"/>
                  </a:lnTo>
                  <a:lnTo>
                    <a:pt x="66" y="59"/>
                  </a:lnTo>
                  <a:lnTo>
                    <a:pt x="67" y="59"/>
                  </a:lnTo>
                  <a:lnTo>
                    <a:pt x="67" y="58"/>
                  </a:lnTo>
                  <a:lnTo>
                    <a:pt x="66" y="58"/>
                  </a:lnTo>
                  <a:lnTo>
                    <a:pt x="65" y="57"/>
                  </a:lnTo>
                  <a:lnTo>
                    <a:pt x="64" y="57"/>
                  </a:lnTo>
                  <a:lnTo>
                    <a:pt x="63" y="57"/>
                  </a:lnTo>
                  <a:lnTo>
                    <a:pt x="63" y="56"/>
                  </a:lnTo>
                  <a:lnTo>
                    <a:pt x="64" y="56"/>
                  </a:lnTo>
                  <a:lnTo>
                    <a:pt x="63" y="54"/>
                  </a:lnTo>
                  <a:lnTo>
                    <a:pt x="63" y="53"/>
                  </a:lnTo>
                  <a:lnTo>
                    <a:pt x="63" y="52"/>
                  </a:lnTo>
                  <a:lnTo>
                    <a:pt x="61" y="52"/>
                  </a:lnTo>
                  <a:lnTo>
                    <a:pt x="60" y="51"/>
                  </a:lnTo>
                  <a:lnTo>
                    <a:pt x="59" y="51"/>
                  </a:lnTo>
                  <a:lnTo>
                    <a:pt x="58" y="51"/>
                  </a:lnTo>
                  <a:lnTo>
                    <a:pt x="56" y="51"/>
                  </a:lnTo>
                  <a:lnTo>
                    <a:pt x="54" y="51"/>
                  </a:lnTo>
                  <a:lnTo>
                    <a:pt x="53" y="51"/>
                  </a:lnTo>
                  <a:lnTo>
                    <a:pt x="53" y="50"/>
                  </a:lnTo>
                  <a:lnTo>
                    <a:pt x="52" y="50"/>
                  </a:lnTo>
                  <a:lnTo>
                    <a:pt x="52" y="49"/>
                  </a:lnTo>
                  <a:lnTo>
                    <a:pt x="51" y="49"/>
                  </a:lnTo>
                  <a:lnTo>
                    <a:pt x="50" y="47"/>
                  </a:lnTo>
                  <a:lnTo>
                    <a:pt x="49" y="47"/>
                  </a:lnTo>
                  <a:lnTo>
                    <a:pt x="47" y="47"/>
                  </a:lnTo>
                  <a:lnTo>
                    <a:pt x="46" y="46"/>
                  </a:lnTo>
                  <a:lnTo>
                    <a:pt x="43" y="43"/>
                  </a:lnTo>
                  <a:lnTo>
                    <a:pt x="42" y="43"/>
                  </a:lnTo>
                  <a:lnTo>
                    <a:pt x="42" y="44"/>
                  </a:lnTo>
                  <a:lnTo>
                    <a:pt x="42" y="45"/>
                  </a:lnTo>
                  <a:lnTo>
                    <a:pt x="40" y="45"/>
                  </a:lnTo>
                  <a:lnTo>
                    <a:pt x="38" y="45"/>
                  </a:lnTo>
                  <a:lnTo>
                    <a:pt x="37" y="45"/>
                  </a:lnTo>
                  <a:lnTo>
                    <a:pt x="37" y="46"/>
                  </a:lnTo>
                  <a:lnTo>
                    <a:pt x="39" y="47"/>
                  </a:lnTo>
                  <a:lnTo>
                    <a:pt x="40" y="47"/>
                  </a:lnTo>
                  <a:lnTo>
                    <a:pt x="40" y="49"/>
                  </a:lnTo>
                  <a:lnTo>
                    <a:pt x="42" y="50"/>
                  </a:lnTo>
                  <a:lnTo>
                    <a:pt x="43" y="51"/>
                  </a:lnTo>
                  <a:lnTo>
                    <a:pt x="42" y="51"/>
                  </a:lnTo>
                  <a:lnTo>
                    <a:pt x="42" y="50"/>
                  </a:lnTo>
                  <a:lnTo>
                    <a:pt x="40" y="49"/>
                  </a:lnTo>
                  <a:lnTo>
                    <a:pt x="39" y="49"/>
                  </a:lnTo>
                  <a:lnTo>
                    <a:pt x="38" y="49"/>
                  </a:lnTo>
                  <a:lnTo>
                    <a:pt x="37" y="49"/>
                  </a:lnTo>
                  <a:lnTo>
                    <a:pt x="37" y="47"/>
                  </a:lnTo>
                  <a:lnTo>
                    <a:pt x="36" y="47"/>
                  </a:lnTo>
                  <a:lnTo>
                    <a:pt x="36" y="49"/>
                  </a:lnTo>
                  <a:lnTo>
                    <a:pt x="35" y="49"/>
                  </a:lnTo>
                  <a:lnTo>
                    <a:pt x="35" y="50"/>
                  </a:lnTo>
                  <a:lnTo>
                    <a:pt x="36" y="50"/>
                  </a:lnTo>
                  <a:lnTo>
                    <a:pt x="36" y="51"/>
                  </a:lnTo>
                  <a:lnTo>
                    <a:pt x="35" y="52"/>
                  </a:lnTo>
                  <a:lnTo>
                    <a:pt x="35" y="53"/>
                  </a:lnTo>
                  <a:lnTo>
                    <a:pt x="34" y="53"/>
                  </a:lnTo>
                  <a:lnTo>
                    <a:pt x="32" y="53"/>
                  </a:lnTo>
                  <a:lnTo>
                    <a:pt x="32" y="52"/>
                  </a:lnTo>
                  <a:lnTo>
                    <a:pt x="31" y="52"/>
                  </a:lnTo>
                  <a:lnTo>
                    <a:pt x="31" y="51"/>
                  </a:lnTo>
                  <a:lnTo>
                    <a:pt x="30" y="51"/>
                  </a:lnTo>
                  <a:lnTo>
                    <a:pt x="29" y="50"/>
                  </a:lnTo>
                  <a:lnTo>
                    <a:pt x="28" y="51"/>
                  </a:lnTo>
                  <a:lnTo>
                    <a:pt x="27" y="51"/>
                  </a:lnTo>
                  <a:lnTo>
                    <a:pt x="27" y="52"/>
                  </a:lnTo>
                  <a:lnTo>
                    <a:pt x="27" y="57"/>
                  </a:lnTo>
                  <a:lnTo>
                    <a:pt x="25" y="57"/>
                  </a:lnTo>
                  <a:lnTo>
                    <a:pt x="25" y="58"/>
                  </a:lnTo>
                  <a:lnTo>
                    <a:pt x="25" y="59"/>
                  </a:lnTo>
                  <a:lnTo>
                    <a:pt x="25" y="60"/>
                  </a:lnTo>
                  <a:lnTo>
                    <a:pt x="27" y="61"/>
                  </a:lnTo>
                  <a:lnTo>
                    <a:pt x="27" y="63"/>
                  </a:lnTo>
                  <a:lnTo>
                    <a:pt x="28" y="63"/>
                  </a:lnTo>
                  <a:lnTo>
                    <a:pt x="28" y="64"/>
                  </a:lnTo>
                  <a:lnTo>
                    <a:pt x="28" y="65"/>
                  </a:lnTo>
                  <a:lnTo>
                    <a:pt x="29" y="65"/>
                  </a:lnTo>
                  <a:lnTo>
                    <a:pt x="30" y="65"/>
                  </a:lnTo>
                  <a:lnTo>
                    <a:pt x="30" y="66"/>
                  </a:lnTo>
                  <a:lnTo>
                    <a:pt x="29" y="66"/>
                  </a:lnTo>
                  <a:lnTo>
                    <a:pt x="29" y="67"/>
                  </a:lnTo>
                  <a:lnTo>
                    <a:pt x="28" y="67"/>
                  </a:lnTo>
                  <a:lnTo>
                    <a:pt x="27" y="67"/>
                  </a:lnTo>
                  <a:lnTo>
                    <a:pt x="25" y="67"/>
                  </a:lnTo>
                  <a:lnTo>
                    <a:pt x="22" y="66"/>
                  </a:lnTo>
                  <a:lnTo>
                    <a:pt x="20" y="66"/>
                  </a:lnTo>
                  <a:lnTo>
                    <a:pt x="17" y="66"/>
                  </a:lnTo>
                  <a:lnTo>
                    <a:pt x="15" y="66"/>
                  </a:lnTo>
                  <a:lnTo>
                    <a:pt x="14" y="63"/>
                  </a:lnTo>
                  <a:lnTo>
                    <a:pt x="13" y="59"/>
                  </a:lnTo>
                  <a:lnTo>
                    <a:pt x="13" y="56"/>
                  </a:lnTo>
                  <a:lnTo>
                    <a:pt x="11" y="52"/>
                  </a:lnTo>
                  <a:lnTo>
                    <a:pt x="10" y="49"/>
                  </a:lnTo>
                  <a:lnTo>
                    <a:pt x="9" y="45"/>
                  </a:lnTo>
                  <a:lnTo>
                    <a:pt x="8" y="42"/>
                  </a:lnTo>
                  <a:lnTo>
                    <a:pt x="8" y="37"/>
                  </a:lnTo>
                  <a:lnTo>
                    <a:pt x="7" y="33"/>
                  </a:lnTo>
                  <a:lnTo>
                    <a:pt x="6" y="30"/>
                  </a:lnTo>
                  <a:lnTo>
                    <a:pt x="4" y="26"/>
                  </a:lnTo>
                  <a:lnTo>
                    <a:pt x="3" y="23"/>
                  </a:lnTo>
                  <a:lnTo>
                    <a:pt x="3" y="19"/>
                  </a:lnTo>
                  <a:lnTo>
                    <a:pt x="2" y="16"/>
                  </a:lnTo>
                  <a:lnTo>
                    <a:pt x="1" y="12"/>
                  </a:lnTo>
                  <a:lnTo>
                    <a:pt x="0" y="9"/>
                  </a:lnTo>
                  <a:lnTo>
                    <a:pt x="1" y="9"/>
                  </a:lnTo>
                  <a:lnTo>
                    <a:pt x="2" y="8"/>
                  </a:lnTo>
                  <a:lnTo>
                    <a:pt x="3" y="8"/>
                  </a:lnTo>
                  <a:lnTo>
                    <a:pt x="4" y="8"/>
                  </a:lnTo>
                  <a:lnTo>
                    <a:pt x="6" y="7"/>
                  </a:lnTo>
                  <a:lnTo>
                    <a:pt x="7" y="7"/>
                  </a:lnTo>
                  <a:lnTo>
                    <a:pt x="8" y="7"/>
                  </a:lnTo>
                  <a:lnTo>
                    <a:pt x="9" y="7"/>
                  </a:lnTo>
                  <a:lnTo>
                    <a:pt x="9" y="5"/>
                  </a:lnTo>
                  <a:lnTo>
                    <a:pt x="10" y="5"/>
                  </a:lnTo>
                  <a:lnTo>
                    <a:pt x="11" y="5"/>
                  </a:lnTo>
                  <a:lnTo>
                    <a:pt x="13" y="4"/>
                  </a:lnTo>
                  <a:lnTo>
                    <a:pt x="14" y="4"/>
                  </a:lnTo>
                  <a:lnTo>
                    <a:pt x="15" y="4"/>
                  </a:lnTo>
                  <a:lnTo>
                    <a:pt x="16" y="4"/>
                  </a:lnTo>
                  <a:lnTo>
                    <a:pt x="17" y="3"/>
                  </a:lnTo>
                  <a:lnTo>
                    <a:pt x="18" y="3"/>
                  </a:lnTo>
                  <a:lnTo>
                    <a:pt x="20" y="3"/>
                  </a:lnTo>
                  <a:lnTo>
                    <a:pt x="22" y="2"/>
                  </a:lnTo>
                  <a:lnTo>
                    <a:pt x="23" y="2"/>
                  </a:lnTo>
                  <a:lnTo>
                    <a:pt x="24" y="2"/>
                  </a:lnTo>
                  <a:lnTo>
                    <a:pt x="25" y="1"/>
                  </a:lnTo>
                  <a:lnTo>
                    <a:pt x="27" y="1"/>
                  </a:lnTo>
                  <a:lnTo>
                    <a:pt x="28" y="1"/>
                  </a:lnTo>
                  <a:lnTo>
                    <a:pt x="29" y="1"/>
                  </a:lnTo>
                  <a:lnTo>
                    <a:pt x="29" y="0"/>
                  </a:lnTo>
                  <a:lnTo>
                    <a:pt x="30" y="0"/>
                  </a:lnTo>
                  <a:lnTo>
                    <a:pt x="30" y="1"/>
                  </a:lnTo>
                  <a:lnTo>
                    <a:pt x="30" y="2"/>
                  </a:lnTo>
                  <a:lnTo>
                    <a:pt x="30" y="3"/>
                  </a:lnTo>
                  <a:lnTo>
                    <a:pt x="29" y="3"/>
                  </a:lnTo>
                  <a:lnTo>
                    <a:pt x="29" y="4"/>
                  </a:lnTo>
                  <a:lnTo>
                    <a:pt x="29" y="5"/>
                  </a:lnTo>
                  <a:lnTo>
                    <a:pt x="29" y="7"/>
                  </a:lnTo>
                  <a:lnTo>
                    <a:pt x="29" y="8"/>
                  </a:lnTo>
                  <a:lnTo>
                    <a:pt x="29" y="10"/>
                  </a:lnTo>
                  <a:lnTo>
                    <a:pt x="29" y="11"/>
                  </a:lnTo>
                  <a:lnTo>
                    <a:pt x="29" y="12"/>
                  </a:lnTo>
                  <a:lnTo>
                    <a:pt x="30" y="12"/>
                  </a:lnTo>
                  <a:lnTo>
                    <a:pt x="30" y="14"/>
                  </a:lnTo>
                  <a:lnTo>
                    <a:pt x="30" y="15"/>
                  </a:lnTo>
                  <a:lnTo>
                    <a:pt x="31" y="15"/>
                  </a:lnTo>
                  <a:lnTo>
                    <a:pt x="30" y="15"/>
                  </a:lnTo>
                  <a:lnTo>
                    <a:pt x="30" y="16"/>
                  </a:lnTo>
                  <a:lnTo>
                    <a:pt x="31" y="17"/>
                  </a:lnTo>
                  <a:close/>
                  <a:moveTo>
                    <a:pt x="203" y="72"/>
                  </a:moveTo>
                  <a:lnTo>
                    <a:pt x="203" y="71"/>
                  </a:lnTo>
                  <a:lnTo>
                    <a:pt x="202" y="71"/>
                  </a:lnTo>
                  <a:lnTo>
                    <a:pt x="202" y="72"/>
                  </a:lnTo>
                  <a:lnTo>
                    <a:pt x="203" y="7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72" name="Freeform 1034">
              <a:extLst>
                <a:ext uri="{FF2B5EF4-FFF2-40B4-BE49-F238E27FC236}">
                  <a16:creationId xmlns:a16="http://schemas.microsoft.com/office/drawing/2014/main" id="{402C45B5-2ACB-4BD1-B47B-69927BEF3C05}"/>
                </a:ext>
              </a:extLst>
            </p:cNvPr>
            <p:cNvSpPr>
              <a:spLocks/>
            </p:cNvSpPr>
            <p:nvPr/>
          </p:nvSpPr>
          <p:spPr bwMode="auto">
            <a:xfrm>
              <a:off x="6018770" y="2463099"/>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73" name="Freeform 1035">
              <a:extLst>
                <a:ext uri="{FF2B5EF4-FFF2-40B4-BE49-F238E27FC236}">
                  <a16:creationId xmlns:a16="http://schemas.microsoft.com/office/drawing/2014/main" id="{F288E161-A050-44E0-B459-A55EF584C409}"/>
                </a:ext>
              </a:extLst>
            </p:cNvPr>
            <p:cNvSpPr>
              <a:spLocks noEditPoints="1"/>
            </p:cNvSpPr>
            <p:nvPr/>
          </p:nvSpPr>
          <p:spPr bwMode="auto">
            <a:xfrm>
              <a:off x="4669927" y="3065405"/>
              <a:ext cx="6678" cy="17362"/>
            </a:xfrm>
            <a:custGeom>
              <a:avLst/>
              <a:gdLst>
                <a:gd name="T0" fmla="*/ 1 w 5"/>
                <a:gd name="T1" fmla="*/ 13 h 13"/>
                <a:gd name="T2" fmla="*/ 0 w 5"/>
                <a:gd name="T3" fmla="*/ 13 h 13"/>
                <a:gd name="T4" fmla="*/ 1 w 5"/>
                <a:gd name="T5" fmla="*/ 12 h 13"/>
                <a:gd name="T6" fmla="*/ 0 w 5"/>
                <a:gd name="T7" fmla="*/ 12 h 13"/>
                <a:gd name="T8" fmla="*/ 1 w 5"/>
                <a:gd name="T9" fmla="*/ 12 h 13"/>
                <a:gd name="T10" fmla="*/ 1 w 5"/>
                <a:gd name="T11" fmla="*/ 13 h 13"/>
                <a:gd name="T12" fmla="*/ 2 w 5"/>
                <a:gd name="T13" fmla="*/ 11 h 13"/>
                <a:gd name="T14" fmla="*/ 2 w 5"/>
                <a:gd name="T15" fmla="*/ 11 h 13"/>
                <a:gd name="T16" fmla="*/ 2 w 5"/>
                <a:gd name="T17" fmla="*/ 11 h 13"/>
                <a:gd name="T18" fmla="*/ 2 w 5"/>
                <a:gd name="T19" fmla="*/ 11 h 13"/>
                <a:gd name="T20" fmla="*/ 2 w 5"/>
                <a:gd name="T21" fmla="*/ 11 h 13"/>
                <a:gd name="T22" fmla="*/ 2 w 5"/>
                <a:gd name="T23" fmla="*/ 11 h 13"/>
                <a:gd name="T24" fmla="*/ 2 w 5"/>
                <a:gd name="T25" fmla="*/ 11 h 13"/>
                <a:gd name="T26" fmla="*/ 2 w 5"/>
                <a:gd name="T27" fmla="*/ 11 h 13"/>
                <a:gd name="T28" fmla="*/ 4 w 5"/>
                <a:gd name="T29" fmla="*/ 8 h 13"/>
                <a:gd name="T30" fmla="*/ 4 w 5"/>
                <a:gd name="T31" fmla="*/ 8 h 13"/>
                <a:gd name="T32" fmla="*/ 4 w 5"/>
                <a:gd name="T33" fmla="*/ 8 h 13"/>
                <a:gd name="T34" fmla="*/ 4 w 5"/>
                <a:gd name="T35" fmla="*/ 8 h 13"/>
                <a:gd name="T36" fmla="*/ 3 w 5"/>
                <a:gd name="T37" fmla="*/ 6 h 13"/>
                <a:gd name="T38" fmla="*/ 3 w 5"/>
                <a:gd name="T39" fmla="*/ 6 h 13"/>
                <a:gd name="T40" fmla="*/ 3 w 5"/>
                <a:gd name="T41" fmla="*/ 6 h 13"/>
                <a:gd name="T42" fmla="*/ 3 w 5"/>
                <a:gd name="T43" fmla="*/ 6 h 13"/>
                <a:gd name="T44" fmla="*/ 3 w 5"/>
                <a:gd name="T45" fmla="*/ 6 h 13"/>
                <a:gd name="T46" fmla="*/ 3 w 5"/>
                <a:gd name="T47" fmla="*/ 6 h 13"/>
                <a:gd name="T48" fmla="*/ 3 w 5"/>
                <a:gd name="T49" fmla="*/ 6 h 13"/>
                <a:gd name="T50" fmla="*/ 4 w 5"/>
                <a:gd name="T51" fmla="*/ 5 h 13"/>
                <a:gd name="T52" fmla="*/ 4 w 5"/>
                <a:gd name="T53" fmla="*/ 5 h 13"/>
                <a:gd name="T54" fmla="*/ 4 w 5"/>
                <a:gd name="T55" fmla="*/ 5 h 13"/>
                <a:gd name="T56" fmla="*/ 4 w 5"/>
                <a:gd name="T57" fmla="*/ 6 h 13"/>
                <a:gd name="T58" fmla="*/ 4 w 5"/>
                <a:gd name="T59" fmla="*/ 4 h 13"/>
                <a:gd name="T60" fmla="*/ 4 w 5"/>
                <a:gd name="T61" fmla="*/ 4 h 13"/>
                <a:gd name="T62" fmla="*/ 3 w 5"/>
                <a:gd name="T63" fmla="*/ 2 h 13"/>
                <a:gd name="T64" fmla="*/ 3 w 5"/>
                <a:gd name="T65" fmla="*/ 1 h 13"/>
                <a:gd name="T66" fmla="*/ 3 w 5"/>
                <a:gd name="T67" fmla="*/ 1 h 13"/>
                <a:gd name="T68" fmla="*/ 4 w 5"/>
                <a:gd name="T69" fmla="*/ 1 h 13"/>
                <a:gd name="T70" fmla="*/ 4 w 5"/>
                <a:gd name="T71" fmla="*/ 0 h 13"/>
                <a:gd name="T72" fmla="*/ 4 w 5"/>
                <a:gd name="T73" fmla="*/ 0 h 13"/>
                <a:gd name="T74" fmla="*/ 5 w 5"/>
                <a:gd name="T75" fmla="*/ 0 h 13"/>
                <a:gd name="T76" fmla="*/ 5 w 5"/>
                <a:gd name="T77" fmla="*/ 0 h 13"/>
                <a:gd name="T78" fmla="*/ 5 w 5"/>
                <a:gd name="T79" fmla="*/ 1 h 13"/>
                <a:gd name="T80" fmla="*/ 5 w 5"/>
                <a:gd name="T81"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 h="13">
                  <a:moveTo>
                    <a:pt x="1" y="13"/>
                  </a:moveTo>
                  <a:lnTo>
                    <a:pt x="1" y="13"/>
                  </a:lnTo>
                  <a:lnTo>
                    <a:pt x="0" y="13"/>
                  </a:lnTo>
                  <a:lnTo>
                    <a:pt x="0" y="13"/>
                  </a:lnTo>
                  <a:lnTo>
                    <a:pt x="0" y="12"/>
                  </a:lnTo>
                  <a:lnTo>
                    <a:pt x="1" y="12"/>
                  </a:lnTo>
                  <a:lnTo>
                    <a:pt x="0" y="12"/>
                  </a:lnTo>
                  <a:lnTo>
                    <a:pt x="0" y="12"/>
                  </a:lnTo>
                  <a:lnTo>
                    <a:pt x="1" y="12"/>
                  </a:lnTo>
                  <a:lnTo>
                    <a:pt x="1" y="12"/>
                  </a:lnTo>
                  <a:lnTo>
                    <a:pt x="1" y="12"/>
                  </a:lnTo>
                  <a:lnTo>
                    <a:pt x="1" y="13"/>
                  </a:lnTo>
                  <a:lnTo>
                    <a:pt x="1" y="13"/>
                  </a:lnTo>
                  <a:close/>
                  <a:moveTo>
                    <a:pt x="2" y="11"/>
                  </a:moveTo>
                  <a:lnTo>
                    <a:pt x="2" y="11"/>
                  </a:lnTo>
                  <a:lnTo>
                    <a:pt x="2" y="11"/>
                  </a:lnTo>
                  <a:lnTo>
                    <a:pt x="2" y="11"/>
                  </a:lnTo>
                  <a:lnTo>
                    <a:pt x="2" y="11"/>
                  </a:lnTo>
                  <a:lnTo>
                    <a:pt x="2" y="11"/>
                  </a:lnTo>
                  <a:lnTo>
                    <a:pt x="2" y="11"/>
                  </a:lnTo>
                  <a:lnTo>
                    <a:pt x="2" y="11"/>
                  </a:lnTo>
                  <a:lnTo>
                    <a:pt x="2" y="11"/>
                  </a:lnTo>
                  <a:lnTo>
                    <a:pt x="2" y="11"/>
                  </a:lnTo>
                  <a:lnTo>
                    <a:pt x="2" y="11"/>
                  </a:lnTo>
                  <a:lnTo>
                    <a:pt x="2" y="11"/>
                  </a:lnTo>
                  <a:lnTo>
                    <a:pt x="2" y="11"/>
                  </a:lnTo>
                  <a:lnTo>
                    <a:pt x="2" y="11"/>
                  </a:lnTo>
                  <a:lnTo>
                    <a:pt x="2" y="11"/>
                  </a:lnTo>
                  <a:lnTo>
                    <a:pt x="2" y="11"/>
                  </a:lnTo>
                  <a:close/>
                  <a:moveTo>
                    <a:pt x="4" y="8"/>
                  </a:moveTo>
                  <a:lnTo>
                    <a:pt x="4" y="8"/>
                  </a:lnTo>
                  <a:lnTo>
                    <a:pt x="4" y="8"/>
                  </a:lnTo>
                  <a:lnTo>
                    <a:pt x="4" y="8"/>
                  </a:lnTo>
                  <a:lnTo>
                    <a:pt x="4" y="8"/>
                  </a:lnTo>
                  <a:lnTo>
                    <a:pt x="4" y="8"/>
                  </a:lnTo>
                  <a:lnTo>
                    <a:pt x="4" y="8"/>
                  </a:lnTo>
                  <a:close/>
                  <a:moveTo>
                    <a:pt x="4" y="6"/>
                  </a:moveTo>
                  <a:lnTo>
                    <a:pt x="3" y="6"/>
                  </a:lnTo>
                  <a:lnTo>
                    <a:pt x="3" y="6"/>
                  </a:lnTo>
                  <a:lnTo>
                    <a:pt x="3" y="6"/>
                  </a:lnTo>
                  <a:lnTo>
                    <a:pt x="3" y="6"/>
                  </a:lnTo>
                  <a:lnTo>
                    <a:pt x="3" y="6"/>
                  </a:lnTo>
                  <a:lnTo>
                    <a:pt x="3" y="6"/>
                  </a:lnTo>
                  <a:lnTo>
                    <a:pt x="3" y="6"/>
                  </a:lnTo>
                  <a:lnTo>
                    <a:pt x="3" y="6"/>
                  </a:lnTo>
                  <a:lnTo>
                    <a:pt x="3" y="6"/>
                  </a:lnTo>
                  <a:lnTo>
                    <a:pt x="3" y="6"/>
                  </a:lnTo>
                  <a:lnTo>
                    <a:pt x="3" y="6"/>
                  </a:lnTo>
                  <a:lnTo>
                    <a:pt x="3" y="6"/>
                  </a:lnTo>
                  <a:lnTo>
                    <a:pt x="3" y="6"/>
                  </a:lnTo>
                  <a:lnTo>
                    <a:pt x="3" y="6"/>
                  </a:lnTo>
                  <a:lnTo>
                    <a:pt x="4" y="5"/>
                  </a:lnTo>
                  <a:lnTo>
                    <a:pt x="4" y="5"/>
                  </a:lnTo>
                  <a:lnTo>
                    <a:pt x="4" y="5"/>
                  </a:lnTo>
                  <a:lnTo>
                    <a:pt x="4" y="5"/>
                  </a:lnTo>
                  <a:lnTo>
                    <a:pt x="4" y="5"/>
                  </a:lnTo>
                  <a:lnTo>
                    <a:pt x="4" y="5"/>
                  </a:lnTo>
                  <a:lnTo>
                    <a:pt x="4" y="6"/>
                  </a:lnTo>
                  <a:lnTo>
                    <a:pt x="4" y="6"/>
                  </a:lnTo>
                  <a:close/>
                  <a:moveTo>
                    <a:pt x="4" y="4"/>
                  </a:moveTo>
                  <a:lnTo>
                    <a:pt x="4" y="4"/>
                  </a:lnTo>
                  <a:lnTo>
                    <a:pt x="4" y="4"/>
                  </a:lnTo>
                  <a:lnTo>
                    <a:pt x="3" y="2"/>
                  </a:lnTo>
                  <a:lnTo>
                    <a:pt x="3" y="2"/>
                  </a:lnTo>
                  <a:lnTo>
                    <a:pt x="3" y="2"/>
                  </a:lnTo>
                  <a:lnTo>
                    <a:pt x="3" y="1"/>
                  </a:lnTo>
                  <a:lnTo>
                    <a:pt x="3" y="1"/>
                  </a:lnTo>
                  <a:lnTo>
                    <a:pt x="3" y="1"/>
                  </a:lnTo>
                  <a:lnTo>
                    <a:pt x="4" y="1"/>
                  </a:lnTo>
                  <a:lnTo>
                    <a:pt x="4" y="1"/>
                  </a:lnTo>
                  <a:lnTo>
                    <a:pt x="4" y="0"/>
                  </a:lnTo>
                  <a:lnTo>
                    <a:pt x="4" y="0"/>
                  </a:lnTo>
                  <a:lnTo>
                    <a:pt x="4" y="0"/>
                  </a:lnTo>
                  <a:lnTo>
                    <a:pt x="4" y="0"/>
                  </a:lnTo>
                  <a:lnTo>
                    <a:pt x="4" y="0"/>
                  </a:lnTo>
                  <a:lnTo>
                    <a:pt x="5" y="0"/>
                  </a:lnTo>
                  <a:lnTo>
                    <a:pt x="5" y="0"/>
                  </a:lnTo>
                  <a:lnTo>
                    <a:pt x="5" y="0"/>
                  </a:lnTo>
                  <a:lnTo>
                    <a:pt x="5" y="0"/>
                  </a:lnTo>
                  <a:lnTo>
                    <a:pt x="5" y="1"/>
                  </a:lnTo>
                  <a:lnTo>
                    <a:pt x="5" y="2"/>
                  </a:lnTo>
                  <a:lnTo>
                    <a:pt x="5" y="2"/>
                  </a:lnTo>
                  <a:lnTo>
                    <a:pt x="4" y="4"/>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74" name="Freeform 1036">
              <a:extLst>
                <a:ext uri="{FF2B5EF4-FFF2-40B4-BE49-F238E27FC236}">
                  <a16:creationId xmlns:a16="http://schemas.microsoft.com/office/drawing/2014/main" id="{658FFBA2-11B6-4AE0-8AC1-39F5765B2DA2}"/>
                </a:ext>
              </a:extLst>
            </p:cNvPr>
            <p:cNvSpPr>
              <a:spLocks noEditPoints="1"/>
            </p:cNvSpPr>
            <p:nvPr/>
          </p:nvSpPr>
          <p:spPr bwMode="auto">
            <a:xfrm>
              <a:off x="4445565" y="3090779"/>
              <a:ext cx="249737" cy="244395"/>
            </a:xfrm>
            <a:custGeom>
              <a:avLst/>
              <a:gdLst>
                <a:gd name="T0" fmla="*/ 171 w 187"/>
                <a:gd name="T1" fmla="*/ 57 h 183"/>
                <a:gd name="T2" fmla="*/ 170 w 187"/>
                <a:gd name="T3" fmla="*/ 57 h 183"/>
                <a:gd name="T4" fmla="*/ 172 w 187"/>
                <a:gd name="T5" fmla="*/ 52 h 183"/>
                <a:gd name="T6" fmla="*/ 176 w 187"/>
                <a:gd name="T7" fmla="*/ 48 h 183"/>
                <a:gd name="T8" fmla="*/ 148 w 187"/>
                <a:gd name="T9" fmla="*/ 28 h 183"/>
                <a:gd name="T10" fmla="*/ 114 w 187"/>
                <a:gd name="T11" fmla="*/ 20 h 183"/>
                <a:gd name="T12" fmla="*/ 128 w 187"/>
                <a:gd name="T13" fmla="*/ 20 h 183"/>
                <a:gd name="T14" fmla="*/ 94 w 187"/>
                <a:gd name="T15" fmla="*/ 6 h 183"/>
                <a:gd name="T16" fmla="*/ 125 w 187"/>
                <a:gd name="T17" fmla="*/ 6 h 183"/>
                <a:gd name="T18" fmla="*/ 64 w 187"/>
                <a:gd name="T19" fmla="*/ 11 h 183"/>
                <a:gd name="T20" fmla="*/ 71 w 187"/>
                <a:gd name="T21" fmla="*/ 23 h 183"/>
                <a:gd name="T22" fmla="*/ 91 w 187"/>
                <a:gd name="T23" fmla="*/ 24 h 183"/>
                <a:gd name="T24" fmla="*/ 107 w 187"/>
                <a:gd name="T25" fmla="*/ 31 h 183"/>
                <a:gd name="T26" fmla="*/ 121 w 187"/>
                <a:gd name="T27" fmla="*/ 31 h 183"/>
                <a:gd name="T28" fmla="*/ 132 w 187"/>
                <a:gd name="T29" fmla="*/ 28 h 183"/>
                <a:gd name="T30" fmla="*/ 129 w 187"/>
                <a:gd name="T31" fmla="*/ 24 h 183"/>
                <a:gd name="T32" fmla="*/ 144 w 187"/>
                <a:gd name="T33" fmla="*/ 23 h 183"/>
                <a:gd name="T34" fmla="*/ 156 w 187"/>
                <a:gd name="T35" fmla="*/ 24 h 183"/>
                <a:gd name="T36" fmla="*/ 146 w 187"/>
                <a:gd name="T37" fmla="*/ 29 h 183"/>
                <a:gd name="T38" fmla="*/ 148 w 187"/>
                <a:gd name="T39" fmla="*/ 32 h 183"/>
                <a:gd name="T40" fmla="*/ 148 w 187"/>
                <a:gd name="T41" fmla="*/ 34 h 183"/>
                <a:gd name="T42" fmla="*/ 156 w 187"/>
                <a:gd name="T43" fmla="*/ 36 h 183"/>
                <a:gd name="T44" fmla="*/ 161 w 187"/>
                <a:gd name="T45" fmla="*/ 37 h 183"/>
                <a:gd name="T46" fmla="*/ 165 w 187"/>
                <a:gd name="T47" fmla="*/ 37 h 183"/>
                <a:gd name="T48" fmla="*/ 175 w 187"/>
                <a:gd name="T49" fmla="*/ 44 h 183"/>
                <a:gd name="T50" fmla="*/ 169 w 187"/>
                <a:gd name="T51" fmla="*/ 57 h 183"/>
                <a:gd name="T52" fmla="*/ 171 w 187"/>
                <a:gd name="T53" fmla="*/ 58 h 183"/>
                <a:gd name="T54" fmla="*/ 186 w 187"/>
                <a:gd name="T55" fmla="*/ 63 h 183"/>
                <a:gd name="T56" fmla="*/ 175 w 187"/>
                <a:gd name="T57" fmla="*/ 74 h 183"/>
                <a:gd name="T58" fmla="*/ 175 w 187"/>
                <a:gd name="T59" fmla="*/ 86 h 183"/>
                <a:gd name="T60" fmla="*/ 168 w 187"/>
                <a:gd name="T61" fmla="*/ 94 h 183"/>
                <a:gd name="T62" fmla="*/ 173 w 187"/>
                <a:gd name="T63" fmla="*/ 116 h 183"/>
                <a:gd name="T64" fmla="*/ 158 w 187"/>
                <a:gd name="T65" fmla="*/ 126 h 183"/>
                <a:gd name="T66" fmla="*/ 144 w 187"/>
                <a:gd name="T67" fmla="*/ 135 h 183"/>
                <a:gd name="T68" fmla="*/ 128 w 187"/>
                <a:gd name="T69" fmla="*/ 130 h 183"/>
                <a:gd name="T70" fmla="*/ 119 w 187"/>
                <a:gd name="T71" fmla="*/ 130 h 183"/>
                <a:gd name="T72" fmla="*/ 127 w 187"/>
                <a:gd name="T73" fmla="*/ 148 h 183"/>
                <a:gd name="T74" fmla="*/ 134 w 187"/>
                <a:gd name="T75" fmla="*/ 160 h 183"/>
                <a:gd name="T76" fmla="*/ 121 w 187"/>
                <a:gd name="T77" fmla="*/ 170 h 183"/>
                <a:gd name="T78" fmla="*/ 106 w 187"/>
                <a:gd name="T79" fmla="*/ 182 h 183"/>
                <a:gd name="T80" fmla="*/ 94 w 187"/>
                <a:gd name="T81" fmla="*/ 181 h 183"/>
                <a:gd name="T82" fmla="*/ 84 w 187"/>
                <a:gd name="T83" fmla="*/ 161 h 183"/>
                <a:gd name="T84" fmla="*/ 75 w 187"/>
                <a:gd name="T85" fmla="*/ 148 h 183"/>
                <a:gd name="T86" fmla="*/ 78 w 187"/>
                <a:gd name="T87" fmla="*/ 134 h 183"/>
                <a:gd name="T88" fmla="*/ 75 w 187"/>
                <a:gd name="T89" fmla="*/ 116 h 183"/>
                <a:gd name="T90" fmla="*/ 79 w 187"/>
                <a:gd name="T91" fmla="*/ 100 h 183"/>
                <a:gd name="T92" fmla="*/ 68 w 187"/>
                <a:gd name="T93" fmla="*/ 95 h 183"/>
                <a:gd name="T94" fmla="*/ 49 w 187"/>
                <a:gd name="T95" fmla="*/ 91 h 183"/>
                <a:gd name="T96" fmla="*/ 31 w 187"/>
                <a:gd name="T97" fmla="*/ 83 h 183"/>
                <a:gd name="T98" fmla="*/ 15 w 187"/>
                <a:gd name="T99" fmla="*/ 78 h 183"/>
                <a:gd name="T100" fmla="*/ 13 w 187"/>
                <a:gd name="T101" fmla="*/ 60 h 183"/>
                <a:gd name="T102" fmla="*/ 5 w 187"/>
                <a:gd name="T103" fmla="*/ 45 h 183"/>
                <a:gd name="T104" fmla="*/ 7 w 187"/>
                <a:gd name="T105" fmla="*/ 28 h 183"/>
                <a:gd name="T106" fmla="*/ 19 w 187"/>
                <a:gd name="T107" fmla="*/ 13 h 183"/>
                <a:gd name="T108" fmla="*/ 22 w 187"/>
                <a:gd name="T109" fmla="*/ 9 h 183"/>
                <a:gd name="T110" fmla="*/ 23 w 187"/>
                <a:gd name="T111" fmla="*/ 28 h 183"/>
                <a:gd name="T112" fmla="*/ 19 w 187"/>
                <a:gd name="T113" fmla="*/ 43 h 183"/>
                <a:gd name="T114" fmla="*/ 22 w 187"/>
                <a:gd name="T115" fmla="*/ 46 h 183"/>
                <a:gd name="T116" fmla="*/ 33 w 187"/>
                <a:gd name="T117" fmla="*/ 41 h 183"/>
                <a:gd name="T118" fmla="*/ 27 w 187"/>
                <a:gd name="T119" fmla="*/ 23 h 183"/>
                <a:gd name="T120" fmla="*/ 42 w 187"/>
                <a:gd name="T121" fmla="*/ 14 h 183"/>
                <a:gd name="T122" fmla="*/ 50 w 187"/>
                <a:gd name="T123" fmla="*/ 11 h 183"/>
                <a:gd name="T124" fmla="*/ 45 w 187"/>
                <a:gd name="T125" fmla="*/ 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7" h="183">
                  <a:moveTo>
                    <a:pt x="166" y="57"/>
                  </a:moveTo>
                  <a:lnTo>
                    <a:pt x="168" y="57"/>
                  </a:lnTo>
                  <a:lnTo>
                    <a:pt x="168" y="58"/>
                  </a:lnTo>
                  <a:lnTo>
                    <a:pt x="168" y="59"/>
                  </a:lnTo>
                  <a:lnTo>
                    <a:pt x="166" y="58"/>
                  </a:lnTo>
                  <a:lnTo>
                    <a:pt x="165" y="58"/>
                  </a:lnTo>
                  <a:lnTo>
                    <a:pt x="165" y="57"/>
                  </a:lnTo>
                  <a:lnTo>
                    <a:pt x="164" y="57"/>
                  </a:lnTo>
                  <a:lnTo>
                    <a:pt x="165" y="57"/>
                  </a:lnTo>
                  <a:lnTo>
                    <a:pt x="166" y="57"/>
                  </a:lnTo>
                  <a:close/>
                  <a:moveTo>
                    <a:pt x="171" y="57"/>
                  </a:moveTo>
                  <a:lnTo>
                    <a:pt x="171" y="58"/>
                  </a:lnTo>
                  <a:lnTo>
                    <a:pt x="170" y="58"/>
                  </a:lnTo>
                  <a:lnTo>
                    <a:pt x="168" y="58"/>
                  </a:lnTo>
                  <a:lnTo>
                    <a:pt x="168" y="57"/>
                  </a:lnTo>
                  <a:lnTo>
                    <a:pt x="169" y="57"/>
                  </a:lnTo>
                  <a:lnTo>
                    <a:pt x="170" y="58"/>
                  </a:lnTo>
                  <a:lnTo>
                    <a:pt x="170" y="57"/>
                  </a:lnTo>
                  <a:lnTo>
                    <a:pt x="171" y="57"/>
                  </a:lnTo>
                  <a:close/>
                  <a:moveTo>
                    <a:pt x="176" y="55"/>
                  </a:moveTo>
                  <a:lnTo>
                    <a:pt x="177" y="55"/>
                  </a:lnTo>
                  <a:lnTo>
                    <a:pt x="177" y="56"/>
                  </a:lnTo>
                  <a:lnTo>
                    <a:pt x="176" y="56"/>
                  </a:lnTo>
                  <a:lnTo>
                    <a:pt x="175" y="56"/>
                  </a:lnTo>
                  <a:lnTo>
                    <a:pt x="175" y="55"/>
                  </a:lnTo>
                  <a:lnTo>
                    <a:pt x="176" y="55"/>
                  </a:lnTo>
                  <a:lnTo>
                    <a:pt x="176" y="53"/>
                  </a:lnTo>
                  <a:lnTo>
                    <a:pt x="176" y="55"/>
                  </a:lnTo>
                  <a:close/>
                  <a:moveTo>
                    <a:pt x="176" y="52"/>
                  </a:moveTo>
                  <a:lnTo>
                    <a:pt x="176" y="53"/>
                  </a:lnTo>
                  <a:lnTo>
                    <a:pt x="175" y="53"/>
                  </a:lnTo>
                  <a:lnTo>
                    <a:pt x="175" y="55"/>
                  </a:lnTo>
                  <a:lnTo>
                    <a:pt x="175" y="56"/>
                  </a:lnTo>
                  <a:lnTo>
                    <a:pt x="173" y="56"/>
                  </a:lnTo>
                  <a:lnTo>
                    <a:pt x="172" y="56"/>
                  </a:lnTo>
                  <a:lnTo>
                    <a:pt x="171" y="56"/>
                  </a:lnTo>
                  <a:lnTo>
                    <a:pt x="170" y="56"/>
                  </a:lnTo>
                  <a:lnTo>
                    <a:pt x="170" y="57"/>
                  </a:lnTo>
                  <a:lnTo>
                    <a:pt x="169" y="57"/>
                  </a:lnTo>
                  <a:lnTo>
                    <a:pt x="169" y="56"/>
                  </a:lnTo>
                  <a:lnTo>
                    <a:pt x="169" y="55"/>
                  </a:lnTo>
                  <a:lnTo>
                    <a:pt x="170" y="55"/>
                  </a:lnTo>
                  <a:lnTo>
                    <a:pt x="170" y="53"/>
                  </a:lnTo>
                  <a:lnTo>
                    <a:pt x="171" y="53"/>
                  </a:lnTo>
                  <a:lnTo>
                    <a:pt x="172" y="53"/>
                  </a:lnTo>
                  <a:lnTo>
                    <a:pt x="173" y="53"/>
                  </a:lnTo>
                  <a:lnTo>
                    <a:pt x="173" y="52"/>
                  </a:lnTo>
                  <a:lnTo>
                    <a:pt x="175" y="52"/>
                  </a:lnTo>
                  <a:lnTo>
                    <a:pt x="176" y="52"/>
                  </a:lnTo>
                  <a:close/>
                  <a:moveTo>
                    <a:pt x="171" y="53"/>
                  </a:moveTo>
                  <a:lnTo>
                    <a:pt x="170" y="53"/>
                  </a:lnTo>
                  <a:lnTo>
                    <a:pt x="171" y="52"/>
                  </a:lnTo>
                  <a:lnTo>
                    <a:pt x="172" y="51"/>
                  </a:lnTo>
                  <a:lnTo>
                    <a:pt x="172" y="50"/>
                  </a:lnTo>
                  <a:lnTo>
                    <a:pt x="173" y="50"/>
                  </a:lnTo>
                  <a:lnTo>
                    <a:pt x="173" y="51"/>
                  </a:lnTo>
                  <a:lnTo>
                    <a:pt x="172" y="52"/>
                  </a:lnTo>
                  <a:lnTo>
                    <a:pt x="171" y="53"/>
                  </a:lnTo>
                  <a:close/>
                  <a:moveTo>
                    <a:pt x="173" y="49"/>
                  </a:moveTo>
                  <a:lnTo>
                    <a:pt x="173" y="50"/>
                  </a:lnTo>
                  <a:lnTo>
                    <a:pt x="172" y="50"/>
                  </a:lnTo>
                  <a:lnTo>
                    <a:pt x="171" y="51"/>
                  </a:lnTo>
                  <a:lnTo>
                    <a:pt x="171" y="52"/>
                  </a:lnTo>
                  <a:lnTo>
                    <a:pt x="170" y="52"/>
                  </a:lnTo>
                  <a:lnTo>
                    <a:pt x="170" y="51"/>
                  </a:lnTo>
                  <a:lnTo>
                    <a:pt x="171" y="51"/>
                  </a:lnTo>
                  <a:lnTo>
                    <a:pt x="171" y="50"/>
                  </a:lnTo>
                  <a:lnTo>
                    <a:pt x="172" y="50"/>
                  </a:lnTo>
                  <a:lnTo>
                    <a:pt x="172" y="49"/>
                  </a:lnTo>
                  <a:lnTo>
                    <a:pt x="173" y="49"/>
                  </a:lnTo>
                  <a:close/>
                  <a:moveTo>
                    <a:pt x="173" y="49"/>
                  </a:moveTo>
                  <a:lnTo>
                    <a:pt x="172" y="49"/>
                  </a:lnTo>
                  <a:lnTo>
                    <a:pt x="172" y="48"/>
                  </a:lnTo>
                  <a:lnTo>
                    <a:pt x="173" y="48"/>
                  </a:lnTo>
                  <a:lnTo>
                    <a:pt x="173" y="49"/>
                  </a:lnTo>
                  <a:close/>
                  <a:moveTo>
                    <a:pt x="176" y="48"/>
                  </a:moveTo>
                  <a:lnTo>
                    <a:pt x="175" y="48"/>
                  </a:lnTo>
                  <a:lnTo>
                    <a:pt x="175" y="49"/>
                  </a:lnTo>
                  <a:lnTo>
                    <a:pt x="173" y="49"/>
                  </a:lnTo>
                  <a:lnTo>
                    <a:pt x="175" y="48"/>
                  </a:lnTo>
                  <a:lnTo>
                    <a:pt x="175" y="46"/>
                  </a:lnTo>
                  <a:lnTo>
                    <a:pt x="176" y="46"/>
                  </a:lnTo>
                  <a:lnTo>
                    <a:pt x="176" y="48"/>
                  </a:lnTo>
                  <a:close/>
                  <a:moveTo>
                    <a:pt x="154" y="37"/>
                  </a:moveTo>
                  <a:lnTo>
                    <a:pt x="154" y="36"/>
                  </a:lnTo>
                  <a:lnTo>
                    <a:pt x="154" y="37"/>
                  </a:lnTo>
                  <a:close/>
                  <a:moveTo>
                    <a:pt x="152" y="35"/>
                  </a:moveTo>
                  <a:lnTo>
                    <a:pt x="152" y="34"/>
                  </a:lnTo>
                  <a:lnTo>
                    <a:pt x="152" y="35"/>
                  </a:lnTo>
                  <a:close/>
                  <a:moveTo>
                    <a:pt x="155" y="35"/>
                  </a:moveTo>
                  <a:lnTo>
                    <a:pt x="155" y="34"/>
                  </a:lnTo>
                  <a:lnTo>
                    <a:pt x="155" y="35"/>
                  </a:lnTo>
                  <a:close/>
                  <a:moveTo>
                    <a:pt x="149" y="29"/>
                  </a:moveTo>
                  <a:lnTo>
                    <a:pt x="149" y="28"/>
                  </a:lnTo>
                  <a:lnTo>
                    <a:pt x="148" y="28"/>
                  </a:lnTo>
                  <a:lnTo>
                    <a:pt x="148" y="27"/>
                  </a:lnTo>
                  <a:lnTo>
                    <a:pt x="149" y="27"/>
                  </a:lnTo>
                  <a:lnTo>
                    <a:pt x="149" y="28"/>
                  </a:lnTo>
                  <a:lnTo>
                    <a:pt x="149" y="29"/>
                  </a:lnTo>
                  <a:lnTo>
                    <a:pt x="150" y="29"/>
                  </a:lnTo>
                  <a:lnTo>
                    <a:pt x="149" y="29"/>
                  </a:lnTo>
                  <a:close/>
                  <a:moveTo>
                    <a:pt x="133" y="23"/>
                  </a:moveTo>
                  <a:lnTo>
                    <a:pt x="132" y="23"/>
                  </a:lnTo>
                  <a:lnTo>
                    <a:pt x="132" y="22"/>
                  </a:lnTo>
                  <a:lnTo>
                    <a:pt x="133" y="22"/>
                  </a:lnTo>
                  <a:lnTo>
                    <a:pt x="133" y="23"/>
                  </a:lnTo>
                  <a:close/>
                  <a:moveTo>
                    <a:pt x="129" y="21"/>
                  </a:moveTo>
                  <a:lnTo>
                    <a:pt x="129" y="22"/>
                  </a:lnTo>
                  <a:lnTo>
                    <a:pt x="128" y="22"/>
                  </a:lnTo>
                  <a:lnTo>
                    <a:pt x="128" y="21"/>
                  </a:lnTo>
                  <a:lnTo>
                    <a:pt x="129" y="21"/>
                  </a:lnTo>
                  <a:close/>
                  <a:moveTo>
                    <a:pt x="114" y="20"/>
                  </a:moveTo>
                  <a:lnTo>
                    <a:pt x="115" y="20"/>
                  </a:lnTo>
                  <a:lnTo>
                    <a:pt x="114" y="20"/>
                  </a:lnTo>
                  <a:lnTo>
                    <a:pt x="115" y="20"/>
                  </a:lnTo>
                  <a:lnTo>
                    <a:pt x="114" y="21"/>
                  </a:lnTo>
                  <a:lnTo>
                    <a:pt x="114" y="20"/>
                  </a:lnTo>
                  <a:lnTo>
                    <a:pt x="114" y="21"/>
                  </a:lnTo>
                  <a:lnTo>
                    <a:pt x="113" y="21"/>
                  </a:lnTo>
                  <a:lnTo>
                    <a:pt x="113" y="20"/>
                  </a:lnTo>
                  <a:lnTo>
                    <a:pt x="112" y="20"/>
                  </a:lnTo>
                  <a:lnTo>
                    <a:pt x="113" y="20"/>
                  </a:lnTo>
                  <a:lnTo>
                    <a:pt x="113" y="18"/>
                  </a:lnTo>
                  <a:lnTo>
                    <a:pt x="114" y="20"/>
                  </a:lnTo>
                  <a:close/>
                  <a:moveTo>
                    <a:pt x="134" y="18"/>
                  </a:moveTo>
                  <a:lnTo>
                    <a:pt x="134" y="20"/>
                  </a:lnTo>
                  <a:lnTo>
                    <a:pt x="133" y="20"/>
                  </a:lnTo>
                  <a:lnTo>
                    <a:pt x="133" y="21"/>
                  </a:lnTo>
                  <a:lnTo>
                    <a:pt x="132" y="21"/>
                  </a:lnTo>
                  <a:lnTo>
                    <a:pt x="130" y="21"/>
                  </a:lnTo>
                  <a:lnTo>
                    <a:pt x="130" y="20"/>
                  </a:lnTo>
                  <a:lnTo>
                    <a:pt x="129" y="20"/>
                  </a:lnTo>
                  <a:lnTo>
                    <a:pt x="128" y="20"/>
                  </a:lnTo>
                  <a:lnTo>
                    <a:pt x="127" y="20"/>
                  </a:lnTo>
                  <a:lnTo>
                    <a:pt x="126" y="20"/>
                  </a:lnTo>
                  <a:lnTo>
                    <a:pt x="126" y="18"/>
                  </a:lnTo>
                  <a:lnTo>
                    <a:pt x="126" y="17"/>
                  </a:lnTo>
                  <a:lnTo>
                    <a:pt x="127" y="17"/>
                  </a:lnTo>
                  <a:lnTo>
                    <a:pt x="128" y="17"/>
                  </a:lnTo>
                  <a:lnTo>
                    <a:pt x="129" y="17"/>
                  </a:lnTo>
                  <a:lnTo>
                    <a:pt x="129" y="18"/>
                  </a:lnTo>
                  <a:lnTo>
                    <a:pt x="130" y="18"/>
                  </a:lnTo>
                  <a:lnTo>
                    <a:pt x="132" y="18"/>
                  </a:lnTo>
                  <a:lnTo>
                    <a:pt x="132" y="17"/>
                  </a:lnTo>
                  <a:lnTo>
                    <a:pt x="132" y="16"/>
                  </a:lnTo>
                  <a:lnTo>
                    <a:pt x="133" y="16"/>
                  </a:lnTo>
                  <a:lnTo>
                    <a:pt x="134" y="16"/>
                  </a:lnTo>
                  <a:lnTo>
                    <a:pt x="134" y="17"/>
                  </a:lnTo>
                  <a:lnTo>
                    <a:pt x="134" y="18"/>
                  </a:lnTo>
                  <a:close/>
                  <a:moveTo>
                    <a:pt x="93" y="7"/>
                  </a:moveTo>
                  <a:lnTo>
                    <a:pt x="94" y="7"/>
                  </a:lnTo>
                  <a:lnTo>
                    <a:pt x="94" y="6"/>
                  </a:lnTo>
                  <a:lnTo>
                    <a:pt x="93" y="7"/>
                  </a:lnTo>
                  <a:close/>
                  <a:moveTo>
                    <a:pt x="95" y="6"/>
                  </a:moveTo>
                  <a:lnTo>
                    <a:pt x="97" y="6"/>
                  </a:lnTo>
                  <a:lnTo>
                    <a:pt x="95" y="7"/>
                  </a:lnTo>
                  <a:lnTo>
                    <a:pt x="94" y="6"/>
                  </a:lnTo>
                  <a:lnTo>
                    <a:pt x="95" y="7"/>
                  </a:lnTo>
                  <a:lnTo>
                    <a:pt x="95" y="6"/>
                  </a:lnTo>
                  <a:lnTo>
                    <a:pt x="97" y="6"/>
                  </a:lnTo>
                  <a:lnTo>
                    <a:pt x="95" y="6"/>
                  </a:lnTo>
                  <a:close/>
                  <a:moveTo>
                    <a:pt x="102" y="6"/>
                  </a:moveTo>
                  <a:lnTo>
                    <a:pt x="104" y="6"/>
                  </a:lnTo>
                  <a:lnTo>
                    <a:pt x="102" y="7"/>
                  </a:lnTo>
                  <a:lnTo>
                    <a:pt x="102" y="6"/>
                  </a:lnTo>
                  <a:lnTo>
                    <a:pt x="101" y="6"/>
                  </a:lnTo>
                  <a:lnTo>
                    <a:pt x="102" y="6"/>
                  </a:lnTo>
                  <a:close/>
                  <a:moveTo>
                    <a:pt x="93" y="4"/>
                  </a:moveTo>
                  <a:lnTo>
                    <a:pt x="94" y="4"/>
                  </a:lnTo>
                  <a:lnTo>
                    <a:pt x="93" y="4"/>
                  </a:lnTo>
                  <a:close/>
                  <a:moveTo>
                    <a:pt x="125" y="6"/>
                  </a:moveTo>
                  <a:lnTo>
                    <a:pt x="123" y="6"/>
                  </a:lnTo>
                  <a:lnTo>
                    <a:pt x="123" y="4"/>
                  </a:lnTo>
                  <a:lnTo>
                    <a:pt x="125" y="4"/>
                  </a:lnTo>
                  <a:lnTo>
                    <a:pt x="125" y="6"/>
                  </a:lnTo>
                  <a:close/>
                  <a:moveTo>
                    <a:pt x="51" y="3"/>
                  </a:moveTo>
                  <a:lnTo>
                    <a:pt x="51" y="6"/>
                  </a:lnTo>
                  <a:lnTo>
                    <a:pt x="52" y="9"/>
                  </a:lnTo>
                  <a:lnTo>
                    <a:pt x="52" y="10"/>
                  </a:lnTo>
                  <a:lnTo>
                    <a:pt x="54" y="10"/>
                  </a:lnTo>
                  <a:lnTo>
                    <a:pt x="54" y="11"/>
                  </a:lnTo>
                  <a:lnTo>
                    <a:pt x="55" y="11"/>
                  </a:lnTo>
                  <a:lnTo>
                    <a:pt x="55" y="10"/>
                  </a:lnTo>
                  <a:lnTo>
                    <a:pt x="56" y="10"/>
                  </a:lnTo>
                  <a:lnTo>
                    <a:pt x="57" y="10"/>
                  </a:lnTo>
                  <a:lnTo>
                    <a:pt x="58" y="10"/>
                  </a:lnTo>
                  <a:lnTo>
                    <a:pt x="59" y="10"/>
                  </a:lnTo>
                  <a:lnTo>
                    <a:pt x="61" y="10"/>
                  </a:lnTo>
                  <a:lnTo>
                    <a:pt x="62" y="11"/>
                  </a:lnTo>
                  <a:lnTo>
                    <a:pt x="64" y="11"/>
                  </a:lnTo>
                  <a:lnTo>
                    <a:pt x="65" y="11"/>
                  </a:lnTo>
                  <a:lnTo>
                    <a:pt x="65" y="13"/>
                  </a:lnTo>
                  <a:lnTo>
                    <a:pt x="66" y="13"/>
                  </a:lnTo>
                  <a:lnTo>
                    <a:pt x="68" y="13"/>
                  </a:lnTo>
                  <a:lnTo>
                    <a:pt x="68" y="14"/>
                  </a:lnTo>
                  <a:lnTo>
                    <a:pt x="69" y="15"/>
                  </a:lnTo>
                  <a:lnTo>
                    <a:pt x="70" y="15"/>
                  </a:lnTo>
                  <a:lnTo>
                    <a:pt x="70" y="16"/>
                  </a:lnTo>
                  <a:lnTo>
                    <a:pt x="71" y="16"/>
                  </a:lnTo>
                  <a:lnTo>
                    <a:pt x="71" y="15"/>
                  </a:lnTo>
                  <a:lnTo>
                    <a:pt x="71" y="16"/>
                  </a:lnTo>
                  <a:lnTo>
                    <a:pt x="71" y="17"/>
                  </a:lnTo>
                  <a:lnTo>
                    <a:pt x="72" y="20"/>
                  </a:lnTo>
                  <a:lnTo>
                    <a:pt x="71" y="20"/>
                  </a:lnTo>
                  <a:lnTo>
                    <a:pt x="72" y="20"/>
                  </a:lnTo>
                  <a:lnTo>
                    <a:pt x="72" y="21"/>
                  </a:lnTo>
                  <a:lnTo>
                    <a:pt x="71" y="21"/>
                  </a:lnTo>
                  <a:lnTo>
                    <a:pt x="71" y="22"/>
                  </a:lnTo>
                  <a:lnTo>
                    <a:pt x="71" y="23"/>
                  </a:lnTo>
                  <a:lnTo>
                    <a:pt x="72" y="24"/>
                  </a:lnTo>
                  <a:lnTo>
                    <a:pt x="72" y="25"/>
                  </a:lnTo>
                  <a:lnTo>
                    <a:pt x="73" y="27"/>
                  </a:lnTo>
                  <a:lnTo>
                    <a:pt x="76" y="27"/>
                  </a:lnTo>
                  <a:lnTo>
                    <a:pt x="77" y="27"/>
                  </a:lnTo>
                  <a:lnTo>
                    <a:pt x="77" y="28"/>
                  </a:lnTo>
                  <a:lnTo>
                    <a:pt x="78" y="27"/>
                  </a:lnTo>
                  <a:lnTo>
                    <a:pt x="79" y="27"/>
                  </a:lnTo>
                  <a:lnTo>
                    <a:pt x="80" y="27"/>
                  </a:lnTo>
                  <a:lnTo>
                    <a:pt x="82" y="27"/>
                  </a:lnTo>
                  <a:lnTo>
                    <a:pt x="83" y="25"/>
                  </a:lnTo>
                  <a:lnTo>
                    <a:pt x="84" y="25"/>
                  </a:lnTo>
                  <a:lnTo>
                    <a:pt x="85" y="25"/>
                  </a:lnTo>
                  <a:lnTo>
                    <a:pt x="86" y="25"/>
                  </a:lnTo>
                  <a:lnTo>
                    <a:pt x="87" y="25"/>
                  </a:lnTo>
                  <a:lnTo>
                    <a:pt x="88" y="25"/>
                  </a:lnTo>
                  <a:lnTo>
                    <a:pt x="88" y="24"/>
                  </a:lnTo>
                  <a:lnTo>
                    <a:pt x="90" y="24"/>
                  </a:lnTo>
                  <a:lnTo>
                    <a:pt x="91" y="24"/>
                  </a:lnTo>
                  <a:lnTo>
                    <a:pt x="93" y="24"/>
                  </a:lnTo>
                  <a:lnTo>
                    <a:pt x="95" y="24"/>
                  </a:lnTo>
                  <a:lnTo>
                    <a:pt x="98" y="24"/>
                  </a:lnTo>
                  <a:lnTo>
                    <a:pt x="99" y="24"/>
                  </a:lnTo>
                  <a:lnTo>
                    <a:pt x="100" y="24"/>
                  </a:lnTo>
                  <a:lnTo>
                    <a:pt x="101" y="24"/>
                  </a:lnTo>
                  <a:lnTo>
                    <a:pt x="101" y="25"/>
                  </a:lnTo>
                  <a:lnTo>
                    <a:pt x="102" y="25"/>
                  </a:lnTo>
                  <a:lnTo>
                    <a:pt x="101" y="25"/>
                  </a:lnTo>
                  <a:lnTo>
                    <a:pt x="101" y="27"/>
                  </a:lnTo>
                  <a:lnTo>
                    <a:pt x="102" y="27"/>
                  </a:lnTo>
                  <a:lnTo>
                    <a:pt x="104" y="28"/>
                  </a:lnTo>
                  <a:lnTo>
                    <a:pt x="104" y="29"/>
                  </a:lnTo>
                  <a:lnTo>
                    <a:pt x="105" y="29"/>
                  </a:lnTo>
                  <a:lnTo>
                    <a:pt x="104" y="29"/>
                  </a:lnTo>
                  <a:lnTo>
                    <a:pt x="105" y="30"/>
                  </a:lnTo>
                  <a:lnTo>
                    <a:pt x="106" y="30"/>
                  </a:lnTo>
                  <a:lnTo>
                    <a:pt x="106" y="31"/>
                  </a:lnTo>
                  <a:lnTo>
                    <a:pt x="107" y="31"/>
                  </a:lnTo>
                  <a:lnTo>
                    <a:pt x="107" y="30"/>
                  </a:lnTo>
                  <a:lnTo>
                    <a:pt x="105" y="30"/>
                  </a:lnTo>
                  <a:lnTo>
                    <a:pt x="105" y="29"/>
                  </a:lnTo>
                  <a:lnTo>
                    <a:pt x="109" y="31"/>
                  </a:lnTo>
                  <a:lnTo>
                    <a:pt x="111" y="32"/>
                  </a:lnTo>
                  <a:lnTo>
                    <a:pt x="113" y="32"/>
                  </a:lnTo>
                  <a:lnTo>
                    <a:pt x="114" y="32"/>
                  </a:lnTo>
                  <a:lnTo>
                    <a:pt x="115" y="34"/>
                  </a:lnTo>
                  <a:lnTo>
                    <a:pt x="114" y="34"/>
                  </a:lnTo>
                  <a:lnTo>
                    <a:pt x="115" y="34"/>
                  </a:lnTo>
                  <a:lnTo>
                    <a:pt x="116" y="34"/>
                  </a:lnTo>
                  <a:lnTo>
                    <a:pt x="118" y="32"/>
                  </a:lnTo>
                  <a:lnTo>
                    <a:pt x="119" y="32"/>
                  </a:lnTo>
                  <a:lnTo>
                    <a:pt x="120" y="34"/>
                  </a:lnTo>
                  <a:lnTo>
                    <a:pt x="120" y="32"/>
                  </a:lnTo>
                  <a:lnTo>
                    <a:pt x="121" y="32"/>
                  </a:lnTo>
                  <a:lnTo>
                    <a:pt x="121" y="31"/>
                  </a:lnTo>
                  <a:lnTo>
                    <a:pt x="122" y="31"/>
                  </a:lnTo>
                  <a:lnTo>
                    <a:pt x="121" y="31"/>
                  </a:lnTo>
                  <a:lnTo>
                    <a:pt x="122" y="31"/>
                  </a:lnTo>
                  <a:lnTo>
                    <a:pt x="122" y="30"/>
                  </a:lnTo>
                  <a:lnTo>
                    <a:pt x="123" y="30"/>
                  </a:lnTo>
                  <a:lnTo>
                    <a:pt x="125" y="30"/>
                  </a:lnTo>
                  <a:lnTo>
                    <a:pt x="126" y="30"/>
                  </a:lnTo>
                  <a:lnTo>
                    <a:pt x="126" y="29"/>
                  </a:lnTo>
                  <a:lnTo>
                    <a:pt x="126" y="30"/>
                  </a:lnTo>
                  <a:lnTo>
                    <a:pt x="125" y="30"/>
                  </a:lnTo>
                  <a:lnTo>
                    <a:pt x="125" y="29"/>
                  </a:lnTo>
                  <a:lnTo>
                    <a:pt x="126" y="29"/>
                  </a:lnTo>
                  <a:lnTo>
                    <a:pt x="126" y="28"/>
                  </a:lnTo>
                  <a:lnTo>
                    <a:pt x="126" y="29"/>
                  </a:lnTo>
                  <a:lnTo>
                    <a:pt x="126" y="28"/>
                  </a:lnTo>
                  <a:lnTo>
                    <a:pt x="127" y="28"/>
                  </a:lnTo>
                  <a:lnTo>
                    <a:pt x="128" y="28"/>
                  </a:lnTo>
                  <a:lnTo>
                    <a:pt x="128" y="27"/>
                  </a:lnTo>
                  <a:lnTo>
                    <a:pt x="129" y="27"/>
                  </a:lnTo>
                  <a:lnTo>
                    <a:pt x="130" y="28"/>
                  </a:lnTo>
                  <a:lnTo>
                    <a:pt x="132" y="28"/>
                  </a:lnTo>
                  <a:lnTo>
                    <a:pt x="132" y="27"/>
                  </a:lnTo>
                  <a:lnTo>
                    <a:pt x="133" y="28"/>
                  </a:lnTo>
                  <a:lnTo>
                    <a:pt x="134" y="28"/>
                  </a:lnTo>
                  <a:lnTo>
                    <a:pt x="135" y="27"/>
                  </a:lnTo>
                  <a:lnTo>
                    <a:pt x="136" y="27"/>
                  </a:lnTo>
                  <a:lnTo>
                    <a:pt x="135" y="27"/>
                  </a:lnTo>
                  <a:lnTo>
                    <a:pt x="134" y="27"/>
                  </a:lnTo>
                  <a:lnTo>
                    <a:pt x="134" y="25"/>
                  </a:lnTo>
                  <a:lnTo>
                    <a:pt x="133" y="25"/>
                  </a:lnTo>
                  <a:lnTo>
                    <a:pt x="132" y="25"/>
                  </a:lnTo>
                  <a:lnTo>
                    <a:pt x="130" y="25"/>
                  </a:lnTo>
                  <a:lnTo>
                    <a:pt x="129" y="25"/>
                  </a:lnTo>
                  <a:lnTo>
                    <a:pt x="128" y="25"/>
                  </a:lnTo>
                  <a:lnTo>
                    <a:pt x="128" y="27"/>
                  </a:lnTo>
                  <a:lnTo>
                    <a:pt x="128" y="25"/>
                  </a:lnTo>
                  <a:lnTo>
                    <a:pt x="127" y="25"/>
                  </a:lnTo>
                  <a:lnTo>
                    <a:pt x="127" y="24"/>
                  </a:lnTo>
                  <a:lnTo>
                    <a:pt x="128" y="24"/>
                  </a:lnTo>
                  <a:lnTo>
                    <a:pt x="129" y="24"/>
                  </a:lnTo>
                  <a:lnTo>
                    <a:pt x="130" y="24"/>
                  </a:lnTo>
                  <a:lnTo>
                    <a:pt x="132" y="24"/>
                  </a:lnTo>
                  <a:lnTo>
                    <a:pt x="133" y="24"/>
                  </a:lnTo>
                  <a:lnTo>
                    <a:pt x="134" y="24"/>
                  </a:lnTo>
                  <a:lnTo>
                    <a:pt x="134" y="23"/>
                  </a:lnTo>
                  <a:lnTo>
                    <a:pt x="134" y="24"/>
                  </a:lnTo>
                  <a:lnTo>
                    <a:pt x="135" y="24"/>
                  </a:lnTo>
                  <a:lnTo>
                    <a:pt x="136" y="24"/>
                  </a:lnTo>
                  <a:lnTo>
                    <a:pt x="137" y="24"/>
                  </a:lnTo>
                  <a:lnTo>
                    <a:pt x="139" y="24"/>
                  </a:lnTo>
                  <a:lnTo>
                    <a:pt x="140" y="24"/>
                  </a:lnTo>
                  <a:lnTo>
                    <a:pt x="140" y="23"/>
                  </a:lnTo>
                  <a:lnTo>
                    <a:pt x="141" y="24"/>
                  </a:lnTo>
                  <a:lnTo>
                    <a:pt x="141" y="23"/>
                  </a:lnTo>
                  <a:lnTo>
                    <a:pt x="141" y="24"/>
                  </a:lnTo>
                  <a:lnTo>
                    <a:pt x="141" y="23"/>
                  </a:lnTo>
                  <a:lnTo>
                    <a:pt x="142" y="23"/>
                  </a:lnTo>
                  <a:lnTo>
                    <a:pt x="143" y="23"/>
                  </a:lnTo>
                  <a:lnTo>
                    <a:pt x="144" y="23"/>
                  </a:lnTo>
                  <a:lnTo>
                    <a:pt x="146" y="23"/>
                  </a:lnTo>
                  <a:lnTo>
                    <a:pt x="147" y="23"/>
                  </a:lnTo>
                  <a:lnTo>
                    <a:pt x="148" y="23"/>
                  </a:lnTo>
                  <a:lnTo>
                    <a:pt x="149" y="22"/>
                  </a:lnTo>
                  <a:lnTo>
                    <a:pt x="149" y="23"/>
                  </a:lnTo>
                  <a:lnTo>
                    <a:pt x="150" y="23"/>
                  </a:lnTo>
                  <a:lnTo>
                    <a:pt x="151" y="23"/>
                  </a:lnTo>
                  <a:lnTo>
                    <a:pt x="154" y="23"/>
                  </a:lnTo>
                  <a:lnTo>
                    <a:pt x="155" y="23"/>
                  </a:lnTo>
                  <a:lnTo>
                    <a:pt x="156" y="23"/>
                  </a:lnTo>
                  <a:lnTo>
                    <a:pt x="157" y="23"/>
                  </a:lnTo>
                  <a:lnTo>
                    <a:pt x="158" y="23"/>
                  </a:lnTo>
                  <a:lnTo>
                    <a:pt x="159" y="23"/>
                  </a:lnTo>
                  <a:lnTo>
                    <a:pt x="161" y="23"/>
                  </a:lnTo>
                  <a:lnTo>
                    <a:pt x="161" y="24"/>
                  </a:lnTo>
                  <a:lnTo>
                    <a:pt x="159" y="24"/>
                  </a:lnTo>
                  <a:lnTo>
                    <a:pt x="158" y="24"/>
                  </a:lnTo>
                  <a:lnTo>
                    <a:pt x="157" y="24"/>
                  </a:lnTo>
                  <a:lnTo>
                    <a:pt x="156" y="24"/>
                  </a:lnTo>
                  <a:lnTo>
                    <a:pt x="155" y="24"/>
                  </a:lnTo>
                  <a:lnTo>
                    <a:pt x="155" y="25"/>
                  </a:lnTo>
                  <a:lnTo>
                    <a:pt x="154" y="25"/>
                  </a:lnTo>
                  <a:lnTo>
                    <a:pt x="152" y="25"/>
                  </a:lnTo>
                  <a:lnTo>
                    <a:pt x="151" y="25"/>
                  </a:lnTo>
                  <a:lnTo>
                    <a:pt x="150" y="25"/>
                  </a:lnTo>
                  <a:lnTo>
                    <a:pt x="147" y="25"/>
                  </a:lnTo>
                  <a:lnTo>
                    <a:pt x="146" y="25"/>
                  </a:lnTo>
                  <a:lnTo>
                    <a:pt x="146" y="27"/>
                  </a:lnTo>
                  <a:lnTo>
                    <a:pt x="144" y="27"/>
                  </a:lnTo>
                  <a:lnTo>
                    <a:pt x="144" y="28"/>
                  </a:lnTo>
                  <a:lnTo>
                    <a:pt x="146" y="27"/>
                  </a:lnTo>
                  <a:lnTo>
                    <a:pt x="147" y="25"/>
                  </a:lnTo>
                  <a:lnTo>
                    <a:pt x="147" y="27"/>
                  </a:lnTo>
                  <a:lnTo>
                    <a:pt x="147" y="28"/>
                  </a:lnTo>
                  <a:lnTo>
                    <a:pt x="146" y="28"/>
                  </a:lnTo>
                  <a:lnTo>
                    <a:pt x="144" y="28"/>
                  </a:lnTo>
                  <a:lnTo>
                    <a:pt x="146" y="28"/>
                  </a:lnTo>
                  <a:lnTo>
                    <a:pt x="146" y="29"/>
                  </a:lnTo>
                  <a:lnTo>
                    <a:pt x="144" y="29"/>
                  </a:lnTo>
                  <a:lnTo>
                    <a:pt x="146" y="29"/>
                  </a:lnTo>
                  <a:lnTo>
                    <a:pt x="146" y="30"/>
                  </a:lnTo>
                  <a:lnTo>
                    <a:pt x="144" y="30"/>
                  </a:lnTo>
                  <a:lnTo>
                    <a:pt x="146" y="30"/>
                  </a:lnTo>
                  <a:lnTo>
                    <a:pt x="146" y="29"/>
                  </a:lnTo>
                  <a:lnTo>
                    <a:pt x="146" y="28"/>
                  </a:lnTo>
                  <a:lnTo>
                    <a:pt x="147" y="28"/>
                  </a:lnTo>
                  <a:lnTo>
                    <a:pt x="147" y="29"/>
                  </a:lnTo>
                  <a:lnTo>
                    <a:pt x="147" y="28"/>
                  </a:lnTo>
                  <a:lnTo>
                    <a:pt x="148" y="28"/>
                  </a:lnTo>
                  <a:lnTo>
                    <a:pt x="149" y="29"/>
                  </a:lnTo>
                  <a:lnTo>
                    <a:pt x="149" y="30"/>
                  </a:lnTo>
                  <a:lnTo>
                    <a:pt x="149" y="31"/>
                  </a:lnTo>
                  <a:lnTo>
                    <a:pt x="150" y="31"/>
                  </a:lnTo>
                  <a:lnTo>
                    <a:pt x="150" y="32"/>
                  </a:lnTo>
                  <a:lnTo>
                    <a:pt x="149" y="34"/>
                  </a:lnTo>
                  <a:lnTo>
                    <a:pt x="148" y="34"/>
                  </a:lnTo>
                  <a:lnTo>
                    <a:pt x="148" y="32"/>
                  </a:lnTo>
                  <a:lnTo>
                    <a:pt x="148" y="34"/>
                  </a:lnTo>
                  <a:lnTo>
                    <a:pt x="147" y="34"/>
                  </a:lnTo>
                  <a:lnTo>
                    <a:pt x="146" y="34"/>
                  </a:lnTo>
                  <a:lnTo>
                    <a:pt x="147" y="32"/>
                  </a:lnTo>
                  <a:lnTo>
                    <a:pt x="146" y="32"/>
                  </a:lnTo>
                  <a:lnTo>
                    <a:pt x="146" y="34"/>
                  </a:lnTo>
                  <a:lnTo>
                    <a:pt x="146" y="32"/>
                  </a:lnTo>
                  <a:lnTo>
                    <a:pt x="144" y="32"/>
                  </a:lnTo>
                  <a:lnTo>
                    <a:pt x="144" y="34"/>
                  </a:lnTo>
                  <a:lnTo>
                    <a:pt x="146" y="34"/>
                  </a:lnTo>
                  <a:lnTo>
                    <a:pt x="146" y="32"/>
                  </a:lnTo>
                  <a:lnTo>
                    <a:pt x="146" y="34"/>
                  </a:lnTo>
                  <a:lnTo>
                    <a:pt x="146" y="35"/>
                  </a:lnTo>
                  <a:lnTo>
                    <a:pt x="146" y="34"/>
                  </a:lnTo>
                  <a:lnTo>
                    <a:pt x="147" y="34"/>
                  </a:lnTo>
                  <a:lnTo>
                    <a:pt x="148" y="34"/>
                  </a:lnTo>
                  <a:lnTo>
                    <a:pt x="147" y="35"/>
                  </a:lnTo>
                  <a:lnTo>
                    <a:pt x="148" y="35"/>
                  </a:lnTo>
                  <a:lnTo>
                    <a:pt x="148" y="34"/>
                  </a:lnTo>
                  <a:lnTo>
                    <a:pt x="149" y="34"/>
                  </a:lnTo>
                  <a:lnTo>
                    <a:pt x="150" y="34"/>
                  </a:lnTo>
                  <a:lnTo>
                    <a:pt x="150" y="32"/>
                  </a:lnTo>
                  <a:lnTo>
                    <a:pt x="150" y="31"/>
                  </a:lnTo>
                  <a:lnTo>
                    <a:pt x="151" y="31"/>
                  </a:lnTo>
                  <a:lnTo>
                    <a:pt x="151" y="32"/>
                  </a:lnTo>
                  <a:lnTo>
                    <a:pt x="152" y="34"/>
                  </a:lnTo>
                  <a:lnTo>
                    <a:pt x="152" y="35"/>
                  </a:lnTo>
                  <a:lnTo>
                    <a:pt x="152" y="36"/>
                  </a:lnTo>
                  <a:lnTo>
                    <a:pt x="154" y="36"/>
                  </a:lnTo>
                  <a:lnTo>
                    <a:pt x="154" y="38"/>
                  </a:lnTo>
                  <a:lnTo>
                    <a:pt x="154" y="39"/>
                  </a:lnTo>
                  <a:lnTo>
                    <a:pt x="154" y="38"/>
                  </a:lnTo>
                  <a:lnTo>
                    <a:pt x="155" y="38"/>
                  </a:lnTo>
                  <a:lnTo>
                    <a:pt x="155" y="37"/>
                  </a:lnTo>
                  <a:lnTo>
                    <a:pt x="155" y="36"/>
                  </a:lnTo>
                  <a:lnTo>
                    <a:pt x="155" y="35"/>
                  </a:lnTo>
                  <a:lnTo>
                    <a:pt x="155" y="36"/>
                  </a:lnTo>
                  <a:lnTo>
                    <a:pt x="156" y="36"/>
                  </a:lnTo>
                  <a:lnTo>
                    <a:pt x="156" y="37"/>
                  </a:lnTo>
                  <a:lnTo>
                    <a:pt x="156" y="39"/>
                  </a:lnTo>
                  <a:lnTo>
                    <a:pt x="155" y="41"/>
                  </a:lnTo>
                  <a:lnTo>
                    <a:pt x="156" y="39"/>
                  </a:lnTo>
                  <a:lnTo>
                    <a:pt x="156" y="38"/>
                  </a:lnTo>
                  <a:lnTo>
                    <a:pt x="156" y="37"/>
                  </a:lnTo>
                  <a:lnTo>
                    <a:pt x="156" y="36"/>
                  </a:lnTo>
                  <a:lnTo>
                    <a:pt x="157" y="36"/>
                  </a:lnTo>
                  <a:lnTo>
                    <a:pt x="158" y="36"/>
                  </a:lnTo>
                  <a:lnTo>
                    <a:pt x="157" y="36"/>
                  </a:lnTo>
                  <a:lnTo>
                    <a:pt x="156" y="35"/>
                  </a:lnTo>
                  <a:lnTo>
                    <a:pt x="155" y="35"/>
                  </a:lnTo>
                  <a:lnTo>
                    <a:pt x="156" y="35"/>
                  </a:lnTo>
                  <a:lnTo>
                    <a:pt x="156" y="34"/>
                  </a:lnTo>
                  <a:lnTo>
                    <a:pt x="157" y="35"/>
                  </a:lnTo>
                  <a:lnTo>
                    <a:pt x="158" y="35"/>
                  </a:lnTo>
                  <a:lnTo>
                    <a:pt x="159" y="36"/>
                  </a:lnTo>
                  <a:lnTo>
                    <a:pt x="159" y="37"/>
                  </a:lnTo>
                  <a:lnTo>
                    <a:pt x="161" y="37"/>
                  </a:lnTo>
                  <a:lnTo>
                    <a:pt x="161" y="38"/>
                  </a:lnTo>
                  <a:lnTo>
                    <a:pt x="161" y="39"/>
                  </a:lnTo>
                  <a:lnTo>
                    <a:pt x="161" y="38"/>
                  </a:lnTo>
                  <a:lnTo>
                    <a:pt x="162" y="38"/>
                  </a:lnTo>
                  <a:lnTo>
                    <a:pt x="162" y="39"/>
                  </a:lnTo>
                  <a:lnTo>
                    <a:pt x="162" y="41"/>
                  </a:lnTo>
                  <a:lnTo>
                    <a:pt x="162" y="39"/>
                  </a:lnTo>
                  <a:lnTo>
                    <a:pt x="162" y="38"/>
                  </a:lnTo>
                  <a:lnTo>
                    <a:pt x="161" y="38"/>
                  </a:lnTo>
                  <a:lnTo>
                    <a:pt x="161" y="37"/>
                  </a:lnTo>
                  <a:lnTo>
                    <a:pt x="162" y="37"/>
                  </a:lnTo>
                  <a:lnTo>
                    <a:pt x="163" y="37"/>
                  </a:lnTo>
                  <a:lnTo>
                    <a:pt x="164" y="38"/>
                  </a:lnTo>
                  <a:lnTo>
                    <a:pt x="164" y="37"/>
                  </a:lnTo>
                  <a:lnTo>
                    <a:pt x="163" y="37"/>
                  </a:lnTo>
                  <a:lnTo>
                    <a:pt x="163" y="36"/>
                  </a:lnTo>
                  <a:lnTo>
                    <a:pt x="164" y="36"/>
                  </a:lnTo>
                  <a:lnTo>
                    <a:pt x="164" y="37"/>
                  </a:lnTo>
                  <a:lnTo>
                    <a:pt x="165" y="37"/>
                  </a:lnTo>
                  <a:lnTo>
                    <a:pt x="165" y="38"/>
                  </a:lnTo>
                  <a:lnTo>
                    <a:pt x="166" y="38"/>
                  </a:lnTo>
                  <a:lnTo>
                    <a:pt x="166" y="37"/>
                  </a:lnTo>
                  <a:lnTo>
                    <a:pt x="165" y="37"/>
                  </a:lnTo>
                  <a:lnTo>
                    <a:pt x="166" y="37"/>
                  </a:lnTo>
                  <a:lnTo>
                    <a:pt x="166" y="38"/>
                  </a:lnTo>
                  <a:lnTo>
                    <a:pt x="168" y="38"/>
                  </a:lnTo>
                  <a:lnTo>
                    <a:pt x="168" y="39"/>
                  </a:lnTo>
                  <a:lnTo>
                    <a:pt x="169" y="39"/>
                  </a:lnTo>
                  <a:lnTo>
                    <a:pt x="169" y="41"/>
                  </a:lnTo>
                  <a:lnTo>
                    <a:pt x="170" y="41"/>
                  </a:lnTo>
                  <a:lnTo>
                    <a:pt x="169" y="41"/>
                  </a:lnTo>
                  <a:lnTo>
                    <a:pt x="170" y="41"/>
                  </a:lnTo>
                  <a:lnTo>
                    <a:pt x="171" y="41"/>
                  </a:lnTo>
                  <a:lnTo>
                    <a:pt x="172" y="42"/>
                  </a:lnTo>
                  <a:lnTo>
                    <a:pt x="172" y="43"/>
                  </a:lnTo>
                  <a:lnTo>
                    <a:pt x="173" y="43"/>
                  </a:lnTo>
                  <a:lnTo>
                    <a:pt x="175" y="43"/>
                  </a:lnTo>
                  <a:lnTo>
                    <a:pt x="175" y="44"/>
                  </a:lnTo>
                  <a:lnTo>
                    <a:pt x="175" y="45"/>
                  </a:lnTo>
                  <a:lnTo>
                    <a:pt x="175" y="46"/>
                  </a:lnTo>
                  <a:lnTo>
                    <a:pt x="173" y="46"/>
                  </a:lnTo>
                  <a:lnTo>
                    <a:pt x="172" y="46"/>
                  </a:lnTo>
                  <a:lnTo>
                    <a:pt x="171" y="48"/>
                  </a:lnTo>
                  <a:lnTo>
                    <a:pt x="171" y="49"/>
                  </a:lnTo>
                  <a:lnTo>
                    <a:pt x="170" y="50"/>
                  </a:lnTo>
                  <a:lnTo>
                    <a:pt x="171" y="49"/>
                  </a:lnTo>
                  <a:lnTo>
                    <a:pt x="172" y="48"/>
                  </a:lnTo>
                  <a:lnTo>
                    <a:pt x="172" y="49"/>
                  </a:lnTo>
                  <a:lnTo>
                    <a:pt x="171" y="49"/>
                  </a:lnTo>
                  <a:lnTo>
                    <a:pt x="171" y="50"/>
                  </a:lnTo>
                  <a:lnTo>
                    <a:pt x="170" y="50"/>
                  </a:lnTo>
                  <a:lnTo>
                    <a:pt x="170" y="51"/>
                  </a:lnTo>
                  <a:lnTo>
                    <a:pt x="170" y="52"/>
                  </a:lnTo>
                  <a:lnTo>
                    <a:pt x="170" y="53"/>
                  </a:lnTo>
                  <a:lnTo>
                    <a:pt x="169" y="55"/>
                  </a:lnTo>
                  <a:lnTo>
                    <a:pt x="169" y="56"/>
                  </a:lnTo>
                  <a:lnTo>
                    <a:pt x="169" y="57"/>
                  </a:lnTo>
                  <a:lnTo>
                    <a:pt x="168" y="57"/>
                  </a:lnTo>
                  <a:lnTo>
                    <a:pt x="166" y="57"/>
                  </a:lnTo>
                  <a:lnTo>
                    <a:pt x="164" y="57"/>
                  </a:lnTo>
                  <a:lnTo>
                    <a:pt x="163" y="56"/>
                  </a:lnTo>
                  <a:lnTo>
                    <a:pt x="162" y="56"/>
                  </a:lnTo>
                  <a:lnTo>
                    <a:pt x="162" y="57"/>
                  </a:lnTo>
                  <a:lnTo>
                    <a:pt x="163" y="57"/>
                  </a:lnTo>
                  <a:lnTo>
                    <a:pt x="164" y="57"/>
                  </a:lnTo>
                  <a:lnTo>
                    <a:pt x="164" y="58"/>
                  </a:lnTo>
                  <a:lnTo>
                    <a:pt x="165" y="58"/>
                  </a:lnTo>
                  <a:lnTo>
                    <a:pt x="166" y="58"/>
                  </a:lnTo>
                  <a:lnTo>
                    <a:pt x="166" y="59"/>
                  </a:lnTo>
                  <a:lnTo>
                    <a:pt x="168" y="59"/>
                  </a:lnTo>
                  <a:lnTo>
                    <a:pt x="169" y="58"/>
                  </a:lnTo>
                  <a:lnTo>
                    <a:pt x="170" y="58"/>
                  </a:lnTo>
                  <a:lnTo>
                    <a:pt x="171" y="58"/>
                  </a:lnTo>
                  <a:lnTo>
                    <a:pt x="170" y="58"/>
                  </a:lnTo>
                  <a:lnTo>
                    <a:pt x="170" y="59"/>
                  </a:lnTo>
                  <a:lnTo>
                    <a:pt x="171" y="58"/>
                  </a:lnTo>
                  <a:lnTo>
                    <a:pt x="171" y="57"/>
                  </a:lnTo>
                  <a:lnTo>
                    <a:pt x="172" y="57"/>
                  </a:lnTo>
                  <a:lnTo>
                    <a:pt x="173" y="57"/>
                  </a:lnTo>
                  <a:lnTo>
                    <a:pt x="176" y="57"/>
                  </a:lnTo>
                  <a:lnTo>
                    <a:pt x="177" y="57"/>
                  </a:lnTo>
                  <a:lnTo>
                    <a:pt x="178" y="57"/>
                  </a:lnTo>
                  <a:lnTo>
                    <a:pt x="178" y="58"/>
                  </a:lnTo>
                  <a:lnTo>
                    <a:pt x="179" y="58"/>
                  </a:lnTo>
                  <a:lnTo>
                    <a:pt x="179" y="57"/>
                  </a:lnTo>
                  <a:lnTo>
                    <a:pt x="179" y="56"/>
                  </a:lnTo>
                  <a:lnTo>
                    <a:pt x="180" y="56"/>
                  </a:lnTo>
                  <a:lnTo>
                    <a:pt x="183" y="56"/>
                  </a:lnTo>
                  <a:lnTo>
                    <a:pt x="184" y="57"/>
                  </a:lnTo>
                  <a:lnTo>
                    <a:pt x="185" y="57"/>
                  </a:lnTo>
                  <a:lnTo>
                    <a:pt x="186" y="58"/>
                  </a:lnTo>
                  <a:lnTo>
                    <a:pt x="187" y="60"/>
                  </a:lnTo>
                  <a:lnTo>
                    <a:pt x="187" y="62"/>
                  </a:lnTo>
                  <a:lnTo>
                    <a:pt x="187" y="63"/>
                  </a:lnTo>
                  <a:lnTo>
                    <a:pt x="186" y="63"/>
                  </a:lnTo>
                  <a:lnTo>
                    <a:pt x="185" y="63"/>
                  </a:lnTo>
                  <a:lnTo>
                    <a:pt x="185" y="64"/>
                  </a:lnTo>
                  <a:lnTo>
                    <a:pt x="185" y="65"/>
                  </a:lnTo>
                  <a:lnTo>
                    <a:pt x="184" y="65"/>
                  </a:lnTo>
                  <a:lnTo>
                    <a:pt x="183" y="65"/>
                  </a:lnTo>
                  <a:lnTo>
                    <a:pt x="183" y="66"/>
                  </a:lnTo>
                  <a:lnTo>
                    <a:pt x="182" y="66"/>
                  </a:lnTo>
                  <a:lnTo>
                    <a:pt x="182" y="67"/>
                  </a:lnTo>
                  <a:lnTo>
                    <a:pt x="180" y="67"/>
                  </a:lnTo>
                  <a:lnTo>
                    <a:pt x="180" y="69"/>
                  </a:lnTo>
                  <a:lnTo>
                    <a:pt x="179" y="69"/>
                  </a:lnTo>
                  <a:lnTo>
                    <a:pt x="178" y="69"/>
                  </a:lnTo>
                  <a:lnTo>
                    <a:pt x="177" y="70"/>
                  </a:lnTo>
                  <a:lnTo>
                    <a:pt x="177" y="71"/>
                  </a:lnTo>
                  <a:lnTo>
                    <a:pt x="177" y="72"/>
                  </a:lnTo>
                  <a:lnTo>
                    <a:pt x="176" y="72"/>
                  </a:lnTo>
                  <a:lnTo>
                    <a:pt x="176" y="73"/>
                  </a:lnTo>
                  <a:lnTo>
                    <a:pt x="175" y="73"/>
                  </a:lnTo>
                  <a:lnTo>
                    <a:pt x="175" y="74"/>
                  </a:lnTo>
                  <a:lnTo>
                    <a:pt x="176" y="74"/>
                  </a:lnTo>
                  <a:lnTo>
                    <a:pt x="176" y="76"/>
                  </a:lnTo>
                  <a:lnTo>
                    <a:pt x="176" y="77"/>
                  </a:lnTo>
                  <a:lnTo>
                    <a:pt x="176" y="78"/>
                  </a:lnTo>
                  <a:lnTo>
                    <a:pt x="176" y="79"/>
                  </a:lnTo>
                  <a:lnTo>
                    <a:pt x="177" y="80"/>
                  </a:lnTo>
                  <a:lnTo>
                    <a:pt x="177" y="79"/>
                  </a:lnTo>
                  <a:lnTo>
                    <a:pt x="178" y="79"/>
                  </a:lnTo>
                  <a:lnTo>
                    <a:pt x="179" y="79"/>
                  </a:lnTo>
                  <a:lnTo>
                    <a:pt x="180" y="80"/>
                  </a:lnTo>
                  <a:lnTo>
                    <a:pt x="180" y="81"/>
                  </a:lnTo>
                  <a:lnTo>
                    <a:pt x="179" y="81"/>
                  </a:lnTo>
                  <a:lnTo>
                    <a:pt x="179" y="83"/>
                  </a:lnTo>
                  <a:lnTo>
                    <a:pt x="178" y="83"/>
                  </a:lnTo>
                  <a:lnTo>
                    <a:pt x="177" y="84"/>
                  </a:lnTo>
                  <a:lnTo>
                    <a:pt x="176" y="84"/>
                  </a:lnTo>
                  <a:lnTo>
                    <a:pt x="176" y="85"/>
                  </a:lnTo>
                  <a:lnTo>
                    <a:pt x="175" y="85"/>
                  </a:lnTo>
                  <a:lnTo>
                    <a:pt x="175" y="86"/>
                  </a:lnTo>
                  <a:lnTo>
                    <a:pt x="173" y="85"/>
                  </a:lnTo>
                  <a:lnTo>
                    <a:pt x="172" y="85"/>
                  </a:lnTo>
                  <a:lnTo>
                    <a:pt x="171" y="85"/>
                  </a:lnTo>
                  <a:lnTo>
                    <a:pt x="172" y="85"/>
                  </a:lnTo>
                  <a:lnTo>
                    <a:pt x="172" y="86"/>
                  </a:lnTo>
                  <a:lnTo>
                    <a:pt x="171" y="86"/>
                  </a:lnTo>
                  <a:lnTo>
                    <a:pt x="170" y="86"/>
                  </a:lnTo>
                  <a:lnTo>
                    <a:pt x="169" y="86"/>
                  </a:lnTo>
                  <a:lnTo>
                    <a:pt x="168" y="87"/>
                  </a:lnTo>
                  <a:lnTo>
                    <a:pt x="168" y="88"/>
                  </a:lnTo>
                  <a:lnTo>
                    <a:pt x="168" y="90"/>
                  </a:lnTo>
                  <a:lnTo>
                    <a:pt x="168" y="91"/>
                  </a:lnTo>
                  <a:lnTo>
                    <a:pt x="169" y="91"/>
                  </a:lnTo>
                  <a:lnTo>
                    <a:pt x="168" y="91"/>
                  </a:lnTo>
                  <a:lnTo>
                    <a:pt x="168" y="92"/>
                  </a:lnTo>
                  <a:lnTo>
                    <a:pt x="168" y="93"/>
                  </a:lnTo>
                  <a:lnTo>
                    <a:pt x="169" y="93"/>
                  </a:lnTo>
                  <a:lnTo>
                    <a:pt x="169" y="94"/>
                  </a:lnTo>
                  <a:lnTo>
                    <a:pt x="168" y="94"/>
                  </a:lnTo>
                  <a:lnTo>
                    <a:pt x="168" y="95"/>
                  </a:lnTo>
                  <a:lnTo>
                    <a:pt x="166" y="95"/>
                  </a:lnTo>
                  <a:lnTo>
                    <a:pt x="166" y="97"/>
                  </a:lnTo>
                  <a:lnTo>
                    <a:pt x="165" y="98"/>
                  </a:lnTo>
                  <a:lnTo>
                    <a:pt x="164" y="99"/>
                  </a:lnTo>
                  <a:lnTo>
                    <a:pt x="165" y="99"/>
                  </a:lnTo>
                  <a:lnTo>
                    <a:pt x="165" y="100"/>
                  </a:lnTo>
                  <a:lnTo>
                    <a:pt x="166" y="101"/>
                  </a:lnTo>
                  <a:lnTo>
                    <a:pt x="168" y="102"/>
                  </a:lnTo>
                  <a:lnTo>
                    <a:pt x="169" y="104"/>
                  </a:lnTo>
                  <a:lnTo>
                    <a:pt x="169" y="105"/>
                  </a:lnTo>
                  <a:lnTo>
                    <a:pt x="170" y="106"/>
                  </a:lnTo>
                  <a:lnTo>
                    <a:pt x="171" y="108"/>
                  </a:lnTo>
                  <a:lnTo>
                    <a:pt x="172" y="109"/>
                  </a:lnTo>
                  <a:lnTo>
                    <a:pt x="173" y="111"/>
                  </a:lnTo>
                  <a:lnTo>
                    <a:pt x="175" y="111"/>
                  </a:lnTo>
                  <a:lnTo>
                    <a:pt x="176" y="114"/>
                  </a:lnTo>
                  <a:lnTo>
                    <a:pt x="175" y="115"/>
                  </a:lnTo>
                  <a:lnTo>
                    <a:pt x="173" y="116"/>
                  </a:lnTo>
                  <a:lnTo>
                    <a:pt x="172" y="118"/>
                  </a:lnTo>
                  <a:lnTo>
                    <a:pt x="171" y="118"/>
                  </a:lnTo>
                  <a:lnTo>
                    <a:pt x="171" y="119"/>
                  </a:lnTo>
                  <a:lnTo>
                    <a:pt x="170" y="119"/>
                  </a:lnTo>
                  <a:lnTo>
                    <a:pt x="170" y="120"/>
                  </a:lnTo>
                  <a:lnTo>
                    <a:pt x="170" y="121"/>
                  </a:lnTo>
                  <a:lnTo>
                    <a:pt x="169" y="121"/>
                  </a:lnTo>
                  <a:lnTo>
                    <a:pt x="168" y="121"/>
                  </a:lnTo>
                  <a:lnTo>
                    <a:pt x="166" y="121"/>
                  </a:lnTo>
                  <a:lnTo>
                    <a:pt x="165" y="121"/>
                  </a:lnTo>
                  <a:lnTo>
                    <a:pt x="165" y="122"/>
                  </a:lnTo>
                  <a:lnTo>
                    <a:pt x="164" y="122"/>
                  </a:lnTo>
                  <a:lnTo>
                    <a:pt x="163" y="122"/>
                  </a:lnTo>
                  <a:lnTo>
                    <a:pt x="162" y="123"/>
                  </a:lnTo>
                  <a:lnTo>
                    <a:pt x="162" y="125"/>
                  </a:lnTo>
                  <a:lnTo>
                    <a:pt x="162" y="126"/>
                  </a:lnTo>
                  <a:lnTo>
                    <a:pt x="161" y="126"/>
                  </a:lnTo>
                  <a:lnTo>
                    <a:pt x="159" y="126"/>
                  </a:lnTo>
                  <a:lnTo>
                    <a:pt x="158" y="126"/>
                  </a:lnTo>
                  <a:lnTo>
                    <a:pt x="157" y="127"/>
                  </a:lnTo>
                  <a:lnTo>
                    <a:pt x="156" y="127"/>
                  </a:lnTo>
                  <a:lnTo>
                    <a:pt x="155" y="127"/>
                  </a:lnTo>
                  <a:lnTo>
                    <a:pt x="154" y="128"/>
                  </a:lnTo>
                  <a:lnTo>
                    <a:pt x="152" y="128"/>
                  </a:lnTo>
                  <a:lnTo>
                    <a:pt x="150" y="127"/>
                  </a:lnTo>
                  <a:lnTo>
                    <a:pt x="149" y="127"/>
                  </a:lnTo>
                  <a:lnTo>
                    <a:pt x="148" y="127"/>
                  </a:lnTo>
                  <a:lnTo>
                    <a:pt x="148" y="128"/>
                  </a:lnTo>
                  <a:lnTo>
                    <a:pt x="148" y="129"/>
                  </a:lnTo>
                  <a:lnTo>
                    <a:pt x="147" y="129"/>
                  </a:lnTo>
                  <a:lnTo>
                    <a:pt x="146" y="128"/>
                  </a:lnTo>
                  <a:lnTo>
                    <a:pt x="146" y="129"/>
                  </a:lnTo>
                  <a:lnTo>
                    <a:pt x="144" y="129"/>
                  </a:lnTo>
                  <a:lnTo>
                    <a:pt x="144" y="130"/>
                  </a:lnTo>
                  <a:lnTo>
                    <a:pt x="144" y="132"/>
                  </a:lnTo>
                  <a:lnTo>
                    <a:pt x="144" y="133"/>
                  </a:lnTo>
                  <a:lnTo>
                    <a:pt x="144" y="134"/>
                  </a:lnTo>
                  <a:lnTo>
                    <a:pt x="144" y="135"/>
                  </a:lnTo>
                  <a:lnTo>
                    <a:pt x="144" y="136"/>
                  </a:lnTo>
                  <a:lnTo>
                    <a:pt x="143" y="136"/>
                  </a:lnTo>
                  <a:lnTo>
                    <a:pt x="142" y="136"/>
                  </a:lnTo>
                  <a:lnTo>
                    <a:pt x="141" y="136"/>
                  </a:lnTo>
                  <a:lnTo>
                    <a:pt x="141" y="135"/>
                  </a:lnTo>
                  <a:lnTo>
                    <a:pt x="140" y="133"/>
                  </a:lnTo>
                  <a:lnTo>
                    <a:pt x="139" y="133"/>
                  </a:lnTo>
                  <a:lnTo>
                    <a:pt x="137" y="132"/>
                  </a:lnTo>
                  <a:lnTo>
                    <a:pt x="137" y="130"/>
                  </a:lnTo>
                  <a:lnTo>
                    <a:pt x="136" y="130"/>
                  </a:lnTo>
                  <a:lnTo>
                    <a:pt x="136" y="129"/>
                  </a:lnTo>
                  <a:lnTo>
                    <a:pt x="135" y="130"/>
                  </a:lnTo>
                  <a:lnTo>
                    <a:pt x="135" y="132"/>
                  </a:lnTo>
                  <a:lnTo>
                    <a:pt x="134" y="132"/>
                  </a:lnTo>
                  <a:lnTo>
                    <a:pt x="133" y="130"/>
                  </a:lnTo>
                  <a:lnTo>
                    <a:pt x="132" y="130"/>
                  </a:lnTo>
                  <a:lnTo>
                    <a:pt x="130" y="130"/>
                  </a:lnTo>
                  <a:lnTo>
                    <a:pt x="129" y="130"/>
                  </a:lnTo>
                  <a:lnTo>
                    <a:pt x="128" y="130"/>
                  </a:lnTo>
                  <a:lnTo>
                    <a:pt x="127" y="132"/>
                  </a:lnTo>
                  <a:lnTo>
                    <a:pt x="127" y="130"/>
                  </a:lnTo>
                  <a:lnTo>
                    <a:pt x="126" y="130"/>
                  </a:lnTo>
                  <a:lnTo>
                    <a:pt x="126" y="129"/>
                  </a:lnTo>
                  <a:lnTo>
                    <a:pt x="126" y="128"/>
                  </a:lnTo>
                  <a:lnTo>
                    <a:pt x="125" y="127"/>
                  </a:lnTo>
                  <a:lnTo>
                    <a:pt x="122" y="127"/>
                  </a:lnTo>
                  <a:lnTo>
                    <a:pt x="119" y="127"/>
                  </a:lnTo>
                  <a:lnTo>
                    <a:pt x="119" y="126"/>
                  </a:lnTo>
                  <a:lnTo>
                    <a:pt x="118" y="126"/>
                  </a:lnTo>
                  <a:lnTo>
                    <a:pt x="118" y="125"/>
                  </a:lnTo>
                  <a:lnTo>
                    <a:pt x="116" y="125"/>
                  </a:lnTo>
                  <a:lnTo>
                    <a:pt x="116" y="126"/>
                  </a:lnTo>
                  <a:lnTo>
                    <a:pt x="116" y="127"/>
                  </a:lnTo>
                  <a:lnTo>
                    <a:pt x="118" y="127"/>
                  </a:lnTo>
                  <a:lnTo>
                    <a:pt x="118" y="128"/>
                  </a:lnTo>
                  <a:lnTo>
                    <a:pt x="118" y="129"/>
                  </a:lnTo>
                  <a:lnTo>
                    <a:pt x="119" y="129"/>
                  </a:lnTo>
                  <a:lnTo>
                    <a:pt x="119" y="130"/>
                  </a:lnTo>
                  <a:lnTo>
                    <a:pt x="120" y="130"/>
                  </a:lnTo>
                  <a:lnTo>
                    <a:pt x="120" y="132"/>
                  </a:lnTo>
                  <a:lnTo>
                    <a:pt x="121" y="133"/>
                  </a:lnTo>
                  <a:lnTo>
                    <a:pt x="122" y="133"/>
                  </a:lnTo>
                  <a:lnTo>
                    <a:pt x="122" y="134"/>
                  </a:lnTo>
                  <a:lnTo>
                    <a:pt x="123" y="135"/>
                  </a:lnTo>
                  <a:lnTo>
                    <a:pt x="125" y="135"/>
                  </a:lnTo>
                  <a:lnTo>
                    <a:pt x="125" y="136"/>
                  </a:lnTo>
                  <a:lnTo>
                    <a:pt x="125" y="137"/>
                  </a:lnTo>
                  <a:lnTo>
                    <a:pt x="123" y="137"/>
                  </a:lnTo>
                  <a:lnTo>
                    <a:pt x="123" y="139"/>
                  </a:lnTo>
                  <a:lnTo>
                    <a:pt x="125" y="141"/>
                  </a:lnTo>
                  <a:lnTo>
                    <a:pt x="123" y="142"/>
                  </a:lnTo>
                  <a:lnTo>
                    <a:pt x="123" y="143"/>
                  </a:lnTo>
                  <a:lnTo>
                    <a:pt x="125" y="143"/>
                  </a:lnTo>
                  <a:lnTo>
                    <a:pt x="125" y="144"/>
                  </a:lnTo>
                  <a:lnTo>
                    <a:pt x="125" y="146"/>
                  </a:lnTo>
                  <a:lnTo>
                    <a:pt x="126" y="146"/>
                  </a:lnTo>
                  <a:lnTo>
                    <a:pt x="127" y="148"/>
                  </a:lnTo>
                  <a:lnTo>
                    <a:pt x="127" y="149"/>
                  </a:lnTo>
                  <a:lnTo>
                    <a:pt x="127" y="150"/>
                  </a:lnTo>
                  <a:lnTo>
                    <a:pt x="127" y="151"/>
                  </a:lnTo>
                  <a:lnTo>
                    <a:pt x="126" y="153"/>
                  </a:lnTo>
                  <a:lnTo>
                    <a:pt x="126" y="154"/>
                  </a:lnTo>
                  <a:lnTo>
                    <a:pt x="127" y="154"/>
                  </a:lnTo>
                  <a:lnTo>
                    <a:pt x="128" y="154"/>
                  </a:lnTo>
                  <a:lnTo>
                    <a:pt x="129" y="154"/>
                  </a:lnTo>
                  <a:lnTo>
                    <a:pt x="130" y="154"/>
                  </a:lnTo>
                  <a:lnTo>
                    <a:pt x="132" y="154"/>
                  </a:lnTo>
                  <a:lnTo>
                    <a:pt x="133" y="154"/>
                  </a:lnTo>
                  <a:lnTo>
                    <a:pt x="134" y="154"/>
                  </a:lnTo>
                  <a:lnTo>
                    <a:pt x="135" y="155"/>
                  </a:lnTo>
                  <a:lnTo>
                    <a:pt x="136" y="155"/>
                  </a:lnTo>
                  <a:lnTo>
                    <a:pt x="135" y="155"/>
                  </a:lnTo>
                  <a:lnTo>
                    <a:pt x="136" y="156"/>
                  </a:lnTo>
                  <a:lnTo>
                    <a:pt x="135" y="157"/>
                  </a:lnTo>
                  <a:lnTo>
                    <a:pt x="135" y="158"/>
                  </a:lnTo>
                  <a:lnTo>
                    <a:pt x="134" y="160"/>
                  </a:lnTo>
                  <a:lnTo>
                    <a:pt x="133" y="158"/>
                  </a:lnTo>
                  <a:lnTo>
                    <a:pt x="133" y="160"/>
                  </a:lnTo>
                  <a:lnTo>
                    <a:pt x="130" y="161"/>
                  </a:lnTo>
                  <a:lnTo>
                    <a:pt x="130" y="162"/>
                  </a:lnTo>
                  <a:lnTo>
                    <a:pt x="129" y="162"/>
                  </a:lnTo>
                  <a:lnTo>
                    <a:pt x="128" y="162"/>
                  </a:lnTo>
                  <a:lnTo>
                    <a:pt x="127" y="162"/>
                  </a:lnTo>
                  <a:lnTo>
                    <a:pt x="126" y="162"/>
                  </a:lnTo>
                  <a:lnTo>
                    <a:pt x="126" y="163"/>
                  </a:lnTo>
                  <a:lnTo>
                    <a:pt x="126" y="164"/>
                  </a:lnTo>
                  <a:lnTo>
                    <a:pt x="126" y="165"/>
                  </a:lnTo>
                  <a:lnTo>
                    <a:pt x="126" y="167"/>
                  </a:lnTo>
                  <a:lnTo>
                    <a:pt x="126" y="168"/>
                  </a:lnTo>
                  <a:lnTo>
                    <a:pt x="125" y="168"/>
                  </a:lnTo>
                  <a:lnTo>
                    <a:pt x="123" y="169"/>
                  </a:lnTo>
                  <a:lnTo>
                    <a:pt x="122" y="170"/>
                  </a:lnTo>
                  <a:lnTo>
                    <a:pt x="122" y="171"/>
                  </a:lnTo>
                  <a:lnTo>
                    <a:pt x="121" y="171"/>
                  </a:lnTo>
                  <a:lnTo>
                    <a:pt x="121" y="170"/>
                  </a:lnTo>
                  <a:lnTo>
                    <a:pt x="121" y="169"/>
                  </a:lnTo>
                  <a:lnTo>
                    <a:pt x="120" y="170"/>
                  </a:lnTo>
                  <a:lnTo>
                    <a:pt x="119" y="170"/>
                  </a:lnTo>
                  <a:lnTo>
                    <a:pt x="119" y="171"/>
                  </a:lnTo>
                  <a:lnTo>
                    <a:pt x="116" y="172"/>
                  </a:lnTo>
                  <a:lnTo>
                    <a:pt x="115" y="172"/>
                  </a:lnTo>
                  <a:lnTo>
                    <a:pt x="114" y="174"/>
                  </a:lnTo>
                  <a:lnTo>
                    <a:pt x="113" y="174"/>
                  </a:lnTo>
                  <a:lnTo>
                    <a:pt x="113" y="175"/>
                  </a:lnTo>
                  <a:lnTo>
                    <a:pt x="112" y="175"/>
                  </a:lnTo>
                  <a:lnTo>
                    <a:pt x="111" y="175"/>
                  </a:lnTo>
                  <a:lnTo>
                    <a:pt x="111" y="176"/>
                  </a:lnTo>
                  <a:lnTo>
                    <a:pt x="111" y="177"/>
                  </a:lnTo>
                  <a:lnTo>
                    <a:pt x="109" y="178"/>
                  </a:lnTo>
                  <a:lnTo>
                    <a:pt x="108" y="178"/>
                  </a:lnTo>
                  <a:lnTo>
                    <a:pt x="107" y="179"/>
                  </a:lnTo>
                  <a:lnTo>
                    <a:pt x="107" y="181"/>
                  </a:lnTo>
                  <a:lnTo>
                    <a:pt x="107" y="182"/>
                  </a:lnTo>
                  <a:lnTo>
                    <a:pt x="106" y="182"/>
                  </a:lnTo>
                  <a:lnTo>
                    <a:pt x="106" y="183"/>
                  </a:lnTo>
                  <a:lnTo>
                    <a:pt x="105" y="183"/>
                  </a:lnTo>
                  <a:lnTo>
                    <a:pt x="105" y="182"/>
                  </a:lnTo>
                  <a:lnTo>
                    <a:pt x="105" y="181"/>
                  </a:lnTo>
                  <a:lnTo>
                    <a:pt x="105" y="179"/>
                  </a:lnTo>
                  <a:lnTo>
                    <a:pt x="106" y="179"/>
                  </a:lnTo>
                  <a:lnTo>
                    <a:pt x="106" y="178"/>
                  </a:lnTo>
                  <a:lnTo>
                    <a:pt x="105" y="178"/>
                  </a:lnTo>
                  <a:lnTo>
                    <a:pt x="105" y="177"/>
                  </a:lnTo>
                  <a:lnTo>
                    <a:pt x="104" y="177"/>
                  </a:lnTo>
                  <a:lnTo>
                    <a:pt x="102" y="177"/>
                  </a:lnTo>
                  <a:lnTo>
                    <a:pt x="101" y="177"/>
                  </a:lnTo>
                  <a:lnTo>
                    <a:pt x="100" y="178"/>
                  </a:lnTo>
                  <a:lnTo>
                    <a:pt x="99" y="179"/>
                  </a:lnTo>
                  <a:lnTo>
                    <a:pt x="99" y="181"/>
                  </a:lnTo>
                  <a:lnTo>
                    <a:pt x="98" y="181"/>
                  </a:lnTo>
                  <a:lnTo>
                    <a:pt x="97" y="181"/>
                  </a:lnTo>
                  <a:lnTo>
                    <a:pt x="95" y="181"/>
                  </a:lnTo>
                  <a:lnTo>
                    <a:pt x="94" y="181"/>
                  </a:lnTo>
                  <a:lnTo>
                    <a:pt x="93" y="179"/>
                  </a:lnTo>
                  <a:lnTo>
                    <a:pt x="92" y="179"/>
                  </a:lnTo>
                  <a:lnTo>
                    <a:pt x="92" y="178"/>
                  </a:lnTo>
                  <a:lnTo>
                    <a:pt x="91" y="177"/>
                  </a:lnTo>
                  <a:lnTo>
                    <a:pt x="90" y="176"/>
                  </a:lnTo>
                  <a:lnTo>
                    <a:pt x="88" y="175"/>
                  </a:lnTo>
                  <a:lnTo>
                    <a:pt x="87" y="175"/>
                  </a:lnTo>
                  <a:lnTo>
                    <a:pt x="87" y="174"/>
                  </a:lnTo>
                  <a:lnTo>
                    <a:pt x="86" y="174"/>
                  </a:lnTo>
                  <a:lnTo>
                    <a:pt x="86" y="172"/>
                  </a:lnTo>
                  <a:lnTo>
                    <a:pt x="86" y="171"/>
                  </a:lnTo>
                  <a:lnTo>
                    <a:pt x="86" y="170"/>
                  </a:lnTo>
                  <a:lnTo>
                    <a:pt x="86" y="169"/>
                  </a:lnTo>
                  <a:lnTo>
                    <a:pt x="85" y="168"/>
                  </a:lnTo>
                  <a:lnTo>
                    <a:pt x="85" y="167"/>
                  </a:lnTo>
                  <a:lnTo>
                    <a:pt x="84" y="163"/>
                  </a:lnTo>
                  <a:lnTo>
                    <a:pt x="84" y="162"/>
                  </a:lnTo>
                  <a:lnTo>
                    <a:pt x="83" y="161"/>
                  </a:lnTo>
                  <a:lnTo>
                    <a:pt x="84" y="161"/>
                  </a:lnTo>
                  <a:lnTo>
                    <a:pt x="84" y="160"/>
                  </a:lnTo>
                  <a:lnTo>
                    <a:pt x="83" y="158"/>
                  </a:lnTo>
                  <a:lnTo>
                    <a:pt x="83" y="157"/>
                  </a:lnTo>
                  <a:lnTo>
                    <a:pt x="82" y="157"/>
                  </a:lnTo>
                  <a:lnTo>
                    <a:pt x="82" y="156"/>
                  </a:lnTo>
                  <a:lnTo>
                    <a:pt x="83" y="156"/>
                  </a:lnTo>
                  <a:lnTo>
                    <a:pt x="83" y="155"/>
                  </a:lnTo>
                  <a:lnTo>
                    <a:pt x="82" y="154"/>
                  </a:lnTo>
                  <a:lnTo>
                    <a:pt x="80" y="154"/>
                  </a:lnTo>
                  <a:lnTo>
                    <a:pt x="80" y="153"/>
                  </a:lnTo>
                  <a:lnTo>
                    <a:pt x="79" y="153"/>
                  </a:lnTo>
                  <a:lnTo>
                    <a:pt x="79" y="151"/>
                  </a:lnTo>
                  <a:lnTo>
                    <a:pt x="78" y="151"/>
                  </a:lnTo>
                  <a:lnTo>
                    <a:pt x="78" y="150"/>
                  </a:lnTo>
                  <a:lnTo>
                    <a:pt x="77" y="150"/>
                  </a:lnTo>
                  <a:lnTo>
                    <a:pt x="77" y="149"/>
                  </a:lnTo>
                  <a:lnTo>
                    <a:pt x="77" y="148"/>
                  </a:lnTo>
                  <a:lnTo>
                    <a:pt x="76" y="148"/>
                  </a:lnTo>
                  <a:lnTo>
                    <a:pt x="75" y="148"/>
                  </a:lnTo>
                  <a:lnTo>
                    <a:pt x="73" y="148"/>
                  </a:lnTo>
                  <a:lnTo>
                    <a:pt x="73" y="149"/>
                  </a:lnTo>
                  <a:lnTo>
                    <a:pt x="73" y="148"/>
                  </a:lnTo>
                  <a:lnTo>
                    <a:pt x="73" y="147"/>
                  </a:lnTo>
                  <a:lnTo>
                    <a:pt x="75" y="146"/>
                  </a:lnTo>
                  <a:lnTo>
                    <a:pt x="76" y="144"/>
                  </a:lnTo>
                  <a:lnTo>
                    <a:pt x="77" y="144"/>
                  </a:lnTo>
                  <a:lnTo>
                    <a:pt x="77" y="143"/>
                  </a:lnTo>
                  <a:lnTo>
                    <a:pt x="78" y="143"/>
                  </a:lnTo>
                  <a:lnTo>
                    <a:pt x="78" y="142"/>
                  </a:lnTo>
                  <a:lnTo>
                    <a:pt x="79" y="142"/>
                  </a:lnTo>
                  <a:lnTo>
                    <a:pt x="79" y="141"/>
                  </a:lnTo>
                  <a:lnTo>
                    <a:pt x="80" y="141"/>
                  </a:lnTo>
                  <a:lnTo>
                    <a:pt x="80" y="140"/>
                  </a:lnTo>
                  <a:lnTo>
                    <a:pt x="82" y="139"/>
                  </a:lnTo>
                  <a:lnTo>
                    <a:pt x="80" y="137"/>
                  </a:lnTo>
                  <a:lnTo>
                    <a:pt x="79" y="137"/>
                  </a:lnTo>
                  <a:lnTo>
                    <a:pt x="79" y="134"/>
                  </a:lnTo>
                  <a:lnTo>
                    <a:pt x="78" y="134"/>
                  </a:lnTo>
                  <a:lnTo>
                    <a:pt x="77" y="134"/>
                  </a:lnTo>
                  <a:lnTo>
                    <a:pt x="77" y="133"/>
                  </a:lnTo>
                  <a:lnTo>
                    <a:pt x="77" y="132"/>
                  </a:lnTo>
                  <a:lnTo>
                    <a:pt x="76" y="130"/>
                  </a:lnTo>
                  <a:lnTo>
                    <a:pt x="76" y="129"/>
                  </a:lnTo>
                  <a:lnTo>
                    <a:pt x="76" y="128"/>
                  </a:lnTo>
                  <a:lnTo>
                    <a:pt x="76" y="127"/>
                  </a:lnTo>
                  <a:lnTo>
                    <a:pt x="75" y="127"/>
                  </a:lnTo>
                  <a:lnTo>
                    <a:pt x="75" y="126"/>
                  </a:lnTo>
                  <a:lnTo>
                    <a:pt x="75" y="125"/>
                  </a:lnTo>
                  <a:lnTo>
                    <a:pt x="75" y="123"/>
                  </a:lnTo>
                  <a:lnTo>
                    <a:pt x="75" y="122"/>
                  </a:lnTo>
                  <a:lnTo>
                    <a:pt x="75" y="121"/>
                  </a:lnTo>
                  <a:lnTo>
                    <a:pt x="73" y="121"/>
                  </a:lnTo>
                  <a:lnTo>
                    <a:pt x="73" y="120"/>
                  </a:lnTo>
                  <a:lnTo>
                    <a:pt x="75" y="120"/>
                  </a:lnTo>
                  <a:lnTo>
                    <a:pt x="75" y="119"/>
                  </a:lnTo>
                  <a:lnTo>
                    <a:pt x="75" y="118"/>
                  </a:lnTo>
                  <a:lnTo>
                    <a:pt x="75" y="116"/>
                  </a:lnTo>
                  <a:lnTo>
                    <a:pt x="75" y="115"/>
                  </a:lnTo>
                  <a:lnTo>
                    <a:pt x="75" y="114"/>
                  </a:lnTo>
                  <a:lnTo>
                    <a:pt x="75" y="113"/>
                  </a:lnTo>
                  <a:lnTo>
                    <a:pt x="75" y="112"/>
                  </a:lnTo>
                  <a:lnTo>
                    <a:pt x="75" y="111"/>
                  </a:lnTo>
                  <a:lnTo>
                    <a:pt x="75" y="109"/>
                  </a:lnTo>
                  <a:lnTo>
                    <a:pt x="75" y="108"/>
                  </a:lnTo>
                  <a:lnTo>
                    <a:pt x="75" y="107"/>
                  </a:lnTo>
                  <a:lnTo>
                    <a:pt x="76" y="107"/>
                  </a:lnTo>
                  <a:lnTo>
                    <a:pt x="77" y="107"/>
                  </a:lnTo>
                  <a:lnTo>
                    <a:pt x="77" y="106"/>
                  </a:lnTo>
                  <a:lnTo>
                    <a:pt x="77" y="105"/>
                  </a:lnTo>
                  <a:lnTo>
                    <a:pt x="78" y="105"/>
                  </a:lnTo>
                  <a:lnTo>
                    <a:pt x="78" y="104"/>
                  </a:lnTo>
                  <a:lnTo>
                    <a:pt x="77" y="104"/>
                  </a:lnTo>
                  <a:lnTo>
                    <a:pt x="77" y="102"/>
                  </a:lnTo>
                  <a:lnTo>
                    <a:pt x="78" y="101"/>
                  </a:lnTo>
                  <a:lnTo>
                    <a:pt x="78" y="100"/>
                  </a:lnTo>
                  <a:lnTo>
                    <a:pt x="79" y="100"/>
                  </a:lnTo>
                  <a:lnTo>
                    <a:pt x="79" y="99"/>
                  </a:lnTo>
                  <a:lnTo>
                    <a:pt x="80" y="99"/>
                  </a:lnTo>
                  <a:lnTo>
                    <a:pt x="80" y="98"/>
                  </a:lnTo>
                  <a:lnTo>
                    <a:pt x="80" y="97"/>
                  </a:lnTo>
                  <a:lnTo>
                    <a:pt x="79" y="95"/>
                  </a:lnTo>
                  <a:lnTo>
                    <a:pt x="80" y="95"/>
                  </a:lnTo>
                  <a:lnTo>
                    <a:pt x="80" y="94"/>
                  </a:lnTo>
                  <a:lnTo>
                    <a:pt x="79" y="94"/>
                  </a:lnTo>
                  <a:lnTo>
                    <a:pt x="79" y="93"/>
                  </a:lnTo>
                  <a:lnTo>
                    <a:pt x="77" y="93"/>
                  </a:lnTo>
                  <a:lnTo>
                    <a:pt x="76" y="93"/>
                  </a:lnTo>
                  <a:lnTo>
                    <a:pt x="75" y="93"/>
                  </a:lnTo>
                  <a:lnTo>
                    <a:pt x="75" y="94"/>
                  </a:lnTo>
                  <a:lnTo>
                    <a:pt x="73" y="94"/>
                  </a:lnTo>
                  <a:lnTo>
                    <a:pt x="72" y="94"/>
                  </a:lnTo>
                  <a:lnTo>
                    <a:pt x="71" y="94"/>
                  </a:lnTo>
                  <a:lnTo>
                    <a:pt x="70" y="94"/>
                  </a:lnTo>
                  <a:lnTo>
                    <a:pt x="69" y="95"/>
                  </a:lnTo>
                  <a:lnTo>
                    <a:pt x="68" y="95"/>
                  </a:lnTo>
                  <a:lnTo>
                    <a:pt x="68" y="94"/>
                  </a:lnTo>
                  <a:lnTo>
                    <a:pt x="66" y="94"/>
                  </a:lnTo>
                  <a:lnTo>
                    <a:pt x="65" y="95"/>
                  </a:lnTo>
                  <a:lnTo>
                    <a:pt x="64" y="95"/>
                  </a:lnTo>
                  <a:lnTo>
                    <a:pt x="63" y="95"/>
                  </a:lnTo>
                  <a:lnTo>
                    <a:pt x="62" y="94"/>
                  </a:lnTo>
                  <a:lnTo>
                    <a:pt x="61" y="94"/>
                  </a:lnTo>
                  <a:lnTo>
                    <a:pt x="59" y="94"/>
                  </a:lnTo>
                  <a:lnTo>
                    <a:pt x="58" y="94"/>
                  </a:lnTo>
                  <a:lnTo>
                    <a:pt x="57" y="94"/>
                  </a:lnTo>
                  <a:lnTo>
                    <a:pt x="57" y="95"/>
                  </a:lnTo>
                  <a:lnTo>
                    <a:pt x="56" y="95"/>
                  </a:lnTo>
                  <a:lnTo>
                    <a:pt x="55" y="97"/>
                  </a:lnTo>
                  <a:lnTo>
                    <a:pt x="55" y="95"/>
                  </a:lnTo>
                  <a:lnTo>
                    <a:pt x="54" y="95"/>
                  </a:lnTo>
                  <a:lnTo>
                    <a:pt x="52" y="95"/>
                  </a:lnTo>
                  <a:lnTo>
                    <a:pt x="51" y="93"/>
                  </a:lnTo>
                  <a:lnTo>
                    <a:pt x="50" y="92"/>
                  </a:lnTo>
                  <a:lnTo>
                    <a:pt x="49" y="91"/>
                  </a:lnTo>
                  <a:lnTo>
                    <a:pt x="48" y="90"/>
                  </a:lnTo>
                  <a:lnTo>
                    <a:pt x="47" y="87"/>
                  </a:lnTo>
                  <a:lnTo>
                    <a:pt x="47" y="86"/>
                  </a:lnTo>
                  <a:lnTo>
                    <a:pt x="45" y="85"/>
                  </a:lnTo>
                  <a:lnTo>
                    <a:pt x="44" y="83"/>
                  </a:lnTo>
                  <a:lnTo>
                    <a:pt x="43" y="83"/>
                  </a:lnTo>
                  <a:lnTo>
                    <a:pt x="42" y="83"/>
                  </a:lnTo>
                  <a:lnTo>
                    <a:pt x="41" y="83"/>
                  </a:lnTo>
                  <a:lnTo>
                    <a:pt x="40" y="83"/>
                  </a:lnTo>
                  <a:lnTo>
                    <a:pt x="40" y="81"/>
                  </a:lnTo>
                  <a:lnTo>
                    <a:pt x="38" y="81"/>
                  </a:lnTo>
                  <a:lnTo>
                    <a:pt x="37" y="80"/>
                  </a:lnTo>
                  <a:lnTo>
                    <a:pt x="36" y="80"/>
                  </a:lnTo>
                  <a:lnTo>
                    <a:pt x="35" y="80"/>
                  </a:lnTo>
                  <a:lnTo>
                    <a:pt x="34" y="80"/>
                  </a:lnTo>
                  <a:lnTo>
                    <a:pt x="33" y="80"/>
                  </a:lnTo>
                  <a:lnTo>
                    <a:pt x="33" y="81"/>
                  </a:lnTo>
                  <a:lnTo>
                    <a:pt x="31" y="81"/>
                  </a:lnTo>
                  <a:lnTo>
                    <a:pt x="31" y="83"/>
                  </a:lnTo>
                  <a:lnTo>
                    <a:pt x="30" y="83"/>
                  </a:lnTo>
                  <a:lnTo>
                    <a:pt x="29" y="81"/>
                  </a:lnTo>
                  <a:lnTo>
                    <a:pt x="29" y="83"/>
                  </a:lnTo>
                  <a:lnTo>
                    <a:pt x="28" y="83"/>
                  </a:lnTo>
                  <a:lnTo>
                    <a:pt x="28" y="81"/>
                  </a:lnTo>
                  <a:lnTo>
                    <a:pt x="27" y="81"/>
                  </a:lnTo>
                  <a:lnTo>
                    <a:pt x="26" y="81"/>
                  </a:lnTo>
                  <a:lnTo>
                    <a:pt x="24" y="81"/>
                  </a:lnTo>
                  <a:lnTo>
                    <a:pt x="23" y="81"/>
                  </a:lnTo>
                  <a:lnTo>
                    <a:pt x="22" y="81"/>
                  </a:lnTo>
                  <a:lnTo>
                    <a:pt x="21" y="81"/>
                  </a:lnTo>
                  <a:lnTo>
                    <a:pt x="20" y="81"/>
                  </a:lnTo>
                  <a:lnTo>
                    <a:pt x="20" y="83"/>
                  </a:lnTo>
                  <a:lnTo>
                    <a:pt x="19" y="83"/>
                  </a:lnTo>
                  <a:lnTo>
                    <a:pt x="18" y="81"/>
                  </a:lnTo>
                  <a:lnTo>
                    <a:pt x="16" y="81"/>
                  </a:lnTo>
                  <a:lnTo>
                    <a:pt x="16" y="80"/>
                  </a:lnTo>
                  <a:lnTo>
                    <a:pt x="15" y="79"/>
                  </a:lnTo>
                  <a:lnTo>
                    <a:pt x="15" y="78"/>
                  </a:lnTo>
                  <a:lnTo>
                    <a:pt x="15" y="77"/>
                  </a:lnTo>
                  <a:lnTo>
                    <a:pt x="15" y="76"/>
                  </a:lnTo>
                  <a:lnTo>
                    <a:pt x="14" y="76"/>
                  </a:lnTo>
                  <a:lnTo>
                    <a:pt x="13" y="76"/>
                  </a:lnTo>
                  <a:lnTo>
                    <a:pt x="12" y="76"/>
                  </a:lnTo>
                  <a:lnTo>
                    <a:pt x="12" y="74"/>
                  </a:lnTo>
                  <a:lnTo>
                    <a:pt x="11" y="73"/>
                  </a:lnTo>
                  <a:lnTo>
                    <a:pt x="12" y="73"/>
                  </a:lnTo>
                  <a:lnTo>
                    <a:pt x="12" y="72"/>
                  </a:lnTo>
                  <a:lnTo>
                    <a:pt x="12" y="70"/>
                  </a:lnTo>
                  <a:lnTo>
                    <a:pt x="12" y="69"/>
                  </a:lnTo>
                  <a:lnTo>
                    <a:pt x="12" y="67"/>
                  </a:lnTo>
                  <a:lnTo>
                    <a:pt x="12" y="66"/>
                  </a:lnTo>
                  <a:lnTo>
                    <a:pt x="13" y="65"/>
                  </a:lnTo>
                  <a:lnTo>
                    <a:pt x="14" y="65"/>
                  </a:lnTo>
                  <a:lnTo>
                    <a:pt x="14" y="64"/>
                  </a:lnTo>
                  <a:lnTo>
                    <a:pt x="13" y="63"/>
                  </a:lnTo>
                  <a:lnTo>
                    <a:pt x="13" y="62"/>
                  </a:lnTo>
                  <a:lnTo>
                    <a:pt x="13" y="60"/>
                  </a:lnTo>
                  <a:lnTo>
                    <a:pt x="12" y="59"/>
                  </a:lnTo>
                  <a:lnTo>
                    <a:pt x="12" y="58"/>
                  </a:lnTo>
                  <a:lnTo>
                    <a:pt x="11" y="58"/>
                  </a:lnTo>
                  <a:lnTo>
                    <a:pt x="11" y="57"/>
                  </a:lnTo>
                  <a:lnTo>
                    <a:pt x="9" y="57"/>
                  </a:lnTo>
                  <a:lnTo>
                    <a:pt x="9" y="56"/>
                  </a:lnTo>
                  <a:lnTo>
                    <a:pt x="9" y="55"/>
                  </a:lnTo>
                  <a:lnTo>
                    <a:pt x="9" y="53"/>
                  </a:lnTo>
                  <a:lnTo>
                    <a:pt x="8" y="53"/>
                  </a:lnTo>
                  <a:lnTo>
                    <a:pt x="8" y="52"/>
                  </a:lnTo>
                  <a:lnTo>
                    <a:pt x="8" y="51"/>
                  </a:lnTo>
                  <a:lnTo>
                    <a:pt x="8" y="50"/>
                  </a:lnTo>
                  <a:lnTo>
                    <a:pt x="8" y="49"/>
                  </a:lnTo>
                  <a:lnTo>
                    <a:pt x="7" y="48"/>
                  </a:lnTo>
                  <a:lnTo>
                    <a:pt x="6" y="49"/>
                  </a:lnTo>
                  <a:lnTo>
                    <a:pt x="6" y="48"/>
                  </a:lnTo>
                  <a:lnTo>
                    <a:pt x="6" y="46"/>
                  </a:lnTo>
                  <a:lnTo>
                    <a:pt x="5" y="46"/>
                  </a:lnTo>
                  <a:lnTo>
                    <a:pt x="5" y="45"/>
                  </a:lnTo>
                  <a:lnTo>
                    <a:pt x="4" y="46"/>
                  </a:lnTo>
                  <a:lnTo>
                    <a:pt x="2" y="48"/>
                  </a:lnTo>
                  <a:lnTo>
                    <a:pt x="1" y="48"/>
                  </a:lnTo>
                  <a:lnTo>
                    <a:pt x="0" y="48"/>
                  </a:lnTo>
                  <a:lnTo>
                    <a:pt x="0" y="46"/>
                  </a:lnTo>
                  <a:lnTo>
                    <a:pt x="1" y="46"/>
                  </a:lnTo>
                  <a:lnTo>
                    <a:pt x="1" y="45"/>
                  </a:lnTo>
                  <a:lnTo>
                    <a:pt x="1" y="44"/>
                  </a:lnTo>
                  <a:lnTo>
                    <a:pt x="2" y="43"/>
                  </a:lnTo>
                  <a:lnTo>
                    <a:pt x="2" y="42"/>
                  </a:lnTo>
                  <a:lnTo>
                    <a:pt x="4" y="42"/>
                  </a:lnTo>
                  <a:lnTo>
                    <a:pt x="4" y="41"/>
                  </a:lnTo>
                  <a:lnTo>
                    <a:pt x="5" y="39"/>
                  </a:lnTo>
                  <a:lnTo>
                    <a:pt x="6" y="38"/>
                  </a:lnTo>
                  <a:lnTo>
                    <a:pt x="6" y="37"/>
                  </a:lnTo>
                  <a:lnTo>
                    <a:pt x="6" y="36"/>
                  </a:lnTo>
                  <a:lnTo>
                    <a:pt x="6" y="35"/>
                  </a:lnTo>
                  <a:lnTo>
                    <a:pt x="7" y="31"/>
                  </a:lnTo>
                  <a:lnTo>
                    <a:pt x="7" y="28"/>
                  </a:lnTo>
                  <a:lnTo>
                    <a:pt x="8" y="27"/>
                  </a:lnTo>
                  <a:lnTo>
                    <a:pt x="8" y="25"/>
                  </a:lnTo>
                  <a:lnTo>
                    <a:pt x="9" y="24"/>
                  </a:lnTo>
                  <a:lnTo>
                    <a:pt x="11" y="22"/>
                  </a:lnTo>
                  <a:lnTo>
                    <a:pt x="11" y="21"/>
                  </a:lnTo>
                  <a:lnTo>
                    <a:pt x="12" y="21"/>
                  </a:lnTo>
                  <a:lnTo>
                    <a:pt x="12" y="20"/>
                  </a:lnTo>
                  <a:lnTo>
                    <a:pt x="13" y="20"/>
                  </a:lnTo>
                  <a:lnTo>
                    <a:pt x="13" y="18"/>
                  </a:lnTo>
                  <a:lnTo>
                    <a:pt x="13" y="17"/>
                  </a:lnTo>
                  <a:lnTo>
                    <a:pt x="14" y="17"/>
                  </a:lnTo>
                  <a:lnTo>
                    <a:pt x="14" y="16"/>
                  </a:lnTo>
                  <a:lnTo>
                    <a:pt x="15" y="16"/>
                  </a:lnTo>
                  <a:lnTo>
                    <a:pt x="16" y="16"/>
                  </a:lnTo>
                  <a:lnTo>
                    <a:pt x="18" y="16"/>
                  </a:lnTo>
                  <a:lnTo>
                    <a:pt x="18" y="15"/>
                  </a:lnTo>
                  <a:lnTo>
                    <a:pt x="18" y="14"/>
                  </a:lnTo>
                  <a:lnTo>
                    <a:pt x="19" y="14"/>
                  </a:lnTo>
                  <a:lnTo>
                    <a:pt x="19" y="13"/>
                  </a:lnTo>
                  <a:lnTo>
                    <a:pt x="20" y="11"/>
                  </a:lnTo>
                  <a:lnTo>
                    <a:pt x="20" y="10"/>
                  </a:lnTo>
                  <a:lnTo>
                    <a:pt x="21" y="10"/>
                  </a:lnTo>
                  <a:lnTo>
                    <a:pt x="21" y="9"/>
                  </a:lnTo>
                  <a:lnTo>
                    <a:pt x="21" y="8"/>
                  </a:lnTo>
                  <a:lnTo>
                    <a:pt x="22" y="8"/>
                  </a:lnTo>
                  <a:lnTo>
                    <a:pt x="23" y="8"/>
                  </a:lnTo>
                  <a:lnTo>
                    <a:pt x="24" y="7"/>
                  </a:lnTo>
                  <a:lnTo>
                    <a:pt x="26" y="7"/>
                  </a:lnTo>
                  <a:lnTo>
                    <a:pt x="27" y="7"/>
                  </a:lnTo>
                  <a:lnTo>
                    <a:pt x="28" y="7"/>
                  </a:lnTo>
                  <a:lnTo>
                    <a:pt x="29" y="6"/>
                  </a:lnTo>
                  <a:lnTo>
                    <a:pt x="30" y="6"/>
                  </a:lnTo>
                  <a:lnTo>
                    <a:pt x="30" y="7"/>
                  </a:lnTo>
                  <a:lnTo>
                    <a:pt x="29" y="7"/>
                  </a:lnTo>
                  <a:lnTo>
                    <a:pt x="28" y="7"/>
                  </a:lnTo>
                  <a:lnTo>
                    <a:pt x="26" y="8"/>
                  </a:lnTo>
                  <a:lnTo>
                    <a:pt x="23" y="9"/>
                  </a:lnTo>
                  <a:lnTo>
                    <a:pt x="22" y="9"/>
                  </a:lnTo>
                  <a:lnTo>
                    <a:pt x="21" y="10"/>
                  </a:lnTo>
                  <a:lnTo>
                    <a:pt x="22" y="13"/>
                  </a:lnTo>
                  <a:lnTo>
                    <a:pt x="22" y="15"/>
                  </a:lnTo>
                  <a:lnTo>
                    <a:pt x="23" y="16"/>
                  </a:lnTo>
                  <a:lnTo>
                    <a:pt x="23" y="17"/>
                  </a:lnTo>
                  <a:lnTo>
                    <a:pt x="26" y="18"/>
                  </a:lnTo>
                  <a:lnTo>
                    <a:pt x="24" y="18"/>
                  </a:lnTo>
                  <a:lnTo>
                    <a:pt x="23" y="18"/>
                  </a:lnTo>
                  <a:lnTo>
                    <a:pt x="24" y="20"/>
                  </a:lnTo>
                  <a:lnTo>
                    <a:pt x="24" y="21"/>
                  </a:lnTo>
                  <a:lnTo>
                    <a:pt x="24" y="22"/>
                  </a:lnTo>
                  <a:lnTo>
                    <a:pt x="26" y="22"/>
                  </a:lnTo>
                  <a:lnTo>
                    <a:pt x="26" y="23"/>
                  </a:lnTo>
                  <a:lnTo>
                    <a:pt x="26" y="24"/>
                  </a:lnTo>
                  <a:lnTo>
                    <a:pt x="26" y="25"/>
                  </a:lnTo>
                  <a:lnTo>
                    <a:pt x="26" y="27"/>
                  </a:lnTo>
                  <a:lnTo>
                    <a:pt x="26" y="28"/>
                  </a:lnTo>
                  <a:lnTo>
                    <a:pt x="24" y="28"/>
                  </a:lnTo>
                  <a:lnTo>
                    <a:pt x="23" y="28"/>
                  </a:lnTo>
                  <a:lnTo>
                    <a:pt x="23" y="29"/>
                  </a:lnTo>
                  <a:lnTo>
                    <a:pt x="22" y="30"/>
                  </a:lnTo>
                  <a:lnTo>
                    <a:pt x="21" y="31"/>
                  </a:lnTo>
                  <a:lnTo>
                    <a:pt x="21" y="32"/>
                  </a:lnTo>
                  <a:lnTo>
                    <a:pt x="20" y="32"/>
                  </a:lnTo>
                  <a:lnTo>
                    <a:pt x="20" y="34"/>
                  </a:lnTo>
                  <a:lnTo>
                    <a:pt x="20" y="35"/>
                  </a:lnTo>
                  <a:lnTo>
                    <a:pt x="19" y="36"/>
                  </a:lnTo>
                  <a:lnTo>
                    <a:pt x="18" y="37"/>
                  </a:lnTo>
                  <a:lnTo>
                    <a:pt x="18" y="38"/>
                  </a:lnTo>
                  <a:lnTo>
                    <a:pt x="19" y="38"/>
                  </a:lnTo>
                  <a:lnTo>
                    <a:pt x="19" y="39"/>
                  </a:lnTo>
                  <a:lnTo>
                    <a:pt x="20" y="39"/>
                  </a:lnTo>
                  <a:lnTo>
                    <a:pt x="20" y="42"/>
                  </a:lnTo>
                  <a:lnTo>
                    <a:pt x="20" y="41"/>
                  </a:lnTo>
                  <a:lnTo>
                    <a:pt x="19" y="41"/>
                  </a:lnTo>
                  <a:lnTo>
                    <a:pt x="20" y="42"/>
                  </a:lnTo>
                  <a:lnTo>
                    <a:pt x="19" y="42"/>
                  </a:lnTo>
                  <a:lnTo>
                    <a:pt x="19" y="43"/>
                  </a:lnTo>
                  <a:lnTo>
                    <a:pt x="20" y="43"/>
                  </a:lnTo>
                  <a:lnTo>
                    <a:pt x="20" y="42"/>
                  </a:lnTo>
                  <a:lnTo>
                    <a:pt x="20" y="43"/>
                  </a:lnTo>
                  <a:lnTo>
                    <a:pt x="20" y="42"/>
                  </a:lnTo>
                  <a:lnTo>
                    <a:pt x="21" y="43"/>
                  </a:lnTo>
                  <a:lnTo>
                    <a:pt x="20" y="44"/>
                  </a:lnTo>
                  <a:lnTo>
                    <a:pt x="21" y="44"/>
                  </a:lnTo>
                  <a:lnTo>
                    <a:pt x="21" y="43"/>
                  </a:lnTo>
                  <a:lnTo>
                    <a:pt x="22" y="44"/>
                  </a:lnTo>
                  <a:lnTo>
                    <a:pt x="23" y="44"/>
                  </a:lnTo>
                  <a:lnTo>
                    <a:pt x="22" y="44"/>
                  </a:lnTo>
                  <a:lnTo>
                    <a:pt x="23" y="44"/>
                  </a:lnTo>
                  <a:lnTo>
                    <a:pt x="23" y="45"/>
                  </a:lnTo>
                  <a:lnTo>
                    <a:pt x="22" y="45"/>
                  </a:lnTo>
                  <a:lnTo>
                    <a:pt x="23" y="45"/>
                  </a:lnTo>
                  <a:lnTo>
                    <a:pt x="22" y="45"/>
                  </a:lnTo>
                  <a:lnTo>
                    <a:pt x="22" y="46"/>
                  </a:lnTo>
                  <a:lnTo>
                    <a:pt x="22" y="45"/>
                  </a:lnTo>
                  <a:lnTo>
                    <a:pt x="22" y="46"/>
                  </a:lnTo>
                  <a:lnTo>
                    <a:pt x="21" y="46"/>
                  </a:lnTo>
                  <a:lnTo>
                    <a:pt x="22" y="46"/>
                  </a:lnTo>
                  <a:lnTo>
                    <a:pt x="22" y="48"/>
                  </a:lnTo>
                  <a:lnTo>
                    <a:pt x="22" y="49"/>
                  </a:lnTo>
                  <a:lnTo>
                    <a:pt x="23" y="49"/>
                  </a:lnTo>
                  <a:lnTo>
                    <a:pt x="23" y="50"/>
                  </a:lnTo>
                  <a:lnTo>
                    <a:pt x="24" y="50"/>
                  </a:lnTo>
                  <a:lnTo>
                    <a:pt x="26" y="50"/>
                  </a:lnTo>
                  <a:lnTo>
                    <a:pt x="28" y="49"/>
                  </a:lnTo>
                  <a:lnTo>
                    <a:pt x="29" y="48"/>
                  </a:lnTo>
                  <a:lnTo>
                    <a:pt x="30" y="48"/>
                  </a:lnTo>
                  <a:lnTo>
                    <a:pt x="30" y="46"/>
                  </a:lnTo>
                  <a:lnTo>
                    <a:pt x="30" y="45"/>
                  </a:lnTo>
                  <a:lnTo>
                    <a:pt x="31" y="45"/>
                  </a:lnTo>
                  <a:lnTo>
                    <a:pt x="33" y="45"/>
                  </a:lnTo>
                  <a:lnTo>
                    <a:pt x="33" y="44"/>
                  </a:lnTo>
                  <a:lnTo>
                    <a:pt x="31" y="44"/>
                  </a:lnTo>
                  <a:lnTo>
                    <a:pt x="31" y="42"/>
                  </a:lnTo>
                  <a:lnTo>
                    <a:pt x="33" y="41"/>
                  </a:lnTo>
                  <a:lnTo>
                    <a:pt x="33" y="39"/>
                  </a:lnTo>
                  <a:lnTo>
                    <a:pt x="33" y="38"/>
                  </a:lnTo>
                  <a:lnTo>
                    <a:pt x="33" y="37"/>
                  </a:lnTo>
                  <a:lnTo>
                    <a:pt x="33" y="36"/>
                  </a:lnTo>
                  <a:lnTo>
                    <a:pt x="31" y="36"/>
                  </a:lnTo>
                  <a:lnTo>
                    <a:pt x="31" y="35"/>
                  </a:lnTo>
                  <a:lnTo>
                    <a:pt x="30" y="35"/>
                  </a:lnTo>
                  <a:lnTo>
                    <a:pt x="30" y="34"/>
                  </a:lnTo>
                  <a:lnTo>
                    <a:pt x="30" y="32"/>
                  </a:lnTo>
                  <a:lnTo>
                    <a:pt x="29" y="31"/>
                  </a:lnTo>
                  <a:lnTo>
                    <a:pt x="28" y="30"/>
                  </a:lnTo>
                  <a:lnTo>
                    <a:pt x="28" y="29"/>
                  </a:lnTo>
                  <a:lnTo>
                    <a:pt x="28" y="28"/>
                  </a:lnTo>
                  <a:lnTo>
                    <a:pt x="27" y="28"/>
                  </a:lnTo>
                  <a:lnTo>
                    <a:pt x="28" y="27"/>
                  </a:lnTo>
                  <a:lnTo>
                    <a:pt x="27" y="27"/>
                  </a:lnTo>
                  <a:lnTo>
                    <a:pt x="27" y="25"/>
                  </a:lnTo>
                  <a:lnTo>
                    <a:pt x="27" y="24"/>
                  </a:lnTo>
                  <a:lnTo>
                    <a:pt x="27" y="23"/>
                  </a:lnTo>
                  <a:lnTo>
                    <a:pt x="27" y="22"/>
                  </a:lnTo>
                  <a:lnTo>
                    <a:pt x="26" y="22"/>
                  </a:lnTo>
                  <a:lnTo>
                    <a:pt x="27" y="22"/>
                  </a:lnTo>
                  <a:lnTo>
                    <a:pt x="28" y="22"/>
                  </a:lnTo>
                  <a:lnTo>
                    <a:pt x="28" y="21"/>
                  </a:lnTo>
                  <a:lnTo>
                    <a:pt x="28" y="20"/>
                  </a:lnTo>
                  <a:lnTo>
                    <a:pt x="29" y="20"/>
                  </a:lnTo>
                  <a:lnTo>
                    <a:pt x="28" y="20"/>
                  </a:lnTo>
                  <a:lnTo>
                    <a:pt x="28" y="18"/>
                  </a:lnTo>
                  <a:lnTo>
                    <a:pt x="29" y="18"/>
                  </a:lnTo>
                  <a:lnTo>
                    <a:pt x="30" y="18"/>
                  </a:lnTo>
                  <a:lnTo>
                    <a:pt x="31" y="18"/>
                  </a:lnTo>
                  <a:lnTo>
                    <a:pt x="33" y="17"/>
                  </a:lnTo>
                  <a:lnTo>
                    <a:pt x="34" y="17"/>
                  </a:lnTo>
                  <a:lnTo>
                    <a:pt x="36" y="15"/>
                  </a:lnTo>
                  <a:lnTo>
                    <a:pt x="38" y="15"/>
                  </a:lnTo>
                  <a:lnTo>
                    <a:pt x="40" y="15"/>
                  </a:lnTo>
                  <a:lnTo>
                    <a:pt x="42" y="15"/>
                  </a:lnTo>
                  <a:lnTo>
                    <a:pt x="42" y="14"/>
                  </a:lnTo>
                  <a:lnTo>
                    <a:pt x="42" y="15"/>
                  </a:lnTo>
                  <a:lnTo>
                    <a:pt x="42" y="14"/>
                  </a:lnTo>
                  <a:lnTo>
                    <a:pt x="43" y="14"/>
                  </a:lnTo>
                  <a:lnTo>
                    <a:pt x="44" y="14"/>
                  </a:lnTo>
                  <a:lnTo>
                    <a:pt x="44" y="13"/>
                  </a:lnTo>
                  <a:lnTo>
                    <a:pt x="45" y="13"/>
                  </a:lnTo>
                  <a:lnTo>
                    <a:pt x="47" y="13"/>
                  </a:lnTo>
                  <a:lnTo>
                    <a:pt x="47" y="11"/>
                  </a:lnTo>
                  <a:lnTo>
                    <a:pt x="48" y="11"/>
                  </a:lnTo>
                  <a:lnTo>
                    <a:pt x="48" y="10"/>
                  </a:lnTo>
                  <a:lnTo>
                    <a:pt x="47" y="10"/>
                  </a:lnTo>
                  <a:lnTo>
                    <a:pt x="48" y="10"/>
                  </a:lnTo>
                  <a:lnTo>
                    <a:pt x="47" y="10"/>
                  </a:lnTo>
                  <a:lnTo>
                    <a:pt x="47" y="9"/>
                  </a:lnTo>
                  <a:lnTo>
                    <a:pt x="47" y="10"/>
                  </a:lnTo>
                  <a:lnTo>
                    <a:pt x="48" y="10"/>
                  </a:lnTo>
                  <a:lnTo>
                    <a:pt x="49" y="10"/>
                  </a:lnTo>
                  <a:lnTo>
                    <a:pt x="50" y="10"/>
                  </a:lnTo>
                  <a:lnTo>
                    <a:pt x="50" y="11"/>
                  </a:lnTo>
                  <a:lnTo>
                    <a:pt x="51" y="11"/>
                  </a:lnTo>
                  <a:lnTo>
                    <a:pt x="52" y="11"/>
                  </a:lnTo>
                  <a:lnTo>
                    <a:pt x="52" y="10"/>
                  </a:lnTo>
                  <a:lnTo>
                    <a:pt x="52" y="9"/>
                  </a:lnTo>
                  <a:lnTo>
                    <a:pt x="51" y="8"/>
                  </a:lnTo>
                  <a:lnTo>
                    <a:pt x="50" y="8"/>
                  </a:lnTo>
                  <a:lnTo>
                    <a:pt x="49" y="8"/>
                  </a:lnTo>
                  <a:lnTo>
                    <a:pt x="48" y="8"/>
                  </a:lnTo>
                  <a:lnTo>
                    <a:pt x="48" y="9"/>
                  </a:lnTo>
                  <a:lnTo>
                    <a:pt x="47" y="9"/>
                  </a:lnTo>
                  <a:lnTo>
                    <a:pt x="45" y="9"/>
                  </a:lnTo>
                  <a:lnTo>
                    <a:pt x="45" y="8"/>
                  </a:lnTo>
                  <a:lnTo>
                    <a:pt x="45" y="7"/>
                  </a:lnTo>
                  <a:lnTo>
                    <a:pt x="47" y="7"/>
                  </a:lnTo>
                  <a:lnTo>
                    <a:pt x="47" y="6"/>
                  </a:lnTo>
                  <a:lnTo>
                    <a:pt x="45" y="6"/>
                  </a:lnTo>
                  <a:lnTo>
                    <a:pt x="45" y="7"/>
                  </a:lnTo>
                  <a:lnTo>
                    <a:pt x="45" y="6"/>
                  </a:lnTo>
                  <a:lnTo>
                    <a:pt x="45" y="4"/>
                  </a:lnTo>
                  <a:lnTo>
                    <a:pt x="45" y="3"/>
                  </a:lnTo>
                  <a:lnTo>
                    <a:pt x="45" y="2"/>
                  </a:lnTo>
                  <a:lnTo>
                    <a:pt x="47" y="2"/>
                  </a:lnTo>
                  <a:lnTo>
                    <a:pt x="47" y="1"/>
                  </a:lnTo>
                  <a:lnTo>
                    <a:pt x="48" y="1"/>
                  </a:lnTo>
                  <a:lnTo>
                    <a:pt x="49" y="0"/>
                  </a:lnTo>
                  <a:lnTo>
                    <a:pt x="50" y="0"/>
                  </a:lnTo>
                  <a:lnTo>
                    <a:pt x="51" y="2"/>
                  </a:lnTo>
                  <a:lnTo>
                    <a:pt x="51" y="3"/>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75" name="Freeform 1037">
              <a:extLst>
                <a:ext uri="{FF2B5EF4-FFF2-40B4-BE49-F238E27FC236}">
                  <a16:creationId xmlns:a16="http://schemas.microsoft.com/office/drawing/2014/main" id="{2CF4D121-8BFF-41D0-94A2-11A11D17EB48}"/>
                </a:ext>
              </a:extLst>
            </p:cNvPr>
            <p:cNvSpPr>
              <a:spLocks noEditPoints="1"/>
            </p:cNvSpPr>
            <p:nvPr/>
          </p:nvSpPr>
          <p:spPr bwMode="auto">
            <a:xfrm>
              <a:off x="4617843" y="2951888"/>
              <a:ext cx="9349" cy="9349"/>
            </a:xfrm>
            <a:custGeom>
              <a:avLst/>
              <a:gdLst>
                <a:gd name="T0" fmla="*/ 3 w 7"/>
                <a:gd name="T1" fmla="*/ 7 h 7"/>
                <a:gd name="T2" fmla="*/ 3 w 7"/>
                <a:gd name="T3" fmla="*/ 6 h 7"/>
                <a:gd name="T4" fmla="*/ 3 w 7"/>
                <a:gd name="T5" fmla="*/ 6 h 7"/>
                <a:gd name="T6" fmla="*/ 3 w 7"/>
                <a:gd name="T7" fmla="*/ 6 h 7"/>
                <a:gd name="T8" fmla="*/ 3 w 7"/>
                <a:gd name="T9" fmla="*/ 6 h 7"/>
                <a:gd name="T10" fmla="*/ 4 w 7"/>
                <a:gd name="T11" fmla="*/ 6 h 7"/>
                <a:gd name="T12" fmla="*/ 4 w 7"/>
                <a:gd name="T13" fmla="*/ 5 h 7"/>
                <a:gd name="T14" fmla="*/ 4 w 7"/>
                <a:gd name="T15" fmla="*/ 5 h 7"/>
                <a:gd name="T16" fmla="*/ 4 w 7"/>
                <a:gd name="T17" fmla="*/ 5 h 7"/>
                <a:gd name="T18" fmla="*/ 4 w 7"/>
                <a:gd name="T19" fmla="*/ 5 h 7"/>
                <a:gd name="T20" fmla="*/ 3 w 7"/>
                <a:gd name="T21" fmla="*/ 5 h 7"/>
                <a:gd name="T22" fmla="*/ 3 w 7"/>
                <a:gd name="T23" fmla="*/ 5 h 7"/>
                <a:gd name="T24" fmla="*/ 3 w 7"/>
                <a:gd name="T25" fmla="*/ 5 h 7"/>
                <a:gd name="T26" fmla="*/ 3 w 7"/>
                <a:gd name="T27" fmla="*/ 6 h 7"/>
                <a:gd name="T28" fmla="*/ 3 w 7"/>
                <a:gd name="T29" fmla="*/ 6 h 7"/>
                <a:gd name="T30" fmla="*/ 1 w 7"/>
                <a:gd name="T31" fmla="*/ 6 h 7"/>
                <a:gd name="T32" fmla="*/ 1 w 7"/>
                <a:gd name="T33" fmla="*/ 6 h 7"/>
                <a:gd name="T34" fmla="*/ 1 w 7"/>
                <a:gd name="T35" fmla="*/ 6 h 7"/>
                <a:gd name="T36" fmla="*/ 1 w 7"/>
                <a:gd name="T37" fmla="*/ 6 h 7"/>
                <a:gd name="T38" fmla="*/ 3 w 7"/>
                <a:gd name="T39" fmla="*/ 5 h 7"/>
                <a:gd name="T40" fmla="*/ 3 w 7"/>
                <a:gd name="T41" fmla="*/ 5 h 7"/>
                <a:gd name="T42" fmla="*/ 3 w 7"/>
                <a:gd name="T43" fmla="*/ 5 h 7"/>
                <a:gd name="T44" fmla="*/ 4 w 7"/>
                <a:gd name="T45" fmla="*/ 5 h 7"/>
                <a:gd name="T46" fmla="*/ 1 w 7"/>
                <a:gd name="T47" fmla="*/ 5 h 7"/>
                <a:gd name="T48" fmla="*/ 0 w 7"/>
                <a:gd name="T49" fmla="*/ 5 h 7"/>
                <a:gd name="T50" fmla="*/ 1 w 7"/>
                <a:gd name="T51" fmla="*/ 5 h 7"/>
                <a:gd name="T52" fmla="*/ 1 w 7"/>
                <a:gd name="T53" fmla="*/ 5 h 7"/>
                <a:gd name="T54" fmla="*/ 4 w 7"/>
                <a:gd name="T55" fmla="*/ 5 h 7"/>
                <a:gd name="T56" fmla="*/ 4 w 7"/>
                <a:gd name="T57" fmla="*/ 5 h 7"/>
                <a:gd name="T58" fmla="*/ 4 w 7"/>
                <a:gd name="T59" fmla="*/ 5 h 7"/>
                <a:gd name="T60" fmla="*/ 4 w 7"/>
                <a:gd name="T61" fmla="*/ 3 h 7"/>
                <a:gd name="T62" fmla="*/ 4 w 7"/>
                <a:gd name="T63" fmla="*/ 5 h 7"/>
                <a:gd name="T64" fmla="*/ 4 w 7"/>
                <a:gd name="T65" fmla="*/ 5 h 7"/>
                <a:gd name="T66" fmla="*/ 6 w 7"/>
                <a:gd name="T67" fmla="*/ 3 h 7"/>
                <a:gd name="T68" fmla="*/ 6 w 7"/>
                <a:gd name="T69" fmla="*/ 5 h 7"/>
                <a:gd name="T70" fmla="*/ 6 w 7"/>
                <a:gd name="T71" fmla="*/ 5 h 7"/>
                <a:gd name="T72" fmla="*/ 5 w 7"/>
                <a:gd name="T73" fmla="*/ 5 h 7"/>
                <a:gd name="T74" fmla="*/ 5 w 7"/>
                <a:gd name="T75" fmla="*/ 5 h 7"/>
                <a:gd name="T76" fmla="*/ 6 w 7"/>
                <a:gd name="T77" fmla="*/ 3 h 7"/>
                <a:gd name="T78" fmla="*/ 6 w 7"/>
                <a:gd name="T79" fmla="*/ 3 h 7"/>
                <a:gd name="T80" fmla="*/ 6 w 7"/>
                <a:gd name="T81" fmla="*/ 3 h 7"/>
                <a:gd name="T82" fmla="*/ 7 w 7"/>
                <a:gd name="T83" fmla="*/ 3 h 7"/>
                <a:gd name="T84" fmla="*/ 7 w 7"/>
                <a:gd name="T85" fmla="*/ 1 h 7"/>
                <a:gd name="T86" fmla="*/ 7 w 7"/>
                <a:gd name="T87" fmla="*/ 0 h 7"/>
                <a:gd name="T88" fmla="*/ 6 w 7"/>
                <a:gd name="T89" fmla="*/ 0 h 7"/>
                <a:gd name="T90" fmla="*/ 7 w 7"/>
                <a:gd name="T9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 h="7">
                  <a:moveTo>
                    <a:pt x="3" y="7"/>
                  </a:moveTo>
                  <a:lnTo>
                    <a:pt x="3" y="7"/>
                  </a:lnTo>
                  <a:lnTo>
                    <a:pt x="3" y="6"/>
                  </a:lnTo>
                  <a:lnTo>
                    <a:pt x="3" y="6"/>
                  </a:lnTo>
                  <a:lnTo>
                    <a:pt x="3" y="6"/>
                  </a:lnTo>
                  <a:lnTo>
                    <a:pt x="3" y="6"/>
                  </a:lnTo>
                  <a:lnTo>
                    <a:pt x="3" y="6"/>
                  </a:lnTo>
                  <a:lnTo>
                    <a:pt x="3" y="6"/>
                  </a:lnTo>
                  <a:lnTo>
                    <a:pt x="3" y="6"/>
                  </a:lnTo>
                  <a:lnTo>
                    <a:pt x="3" y="6"/>
                  </a:lnTo>
                  <a:lnTo>
                    <a:pt x="4" y="6"/>
                  </a:lnTo>
                  <a:lnTo>
                    <a:pt x="4" y="6"/>
                  </a:lnTo>
                  <a:lnTo>
                    <a:pt x="3" y="7"/>
                  </a:lnTo>
                  <a:close/>
                  <a:moveTo>
                    <a:pt x="4" y="5"/>
                  </a:moveTo>
                  <a:lnTo>
                    <a:pt x="4" y="5"/>
                  </a:lnTo>
                  <a:lnTo>
                    <a:pt x="4" y="5"/>
                  </a:lnTo>
                  <a:lnTo>
                    <a:pt x="4" y="5"/>
                  </a:lnTo>
                  <a:lnTo>
                    <a:pt x="4" y="5"/>
                  </a:lnTo>
                  <a:lnTo>
                    <a:pt x="4" y="5"/>
                  </a:lnTo>
                  <a:lnTo>
                    <a:pt x="4" y="5"/>
                  </a:lnTo>
                  <a:lnTo>
                    <a:pt x="4" y="5"/>
                  </a:lnTo>
                  <a:lnTo>
                    <a:pt x="3" y="5"/>
                  </a:lnTo>
                  <a:lnTo>
                    <a:pt x="3" y="5"/>
                  </a:lnTo>
                  <a:lnTo>
                    <a:pt x="3" y="5"/>
                  </a:lnTo>
                  <a:lnTo>
                    <a:pt x="3" y="5"/>
                  </a:lnTo>
                  <a:lnTo>
                    <a:pt x="3" y="5"/>
                  </a:lnTo>
                  <a:lnTo>
                    <a:pt x="3" y="5"/>
                  </a:lnTo>
                  <a:lnTo>
                    <a:pt x="3" y="6"/>
                  </a:lnTo>
                  <a:lnTo>
                    <a:pt x="3" y="6"/>
                  </a:lnTo>
                  <a:lnTo>
                    <a:pt x="3" y="6"/>
                  </a:lnTo>
                  <a:lnTo>
                    <a:pt x="3" y="6"/>
                  </a:lnTo>
                  <a:lnTo>
                    <a:pt x="1" y="6"/>
                  </a:lnTo>
                  <a:lnTo>
                    <a:pt x="1" y="6"/>
                  </a:lnTo>
                  <a:lnTo>
                    <a:pt x="1" y="6"/>
                  </a:lnTo>
                  <a:lnTo>
                    <a:pt x="1" y="6"/>
                  </a:lnTo>
                  <a:lnTo>
                    <a:pt x="1" y="6"/>
                  </a:lnTo>
                  <a:lnTo>
                    <a:pt x="1" y="6"/>
                  </a:lnTo>
                  <a:lnTo>
                    <a:pt x="1" y="6"/>
                  </a:lnTo>
                  <a:lnTo>
                    <a:pt x="1" y="5"/>
                  </a:lnTo>
                  <a:lnTo>
                    <a:pt x="3" y="5"/>
                  </a:lnTo>
                  <a:lnTo>
                    <a:pt x="3" y="5"/>
                  </a:lnTo>
                  <a:lnTo>
                    <a:pt x="3" y="5"/>
                  </a:lnTo>
                  <a:lnTo>
                    <a:pt x="3" y="5"/>
                  </a:lnTo>
                  <a:lnTo>
                    <a:pt x="3" y="5"/>
                  </a:lnTo>
                  <a:lnTo>
                    <a:pt x="4" y="5"/>
                  </a:lnTo>
                  <a:lnTo>
                    <a:pt x="4" y="5"/>
                  </a:lnTo>
                  <a:close/>
                  <a:moveTo>
                    <a:pt x="1" y="5"/>
                  </a:moveTo>
                  <a:lnTo>
                    <a:pt x="1" y="5"/>
                  </a:lnTo>
                  <a:lnTo>
                    <a:pt x="0" y="5"/>
                  </a:lnTo>
                  <a:lnTo>
                    <a:pt x="0" y="5"/>
                  </a:lnTo>
                  <a:lnTo>
                    <a:pt x="0" y="5"/>
                  </a:lnTo>
                  <a:lnTo>
                    <a:pt x="1" y="5"/>
                  </a:lnTo>
                  <a:lnTo>
                    <a:pt x="1" y="5"/>
                  </a:lnTo>
                  <a:lnTo>
                    <a:pt x="1" y="5"/>
                  </a:lnTo>
                  <a:lnTo>
                    <a:pt x="1" y="5"/>
                  </a:lnTo>
                  <a:close/>
                  <a:moveTo>
                    <a:pt x="4" y="5"/>
                  </a:moveTo>
                  <a:lnTo>
                    <a:pt x="4" y="5"/>
                  </a:lnTo>
                  <a:lnTo>
                    <a:pt x="4" y="5"/>
                  </a:lnTo>
                  <a:lnTo>
                    <a:pt x="4" y="5"/>
                  </a:lnTo>
                  <a:lnTo>
                    <a:pt x="4" y="5"/>
                  </a:lnTo>
                  <a:lnTo>
                    <a:pt x="4" y="3"/>
                  </a:lnTo>
                  <a:lnTo>
                    <a:pt x="4" y="3"/>
                  </a:lnTo>
                  <a:lnTo>
                    <a:pt x="4" y="3"/>
                  </a:lnTo>
                  <a:lnTo>
                    <a:pt x="4" y="5"/>
                  </a:lnTo>
                  <a:lnTo>
                    <a:pt x="4" y="5"/>
                  </a:lnTo>
                  <a:lnTo>
                    <a:pt x="4" y="5"/>
                  </a:lnTo>
                  <a:close/>
                  <a:moveTo>
                    <a:pt x="7" y="3"/>
                  </a:moveTo>
                  <a:lnTo>
                    <a:pt x="6" y="3"/>
                  </a:lnTo>
                  <a:lnTo>
                    <a:pt x="6" y="5"/>
                  </a:lnTo>
                  <a:lnTo>
                    <a:pt x="6" y="5"/>
                  </a:lnTo>
                  <a:lnTo>
                    <a:pt x="6" y="5"/>
                  </a:lnTo>
                  <a:lnTo>
                    <a:pt x="6" y="5"/>
                  </a:lnTo>
                  <a:lnTo>
                    <a:pt x="6" y="5"/>
                  </a:lnTo>
                  <a:lnTo>
                    <a:pt x="5" y="5"/>
                  </a:lnTo>
                  <a:lnTo>
                    <a:pt x="5" y="5"/>
                  </a:lnTo>
                  <a:lnTo>
                    <a:pt x="5" y="5"/>
                  </a:lnTo>
                  <a:lnTo>
                    <a:pt x="6" y="3"/>
                  </a:lnTo>
                  <a:lnTo>
                    <a:pt x="6" y="3"/>
                  </a:lnTo>
                  <a:lnTo>
                    <a:pt x="6" y="3"/>
                  </a:lnTo>
                  <a:lnTo>
                    <a:pt x="6" y="3"/>
                  </a:lnTo>
                  <a:lnTo>
                    <a:pt x="6" y="3"/>
                  </a:lnTo>
                  <a:lnTo>
                    <a:pt x="6" y="3"/>
                  </a:lnTo>
                  <a:lnTo>
                    <a:pt x="6" y="3"/>
                  </a:lnTo>
                  <a:lnTo>
                    <a:pt x="7" y="3"/>
                  </a:lnTo>
                  <a:close/>
                  <a:moveTo>
                    <a:pt x="7" y="0"/>
                  </a:moveTo>
                  <a:lnTo>
                    <a:pt x="7" y="1"/>
                  </a:lnTo>
                  <a:lnTo>
                    <a:pt x="7" y="1"/>
                  </a:lnTo>
                  <a:lnTo>
                    <a:pt x="7" y="0"/>
                  </a:lnTo>
                  <a:lnTo>
                    <a:pt x="6" y="0"/>
                  </a:lnTo>
                  <a:lnTo>
                    <a:pt x="6" y="0"/>
                  </a:lnTo>
                  <a:lnTo>
                    <a:pt x="6" y="0"/>
                  </a:lnTo>
                  <a:lnTo>
                    <a:pt x="7" y="0"/>
                  </a:lnTo>
                  <a:lnTo>
                    <a:pt x="7"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76" name="Freeform 1038">
              <a:extLst>
                <a:ext uri="{FF2B5EF4-FFF2-40B4-BE49-F238E27FC236}">
                  <a16:creationId xmlns:a16="http://schemas.microsoft.com/office/drawing/2014/main" id="{620C5C58-1B65-47C5-93EA-726D480D9D04}"/>
                </a:ext>
              </a:extLst>
            </p:cNvPr>
            <p:cNvSpPr>
              <a:spLocks noEditPoints="1"/>
            </p:cNvSpPr>
            <p:nvPr/>
          </p:nvSpPr>
          <p:spPr bwMode="auto">
            <a:xfrm>
              <a:off x="4613836" y="2959901"/>
              <a:ext cx="8013" cy="13355"/>
            </a:xfrm>
            <a:custGeom>
              <a:avLst/>
              <a:gdLst>
                <a:gd name="T0" fmla="*/ 3 w 6"/>
                <a:gd name="T1" fmla="*/ 9 h 10"/>
                <a:gd name="T2" fmla="*/ 3 w 6"/>
                <a:gd name="T3" fmla="*/ 10 h 10"/>
                <a:gd name="T4" fmla="*/ 4 w 6"/>
                <a:gd name="T5" fmla="*/ 9 h 10"/>
                <a:gd name="T6" fmla="*/ 6 w 6"/>
                <a:gd name="T7" fmla="*/ 9 h 10"/>
                <a:gd name="T8" fmla="*/ 6 w 6"/>
                <a:gd name="T9" fmla="*/ 10 h 10"/>
                <a:gd name="T10" fmla="*/ 4 w 6"/>
                <a:gd name="T11" fmla="*/ 10 h 10"/>
                <a:gd name="T12" fmla="*/ 1 w 6"/>
                <a:gd name="T13" fmla="*/ 10 h 10"/>
                <a:gd name="T14" fmla="*/ 1 w 6"/>
                <a:gd name="T15" fmla="*/ 10 h 10"/>
                <a:gd name="T16" fmla="*/ 1 w 6"/>
                <a:gd name="T17" fmla="*/ 9 h 10"/>
                <a:gd name="T18" fmla="*/ 1 w 6"/>
                <a:gd name="T19" fmla="*/ 9 h 10"/>
                <a:gd name="T20" fmla="*/ 2 w 6"/>
                <a:gd name="T21" fmla="*/ 9 h 10"/>
                <a:gd name="T22" fmla="*/ 2 w 6"/>
                <a:gd name="T23" fmla="*/ 9 h 10"/>
                <a:gd name="T24" fmla="*/ 3 w 6"/>
                <a:gd name="T25" fmla="*/ 9 h 10"/>
                <a:gd name="T26" fmla="*/ 4 w 6"/>
                <a:gd name="T27" fmla="*/ 1 h 10"/>
                <a:gd name="T28" fmla="*/ 4 w 6"/>
                <a:gd name="T29" fmla="*/ 0 h 10"/>
                <a:gd name="T30" fmla="*/ 4 w 6"/>
                <a:gd name="T31" fmla="*/ 1 h 10"/>
                <a:gd name="T32" fmla="*/ 3 w 6"/>
                <a:gd name="T33" fmla="*/ 1 h 10"/>
                <a:gd name="T34" fmla="*/ 3 w 6"/>
                <a:gd name="T35" fmla="*/ 1 h 10"/>
                <a:gd name="T36" fmla="*/ 3 w 6"/>
                <a:gd name="T37" fmla="*/ 0 h 10"/>
                <a:gd name="T38" fmla="*/ 3 w 6"/>
                <a:gd name="T39" fmla="*/ 0 h 10"/>
                <a:gd name="T40" fmla="*/ 4 w 6"/>
                <a:gd name="T41" fmla="*/ 0 h 10"/>
                <a:gd name="T42" fmla="*/ 4 w 6"/>
                <a:gd name="T43" fmla="*/ 0 h 10"/>
                <a:gd name="T44" fmla="*/ 1 w 6"/>
                <a:gd name="T45" fmla="*/ 0 h 10"/>
                <a:gd name="T46" fmla="*/ 2 w 6"/>
                <a:gd name="T47" fmla="*/ 1 h 10"/>
                <a:gd name="T48" fmla="*/ 2 w 6"/>
                <a:gd name="T49" fmla="*/ 1 h 10"/>
                <a:gd name="T50" fmla="*/ 2 w 6"/>
                <a:gd name="T51" fmla="*/ 1 h 10"/>
                <a:gd name="T52" fmla="*/ 1 w 6"/>
                <a:gd name="T53" fmla="*/ 1 h 10"/>
                <a:gd name="T54" fmla="*/ 1 w 6"/>
                <a:gd name="T55" fmla="*/ 1 h 10"/>
                <a:gd name="T56" fmla="*/ 1 w 6"/>
                <a:gd name="T57" fmla="*/ 1 h 10"/>
                <a:gd name="T58" fmla="*/ 1 w 6"/>
                <a:gd name="T59" fmla="*/ 1 h 10"/>
                <a:gd name="T60" fmla="*/ 0 w 6"/>
                <a:gd name="T61" fmla="*/ 1 h 10"/>
                <a:gd name="T62" fmla="*/ 0 w 6"/>
                <a:gd name="T63" fmla="*/ 0 h 10"/>
                <a:gd name="T64" fmla="*/ 1 w 6"/>
                <a:gd name="T65" fmla="*/ 0 h 10"/>
                <a:gd name="T66" fmla="*/ 1 w 6"/>
                <a:gd name="T67" fmla="*/ 0 h 10"/>
                <a:gd name="T68" fmla="*/ 1 w 6"/>
                <a:gd name="T6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 h="10">
                  <a:moveTo>
                    <a:pt x="3" y="9"/>
                  </a:moveTo>
                  <a:lnTo>
                    <a:pt x="3" y="9"/>
                  </a:lnTo>
                  <a:lnTo>
                    <a:pt x="3" y="9"/>
                  </a:lnTo>
                  <a:lnTo>
                    <a:pt x="3" y="10"/>
                  </a:lnTo>
                  <a:lnTo>
                    <a:pt x="4" y="9"/>
                  </a:lnTo>
                  <a:lnTo>
                    <a:pt x="4" y="9"/>
                  </a:lnTo>
                  <a:lnTo>
                    <a:pt x="6" y="9"/>
                  </a:lnTo>
                  <a:lnTo>
                    <a:pt x="6" y="9"/>
                  </a:lnTo>
                  <a:lnTo>
                    <a:pt x="6" y="10"/>
                  </a:lnTo>
                  <a:lnTo>
                    <a:pt x="6" y="10"/>
                  </a:lnTo>
                  <a:lnTo>
                    <a:pt x="4" y="10"/>
                  </a:lnTo>
                  <a:lnTo>
                    <a:pt x="4" y="10"/>
                  </a:lnTo>
                  <a:lnTo>
                    <a:pt x="4" y="10"/>
                  </a:lnTo>
                  <a:lnTo>
                    <a:pt x="1" y="10"/>
                  </a:lnTo>
                  <a:lnTo>
                    <a:pt x="1" y="10"/>
                  </a:lnTo>
                  <a:lnTo>
                    <a:pt x="1" y="10"/>
                  </a:lnTo>
                  <a:lnTo>
                    <a:pt x="1" y="10"/>
                  </a:lnTo>
                  <a:lnTo>
                    <a:pt x="1" y="9"/>
                  </a:lnTo>
                  <a:lnTo>
                    <a:pt x="1" y="9"/>
                  </a:lnTo>
                  <a:lnTo>
                    <a:pt x="1" y="9"/>
                  </a:lnTo>
                  <a:lnTo>
                    <a:pt x="2" y="9"/>
                  </a:lnTo>
                  <a:lnTo>
                    <a:pt x="2" y="9"/>
                  </a:lnTo>
                  <a:lnTo>
                    <a:pt x="2" y="9"/>
                  </a:lnTo>
                  <a:lnTo>
                    <a:pt x="2" y="9"/>
                  </a:lnTo>
                  <a:lnTo>
                    <a:pt x="2" y="9"/>
                  </a:lnTo>
                  <a:lnTo>
                    <a:pt x="3" y="9"/>
                  </a:lnTo>
                  <a:close/>
                  <a:moveTo>
                    <a:pt x="4" y="0"/>
                  </a:moveTo>
                  <a:lnTo>
                    <a:pt x="4" y="1"/>
                  </a:lnTo>
                  <a:lnTo>
                    <a:pt x="4" y="1"/>
                  </a:lnTo>
                  <a:lnTo>
                    <a:pt x="4" y="0"/>
                  </a:lnTo>
                  <a:lnTo>
                    <a:pt x="4" y="1"/>
                  </a:lnTo>
                  <a:lnTo>
                    <a:pt x="4" y="1"/>
                  </a:lnTo>
                  <a:lnTo>
                    <a:pt x="4" y="1"/>
                  </a:lnTo>
                  <a:lnTo>
                    <a:pt x="3" y="1"/>
                  </a:lnTo>
                  <a:lnTo>
                    <a:pt x="3" y="1"/>
                  </a:lnTo>
                  <a:lnTo>
                    <a:pt x="3" y="1"/>
                  </a:lnTo>
                  <a:lnTo>
                    <a:pt x="3" y="0"/>
                  </a:lnTo>
                  <a:lnTo>
                    <a:pt x="3" y="0"/>
                  </a:lnTo>
                  <a:lnTo>
                    <a:pt x="3" y="0"/>
                  </a:lnTo>
                  <a:lnTo>
                    <a:pt x="3" y="0"/>
                  </a:lnTo>
                  <a:lnTo>
                    <a:pt x="3" y="0"/>
                  </a:lnTo>
                  <a:lnTo>
                    <a:pt x="4" y="0"/>
                  </a:lnTo>
                  <a:lnTo>
                    <a:pt x="4" y="0"/>
                  </a:lnTo>
                  <a:lnTo>
                    <a:pt x="4" y="0"/>
                  </a:lnTo>
                  <a:lnTo>
                    <a:pt x="4" y="0"/>
                  </a:lnTo>
                  <a:close/>
                  <a:moveTo>
                    <a:pt x="1" y="0"/>
                  </a:moveTo>
                  <a:lnTo>
                    <a:pt x="2" y="0"/>
                  </a:lnTo>
                  <a:lnTo>
                    <a:pt x="2" y="1"/>
                  </a:lnTo>
                  <a:lnTo>
                    <a:pt x="2" y="1"/>
                  </a:lnTo>
                  <a:lnTo>
                    <a:pt x="2" y="1"/>
                  </a:lnTo>
                  <a:lnTo>
                    <a:pt x="2" y="1"/>
                  </a:lnTo>
                  <a:lnTo>
                    <a:pt x="2" y="1"/>
                  </a:lnTo>
                  <a:lnTo>
                    <a:pt x="2" y="1"/>
                  </a:lnTo>
                  <a:lnTo>
                    <a:pt x="1" y="1"/>
                  </a:lnTo>
                  <a:lnTo>
                    <a:pt x="1" y="1"/>
                  </a:lnTo>
                  <a:lnTo>
                    <a:pt x="1" y="1"/>
                  </a:lnTo>
                  <a:lnTo>
                    <a:pt x="1" y="1"/>
                  </a:lnTo>
                  <a:lnTo>
                    <a:pt x="1" y="1"/>
                  </a:lnTo>
                  <a:lnTo>
                    <a:pt x="1" y="1"/>
                  </a:lnTo>
                  <a:lnTo>
                    <a:pt x="1" y="1"/>
                  </a:lnTo>
                  <a:lnTo>
                    <a:pt x="0" y="0"/>
                  </a:lnTo>
                  <a:lnTo>
                    <a:pt x="0" y="1"/>
                  </a:lnTo>
                  <a:lnTo>
                    <a:pt x="0" y="0"/>
                  </a:lnTo>
                  <a:lnTo>
                    <a:pt x="0" y="0"/>
                  </a:lnTo>
                  <a:lnTo>
                    <a:pt x="1"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77" name="Freeform 1039">
              <a:extLst>
                <a:ext uri="{FF2B5EF4-FFF2-40B4-BE49-F238E27FC236}">
                  <a16:creationId xmlns:a16="http://schemas.microsoft.com/office/drawing/2014/main" id="{999CCD2B-0BFF-4C09-95A1-E7CE4C554811}"/>
                </a:ext>
              </a:extLst>
            </p:cNvPr>
            <p:cNvSpPr>
              <a:spLocks noEditPoints="1"/>
            </p:cNvSpPr>
            <p:nvPr/>
          </p:nvSpPr>
          <p:spPr bwMode="auto">
            <a:xfrm>
              <a:off x="7666762" y="2853062"/>
              <a:ext cx="162930" cy="313840"/>
            </a:xfrm>
            <a:custGeom>
              <a:avLst/>
              <a:gdLst>
                <a:gd name="T0" fmla="*/ 82 w 122"/>
                <a:gd name="T1" fmla="*/ 219 h 235"/>
                <a:gd name="T2" fmla="*/ 50 w 122"/>
                <a:gd name="T3" fmla="*/ 206 h 235"/>
                <a:gd name="T4" fmla="*/ 95 w 122"/>
                <a:gd name="T5" fmla="*/ 205 h 235"/>
                <a:gd name="T6" fmla="*/ 91 w 122"/>
                <a:gd name="T7" fmla="*/ 205 h 235"/>
                <a:gd name="T8" fmla="*/ 120 w 122"/>
                <a:gd name="T9" fmla="*/ 177 h 235"/>
                <a:gd name="T10" fmla="*/ 71 w 122"/>
                <a:gd name="T11" fmla="*/ 42 h 235"/>
                <a:gd name="T12" fmla="*/ 78 w 122"/>
                <a:gd name="T13" fmla="*/ 39 h 235"/>
                <a:gd name="T14" fmla="*/ 77 w 122"/>
                <a:gd name="T15" fmla="*/ 38 h 235"/>
                <a:gd name="T16" fmla="*/ 77 w 122"/>
                <a:gd name="T17" fmla="*/ 35 h 235"/>
                <a:gd name="T18" fmla="*/ 47 w 122"/>
                <a:gd name="T19" fmla="*/ 6 h 235"/>
                <a:gd name="T20" fmla="*/ 63 w 122"/>
                <a:gd name="T21" fmla="*/ 10 h 235"/>
                <a:gd name="T22" fmla="*/ 67 w 122"/>
                <a:gd name="T23" fmla="*/ 24 h 235"/>
                <a:gd name="T24" fmla="*/ 82 w 122"/>
                <a:gd name="T25" fmla="*/ 30 h 235"/>
                <a:gd name="T26" fmla="*/ 75 w 122"/>
                <a:gd name="T27" fmla="*/ 38 h 235"/>
                <a:gd name="T28" fmla="*/ 68 w 122"/>
                <a:gd name="T29" fmla="*/ 39 h 235"/>
                <a:gd name="T30" fmla="*/ 68 w 122"/>
                <a:gd name="T31" fmla="*/ 42 h 235"/>
                <a:gd name="T32" fmla="*/ 67 w 122"/>
                <a:gd name="T33" fmla="*/ 51 h 235"/>
                <a:gd name="T34" fmla="*/ 57 w 122"/>
                <a:gd name="T35" fmla="*/ 61 h 235"/>
                <a:gd name="T36" fmla="*/ 58 w 122"/>
                <a:gd name="T37" fmla="*/ 74 h 235"/>
                <a:gd name="T38" fmla="*/ 69 w 122"/>
                <a:gd name="T39" fmla="*/ 84 h 235"/>
                <a:gd name="T40" fmla="*/ 71 w 122"/>
                <a:gd name="T41" fmla="*/ 90 h 235"/>
                <a:gd name="T42" fmla="*/ 90 w 122"/>
                <a:gd name="T43" fmla="*/ 108 h 235"/>
                <a:gd name="T44" fmla="*/ 99 w 122"/>
                <a:gd name="T45" fmla="*/ 116 h 235"/>
                <a:gd name="T46" fmla="*/ 109 w 122"/>
                <a:gd name="T47" fmla="*/ 126 h 235"/>
                <a:gd name="T48" fmla="*/ 115 w 122"/>
                <a:gd name="T49" fmla="*/ 142 h 235"/>
                <a:gd name="T50" fmla="*/ 118 w 122"/>
                <a:gd name="T51" fmla="*/ 153 h 235"/>
                <a:gd name="T52" fmla="*/ 118 w 122"/>
                <a:gd name="T53" fmla="*/ 159 h 235"/>
                <a:gd name="T54" fmla="*/ 122 w 122"/>
                <a:gd name="T55" fmla="*/ 171 h 235"/>
                <a:gd name="T56" fmla="*/ 120 w 122"/>
                <a:gd name="T57" fmla="*/ 174 h 235"/>
                <a:gd name="T58" fmla="*/ 119 w 122"/>
                <a:gd name="T59" fmla="*/ 182 h 235"/>
                <a:gd name="T60" fmla="*/ 117 w 122"/>
                <a:gd name="T61" fmla="*/ 192 h 235"/>
                <a:gd name="T62" fmla="*/ 105 w 122"/>
                <a:gd name="T63" fmla="*/ 201 h 235"/>
                <a:gd name="T64" fmla="*/ 91 w 122"/>
                <a:gd name="T65" fmla="*/ 201 h 235"/>
                <a:gd name="T66" fmla="*/ 88 w 122"/>
                <a:gd name="T67" fmla="*/ 205 h 235"/>
                <a:gd name="T68" fmla="*/ 90 w 122"/>
                <a:gd name="T69" fmla="*/ 210 h 235"/>
                <a:gd name="T70" fmla="*/ 88 w 122"/>
                <a:gd name="T71" fmla="*/ 214 h 235"/>
                <a:gd name="T72" fmla="*/ 88 w 122"/>
                <a:gd name="T73" fmla="*/ 216 h 235"/>
                <a:gd name="T74" fmla="*/ 79 w 122"/>
                <a:gd name="T75" fmla="*/ 223 h 235"/>
                <a:gd name="T76" fmla="*/ 63 w 122"/>
                <a:gd name="T77" fmla="*/ 234 h 235"/>
                <a:gd name="T78" fmla="*/ 64 w 122"/>
                <a:gd name="T79" fmla="*/ 215 h 235"/>
                <a:gd name="T80" fmla="*/ 58 w 122"/>
                <a:gd name="T81" fmla="*/ 208 h 235"/>
                <a:gd name="T82" fmla="*/ 64 w 122"/>
                <a:gd name="T83" fmla="*/ 199 h 235"/>
                <a:gd name="T84" fmla="*/ 79 w 122"/>
                <a:gd name="T85" fmla="*/ 198 h 235"/>
                <a:gd name="T86" fmla="*/ 77 w 122"/>
                <a:gd name="T87" fmla="*/ 185 h 235"/>
                <a:gd name="T88" fmla="*/ 89 w 122"/>
                <a:gd name="T89" fmla="*/ 179 h 235"/>
                <a:gd name="T90" fmla="*/ 95 w 122"/>
                <a:gd name="T91" fmla="*/ 165 h 235"/>
                <a:gd name="T92" fmla="*/ 92 w 122"/>
                <a:gd name="T93" fmla="*/ 142 h 235"/>
                <a:gd name="T94" fmla="*/ 90 w 122"/>
                <a:gd name="T95" fmla="*/ 126 h 235"/>
                <a:gd name="T96" fmla="*/ 84 w 122"/>
                <a:gd name="T97" fmla="*/ 115 h 235"/>
                <a:gd name="T98" fmla="*/ 72 w 122"/>
                <a:gd name="T99" fmla="*/ 102 h 235"/>
                <a:gd name="T100" fmla="*/ 57 w 122"/>
                <a:gd name="T101" fmla="*/ 84 h 235"/>
                <a:gd name="T102" fmla="*/ 50 w 122"/>
                <a:gd name="T103" fmla="*/ 75 h 235"/>
                <a:gd name="T104" fmla="*/ 33 w 122"/>
                <a:gd name="T105" fmla="*/ 66 h 235"/>
                <a:gd name="T106" fmla="*/ 41 w 122"/>
                <a:gd name="T107" fmla="*/ 60 h 235"/>
                <a:gd name="T108" fmla="*/ 40 w 122"/>
                <a:gd name="T109" fmla="*/ 49 h 235"/>
                <a:gd name="T110" fmla="*/ 29 w 122"/>
                <a:gd name="T111" fmla="*/ 40 h 235"/>
                <a:gd name="T112" fmla="*/ 18 w 122"/>
                <a:gd name="T113" fmla="*/ 40 h 235"/>
                <a:gd name="T114" fmla="*/ 14 w 122"/>
                <a:gd name="T115" fmla="*/ 28 h 235"/>
                <a:gd name="T116" fmla="*/ 5 w 122"/>
                <a:gd name="T117" fmla="*/ 21 h 235"/>
                <a:gd name="T118" fmla="*/ 6 w 122"/>
                <a:gd name="T119" fmla="*/ 12 h 235"/>
                <a:gd name="T120" fmla="*/ 19 w 122"/>
                <a:gd name="T121" fmla="*/ 13 h 235"/>
                <a:gd name="T122" fmla="*/ 29 w 122"/>
                <a:gd name="T123" fmla="*/ 11 h 235"/>
                <a:gd name="T124" fmla="*/ 41 w 122"/>
                <a:gd name="T125" fmla="*/ 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35">
                  <a:moveTo>
                    <a:pt x="90" y="233"/>
                  </a:moveTo>
                  <a:lnTo>
                    <a:pt x="89" y="233"/>
                  </a:lnTo>
                  <a:lnTo>
                    <a:pt x="90" y="233"/>
                  </a:lnTo>
                  <a:lnTo>
                    <a:pt x="89" y="233"/>
                  </a:lnTo>
                  <a:lnTo>
                    <a:pt x="89" y="234"/>
                  </a:lnTo>
                  <a:lnTo>
                    <a:pt x="88" y="234"/>
                  </a:lnTo>
                  <a:lnTo>
                    <a:pt x="88" y="233"/>
                  </a:lnTo>
                  <a:lnTo>
                    <a:pt x="89" y="233"/>
                  </a:lnTo>
                  <a:lnTo>
                    <a:pt x="89" y="231"/>
                  </a:lnTo>
                  <a:lnTo>
                    <a:pt x="90" y="231"/>
                  </a:lnTo>
                  <a:lnTo>
                    <a:pt x="90" y="233"/>
                  </a:lnTo>
                  <a:close/>
                  <a:moveTo>
                    <a:pt x="82" y="219"/>
                  </a:moveTo>
                  <a:lnTo>
                    <a:pt x="83" y="219"/>
                  </a:lnTo>
                  <a:lnTo>
                    <a:pt x="83" y="220"/>
                  </a:lnTo>
                  <a:lnTo>
                    <a:pt x="83" y="219"/>
                  </a:lnTo>
                  <a:lnTo>
                    <a:pt x="82" y="219"/>
                  </a:lnTo>
                  <a:lnTo>
                    <a:pt x="83" y="220"/>
                  </a:lnTo>
                  <a:lnTo>
                    <a:pt x="82" y="220"/>
                  </a:lnTo>
                  <a:lnTo>
                    <a:pt x="82" y="219"/>
                  </a:lnTo>
                  <a:lnTo>
                    <a:pt x="81" y="217"/>
                  </a:lnTo>
                  <a:lnTo>
                    <a:pt x="81" y="216"/>
                  </a:lnTo>
                  <a:lnTo>
                    <a:pt x="82" y="217"/>
                  </a:lnTo>
                  <a:lnTo>
                    <a:pt x="82" y="219"/>
                  </a:lnTo>
                  <a:close/>
                  <a:moveTo>
                    <a:pt x="86" y="215"/>
                  </a:moveTo>
                  <a:lnTo>
                    <a:pt x="85" y="214"/>
                  </a:lnTo>
                  <a:lnTo>
                    <a:pt x="84" y="214"/>
                  </a:lnTo>
                  <a:lnTo>
                    <a:pt x="85" y="214"/>
                  </a:lnTo>
                  <a:lnTo>
                    <a:pt x="86" y="215"/>
                  </a:lnTo>
                  <a:close/>
                  <a:moveTo>
                    <a:pt x="89" y="209"/>
                  </a:moveTo>
                  <a:lnTo>
                    <a:pt x="89" y="208"/>
                  </a:lnTo>
                  <a:lnTo>
                    <a:pt x="88" y="208"/>
                  </a:lnTo>
                  <a:lnTo>
                    <a:pt x="86" y="208"/>
                  </a:lnTo>
                  <a:lnTo>
                    <a:pt x="85" y="208"/>
                  </a:lnTo>
                  <a:lnTo>
                    <a:pt x="86" y="208"/>
                  </a:lnTo>
                  <a:lnTo>
                    <a:pt x="88" y="208"/>
                  </a:lnTo>
                  <a:lnTo>
                    <a:pt x="89" y="208"/>
                  </a:lnTo>
                  <a:lnTo>
                    <a:pt x="89" y="209"/>
                  </a:lnTo>
                  <a:close/>
                  <a:moveTo>
                    <a:pt x="50" y="206"/>
                  </a:moveTo>
                  <a:lnTo>
                    <a:pt x="51" y="207"/>
                  </a:lnTo>
                  <a:lnTo>
                    <a:pt x="51" y="208"/>
                  </a:lnTo>
                  <a:lnTo>
                    <a:pt x="51" y="210"/>
                  </a:lnTo>
                  <a:lnTo>
                    <a:pt x="51" y="212"/>
                  </a:lnTo>
                  <a:lnTo>
                    <a:pt x="51" y="213"/>
                  </a:lnTo>
                  <a:lnTo>
                    <a:pt x="51" y="212"/>
                  </a:lnTo>
                  <a:lnTo>
                    <a:pt x="50" y="212"/>
                  </a:lnTo>
                  <a:lnTo>
                    <a:pt x="50" y="210"/>
                  </a:lnTo>
                  <a:lnTo>
                    <a:pt x="50" y="209"/>
                  </a:lnTo>
                  <a:lnTo>
                    <a:pt x="49" y="208"/>
                  </a:lnTo>
                  <a:lnTo>
                    <a:pt x="49" y="207"/>
                  </a:lnTo>
                  <a:lnTo>
                    <a:pt x="48" y="207"/>
                  </a:lnTo>
                  <a:lnTo>
                    <a:pt x="49" y="207"/>
                  </a:lnTo>
                  <a:lnTo>
                    <a:pt x="50" y="206"/>
                  </a:lnTo>
                  <a:close/>
                  <a:moveTo>
                    <a:pt x="95" y="206"/>
                  </a:moveTo>
                  <a:lnTo>
                    <a:pt x="93" y="207"/>
                  </a:lnTo>
                  <a:lnTo>
                    <a:pt x="93" y="206"/>
                  </a:lnTo>
                  <a:lnTo>
                    <a:pt x="95" y="206"/>
                  </a:lnTo>
                  <a:lnTo>
                    <a:pt x="95" y="205"/>
                  </a:lnTo>
                  <a:lnTo>
                    <a:pt x="95" y="206"/>
                  </a:lnTo>
                  <a:close/>
                  <a:moveTo>
                    <a:pt x="91" y="205"/>
                  </a:moveTo>
                  <a:lnTo>
                    <a:pt x="91" y="206"/>
                  </a:lnTo>
                  <a:lnTo>
                    <a:pt x="92" y="206"/>
                  </a:lnTo>
                  <a:lnTo>
                    <a:pt x="91" y="206"/>
                  </a:lnTo>
                  <a:lnTo>
                    <a:pt x="91" y="207"/>
                  </a:lnTo>
                  <a:lnTo>
                    <a:pt x="91" y="206"/>
                  </a:lnTo>
                  <a:lnTo>
                    <a:pt x="90" y="206"/>
                  </a:lnTo>
                  <a:lnTo>
                    <a:pt x="90" y="205"/>
                  </a:lnTo>
                  <a:lnTo>
                    <a:pt x="91" y="205"/>
                  </a:lnTo>
                  <a:lnTo>
                    <a:pt x="90" y="205"/>
                  </a:lnTo>
                  <a:lnTo>
                    <a:pt x="91" y="205"/>
                  </a:lnTo>
                  <a:close/>
                  <a:moveTo>
                    <a:pt x="119" y="205"/>
                  </a:moveTo>
                  <a:lnTo>
                    <a:pt x="119" y="203"/>
                  </a:lnTo>
                  <a:lnTo>
                    <a:pt x="119" y="205"/>
                  </a:lnTo>
                  <a:close/>
                  <a:moveTo>
                    <a:pt x="91" y="203"/>
                  </a:moveTo>
                  <a:lnTo>
                    <a:pt x="90" y="203"/>
                  </a:lnTo>
                  <a:lnTo>
                    <a:pt x="91" y="203"/>
                  </a:lnTo>
                  <a:lnTo>
                    <a:pt x="91" y="205"/>
                  </a:lnTo>
                  <a:lnTo>
                    <a:pt x="90" y="205"/>
                  </a:lnTo>
                  <a:lnTo>
                    <a:pt x="90" y="203"/>
                  </a:lnTo>
                  <a:lnTo>
                    <a:pt x="90" y="202"/>
                  </a:lnTo>
                  <a:lnTo>
                    <a:pt x="91" y="202"/>
                  </a:lnTo>
                  <a:lnTo>
                    <a:pt x="91" y="203"/>
                  </a:lnTo>
                  <a:close/>
                  <a:moveTo>
                    <a:pt x="90" y="205"/>
                  </a:moveTo>
                  <a:lnTo>
                    <a:pt x="90" y="206"/>
                  </a:lnTo>
                  <a:lnTo>
                    <a:pt x="89" y="206"/>
                  </a:lnTo>
                  <a:lnTo>
                    <a:pt x="89" y="205"/>
                  </a:lnTo>
                  <a:lnTo>
                    <a:pt x="89" y="203"/>
                  </a:lnTo>
                  <a:lnTo>
                    <a:pt x="89" y="202"/>
                  </a:lnTo>
                  <a:lnTo>
                    <a:pt x="90" y="202"/>
                  </a:lnTo>
                  <a:lnTo>
                    <a:pt x="90" y="203"/>
                  </a:lnTo>
                  <a:lnTo>
                    <a:pt x="90" y="205"/>
                  </a:lnTo>
                  <a:close/>
                  <a:moveTo>
                    <a:pt x="121" y="178"/>
                  </a:moveTo>
                  <a:lnTo>
                    <a:pt x="122" y="178"/>
                  </a:lnTo>
                  <a:lnTo>
                    <a:pt x="121" y="178"/>
                  </a:lnTo>
                  <a:lnTo>
                    <a:pt x="120" y="178"/>
                  </a:lnTo>
                  <a:lnTo>
                    <a:pt x="120" y="177"/>
                  </a:lnTo>
                  <a:lnTo>
                    <a:pt x="121" y="178"/>
                  </a:lnTo>
                  <a:lnTo>
                    <a:pt x="121" y="177"/>
                  </a:lnTo>
                  <a:lnTo>
                    <a:pt x="121" y="178"/>
                  </a:lnTo>
                  <a:close/>
                  <a:moveTo>
                    <a:pt x="122" y="172"/>
                  </a:moveTo>
                  <a:lnTo>
                    <a:pt x="121" y="172"/>
                  </a:lnTo>
                  <a:lnTo>
                    <a:pt x="121" y="171"/>
                  </a:lnTo>
                  <a:lnTo>
                    <a:pt x="122" y="171"/>
                  </a:lnTo>
                  <a:lnTo>
                    <a:pt x="122" y="172"/>
                  </a:lnTo>
                  <a:close/>
                  <a:moveTo>
                    <a:pt x="70" y="40"/>
                  </a:moveTo>
                  <a:lnTo>
                    <a:pt x="71" y="41"/>
                  </a:lnTo>
                  <a:lnTo>
                    <a:pt x="71" y="40"/>
                  </a:lnTo>
                  <a:lnTo>
                    <a:pt x="71" y="41"/>
                  </a:lnTo>
                  <a:lnTo>
                    <a:pt x="72" y="41"/>
                  </a:lnTo>
                  <a:lnTo>
                    <a:pt x="71" y="41"/>
                  </a:lnTo>
                  <a:lnTo>
                    <a:pt x="72" y="41"/>
                  </a:lnTo>
                  <a:lnTo>
                    <a:pt x="71" y="41"/>
                  </a:lnTo>
                  <a:lnTo>
                    <a:pt x="71" y="42"/>
                  </a:lnTo>
                  <a:lnTo>
                    <a:pt x="72" y="42"/>
                  </a:lnTo>
                  <a:lnTo>
                    <a:pt x="71" y="42"/>
                  </a:lnTo>
                  <a:lnTo>
                    <a:pt x="70" y="41"/>
                  </a:lnTo>
                  <a:lnTo>
                    <a:pt x="69" y="41"/>
                  </a:lnTo>
                  <a:lnTo>
                    <a:pt x="70" y="41"/>
                  </a:lnTo>
                  <a:lnTo>
                    <a:pt x="70" y="40"/>
                  </a:lnTo>
                  <a:close/>
                  <a:moveTo>
                    <a:pt x="75" y="40"/>
                  </a:moveTo>
                  <a:lnTo>
                    <a:pt x="76" y="40"/>
                  </a:lnTo>
                  <a:lnTo>
                    <a:pt x="75" y="40"/>
                  </a:lnTo>
                  <a:close/>
                  <a:moveTo>
                    <a:pt x="69" y="40"/>
                  </a:moveTo>
                  <a:lnTo>
                    <a:pt x="69" y="41"/>
                  </a:lnTo>
                  <a:lnTo>
                    <a:pt x="68" y="40"/>
                  </a:lnTo>
                  <a:lnTo>
                    <a:pt x="68" y="41"/>
                  </a:lnTo>
                  <a:lnTo>
                    <a:pt x="68" y="40"/>
                  </a:lnTo>
                  <a:lnTo>
                    <a:pt x="68" y="39"/>
                  </a:lnTo>
                  <a:lnTo>
                    <a:pt x="68" y="40"/>
                  </a:lnTo>
                  <a:lnTo>
                    <a:pt x="69" y="40"/>
                  </a:lnTo>
                  <a:close/>
                  <a:moveTo>
                    <a:pt x="77" y="41"/>
                  </a:moveTo>
                  <a:lnTo>
                    <a:pt x="77" y="40"/>
                  </a:lnTo>
                  <a:lnTo>
                    <a:pt x="78" y="40"/>
                  </a:lnTo>
                  <a:lnTo>
                    <a:pt x="78" y="39"/>
                  </a:lnTo>
                  <a:lnTo>
                    <a:pt x="78" y="40"/>
                  </a:lnTo>
                  <a:lnTo>
                    <a:pt x="77" y="40"/>
                  </a:lnTo>
                  <a:lnTo>
                    <a:pt x="77" y="41"/>
                  </a:lnTo>
                  <a:close/>
                  <a:moveTo>
                    <a:pt x="81" y="39"/>
                  </a:moveTo>
                  <a:lnTo>
                    <a:pt x="82" y="39"/>
                  </a:lnTo>
                  <a:lnTo>
                    <a:pt x="81" y="39"/>
                  </a:lnTo>
                  <a:lnTo>
                    <a:pt x="81" y="38"/>
                  </a:lnTo>
                  <a:lnTo>
                    <a:pt x="81" y="39"/>
                  </a:lnTo>
                  <a:close/>
                  <a:moveTo>
                    <a:pt x="82" y="39"/>
                  </a:moveTo>
                  <a:lnTo>
                    <a:pt x="82" y="38"/>
                  </a:lnTo>
                  <a:lnTo>
                    <a:pt x="82" y="39"/>
                  </a:lnTo>
                  <a:close/>
                  <a:moveTo>
                    <a:pt x="77" y="38"/>
                  </a:moveTo>
                  <a:lnTo>
                    <a:pt x="78" y="38"/>
                  </a:lnTo>
                  <a:lnTo>
                    <a:pt x="78" y="39"/>
                  </a:lnTo>
                  <a:lnTo>
                    <a:pt x="77" y="39"/>
                  </a:lnTo>
                  <a:lnTo>
                    <a:pt x="77" y="40"/>
                  </a:lnTo>
                  <a:lnTo>
                    <a:pt x="76" y="40"/>
                  </a:lnTo>
                  <a:lnTo>
                    <a:pt x="77" y="39"/>
                  </a:lnTo>
                  <a:lnTo>
                    <a:pt x="77" y="38"/>
                  </a:lnTo>
                  <a:close/>
                  <a:moveTo>
                    <a:pt x="78" y="38"/>
                  </a:moveTo>
                  <a:lnTo>
                    <a:pt x="78" y="39"/>
                  </a:lnTo>
                  <a:lnTo>
                    <a:pt x="78" y="38"/>
                  </a:lnTo>
                  <a:lnTo>
                    <a:pt x="78" y="37"/>
                  </a:lnTo>
                  <a:lnTo>
                    <a:pt x="78" y="38"/>
                  </a:lnTo>
                  <a:close/>
                  <a:moveTo>
                    <a:pt x="77" y="35"/>
                  </a:moveTo>
                  <a:lnTo>
                    <a:pt x="78" y="34"/>
                  </a:lnTo>
                  <a:lnTo>
                    <a:pt x="78" y="35"/>
                  </a:lnTo>
                  <a:lnTo>
                    <a:pt x="77" y="35"/>
                  </a:lnTo>
                  <a:lnTo>
                    <a:pt x="77" y="37"/>
                  </a:lnTo>
                  <a:lnTo>
                    <a:pt x="76" y="37"/>
                  </a:lnTo>
                  <a:lnTo>
                    <a:pt x="76" y="38"/>
                  </a:lnTo>
                  <a:lnTo>
                    <a:pt x="75" y="38"/>
                  </a:lnTo>
                  <a:lnTo>
                    <a:pt x="75" y="37"/>
                  </a:lnTo>
                  <a:lnTo>
                    <a:pt x="76" y="37"/>
                  </a:lnTo>
                  <a:lnTo>
                    <a:pt x="76" y="35"/>
                  </a:lnTo>
                  <a:lnTo>
                    <a:pt x="76" y="34"/>
                  </a:lnTo>
                  <a:lnTo>
                    <a:pt x="77" y="34"/>
                  </a:lnTo>
                  <a:lnTo>
                    <a:pt x="77" y="35"/>
                  </a:lnTo>
                  <a:close/>
                  <a:moveTo>
                    <a:pt x="81" y="33"/>
                  </a:moveTo>
                  <a:lnTo>
                    <a:pt x="79" y="33"/>
                  </a:lnTo>
                  <a:lnTo>
                    <a:pt x="81" y="33"/>
                  </a:lnTo>
                  <a:close/>
                  <a:moveTo>
                    <a:pt x="83" y="32"/>
                  </a:moveTo>
                  <a:lnTo>
                    <a:pt x="82" y="32"/>
                  </a:lnTo>
                  <a:lnTo>
                    <a:pt x="81" y="33"/>
                  </a:lnTo>
                  <a:lnTo>
                    <a:pt x="81" y="32"/>
                  </a:lnTo>
                  <a:lnTo>
                    <a:pt x="81" y="33"/>
                  </a:lnTo>
                  <a:lnTo>
                    <a:pt x="81" y="32"/>
                  </a:lnTo>
                  <a:lnTo>
                    <a:pt x="82" y="32"/>
                  </a:lnTo>
                  <a:lnTo>
                    <a:pt x="81" y="32"/>
                  </a:lnTo>
                  <a:lnTo>
                    <a:pt x="83" y="32"/>
                  </a:lnTo>
                  <a:close/>
                  <a:moveTo>
                    <a:pt x="42" y="3"/>
                  </a:moveTo>
                  <a:lnTo>
                    <a:pt x="43" y="3"/>
                  </a:lnTo>
                  <a:lnTo>
                    <a:pt x="43" y="4"/>
                  </a:lnTo>
                  <a:lnTo>
                    <a:pt x="45" y="4"/>
                  </a:lnTo>
                  <a:lnTo>
                    <a:pt x="45" y="5"/>
                  </a:lnTo>
                  <a:lnTo>
                    <a:pt x="46" y="6"/>
                  </a:lnTo>
                  <a:lnTo>
                    <a:pt x="47" y="6"/>
                  </a:lnTo>
                  <a:lnTo>
                    <a:pt x="48" y="6"/>
                  </a:lnTo>
                  <a:lnTo>
                    <a:pt x="48" y="7"/>
                  </a:lnTo>
                  <a:lnTo>
                    <a:pt x="49" y="7"/>
                  </a:lnTo>
                  <a:lnTo>
                    <a:pt x="49" y="9"/>
                  </a:lnTo>
                  <a:lnTo>
                    <a:pt x="49" y="7"/>
                  </a:lnTo>
                  <a:lnTo>
                    <a:pt x="50" y="7"/>
                  </a:lnTo>
                  <a:lnTo>
                    <a:pt x="51" y="7"/>
                  </a:lnTo>
                  <a:lnTo>
                    <a:pt x="53" y="7"/>
                  </a:lnTo>
                  <a:lnTo>
                    <a:pt x="54" y="7"/>
                  </a:lnTo>
                  <a:lnTo>
                    <a:pt x="55" y="7"/>
                  </a:lnTo>
                  <a:lnTo>
                    <a:pt x="55" y="9"/>
                  </a:lnTo>
                  <a:lnTo>
                    <a:pt x="56" y="9"/>
                  </a:lnTo>
                  <a:lnTo>
                    <a:pt x="57" y="9"/>
                  </a:lnTo>
                  <a:lnTo>
                    <a:pt x="58" y="9"/>
                  </a:lnTo>
                  <a:lnTo>
                    <a:pt x="58" y="7"/>
                  </a:lnTo>
                  <a:lnTo>
                    <a:pt x="60" y="9"/>
                  </a:lnTo>
                  <a:lnTo>
                    <a:pt x="61" y="9"/>
                  </a:lnTo>
                  <a:lnTo>
                    <a:pt x="62" y="10"/>
                  </a:lnTo>
                  <a:lnTo>
                    <a:pt x="63" y="10"/>
                  </a:lnTo>
                  <a:lnTo>
                    <a:pt x="62" y="11"/>
                  </a:lnTo>
                  <a:lnTo>
                    <a:pt x="62" y="12"/>
                  </a:lnTo>
                  <a:lnTo>
                    <a:pt x="62" y="13"/>
                  </a:lnTo>
                  <a:lnTo>
                    <a:pt x="61" y="13"/>
                  </a:lnTo>
                  <a:lnTo>
                    <a:pt x="60" y="13"/>
                  </a:lnTo>
                  <a:lnTo>
                    <a:pt x="60" y="14"/>
                  </a:lnTo>
                  <a:lnTo>
                    <a:pt x="60" y="16"/>
                  </a:lnTo>
                  <a:lnTo>
                    <a:pt x="61" y="17"/>
                  </a:lnTo>
                  <a:lnTo>
                    <a:pt x="62" y="17"/>
                  </a:lnTo>
                  <a:lnTo>
                    <a:pt x="62" y="18"/>
                  </a:lnTo>
                  <a:lnTo>
                    <a:pt x="62" y="19"/>
                  </a:lnTo>
                  <a:lnTo>
                    <a:pt x="62" y="20"/>
                  </a:lnTo>
                  <a:lnTo>
                    <a:pt x="63" y="20"/>
                  </a:lnTo>
                  <a:lnTo>
                    <a:pt x="63" y="21"/>
                  </a:lnTo>
                  <a:lnTo>
                    <a:pt x="63" y="23"/>
                  </a:lnTo>
                  <a:lnTo>
                    <a:pt x="64" y="23"/>
                  </a:lnTo>
                  <a:lnTo>
                    <a:pt x="65" y="23"/>
                  </a:lnTo>
                  <a:lnTo>
                    <a:pt x="67" y="23"/>
                  </a:lnTo>
                  <a:lnTo>
                    <a:pt x="67" y="24"/>
                  </a:lnTo>
                  <a:lnTo>
                    <a:pt x="68" y="24"/>
                  </a:lnTo>
                  <a:lnTo>
                    <a:pt x="68" y="25"/>
                  </a:lnTo>
                  <a:lnTo>
                    <a:pt x="69" y="26"/>
                  </a:lnTo>
                  <a:lnTo>
                    <a:pt x="71" y="27"/>
                  </a:lnTo>
                  <a:lnTo>
                    <a:pt x="72" y="27"/>
                  </a:lnTo>
                  <a:lnTo>
                    <a:pt x="74" y="28"/>
                  </a:lnTo>
                  <a:lnTo>
                    <a:pt x="75" y="28"/>
                  </a:lnTo>
                  <a:lnTo>
                    <a:pt x="76" y="30"/>
                  </a:lnTo>
                  <a:lnTo>
                    <a:pt x="76" y="28"/>
                  </a:lnTo>
                  <a:lnTo>
                    <a:pt x="77" y="28"/>
                  </a:lnTo>
                  <a:lnTo>
                    <a:pt x="78" y="28"/>
                  </a:lnTo>
                  <a:lnTo>
                    <a:pt x="79" y="27"/>
                  </a:lnTo>
                  <a:lnTo>
                    <a:pt x="79" y="28"/>
                  </a:lnTo>
                  <a:lnTo>
                    <a:pt x="81" y="28"/>
                  </a:lnTo>
                  <a:lnTo>
                    <a:pt x="81" y="30"/>
                  </a:lnTo>
                  <a:lnTo>
                    <a:pt x="82" y="30"/>
                  </a:lnTo>
                  <a:lnTo>
                    <a:pt x="83" y="31"/>
                  </a:lnTo>
                  <a:lnTo>
                    <a:pt x="82" y="31"/>
                  </a:lnTo>
                  <a:lnTo>
                    <a:pt x="82" y="30"/>
                  </a:lnTo>
                  <a:lnTo>
                    <a:pt x="81" y="30"/>
                  </a:lnTo>
                  <a:lnTo>
                    <a:pt x="81" y="31"/>
                  </a:lnTo>
                  <a:lnTo>
                    <a:pt x="81" y="30"/>
                  </a:lnTo>
                  <a:lnTo>
                    <a:pt x="81" y="31"/>
                  </a:lnTo>
                  <a:lnTo>
                    <a:pt x="79" y="31"/>
                  </a:lnTo>
                  <a:lnTo>
                    <a:pt x="79" y="30"/>
                  </a:lnTo>
                  <a:lnTo>
                    <a:pt x="79" y="31"/>
                  </a:lnTo>
                  <a:lnTo>
                    <a:pt x="79" y="32"/>
                  </a:lnTo>
                  <a:lnTo>
                    <a:pt x="78" y="32"/>
                  </a:lnTo>
                  <a:lnTo>
                    <a:pt x="78" y="33"/>
                  </a:lnTo>
                  <a:lnTo>
                    <a:pt x="77" y="33"/>
                  </a:lnTo>
                  <a:lnTo>
                    <a:pt x="76" y="33"/>
                  </a:lnTo>
                  <a:lnTo>
                    <a:pt x="75" y="33"/>
                  </a:lnTo>
                  <a:lnTo>
                    <a:pt x="76" y="33"/>
                  </a:lnTo>
                  <a:lnTo>
                    <a:pt x="76" y="34"/>
                  </a:lnTo>
                  <a:lnTo>
                    <a:pt x="75" y="34"/>
                  </a:lnTo>
                  <a:lnTo>
                    <a:pt x="75" y="35"/>
                  </a:lnTo>
                  <a:lnTo>
                    <a:pt x="75" y="37"/>
                  </a:lnTo>
                  <a:lnTo>
                    <a:pt x="75" y="38"/>
                  </a:lnTo>
                  <a:lnTo>
                    <a:pt x="74" y="38"/>
                  </a:lnTo>
                  <a:lnTo>
                    <a:pt x="74" y="39"/>
                  </a:lnTo>
                  <a:lnTo>
                    <a:pt x="72" y="39"/>
                  </a:lnTo>
                  <a:lnTo>
                    <a:pt x="71" y="39"/>
                  </a:lnTo>
                  <a:lnTo>
                    <a:pt x="71" y="38"/>
                  </a:lnTo>
                  <a:lnTo>
                    <a:pt x="72" y="38"/>
                  </a:lnTo>
                  <a:lnTo>
                    <a:pt x="71" y="38"/>
                  </a:lnTo>
                  <a:lnTo>
                    <a:pt x="70" y="38"/>
                  </a:lnTo>
                  <a:lnTo>
                    <a:pt x="71" y="38"/>
                  </a:lnTo>
                  <a:lnTo>
                    <a:pt x="70" y="38"/>
                  </a:lnTo>
                  <a:lnTo>
                    <a:pt x="71" y="38"/>
                  </a:lnTo>
                  <a:lnTo>
                    <a:pt x="70" y="38"/>
                  </a:lnTo>
                  <a:lnTo>
                    <a:pt x="70" y="39"/>
                  </a:lnTo>
                  <a:lnTo>
                    <a:pt x="71" y="39"/>
                  </a:lnTo>
                  <a:lnTo>
                    <a:pt x="70" y="39"/>
                  </a:lnTo>
                  <a:lnTo>
                    <a:pt x="69" y="39"/>
                  </a:lnTo>
                  <a:lnTo>
                    <a:pt x="69" y="38"/>
                  </a:lnTo>
                  <a:lnTo>
                    <a:pt x="69" y="39"/>
                  </a:lnTo>
                  <a:lnTo>
                    <a:pt x="68" y="39"/>
                  </a:lnTo>
                  <a:lnTo>
                    <a:pt x="69" y="39"/>
                  </a:lnTo>
                  <a:lnTo>
                    <a:pt x="70" y="40"/>
                  </a:lnTo>
                  <a:lnTo>
                    <a:pt x="69" y="40"/>
                  </a:lnTo>
                  <a:lnTo>
                    <a:pt x="69" y="39"/>
                  </a:lnTo>
                  <a:lnTo>
                    <a:pt x="69" y="40"/>
                  </a:lnTo>
                  <a:lnTo>
                    <a:pt x="68" y="39"/>
                  </a:lnTo>
                  <a:lnTo>
                    <a:pt x="68" y="38"/>
                  </a:lnTo>
                  <a:lnTo>
                    <a:pt x="67" y="38"/>
                  </a:lnTo>
                  <a:lnTo>
                    <a:pt x="68" y="38"/>
                  </a:lnTo>
                  <a:lnTo>
                    <a:pt x="67" y="38"/>
                  </a:lnTo>
                  <a:lnTo>
                    <a:pt x="65" y="38"/>
                  </a:lnTo>
                  <a:lnTo>
                    <a:pt x="65" y="39"/>
                  </a:lnTo>
                  <a:lnTo>
                    <a:pt x="67" y="39"/>
                  </a:lnTo>
                  <a:lnTo>
                    <a:pt x="67" y="40"/>
                  </a:lnTo>
                  <a:lnTo>
                    <a:pt x="68" y="40"/>
                  </a:lnTo>
                  <a:lnTo>
                    <a:pt x="67" y="40"/>
                  </a:lnTo>
                  <a:lnTo>
                    <a:pt x="68" y="41"/>
                  </a:lnTo>
                  <a:lnTo>
                    <a:pt x="67" y="41"/>
                  </a:lnTo>
                  <a:lnTo>
                    <a:pt x="68" y="42"/>
                  </a:lnTo>
                  <a:lnTo>
                    <a:pt x="69" y="44"/>
                  </a:lnTo>
                  <a:lnTo>
                    <a:pt x="68" y="44"/>
                  </a:lnTo>
                  <a:lnTo>
                    <a:pt x="68" y="42"/>
                  </a:lnTo>
                  <a:lnTo>
                    <a:pt x="68" y="44"/>
                  </a:lnTo>
                  <a:lnTo>
                    <a:pt x="67" y="44"/>
                  </a:lnTo>
                  <a:lnTo>
                    <a:pt x="65" y="44"/>
                  </a:lnTo>
                  <a:lnTo>
                    <a:pt x="65" y="45"/>
                  </a:lnTo>
                  <a:lnTo>
                    <a:pt x="67" y="45"/>
                  </a:lnTo>
                  <a:lnTo>
                    <a:pt x="65" y="45"/>
                  </a:lnTo>
                  <a:lnTo>
                    <a:pt x="65" y="46"/>
                  </a:lnTo>
                  <a:lnTo>
                    <a:pt x="65" y="47"/>
                  </a:lnTo>
                  <a:lnTo>
                    <a:pt x="67" y="47"/>
                  </a:lnTo>
                  <a:lnTo>
                    <a:pt x="67" y="48"/>
                  </a:lnTo>
                  <a:lnTo>
                    <a:pt x="65" y="48"/>
                  </a:lnTo>
                  <a:lnTo>
                    <a:pt x="67" y="48"/>
                  </a:lnTo>
                  <a:lnTo>
                    <a:pt x="67" y="49"/>
                  </a:lnTo>
                  <a:lnTo>
                    <a:pt x="65" y="49"/>
                  </a:lnTo>
                  <a:lnTo>
                    <a:pt x="67" y="49"/>
                  </a:lnTo>
                  <a:lnTo>
                    <a:pt x="67" y="51"/>
                  </a:lnTo>
                  <a:lnTo>
                    <a:pt x="65" y="51"/>
                  </a:lnTo>
                  <a:lnTo>
                    <a:pt x="64" y="51"/>
                  </a:lnTo>
                  <a:lnTo>
                    <a:pt x="63" y="51"/>
                  </a:lnTo>
                  <a:lnTo>
                    <a:pt x="63" y="52"/>
                  </a:lnTo>
                  <a:lnTo>
                    <a:pt x="63" y="53"/>
                  </a:lnTo>
                  <a:lnTo>
                    <a:pt x="62" y="53"/>
                  </a:lnTo>
                  <a:lnTo>
                    <a:pt x="62" y="54"/>
                  </a:lnTo>
                  <a:lnTo>
                    <a:pt x="62" y="53"/>
                  </a:lnTo>
                  <a:lnTo>
                    <a:pt x="62" y="54"/>
                  </a:lnTo>
                  <a:lnTo>
                    <a:pt x="61" y="54"/>
                  </a:lnTo>
                  <a:lnTo>
                    <a:pt x="60" y="54"/>
                  </a:lnTo>
                  <a:lnTo>
                    <a:pt x="58" y="55"/>
                  </a:lnTo>
                  <a:lnTo>
                    <a:pt x="58" y="56"/>
                  </a:lnTo>
                  <a:lnTo>
                    <a:pt x="58" y="58"/>
                  </a:lnTo>
                  <a:lnTo>
                    <a:pt x="58" y="59"/>
                  </a:lnTo>
                  <a:lnTo>
                    <a:pt x="57" y="60"/>
                  </a:lnTo>
                  <a:lnTo>
                    <a:pt x="57" y="61"/>
                  </a:lnTo>
                  <a:lnTo>
                    <a:pt x="57" y="60"/>
                  </a:lnTo>
                  <a:lnTo>
                    <a:pt x="57" y="61"/>
                  </a:lnTo>
                  <a:lnTo>
                    <a:pt x="57" y="60"/>
                  </a:lnTo>
                  <a:lnTo>
                    <a:pt x="57" y="61"/>
                  </a:lnTo>
                  <a:lnTo>
                    <a:pt x="58" y="61"/>
                  </a:lnTo>
                  <a:lnTo>
                    <a:pt x="58" y="62"/>
                  </a:lnTo>
                  <a:lnTo>
                    <a:pt x="58" y="63"/>
                  </a:lnTo>
                  <a:lnTo>
                    <a:pt x="57" y="63"/>
                  </a:lnTo>
                  <a:lnTo>
                    <a:pt x="58" y="65"/>
                  </a:lnTo>
                  <a:lnTo>
                    <a:pt x="58" y="66"/>
                  </a:lnTo>
                  <a:lnTo>
                    <a:pt x="57" y="66"/>
                  </a:lnTo>
                  <a:lnTo>
                    <a:pt x="57" y="67"/>
                  </a:lnTo>
                  <a:lnTo>
                    <a:pt x="57" y="68"/>
                  </a:lnTo>
                  <a:lnTo>
                    <a:pt x="56" y="69"/>
                  </a:lnTo>
                  <a:lnTo>
                    <a:pt x="56" y="70"/>
                  </a:lnTo>
                  <a:lnTo>
                    <a:pt x="57" y="72"/>
                  </a:lnTo>
                  <a:lnTo>
                    <a:pt x="58" y="72"/>
                  </a:lnTo>
                  <a:lnTo>
                    <a:pt x="58" y="73"/>
                  </a:lnTo>
                  <a:lnTo>
                    <a:pt x="57" y="73"/>
                  </a:lnTo>
                  <a:lnTo>
                    <a:pt x="58" y="73"/>
                  </a:lnTo>
                  <a:lnTo>
                    <a:pt x="58" y="74"/>
                  </a:lnTo>
                  <a:lnTo>
                    <a:pt x="60" y="74"/>
                  </a:lnTo>
                  <a:lnTo>
                    <a:pt x="60" y="75"/>
                  </a:lnTo>
                  <a:lnTo>
                    <a:pt x="60" y="74"/>
                  </a:lnTo>
                  <a:lnTo>
                    <a:pt x="60" y="75"/>
                  </a:lnTo>
                  <a:lnTo>
                    <a:pt x="61" y="76"/>
                  </a:lnTo>
                  <a:lnTo>
                    <a:pt x="61" y="77"/>
                  </a:lnTo>
                  <a:lnTo>
                    <a:pt x="62" y="79"/>
                  </a:lnTo>
                  <a:lnTo>
                    <a:pt x="63" y="79"/>
                  </a:lnTo>
                  <a:lnTo>
                    <a:pt x="63" y="80"/>
                  </a:lnTo>
                  <a:lnTo>
                    <a:pt x="64" y="81"/>
                  </a:lnTo>
                  <a:lnTo>
                    <a:pt x="65" y="81"/>
                  </a:lnTo>
                  <a:lnTo>
                    <a:pt x="65" y="82"/>
                  </a:lnTo>
                  <a:lnTo>
                    <a:pt x="67" y="82"/>
                  </a:lnTo>
                  <a:lnTo>
                    <a:pt x="68" y="82"/>
                  </a:lnTo>
                  <a:lnTo>
                    <a:pt x="68" y="83"/>
                  </a:lnTo>
                  <a:lnTo>
                    <a:pt x="69" y="83"/>
                  </a:lnTo>
                  <a:lnTo>
                    <a:pt x="69" y="84"/>
                  </a:lnTo>
                  <a:lnTo>
                    <a:pt x="69" y="83"/>
                  </a:lnTo>
                  <a:lnTo>
                    <a:pt x="69" y="84"/>
                  </a:lnTo>
                  <a:lnTo>
                    <a:pt x="68" y="84"/>
                  </a:lnTo>
                  <a:lnTo>
                    <a:pt x="69" y="84"/>
                  </a:lnTo>
                  <a:lnTo>
                    <a:pt x="70" y="83"/>
                  </a:lnTo>
                  <a:lnTo>
                    <a:pt x="70" y="84"/>
                  </a:lnTo>
                  <a:lnTo>
                    <a:pt x="71" y="87"/>
                  </a:lnTo>
                  <a:lnTo>
                    <a:pt x="71" y="88"/>
                  </a:lnTo>
                  <a:lnTo>
                    <a:pt x="70" y="88"/>
                  </a:lnTo>
                  <a:lnTo>
                    <a:pt x="71" y="88"/>
                  </a:lnTo>
                  <a:lnTo>
                    <a:pt x="70" y="88"/>
                  </a:lnTo>
                  <a:lnTo>
                    <a:pt x="71" y="88"/>
                  </a:lnTo>
                  <a:lnTo>
                    <a:pt x="71" y="89"/>
                  </a:lnTo>
                  <a:lnTo>
                    <a:pt x="71" y="90"/>
                  </a:lnTo>
                  <a:lnTo>
                    <a:pt x="70" y="90"/>
                  </a:lnTo>
                  <a:lnTo>
                    <a:pt x="70" y="89"/>
                  </a:lnTo>
                  <a:lnTo>
                    <a:pt x="69" y="89"/>
                  </a:lnTo>
                  <a:lnTo>
                    <a:pt x="70" y="90"/>
                  </a:lnTo>
                  <a:lnTo>
                    <a:pt x="71" y="90"/>
                  </a:lnTo>
                  <a:lnTo>
                    <a:pt x="70" y="90"/>
                  </a:lnTo>
                  <a:lnTo>
                    <a:pt x="71" y="90"/>
                  </a:lnTo>
                  <a:lnTo>
                    <a:pt x="72" y="90"/>
                  </a:lnTo>
                  <a:lnTo>
                    <a:pt x="72" y="91"/>
                  </a:lnTo>
                  <a:lnTo>
                    <a:pt x="72" y="93"/>
                  </a:lnTo>
                  <a:lnTo>
                    <a:pt x="74" y="94"/>
                  </a:lnTo>
                  <a:lnTo>
                    <a:pt x="75" y="94"/>
                  </a:lnTo>
                  <a:lnTo>
                    <a:pt x="75" y="95"/>
                  </a:lnTo>
                  <a:lnTo>
                    <a:pt x="76" y="96"/>
                  </a:lnTo>
                  <a:lnTo>
                    <a:pt x="79" y="98"/>
                  </a:lnTo>
                  <a:lnTo>
                    <a:pt x="81" y="98"/>
                  </a:lnTo>
                  <a:lnTo>
                    <a:pt x="82" y="101"/>
                  </a:lnTo>
                  <a:lnTo>
                    <a:pt x="82" y="102"/>
                  </a:lnTo>
                  <a:lnTo>
                    <a:pt x="83" y="103"/>
                  </a:lnTo>
                  <a:lnTo>
                    <a:pt x="84" y="103"/>
                  </a:lnTo>
                  <a:lnTo>
                    <a:pt x="86" y="105"/>
                  </a:lnTo>
                  <a:lnTo>
                    <a:pt x="88" y="107"/>
                  </a:lnTo>
                  <a:lnTo>
                    <a:pt x="90" y="108"/>
                  </a:lnTo>
                  <a:lnTo>
                    <a:pt x="88" y="107"/>
                  </a:lnTo>
                  <a:lnTo>
                    <a:pt x="89" y="108"/>
                  </a:lnTo>
                  <a:lnTo>
                    <a:pt x="90" y="108"/>
                  </a:lnTo>
                  <a:lnTo>
                    <a:pt x="90" y="109"/>
                  </a:lnTo>
                  <a:lnTo>
                    <a:pt x="91" y="109"/>
                  </a:lnTo>
                  <a:lnTo>
                    <a:pt x="91" y="110"/>
                  </a:lnTo>
                  <a:lnTo>
                    <a:pt x="91" y="109"/>
                  </a:lnTo>
                  <a:lnTo>
                    <a:pt x="91" y="110"/>
                  </a:lnTo>
                  <a:lnTo>
                    <a:pt x="92" y="110"/>
                  </a:lnTo>
                  <a:lnTo>
                    <a:pt x="92" y="111"/>
                  </a:lnTo>
                  <a:lnTo>
                    <a:pt x="93" y="111"/>
                  </a:lnTo>
                  <a:lnTo>
                    <a:pt x="92" y="111"/>
                  </a:lnTo>
                  <a:lnTo>
                    <a:pt x="93" y="112"/>
                  </a:lnTo>
                  <a:lnTo>
                    <a:pt x="95" y="112"/>
                  </a:lnTo>
                  <a:lnTo>
                    <a:pt x="95" y="111"/>
                  </a:lnTo>
                  <a:lnTo>
                    <a:pt x="96" y="112"/>
                  </a:lnTo>
                  <a:lnTo>
                    <a:pt x="97" y="112"/>
                  </a:lnTo>
                  <a:lnTo>
                    <a:pt x="97" y="114"/>
                  </a:lnTo>
                  <a:lnTo>
                    <a:pt x="98" y="114"/>
                  </a:lnTo>
                  <a:lnTo>
                    <a:pt x="98" y="115"/>
                  </a:lnTo>
                  <a:lnTo>
                    <a:pt x="98" y="116"/>
                  </a:lnTo>
                  <a:lnTo>
                    <a:pt x="99" y="116"/>
                  </a:lnTo>
                  <a:lnTo>
                    <a:pt x="99" y="117"/>
                  </a:lnTo>
                  <a:lnTo>
                    <a:pt x="100" y="117"/>
                  </a:lnTo>
                  <a:lnTo>
                    <a:pt x="99" y="116"/>
                  </a:lnTo>
                  <a:lnTo>
                    <a:pt x="99" y="115"/>
                  </a:lnTo>
                  <a:lnTo>
                    <a:pt x="100" y="115"/>
                  </a:lnTo>
                  <a:lnTo>
                    <a:pt x="100" y="116"/>
                  </a:lnTo>
                  <a:lnTo>
                    <a:pt x="99" y="116"/>
                  </a:lnTo>
                  <a:lnTo>
                    <a:pt x="100" y="117"/>
                  </a:lnTo>
                  <a:lnTo>
                    <a:pt x="100" y="118"/>
                  </a:lnTo>
                  <a:lnTo>
                    <a:pt x="102" y="118"/>
                  </a:lnTo>
                  <a:lnTo>
                    <a:pt x="102" y="119"/>
                  </a:lnTo>
                  <a:lnTo>
                    <a:pt x="103" y="119"/>
                  </a:lnTo>
                  <a:lnTo>
                    <a:pt x="103" y="121"/>
                  </a:lnTo>
                  <a:lnTo>
                    <a:pt x="103" y="122"/>
                  </a:lnTo>
                  <a:lnTo>
                    <a:pt x="106" y="125"/>
                  </a:lnTo>
                  <a:lnTo>
                    <a:pt x="106" y="126"/>
                  </a:lnTo>
                  <a:lnTo>
                    <a:pt x="107" y="125"/>
                  </a:lnTo>
                  <a:lnTo>
                    <a:pt x="107" y="126"/>
                  </a:lnTo>
                  <a:lnTo>
                    <a:pt x="109" y="126"/>
                  </a:lnTo>
                  <a:lnTo>
                    <a:pt x="109" y="128"/>
                  </a:lnTo>
                  <a:lnTo>
                    <a:pt x="109" y="126"/>
                  </a:lnTo>
                  <a:lnTo>
                    <a:pt x="110" y="128"/>
                  </a:lnTo>
                  <a:lnTo>
                    <a:pt x="110" y="129"/>
                  </a:lnTo>
                  <a:lnTo>
                    <a:pt x="111" y="129"/>
                  </a:lnTo>
                  <a:lnTo>
                    <a:pt x="111" y="130"/>
                  </a:lnTo>
                  <a:lnTo>
                    <a:pt x="111" y="131"/>
                  </a:lnTo>
                  <a:lnTo>
                    <a:pt x="110" y="131"/>
                  </a:lnTo>
                  <a:lnTo>
                    <a:pt x="111" y="131"/>
                  </a:lnTo>
                  <a:lnTo>
                    <a:pt x="111" y="132"/>
                  </a:lnTo>
                  <a:lnTo>
                    <a:pt x="111" y="133"/>
                  </a:lnTo>
                  <a:lnTo>
                    <a:pt x="112" y="136"/>
                  </a:lnTo>
                  <a:lnTo>
                    <a:pt x="113" y="136"/>
                  </a:lnTo>
                  <a:lnTo>
                    <a:pt x="113" y="137"/>
                  </a:lnTo>
                  <a:lnTo>
                    <a:pt x="114" y="138"/>
                  </a:lnTo>
                  <a:lnTo>
                    <a:pt x="114" y="139"/>
                  </a:lnTo>
                  <a:lnTo>
                    <a:pt x="114" y="140"/>
                  </a:lnTo>
                  <a:lnTo>
                    <a:pt x="114" y="142"/>
                  </a:lnTo>
                  <a:lnTo>
                    <a:pt x="115" y="142"/>
                  </a:lnTo>
                  <a:lnTo>
                    <a:pt x="115" y="143"/>
                  </a:lnTo>
                  <a:lnTo>
                    <a:pt x="115" y="144"/>
                  </a:lnTo>
                  <a:lnTo>
                    <a:pt x="117" y="144"/>
                  </a:lnTo>
                  <a:lnTo>
                    <a:pt x="117" y="145"/>
                  </a:lnTo>
                  <a:lnTo>
                    <a:pt x="117" y="146"/>
                  </a:lnTo>
                  <a:lnTo>
                    <a:pt x="117" y="147"/>
                  </a:lnTo>
                  <a:lnTo>
                    <a:pt x="117" y="146"/>
                  </a:lnTo>
                  <a:lnTo>
                    <a:pt x="117" y="147"/>
                  </a:lnTo>
                  <a:lnTo>
                    <a:pt x="118" y="149"/>
                  </a:lnTo>
                  <a:lnTo>
                    <a:pt x="118" y="150"/>
                  </a:lnTo>
                  <a:lnTo>
                    <a:pt x="118" y="151"/>
                  </a:lnTo>
                  <a:lnTo>
                    <a:pt x="119" y="151"/>
                  </a:lnTo>
                  <a:lnTo>
                    <a:pt x="119" y="152"/>
                  </a:lnTo>
                  <a:lnTo>
                    <a:pt x="119" y="153"/>
                  </a:lnTo>
                  <a:lnTo>
                    <a:pt x="118" y="153"/>
                  </a:lnTo>
                  <a:lnTo>
                    <a:pt x="118" y="152"/>
                  </a:lnTo>
                  <a:lnTo>
                    <a:pt x="118" y="151"/>
                  </a:lnTo>
                  <a:lnTo>
                    <a:pt x="118" y="152"/>
                  </a:lnTo>
                  <a:lnTo>
                    <a:pt x="118" y="153"/>
                  </a:lnTo>
                  <a:lnTo>
                    <a:pt x="118" y="154"/>
                  </a:lnTo>
                  <a:lnTo>
                    <a:pt x="118" y="156"/>
                  </a:lnTo>
                  <a:lnTo>
                    <a:pt x="119" y="156"/>
                  </a:lnTo>
                  <a:lnTo>
                    <a:pt x="119" y="157"/>
                  </a:lnTo>
                  <a:lnTo>
                    <a:pt x="119" y="156"/>
                  </a:lnTo>
                  <a:lnTo>
                    <a:pt x="118" y="156"/>
                  </a:lnTo>
                  <a:lnTo>
                    <a:pt x="118" y="154"/>
                  </a:lnTo>
                  <a:lnTo>
                    <a:pt x="118" y="156"/>
                  </a:lnTo>
                  <a:lnTo>
                    <a:pt x="119" y="156"/>
                  </a:lnTo>
                  <a:lnTo>
                    <a:pt x="119" y="157"/>
                  </a:lnTo>
                  <a:lnTo>
                    <a:pt x="119" y="158"/>
                  </a:lnTo>
                  <a:lnTo>
                    <a:pt x="120" y="158"/>
                  </a:lnTo>
                  <a:lnTo>
                    <a:pt x="119" y="158"/>
                  </a:lnTo>
                  <a:lnTo>
                    <a:pt x="119" y="157"/>
                  </a:lnTo>
                  <a:lnTo>
                    <a:pt x="118" y="157"/>
                  </a:lnTo>
                  <a:lnTo>
                    <a:pt x="118" y="158"/>
                  </a:lnTo>
                  <a:lnTo>
                    <a:pt x="119" y="158"/>
                  </a:lnTo>
                  <a:lnTo>
                    <a:pt x="118" y="158"/>
                  </a:lnTo>
                  <a:lnTo>
                    <a:pt x="118" y="159"/>
                  </a:lnTo>
                  <a:lnTo>
                    <a:pt x="119" y="159"/>
                  </a:lnTo>
                  <a:lnTo>
                    <a:pt x="119" y="160"/>
                  </a:lnTo>
                  <a:lnTo>
                    <a:pt x="119" y="161"/>
                  </a:lnTo>
                  <a:lnTo>
                    <a:pt x="119" y="160"/>
                  </a:lnTo>
                  <a:lnTo>
                    <a:pt x="120" y="160"/>
                  </a:lnTo>
                  <a:lnTo>
                    <a:pt x="119" y="160"/>
                  </a:lnTo>
                  <a:lnTo>
                    <a:pt x="120" y="160"/>
                  </a:lnTo>
                  <a:lnTo>
                    <a:pt x="120" y="161"/>
                  </a:lnTo>
                  <a:lnTo>
                    <a:pt x="120" y="163"/>
                  </a:lnTo>
                  <a:lnTo>
                    <a:pt x="120" y="164"/>
                  </a:lnTo>
                  <a:lnTo>
                    <a:pt x="121" y="165"/>
                  </a:lnTo>
                  <a:lnTo>
                    <a:pt x="122" y="166"/>
                  </a:lnTo>
                  <a:lnTo>
                    <a:pt x="122" y="167"/>
                  </a:lnTo>
                  <a:lnTo>
                    <a:pt x="121" y="167"/>
                  </a:lnTo>
                  <a:lnTo>
                    <a:pt x="121" y="168"/>
                  </a:lnTo>
                  <a:lnTo>
                    <a:pt x="122" y="170"/>
                  </a:lnTo>
                  <a:lnTo>
                    <a:pt x="122" y="171"/>
                  </a:lnTo>
                  <a:lnTo>
                    <a:pt x="122" y="172"/>
                  </a:lnTo>
                  <a:lnTo>
                    <a:pt x="122" y="171"/>
                  </a:lnTo>
                  <a:lnTo>
                    <a:pt x="122" y="170"/>
                  </a:lnTo>
                  <a:lnTo>
                    <a:pt x="121" y="170"/>
                  </a:lnTo>
                  <a:lnTo>
                    <a:pt x="121" y="171"/>
                  </a:lnTo>
                  <a:lnTo>
                    <a:pt x="121" y="170"/>
                  </a:lnTo>
                  <a:lnTo>
                    <a:pt x="121" y="168"/>
                  </a:lnTo>
                  <a:lnTo>
                    <a:pt x="120" y="168"/>
                  </a:lnTo>
                  <a:lnTo>
                    <a:pt x="120" y="170"/>
                  </a:lnTo>
                  <a:lnTo>
                    <a:pt x="119" y="171"/>
                  </a:lnTo>
                  <a:lnTo>
                    <a:pt x="119" y="172"/>
                  </a:lnTo>
                  <a:lnTo>
                    <a:pt x="120" y="172"/>
                  </a:lnTo>
                  <a:lnTo>
                    <a:pt x="120" y="173"/>
                  </a:lnTo>
                  <a:lnTo>
                    <a:pt x="121" y="173"/>
                  </a:lnTo>
                  <a:lnTo>
                    <a:pt x="121" y="174"/>
                  </a:lnTo>
                  <a:lnTo>
                    <a:pt x="121" y="175"/>
                  </a:lnTo>
                  <a:lnTo>
                    <a:pt x="120" y="175"/>
                  </a:lnTo>
                  <a:lnTo>
                    <a:pt x="120" y="174"/>
                  </a:lnTo>
                  <a:lnTo>
                    <a:pt x="119" y="173"/>
                  </a:lnTo>
                  <a:lnTo>
                    <a:pt x="119" y="174"/>
                  </a:lnTo>
                  <a:lnTo>
                    <a:pt x="120" y="174"/>
                  </a:lnTo>
                  <a:lnTo>
                    <a:pt x="120" y="175"/>
                  </a:lnTo>
                  <a:lnTo>
                    <a:pt x="120" y="177"/>
                  </a:lnTo>
                  <a:lnTo>
                    <a:pt x="119" y="177"/>
                  </a:lnTo>
                  <a:lnTo>
                    <a:pt x="120" y="177"/>
                  </a:lnTo>
                  <a:lnTo>
                    <a:pt x="120" y="178"/>
                  </a:lnTo>
                  <a:lnTo>
                    <a:pt x="120" y="179"/>
                  </a:lnTo>
                  <a:lnTo>
                    <a:pt x="120" y="180"/>
                  </a:lnTo>
                  <a:lnTo>
                    <a:pt x="121" y="181"/>
                  </a:lnTo>
                  <a:lnTo>
                    <a:pt x="121" y="182"/>
                  </a:lnTo>
                  <a:lnTo>
                    <a:pt x="120" y="182"/>
                  </a:lnTo>
                  <a:lnTo>
                    <a:pt x="120" y="181"/>
                  </a:lnTo>
                  <a:lnTo>
                    <a:pt x="120" y="180"/>
                  </a:lnTo>
                  <a:lnTo>
                    <a:pt x="120" y="179"/>
                  </a:lnTo>
                  <a:lnTo>
                    <a:pt x="119" y="179"/>
                  </a:lnTo>
                  <a:lnTo>
                    <a:pt x="120" y="179"/>
                  </a:lnTo>
                  <a:lnTo>
                    <a:pt x="120" y="180"/>
                  </a:lnTo>
                  <a:lnTo>
                    <a:pt x="120" y="181"/>
                  </a:lnTo>
                  <a:lnTo>
                    <a:pt x="120" y="182"/>
                  </a:lnTo>
                  <a:lnTo>
                    <a:pt x="119" y="182"/>
                  </a:lnTo>
                  <a:lnTo>
                    <a:pt x="119" y="184"/>
                  </a:lnTo>
                  <a:lnTo>
                    <a:pt x="120" y="184"/>
                  </a:lnTo>
                  <a:lnTo>
                    <a:pt x="120" y="182"/>
                  </a:lnTo>
                  <a:lnTo>
                    <a:pt x="120" y="184"/>
                  </a:lnTo>
                  <a:lnTo>
                    <a:pt x="121" y="185"/>
                  </a:lnTo>
                  <a:lnTo>
                    <a:pt x="121" y="186"/>
                  </a:lnTo>
                  <a:lnTo>
                    <a:pt x="120" y="186"/>
                  </a:lnTo>
                  <a:lnTo>
                    <a:pt x="120" y="187"/>
                  </a:lnTo>
                  <a:lnTo>
                    <a:pt x="119" y="187"/>
                  </a:lnTo>
                  <a:lnTo>
                    <a:pt x="119" y="186"/>
                  </a:lnTo>
                  <a:lnTo>
                    <a:pt x="118" y="187"/>
                  </a:lnTo>
                  <a:lnTo>
                    <a:pt x="119" y="187"/>
                  </a:lnTo>
                  <a:lnTo>
                    <a:pt x="119" y="188"/>
                  </a:lnTo>
                  <a:lnTo>
                    <a:pt x="118" y="188"/>
                  </a:lnTo>
                  <a:lnTo>
                    <a:pt x="119" y="188"/>
                  </a:lnTo>
                  <a:lnTo>
                    <a:pt x="119" y="189"/>
                  </a:lnTo>
                  <a:lnTo>
                    <a:pt x="119" y="191"/>
                  </a:lnTo>
                  <a:lnTo>
                    <a:pt x="118" y="192"/>
                  </a:lnTo>
                  <a:lnTo>
                    <a:pt x="117" y="192"/>
                  </a:lnTo>
                  <a:lnTo>
                    <a:pt x="115" y="192"/>
                  </a:lnTo>
                  <a:lnTo>
                    <a:pt x="115" y="193"/>
                  </a:lnTo>
                  <a:lnTo>
                    <a:pt x="115" y="194"/>
                  </a:lnTo>
                  <a:lnTo>
                    <a:pt x="114" y="194"/>
                  </a:lnTo>
                  <a:lnTo>
                    <a:pt x="114" y="193"/>
                  </a:lnTo>
                  <a:lnTo>
                    <a:pt x="114" y="194"/>
                  </a:lnTo>
                  <a:lnTo>
                    <a:pt x="113" y="194"/>
                  </a:lnTo>
                  <a:lnTo>
                    <a:pt x="112" y="194"/>
                  </a:lnTo>
                  <a:lnTo>
                    <a:pt x="112" y="195"/>
                  </a:lnTo>
                  <a:lnTo>
                    <a:pt x="111" y="195"/>
                  </a:lnTo>
                  <a:lnTo>
                    <a:pt x="111" y="196"/>
                  </a:lnTo>
                  <a:lnTo>
                    <a:pt x="110" y="196"/>
                  </a:lnTo>
                  <a:lnTo>
                    <a:pt x="110" y="198"/>
                  </a:lnTo>
                  <a:lnTo>
                    <a:pt x="109" y="198"/>
                  </a:lnTo>
                  <a:lnTo>
                    <a:pt x="107" y="198"/>
                  </a:lnTo>
                  <a:lnTo>
                    <a:pt x="106" y="198"/>
                  </a:lnTo>
                  <a:lnTo>
                    <a:pt x="106" y="199"/>
                  </a:lnTo>
                  <a:lnTo>
                    <a:pt x="106" y="200"/>
                  </a:lnTo>
                  <a:lnTo>
                    <a:pt x="105" y="201"/>
                  </a:lnTo>
                  <a:lnTo>
                    <a:pt x="104" y="201"/>
                  </a:lnTo>
                  <a:lnTo>
                    <a:pt x="103" y="201"/>
                  </a:lnTo>
                  <a:lnTo>
                    <a:pt x="103" y="202"/>
                  </a:lnTo>
                  <a:lnTo>
                    <a:pt x="102" y="202"/>
                  </a:lnTo>
                  <a:lnTo>
                    <a:pt x="100" y="203"/>
                  </a:lnTo>
                  <a:lnTo>
                    <a:pt x="99" y="203"/>
                  </a:lnTo>
                  <a:lnTo>
                    <a:pt x="99" y="205"/>
                  </a:lnTo>
                  <a:lnTo>
                    <a:pt x="98" y="205"/>
                  </a:lnTo>
                  <a:lnTo>
                    <a:pt x="97" y="205"/>
                  </a:lnTo>
                  <a:lnTo>
                    <a:pt x="97" y="206"/>
                  </a:lnTo>
                  <a:lnTo>
                    <a:pt x="96" y="206"/>
                  </a:lnTo>
                  <a:lnTo>
                    <a:pt x="96" y="207"/>
                  </a:lnTo>
                  <a:lnTo>
                    <a:pt x="95" y="206"/>
                  </a:lnTo>
                  <a:lnTo>
                    <a:pt x="95" y="205"/>
                  </a:lnTo>
                  <a:lnTo>
                    <a:pt x="93" y="205"/>
                  </a:lnTo>
                  <a:lnTo>
                    <a:pt x="92" y="205"/>
                  </a:lnTo>
                  <a:lnTo>
                    <a:pt x="92" y="203"/>
                  </a:lnTo>
                  <a:lnTo>
                    <a:pt x="92" y="202"/>
                  </a:lnTo>
                  <a:lnTo>
                    <a:pt x="91" y="201"/>
                  </a:lnTo>
                  <a:lnTo>
                    <a:pt x="91" y="202"/>
                  </a:lnTo>
                  <a:lnTo>
                    <a:pt x="92" y="202"/>
                  </a:lnTo>
                  <a:lnTo>
                    <a:pt x="92" y="203"/>
                  </a:lnTo>
                  <a:lnTo>
                    <a:pt x="92" y="202"/>
                  </a:lnTo>
                  <a:lnTo>
                    <a:pt x="91" y="202"/>
                  </a:lnTo>
                  <a:lnTo>
                    <a:pt x="91" y="203"/>
                  </a:lnTo>
                  <a:lnTo>
                    <a:pt x="92" y="203"/>
                  </a:lnTo>
                  <a:lnTo>
                    <a:pt x="92" y="205"/>
                  </a:lnTo>
                  <a:lnTo>
                    <a:pt x="91" y="205"/>
                  </a:lnTo>
                  <a:lnTo>
                    <a:pt x="91" y="203"/>
                  </a:lnTo>
                  <a:lnTo>
                    <a:pt x="90" y="202"/>
                  </a:lnTo>
                  <a:lnTo>
                    <a:pt x="89" y="202"/>
                  </a:lnTo>
                  <a:lnTo>
                    <a:pt x="89" y="201"/>
                  </a:lnTo>
                  <a:lnTo>
                    <a:pt x="89" y="202"/>
                  </a:lnTo>
                  <a:lnTo>
                    <a:pt x="88" y="202"/>
                  </a:lnTo>
                  <a:lnTo>
                    <a:pt x="89" y="202"/>
                  </a:lnTo>
                  <a:lnTo>
                    <a:pt x="89" y="203"/>
                  </a:lnTo>
                  <a:lnTo>
                    <a:pt x="89" y="205"/>
                  </a:lnTo>
                  <a:lnTo>
                    <a:pt x="88" y="205"/>
                  </a:lnTo>
                  <a:lnTo>
                    <a:pt x="86" y="205"/>
                  </a:lnTo>
                  <a:lnTo>
                    <a:pt x="86" y="206"/>
                  </a:lnTo>
                  <a:lnTo>
                    <a:pt x="86" y="205"/>
                  </a:lnTo>
                  <a:lnTo>
                    <a:pt x="86" y="206"/>
                  </a:lnTo>
                  <a:lnTo>
                    <a:pt x="88" y="205"/>
                  </a:lnTo>
                  <a:lnTo>
                    <a:pt x="88" y="206"/>
                  </a:lnTo>
                  <a:lnTo>
                    <a:pt x="88" y="205"/>
                  </a:lnTo>
                  <a:lnTo>
                    <a:pt x="89" y="205"/>
                  </a:lnTo>
                  <a:lnTo>
                    <a:pt x="89" y="206"/>
                  </a:lnTo>
                  <a:lnTo>
                    <a:pt x="90" y="208"/>
                  </a:lnTo>
                  <a:lnTo>
                    <a:pt x="89" y="208"/>
                  </a:lnTo>
                  <a:lnTo>
                    <a:pt x="88" y="208"/>
                  </a:lnTo>
                  <a:lnTo>
                    <a:pt x="86" y="208"/>
                  </a:lnTo>
                  <a:lnTo>
                    <a:pt x="85" y="208"/>
                  </a:lnTo>
                  <a:lnTo>
                    <a:pt x="84" y="207"/>
                  </a:lnTo>
                  <a:lnTo>
                    <a:pt x="85" y="208"/>
                  </a:lnTo>
                  <a:lnTo>
                    <a:pt x="89" y="209"/>
                  </a:lnTo>
                  <a:lnTo>
                    <a:pt x="90" y="209"/>
                  </a:lnTo>
                  <a:lnTo>
                    <a:pt x="90" y="210"/>
                  </a:lnTo>
                  <a:lnTo>
                    <a:pt x="89" y="212"/>
                  </a:lnTo>
                  <a:lnTo>
                    <a:pt x="88" y="212"/>
                  </a:lnTo>
                  <a:lnTo>
                    <a:pt x="89" y="213"/>
                  </a:lnTo>
                  <a:lnTo>
                    <a:pt x="88" y="213"/>
                  </a:lnTo>
                  <a:lnTo>
                    <a:pt x="86" y="213"/>
                  </a:lnTo>
                  <a:lnTo>
                    <a:pt x="86" y="212"/>
                  </a:lnTo>
                  <a:lnTo>
                    <a:pt x="85" y="212"/>
                  </a:lnTo>
                  <a:lnTo>
                    <a:pt x="85" y="210"/>
                  </a:lnTo>
                  <a:lnTo>
                    <a:pt x="83" y="209"/>
                  </a:lnTo>
                  <a:lnTo>
                    <a:pt x="83" y="208"/>
                  </a:lnTo>
                  <a:lnTo>
                    <a:pt x="83" y="209"/>
                  </a:lnTo>
                  <a:lnTo>
                    <a:pt x="84" y="210"/>
                  </a:lnTo>
                  <a:lnTo>
                    <a:pt x="85" y="212"/>
                  </a:lnTo>
                  <a:lnTo>
                    <a:pt x="86" y="213"/>
                  </a:lnTo>
                  <a:lnTo>
                    <a:pt x="88" y="214"/>
                  </a:lnTo>
                  <a:lnTo>
                    <a:pt x="89" y="214"/>
                  </a:lnTo>
                  <a:lnTo>
                    <a:pt x="89" y="215"/>
                  </a:lnTo>
                  <a:lnTo>
                    <a:pt x="89" y="214"/>
                  </a:lnTo>
                  <a:lnTo>
                    <a:pt x="88" y="214"/>
                  </a:lnTo>
                  <a:lnTo>
                    <a:pt x="88" y="215"/>
                  </a:lnTo>
                  <a:lnTo>
                    <a:pt x="86" y="215"/>
                  </a:lnTo>
                  <a:lnTo>
                    <a:pt x="85" y="214"/>
                  </a:lnTo>
                  <a:lnTo>
                    <a:pt x="84" y="213"/>
                  </a:lnTo>
                  <a:lnTo>
                    <a:pt x="81" y="209"/>
                  </a:lnTo>
                  <a:lnTo>
                    <a:pt x="81" y="208"/>
                  </a:lnTo>
                  <a:lnTo>
                    <a:pt x="79" y="208"/>
                  </a:lnTo>
                  <a:lnTo>
                    <a:pt x="81" y="209"/>
                  </a:lnTo>
                  <a:lnTo>
                    <a:pt x="81" y="210"/>
                  </a:lnTo>
                  <a:lnTo>
                    <a:pt x="82" y="210"/>
                  </a:lnTo>
                  <a:lnTo>
                    <a:pt x="82" y="212"/>
                  </a:lnTo>
                  <a:lnTo>
                    <a:pt x="83" y="212"/>
                  </a:lnTo>
                  <a:lnTo>
                    <a:pt x="83" y="213"/>
                  </a:lnTo>
                  <a:lnTo>
                    <a:pt x="84" y="213"/>
                  </a:lnTo>
                  <a:lnTo>
                    <a:pt x="84" y="214"/>
                  </a:lnTo>
                  <a:lnTo>
                    <a:pt x="85" y="215"/>
                  </a:lnTo>
                  <a:lnTo>
                    <a:pt x="86" y="215"/>
                  </a:lnTo>
                  <a:lnTo>
                    <a:pt x="86" y="216"/>
                  </a:lnTo>
                  <a:lnTo>
                    <a:pt x="88" y="216"/>
                  </a:lnTo>
                  <a:lnTo>
                    <a:pt x="88" y="217"/>
                  </a:lnTo>
                  <a:lnTo>
                    <a:pt x="86" y="219"/>
                  </a:lnTo>
                  <a:lnTo>
                    <a:pt x="86" y="220"/>
                  </a:lnTo>
                  <a:lnTo>
                    <a:pt x="85" y="220"/>
                  </a:lnTo>
                  <a:lnTo>
                    <a:pt x="84" y="220"/>
                  </a:lnTo>
                  <a:lnTo>
                    <a:pt x="84" y="219"/>
                  </a:lnTo>
                  <a:lnTo>
                    <a:pt x="83" y="219"/>
                  </a:lnTo>
                  <a:lnTo>
                    <a:pt x="79" y="215"/>
                  </a:lnTo>
                  <a:lnTo>
                    <a:pt x="78" y="214"/>
                  </a:lnTo>
                  <a:lnTo>
                    <a:pt x="78" y="213"/>
                  </a:lnTo>
                  <a:lnTo>
                    <a:pt x="77" y="213"/>
                  </a:lnTo>
                  <a:lnTo>
                    <a:pt x="76" y="213"/>
                  </a:lnTo>
                  <a:lnTo>
                    <a:pt x="77" y="214"/>
                  </a:lnTo>
                  <a:lnTo>
                    <a:pt x="81" y="216"/>
                  </a:lnTo>
                  <a:lnTo>
                    <a:pt x="81" y="217"/>
                  </a:lnTo>
                  <a:lnTo>
                    <a:pt x="82" y="220"/>
                  </a:lnTo>
                  <a:lnTo>
                    <a:pt x="82" y="221"/>
                  </a:lnTo>
                  <a:lnTo>
                    <a:pt x="82" y="222"/>
                  </a:lnTo>
                  <a:lnTo>
                    <a:pt x="79" y="223"/>
                  </a:lnTo>
                  <a:lnTo>
                    <a:pt x="78" y="224"/>
                  </a:lnTo>
                  <a:lnTo>
                    <a:pt x="76" y="224"/>
                  </a:lnTo>
                  <a:lnTo>
                    <a:pt x="74" y="226"/>
                  </a:lnTo>
                  <a:lnTo>
                    <a:pt x="72" y="227"/>
                  </a:lnTo>
                  <a:lnTo>
                    <a:pt x="72" y="228"/>
                  </a:lnTo>
                  <a:lnTo>
                    <a:pt x="71" y="228"/>
                  </a:lnTo>
                  <a:lnTo>
                    <a:pt x="71" y="229"/>
                  </a:lnTo>
                  <a:lnTo>
                    <a:pt x="71" y="230"/>
                  </a:lnTo>
                  <a:lnTo>
                    <a:pt x="70" y="231"/>
                  </a:lnTo>
                  <a:lnTo>
                    <a:pt x="69" y="233"/>
                  </a:lnTo>
                  <a:lnTo>
                    <a:pt x="68" y="234"/>
                  </a:lnTo>
                  <a:lnTo>
                    <a:pt x="67" y="234"/>
                  </a:lnTo>
                  <a:lnTo>
                    <a:pt x="64" y="235"/>
                  </a:lnTo>
                  <a:lnTo>
                    <a:pt x="63" y="235"/>
                  </a:lnTo>
                  <a:lnTo>
                    <a:pt x="62" y="235"/>
                  </a:lnTo>
                  <a:lnTo>
                    <a:pt x="62" y="234"/>
                  </a:lnTo>
                  <a:lnTo>
                    <a:pt x="63" y="234"/>
                  </a:lnTo>
                  <a:lnTo>
                    <a:pt x="63" y="235"/>
                  </a:lnTo>
                  <a:lnTo>
                    <a:pt x="63" y="234"/>
                  </a:lnTo>
                  <a:lnTo>
                    <a:pt x="64" y="234"/>
                  </a:lnTo>
                  <a:lnTo>
                    <a:pt x="64" y="233"/>
                  </a:lnTo>
                  <a:lnTo>
                    <a:pt x="65" y="234"/>
                  </a:lnTo>
                  <a:lnTo>
                    <a:pt x="65" y="233"/>
                  </a:lnTo>
                  <a:lnTo>
                    <a:pt x="64" y="233"/>
                  </a:lnTo>
                  <a:lnTo>
                    <a:pt x="65" y="233"/>
                  </a:lnTo>
                  <a:lnTo>
                    <a:pt x="65" y="231"/>
                  </a:lnTo>
                  <a:lnTo>
                    <a:pt x="64" y="231"/>
                  </a:lnTo>
                  <a:lnTo>
                    <a:pt x="63" y="231"/>
                  </a:lnTo>
                  <a:lnTo>
                    <a:pt x="63" y="230"/>
                  </a:lnTo>
                  <a:lnTo>
                    <a:pt x="63" y="229"/>
                  </a:lnTo>
                  <a:lnTo>
                    <a:pt x="63" y="228"/>
                  </a:lnTo>
                  <a:lnTo>
                    <a:pt x="63" y="226"/>
                  </a:lnTo>
                  <a:lnTo>
                    <a:pt x="63" y="223"/>
                  </a:lnTo>
                  <a:lnTo>
                    <a:pt x="63" y="222"/>
                  </a:lnTo>
                  <a:lnTo>
                    <a:pt x="63" y="220"/>
                  </a:lnTo>
                  <a:lnTo>
                    <a:pt x="63" y="216"/>
                  </a:lnTo>
                  <a:lnTo>
                    <a:pt x="63" y="215"/>
                  </a:lnTo>
                  <a:lnTo>
                    <a:pt x="64" y="215"/>
                  </a:lnTo>
                  <a:lnTo>
                    <a:pt x="64" y="214"/>
                  </a:lnTo>
                  <a:lnTo>
                    <a:pt x="65" y="214"/>
                  </a:lnTo>
                  <a:lnTo>
                    <a:pt x="65" y="213"/>
                  </a:lnTo>
                  <a:lnTo>
                    <a:pt x="67" y="214"/>
                  </a:lnTo>
                  <a:lnTo>
                    <a:pt x="67" y="215"/>
                  </a:lnTo>
                  <a:lnTo>
                    <a:pt x="67" y="214"/>
                  </a:lnTo>
                  <a:lnTo>
                    <a:pt x="67" y="213"/>
                  </a:lnTo>
                  <a:lnTo>
                    <a:pt x="65" y="213"/>
                  </a:lnTo>
                  <a:lnTo>
                    <a:pt x="65" y="212"/>
                  </a:lnTo>
                  <a:lnTo>
                    <a:pt x="64" y="210"/>
                  </a:lnTo>
                  <a:lnTo>
                    <a:pt x="63" y="210"/>
                  </a:lnTo>
                  <a:lnTo>
                    <a:pt x="62" y="210"/>
                  </a:lnTo>
                  <a:lnTo>
                    <a:pt x="62" y="209"/>
                  </a:lnTo>
                  <a:lnTo>
                    <a:pt x="61" y="209"/>
                  </a:lnTo>
                  <a:lnTo>
                    <a:pt x="60" y="209"/>
                  </a:lnTo>
                  <a:lnTo>
                    <a:pt x="60" y="210"/>
                  </a:lnTo>
                  <a:lnTo>
                    <a:pt x="60" y="209"/>
                  </a:lnTo>
                  <a:lnTo>
                    <a:pt x="58" y="209"/>
                  </a:lnTo>
                  <a:lnTo>
                    <a:pt x="58" y="208"/>
                  </a:lnTo>
                  <a:lnTo>
                    <a:pt x="58" y="207"/>
                  </a:lnTo>
                  <a:lnTo>
                    <a:pt x="57" y="207"/>
                  </a:lnTo>
                  <a:lnTo>
                    <a:pt x="57" y="206"/>
                  </a:lnTo>
                  <a:lnTo>
                    <a:pt x="57" y="207"/>
                  </a:lnTo>
                  <a:lnTo>
                    <a:pt x="56" y="206"/>
                  </a:lnTo>
                  <a:lnTo>
                    <a:pt x="57" y="206"/>
                  </a:lnTo>
                  <a:lnTo>
                    <a:pt x="56" y="206"/>
                  </a:lnTo>
                  <a:lnTo>
                    <a:pt x="57" y="206"/>
                  </a:lnTo>
                  <a:lnTo>
                    <a:pt x="57" y="205"/>
                  </a:lnTo>
                  <a:lnTo>
                    <a:pt x="58" y="205"/>
                  </a:lnTo>
                  <a:lnTo>
                    <a:pt x="58" y="203"/>
                  </a:lnTo>
                  <a:lnTo>
                    <a:pt x="60" y="205"/>
                  </a:lnTo>
                  <a:lnTo>
                    <a:pt x="61" y="205"/>
                  </a:lnTo>
                  <a:lnTo>
                    <a:pt x="62" y="205"/>
                  </a:lnTo>
                  <a:lnTo>
                    <a:pt x="62" y="203"/>
                  </a:lnTo>
                  <a:lnTo>
                    <a:pt x="63" y="202"/>
                  </a:lnTo>
                  <a:lnTo>
                    <a:pt x="64" y="201"/>
                  </a:lnTo>
                  <a:lnTo>
                    <a:pt x="64" y="200"/>
                  </a:lnTo>
                  <a:lnTo>
                    <a:pt x="64" y="199"/>
                  </a:lnTo>
                  <a:lnTo>
                    <a:pt x="64" y="198"/>
                  </a:lnTo>
                  <a:lnTo>
                    <a:pt x="65" y="198"/>
                  </a:lnTo>
                  <a:lnTo>
                    <a:pt x="67" y="199"/>
                  </a:lnTo>
                  <a:lnTo>
                    <a:pt x="68" y="199"/>
                  </a:lnTo>
                  <a:lnTo>
                    <a:pt x="69" y="198"/>
                  </a:lnTo>
                  <a:lnTo>
                    <a:pt x="70" y="198"/>
                  </a:lnTo>
                  <a:lnTo>
                    <a:pt x="71" y="198"/>
                  </a:lnTo>
                  <a:lnTo>
                    <a:pt x="72" y="198"/>
                  </a:lnTo>
                  <a:lnTo>
                    <a:pt x="72" y="196"/>
                  </a:lnTo>
                  <a:lnTo>
                    <a:pt x="74" y="196"/>
                  </a:lnTo>
                  <a:lnTo>
                    <a:pt x="75" y="198"/>
                  </a:lnTo>
                  <a:lnTo>
                    <a:pt x="75" y="199"/>
                  </a:lnTo>
                  <a:lnTo>
                    <a:pt x="76" y="199"/>
                  </a:lnTo>
                  <a:lnTo>
                    <a:pt x="77" y="199"/>
                  </a:lnTo>
                  <a:lnTo>
                    <a:pt x="78" y="200"/>
                  </a:lnTo>
                  <a:lnTo>
                    <a:pt x="79" y="200"/>
                  </a:lnTo>
                  <a:lnTo>
                    <a:pt x="81" y="200"/>
                  </a:lnTo>
                  <a:lnTo>
                    <a:pt x="79" y="199"/>
                  </a:lnTo>
                  <a:lnTo>
                    <a:pt x="79" y="198"/>
                  </a:lnTo>
                  <a:lnTo>
                    <a:pt x="79" y="196"/>
                  </a:lnTo>
                  <a:lnTo>
                    <a:pt x="79" y="198"/>
                  </a:lnTo>
                  <a:lnTo>
                    <a:pt x="79" y="196"/>
                  </a:lnTo>
                  <a:lnTo>
                    <a:pt x="79" y="195"/>
                  </a:lnTo>
                  <a:lnTo>
                    <a:pt x="78" y="195"/>
                  </a:lnTo>
                  <a:lnTo>
                    <a:pt x="77" y="194"/>
                  </a:lnTo>
                  <a:lnTo>
                    <a:pt x="76" y="193"/>
                  </a:lnTo>
                  <a:lnTo>
                    <a:pt x="76" y="192"/>
                  </a:lnTo>
                  <a:lnTo>
                    <a:pt x="75" y="192"/>
                  </a:lnTo>
                  <a:lnTo>
                    <a:pt x="75" y="191"/>
                  </a:lnTo>
                  <a:lnTo>
                    <a:pt x="75" y="189"/>
                  </a:lnTo>
                  <a:lnTo>
                    <a:pt x="75" y="188"/>
                  </a:lnTo>
                  <a:lnTo>
                    <a:pt x="74" y="188"/>
                  </a:lnTo>
                  <a:lnTo>
                    <a:pt x="74" y="187"/>
                  </a:lnTo>
                  <a:lnTo>
                    <a:pt x="74" y="186"/>
                  </a:lnTo>
                  <a:lnTo>
                    <a:pt x="75" y="186"/>
                  </a:lnTo>
                  <a:lnTo>
                    <a:pt x="76" y="186"/>
                  </a:lnTo>
                  <a:lnTo>
                    <a:pt x="76" y="185"/>
                  </a:lnTo>
                  <a:lnTo>
                    <a:pt x="77" y="185"/>
                  </a:lnTo>
                  <a:lnTo>
                    <a:pt x="78" y="185"/>
                  </a:lnTo>
                  <a:lnTo>
                    <a:pt x="79" y="185"/>
                  </a:lnTo>
                  <a:lnTo>
                    <a:pt x="79" y="186"/>
                  </a:lnTo>
                  <a:lnTo>
                    <a:pt x="81" y="186"/>
                  </a:lnTo>
                  <a:lnTo>
                    <a:pt x="82" y="186"/>
                  </a:lnTo>
                  <a:lnTo>
                    <a:pt x="83" y="186"/>
                  </a:lnTo>
                  <a:lnTo>
                    <a:pt x="82" y="186"/>
                  </a:lnTo>
                  <a:lnTo>
                    <a:pt x="82" y="185"/>
                  </a:lnTo>
                  <a:lnTo>
                    <a:pt x="82" y="184"/>
                  </a:lnTo>
                  <a:lnTo>
                    <a:pt x="82" y="182"/>
                  </a:lnTo>
                  <a:lnTo>
                    <a:pt x="82" y="181"/>
                  </a:lnTo>
                  <a:lnTo>
                    <a:pt x="83" y="181"/>
                  </a:lnTo>
                  <a:lnTo>
                    <a:pt x="84" y="181"/>
                  </a:lnTo>
                  <a:lnTo>
                    <a:pt x="85" y="181"/>
                  </a:lnTo>
                  <a:lnTo>
                    <a:pt x="86" y="181"/>
                  </a:lnTo>
                  <a:lnTo>
                    <a:pt x="86" y="180"/>
                  </a:lnTo>
                  <a:lnTo>
                    <a:pt x="88" y="180"/>
                  </a:lnTo>
                  <a:lnTo>
                    <a:pt x="89" y="180"/>
                  </a:lnTo>
                  <a:lnTo>
                    <a:pt x="89" y="179"/>
                  </a:lnTo>
                  <a:lnTo>
                    <a:pt x="90" y="178"/>
                  </a:lnTo>
                  <a:lnTo>
                    <a:pt x="91" y="178"/>
                  </a:lnTo>
                  <a:lnTo>
                    <a:pt x="91" y="177"/>
                  </a:lnTo>
                  <a:lnTo>
                    <a:pt x="92" y="175"/>
                  </a:lnTo>
                  <a:lnTo>
                    <a:pt x="93" y="175"/>
                  </a:lnTo>
                  <a:lnTo>
                    <a:pt x="95" y="175"/>
                  </a:lnTo>
                  <a:lnTo>
                    <a:pt x="95" y="177"/>
                  </a:lnTo>
                  <a:lnTo>
                    <a:pt x="96" y="175"/>
                  </a:lnTo>
                  <a:lnTo>
                    <a:pt x="97" y="175"/>
                  </a:lnTo>
                  <a:lnTo>
                    <a:pt x="97" y="174"/>
                  </a:lnTo>
                  <a:lnTo>
                    <a:pt x="97" y="173"/>
                  </a:lnTo>
                  <a:lnTo>
                    <a:pt x="97" y="172"/>
                  </a:lnTo>
                  <a:lnTo>
                    <a:pt x="97" y="171"/>
                  </a:lnTo>
                  <a:lnTo>
                    <a:pt x="96" y="170"/>
                  </a:lnTo>
                  <a:lnTo>
                    <a:pt x="96" y="168"/>
                  </a:lnTo>
                  <a:lnTo>
                    <a:pt x="96" y="167"/>
                  </a:lnTo>
                  <a:lnTo>
                    <a:pt x="95" y="167"/>
                  </a:lnTo>
                  <a:lnTo>
                    <a:pt x="95" y="166"/>
                  </a:lnTo>
                  <a:lnTo>
                    <a:pt x="95" y="165"/>
                  </a:lnTo>
                  <a:lnTo>
                    <a:pt x="96" y="160"/>
                  </a:lnTo>
                  <a:lnTo>
                    <a:pt x="96" y="159"/>
                  </a:lnTo>
                  <a:lnTo>
                    <a:pt x="96" y="157"/>
                  </a:lnTo>
                  <a:lnTo>
                    <a:pt x="95" y="154"/>
                  </a:lnTo>
                  <a:lnTo>
                    <a:pt x="93" y="153"/>
                  </a:lnTo>
                  <a:lnTo>
                    <a:pt x="93" y="152"/>
                  </a:lnTo>
                  <a:lnTo>
                    <a:pt x="92" y="152"/>
                  </a:lnTo>
                  <a:lnTo>
                    <a:pt x="93" y="152"/>
                  </a:lnTo>
                  <a:lnTo>
                    <a:pt x="92" y="151"/>
                  </a:lnTo>
                  <a:lnTo>
                    <a:pt x="92" y="150"/>
                  </a:lnTo>
                  <a:lnTo>
                    <a:pt x="92" y="149"/>
                  </a:lnTo>
                  <a:lnTo>
                    <a:pt x="91" y="149"/>
                  </a:lnTo>
                  <a:lnTo>
                    <a:pt x="91" y="147"/>
                  </a:lnTo>
                  <a:lnTo>
                    <a:pt x="91" y="146"/>
                  </a:lnTo>
                  <a:lnTo>
                    <a:pt x="91" y="145"/>
                  </a:lnTo>
                  <a:lnTo>
                    <a:pt x="91" y="144"/>
                  </a:lnTo>
                  <a:lnTo>
                    <a:pt x="91" y="143"/>
                  </a:lnTo>
                  <a:lnTo>
                    <a:pt x="92" y="143"/>
                  </a:lnTo>
                  <a:lnTo>
                    <a:pt x="92" y="142"/>
                  </a:lnTo>
                  <a:lnTo>
                    <a:pt x="92" y="140"/>
                  </a:lnTo>
                  <a:lnTo>
                    <a:pt x="92" y="139"/>
                  </a:lnTo>
                  <a:lnTo>
                    <a:pt x="92" y="138"/>
                  </a:lnTo>
                  <a:lnTo>
                    <a:pt x="92" y="137"/>
                  </a:lnTo>
                  <a:lnTo>
                    <a:pt x="92" y="136"/>
                  </a:lnTo>
                  <a:lnTo>
                    <a:pt x="92" y="135"/>
                  </a:lnTo>
                  <a:lnTo>
                    <a:pt x="91" y="135"/>
                  </a:lnTo>
                  <a:lnTo>
                    <a:pt x="91" y="133"/>
                  </a:lnTo>
                  <a:lnTo>
                    <a:pt x="91" y="132"/>
                  </a:lnTo>
                  <a:lnTo>
                    <a:pt x="92" y="132"/>
                  </a:lnTo>
                  <a:lnTo>
                    <a:pt x="92" y="131"/>
                  </a:lnTo>
                  <a:lnTo>
                    <a:pt x="92" y="130"/>
                  </a:lnTo>
                  <a:lnTo>
                    <a:pt x="93" y="130"/>
                  </a:lnTo>
                  <a:lnTo>
                    <a:pt x="93" y="129"/>
                  </a:lnTo>
                  <a:lnTo>
                    <a:pt x="92" y="129"/>
                  </a:lnTo>
                  <a:lnTo>
                    <a:pt x="92" y="128"/>
                  </a:lnTo>
                  <a:lnTo>
                    <a:pt x="92" y="126"/>
                  </a:lnTo>
                  <a:lnTo>
                    <a:pt x="91" y="126"/>
                  </a:lnTo>
                  <a:lnTo>
                    <a:pt x="90" y="126"/>
                  </a:lnTo>
                  <a:lnTo>
                    <a:pt x="90" y="125"/>
                  </a:lnTo>
                  <a:lnTo>
                    <a:pt x="89" y="125"/>
                  </a:lnTo>
                  <a:lnTo>
                    <a:pt x="88" y="124"/>
                  </a:lnTo>
                  <a:lnTo>
                    <a:pt x="86" y="123"/>
                  </a:lnTo>
                  <a:lnTo>
                    <a:pt x="86" y="122"/>
                  </a:lnTo>
                  <a:lnTo>
                    <a:pt x="85" y="122"/>
                  </a:lnTo>
                  <a:lnTo>
                    <a:pt x="85" y="121"/>
                  </a:lnTo>
                  <a:lnTo>
                    <a:pt x="85" y="119"/>
                  </a:lnTo>
                  <a:lnTo>
                    <a:pt x="86" y="119"/>
                  </a:lnTo>
                  <a:lnTo>
                    <a:pt x="88" y="119"/>
                  </a:lnTo>
                  <a:lnTo>
                    <a:pt x="88" y="118"/>
                  </a:lnTo>
                  <a:lnTo>
                    <a:pt x="89" y="117"/>
                  </a:lnTo>
                  <a:lnTo>
                    <a:pt x="89" y="116"/>
                  </a:lnTo>
                  <a:lnTo>
                    <a:pt x="88" y="116"/>
                  </a:lnTo>
                  <a:lnTo>
                    <a:pt x="86" y="117"/>
                  </a:lnTo>
                  <a:lnTo>
                    <a:pt x="86" y="116"/>
                  </a:lnTo>
                  <a:lnTo>
                    <a:pt x="85" y="116"/>
                  </a:lnTo>
                  <a:lnTo>
                    <a:pt x="85" y="115"/>
                  </a:lnTo>
                  <a:lnTo>
                    <a:pt x="84" y="115"/>
                  </a:lnTo>
                  <a:lnTo>
                    <a:pt x="84" y="114"/>
                  </a:lnTo>
                  <a:lnTo>
                    <a:pt x="83" y="114"/>
                  </a:lnTo>
                  <a:lnTo>
                    <a:pt x="83" y="112"/>
                  </a:lnTo>
                  <a:lnTo>
                    <a:pt x="82" y="112"/>
                  </a:lnTo>
                  <a:lnTo>
                    <a:pt x="81" y="112"/>
                  </a:lnTo>
                  <a:lnTo>
                    <a:pt x="81" y="111"/>
                  </a:lnTo>
                  <a:lnTo>
                    <a:pt x="79" y="111"/>
                  </a:lnTo>
                  <a:lnTo>
                    <a:pt x="79" y="110"/>
                  </a:lnTo>
                  <a:lnTo>
                    <a:pt x="79" y="109"/>
                  </a:lnTo>
                  <a:lnTo>
                    <a:pt x="78" y="110"/>
                  </a:lnTo>
                  <a:lnTo>
                    <a:pt x="78" y="111"/>
                  </a:lnTo>
                  <a:lnTo>
                    <a:pt x="78" y="110"/>
                  </a:lnTo>
                  <a:lnTo>
                    <a:pt x="77" y="110"/>
                  </a:lnTo>
                  <a:lnTo>
                    <a:pt x="76" y="109"/>
                  </a:lnTo>
                  <a:lnTo>
                    <a:pt x="76" y="108"/>
                  </a:lnTo>
                  <a:lnTo>
                    <a:pt x="75" y="108"/>
                  </a:lnTo>
                  <a:lnTo>
                    <a:pt x="75" y="107"/>
                  </a:lnTo>
                  <a:lnTo>
                    <a:pt x="74" y="102"/>
                  </a:lnTo>
                  <a:lnTo>
                    <a:pt x="72" y="102"/>
                  </a:lnTo>
                  <a:lnTo>
                    <a:pt x="71" y="101"/>
                  </a:lnTo>
                  <a:lnTo>
                    <a:pt x="71" y="100"/>
                  </a:lnTo>
                  <a:lnTo>
                    <a:pt x="70" y="98"/>
                  </a:lnTo>
                  <a:lnTo>
                    <a:pt x="70" y="97"/>
                  </a:lnTo>
                  <a:lnTo>
                    <a:pt x="69" y="97"/>
                  </a:lnTo>
                  <a:lnTo>
                    <a:pt x="65" y="95"/>
                  </a:lnTo>
                  <a:lnTo>
                    <a:pt x="64" y="94"/>
                  </a:lnTo>
                  <a:lnTo>
                    <a:pt x="63" y="93"/>
                  </a:lnTo>
                  <a:lnTo>
                    <a:pt x="63" y="91"/>
                  </a:lnTo>
                  <a:lnTo>
                    <a:pt x="62" y="91"/>
                  </a:lnTo>
                  <a:lnTo>
                    <a:pt x="61" y="91"/>
                  </a:lnTo>
                  <a:lnTo>
                    <a:pt x="61" y="90"/>
                  </a:lnTo>
                  <a:lnTo>
                    <a:pt x="60" y="89"/>
                  </a:lnTo>
                  <a:lnTo>
                    <a:pt x="60" y="88"/>
                  </a:lnTo>
                  <a:lnTo>
                    <a:pt x="58" y="88"/>
                  </a:lnTo>
                  <a:lnTo>
                    <a:pt x="58" y="87"/>
                  </a:lnTo>
                  <a:lnTo>
                    <a:pt x="58" y="86"/>
                  </a:lnTo>
                  <a:lnTo>
                    <a:pt x="58" y="84"/>
                  </a:lnTo>
                  <a:lnTo>
                    <a:pt x="57" y="84"/>
                  </a:lnTo>
                  <a:lnTo>
                    <a:pt x="57" y="83"/>
                  </a:lnTo>
                  <a:lnTo>
                    <a:pt x="56" y="83"/>
                  </a:lnTo>
                  <a:lnTo>
                    <a:pt x="57" y="83"/>
                  </a:lnTo>
                  <a:lnTo>
                    <a:pt x="56" y="83"/>
                  </a:lnTo>
                  <a:lnTo>
                    <a:pt x="56" y="82"/>
                  </a:lnTo>
                  <a:lnTo>
                    <a:pt x="55" y="82"/>
                  </a:lnTo>
                  <a:lnTo>
                    <a:pt x="55" y="83"/>
                  </a:lnTo>
                  <a:lnTo>
                    <a:pt x="54" y="83"/>
                  </a:lnTo>
                  <a:lnTo>
                    <a:pt x="54" y="82"/>
                  </a:lnTo>
                  <a:lnTo>
                    <a:pt x="53" y="82"/>
                  </a:lnTo>
                  <a:lnTo>
                    <a:pt x="53" y="81"/>
                  </a:lnTo>
                  <a:lnTo>
                    <a:pt x="51" y="81"/>
                  </a:lnTo>
                  <a:lnTo>
                    <a:pt x="51" y="80"/>
                  </a:lnTo>
                  <a:lnTo>
                    <a:pt x="50" y="79"/>
                  </a:lnTo>
                  <a:lnTo>
                    <a:pt x="50" y="77"/>
                  </a:lnTo>
                  <a:lnTo>
                    <a:pt x="50" y="76"/>
                  </a:lnTo>
                  <a:lnTo>
                    <a:pt x="51" y="76"/>
                  </a:lnTo>
                  <a:lnTo>
                    <a:pt x="51" y="75"/>
                  </a:lnTo>
                  <a:lnTo>
                    <a:pt x="50" y="75"/>
                  </a:lnTo>
                  <a:lnTo>
                    <a:pt x="49" y="75"/>
                  </a:lnTo>
                  <a:lnTo>
                    <a:pt x="48" y="74"/>
                  </a:lnTo>
                  <a:lnTo>
                    <a:pt x="47" y="74"/>
                  </a:lnTo>
                  <a:lnTo>
                    <a:pt x="46" y="74"/>
                  </a:lnTo>
                  <a:lnTo>
                    <a:pt x="46" y="73"/>
                  </a:lnTo>
                  <a:lnTo>
                    <a:pt x="45" y="73"/>
                  </a:lnTo>
                  <a:lnTo>
                    <a:pt x="43" y="73"/>
                  </a:lnTo>
                  <a:lnTo>
                    <a:pt x="43" y="72"/>
                  </a:lnTo>
                  <a:lnTo>
                    <a:pt x="42" y="72"/>
                  </a:lnTo>
                  <a:lnTo>
                    <a:pt x="41" y="70"/>
                  </a:lnTo>
                  <a:lnTo>
                    <a:pt x="40" y="70"/>
                  </a:lnTo>
                  <a:lnTo>
                    <a:pt x="40" y="69"/>
                  </a:lnTo>
                  <a:lnTo>
                    <a:pt x="39" y="69"/>
                  </a:lnTo>
                  <a:lnTo>
                    <a:pt x="38" y="68"/>
                  </a:lnTo>
                  <a:lnTo>
                    <a:pt x="36" y="68"/>
                  </a:lnTo>
                  <a:lnTo>
                    <a:pt x="36" y="67"/>
                  </a:lnTo>
                  <a:lnTo>
                    <a:pt x="34" y="66"/>
                  </a:lnTo>
                  <a:lnTo>
                    <a:pt x="33" y="67"/>
                  </a:lnTo>
                  <a:lnTo>
                    <a:pt x="33" y="66"/>
                  </a:lnTo>
                  <a:lnTo>
                    <a:pt x="32" y="66"/>
                  </a:lnTo>
                  <a:lnTo>
                    <a:pt x="32" y="65"/>
                  </a:lnTo>
                  <a:lnTo>
                    <a:pt x="33" y="65"/>
                  </a:lnTo>
                  <a:lnTo>
                    <a:pt x="33" y="63"/>
                  </a:lnTo>
                  <a:lnTo>
                    <a:pt x="34" y="63"/>
                  </a:lnTo>
                  <a:lnTo>
                    <a:pt x="34" y="62"/>
                  </a:lnTo>
                  <a:lnTo>
                    <a:pt x="34" y="61"/>
                  </a:lnTo>
                  <a:lnTo>
                    <a:pt x="33" y="61"/>
                  </a:lnTo>
                  <a:lnTo>
                    <a:pt x="33" y="60"/>
                  </a:lnTo>
                  <a:lnTo>
                    <a:pt x="33" y="59"/>
                  </a:lnTo>
                  <a:lnTo>
                    <a:pt x="34" y="60"/>
                  </a:lnTo>
                  <a:lnTo>
                    <a:pt x="34" y="59"/>
                  </a:lnTo>
                  <a:lnTo>
                    <a:pt x="35" y="59"/>
                  </a:lnTo>
                  <a:lnTo>
                    <a:pt x="36" y="59"/>
                  </a:lnTo>
                  <a:lnTo>
                    <a:pt x="36" y="60"/>
                  </a:lnTo>
                  <a:lnTo>
                    <a:pt x="38" y="59"/>
                  </a:lnTo>
                  <a:lnTo>
                    <a:pt x="39" y="60"/>
                  </a:lnTo>
                  <a:lnTo>
                    <a:pt x="40" y="60"/>
                  </a:lnTo>
                  <a:lnTo>
                    <a:pt x="41" y="60"/>
                  </a:lnTo>
                  <a:lnTo>
                    <a:pt x="41" y="59"/>
                  </a:lnTo>
                  <a:lnTo>
                    <a:pt x="42" y="59"/>
                  </a:lnTo>
                  <a:lnTo>
                    <a:pt x="42" y="58"/>
                  </a:lnTo>
                  <a:lnTo>
                    <a:pt x="43" y="58"/>
                  </a:lnTo>
                  <a:lnTo>
                    <a:pt x="43" y="56"/>
                  </a:lnTo>
                  <a:lnTo>
                    <a:pt x="42" y="56"/>
                  </a:lnTo>
                  <a:lnTo>
                    <a:pt x="42" y="55"/>
                  </a:lnTo>
                  <a:lnTo>
                    <a:pt x="43" y="55"/>
                  </a:lnTo>
                  <a:lnTo>
                    <a:pt x="43" y="54"/>
                  </a:lnTo>
                  <a:lnTo>
                    <a:pt x="45" y="54"/>
                  </a:lnTo>
                  <a:lnTo>
                    <a:pt x="45" y="53"/>
                  </a:lnTo>
                  <a:lnTo>
                    <a:pt x="45" y="52"/>
                  </a:lnTo>
                  <a:lnTo>
                    <a:pt x="43" y="52"/>
                  </a:lnTo>
                  <a:lnTo>
                    <a:pt x="42" y="51"/>
                  </a:lnTo>
                  <a:lnTo>
                    <a:pt x="41" y="51"/>
                  </a:lnTo>
                  <a:lnTo>
                    <a:pt x="40" y="51"/>
                  </a:lnTo>
                  <a:lnTo>
                    <a:pt x="40" y="49"/>
                  </a:lnTo>
                  <a:lnTo>
                    <a:pt x="41" y="49"/>
                  </a:lnTo>
                  <a:lnTo>
                    <a:pt x="40" y="49"/>
                  </a:lnTo>
                  <a:lnTo>
                    <a:pt x="40" y="48"/>
                  </a:lnTo>
                  <a:lnTo>
                    <a:pt x="39" y="48"/>
                  </a:lnTo>
                  <a:lnTo>
                    <a:pt x="39" y="47"/>
                  </a:lnTo>
                  <a:lnTo>
                    <a:pt x="36" y="47"/>
                  </a:lnTo>
                  <a:lnTo>
                    <a:pt x="35" y="47"/>
                  </a:lnTo>
                  <a:lnTo>
                    <a:pt x="36" y="46"/>
                  </a:lnTo>
                  <a:lnTo>
                    <a:pt x="38" y="46"/>
                  </a:lnTo>
                  <a:lnTo>
                    <a:pt x="39" y="45"/>
                  </a:lnTo>
                  <a:lnTo>
                    <a:pt x="39" y="44"/>
                  </a:lnTo>
                  <a:lnTo>
                    <a:pt x="38" y="44"/>
                  </a:lnTo>
                  <a:lnTo>
                    <a:pt x="36" y="42"/>
                  </a:lnTo>
                  <a:lnTo>
                    <a:pt x="35" y="42"/>
                  </a:lnTo>
                  <a:lnTo>
                    <a:pt x="35" y="41"/>
                  </a:lnTo>
                  <a:lnTo>
                    <a:pt x="34" y="41"/>
                  </a:lnTo>
                  <a:lnTo>
                    <a:pt x="34" y="40"/>
                  </a:lnTo>
                  <a:lnTo>
                    <a:pt x="33" y="40"/>
                  </a:lnTo>
                  <a:lnTo>
                    <a:pt x="32" y="39"/>
                  </a:lnTo>
                  <a:lnTo>
                    <a:pt x="31" y="39"/>
                  </a:lnTo>
                  <a:lnTo>
                    <a:pt x="29" y="40"/>
                  </a:lnTo>
                  <a:lnTo>
                    <a:pt x="28" y="40"/>
                  </a:lnTo>
                  <a:lnTo>
                    <a:pt x="27" y="40"/>
                  </a:lnTo>
                  <a:lnTo>
                    <a:pt x="27" y="41"/>
                  </a:lnTo>
                  <a:lnTo>
                    <a:pt x="27" y="40"/>
                  </a:lnTo>
                  <a:lnTo>
                    <a:pt x="27" y="41"/>
                  </a:lnTo>
                  <a:lnTo>
                    <a:pt x="26" y="41"/>
                  </a:lnTo>
                  <a:lnTo>
                    <a:pt x="27" y="42"/>
                  </a:lnTo>
                  <a:lnTo>
                    <a:pt x="26" y="42"/>
                  </a:lnTo>
                  <a:lnTo>
                    <a:pt x="26" y="44"/>
                  </a:lnTo>
                  <a:lnTo>
                    <a:pt x="25" y="44"/>
                  </a:lnTo>
                  <a:lnTo>
                    <a:pt x="25" y="42"/>
                  </a:lnTo>
                  <a:lnTo>
                    <a:pt x="24" y="42"/>
                  </a:lnTo>
                  <a:lnTo>
                    <a:pt x="22" y="42"/>
                  </a:lnTo>
                  <a:lnTo>
                    <a:pt x="22" y="41"/>
                  </a:lnTo>
                  <a:lnTo>
                    <a:pt x="21" y="41"/>
                  </a:lnTo>
                  <a:lnTo>
                    <a:pt x="20" y="41"/>
                  </a:lnTo>
                  <a:lnTo>
                    <a:pt x="19" y="41"/>
                  </a:lnTo>
                  <a:lnTo>
                    <a:pt x="18" y="41"/>
                  </a:lnTo>
                  <a:lnTo>
                    <a:pt x="18" y="40"/>
                  </a:lnTo>
                  <a:lnTo>
                    <a:pt x="17" y="40"/>
                  </a:lnTo>
                  <a:lnTo>
                    <a:pt x="17" y="39"/>
                  </a:lnTo>
                  <a:lnTo>
                    <a:pt x="17" y="38"/>
                  </a:lnTo>
                  <a:lnTo>
                    <a:pt x="15" y="38"/>
                  </a:lnTo>
                  <a:lnTo>
                    <a:pt x="14" y="37"/>
                  </a:lnTo>
                  <a:lnTo>
                    <a:pt x="14" y="35"/>
                  </a:lnTo>
                  <a:lnTo>
                    <a:pt x="13" y="35"/>
                  </a:lnTo>
                  <a:lnTo>
                    <a:pt x="13" y="34"/>
                  </a:lnTo>
                  <a:lnTo>
                    <a:pt x="12" y="34"/>
                  </a:lnTo>
                  <a:lnTo>
                    <a:pt x="13" y="34"/>
                  </a:lnTo>
                  <a:lnTo>
                    <a:pt x="13" y="33"/>
                  </a:lnTo>
                  <a:lnTo>
                    <a:pt x="13" y="32"/>
                  </a:lnTo>
                  <a:lnTo>
                    <a:pt x="13" y="31"/>
                  </a:lnTo>
                  <a:lnTo>
                    <a:pt x="13" y="32"/>
                  </a:lnTo>
                  <a:lnTo>
                    <a:pt x="12" y="32"/>
                  </a:lnTo>
                  <a:lnTo>
                    <a:pt x="13" y="31"/>
                  </a:lnTo>
                  <a:lnTo>
                    <a:pt x="13" y="30"/>
                  </a:lnTo>
                  <a:lnTo>
                    <a:pt x="14" y="30"/>
                  </a:lnTo>
                  <a:lnTo>
                    <a:pt x="14" y="28"/>
                  </a:lnTo>
                  <a:lnTo>
                    <a:pt x="13" y="28"/>
                  </a:lnTo>
                  <a:lnTo>
                    <a:pt x="13" y="27"/>
                  </a:lnTo>
                  <a:lnTo>
                    <a:pt x="13" y="26"/>
                  </a:lnTo>
                  <a:lnTo>
                    <a:pt x="12" y="27"/>
                  </a:lnTo>
                  <a:lnTo>
                    <a:pt x="12" y="26"/>
                  </a:lnTo>
                  <a:lnTo>
                    <a:pt x="11" y="25"/>
                  </a:lnTo>
                  <a:lnTo>
                    <a:pt x="11" y="26"/>
                  </a:lnTo>
                  <a:lnTo>
                    <a:pt x="11" y="27"/>
                  </a:lnTo>
                  <a:lnTo>
                    <a:pt x="10" y="27"/>
                  </a:lnTo>
                  <a:lnTo>
                    <a:pt x="10" y="28"/>
                  </a:lnTo>
                  <a:lnTo>
                    <a:pt x="10" y="27"/>
                  </a:lnTo>
                  <a:lnTo>
                    <a:pt x="8" y="27"/>
                  </a:lnTo>
                  <a:lnTo>
                    <a:pt x="8" y="26"/>
                  </a:lnTo>
                  <a:lnTo>
                    <a:pt x="8" y="25"/>
                  </a:lnTo>
                  <a:lnTo>
                    <a:pt x="7" y="24"/>
                  </a:lnTo>
                  <a:lnTo>
                    <a:pt x="6" y="24"/>
                  </a:lnTo>
                  <a:lnTo>
                    <a:pt x="6" y="23"/>
                  </a:lnTo>
                  <a:lnTo>
                    <a:pt x="6" y="21"/>
                  </a:lnTo>
                  <a:lnTo>
                    <a:pt x="5" y="21"/>
                  </a:lnTo>
                  <a:lnTo>
                    <a:pt x="5" y="20"/>
                  </a:lnTo>
                  <a:lnTo>
                    <a:pt x="4" y="20"/>
                  </a:lnTo>
                  <a:lnTo>
                    <a:pt x="3" y="19"/>
                  </a:lnTo>
                  <a:lnTo>
                    <a:pt x="1" y="19"/>
                  </a:lnTo>
                  <a:lnTo>
                    <a:pt x="1" y="18"/>
                  </a:lnTo>
                  <a:lnTo>
                    <a:pt x="0" y="18"/>
                  </a:lnTo>
                  <a:lnTo>
                    <a:pt x="0" y="17"/>
                  </a:lnTo>
                  <a:lnTo>
                    <a:pt x="0" y="16"/>
                  </a:lnTo>
                  <a:lnTo>
                    <a:pt x="1" y="16"/>
                  </a:lnTo>
                  <a:lnTo>
                    <a:pt x="1" y="14"/>
                  </a:lnTo>
                  <a:lnTo>
                    <a:pt x="3" y="13"/>
                  </a:lnTo>
                  <a:lnTo>
                    <a:pt x="3" y="12"/>
                  </a:lnTo>
                  <a:lnTo>
                    <a:pt x="3" y="11"/>
                  </a:lnTo>
                  <a:lnTo>
                    <a:pt x="4" y="11"/>
                  </a:lnTo>
                  <a:lnTo>
                    <a:pt x="4" y="10"/>
                  </a:lnTo>
                  <a:lnTo>
                    <a:pt x="4" y="11"/>
                  </a:lnTo>
                  <a:lnTo>
                    <a:pt x="5" y="11"/>
                  </a:lnTo>
                  <a:lnTo>
                    <a:pt x="6" y="11"/>
                  </a:lnTo>
                  <a:lnTo>
                    <a:pt x="6" y="12"/>
                  </a:lnTo>
                  <a:lnTo>
                    <a:pt x="7" y="12"/>
                  </a:lnTo>
                  <a:lnTo>
                    <a:pt x="8" y="12"/>
                  </a:lnTo>
                  <a:lnTo>
                    <a:pt x="8" y="13"/>
                  </a:lnTo>
                  <a:lnTo>
                    <a:pt x="10" y="13"/>
                  </a:lnTo>
                  <a:lnTo>
                    <a:pt x="11" y="14"/>
                  </a:lnTo>
                  <a:lnTo>
                    <a:pt x="11" y="16"/>
                  </a:lnTo>
                  <a:lnTo>
                    <a:pt x="12" y="16"/>
                  </a:lnTo>
                  <a:lnTo>
                    <a:pt x="12" y="14"/>
                  </a:lnTo>
                  <a:lnTo>
                    <a:pt x="13" y="14"/>
                  </a:lnTo>
                  <a:lnTo>
                    <a:pt x="13" y="13"/>
                  </a:lnTo>
                  <a:lnTo>
                    <a:pt x="14" y="12"/>
                  </a:lnTo>
                  <a:lnTo>
                    <a:pt x="14" y="11"/>
                  </a:lnTo>
                  <a:lnTo>
                    <a:pt x="15" y="10"/>
                  </a:lnTo>
                  <a:lnTo>
                    <a:pt x="17" y="10"/>
                  </a:lnTo>
                  <a:lnTo>
                    <a:pt x="17" y="11"/>
                  </a:lnTo>
                  <a:lnTo>
                    <a:pt x="17" y="12"/>
                  </a:lnTo>
                  <a:lnTo>
                    <a:pt x="18" y="12"/>
                  </a:lnTo>
                  <a:lnTo>
                    <a:pt x="18" y="13"/>
                  </a:lnTo>
                  <a:lnTo>
                    <a:pt x="19" y="13"/>
                  </a:lnTo>
                  <a:lnTo>
                    <a:pt x="19" y="12"/>
                  </a:lnTo>
                  <a:lnTo>
                    <a:pt x="19" y="11"/>
                  </a:lnTo>
                  <a:lnTo>
                    <a:pt x="19" y="10"/>
                  </a:lnTo>
                  <a:lnTo>
                    <a:pt x="20" y="10"/>
                  </a:lnTo>
                  <a:lnTo>
                    <a:pt x="21" y="11"/>
                  </a:lnTo>
                  <a:lnTo>
                    <a:pt x="22" y="12"/>
                  </a:lnTo>
                  <a:lnTo>
                    <a:pt x="22" y="13"/>
                  </a:lnTo>
                  <a:lnTo>
                    <a:pt x="24" y="13"/>
                  </a:lnTo>
                  <a:lnTo>
                    <a:pt x="24" y="14"/>
                  </a:lnTo>
                  <a:lnTo>
                    <a:pt x="25" y="14"/>
                  </a:lnTo>
                  <a:lnTo>
                    <a:pt x="25" y="13"/>
                  </a:lnTo>
                  <a:lnTo>
                    <a:pt x="25" y="12"/>
                  </a:lnTo>
                  <a:lnTo>
                    <a:pt x="25" y="11"/>
                  </a:lnTo>
                  <a:lnTo>
                    <a:pt x="26" y="11"/>
                  </a:lnTo>
                  <a:lnTo>
                    <a:pt x="26" y="10"/>
                  </a:lnTo>
                  <a:lnTo>
                    <a:pt x="27" y="10"/>
                  </a:lnTo>
                  <a:lnTo>
                    <a:pt x="28" y="10"/>
                  </a:lnTo>
                  <a:lnTo>
                    <a:pt x="28" y="11"/>
                  </a:lnTo>
                  <a:lnTo>
                    <a:pt x="29" y="11"/>
                  </a:lnTo>
                  <a:lnTo>
                    <a:pt x="29" y="12"/>
                  </a:lnTo>
                  <a:lnTo>
                    <a:pt x="29" y="11"/>
                  </a:lnTo>
                  <a:lnTo>
                    <a:pt x="31" y="11"/>
                  </a:lnTo>
                  <a:lnTo>
                    <a:pt x="31" y="10"/>
                  </a:lnTo>
                  <a:lnTo>
                    <a:pt x="32" y="10"/>
                  </a:lnTo>
                  <a:lnTo>
                    <a:pt x="33" y="10"/>
                  </a:lnTo>
                  <a:lnTo>
                    <a:pt x="34" y="10"/>
                  </a:lnTo>
                  <a:lnTo>
                    <a:pt x="34" y="9"/>
                  </a:lnTo>
                  <a:lnTo>
                    <a:pt x="35" y="9"/>
                  </a:lnTo>
                  <a:lnTo>
                    <a:pt x="35" y="7"/>
                  </a:lnTo>
                  <a:lnTo>
                    <a:pt x="35" y="5"/>
                  </a:lnTo>
                  <a:lnTo>
                    <a:pt x="35" y="4"/>
                  </a:lnTo>
                  <a:lnTo>
                    <a:pt x="36" y="4"/>
                  </a:lnTo>
                  <a:lnTo>
                    <a:pt x="38" y="3"/>
                  </a:lnTo>
                  <a:lnTo>
                    <a:pt x="39" y="3"/>
                  </a:lnTo>
                  <a:lnTo>
                    <a:pt x="40" y="3"/>
                  </a:lnTo>
                  <a:lnTo>
                    <a:pt x="40" y="2"/>
                  </a:lnTo>
                  <a:lnTo>
                    <a:pt x="41" y="0"/>
                  </a:lnTo>
                  <a:lnTo>
                    <a:pt x="41" y="2"/>
                  </a:lnTo>
                  <a:lnTo>
                    <a:pt x="42" y="2"/>
                  </a:lnTo>
                  <a:lnTo>
                    <a:pt x="42" y="3"/>
                  </a:lnTo>
                  <a:close/>
                </a:path>
              </a:pathLst>
            </a:custGeom>
            <a:solidFill>
              <a:srgbClr val="0053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78" name="Freeform 1040">
              <a:extLst>
                <a:ext uri="{FF2B5EF4-FFF2-40B4-BE49-F238E27FC236}">
                  <a16:creationId xmlns:a16="http://schemas.microsoft.com/office/drawing/2014/main" id="{1A671A56-155B-4AEC-9E71-6414688A0A5E}"/>
                </a:ext>
              </a:extLst>
            </p:cNvPr>
            <p:cNvSpPr>
              <a:spLocks noEditPoints="1"/>
            </p:cNvSpPr>
            <p:nvPr/>
          </p:nvSpPr>
          <p:spPr bwMode="auto">
            <a:xfrm>
              <a:off x="8878050" y="3624974"/>
              <a:ext cx="36059" cy="150911"/>
            </a:xfrm>
            <a:custGeom>
              <a:avLst/>
              <a:gdLst>
                <a:gd name="T0" fmla="*/ 27 w 27"/>
                <a:gd name="T1" fmla="*/ 112 h 113"/>
                <a:gd name="T2" fmla="*/ 21 w 27"/>
                <a:gd name="T3" fmla="*/ 103 h 113"/>
                <a:gd name="T4" fmla="*/ 23 w 27"/>
                <a:gd name="T5" fmla="*/ 98 h 113"/>
                <a:gd name="T6" fmla="*/ 24 w 27"/>
                <a:gd name="T7" fmla="*/ 101 h 113"/>
                <a:gd name="T8" fmla="*/ 23 w 27"/>
                <a:gd name="T9" fmla="*/ 90 h 113"/>
                <a:gd name="T10" fmla="*/ 23 w 27"/>
                <a:gd name="T11" fmla="*/ 93 h 113"/>
                <a:gd name="T12" fmla="*/ 21 w 27"/>
                <a:gd name="T13" fmla="*/ 89 h 113"/>
                <a:gd name="T14" fmla="*/ 23 w 27"/>
                <a:gd name="T15" fmla="*/ 90 h 113"/>
                <a:gd name="T16" fmla="*/ 17 w 27"/>
                <a:gd name="T17" fmla="*/ 71 h 113"/>
                <a:gd name="T18" fmla="*/ 16 w 27"/>
                <a:gd name="T19" fmla="*/ 75 h 113"/>
                <a:gd name="T20" fmla="*/ 15 w 27"/>
                <a:gd name="T21" fmla="*/ 73 h 113"/>
                <a:gd name="T22" fmla="*/ 14 w 27"/>
                <a:gd name="T23" fmla="*/ 72 h 113"/>
                <a:gd name="T24" fmla="*/ 14 w 27"/>
                <a:gd name="T25" fmla="*/ 71 h 113"/>
                <a:gd name="T26" fmla="*/ 16 w 27"/>
                <a:gd name="T27" fmla="*/ 69 h 113"/>
                <a:gd name="T28" fmla="*/ 21 w 27"/>
                <a:gd name="T29" fmla="*/ 61 h 113"/>
                <a:gd name="T30" fmla="*/ 17 w 27"/>
                <a:gd name="T31" fmla="*/ 55 h 113"/>
                <a:gd name="T32" fmla="*/ 20 w 27"/>
                <a:gd name="T33" fmla="*/ 58 h 113"/>
                <a:gd name="T34" fmla="*/ 18 w 27"/>
                <a:gd name="T35" fmla="*/ 58 h 113"/>
                <a:gd name="T36" fmla="*/ 16 w 27"/>
                <a:gd name="T37" fmla="*/ 56 h 113"/>
                <a:gd name="T38" fmla="*/ 20 w 27"/>
                <a:gd name="T39" fmla="*/ 54 h 113"/>
                <a:gd name="T40" fmla="*/ 18 w 27"/>
                <a:gd name="T41" fmla="*/ 52 h 113"/>
                <a:gd name="T42" fmla="*/ 16 w 27"/>
                <a:gd name="T43" fmla="*/ 51 h 113"/>
                <a:gd name="T44" fmla="*/ 17 w 27"/>
                <a:gd name="T45" fmla="*/ 48 h 113"/>
                <a:gd name="T46" fmla="*/ 20 w 27"/>
                <a:gd name="T47" fmla="*/ 51 h 113"/>
                <a:gd name="T48" fmla="*/ 10 w 27"/>
                <a:gd name="T49" fmla="*/ 50 h 113"/>
                <a:gd name="T50" fmla="*/ 11 w 27"/>
                <a:gd name="T51" fmla="*/ 52 h 113"/>
                <a:gd name="T52" fmla="*/ 11 w 27"/>
                <a:gd name="T53" fmla="*/ 54 h 113"/>
                <a:gd name="T54" fmla="*/ 9 w 27"/>
                <a:gd name="T55" fmla="*/ 55 h 113"/>
                <a:gd name="T56" fmla="*/ 7 w 27"/>
                <a:gd name="T57" fmla="*/ 51 h 113"/>
                <a:gd name="T58" fmla="*/ 6 w 27"/>
                <a:gd name="T59" fmla="*/ 49 h 113"/>
                <a:gd name="T60" fmla="*/ 6 w 27"/>
                <a:gd name="T61" fmla="*/ 44 h 113"/>
                <a:gd name="T62" fmla="*/ 8 w 27"/>
                <a:gd name="T63" fmla="*/ 48 h 113"/>
                <a:gd name="T64" fmla="*/ 7 w 27"/>
                <a:gd name="T65" fmla="*/ 40 h 113"/>
                <a:gd name="T66" fmla="*/ 7 w 27"/>
                <a:gd name="T67" fmla="*/ 38 h 113"/>
                <a:gd name="T68" fmla="*/ 20 w 27"/>
                <a:gd name="T69" fmla="*/ 42 h 113"/>
                <a:gd name="T70" fmla="*/ 21 w 27"/>
                <a:gd name="T71" fmla="*/ 38 h 113"/>
                <a:gd name="T72" fmla="*/ 21 w 27"/>
                <a:gd name="T73" fmla="*/ 44 h 113"/>
                <a:gd name="T74" fmla="*/ 14 w 27"/>
                <a:gd name="T75" fmla="*/ 37 h 113"/>
                <a:gd name="T76" fmla="*/ 17 w 27"/>
                <a:gd name="T77" fmla="*/ 36 h 113"/>
                <a:gd name="T78" fmla="*/ 21 w 27"/>
                <a:gd name="T79" fmla="*/ 34 h 113"/>
                <a:gd name="T80" fmla="*/ 22 w 27"/>
                <a:gd name="T81" fmla="*/ 30 h 113"/>
                <a:gd name="T82" fmla="*/ 21 w 27"/>
                <a:gd name="T83" fmla="*/ 35 h 113"/>
                <a:gd name="T84" fmla="*/ 6 w 27"/>
                <a:gd name="T85" fmla="*/ 31 h 113"/>
                <a:gd name="T86" fmla="*/ 7 w 27"/>
                <a:gd name="T87" fmla="*/ 31 h 113"/>
                <a:gd name="T88" fmla="*/ 7 w 27"/>
                <a:gd name="T89" fmla="*/ 35 h 113"/>
                <a:gd name="T90" fmla="*/ 7 w 27"/>
                <a:gd name="T91" fmla="*/ 36 h 113"/>
                <a:gd name="T92" fmla="*/ 6 w 27"/>
                <a:gd name="T93" fmla="*/ 40 h 113"/>
                <a:gd name="T94" fmla="*/ 1 w 27"/>
                <a:gd name="T95" fmla="*/ 41 h 113"/>
                <a:gd name="T96" fmla="*/ 0 w 27"/>
                <a:gd name="T97" fmla="*/ 36 h 113"/>
                <a:gd name="T98" fmla="*/ 0 w 27"/>
                <a:gd name="T99" fmla="*/ 31 h 113"/>
                <a:gd name="T100" fmla="*/ 0 w 27"/>
                <a:gd name="T101" fmla="*/ 27 h 113"/>
                <a:gd name="T102" fmla="*/ 2 w 27"/>
                <a:gd name="T103" fmla="*/ 26 h 113"/>
                <a:gd name="T104" fmla="*/ 3 w 27"/>
                <a:gd name="T105" fmla="*/ 30 h 113"/>
                <a:gd name="T106" fmla="*/ 16 w 27"/>
                <a:gd name="T107" fmla="*/ 19 h 113"/>
                <a:gd name="T108" fmla="*/ 14 w 27"/>
                <a:gd name="T109" fmla="*/ 17 h 113"/>
                <a:gd name="T110" fmla="*/ 17 w 27"/>
                <a:gd name="T111" fmla="*/ 12 h 113"/>
                <a:gd name="T112" fmla="*/ 15 w 27"/>
                <a:gd name="T113" fmla="*/ 13 h 113"/>
                <a:gd name="T114" fmla="*/ 17 w 27"/>
                <a:gd name="T115" fmla="*/ 10 h 113"/>
                <a:gd name="T116" fmla="*/ 20 w 27"/>
                <a:gd name="T117" fmla="*/ 9 h 113"/>
                <a:gd name="T118" fmla="*/ 15 w 27"/>
                <a:gd name="T119" fmla="*/ 7 h 113"/>
                <a:gd name="T120" fmla="*/ 4 w 27"/>
                <a:gd name="T121"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 h="113">
                  <a:moveTo>
                    <a:pt x="25" y="113"/>
                  </a:moveTo>
                  <a:lnTo>
                    <a:pt x="24" y="113"/>
                  </a:lnTo>
                  <a:lnTo>
                    <a:pt x="24" y="112"/>
                  </a:lnTo>
                  <a:lnTo>
                    <a:pt x="25" y="112"/>
                  </a:lnTo>
                  <a:lnTo>
                    <a:pt x="27" y="112"/>
                  </a:lnTo>
                  <a:lnTo>
                    <a:pt x="27" y="113"/>
                  </a:lnTo>
                  <a:lnTo>
                    <a:pt x="25" y="113"/>
                  </a:lnTo>
                  <a:close/>
                  <a:moveTo>
                    <a:pt x="23" y="104"/>
                  </a:moveTo>
                  <a:lnTo>
                    <a:pt x="22" y="104"/>
                  </a:lnTo>
                  <a:lnTo>
                    <a:pt x="21" y="103"/>
                  </a:lnTo>
                  <a:lnTo>
                    <a:pt x="21" y="101"/>
                  </a:lnTo>
                  <a:lnTo>
                    <a:pt x="21" y="100"/>
                  </a:lnTo>
                  <a:lnTo>
                    <a:pt x="21" y="99"/>
                  </a:lnTo>
                  <a:lnTo>
                    <a:pt x="22" y="99"/>
                  </a:lnTo>
                  <a:lnTo>
                    <a:pt x="23" y="98"/>
                  </a:lnTo>
                  <a:lnTo>
                    <a:pt x="23" y="99"/>
                  </a:lnTo>
                  <a:lnTo>
                    <a:pt x="22" y="100"/>
                  </a:lnTo>
                  <a:lnTo>
                    <a:pt x="22" y="101"/>
                  </a:lnTo>
                  <a:lnTo>
                    <a:pt x="23" y="101"/>
                  </a:lnTo>
                  <a:lnTo>
                    <a:pt x="24" y="101"/>
                  </a:lnTo>
                  <a:lnTo>
                    <a:pt x="23" y="103"/>
                  </a:lnTo>
                  <a:lnTo>
                    <a:pt x="23" y="104"/>
                  </a:lnTo>
                  <a:close/>
                  <a:moveTo>
                    <a:pt x="23" y="90"/>
                  </a:moveTo>
                  <a:lnTo>
                    <a:pt x="24" y="90"/>
                  </a:lnTo>
                  <a:lnTo>
                    <a:pt x="23" y="90"/>
                  </a:lnTo>
                  <a:lnTo>
                    <a:pt x="23" y="91"/>
                  </a:lnTo>
                  <a:lnTo>
                    <a:pt x="24" y="91"/>
                  </a:lnTo>
                  <a:lnTo>
                    <a:pt x="24" y="92"/>
                  </a:lnTo>
                  <a:lnTo>
                    <a:pt x="24" y="93"/>
                  </a:lnTo>
                  <a:lnTo>
                    <a:pt x="23" y="93"/>
                  </a:lnTo>
                  <a:lnTo>
                    <a:pt x="22" y="92"/>
                  </a:lnTo>
                  <a:lnTo>
                    <a:pt x="21" y="92"/>
                  </a:lnTo>
                  <a:lnTo>
                    <a:pt x="20" y="91"/>
                  </a:lnTo>
                  <a:lnTo>
                    <a:pt x="20" y="90"/>
                  </a:lnTo>
                  <a:lnTo>
                    <a:pt x="21" y="89"/>
                  </a:lnTo>
                  <a:lnTo>
                    <a:pt x="21" y="87"/>
                  </a:lnTo>
                  <a:lnTo>
                    <a:pt x="22" y="87"/>
                  </a:lnTo>
                  <a:lnTo>
                    <a:pt x="23" y="87"/>
                  </a:lnTo>
                  <a:lnTo>
                    <a:pt x="23" y="89"/>
                  </a:lnTo>
                  <a:lnTo>
                    <a:pt x="23" y="90"/>
                  </a:lnTo>
                  <a:close/>
                  <a:moveTo>
                    <a:pt x="16" y="70"/>
                  </a:moveTo>
                  <a:lnTo>
                    <a:pt x="16" y="71"/>
                  </a:lnTo>
                  <a:lnTo>
                    <a:pt x="16" y="70"/>
                  </a:lnTo>
                  <a:lnTo>
                    <a:pt x="17" y="70"/>
                  </a:lnTo>
                  <a:lnTo>
                    <a:pt x="17" y="71"/>
                  </a:lnTo>
                  <a:lnTo>
                    <a:pt x="17" y="72"/>
                  </a:lnTo>
                  <a:lnTo>
                    <a:pt x="18" y="72"/>
                  </a:lnTo>
                  <a:lnTo>
                    <a:pt x="18" y="73"/>
                  </a:lnTo>
                  <a:lnTo>
                    <a:pt x="17" y="75"/>
                  </a:lnTo>
                  <a:lnTo>
                    <a:pt x="16" y="75"/>
                  </a:lnTo>
                  <a:lnTo>
                    <a:pt x="15" y="75"/>
                  </a:lnTo>
                  <a:lnTo>
                    <a:pt x="15" y="73"/>
                  </a:lnTo>
                  <a:lnTo>
                    <a:pt x="14" y="75"/>
                  </a:lnTo>
                  <a:lnTo>
                    <a:pt x="14" y="73"/>
                  </a:lnTo>
                  <a:lnTo>
                    <a:pt x="15" y="73"/>
                  </a:lnTo>
                  <a:lnTo>
                    <a:pt x="14" y="73"/>
                  </a:lnTo>
                  <a:lnTo>
                    <a:pt x="14" y="72"/>
                  </a:lnTo>
                  <a:lnTo>
                    <a:pt x="14" y="73"/>
                  </a:lnTo>
                  <a:lnTo>
                    <a:pt x="13" y="73"/>
                  </a:lnTo>
                  <a:lnTo>
                    <a:pt x="14" y="72"/>
                  </a:lnTo>
                  <a:lnTo>
                    <a:pt x="14" y="71"/>
                  </a:lnTo>
                  <a:lnTo>
                    <a:pt x="15" y="71"/>
                  </a:lnTo>
                  <a:lnTo>
                    <a:pt x="15" y="70"/>
                  </a:lnTo>
                  <a:lnTo>
                    <a:pt x="16" y="70"/>
                  </a:lnTo>
                  <a:close/>
                  <a:moveTo>
                    <a:pt x="14" y="71"/>
                  </a:moveTo>
                  <a:lnTo>
                    <a:pt x="14" y="70"/>
                  </a:lnTo>
                  <a:lnTo>
                    <a:pt x="15" y="70"/>
                  </a:lnTo>
                  <a:lnTo>
                    <a:pt x="14" y="71"/>
                  </a:lnTo>
                  <a:close/>
                  <a:moveTo>
                    <a:pt x="16" y="70"/>
                  </a:moveTo>
                  <a:lnTo>
                    <a:pt x="16" y="69"/>
                  </a:lnTo>
                  <a:lnTo>
                    <a:pt x="16" y="70"/>
                  </a:lnTo>
                  <a:close/>
                  <a:moveTo>
                    <a:pt x="17" y="63"/>
                  </a:moveTo>
                  <a:lnTo>
                    <a:pt x="18" y="63"/>
                  </a:lnTo>
                  <a:lnTo>
                    <a:pt x="17" y="63"/>
                  </a:lnTo>
                  <a:close/>
                  <a:moveTo>
                    <a:pt x="21" y="61"/>
                  </a:moveTo>
                  <a:lnTo>
                    <a:pt x="21" y="59"/>
                  </a:lnTo>
                  <a:lnTo>
                    <a:pt x="22" y="59"/>
                  </a:lnTo>
                  <a:lnTo>
                    <a:pt x="22" y="61"/>
                  </a:lnTo>
                  <a:lnTo>
                    <a:pt x="21" y="61"/>
                  </a:lnTo>
                  <a:close/>
                  <a:moveTo>
                    <a:pt x="17" y="55"/>
                  </a:moveTo>
                  <a:lnTo>
                    <a:pt x="17" y="56"/>
                  </a:lnTo>
                  <a:lnTo>
                    <a:pt x="17" y="57"/>
                  </a:lnTo>
                  <a:lnTo>
                    <a:pt x="18" y="57"/>
                  </a:lnTo>
                  <a:lnTo>
                    <a:pt x="18" y="58"/>
                  </a:lnTo>
                  <a:lnTo>
                    <a:pt x="20" y="58"/>
                  </a:lnTo>
                  <a:lnTo>
                    <a:pt x="21" y="58"/>
                  </a:lnTo>
                  <a:lnTo>
                    <a:pt x="21" y="59"/>
                  </a:lnTo>
                  <a:lnTo>
                    <a:pt x="20" y="59"/>
                  </a:lnTo>
                  <a:lnTo>
                    <a:pt x="20" y="58"/>
                  </a:lnTo>
                  <a:lnTo>
                    <a:pt x="18" y="58"/>
                  </a:lnTo>
                  <a:lnTo>
                    <a:pt x="17" y="58"/>
                  </a:lnTo>
                  <a:lnTo>
                    <a:pt x="17" y="59"/>
                  </a:lnTo>
                  <a:lnTo>
                    <a:pt x="16" y="58"/>
                  </a:lnTo>
                  <a:lnTo>
                    <a:pt x="16" y="57"/>
                  </a:lnTo>
                  <a:lnTo>
                    <a:pt x="16" y="56"/>
                  </a:lnTo>
                  <a:lnTo>
                    <a:pt x="16" y="55"/>
                  </a:lnTo>
                  <a:lnTo>
                    <a:pt x="17" y="55"/>
                  </a:lnTo>
                  <a:close/>
                  <a:moveTo>
                    <a:pt x="20" y="55"/>
                  </a:moveTo>
                  <a:lnTo>
                    <a:pt x="18" y="54"/>
                  </a:lnTo>
                  <a:lnTo>
                    <a:pt x="20" y="54"/>
                  </a:lnTo>
                  <a:lnTo>
                    <a:pt x="20" y="55"/>
                  </a:lnTo>
                  <a:close/>
                  <a:moveTo>
                    <a:pt x="18" y="54"/>
                  </a:moveTo>
                  <a:lnTo>
                    <a:pt x="17" y="54"/>
                  </a:lnTo>
                  <a:lnTo>
                    <a:pt x="18" y="54"/>
                  </a:lnTo>
                  <a:lnTo>
                    <a:pt x="18" y="52"/>
                  </a:lnTo>
                  <a:lnTo>
                    <a:pt x="18" y="54"/>
                  </a:lnTo>
                  <a:close/>
                  <a:moveTo>
                    <a:pt x="20" y="51"/>
                  </a:moveTo>
                  <a:lnTo>
                    <a:pt x="18" y="51"/>
                  </a:lnTo>
                  <a:lnTo>
                    <a:pt x="17" y="51"/>
                  </a:lnTo>
                  <a:lnTo>
                    <a:pt x="16" y="51"/>
                  </a:lnTo>
                  <a:lnTo>
                    <a:pt x="15" y="50"/>
                  </a:lnTo>
                  <a:lnTo>
                    <a:pt x="15" y="49"/>
                  </a:lnTo>
                  <a:lnTo>
                    <a:pt x="16" y="49"/>
                  </a:lnTo>
                  <a:lnTo>
                    <a:pt x="17" y="49"/>
                  </a:lnTo>
                  <a:lnTo>
                    <a:pt x="17" y="48"/>
                  </a:lnTo>
                  <a:lnTo>
                    <a:pt x="18" y="48"/>
                  </a:lnTo>
                  <a:lnTo>
                    <a:pt x="20" y="49"/>
                  </a:lnTo>
                  <a:lnTo>
                    <a:pt x="18" y="50"/>
                  </a:lnTo>
                  <a:lnTo>
                    <a:pt x="20" y="50"/>
                  </a:lnTo>
                  <a:lnTo>
                    <a:pt x="20" y="51"/>
                  </a:lnTo>
                  <a:close/>
                  <a:moveTo>
                    <a:pt x="8" y="48"/>
                  </a:moveTo>
                  <a:lnTo>
                    <a:pt x="9" y="48"/>
                  </a:lnTo>
                  <a:lnTo>
                    <a:pt x="9" y="49"/>
                  </a:lnTo>
                  <a:lnTo>
                    <a:pt x="10" y="49"/>
                  </a:lnTo>
                  <a:lnTo>
                    <a:pt x="10" y="50"/>
                  </a:lnTo>
                  <a:lnTo>
                    <a:pt x="11" y="50"/>
                  </a:lnTo>
                  <a:lnTo>
                    <a:pt x="11" y="51"/>
                  </a:lnTo>
                  <a:lnTo>
                    <a:pt x="13" y="51"/>
                  </a:lnTo>
                  <a:lnTo>
                    <a:pt x="13" y="52"/>
                  </a:lnTo>
                  <a:lnTo>
                    <a:pt x="11" y="52"/>
                  </a:lnTo>
                  <a:lnTo>
                    <a:pt x="11" y="54"/>
                  </a:lnTo>
                  <a:lnTo>
                    <a:pt x="13" y="54"/>
                  </a:lnTo>
                  <a:lnTo>
                    <a:pt x="13" y="52"/>
                  </a:lnTo>
                  <a:lnTo>
                    <a:pt x="13" y="54"/>
                  </a:lnTo>
                  <a:lnTo>
                    <a:pt x="11" y="54"/>
                  </a:lnTo>
                  <a:lnTo>
                    <a:pt x="11" y="55"/>
                  </a:lnTo>
                  <a:lnTo>
                    <a:pt x="11" y="54"/>
                  </a:lnTo>
                  <a:lnTo>
                    <a:pt x="10" y="54"/>
                  </a:lnTo>
                  <a:lnTo>
                    <a:pt x="9" y="54"/>
                  </a:lnTo>
                  <a:lnTo>
                    <a:pt x="9" y="55"/>
                  </a:lnTo>
                  <a:lnTo>
                    <a:pt x="8" y="55"/>
                  </a:lnTo>
                  <a:lnTo>
                    <a:pt x="7" y="55"/>
                  </a:lnTo>
                  <a:lnTo>
                    <a:pt x="7" y="54"/>
                  </a:lnTo>
                  <a:lnTo>
                    <a:pt x="7" y="52"/>
                  </a:lnTo>
                  <a:lnTo>
                    <a:pt x="7" y="51"/>
                  </a:lnTo>
                  <a:lnTo>
                    <a:pt x="7" y="50"/>
                  </a:lnTo>
                  <a:lnTo>
                    <a:pt x="7" y="49"/>
                  </a:lnTo>
                  <a:lnTo>
                    <a:pt x="7" y="48"/>
                  </a:lnTo>
                  <a:lnTo>
                    <a:pt x="6" y="48"/>
                  </a:lnTo>
                  <a:lnTo>
                    <a:pt x="6" y="49"/>
                  </a:lnTo>
                  <a:lnTo>
                    <a:pt x="6" y="48"/>
                  </a:lnTo>
                  <a:lnTo>
                    <a:pt x="4" y="48"/>
                  </a:lnTo>
                  <a:lnTo>
                    <a:pt x="4" y="47"/>
                  </a:lnTo>
                  <a:lnTo>
                    <a:pt x="6" y="45"/>
                  </a:lnTo>
                  <a:lnTo>
                    <a:pt x="6" y="44"/>
                  </a:lnTo>
                  <a:lnTo>
                    <a:pt x="7" y="44"/>
                  </a:lnTo>
                  <a:lnTo>
                    <a:pt x="8" y="44"/>
                  </a:lnTo>
                  <a:lnTo>
                    <a:pt x="8" y="45"/>
                  </a:lnTo>
                  <a:lnTo>
                    <a:pt x="8" y="47"/>
                  </a:lnTo>
                  <a:lnTo>
                    <a:pt x="8" y="48"/>
                  </a:lnTo>
                  <a:close/>
                  <a:moveTo>
                    <a:pt x="7" y="42"/>
                  </a:moveTo>
                  <a:lnTo>
                    <a:pt x="6" y="42"/>
                  </a:lnTo>
                  <a:lnTo>
                    <a:pt x="4" y="41"/>
                  </a:lnTo>
                  <a:lnTo>
                    <a:pt x="6" y="40"/>
                  </a:lnTo>
                  <a:lnTo>
                    <a:pt x="7" y="40"/>
                  </a:lnTo>
                  <a:lnTo>
                    <a:pt x="7" y="41"/>
                  </a:lnTo>
                  <a:lnTo>
                    <a:pt x="7" y="42"/>
                  </a:lnTo>
                  <a:close/>
                  <a:moveTo>
                    <a:pt x="7" y="40"/>
                  </a:moveTo>
                  <a:lnTo>
                    <a:pt x="6" y="40"/>
                  </a:lnTo>
                  <a:lnTo>
                    <a:pt x="7" y="38"/>
                  </a:lnTo>
                  <a:lnTo>
                    <a:pt x="7" y="40"/>
                  </a:lnTo>
                  <a:close/>
                  <a:moveTo>
                    <a:pt x="20" y="45"/>
                  </a:moveTo>
                  <a:lnTo>
                    <a:pt x="20" y="44"/>
                  </a:lnTo>
                  <a:lnTo>
                    <a:pt x="20" y="43"/>
                  </a:lnTo>
                  <a:lnTo>
                    <a:pt x="20" y="42"/>
                  </a:lnTo>
                  <a:lnTo>
                    <a:pt x="20" y="41"/>
                  </a:lnTo>
                  <a:lnTo>
                    <a:pt x="20" y="40"/>
                  </a:lnTo>
                  <a:lnTo>
                    <a:pt x="20" y="38"/>
                  </a:lnTo>
                  <a:lnTo>
                    <a:pt x="21" y="37"/>
                  </a:lnTo>
                  <a:lnTo>
                    <a:pt x="21" y="38"/>
                  </a:lnTo>
                  <a:lnTo>
                    <a:pt x="21" y="40"/>
                  </a:lnTo>
                  <a:lnTo>
                    <a:pt x="21" y="41"/>
                  </a:lnTo>
                  <a:lnTo>
                    <a:pt x="21" y="42"/>
                  </a:lnTo>
                  <a:lnTo>
                    <a:pt x="21" y="43"/>
                  </a:lnTo>
                  <a:lnTo>
                    <a:pt x="21" y="44"/>
                  </a:lnTo>
                  <a:lnTo>
                    <a:pt x="21" y="45"/>
                  </a:lnTo>
                  <a:lnTo>
                    <a:pt x="20" y="45"/>
                  </a:lnTo>
                  <a:close/>
                  <a:moveTo>
                    <a:pt x="16" y="37"/>
                  </a:moveTo>
                  <a:lnTo>
                    <a:pt x="15" y="37"/>
                  </a:lnTo>
                  <a:lnTo>
                    <a:pt x="14" y="37"/>
                  </a:lnTo>
                  <a:lnTo>
                    <a:pt x="16" y="35"/>
                  </a:lnTo>
                  <a:lnTo>
                    <a:pt x="17" y="35"/>
                  </a:lnTo>
                  <a:lnTo>
                    <a:pt x="18" y="35"/>
                  </a:lnTo>
                  <a:lnTo>
                    <a:pt x="18" y="36"/>
                  </a:lnTo>
                  <a:lnTo>
                    <a:pt x="17" y="36"/>
                  </a:lnTo>
                  <a:lnTo>
                    <a:pt x="17" y="37"/>
                  </a:lnTo>
                  <a:lnTo>
                    <a:pt x="16" y="37"/>
                  </a:lnTo>
                  <a:close/>
                  <a:moveTo>
                    <a:pt x="21" y="36"/>
                  </a:moveTo>
                  <a:lnTo>
                    <a:pt x="21" y="35"/>
                  </a:lnTo>
                  <a:lnTo>
                    <a:pt x="21" y="34"/>
                  </a:lnTo>
                  <a:lnTo>
                    <a:pt x="21" y="33"/>
                  </a:lnTo>
                  <a:lnTo>
                    <a:pt x="21" y="30"/>
                  </a:lnTo>
                  <a:lnTo>
                    <a:pt x="21" y="29"/>
                  </a:lnTo>
                  <a:lnTo>
                    <a:pt x="22" y="29"/>
                  </a:lnTo>
                  <a:lnTo>
                    <a:pt x="22" y="30"/>
                  </a:lnTo>
                  <a:lnTo>
                    <a:pt x="22" y="31"/>
                  </a:lnTo>
                  <a:lnTo>
                    <a:pt x="22" y="33"/>
                  </a:lnTo>
                  <a:lnTo>
                    <a:pt x="22" y="34"/>
                  </a:lnTo>
                  <a:lnTo>
                    <a:pt x="22" y="35"/>
                  </a:lnTo>
                  <a:lnTo>
                    <a:pt x="21" y="35"/>
                  </a:lnTo>
                  <a:lnTo>
                    <a:pt x="21" y="36"/>
                  </a:lnTo>
                  <a:close/>
                  <a:moveTo>
                    <a:pt x="3" y="33"/>
                  </a:moveTo>
                  <a:lnTo>
                    <a:pt x="4" y="33"/>
                  </a:lnTo>
                  <a:lnTo>
                    <a:pt x="4" y="31"/>
                  </a:lnTo>
                  <a:lnTo>
                    <a:pt x="6" y="31"/>
                  </a:lnTo>
                  <a:lnTo>
                    <a:pt x="6" y="30"/>
                  </a:lnTo>
                  <a:lnTo>
                    <a:pt x="6" y="29"/>
                  </a:lnTo>
                  <a:lnTo>
                    <a:pt x="7" y="29"/>
                  </a:lnTo>
                  <a:lnTo>
                    <a:pt x="7" y="30"/>
                  </a:lnTo>
                  <a:lnTo>
                    <a:pt x="7" y="31"/>
                  </a:lnTo>
                  <a:lnTo>
                    <a:pt x="7" y="33"/>
                  </a:lnTo>
                  <a:lnTo>
                    <a:pt x="8" y="33"/>
                  </a:lnTo>
                  <a:lnTo>
                    <a:pt x="8" y="34"/>
                  </a:lnTo>
                  <a:lnTo>
                    <a:pt x="7" y="34"/>
                  </a:lnTo>
                  <a:lnTo>
                    <a:pt x="7" y="35"/>
                  </a:lnTo>
                  <a:lnTo>
                    <a:pt x="8" y="35"/>
                  </a:lnTo>
                  <a:lnTo>
                    <a:pt x="8" y="36"/>
                  </a:lnTo>
                  <a:lnTo>
                    <a:pt x="7" y="36"/>
                  </a:lnTo>
                  <a:lnTo>
                    <a:pt x="7" y="35"/>
                  </a:lnTo>
                  <a:lnTo>
                    <a:pt x="7" y="36"/>
                  </a:lnTo>
                  <a:lnTo>
                    <a:pt x="7" y="37"/>
                  </a:lnTo>
                  <a:lnTo>
                    <a:pt x="8" y="37"/>
                  </a:lnTo>
                  <a:lnTo>
                    <a:pt x="8" y="38"/>
                  </a:lnTo>
                  <a:lnTo>
                    <a:pt x="7" y="38"/>
                  </a:lnTo>
                  <a:lnTo>
                    <a:pt x="6" y="40"/>
                  </a:lnTo>
                  <a:lnTo>
                    <a:pt x="4" y="40"/>
                  </a:lnTo>
                  <a:lnTo>
                    <a:pt x="3" y="40"/>
                  </a:lnTo>
                  <a:lnTo>
                    <a:pt x="2" y="40"/>
                  </a:lnTo>
                  <a:lnTo>
                    <a:pt x="2" y="41"/>
                  </a:lnTo>
                  <a:lnTo>
                    <a:pt x="1" y="41"/>
                  </a:lnTo>
                  <a:lnTo>
                    <a:pt x="1" y="40"/>
                  </a:lnTo>
                  <a:lnTo>
                    <a:pt x="1" y="38"/>
                  </a:lnTo>
                  <a:lnTo>
                    <a:pt x="0" y="38"/>
                  </a:lnTo>
                  <a:lnTo>
                    <a:pt x="0" y="37"/>
                  </a:lnTo>
                  <a:lnTo>
                    <a:pt x="0" y="36"/>
                  </a:lnTo>
                  <a:lnTo>
                    <a:pt x="0" y="35"/>
                  </a:lnTo>
                  <a:lnTo>
                    <a:pt x="0" y="34"/>
                  </a:lnTo>
                  <a:lnTo>
                    <a:pt x="1" y="34"/>
                  </a:lnTo>
                  <a:lnTo>
                    <a:pt x="0" y="33"/>
                  </a:lnTo>
                  <a:lnTo>
                    <a:pt x="0" y="31"/>
                  </a:lnTo>
                  <a:lnTo>
                    <a:pt x="1" y="30"/>
                  </a:lnTo>
                  <a:lnTo>
                    <a:pt x="0" y="30"/>
                  </a:lnTo>
                  <a:lnTo>
                    <a:pt x="0" y="29"/>
                  </a:lnTo>
                  <a:lnTo>
                    <a:pt x="0" y="28"/>
                  </a:lnTo>
                  <a:lnTo>
                    <a:pt x="0" y="27"/>
                  </a:lnTo>
                  <a:lnTo>
                    <a:pt x="0" y="26"/>
                  </a:lnTo>
                  <a:lnTo>
                    <a:pt x="1" y="26"/>
                  </a:lnTo>
                  <a:lnTo>
                    <a:pt x="1" y="24"/>
                  </a:lnTo>
                  <a:lnTo>
                    <a:pt x="2" y="24"/>
                  </a:lnTo>
                  <a:lnTo>
                    <a:pt x="2" y="26"/>
                  </a:lnTo>
                  <a:lnTo>
                    <a:pt x="2" y="27"/>
                  </a:lnTo>
                  <a:lnTo>
                    <a:pt x="3" y="27"/>
                  </a:lnTo>
                  <a:lnTo>
                    <a:pt x="3" y="28"/>
                  </a:lnTo>
                  <a:lnTo>
                    <a:pt x="3" y="29"/>
                  </a:lnTo>
                  <a:lnTo>
                    <a:pt x="3" y="30"/>
                  </a:lnTo>
                  <a:lnTo>
                    <a:pt x="3" y="33"/>
                  </a:lnTo>
                  <a:close/>
                  <a:moveTo>
                    <a:pt x="16" y="16"/>
                  </a:moveTo>
                  <a:lnTo>
                    <a:pt x="16" y="17"/>
                  </a:lnTo>
                  <a:lnTo>
                    <a:pt x="17" y="17"/>
                  </a:lnTo>
                  <a:lnTo>
                    <a:pt x="16" y="19"/>
                  </a:lnTo>
                  <a:lnTo>
                    <a:pt x="16" y="20"/>
                  </a:lnTo>
                  <a:lnTo>
                    <a:pt x="15" y="20"/>
                  </a:lnTo>
                  <a:lnTo>
                    <a:pt x="14" y="20"/>
                  </a:lnTo>
                  <a:lnTo>
                    <a:pt x="14" y="19"/>
                  </a:lnTo>
                  <a:lnTo>
                    <a:pt x="14" y="17"/>
                  </a:lnTo>
                  <a:lnTo>
                    <a:pt x="15" y="16"/>
                  </a:lnTo>
                  <a:lnTo>
                    <a:pt x="15" y="17"/>
                  </a:lnTo>
                  <a:lnTo>
                    <a:pt x="15" y="16"/>
                  </a:lnTo>
                  <a:lnTo>
                    <a:pt x="16" y="16"/>
                  </a:lnTo>
                  <a:close/>
                  <a:moveTo>
                    <a:pt x="17" y="12"/>
                  </a:moveTo>
                  <a:lnTo>
                    <a:pt x="17" y="13"/>
                  </a:lnTo>
                  <a:lnTo>
                    <a:pt x="16" y="13"/>
                  </a:lnTo>
                  <a:lnTo>
                    <a:pt x="16" y="14"/>
                  </a:lnTo>
                  <a:lnTo>
                    <a:pt x="15" y="14"/>
                  </a:lnTo>
                  <a:lnTo>
                    <a:pt x="15" y="13"/>
                  </a:lnTo>
                  <a:lnTo>
                    <a:pt x="15" y="12"/>
                  </a:lnTo>
                  <a:lnTo>
                    <a:pt x="15" y="10"/>
                  </a:lnTo>
                  <a:lnTo>
                    <a:pt x="16" y="10"/>
                  </a:lnTo>
                  <a:lnTo>
                    <a:pt x="16" y="9"/>
                  </a:lnTo>
                  <a:lnTo>
                    <a:pt x="17" y="10"/>
                  </a:lnTo>
                  <a:lnTo>
                    <a:pt x="17" y="12"/>
                  </a:lnTo>
                  <a:close/>
                  <a:moveTo>
                    <a:pt x="20" y="9"/>
                  </a:moveTo>
                  <a:lnTo>
                    <a:pt x="18" y="9"/>
                  </a:lnTo>
                  <a:lnTo>
                    <a:pt x="20" y="8"/>
                  </a:lnTo>
                  <a:lnTo>
                    <a:pt x="20" y="9"/>
                  </a:lnTo>
                  <a:close/>
                  <a:moveTo>
                    <a:pt x="15" y="7"/>
                  </a:moveTo>
                  <a:lnTo>
                    <a:pt x="14" y="7"/>
                  </a:lnTo>
                  <a:lnTo>
                    <a:pt x="15" y="7"/>
                  </a:lnTo>
                  <a:lnTo>
                    <a:pt x="15" y="6"/>
                  </a:lnTo>
                  <a:lnTo>
                    <a:pt x="15" y="7"/>
                  </a:lnTo>
                  <a:close/>
                  <a:moveTo>
                    <a:pt x="6" y="5"/>
                  </a:moveTo>
                  <a:lnTo>
                    <a:pt x="6" y="6"/>
                  </a:lnTo>
                  <a:lnTo>
                    <a:pt x="6" y="5"/>
                  </a:lnTo>
                  <a:close/>
                  <a:moveTo>
                    <a:pt x="4" y="1"/>
                  </a:moveTo>
                  <a:lnTo>
                    <a:pt x="4" y="0"/>
                  </a:lnTo>
                  <a:lnTo>
                    <a:pt x="6" y="0"/>
                  </a:lnTo>
                  <a:lnTo>
                    <a:pt x="6" y="1"/>
                  </a:lnTo>
                  <a:lnTo>
                    <a:pt x="4"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79" name="Freeform 1042">
              <a:extLst>
                <a:ext uri="{FF2B5EF4-FFF2-40B4-BE49-F238E27FC236}">
                  <a16:creationId xmlns:a16="http://schemas.microsoft.com/office/drawing/2014/main" id="{A117A3A3-1887-4C18-845D-5F2366EF0412}"/>
                </a:ext>
              </a:extLst>
            </p:cNvPr>
            <p:cNvSpPr>
              <a:spLocks/>
            </p:cNvSpPr>
            <p:nvPr/>
          </p:nvSpPr>
          <p:spPr bwMode="auto">
            <a:xfrm>
              <a:off x="6382023" y="2615345"/>
              <a:ext cx="6678" cy="1336"/>
            </a:xfrm>
            <a:custGeom>
              <a:avLst/>
              <a:gdLst>
                <a:gd name="T0" fmla="*/ 3 w 5"/>
                <a:gd name="T1" fmla="*/ 0 h 1"/>
                <a:gd name="T2" fmla="*/ 3 w 5"/>
                <a:gd name="T3" fmla="*/ 1 h 1"/>
                <a:gd name="T4" fmla="*/ 3 w 5"/>
                <a:gd name="T5" fmla="*/ 1 h 1"/>
                <a:gd name="T6" fmla="*/ 5 w 5"/>
                <a:gd name="T7" fmla="*/ 1 h 1"/>
                <a:gd name="T8" fmla="*/ 5 w 5"/>
                <a:gd name="T9" fmla="*/ 1 h 1"/>
                <a:gd name="T10" fmla="*/ 3 w 5"/>
                <a:gd name="T11" fmla="*/ 1 h 1"/>
                <a:gd name="T12" fmla="*/ 3 w 5"/>
                <a:gd name="T13" fmla="*/ 1 h 1"/>
                <a:gd name="T14" fmla="*/ 3 w 5"/>
                <a:gd name="T15" fmla="*/ 1 h 1"/>
                <a:gd name="T16" fmla="*/ 2 w 5"/>
                <a:gd name="T17" fmla="*/ 0 h 1"/>
                <a:gd name="T18" fmla="*/ 2 w 5"/>
                <a:gd name="T19" fmla="*/ 0 h 1"/>
                <a:gd name="T20" fmla="*/ 2 w 5"/>
                <a:gd name="T21" fmla="*/ 0 h 1"/>
                <a:gd name="T22" fmla="*/ 1 w 5"/>
                <a:gd name="T23" fmla="*/ 0 h 1"/>
                <a:gd name="T24" fmla="*/ 1 w 5"/>
                <a:gd name="T25" fmla="*/ 0 h 1"/>
                <a:gd name="T26" fmla="*/ 0 w 5"/>
                <a:gd name="T27" fmla="*/ 0 h 1"/>
                <a:gd name="T28" fmla="*/ 0 w 5"/>
                <a:gd name="T29" fmla="*/ 0 h 1"/>
                <a:gd name="T30" fmla="*/ 0 w 5"/>
                <a:gd name="T31" fmla="*/ 0 h 1"/>
                <a:gd name="T32" fmla="*/ 1 w 5"/>
                <a:gd name="T33" fmla="*/ 0 h 1"/>
                <a:gd name="T34" fmla="*/ 1 w 5"/>
                <a:gd name="T35" fmla="*/ 0 h 1"/>
                <a:gd name="T36" fmla="*/ 1 w 5"/>
                <a:gd name="T37" fmla="*/ 0 h 1"/>
                <a:gd name="T38" fmla="*/ 1 w 5"/>
                <a:gd name="T39" fmla="*/ 0 h 1"/>
                <a:gd name="T40" fmla="*/ 1 w 5"/>
                <a:gd name="T41" fmla="*/ 0 h 1"/>
                <a:gd name="T42" fmla="*/ 1 w 5"/>
                <a:gd name="T43" fmla="*/ 0 h 1"/>
                <a:gd name="T44" fmla="*/ 1 w 5"/>
                <a:gd name="T45" fmla="*/ 0 h 1"/>
                <a:gd name="T46" fmla="*/ 1 w 5"/>
                <a:gd name="T47" fmla="*/ 0 h 1"/>
                <a:gd name="T48" fmla="*/ 1 w 5"/>
                <a:gd name="T49" fmla="*/ 0 h 1"/>
                <a:gd name="T50" fmla="*/ 1 w 5"/>
                <a:gd name="T51" fmla="*/ 0 h 1"/>
                <a:gd name="T52" fmla="*/ 1 w 5"/>
                <a:gd name="T53" fmla="*/ 0 h 1"/>
                <a:gd name="T54" fmla="*/ 2 w 5"/>
                <a:gd name="T55" fmla="*/ 0 h 1"/>
                <a:gd name="T56" fmla="*/ 2 w 5"/>
                <a:gd name="T57" fmla="*/ 0 h 1"/>
                <a:gd name="T58" fmla="*/ 2 w 5"/>
                <a:gd name="T59" fmla="*/ 0 h 1"/>
                <a:gd name="T60" fmla="*/ 2 w 5"/>
                <a:gd name="T61" fmla="*/ 0 h 1"/>
                <a:gd name="T62" fmla="*/ 2 w 5"/>
                <a:gd name="T63" fmla="*/ 0 h 1"/>
                <a:gd name="T64" fmla="*/ 2 w 5"/>
                <a:gd name="T65" fmla="*/ 0 h 1"/>
                <a:gd name="T66" fmla="*/ 2 w 5"/>
                <a:gd name="T67" fmla="*/ 0 h 1"/>
                <a:gd name="T68" fmla="*/ 2 w 5"/>
                <a:gd name="T69" fmla="*/ 0 h 1"/>
                <a:gd name="T70" fmla="*/ 2 w 5"/>
                <a:gd name="T71" fmla="*/ 0 h 1"/>
                <a:gd name="T72" fmla="*/ 3 w 5"/>
                <a:gd name="T73" fmla="*/ 0 h 1"/>
                <a:gd name="T74" fmla="*/ 3 w 5"/>
                <a:gd name="T75" fmla="*/ 0 h 1"/>
                <a:gd name="T76" fmla="*/ 3 w 5"/>
                <a:gd name="T77" fmla="*/ 0 h 1"/>
                <a:gd name="T78" fmla="*/ 3 w 5"/>
                <a:gd name="T79" fmla="*/ 0 h 1"/>
                <a:gd name="T80" fmla="*/ 3 w 5"/>
                <a:gd name="T81" fmla="*/ 0 h 1"/>
                <a:gd name="T82" fmla="*/ 3 w 5"/>
                <a:gd name="T83" fmla="*/ 0 h 1"/>
                <a:gd name="T84" fmla="*/ 3 w 5"/>
                <a:gd name="T85" fmla="*/ 1 h 1"/>
                <a:gd name="T86" fmla="*/ 3 w 5"/>
                <a:gd name="T87" fmla="*/ 1 h 1"/>
                <a:gd name="T88" fmla="*/ 3 w 5"/>
                <a:gd name="T89" fmla="*/ 0 h 1"/>
                <a:gd name="T90" fmla="*/ 3 w 5"/>
                <a:gd name="T91" fmla="*/ 0 h 1"/>
                <a:gd name="T92" fmla="*/ 3 w 5"/>
                <a:gd name="T9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 h="1">
                  <a:moveTo>
                    <a:pt x="3" y="0"/>
                  </a:moveTo>
                  <a:lnTo>
                    <a:pt x="3" y="1"/>
                  </a:lnTo>
                  <a:lnTo>
                    <a:pt x="3" y="1"/>
                  </a:lnTo>
                  <a:lnTo>
                    <a:pt x="5" y="1"/>
                  </a:lnTo>
                  <a:lnTo>
                    <a:pt x="5" y="1"/>
                  </a:lnTo>
                  <a:lnTo>
                    <a:pt x="3" y="1"/>
                  </a:lnTo>
                  <a:lnTo>
                    <a:pt x="3" y="1"/>
                  </a:lnTo>
                  <a:lnTo>
                    <a:pt x="3" y="1"/>
                  </a:lnTo>
                  <a:lnTo>
                    <a:pt x="2" y="0"/>
                  </a:lnTo>
                  <a:lnTo>
                    <a:pt x="2" y="0"/>
                  </a:lnTo>
                  <a:lnTo>
                    <a:pt x="2" y="0"/>
                  </a:lnTo>
                  <a:lnTo>
                    <a:pt x="1" y="0"/>
                  </a:lnTo>
                  <a:lnTo>
                    <a:pt x="1" y="0"/>
                  </a:lnTo>
                  <a:lnTo>
                    <a:pt x="0" y="0"/>
                  </a:lnTo>
                  <a:lnTo>
                    <a:pt x="0" y="0"/>
                  </a:lnTo>
                  <a:lnTo>
                    <a:pt x="0" y="0"/>
                  </a:lnTo>
                  <a:lnTo>
                    <a:pt x="1" y="0"/>
                  </a:lnTo>
                  <a:lnTo>
                    <a:pt x="1" y="0"/>
                  </a:lnTo>
                  <a:lnTo>
                    <a:pt x="1" y="0"/>
                  </a:lnTo>
                  <a:lnTo>
                    <a:pt x="1" y="0"/>
                  </a:lnTo>
                  <a:lnTo>
                    <a:pt x="1" y="0"/>
                  </a:lnTo>
                  <a:lnTo>
                    <a:pt x="1" y="0"/>
                  </a:lnTo>
                  <a:lnTo>
                    <a:pt x="1" y="0"/>
                  </a:lnTo>
                  <a:lnTo>
                    <a:pt x="1" y="0"/>
                  </a:lnTo>
                  <a:lnTo>
                    <a:pt x="1" y="0"/>
                  </a:lnTo>
                  <a:lnTo>
                    <a:pt x="1" y="0"/>
                  </a:lnTo>
                  <a:lnTo>
                    <a:pt x="1" y="0"/>
                  </a:lnTo>
                  <a:lnTo>
                    <a:pt x="2" y="0"/>
                  </a:lnTo>
                  <a:lnTo>
                    <a:pt x="2" y="0"/>
                  </a:lnTo>
                  <a:lnTo>
                    <a:pt x="2" y="0"/>
                  </a:lnTo>
                  <a:lnTo>
                    <a:pt x="2" y="0"/>
                  </a:lnTo>
                  <a:lnTo>
                    <a:pt x="2" y="0"/>
                  </a:lnTo>
                  <a:lnTo>
                    <a:pt x="2" y="0"/>
                  </a:lnTo>
                  <a:lnTo>
                    <a:pt x="2" y="0"/>
                  </a:lnTo>
                  <a:lnTo>
                    <a:pt x="2" y="0"/>
                  </a:lnTo>
                  <a:lnTo>
                    <a:pt x="2" y="0"/>
                  </a:lnTo>
                  <a:lnTo>
                    <a:pt x="3" y="0"/>
                  </a:lnTo>
                  <a:lnTo>
                    <a:pt x="3" y="0"/>
                  </a:lnTo>
                  <a:lnTo>
                    <a:pt x="3" y="0"/>
                  </a:lnTo>
                  <a:lnTo>
                    <a:pt x="3" y="0"/>
                  </a:lnTo>
                  <a:lnTo>
                    <a:pt x="3" y="0"/>
                  </a:lnTo>
                  <a:lnTo>
                    <a:pt x="3" y="0"/>
                  </a:lnTo>
                  <a:lnTo>
                    <a:pt x="3" y="1"/>
                  </a:lnTo>
                  <a:lnTo>
                    <a:pt x="3" y="1"/>
                  </a:lnTo>
                  <a:lnTo>
                    <a:pt x="3" y="0"/>
                  </a:lnTo>
                  <a:lnTo>
                    <a:pt x="3" y="0"/>
                  </a:lnTo>
                  <a:lnTo>
                    <a:pt x="3"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80" name="Freeform 1044">
              <a:extLst>
                <a:ext uri="{FF2B5EF4-FFF2-40B4-BE49-F238E27FC236}">
                  <a16:creationId xmlns:a16="http://schemas.microsoft.com/office/drawing/2014/main" id="{DD4D8BD8-730A-49A1-A0C7-F675C87E22AC}"/>
                </a:ext>
              </a:extLst>
            </p:cNvPr>
            <p:cNvSpPr>
              <a:spLocks noEditPoints="1"/>
            </p:cNvSpPr>
            <p:nvPr/>
          </p:nvSpPr>
          <p:spPr bwMode="auto">
            <a:xfrm>
              <a:off x="6590359" y="2946546"/>
              <a:ext cx="225698" cy="145569"/>
            </a:xfrm>
            <a:custGeom>
              <a:avLst/>
              <a:gdLst>
                <a:gd name="T0" fmla="*/ 137 w 169"/>
                <a:gd name="T1" fmla="*/ 108 h 109"/>
                <a:gd name="T2" fmla="*/ 137 w 169"/>
                <a:gd name="T3" fmla="*/ 108 h 109"/>
                <a:gd name="T4" fmla="*/ 14 w 169"/>
                <a:gd name="T5" fmla="*/ 101 h 109"/>
                <a:gd name="T6" fmla="*/ 158 w 169"/>
                <a:gd name="T7" fmla="*/ 101 h 109"/>
                <a:gd name="T8" fmla="*/ 164 w 169"/>
                <a:gd name="T9" fmla="*/ 101 h 109"/>
                <a:gd name="T10" fmla="*/ 167 w 169"/>
                <a:gd name="T11" fmla="*/ 103 h 109"/>
                <a:gd name="T12" fmla="*/ 160 w 169"/>
                <a:gd name="T13" fmla="*/ 105 h 109"/>
                <a:gd name="T14" fmla="*/ 153 w 169"/>
                <a:gd name="T15" fmla="*/ 104 h 109"/>
                <a:gd name="T16" fmla="*/ 153 w 169"/>
                <a:gd name="T17" fmla="*/ 100 h 109"/>
                <a:gd name="T18" fmla="*/ 3 w 169"/>
                <a:gd name="T19" fmla="*/ 84 h 109"/>
                <a:gd name="T20" fmla="*/ 5 w 169"/>
                <a:gd name="T21" fmla="*/ 80 h 109"/>
                <a:gd name="T22" fmla="*/ 1 w 169"/>
                <a:gd name="T23" fmla="*/ 56 h 109"/>
                <a:gd name="T24" fmla="*/ 142 w 169"/>
                <a:gd name="T25" fmla="*/ 38 h 109"/>
                <a:gd name="T26" fmla="*/ 134 w 169"/>
                <a:gd name="T27" fmla="*/ 42 h 109"/>
                <a:gd name="T28" fmla="*/ 134 w 169"/>
                <a:gd name="T29" fmla="*/ 49 h 109"/>
                <a:gd name="T30" fmla="*/ 129 w 169"/>
                <a:gd name="T31" fmla="*/ 55 h 109"/>
                <a:gd name="T32" fmla="*/ 126 w 169"/>
                <a:gd name="T33" fmla="*/ 58 h 109"/>
                <a:gd name="T34" fmla="*/ 121 w 169"/>
                <a:gd name="T35" fmla="*/ 60 h 109"/>
                <a:gd name="T36" fmla="*/ 107 w 169"/>
                <a:gd name="T37" fmla="*/ 65 h 109"/>
                <a:gd name="T38" fmla="*/ 96 w 169"/>
                <a:gd name="T39" fmla="*/ 68 h 109"/>
                <a:gd name="T40" fmla="*/ 91 w 169"/>
                <a:gd name="T41" fmla="*/ 73 h 109"/>
                <a:gd name="T42" fmla="*/ 87 w 169"/>
                <a:gd name="T43" fmla="*/ 77 h 109"/>
                <a:gd name="T44" fmla="*/ 81 w 169"/>
                <a:gd name="T45" fmla="*/ 79 h 109"/>
                <a:gd name="T46" fmla="*/ 72 w 169"/>
                <a:gd name="T47" fmla="*/ 81 h 109"/>
                <a:gd name="T48" fmla="*/ 59 w 169"/>
                <a:gd name="T49" fmla="*/ 88 h 109"/>
                <a:gd name="T50" fmla="*/ 48 w 169"/>
                <a:gd name="T51" fmla="*/ 89 h 109"/>
                <a:gd name="T52" fmla="*/ 41 w 169"/>
                <a:gd name="T53" fmla="*/ 94 h 109"/>
                <a:gd name="T54" fmla="*/ 37 w 169"/>
                <a:gd name="T55" fmla="*/ 98 h 109"/>
                <a:gd name="T56" fmla="*/ 32 w 169"/>
                <a:gd name="T57" fmla="*/ 98 h 109"/>
                <a:gd name="T58" fmla="*/ 24 w 169"/>
                <a:gd name="T59" fmla="*/ 101 h 109"/>
                <a:gd name="T60" fmla="*/ 19 w 169"/>
                <a:gd name="T61" fmla="*/ 100 h 109"/>
                <a:gd name="T62" fmla="*/ 15 w 169"/>
                <a:gd name="T63" fmla="*/ 97 h 109"/>
                <a:gd name="T64" fmla="*/ 12 w 169"/>
                <a:gd name="T65" fmla="*/ 89 h 109"/>
                <a:gd name="T66" fmla="*/ 10 w 169"/>
                <a:gd name="T67" fmla="*/ 80 h 109"/>
                <a:gd name="T68" fmla="*/ 7 w 169"/>
                <a:gd name="T69" fmla="*/ 73 h 109"/>
                <a:gd name="T70" fmla="*/ 7 w 169"/>
                <a:gd name="T71" fmla="*/ 70 h 109"/>
                <a:gd name="T72" fmla="*/ 6 w 169"/>
                <a:gd name="T73" fmla="*/ 66 h 109"/>
                <a:gd name="T74" fmla="*/ 5 w 169"/>
                <a:gd name="T75" fmla="*/ 61 h 109"/>
                <a:gd name="T76" fmla="*/ 2 w 169"/>
                <a:gd name="T77" fmla="*/ 59 h 109"/>
                <a:gd name="T78" fmla="*/ 2 w 169"/>
                <a:gd name="T79" fmla="*/ 54 h 109"/>
                <a:gd name="T80" fmla="*/ 3 w 169"/>
                <a:gd name="T81" fmla="*/ 46 h 109"/>
                <a:gd name="T82" fmla="*/ 6 w 169"/>
                <a:gd name="T83" fmla="*/ 39 h 109"/>
                <a:gd name="T84" fmla="*/ 7 w 169"/>
                <a:gd name="T85" fmla="*/ 33 h 109"/>
                <a:gd name="T86" fmla="*/ 8 w 169"/>
                <a:gd name="T87" fmla="*/ 25 h 109"/>
                <a:gd name="T88" fmla="*/ 16 w 169"/>
                <a:gd name="T89" fmla="*/ 26 h 109"/>
                <a:gd name="T90" fmla="*/ 23 w 169"/>
                <a:gd name="T91" fmla="*/ 25 h 109"/>
                <a:gd name="T92" fmla="*/ 35 w 169"/>
                <a:gd name="T93" fmla="*/ 25 h 109"/>
                <a:gd name="T94" fmla="*/ 53 w 169"/>
                <a:gd name="T95" fmla="*/ 27 h 109"/>
                <a:gd name="T96" fmla="*/ 63 w 169"/>
                <a:gd name="T97" fmla="*/ 32 h 109"/>
                <a:gd name="T98" fmla="*/ 71 w 169"/>
                <a:gd name="T99" fmla="*/ 19 h 109"/>
                <a:gd name="T100" fmla="*/ 84 w 169"/>
                <a:gd name="T101" fmla="*/ 9 h 109"/>
                <a:gd name="T102" fmla="*/ 96 w 169"/>
                <a:gd name="T103" fmla="*/ 5 h 109"/>
                <a:gd name="T104" fmla="*/ 112 w 169"/>
                <a:gd name="T105" fmla="*/ 3 h 109"/>
                <a:gd name="T106" fmla="*/ 127 w 169"/>
                <a:gd name="T107" fmla="*/ 0 h 109"/>
                <a:gd name="T108" fmla="*/ 131 w 169"/>
                <a:gd name="T109" fmla="*/ 11 h 109"/>
                <a:gd name="T110" fmla="*/ 136 w 169"/>
                <a:gd name="T111" fmla="*/ 21 h 109"/>
                <a:gd name="T112" fmla="*/ 142 w 169"/>
                <a:gd name="T113" fmla="*/ 3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9" h="109">
                  <a:moveTo>
                    <a:pt x="148" y="108"/>
                  </a:moveTo>
                  <a:lnTo>
                    <a:pt x="149" y="108"/>
                  </a:lnTo>
                  <a:lnTo>
                    <a:pt x="149" y="109"/>
                  </a:lnTo>
                  <a:lnTo>
                    <a:pt x="148" y="109"/>
                  </a:lnTo>
                  <a:lnTo>
                    <a:pt x="148" y="108"/>
                  </a:lnTo>
                  <a:close/>
                  <a:moveTo>
                    <a:pt x="136" y="108"/>
                  </a:moveTo>
                  <a:lnTo>
                    <a:pt x="137" y="108"/>
                  </a:lnTo>
                  <a:lnTo>
                    <a:pt x="138" y="108"/>
                  </a:lnTo>
                  <a:lnTo>
                    <a:pt x="140" y="108"/>
                  </a:lnTo>
                  <a:lnTo>
                    <a:pt x="138" y="108"/>
                  </a:lnTo>
                  <a:lnTo>
                    <a:pt x="138" y="109"/>
                  </a:lnTo>
                  <a:lnTo>
                    <a:pt x="138" y="108"/>
                  </a:lnTo>
                  <a:lnTo>
                    <a:pt x="138" y="109"/>
                  </a:lnTo>
                  <a:lnTo>
                    <a:pt x="137" y="108"/>
                  </a:lnTo>
                  <a:lnTo>
                    <a:pt x="136" y="108"/>
                  </a:lnTo>
                  <a:lnTo>
                    <a:pt x="135" y="108"/>
                  </a:lnTo>
                  <a:lnTo>
                    <a:pt x="135" y="107"/>
                  </a:lnTo>
                  <a:lnTo>
                    <a:pt x="136" y="107"/>
                  </a:lnTo>
                  <a:lnTo>
                    <a:pt x="136" y="108"/>
                  </a:lnTo>
                  <a:close/>
                  <a:moveTo>
                    <a:pt x="15" y="101"/>
                  </a:moveTo>
                  <a:lnTo>
                    <a:pt x="14" y="101"/>
                  </a:lnTo>
                  <a:lnTo>
                    <a:pt x="14" y="100"/>
                  </a:lnTo>
                  <a:lnTo>
                    <a:pt x="15" y="100"/>
                  </a:lnTo>
                  <a:lnTo>
                    <a:pt x="15" y="101"/>
                  </a:lnTo>
                  <a:close/>
                  <a:moveTo>
                    <a:pt x="155" y="100"/>
                  </a:moveTo>
                  <a:lnTo>
                    <a:pt x="156" y="100"/>
                  </a:lnTo>
                  <a:lnTo>
                    <a:pt x="157" y="100"/>
                  </a:lnTo>
                  <a:lnTo>
                    <a:pt x="158" y="101"/>
                  </a:lnTo>
                  <a:lnTo>
                    <a:pt x="159" y="101"/>
                  </a:lnTo>
                  <a:lnTo>
                    <a:pt x="160" y="101"/>
                  </a:lnTo>
                  <a:lnTo>
                    <a:pt x="162" y="100"/>
                  </a:lnTo>
                  <a:lnTo>
                    <a:pt x="163" y="100"/>
                  </a:lnTo>
                  <a:lnTo>
                    <a:pt x="163" y="101"/>
                  </a:lnTo>
                  <a:lnTo>
                    <a:pt x="164" y="100"/>
                  </a:lnTo>
                  <a:lnTo>
                    <a:pt x="164" y="101"/>
                  </a:lnTo>
                  <a:lnTo>
                    <a:pt x="165" y="101"/>
                  </a:lnTo>
                  <a:lnTo>
                    <a:pt x="166" y="101"/>
                  </a:lnTo>
                  <a:lnTo>
                    <a:pt x="166" y="102"/>
                  </a:lnTo>
                  <a:lnTo>
                    <a:pt x="167" y="102"/>
                  </a:lnTo>
                  <a:lnTo>
                    <a:pt x="169" y="102"/>
                  </a:lnTo>
                  <a:lnTo>
                    <a:pt x="167" y="102"/>
                  </a:lnTo>
                  <a:lnTo>
                    <a:pt x="167" y="103"/>
                  </a:lnTo>
                  <a:lnTo>
                    <a:pt x="166" y="103"/>
                  </a:lnTo>
                  <a:lnTo>
                    <a:pt x="165" y="104"/>
                  </a:lnTo>
                  <a:lnTo>
                    <a:pt x="165" y="103"/>
                  </a:lnTo>
                  <a:lnTo>
                    <a:pt x="164" y="104"/>
                  </a:lnTo>
                  <a:lnTo>
                    <a:pt x="163" y="105"/>
                  </a:lnTo>
                  <a:lnTo>
                    <a:pt x="162" y="105"/>
                  </a:lnTo>
                  <a:lnTo>
                    <a:pt x="160" y="105"/>
                  </a:lnTo>
                  <a:lnTo>
                    <a:pt x="159" y="105"/>
                  </a:lnTo>
                  <a:lnTo>
                    <a:pt x="158" y="105"/>
                  </a:lnTo>
                  <a:lnTo>
                    <a:pt x="157" y="105"/>
                  </a:lnTo>
                  <a:lnTo>
                    <a:pt x="156" y="105"/>
                  </a:lnTo>
                  <a:lnTo>
                    <a:pt x="155" y="105"/>
                  </a:lnTo>
                  <a:lnTo>
                    <a:pt x="155" y="104"/>
                  </a:lnTo>
                  <a:lnTo>
                    <a:pt x="153" y="104"/>
                  </a:lnTo>
                  <a:lnTo>
                    <a:pt x="153" y="103"/>
                  </a:lnTo>
                  <a:lnTo>
                    <a:pt x="152" y="103"/>
                  </a:lnTo>
                  <a:lnTo>
                    <a:pt x="151" y="102"/>
                  </a:lnTo>
                  <a:lnTo>
                    <a:pt x="152" y="102"/>
                  </a:lnTo>
                  <a:lnTo>
                    <a:pt x="152" y="101"/>
                  </a:lnTo>
                  <a:lnTo>
                    <a:pt x="153" y="101"/>
                  </a:lnTo>
                  <a:lnTo>
                    <a:pt x="153" y="100"/>
                  </a:lnTo>
                  <a:lnTo>
                    <a:pt x="155" y="100"/>
                  </a:lnTo>
                  <a:close/>
                  <a:moveTo>
                    <a:pt x="3" y="84"/>
                  </a:moveTo>
                  <a:lnTo>
                    <a:pt x="3" y="83"/>
                  </a:lnTo>
                  <a:lnTo>
                    <a:pt x="5" y="82"/>
                  </a:lnTo>
                  <a:lnTo>
                    <a:pt x="5" y="83"/>
                  </a:lnTo>
                  <a:lnTo>
                    <a:pt x="5" y="84"/>
                  </a:lnTo>
                  <a:lnTo>
                    <a:pt x="3" y="84"/>
                  </a:lnTo>
                  <a:close/>
                  <a:moveTo>
                    <a:pt x="5" y="80"/>
                  </a:moveTo>
                  <a:lnTo>
                    <a:pt x="3" y="80"/>
                  </a:lnTo>
                  <a:lnTo>
                    <a:pt x="3" y="79"/>
                  </a:lnTo>
                  <a:lnTo>
                    <a:pt x="5" y="79"/>
                  </a:lnTo>
                  <a:lnTo>
                    <a:pt x="5" y="77"/>
                  </a:lnTo>
                  <a:lnTo>
                    <a:pt x="5" y="79"/>
                  </a:lnTo>
                  <a:lnTo>
                    <a:pt x="5" y="80"/>
                  </a:lnTo>
                  <a:close/>
                  <a:moveTo>
                    <a:pt x="1" y="58"/>
                  </a:moveTo>
                  <a:lnTo>
                    <a:pt x="1" y="56"/>
                  </a:lnTo>
                  <a:lnTo>
                    <a:pt x="1" y="58"/>
                  </a:lnTo>
                  <a:lnTo>
                    <a:pt x="1" y="59"/>
                  </a:lnTo>
                  <a:lnTo>
                    <a:pt x="0" y="59"/>
                  </a:lnTo>
                  <a:lnTo>
                    <a:pt x="0" y="58"/>
                  </a:lnTo>
                  <a:lnTo>
                    <a:pt x="1" y="56"/>
                  </a:lnTo>
                  <a:lnTo>
                    <a:pt x="1" y="58"/>
                  </a:lnTo>
                  <a:close/>
                  <a:moveTo>
                    <a:pt x="142" y="31"/>
                  </a:moveTo>
                  <a:lnTo>
                    <a:pt x="143" y="33"/>
                  </a:lnTo>
                  <a:lnTo>
                    <a:pt x="143" y="35"/>
                  </a:lnTo>
                  <a:lnTo>
                    <a:pt x="144" y="38"/>
                  </a:lnTo>
                  <a:lnTo>
                    <a:pt x="143" y="38"/>
                  </a:lnTo>
                  <a:lnTo>
                    <a:pt x="142" y="38"/>
                  </a:lnTo>
                  <a:lnTo>
                    <a:pt x="142" y="39"/>
                  </a:lnTo>
                  <a:lnTo>
                    <a:pt x="141" y="39"/>
                  </a:lnTo>
                  <a:lnTo>
                    <a:pt x="140" y="39"/>
                  </a:lnTo>
                  <a:lnTo>
                    <a:pt x="138" y="40"/>
                  </a:lnTo>
                  <a:lnTo>
                    <a:pt x="137" y="40"/>
                  </a:lnTo>
                  <a:lnTo>
                    <a:pt x="136" y="41"/>
                  </a:lnTo>
                  <a:lnTo>
                    <a:pt x="134" y="42"/>
                  </a:lnTo>
                  <a:lnTo>
                    <a:pt x="134" y="44"/>
                  </a:lnTo>
                  <a:lnTo>
                    <a:pt x="133" y="45"/>
                  </a:lnTo>
                  <a:lnTo>
                    <a:pt x="133" y="46"/>
                  </a:lnTo>
                  <a:lnTo>
                    <a:pt x="133" y="47"/>
                  </a:lnTo>
                  <a:lnTo>
                    <a:pt x="133" y="48"/>
                  </a:lnTo>
                  <a:lnTo>
                    <a:pt x="133" y="49"/>
                  </a:lnTo>
                  <a:lnTo>
                    <a:pt x="134" y="49"/>
                  </a:lnTo>
                  <a:lnTo>
                    <a:pt x="134" y="51"/>
                  </a:lnTo>
                  <a:lnTo>
                    <a:pt x="134" y="52"/>
                  </a:lnTo>
                  <a:lnTo>
                    <a:pt x="134" y="53"/>
                  </a:lnTo>
                  <a:lnTo>
                    <a:pt x="134" y="54"/>
                  </a:lnTo>
                  <a:lnTo>
                    <a:pt x="131" y="54"/>
                  </a:lnTo>
                  <a:lnTo>
                    <a:pt x="130" y="54"/>
                  </a:lnTo>
                  <a:lnTo>
                    <a:pt x="129" y="55"/>
                  </a:lnTo>
                  <a:lnTo>
                    <a:pt x="129" y="56"/>
                  </a:lnTo>
                  <a:lnTo>
                    <a:pt x="128" y="56"/>
                  </a:lnTo>
                  <a:lnTo>
                    <a:pt x="128" y="55"/>
                  </a:lnTo>
                  <a:lnTo>
                    <a:pt x="128" y="56"/>
                  </a:lnTo>
                  <a:lnTo>
                    <a:pt x="127" y="56"/>
                  </a:lnTo>
                  <a:lnTo>
                    <a:pt x="127" y="58"/>
                  </a:lnTo>
                  <a:lnTo>
                    <a:pt x="126" y="58"/>
                  </a:lnTo>
                  <a:lnTo>
                    <a:pt x="127" y="58"/>
                  </a:lnTo>
                  <a:lnTo>
                    <a:pt x="126" y="58"/>
                  </a:lnTo>
                  <a:lnTo>
                    <a:pt x="124" y="58"/>
                  </a:lnTo>
                  <a:lnTo>
                    <a:pt x="124" y="59"/>
                  </a:lnTo>
                  <a:lnTo>
                    <a:pt x="123" y="59"/>
                  </a:lnTo>
                  <a:lnTo>
                    <a:pt x="122" y="60"/>
                  </a:lnTo>
                  <a:lnTo>
                    <a:pt x="121" y="60"/>
                  </a:lnTo>
                  <a:lnTo>
                    <a:pt x="119" y="61"/>
                  </a:lnTo>
                  <a:lnTo>
                    <a:pt x="115" y="61"/>
                  </a:lnTo>
                  <a:lnTo>
                    <a:pt x="113" y="62"/>
                  </a:lnTo>
                  <a:lnTo>
                    <a:pt x="112" y="62"/>
                  </a:lnTo>
                  <a:lnTo>
                    <a:pt x="109" y="63"/>
                  </a:lnTo>
                  <a:lnTo>
                    <a:pt x="108" y="65"/>
                  </a:lnTo>
                  <a:lnTo>
                    <a:pt x="107" y="65"/>
                  </a:lnTo>
                  <a:lnTo>
                    <a:pt x="106" y="66"/>
                  </a:lnTo>
                  <a:lnTo>
                    <a:pt x="105" y="66"/>
                  </a:lnTo>
                  <a:lnTo>
                    <a:pt x="103" y="66"/>
                  </a:lnTo>
                  <a:lnTo>
                    <a:pt x="102" y="66"/>
                  </a:lnTo>
                  <a:lnTo>
                    <a:pt x="101" y="67"/>
                  </a:lnTo>
                  <a:lnTo>
                    <a:pt x="98" y="67"/>
                  </a:lnTo>
                  <a:lnTo>
                    <a:pt x="96" y="68"/>
                  </a:lnTo>
                  <a:lnTo>
                    <a:pt x="95" y="68"/>
                  </a:lnTo>
                  <a:lnTo>
                    <a:pt x="95" y="69"/>
                  </a:lnTo>
                  <a:lnTo>
                    <a:pt x="94" y="69"/>
                  </a:lnTo>
                  <a:lnTo>
                    <a:pt x="93" y="70"/>
                  </a:lnTo>
                  <a:lnTo>
                    <a:pt x="92" y="70"/>
                  </a:lnTo>
                  <a:lnTo>
                    <a:pt x="91" y="72"/>
                  </a:lnTo>
                  <a:lnTo>
                    <a:pt x="91" y="73"/>
                  </a:lnTo>
                  <a:lnTo>
                    <a:pt x="91" y="74"/>
                  </a:lnTo>
                  <a:lnTo>
                    <a:pt x="89" y="74"/>
                  </a:lnTo>
                  <a:lnTo>
                    <a:pt x="89" y="75"/>
                  </a:lnTo>
                  <a:lnTo>
                    <a:pt x="88" y="75"/>
                  </a:lnTo>
                  <a:lnTo>
                    <a:pt x="88" y="76"/>
                  </a:lnTo>
                  <a:lnTo>
                    <a:pt x="87" y="76"/>
                  </a:lnTo>
                  <a:lnTo>
                    <a:pt x="87" y="77"/>
                  </a:lnTo>
                  <a:lnTo>
                    <a:pt x="87" y="79"/>
                  </a:lnTo>
                  <a:lnTo>
                    <a:pt x="86" y="79"/>
                  </a:lnTo>
                  <a:lnTo>
                    <a:pt x="85" y="79"/>
                  </a:lnTo>
                  <a:lnTo>
                    <a:pt x="84" y="79"/>
                  </a:lnTo>
                  <a:lnTo>
                    <a:pt x="84" y="80"/>
                  </a:lnTo>
                  <a:lnTo>
                    <a:pt x="83" y="79"/>
                  </a:lnTo>
                  <a:lnTo>
                    <a:pt x="81" y="79"/>
                  </a:lnTo>
                  <a:lnTo>
                    <a:pt x="79" y="80"/>
                  </a:lnTo>
                  <a:lnTo>
                    <a:pt x="79" y="79"/>
                  </a:lnTo>
                  <a:lnTo>
                    <a:pt x="78" y="79"/>
                  </a:lnTo>
                  <a:lnTo>
                    <a:pt x="77" y="79"/>
                  </a:lnTo>
                  <a:lnTo>
                    <a:pt x="76" y="79"/>
                  </a:lnTo>
                  <a:lnTo>
                    <a:pt x="74" y="80"/>
                  </a:lnTo>
                  <a:lnTo>
                    <a:pt x="72" y="81"/>
                  </a:lnTo>
                  <a:lnTo>
                    <a:pt x="71" y="82"/>
                  </a:lnTo>
                  <a:lnTo>
                    <a:pt x="70" y="84"/>
                  </a:lnTo>
                  <a:lnTo>
                    <a:pt x="69" y="84"/>
                  </a:lnTo>
                  <a:lnTo>
                    <a:pt x="65" y="86"/>
                  </a:lnTo>
                  <a:lnTo>
                    <a:pt x="62" y="87"/>
                  </a:lnTo>
                  <a:lnTo>
                    <a:pt x="60" y="88"/>
                  </a:lnTo>
                  <a:lnTo>
                    <a:pt x="59" y="88"/>
                  </a:lnTo>
                  <a:lnTo>
                    <a:pt x="58" y="88"/>
                  </a:lnTo>
                  <a:lnTo>
                    <a:pt x="57" y="88"/>
                  </a:lnTo>
                  <a:lnTo>
                    <a:pt x="53" y="88"/>
                  </a:lnTo>
                  <a:lnTo>
                    <a:pt x="52" y="88"/>
                  </a:lnTo>
                  <a:lnTo>
                    <a:pt x="51" y="88"/>
                  </a:lnTo>
                  <a:lnTo>
                    <a:pt x="49" y="89"/>
                  </a:lnTo>
                  <a:lnTo>
                    <a:pt x="48" y="89"/>
                  </a:lnTo>
                  <a:lnTo>
                    <a:pt x="46" y="89"/>
                  </a:lnTo>
                  <a:lnTo>
                    <a:pt x="45" y="89"/>
                  </a:lnTo>
                  <a:lnTo>
                    <a:pt x="44" y="90"/>
                  </a:lnTo>
                  <a:lnTo>
                    <a:pt x="43" y="91"/>
                  </a:lnTo>
                  <a:lnTo>
                    <a:pt x="43" y="93"/>
                  </a:lnTo>
                  <a:lnTo>
                    <a:pt x="42" y="94"/>
                  </a:lnTo>
                  <a:lnTo>
                    <a:pt x="41" y="94"/>
                  </a:lnTo>
                  <a:lnTo>
                    <a:pt x="38" y="95"/>
                  </a:lnTo>
                  <a:lnTo>
                    <a:pt x="37" y="95"/>
                  </a:lnTo>
                  <a:lnTo>
                    <a:pt x="37" y="96"/>
                  </a:lnTo>
                  <a:lnTo>
                    <a:pt x="37" y="97"/>
                  </a:lnTo>
                  <a:lnTo>
                    <a:pt x="37" y="98"/>
                  </a:lnTo>
                  <a:lnTo>
                    <a:pt x="36" y="98"/>
                  </a:lnTo>
                  <a:lnTo>
                    <a:pt x="37" y="98"/>
                  </a:lnTo>
                  <a:lnTo>
                    <a:pt x="37" y="97"/>
                  </a:lnTo>
                  <a:lnTo>
                    <a:pt x="36" y="97"/>
                  </a:lnTo>
                  <a:lnTo>
                    <a:pt x="35" y="97"/>
                  </a:lnTo>
                  <a:lnTo>
                    <a:pt x="35" y="98"/>
                  </a:lnTo>
                  <a:lnTo>
                    <a:pt x="35" y="100"/>
                  </a:lnTo>
                  <a:lnTo>
                    <a:pt x="34" y="98"/>
                  </a:lnTo>
                  <a:lnTo>
                    <a:pt x="32" y="98"/>
                  </a:lnTo>
                  <a:lnTo>
                    <a:pt x="31" y="97"/>
                  </a:lnTo>
                  <a:lnTo>
                    <a:pt x="30" y="98"/>
                  </a:lnTo>
                  <a:lnTo>
                    <a:pt x="29" y="98"/>
                  </a:lnTo>
                  <a:lnTo>
                    <a:pt x="28" y="100"/>
                  </a:lnTo>
                  <a:lnTo>
                    <a:pt x="27" y="101"/>
                  </a:lnTo>
                  <a:lnTo>
                    <a:pt x="25" y="101"/>
                  </a:lnTo>
                  <a:lnTo>
                    <a:pt x="24" y="101"/>
                  </a:lnTo>
                  <a:lnTo>
                    <a:pt x="25" y="101"/>
                  </a:lnTo>
                  <a:lnTo>
                    <a:pt x="24" y="101"/>
                  </a:lnTo>
                  <a:lnTo>
                    <a:pt x="23" y="101"/>
                  </a:lnTo>
                  <a:lnTo>
                    <a:pt x="22" y="101"/>
                  </a:lnTo>
                  <a:lnTo>
                    <a:pt x="21" y="101"/>
                  </a:lnTo>
                  <a:lnTo>
                    <a:pt x="20" y="100"/>
                  </a:lnTo>
                  <a:lnTo>
                    <a:pt x="19" y="100"/>
                  </a:lnTo>
                  <a:lnTo>
                    <a:pt x="17" y="100"/>
                  </a:lnTo>
                  <a:lnTo>
                    <a:pt x="17" y="98"/>
                  </a:lnTo>
                  <a:lnTo>
                    <a:pt x="16" y="98"/>
                  </a:lnTo>
                  <a:lnTo>
                    <a:pt x="16" y="100"/>
                  </a:lnTo>
                  <a:lnTo>
                    <a:pt x="15" y="100"/>
                  </a:lnTo>
                  <a:lnTo>
                    <a:pt x="15" y="98"/>
                  </a:lnTo>
                  <a:lnTo>
                    <a:pt x="15" y="97"/>
                  </a:lnTo>
                  <a:lnTo>
                    <a:pt x="14" y="96"/>
                  </a:lnTo>
                  <a:lnTo>
                    <a:pt x="14" y="95"/>
                  </a:lnTo>
                  <a:lnTo>
                    <a:pt x="13" y="94"/>
                  </a:lnTo>
                  <a:lnTo>
                    <a:pt x="13" y="93"/>
                  </a:lnTo>
                  <a:lnTo>
                    <a:pt x="12" y="91"/>
                  </a:lnTo>
                  <a:lnTo>
                    <a:pt x="12" y="90"/>
                  </a:lnTo>
                  <a:lnTo>
                    <a:pt x="12" y="89"/>
                  </a:lnTo>
                  <a:lnTo>
                    <a:pt x="12" y="87"/>
                  </a:lnTo>
                  <a:lnTo>
                    <a:pt x="12" y="86"/>
                  </a:lnTo>
                  <a:lnTo>
                    <a:pt x="12" y="84"/>
                  </a:lnTo>
                  <a:lnTo>
                    <a:pt x="12" y="83"/>
                  </a:lnTo>
                  <a:lnTo>
                    <a:pt x="12" y="82"/>
                  </a:lnTo>
                  <a:lnTo>
                    <a:pt x="10" y="81"/>
                  </a:lnTo>
                  <a:lnTo>
                    <a:pt x="10" y="80"/>
                  </a:lnTo>
                  <a:lnTo>
                    <a:pt x="9" y="79"/>
                  </a:lnTo>
                  <a:lnTo>
                    <a:pt x="9" y="77"/>
                  </a:lnTo>
                  <a:lnTo>
                    <a:pt x="9" y="76"/>
                  </a:lnTo>
                  <a:lnTo>
                    <a:pt x="8" y="76"/>
                  </a:lnTo>
                  <a:lnTo>
                    <a:pt x="8" y="75"/>
                  </a:lnTo>
                  <a:lnTo>
                    <a:pt x="8" y="73"/>
                  </a:lnTo>
                  <a:lnTo>
                    <a:pt x="7" y="73"/>
                  </a:lnTo>
                  <a:lnTo>
                    <a:pt x="7" y="72"/>
                  </a:lnTo>
                  <a:lnTo>
                    <a:pt x="7" y="70"/>
                  </a:lnTo>
                  <a:lnTo>
                    <a:pt x="7" y="72"/>
                  </a:lnTo>
                  <a:lnTo>
                    <a:pt x="8" y="72"/>
                  </a:lnTo>
                  <a:lnTo>
                    <a:pt x="7" y="72"/>
                  </a:lnTo>
                  <a:lnTo>
                    <a:pt x="8" y="70"/>
                  </a:lnTo>
                  <a:lnTo>
                    <a:pt x="7" y="70"/>
                  </a:lnTo>
                  <a:lnTo>
                    <a:pt x="7" y="69"/>
                  </a:lnTo>
                  <a:lnTo>
                    <a:pt x="7" y="68"/>
                  </a:lnTo>
                  <a:lnTo>
                    <a:pt x="7" y="67"/>
                  </a:lnTo>
                  <a:lnTo>
                    <a:pt x="6" y="67"/>
                  </a:lnTo>
                  <a:lnTo>
                    <a:pt x="6" y="66"/>
                  </a:lnTo>
                  <a:lnTo>
                    <a:pt x="6" y="65"/>
                  </a:lnTo>
                  <a:lnTo>
                    <a:pt x="6" y="66"/>
                  </a:lnTo>
                  <a:lnTo>
                    <a:pt x="7" y="66"/>
                  </a:lnTo>
                  <a:lnTo>
                    <a:pt x="7" y="65"/>
                  </a:lnTo>
                  <a:lnTo>
                    <a:pt x="6" y="65"/>
                  </a:lnTo>
                  <a:lnTo>
                    <a:pt x="6" y="63"/>
                  </a:lnTo>
                  <a:lnTo>
                    <a:pt x="6" y="62"/>
                  </a:lnTo>
                  <a:lnTo>
                    <a:pt x="6" y="61"/>
                  </a:lnTo>
                  <a:lnTo>
                    <a:pt x="5" y="61"/>
                  </a:lnTo>
                  <a:lnTo>
                    <a:pt x="3" y="60"/>
                  </a:lnTo>
                  <a:lnTo>
                    <a:pt x="2" y="60"/>
                  </a:lnTo>
                  <a:lnTo>
                    <a:pt x="1" y="60"/>
                  </a:lnTo>
                  <a:lnTo>
                    <a:pt x="2" y="60"/>
                  </a:lnTo>
                  <a:lnTo>
                    <a:pt x="2" y="59"/>
                  </a:lnTo>
                  <a:lnTo>
                    <a:pt x="2" y="58"/>
                  </a:lnTo>
                  <a:lnTo>
                    <a:pt x="2" y="59"/>
                  </a:lnTo>
                  <a:lnTo>
                    <a:pt x="3" y="59"/>
                  </a:lnTo>
                  <a:lnTo>
                    <a:pt x="3" y="60"/>
                  </a:lnTo>
                  <a:lnTo>
                    <a:pt x="5" y="59"/>
                  </a:lnTo>
                  <a:lnTo>
                    <a:pt x="3" y="58"/>
                  </a:lnTo>
                  <a:lnTo>
                    <a:pt x="3" y="56"/>
                  </a:lnTo>
                  <a:lnTo>
                    <a:pt x="3" y="55"/>
                  </a:lnTo>
                  <a:lnTo>
                    <a:pt x="2" y="54"/>
                  </a:lnTo>
                  <a:lnTo>
                    <a:pt x="2" y="53"/>
                  </a:lnTo>
                  <a:lnTo>
                    <a:pt x="2" y="52"/>
                  </a:lnTo>
                  <a:lnTo>
                    <a:pt x="2" y="51"/>
                  </a:lnTo>
                  <a:lnTo>
                    <a:pt x="3" y="49"/>
                  </a:lnTo>
                  <a:lnTo>
                    <a:pt x="3" y="48"/>
                  </a:lnTo>
                  <a:lnTo>
                    <a:pt x="3" y="47"/>
                  </a:lnTo>
                  <a:lnTo>
                    <a:pt x="3" y="46"/>
                  </a:lnTo>
                  <a:lnTo>
                    <a:pt x="3" y="44"/>
                  </a:lnTo>
                  <a:lnTo>
                    <a:pt x="3" y="42"/>
                  </a:lnTo>
                  <a:lnTo>
                    <a:pt x="3" y="41"/>
                  </a:lnTo>
                  <a:lnTo>
                    <a:pt x="5" y="41"/>
                  </a:lnTo>
                  <a:lnTo>
                    <a:pt x="5" y="40"/>
                  </a:lnTo>
                  <a:lnTo>
                    <a:pt x="6" y="40"/>
                  </a:lnTo>
                  <a:lnTo>
                    <a:pt x="6" y="39"/>
                  </a:lnTo>
                  <a:lnTo>
                    <a:pt x="7" y="38"/>
                  </a:lnTo>
                  <a:lnTo>
                    <a:pt x="7" y="37"/>
                  </a:lnTo>
                  <a:lnTo>
                    <a:pt x="8" y="37"/>
                  </a:lnTo>
                  <a:lnTo>
                    <a:pt x="8" y="35"/>
                  </a:lnTo>
                  <a:lnTo>
                    <a:pt x="8" y="34"/>
                  </a:lnTo>
                  <a:lnTo>
                    <a:pt x="7" y="34"/>
                  </a:lnTo>
                  <a:lnTo>
                    <a:pt x="7" y="33"/>
                  </a:lnTo>
                  <a:lnTo>
                    <a:pt x="7" y="32"/>
                  </a:lnTo>
                  <a:lnTo>
                    <a:pt x="7" y="31"/>
                  </a:lnTo>
                  <a:lnTo>
                    <a:pt x="7" y="30"/>
                  </a:lnTo>
                  <a:lnTo>
                    <a:pt x="7" y="28"/>
                  </a:lnTo>
                  <a:lnTo>
                    <a:pt x="8" y="27"/>
                  </a:lnTo>
                  <a:lnTo>
                    <a:pt x="7" y="26"/>
                  </a:lnTo>
                  <a:lnTo>
                    <a:pt x="8" y="25"/>
                  </a:lnTo>
                  <a:lnTo>
                    <a:pt x="9" y="24"/>
                  </a:lnTo>
                  <a:lnTo>
                    <a:pt x="10" y="24"/>
                  </a:lnTo>
                  <a:lnTo>
                    <a:pt x="12" y="24"/>
                  </a:lnTo>
                  <a:lnTo>
                    <a:pt x="13" y="24"/>
                  </a:lnTo>
                  <a:lnTo>
                    <a:pt x="14" y="25"/>
                  </a:lnTo>
                  <a:lnTo>
                    <a:pt x="15" y="26"/>
                  </a:lnTo>
                  <a:lnTo>
                    <a:pt x="16" y="26"/>
                  </a:lnTo>
                  <a:lnTo>
                    <a:pt x="17" y="26"/>
                  </a:lnTo>
                  <a:lnTo>
                    <a:pt x="17" y="27"/>
                  </a:lnTo>
                  <a:lnTo>
                    <a:pt x="19" y="26"/>
                  </a:lnTo>
                  <a:lnTo>
                    <a:pt x="20" y="26"/>
                  </a:lnTo>
                  <a:lnTo>
                    <a:pt x="21" y="25"/>
                  </a:lnTo>
                  <a:lnTo>
                    <a:pt x="22" y="25"/>
                  </a:lnTo>
                  <a:lnTo>
                    <a:pt x="23" y="25"/>
                  </a:lnTo>
                  <a:lnTo>
                    <a:pt x="24" y="25"/>
                  </a:lnTo>
                  <a:lnTo>
                    <a:pt x="25" y="25"/>
                  </a:lnTo>
                  <a:lnTo>
                    <a:pt x="27" y="25"/>
                  </a:lnTo>
                  <a:lnTo>
                    <a:pt x="28" y="25"/>
                  </a:lnTo>
                  <a:lnTo>
                    <a:pt x="30" y="25"/>
                  </a:lnTo>
                  <a:lnTo>
                    <a:pt x="32" y="25"/>
                  </a:lnTo>
                  <a:lnTo>
                    <a:pt x="35" y="25"/>
                  </a:lnTo>
                  <a:lnTo>
                    <a:pt x="37" y="26"/>
                  </a:lnTo>
                  <a:lnTo>
                    <a:pt x="38" y="26"/>
                  </a:lnTo>
                  <a:lnTo>
                    <a:pt x="42" y="27"/>
                  </a:lnTo>
                  <a:lnTo>
                    <a:pt x="45" y="27"/>
                  </a:lnTo>
                  <a:lnTo>
                    <a:pt x="48" y="27"/>
                  </a:lnTo>
                  <a:lnTo>
                    <a:pt x="51" y="28"/>
                  </a:lnTo>
                  <a:lnTo>
                    <a:pt x="53" y="27"/>
                  </a:lnTo>
                  <a:lnTo>
                    <a:pt x="56" y="27"/>
                  </a:lnTo>
                  <a:lnTo>
                    <a:pt x="57" y="27"/>
                  </a:lnTo>
                  <a:lnTo>
                    <a:pt x="57" y="28"/>
                  </a:lnTo>
                  <a:lnTo>
                    <a:pt x="58" y="31"/>
                  </a:lnTo>
                  <a:lnTo>
                    <a:pt x="60" y="32"/>
                  </a:lnTo>
                  <a:lnTo>
                    <a:pt x="62" y="32"/>
                  </a:lnTo>
                  <a:lnTo>
                    <a:pt x="63" y="32"/>
                  </a:lnTo>
                  <a:lnTo>
                    <a:pt x="65" y="31"/>
                  </a:lnTo>
                  <a:lnTo>
                    <a:pt x="66" y="30"/>
                  </a:lnTo>
                  <a:lnTo>
                    <a:pt x="67" y="27"/>
                  </a:lnTo>
                  <a:lnTo>
                    <a:pt x="67" y="25"/>
                  </a:lnTo>
                  <a:lnTo>
                    <a:pt x="67" y="24"/>
                  </a:lnTo>
                  <a:lnTo>
                    <a:pt x="69" y="23"/>
                  </a:lnTo>
                  <a:lnTo>
                    <a:pt x="71" y="19"/>
                  </a:lnTo>
                  <a:lnTo>
                    <a:pt x="73" y="17"/>
                  </a:lnTo>
                  <a:lnTo>
                    <a:pt x="74" y="14"/>
                  </a:lnTo>
                  <a:lnTo>
                    <a:pt x="76" y="13"/>
                  </a:lnTo>
                  <a:lnTo>
                    <a:pt x="77" y="12"/>
                  </a:lnTo>
                  <a:lnTo>
                    <a:pt x="79" y="11"/>
                  </a:lnTo>
                  <a:lnTo>
                    <a:pt x="81" y="10"/>
                  </a:lnTo>
                  <a:lnTo>
                    <a:pt x="84" y="9"/>
                  </a:lnTo>
                  <a:lnTo>
                    <a:pt x="86" y="7"/>
                  </a:lnTo>
                  <a:lnTo>
                    <a:pt x="86" y="6"/>
                  </a:lnTo>
                  <a:lnTo>
                    <a:pt x="88" y="6"/>
                  </a:lnTo>
                  <a:lnTo>
                    <a:pt x="89" y="6"/>
                  </a:lnTo>
                  <a:lnTo>
                    <a:pt x="92" y="5"/>
                  </a:lnTo>
                  <a:lnTo>
                    <a:pt x="94" y="5"/>
                  </a:lnTo>
                  <a:lnTo>
                    <a:pt x="96" y="5"/>
                  </a:lnTo>
                  <a:lnTo>
                    <a:pt x="99" y="4"/>
                  </a:lnTo>
                  <a:lnTo>
                    <a:pt x="100" y="4"/>
                  </a:lnTo>
                  <a:lnTo>
                    <a:pt x="102" y="4"/>
                  </a:lnTo>
                  <a:lnTo>
                    <a:pt x="105" y="4"/>
                  </a:lnTo>
                  <a:lnTo>
                    <a:pt x="107" y="3"/>
                  </a:lnTo>
                  <a:lnTo>
                    <a:pt x="109" y="3"/>
                  </a:lnTo>
                  <a:lnTo>
                    <a:pt x="112" y="3"/>
                  </a:lnTo>
                  <a:lnTo>
                    <a:pt x="114" y="2"/>
                  </a:lnTo>
                  <a:lnTo>
                    <a:pt x="115" y="2"/>
                  </a:lnTo>
                  <a:lnTo>
                    <a:pt x="117" y="2"/>
                  </a:lnTo>
                  <a:lnTo>
                    <a:pt x="120" y="0"/>
                  </a:lnTo>
                  <a:lnTo>
                    <a:pt x="122" y="0"/>
                  </a:lnTo>
                  <a:lnTo>
                    <a:pt x="124" y="0"/>
                  </a:lnTo>
                  <a:lnTo>
                    <a:pt x="127" y="0"/>
                  </a:lnTo>
                  <a:lnTo>
                    <a:pt x="127" y="2"/>
                  </a:lnTo>
                  <a:lnTo>
                    <a:pt x="128" y="3"/>
                  </a:lnTo>
                  <a:lnTo>
                    <a:pt x="128" y="4"/>
                  </a:lnTo>
                  <a:lnTo>
                    <a:pt x="129" y="6"/>
                  </a:lnTo>
                  <a:lnTo>
                    <a:pt x="130" y="7"/>
                  </a:lnTo>
                  <a:lnTo>
                    <a:pt x="130" y="9"/>
                  </a:lnTo>
                  <a:lnTo>
                    <a:pt x="131" y="11"/>
                  </a:lnTo>
                  <a:lnTo>
                    <a:pt x="133" y="12"/>
                  </a:lnTo>
                  <a:lnTo>
                    <a:pt x="133" y="13"/>
                  </a:lnTo>
                  <a:lnTo>
                    <a:pt x="134" y="14"/>
                  </a:lnTo>
                  <a:lnTo>
                    <a:pt x="134" y="17"/>
                  </a:lnTo>
                  <a:lnTo>
                    <a:pt x="135" y="18"/>
                  </a:lnTo>
                  <a:lnTo>
                    <a:pt x="136" y="19"/>
                  </a:lnTo>
                  <a:lnTo>
                    <a:pt x="136" y="21"/>
                  </a:lnTo>
                  <a:lnTo>
                    <a:pt x="137" y="23"/>
                  </a:lnTo>
                  <a:lnTo>
                    <a:pt x="137" y="24"/>
                  </a:lnTo>
                  <a:lnTo>
                    <a:pt x="138" y="26"/>
                  </a:lnTo>
                  <a:lnTo>
                    <a:pt x="138" y="27"/>
                  </a:lnTo>
                  <a:lnTo>
                    <a:pt x="140" y="27"/>
                  </a:lnTo>
                  <a:lnTo>
                    <a:pt x="141" y="28"/>
                  </a:lnTo>
                  <a:lnTo>
                    <a:pt x="142" y="3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81" name="Freeform 1045">
              <a:extLst>
                <a:ext uri="{FF2B5EF4-FFF2-40B4-BE49-F238E27FC236}">
                  <a16:creationId xmlns:a16="http://schemas.microsoft.com/office/drawing/2014/main" id="{39F66928-C7F5-43F0-B6BC-5CD5A8DC025A}"/>
                </a:ext>
              </a:extLst>
            </p:cNvPr>
            <p:cNvSpPr>
              <a:spLocks noEditPoints="1"/>
            </p:cNvSpPr>
            <p:nvPr/>
          </p:nvSpPr>
          <p:spPr bwMode="auto">
            <a:xfrm>
              <a:off x="6102906" y="3815949"/>
              <a:ext cx="332537" cy="522176"/>
            </a:xfrm>
            <a:custGeom>
              <a:avLst/>
              <a:gdLst>
                <a:gd name="T0" fmla="*/ 247 w 249"/>
                <a:gd name="T1" fmla="*/ 385 h 391"/>
                <a:gd name="T2" fmla="*/ 193 w 249"/>
                <a:gd name="T3" fmla="*/ 3 h 391"/>
                <a:gd name="T4" fmla="*/ 205 w 249"/>
                <a:gd name="T5" fmla="*/ 9 h 391"/>
                <a:gd name="T6" fmla="*/ 212 w 249"/>
                <a:gd name="T7" fmla="*/ 37 h 391"/>
                <a:gd name="T8" fmla="*/ 210 w 249"/>
                <a:gd name="T9" fmla="*/ 59 h 391"/>
                <a:gd name="T10" fmla="*/ 197 w 249"/>
                <a:gd name="T11" fmla="*/ 64 h 391"/>
                <a:gd name="T12" fmla="*/ 200 w 249"/>
                <a:gd name="T13" fmla="*/ 81 h 391"/>
                <a:gd name="T14" fmla="*/ 212 w 249"/>
                <a:gd name="T15" fmla="*/ 75 h 391"/>
                <a:gd name="T16" fmla="*/ 217 w 249"/>
                <a:gd name="T17" fmla="*/ 91 h 391"/>
                <a:gd name="T18" fmla="*/ 209 w 249"/>
                <a:gd name="T19" fmla="*/ 105 h 391"/>
                <a:gd name="T20" fmla="*/ 194 w 249"/>
                <a:gd name="T21" fmla="*/ 124 h 391"/>
                <a:gd name="T22" fmla="*/ 179 w 249"/>
                <a:gd name="T23" fmla="*/ 144 h 391"/>
                <a:gd name="T24" fmla="*/ 167 w 249"/>
                <a:gd name="T25" fmla="*/ 154 h 391"/>
                <a:gd name="T26" fmla="*/ 154 w 249"/>
                <a:gd name="T27" fmla="*/ 167 h 391"/>
                <a:gd name="T28" fmla="*/ 141 w 249"/>
                <a:gd name="T29" fmla="*/ 176 h 391"/>
                <a:gd name="T30" fmla="*/ 125 w 249"/>
                <a:gd name="T31" fmla="*/ 183 h 391"/>
                <a:gd name="T32" fmla="*/ 114 w 249"/>
                <a:gd name="T33" fmla="*/ 188 h 391"/>
                <a:gd name="T34" fmla="*/ 105 w 249"/>
                <a:gd name="T35" fmla="*/ 190 h 391"/>
                <a:gd name="T36" fmla="*/ 87 w 249"/>
                <a:gd name="T37" fmla="*/ 188 h 391"/>
                <a:gd name="T38" fmla="*/ 76 w 249"/>
                <a:gd name="T39" fmla="*/ 188 h 391"/>
                <a:gd name="T40" fmla="*/ 65 w 249"/>
                <a:gd name="T41" fmla="*/ 194 h 391"/>
                <a:gd name="T42" fmla="*/ 48 w 249"/>
                <a:gd name="T43" fmla="*/ 195 h 391"/>
                <a:gd name="T44" fmla="*/ 40 w 249"/>
                <a:gd name="T45" fmla="*/ 200 h 391"/>
                <a:gd name="T46" fmla="*/ 30 w 249"/>
                <a:gd name="T47" fmla="*/ 193 h 391"/>
                <a:gd name="T48" fmla="*/ 22 w 249"/>
                <a:gd name="T49" fmla="*/ 189 h 391"/>
                <a:gd name="T50" fmla="*/ 22 w 249"/>
                <a:gd name="T51" fmla="*/ 186 h 391"/>
                <a:gd name="T52" fmla="*/ 16 w 249"/>
                <a:gd name="T53" fmla="*/ 174 h 391"/>
                <a:gd name="T54" fmla="*/ 15 w 249"/>
                <a:gd name="T55" fmla="*/ 169 h 391"/>
                <a:gd name="T56" fmla="*/ 22 w 249"/>
                <a:gd name="T57" fmla="*/ 161 h 391"/>
                <a:gd name="T58" fmla="*/ 17 w 249"/>
                <a:gd name="T59" fmla="*/ 146 h 391"/>
                <a:gd name="T60" fmla="*/ 9 w 249"/>
                <a:gd name="T61" fmla="*/ 130 h 391"/>
                <a:gd name="T62" fmla="*/ 5 w 249"/>
                <a:gd name="T63" fmla="*/ 113 h 391"/>
                <a:gd name="T64" fmla="*/ 1 w 249"/>
                <a:gd name="T65" fmla="*/ 102 h 391"/>
                <a:gd name="T66" fmla="*/ 6 w 249"/>
                <a:gd name="T67" fmla="*/ 94 h 391"/>
                <a:gd name="T68" fmla="*/ 12 w 249"/>
                <a:gd name="T69" fmla="*/ 102 h 391"/>
                <a:gd name="T70" fmla="*/ 23 w 249"/>
                <a:gd name="T71" fmla="*/ 108 h 391"/>
                <a:gd name="T72" fmla="*/ 37 w 249"/>
                <a:gd name="T73" fmla="*/ 104 h 391"/>
                <a:gd name="T74" fmla="*/ 47 w 249"/>
                <a:gd name="T75" fmla="*/ 98 h 391"/>
                <a:gd name="T76" fmla="*/ 47 w 249"/>
                <a:gd name="T77" fmla="*/ 82 h 391"/>
                <a:gd name="T78" fmla="*/ 48 w 249"/>
                <a:gd name="T79" fmla="*/ 67 h 391"/>
                <a:gd name="T80" fmla="*/ 50 w 249"/>
                <a:gd name="T81" fmla="*/ 51 h 391"/>
                <a:gd name="T82" fmla="*/ 55 w 249"/>
                <a:gd name="T83" fmla="*/ 47 h 391"/>
                <a:gd name="T84" fmla="*/ 59 w 249"/>
                <a:gd name="T85" fmla="*/ 59 h 391"/>
                <a:gd name="T86" fmla="*/ 57 w 249"/>
                <a:gd name="T87" fmla="*/ 73 h 391"/>
                <a:gd name="T88" fmla="*/ 69 w 249"/>
                <a:gd name="T89" fmla="*/ 75 h 391"/>
                <a:gd name="T90" fmla="*/ 81 w 249"/>
                <a:gd name="T91" fmla="*/ 66 h 391"/>
                <a:gd name="T92" fmla="*/ 87 w 249"/>
                <a:gd name="T93" fmla="*/ 56 h 391"/>
                <a:gd name="T94" fmla="*/ 95 w 249"/>
                <a:gd name="T95" fmla="*/ 51 h 391"/>
                <a:gd name="T96" fmla="*/ 108 w 249"/>
                <a:gd name="T97" fmla="*/ 57 h 391"/>
                <a:gd name="T98" fmla="*/ 125 w 249"/>
                <a:gd name="T99" fmla="*/ 55 h 391"/>
                <a:gd name="T100" fmla="*/ 136 w 249"/>
                <a:gd name="T101" fmla="*/ 39 h 391"/>
                <a:gd name="T102" fmla="*/ 145 w 249"/>
                <a:gd name="T103" fmla="*/ 25 h 391"/>
                <a:gd name="T104" fmla="*/ 153 w 249"/>
                <a:gd name="T105" fmla="*/ 19 h 391"/>
                <a:gd name="T106" fmla="*/ 160 w 249"/>
                <a:gd name="T107" fmla="*/ 13 h 391"/>
                <a:gd name="T108" fmla="*/ 169 w 249"/>
                <a:gd name="T109" fmla="*/ 6 h 391"/>
                <a:gd name="T110" fmla="*/ 182 w 249"/>
                <a:gd name="T111" fmla="*/ 0 h 391"/>
                <a:gd name="T112" fmla="*/ 148 w 249"/>
                <a:gd name="T113" fmla="*/ 111 h 391"/>
                <a:gd name="T114" fmla="*/ 141 w 249"/>
                <a:gd name="T115" fmla="*/ 120 h 391"/>
                <a:gd name="T116" fmla="*/ 147 w 249"/>
                <a:gd name="T117" fmla="*/ 133 h 391"/>
                <a:gd name="T118" fmla="*/ 157 w 249"/>
                <a:gd name="T119" fmla="*/ 129 h 391"/>
                <a:gd name="T120" fmla="*/ 168 w 249"/>
                <a:gd name="T121" fmla="*/ 122 h 391"/>
                <a:gd name="T122" fmla="*/ 172 w 249"/>
                <a:gd name="T123" fmla="*/ 110 h 391"/>
                <a:gd name="T124" fmla="*/ 159 w 249"/>
                <a:gd name="T125" fmla="*/ 103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9" h="391">
                  <a:moveTo>
                    <a:pt x="246" y="391"/>
                  </a:moveTo>
                  <a:lnTo>
                    <a:pt x="245" y="391"/>
                  </a:lnTo>
                  <a:lnTo>
                    <a:pt x="244" y="391"/>
                  </a:lnTo>
                  <a:lnTo>
                    <a:pt x="243" y="391"/>
                  </a:lnTo>
                  <a:lnTo>
                    <a:pt x="243" y="390"/>
                  </a:lnTo>
                  <a:lnTo>
                    <a:pt x="244" y="389"/>
                  </a:lnTo>
                  <a:lnTo>
                    <a:pt x="245" y="389"/>
                  </a:lnTo>
                  <a:lnTo>
                    <a:pt x="246" y="390"/>
                  </a:lnTo>
                  <a:lnTo>
                    <a:pt x="246" y="391"/>
                  </a:lnTo>
                  <a:close/>
                  <a:moveTo>
                    <a:pt x="249" y="386"/>
                  </a:moveTo>
                  <a:lnTo>
                    <a:pt x="247" y="386"/>
                  </a:lnTo>
                  <a:lnTo>
                    <a:pt x="246" y="386"/>
                  </a:lnTo>
                  <a:lnTo>
                    <a:pt x="246" y="385"/>
                  </a:lnTo>
                  <a:lnTo>
                    <a:pt x="247" y="385"/>
                  </a:lnTo>
                  <a:lnTo>
                    <a:pt x="249" y="385"/>
                  </a:lnTo>
                  <a:lnTo>
                    <a:pt x="249" y="386"/>
                  </a:lnTo>
                  <a:close/>
                  <a:moveTo>
                    <a:pt x="183" y="0"/>
                  </a:moveTo>
                  <a:lnTo>
                    <a:pt x="185" y="0"/>
                  </a:lnTo>
                  <a:lnTo>
                    <a:pt x="186" y="0"/>
                  </a:lnTo>
                  <a:lnTo>
                    <a:pt x="187" y="0"/>
                  </a:lnTo>
                  <a:lnTo>
                    <a:pt x="187" y="2"/>
                  </a:lnTo>
                  <a:lnTo>
                    <a:pt x="188" y="2"/>
                  </a:lnTo>
                  <a:lnTo>
                    <a:pt x="189" y="3"/>
                  </a:lnTo>
                  <a:lnTo>
                    <a:pt x="190" y="3"/>
                  </a:lnTo>
                  <a:lnTo>
                    <a:pt x="192" y="3"/>
                  </a:lnTo>
                  <a:lnTo>
                    <a:pt x="192" y="4"/>
                  </a:lnTo>
                  <a:lnTo>
                    <a:pt x="193" y="4"/>
                  </a:lnTo>
                  <a:lnTo>
                    <a:pt x="193" y="3"/>
                  </a:lnTo>
                  <a:lnTo>
                    <a:pt x="194" y="3"/>
                  </a:lnTo>
                  <a:lnTo>
                    <a:pt x="195" y="3"/>
                  </a:lnTo>
                  <a:lnTo>
                    <a:pt x="196" y="3"/>
                  </a:lnTo>
                  <a:lnTo>
                    <a:pt x="197" y="3"/>
                  </a:lnTo>
                  <a:lnTo>
                    <a:pt x="198" y="3"/>
                  </a:lnTo>
                  <a:lnTo>
                    <a:pt x="200" y="3"/>
                  </a:lnTo>
                  <a:lnTo>
                    <a:pt x="202" y="3"/>
                  </a:lnTo>
                  <a:lnTo>
                    <a:pt x="203" y="3"/>
                  </a:lnTo>
                  <a:lnTo>
                    <a:pt x="203" y="4"/>
                  </a:lnTo>
                  <a:lnTo>
                    <a:pt x="204" y="4"/>
                  </a:lnTo>
                  <a:lnTo>
                    <a:pt x="205" y="4"/>
                  </a:lnTo>
                  <a:lnTo>
                    <a:pt x="204" y="4"/>
                  </a:lnTo>
                  <a:lnTo>
                    <a:pt x="205" y="6"/>
                  </a:lnTo>
                  <a:lnTo>
                    <a:pt x="205" y="9"/>
                  </a:lnTo>
                  <a:lnTo>
                    <a:pt x="207" y="11"/>
                  </a:lnTo>
                  <a:lnTo>
                    <a:pt x="207" y="13"/>
                  </a:lnTo>
                  <a:lnTo>
                    <a:pt x="208" y="17"/>
                  </a:lnTo>
                  <a:lnTo>
                    <a:pt x="208" y="20"/>
                  </a:lnTo>
                  <a:lnTo>
                    <a:pt x="208" y="21"/>
                  </a:lnTo>
                  <a:lnTo>
                    <a:pt x="209" y="23"/>
                  </a:lnTo>
                  <a:lnTo>
                    <a:pt x="209" y="24"/>
                  </a:lnTo>
                  <a:lnTo>
                    <a:pt x="209" y="26"/>
                  </a:lnTo>
                  <a:lnTo>
                    <a:pt x="210" y="27"/>
                  </a:lnTo>
                  <a:lnTo>
                    <a:pt x="211" y="28"/>
                  </a:lnTo>
                  <a:lnTo>
                    <a:pt x="211" y="32"/>
                  </a:lnTo>
                  <a:lnTo>
                    <a:pt x="212" y="34"/>
                  </a:lnTo>
                  <a:lnTo>
                    <a:pt x="212" y="35"/>
                  </a:lnTo>
                  <a:lnTo>
                    <a:pt x="212" y="37"/>
                  </a:lnTo>
                  <a:lnTo>
                    <a:pt x="212" y="38"/>
                  </a:lnTo>
                  <a:lnTo>
                    <a:pt x="212" y="39"/>
                  </a:lnTo>
                  <a:lnTo>
                    <a:pt x="212" y="41"/>
                  </a:lnTo>
                  <a:lnTo>
                    <a:pt x="212" y="44"/>
                  </a:lnTo>
                  <a:lnTo>
                    <a:pt x="212" y="46"/>
                  </a:lnTo>
                  <a:lnTo>
                    <a:pt x="212" y="48"/>
                  </a:lnTo>
                  <a:lnTo>
                    <a:pt x="212" y="52"/>
                  </a:lnTo>
                  <a:lnTo>
                    <a:pt x="211" y="52"/>
                  </a:lnTo>
                  <a:lnTo>
                    <a:pt x="211" y="53"/>
                  </a:lnTo>
                  <a:lnTo>
                    <a:pt x="211" y="54"/>
                  </a:lnTo>
                  <a:lnTo>
                    <a:pt x="211" y="55"/>
                  </a:lnTo>
                  <a:lnTo>
                    <a:pt x="211" y="56"/>
                  </a:lnTo>
                  <a:lnTo>
                    <a:pt x="210" y="57"/>
                  </a:lnTo>
                  <a:lnTo>
                    <a:pt x="210" y="59"/>
                  </a:lnTo>
                  <a:lnTo>
                    <a:pt x="211" y="61"/>
                  </a:lnTo>
                  <a:lnTo>
                    <a:pt x="210" y="61"/>
                  </a:lnTo>
                  <a:lnTo>
                    <a:pt x="209" y="61"/>
                  </a:lnTo>
                  <a:lnTo>
                    <a:pt x="208" y="60"/>
                  </a:lnTo>
                  <a:lnTo>
                    <a:pt x="207" y="59"/>
                  </a:lnTo>
                  <a:lnTo>
                    <a:pt x="205" y="57"/>
                  </a:lnTo>
                  <a:lnTo>
                    <a:pt x="204" y="57"/>
                  </a:lnTo>
                  <a:lnTo>
                    <a:pt x="203" y="57"/>
                  </a:lnTo>
                  <a:lnTo>
                    <a:pt x="202" y="57"/>
                  </a:lnTo>
                  <a:lnTo>
                    <a:pt x="201" y="59"/>
                  </a:lnTo>
                  <a:lnTo>
                    <a:pt x="200" y="60"/>
                  </a:lnTo>
                  <a:lnTo>
                    <a:pt x="200" y="61"/>
                  </a:lnTo>
                  <a:lnTo>
                    <a:pt x="198" y="62"/>
                  </a:lnTo>
                  <a:lnTo>
                    <a:pt x="197" y="64"/>
                  </a:lnTo>
                  <a:lnTo>
                    <a:pt x="196" y="66"/>
                  </a:lnTo>
                  <a:lnTo>
                    <a:pt x="195" y="68"/>
                  </a:lnTo>
                  <a:lnTo>
                    <a:pt x="194" y="69"/>
                  </a:lnTo>
                  <a:lnTo>
                    <a:pt x="194" y="70"/>
                  </a:lnTo>
                  <a:lnTo>
                    <a:pt x="194" y="73"/>
                  </a:lnTo>
                  <a:lnTo>
                    <a:pt x="194" y="74"/>
                  </a:lnTo>
                  <a:lnTo>
                    <a:pt x="195" y="74"/>
                  </a:lnTo>
                  <a:lnTo>
                    <a:pt x="196" y="74"/>
                  </a:lnTo>
                  <a:lnTo>
                    <a:pt x="196" y="75"/>
                  </a:lnTo>
                  <a:lnTo>
                    <a:pt x="196" y="76"/>
                  </a:lnTo>
                  <a:lnTo>
                    <a:pt x="196" y="77"/>
                  </a:lnTo>
                  <a:lnTo>
                    <a:pt x="197" y="78"/>
                  </a:lnTo>
                  <a:lnTo>
                    <a:pt x="198" y="80"/>
                  </a:lnTo>
                  <a:lnTo>
                    <a:pt x="200" y="81"/>
                  </a:lnTo>
                  <a:lnTo>
                    <a:pt x="201" y="81"/>
                  </a:lnTo>
                  <a:lnTo>
                    <a:pt x="203" y="82"/>
                  </a:lnTo>
                  <a:lnTo>
                    <a:pt x="205" y="82"/>
                  </a:lnTo>
                  <a:lnTo>
                    <a:pt x="207" y="82"/>
                  </a:lnTo>
                  <a:lnTo>
                    <a:pt x="208" y="82"/>
                  </a:lnTo>
                  <a:lnTo>
                    <a:pt x="209" y="82"/>
                  </a:lnTo>
                  <a:lnTo>
                    <a:pt x="209" y="81"/>
                  </a:lnTo>
                  <a:lnTo>
                    <a:pt x="209" y="80"/>
                  </a:lnTo>
                  <a:lnTo>
                    <a:pt x="209" y="78"/>
                  </a:lnTo>
                  <a:lnTo>
                    <a:pt x="210" y="77"/>
                  </a:lnTo>
                  <a:lnTo>
                    <a:pt x="210" y="76"/>
                  </a:lnTo>
                  <a:lnTo>
                    <a:pt x="210" y="74"/>
                  </a:lnTo>
                  <a:lnTo>
                    <a:pt x="211" y="74"/>
                  </a:lnTo>
                  <a:lnTo>
                    <a:pt x="212" y="75"/>
                  </a:lnTo>
                  <a:lnTo>
                    <a:pt x="214" y="75"/>
                  </a:lnTo>
                  <a:lnTo>
                    <a:pt x="215" y="75"/>
                  </a:lnTo>
                  <a:lnTo>
                    <a:pt x="217" y="75"/>
                  </a:lnTo>
                  <a:lnTo>
                    <a:pt x="218" y="75"/>
                  </a:lnTo>
                  <a:lnTo>
                    <a:pt x="221" y="75"/>
                  </a:lnTo>
                  <a:lnTo>
                    <a:pt x="223" y="75"/>
                  </a:lnTo>
                  <a:lnTo>
                    <a:pt x="222" y="75"/>
                  </a:lnTo>
                  <a:lnTo>
                    <a:pt x="222" y="77"/>
                  </a:lnTo>
                  <a:lnTo>
                    <a:pt x="222" y="78"/>
                  </a:lnTo>
                  <a:lnTo>
                    <a:pt x="221" y="80"/>
                  </a:lnTo>
                  <a:lnTo>
                    <a:pt x="221" y="81"/>
                  </a:lnTo>
                  <a:lnTo>
                    <a:pt x="218" y="85"/>
                  </a:lnTo>
                  <a:lnTo>
                    <a:pt x="217" y="90"/>
                  </a:lnTo>
                  <a:lnTo>
                    <a:pt x="217" y="91"/>
                  </a:lnTo>
                  <a:lnTo>
                    <a:pt x="216" y="96"/>
                  </a:lnTo>
                  <a:lnTo>
                    <a:pt x="215" y="97"/>
                  </a:lnTo>
                  <a:lnTo>
                    <a:pt x="215" y="98"/>
                  </a:lnTo>
                  <a:lnTo>
                    <a:pt x="214" y="99"/>
                  </a:lnTo>
                  <a:lnTo>
                    <a:pt x="215" y="99"/>
                  </a:lnTo>
                  <a:lnTo>
                    <a:pt x="214" y="101"/>
                  </a:lnTo>
                  <a:lnTo>
                    <a:pt x="214" y="102"/>
                  </a:lnTo>
                  <a:lnTo>
                    <a:pt x="212" y="103"/>
                  </a:lnTo>
                  <a:lnTo>
                    <a:pt x="211" y="103"/>
                  </a:lnTo>
                  <a:lnTo>
                    <a:pt x="211" y="104"/>
                  </a:lnTo>
                  <a:lnTo>
                    <a:pt x="209" y="105"/>
                  </a:lnTo>
                  <a:lnTo>
                    <a:pt x="208" y="105"/>
                  </a:lnTo>
                  <a:lnTo>
                    <a:pt x="208" y="106"/>
                  </a:lnTo>
                  <a:lnTo>
                    <a:pt x="209" y="105"/>
                  </a:lnTo>
                  <a:lnTo>
                    <a:pt x="209" y="106"/>
                  </a:lnTo>
                  <a:lnTo>
                    <a:pt x="208" y="106"/>
                  </a:lnTo>
                  <a:lnTo>
                    <a:pt x="207" y="108"/>
                  </a:lnTo>
                  <a:lnTo>
                    <a:pt x="205" y="108"/>
                  </a:lnTo>
                  <a:lnTo>
                    <a:pt x="204" y="108"/>
                  </a:lnTo>
                  <a:lnTo>
                    <a:pt x="202" y="111"/>
                  </a:lnTo>
                  <a:lnTo>
                    <a:pt x="201" y="112"/>
                  </a:lnTo>
                  <a:lnTo>
                    <a:pt x="200" y="113"/>
                  </a:lnTo>
                  <a:lnTo>
                    <a:pt x="198" y="113"/>
                  </a:lnTo>
                  <a:lnTo>
                    <a:pt x="198" y="115"/>
                  </a:lnTo>
                  <a:lnTo>
                    <a:pt x="196" y="117"/>
                  </a:lnTo>
                  <a:lnTo>
                    <a:pt x="194" y="122"/>
                  </a:lnTo>
                  <a:lnTo>
                    <a:pt x="194" y="123"/>
                  </a:lnTo>
                  <a:lnTo>
                    <a:pt x="194" y="124"/>
                  </a:lnTo>
                  <a:lnTo>
                    <a:pt x="193" y="125"/>
                  </a:lnTo>
                  <a:lnTo>
                    <a:pt x="192" y="125"/>
                  </a:lnTo>
                  <a:lnTo>
                    <a:pt x="192" y="126"/>
                  </a:lnTo>
                  <a:lnTo>
                    <a:pt x="190" y="129"/>
                  </a:lnTo>
                  <a:lnTo>
                    <a:pt x="188" y="132"/>
                  </a:lnTo>
                  <a:lnTo>
                    <a:pt x="187" y="132"/>
                  </a:lnTo>
                  <a:lnTo>
                    <a:pt x="187" y="133"/>
                  </a:lnTo>
                  <a:lnTo>
                    <a:pt x="185" y="138"/>
                  </a:lnTo>
                  <a:lnTo>
                    <a:pt x="183" y="138"/>
                  </a:lnTo>
                  <a:lnTo>
                    <a:pt x="183" y="139"/>
                  </a:lnTo>
                  <a:lnTo>
                    <a:pt x="182" y="140"/>
                  </a:lnTo>
                  <a:lnTo>
                    <a:pt x="181" y="141"/>
                  </a:lnTo>
                  <a:lnTo>
                    <a:pt x="180" y="143"/>
                  </a:lnTo>
                  <a:lnTo>
                    <a:pt x="179" y="144"/>
                  </a:lnTo>
                  <a:lnTo>
                    <a:pt x="179" y="145"/>
                  </a:lnTo>
                  <a:lnTo>
                    <a:pt x="176" y="147"/>
                  </a:lnTo>
                  <a:lnTo>
                    <a:pt x="175" y="147"/>
                  </a:lnTo>
                  <a:lnTo>
                    <a:pt x="174" y="147"/>
                  </a:lnTo>
                  <a:lnTo>
                    <a:pt x="173" y="148"/>
                  </a:lnTo>
                  <a:lnTo>
                    <a:pt x="173" y="150"/>
                  </a:lnTo>
                  <a:lnTo>
                    <a:pt x="172" y="150"/>
                  </a:lnTo>
                  <a:lnTo>
                    <a:pt x="172" y="151"/>
                  </a:lnTo>
                  <a:lnTo>
                    <a:pt x="171" y="151"/>
                  </a:lnTo>
                  <a:lnTo>
                    <a:pt x="169" y="151"/>
                  </a:lnTo>
                  <a:lnTo>
                    <a:pt x="169" y="152"/>
                  </a:lnTo>
                  <a:lnTo>
                    <a:pt x="169" y="153"/>
                  </a:lnTo>
                  <a:lnTo>
                    <a:pt x="168" y="153"/>
                  </a:lnTo>
                  <a:lnTo>
                    <a:pt x="167" y="154"/>
                  </a:lnTo>
                  <a:lnTo>
                    <a:pt x="167" y="155"/>
                  </a:lnTo>
                  <a:lnTo>
                    <a:pt x="166" y="155"/>
                  </a:lnTo>
                  <a:lnTo>
                    <a:pt x="166" y="157"/>
                  </a:lnTo>
                  <a:lnTo>
                    <a:pt x="165" y="157"/>
                  </a:lnTo>
                  <a:lnTo>
                    <a:pt x="164" y="159"/>
                  </a:lnTo>
                  <a:lnTo>
                    <a:pt x="161" y="160"/>
                  </a:lnTo>
                  <a:lnTo>
                    <a:pt x="161" y="161"/>
                  </a:lnTo>
                  <a:lnTo>
                    <a:pt x="159" y="162"/>
                  </a:lnTo>
                  <a:lnTo>
                    <a:pt x="159" y="164"/>
                  </a:lnTo>
                  <a:lnTo>
                    <a:pt x="158" y="164"/>
                  </a:lnTo>
                  <a:lnTo>
                    <a:pt x="158" y="165"/>
                  </a:lnTo>
                  <a:lnTo>
                    <a:pt x="157" y="165"/>
                  </a:lnTo>
                  <a:lnTo>
                    <a:pt x="155" y="166"/>
                  </a:lnTo>
                  <a:lnTo>
                    <a:pt x="154" y="167"/>
                  </a:lnTo>
                  <a:lnTo>
                    <a:pt x="153" y="167"/>
                  </a:lnTo>
                  <a:lnTo>
                    <a:pt x="153" y="168"/>
                  </a:lnTo>
                  <a:lnTo>
                    <a:pt x="152" y="168"/>
                  </a:lnTo>
                  <a:lnTo>
                    <a:pt x="151" y="169"/>
                  </a:lnTo>
                  <a:lnTo>
                    <a:pt x="151" y="171"/>
                  </a:lnTo>
                  <a:lnTo>
                    <a:pt x="148" y="172"/>
                  </a:lnTo>
                  <a:lnTo>
                    <a:pt x="147" y="172"/>
                  </a:lnTo>
                  <a:lnTo>
                    <a:pt x="147" y="173"/>
                  </a:lnTo>
                  <a:lnTo>
                    <a:pt x="146" y="173"/>
                  </a:lnTo>
                  <a:lnTo>
                    <a:pt x="145" y="174"/>
                  </a:lnTo>
                  <a:lnTo>
                    <a:pt x="144" y="175"/>
                  </a:lnTo>
                  <a:lnTo>
                    <a:pt x="143" y="175"/>
                  </a:lnTo>
                  <a:lnTo>
                    <a:pt x="143" y="176"/>
                  </a:lnTo>
                  <a:lnTo>
                    <a:pt x="141" y="176"/>
                  </a:lnTo>
                  <a:lnTo>
                    <a:pt x="140" y="178"/>
                  </a:lnTo>
                  <a:lnTo>
                    <a:pt x="138" y="179"/>
                  </a:lnTo>
                  <a:lnTo>
                    <a:pt x="137" y="180"/>
                  </a:lnTo>
                  <a:lnTo>
                    <a:pt x="136" y="180"/>
                  </a:lnTo>
                  <a:lnTo>
                    <a:pt x="134" y="181"/>
                  </a:lnTo>
                  <a:lnTo>
                    <a:pt x="133" y="182"/>
                  </a:lnTo>
                  <a:lnTo>
                    <a:pt x="132" y="182"/>
                  </a:lnTo>
                  <a:lnTo>
                    <a:pt x="131" y="182"/>
                  </a:lnTo>
                  <a:lnTo>
                    <a:pt x="130" y="182"/>
                  </a:lnTo>
                  <a:lnTo>
                    <a:pt x="130" y="183"/>
                  </a:lnTo>
                  <a:lnTo>
                    <a:pt x="129" y="183"/>
                  </a:lnTo>
                  <a:lnTo>
                    <a:pt x="128" y="183"/>
                  </a:lnTo>
                  <a:lnTo>
                    <a:pt x="126" y="183"/>
                  </a:lnTo>
                  <a:lnTo>
                    <a:pt x="125" y="183"/>
                  </a:lnTo>
                  <a:lnTo>
                    <a:pt x="123" y="183"/>
                  </a:lnTo>
                  <a:lnTo>
                    <a:pt x="122" y="183"/>
                  </a:lnTo>
                  <a:lnTo>
                    <a:pt x="121" y="183"/>
                  </a:lnTo>
                  <a:lnTo>
                    <a:pt x="119" y="183"/>
                  </a:lnTo>
                  <a:lnTo>
                    <a:pt x="118" y="185"/>
                  </a:lnTo>
                  <a:lnTo>
                    <a:pt x="117" y="185"/>
                  </a:lnTo>
                  <a:lnTo>
                    <a:pt x="117" y="186"/>
                  </a:lnTo>
                  <a:lnTo>
                    <a:pt x="116" y="186"/>
                  </a:lnTo>
                  <a:lnTo>
                    <a:pt x="116" y="187"/>
                  </a:lnTo>
                  <a:lnTo>
                    <a:pt x="117" y="187"/>
                  </a:lnTo>
                  <a:lnTo>
                    <a:pt x="117" y="188"/>
                  </a:lnTo>
                  <a:lnTo>
                    <a:pt x="116" y="188"/>
                  </a:lnTo>
                  <a:lnTo>
                    <a:pt x="115" y="188"/>
                  </a:lnTo>
                  <a:lnTo>
                    <a:pt x="114" y="188"/>
                  </a:lnTo>
                  <a:lnTo>
                    <a:pt x="112" y="188"/>
                  </a:lnTo>
                  <a:lnTo>
                    <a:pt x="112" y="187"/>
                  </a:lnTo>
                  <a:lnTo>
                    <a:pt x="111" y="187"/>
                  </a:lnTo>
                  <a:lnTo>
                    <a:pt x="110" y="187"/>
                  </a:lnTo>
                  <a:lnTo>
                    <a:pt x="109" y="187"/>
                  </a:lnTo>
                  <a:lnTo>
                    <a:pt x="108" y="187"/>
                  </a:lnTo>
                  <a:lnTo>
                    <a:pt x="108" y="188"/>
                  </a:lnTo>
                  <a:lnTo>
                    <a:pt x="107" y="188"/>
                  </a:lnTo>
                  <a:lnTo>
                    <a:pt x="108" y="188"/>
                  </a:lnTo>
                  <a:lnTo>
                    <a:pt x="107" y="189"/>
                  </a:lnTo>
                  <a:lnTo>
                    <a:pt x="105" y="189"/>
                  </a:lnTo>
                  <a:lnTo>
                    <a:pt x="105" y="190"/>
                  </a:lnTo>
                  <a:lnTo>
                    <a:pt x="107" y="190"/>
                  </a:lnTo>
                  <a:lnTo>
                    <a:pt x="105" y="190"/>
                  </a:lnTo>
                  <a:lnTo>
                    <a:pt x="104" y="190"/>
                  </a:lnTo>
                  <a:lnTo>
                    <a:pt x="103" y="190"/>
                  </a:lnTo>
                  <a:lnTo>
                    <a:pt x="102" y="190"/>
                  </a:lnTo>
                  <a:lnTo>
                    <a:pt x="101" y="190"/>
                  </a:lnTo>
                  <a:lnTo>
                    <a:pt x="100" y="189"/>
                  </a:lnTo>
                  <a:lnTo>
                    <a:pt x="98" y="189"/>
                  </a:lnTo>
                  <a:lnTo>
                    <a:pt x="97" y="188"/>
                  </a:lnTo>
                  <a:lnTo>
                    <a:pt x="95" y="188"/>
                  </a:lnTo>
                  <a:lnTo>
                    <a:pt x="94" y="188"/>
                  </a:lnTo>
                  <a:lnTo>
                    <a:pt x="93" y="188"/>
                  </a:lnTo>
                  <a:lnTo>
                    <a:pt x="90" y="187"/>
                  </a:lnTo>
                  <a:lnTo>
                    <a:pt x="89" y="187"/>
                  </a:lnTo>
                  <a:lnTo>
                    <a:pt x="88" y="188"/>
                  </a:lnTo>
                  <a:lnTo>
                    <a:pt x="87" y="188"/>
                  </a:lnTo>
                  <a:lnTo>
                    <a:pt x="87" y="189"/>
                  </a:lnTo>
                  <a:lnTo>
                    <a:pt x="82" y="189"/>
                  </a:lnTo>
                  <a:lnTo>
                    <a:pt x="82" y="188"/>
                  </a:lnTo>
                  <a:lnTo>
                    <a:pt x="82" y="189"/>
                  </a:lnTo>
                  <a:lnTo>
                    <a:pt x="81" y="189"/>
                  </a:lnTo>
                  <a:lnTo>
                    <a:pt x="80" y="189"/>
                  </a:lnTo>
                  <a:lnTo>
                    <a:pt x="80" y="188"/>
                  </a:lnTo>
                  <a:lnTo>
                    <a:pt x="79" y="188"/>
                  </a:lnTo>
                  <a:lnTo>
                    <a:pt x="80" y="188"/>
                  </a:lnTo>
                  <a:lnTo>
                    <a:pt x="79" y="188"/>
                  </a:lnTo>
                  <a:lnTo>
                    <a:pt x="79" y="187"/>
                  </a:lnTo>
                  <a:lnTo>
                    <a:pt x="79" y="188"/>
                  </a:lnTo>
                  <a:lnTo>
                    <a:pt x="77" y="188"/>
                  </a:lnTo>
                  <a:lnTo>
                    <a:pt x="76" y="188"/>
                  </a:lnTo>
                  <a:lnTo>
                    <a:pt x="75" y="188"/>
                  </a:lnTo>
                  <a:lnTo>
                    <a:pt x="74" y="188"/>
                  </a:lnTo>
                  <a:lnTo>
                    <a:pt x="74" y="189"/>
                  </a:lnTo>
                  <a:lnTo>
                    <a:pt x="73" y="188"/>
                  </a:lnTo>
                  <a:lnTo>
                    <a:pt x="72" y="188"/>
                  </a:lnTo>
                  <a:lnTo>
                    <a:pt x="70" y="189"/>
                  </a:lnTo>
                  <a:lnTo>
                    <a:pt x="69" y="190"/>
                  </a:lnTo>
                  <a:lnTo>
                    <a:pt x="70" y="190"/>
                  </a:lnTo>
                  <a:lnTo>
                    <a:pt x="69" y="190"/>
                  </a:lnTo>
                  <a:lnTo>
                    <a:pt x="68" y="192"/>
                  </a:lnTo>
                  <a:lnTo>
                    <a:pt x="67" y="192"/>
                  </a:lnTo>
                  <a:lnTo>
                    <a:pt x="67" y="193"/>
                  </a:lnTo>
                  <a:lnTo>
                    <a:pt x="66" y="194"/>
                  </a:lnTo>
                  <a:lnTo>
                    <a:pt x="65" y="194"/>
                  </a:lnTo>
                  <a:lnTo>
                    <a:pt x="62" y="194"/>
                  </a:lnTo>
                  <a:lnTo>
                    <a:pt x="62" y="193"/>
                  </a:lnTo>
                  <a:lnTo>
                    <a:pt x="61" y="194"/>
                  </a:lnTo>
                  <a:lnTo>
                    <a:pt x="60" y="194"/>
                  </a:lnTo>
                  <a:lnTo>
                    <a:pt x="59" y="194"/>
                  </a:lnTo>
                  <a:lnTo>
                    <a:pt x="57" y="194"/>
                  </a:lnTo>
                  <a:lnTo>
                    <a:pt x="55" y="194"/>
                  </a:lnTo>
                  <a:lnTo>
                    <a:pt x="54" y="194"/>
                  </a:lnTo>
                  <a:lnTo>
                    <a:pt x="53" y="194"/>
                  </a:lnTo>
                  <a:lnTo>
                    <a:pt x="52" y="194"/>
                  </a:lnTo>
                  <a:lnTo>
                    <a:pt x="53" y="194"/>
                  </a:lnTo>
                  <a:lnTo>
                    <a:pt x="53" y="195"/>
                  </a:lnTo>
                  <a:lnTo>
                    <a:pt x="51" y="195"/>
                  </a:lnTo>
                  <a:lnTo>
                    <a:pt x="48" y="195"/>
                  </a:lnTo>
                  <a:lnTo>
                    <a:pt x="47" y="195"/>
                  </a:lnTo>
                  <a:lnTo>
                    <a:pt x="47" y="196"/>
                  </a:lnTo>
                  <a:lnTo>
                    <a:pt x="46" y="196"/>
                  </a:lnTo>
                  <a:lnTo>
                    <a:pt x="46" y="197"/>
                  </a:lnTo>
                  <a:lnTo>
                    <a:pt x="45" y="197"/>
                  </a:lnTo>
                  <a:lnTo>
                    <a:pt x="45" y="199"/>
                  </a:lnTo>
                  <a:lnTo>
                    <a:pt x="44" y="199"/>
                  </a:lnTo>
                  <a:lnTo>
                    <a:pt x="43" y="200"/>
                  </a:lnTo>
                  <a:lnTo>
                    <a:pt x="41" y="200"/>
                  </a:lnTo>
                  <a:lnTo>
                    <a:pt x="43" y="200"/>
                  </a:lnTo>
                  <a:lnTo>
                    <a:pt x="43" y="201"/>
                  </a:lnTo>
                  <a:lnTo>
                    <a:pt x="41" y="201"/>
                  </a:lnTo>
                  <a:lnTo>
                    <a:pt x="40" y="201"/>
                  </a:lnTo>
                  <a:lnTo>
                    <a:pt x="40" y="200"/>
                  </a:lnTo>
                  <a:lnTo>
                    <a:pt x="39" y="200"/>
                  </a:lnTo>
                  <a:lnTo>
                    <a:pt x="38" y="200"/>
                  </a:lnTo>
                  <a:lnTo>
                    <a:pt x="37" y="200"/>
                  </a:lnTo>
                  <a:lnTo>
                    <a:pt x="36" y="200"/>
                  </a:lnTo>
                  <a:lnTo>
                    <a:pt x="34" y="199"/>
                  </a:lnTo>
                  <a:lnTo>
                    <a:pt x="34" y="197"/>
                  </a:lnTo>
                  <a:lnTo>
                    <a:pt x="33" y="197"/>
                  </a:lnTo>
                  <a:lnTo>
                    <a:pt x="32" y="197"/>
                  </a:lnTo>
                  <a:lnTo>
                    <a:pt x="33" y="196"/>
                  </a:lnTo>
                  <a:lnTo>
                    <a:pt x="33" y="195"/>
                  </a:lnTo>
                  <a:lnTo>
                    <a:pt x="32" y="194"/>
                  </a:lnTo>
                  <a:lnTo>
                    <a:pt x="31" y="194"/>
                  </a:lnTo>
                  <a:lnTo>
                    <a:pt x="30" y="194"/>
                  </a:lnTo>
                  <a:lnTo>
                    <a:pt x="30" y="193"/>
                  </a:lnTo>
                  <a:lnTo>
                    <a:pt x="31" y="193"/>
                  </a:lnTo>
                  <a:lnTo>
                    <a:pt x="30" y="193"/>
                  </a:lnTo>
                  <a:lnTo>
                    <a:pt x="29" y="193"/>
                  </a:lnTo>
                  <a:lnTo>
                    <a:pt x="27" y="194"/>
                  </a:lnTo>
                  <a:lnTo>
                    <a:pt x="26" y="194"/>
                  </a:lnTo>
                  <a:lnTo>
                    <a:pt x="26" y="193"/>
                  </a:lnTo>
                  <a:lnTo>
                    <a:pt x="26" y="192"/>
                  </a:lnTo>
                  <a:lnTo>
                    <a:pt x="26" y="190"/>
                  </a:lnTo>
                  <a:lnTo>
                    <a:pt x="27" y="190"/>
                  </a:lnTo>
                  <a:lnTo>
                    <a:pt x="26" y="189"/>
                  </a:lnTo>
                  <a:lnTo>
                    <a:pt x="25" y="189"/>
                  </a:lnTo>
                  <a:lnTo>
                    <a:pt x="24" y="189"/>
                  </a:lnTo>
                  <a:lnTo>
                    <a:pt x="23" y="189"/>
                  </a:lnTo>
                  <a:lnTo>
                    <a:pt x="22" y="189"/>
                  </a:lnTo>
                  <a:lnTo>
                    <a:pt x="22" y="190"/>
                  </a:lnTo>
                  <a:lnTo>
                    <a:pt x="22" y="192"/>
                  </a:lnTo>
                  <a:lnTo>
                    <a:pt x="22" y="193"/>
                  </a:lnTo>
                  <a:lnTo>
                    <a:pt x="20" y="193"/>
                  </a:lnTo>
                  <a:lnTo>
                    <a:pt x="20" y="192"/>
                  </a:lnTo>
                  <a:lnTo>
                    <a:pt x="20" y="190"/>
                  </a:lnTo>
                  <a:lnTo>
                    <a:pt x="19" y="190"/>
                  </a:lnTo>
                  <a:lnTo>
                    <a:pt x="19" y="189"/>
                  </a:lnTo>
                  <a:lnTo>
                    <a:pt x="20" y="189"/>
                  </a:lnTo>
                  <a:lnTo>
                    <a:pt x="20" y="188"/>
                  </a:lnTo>
                  <a:lnTo>
                    <a:pt x="20" y="189"/>
                  </a:lnTo>
                  <a:lnTo>
                    <a:pt x="20" y="188"/>
                  </a:lnTo>
                  <a:lnTo>
                    <a:pt x="20" y="187"/>
                  </a:lnTo>
                  <a:lnTo>
                    <a:pt x="22" y="186"/>
                  </a:lnTo>
                  <a:lnTo>
                    <a:pt x="23" y="186"/>
                  </a:lnTo>
                  <a:lnTo>
                    <a:pt x="22" y="185"/>
                  </a:lnTo>
                  <a:lnTo>
                    <a:pt x="22" y="183"/>
                  </a:lnTo>
                  <a:lnTo>
                    <a:pt x="22" y="182"/>
                  </a:lnTo>
                  <a:lnTo>
                    <a:pt x="20" y="181"/>
                  </a:lnTo>
                  <a:lnTo>
                    <a:pt x="20" y="180"/>
                  </a:lnTo>
                  <a:lnTo>
                    <a:pt x="20" y="179"/>
                  </a:lnTo>
                  <a:lnTo>
                    <a:pt x="19" y="179"/>
                  </a:lnTo>
                  <a:lnTo>
                    <a:pt x="18" y="178"/>
                  </a:lnTo>
                  <a:lnTo>
                    <a:pt x="18" y="176"/>
                  </a:lnTo>
                  <a:lnTo>
                    <a:pt x="18" y="175"/>
                  </a:lnTo>
                  <a:lnTo>
                    <a:pt x="17" y="175"/>
                  </a:lnTo>
                  <a:lnTo>
                    <a:pt x="17" y="174"/>
                  </a:lnTo>
                  <a:lnTo>
                    <a:pt x="16" y="174"/>
                  </a:lnTo>
                  <a:lnTo>
                    <a:pt x="16" y="173"/>
                  </a:lnTo>
                  <a:lnTo>
                    <a:pt x="17" y="173"/>
                  </a:lnTo>
                  <a:lnTo>
                    <a:pt x="17" y="174"/>
                  </a:lnTo>
                  <a:lnTo>
                    <a:pt x="18" y="175"/>
                  </a:lnTo>
                  <a:lnTo>
                    <a:pt x="18" y="174"/>
                  </a:lnTo>
                  <a:lnTo>
                    <a:pt x="17" y="174"/>
                  </a:lnTo>
                  <a:lnTo>
                    <a:pt x="17" y="173"/>
                  </a:lnTo>
                  <a:lnTo>
                    <a:pt x="17" y="172"/>
                  </a:lnTo>
                  <a:lnTo>
                    <a:pt x="16" y="172"/>
                  </a:lnTo>
                  <a:lnTo>
                    <a:pt x="16" y="173"/>
                  </a:lnTo>
                  <a:lnTo>
                    <a:pt x="16" y="172"/>
                  </a:lnTo>
                  <a:lnTo>
                    <a:pt x="15" y="172"/>
                  </a:lnTo>
                  <a:lnTo>
                    <a:pt x="15" y="171"/>
                  </a:lnTo>
                  <a:lnTo>
                    <a:pt x="15" y="169"/>
                  </a:lnTo>
                  <a:lnTo>
                    <a:pt x="16" y="169"/>
                  </a:lnTo>
                  <a:lnTo>
                    <a:pt x="15" y="169"/>
                  </a:lnTo>
                  <a:lnTo>
                    <a:pt x="15" y="168"/>
                  </a:lnTo>
                  <a:lnTo>
                    <a:pt x="16" y="168"/>
                  </a:lnTo>
                  <a:lnTo>
                    <a:pt x="16" y="167"/>
                  </a:lnTo>
                  <a:lnTo>
                    <a:pt x="17" y="167"/>
                  </a:lnTo>
                  <a:lnTo>
                    <a:pt x="17" y="168"/>
                  </a:lnTo>
                  <a:lnTo>
                    <a:pt x="18" y="168"/>
                  </a:lnTo>
                  <a:lnTo>
                    <a:pt x="19" y="168"/>
                  </a:lnTo>
                  <a:lnTo>
                    <a:pt x="20" y="166"/>
                  </a:lnTo>
                  <a:lnTo>
                    <a:pt x="22" y="165"/>
                  </a:lnTo>
                  <a:lnTo>
                    <a:pt x="22" y="164"/>
                  </a:lnTo>
                  <a:lnTo>
                    <a:pt x="22" y="162"/>
                  </a:lnTo>
                  <a:lnTo>
                    <a:pt x="22" y="161"/>
                  </a:lnTo>
                  <a:lnTo>
                    <a:pt x="22" y="160"/>
                  </a:lnTo>
                  <a:lnTo>
                    <a:pt x="22" y="158"/>
                  </a:lnTo>
                  <a:lnTo>
                    <a:pt x="22" y="157"/>
                  </a:lnTo>
                  <a:lnTo>
                    <a:pt x="22" y="155"/>
                  </a:lnTo>
                  <a:lnTo>
                    <a:pt x="22" y="154"/>
                  </a:lnTo>
                  <a:lnTo>
                    <a:pt x="20" y="153"/>
                  </a:lnTo>
                  <a:lnTo>
                    <a:pt x="20" y="152"/>
                  </a:lnTo>
                  <a:lnTo>
                    <a:pt x="20" y="151"/>
                  </a:lnTo>
                  <a:lnTo>
                    <a:pt x="19" y="150"/>
                  </a:lnTo>
                  <a:lnTo>
                    <a:pt x="19" y="148"/>
                  </a:lnTo>
                  <a:lnTo>
                    <a:pt x="18" y="148"/>
                  </a:lnTo>
                  <a:lnTo>
                    <a:pt x="18" y="147"/>
                  </a:lnTo>
                  <a:lnTo>
                    <a:pt x="17" y="147"/>
                  </a:lnTo>
                  <a:lnTo>
                    <a:pt x="17" y="146"/>
                  </a:lnTo>
                  <a:lnTo>
                    <a:pt x="17" y="145"/>
                  </a:lnTo>
                  <a:lnTo>
                    <a:pt x="16" y="144"/>
                  </a:lnTo>
                  <a:lnTo>
                    <a:pt x="15" y="143"/>
                  </a:lnTo>
                  <a:lnTo>
                    <a:pt x="15" y="141"/>
                  </a:lnTo>
                  <a:lnTo>
                    <a:pt x="15" y="140"/>
                  </a:lnTo>
                  <a:lnTo>
                    <a:pt x="13" y="139"/>
                  </a:lnTo>
                  <a:lnTo>
                    <a:pt x="12" y="138"/>
                  </a:lnTo>
                  <a:lnTo>
                    <a:pt x="12" y="137"/>
                  </a:lnTo>
                  <a:lnTo>
                    <a:pt x="11" y="136"/>
                  </a:lnTo>
                  <a:lnTo>
                    <a:pt x="11" y="134"/>
                  </a:lnTo>
                  <a:lnTo>
                    <a:pt x="11" y="133"/>
                  </a:lnTo>
                  <a:lnTo>
                    <a:pt x="10" y="132"/>
                  </a:lnTo>
                  <a:lnTo>
                    <a:pt x="10" y="131"/>
                  </a:lnTo>
                  <a:lnTo>
                    <a:pt x="9" y="130"/>
                  </a:lnTo>
                  <a:lnTo>
                    <a:pt x="9" y="129"/>
                  </a:lnTo>
                  <a:lnTo>
                    <a:pt x="9" y="127"/>
                  </a:lnTo>
                  <a:lnTo>
                    <a:pt x="9" y="126"/>
                  </a:lnTo>
                  <a:lnTo>
                    <a:pt x="8" y="125"/>
                  </a:lnTo>
                  <a:lnTo>
                    <a:pt x="8" y="123"/>
                  </a:lnTo>
                  <a:lnTo>
                    <a:pt x="8" y="122"/>
                  </a:lnTo>
                  <a:lnTo>
                    <a:pt x="6" y="122"/>
                  </a:lnTo>
                  <a:lnTo>
                    <a:pt x="6" y="120"/>
                  </a:lnTo>
                  <a:lnTo>
                    <a:pt x="6" y="119"/>
                  </a:lnTo>
                  <a:lnTo>
                    <a:pt x="6" y="118"/>
                  </a:lnTo>
                  <a:lnTo>
                    <a:pt x="6" y="117"/>
                  </a:lnTo>
                  <a:lnTo>
                    <a:pt x="5" y="116"/>
                  </a:lnTo>
                  <a:lnTo>
                    <a:pt x="5" y="115"/>
                  </a:lnTo>
                  <a:lnTo>
                    <a:pt x="5" y="113"/>
                  </a:lnTo>
                  <a:lnTo>
                    <a:pt x="4" y="113"/>
                  </a:lnTo>
                  <a:lnTo>
                    <a:pt x="4" y="112"/>
                  </a:lnTo>
                  <a:lnTo>
                    <a:pt x="4" y="111"/>
                  </a:lnTo>
                  <a:lnTo>
                    <a:pt x="4" y="110"/>
                  </a:lnTo>
                  <a:lnTo>
                    <a:pt x="3" y="109"/>
                  </a:lnTo>
                  <a:lnTo>
                    <a:pt x="3" y="108"/>
                  </a:lnTo>
                  <a:lnTo>
                    <a:pt x="2" y="108"/>
                  </a:lnTo>
                  <a:lnTo>
                    <a:pt x="1" y="106"/>
                  </a:lnTo>
                  <a:lnTo>
                    <a:pt x="1" y="105"/>
                  </a:lnTo>
                  <a:lnTo>
                    <a:pt x="1" y="104"/>
                  </a:lnTo>
                  <a:lnTo>
                    <a:pt x="1" y="103"/>
                  </a:lnTo>
                  <a:lnTo>
                    <a:pt x="0" y="103"/>
                  </a:lnTo>
                  <a:lnTo>
                    <a:pt x="0" y="102"/>
                  </a:lnTo>
                  <a:lnTo>
                    <a:pt x="1" y="102"/>
                  </a:lnTo>
                  <a:lnTo>
                    <a:pt x="2" y="101"/>
                  </a:lnTo>
                  <a:lnTo>
                    <a:pt x="3" y="99"/>
                  </a:lnTo>
                  <a:lnTo>
                    <a:pt x="3" y="101"/>
                  </a:lnTo>
                  <a:lnTo>
                    <a:pt x="3" y="99"/>
                  </a:lnTo>
                  <a:lnTo>
                    <a:pt x="4" y="99"/>
                  </a:lnTo>
                  <a:lnTo>
                    <a:pt x="4" y="98"/>
                  </a:lnTo>
                  <a:lnTo>
                    <a:pt x="4" y="97"/>
                  </a:lnTo>
                  <a:lnTo>
                    <a:pt x="4" y="96"/>
                  </a:lnTo>
                  <a:lnTo>
                    <a:pt x="5" y="96"/>
                  </a:lnTo>
                  <a:lnTo>
                    <a:pt x="5" y="95"/>
                  </a:lnTo>
                  <a:lnTo>
                    <a:pt x="5" y="96"/>
                  </a:lnTo>
                  <a:lnTo>
                    <a:pt x="5" y="95"/>
                  </a:lnTo>
                  <a:lnTo>
                    <a:pt x="5" y="94"/>
                  </a:lnTo>
                  <a:lnTo>
                    <a:pt x="6" y="94"/>
                  </a:lnTo>
                  <a:lnTo>
                    <a:pt x="8" y="94"/>
                  </a:lnTo>
                  <a:lnTo>
                    <a:pt x="9" y="94"/>
                  </a:lnTo>
                  <a:lnTo>
                    <a:pt x="9" y="95"/>
                  </a:lnTo>
                  <a:lnTo>
                    <a:pt x="10" y="95"/>
                  </a:lnTo>
                  <a:lnTo>
                    <a:pt x="10" y="96"/>
                  </a:lnTo>
                  <a:lnTo>
                    <a:pt x="11" y="96"/>
                  </a:lnTo>
                  <a:lnTo>
                    <a:pt x="11" y="97"/>
                  </a:lnTo>
                  <a:lnTo>
                    <a:pt x="12" y="97"/>
                  </a:lnTo>
                  <a:lnTo>
                    <a:pt x="12" y="98"/>
                  </a:lnTo>
                  <a:lnTo>
                    <a:pt x="12" y="99"/>
                  </a:lnTo>
                  <a:lnTo>
                    <a:pt x="11" y="99"/>
                  </a:lnTo>
                  <a:lnTo>
                    <a:pt x="11" y="101"/>
                  </a:lnTo>
                  <a:lnTo>
                    <a:pt x="11" y="102"/>
                  </a:lnTo>
                  <a:lnTo>
                    <a:pt x="12" y="102"/>
                  </a:lnTo>
                  <a:lnTo>
                    <a:pt x="12" y="103"/>
                  </a:lnTo>
                  <a:lnTo>
                    <a:pt x="12" y="104"/>
                  </a:lnTo>
                  <a:lnTo>
                    <a:pt x="13" y="104"/>
                  </a:lnTo>
                  <a:lnTo>
                    <a:pt x="15" y="104"/>
                  </a:lnTo>
                  <a:lnTo>
                    <a:pt x="15" y="103"/>
                  </a:lnTo>
                  <a:lnTo>
                    <a:pt x="15" y="104"/>
                  </a:lnTo>
                  <a:lnTo>
                    <a:pt x="15" y="105"/>
                  </a:lnTo>
                  <a:lnTo>
                    <a:pt x="16" y="105"/>
                  </a:lnTo>
                  <a:lnTo>
                    <a:pt x="16" y="104"/>
                  </a:lnTo>
                  <a:lnTo>
                    <a:pt x="17" y="104"/>
                  </a:lnTo>
                  <a:lnTo>
                    <a:pt x="19" y="105"/>
                  </a:lnTo>
                  <a:lnTo>
                    <a:pt x="20" y="106"/>
                  </a:lnTo>
                  <a:lnTo>
                    <a:pt x="22" y="106"/>
                  </a:lnTo>
                  <a:lnTo>
                    <a:pt x="23" y="108"/>
                  </a:lnTo>
                  <a:lnTo>
                    <a:pt x="23" y="106"/>
                  </a:lnTo>
                  <a:lnTo>
                    <a:pt x="24" y="106"/>
                  </a:lnTo>
                  <a:lnTo>
                    <a:pt x="25" y="106"/>
                  </a:lnTo>
                  <a:lnTo>
                    <a:pt x="26" y="106"/>
                  </a:lnTo>
                  <a:lnTo>
                    <a:pt x="27" y="106"/>
                  </a:lnTo>
                  <a:lnTo>
                    <a:pt x="30" y="106"/>
                  </a:lnTo>
                  <a:lnTo>
                    <a:pt x="33" y="106"/>
                  </a:lnTo>
                  <a:lnTo>
                    <a:pt x="33" y="108"/>
                  </a:lnTo>
                  <a:lnTo>
                    <a:pt x="34" y="108"/>
                  </a:lnTo>
                  <a:lnTo>
                    <a:pt x="36" y="108"/>
                  </a:lnTo>
                  <a:lnTo>
                    <a:pt x="37" y="108"/>
                  </a:lnTo>
                  <a:lnTo>
                    <a:pt x="37" y="106"/>
                  </a:lnTo>
                  <a:lnTo>
                    <a:pt x="37" y="105"/>
                  </a:lnTo>
                  <a:lnTo>
                    <a:pt x="37" y="104"/>
                  </a:lnTo>
                  <a:lnTo>
                    <a:pt x="38" y="104"/>
                  </a:lnTo>
                  <a:lnTo>
                    <a:pt x="39" y="104"/>
                  </a:lnTo>
                  <a:lnTo>
                    <a:pt x="40" y="104"/>
                  </a:lnTo>
                  <a:lnTo>
                    <a:pt x="40" y="103"/>
                  </a:lnTo>
                  <a:lnTo>
                    <a:pt x="40" y="102"/>
                  </a:lnTo>
                  <a:lnTo>
                    <a:pt x="41" y="102"/>
                  </a:lnTo>
                  <a:lnTo>
                    <a:pt x="41" y="101"/>
                  </a:lnTo>
                  <a:lnTo>
                    <a:pt x="43" y="101"/>
                  </a:lnTo>
                  <a:lnTo>
                    <a:pt x="44" y="101"/>
                  </a:lnTo>
                  <a:lnTo>
                    <a:pt x="45" y="101"/>
                  </a:lnTo>
                  <a:lnTo>
                    <a:pt x="45" y="99"/>
                  </a:lnTo>
                  <a:lnTo>
                    <a:pt x="46" y="99"/>
                  </a:lnTo>
                  <a:lnTo>
                    <a:pt x="47" y="99"/>
                  </a:lnTo>
                  <a:lnTo>
                    <a:pt x="47" y="98"/>
                  </a:lnTo>
                  <a:lnTo>
                    <a:pt x="47" y="97"/>
                  </a:lnTo>
                  <a:lnTo>
                    <a:pt x="47" y="96"/>
                  </a:lnTo>
                  <a:lnTo>
                    <a:pt x="47" y="95"/>
                  </a:lnTo>
                  <a:lnTo>
                    <a:pt x="47" y="94"/>
                  </a:lnTo>
                  <a:lnTo>
                    <a:pt x="47" y="92"/>
                  </a:lnTo>
                  <a:lnTo>
                    <a:pt x="47" y="91"/>
                  </a:lnTo>
                  <a:lnTo>
                    <a:pt x="47" y="90"/>
                  </a:lnTo>
                  <a:lnTo>
                    <a:pt x="47" y="89"/>
                  </a:lnTo>
                  <a:lnTo>
                    <a:pt x="47" y="88"/>
                  </a:lnTo>
                  <a:lnTo>
                    <a:pt x="47" y="87"/>
                  </a:lnTo>
                  <a:lnTo>
                    <a:pt x="47" y="85"/>
                  </a:lnTo>
                  <a:lnTo>
                    <a:pt x="47" y="84"/>
                  </a:lnTo>
                  <a:lnTo>
                    <a:pt x="47" y="83"/>
                  </a:lnTo>
                  <a:lnTo>
                    <a:pt x="47" y="82"/>
                  </a:lnTo>
                  <a:lnTo>
                    <a:pt x="48" y="82"/>
                  </a:lnTo>
                  <a:lnTo>
                    <a:pt x="48" y="81"/>
                  </a:lnTo>
                  <a:lnTo>
                    <a:pt x="48" y="80"/>
                  </a:lnTo>
                  <a:lnTo>
                    <a:pt x="48" y="78"/>
                  </a:lnTo>
                  <a:lnTo>
                    <a:pt x="48" y="77"/>
                  </a:lnTo>
                  <a:lnTo>
                    <a:pt x="48" y="76"/>
                  </a:lnTo>
                  <a:lnTo>
                    <a:pt x="48" y="75"/>
                  </a:lnTo>
                  <a:lnTo>
                    <a:pt x="48" y="74"/>
                  </a:lnTo>
                  <a:lnTo>
                    <a:pt x="48" y="73"/>
                  </a:lnTo>
                  <a:lnTo>
                    <a:pt x="48" y="71"/>
                  </a:lnTo>
                  <a:lnTo>
                    <a:pt x="48" y="70"/>
                  </a:lnTo>
                  <a:lnTo>
                    <a:pt x="48" y="69"/>
                  </a:lnTo>
                  <a:lnTo>
                    <a:pt x="48" y="68"/>
                  </a:lnTo>
                  <a:lnTo>
                    <a:pt x="48" y="67"/>
                  </a:lnTo>
                  <a:lnTo>
                    <a:pt x="48" y="66"/>
                  </a:lnTo>
                  <a:lnTo>
                    <a:pt x="48" y="64"/>
                  </a:lnTo>
                  <a:lnTo>
                    <a:pt x="48" y="63"/>
                  </a:lnTo>
                  <a:lnTo>
                    <a:pt x="48" y="62"/>
                  </a:lnTo>
                  <a:lnTo>
                    <a:pt x="48" y="61"/>
                  </a:lnTo>
                  <a:lnTo>
                    <a:pt x="48" y="60"/>
                  </a:lnTo>
                  <a:lnTo>
                    <a:pt x="48" y="59"/>
                  </a:lnTo>
                  <a:lnTo>
                    <a:pt x="48" y="57"/>
                  </a:lnTo>
                  <a:lnTo>
                    <a:pt x="48" y="56"/>
                  </a:lnTo>
                  <a:lnTo>
                    <a:pt x="48" y="55"/>
                  </a:lnTo>
                  <a:lnTo>
                    <a:pt x="50" y="54"/>
                  </a:lnTo>
                  <a:lnTo>
                    <a:pt x="50" y="53"/>
                  </a:lnTo>
                  <a:lnTo>
                    <a:pt x="50" y="52"/>
                  </a:lnTo>
                  <a:lnTo>
                    <a:pt x="50" y="51"/>
                  </a:lnTo>
                  <a:lnTo>
                    <a:pt x="50" y="49"/>
                  </a:lnTo>
                  <a:lnTo>
                    <a:pt x="50" y="48"/>
                  </a:lnTo>
                  <a:lnTo>
                    <a:pt x="50" y="47"/>
                  </a:lnTo>
                  <a:lnTo>
                    <a:pt x="50" y="46"/>
                  </a:lnTo>
                  <a:lnTo>
                    <a:pt x="50" y="45"/>
                  </a:lnTo>
                  <a:lnTo>
                    <a:pt x="50" y="44"/>
                  </a:lnTo>
                  <a:lnTo>
                    <a:pt x="50" y="42"/>
                  </a:lnTo>
                  <a:lnTo>
                    <a:pt x="50" y="41"/>
                  </a:lnTo>
                  <a:lnTo>
                    <a:pt x="50" y="42"/>
                  </a:lnTo>
                  <a:lnTo>
                    <a:pt x="51" y="44"/>
                  </a:lnTo>
                  <a:lnTo>
                    <a:pt x="52" y="44"/>
                  </a:lnTo>
                  <a:lnTo>
                    <a:pt x="53" y="45"/>
                  </a:lnTo>
                  <a:lnTo>
                    <a:pt x="54" y="46"/>
                  </a:lnTo>
                  <a:lnTo>
                    <a:pt x="55" y="47"/>
                  </a:lnTo>
                  <a:lnTo>
                    <a:pt x="55" y="48"/>
                  </a:lnTo>
                  <a:lnTo>
                    <a:pt x="55" y="49"/>
                  </a:lnTo>
                  <a:lnTo>
                    <a:pt x="57" y="49"/>
                  </a:lnTo>
                  <a:lnTo>
                    <a:pt x="57" y="51"/>
                  </a:lnTo>
                  <a:lnTo>
                    <a:pt x="57" y="52"/>
                  </a:lnTo>
                  <a:lnTo>
                    <a:pt x="58" y="52"/>
                  </a:lnTo>
                  <a:lnTo>
                    <a:pt x="58" y="53"/>
                  </a:lnTo>
                  <a:lnTo>
                    <a:pt x="58" y="54"/>
                  </a:lnTo>
                  <a:lnTo>
                    <a:pt x="59" y="55"/>
                  </a:lnTo>
                  <a:lnTo>
                    <a:pt x="58" y="55"/>
                  </a:lnTo>
                  <a:lnTo>
                    <a:pt x="58" y="56"/>
                  </a:lnTo>
                  <a:lnTo>
                    <a:pt x="59" y="56"/>
                  </a:lnTo>
                  <a:lnTo>
                    <a:pt x="59" y="57"/>
                  </a:lnTo>
                  <a:lnTo>
                    <a:pt x="59" y="59"/>
                  </a:lnTo>
                  <a:lnTo>
                    <a:pt x="60" y="60"/>
                  </a:lnTo>
                  <a:lnTo>
                    <a:pt x="60" y="61"/>
                  </a:lnTo>
                  <a:lnTo>
                    <a:pt x="60" y="62"/>
                  </a:lnTo>
                  <a:lnTo>
                    <a:pt x="60" y="63"/>
                  </a:lnTo>
                  <a:lnTo>
                    <a:pt x="60" y="64"/>
                  </a:lnTo>
                  <a:lnTo>
                    <a:pt x="59" y="64"/>
                  </a:lnTo>
                  <a:lnTo>
                    <a:pt x="59" y="66"/>
                  </a:lnTo>
                  <a:lnTo>
                    <a:pt x="58" y="67"/>
                  </a:lnTo>
                  <a:lnTo>
                    <a:pt x="58" y="68"/>
                  </a:lnTo>
                  <a:lnTo>
                    <a:pt x="57" y="68"/>
                  </a:lnTo>
                  <a:lnTo>
                    <a:pt x="57" y="69"/>
                  </a:lnTo>
                  <a:lnTo>
                    <a:pt x="57" y="70"/>
                  </a:lnTo>
                  <a:lnTo>
                    <a:pt x="57" y="71"/>
                  </a:lnTo>
                  <a:lnTo>
                    <a:pt x="57" y="73"/>
                  </a:lnTo>
                  <a:lnTo>
                    <a:pt x="57" y="74"/>
                  </a:lnTo>
                  <a:lnTo>
                    <a:pt x="58" y="74"/>
                  </a:lnTo>
                  <a:lnTo>
                    <a:pt x="58" y="75"/>
                  </a:lnTo>
                  <a:lnTo>
                    <a:pt x="59" y="75"/>
                  </a:lnTo>
                  <a:lnTo>
                    <a:pt x="60" y="74"/>
                  </a:lnTo>
                  <a:lnTo>
                    <a:pt x="61" y="74"/>
                  </a:lnTo>
                  <a:lnTo>
                    <a:pt x="61" y="75"/>
                  </a:lnTo>
                  <a:lnTo>
                    <a:pt x="64" y="75"/>
                  </a:lnTo>
                  <a:lnTo>
                    <a:pt x="65" y="75"/>
                  </a:lnTo>
                  <a:lnTo>
                    <a:pt x="66" y="75"/>
                  </a:lnTo>
                  <a:lnTo>
                    <a:pt x="67" y="74"/>
                  </a:lnTo>
                  <a:lnTo>
                    <a:pt x="68" y="74"/>
                  </a:lnTo>
                  <a:lnTo>
                    <a:pt x="68" y="75"/>
                  </a:lnTo>
                  <a:lnTo>
                    <a:pt x="69" y="75"/>
                  </a:lnTo>
                  <a:lnTo>
                    <a:pt x="70" y="75"/>
                  </a:lnTo>
                  <a:lnTo>
                    <a:pt x="72" y="75"/>
                  </a:lnTo>
                  <a:lnTo>
                    <a:pt x="72" y="74"/>
                  </a:lnTo>
                  <a:lnTo>
                    <a:pt x="73" y="74"/>
                  </a:lnTo>
                  <a:lnTo>
                    <a:pt x="73" y="73"/>
                  </a:lnTo>
                  <a:lnTo>
                    <a:pt x="73" y="71"/>
                  </a:lnTo>
                  <a:lnTo>
                    <a:pt x="75" y="71"/>
                  </a:lnTo>
                  <a:lnTo>
                    <a:pt x="76" y="71"/>
                  </a:lnTo>
                  <a:lnTo>
                    <a:pt x="77" y="70"/>
                  </a:lnTo>
                  <a:lnTo>
                    <a:pt x="77" y="69"/>
                  </a:lnTo>
                  <a:lnTo>
                    <a:pt x="79" y="68"/>
                  </a:lnTo>
                  <a:lnTo>
                    <a:pt x="79" y="67"/>
                  </a:lnTo>
                  <a:lnTo>
                    <a:pt x="80" y="67"/>
                  </a:lnTo>
                  <a:lnTo>
                    <a:pt x="81" y="66"/>
                  </a:lnTo>
                  <a:lnTo>
                    <a:pt x="82" y="64"/>
                  </a:lnTo>
                  <a:lnTo>
                    <a:pt x="83" y="64"/>
                  </a:lnTo>
                  <a:lnTo>
                    <a:pt x="83" y="63"/>
                  </a:lnTo>
                  <a:lnTo>
                    <a:pt x="84" y="63"/>
                  </a:lnTo>
                  <a:lnTo>
                    <a:pt x="84" y="62"/>
                  </a:lnTo>
                  <a:lnTo>
                    <a:pt x="84" y="61"/>
                  </a:lnTo>
                  <a:lnTo>
                    <a:pt x="86" y="61"/>
                  </a:lnTo>
                  <a:lnTo>
                    <a:pt x="86" y="60"/>
                  </a:lnTo>
                  <a:lnTo>
                    <a:pt x="86" y="59"/>
                  </a:lnTo>
                  <a:lnTo>
                    <a:pt x="87" y="59"/>
                  </a:lnTo>
                  <a:lnTo>
                    <a:pt x="87" y="57"/>
                  </a:lnTo>
                  <a:lnTo>
                    <a:pt x="86" y="57"/>
                  </a:lnTo>
                  <a:lnTo>
                    <a:pt x="87" y="57"/>
                  </a:lnTo>
                  <a:lnTo>
                    <a:pt x="87" y="56"/>
                  </a:lnTo>
                  <a:lnTo>
                    <a:pt x="87" y="55"/>
                  </a:lnTo>
                  <a:lnTo>
                    <a:pt x="88" y="55"/>
                  </a:lnTo>
                  <a:lnTo>
                    <a:pt x="88" y="54"/>
                  </a:lnTo>
                  <a:lnTo>
                    <a:pt x="87" y="54"/>
                  </a:lnTo>
                  <a:lnTo>
                    <a:pt x="88" y="54"/>
                  </a:lnTo>
                  <a:lnTo>
                    <a:pt x="88" y="53"/>
                  </a:lnTo>
                  <a:lnTo>
                    <a:pt x="89" y="52"/>
                  </a:lnTo>
                  <a:lnTo>
                    <a:pt x="89" y="51"/>
                  </a:lnTo>
                  <a:lnTo>
                    <a:pt x="90" y="51"/>
                  </a:lnTo>
                  <a:lnTo>
                    <a:pt x="91" y="51"/>
                  </a:lnTo>
                  <a:lnTo>
                    <a:pt x="93" y="49"/>
                  </a:lnTo>
                  <a:lnTo>
                    <a:pt x="94" y="49"/>
                  </a:lnTo>
                  <a:lnTo>
                    <a:pt x="95" y="49"/>
                  </a:lnTo>
                  <a:lnTo>
                    <a:pt x="95" y="51"/>
                  </a:lnTo>
                  <a:lnTo>
                    <a:pt x="96" y="49"/>
                  </a:lnTo>
                  <a:lnTo>
                    <a:pt x="96" y="51"/>
                  </a:lnTo>
                  <a:lnTo>
                    <a:pt x="97" y="51"/>
                  </a:lnTo>
                  <a:lnTo>
                    <a:pt x="100" y="52"/>
                  </a:lnTo>
                  <a:lnTo>
                    <a:pt x="100" y="53"/>
                  </a:lnTo>
                  <a:lnTo>
                    <a:pt x="101" y="53"/>
                  </a:lnTo>
                  <a:lnTo>
                    <a:pt x="101" y="54"/>
                  </a:lnTo>
                  <a:lnTo>
                    <a:pt x="102" y="55"/>
                  </a:lnTo>
                  <a:lnTo>
                    <a:pt x="103" y="55"/>
                  </a:lnTo>
                  <a:lnTo>
                    <a:pt x="104" y="55"/>
                  </a:lnTo>
                  <a:lnTo>
                    <a:pt x="105" y="55"/>
                  </a:lnTo>
                  <a:lnTo>
                    <a:pt x="107" y="55"/>
                  </a:lnTo>
                  <a:lnTo>
                    <a:pt x="108" y="56"/>
                  </a:lnTo>
                  <a:lnTo>
                    <a:pt x="108" y="57"/>
                  </a:lnTo>
                  <a:lnTo>
                    <a:pt x="109" y="57"/>
                  </a:lnTo>
                  <a:lnTo>
                    <a:pt x="110" y="57"/>
                  </a:lnTo>
                  <a:lnTo>
                    <a:pt x="111" y="57"/>
                  </a:lnTo>
                  <a:lnTo>
                    <a:pt x="111" y="59"/>
                  </a:lnTo>
                  <a:lnTo>
                    <a:pt x="112" y="59"/>
                  </a:lnTo>
                  <a:lnTo>
                    <a:pt x="114" y="59"/>
                  </a:lnTo>
                  <a:lnTo>
                    <a:pt x="115" y="59"/>
                  </a:lnTo>
                  <a:lnTo>
                    <a:pt x="116" y="57"/>
                  </a:lnTo>
                  <a:lnTo>
                    <a:pt x="117" y="57"/>
                  </a:lnTo>
                  <a:lnTo>
                    <a:pt x="118" y="57"/>
                  </a:lnTo>
                  <a:lnTo>
                    <a:pt x="119" y="57"/>
                  </a:lnTo>
                  <a:lnTo>
                    <a:pt x="122" y="57"/>
                  </a:lnTo>
                  <a:lnTo>
                    <a:pt x="123" y="56"/>
                  </a:lnTo>
                  <a:lnTo>
                    <a:pt x="125" y="55"/>
                  </a:lnTo>
                  <a:lnTo>
                    <a:pt x="125" y="54"/>
                  </a:lnTo>
                  <a:lnTo>
                    <a:pt x="126" y="53"/>
                  </a:lnTo>
                  <a:lnTo>
                    <a:pt x="126" y="51"/>
                  </a:lnTo>
                  <a:lnTo>
                    <a:pt x="128" y="47"/>
                  </a:lnTo>
                  <a:lnTo>
                    <a:pt x="129" y="46"/>
                  </a:lnTo>
                  <a:lnTo>
                    <a:pt x="129" y="45"/>
                  </a:lnTo>
                  <a:lnTo>
                    <a:pt x="129" y="44"/>
                  </a:lnTo>
                  <a:lnTo>
                    <a:pt x="130" y="44"/>
                  </a:lnTo>
                  <a:lnTo>
                    <a:pt x="130" y="42"/>
                  </a:lnTo>
                  <a:lnTo>
                    <a:pt x="130" y="41"/>
                  </a:lnTo>
                  <a:lnTo>
                    <a:pt x="131" y="41"/>
                  </a:lnTo>
                  <a:lnTo>
                    <a:pt x="133" y="40"/>
                  </a:lnTo>
                  <a:lnTo>
                    <a:pt x="134" y="40"/>
                  </a:lnTo>
                  <a:lnTo>
                    <a:pt x="136" y="39"/>
                  </a:lnTo>
                  <a:lnTo>
                    <a:pt x="136" y="40"/>
                  </a:lnTo>
                  <a:lnTo>
                    <a:pt x="137" y="40"/>
                  </a:lnTo>
                  <a:lnTo>
                    <a:pt x="138" y="39"/>
                  </a:lnTo>
                  <a:lnTo>
                    <a:pt x="138" y="38"/>
                  </a:lnTo>
                  <a:lnTo>
                    <a:pt x="139" y="37"/>
                  </a:lnTo>
                  <a:lnTo>
                    <a:pt x="140" y="35"/>
                  </a:lnTo>
                  <a:lnTo>
                    <a:pt x="140" y="34"/>
                  </a:lnTo>
                  <a:lnTo>
                    <a:pt x="141" y="34"/>
                  </a:lnTo>
                  <a:lnTo>
                    <a:pt x="143" y="34"/>
                  </a:lnTo>
                  <a:lnTo>
                    <a:pt x="143" y="33"/>
                  </a:lnTo>
                  <a:lnTo>
                    <a:pt x="144" y="32"/>
                  </a:lnTo>
                  <a:lnTo>
                    <a:pt x="145" y="27"/>
                  </a:lnTo>
                  <a:lnTo>
                    <a:pt x="145" y="26"/>
                  </a:lnTo>
                  <a:lnTo>
                    <a:pt x="145" y="25"/>
                  </a:lnTo>
                  <a:lnTo>
                    <a:pt x="146" y="24"/>
                  </a:lnTo>
                  <a:lnTo>
                    <a:pt x="147" y="24"/>
                  </a:lnTo>
                  <a:lnTo>
                    <a:pt x="147" y="23"/>
                  </a:lnTo>
                  <a:lnTo>
                    <a:pt x="148" y="21"/>
                  </a:lnTo>
                  <a:lnTo>
                    <a:pt x="148" y="23"/>
                  </a:lnTo>
                  <a:lnTo>
                    <a:pt x="148" y="21"/>
                  </a:lnTo>
                  <a:lnTo>
                    <a:pt x="150" y="21"/>
                  </a:lnTo>
                  <a:lnTo>
                    <a:pt x="150" y="20"/>
                  </a:lnTo>
                  <a:lnTo>
                    <a:pt x="151" y="20"/>
                  </a:lnTo>
                  <a:lnTo>
                    <a:pt x="152" y="20"/>
                  </a:lnTo>
                  <a:lnTo>
                    <a:pt x="151" y="20"/>
                  </a:lnTo>
                  <a:lnTo>
                    <a:pt x="152" y="20"/>
                  </a:lnTo>
                  <a:lnTo>
                    <a:pt x="153" y="20"/>
                  </a:lnTo>
                  <a:lnTo>
                    <a:pt x="153" y="19"/>
                  </a:lnTo>
                  <a:lnTo>
                    <a:pt x="153" y="18"/>
                  </a:lnTo>
                  <a:lnTo>
                    <a:pt x="154" y="18"/>
                  </a:lnTo>
                  <a:lnTo>
                    <a:pt x="154" y="17"/>
                  </a:lnTo>
                  <a:lnTo>
                    <a:pt x="154" y="18"/>
                  </a:lnTo>
                  <a:lnTo>
                    <a:pt x="154" y="17"/>
                  </a:lnTo>
                  <a:lnTo>
                    <a:pt x="155" y="17"/>
                  </a:lnTo>
                  <a:lnTo>
                    <a:pt x="155" y="18"/>
                  </a:lnTo>
                  <a:lnTo>
                    <a:pt x="157" y="17"/>
                  </a:lnTo>
                  <a:lnTo>
                    <a:pt x="157" y="16"/>
                  </a:lnTo>
                  <a:lnTo>
                    <a:pt x="158" y="16"/>
                  </a:lnTo>
                  <a:lnTo>
                    <a:pt x="158" y="14"/>
                  </a:lnTo>
                  <a:lnTo>
                    <a:pt x="159" y="14"/>
                  </a:lnTo>
                  <a:lnTo>
                    <a:pt x="159" y="13"/>
                  </a:lnTo>
                  <a:lnTo>
                    <a:pt x="160" y="13"/>
                  </a:lnTo>
                  <a:lnTo>
                    <a:pt x="160" y="12"/>
                  </a:lnTo>
                  <a:lnTo>
                    <a:pt x="160" y="11"/>
                  </a:lnTo>
                  <a:lnTo>
                    <a:pt x="161" y="11"/>
                  </a:lnTo>
                  <a:lnTo>
                    <a:pt x="161" y="10"/>
                  </a:lnTo>
                  <a:lnTo>
                    <a:pt x="162" y="10"/>
                  </a:lnTo>
                  <a:lnTo>
                    <a:pt x="162" y="9"/>
                  </a:lnTo>
                  <a:lnTo>
                    <a:pt x="164" y="9"/>
                  </a:lnTo>
                  <a:lnTo>
                    <a:pt x="164" y="7"/>
                  </a:lnTo>
                  <a:lnTo>
                    <a:pt x="165" y="7"/>
                  </a:lnTo>
                  <a:lnTo>
                    <a:pt x="166" y="7"/>
                  </a:lnTo>
                  <a:lnTo>
                    <a:pt x="167" y="7"/>
                  </a:lnTo>
                  <a:lnTo>
                    <a:pt x="167" y="6"/>
                  </a:lnTo>
                  <a:lnTo>
                    <a:pt x="168" y="6"/>
                  </a:lnTo>
                  <a:lnTo>
                    <a:pt x="169" y="6"/>
                  </a:lnTo>
                  <a:lnTo>
                    <a:pt x="171" y="6"/>
                  </a:lnTo>
                  <a:lnTo>
                    <a:pt x="172" y="5"/>
                  </a:lnTo>
                  <a:lnTo>
                    <a:pt x="173" y="5"/>
                  </a:lnTo>
                  <a:lnTo>
                    <a:pt x="173" y="4"/>
                  </a:lnTo>
                  <a:lnTo>
                    <a:pt x="173" y="3"/>
                  </a:lnTo>
                  <a:lnTo>
                    <a:pt x="174" y="3"/>
                  </a:lnTo>
                  <a:lnTo>
                    <a:pt x="174" y="2"/>
                  </a:lnTo>
                  <a:lnTo>
                    <a:pt x="176" y="2"/>
                  </a:lnTo>
                  <a:lnTo>
                    <a:pt x="176" y="0"/>
                  </a:lnTo>
                  <a:lnTo>
                    <a:pt x="178" y="0"/>
                  </a:lnTo>
                  <a:lnTo>
                    <a:pt x="179" y="0"/>
                  </a:lnTo>
                  <a:lnTo>
                    <a:pt x="180" y="0"/>
                  </a:lnTo>
                  <a:lnTo>
                    <a:pt x="181" y="0"/>
                  </a:lnTo>
                  <a:lnTo>
                    <a:pt x="182" y="0"/>
                  </a:lnTo>
                  <a:lnTo>
                    <a:pt x="183" y="0"/>
                  </a:lnTo>
                  <a:close/>
                  <a:moveTo>
                    <a:pt x="159" y="104"/>
                  </a:moveTo>
                  <a:lnTo>
                    <a:pt x="158" y="104"/>
                  </a:lnTo>
                  <a:lnTo>
                    <a:pt x="157" y="104"/>
                  </a:lnTo>
                  <a:lnTo>
                    <a:pt x="155" y="105"/>
                  </a:lnTo>
                  <a:lnTo>
                    <a:pt x="154" y="106"/>
                  </a:lnTo>
                  <a:lnTo>
                    <a:pt x="153" y="106"/>
                  </a:lnTo>
                  <a:lnTo>
                    <a:pt x="153" y="108"/>
                  </a:lnTo>
                  <a:lnTo>
                    <a:pt x="152" y="108"/>
                  </a:lnTo>
                  <a:lnTo>
                    <a:pt x="151" y="108"/>
                  </a:lnTo>
                  <a:lnTo>
                    <a:pt x="151" y="109"/>
                  </a:lnTo>
                  <a:lnTo>
                    <a:pt x="150" y="109"/>
                  </a:lnTo>
                  <a:lnTo>
                    <a:pt x="150" y="110"/>
                  </a:lnTo>
                  <a:lnTo>
                    <a:pt x="148" y="111"/>
                  </a:lnTo>
                  <a:lnTo>
                    <a:pt x="148" y="112"/>
                  </a:lnTo>
                  <a:lnTo>
                    <a:pt x="147" y="112"/>
                  </a:lnTo>
                  <a:lnTo>
                    <a:pt x="147" y="113"/>
                  </a:lnTo>
                  <a:lnTo>
                    <a:pt x="146" y="113"/>
                  </a:lnTo>
                  <a:lnTo>
                    <a:pt x="146" y="115"/>
                  </a:lnTo>
                  <a:lnTo>
                    <a:pt x="145" y="116"/>
                  </a:lnTo>
                  <a:lnTo>
                    <a:pt x="145" y="117"/>
                  </a:lnTo>
                  <a:lnTo>
                    <a:pt x="144" y="117"/>
                  </a:lnTo>
                  <a:lnTo>
                    <a:pt x="143" y="117"/>
                  </a:lnTo>
                  <a:lnTo>
                    <a:pt x="143" y="118"/>
                  </a:lnTo>
                  <a:lnTo>
                    <a:pt x="141" y="118"/>
                  </a:lnTo>
                  <a:lnTo>
                    <a:pt x="140" y="118"/>
                  </a:lnTo>
                  <a:lnTo>
                    <a:pt x="140" y="119"/>
                  </a:lnTo>
                  <a:lnTo>
                    <a:pt x="141" y="120"/>
                  </a:lnTo>
                  <a:lnTo>
                    <a:pt x="141" y="123"/>
                  </a:lnTo>
                  <a:lnTo>
                    <a:pt x="143" y="124"/>
                  </a:lnTo>
                  <a:lnTo>
                    <a:pt x="143" y="125"/>
                  </a:lnTo>
                  <a:lnTo>
                    <a:pt x="144" y="125"/>
                  </a:lnTo>
                  <a:lnTo>
                    <a:pt x="144" y="126"/>
                  </a:lnTo>
                  <a:lnTo>
                    <a:pt x="145" y="126"/>
                  </a:lnTo>
                  <a:lnTo>
                    <a:pt x="144" y="127"/>
                  </a:lnTo>
                  <a:lnTo>
                    <a:pt x="144" y="129"/>
                  </a:lnTo>
                  <a:lnTo>
                    <a:pt x="144" y="130"/>
                  </a:lnTo>
                  <a:lnTo>
                    <a:pt x="145" y="130"/>
                  </a:lnTo>
                  <a:lnTo>
                    <a:pt x="146" y="130"/>
                  </a:lnTo>
                  <a:lnTo>
                    <a:pt x="146" y="131"/>
                  </a:lnTo>
                  <a:lnTo>
                    <a:pt x="147" y="132"/>
                  </a:lnTo>
                  <a:lnTo>
                    <a:pt x="147" y="133"/>
                  </a:lnTo>
                  <a:lnTo>
                    <a:pt x="148" y="133"/>
                  </a:lnTo>
                  <a:lnTo>
                    <a:pt x="148" y="134"/>
                  </a:lnTo>
                  <a:lnTo>
                    <a:pt x="150" y="134"/>
                  </a:lnTo>
                  <a:lnTo>
                    <a:pt x="151" y="134"/>
                  </a:lnTo>
                  <a:lnTo>
                    <a:pt x="152" y="134"/>
                  </a:lnTo>
                  <a:lnTo>
                    <a:pt x="153" y="134"/>
                  </a:lnTo>
                  <a:lnTo>
                    <a:pt x="153" y="133"/>
                  </a:lnTo>
                  <a:lnTo>
                    <a:pt x="154" y="133"/>
                  </a:lnTo>
                  <a:lnTo>
                    <a:pt x="154" y="132"/>
                  </a:lnTo>
                  <a:lnTo>
                    <a:pt x="154" y="131"/>
                  </a:lnTo>
                  <a:lnTo>
                    <a:pt x="155" y="131"/>
                  </a:lnTo>
                  <a:lnTo>
                    <a:pt x="155" y="130"/>
                  </a:lnTo>
                  <a:lnTo>
                    <a:pt x="155" y="129"/>
                  </a:lnTo>
                  <a:lnTo>
                    <a:pt x="157" y="129"/>
                  </a:lnTo>
                  <a:lnTo>
                    <a:pt x="157" y="127"/>
                  </a:lnTo>
                  <a:lnTo>
                    <a:pt x="158" y="127"/>
                  </a:lnTo>
                  <a:lnTo>
                    <a:pt x="158" y="126"/>
                  </a:lnTo>
                  <a:lnTo>
                    <a:pt x="159" y="126"/>
                  </a:lnTo>
                  <a:lnTo>
                    <a:pt x="160" y="126"/>
                  </a:lnTo>
                  <a:lnTo>
                    <a:pt x="161" y="126"/>
                  </a:lnTo>
                  <a:lnTo>
                    <a:pt x="162" y="126"/>
                  </a:lnTo>
                  <a:lnTo>
                    <a:pt x="164" y="126"/>
                  </a:lnTo>
                  <a:lnTo>
                    <a:pt x="165" y="125"/>
                  </a:lnTo>
                  <a:lnTo>
                    <a:pt x="166" y="124"/>
                  </a:lnTo>
                  <a:lnTo>
                    <a:pt x="167" y="124"/>
                  </a:lnTo>
                  <a:lnTo>
                    <a:pt x="168" y="124"/>
                  </a:lnTo>
                  <a:lnTo>
                    <a:pt x="168" y="123"/>
                  </a:lnTo>
                  <a:lnTo>
                    <a:pt x="168" y="122"/>
                  </a:lnTo>
                  <a:lnTo>
                    <a:pt x="168" y="120"/>
                  </a:lnTo>
                  <a:lnTo>
                    <a:pt x="168" y="119"/>
                  </a:lnTo>
                  <a:lnTo>
                    <a:pt x="169" y="119"/>
                  </a:lnTo>
                  <a:lnTo>
                    <a:pt x="171" y="118"/>
                  </a:lnTo>
                  <a:lnTo>
                    <a:pt x="171" y="117"/>
                  </a:lnTo>
                  <a:lnTo>
                    <a:pt x="171" y="116"/>
                  </a:lnTo>
                  <a:lnTo>
                    <a:pt x="172" y="116"/>
                  </a:lnTo>
                  <a:lnTo>
                    <a:pt x="173" y="116"/>
                  </a:lnTo>
                  <a:lnTo>
                    <a:pt x="173" y="115"/>
                  </a:lnTo>
                  <a:lnTo>
                    <a:pt x="173" y="113"/>
                  </a:lnTo>
                  <a:lnTo>
                    <a:pt x="173" y="112"/>
                  </a:lnTo>
                  <a:lnTo>
                    <a:pt x="172" y="112"/>
                  </a:lnTo>
                  <a:lnTo>
                    <a:pt x="172" y="111"/>
                  </a:lnTo>
                  <a:lnTo>
                    <a:pt x="172" y="110"/>
                  </a:lnTo>
                  <a:lnTo>
                    <a:pt x="171" y="110"/>
                  </a:lnTo>
                  <a:lnTo>
                    <a:pt x="169" y="109"/>
                  </a:lnTo>
                  <a:lnTo>
                    <a:pt x="168" y="108"/>
                  </a:lnTo>
                  <a:lnTo>
                    <a:pt x="167" y="108"/>
                  </a:lnTo>
                  <a:lnTo>
                    <a:pt x="167" y="106"/>
                  </a:lnTo>
                  <a:lnTo>
                    <a:pt x="166" y="105"/>
                  </a:lnTo>
                  <a:lnTo>
                    <a:pt x="165" y="104"/>
                  </a:lnTo>
                  <a:lnTo>
                    <a:pt x="164" y="104"/>
                  </a:lnTo>
                  <a:lnTo>
                    <a:pt x="164" y="103"/>
                  </a:lnTo>
                  <a:lnTo>
                    <a:pt x="164" y="102"/>
                  </a:lnTo>
                  <a:lnTo>
                    <a:pt x="162" y="102"/>
                  </a:lnTo>
                  <a:lnTo>
                    <a:pt x="162" y="103"/>
                  </a:lnTo>
                  <a:lnTo>
                    <a:pt x="160" y="103"/>
                  </a:lnTo>
                  <a:lnTo>
                    <a:pt x="159" y="103"/>
                  </a:lnTo>
                  <a:lnTo>
                    <a:pt x="159" y="104"/>
                  </a:lnTo>
                  <a:close/>
                </a:path>
              </a:pathLst>
            </a:custGeom>
            <a:solidFill>
              <a:srgbClr val="0053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82" name="Freeform 1046">
              <a:extLst>
                <a:ext uri="{FF2B5EF4-FFF2-40B4-BE49-F238E27FC236}">
                  <a16:creationId xmlns:a16="http://schemas.microsoft.com/office/drawing/2014/main" id="{5ADE1582-D490-48B2-A634-C25FBF61C4AD}"/>
                </a:ext>
              </a:extLst>
            </p:cNvPr>
            <p:cNvSpPr>
              <a:spLocks/>
            </p:cNvSpPr>
            <p:nvPr/>
          </p:nvSpPr>
          <p:spPr bwMode="auto">
            <a:xfrm>
              <a:off x="6211080" y="3522142"/>
              <a:ext cx="219020" cy="208336"/>
            </a:xfrm>
            <a:custGeom>
              <a:avLst/>
              <a:gdLst>
                <a:gd name="T0" fmla="*/ 136 w 164"/>
                <a:gd name="T1" fmla="*/ 9 h 156"/>
                <a:gd name="T2" fmla="*/ 148 w 164"/>
                <a:gd name="T3" fmla="*/ 14 h 156"/>
                <a:gd name="T4" fmla="*/ 155 w 164"/>
                <a:gd name="T5" fmla="*/ 22 h 156"/>
                <a:gd name="T6" fmla="*/ 159 w 164"/>
                <a:gd name="T7" fmla="*/ 28 h 156"/>
                <a:gd name="T8" fmla="*/ 164 w 164"/>
                <a:gd name="T9" fmla="*/ 37 h 156"/>
                <a:gd name="T10" fmla="*/ 159 w 164"/>
                <a:gd name="T11" fmla="*/ 45 h 156"/>
                <a:gd name="T12" fmla="*/ 159 w 164"/>
                <a:gd name="T13" fmla="*/ 56 h 156"/>
                <a:gd name="T14" fmla="*/ 162 w 164"/>
                <a:gd name="T15" fmla="*/ 65 h 156"/>
                <a:gd name="T16" fmla="*/ 154 w 164"/>
                <a:gd name="T17" fmla="*/ 71 h 156"/>
                <a:gd name="T18" fmla="*/ 152 w 164"/>
                <a:gd name="T19" fmla="*/ 82 h 156"/>
                <a:gd name="T20" fmla="*/ 151 w 164"/>
                <a:gd name="T21" fmla="*/ 87 h 156"/>
                <a:gd name="T22" fmla="*/ 156 w 164"/>
                <a:gd name="T23" fmla="*/ 90 h 156"/>
                <a:gd name="T24" fmla="*/ 141 w 164"/>
                <a:gd name="T25" fmla="*/ 97 h 156"/>
                <a:gd name="T26" fmla="*/ 126 w 164"/>
                <a:gd name="T27" fmla="*/ 103 h 156"/>
                <a:gd name="T28" fmla="*/ 116 w 164"/>
                <a:gd name="T29" fmla="*/ 112 h 156"/>
                <a:gd name="T30" fmla="*/ 112 w 164"/>
                <a:gd name="T31" fmla="*/ 118 h 156"/>
                <a:gd name="T32" fmla="*/ 99 w 164"/>
                <a:gd name="T33" fmla="*/ 120 h 156"/>
                <a:gd name="T34" fmla="*/ 94 w 164"/>
                <a:gd name="T35" fmla="*/ 127 h 156"/>
                <a:gd name="T36" fmla="*/ 90 w 164"/>
                <a:gd name="T37" fmla="*/ 132 h 156"/>
                <a:gd name="T38" fmla="*/ 86 w 164"/>
                <a:gd name="T39" fmla="*/ 134 h 156"/>
                <a:gd name="T40" fmla="*/ 80 w 164"/>
                <a:gd name="T41" fmla="*/ 135 h 156"/>
                <a:gd name="T42" fmla="*/ 78 w 164"/>
                <a:gd name="T43" fmla="*/ 140 h 156"/>
                <a:gd name="T44" fmla="*/ 73 w 164"/>
                <a:gd name="T45" fmla="*/ 147 h 156"/>
                <a:gd name="T46" fmla="*/ 67 w 164"/>
                <a:gd name="T47" fmla="*/ 154 h 156"/>
                <a:gd name="T48" fmla="*/ 58 w 164"/>
                <a:gd name="T49" fmla="*/ 153 h 156"/>
                <a:gd name="T50" fmla="*/ 50 w 164"/>
                <a:gd name="T51" fmla="*/ 152 h 156"/>
                <a:gd name="T52" fmla="*/ 42 w 164"/>
                <a:gd name="T53" fmla="*/ 149 h 156"/>
                <a:gd name="T54" fmla="*/ 33 w 164"/>
                <a:gd name="T55" fmla="*/ 146 h 156"/>
                <a:gd name="T56" fmla="*/ 21 w 164"/>
                <a:gd name="T57" fmla="*/ 148 h 156"/>
                <a:gd name="T58" fmla="*/ 12 w 164"/>
                <a:gd name="T59" fmla="*/ 142 h 156"/>
                <a:gd name="T60" fmla="*/ 5 w 164"/>
                <a:gd name="T61" fmla="*/ 134 h 156"/>
                <a:gd name="T62" fmla="*/ 1 w 164"/>
                <a:gd name="T63" fmla="*/ 129 h 156"/>
                <a:gd name="T64" fmla="*/ 0 w 164"/>
                <a:gd name="T65" fmla="*/ 118 h 156"/>
                <a:gd name="T66" fmla="*/ 1 w 164"/>
                <a:gd name="T67" fmla="*/ 94 h 156"/>
                <a:gd name="T68" fmla="*/ 5 w 164"/>
                <a:gd name="T69" fmla="*/ 76 h 156"/>
                <a:gd name="T70" fmla="*/ 23 w 164"/>
                <a:gd name="T71" fmla="*/ 76 h 156"/>
                <a:gd name="T72" fmla="*/ 29 w 164"/>
                <a:gd name="T73" fmla="*/ 68 h 156"/>
                <a:gd name="T74" fmla="*/ 29 w 164"/>
                <a:gd name="T75" fmla="*/ 54 h 156"/>
                <a:gd name="T76" fmla="*/ 30 w 164"/>
                <a:gd name="T77" fmla="*/ 42 h 156"/>
                <a:gd name="T78" fmla="*/ 35 w 164"/>
                <a:gd name="T79" fmla="*/ 49 h 156"/>
                <a:gd name="T80" fmla="*/ 45 w 164"/>
                <a:gd name="T81" fmla="*/ 48 h 156"/>
                <a:gd name="T82" fmla="*/ 49 w 164"/>
                <a:gd name="T83" fmla="*/ 55 h 156"/>
                <a:gd name="T84" fmla="*/ 56 w 164"/>
                <a:gd name="T85" fmla="*/ 56 h 156"/>
                <a:gd name="T86" fmla="*/ 66 w 164"/>
                <a:gd name="T87" fmla="*/ 59 h 156"/>
                <a:gd name="T88" fmla="*/ 73 w 164"/>
                <a:gd name="T89" fmla="*/ 54 h 156"/>
                <a:gd name="T90" fmla="*/ 79 w 164"/>
                <a:gd name="T91" fmla="*/ 64 h 156"/>
                <a:gd name="T92" fmla="*/ 90 w 164"/>
                <a:gd name="T93" fmla="*/ 66 h 156"/>
                <a:gd name="T94" fmla="*/ 97 w 164"/>
                <a:gd name="T95" fmla="*/ 76 h 156"/>
                <a:gd name="T96" fmla="*/ 105 w 164"/>
                <a:gd name="T97" fmla="*/ 80 h 156"/>
                <a:gd name="T98" fmla="*/ 109 w 164"/>
                <a:gd name="T99" fmla="*/ 80 h 156"/>
                <a:gd name="T100" fmla="*/ 107 w 164"/>
                <a:gd name="T101" fmla="*/ 63 h 156"/>
                <a:gd name="T102" fmla="*/ 101 w 164"/>
                <a:gd name="T103" fmla="*/ 65 h 156"/>
                <a:gd name="T104" fmla="*/ 94 w 164"/>
                <a:gd name="T105" fmla="*/ 58 h 156"/>
                <a:gd name="T106" fmla="*/ 92 w 164"/>
                <a:gd name="T107" fmla="*/ 49 h 156"/>
                <a:gd name="T108" fmla="*/ 95 w 164"/>
                <a:gd name="T109" fmla="*/ 38 h 156"/>
                <a:gd name="T110" fmla="*/ 95 w 164"/>
                <a:gd name="T111" fmla="*/ 26 h 156"/>
                <a:gd name="T112" fmla="*/ 97 w 164"/>
                <a:gd name="T113" fmla="*/ 20 h 156"/>
                <a:gd name="T114" fmla="*/ 102 w 164"/>
                <a:gd name="T115" fmla="*/ 7 h 156"/>
                <a:gd name="T116" fmla="*/ 116 w 164"/>
                <a:gd name="T117" fmla="*/ 1 h 156"/>
                <a:gd name="T118" fmla="*/ 122 w 164"/>
                <a:gd name="T119" fmla="*/ 6 h 156"/>
                <a:gd name="T120" fmla="*/ 130 w 164"/>
                <a:gd name="T121" fmla="*/ 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4" h="156">
                  <a:moveTo>
                    <a:pt x="130" y="6"/>
                  </a:moveTo>
                  <a:lnTo>
                    <a:pt x="131" y="6"/>
                  </a:lnTo>
                  <a:lnTo>
                    <a:pt x="133" y="6"/>
                  </a:lnTo>
                  <a:lnTo>
                    <a:pt x="134" y="6"/>
                  </a:lnTo>
                  <a:lnTo>
                    <a:pt x="134" y="7"/>
                  </a:lnTo>
                  <a:lnTo>
                    <a:pt x="134" y="6"/>
                  </a:lnTo>
                  <a:lnTo>
                    <a:pt x="134" y="7"/>
                  </a:lnTo>
                  <a:lnTo>
                    <a:pt x="135" y="7"/>
                  </a:lnTo>
                  <a:lnTo>
                    <a:pt x="136" y="8"/>
                  </a:lnTo>
                  <a:lnTo>
                    <a:pt x="135" y="8"/>
                  </a:lnTo>
                  <a:lnTo>
                    <a:pt x="136" y="9"/>
                  </a:lnTo>
                  <a:lnTo>
                    <a:pt x="137" y="10"/>
                  </a:lnTo>
                  <a:lnTo>
                    <a:pt x="138" y="10"/>
                  </a:lnTo>
                  <a:lnTo>
                    <a:pt x="141" y="12"/>
                  </a:lnTo>
                  <a:lnTo>
                    <a:pt x="141" y="13"/>
                  </a:lnTo>
                  <a:lnTo>
                    <a:pt x="142" y="13"/>
                  </a:lnTo>
                  <a:lnTo>
                    <a:pt x="143" y="13"/>
                  </a:lnTo>
                  <a:lnTo>
                    <a:pt x="144" y="13"/>
                  </a:lnTo>
                  <a:lnTo>
                    <a:pt x="144" y="14"/>
                  </a:lnTo>
                  <a:lnTo>
                    <a:pt x="145" y="14"/>
                  </a:lnTo>
                  <a:lnTo>
                    <a:pt x="147" y="14"/>
                  </a:lnTo>
                  <a:lnTo>
                    <a:pt x="148" y="14"/>
                  </a:lnTo>
                  <a:lnTo>
                    <a:pt x="148" y="15"/>
                  </a:lnTo>
                  <a:lnTo>
                    <a:pt x="149" y="16"/>
                  </a:lnTo>
                  <a:lnTo>
                    <a:pt x="150" y="16"/>
                  </a:lnTo>
                  <a:lnTo>
                    <a:pt x="151" y="16"/>
                  </a:lnTo>
                  <a:lnTo>
                    <a:pt x="152" y="17"/>
                  </a:lnTo>
                  <a:lnTo>
                    <a:pt x="154" y="17"/>
                  </a:lnTo>
                  <a:lnTo>
                    <a:pt x="155" y="19"/>
                  </a:lnTo>
                  <a:lnTo>
                    <a:pt x="155" y="20"/>
                  </a:lnTo>
                  <a:lnTo>
                    <a:pt x="156" y="20"/>
                  </a:lnTo>
                  <a:lnTo>
                    <a:pt x="156" y="21"/>
                  </a:lnTo>
                  <a:lnTo>
                    <a:pt x="155" y="22"/>
                  </a:lnTo>
                  <a:lnTo>
                    <a:pt x="156" y="22"/>
                  </a:lnTo>
                  <a:lnTo>
                    <a:pt x="157" y="22"/>
                  </a:lnTo>
                  <a:lnTo>
                    <a:pt x="157" y="21"/>
                  </a:lnTo>
                  <a:lnTo>
                    <a:pt x="157" y="22"/>
                  </a:lnTo>
                  <a:lnTo>
                    <a:pt x="158" y="22"/>
                  </a:lnTo>
                  <a:lnTo>
                    <a:pt x="158" y="23"/>
                  </a:lnTo>
                  <a:lnTo>
                    <a:pt x="158" y="24"/>
                  </a:lnTo>
                  <a:lnTo>
                    <a:pt x="159" y="24"/>
                  </a:lnTo>
                  <a:lnTo>
                    <a:pt x="161" y="26"/>
                  </a:lnTo>
                  <a:lnTo>
                    <a:pt x="161" y="27"/>
                  </a:lnTo>
                  <a:lnTo>
                    <a:pt x="159" y="28"/>
                  </a:lnTo>
                  <a:lnTo>
                    <a:pt x="159" y="29"/>
                  </a:lnTo>
                  <a:lnTo>
                    <a:pt x="161" y="30"/>
                  </a:lnTo>
                  <a:lnTo>
                    <a:pt x="162" y="30"/>
                  </a:lnTo>
                  <a:lnTo>
                    <a:pt x="162" y="31"/>
                  </a:lnTo>
                  <a:lnTo>
                    <a:pt x="163" y="31"/>
                  </a:lnTo>
                  <a:lnTo>
                    <a:pt x="163" y="33"/>
                  </a:lnTo>
                  <a:lnTo>
                    <a:pt x="163" y="34"/>
                  </a:lnTo>
                  <a:lnTo>
                    <a:pt x="163" y="35"/>
                  </a:lnTo>
                  <a:lnTo>
                    <a:pt x="164" y="35"/>
                  </a:lnTo>
                  <a:lnTo>
                    <a:pt x="164" y="36"/>
                  </a:lnTo>
                  <a:lnTo>
                    <a:pt x="164" y="37"/>
                  </a:lnTo>
                  <a:lnTo>
                    <a:pt x="163" y="38"/>
                  </a:lnTo>
                  <a:lnTo>
                    <a:pt x="163" y="40"/>
                  </a:lnTo>
                  <a:lnTo>
                    <a:pt x="162" y="40"/>
                  </a:lnTo>
                  <a:lnTo>
                    <a:pt x="162" y="41"/>
                  </a:lnTo>
                  <a:lnTo>
                    <a:pt x="161" y="41"/>
                  </a:lnTo>
                  <a:lnTo>
                    <a:pt x="159" y="41"/>
                  </a:lnTo>
                  <a:lnTo>
                    <a:pt x="159" y="42"/>
                  </a:lnTo>
                  <a:lnTo>
                    <a:pt x="158" y="42"/>
                  </a:lnTo>
                  <a:lnTo>
                    <a:pt x="159" y="43"/>
                  </a:lnTo>
                  <a:lnTo>
                    <a:pt x="159" y="44"/>
                  </a:lnTo>
                  <a:lnTo>
                    <a:pt x="159" y="45"/>
                  </a:lnTo>
                  <a:lnTo>
                    <a:pt x="161" y="47"/>
                  </a:lnTo>
                  <a:lnTo>
                    <a:pt x="159" y="48"/>
                  </a:lnTo>
                  <a:lnTo>
                    <a:pt x="159" y="49"/>
                  </a:lnTo>
                  <a:lnTo>
                    <a:pt x="158" y="49"/>
                  </a:lnTo>
                  <a:lnTo>
                    <a:pt x="158" y="50"/>
                  </a:lnTo>
                  <a:lnTo>
                    <a:pt x="158" y="51"/>
                  </a:lnTo>
                  <a:lnTo>
                    <a:pt x="158" y="52"/>
                  </a:lnTo>
                  <a:lnTo>
                    <a:pt x="157" y="52"/>
                  </a:lnTo>
                  <a:lnTo>
                    <a:pt x="158" y="52"/>
                  </a:lnTo>
                  <a:lnTo>
                    <a:pt x="158" y="54"/>
                  </a:lnTo>
                  <a:lnTo>
                    <a:pt x="159" y="56"/>
                  </a:lnTo>
                  <a:lnTo>
                    <a:pt x="159" y="57"/>
                  </a:lnTo>
                  <a:lnTo>
                    <a:pt x="158" y="57"/>
                  </a:lnTo>
                  <a:lnTo>
                    <a:pt x="158" y="58"/>
                  </a:lnTo>
                  <a:lnTo>
                    <a:pt x="158" y="59"/>
                  </a:lnTo>
                  <a:lnTo>
                    <a:pt x="158" y="61"/>
                  </a:lnTo>
                  <a:lnTo>
                    <a:pt x="158" y="62"/>
                  </a:lnTo>
                  <a:lnTo>
                    <a:pt x="158" y="63"/>
                  </a:lnTo>
                  <a:lnTo>
                    <a:pt x="159" y="64"/>
                  </a:lnTo>
                  <a:lnTo>
                    <a:pt x="159" y="65"/>
                  </a:lnTo>
                  <a:lnTo>
                    <a:pt x="161" y="64"/>
                  </a:lnTo>
                  <a:lnTo>
                    <a:pt x="162" y="65"/>
                  </a:lnTo>
                  <a:lnTo>
                    <a:pt x="161" y="65"/>
                  </a:lnTo>
                  <a:lnTo>
                    <a:pt x="161" y="66"/>
                  </a:lnTo>
                  <a:lnTo>
                    <a:pt x="159" y="68"/>
                  </a:lnTo>
                  <a:lnTo>
                    <a:pt x="158" y="68"/>
                  </a:lnTo>
                  <a:lnTo>
                    <a:pt x="157" y="69"/>
                  </a:lnTo>
                  <a:lnTo>
                    <a:pt x="157" y="70"/>
                  </a:lnTo>
                  <a:lnTo>
                    <a:pt x="156" y="70"/>
                  </a:lnTo>
                  <a:lnTo>
                    <a:pt x="156" y="69"/>
                  </a:lnTo>
                  <a:lnTo>
                    <a:pt x="155" y="69"/>
                  </a:lnTo>
                  <a:lnTo>
                    <a:pt x="154" y="70"/>
                  </a:lnTo>
                  <a:lnTo>
                    <a:pt x="154" y="71"/>
                  </a:lnTo>
                  <a:lnTo>
                    <a:pt x="154" y="72"/>
                  </a:lnTo>
                  <a:lnTo>
                    <a:pt x="154" y="73"/>
                  </a:lnTo>
                  <a:lnTo>
                    <a:pt x="155" y="75"/>
                  </a:lnTo>
                  <a:lnTo>
                    <a:pt x="154" y="75"/>
                  </a:lnTo>
                  <a:lnTo>
                    <a:pt x="154" y="76"/>
                  </a:lnTo>
                  <a:lnTo>
                    <a:pt x="154" y="77"/>
                  </a:lnTo>
                  <a:lnTo>
                    <a:pt x="154" y="78"/>
                  </a:lnTo>
                  <a:lnTo>
                    <a:pt x="154" y="79"/>
                  </a:lnTo>
                  <a:lnTo>
                    <a:pt x="152" y="79"/>
                  </a:lnTo>
                  <a:lnTo>
                    <a:pt x="152" y="80"/>
                  </a:lnTo>
                  <a:lnTo>
                    <a:pt x="152" y="82"/>
                  </a:lnTo>
                  <a:lnTo>
                    <a:pt x="152" y="83"/>
                  </a:lnTo>
                  <a:lnTo>
                    <a:pt x="151" y="83"/>
                  </a:lnTo>
                  <a:lnTo>
                    <a:pt x="151" y="84"/>
                  </a:lnTo>
                  <a:lnTo>
                    <a:pt x="150" y="84"/>
                  </a:lnTo>
                  <a:lnTo>
                    <a:pt x="150" y="85"/>
                  </a:lnTo>
                  <a:lnTo>
                    <a:pt x="149" y="84"/>
                  </a:lnTo>
                  <a:lnTo>
                    <a:pt x="149" y="85"/>
                  </a:lnTo>
                  <a:lnTo>
                    <a:pt x="150" y="85"/>
                  </a:lnTo>
                  <a:lnTo>
                    <a:pt x="150" y="86"/>
                  </a:lnTo>
                  <a:lnTo>
                    <a:pt x="151" y="86"/>
                  </a:lnTo>
                  <a:lnTo>
                    <a:pt x="151" y="87"/>
                  </a:lnTo>
                  <a:lnTo>
                    <a:pt x="150" y="87"/>
                  </a:lnTo>
                  <a:lnTo>
                    <a:pt x="151" y="89"/>
                  </a:lnTo>
                  <a:lnTo>
                    <a:pt x="152" y="90"/>
                  </a:lnTo>
                  <a:lnTo>
                    <a:pt x="154" y="90"/>
                  </a:lnTo>
                  <a:lnTo>
                    <a:pt x="154" y="91"/>
                  </a:lnTo>
                  <a:lnTo>
                    <a:pt x="152" y="91"/>
                  </a:lnTo>
                  <a:lnTo>
                    <a:pt x="154" y="92"/>
                  </a:lnTo>
                  <a:lnTo>
                    <a:pt x="154" y="91"/>
                  </a:lnTo>
                  <a:lnTo>
                    <a:pt x="155" y="91"/>
                  </a:lnTo>
                  <a:lnTo>
                    <a:pt x="155" y="90"/>
                  </a:lnTo>
                  <a:lnTo>
                    <a:pt x="156" y="90"/>
                  </a:lnTo>
                  <a:lnTo>
                    <a:pt x="156" y="91"/>
                  </a:lnTo>
                  <a:lnTo>
                    <a:pt x="155" y="92"/>
                  </a:lnTo>
                  <a:lnTo>
                    <a:pt x="154" y="92"/>
                  </a:lnTo>
                  <a:lnTo>
                    <a:pt x="152" y="93"/>
                  </a:lnTo>
                  <a:lnTo>
                    <a:pt x="150" y="94"/>
                  </a:lnTo>
                  <a:lnTo>
                    <a:pt x="148" y="94"/>
                  </a:lnTo>
                  <a:lnTo>
                    <a:pt x="145" y="96"/>
                  </a:lnTo>
                  <a:lnTo>
                    <a:pt x="144" y="96"/>
                  </a:lnTo>
                  <a:lnTo>
                    <a:pt x="143" y="97"/>
                  </a:lnTo>
                  <a:lnTo>
                    <a:pt x="142" y="97"/>
                  </a:lnTo>
                  <a:lnTo>
                    <a:pt x="141" y="97"/>
                  </a:lnTo>
                  <a:lnTo>
                    <a:pt x="140" y="98"/>
                  </a:lnTo>
                  <a:lnTo>
                    <a:pt x="138" y="98"/>
                  </a:lnTo>
                  <a:lnTo>
                    <a:pt x="136" y="99"/>
                  </a:lnTo>
                  <a:lnTo>
                    <a:pt x="135" y="99"/>
                  </a:lnTo>
                  <a:lnTo>
                    <a:pt x="134" y="100"/>
                  </a:lnTo>
                  <a:lnTo>
                    <a:pt x="133" y="100"/>
                  </a:lnTo>
                  <a:lnTo>
                    <a:pt x="131" y="101"/>
                  </a:lnTo>
                  <a:lnTo>
                    <a:pt x="129" y="101"/>
                  </a:lnTo>
                  <a:lnTo>
                    <a:pt x="128" y="103"/>
                  </a:lnTo>
                  <a:lnTo>
                    <a:pt x="127" y="103"/>
                  </a:lnTo>
                  <a:lnTo>
                    <a:pt x="126" y="103"/>
                  </a:lnTo>
                  <a:lnTo>
                    <a:pt x="124" y="103"/>
                  </a:lnTo>
                  <a:lnTo>
                    <a:pt x="123" y="104"/>
                  </a:lnTo>
                  <a:lnTo>
                    <a:pt x="121" y="104"/>
                  </a:lnTo>
                  <a:lnTo>
                    <a:pt x="120" y="105"/>
                  </a:lnTo>
                  <a:lnTo>
                    <a:pt x="119" y="105"/>
                  </a:lnTo>
                  <a:lnTo>
                    <a:pt x="116" y="106"/>
                  </a:lnTo>
                  <a:lnTo>
                    <a:pt x="114" y="107"/>
                  </a:lnTo>
                  <a:lnTo>
                    <a:pt x="114" y="108"/>
                  </a:lnTo>
                  <a:lnTo>
                    <a:pt x="115" y="111"/>
                  </a:lnTo>
                  <a:lnTo>
                    <a:pt x="115" y="112"/>
                  </a:lnTo>
                  <a:lnTo>
                    <a:pt x="116" y="112"/>
                  </a:lnTo>
                  <a:lnTo>
                    <a:pt x="116" y="113"/>
                  </a:lnTo>
                  <a:lnTo>
                    <a:pt x="116" y="114"/>
                  </a:lnTo>
                  <a:lnTo>
                    <a:pt x="116" y="115"/>
                  </a:lnTo>
                  <a:lnTo>
                    <a:pt x="116" y="117"/>
                  </a:lnTo>
                  <a:lnTo>
                    <a:pt x="116" y="118"/>
                  </a:lnTo>
                  <a:lnTo>
                    <a:pt x="115" y="118"/>
                  </a:lnTo>
                  <a:lnTo>
                    <a:pt x="115" y="117"/>
                  </a:lnTo>
                  <a:lnTo>
                    <a:pt x="114" y="117"/>
                  </a:lnTo>
                  <a:lnTo>
                    <a:pt x="114" y="118"/>
                  </a:lnTo>
                  <a:lnTo>
                    <a:pt x="113" y="117"/>
                  </a:lnTo>
                  <a:lnTo>
                    <a:pt x="112" y="118"/>
                  </a:lnTo>
                  <a:lnTo>
                    <a:pt x="111" y="118"/>
                  </a:lnTo>
                  <a:lnTo>
                    <a:pt x="109" y="117"/>
                  </a:lnTo>
                  <a:lnTo>
                    <a:pt x="108" y="117"/>
                  </a:lnTo>
                  <a:lnTo>
                    <a:pt x="108" y="118"/>
                  </a:lnTo>
                  <a:lnTo>
                    <a:pt x="107" y="118"/>
                  </a:lnTo>
                  <a:lnTo>
                    <a:pt x="106" y="118"/>
                  </a:lnTo>
                  <a:lnTo>
                    <a:pt x="105" y="118"/>
                  </a:lnTo>
                  <a:lnTo>
                    <a:pt x="104" y="119"/>
                  </a:lnTo>
                  <a:lnTo>
                    <a:pt x="102" y="119"/>
                  </a:lnTo>
                  <a:lnTo>
                    <a:pt x="100" y="120"/>
                  </a:lnTo>
                  <a:lnTo>
                    <a:pt x="99" y="120"/>
                  </a:lnTo>
                  <a:lnTo>
                    <a:pt x="99" y="121"/>
                  </a:lnTo>
                  <a:lnTo>
                    <a:pt x="98" y="121"/>
                  </a:lnTo>
                  <a:lnTo>
                    <a:pt x="98" y="122"/>
                  </a:lnTo>
                  <a:lnTo>
                    <a:pt x="97" y="122"/>
                  </a:lnTo>
                  <a:lnTo>
                    <a:pt x="95" y="122"/>
                  </a:lnTo>
                  <a:lnTo>
                    <a:pt x="95" y="124"/>
                  </a:lnTo>
                  <a:lnTo>
                    <a:pt x="95" y="125"/>
                  </a:lnTo>
                  <a:lnTo>
                    <a:pt x="95" y="126"/>
                  </a:lnTo>
                  <a:lnTo>
                    <a:pt x="94" y="126"/>
                  </a:lnTo>
                  <a:lnTo>
                    <a:pt x="95" y="127"/>
                  </a:lnTo>
                  <a:lnTo>
                    <a:pt x="94" y="127"/>
                  </a:lnTo>
                  <a:lnTo>
                    <a:pt x="94" y="128"/>
                  </a:lnTo>
                  <a:lnTo>
                    <a:pt x="95" y="128"/>
                  </a:lnTo>
                  <a:lnTo>
                    <a:pt x="95" y="129"/>
                  </a:lnTo>
                  <a:lnTo>
                    <a:pt x="94" y="129"/>
                  </a:lnTo>
                  <a:lnTo>
                    <a:pt x="94" y="131"/>
                  </a:lnTo>
                  <a:lnTo>
                    <a:pt x="93" y="131"/>
                  </a:lnTo>
                  <a:lnTo>
                    <a:pt x="93" y="132"/>
                  </a:lnTo>
                  <a:lnTo>
                    <a:pt x="92" y="131"/>
                  </a:lnTo>
                  <a:lnTo>
                    <a:pt x="91" y="131"/>
                  </a:lnTo>
                  <a:lnTo>
                    <a:pt x="91" y="132"/>
                  </a:lnTo>
                  <a:lnTo>
                    <a:pt x="90" y="132"/>
                  </a:lnTo>
                  <a:lnTo>
                    <a:pt x="90" y="131"/>
                  </a:lnTo>
                  <a:lnTo>
                    <a:pt x="90" y="132"/>
                  </a:lnTo>
                  <a:lnTo>
                    <a:pt x="88" y="132"/>
                  </a:lnTo>
                  <a:lnTo>
                    <a:pt x="88" y="133"/>
                  </a:lnTo>
                  <a:lnTo>
                    <a:pt x="88" y="132"/>
                  </a:lnTo>
                  <a:lnTo>
                    <a:pt x="87" y="132"/>
                  </a:lnTo>
                  <a:lnTo>
                    <a:pt x="87" y="133"/>
                  </a:lnTo>
                  <a:lnTo>
                    <a:pt x="86" y="133"/>
                  </a:lnTo>
                  <a:lnTo>
                    <a:pt x="85" y="133"/>
                  </a:lnTo>
                  <a:lnTo>
                    <a:pt x="85" y="134"/>
                  </a:lnTo>
                  <a:lnTo>
                    <a:pt x="86" y="134"/>
                  </a:lnTo>
                  <a:lnTo>
                    <a:pt x="85" y="134"/>
                  </a:lnTo>
                  <a:lnTo>
                    <a:pt x="85" y="135"/>
                  </a:lnTo>
                  <a:lnTo>
                    <a:pt x="84" y="135"/>
                  </a:lnTo>
                  <a:lnTo>
                    <a:pt x="84" y="136"/>
                  </a:lnTo>
                  <a:lnTo>
                    <a:pt x="83" y="136"/>
                  </a:lnTo>
                  <a:lnTo>
                    <a:pt x="83" y="135"/>
                  </a:lnTo>
                  <a:lnTo>
                    <a:pt x="81" y="135"/>
                  </a:lnTo>
                  <a:lnTo>
                    <a:pt x="80" y="135"/>
                  </a:lnTo>
                  <a:lnTo>
                    <a:pt x="81" y="135"/>
                  </a:lnTo>
                  <a:lnTo>
                    <a:pt x="81" y="136"/>
                  </a:lnTo>
                  <a:lnTo>
                    <a:pt x="80" y="135"/>
                  </a:lnTo>
                  <a:lnTo>
                    <a:pt x="80" y="136"/>
                  </a:lnTo>
                  <a:lnTo>
                    <a:pt x="81" y="138"/>
                  </a:lnTo>
                  <a:lnTo>
                    <a:pt x="80" y="138"/>
                  </a:lnTo>
                  <a:lnTo>
                    <a:pt x="79" y="138"/>
                  </a:lnTo>
                  <a:lnTo>
                    <a:pt x="78" y="138"/>
                  </a:lnTo>
                  <a:lnTo>
                    <a:pt x="79" y="138"/>
                  </a:lnTo>
                  <a:lnTo>
                    <a:pt x="79" y="139"/>
                  </a:lnTo>
                  <a:lnTo>
                    <a:pt x="78" y="139"/>
                  </a:lnTo>
                  <a:lnTo>
                    <a:pt x="78" y="140"/>
                  </a:lnTo>
                  <a:lnTo>
                    <a:pt x="79" y="140"/>
                  </a:lnTo>
                  <a:lnTo>
                    <a:pt x="78" y="140"/>
                  </a:lnTo>
                  <a:lnTo>
                    <a:pt x="77" y="140"/>
                  </a:lnTo>
                  <a:lnTo>
                    <a:pt x="77" y="141"/>
                  </a:lnTo>
                  <a:lnTo>
                    <a:pt x="76" y="141"/>
                  </a:lnTo>
                  <a:lnTo>
                    <a:pt x="76" y="142"/>
                  </a:lnTo>
                  <a:lnTo>
                    <a:pt x="76" y="143"/>
                  </a:lnTo>
                  <a:lnTo>
                    <a:pt x="74" y="143"/>
                  </a:lnTo>
                  <a:lnTo>
                    <a:pt x="74" y="145"/>
                  </a:lnTo>
                  <a:lnTo>
                    <a:pt x="73" y="146"/>
                  </a:lnTo>
                  <a:lnTo>
                    <a:pt x="74" y="146"/>
                  </a:lnTo>
                  <a:lnTo>
                    <a:pt x="73" y="146"/>
                  </a:lnTo>
                  <a:lnTo>
                    <a:pt x="73" y="147"/>
                  </a:lnTo>
                  <a:lnTo>
                    <a:pt x="73" y="148"/>
                  </a:lnTo>
                  <a:lnTo>
                    <a:pt x="72" y="148"/>
                  </a:lnTo>
                  <a:lnTo>
                    <a:pt x="72" y="149"/>
                  </a:lnTo>
                  <a:lnTo>
                    <a:pt x="71" y="149"/>
                  </a:lnTo>
                  <a:lnTo>
                    <a:pt x="71" y="150"/>
                  </a:lnTo>
                  <a:lnTo>
                    <a:pt x="70" y="150"/>
                  </a:lnTo>
                  <a:lnTo>
                    <a:pt x="70" y="152"/>
                  </a:lnTo>
                  <a:lnTo>
                    <a:pt x="70" y="153"/>
                  </a:lnTo>
                  <a:lnTo>
                    <a:pt x="69" y="153"/>
                  </a:lnTo>
                  <a:lnTo>
                    <a:pt x="69" y="154"/>
                  </a:lnTo>
                  <a:lnTo>
                    <a:pt x="67" y="154"/>
                  </a:lnTo>
                  <a:lnTo>
                    <a:pt x="66" y="154"/>
                  </a:lnTo>
                  <a:lnTo>
                    <a:pt x="65" y="155"/>
                  </a:lnTo>
                  <a:lnTo>
                    <a:pt x="64" y="155"/>
                  </a:lnTo>
                  <a:lnTo>
                    <a:pt x="64" y="156"/>
                  </a:lnTo>
                  <a:lnTo>
                    <a:pt x="64" y="155"/>
                  </a:lnTo>
                  <a:lnTo>
                    <a:pt x="63" y="155"/>
                  </a:lnTo>
                  <a:lnTo>
                    <a:pt x="62" y="155"/>
                  </a:lnTo>
                  <a:lnTo>
                    <a:pt x="62" y="154"/>
                  </a:lnTo>
                  <a:lnTo>
                    <a:pt x="60" y="154"/>
                  </a:lnTo>
                  <a:lnTo>
                    <a:pt x="59" y="154"/>
                  </a:lnTo>
                  <a:lnTo>
                    <a:pt x="58" y="153"/>
                  </a:lnTo>
                  <a:lnTo>
                    <a:pt x="57" y="153"/>
                  </a:lnTo>
                  <a:lnTo>
                    <a:pt x="57" y="154"/>
                  </a:lnTo>
                  <a:lnTo>
                    <a:pt x="56" y="154"/>
                  </a:lnTo>
                  <a:lnTo>
                    <a:pt x="55" y="154"/>
                  </a:lnTo>
                  <a:lnTo>
                    <a:pt x="55" y="155"/>
                  </a:lnTo>
                  <a:lnTo>
                    <a:pt x="53" y="155"/>
                  </a:lnTo>
                  <a:lnTo>
                    <a:pt x="52" y="154"/>
                  </a:lnTo>
                  <a:lnTo>
                    <a:pt x="52" y="153"/>
                  </a:lnTo>
                  <a:lnTo>
                    <a:pt x="51" y="153"/>
                  </a:lnTo>
                  <a:lnTo>
                    <a:pt x="51" y="152"/>
                  </a:lnTo>
                  <a:lnTo>
                    <a:pt x="50" y="152"/>
                  </a:lnTo>
                  <a:lnTo>
                    <a:pt x="49" y="152"/>
                  </a:lnTo>
                  <a:lnTo>
                    <a:pt x="49" y="153"/>
                  </a:lnTo>
                  <a:lnTo>
                    <a:pt x="48" y="153"/>
                  </a:lnTo>
                  <a:lnTo>
                    <a:pt x="47" y="153"/>
                  </a:lnTo>
                  <a:lnTo>
                    <a:pt x="47" y="152"/>
                  </a:lnTo>
                  <a:lnTo>
                    <a:pt x="45" y="152"/>
                  </a:lnTo>
                  <a:lnTo>
                    <a:pt x="44" y="152"/>
                  </a:lnTo>
                  <a:lnTo>
                    <a:pt x="44" y="150"/>
                  </a:lnTo>
                  <a:lnTo>
                    <a:pt x="43" y="150"/>
                  </a:lnTo>
                  <a:lnTo>
                    <a:pt x="43" y="149"/>
                  </a:lnTo>
                  <a:lnTo>
                    <a:pt x="42" y="149"/>
                  </a:lnTo>
                  <a:lnTo>
                    <a:pt x="42" y="148"/>
                  </a:lnTo>
                  <a:lnTo>
                    <a:pt x="41" y="148"/>
                  </a:lnTo>
                  <a:lnTo>
                    <a:pt x="41" y="147"/>
                  </a:lnTo>
                  <a:lnTo>
                    <a:pt x="41" y="148"/>
                  </a:lnTo>
                  <a:lnTo>
                    <a:pt x="40" y="147"/>
                  </a:lnTo>
                  <a:lnTo>
                    <a:pt x="38" y="147"/>
                  </a:lnTo>
                  <a:lnTo>
                    <a:pt x="37" y="147"/>
                  </a:lnTo>
                  <a:lnTo>
                    <a:pt x="36" y="147"/>
                  </a:lnTo>
                  <a:lnTo>
                    <a:pt x="35" y="147"/>
                  </a:lnTo>
                  <a:lnTo>
                    <a:pt x="34" y="147"/>
                  </a:lnTo>
                  <a:lnTo>
                    <a:pt x="33" y="146"/>
                  </a:lnTo>
                  <a:lnTo>
                    <a:pt x="31" y="147"/>
                  </a:lnTo>
                  <a:lnTo>
                    <a:pt x="30" y="147"/>
                  </a:lnTo>
                  <a:lnTo>
                    <a:pt x="29" y="147"/>
                  </a:lnTo>
                  <a:lnTo>
                    <a:pt x="28" y="147"/>
                  </a:lnTo>
                  <a:lnTo>
                    <a:pt x="27" y="147"/>
                  </a:lnTo>
                  <a:lnTo>
                    <a:pt x="26" y="147"/>
                  </a:lnTo>
                  <a:lnTo>
                    <a:pt x="26" y="148"/>
                  </a:lnTo>
                  <a:lnTo>
                    <a:pt x="24" y="148"/>
                  </a:lnTo>
                  <a:lnTo>
                    <a:pt x="23" y="148"/>
                  </a:lnTo>
                  <a:lnTo>
                    <a:pt x="22" y="148"/>
                  </a:lnTo>
                  <a:lnTo>
                    <a:pt x="21" y="148"/>
                  </a:lnTo>
                  <a:lnTo>
                    <a:pt x="20" y="149"/>
                  </a:lnTo>
                  <a:lnTo>
                    <a:pt x="19" y="149"/>
                  </a:lnTo>
                  <a:lnTo>
                    <a:pt x="19" y="148"/>
                  </a:lnTo>
                  <a:lnTo>
                    <a:pt x="17" y="147"/>
                  </a:lnTo>
                  <a:lnTo>
                    <a:pt x="16" y="147"/>
                  </a:lnTo>
                  <a:lnTo>
                    <a:pt x="16" y="146"/>
                  </a:lnTo>
                  <a:lnTo>
                    <a:pt x="15" y="146"/>
                  </a:lnTo>
                  <a:lnTo>
                    <a:pt x="14" y="145"/>
                  </a:lnTo>
                  <a:lnTo>
                    <a:pt x="14" y="143"/>
                  </a:lnTo>
                  <a:lnTo>
                    <a:pt x="13" y="143"/>
                  </a:lnTo>
                  <a:lnTo>
                    <a:pt x="12" y="142"/>
                  </a:lnTo>
                  <a:lnTo>
                    <a:pt x="10" y="141"/>
                  </a:lnTo>
                  <a:lnTo>
                    <a:pt x="10" y="140"/>
                  </a:lnTo>
                  <a:lnTo>
                    <a:pt x="9" y="140"/>
                  </a:lnTo>
                  <a:lnTo>
                    <a:pt x="9" y="139"/>
                  </a:lnTo>
                  <a:lnTo>
                    <a:pt x="8" y="139"/>
                  </a:lnTo>
                  <a:lnTo>
                    <a:pt x="8" y="138"/>
                  </a:lnTo>
                  <a:lnTo>
                    <a:pt x="7" y="138"/>
                  </a:lnTo>
                  <a:lnTo>
                    <a:pt x="7" y="136"/>
                  </a:lnTo>
                  <a:lnTo>
                    <a:pt x="6" y="135"/>
                  </a:lnTo>
                  <a:lnTo>
                    <a:pt x="6" y="134"/>
                  </a:lnTo>
                  <a:lnTo>
                    <a:pt x="5" y="134"/>
                  </a:lnTo>
                  <a:lnTo>
                    <a:pt x="5" y="133"/>
                  </a:lnTo>
                  <a:lnTo>
                    <a:pt x="3" y="133"/>
                  </a:lnTo>
                  <a:lnTo>
                    <a:pt x="3" y="134"/>
                  </a:lnTo>
                  <a:lnTo>
                    <a:pt x="3" y="133"/>
                  </a:lnTo>
                  <a:lnTo>
                    <a:pt x="2" y="133"/>
                  </a:lnTo>
                  <a:lnTo>
                    <a:pt x="2" y="132"/>
                  </a:lnTo>
                  <a:lnTo>
                    <a:pt x="1" y="132"/>
                  </a:lnTo>
                  <a:lnTo>
                    <a:pt x="2" y="132"/>
                  </a:lnTo>
                  <a:lnTo>
                    <a:pt x="2" y="131"/>
                  </a:lnTo>
                  <a:lnTo>
                    <a:pt x="1" y="131"/>
                  </a:lnTo>
                  <a:lnTo>
                    <a:pt x="1" y="129"/>
                  </a:lnTo>
                  <a:lnTo>
                    <a:pt x="2" y="129"/>
                  </a:lnTo>
                  <a:lnTo>
                    <a:pt x="1" y="128"/>
                  </a:lnTo>
                  <a:lnTo>
                    <a:pt x="1" y="127"/>
                  </a:lnTo>
                  <a:lnTo>
                    <a:pt x="1" y="126"/>
                  </a:lnTo>
                  <a:lnTo>
                    <a:pt x="0" y="126"/>
                  </a:lnTo>
                  <a:lnTo>
                    <a:pt x="0" y="125"/>
                  </a:lnTo>
                  <a:lnTo>
                    <a:pt x="0" y="124"/>
                  </a:lnTo>
                  <a:lnTo>
                    <a:pt x="0" y="122"/>
                  </a:lnTo>
                  <a:lnTo>
                    <a:pt x="0" y="120"/>
                  </a:lnTo>
                  <a:lnTo>
                    <a:pt x="0" y="119"/>
                  </a:lnTo>
                  <a:lnTo>
                    <a:pt x="0" y="118"/>
                  </a:lnTo>
                  <a:lnTo>
                    <a:pt x="0" y="115"/>
                  </a:lnTo>
                  <a:lnTo>
                    <a:pt x="0" y="114"/>
                  </a:lnTo>
                  <a:lnTo>
                    <a:pt x="0" y="113"/>
                  </a:lnTo>
                  <a:lnTo>
                    <a:pt x="1" y="111"/>
                  </a:lnTo>
                  <a:lnTo>
                    <a:pt x="1" y="108"/>
                  </a:lnTo>
                  <a:lnTo>
                    <a:pt x="1" y="106"/>
                  </a:lnTo>
                  <a:lnTo>
                    <a:pt x="1" y="104"/>
                  </a:lnTo>
                  <a:lnTo>
                    <a:pt x="1" y="101"/>
                  </a:lnTo>
                  <a:lnTo>
                    <a:pt x="1" y="99"/>
                  </a:lnTo>
                  <a:lnTo>
                    <a:pt x="1" y="97"/>
                  </a:lnTo>
                  <a:lnTo>
                    <a:pt x="1" y="94"/>
                  </a:lnTo>
                  <a:lnTo>
                    <a:pt x="1" y="92"/>
                  </a:lnTo>
                  <a:lnTo>
                    <a:pt x="1" y="90"/>
                  </a:lnTo>
                  <a:lnTo>
                    <a:pt x="1" y="87"/>
                  </a:lnTo>
                  <a:lnTo>
                    <a:pt x="1" y="86"/>
                  </a:lnTo>
                  <a:lnTo>
                    <a:pt x="1" y="85"/>
                  </a:lnTo>
                  <a:lnTo>
                    <a:pt x="1" y="83"/>
                  </a:lnTo>
                  <a:lnTo>
                    <a:pt x="1" y="80"/>
                  </a:lnTo>
                  <a:lnTo>
                    <a:pt x="1" y="78"/>
                  </a:lnTo>
                  <a:lnTo>
                    <a:pt x="1" y="76"/>
                  </a:lnTo>
                  <a:lnTo>
                    <a:pt x="3" y="76"/>
                  </a:lnTo>
                  <a:lnTo>
                    <a:pt x="5" y="76"/>
                  </a:lnTo>
                  <a:lnTo>
                    <a:pt x="7" y="76"/>
                  </a:lnTo>
                  <a:lnTo>
                    <a:pt x="8" y="76"/>
                  </a:lnTo>
                  <a:lnTo>
                    <a:pt x="10" y="76"/>
                  </a:lnTo>
                  <a:lnTo>
                    <a:pt x="12" y="76"/>
                  </a:lnTo>
                  <a:lnTo>
                    <a:pt x="14" y="76"/>
                  </a:lnTo>
                  <a:lnTo>
                    <a:pt x="15" y="76"/>
                  </a:lnTo>
                  <a:lnTo>
                    <a:pt x="17" y="76"/>
                  </a:lnTo>
                  <a:lnTo>
                    <a:pt x="19" y="76"/>
                  </a:lnTo>
                  <a:lnTo>
                    <a:pt x="20" y="76"/>
                  </a:lnTo>
                  <a:lnTo>
                    <a:pt x="22" y="76"/>
                  </a:lnTo>
                  <a:lnTo>
                    <a:pt x="23" y="76"/>
                  </a:lnTo>
                  <a:lnTo>
                    <a:pt x="26" y="76"/>
                  </a:lnTo>
                  <a:lnTo>
                    <a:pt x="27" y="76"/>
                  </a:lnTo>
                  <a:lnTo>
                    <a:pt x="29" y="76"/>
                  </a:lnTo>
                  <a:lnTo>
                    <a:pt x="29" y="75"/>
                  </a:lnTo>
                  <a:lnTo>
                    <a:pt x="29" y="73"/>
                  </a:lnTo>
                  <a:lnTo>
                    <a:pt x="28" y="73"/>
                  </a:lnTo>
                  <a:lnTo>
                    <a:pt x="28" y="72"/>
                  </a:lnTo>
                  <a:lnTo>
                    <a:pt x="28" y="71"/>
                  </a:lnTo>
                  <a:lnTo>
                    <a:pt x="28" y="70"/>
                  </a:lnTo>
                  <a:lnTo>
                    <a:pt x="29" y="69"/>
                  </a:lnTo>
                  <a:lnTo>
                    <a:pt x="29" y="68"/>
                  </a:lnTo>
                  <a:lnTo>
                    <a:pt x="30" y="66"/>
                  </a:lnTo>
                  <a:lnTo>
                    <a:pt x="30" y="65"/>
                  </a:lnTo>
                  <a:lnTo>
                    <a:pt x="30" y="64"/>
                  </a:lnTo>
                  <a:lnTo>
                    <a:pt x="29" y="63"/>
                  </a:lnTo>
                  <a:lnTo>
                    <a:pt x="29" y="62"/>
                  </a:lnTo>
                  <a:lnTo>
                    <a:pt x="29" y="59"/>
                  </a:lnTo>
                  <a:lnTo>
                    <a:pt x="29" y="58"/>
                  </a:lnTo>
                  <a:lnTo>
                    <a:pt x="29" y="57"/>
                  </a:lnTo>
                  <a:lnTo>
                    <a:pt x="29" y="56"/>
                  </a:lnTo>
                  <a:lnTo>
                    <a:pt x="29" y="55"/>
                  </a:lnTo>
                  <a:lnTo>
                    <a:pt x="29" y="54"/>
                  </a:lnTo>
                  <a:lnTo>
                    <a:pt x="29" y="52"/>
                  </a:lnTo>
                  <a:lnTo>
                    <a:pt x="30" y="52"/>
                  </a:lnTo>
                  <a:lnTo>
                    <a:pt x="30" y="51"/>
                  </a:lnTo>
                  <a:lnTo>
                    <a:pt x="30" y="50"/>
                  </a:lnTo>
                  <a:lnTo>
                    <a:pt x="30" y="49"/>
                  </a:lnTo>
                  <a:lnTo>
                    <a:pt x="30" y="48"/>
                  </a:lnTo>
                  <a:lnTo>
                    <a:pt x="30" y="45"/>
                  </a:lnTo>
                  <a:lnTo>
                    <a:pt x="30" y="44"/>
                  </a:lnTo>
                  <a:lnTo>
                    <a:pt x="30" y="43"/>
                  </a:lnTo>
                  <a:lnTo>
                    <a:pt x="29" y="42"/>
                  </a:lnTo>
                  <a:lnTo>
                    <a:pt x="30" y="42"/>
                  </a:lnTo>
                  <a:lnTo>
                    <a:pt x="31" y="42"/>
                  </a:lnTo>
                  <a:lnTo>
                    <a:pt x="31" y="43"/>
                  </a:lnTo>
                  <a:lnTo>
                    <a:pt x="31" y="44"/>
                  </a:lnTo>
                  <a:lnTo>
                    <a:pt x="33" y="44"/>
                  </a:lnTo>
                  <a:lnTo>
                    <a:pt x="34" y="44"/>
                  </a:lnTo>
                  <a:lnTo>
                    <a:pt x="35" y="44"/>
                  </a:lnTo>
                  <a:lnTo>
                    <a:pt x="35" y="45"/>
                  </a:lnTo>
                  <a:lnTo>
                    <a:pt x="35" y="47"/>
                  </a:lnTo>
                  <a:lnTo>
                    <a:pt x="36" y="48"/>
                  </a:lnTo>
                  <a:lnTo>
                    <a:pt x="35" y="48"/>
                  </a:lnTo>
                  <a:lnTo>
                    <a:pt x="35" y="49"/>
                  </a:lnTo>
                  <a:lnTo>
                    <a:pt x="34" y="50"/>
                  </a:lnTo>
                  <a:lnTo>
                    <a:pt x="35" y="50"/>
                  </a:lnTo>
                  <a:lnTo>
                    <a:pt x="36" y="51"/>
                  </a:lnTo>
                  <a:lnTo>
                    <a:pt x="37" y="51"/>
                  </a:lnTo>
                  <a:lnTo>
                    <a:pt x="38" y="51"/>
                  </a:lnTo>
                  <a:lnTo>
                    <a:pt x="38" y="50"/>
                  </a:lnTo>
                  <a:lnTo>
                    <a:pt x="40" y="49"/>
                  </a:lnTo>
                  <a:lnTo>
                    <a:pt x="41" y="49"/>
                  </a:lnTo>
                  <a:lnTo>
                    <a:pt x="42" y="49"/>
                  </a:lnTo>
                  <a:lnTo>
                    <a:pt x="43" y="48"/>
                  </a:lnTo>
                  <a:lnTo>
                    <a:pt x="45" y="48"/>
                  </a:lnTo>
                  <a:lnTo>
                    <a:pt x="47" y="48"/>
                  </a:lnTo>
                  <a:lnTo>
                    <a:pt x="48" y="47"/>
                  </a:lnTo>
                  <a:lnTo>
                    <a:pt x="49" y="47"/>
                  </a:lnTo>
                  <a:lnTo>
                    <a:pt x="49" y="48"/>
                  </a:lnTo>
                  <a:lnTo>
                    <a:pt x="48" y="49"/>
                  </a:lnTo>
                  <a:lnTo>
                    <a:pt x="48" y="50"/>
                  </a:lnTo>
                  <a:lnTo>
                    <a:pt x="48" y="51"/>
                  </a:lnTo>
                  <a:lnTo>
                    <a:pt x="48" y="52"/>
                  </a:lnTo>
                  <a:lnTo>
                    <a:pt x="48" y="54"/>
                  </a:lnTo>
                  <a:lnTo>
                    <a:pt x="49" y="54"/>
                  </a:lnTo>
                  <a:lnTo>
                    <a:pt x="49" y="55"/>
                  </a:lnTo>
                  <a:lnTo>
                    <a:pt x="50" y="55"/>
                  </a:lnTo>
                  <a:lnTo>
                    <a:pt x="50" y="56"/>
                  </a:lnTo>
                  <a:lnTo>
                    <a:pt x="51" y="56"/>
                  </a:lnTo>
                  <a:lnTo>
                    <a:pt x="51" y="55"/>
                  </a:lnTo>
                  <a:lnTo>
                    <a:pt x="52" y="55"/>
                  </a:lnTo>
                  <a:lnTo>
                    <a:pt x="52" y="56"/>
                  </a:lnTo>
                  <a:lnTo>
                    <a:pt x="53" y="56"/>
                  </a:lnTo>
                  <a:lnTo>
                    <a:pt x="53" y="57"/>
                  </a:lnTo>
                  <a:lnTo>
                    <a:pt x="55" y="57"/>
                  </a:lnTo>
                  <a:lnTo>
                    <a:pt x="55" y="56"/>
                  </a:lnTo>
                  <a:lnTo>
                    <a:pt x="56" y="56"/>
                  </a:lnTo>
                  <a:lnTo>
                    <a:pt x="56" y="57"/>
                  </a:lnTo>
                  <a:lnTo>
                    <a:pt x="57" y="57"/>
                  </a:lnTo>
                  <a:lnTo>
                    <a:pt x="57" y="58"/>
                  </a:lnTo>
                  <a:lnTo>
                    <a:pt x="59" y="58"/>
                  </a:lnTo>
                  <a:lnTo>
                    <a:pt x="60" y="58"/>
                  </a:lnTo>
                  <a:lnTo>
                    <a:pt x="62" y="58"/>
                  </a:lnTo>
                  <a:lnTo>
                    <a:pt x="63" y="58"/>
                  </a:lnTo>
                  <a:lnTo>
                    <a:pt x="64" y="58"/>
                  </a:lnTo>
                  <a:lnTo>
                    <a:pt x="64" y="59"/>
                  </a:lnTo>
                  <a:lnTo>
                    <a:pt x="65" y="59"/>
                  </a:lnTo>
                  <a:lnTo>
                    <a:pt x="66" y="59"/>
                  </a:lnTo>
                  <a:lnTo>
                    <a:pt x="67" y="59"/>
                  </a:lnTo>
                  <a:lnTo>
                    <a:pt x="69" y="59"/>
                  </a:lnTo>
                  <a:lnTo>
                    <a:pt x="70" y="59"/>
                  </a:lnTo>
                  <a:lnTo>
                    <a:pt x="70" y="58"/>
                  </a:lnTo>
                  <a:lnTo>
                    <a:pt x="71" y="58"/>
                  </a:lnTo>
                  <a:lnTo>
                    <a:pt x="71" y="57"/>
                  </a:lnTo>
                  <a:lnTo>
                    <a:pt x="71" y="56"/>
                  </a:lnTo>
                  <a:lnTo>
                    <a:pt x="71" y="55"/>
                  </a:lnTo>
                  <a:lnTo>
                    <a:pt x="72" y="55"/>
                  </a:lnTo>
                  <a:lnTo>
                    <a:pt x="72" y="54"/>
                  </a:lnTo>
                  <a:lnTo>
                    <a:pt x="73" y="54"/>
                  </a:lnTo>
                  <a:lnTo>
                    <a:pt x="73" y="52"/>
                  </a:lnTo>
                  <a:lnTo>
                    <a:pt x="74" y="52"/>
                  </a:lnTo>
                  <a:lnTo>
                    <a:pt x="74" y="54"/>
                  </a:lnTo>
                  <a:lnTo>
                    <a:pt x="74" y="55"/>
                  </a:lnTo>
                  <a:lnTo>
                    <a:pt x="74" y="57"/>
                  </a:lnTo>
                  <a:lnTo>
                    <a:pt x="77" y="58"/>
                  </a:lnTo>
                  <a:lnTo>
                    <a:pt x="78" y="59"/>
                  </a:lnTo>
                  <a:lnTo>
                    <a:pt x="78" y="61"/>
                  </a:lnTo>
                  <a:lnTo>
                    <a:pt x="78" y="63"/>
                  </a:lnTo>
                  <a:lnTo>
                    <a:pt x="79" y="63"/>
                  </a:lnTo>
                  <a:lnTo>
                    <a:pt x="79" y="64"/>
                  </a:lnTo>
                  <a:lnTo>
                    <a:pt x="80" y="64"/>
                  </a:lnTo>
                  <a:lnTo>
                    <a:pt x="81" y="64"/>
                  </a:lnTo>
                  <a:lnTo>
                    <a:pt x="83" y="64"/>
                  </a:lnTo>
                  <a:lnTo>
                    <a:pt x="84" y="64"/>
                  </a:lnTo>
                  <a:lnTo>
                    <a:pt x="84" y="65"/>
                  </a:lnTo>
                  <a:lnTo>
                    <a:pt x="85" y="65"/>
                  </a:lnTo>
                  <a:lnTo>
                    <a:pt x="86" y="65"/>
                  </a:lnTo>
                  <a:lnTo>
                    <a:pt x="86" y="66"/>
                  </a:lnTo>
                  <a:lnTo>
                    <a:pt x="87" y="66"/>
                  </a:lnTo>
                  <a:lnTo>
                    <a:pt x="88" y="66"/>
                  </a:lnTo>
                  <a:lnTo>
                    <a:pt x="90" y="66"/>
                  </a:lnTo>
                  <a:lnTo>
                    <a:pt x="91" y="68"/>
                  </a:lnTo>
                  <a:lnTo>
                    <a:pt x="91" y="69"/>
                  </a:lnTo>
                  <a:lnTo>
                    <a:pt x="92" y="70"/>
                  </a:lnTo>
                  <a:lnTo>
                    <a:pt x="92" y="71"/>
                  </a:lnTo>
                  <a:lnTo>
                    <a:pt x="92" y="72"/>
                  </a:lnTo>
                  <a:lnTo>
                    <a:pt x="92" y="73"/>
                  </a:lnTo>
                  <a:lnTo>
                    <a:pt x="93" y="73"/>
                  </a:lnTo>
                  <a:lnTo>
                    <a:pt x="94" y="73"/>
                  </a:lnTo>
                  <a:lnTo>
                    <a:pt x="95" y="75"/>
                  </a:lnTo>
                  <a:lnTo>
                    <a:pt x="95" y="76"/>
                  </a:lnTo>
                  <a:lnTo>
                    <a:pt x="97" y="76"/>
                  </a:lnTo>
                  <a:lnTo>
                    <a:pt x="97" y="77"/>
                  </a:lnTo>
                  <a:lnTo>
                    <a:pt x="97" y="78"/>
                  </a:lnTo>
                  <a:lnTo>
                    <a:pt x="98" y="78"/>
                  </a:lnTo>
                  <a:lnTo>
                    <a:pt x="98" y="80"/>
                  </a:lnTo>
                  <a:lnTo>
                    <a:pt x="98" y="82"/>
                  </a:lnTo>
                  <a:lnTo>
                    <a:pt x="99" y="82"/>
                  </a:lnTo>
                  <a:lnTo>
                    <a:pt x="100" y="82"/>
                  </a:lnTo>
                  <a:lnTo>
                    <a:pt x="101" y="83"/>
                  </a:lnTo>
                  <a:lnTo>
                    <a:pt x="101" y="82"/>
                  </a:lnTo>
                  <a:lnTo>
                    <a:pt x="102" y="82"/>
                  </a:lnTo>
                  <a:lnTo>
                    <a:pt x="105" y="80"/>
                  </a:lnTo>
                  <a:lnTo>
                    <a:pt x="106" y="79"/>
                  </a:lnTo>
                  <a:lnTo>
                    <a:pt x="107" y="79"/>
                  </a:lnTo>
                  <a:lnTo>
                    <a:pt x="108" y="79"/>
                  </a:lnTo>
                  <a:lnTo>
                    <a:pt x="108" y="80"/>
                  </a:lnTo>
                  <a:lnTo>
                    <a:pt x="107" y="80"/>
                  </a:lnTo>
                  <a:lnTo>
                    <a:pt x="107" y="82"/>
                  </a:lnTo>
                  <a:lnTo>
                    <a:pt x="107" y="83"/>
                  </a:lnTo>
                  <a:lnTo>
                    <a:pt x="108" y="83"/>
                  </a:lnTo>
                  <a:lnTo>
                    <a:pt x="109" y="83"/>
                  </a:lnTo>
                  <a:lnTo>
                    <a:pt x="109" y="82"/>
                  </a:lnTo>
                  <a:lnTo>
                    <a:pt x="109" y="80"/>
                  </a:lnTo>
                  <a:lnTo>
                    <a:pt x="109" y="78"/>
                  </a:lnTo>
                  <a:lnTo>
                    <a:pt x="109" y="76"/>
                  </a:lnTo>
                  <a:lnTo>
                    <a:pt x="109" y="73"/>
                  </a:lnTo>
                  <a:lnTo>
                    <a:pt x="109" y="71"/>
                  </a:lnTo>
                  <a:lnTo>
                    <a:pt x="109" y="69"/>
                  </a:lnTo>
                  <a:lnTo>
                    <a:pt x="109" y="65"/>
                  </a:lnTo>
                  <a:lnTo>
                    <a:pt x="111" y="64"/>
                  </a:lnTo>
                  <a:lnTo>
                    <a:pt x="111" y="62"/>
                  </a:lnTo>
                  <a:lnTo>
                    <a:pt x="109" y="62"/>
                  </a:lnTo>
                  <a:lnTo>
                    <a:pt x="108" y="63"/>
                  </a:lnTo>
                  <a:lnTo>
                    <a:pt x="107" y="63"/>
                  </a:lnTo>
                  <a:lnTo>
                    <a:pt x="106" y="63"/>
                  </a:lnTo>
                  <a:lnTo>
                    <a:pt x="106" y="64"/>
                  </a:lnTo>
                  <a:lnTo>
                    <a:pt x="105" y="64"/>
                  </a:lnTo>
                  <a:lnTo>
                    <a:pt x="105" y="65"/>
                  </a:lnTo>
                  <a:lnTo>
                    <a:pt x="106" y="65"/>
                  </a:lnTo>
                  <a:lnTo>
                    <a:pt x="106" y="66"/>
                  </a:lnTo>
                  <a:lnTo>
                    <a:pt x="105" y="66"/>
                  </a:lnTo>
                  <a:lnTo>
                    <a:pt x="104" y="66"/>
                  </a:lnTo>
                  <a:lnTo>
                    <a:pt x="102" y="66"/>
                  </a:lnTo>
                  <a:lnTo>
                    <a:pt x="102" y="65"/>
                  </a:lnTo>
                  <a:lnTo>
                    <a:pt x="101" y="65"/>
                  </a:lnTo>
                  <a:lnTo>
                    <a:pt x="100" y="65"/>
                  </a:lnTo>
                  <a:lnTo>
                    <a:pt x="100" y="66"/>
                  </a:lnTo>
                  <a:lnTo>
                    <a:pt x="100" y="65"/>
                  </a:lnTo>
                  <a:lnTo>
                    <a:pt x="99" y="65"/>
                  </a:lnTo>
                  <a:lnTo>
                    <a:pt x="98" y="63"/>
                  </a:lnTo>
                  <a:lnTo>
                    <a:pt x="97" y="62"/>
                  </a:lnTo>
                  <a:lnTo>
                    <a:pt x="97" y="61"/>
                  </a:lnTo>
                  <a:lnTo>
                    <a:pt x="95" y="61"/>
                  </a:lnTo>
                  <a:lnTo>
                    <a:pt x="95" y="59"/>
                  </a:lnTo>
                  <a:lnTo>
                    <a:pt x="94" y="59"/>
                  </a:lnTo>
                  <a:lnTo>
                    <a:pt x="94" y="58"/>
                  </a:lnTo>
                  <a:lnTo>
                    <a:pt x="93" y="58"/>
                  </a:lnTo>
                  <a:lnTo>
                    <a:pt x="93" y="57"/>
                  </a:lnTo>
                  <a:lnTo>
                    <a:pt x="92" y="57"/>
                  </a:lnTo>
                  <a:lnTo>
                    <a:pt x="92" y="56"/>
                  </a:lnTo>
                  <a:lnTo>
                    <a:pt x="92" y="55"/>
                  </a:lnTo>
                  <a:lnTo>
                    <a:pt x="91" y="55"/>
                  </a:lnTo>
                  <a:lnTo>
                    <a:pt x="91" y="54"/>
                  </a:lnTo>
                  <a:lnTo>
                    <a:pt x="91" y="52"/>
                  </a:lnTo>
                  <a:lnTo>
                    <a:pt x="91" y="51"/>
                  </a:lnTo>
                  <a:lnTo>
                    <a:pt x="91" y="50"/>
                  </a:lnTo>
                  <a:lnTo>
                    <a:pt x="92" y="49"/>
                  </a:lnTo>
                  <a:lnTo>
                    <a:pt x="92" y="48"/>
                  </a:lnTo>
                  <a:lnTo>
                    <a:pt x="92" y="47"/>
                  </a:lnTo>
                  <a:lnTo>
                    <a:pt x="92" y="45"/>
                  </a:lnTo>
                  <a:lnTo>
                    <a:pt x="92" y="44"/>
                  </a:lnTo>
                  <a:lnTo>
                    <a:pt x="93" y="44"/>
                  </a:lnTo>
                  <a:lnTo>
                    <a:pt x="93" y="43"/>
                  </a:lnTo>
                  <a:lnTo>
                    <a:pt x="93" y="42"/>
                  </a:lnTo>
                  <a:lnTo>
                    <a:pt x="93" y="41"/>
                  </a:lnTo>
                  <a:lnTo>
                    <a:pt x="94" y="41"/>
                  </a:lnTo>
                  <a:lnTo>
                    <a:pt x="94" y="40"/>
                  </a:lnTo>
                  <a:lnTo>
                    <a:pt x="95" y="38"/>
                  </a:lnTo>
                  <a:lnTo>
                    <a:pt x="95" y="37"/>
                  </a:lnTo>
                  <a:lnTo>
                    <a:pt x="94" y="36"/>
                  </a:lnTo>
                  <a:lnTo>
                    <a:pt x="94" y="35"/>
                  </a:lnTo>
                  <a:lnTo>
                    <a:pt x="94" y="34"/>
                  </a:lnTo>
                  <a:lnTo>
                    <a:pt x="94" y="33"/>
                  </a:lnTo>
                  <a:lnTo>
                    <a:pt x="94" y="31"/>
                  </a:lnTo>
                  <a:lnTo>
                    <a:pt x="94" y="30"/>
                  </a:lnTo>
                  <a:lnTo>
                    <a:pt x="94" y="29"/>
                  </a:lnTo>
                  <a:lnTo>
                    <a:pt x="94" y="28"/>
                  </a:lnTo>
                  <a:lnTo>
                    <a:pt x="94" y="27"/>
                  </a:lnTo>
                  <a:lnTo>
                    <a:pt x="95" y="26"/>
                  </a:lnTo>
                  <a:lnTo>
                    <a:pt x="95" y="24"/>
                  </a:lnTo>
                  <a:lnTo>
                    <a:pt x="95" y="23"/>
                  </a:lnTo>
                  <a:lnTo>
                    <a:pt x="94" y="23"/>
                  </a:lnTo>
                  <a:lnTo>
                    <a:pt x="94" y="22"/>
                  </a:lnTo>
                  <a:lnTo>
                    <a:pt x="94" y="21"/>
                  </a:lnTo>
                  <a:lnTo>
                    <a:pt x="94" y="20"/>
                  </a:lnTo>
                  <a:lnTo>
                    <a:pt x="93" y="20"/>
                  </a:lnTo>
                  <a:lnTo>
                    <a:pt x="93" y="19"/>
                  </a:lnTo>
                  <a:lnTo>
                    <a:pt x="94" y="19"/>
                  </a:lnTo>
                  <a:lnTo>
                    <a:pt x="95" y="19"/>
                  </a:lnTo>
                  <a:lnTo>
                    <a:pt x="97" y="20"/>
                  </a:lnTo>
                  <a:lnTo>
                    <a:pt x="97" y="19"/>
                  </a:lnTo>
                  <a:lnTo>
                    <a:pt x="97" y="17"/>
                  </a:lnTo>
                  <a:lnTo>
                    <a:pt x="97" y="16"/>
                  </a:lnTo>
                  <a:lnTo>
                    <a:pt x="98" y="15"/>
                  </a:lnTo>
                  <a:lnTo>
                    <a:pt x="98" y="14"/>
                  </a:lnTo>
                  <a:lnTo>
                    <a:pt x="99" y="14"/>
                  </a:lnTo>
                  <a:lnTo>
                    <a:pt x="99" y="13"/>
                  </a:lnTo>
                  <a:lnTo>
                    <a:pt x="100" y="12"/>
                  </a:lnTo>
                  <a:lnTo>
                    <a:pt x="101" y="10"/>
                  </a:lnTo>
                  <a:lnTo>
                    <a:pt x="101" y="9"/>
                  </a:lnTo>
                  <a:lnTo>
                    <a:pt x="102" y="7"/>
                  </a:lnTo>
                  <a:lnTo>
                    <a:pt x="102" y="6"/>
                  </a:lnTo>
                  <a:lnTo>
                    <a:pt x="101" y="6"/>
                  </a:lnTo>
                  <a:lnTo>
                    <a:pt x="100" y="5"/>
                  </a:lnTo>
                  <a:lnTo>
                    <a:pt x="99" y="5"/>
                  </a:lnTo>
                  <a:lnTo>
                    <a:pt x="99" y="3"/>
                  </a:lnTo>
                  <a:lnTo>
                    <a:pt x="101" y="3"/>
                  </a:lnTo>
                  <a:lnTo>
                    <a:pt x="104" y="3"/>
                  </a:lnTo>
                  <a:lnTo>
                    <a:pt x="106" y="2"/>
                  </a:lnTo>
                  <a:lnTo>
                    <a:pt x="108" y="2"/>
                  </a:lnTo>
                  <a:lnTo>
                    <a:pt x="112" y="1"/>
                  </a:lnTo>
                  <a:lnTo>
                    <a:pt x="116" y="1"/>
                  </a:lnTo>
                  <a:lnTo>
                    <a:pt x="119" y="0"/>
                  </a:lnTo>
                  <a:lnTo>
                    <a:pt x="122" y="0"/>
                  </a:lnTo>
                  <a:lnTo>
                    <a:pt x="122" y="1"/>
                  </a:lnTo>
                  <a:lnTo>
                    <a:pt x="121" y="1"/>
                  </a:lnTo>
                  <a:lnTo>
                    <a:pt x="121" y="2"/>
                  </a:lnTo>
                  <a:lnTo>
                    <a:pt x="120" y="3"/>
                  </a:lnTo>
                  <a:lnTo>
                    <a:pt x="121" y="5"/>
                  </a:lnTo>
                  <a:lnTo>
                    <a:pt x="122" y="5"/>
                  </a:lnTo>
                  <a:lnTo>
                    <a:pt x="122" y="6"/>
                  </a:lnTo>
                  <a:lnTo>
                    <a:pt x="121" y="6"/>
                  </a:lnTo>
                  <a:lnTo>
                    <a:pt x="122" y="6"/>
                  </a:lnTo>
                  <a:lnTo>
                    <a:pt x="122" y="5"/>
                  </a:lnTo>
                  <a:lnTo>
                    <a:pt x="123" y="5"/>
                  </a:lnTo>
                  <a:lnTo>
                    <a:pt x="123" y="3"/>
                  </a:lnTo>
                  <a:lnTo>
                    <a:pt x="123" y="5"/>
                  </a:lnTo>
                  <a:lnTo>
                    <a:pt x="124" y="5"/>
                  </a:lnTo>
                  <a:lnTo>
                    <a:pt x="126" y="5"/>
                  </a:lnTo>
                  <a:lnTo>
                    <a:pt x="126" y="6"/>
                  </a:lnTo>
                  <a:lnTo>
                    <a:pt x="128" y="9"/>
                  </a:lnTo>
                  <a:lnTo>
                    <a:pt x="129" y="9"/>
                  </a:lnTo>
                  <a:lnTo>
                    <a:pt x="129" y="8"/>
                  </a:lnTo>
                  <a:lnTo>
                    <a:pt x="130" y="8"/>
                  </a:lnTo>
                  <a:lnTo>
                    <a:pt x="130" y="7"/>
                  </a:lnTo>
                  <a:lnTo>
                    <a:pt x="130" y="6"/>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83" name="Freeform 1047">
              <a:extLst>
                <a:ext uri="{FF2B5EF4-FFF2-40B4-BE49-F238E27FC236}">
                  <a16:creationId xmlns:a16="http://schemas.microsoft.com/office/drawing/2014/main" id="{A05AEA9B-BAF4-498E-86DB-249765522D1C}"/>
                </a:ext>
              </a:extLst>
            </p:cNvPr>
            <p:cNvSpPr>
              <a:spLocks/>
            </p:cNvSpPr>
            <p:nvPr/>
          </p:nvSpPr>
          <p:spPr bwMode="auto">
            <a:xfrm>
              <a:off x="6269842" y="3678393"/>
              <a:ext cx="142898" cy="142898"/>
            </a:xfrm>
            <a:custGeom>
              <a:avLst/>
              <a:gdLst>
                <a:gd name="T0" fmla="*/ 75 w 107"/>
                <a:gd name="T1" fmla="*/ 5 h 107"/>
                <a:gd name="T2" fmla="*/ 82 w 107"/>
                <a:gd name="T3" fmla="*/ 5 h 107"/>
                <a:gd name="T4" fmla="*/ 86 w 107"/>
                <a:gd name="T5" fmla="*/ 9 h 107"/>
                <a:gd name="T6" fmla="*/ 92 w 107"/>
                <a:gd name="T7" fmla="*/ 12 h 107"/>
                <a:gd name="T8" fmla="*/ 101 w 107"/>
                <a:gd name="T9" fmla="*/ 15 h 107"/>
                <a:gd name="T10" fmla="*/ 107 w 107"/>
                <a:gd name="T11" fmla="*/ 19 h 107"/>
                <a:gd name="T12" fmla="*/ 107 w 107"/>
                <a:gd name="T13" fmla="*/ 26 h 107"/>
                <a:gd name="T14" fmla="*/ 107 w 107"/>
                <a:gd name="T15" fmla="*/ 33 h 107"/>
                <a:gd name="T16" fmla="*/ 106 w 107"/>
                <a:gd name="T17" fmla="*/ 40 h 107"/>
                <a:gd name="T18" fmla="*/ 105 w 107"/>
                <a:gd name="T19" fmla="*/ 46 h 107"/>
                <a:gd name="T20" fmla="*/ 101 w 107"/>
                <a:gd name="T21" fmla="*/ 52 h 107"/>
                <a:gd name="T22" fmla="*/ 104 w 107"/>
                <a:gd name="T23" fmla="*/ 53 h 107"/>
                <a:gd name="T24" fmla="*/ 103 w 107"/>
                <a:gd name="T25" fmla="*/ 60 h 107"/>
                <a:gd name="T26" fmla="*/ 103 w 107"/>
                <a:gd name="T27" fmla="*/ 64 h 107"/>
                <a:gd name="T28" fmla="*/ 105 w 107"/>
                <a:gd name="T29" fmla="*/ 66 h 107"/>
                <a:gd name="T30" fmla="*/ 104 w 107"/>
                <a:gd name="T31" fmla="*/ 72 h 107"/>
                <a:gd name="T32" fmla="*/ 101 w 107"/>
                <a:gd name="T33" fmla="*/ 75 h 107"/>
                <a:gd name="T34" fmla="*/ 98 w 107"/>
                <a:gd name="T35" fmla="*/ 80 h 107"/>
                <a:gd name="T36" fmla="*/ 96 w 107"/>
                <a:gd name="T37" fmla="*/ 88 h 107"/>
                <a:gd name="T38" fmla="*/ 94 w 107"/>
                <a:gd name="T39" fmla="*/ 92 h 107"/>
                <a:gd name="T40" fmla="*/ 89 w 107"/>
                <a:gd name="T41" fmla="*/ 98 h 107"/>
                <a:gd name="T42" fmla="*/ 83 w 107"/>
                <a:gd name="T43" fmla="*/ 105 h 107"/>
                <a:gd name="T44" fmla="*/ 77 w 107"/>
                <a:gd name="T45" fmla="*/ 106 h 107"/>
                <a:gd name="T46" fmla="*/ 69 w 107"/>
                <a:gd name="T47" fmla="*/ 106 h 107"/>
                <a:gd name="T48" fmla="*/ 64 w 107"/>
                <a:gd name="T49" fmla="*/ 106 h 107"/>
                <a:gd name="T50" fmla="*/ 58 w 107"/>
                <a:gd name="T51" fmla="*/ 103 h 107"/>
                <a:gd name="T52" fmla="*/ 53 w 107"/>
                <a:gd name="T53" fmla="*/ 102 h 107"/>
                <a:gd name="T54" fmla="*/ 50 w 107"/>
                <a:gd name="T55" fmla="*/ 99 h 107"/>
                <a:gd name="T56" fmla="*/ 44 w 107"/>
                <a:gd name="T57" fmla="*/ 96 h 107"/>
                <a:gd name="T58" fmla="*/ 37 w 107"/>
                <a:gd name="T59" fmla="*/ 94 h 107"/>
                <a:gd name="T60" fmla="*/ 34 w 107"/>
                <a:gd name="T61" fmla="*/ 91 h 107"/>
                <a:gd name="T62" fmla="*/ 32 w 107"/>
                <a:gd name="T63" fmla="*/ 85 h 107"/>
                <a:gd name="T64" fmla="*/ 33 w 107"/>
                <a:gd name="T65" fmla="*/ 78 h 107"/>
                <a:gd name="T66" fmla="*/ 27 w 107"/>
                <a:gd name="T67" fmla="*/ 73 h 107"/>
                <a:gd name="T68" fmla="*/ 19 w 107"/>
                <a:gd name="T69" fmla="*/ 68 h 107"/>
                <a:gd name="T70" fmla="*/ 15 w 107"/>
                <a:gd name="T71" fmla="*/ 65 h 107"/>
                <a:gd name="T72" fmla="*/ 12 w 107"/>
                <a:gd name="T73" fmla="*/ 61 h 107"/>
                <a:gd name="T74" fmla="*/ 9 w 107"/>
                <a:gd name="T75" fmla="*/ 52 h 107"/>
                <a:gd name="T76" fmla="*/ 6 w 107"/>
                <a:gd name="T77" fmla="*/ 46 h 107"/>
                <a:gd name="T78" fmla="*/ 3 w 107"/>
                <a:gd name="T79" fmla="*/ 39 h 107"/>
                <a:gd name="T80" fmla="*/ 1 w 107"/>
                <a:gd name="T81" fmla="*/ 35 h 107"/>
                <a:gd name="T82" fmla="*/ 6 w 107"/>
                <a:gd name="T83" fmla="*/ 35 h 107"/>
                <a:gd name="T84" fmla="*/ 11 w 107"/>
                <a:gd name="T85" fmla="*/ 38 h 107"/>
                <a:gd name="T86" fmla="*/ 15 w 107"/>
                <a:gd name="T87" fmla="*/ 37 h 107"/>
                <a:gd name="T88" fmla="*/ 20 w 107"/>
                <a:gd name="T89" fmla="*/ 39 h 107"/>
                <a:gd name="T90" fmla="*/ 26 w 107"/>
                <a:gd name="T91" fmla="*/ 37 h 107"/>
                <a:gd name="T92" fmla="*/ 28 w 107"/>
                <a:gd name="T93" fmla="*/ 35 h 107"/>
                <a:gd name="T94" fmla="*/ 30 w 107"/>
                <a:gd name="T95" fmla="*/ 31 h 107"/>
                <a:gd name="T96" fmla="*/ 34 w 107"/>
                <a:gd name="T97" fmla="*/ 28 h 107"/>
                <a:gd name="T98" fmla="*/ 35 w 107"/>
                <a:gd name="T99" fmla="*/ 24 h 107"/>
                <a:gd name="T100" fmla="*/ 39 w 107"/>
                <a:gd name="T101" fmla="*/ 23 h 107"/>
                <a:gd name="T102" fmla="*/ 40 w 107"/>
                <a:gd name="T103" fmla="*/ 19 h 107"/>
                <a:gd name="T104" fmla="*/ 44 w 107"/>
                <a:gd name="T105" fmla="*/ 18 h 107"/>
                <a:gd name="T106" fmla="*/ 44 w 107"/>
                <a:gd name="T107" fmla="*/ 18 h 107"/>
                <a:gd name="T108" fmla="*/ 49 w 107"/>
                <a:gd name="T109" fmla="*/ 17 h 107"/>
                <a:gd name="T110" fmla="*/ 51 w 107"/>
                <a:gd name="T111" fmla="*/ 17 h 107"/>
                <a:gd name="T112" fmla="*/ 53 w 107"/>
                <a:gd name="T113" fmla="*/ 15 h 107"/>
                <a:gd name="T114" fmla="*/ 49 w 107"/>
                <a:gd name="T115" fmla="*/ 14 h 107"/>
                <a:gd name="T116" fmla="*/ 50 w 107"/>
                <a:gd name="T117" fmla="*/ 10 h 107"/>
                <a:gd name="T118" fmla="*/ 51 w 107"/>
                <a:gd name="T119" fmla="*/ 5 h 107"/>
                <a:gd name="T120" fmla="*/ 56 w 107"/>
                <a:gd name="T121" fmla="*/ 3 h 107"/>
                <a:gd name="T122" fmla="*/ 64 w 107"/>
                <a:gd name="T123" fmla="*/ 1 h 107"/>
                <a:gd name="T124" fmla="*/ 70 w 107"/>
                <a:gd name="T125" fmla="*/ 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7" h="107">
                  <a:moveTo>
                    <a:pt x="72" y="1"/>
                  </a:moveTo>
                  <a:lnTo>
                    <a:pt x="72" y="2"/>
                  </a:lnTo>
                  <a:lnTo>
                    <a:pt x="72" y="3"/>
                  </a:lnTo>
                  <a:lnTo>
                    <a:pt x="72" y="5"/>
                  </a:lnTo>
                  <a:lnTo>
                    <a:pt x="73" y="5"/>
                  </a:lnTo>
                  <a:lnTo>
                    <a:pt x="75" y="5"/>
                  </a:lnTo>
                  <a:lnTo>
                    <a:pt x="77" y="5"/>
                  </a:lnTo>
                  <a:lnTo>
                    <a:pt x="78" y="5"/>
                  </a:lnTo>
                  <a:lnTo>
                    <a:pt x="79" y="7"/>
                  </a:lnTo>
                  <a:lnTo>
                    <a:pt x="80" y="7"/>
                  </a:lnTo>
                  <a:lnTo>
                    <a:pt x="82" y="7"/>
                  </a:lnTo>
                  <a:lnTo>
                    <a:pt x="82" y="5"/>
                  </a:lnTo>
                  <a:lnTo>
                    <a:pt x="83" y="5"/>
                  </a:lnTo>
                  <a:lnTo>
                    <a:pt x="84" y="7"/>
                  </a:lnTo>
                  <a:lnTo>
                    <a:pt x="85" y="7"/>
                  </a:lnTo>
                  <a:lnTo>
                    <a:pt x="85" y="8"/>
                  </a:lnTo>
                  <a:lnTo>
                    <a:pt x="86" y="8"/>
                  </a:lnTo>
                  <a:lnTo>
                    <a:pt x="86" y="9"/>
                  </a:lnTo>
                  <a:lnTo>
                    <a:pt x="87" y="9"/>
                  </a:lnTo>
                  <a:lnTo>
                    <a:pt x="90" y="9"/>
                  </a:lnTo>
                  <a:lnTo>
                    <a:pt x="91" y="10"/>
                  </a:lnTo>
                  <a:lnTo>
                    <a:pt x="91" y="11"/>
                  </a:lnTo>
                  <a:lnTo>
                    <a:pt x="92" y="11"/>
                  </a:lnTo>
                  <a:lnTo>
                    <a:pt x="92" y="12"/>
                  </a:lnTo>
                  <a:lnTo>
                    <a:pt x="93" y="12"/>
                  </a:lnTo>
                  <a:lnTo>
                    <a:pt x="94" y="12"/>
                  </a:lnTo>
                  <a:lnTo>
                    <a:pt x="97" y="12"/>
                  </a:lnTo>
                  <a:lnTo>
                    <a:pt x="98" y="14"/>
                  </a:lnTo>
                  <a:lnTo>
                    <a:pt x="99" y="14"/>
                  </a:lnTo>
                  <a:lnTo>
                    <a:pt x="101" y="15"/>
                  </a:lnTo>
                  <a:lnTo>
                    <a:pt x="104" y="16"/>
                  </a:lnTo>
                  <a:lnTo>
                    <a:pt x="104" y="17"/>
                  </a:lnTo>
                  <a:lnTo>
                    <a:pt x="105" y="17"/>
                  </a:lnTo>
                  <a:lnTo>
                    <a:pt x="106" y="17"/>
                  </a:lnTo>
                  <a:lnTo>
                    <a:pt x="107" y="17"/>
                  </a:lnTo>
                  <a:lnTo>
                    <a:pt x="107" y="19"/>
                  </a:lnTo>
                  <a:lnTo>
                    <a:pt x="106" y="19"/>
                  </a:lnTo>
                  <a:lnTo>
                    <a:pt x="105" y="21"/>
                  </a:lnTo>
                  <a:lnTo>
                    <a:pt x="106" y="23"/>
                  </a:lnTo>
                  <a:lnTo>
                    <a:pt x="107" y="24"/>
                  </a:lnTo>
                  <a:lnTo>
                    <a:pt x="107" y="25"/>
                  </a:lnTo>
                  <a:lnTo>
                    <a:pt x="107" y="26"/>
                  </a:lnTo>
                  <a:lnTo>
                    <a:pt x="107" y="28"/>
                  </a:lnTo>
                  <a:lnTo>
                    <a:pt x="107" y="29"/>
                  </a:lnTo>
                  <a:lnTo>
                    <a:pt x="106" y="30"/>
                  </a:lnTo>
                  <a:lnTo>
                    <a:pt x="107" y="31"/>
                  </a:lnTo>
                  <a:lnTo>
                    <a:pt x="107" y="32"/>
                  </a:lnTo>
                  <a:lnTo>
                    <a:pt x="107" y="33"/>
                  </a:lnTo>
                  <a:lnTo>
                    <a:pt x="107" y="35"/>
                  </a:lnTo>
                  <a:lnTo>
                    <a:pt x="106" y="35"/>
                  </a:lnTo>
                  <a:lnTo>
                    <a:pt x="106" y="36"/>
                  </a:lnTo>
                  <a:lnTo>
                    <a:pt x="106" y="37"/>
                  </a:lnTo>
                  <a:lnTo>
                    <a:pt x="106" y="38"/>
                  </a:lnTo>
                  <a:lnTo>
                    <a:pt x="106" y="40"/>
                  </a:lnTo>
                  <a:lnTo>
                    <a:pt x="106" y="42"/>
                  </a:lnTo>
                  <a:lnTo>
                    <a:pt x="107" y="43"/>
                  </a:lnTo>
                  <a:lnTo>
                    <a:pt x="107" y="44"/>
                  </a:lnTo>
                  <a:lnTo>
                    <a:pt x="106" y="44"/>
                  </a:lnTo>
                  <a:lnTo>
                    <a:pt x="106" y="45"/>
                  </a:lnTo>
                  <a:lnTo>
                    <a:pt x="105" y="46"/>
                  </a:lnTo>
                  <a:lnTo>
                    <a:pt x="105" y="47"/>
                  </a:lnTo>
                  <a:lnTo>
                    <a:pt x="105" y="49"/>
                  </a:lnTo>
                  <a:lnTo>
                    <a:pt x="105" y="50"/>
                  </a:lnTo>
                  <a:lnTo>
                    <a:pt x="104" y="50"/>
                  </a:lnTo>
                  <a:lnTo>
                    <a:pt x="101" y="51"/>
                  </a:lnTo>
                  <a:lnTo>
                    <a:pt x="101" y="52"/>
                  </a:lnTo>
                  <a:lnTo>
                    <a:pt x="103" y="52"/>
                  </a:lnTo>
                  <a:lnTo>
                    <a:pt x="101" y="52"/>
                  </a:lnTo>
                  <a:lnTo>
                    <a:pt x="101" y="53"/>
                  </a:lnTo>
                  <a:lnTo>
                    <a:pt x="103" y="54"/>
                  </a:lnTo>
                  <a:lnTo>
                    <a:pt x="103" y="53"/>
                  </a:lnTo>
                  <a:lnTo>
                    <a:pt x="104" y="53"/>
                  </a:lnTo>
                  <a:lnTo>
                    <a:pt x="104" y="54"/>
                  </a:lnTo>
                  <a:lnTo>
                    <a:pt x="104" y="56"/>
                  </a:lnTo>
                  <a:lnTo>
                    <a:pt x="104" y="57"/>
                  </a:lnTo>
                  <a:lnTo>
                    <a:pt x="104" y="58"/>
                  </a:lnTo>
                  <a:lnTo>
                    <a:pt x="103" y="59"/>
                  </a:lnTo>
                  <a:lnTo>
                    <a:pt x="103" y="60"/>
                  </a:lnTo>
                  <a:lnTo>
                    <a:pt x="103" y="61"/>
                  </a:lnTo>
                  <a:lnTo>
                    <a:pt x="104" y="61"/>
                  </a:lnTo>
                  <a:lnTo>
                    <a:pt x="103" y="63"/>
                  </a:lnTo>
                  <a:lnTo>
                    <a:pt x="104" y="63"/>
                  </a:lnTo>
                  <a:lnTo>
                    <a:pt x="104" y="64"/>
                  </a:lnTo>
                  <a:lnTo>
                    <a:pt x="103" y="64"/>
                  </a:lnTo>
                  <a:lnTo>
                    <a:pt x="104" y="64"/>
                  </a:lnTo>
                  <a:lnTo>
                    <a:pt x="104" y="65"/>
                  </a:lnTo>
                  <a:lnTo>
                    <a:pt x="104" y="64"/>
                  </a:lnTo>
                  <a:lnTo>
                    <a:pt x="105" y="64"/>
                  </a:lnTo>
                  <a:lnTo>
                    <a:pt x="105" y="65"/>
                  </a:lnTo>
                  <a:lnTo>
                    <a:pt x="105" y="66"/>
                  </a:lnTo>
                  <a:lnTo>
                    <a:pt x="106" y="66"/>
                  </a:lnTo>
                  <a:lnTo>
                    <a:pt x="106" y="67"/>
                  </a:lnTo>
                  <a:lnTo>
                    <a:pt x="105" y="68"/>
                  </a:lnTo>
                  <a:lnTo>
                    <a:pt x="105" y="70"/>
                  </a:lnTo>
                  <a:lnTo>
                    <a:pt x="104" y="71"/>
                  </a:lnTo>
                  <a:lnTo>
                    <a:pt x="104" y="72"/>
                  </a:lnTo>
                  <a:lnTo>
                    <a:pt x="103" y="72"/>
                  </a:lnTo>
                  <a:lnTo>
                    <a:pt x="103" y="73"/>
                  </a:lnTo>
                  <a:lnTo>
                    <a:pt x="104" y="73"/>
                  </a:lnTo>
                  <a:lnTo>
                    <a:pt x="103" y="73"/>
                  </a:lnTo>
                  <a:lnTo>
                    <a:pt x="103" y="74"/>
                  </a:lnTo>
                  <a:lnTo>
                    <a:pt x="101" y="75"/>
                  </a:lnTo>
                  <a:lnTo>
                    <a:pt x="100" y="77"/>
                  </a:lnTo>
                  <a:lnTo>
                    <a:pt x="100" y="78"/>
                  </a:lnTo>
                  <a:lnTo>
                    <a:pt x="99" y="78"/>
                  </a:lnTo>
                  <a:lnTo>
                    <a:pt x="98" y="78"/>
                  </a:lnTo>
                  <a:lnTo>
                    <a:pt x="98" y="79"/>
                  </a:lnTo>
                  <a:lnTo>
                    <a:pt x="98" y="80"/>
                  </a:lnTo>
                  <a:lnTo>
                    <a:pt x="98" y="81"/>
                  </a:lnTo>
                  <a:lnTo>
                    <a:pt x="98" y="84"/>
                  </a:lnTo>
                  <a:lnTo>
                    <a:pt x="97" y="85"/>
                  </a:lnTo>
                  <a:lnTo>
                    <a:pt x="97" y="86"/>
                  </a:lnTo>
                  <a:lnTo>
                    <a:pt x="96" y="87"/>
                  </a:lnTo>
                  <a:lnTo>
                    <a:pt x="96" y="88"/>
                  </a:lnTo>
                  <a:lnTo>
                    <a:pt x="97" y="89"/>
                  </a:lnTo>
                  <a:lnTo>
                    <a:pt x="97" y="91"/>
                  </a:lnTo>
                  <a:lnTo>
                    <a:pt x="96" y="89"/>
                  </a:lnTo>
                  <a:lnTo>
                    <a:pt x="96" y="91"/>
                  </a:lnTo>
                  <a:lnTo>
                    <a:pt x="94" y="91"/>
                  </a:lnTo>
                  <a:lnTo>
                    <a:pt x="94" y="92"/>
                  </a:lnTo>
                  <a:lnTo>
                    <a:pt x="93" y="93"/>
                  </a:lnTo>
                  <a:lnTo>
                    <a:pt x="92" y="94"/>
                  </a:lnTo>
                  <a:lnTo>
                    <a:pt x="91" y="95"/>
                  </a:lnTo>
                  <a:lnTo>
                    <a:pt x="90" y="96"/>
                  </a:lnTo>
                  <a:lnTo>
                    <a:pt x="90" y="98"/>
                  </a:lnTo>
                  <a:lnTo>
                    <a:pt x="89" y="98"/>
                  </a:lnTo>
                  <a:lnTo>
                    <a:pt x="89" y="99"/>
                  </a:lnTo>
                  <a:lnTo>
                    <a:pt x="87" y="100"/>
                  </a:lnTo>
                  <a:lnTo>
                    <a:pt x="86" y="101"/>
                  </a:lnTo>
                  <a:lnTo>
                    <a:pt x="85" y="102"/>
                  </a:lnTo>
                  <a:lnTo>
                    <a:pt x="84" y="103"/>
                  </a:lnTo>
                  <a:lnTo>
                    <a:pt x="83" y="105"/>
                  </a:lnTo>
                  <a:lnTo>
                    <a:pt x="82" y="106"/>
                  </a:lnTo>
                  <a:lnTo>
                    <a:pt x="80" y="107"/>
                  </a:lnTo>
                  <a:lnTo>
                    <a:pt x="79" y="107"/>
                  </a:lnTo>
                  <a:lnTo>
                    <a:pt x="78" y="107"/>
                  </a:lnTo>
                  <a:lnTo>
                    <a:pt x="78" y="106"/>
                  </a:lnTo>
                  <a:lnTo>
                    <a:pt x="77" y="106"/>
                  </a:lnTo>
                  <a:lnTo>
                    <a:pt x="75" y="106"/>
                  </a:lnTo>
                  <a:lnTo>
                    <a:pt x="73" y="106"/>
                  </a:lnTo>
                  <a:lnTo>
                    <a:pt x="72" y="106"/>
                  </a:lnTo>
                  <a:lnTo>
                    <a:pt x="71" y="106"/>
                  </a:lnTo>
                  <a:lnTo>
                    <a:pt x="70" y="106"/>
                  </a:lnTo>
                  <a:lnTo>
                    <a:pt x="69" y="106"/>
                  </a:lnTo>
                  <a:lnTo>
                    <a:pt x="68" y="106"/>
                  </a:lnTo>
                  <a:lnTo>
                    <a:pt x="68" y="107"/>
                  </a:lnTo>
                  <a:lnTo>
                    <a:pt x="67" y="107"/>
                  </a:lnTo>
                  <a:lnTo>
                    <a:pt x="67" y="106"/>
                  </a:lnTo>
                  <a:lnTo>
                    <a:pt x="65" y="106"/>
                  </a:lnTo>
                  <a:lnTo>
                    <a:pt x="64" y="106"/>
                  </a:lnTo>
                  <a:lnTo>
                    <a:pt x="63" y="105"/>
                  </a:lnTo>
                  <a:lnTo>
                    <a:pt x="62" y="105"/>
                  </a:lnTo>
                  <a:lnTo>
                    <a:pt x="62" y="103"/>
                  </a:lnTo>
                  <a:lnTo>
                    <a:pt x="61" y="103"/>
                  </a:lnTo>
                  <a:lnTo>
                    <a:pt x="60" y="103"/>
                  </a:lnTo>
                  <a:lnTo>
                    <a:pt x="58" y="103"/>
                  </a:lnTo>
                  <a:lnTo>
                    <a:pt x="57" y="103"/>
                  </a:lnTo>
                  <a:lnTo>
                    <a:pt x="56" y="103"/>
                  </a:lnTo>
                  <a:lnTo>
                    <a:pt x="55" y="103"/>
                  </a:lnTo>
                  <a:lnTo>
                    <a:pt x="54" y="103"/>
                  </a:lnTo>
                  <a:lnTo>
                    <a:pt x="53" y="103"/>
                  </a:lnTo>
                  <a:lnTo>
                    <a:pt x="53" y="102"/>
                  </a:lnTo>
                  <a:lnTo>
                    <a:pt x="51" y="102"/>
                  </a:lnTo>
                  <a:lnTo>
                    <a:pt x="50" y="102"/>
                  </a:lnTo>
                  <a:lnTo>
                    <a:pt x="49" y="101"/>
                  </a:lnTo>
                  <a:lnTo>
                    <a:pt x="49" y="100"/>
                  </a:lnTo>
                  <a:lnTo>
                    <a:pt x="49" y="99"/>
                  </a:lnTo>
                  <a:lnTo>
                    <a:pt x="50" y="99"/>
                  </a:lnTo>
                  <a:lnTo>
                    <a:pt x="50" y="98"/>
                  </a:lnTo>
                  <a:lnTo>
                    <a:pt x="49" y="98"/>
                  </a:lnTo>
                  <a:lnTo>
                    <a:pt x="48" y="98"/>
                  </a:lnTo>
                  <a:lnTo>
                    <a:pt x="47" y="98"/>
                  </a:lnTo>
                  <a:lnTo>
                    <a:pt x="46" y="96"/>
                  </a:lnTo>
                  <a:lnTo>
                    <a:pt x="44" y="96"/>
                  </a:lnTo>
                  <a:lnTo>
                    <a:pt x="44" y="95"/>
                  </a:lnTo>
                  <a:lnTo>
                    <a:pt x="43" y="95"/>
                  </a:lnTo>
                  <a:lnTo>
                    <a:pt x="42" y="95"/>
                  </a:lnTo>
                  <a:lnTo>
                    <a:pt x="41" y="95"/>
                  </a:lnTo>
                  <a:lnTo>
                    <a:pt x="40" y="94"/>
                  </a:lnTo>
                  <a:lnTo>
                    <a:pt x="37" y="94"/>
                  </a:lnTo>
                  <a:lnTo>
                    <a:pt x="36" y="94"/>
                  </a:lnTo>
                  <a:lnTo>
                    <a:pt x="35" y="94"/>
                  </a:lnTo>
                  <a:lnTo>
                    <a:pt x="35" y="93"/>
                  </a:lnTo>
                  <a:lnTo>
                    <a:pt x="35" y="92"/>
                  </a:lnTo>
                  <a:lnTo>
                    <a:pt x="35" y="91"/>
                  </a:lnTo>
                  <a:lnTo>
                    <a:pt x="34" y="91"/>
                  </a:lnTo>
                  <a:lnTo>
                    <a:pt x="34" y="89"/>
                  </a:lnTo>
                  <a:lnTo>
                    <a:pt x="34" y="88"/>
                  </a:lnTo>
                  <a:lnTo>
                    <a:pt x="33" y="88"/>
                  </a:lnTo>
                  <a:lnTo>
                    <a:pt x="32" y="87"/>
                  </a:lnTo>
                  <a:lnTo>
                    <a:pt x="32" y="86"/>
                  </a:lnTo>
                  <a:lnTo>
                    <a:pt x="32" y="85"/>
                  </a:lnTo>
                  <a:lnTo>
                    <a:pt x="32" y="84"/>
                  </a:lnTo>
                  <a:lnTo>
                    <a:pt x="32" y="82"/>
                  </a:lnTo>
                  <a:lnTo>
                    <a:pt x="33" y="81"/>
                  </a:lnTo>
                  <a:lnTo>
                    <a:pt x="33" y="80"/>
                  </a:lnTo>
                  <a:lnTo>
                    <a:pt x="32" y="79"/>
                  </a:lnTo>
                  <a:lnTo>
                    <a:pt x="33" y="78"/>
                  </a:lnTo>
                  <a:lnTo>
                    <a:pt x="32" y="77"/>
                  </a:lnTo>
                  <a:lnTo>
                    <a:pt x="30" y="77"/>
                  </a:lnTo>
                  <a:lnTo>
                    <a:pt x="29" y="77"/>
                  </a:lnTo>
                  <a:lnTo>
                    <a:pt x="27" y="77"/>
                  </a:lnTo>
                  <a:lnTo>
                    <a:pt x="27" y="74"/>
                  </a:lnTo>
                  <a:lnTo>
                    <a:pt x="27" y="73"/>
                  </a:lnTo>
                  <a:lnTo>
                    <a:pt x="26" y="71"/>
                  </a:lnTo>
                  <a:lnTo>
                    <a:pt x="25" y="71"/>
                  </a:lnTo>
                  <a:lnTo>
                    <a:pt x="23" y="70"/>
                  </a:lnTo>
                  <a:lnTo>
                    <a:pt x="22" y="70"/>
                  </a:lnTo>
                  <a:lnTo>
                    <a:pt x="20" y="68"/>
                  </a:lnTo>
                  <a:lnTo>
                    <a:pt x="19" y="68"/>
                  </a:lnTo>
                  <a:lnTo>
                    <a:pt x="19" y="67"/>
                  </a:lnTo>
                  <a:lnTo>
                    <a:pt x="18" y="67"/>
                  </a:lnTo>
                  <a:lnTo>
                    <a:pt x="18" y="66"/>
                  </a:lnTo>
                  <a:lnTo>
                    <a:pt x="16" y="66"/>
                  </a:lnTo>
                  <a:lnTo>
                    <a:pt x="16" y="65"/>
                  </a:lnTo>
                  <a:lnTo>
                    <a:pt x="15" y="65"/>
                  </a:lnTo>
                  <a:lnTo>
                    <a:pt x="15" y="64"/>
                  </a:lnTo>
                  <a:lnTo>
                    <a:pt x="14" y="64"/>
                  </a:lnTo>
                  <a:lnTo>
                    <a:pt x="14" y="63"/>
                  </a:lnTo>
                  <a:lnTo>
                    <a:pt x="13" y="63"/>
                  </a:lnTo>
                  <a:lnTo>
                    <a:pt x="12" y="63"/>
                  </a:lnTo>
                  <a:lnTo>
                    <a:pt x="12" y="61"/>
                  </a:lnTo>
                  <a:lnTo>
                    <a:pt x="11" y="57"/>
                  </a:lnTo>
                  <a:lnTo>
                    <a:pt x="9" y="57"/>
                  </a:lnTo>
                  <a:lnTo>
                    <a:pt x="9" y="56"/>
                  </a:lnTo>
                  <a:lnTo>
                    <a:pt x="9" y="54"/>
                  </a:lnTo>
                  <a:lnTo>
                    <a:pt x="9" y="53"/>
                  </a:lnTo>
                  <a:lnTo>
                    <a:pt x="9" y="52"/>
                  </a:lnTo>
                  <a:lnTo>
                    <a:pt x="7" y="51"/>
                  </a:lnTo>
                  <a:lnTo>
                    <a:pt x="7" y="50"/>
                  </a:lnTo>
                  <a:lnTo>
                    <a:pt x="7" y="49"/>
                  </a:lnTo>
                  <a:lnTo>
                    <a:pt x="7" y="47"/>
                  </a:lnTo>
                  <a:lnTo>
                    <a:pt x="6" y="47"/>
                  </a:lnTo>
                  <a:lnTo>
                    <a:pt x="6" y="46"/>
                  </a:lnTo>
                  <a:lnTo>
                    <a:pt x="5" y="45"/>
                  </a:lnTo>
                  <a:lnTo>
                    <a:pt x="4" y="44"/>
                  </a:lnTo>
                  <a:lnTo>
                    <a:pt x="4" y="43"/>
                  </a:lnTo>
                  <a:lnTo>
                    <a:pt x="3" y="42"/>
                  </a:lnTo>
                  <a:lnTo>
                    <a:pt x="3" y="40"/>
                  </a:lnTo>
                  <a:lnTo>
                    <a:pt x="3" y="39"/>
                  </a:lnTo>
                  <a:lnTo>
                    <a:pt x="1" y="39"/>
                  </a:lnTo>
                  <a:lnTo>
                    <a:pt x="0" y="38"/>
                  </a:lnTo>
                  <a:lnTo>
                    <a:pt x="0" y="37"/>
                  </a:lnTo>
                  <a:lnTo>
                    <a:pt x="0" y="36"/>
                  </a:lnTo>
                  <a:lnTo>
                    <a:pt x="0" y="35"/>
                  </a:lnTo>
                  <a:lnTo>
                    <a:pt x="1" y="35"/>
                  </a:lnTo>
                  <a:lnTo>
                    <a:pt x="3" y="35"/>
                  </a:lnTo>
                  <a:lnTo>
                    <a:pt x="3" y="36"/>
                  </a:lnTo>
                  <a:lnTo>
                    <a:pt x="4" y="36"/>
                  </a:lnTo>
                  <a:lnTo>
                    <a:pt x="5" y="36"/>
                  </a:lnTo>
                  <a:lnTo>
                    <a:pt x="5" y="35"/>
                  </a:lnTo>
                  <a:lnTo>
                    <a:pt x="6" y="35"/>
                  </a:lnTo>
                  <a:lnTo>
                    <a:pt x="7" y="35"/>
                  </a:lnTo>
                  <a:lnTo>
                    <a:pt x="7" y="36"/>
                  </a:lnTo>
                  <a:lnTo>
                    <a:pt x="8" y="36"/>
                  </a:lnTo>
                  <a:lnTo>
                    <a:pt x="8" y="37"/>
                  </a:lnTo>
                  <a:lnTo>
                    <a:pt x="9" y="38"/>
                  </a:lnTo>
                  <a:lnTo>
                    <a:pt x="11" y="38"/>
                  </a:lnTo>
                  <a:lnTo>
                    <a:pt x="11" y="37"/>
                  </a:lnTo>
                  <a:lnTo>
                    <a:pt x="12" y="37"/>
                  </a:lnTo>
                  <a:lnTo>
                    <a:pt x="13" y="37"/>
                  </a:lnTo>
                  <a:lnTo>
                    <a:pt x="13" y="36"/>
                  </a:lnTo>
                  <a:lnTo>
                    <a:pt x="14" y="36"/>
                  </a:lnTo>
                  <a:lnTo>
                    <a:pt x="15" y="37"/>
                  </a:lnTo>
                  <a:lnTo>
                    <a:pt x="16" y="37"/>
                  </a:lnTo>
                  <a:lnTo>
                    <a:pt x="18" y="37"/>
                  </a:lnTo>
                  <a:lnTo>
                    <a:pt x="18" y="38"/>
                  </a:lnTo>
                  <a:lnTo>
                    <a:pt x="19" y="38"/>
                  </a:lnTo>
                  <a:lnTo>
                    <a:pt x="20" y="38"/>
                  </a:lnTo>
                  <a:lnTo>
                    <a:pt x="20" y="39"/>
                  </a:lnTo>
                  <a:lnTo>
                    <a:pt x="20" y="38"/>
                  </a:lnTo>
                  <a:lnTo>
                    <a:pt x="21" y="38"/>
                  </a:lnTo>
                  <a:lnTo>
                    <a:pt x="22" y="37"/>
                  </a:lnTo>
                  <a:lnTo>
                    <a:pt x="23" y="37"/>
                  </a:lnTo>
                  <a:lnTo>
                    <a:pt x="25" y="37"/>
                  </a:lnTo>
                  <a:lnTo>
                    <a:pt x="26" y="37"/>
                  </a:lnTo>
                  <a:lnTo>
                    <a:pt x="25" y="37"/>
                  </a:lnTo>
                  <a:lnTo>
                    <a:pt x="26" y="37"/>
                  </a:lnTo>
                  <a:lnTo>
                    <a:pt x="26" y="36"/>
                  </a:lnTo>
                  <a:lnTo>
                    <a:pt x="27" y="36"/>
                  </a:lnTo>
                  <a:lnTo>
                    <a:pt x="27" y="35"/>
                  </a:lnTo>
                  <a:lnTo>
                    <a:pt x="28" y="35"/>
                  </a:lnTo>
                  <a:lnTo>
                    <a:pt x="28" y="33"/>
                  </a:lnTo>
                  <a:lnTo>
                    <a:pt x="27" y="33"/>
                  </a:lnTo>
                  <a:lnTo>
                    <a:pt x="29" y="31"/>
                  </a:lnTo>
                  <a:lnTo>
                    <a:pt x="30" y="31"/>
                  </a:lnTo>
                  <a:lnTo>
                    <a:pt x="32" y="30"/>
                  </a:lnTo>
                  <a:lnTo>
                    <a:pt x="30" y="31"/>
                  </a:lnTo>
                  <a:lnTo>
                    <a:pt x="30" y="30"/>
                  </a:lnTo>
                  <a:lnTo>
                    <a:pt x="32" y="30"/>
                  </a:lnTo>
                  <a:lnTo>
                    <a:pt x="33" y="30"/>
                  </a:lnTo>
                  <a:lnTo>
                    <a:pt x="33" y="29"/>
                  </a:lnTo>
                  <a:lnTo>
                    <a:pt x="33" y="28"/>
                  </a:lnTo>
                  <a:lnTo>
                    <a:pt x="34" y="28"/>
                  </a:lnTo>
                  <a:lnTo>
                    <a:pt x="34" y="26"/>
                  </a:lnTo>
                  <a:lnTo>
                    <a:pt x="34" y="25"/>
                  </a:lnTo>
                  <a:lnTo>
                    <a:pt x="35" y="25"/>
                  </a:lnTo>
                  <a:lnTo>
                    <a:pt x="34" y="25"/>
                  </a:lnTo>
                  <a:lnTo>
                    <a:pt x="35" y="25"/>
                  </a:lnTo>
                  <a:lnTo>
                    <a:pt x="35" y="24"/>
                  </a:lnTo>
                  <a:lnTo>
                    <a:pt x="36" y="24"/>
                  </a:lnTo>
                  <a:lnTo>
                    <a:pt x="37" y="24"/>
                  </a:lnTo>
                  <a:lnTo>
                    <a:pt x="37" y="23"/>
                  </a:lnTo>
                  <a:lnTo>
                    <a:pt x="39" y="23"/>
                  </a:lnTo>
                  <a:lnTo>
                    <a:pt x="39" y="22"/>
                  </a:lnTo>
                  <a:lnTo>
                    <a:pt x="39" y="23"/>
                  </a:lnTo>
                  <a:lnTo>
                    <a:pt x="40" y="23"/>
                  </a:lnTo>
                  <a:lnTo>
                    <a:pt x="40" y="22"/>
                  </a:lnTo>
                  <a:lnTo>
                    <a:pt x="41" y="22"/>
                  </a:lnTo>
                  <a:lnTo>
                    <a:pt x="40" y="22"/>
                  </a:lnTo>
                  <a:lnTo>
                    <a:pt x="40" y="21"/>
                  </a:lnTo>
                  <a:lnTo>
                    <a:pt x="40" y="19"/>
                  </a:lnTo>
                  <a:lnTo>
                    <a:pt x="41" y="19"/>
                  </a:lnTo>
                  <a:lnTo>
                    <a:pt x="42" y="18"/>
                  </a:lnTo>
                  <a:lnTo>
                    <a:pt x="42" y="19"/>
                  </a:lnTo>
                  <a:lnTo>
                    <a:pt x="43" y="19"/>
                  </a:lnTo>
                  <a:lnTo>
                    <a:pt x="43" y="18"/>
                  </a:lnTo>
                  <a:lnTo>
                    <a:pt x="44" y="18"/>
                  </a:lnTo>
                  <a:lnTo>
                    <a:pt x="44" y="19"/>
                  </a:lnTo>
                  <a:lnTo>
                    <a:pt x="46" y="19"/>
                  </a:lnTo>
                  <a:lnTo>
                    <a:pt x="46" y="21"/>
                  </a:lnTo>
                  <a:lnTo>
                    <a:pt x="46" y="19"/>
                  </a:lnTo>
                  <a:lnTo>
                    <a:pt x="44" y="19"/>
                  </a:lnTo>
                  <a:lnTo>
                    <a:pt x="44" y="18"/>
                  </a:lnTo>
                  <a:lnTo>
                    <a:pt x="46" y="19"/>
                  </a:lnTo>
                  <a:lnTo>
                    <a:pt x="46" y="18"/>
                  </a:lnTo>
                  <a:lnTo>
                    <a:pt x="47" y="18"/>
                  </a:lnTo>
                  <a:lnTo>
                    <a:pt x="47" y="17"/>
                  </a:lnTo>
                  <a:lnTo>
                    <a:pt x="48" y="17"/>
                  </a:lnTo>
                  <a:lnTo>
                    <a:pt x="49" y="17"/>
                  </a:lnTo>
                  <a:lnTo>
                    <a:pt x="48" y="18"/>
                  </a:lnTo>
                  <a:lnTo>
                    <a:pt x="49" y="18"/>
                  </a:lnTo>
                  <a:lnTo>
                    <a:pt x="50" y="18"/>
                  </a:lnTo>
                  <a:lnTo>
                    <a:pt x="50" y="17"/>
                  </a:lnTo>
                  <a:lnTo>
                    <a:pt x="51" y="16"/>
                  </a:lnTo>
                  <a:lnTo>
                    <a:pt x="51" y="17"/>
                  </a:lnTo>
                  <a:lnTo>
                    <a:pt x="51" y="16"/>
                  </a:lnTo>
                  <a:lnTo>
                    <a:pt x="53" y="16"/>
                  </a:lnTo>
                  <a:lnTo>
                    <a:pt x="51" y="16"/>
                  </a:lnTo>
                  <a:lnTo>
                    <a:pt x="53" y="16"/>
                  </a:lnTo>
                  <a:lnTo>
                    <a:pt x="51" y="16"/>
                  </a:lnTo>
                  <a:lnTo>
                    <a:pt x="53" y="15"/>
                  </a:lnTo>
                  <a:lnTo>
                    <a:pt x="51" y="15"/>
                  </a:lnTo>
                  <a:lnTo>
                    <a:pt x="50" y="15"/>
                  </a:lnTo>
                  <a:lnTo>
                    <a:pt x="51" y="15"/>
                  </a:lnTo>
                  <a:lnTo>
                    <a:pt x="50" y="15"/>
                  </a:lnTo>
                  <a:lnTo>
                    <a:pt x="49" y="15"/>
                  </a:lnTo>
                  <a:lnTo>
                    <a:pt x="49" y="14"/>
                  </a:lnTo>
                  <a:lnTo>
                    <a:pt x="50" y="14"/>
                  </a:lnTo>
                  <a:lnTo>
                    <a:pt x="50" y="12"/>
                  </a:lnTo>
                  <a:lnTo>
                    <a:pt x="51" y="12"/>
                  </a:lnTo>
                  <a:lnTo>
                    <a:pt x="51" y="11"/>
                  </a:lnTo>
                  <a:lnTo>
                    <a:pt x="50" y="11"/>
                  </a:lnTo>
                  <a:lnTo>
                    <a:pt x="50" y="10"/>
                  </a:lnTo>
                  <a:lnTo>
                    <a:pt x="51" y="10"/>
                  </a:lnTo>
                  <a:lnTo>
                    <a:pt x="50" y="9"/>
                  </a:lnTo>
                  <a:lnTo>
                    <a:pt x="51" y="9"/>
                  </a:lnTo>
                  <a:lnTo>
                    <a:pt x="51" y="8"/>
                  </a:lnTo>
                  <a:lnTo>
                    <a:pt x="51" y="7"/>
                  </a:lnTo>
                  <a:lnTo>
                    <a:pt x="51" y="5"/>
                  </a:lnTo>
                  <a:lnTo>
                    <a:pt x="53" y="5"/>
                  </a:lnTo>
                  <a:lnTo>
                    <a:pt x="54" y="5"/>
                  </a:lnTo>
                  <a:lnTo>
                    <a:pt x="54" y="4"/>
                  </a:lnTo>
                  <a:lnTo>
                    <a:pt x="55" y="4"/>
                  </a:lnTo>
                  <a:lnTo>
                    <a:pt x="55" y="3"/>
                  </a:lnTo>
                  <a:lnTo>
                    <a:pt x="56" y="3"/>
                  </a:lnTo>
                  <a:lnTo>
                    <a:pt x="58" y="2"/>
                  </a:lnTo>
                  <a:lnTo>
                    <a:pt x="60" y="2"/>
                  </a:lnTo>
                  <a:lnTo>
                    <a:pt x="61" y="1"/>
                  </a:lnTo>
                  <a:lnTo>
                    <a:pt x="62" y="1"/>
                  </a:lnTo>
                  <a:lnTo>
                    <a:pt x="63" y="1"/>
                  </a:lnTo>
                  <a:lnTo>
                    <a:pt x="64" y="1"/>
                  </a:lnTo>
                  <a:lnTo>
                    <a:pt x="64" y="0"/>
                  </a:lnTo>
                  <a:lnTo>
                    <a:pt x="65" y="0"/>
                  </a:lnTo>
                  <a:lnTo>
                    <a:pt x="67" y="1"/>
                  </a:lnTo>
                  <a:lnTo>
                    <a:pt x="68" y="1"/>
                  </a:lnTo>
                  <a:lnTo>
                    <a:pt x="69" y="0"/>
                  </a:lnTo>
                  <a:lnTo>
                    <a:pt x="70" y="1"/>
                  </a:lnTo>
                  <a:lnTo>
                    <a:pt x="70" y="0"/>
                  </a:lnTo>
                  <a:lnTo>
                    <a:pt x="71" y="0"/>
                  </a:lnTo>
                  <a:lnTo>
                    <a:pt x="71" y="1"/>
                  </a:lnTo>
                  <a:lnTo>
                    <a:pt x="7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84" name="Rectangle 1048">
              <a:extLst>
                <a:ext uri="{FF2B5EF4-FFF2-40B4-BE49-F238E27FC236}">
                  <a16:creationId xmlns:a16="http://schemas.microsoft.com/office/drawing/2014/main" id="{E0C86450-1854-4C82-8148-1780B9FFF18A}"/>
                </a:ext>
              </a:extLst>
            </p:cNvPr>
            <p:cNvSpPr>
              <a:spLocks noChangeArrowheads="1"/>
            </p:cNvSpPr>
            <p:nvPr/>
          </p:nvSpPr>
          <p:spPr bwMode="auto">
            <a:xfrm>
              <a:off x="6164338" y="2484467"/>
              <a:ext cx="1336" cy="1336"/>
            </a:xfrm>
            <a:prstGeom prst="rect">
              <a:avLst/>
            </a:prstGeom>
            <a:solidFill>
              <a:srgbClr val="D2D2D2"/>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it-IT" dirty="0"/>
            </a:p>
          </p:txBody>
        </p:sp>
        <p:sp>
          <p:nvSpPr>
            <p:cNvPr id="285" name="Rectangle 1049">
              <a:extLst>
                <a:ext uri="{FF2B5EF4-FFF2-40B4-BE49-F238E27FC236}">
                  <a16:creationId xmlns:a16="http://schemas.microsoft.com/office/drawing/2014/main" id="{6C9AE641-6B27-40B5-8FB7-AE03199C155E}"/>
                </a:ext>
              </a:extLst>
            </p:cNvPr>
            <p:cNvSpPr>
              <a:spLocks noChangeArrowheads="1"/>
            </p:cNvSpPr>
            <p:nvPr/>
          </p:nvSpPr>
          <p:spPr bwMode="auto">
            <a:xfrm>
              <a:off x="6134958" y="2455086"/>
              <a:ext cx="1336" cy="1336"/>
            </a:xfrm>
            <a:prstGeom prst="rect">
              <a:avLst/>
            </a:prstGeom>
            <a:solidFill>
              <a:srgbClr val="D2D2D2"/>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it-IT" dirty="0"/>
            </a:p>
          </p:txBody>
        </p:sp>
        <p:sp>
          <p:nvSpPr>
            <p:cNvPr id="286" name="Freeform 1050">
              <a:extLst>
                <a:ext uri="{FF2B5EF4-FFF2-40B4-BE49-F238E27FC236}">
                  <a16:creationId xmlns:a16="http://schemas.microsoft.com/office/drawing/2014/main" id="{FF1B0D86-F377-4096-9A18-FF61F5065BA4}"/>
                </a:ext>
              </a:extLst>
            </p:cNvPr>
            <p:cNvSpPr>
              <a:spLocks/>
            </p:cNvSpPr>
            <p:nvPr/>
          </p:nvSpPr>
          <p:spPr bwMode="auto">
            <a:xfrm>
              <a:off x="6134958" y="2447073"/>
              <a:ext cx="30717" cy="64103"/>
            </a:xfrm>
            <a:custGeom>
              <a:avLst/>
              <a:gdLst>
                <a:gd name="T0" fmla="*/ 5 w 23"/>
                <a:gd name="T1" fmla="*/ 4 h 48"/>
                <a:gd name="T2" fmla="*/ 7 w 23"/>
                <a:gd name="T3" fmla="*/ 2 h 48"/>
                <a:gd name="T4" fmla="*/ 8 w 23"/>
                <a:gd name="T5" fmla="*/ 2 h 48"/>
                <a:gd name="T6" fmla="*/ 10 w 23"/>
                <a:gd name="T7" fmla="*/ 5 h 48"/>
                <a:gd name="T8" fmla="*/ 13 w 23"/>
                <a:gd name="T9" fmla="*/ 6 h 48"/>
                <a:gd name="T10" fmla="*/ 15 w 23"/>
                <a:gd name="T11" fmla="*/ 8 h 48"/>
                <a:gd name="T12" fmla="*/ 16 w 23"/>
                <a:gd name="T13" fmla="*/ 12 h 48"/>
                <a:gd name="T14" fmla="*/ 16 w 23"/>
                <a:gd name="T15" fmla="*/ 13 h 48"/>
                <a:gd name="T16" fmla="*/ 15 w 23"/>
                <a:gd name="T17" fmla="*/ 15 h 48"/>
                <a:gd name="T18" fmla="*/ 16 w 23"/>
                <a:gd name="T19" fmla="*/ 18 h 48"/>
                <a:gd name="T20" fmla="*/ 15 w 23"/>
                <a:gd name="T21" fmla="*/ 20 h 48"/>
                <a:gd name="T22" fmla="*/ 15 w 23"/>
                <a:gd name="T23" fmla="*/ 21 h 48"/>
                <a:gd name="T24" fmla="*/ 17 w 23"/>
                <a:gd name="T25" fmla="*/ 23 h 48"/>
                <a:gd name="T26" fmla="*/ 19 w 23"/>
                <a:gd name="T27" fmla="*/ 26 h 48"/>
                <a:gd name="T28" fmla="*/ 20 w 23"/>
                <a:gd name="T29" fmla="*/ 28 h 48"/>
                <a:gd name="T30" fmla="*/ 22 w 23"/>
                <a:gd name="T31" fmla="*/ 29 h 48"/>
                <a:gd name="T32" fmla="*/ 22 w 23"/>
                <a:gd name="T33" fmla="*/ 30 h 48"/>
                <a:gd name="T34" fmla="*/ 23 w 23"/>
                <a:gd name="T35" fmla="*/ 33 h 48"/>
                <a:gd name="T36" fmla="*/ 22 w 23"/>
                <a:gd name="T37" fmla="*/ 35 h 48"/>
                <a:gd name="T38" fmla="*/ 21 w 23"/>
                <a:gd name="T39" fmla="*/ 36 h 48"/>
                <a:gd name="T40" fmla="*/ 20 w 23"/>
                <a:gd name="T41" fmla="*/ 39 h 48"/>
                <a:gd name="T42" fmla="*/ 19 w 23"/>
                <a:gd name="T43" fmla="*/ 41 h 48"/>
                <a:gd name="T44" fmla="*/ 16 w 23"/>
                <a:gd name="T45" fmla="*/ 42 h 48"/>
                <a:gd name="T46" fmla="*/ 16 w 23"/>
                <a:gd name="T47" fmla="*/ 43 h 48"/>
                <a:gd name="T48" fmla="*/ 15 w 23"/>
                <a:gd name="T49" fmla="*/ 44 h 48"/>
                <a:gd name="T50" fmla="*/ 14 w 23"/>
                <a:gd name="T51" fmla="*/ 47 h 48"/>
                <a:gd name="T52" fmla="*/ 13 w 23"/>
                <a:gd name="T53" fmla="*/ 47 h 48"/>
                <a:gd name="T54" fmla="*/ 12 w 23"/>
                <a:gd name="T55" fmla="*/ 44 h 48"/>
                <a:gd name="T56" fmla="*/ 9 w 23"/>
                <a:gd name="T57" fmla="*/ 42 h 48"/>
                <a:gd name="T58" fmla="*/ 8 w 23"/>
                <a:gd name="T59" fmla="*/ 40 h 48"/>
                <a:gd name="T60" fmla="*/ 6 w 23"/>
                <a:gd name="T61" fmla="*/ 39 h 48"/>
                <a:gd name="T62" fmla="*/ 2 w 23"/>
                <a:gd name="T63" fmla="*/ 37 h 48"/>
                <a:gd name="T64" fmla="*/ 1 w 23"/>
                <a:gd name="T65" fmla="*/ 35 h 48"/>
                <a:gd name="T66" fmla="*/ 3 w 23"/>
                <a:gd name="T67" fmla="*/ 36 h 48"/>
                <a:gd name="T68" fmla="*/ 3 w 23"/>
                <a:gd name="T69" fmla="*/ 34 h 48"/>
                <a:gd name="T70" fmla="*/ 3 w 23"/>
                <a:gd name="T71" fmla="*/ 33 h 48"/>
                <a:gd name="T72" fmla="*/ 2 w 23"/>
                <a:gd name="T73" fmla="*/ 32 h 48"/>
                <a:gd name="T74" fmla="*/ 2 w 23"/>
                <a:gd name="T75" fmla="*/ 28 h 48"/>
                <a:gd name="T76" fmla="*/ 3 w 23"/>
                <a:gd name="T77" fmla="*/ 28 h 48"/>
                <a:gd name="T78" fmla="*/ 3 w 23"/>
                <a:gd name="T79" fmla="*/ 27 h 48"/>
                <a:gd name="T80" fmla="*/ 2 w 23"/>
                <a:gd name="T81" fmla="*/ 25 h 48"/>
                <a:gd name="T82" fmla="*/ 3 w 23"/>
                <a:gd name="T83" fmla="*/ 22 h 48"/>
                <a:gd name="T84" fmla="*/ 2 w 23"/>
                <a:gd name="T85" fmla="*/ 20 h 48"/>
                <a:gd name="T86" fmla="*/ 2 w 23"/>
                <a:gd name="T87" fmla="*/ 19 h 48"/>
                <a:gd name="T88" fmla="*/ 2 w 23"/>
                <a:gd name="T89" fmla="*/ 18 h 48"/>
                <a:gd name="T90" fmla="*/ 5 w 23"/>
                <a:gd name="T91" fmla="*/ 16 h 48"/>
                <a:gd name="T92" fmla="*/ 3 w 23"/>
                <a:gd name="T93" fmla="*/ 14 h 48"/>
                <a:gd name="T94" fmla="*/ 1 w 23"/>
                <a:gd name="T95" fmla="*/ 13 h 48"/>
                <a:gd name="T96" fmla="*/ 0 w 23"/>
                <a:gd name="T97" fmla="*/ 11 h 48"/>
                <a:gd name="T98" fmla="*/ 0 w 23"/>
                <a:gd name="T99" fmla="*/ 9 h 48"/>
                <a:gd name="T100" fmla="*/ 2 w 23"/>
                <a:gd name="T101" fmla="*/ 8 h 48"/>
                <a:gd name="T102" fmla="*/ 0 w 23"/>
                <a:gd name="T103" fmla="*/ 7 h 48"/>
                <a:gd name="T104" fmla="*/ 1 w 23"/>
                <a:gd name="T105" fmla="*/ 5 h 48"/>
                <a:gd name="T106" fmla="*/ 1 w 23"/>
                <a:gd name="T107" fmla="*/ 5 h 48"/>
                <a:gd name="T108" fmla="*/ 2 w 23"/>
                <a:gd name="T109" fmla="*/ 2 h 48"/>
                <a:gd name="T110" fmla="*/ 3 w 23"/>
                <a:gd name="T11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 h="48">
                  <a:moveTo>
                    <a:pt x="5" y="1"/>
                  </a:moveTo>
                  <a:lnTo>
                    <a:pt x="5" y="2"/>
                  </a:lnTo>
                  <a:lnTo>
                    <a:pt x="5" y="4"/>
                  </a:lnTo>
                  <a:lnTo>
                    <a:pt x="6" y="4"/>
                  </a:lnTo>
                  <a:lnTo>
                    <a:pt x="6" y="2"/>
                  </a:lnTo>
                  <a:lnTo>
                    <a:pt x="7" y="2"/>
                  </a:lnTo>
                  <a:lnTo>
                    <a:pt x="8" y="2"/>
                  </a:lnTo>
                  <a:lnTo>
                    <a:pt x="8" y="1"/>
                  </a:lnTo>
                  <a:lnTo>
                    <a:pt x="8" y="2"/>
                  </a:lnTo>
                  <a:lnTo>
                    <a:pt x="9" y="2"/>
                  </a:lnTo>
                  <a:lnTo>
                    <a:pt x="10" y="4"/>
                  </a:lnTo>
                  <a:lnTo>
                    <a:pt x="10" y="5"/>
                  </a:lnTo>
                  <a:lnTo>
                    <a:pt x="10" y="6"/>
                  </a:lnTo>
                  <a:lnTo>
                    <a:pt x="12" y="6"/>
                  </a:lnTo>
                  <a:lnTo>
                    <a:pt x="13" y="6"/>
                  </a:lnTo>
                  <a:lnTo>
                    <a:pt x="14" y="7"/>
                  </a:lnTo>
                  <a:lnTo>
                    <a:pt x="15" y="7"/>
                  </a:lnTo>
                  <a:lnTo>
                    <a:pt x="15" y="8"/>
                  </a:lnTo>
                  <a:lnTo>
                    <a:pt x="15" y="9"/>
                  </a:lnTo>
                  <a:lnTo>
                    <a:pt x="16" y="11"/>
                  </a:lnTo>
                  <a:lnTo>
                    <a:pt x="16" y="12"/>
                  </a:lnTo>
                  <a:lnTo>
                    <a:pt x="16" y="13"/>
                  </a:lnTo>
                  <a:lnTo>
                    <a:pt x="15" y="13"/>
                  </a:lnTo>
                  <a:lnTo>
                    <a:pt x="16" y="13"/>
                  </a:lnTo>
                  <a:lnTo>
                    <a:pt x="16" y="14"/>
                  </a:lnTo>
                  <a:lnTo>
                    <a:pt x="15" y="14"/>
                  </a:lnTo>
                  <a:lnTo>
                    <a:pt x="15" y="15"/>
                  </a:lnTo>
                  <a:lnTo>
                    <a:pt x="15" y="16"/>
                  </a:lnTo>
                  <a:lnTo>
                    <a:pt x="16" y="16"/>
                  </a:lnTo>
                  <a:lnTo>
                    <a:pt x="16" y="18"/>
                  </a:lnTo>
                  <a:lnTo>
                    <a:pt x="15" y="18"/>
                  </a:lnTo>
                  <a:lnTo>
                    <a:pt x="15" y="19"/>
                  </a:lnTo>
                  <a:lnTo>
                    <a:pt x="15" y="20"/>
                  </a:lnTo>
                  <a:lnTo>
                    <a:pt x="16" y="20"/>
                  </a:lnTo>
                  <a:lnTo>
                    <a:pt x="16" y="21"/>
                  </a:lnTo>
                  <a:lnTo>
                    <a:pt x="15" y="21"/>
                  </a:lnTo>
                  <a:lnTo>
                    <a:pt x="16" y="22"/>
                  </a:lnTo>
                  <a:lnTo>
                    <a:pt x="16" y="23"/>
                  </a:lnTo>
                  <a:lnTo>
                    <a:pt x="17" y="23"/>
                  </a:lnTo>
                  <a:lnTo>
                    <a:pt x="17" y="25"/>
                  </a:lnTo>
                  <a:lnTo>
                    <a:pt x="19" y="25"/>
                  </a:lnTo>
                  <a:lnTo>
                    <a:pt x="19" y="26"/>
                  </a:lnTo>
                  <a:lnTo>
                    <a:pt x="19" y="27"/>
                  </a:lnTo>
                  <a:lnTo>
                    <a:pt x="19" y="28"/>
                  </a:lnTo>
                  <a:lnTo>
                    <a:pt x="20" y="28"/>
                  </a:lnTo>
                  <a:lnTo>
                    <a:pt x="21" y="27"/>
                  </a:lnTo>
                  <a:lnTo>
                    <a:pt x="22" y="28"/>
                  </a:lnTo>
                  <a:lnTo>
                    <a:pt x="22" y="29"/>
                  </a:lnTo>
                  <a:lnTo>
                    <a:pt x="22" y="30"/>
                  </a:lnTo>
                  <a:lnTo>
                    <a:pt x="22" y="29"/>
                  </a:lnTo>
                  <a:lnTo>
                    <a:pt x="22" y="30"/>
                  </a:lnTo>
                  <a:lnTo>
                    <a:pt x="23" y="30"/>
                  </a:lnTo>
                  <a:lnTo>
                    <a:pt x="23" y="32"/>
                  </a:lnTo>
                  <a:lnTo>
                    <a:pt x="23" y="33"/>
                  </a:lnTo>
                  <a:lnTo>
                    <a:pt x="23" y="34"/>
                  </a:lnTo>
                  <a:lnTo>
                    <a:pt x="22" y="34"/>
                  </a:lnTo>
                  <a:lnTo>
                    <a:pt x="22" y="35"/>
                  </a:lnTo>
                  <a:lnTo>
                    <a:pt x="22" y="34"/>
                  </a:lnTo>
                  <a:lnTo>
                    <a:pt x="21" y="35"/>
                  </a:lnTo>
                  <a:lnTo>
                    <a:pt x="21" y="36"/>
                  </a:lnTo>
                  <a:lnTo>
                    <a:pt x="21" y="37"/>
                  </a:lnTo>
                  <a:lnTo>
                    <a:pt x="20" y="37"/>
                  </a:lnTo>
                  <a:lnTo>
                    <a:pt x="20" y="39"/>
                  </a:lnTo>
                  <a:lnTo>
                    <a:pt x="20" y="40"/>
                  </a:lnTo>
                  <a:lnTo>
                    <a:pt x="20" y="41"/>
                  </a:lnTo>
                  <a:lnTo>
                    <a:pt x="19" y="41"/>
                  </a:lnTo>
                  <a:lnTo>
                    <a:pt x="17" y="41"/>
                  </a:lnTo>
                  <a:lnTo>
                    <a:pt x="16" y="41"/>
                  </a:lnTo>
                  <a:lnTo>
                    <a:pt x="16" y="42"/>
                  </a:lnTo>
                  <a:lnTo>
                    <a:pt x="15" y="42"/>
                  </a:lnTo>
                  <a:lnTo>
                    <a:pt x="15" y="43"/>
                  </a:lnTo>
                  <a:lnTo>
                    <a:pt x="16" y="43"/>
                  </a:lnTo>
                  <a:lnTo>
                    <a:pt x="16" y="44"/>
                  </a:lnTo>
                  <a:lnTo>
                    <a:pt x="16" y="46"/>
                  </a:lnTo>
                  <a:lnTo>
                    <a:pt x="15" y="44"/>
                  </a:lnTo>
                  <a:lnTo>
                    <a:pt x="15" y="46"/>
                  </a:lnTo>
                  <a:lnTo>
                    <a:pt x="15" y="47"/>
                  </a:lnTo>
                  <a:lnTo>
                    <a:pt x="14" y="47"/>
                  </a:lnTo>
                  <a:lnTo>
                    <a:pt x="14" y="48"/>
                  </a:lnTo>
                  <a:lnTo>
                    <a:pt x="14" y="47"/>
                  </a:lnTo>
                  <a:lnTo>
                    <a:pt x="13" y="47"/>
                  </a:lnTo>
                  <a:lnTo>
                    <a:pt x="12" y="47"/>
                  </a:lnTo>
                  <a:lnTo>
                    <a:pt x="12" y="46"/>
                  </a:lnTo>
                  <a:lnTo>
                    <a:pt x="12" y="44"/>
                  </a:lnTo>
                  <a:lnTo>
                    <a:pt x="10" y="43"/>
                  </a:lnTo>
                  <a:lnTo>
                    <a:pt x="10" y="42"/>
                  </a:lnTo>
                  <a:lnTo>
                    <a:pt x="9" y="42"/>
                  </a:lnTo>
                  <a:lnTo>
                    <a:pt x="9" y="41"/>
                  </a:lnTo>
                  <a:lnTo>
                    <a:pt x="8" y="41"/>
                  </a:lnTo>
                  <a:lnTo>
                    <a:pt x="8" y="40"/>
                  </a:lnTo>
                  <a:lnTo>
                    <a:pt x="7" y="40"/>
                  </a:lnTo>
                  <a:lnTo>
                    <a:pt x="6" y="40"/>
                  </a:lnTo>
                  <a:lnTo>
                    <a:pt x="6" y="39"/>
                  </a:lnTo>
                  <a:lnTo>
                    <a:pt x="5" y="39"/>
                  </a:lnTo>
                  <a:lnTo>
                    <a:pt x="3" y="37"/>
                  </a:lnTo>
                  <a:lnTo>
                    <a:pt x="2" y="37"/>
                  </a:lnTo>
                  <a:lnTo>
                    <a:pt x="2" y="36"/>
                  </a:lnTo>
                  <a:lnTo>
                    <a:pt x="2" y="35"/>
                  </a:lnTo>
                  <a:lnTo>
                    <a:pt x="1" y="35"/>
                  </a:lnTo>
                  <a:lnTo>
                    <a:pt x="2" y="35"/>
                  </a:lnTo>
                  <a:lnTo>
                    <a:pt x="2" y="36"/>
                  </a:lnTo>
                  <a:lnTo>
                    <a:pt x="3" y="36"/>
                  </a:lnTo>
                  <a:lnTo>
                    <a:pt x="5" y="36"/>
                  </a:lnTo>
                  <a:lnTo>
                    <a:pt x="3" y="35"/>
                  </a:lnTo>
                  <a:lnTo>
                    <a:pt x="3" y="34"/>
                  </a:lnTo>
                  <a:lnTo>
                    <a:pt x="2" y="34"/>
                  </a:lnTo>
                  <a:lnTo>
                    <a:pt x="3" y="34"/>
                  </a:lnTo>
                  <a:lnTo>
                    <a:pt x="3" y="33"/>
                  </a:lnTo>
                  <a:lnTo>
                    <a:pt x="2" y="33"/>
                  </a:lnTo>
                  <a:lnTo>
                    <a:pt x="1" y="32"/>
                  </a:lnTo>
                  <a:lnTo>
                    <a:pt x="2" y="32"/>
                  </a:lnTo>
                  <a:lnTo>
                    <a:pt x="2" y="30"/>
                  </a:lnTo>
                  <a:lnTo>
                    <a:pt x="2" y="29"/>
                  </a:lnTo>
                  <a:lnTo>
                    <a:pt x="2" y="28"/>
                  </a:lnTo>
                  <a:lnTo>
                    <a:pt x="2" y="27"/>
                  </a:lnTo>
                  <a:lnTo>
                    <a:pt x="2" y="28"/>
                  </a:lnTo>
                  <a:lnTo>
                    <a:pt x="3" y="28"/>
                  </a:lnTo>
                  <a:lnTo>
                    <a:pt x="3" y="27"/>
                  </a:lnTo>
                  <a:lnTo>
                    <a:pt x="3" y="26"/>
                  </a:lnTo>
                  <a:lnTo>
                    <a:pt x="3" y="27"/>
                  </a:lnTo>
                  <a:lnTo>
                    <a:pt x="3" y="26"/>
                  </a:lnTo>
                  <a:lnTo>
                    <a:pt x="2" y="26"/>
                  </a:lnTo>
                  <a:lnTo>
                    <a:pt x="2" y="25"/>
                  </a:lnTo>
                  <a:lnTo>
                    <a:pt x="2" y="23"/>
                  </a:lnTo>
                  <a:lnTo>
                    <a:pt x="3" y="23"/>
                  </a:lnTo>
                  <a:lnTo>
                    <a:pt x="3" y="22"/>
                  </a:lnTo>
                  <a:lnTo>
                    <a:pt x="3" y="21"/>
                  </a:lnTo>
                  <a:lnTo>
                    <a:pt x="2" y="21"/>
                  </a:lnTo>
                  <a:lnTo>
                    <a:pt x="2" y="20"/>
                  </a:lnTo>
                  <a:lnTo>
                    <a:pt x="1" y="20"/>
                  </a:lnTo>
                  <a:lnTo>
                    <a:pt x="2" y="20"/>
                  </a:lnTo>
                  <a:lnTo>
                    <a:pt x="2" y="19"/>
                  </a:lnTo>
                  <a:lnTo>
                    <a:pt x="3" y="19"/>
                  </a:lnTo>
                  <a:lnTo>
                    <a:pt x="3" y="18"/>
                  </a:lnTo>
                  <a:lnTo>
                    <a:pt x="2" y="18"/>
                  </a:lnTo>
                  <a:lnTo>
                    <a:pt x="3" y="18"/>
                  </a:lnTo>
                  <a:lnTo>
                    <a:pt x="3" y="16"/>
                  </a:lnTo>
                  <a:lnTo>
                    <a:pt x="5" y="16"/>
                  </a:lnTo>
                  <a:lnTo>
                    <a:pt x="3" y="16"/>
                  </a:lnTo>
                  <a:lnTo>
                    <a:pt x="3" y="15"/>
                  </a:lnTo>
                  <a:lnTo>
                    <a:pt x="3" y="14"/>
                  </a:lnTo>
                  <a:lnTo>
                    <a:pt x="3" y="13"/>
                  </a:lnTo>
                  <a:lnTo>
                    <a:pt x="2" y="13"/>
                  </a:lnTo>
                  <a:lnTo>
                    <a:pt x="1" y="13"/>
                  </a:lnTo>
                  <a:lnTo>
                    <a:pt x="1" y="12"/>
                  </a:lnTo>
                  <a:lnTo>
                    <a:pt x="0" y="12"/>
                  </a:lnTo>
                  <a:lnTo>
                    <a:pt x="0" y="11"/>
                  </a:lnTo>
                  <a:lnTo>
                    <a:pt x="1" y="11"/>
                  </a:lnTo>
                  <a:lnTo>
                    <a:pt x="0" y="11"/>
                  </a:lnTo>
                  <a:lnTo>
                    <a:pt x="0" y="9"/>
                  </a:lnTo>
                  <a:lnTo>
                    <a:pt x="1" y="9"/>
                  </a:lnTo>
                  <a:lnTo>
                    <a:pt x="2" y="9"/>
                  </a:lnTo>
                  <a:lnTo>
                    <a:pt x="2" y="8"/>
                  </a:lnTo>
                  <a:lnTo>
                    <a:pt x="1" y="8"/>
                  </a:lnTo>
                  <a:lnTo>
                    <a:pt x="1" y="7"/>
                  </a:lnTo>
                  <a:lnTo>
                    <a:pt x="0" y="7"/>
                  </a:lnTo>
                  <a:lnTo>
                    <a:pt x="0" y="6"/>
                  </a:lnTo>
                  <a:lnTo>
                    <a:pt x="1" y="6"/>
                  </a:lnTo>
                  <a:lnTo>
                    <a:pt x="1" y="5"/>
                  </a:lnTo>
                  <a:lnTo>
                    <a:pt x="0" y="6"/>
                  </a:lnTo>
                  <a:lnTo>
                    <a:pt x="0" y="5"/>
                  </a:lnTo>
                  <a:lnTo>
                    <a:pt x="1" y="5"/>
                  </a:lnTo>
                  <a:lnTo>
                    <a:pt x="1" y="4"/>
                  </a:lnTo>
                  <a:lnTo>
                    <a:pt x="2" y="4"/>
                  </a:lnTo>
                  <a:lnTo>
                    <a:pt x="2" y="2"/>
                  </a:lnTo>
                  <a:lnTo>
                    <a:pt x="2" y="1"/>
                  </a:lnTo>
                  <a:lnTo>
                    <a:pt x="3" y="1"/>
                  </a:lnTo>
                  <a:lnTo>
                    <a:pt x="3" y="0"/>
                  </a:lnTo>
                  <a:lnTo>
                    <a:pt x="5" y="0"/>
                  </a:lnTo>
                  <a:lnTo>
                    <a:pt x="5" y="1"/>
                  </a:lnTo>
                  <a:close/>
                </a:path>
              </a:pathLst>
            </a:custGeom>
            <a:solidFill>
              <a:srgbClr val="005392"/>
            </a:solidFill>
            <a:ln w="317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t-IT" sz="1200" dirty="0"/>
            </a:p>
          </p:txBody>
        </p:sp>
        <p:sp>
          <p:nvSpPr>
            <p:cNvPr id="287" name="Freeform 1051">
              <a:extLst>
                <a:ext uri="{FF2B5EF4-FFF2-40B4-BE49-F238E27FC236}">
                  <a16:creationId xmlns:a16="http://schemas.microsoft.com/office/drawing/2014/main" id="{6097E784-1A81-46A0-9641-E87A7F5B1E03}"/>
                </a:ext>
              </a:extLst>
            </p:cNvPr>
            <p:cNvSpPr>
              <a:spLocks/>
            </p:cNvSpPr>
            <p:nvPr/>
          </p:nvSpPr>
          <p:spPr bwMode="auto">
            <a:xfrm>
              <a:off x="6117596" y="2097175"/>
              <a:ext cx="0" cy="1336"/>
            </a:xfrm>
            <a:custGeom>
              <a:avLst/>
              <a:gdLst>
                <a:gd name="T0" fmla="*/ 1 h 1"/>
                <a:gd name="T1" fmla="*/ 1 h 1"/>
                <a:gd name="T2" fmla="*/ 1 h 1"/>
                <a:gd name="T3" fmla="*/ 1 h 1"/>
                <a:gd name="T4" fmla="*/ 1 h 1"/>
                <a:gd name="T5" fmla="*/ 0 h 1"/>
                <a:gd name="T6" fmla="*/ 0 h 1"/>
                <a:gd name="T7" fmla="*/ 0 h 1"/>
                <a:gd name="T8" fmla="*/ 0 h 1"/>
                <a:gd name="T9" fmla="*/ 0 h 1"/>
                <a:gd name="T10" fmla="*/ 1 h 1"/>
                <a:gd name="T11"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1">
                  <a:moveTo>
                    <a:pt x="0" y="1"/>
                  </a:moveTo>
                  <a:lnTo>
                    <a:pt x="0" y="1"/>
                  </a:lnTo>
                  <a:lnTo>
                    <a:pt x="0" y="1"/>
                  </a:lnTo>
                  <a:lnTo>
                    <a:pt x="0" y="1"/>
                  </a:lnTo>
                  <a:lnTo>
                    <a:pt x="0" y="1"/>
                  </a:lnTo>
                  <a:lnTo>
                    <a:pt x="0" y="0"/>
                  </a:lnTo>
                  <a:lnTo>
                    <a:pt x="0" y="0"/>
                  </a:lnTo>
                  <a:lnTo>
                    <a:pt x="0" y="0"/>
                  </a:lnTo>
                  <a:lnTo>
                    <a:pt x="0" y="0"/>
                  </a:lnTo>
                  <a:lnTo>
                    <a:pt x="0" y="0"/>
                  </a:lnTo>
                  <a:lnTo>
                    <a:pt x="0" y="1"/>
                  </a:lnTo>
                  <a:lnTo>
                    <a:pt x="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88" name="Freeform 1052">
              <a:extLst>
                <a:ext uri="{FF2B5EF4-FFF2-40B4-BE49-F238E27FC236}">
                  <a16:creationId xmlns:a16="http://schemas.microsoft.com/office/drawing/2014/main" id="{F1167986-356F-4D9A-86DA-C07EF98A9608}"/>
                </a:ext>
              </a:extLst>
            </p:cNvPr>
            <p:cNvSpPr>
              <a:spLocks/>
            </p:cNvSpPr>
            <p:nvPr/>
          </p:nvSpPr>
          <p:spPr bwMode="auto">
            <a:xfrm>
              <a:off x="6117596" y="2097175"/>
              <a:ext cx="1336" cy="1336"/>
            </a:xfrm>
            <a:custGeom>
              <a:avLst/>
              <a:gdLst>
                <a:gd name="T0" fmla="*/ 1 w 1"/>
                <a:gd name="T1" fmla="*/ 0 h 1"/>
                <a:gd name="T2" fmla="*/ 1 w 1"/>
                <a:gd name="T3" fmla="*/ 0 h 1"/>
                <a:gd name="T4" fmla="*/ 1 w 1"/>
                <a:gd name="T5" fmla="*/ 0 h 1"/>
                <a:gd name="T6" fmla="*/ 1 w 1"/>
                <a:gd name="T7" fmla="*/ 0 h 1"/>
                <a:gd name="T8" fmla="*/ 1 w 1"/>
                <a:gd name="T9" fmla="*/ 0 h 1"/>
                <a:gd name="T10" fmla="*/ 1 w 1"/>
                <a:gd name="T11" fmla="*/ 0 h 1"/>
                <a:gd name="T12" fmla="*/ 1 w 1"/>
                <a:gd name="T13" fmla="*/ 1 h 1"/>
                <a:gd name="T14" fmla="*/ 0 w 1"/>
                <a:gd name="T15" fmla="*/ 0 h 1"/>
                <a:gd name="T16" fmla="*/ 0 w 1"/>
                <a:gd name="T17" fmla="*/ 0 h 1"/>
                <a:gd name="T18" fmla="*/ 0 w 1"/>
                <a:gd name="T19" fmla="*/ 0 h 1"/>
                <a:gd name="T20" fmla="*/ 0 w 1"/>
                <a:gd name="T21" fmla="*/ 0 h 1"/>
                <a:gd name="T22" fmla="*/ 0 w 1"/>
                <a:gd name="T23" fmla="*/ 0 h 1"/>
                <a:gd name="T24" fmla="*/ 0 w 1"/>
                <a:gd name="T25" fmla="*/ 0 h 1"/>
                <a:gd name="T26" fmla="*/ 1 w 1"/>
                <a:gd name="T27" fmla="*/ 0 h 1"/>
                <a:gd name="T28" fmla="*/ 1 w 1"/>
                <a:gd name="T29" fmla="*/ 0 h 1"/>
                <a:gd name="T30" fmla="*/ 1 w 1"/>
                <a:gd name="T31" fmla="*/ 0 h 1"/>
                <a:gd name="T32" fmla="*/ 1 w 1"/>
                <a:gd name="T3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 h="1">
                  <a:moveTo>
                    <a:pt x="1" y="0"/>
                  </a:moveTo>
                  <a:lnTo>
                    <a:pt x="1" y="0"/>
                  </a:lnTo>
                  <a:lnTo>
                    <a:pt x="1" y="0"/>
                  </a:lnTo>
                  <a:lnTo>
                    <a:pt x="1" y="0"/>
                  </a:lnTo>
                  <a:lnTo>
                    <a:pt x="1" y="0"/>
                  </a:lnTo>
                  <a:lnTo>
                    <a:pt x="1" y="0"/>
                  </a:lnTo>
                  <a:lnTo>
                    <a:pt x="1" y="1"/>
                  </a:lnTo>
                  <a:lnTo>
                    <a:pt x="0" y="0"/>
                  </a:lnTo>
                  <a:lnTo>
                    <a:pt x="0" y="0"/>
                  </a:lnTo>
                  <a:lnTo>
                    <a:pt x="0" y="0"/>
                  </a:lnTo>
                  <a:lnTo>
                    <a:pt x="0" y="0"/>
                  </a:lnTo>
                  <a:lnTo>
                    <a:pt x="0" y="0"/>
                  </a:lnTo>
                  <a:lnTo>
                    <a:pt x="0"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89" name="Freeform 1053">
              <a:extLst>
                <a:ext uri="{FF2B5EF4-FFF2-40B4-BE49-F238E27FC236}">
                  <a16:creationId xmlns:a16="http://schemas.microsoft.com/office/drawing/2014/main" id="{9DE278DC-D5E4-470E-B598-CA8B2E2BB610}"/>
                </a:ext>
              </a:extLst>
            </p:cNvPr>
            <p:cNvSpPr>
              <a:spLocks/>
            </p:cNvSpPr>
            <p:nvPr/>
          </p:nvSpPr>
          <p:spPr bwMode="auto">
            <a:xfrm>
              <a:off x="6108248" y="2094504"/>
              <a:ext cx="2671" cy="2671"/>
            </a:xfrm>
            <a:custGeom>
              <a:avLst/>
              <a:gdLst>
                <a:gd name="T0" fmla="*/ 2 w 2"/>
                <a:gd name="T1" fmla="*/ 2 h 2"/>
                <a:gd name="T2" fmla="*/ 1 w 2"/>
                <a:gd name="T3" fmla="*/ 2 h 2"/>
                <a:gd name="T4" fmla="*/ 1 w 2"/>
                <a:gd name="T5" fmla="*/ 2 h 2"/>
                <a:gd name="T6" fmla="*/ 0 w 2"/>
                <a:gd name="T7" fmla="*/ 2 h 2"/>
                <a:gd name="T8" fmla="*/ 0 w 2"/>
                <a:gd name="T9" fmla="*/ 2 h 2"/>
                <a:gd name="T10" fmla="*/ 0 w 2"/>
                <a:gd name="T11" fmla="*/ 2 h 2"/>
                <a:gd name="T12" fmla="*/ 0 w 2"/>
                <a:gd name="T13" fmla="*/ 2 h 2"/>
                <a:gd name="T14" fmla="*/ 0 w 2"/>
                <a:gd name="T15" fmla="*/ 2 h 2"/>
                <a:gd name="T16" fmla="*/ 0 w 2"/>
                <a:gd name="T17" fmla="*/ 2 h 2"/>
                <a:gd name="T18" fmla="*/ 0 w 2"/>
                <a:gd name="T19" fmla="*/ 2 h 2"/>
                <a:gd name="T20" fmla="*/ 0 w 2"/>
                <a:gd name="T21" fmla="*/ 0 h 2"/>
                <a:gd name="T22" fmla="*/ 1 w 2"/>
                <a:gd name="T23" fmla="*/ 0 h 2"/>
                <a:gd name="T24" fmla="*/ 1 w 2"/>
                <a:gd name="T25" fmla="*/ 0 h 2"/>
                <a:gd name="T26" fmla="*/ 1 w 2"/>
                <a:gd name="T27" fmla="*/ 0 h 2"/>
                <a:gd name="T28" fmla="*/ 2 w 2"/>
                <a:gd name="T2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2">
                  <a:moveTo>
                    <a:pt x="2" y="2"/>
                  </a:moveTo>
                  <a:lnTo>
                    <a:pt x="1" y="2"/>
                  </a:lnTo>
                  <a:lnTo>
                    <a:pt x="1" y="2"/>
                  </a:lnTo>
                  <a:lnTo>
                    <a:pt x="0" y="2"/>
                  </a:lnTo>
                  <a:lnTo>
                    <a:pt x="0" y="2"/>
                  </a:lnTo>
                  <a:lnTo>
                    <a:pt x="0" y="2"/>
                  </a:lnTo>
                  <a:lnTo>
                    <a:pt x="0" y="2"/>
                  </a:lnTo>
                  <a:lnTo>
                    <a:pt x="0" y="2"/>
                  </a:lnTo>
                  <a:lnTo>
                    <a:pt x="0" y="2"/>
                  </a:lnTo>
                  <a:lnTo>
                    <a:pt x="0" y="2"/>
                  </a:lnTo>
                  <a:lnTo>
                    <a:pt x="0" y="0"/>
                  </a:lnTo>
                  <a:lnTo>
                    <a:pt x="1" y="0"/>
                  </a:lnTo>
                  <a:lnTo>
                    <a:pt x="1" y="0"/>
                  </a:lnTo>
                  <a:lnTo>
                    <a:pt x="1" y="0"/>
                  </a:lnTo>
                  <a:lnTo>
                    <a:pt x="2"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90" name="Freeform 1054">
              <a:extLst>
                <a:ext uri="{FF2B5EF4-FFF2-40B4-BE49-F238E27FC236}">
                  <a16:creationId xmlns:a16="http://schemas.microsoft.com/office/drawing/2014/main" id="{A1043F34-4550-4F19-976C-BC58961F3C6A}"/>
                </a:ext>
              </a:extLst>
            </p:cNvPr>
            <p:cNvSpPr>
              <a:spLocks/>
            </p:cNvSpPr>
            <p:nvPr/>
          </p:nvSpPr>
          <p:spPr bwMode="auto">
            <a:xfrm>
              <a:off x="6110919" y="2094504"/>
              <a:ext cx="2671" cy="0"/>
            </a:xfrm>
            <a:custGeom>
              <a:avLst/>
              <a:gdLst>
                <a:gd name="T0" fmla="*/ 2 w 2"/>
                <a:gd name="T1" fmla="*/ 2 w 2"/>
                <a:gd name="T2" fmla="*/ 2 w 2"/>
                <a:gd name="T3" fmla="*/ 2 w 2"/>
                <a:gd name="T4" fmla="*/ 2 w 2"/>
                <a:gd name="T5" fmla="*/ 2 w 2"/>
                <a:gd name="T6" fmla="*/ 2 w 2"/>
                <a:gd name="T7" fmla="*/ 2 w 2"/>
                <a:gd name="T8" fmla="*/ 2 w 2"/>
                <a:gd name="T9" fmla="*/ 2 w 2"/>
                <a:gd name="T10" fmla="*/ 2 w 2"/>
                <a:gd name="T11" fmla="*/ 2 w 2"/>
                <a:gd name="T12" fmla="*/ 2 w 2"/>
                <a:gd name="T13" fmla="*/ 2 w 2"/>
                <a:gd name="T14" fmla="*/ 2 w 2"/>
                <a:gd name="T15" fmla="*/ 2 w 2"/>
                <a:gd name="T16" fmla="*/ 2 w 2"/>
                <a:gd name="T17" fmla="*/ 2 w 2"/>
                <a:gd name="T18" fmla="*/ 2 w 2"/>
                <a:gd name="T19" fmla="*/ 0 w 2"/>
                <a:gd name="T20" fmla="*/ 0 w 2"/>
                <a:gd name="T21" fmla="*/ 0 w 2"/>
                <a:gd name="T22" fmla="*/ 0 w 2"/>
                <a:gd name="T23" fmla="*/ 0 w 2"/>
                <a:gd name="T24" fmla="*/ 0 w 2"/>
                <a:gd name="T25" fmla="*/ 0 w 2"/>
                <a:gd name="T26" fmla="*/ 0 w 2"/>
                <a:gd name="T27" fmla="*/ 0 w 2"/>
                <a:gd name="T28" fmla="*/ 0 w 2"/>
                <a:gd name="T29" fmla="*/ 2 w 2"/>
                <a:gd name="T30" fmla="*/ 2 w 2"/>
                <a:gd name="T31"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Lst>
              <a:rect l="0" t="0" r="r" b="b"/>
              <a:pathLst>
                <a:path w="2">
                  <a:moveTo>
                    <a:pt x="2" y="0"/>
                  </a:move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91" name="Freeform 1055">
              <a:extLst>
                <a:ext uri="{FF2B5EF4-FFF2-40B4-BE49-F238E27FC236}">
                  <a16:creationId xmlns:a16="http://schemas.microsoft.com/office/drawing/2014/main" id="{CB243C72-170A-43EA-BF77-B63C42CD0365}"/>
                </a:ext>
              </a:extLst>
            </p:cNvPr>
            <p:cNvSpPr>
              <a:spLocks/>
            </p:cNvSpPr>
            <p:nvPr/>
          </p:nvSpPr>
          <p:spPr bwMode="auto">
            <a:xfrm>
              <a:off x="6109583" y="2094504"/>
              <a:ext cx="1336" cy="0"/>
            </a:xfrm>
            <a:custGeom>
              <a:avLst/>
              <a:gdLst>
                <a:gd name="T0" fmla="*/ 0 w 1"/>
                <a:gd name="T1" fmla="*/ 0 w 1"/>
                <a:gd name="T2" fmla="*/ 0 w 1"/>
                <a:gd name="T3" fmla="*/ 0 w 1"/>
                <a:gd name="T4" fmla="*/ 0 w 1"/>
                <a:gd name="T5" fmla="*/ 0 w 1"/>
                <a:gd name="T6" fmla="*/ 1 w 1"/>
                <a:gd name="T7" fmla="*/ 0 w 1"/>
                <a:gd name="T8"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
                  <a:moveTo>
                    <a:pt x="0" y="0"/>
                  </a:moveTo>
                  <a:lnTo>
                    <a:pt x="0" y="0"/>
                  </a:lnTo>
                  <a:lnTo>
                    <a:pt x="0" y="0"/>
                  </a:lnTo>
                  <a:lnTo>
                    <a:pt x="0" y="0"/>
                  </a:lnTo>
                  <a:lnTo>
                    <a:pt x="0" y="0"/>
                  </a:lnTo>
                  <a:lnTo>
                    <a:pt x="0" y="0"/>
                  </a:lnTo>
                  <a:lnTo>
                    <a:pt x="1"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92" name="Freeform 1056">
              <a:extLst>
                <a:ext uri="{FF2B5EF4-FFF2-40B4-BE49-F238E27FC236}">
                  <a16:creationId xmlns:a16="http://schemas.microsoft.com/office/drawing/2014/main" id="{35398256-C75B-4C67-A5D6-F77C3DB16373}"/>
                </a:ext>
              </a:extLst>
            </p:cNvPr>
            <p:cNvSpPr>
              <a:spLocks/>
            </p:cNvSpPr>
            <p:nvPr/>
          </p:nvSpPr>
          <p:spPr bwMode="auto">
            <a:xfrm>
              <a:off x="6110919" y="2094504"/>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93" name="Freeform 1057">
              <a:extLst>
                <a:ext uri="{FF2B5EF4-FFF2-40B4-BE49-F238E27FC236}">
                  <a16:creationId xmlns:a16="http://schemas.microsoft.com/office/drawing/2014/main" id="{B8A3C3C2-CA43-40E8-B0B8-CAA345B0C731}"/>
                </a:ext>
              </a:extLst>
            </p:cNvPr>
            <p:cNvSpPr>
              <a:spLocks/>
            </p:cNvSpPr>
            <p:nvPr/>
          </p:nvSpPr>
          <p:spPr bwMode="auto">
            <a:xfrm>
              <a:off x="6104241" y="2093169"/>
              <a:ext cx="2671" cy="4007"/>
            </a:xfrm>
            <a:custGeom>
              <a:avLst/>
              <a:gdLst>
                <a:gd name="T0" fmla="*/ 1 w 2"/>
                <a:gd name="T1" fmla="*/ 0 h 3"/>
                <a:gd name="T2" fmla="*/ 1 w 2"/>
                <a:gd name="T3" fmla="*/ 0 h 3"/>
                <a:gd name="T4" fmla="*/ 2 w 2"/>
                <a:gd name="T5" fmla="*/ 0 h 3"/>
                <a:gd name="T6" fmla="*/ 2 w 2"/>
                <a:gd name="T7" fmla="*/ 1 h 3"/>
                <a:gd name="T8" fmla="*/ 2 w 2"/>
                <a:gd name="T9" fmla="*/ 1 h 3"/>
                <a:gd name="T10" fmla="*/ 2 w 2"/>
                <a:gd name="T11" fmla="*/ 1 h 3"/>
                <a:gd name="T12" fmla="*/ 2 w 2"/>
                <a:gd name="T13" fmla="*/ 1 h 3"/>
                <a:gd name="T14" fmla="*/ 2 w 2"/>
                <a:gd name="T15" fmla="*/ 3 h 3"/>
                <a:gd name="T16" fmla="*/ 2 w 2"/>
                <a:gd name="T17" fmla="*/ 3 h 3"/>
                <a:gd name="T18" fmla="*/ 2 w 2"/>
                <a:gd name="T19" fmla="*/ 3 h 3"/>
                <a:gd name="T20" fmla="*/ 2 w 2"/>
                <a:gd name="T21" fmla="*/ 3 h 3"/>
                <a:gd name="T22" fmla="*/ 2 w 2"/>
                <a:gd name="T23" fmla="*/ 3 h 3"/>
                <a:gd name="T24" fmla="*/ 2 w 2"/>
                <a:gd name="T25" fmla="*/ 3 h 3"/>
                <a:gd name="T26" fmla="*/ 1 w 2"/>
                <a:gd name="T27" fmla="*/ 3 h 3"/>
                <a:gd name="T28" fmla="*/ 1 w 2"/>
                <a:gd name="T29" fmla="*/ 3 h 3"/>
                <a:gd name="T30" fmla="*/ 1 w 2"/>
                <a:gd name="T31" fmla="*/ 1 h 3"/>
                <a:gd name="T32" fmla="*/ 1 w 2"/>
                <a:gd name="T33" fmla="*/ 1 h 3"/>
                <a:gd name="T34" fmla="*/ 1 w 2"/>
                <a:gd name="T35" fmla="*/ 1 h 3"/>
                <a:gd name="T36" fmla="*/ 1 w 2"/>
                <a:gd name="T37" fmla="*/ 1 h 3"/>
                <a:gd name="T38" fmla="*/ 1 w 2"/>
                <a:gd name="T39" fmla="*/ 1 h 3"/>
                <a:gd name="T40" fmla="*/ 0 w 2"/>
                <a:gd name="T41" fmla="*/ 1 h 3"/>
                <a:gd name="T42" fmla="*/ 0 w 2"/>
                <a:gd name="T43" fmla="*/ 1 h 3"/>
                <a:gd name="T44" fmla="*/ 1 w 2"/>
                <a:gd name="T45" fmla="*/ 1 h 3"/>
                <a:gd name="T46" fmla="*/ 1 w 2"/>
                <a:gd name="T4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 h="3">
                  <a:moveTo>
                    <a:pt x="1" y="0"/>
                  </a:moveTo>
                  <a:lnTo>
                    <a:pt x="1" y="0"/>
                  </a:lnTo>
                  <a:lnTo>
                    <a:pt x="2" y="0"/>
                  </a:lnTo>
                  <a:lnTo>
                    <a:pt x="2" y="1"/>
                  </a:lnTo>
                  <a:lnTo>
                    <a:pt x="2" y="1"/>
                  </a:lnTo>
                  <a:lnTo>
                    <a:pt x="2" y="1"/>
                  </a:lnTo>
                  <a:lnTo>
                    <a:pt x="2" y="1"/>
                  </a:lnTo>
                  <a:lnTo>
                    <a:pt x="2" y="3"/>
                  </a:lnTo>
                  <a:lnTo>
                    <a:pt x="2" y="3"/>
                  </a:lnTo>
                  <a:lnTo>
                    <a:pt x="2" y="3"/>
                  </a:lnTo>
                  <a:lnTo>
                    <a:pt x="2" y="3"/>
                  </a:lnTo>
                  <a:lnTo>
                    <a:pt x="2" y="3"/>
                  </a:lnTo>
                  <a:lnTo>
                    <a:pt x="2" y="3"/>
                  </a:lnTo>
                  <a:lnTo>
                    <a:pt x="1" y="3"/>
                  </a:lnTo>
                  <a:lnTo>
                    <a:pt x="1" y="3"/>
                  </a:lnTo>
                  <a:lnTo>
                    <a:pt x="1" y="1"/>
                  </a:lnTo>
                  <a:lnTo>
                    <a:pt x="1" y="1"/>
                  </a:lnTo>
                  <a:lnTo>
                    <a:pt x="1" y="1"/>
                  </a:lnTo>
                  <a:lnTo>
                    <a:pt x="1" y="1"/>
                  </a:lnTo>
                  <a:lnTo>
                    <a:pt x="1" y="1"/>
                  </a:lnTo>
                  <a:lnTo>
                    <a:pt x="0" y="1"/>
                  </a:lnTo>
                  <a:lnTo>
                    <a:pt x="0" y="1"/>
                  </a:lnTo>
                  <a:lnTo>
                    <a:pt x="1" y="1"/>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94" name="Freeform 1058">
              <a:extLst>
                <a:ext uri="{FF2B5EF4-FFF2-40B4-BE49-F238E27FC236}">
                  <a16:creationId xmlns:a16="http://schemas.microsoft.com/office/drawing/2014/main" id="{A29422C1-1CC0-4A60-AEC3-A9DDFA1AB78C}"/>
                </a:ext>
              </a:extLst>
            </p:cNvPr>
            <p:cNvSpPr>
              <a:spLocks/>
            </p:cNvSpPr>
            <p:nvPr/>
          </p:nvSpPr>
          <p:spPr bwMode="auto">
            <a:xfrm>
              <a:off x="6106912" y="2093169"/>
              <a:ext cx="1336" cy="1336"/>
            </a:xfrm>
            <a:custGeom>
              <a:avLst/>
              <a:gdLst>
                <a:gd name="T0" fmla="*/ 0 w 1"/>
                <a:gd name="T1" fmla="*/ 0 h 1"/>
                <a:gd name="T2" fmla="*/ 0 w 1"/>
                <a:gd name="T3" fmla="*/ 0 h 1"/>
                <a:gd name="T4" fmla="*/ 1 w 1"/>
                <a:gd name="T5" fmla="*/ 0 h 1"/>
                <a:gd name="T6" fmla="*/ 0 w 1"/>
                <a:gd name="T7" fmla="*/ 0 h 1"/>
                <a:gd name="T8" fmla="*/ 0 w 1"/>
                <a:gd name="T9" fmla="*/ 0 h 1"/>
                <a:gd name="T10" fmla="*/ 1 w 1"/>
                <a:gd name="T11" fmla="*/ 0 h 1"/>
                <a:gd name="T12" fmla="*/ 1 w 1"/>
                <a:gd name="T13" fmla="*/ 0 h 1"/>
                <a:gd name="T14" fmla="*/ 1 w 1"/>
                <a:gd name="T15" fmla="*/ 0 h 1"/>
                <a:gd name="T16" fmla="*/ 1 w 1"/>
                <a:gd name="T17" fmla="*/ 0 h 1"/>
                <a:gd name="T18" fmla="*/ 1 w 1"/>
                <a:gd name="T19" fmla="*/ 1 h 1"/>
                <a:gd name="T20" fmla="*/ 1 w 1"/>
                <a:gd name="T21" fmla="*/ 1 h 1"/>
                <a:gd name="T22" fmla="*/ 1 w 1"/>
                <a:gd name="T23" fmla="*/ 1 h 1"/>
                <a:gd name="T24" fmla="*/ 1 w 1"/>
                <a:gd name="T25" fmla="*/ 1 h 1"/>
                <a:gd name="T26" fmla="*/ 0 w 1"/>
                <a:gd name="T27" fmla="*/ 1 h 1"/>
                <a:gd name="T28" fmla="*/ 0 w 1"/>
                <a:gd name="T29" fmla="*/ 1 h 1"/>
                <a:gd name="T30" fmla="*/ 0 w 1"/>
                <a:gd name="T31" fmla="*/ 0 h 1"/>
                <a:gd name="T32" fmla="*/ 0 w 1"/>
                <a:gd name="T33" fmla="*/ 0 h 1"/>
                <a:gd name="T34" fmla="*/ 0 w 1"/>
                <a:gd name="T35" fmla="*/ 0 h 1"/>
                <a:gd name="T36" fmla="*/ 0 w 1"/>
                <a:gd name="T37" fmla="*/ 0 h 1"/>
                <a:gd name="T38" fmla="*/ 0 w 1"/>
                <a:gd name="T39" fmla="*/ 0 h 1"/>
                <a:gd name="T40" fmla="*/ 0 w 1"/>
                <a:gd name="T4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 h="1">
                  <a:moveTo>
                    <a:pt x="0" y="0"/>
                  </a:moveTo>
                  <a:lnTo>
                    <a:pt x="0" y="0"/>
                  </a:lnTo>
                  <a:lnTo>
                    <a:pt x="1" y="0"/>
                  </a:lnTo>
                  <a:lnTo>
                    <a:pt x="0" y="0"/>
                  </a:lnTo>
                  <a:lnTo>
                    <a:pt x="0" y="0"/>
                  </a:lnTo>
                  <a:lnTo>
                    <a:pt x="1" y="0"/>
                  </a:lnTo>
                  <a:lnTo>
                    <a:pt x="1" y="0"/>
                  </a:lnTo>
                  <a:lnTo>
                    <a:pt x="1" y="0"/>
                  </a:lnTo>
                  <a:lnTo>
                    <a:pt x="1" y="0"/>
                  </a:lnTo>
                  <a:lnTo>
                    <a:pt x="1" y="1"/>
                  </a:lnTo>
                  <a:lnTo>
                    <a:pt x="1" y="1"/>
                  </a:lnTo>
                  <a:lnTo>
                    <a:pt x="1" y="1"/>
                  </a:lnTo>
                  <a:lnTo>
                    <a:pt x="1" y="1"/>
                  </a:lnTo>
                  <a:lnTo>
                    <a:pt x="0" y="1"/>
                  </a:lnTo>
                  <a:lnTo>
                    <a:pt x="0" y="1"/>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95" name="Freeform 1059">
              <a:extLst>
                <a:ext uri="{FF2B5EF4-FFF2-40B4-BE49-F238E27FC236}">
                  <a16:creationId xmlns:a16="http://schemas.microsoft.com/office/drawing/2014/main" id="{9E04A30E-E8A3-4935-BFA5-C68F67860F20}"/>
                </a:ext>
              </a:extLst>
            </p:cNvPr>
            <p:cNvSpPr>
              <a:spLocks/>
            </p:cNvSpPr>
            <p:nvPr/>
          </p:nvSpPr>
          <p:spPr bwMode="auto">
            <a:xfrm>
              <a:off x="6113590" y="2093169"/>
              <a:ext cx="1336" cy="0"/>
            </a:xfrm>
            <a:custGeom>
              <a:avLst/>
              <a:gdLst>
                <a:gd name="T0" fmla="*/ 1 w 1"/>
                <a:gd name="T1" fmla="*/ 0 w 1"/>
                <a:gd name="T2" fmla="*/ 0 w 1"/>
                <a:gd name="T3" fmla="*/ 0 w 1"/>
                <a:gd name="T4" fmla="*/ 0 w 1"/>
                <a:gd name="T5" fmla="*/ 0 w 1"/>
                <a:gd name="T6" fmla="*/ 0 w 1"/>
                <a:gd name="T7" fmla="*/ 0 w 1"/>
                <a:gd name="T8" fmla="*/ 0 w 1"/>
                <a:gd name="T9" fmla="*/ 0 w 1"/>
                <a:gd name="T10" fmla="*/ 1 w 1"/>
                <a:gd name="T11" fmla="*/ 1 w 1"/>
                <a:gd name="T12" fmla="*/ 1 w 1"/>
                <a:gd name="T13"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Lst>
              <a:rect l="0" t="0" r="r" b="b"/>
              <a:pathLst>
                <a:path w="1">
                  <a:moveTo>
                    <a:pt x="1" y="0"/>
                  </a:moveTo>
                  <a:lnTo>
                    <a:pt x="0" y="0"/>
                  </a:lnTo>
                  <a:lnTo>
                    <a:pt x="0" y="0"/>
                  </a:lnTo>
                  <a:lnTo>
                    <a:pt x="0" y="0"/>
                  </a:lnTo>
                  <a:lnTo>
                    <a:pt x="0" y="0"/>
                  </a:lnTo>
                  <a:lnTo>
                    <a:pt x="0" y="0"/>
                  </a:lnTo>
                  <a:lnTo>
                    <a:pt x="0" y="0"/>
                  </a:lnTo>
                  <a:lnTo>
                    <a:pt x="0" y="0"/>
                  </a:lnTo>
                  <a:lnTo>
                    <a:pt x="0" y="0"/>
                  </a:lnTo>
                  <a:lnTo>
                    <a:pt x="0"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96" name="Freeform 1060">
              <a:extLst>
                <a:ext uri="{FF2B5EF4-FFF2-40B4-BE49-F238E27FC236}">
                  <a16:creationId xmlns:a16="http://schemas.microsoft.com/office/drawing/2014/main" id="{BA88235E-B012-4FDD-8747-E56C414B7239}"/>
                </a:ext>
              </a:extLst>
            </p:cNvPr>
            <p:cNvSpPr>
              <a:spLocks/>
            </p:cNvSpPr>
            <p:nvPr/>
          </p:nvSpPr>
          <p:spPr bwMode="auto">
            <a:xfrm>
              <a:off x="6113590" y="2091833"/>
              <a:ext cx="1336" cy="0"/>
            </a:xfrm>
            <a:custGeom>
              <a:avLst/>
              <a:gdLst>
                <a:gd name="T0" fmla="*/ 1 w 1"/>
                <a:gd name="T1" fmla="*/ 0 w 1"/>
                <a:gd name="T2" fmla="*/ 0 w 1"/>
                <a:gd name="T3" fmla="*/ 0 w 1"/>
                <a:gd name="T4" fmla="*/ 0 w 1"/>
                <a:gd name="T5" fmla="*/ 0 w 1"/>
                <a:gd name="T6" fmla="*/ 0 w 1"/>
                <a:gd name="T7" fmla="*/ 1 w 1"/>
                <a:gd name="T8" fmla="*/ 1 w 1"/>
                <a:gd name="T9"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1">
                  <a:moveTo>
                    <a:pt x="1" y="0"/>
                  </a:moveTo>
                  <a:lnTo>
                    <a:pt x="0" y="0"/>
                  </a:lnTo>
                  <a:lnTo>
                    <a:pt x="0" y="0"/>
                  </a:lnTo>
                  <a:lnTo>
                    <a:pt x="0" y="0"/>
                  </a:lnTo>
                  <a:lnTo>
                    <a:pt x="0" y="0"/>
                  </a:lnTo>
                  <a:lnTo>
                    <a:pt x="0" y="0"/>
                  </a:lnTo>
                  <a:lnTo>
                    <a:pt x="0"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97" name="Freeform 1061">
              <a:extLst>
                <a:ext uri="{FF2B5EF4-FFF2-40B4-BE49-F238E27FC236}">
                  <a16:creationId xmlns:a16="http://schemas.microsoft.com/office/drawing/2014/main" id="{950ACF59-C78F-4AE3-8E7F-5A3319386A7E}"/>
                </a:ext>
              </a:extLst>
            </p:cNvPr>
            <p:cNvSpPr>
              <a:spLocks/>
            </p:cNvSpPr>
            <p:nvPr/>
          </p:nvSpPr>
          <p:spPr bwMode="auto">
            <a:xfrm>
              <a:off x="6096228" y="2090498"/>
              <a:ext cx="2671" cy="2671"/>
            </a:xfrm>
            <a:custGeom>
              <a:avLst/>
              <a:gdLst>
                <a:gd name="T0" fmla="*/ 2 w 2"/>
                <a:gd name="T1" fmla="*/ 1 h 2"/>
                <a:gd name="T2" fmla="*/ 2 w 2"/>
                <a:gd name="T3" fmla="*/ 1 h 2"/>
                <a:gd name="T4" fmla="*/ 2 w 2"/>
                <a:gd name="T5" fmla="*/ 1 h 2"/>
                <a:gd name="T6" fmla="*/ 2 w 2"/>
                <a:gd name="T7" fmla="*/ 1 h 2"/>
                <a:gd name="T8" fmla="*/ 2 w 2"/>
                <a:gd name="T9" fmla="*/ 2 h 2"/>
                <a:gd name="T10" fmla="*/ 2 w 2"/>
                <a:gd name="T11" fmla="*/ 2 h 2"/>
                <a:gd name="T12" fmla="*/ 2 w 2"/>
                <a:gd name="T13" fmla="*/ 2 h 2"/>
                <a:gd name="T14" fmla="*/ 2 w 2"/>
                <a:gd name="T15" fmla="*/ 2 h 2"/>
                <a:gd name="T16" fmla="*/ 1 w 2"/>
                <a:gd name="T17" fmla="*/ 2 h 2"/>
                <a:gd name="T18" fmla="*/ 1 w 2"/>
                <a:gd name="T19" fmla="*/ 1 h 2"/>
                <a:gd name="T20" fmla="*/ 1 w 2"/>
                <a:gd name="T21" fmla="*/ 1 h 2"/>
                <a:gd name="T22" fmla="*/ 1 w 2"/>
                <a:gd name="T23" fmla="*/ 1 h 2"/>
                <a:gd name="T24" fmla="*/ 1 w 2"/>
                <a:gd name="T25" fmla="*/ 2 h 2"/>
                <a:gd name="T26" fmla="*/ 1 w 2"/>
                <a:gd name="T27" fmla="*/ 2 h 2"/>
                <a:gd name="T28" fmla="*/ 1 w 2"/>
                <a:gd name="T29" fmla="*/ 2 h 2"/>
                <a:gd name="T30" fmla="*/ 1 w 2"/>
                <a:gd name="T31" fmla="*/ 2 h 2"/>
                <a:gd name="T32" fmla="*/ 1 w 2"/>
                <a:gd name="T33" fmla="*/ 2 h 2"/>
                <a:gd name="T34" fmla="*/ 0 w 2"/>
                <a:gd name="T35" fmla="*/ 2 h 2"/>
                <a:gd name="T36" fmla="*/ 0 w 2"/>
                <a:gd name="T37" fmla="*/ 1 h 2"/>
                <a:gd name="T38" fmla="*/ 0 w 2"/>
                <a:gd name="T39" fmla="*/ 1 h 2"/>
                <a:gd name="T40" fmla="*/ 0 w 2"/>
                <a:gd name="T41" fmla="*/ 1 h 2"/>
                <a:gd name="T42" fmla="*/ 0 w 2"/>
                <a:gd name="T43" fmla="*/ 1 h 2"/>
                <a:gd name="T44" fmla="*/ 0 w 2"/>
                <a:gd name="T45" fmla="*/ 1 h 2"/>
                <a:gd name="T46" fmla="*/ 0 w 2"/>
                <a:gd name="T47" fmla="*/ 1 h 2"/>
                <a:gd name="T48" fmla="*/ 0 w 2"/>
                <a:gd name="T49" fmla="*/ 1 h 2"/>
                <a:gd name="T50" fmla="*/ 0 w 2"/>
                <a:gd name="T51" fmla="*/ 1 h 2"/>
                <a:gd name="T52" fmla="*/ 0 w 2"/>
                <a:gd name="T53" fmla="*/ 1 h 2"/>
                <a:gd name="T54" fmla="*/ 0 w 2"/>
                <a:gd name="T55" fmla="*/ 1 h 2"/>
                <a:gd name="T56" fmla="*/ 1 w 2"/>
                <a:gd name="T57" fmla="*/ 0 h 2"/>
                <a:gd name="T58" fmla="*/ 1 w 2"/>
                <a:gd name="T59" fmla="*/ 0 h 2"/>
                <a:gd name="T60" fmla="*/ 1 w 2"/>
                <a:gd name="T61" fmla="*/ 0 h 2"/>
                <a:gd name="T62" fmla="*/ 1 w 2"/>
                <a:gd name="T63" fmla="*/ 0 h 2"/>
                <a:gd name="T64" fmla="*/ 1 w 2"/>
                <a:gd name="T65" fmla="*/ 0 h 2"/>
                <a:gd name="T66" fmla="*/ 1 w 2"/>
                <a:gd name="T67" fmla="*/ 1 h 2"/>
                <a:gd name="T68" fmla="*/ 1 w 2"/>
                <a:gd name="T69" fmla="*/ 1 h 2"/>
                <a:gd name="T70" fmla="*/ 1 w 2"/>
                <a:gd name="T71" fmla="*/ 1 h 2"/>
                <a:gd name="T72" fmla="*/ 1 w 2"/>
                <a:gd name="T73" fmla="*/ 1 h 2"/>
                <a:gd name="T74" fmla="*/ 1 w 2"/>
                <a:gd name="T75" fmla="*/ 1 h 2"/>
                <a:gd name="T76" fmla="*/ 2 w 2"/>
                <a:gd name="T77" fmla="*/ 1 h 2"/>
                <a:gd name="T78" fmla="*/ 2 w 2"/>
                <a:gd name="T7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 h="2">
                  <a:moveTo>
                    <a:pt x="2" y="1"/>
                  </a:moveTo>
                  <a:lnTo>
                    <a:pt x="2" y="1"/>
                  </a:lnTo>
                  <a:lnTo>
                    <a:pt x="2" y="1"/>
                  </a:lnTo>
                  <a:lnTo>
                    <a:pt x="2" y="1"/>
                  </a:lnTo>
                  <a:lnTo>
                    <a:pt x="2" y="2"/>
                  </a:lnTo>
                  <a:lnTo>
                    <a:pt x="2" y="2"/>
                  </a:lnTo>
                  <a:lnTo>
                    <a:pt x="2" y="2"/>
                  </a:lnTo>
                  <a:lnTo>
                    <a:pt x="2" y="2"/>
                  </a:lnTo>
                  <a:lnTo>
                    <a:pt x="1" y="2"/>
                  </a:lnTo>
                  <a:lnTo>
                    <a:pt x="1" y="1"/>
                  </a:lnTo>
                  <a:lnTo>
                    <a:pt x="1" y="1"/>
                  </a:lnTo>
                  <a:lnTo>
                    <a:pt x="1" y="1"/>
                  </a:lnTo>
                  <a:lnTo>
                    <a:pt x="1" y="2"/>
                  </a:lnTo>
                  <a:lnTo>
                    <a:pt x="1" y="2"/>
                  </a:lnTo>
                  <a:lnTo>
                    <a:pt x="1" y="2"/>
                  </a:lnTo>
                  <a:lnTo>
                    <a:pt x="1" y="2"/>
                  </a:lnTo>
                  <a:lnTo>
                    <a:pt x="1" y="2"/>
                  </a:lnTo>
                  <a:lnTo>
                    <a:pt x="0" y="2"/>
                  </a:lnTo>
                  <a:lnTo>
                    <a:pt x="0" y="1"/>
                  </a:lnTo>
                  <a:lnTo>
                    <a:pt x="0" y="1"/>
                  </a:lnTo>
                  <a:lnTo>
                    <a:pt x="0" y="1"/>
                  </a:lnTo>
                  <a:lnTo>
                    <a:pt x="0" y="1"/>
                  </a:lnTo>
                  <a:lnTo>
                    <a:pt x="0" y="1"/>
                  </a:lnTo>
                  <a:lnTo>
                    <a:pt x="0" y="1"/>
                  </a:lnTo>
                  <a:lnTo>
                    <a:pt x="0" y="1"/>
                  </a:lnTo>
                  <a:lnTo>
                    <a:pt x="0" y="1"/>
                  </a:lnTo>
                  <a:lnTo>
                    <a:pt x="0" y="1"/>
                  </a:lnTo>
                  <a:lnTo>
                    <a:pt x="0" y="1"/>
                  </a:lnTo>
                  <a:lnTo>
                    <a:pt x="1" y="0"/>
                  </a:lnTo>
                  <a:lnTo>
                    <a:pt x="1" y="0"/>
                  </a:lnTo>
                  <a:lnTo>
                    <a:pt x="1" y="0"/>
                  </a:lnTo>
                  <a:lnTo>
                    <a:pt x="1" y="0"/>
                  </a:lnTo>
                  <a:lnTo>
                    <a:pt x="1" y="0"/>
                  </a:lnTo>
                  <a:lnTo>
                    <a:pt x="1" y="1"/>
                  </a:lnTo>
                  <a:lnTo>
                    <a:pt x="1" y="1"/>
                  </a:lnTo>
                  <a:lnTo>
                    <a:pt x="1" y="1"/>
                  </a:lnTo>
                  <a:lnTo>
                    <a:pt x="1" y="1"/>
                  </a:lnTo>
                  <a:lnTo>
                    <a:pt x="1" y="1"/>
                  </a:lnTo>
                  <a:lnTo>
                    <a:pt x="2" y="1"/>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98" name="Freeform 1062">
              <a:extLst>
                <a:ext uri="{FF2B5EF4-FFF2-40B4-BE49-F238E27FC236}">
                  <a16:creationId xmlns:a16="http://schemas.microsoft.com/office/drawing/2014/main" id="{142AFD5B-876E-4EFE-ADA3-AD7AA1F53899}"/>
                </a:ext>
              </a:extLst>
            </p:cNvPr>
            <p:cNvSpPr>
              <a:spLocks/>
            </p:cNvSpPr>
            <p:nvPr/>
          </p:nvSpPr>
          <p:spPr bwMode="auto">
            <a:xfrm>
              <a:off x="6108248" y="2090498"/>
              <a:ext cx="1336" cy="1336"/>
            </a:xfrm>
            <a:custGeom>
              <a:avLst/>
              <a:gdLst>
                <a:gd name="T0" fmla="*/ 0 w 1"/>
                <a:gd name="T1" fmla="*/ 0 h 1"/>
                <a:gd name="T2" fmla="*/ 1 w 1"/>
                <a:gd name="T3" fmla="*/ 0 h 1"/>
                <a:gd name="T4" fmla="*/ 1 w 1"/>
                <a:gd name="T5" fmla="*/ 0 h 1"/>
                <a:gd name="T6" fmla="*/ 1 w 1"/>
                <a:gd name="T7" fmla="*/ 0 h 1"/>
                <a:gd name="T8" fmla="*/ 1 w 1"/>
                <a:gd name="T9" fmla="*/ 0 h 1"/>
                <a:gd name="T10" fmla="*/ 1 w 1"/>
                <a:gd name="T11" fmla="*/ 0 h 1"/>
                <a:gd name="T12" fmla="*/ 1 w 1"/>
                <a:gd name="T13" fmla="*/ 1 h 1"/>
                <a:gd name="T14" fmla="*/ 1 w 1"/>
                <a:gd name="T15" fmla="*/ 1 h 1"/>
                <a:gd name="T16" fmla="*/ 0 w 1"/>
                <a:gd name="T17" fmla="*/ 1 h 1"/>
                <a:gd name="T18" fmla="*/ 0 w 1"/>
                <a:gd name="T19" fmla="*/ 1 h 1"/>
                <a:gd name="T20" fmla="*/ 1 w 1"/>
                <a:gd name="T21" fmla="*/ 1 h 1"/>
                <a:gd name="T22" fmla="*/ 1 w 1"/>
                <a:gd name="T23" fmla="*/ 1 h 1"/>
                <a:gd name="T24" fmla="*/ 1 w 1"/>
                <a:gd name="T25" fmla="*/ 1 h 1"/>
                <a:gd name="T26" fmla="*/ 0 w 1"/>
                <a:gd name="T27" fmla="*/ 1 h 1"/>
                <a:gd name="T28" fmla="*/ 0 w 1"/>
                <a:gd name="T29" fmla="*/ 1 h 1"/>
                <a:gd name="T30" fmla="*/ 0 w 1"/>
                <a:gd name="T31" fmla="*/ 1 h 1"/>
                <a:gd name="T32" fmla="*/ 0 w 1"/>
                <a:gd name="T33" fmla="*/ 1 h 1"/>
                <a:gd name="T34" fmla="*/ 0 w 1"/>
                <a:gd name="T35" fmla="*/ 0 h 1"/>
                <a:gd name="T36" fmla="*/ 0 w 1"/>
                <a:gd name="T37" fmla="*/ 0 h 1"/>
                <a:gd name="T38" fmla="*/ 0 w 1"/>
                <a:gd name="T3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 h="1">
                  <a:moveTo>
                    <a:pt x="0" y="0"/>
                  </a:moveTo>
                  <a:lnTo>
                    <a:pt x="1" y="0"/>
                  </a:lnTo>
                  <a:lnTo>
                    <a:pt x="1" y="0"/>
                  </a:lnTo>
                  <a:lnTo>
                    <a:pt x="1" y="0"/>
                  </a:lnTo>
                  <a:lnTo>
                    <a:pt x="1" y="0"/>
                  </a:lnTo>
                  <a:lnTo>
                    <a:pt x="1" y="0"/>
                  </a:lnTo>
                  <a:lnTo>
                    <a:pt x="1" y="1"/>
                  </a:lnTo>
                  <a:lnTo>
                    <a:pt x="1" y="1"/>
                  </a:lnTo>
                  <a:lnTo>
                    <a:pt x="0" y="1"/>
                  </a:lnTo>
                  <a:lnTo>
                    <a:pt x="0" y="1"/>
                  </a:lnTo>
                  <a:lnTo>
                    <a:pt x="1" y="1"/>
                  </a:lnTo>
                  <a:lnTo>
                    <a:pt x="1" y="1"/>
                  </a:lnTo>
                  <a:lnTo>
                    <a:pt x="1" y="1"/>
                  </a:lnTo>
                  <a:lnTo>
                    <a:pt x="0" y="1"/>
                  </a:lnTo>
                  <a:lnTo>
                    <a:pt x="0" y="1"/>
                  </a:lnTo>
                  <a:lnTo>
                    <a:pt x="0" y="1"/>
                  </a:lnTo>
                  <a:lnTo>
                    <a:pt x="0" y="1"/>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299" name="Freeform 1063">
              <a:extLst>
                <a:ext uri="{FF2B5EF4-FFF2-40B4-BE49-F238E27FC236}">
                  <a16:creationId xmlns:a16="http://schemas.microsoft.com/office/drawing/2014/main" id="{6522F5EB-B567-44D7-961E-5C98611D4DEF}"/>
                </a:ext>
              </a:extLst>
            </p:cNvPr>
            <p:cNvSpPr>
              <a:spLocks/>
            </p:cNvSpPr>
            <p:nvPr/>
          </p:nvSpPr>
          <p:spPr bwMode="auto">
            <a:xfrm>
              <a:off x="6114925" y="2090498"/>
              <a:ext cx="1336" cy="1336"/>
            </a:xfrm>
            <a:custGeom>
              <a:avLst/>
              <a:gdLst>
                <a:gd name="T0" fmla="*/ 1 w 1"/>
                <a:gd name="T1" fmla="*/ 1 h 1"/>
                <a:gd name="T2" fmla="*/ 1 w 1"/>
                <a:gd name="T3" fmla="*/ 1 h 1"/>
                <a:gd name="T4" fmla="*/ 1 w 1"/>
                <a:gd name="T5" fmla="*/ 1 h 1"/>
                <a:gd name="T6" fmla="*/ 1 w 1"/>
                <a:gd name="T7" fmla="*/ 1 h 1"/>
                <a:gd name="T8" fmla="*/ 0 w 1"/>
                <a:gd name="T9" fmla="*/ 1 h 1"/>
                <a:gd name="T10" fmla="*/ 0 w 1"/>
                <a:gd name="T11" fmla="*/ 0 h 1"/>
                <a:gd name="T12" fmla="*/ 0 w 1"/>
                <a:gd name="T13" fmla="*/ 0 h 1"/>
                <a:gd name="T14" fmla="*/ 0 w 1"/>
                <a:gd name="T15" fmla="*/ 0 h 1"/>
                <a:gd name="T16" fmla="*/ 0 w 1"/>
                <a:gd name="T17" fmla="*/ 0 h 1"/>
                <a:gd name="T18" fmla="*/ 1 w 1"/>
                <a:gd name="T19" fmla="*/ 0 h 1"/>
                <a:gd name="T20" fmla="*/ 1 w 1"/>
                <a:gd name="T21" fmla="*/ 0 h 1"/>
                <a:gd name="T22" fmla="*/ 1 w 1"/>
                <a:gd name="T23" fmla="*/ 0 h 1"/>
                <a:gd name="T24" fmla="*/ 1 w 1"/>
                <a:gd name="T2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1">
                  <a:moveTo>
                    <a:pt x="1" y="1"/>
                  </a:moveTo>
                  <a:lnTo>
                    <a:pt x="1" y="1"/>
                  </a:lnTo>
                  <a:lnTo>
                    <a:pt x="1" y="1"/>
                  </a:lnTo>
                  <a:lnTo>
                    <a:pt x="1" y="1"/>
                  </a:lnTo>
                  <a:lnTo>
                    <a:pt x="0" y="1"/>
                  </a:lnTo>
                  <a:lnTo>
                    <a:pt x="0" y="0"/>
                  </a:lnTo>
                  <a:lnTo>
                    <a:pt x="0" y="0"/>
                  </a:lnTo>
                  <a:lnTo>
                    <a:pt x="0" y="0"/>
                  </a:lnTo>
                  <a:lnTo>
                    <a:pt x="0" y="0"/>
                  </a:lnTo>
                  <a:lnTo>
                    <a:pt x="1" y="0"/>
                  </a:lnTo>
                  <a:lnTo>
                    <a:pt x="1" y="0"/>
                  </a:lnTo>
                  <a:lnTo>
                    <a:pt x="1" y="0"/>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00" name="Freeform 1064">
              <a:extLst>
                <a:ext uri="{FF2B5EF4-FFF2-40B4-BE49-F238E27FC236}">
                  <a16:creationId xmlns:a16="http://schemas.microsoft.com/office/drawing/2014/main" id="{7DF95B46-BD65-469C-B3D7-9C8C99F09893}"/>
                </a:ext>
              </a:extLst>
            </p:cNvPr>
            <p:cNvSpPr>
              <a:spLocks/>
            </p:cNvSpPr>
            <p:nvPr/>
          </p:nvSpPr>
          <p:spPr bwMode="auto">
            <a:xfrm>
              <a:off x="6114925" y="2089163"/>
              <a:ext cx="0" cy="1336"/>
            </a:xfrm>
            <a:custGeom>
              <a:avLst/>
              <a:gdLst>
                <a:gd name="T0" fmla="*/ 1 h 1"/>
                <a:gd name="T1" fmla="*/ 1 h 1"/>
                <a:gd name="T2" fmla="*/ 1 h 1"/>
                <a:gd name="T3" fmla="*/ 1 h 1"/>
                <a:gd name="T4" fmla="*/ 1 h 1"/>
                <a:gd name="T5" fmla="*/ 0 h 1"/>
                <a:gd name="T6" fmla="*/ 0 h 1"/>
                <a:gd name="T7" fmla="*/ 0 h 1"/>
                <a:gd name="T8" fmla="*/ 0 h 1"/>
                <a:gd name="T9" fmla="*/ 0 h 1"/>
                <a:gd name="T10" fmla="*/ 0 h 1"/>
                <a:gd name="T11" fmla="*/ 0 h 1"/>
                <a:gd name="T12" fmla="*/ 0 h 1"/>
                <a:gd name="T13" fmla="*/ 0 h 1"/>
                <a:gd name="T14" fmla="*/ 0 h 1"/>
                <a:gd name="T15" fmla="*/ 0 h 1"/>
                <a:gd name="T16" fmla="*/ 0 h 1"/>
                <a:gd name="T17" fmla="*/ 0 h 1"/>
                <a:gd name="T18"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Lst>
              <a:rect l="0" t="0" r="r" b="b"/>
              <a:pathLst>
                <a:path h="1">
                  <a:moveTo>
                    <a:pt x="0" y="1"/>
                  </a:moveTo>
                  <a:lnTo>
                    <a:pt x="0" y="1"/>
                  </a:lnTo>
                  <a:lnTo>
                    <a:pt x="0" y="1"/>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01" name="Freeform 1065">
              <a:extLst>
                <a:ext uri="{FF2B5EF4-FFF2-40B4-BE49-F238E27FC236}">
                  <a16:creationId xmlns:a16="http://schemas.microsoft.com/office/drawing/2014/main" id="{DC38BAC7-C955-4A7F-9DA1-6E5AE943BD44}"/>
                </a:ext>
              </a:extLst>
            </p:cNvPr>
            <p:cNvSpPr>
              <a:spLocks/>
            </p:cNvSpPr>
            <p:nvPr/>
          </p:nvSpPr>
          <p:spPr bwMode="auto">
            <a:xfrm>
              <a:off x="6097564" y="2089163"/>
              <a:ext cx="9349" cy="5342"/>
            </a:xfrm>
            <a:custGeom>
              <a:avLst/>
              <a:gdLst>
                <a:gd name="T0" fmla="*/ 5 w 7"/>
                <a:gd name="T1" fmla="*/ 0 h 4"/>
                <a:gd name="T2" fmla="*/ 5 w 7"/>
                <a:gd name="T3" fmla="*/ 0 h 4"/>
                <a:gd name="T4" fmla="*/ 5 w 7"/>
                <a:gd name="T5" fmla="*/ 0 h 4"/>
                <a:gd name="T6" fmla="*/ 6 w 7"/>
                <a:gd name="T7" fmla="*/ 1 h 4"/>
                <a:gd name="T8" fmla="*/ 7 w 7"/>
                <a:gd name="T9" fmla="*/ 1 h 4"/>
                <a:gd name="T10" fmla="*/ 7 w 7"/>
                <a:gd name="T11" fmla="*/ 2 h 4"/>
                <a:gd name="T12" fmla="*/ 7 w 7"/>
                <a:gd name="T13" fmla="*/ 2 h 4"/>
                <a:gd name="T14" fmla="*/ 7 w 7"/>
                <a:gd name="T15" fmla="*/ 2 h 4"/>
                <a:gd name="T16" fmla="*/ 6 w 7"/>
                <a:gd name="T17" fmla="*/ 2 h 4"/>
                <a:gd name="T18" fmla="*/ 6 w 7"/>
                <a:gd name="T19" fmla="*/ 2 h 4"/>
                <a:gd name="T20" fmla="*/ 6 w 7"/>
                <a:gd name="T21" fmla="*/ 2 h 4"/>
                <a:gd name="T22" fmla="*/ 6 w 7"/>
                <a:gd name="T23" fmla="*/ 2 h 4"/>
                <a:gd name="T24" fmla="*/ 5 w 7"/>
                <a:gd name="T25" fmla="*/ 2 h 4"/>
                <a:gd name="T26" fmla="*/ 5 w 7"/>
                <a:gd name="T27" fmla="*/ 1 h 4"/>
                <a:gd name="T28" fmla="*/ 5 w 7"/>
                <a:gd name="T29" fmla="*/ 1 h 4"/>
                <a:gd name="T30" fmla="*/ 4 w 7"/>
                <a:gd name="T31" fmla="*/ 1 h 4"/>
                <a:gd name="T32" fmla="*/ 5 w 7"/>
                <a:gd name="T33" fmla="*/ 2 h 4"/>
                <a:gd name="T34" fmla="*/ 5 w 7"/>
                <a:gd name="T35" fmla="*/ 2 h 4"/>
                <a:gd name="T36" fmla="*/ 4 w 7"/>
                <a:gd name="T37" fmla="*/ 2 h 4"/>
                <a:gd name="T38" fmla="*/ 4 w 7"/>
                <a:gd name="T39" fmla="*/ 2 h 4"/>
                <a:gd name="T40" fmla="*/ 5 w 7"/>
                <a:gd name="T41" fmla="*/ 2 h 4"/>
                <a:gd name="T42" fmla="*/ 5 w 7"/>
                <a:gd name="T43" fmla="*/ 3 h 4"/>
                <a:gd name="T44" fmla="*/ 5 w 7"/>
                <a:gd name="T45" fmla="*/ 3 h 4"/>
                <a:gd name="T46" fmla="*/ 5 w 7"/>
                <a:gd name="T47" fmla="*/ 3 h 4"/>
                <a:gd name="T48" fmla="*/ 5 w 7"/>
                <a:gd name="T49" fmla="*/ 3 h 4"/>
                <a:gd name="T50" fmla="*/ 5 w 7"/>
                <a:gd name="T51" fmla="*/ 4 h 4"/>
                <a:gd name="T52" fmla="*/ 5 w 7"/>
                <a:gd name="T53" fmla="*/ 4 h 4"/>
                <a:gd name="T54" fmla="*/ 4 w 7"/>
                <a:gd name="T55" fmla="*/ 3 h 4"/>
                <a:gd name="T56" fmla="*/ 4 w 7"/>
                <a:gd name="T57" fmla="*/ 4 h 4"/>
                <a:gd name="T58" fmla="*/ 2 w 7"/>
                <a:gd name="T59" fmla="*/ 3 h 4"/>
                <a:gd name="T60" fmla="*/ 2 w 7"/>
                <a:gd name="T61" fmla="*/ 3 h 4"/>
                <a:gd name="T62" fmla="*/ 1 w 7"/>
                <a:gd name="T63" fmla="*/ 2 h 4"/>
                <a:gd name="T64" fmla="*/ 1 w 7"/>
                <a:gd name="T65" fmla="*/ 1 h 4"/>
                <a:gd name="T66" fmla="*/ 1 w 7"/>
                <a:gd name="T67" fmla="*/ 1 h 4"/>
                <a:gd name="T68" fmla="*/ 1 w 7"/>
                <a:gd name="T69" fmla="*/ 1 h 4"/>
                <a:gd name="T70" fmla="*/ 1 w 7"/>
                <a:gd name="T71" fmla="*/ 1 h 4"/>
                <a:gd name="T72" fmla="*/ 2 w 7"/>
                <a:gd name="T73" fmla="*/ 1 h 4"/>
                <a:gd name="T74" fmla="*/ 2 w 7"/>
                <a:gd name="T75" fmla="*/ 2 h 4"/>
                <a:gd name="T76" fmla="*/ 2 w 7"/>
                <a:gd name="T77" fmla="*/ 2 h 4"/>
                <a:gd name="T78" fmla="*/ 2 w 7"/>
                <a:gd name="T79" fmla="*/ 2 h 4"/>
                <a:gd name="T80" fmla="*/ 2 w 7"/>
                <a:gd name="T81" fmla="*/ 2 h 4"/>
                <a:gd name="T82" fmla="*/ 4 w 7"/>
                <a:gd name="T83" fmla="*/ 1 h 4"/>
                <a:gd name="T84" fmla="*/ 4 w 7"/>
                <a:gd name="T85" fmla="*/ 1 h 4"/>
                <a:gd name="T86" fmla="*/ 4 w 7"/>
                <a:gd name="T87" fmla="*/ 1 h 4"/>
                <a:gd name="T88" fmla="*/ 4 w 7"/>
                <a:gd name="T89" fmla="*/ 0 h 4"/>
                <a:gd name="T90" fmla="*/ 2 w 7"/>
                <a:gd name="T91" fmla="*/ 1 h 4"/>
                <a:gd name="T92" fmla="*/ 2 w 7"/>
                <a:gd name="T93" fmla="*/ 0 h 4"/>
                <a:gd name="T94" fmla="*/ 2 w 7"/>
                <a:gd name="T95" fmla="*/ 0 h 4"/>
                <a:gd name="T96" fmla="*/ 2 w 7"/>
                <a:gd name="T97" fmla="*/ 0 h 4"/>
                <a:gd name="T98" fmla="*/ 4 w 7"/>
                <a:gd name="T9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 h="4">
                  <a:moveTo>
                    <a:pt x="4" y="0"/>
                  </a:moveTo>
                  <a:lnTo>
                    <a:pt x="4" y="0"/>
                  </a:lnTo>
                  <a:lnTo>
                    <a:pt x="4" y="0"/>
                  </a:lnTo>
                  <a:lnTo>
                    <a:pt x="5" y="0"/>
                  </a:lnTo>
                  <a:lnTo>
                    <a:pt x="5" y="0"/>
                  </a:lnTo>
                  <a:lnTo>
                    <a:pt x="5" y="0"/>
                  </a:lnTo>
                  <a:lnTo>
                    <a:pt x="5" y="0"/>
                  </a:lnTo>
                  <a:lnTo>
                    <a:pt x="5" y="0"/>
                  </a:lnTo>
                  <a:lnTo>
                    <a:pt x="5" y="0"/>
                  </a:lnTo>
                  <a:lnTo>
                    <a:pt x="5" y="0"/>
                  </a:lnTo>
                  <a:lnTo>
                    <a:pt x="5" y="0"/>
                  </a:lnTo>
                  <a:lnTo>
                    <a:pt x="5" y="0"/>
                  </a:lnTo>
                  <a:lnTo>
                    <a:pt x="6" y="0"/>
                  </a:lnTo>
                  <a:lnTo>
                    <a:pt x="6" y="0"/>
                  </a:lnTo>
                  <a:lnTo>
                    <a:pt x="6" y="1"/>
                  </a:lnTo>
                  <a:lnTo>
                    <a:pt x="6" y="1"/>
                  </a:lnTo>
                  <a:lnTo>
                    <a:pt x="6" y="1"/>
                  </a:lnTo>
                  <a:lnTo>
                    <a:pt x="7" y="1"/>
                  </a:lnTo>
                  <a:lnTo>
                    <a:pt x="7" y="1"/>
                  </a:lnTo>
                  <a:lnTo>
                    <a:pt x="7" y="1"/>
                  </a:lnTo>
                  <a:lnTo>
                    <a:pt x="7" y="1"/>
                  </a:lnTo>
                  <a:lnTo>
                    <a:pt x="7" y="1"/>
                  </a:lnTo>
                  <a:lnTo>
                    <a:pt x="7" y="2"/>
                  </a:lnTo>
                  <a:lnTo>
                    <a:pt x="7" y="2"/>
                  </a:lnTo>
                  <a:lnTo>
                    <a:pt x="7" y="2"/>
                  </a:lnTo>
                  <a:lnTo>
                    <a:pt x="7" y="2"/>
                  </a:lnTo>
                  <a:lnTo>
                    <a:pt x="7" y="2"/>
                  </a:lnTo>
                  <a:lnTo>
                    <a:pt x="7" y="2"/>
                  </a:lnTo>
                  <a:lnTo>
                    <a:pt x="7" y="2"/>
                  </a:lnTo>
                  <a:lnTo>
                    <a:pt x="7" y="2"/>
                  </a:lnTo>
                  <a:lnTo>
                    <a:pt x="7" y="2"/>
                  </a:lnTo>
                  <a:lnTo>
                    <a:pt x="7" y="2"/>
                  </a:lnTo>
                  <a:lnTo>
                    <a:pt x="7" y="2"/>
                  </a:lnTo>
                  <a:lnTo>
                    <a:pt x="7" y="2"/>
                  </a:lnTo>
                  <a:lnTo>
                    <a:pt x="6" y="2"/>
                  </a:lnTo>
                  <a:lnTo>
                    <a:pt x="6" y="2"/>
                  </a:lnTo>
                  <a:lnTo>
                    <a:pt x="6" y="2"/>
                  </a:lnTo>
                  <a:lnTo>
                    <a:pt x="6" y="2"/>
                  </a:lnTo>
                  <a:lnTo>
                    <a:pt x="6" y="2"/>
                  </a:lnTo>
                  <a:lnTo>
                    <a:pt x="6" y="2"/>
                  </a:lnTo>
                  <a:lnTo>
                    <a:pt x="6" y="2"/>
                  </a:lnTo>
                  <a:lnTo>
                    <a:pt x="6" y="2"/>
                  </a:lnTo>
                  <a:lnTo>
                    <a:pt x="6" y="2"/>
                  </a:lnTo>
                  <a:lnTo>
                    <a:pt x="6" y="2"/>
                  </a:lnTo>
                  <a:lnTo>
                    <a:pt x="6" y="2"/>
                  </a:lnTo>
                  <a:lnTo>
                    <a:pt x="7" y="2"/>
                  </a:lnTo>
                  <a:lnTo>
                    <a:pt x="6" y="2"/>
                  </a:lnTo>
                  <a:lnTo>
                    <a:pt x="6" y="2"/>
                  </a:lnTo>
                  <a:lnTo>
                    <a:pt x="6" y="2"/>
                  </a:lnTo>
                  <a:lnTo>
                    <a:pt x="5" y="2"/>
                  </a:lnTo>
                  <a:lnTo>
                    <a:pt x="5" y="2"/>
                  </a:lnTo>
                  <a:lnTo>
                    <a:pt x="5" y="2"/>
                  </a:lnTo>
                  <a:lnTo>
                    <a:pt x="5" y="2"/>
                  </a:lnTo>
                  <a:lnTo>
                    <a:pt x="5" y="2"/>
                  </a:lnTo>
                  <a:lnTo>
                    <a:pt x="5" y="1"/>
                  </a:lnTo>
                  <a:lnTo>
                    <a:pt x="5" y="1"/>
                  </a:lnTo>
                  <a:lnTo>
                    <a:pt x="5" y="1"/>
                  </a:lnTo>
                  <a:lnTo>
                    <a:pt x="5" y="1"/>
                  </a:lnTo>
                  <a:lnTo>
                    <a:pt x="5" y="1"/>
                  </a:lnTo>
                  <a:lnTo>
                    <a:pt x="5" y="1"/>
                  </a:lnTo>
                  <a:lnTo>
                    <a:pt x="5" y="1"/>
                  </a:lnTo>
                  <a:lnTo>
                    <a:pt x="5" y="1"/>
                  </a:lnTo>
                  <a:lnTo>
                    <a:pt x="5" y="1"/>
                  </a:lnTo>
                  <a:lnTo>
                    <a:pt x="4" y="1"/>
                  </a:lnTo>
                  <a:lnTo>
                    <a:pt x="5" y="1"/>
                  </a:lnTo>
                  <a:lnTo>
                    <a:pt x="5" y="2"/>
                  </a:lnTo>
                  <a:lnTo>
                    <a:pt x="5" y="2"/>
                  </a:lnTo>
                  <a:lnTo>
                    <a:pt x="5" y="2"/>
                  </a:lnTo>
                  <a:lnTo>
                    <a:pt x="5" y="2"/>
                  </a:lnTo>
                  <a:lnTo>
                    <a:pt x="5" y="2"/>
                  </a:lnTo>
                  <a:lnTo>
                    <a:pt x="5" y="2"/>
                  </a:lnTo>
                  <a:lnTo>
                    <a:pt x="5" y="2"/>
                  </a:lnTo>
                  <a:lnTo>
                    <a:pt x="5" y="2"/>
                  </a:lnTo>
                  <a:lnTo>
                    <a:pt x="4" y="2"/>
                  </a:lnTo>
                  <a:lnTo>
                    <a:pt x="4" y="2"/>
                  </a:lnTo>
                  <a:lnTo>
                    <a:pt x="4" y="2"/>
                  </a:lnTo>
                  <a:lnTo>
                    <a:pt x="4" y="2"/>
                  </a:lnTo>
                  <a:lnTo>
                    <a:pt x="4" y="2"/>
                  </a:lnTo>
                  <a:lnTo>
                    <a:pt x="4" y="2"/>
                  </a:lnTo>
                  <a:lnTo>
                    <a:pt x="4" y="2"/>
                  </a:lnTo>
                  <a:lnTo>
                    <a:pt x="4" y="2"/>
                  </a:lnTo>
                  <a:lnTo>
                    <a:pt x="4" y="2"/>
                  </a:lnTo>
                  <a:lnTo>
                    <a:pt x="4" y="2"/>
                  </a:lnTo>
                  <a:lnTo>
                    <a:pt x="5" y="2"/>
                  </a:lnTo>
                  <a:lnTo>
                    <a:pt x="5" y="3"/>
                  </a:lnTo>
                  <a:lnTo>
                    <a:pt x="5" y="3"/>
                  </a:lnTo>
                  <a:lnTo>
                    <a:pt x="5" y="3"/>
                  </a:lnTo>
                  <a:lnTo>
                    <a:pt x="5" y="3"/>
                  </a:lnTo>
                  <a:lnTo>
                    <a:pt x="5" y="3"/>
                  </a:lnTo>
                  <a:lnTo>
                    <a:pt x="5" y="2"/>
                  </a:lnTo>
                  <a:lnTo>
                    <a:pt x="5" y="2"/>
                  </a:lnTo>
                  <a:lnTo>
                    <a:pt x="5" y="3"/>
                  </a:lnTo>
                  <a:lnTo>
                    <a:pt x="5" y="3"/>
                  </a:lnTo>
                  <a:lnTo>
                    <a:pt x="5" y="3"/>
                  </a:lnTo>
                  <a:lnTo>
                    <a:pt x="5" y="3"/>
                  </a:lnTo>
                  <a:lnTo>
                    <a:pt x="5" y="3"/>
                  </a:lnTo>
                  <a:lnTo>
                    <a:pt x="5" y="3"/>
                  </a:lnTo>
                  <a:lnTo>
                    <a:pt x="6" y="3"/>
                  </a:lnTo>
                  <a:lnTo>
                    <a:pt x="5" y="3"/>
                  </a:lnTo>
                  <a:lnTo>
                    <a:pt x="5" y="3"/>
                  </a:lnTo>
                  <a:lnTo>
                    <a:pt x="5" y="3"/>
                  </a:lnTo>
                  <a:lnTo>
                    <a:pt x="5" y="3"/>
                  </a:lnTo>
                  <a:lnTo>
                    <a:pt x="5" y="4"/>
                  </a:lnTo>
                  <a:lnTo>
                    <a:pt x="5" y="4"/>
                  </a:lnTo>
                  <a:lnTo>
                    <a:pt x="5" y="4"/>
                  </a:lnTo>
                  <a:lnTo>
                    <a:pt x="5" y="4"/>
                  </a:lnTo>
                  <a:lnTo>
                    <a:pt x="5" y="4"/>
                  </a:lnTo>
                  <a:lnTo>
                    <a:pt x="5" y="4"/>
                  </a:lnTo>
                  <a:lnTo>
                    <a:pt x="4" y="3"/>
                  </a:lnTo>
                  <a:lnTo>
                    <a:pt x="4" y="3"/>
                  </a:lnTo>
                  <a:lnTo>
                    <a:pt x="4" y="3"/>
                  </a:lnTo>
                  <a:lnTo>
                    <a:pt x="4" y="3"/>
                  </a:lnTo>
                  <a:lnTo>
                    <a:pt x="4" y="3"/>
                  </a:lnTo>
                  <a:lnTo>
                    <a:pt x="4" y="3"/>
                  </a:lnTo>
                  <a:lnTo>
                    <a:pt x="4" y="4"/>
                  </a:lnTo>
                  <a:lnTo>
                    <a:pt x="4" y="4"/>
                  </a:lnTo>
                  <a:lnTo>
                    <a:pt x="2" y="4"/>
                  </a:lnTo>
                  <a:lnTo>
                    <a:pt x="2" y="4"/>
                  </a:lnTo>
                  <a:lnTo>
                    <a:pt x="2" y="3"/>
                  </a:lnTo>
                  <a:lnTo>
                    <a:pt x="2" y="3"/>
                  </a:lnTo>
                  <a:lnTo>
                    <a:pt x="2" y="3"/>
                  </a:lnTo>
                  <a:lnTo>
                    <a:pt x="2" y="3"/>
                  </a:lnTo>
                  <a:lnTo>
                    <a:pt x="2" y="4"/>
                  </a:lnTo>
                  <a:lnTo>
                    <a:pt x="2" y="3"/>
                  </a:lnTo>
                  <a:lnTo>
                    <a:pt x="1" y="3"/>
                  </a:lnTo>
                  <a:lnTo>
                    <a:pt x="1" y="2"/>
                  </a:lnTo>
                  <a:lnTo>
                    <a:pt x="1" y="2"/>
                  </a:lnTo>
                  <a:lnTo>
                    <a:pt x="1" y="2"/>
                  </a:lnTo>
                  <a:lnTo>
                    <a:pt x="1" y="2"/>
                  </a:lnTo>
                  <a:lnTo>
                    <a:pt x="1" y="2"/>
                  </a:lnTo>
                  <a:lnTo>
                    <a:pt x="0" y="1"/>
                  </a:lnTo>
                  <a:lnTo>
                    <a:pt x="1" y="1"/>
                  </a:lnTo>
                  <a:lnTo>
                    <a:pt x="1" y="1"/>
                  </a:lnTo>
                  <a:lnTo>
                    <a:pt x="1" y="1"/>
                  </a:lnTo>
                  <a:lnTo>
                    <a:pt x="1" y="2"/>
                  </a:lnTo>
                  <a:lnTo>
                    <a:pt x="1" y="1"/>
                  </a:lnTo>
                  <a:lnTo>
                    <a:pt x="1" y="1"/>
                  </a:lnTo>
                  <a:lnTo>
                    <a:pt x="1" y="1"/>
                  </a:lnTo>
                  <a:lnTo>
                    <a:pt x="1" y="1"/>
                  </a:lnTo>
                  <a:lnTo>
                    <a:pt x="1" y="1"/>
                  </a:lnTo>
                  <a:lnTo>
                    <a:pt x="2" y="1"/>
                  </a:lnTo>
                  <a:lnTo>
                    <a:pt x="1" y="1"/>
                  </a:lnTo>
                  <a:lnTo>
                    <a:pt x="1" y="1"/>
                  </a:lnTo>
                  <a:lnTo>
                    <a:pt x="1" y="1"/>
                  </a:lnTo>
                  <a:lnTo>
                    <a:pt x="1" y="1"/>
                  </a:lnTo>
                  <a:lnTo>
                    <a:pt x="2" y="1"/>
                  </a:lnTo>
                  <a:lnTo>
                    <a:pt x="2" y="1"/>
                  </a:lnTo>
                  <a:lnTo>
                    <a:pt x="2" y="1"/>
                  </a:lnTo>
                  <a:lnTo>
                    <a:pt x="2" y="1"/>
                  </a:lnTo>
                  <a:lnTo>
                    <a:pt x="2" y="1"/>
                  </a:lnTo>
                  <a:lnTo>
                    <a:pt x="2" y="1"/>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4" y="1"/>
                  </a:lnTo>
                  <a:lnTo>
                    <a:pt x="4" y="1"/>
                  </a:lnTo>
                  <a:lnTo>
                    <a:pt x="4" y="1"/>
                  </a:lnTo>
                  <a:lnTo>
                    <a:pt x="4" y="1"/>
                  </a:lnTo>
                  <a:lnTo>
                    <a:pt x="4" y="1"/>
                  </a:lnTo>
                  <a:lnTo>
                    <a:pt x="4" y="1"/>
                  </a:lnTo>
                  <a:lnTo>
                    <a:pt x="4" y="1"/>
                  </a:lnTo>
                  <a:lnTo>
                    <a:pt x="4" y="1"/>
                  </a:lnTo>
                  <a:lnTo>
                    <a:pt x="4" y="1"/>
                  </a:lnTo>
                  <a:lnTo>
                    <a:pt x="4" y="1"/>
                  </a:lnTo>
                  <a:lnTo>
                    <a:pt x="4" y="1"/>
                  </a:lnTo>
                  <a:lnTo>
                    <a:pt x="4" y="1"/>
                  </a:lnTo>
                  <a:lnTo>
                    <a:pt x="4" y="1"/>
                  </a:lnTo>
                  <a:lnTo>
                    <a:pt x="4" y="1"/>
                  </a:lnTo>
                  <a:lnTo>
                    <a:pt x="4" y="0"/>
                  </a:lnTo>
                  <a:lnTo>
                    <a:pt x="4" y="0"/>
                  </a:lnTo>
                  <a:lnTo>
                    <a:pt x="4" y="0"/>
                  </a:lnTo>
                  <a:lnTo>
                    <a:pt x="2" y="0"/>
                  </a:lnTo>
                  <a:lnTo>
                    <a:pt x="2" y="0"/>
                  </a:lnTo>
                  <a:lnTo>
                    <a:pt x="2" y="1"/>
                  </a:lnTo>
                  <a:lnTo>
                    <a:pt x="2" y="1"/>
                  </a:lnTo>
                  <a:lnTo>
                    <a:pt x="2" y="1"/>
                  </a:lnTo>
                  <a:lnTo>
                    <a:pt x="2" y="0"/>
                  </a:lnTo>
                  <a:lnTo>
                    <a:pt x="2" y="0"/>
                  </a:lnTo>
                  <a:lnTo>
                    <a:pt x="2" y="0"/>
                  </a:lnTo>
                  <a:lnTo>
                    <a:pt x="1" y="0"/>
                  </a:lnTo>
                  <a:lnTo>
                    <a:pt x="2" y="0"/>
                  </a:lnTo>
                  <a:lnTo>
                    <a:pt x="2" y="0"/>
                  </a:lnTo>
                  <a:lnTo>
                    <a:pt x="2" y="0"/>
                  </a:lnTo>
                  <a:lnTo>
                    <a:pt x="2" y="0"/>
                  </a:lnTo>
                  <a:lnTo>
                    <a:pt x="2" y="0"/>
                  </a:lnTo>
                  <a:lnTo>
                    <a:pt x="2" y="0"/>
                  </a:lnTo>
                  <a:lnTo>
                    <a:pt x="2" y="0"/>
                  </a:lnTo>
                  <a:lnTo>
                    <a:pt x="4" y="0"/>
                  </a:lnTo>
                  <a:lnTo>
                    <a:pt x="4" y="0"/>
                  </a:lnTo>
                  <a:lnTo>
                    <a:pt x="4"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02" name="Freeform 1066">
              <a:extLst>
                <a:ext uri="{FF2B5EF4-FFF2-40B4-BE49-F238E27FC236}">
                  <a16:creationId xmlns:a16="http://schemas.microsoft.com/office/drawing/2014/main" id="{29304B38-48EF-4C91-99C6-7C2AF3CE97F9}"/>
                </a:ext>
              </a:extLst>
            </p:cNvPr>
            <p:cNvSpPr>
              <a:spLocks/>
            </p:cNvSpPr>
            <p:nvPr/>
          </p:nvSpPr>
          <p:spPr bwMode="auto">
            <a:xfrm>
              <a:off x="6117596" y="2087827"/>
              <a:ext cx="1336" cy="0"/>
            </a:xfrm>
            <a:custGeom>
              <a:avLst/>
              <a:gdLst>
                <a:gd name="T0" fmla="*/ 1 w 1"/>
                <a:gd name="T1" fmla="*/ 1 w 1"/>
                <a:gd name="T2" fmla="*/ 1 w 1"/>
                <a:gd name="T3" fmla="*/ 0 w 1"/>
                <a:gd name="T4" fmla="*/ 0 w 1"/>
                <a:gd name="T5" fmla="*/ 1 w 1"/>
                <a:gd name="T6" fmla="*/ 1 w 1"/>
                <a:gd name="T7" fmla="*/ 1 w 1"/>
                <a:gd name="T8" fmla="*/ 1 w 1"/>
                <a:gd name="T9" fmla="*/ 1 w 1"/>
                <a:gd name="T10"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
                  <a:moveTo>
                    <a:pt x="1" y="0"/>
                  </a:moveTo>
                  <a:lnTo>
                    <a:pt x="1" y="0"/>
                  </a:lnTo>
                  <a:lnTo>
                    <a:pt x="1" y="0"/>
                  </a:lnTo>
                  <a:lnTo>
                    <a:pt x="0" y="0"/>
                  </a:lnTo>
                  <a:lnTo>
                    <a:pt x="0"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03" name="Freeform 1067">
              <a:extLst>
                <a:ext uri="{FF2B5EF4-FFF2-40B4-BE49-F238E27FC236}">
                  <a16:creationId xmlns:a16="http://schemas.microsoft.com/office/drawing/2014/main" id="{5199AE2F-4CBD-45CE-A6C3-E3CC849E6D5B}"/>
                </a:ext>
              </a:extLst>
            </p:cNvPr>
            <p:cNvSpPr>
              <a:spLocks/>
            </p:cNvSpPr>
            <p:nvPr/>
          </p:nvSpPr>
          <p:spPr bwMode="auto">
            <a:xfrm>
              <a:off x="5957337" y="2342905"/>
              <a:ext cx="0" cy="1336"/>
            </a:xfrm>
            <a:custGeom>
              <a:avLst/>
              <a:gdLst>
                <a:gd name="T0" fmla="*/ 1 h 1"/>
                <a:gd name="T1" fmla="*/ 1 h 1"/>
                <a:gd name="T2" fmla="*/ 0 h 1"/>
                <a:gd name="T3" fmla="*/ 1 h 1"/>
              </a:gdLst>
              <a:ahLst/>
              <a:cxnLst>
                <a:cxn ang="0">
                  <a:pos x="0" y="T0"/>
                </a:cxn>
                <a:cxn ang="0">
                  <a:pos x="0" y="T1"/>
                </a:cxn>
                <a:cxn ang="0">
                  <a:pos x="0" y="T2"/>
                </a:cxn>
                <a:cxn ang="0">
                  <a:pos x="0" y="T3"/>
                </a:cxn>
              </a:cxnLst>
              <a:rect l="0" t="0" r="r" b="b"/>
              <a:pathLst>
                <a:path h="1">
                  <a:moveTo>
                    <a:pt x="0" y="1"/>
                  </a:moveTo>
                  <a:lnTo>
                    <a:pt x="0" y="1"/>
                  </a:lnTo>
                  <a:lnTo>
                    <a:pt x="0" y="0"/>
                  </a:lnTo>
                  <a:lnTo>
                    <a:pt x="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04" name="Freeform 1068">
              <a:extLst>
                <a:ext uri="{FF2B5EF4-FFF2-40B4-BE49-F238E27FC236}">
                  <a16:creationId xmlns:a16="http://schemas.microsoft.com/office/drawing/2014/main" id="{51F3BAB4-518E-4FF1-ADF7-34B063BFE9A4}"/>
                </a:ext>
              </a:extLst>
            </p:cNvPr>
            <p:cNvSpPr>
              <a:spLocks/>
            </p:cNvSpPr>
            <p:nvPr/>
          </p:nvSpPr>
          <p:spPr bwMode="auto">
            <a:xfrm>
              <a:off x="5910596" y="2221376"/>
              <a:ext cx="4007" cy="1336"/>
            </a:xfrm>
            <a:custGeom>
              <a:avLst/>
              <a:gdLst>
                <a:gd name="T0" fmla="*/ 2 w 3"/>
                <a:gd name="T1" fmla="*/ 1 h 1"/>
                <a:gd name="T2" fmla="*/ 2 w 3"/>
                <a:gd name="T3" fmla="*/ 1 h 1"/>
                <a:gd name="T4" fmla="*/ 2 w 3"/>
                <a:gd name="T5" fmla="*/ 1 h 1"/>
                <a:gd name="T6" fmla="*/ 2 w 3"/>
                <a:gd name="T7" fmla="*/ 1 h 1"/>
                <a:gd name="T8" fmla="*/ 2 w 3"/>
                <a:gd name="T9" fmla="*/ 1 h 1"/>
                <a:gd name="T10" fmla="*/ 2 w 3"/>
                <a:gd name="T11" fmla="*/ 1 h 1"/>
                <a:gd name="T12" fmla="*/ 2 w 3"/>
                <a:gd name="T13" fmla="*/ 1 h 1"/>
                <a:gd name="T14" fmla="*/ 2 w 3"/>
                <a:gd name="T15" fmla="*/ 1 h 1"/>
                <a:gd name="T16" fmla="*/ 2 w 3"/>
                <a:gd name="T17" fmla="*/ 1 h 1"/>
                <a:gd name="T18" fmla="*/ 0 w 3"/>
                <a:gd name="T19" fmla="*/ 1 h 1"/>
                <a:gd name="T20" fmla="*/ 0 w 3"/>
                <a:gd name="T21" fmla="*/ 1 h 1"/>
                <a:gd name="T22" fmla="*/ 0 w 3"/>
                <a:gd name="T23" fmla="*/ 1 h 1"/>
                <a:gd name="T24" fmla="*/ 0 w 3"/>
                <a:gd name="T25" fmla="*/ 1 h 1"/>
                <a:gd name="T26" fmla="*/ 2 w 3"/>
                <a:gd name="T27" fmla="*/ 0 h 1"/>
                <a:gd name="T28" fmla="*/ 2 w 3"/>
                <a:gd name="T29" fmla="*/ 0 h 1"/>
                <a:gd name="T30" fmla="*/ 3 w 3"/>
                <a:gd name="T31" fmla="*/ 1 h 1"/>
                <a:gd name="T32" fmla="*/ 2 w 3"/>
                <a:gd name="T33" fmla="*/ 1 h 1"/>
                <a:gd name="T34" fmla="*/ 2 w 3"/>
                <a:gd name="T35" fmla="*/ 1 h 1"/>
                <a:gd name="T36" fmla="*/ 2 w 3"/>
                <a:gd name="T37" fmla="*/ 1 h 1"/>
                <a:gd name="T38" fmla="*/ 2 w 3"/>
                <a:gd name="T39" fmla="*/ 1 h 1"/>
                <a:gd name="T40" fmla="*/ 2 w 3"/>
                <a:gd name="T41" fmla="*/ 1 h 1"/>
                <a:gd name="T42" fmla="*/ 2 w 3"/>
                <a:gd name="T4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1">
                  <a:moveTo>
                    <a:pt x="2" y="1"/>
                  </a:moveTo>
                  <a:lnTo>
                    <a:pt x="2" y="1"/>
                  </a:lnTo>
                  <a:lnTo>
                    <a:pt x="2" y="1"/>
                  </a:lnTo>
                  <a:lnTo>
                    <a:pt x="2" y="1"/>
                  </a:lnTo>
                  <a:lnTo>
                    <a:pt x="2" y="1"/>
                  </a:lnTo>
                  <a:lnTo>
                    <a:pt x="2" y="1"/>
                  </a:lnTo>
                  <a:lnTo>
                    <a:pt x="2" y="1"/>
                  </a:lnTo>
                  <a:lnTo>
                    <a:pt x="2" y="1"/>
                  </a:lnTo>
                  <a:lnTo>
                    <a:pt x="2" y="1"/>
                  </a:lnTo>
                  <a:lnTo>
                    <a:pt x="0" y="1"/>
                  </a:lnTo>
                  <a:lnTo>
                    <a:pt x="0" y="1"/>
                  </a:lnTo>
                  <a:lnTo>
                    <a:pt x="0" y="1"/>
                  </a:lnTo>
                  <a:lnTo>
                    <a:pt x="0" y="1"/>
                  </a:lnTo>
                  <a:lnTo>
                    <a:pt x="2" y="0"/>
                  </a:lnTo>
                  <a:lnTo>
                    <a:pt x="2" y="0"/>
                  </a:lnTo>
                  <a:lnTo>
                    <a:pt x="3" y="1"/>
                  </a:lnTo>
                  <a:lnTo>
                    <a:pt x="2" y="1"/>
                  </a:lnTo>
                  <a:lnTo>
                    <a:pt x="2" y="1"/>
                  </a:lnTo>
                  <a:lnTo>
                    <a:pt x="2" y="1"/>
                  </a:lnTo>
                  <a:lnTo>
                    <a:pt x="2" y="1"/>
                  </a:lnTo>
                  <a:lnTo>
                    <a:pt x="2" y="1"/>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05" name="Freeform 1069">
              <a:extLst>
                <a:ext uri="{FF2B5EF4-FFF2-40B4-BE49-F238E27FC236}">
                  <a16:creationId xmlns:a16="http://schemas.microsoft.com/office/drawing/2014/main" id="{FEB30BD6-CB5D-4ED6-9AA7-D327BDE37FBA}"/>
                </a:ext>
              </a:extLst>
            </p:cNvPr>
            <p:cNvSpPr>
              <a:spLocks/>
            </p:cNvSpPr>
            <p:nvPr/>
          </p:nvSpPr>
          <p:spPr bwMode="auto">
            <a:xfrm>
              <a:off x="5914602" y="2221376"/>
              <a:ext cx="2671" cy="0"/>
            </a:xfrm>
            <a:custGeom>
              <a:avLst/>
              <a:gdLst>
                <a:gd name="T0" fmla="*/ 2 w 2"/>
                <a:gd name="T1" fmla="*/ 0 w 2"/>
                <a:gd name="T2" fmla="*/ 1 w 2"/>
                <a:gd name="T3" fmla="*/ 2 w 2"/>
                <a:gd name="T4" fmla="*/ 2 w 2"/>
              </a:gdLst>
              <a:ahLst/>
              <a:cxnLst>
                <a:cxn ang="0">
                  <a:pos x="T0" y="0"/>
                </a:cxn>
                <a:cxn ang="0">
                  <a:pos x="T1" y="0"/>
                </a:cxn>
                <a:cxn ang="0">
                  <a:pos x="T2" y="0"/>
                </a:cxn>
                <a:cxn ang="0">
                  <a:pos x="T3" y="0"/>
                </a:cxn>
                <a:cxn ang="0">
                  <a:pos x="T4" y="0"/>
                </a:cxn>
              </a:cxnLst>
              <a:rect l="0" t="0" r="r" b="b"/>
              <a:pathLst>
                <a:path w="2">
                  <a:moveTo>
                    <a:pt x="2" y="0"/>
                  </a:moveTo>
                  <a:lnTo>
                    <a:pt x="0" y="0"/>
                  </a:lnTo>
                  <a:lnTo>
                    <a:pt x="1"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06" name="Freeform 1070">
              <a:extLst>
                <a:ext uri="{FF2B5EF4-FFF2-40B4-BE49-F238E27FC236}">
                  <a16:creationId xmlns:a16="http://schemas.microsoft.com/office/drawing/2014/main" id="{B436C32B-CD3D-4753-BD01-AFE0C3B0BA19}"/>
                </a:ext>
              </a:extLst>
            </p:cNvPr>
            <p:cNvSpPr>
              <a:spLocks/>
            </p:cNvSpPr>
            <p:nvPr/>
          </p:nvSpPr>
          <p:spPr bwMode="auto">
            <a:xfrm>
              <a:off x="5918609" y="2220040"/>
              <a:ext cx="4007" cy="0"/>
            </a:xfrm>
            <a:custGeom>
              <a:avLst/>
              <a:gdLst>
                <a:gd name="T0" fmla="*/ 3 w 3"/>
                <a:gd name="T1" fmla="*/ 3 w 3"/>
                <a:gd name="T2" fmla="*/ 3 w 3"/>
                <a:gd name="T3" fmla="*/ 3 w 3"/>
                <a:gd name="T4" fmla="*/ 0 w 3"/>
                <a:gd name="T5" fmla="*/ 0 w 3"/>
                <a:gd name="T6" fmla="*/ 0 w 3"/>
                <a:gd name="T7" fmla="*/ 1 w 3"/>
                <a:gd name="T8" fmla="*/ 3 w 3"/>
                <a:gd name="T9" fmla="*/ 3 w 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3">
                  <a:moveTo>
                    <a:pt x="3" y="0"/>
                  </a:moveTo>
                  <a:lnTo>
                    <a:pt x="3" y="0"/>
                  </a:lnTo>
                  <a:lnTo>
                    <a:pt x="3" y="0"/>
                  </a:lnTo>
                  <a:lnTo>
                    <a:pt x="3" y="0"/>
                  </a:lnTo>
                  <a:lnTo>
                    <a:pt x="0" y="0"/>
                  </a:lnTo>
                  <a:lnTo>
                    <a:pt x="0" y="0"/>
                  </a:lnTo>
                  <a:lnTo>
                    <a:pt x="0" y="0"/>
                  </a:lnTo>
                  <a:lnTo>
                    <a:pt x="1" y="0"/>
                  </a:lnTo>
                  <a:lnTo>
                    <a:pt x="3" y="0"/>
                  </a:lnTo>
                  <a:lnTo>
                    <a:pt x="3"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07" name="Freeform 1071">
              <a:extLst>
                <a:ext uri="{FF2B5EF4-FFF2-40B4-BE49-F238E27FC236}">
                  <a16:creationId xmlns:a16="http://schemas.microsoft.com/office/drawing/2014/main" id="{159C79A4-D693-4381-8826-F110D0E487BE}"/>
                </a:ext>
              </a:extLst>
            </p:cNvPr>
            <p:cNvSpPr>
              <a:spLocks/>
            </p:cNvSpPr>
            <p:nvPr/>
          </p:nvSpPr>
          <p:spPr bwMode="auto">
            <a:xfrm>
              <a:off x="5922615" y="2220040"/>
              <a:ext cx="1336" cy="0"/>
            </a:xfrm>
            <a:custGeom>
              <a:avLst/>
              <a:gdLst>
                <a:gd name="T0" fmla="*/ 1 w 1"/>
                <a:gd name="T1" fmla="*/ 1 w 1"/>
                <a:gd name="T2" fmla="*/ 1 w 1"/>
                <a:gd name="T3" fmla="*/ 1 w 1"/>
                <a:gd name="T4" fmla="*/ 1 w 1"/>
                <a:gd name="T5" fmla="*/ 0 w 1"/>
                <a:gd name="T6" fmla="*/ 0 w 1"/>
                <a:gd name="T7" fmla="*/ 0 w 1"/>
                <a:gd name="T8" fmla="*/ 1 w 1"/>
                <a:gd name="T9"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1">
                  <a:moveTo>
                    <a:pt x="1" y="0"/>
                  </a:moveTo>
                  <a:lnTo>
                    <a:pt x="1" y="0"/>
                  </a:lnTo>
                  <a:lnTo>
                    <a:pt x="1" y="0"/>
                  </a:lnTo>
                  <a:lnTo>
                    <a:pt x="1" y="0"/>
                  </a:lnTo>
                  <a:lnTo>
                    <a:pt x="1" y="0"/>
                  </a:lnTo>
                  <a:lnTo>
                    <a:pt x="0" y="0"/>
                  </a:lnTo>
                  <a:lnTo>
                    <a:pt x="0" y="0"/>
                  </a:lnTo>
                  <a:lnTo>
                    <a:pt x="0"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08" name="Freeform 1072">
              <a:extLst>
                <a:ext uri="{FF2B5EF4-FFF2-40B4-BE49-F238E27FC236}">
                  <a16:creationId xmlns:a16="http://schemas.microsoft.com/office/drawing/2014/main" id="{F6789AC9-C9AF-4BEE-AD03-B58E894DD95D}"/>
                </a:ext>
              </a:extLst>
            </p:cNvPr>
            <p:cNvSpPr>
              <a:spLocks/>
            </p:cNvSpPr>
            <p:nvPr/>
          </p:nvSpPr>
          <p:spPr bwMode="auto">
            <a:xfrm>
              <a:off x="5934635" y="2220040"/>
              <a:ext cx="1336" cy="0"/>
            </a:xfrm>
            <a:custGeom>
              <a:avLst/>
              <a:gdLst>
                <a:gd name="T0" fmla="*/ 0 w 1"/>
                <a:gd name="T1" fmla="*/ 0 w 1"/>
                <a:gd name="T2" fmla="*/ 0 w 1"/>
                <a:gd name="T3" fmla="*/ 0 w 1"/>
                <a:gd name="T4" fmla="*/ 0 w 1"/>
                <a:gd name="T5" fmla="*/ 0 w 1"/>
                <a:gd name="T6" fmla="*/ 0 w 1"/>
                <a:gd name="T7" fmla="*/ 0 w 1"/>
                <a:gd name="T8" fmla="*/ 0 w 1"/>
                <a:gd name="T9" fmla="*/ 0 w 1"/>
                <a:gd name="T10" fmla="*/ 0 w 1"/>
                <a:gd name="T11" fmla="*/ 1 w 1"/>
                <a:gd name="T12" fmla="*/ 1 w 1"/>
                <a:gd name="T13"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Lst>
              <a:rect l="0" t="0" r="r" b="b"/>
              <a:pathLst>
                <a:path w="1">
                  <a:moveTo>
                    <a:pt x="0" y="0"/>
                  </a:moveTo>
                  <a:lnTo>
                    <a:pt x="0" y="0"/>
                  </a:lnTo>
                  <a:lnTo>
                    <a:pt x="0" y="0"/>
                  </a:lnTo>
                  <a:lnTo>
                    <a:pt x="0" y="0"/>
                  </a:lnTo>
                  <a:lnTo>
                    <a:pt x="0" y="0"/>
                  </a:lnTo>
                  <a:lnTo>
                    <a:pt x="0" y="0"/>
                  </a:lnTo>
                  <a:lnTo>
                    <a:pt x="0" y="0"/>
                  </a:lnTo>
                  <a:lnTo>
                    <a:pt x="0" y="0"/>
                  </a:lnTo>
                  <a:lnTo>
                    <a:pt x="0" y="0"/>
                  </a:lnTo>
                  <a:lnTo>
                    <a:pt x="0" y="0"/>
                  </a:lnTo>
                  <a:lnTo>
                    <a:pt x="0" y="0"/>
                  </a:lnTo>
                  <a:lnTo>
                    <a:pt x="1" y="0"/>
                  </a:lnTo>
                  <a:lnTo>
                    <a:pt x="1"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09" name="Freeform 1073">
              <a:extLst>
                <a:ext uri="{FF2B5EF4-FFF2-40B4-BE49-F238E27FC236}">
                  <a16:creationId xmlns:a16="http://schemas.microsoft.com/office/drawing/2014/main" id="{1CED6E81-DE4A-49B2-885B-A3B5750E4DED}"/>
                </a:ext>
              </a:extLst>
            </p:cNvPr>
            <p:cNvSpPr>
              <a:spLocks/>
            </p:cNvSpPr>
            <p:nvPr/>
          </p:nvSpPr>
          <p:spPr bwMode="auto">
            <a:xfrm>
              <a:off x="5923951" y="2220040"/>
              <a:ext cx="2671" cy="0"/>
            </a:xfrm>
            <a:custGeom>
              <a:avLst/>
              <a:gdLst>
                <a:gd name="T0" fmla="*/ 2 w 2"/>
                <a:gd name="T1" fmla="*/ 2 w 2"/>
                <a:gd name="T2" fmla="*/ 2 w 2"/>
                <a:gd name="T3" fmla="*/ 2 w 2"/>
                <a:gd name="T4" fmla="*/ 1 w 2"/>
                <a:gd name="T5" fmla="*/ 1 w 2"/>
                <a:gd name="T6" fmla="*/ 1 w 2"/>
                <a:gd name="T7" fmla="*/ 0 w 2"/>
                <a:gd name="T8" fmla="*/ 0 w 2"/>
                <a:gd name="T9" fmla="*/ 0 w 2"/>
                <a:gd name="T10" fmla="*/ 0 w 2"/>
                <a:gd name="T11" fmla="*/ 0 w 2"/>
                <a:gd name="T12" fmla="*/ 1 w 2"/>
                <a:gd name="T13" fmla="*/ 2 w 2"/>
                <a:gd name="T14" fmla="*/ 2 w 2"/>
                <a:gd name="T15"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Lst>
              <a:rect l="0" t="0" r="r" b="b"/>
              <a:pathLst>
                <a:path w="2">
                  <a:moveTo>
                    <a:pt x="2" y="0"/>
                  </a:moveTo>
                  <a:lnTo>
                    <a:pt x="2" y="0"/>
                  </a:lnTo>
                  <a:lnTo>
                    <a:pt x="2" y="0"/>
                  </a:lnTo>
                  <a:lnTo>
                    <a:pt x="2" y="0"/>
                  </a:lnTo>
                  <a:lnTo>
                    <a:pt x="1" y="0"/>
                  </a:lnTo>
                  <a:lnTo>
                    <a:pt x="1" y="0"/>
                  </a:lnTo>
                  <a:lnTo>
                    <a:pt x="1" y="0"/>
                  </a:lnTo>
                  <a:lnTo>
                    <a:pt x="0" y="0"/>
                  </a:lnTo>
                  <a:lnTo>
                    <a:pt x="0" y="0"/>
                  </a:lnTo>
                  <a:lnTo>
                    <a:pt x="0" y="0"/>
                  </a:lnTo>
                  <a:lnTo>
                    <a:pt x="0" y="0"/>
                  </a:lnTo>
                  <a:lnTo>
                    <a:pt x="0" y="0"/>
                  </a:lnTo>
                  <a:lnTo>
                    <a:pt x="1"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10" name="Freeform 1074">
              <a:extLst>
                <a:ext uri="{FF2B5EF4-FFF2-40B4-BE49-F238E27FC236}">
                  <a16:creationId xmlns:a16="http://schemas.microsoft.com/office/drawing/2014/main" id="{463CF29B-3A59-4155-B6BB-78A468F75EFA}"/>
                </a:ext>
              </a:extLst>
            </p:cNvPr>
            <p:cNvSpPr>
              <a:spLocks/>
            </p:cNvSpPr>
            <p:nvPr/>
          </p:nvSpPr>
          <p:spPr bwMode="auto">
            <a:xfrm>
              <a:off x="5926622" y="2218705"/>
              <a:ext cx="2671" cy="1336"/>
            </a:xfrm>
            <a:custGeom>
              <a:avLst/>
              <a:gdLst>
                <a:gd name="T0" fmla="*/ 2 w 2"/>
                <a:gd name="T1" fmla="*/ 0 h 1"/>
                <a:gd name="T2" fmla="*/ 1 w 2"/>
                <a:gd name="T3" fmla="*/ 1 h 1"/>
                <a:gd name="T4" fmla="*/ 1 w 2"/>
                <a:gd name="T5" fmla="*/ 1 h 1"/>
                <a:gd name="T6" fmla="*/ 1 w 2"/>
                <a:gd name="T7" fmla="*/ 1 h 1"/>
                <a:gd name="T8" fmla="*/ 1 w 2"/>
                <a:gd name="T9" fmla="*/ 1 h 1"/>
                <a:gd name="T10" fmla="*/ 0 w 2"/>
                <a:gd name="T11" fmla="*/ 1 h 1"/>
                <a:gd name="T12" fmla="*/ 0 w 2"/>
                <a:gd name="T13" fmla="*/ 1 h 1"/>
                <a:gd name="T14" fmla="*/ 0 w 2"/>
                <a:gd name="T15" fmla="*/ 1 h 1"/>
                <a:gd name="T16" fmla="*/ 0 w 2"/>
                <a:gd name="T17" fmla="*/ 1 h 1"/>
                <a:gd name="T18" fmla="*/ 0 w 2"/>
                <a:gd name="T19" fmla="*/ 0 h 1"/>
                <a:gd name="T20" fmla="*/ 1 w 2"/>
                <a:gd name="T21" fmla="*/ 0 h 1"/>
                <a:gd name="T22" fmla="*/ 2 w 2"/>
                <a:gd name="T23" fmla="*/ 0 h 1"/>
                <a:gd name="T24" fmla="*/ 2 w 2"/>
                <a:gd name="T25" fmla="*/ 0 h 1"/>
                <a:gd name="T26" fmla="*/ 2 w 2"/>
                <a:gd name="T2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1">
                  <a:moveTo>
                    <a:pt x="2" y="0"/>
                  </a:moveTo>
                  <a:lnTo>
                    <a:pt x="1" y="1"/>
                  </a:lnTo>
                  <a:lnTo>
                    <a:pt x="1" y="1"/>
                  </a:lnTo>
                  <a:lnTo>
                    <a:pt x="1" y="1"/>
                  </a:lnTo>
                  <a:lnTo>
                    <a:pt x="1" y="1"/>
                  </a:lnTo>
                  <a:lnTo>
                    <a:pt x="0" y="1"/>
                  </a:lnTo>
                  <a:lnTo>
                    <a:pt x="0" y="1"/>
                  </a:lnTo>
                  <a:lnTo>
                    <a:pt x="0" y="1"/>
                  </a:lnTo>
                  <a:lnTo>
                    <a:pt x="0" y="1"/>
                  </a:lnTo>
                  <a:lnTo>
                    <a:pt x="0" y="0"/>
                  </a:lnTo>
                  <a:lnTo>
                    <a:pt x="1"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11" name="Freeform 1075">
              <a:extLst>
                <a:ext uri="{FF2B5EF4-FFF2-40B4-BE49-F238E27FC236}">
                  <a16:creationId xmlns:a16="http://schemas.microsoft.com/office/drawing/2014/main" id="{C76B2800-4601-466D-99D2-7632F124AF30}"/>
                </a:ext>
              </a:extLst>
            </p:cNvPr>
            <p:cNvSpPr>
              <a:spLocks/>
            </p:cNvSpPr>
            <p:nvPr/>
          </p:nvSpPr>
          <p:spPr bwMode="auto">
            <a:xfrm>
              <a:off x="5929293" y="2218705"/>
              <a:ext cx="2671" cy="0"/>
            </a:xfrm>
            <a:custGeom>
              <a:avLst/>
              <a:gdLst>
                <a:gd name="T0" fmla="*/ 2 w 2"/>
                <a:gd name="T1" fmla="*/ 2 w 2"/>
                <a:gd name="T2" fmla="*/ 2 w 2"/>
                <a:gd name="T3" fmla="*/ 2 w 2"/>
                <a:gd name="T4" fmla="*/ 2 w 2"/>
                <a:gd name="T5" fmla="*/ 0 w 2"/>
                <a:gd name="T6" fmla="*/ 0 w 2"/>
                <a:gd name="T7" fmla="*/ 0 w 2"/>
                <a:gd name="T8" fmla="*/ 0 w 2"/>
                <a:gd name="T9" fmla="*/ 0 w 2"/>
                <a:gd name="T10" fmla="*/ 2 w 2"/>
                <a:gd name="T11" fmla="*/ 2 w 2"/>
                <a:gd name="T12"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Lst>
              <a:rect l="0" t="0" r="r" b="b"/>
              <a:pathLst>
                <a:path w="2">
                  <a:moveTo>
                    <a:pt x="2" y="0"/>
                  </a:moveTo>
                  <a:lnTo>
                    <a:pt x="2" y="0"/>
                  </a:lnTo>
                  <a:lnTo>
                    <a:pt x="2" y="0"/>
                  </a:lnTo>
                  <a:lnTo>
                    <a:pt x="2" y="0"/>
                  </a:lnTo>
                  <a:lnTo>
                    <a:pt x="2" y="0"/>
                  </a:lnTo>
                  <a:lnTo>
                    <a:pt x="0" y="0"/>
                  </a:lnTo>
                  <a:lnTo>
                    <a:pt x="0" y="0"/>
                  </a:lnTo>
                  <a:lnTo>
                    <a:pt x="0" y="0"/>
                  </a:lnTo>
                  <a:lnTo>
                    <a:pt x="0" y="0"/>
                  </a:lnTo>
                  <a:lnTo>
                    <a:pt x="0"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12" name="Freeform 1076">
              <a:extLst>
                <a:ext uri="{FF2B5EF4-FFF2-40B4-BE49-F238E27FC236}">
                  <a16:creationId xmlns:a16="http://schemas.microsoft.com/office/drawing/2014/main" id="{25F58320-A317-43D8-9C56-4FD7E17ECA9F}"/>
                </a:ext>
              </a:extLst>
            </p:cNvPr>
            <p:cNvSpPr>
              <a:spLocks/>
            </p:cNvSpPr>
            <p:nvPr/>
          </p:nvSpPr>
          <p:spPr bwMode="auto">
            <a:xfrm>
              <a:off x="5985383" y="2213363"/>
              <a:ext cx="1336" cy="1336"/>
            </a:xfrm>
            <a:custGeom>
              <a:avLst/>
              <a:gdLst>
                <a:gd name="T0" fmla="*/ 1 w 1"/>
                <a:gd name="T1" fmla="*/ 0 h 1"/>
                <a:gd name="T2" fmla="*/ 1 w 1"/>
                <a:gd name="T3" fmla="*/ 1 h 1"/>
                <a:gd name="T4" fmla="*/ 0 w 1"/>
                <a:gd name="T5" fmla="*/ 1 h 1"/>
                <a:gd name="T6" fmla="*/ 0 w 1"/>
                <a:gd name="T7" fmla="*/ 1 h 1"/>
                <a:gd name="T8" fmla="*/ 0 w 1"/>
                <a:gd name="T9" fmla="*/ 1 h 1"/>
                <a:gd name="T10" fmla="*/ 0 w 1"/>
                <a:gd name="T11" fmla="*/ 1 h 1"/>
                <a:gd name="T12" fmla="*/ 0 w 1"/>
                <a:gd name="T13" fmla="*/ 1 h 1"/>
                <a:gd name="T14" fmla="*/ 0 w 1"/>
                <a:gd name="T15" fmla="*/ 1 h 1"/>
                <a:gd name="T16" fmla="*/ 0 w 1"/>
                <a:gd name="T17" fmla="*/ 1 h 1"/>
                <a:gd name="T18" fmla="*/ 0 w 1"/>
                <a:gd name="T19" fmla="*/ 1 h 1"/>
                <a:gd name="T20" fmla="*/ 0 w 1"/>
                <a:gd name="T21" fmla="*/ 1 h 1"/>
                <a:gd name="T22" fmla="*/ 0 w 1"/>
                <a:gd name="T23" fmla="*/ 1 h 1"/>
                <a:gd name="T24" fmla="*/ 0 w 1"/>
                <a:gd name="T25" fmla="*/ 1 h 1"/>
                <a:gd name="T26" fmla="*/ 0 w 1"/>
                <a:gd name="T27" fmla="*/ 1 h 1"/>
                <a:gd name="T28" fmla="*/ 0 w 1"/>
                <a:gd name="T29" fmla="*/ 1 h 1"/>
                <a:gd name="T30" fmla="*/ 0 w 1"/>
                <a:gd name="T31" fmla="*/ 0 h 1"/>
                <a:gd name="T32" fmla="*/ 0 w 1"/>
                <a:gd name="T33" fmla="*/ 0 h 1"/>
                <a:gd name="T34" fmla="*/ 1 w 1"/>
                <a:gd name="T3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 h="1">
                  <a:moveTo>
                    <a:pt x="1" y="0"/>
                  </a:moveTo>
                  <a:lnTo>
                    <a:pt x="1"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0"/>
                  </a:lnTo>
                  <a:lnTo>
                    <a:pt x="0"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13" name="Freeform 1077">
              <a:extLst>
                <a:ext uri="{FF2B5EF4-FFF2-40B4-BE49-F238E27FC236}">
                  <a16:creationId xmlns:a16="http://schemas.microsoft.com/office/drawing/2014/main" id="{0B160691-4C28-4A94-8978-DF16C67E4EC4}"/>
                </a:ext>
              </a:extLst>
            </p:cNvPr>
            <p:cNvSpPr>
              <a:spLocks/>
            </p:cNvSpPr>
            <p:nvPr/>
          </p:nvSpPr>
          <p:spPr bwMode="auto">
            <a:xfrm>
              <a:off x="5986718" y="2212027"/>
              <a:ext cx="2671" cy="1336"/>
            </a:xfrm>
            <a:custGeom>
              <a:avLst/>
              <a:gdLst>
                <a:gd name="T0" fmla="*/ 0 w 2"/>
                <a:gd name="T1" fmla="*/ 1 h 1"/>
                <a:gd name="T2" fmla="*/ 0 w 2"/>
                <a:gd name="T3" fmla="*/ 1 h 1"/>
                <a:gd name="T4" fmla="*/ 0 w 2"/>
                <a:gd name="T5" fmla="*/ 1 h 1"/>
                <a:gd name="T6" fmla="*/ 0 w 2"/>
                <a:gd name="T7" fmla="*/ 1 h 1"/>
                <a:gd name="T8" fmla="*/ 0 w 2"/>
                <a:gd name="T9" fmla="*/ 0 h 1"/>
                <a:gd name="T10" fmla="*/ 2 w 2"/>
                <a:gd name="T11" fmla="*/ 0 h 1"/>
                <a:gd name="T12" fmla="*/ 2 w 2"/>
                <a:gd name="T13" fmla="*/ 0 h 1"/>
                <a:gd name="T14" fmla="*/ 2 w 2"/>
                <a:gd name="T15" fmla="*/ 0 h 1"/>
                <a:gd name="T16" fmla="*/ 0 w 2"/>
                <a:gd name="T17" fmla="*/ 1 h 1"/>
                <a:gd name="T18" fmla="*/ 0 w 2"/>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1">
                  <a:moveTo>
                    <a:pt x="0" y="1"/>
                  </a:moveTo>
                  <a:lnTo>
                    <a:pt x="0" y="1"/>
                  </a:lnTo>
                  <a:lnTo>
                    <a:pt x="0" y="1"/>
                  </a:lnTo>
                  <a:lnTo>
                    <a:pt x="0" y="1"/>
                  </a:lnTo>
                  <a:lnTo>
                    <a:pt x="0" y="0"/>
                  </a:lnTo>
                  <a:lnTo>
                    <a:pt x="2" y="0"/>
                  </a:lnTo>
                  <a:lnTo>
                    <a:pt x="2" y="0"/>
                  </a:lnTo>
                  <a:lnTo>
                    <a:pt x="2" y="0"/>
                  </a:lnTo>
                  <a:lnTo>
                    <a:pt x="0" y="1"/>
                  </a:lnTo>
                  <a:lnTo>
                    <a:pt x="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14" name="Freeform 1078">
              <a:extLst>
                <a:ext uri="{FF2B5EF4-FFF2-40B4-BE49-F238E27FC236}">
                  <a16:creationId xmlns:a16="http://schemas.microsoft.com/office/drawing/2014/main" id="{40CDA3FB-CADC-48C3-90D9-6B15AD579956}"/>
                </a:ext>
              </a:extLst>
            </p:cNvPr>
            <p:cNvSpPr>
              <a:spLocks/>
            </p:cNvSpPr>
            <p:nvPr/>
          </p:nvSpPr>
          <p:spPr bwMode="auto">
            <a:xfrm>
              <a:off x="6021441" y="2210692"/>
              <a:ext cx="8013" cy="8013"/>
            </a:xfrm>
            <a:custGeom>
              <a:avLst/>
              <a:gdLst>
                <a:gd name="T0" fmla="*/ 3 w 6"/>
                <a:gd name="T1" fmla="*/ 2 h 6"/>
                <a:gd name="T2" fmla="*/ 6 w 6"/>
                <a:gd name="T3" fmla="*/ 3 h 6"/>
                <a:gd name="T4" fmla="*/ 6 w 6"/>
                <a:gd name="T5" fmla="*/ 3 h 6"/>
                <a:gd name="T6" fmla="*/ 6 w 6"/>
                <a:gd name="T7" fmla="*/ 4 h 6"/>
                <a:gd name="T8" fmla="*/ 6 w 6"/>
                <a:gd name="T9" fmla="*/ 4 h 6"/>
                <a:gd name="T10" fmla="*/ 5 w 6"/>
                <a:gd name="T11" fmla="*/ 4 h 6"/>
                <a:gd name="T12" fmla="*/ 5 w 6"/>
                <a:gd name="T13" fmla="*/ 4 h 6"/>
                <a:gd name="T14" fmla="*/ 3 w 6"/>
                <a:gd name="T15" fmla="*/ 4 h 6"/>
                <a:gd name="T16" fmla="*/ 2 w 6"/>
                <a:gd name="T17" fmla="*/ 6 h 6"/>
                <a:gd name="T18" fmla="*/ 1 w 6"/>
                <a:gd name="T19" fmla="*/ 4 h 6"/>
                <a:gd name="T20" fmla="*/ 2 w 6"/>
                <a:gd name="T21" fmla="*/ 4 h 6"/>
                <a:gd name="T22" fmla="*/ 2 w 6"/>
                <a:gd name="T23" fmla="*/ 4 h 6"/>
                <a:gd name="T24" fmla="*/ 3 w 6"/>
                <a:gd name="T25" fmla="*/ 3 h 6"/>
                <a:gd name="T26" fmla="*/ 2 w 6"/>
                <a:gd name="T27" fmla="*/ 3 h 6"/>
                <a:gd name="T28" fmla="*/ 3 w 6"/>
                <a:gd name="T29" fmla="*/ 3 h 6"/>
                <a:gd name="T30" fmla="*/ 3 w 6"/>
                <a:gd name="T31" fmla="*/ 3 h 6"/>
                <a:gd name="T32" fmla="*/ 3 w 6"/>
                <a:gd name="T33" fmla="*/ 3 h 6"/>
                <a:gd name="T34" fmla="*/ 3 w 6"/>
                <a:gd name="T35" fmla="*/ 3 h 6"/>
                <a:gd name="T36" fmla="*/ 3 w 6"/>
                <a:gd name="T37" fmla="*/ 3 h 6"/>
                <a:gd name="T38" fmla="*/ 3 w 6"/>
                <a:gd name="T39" fmla="*/ 3 h 6"/>
                <a:gd name="T40" fmla="*/ 5 w 6"/>
                <a:gd name="T41" fmla="*/ 3 h 6"/>
                <a:gd name="T42" fmla="*/ 5 w 6"/>
                <a:gd name="T43" fmla="*/ 3 h 6"/>
                <a:gd name="T44" fmla="*/ 3 w 6"/>
                <a:gd name="T45" fmla="*/ 2 h 6"/>
                <a:gd name="T46" fmla="*/ 3 w 6"/>
                <a:gd name="T47" fmla="*/ 2 h 6"/>
                <a:gd name="T48" fmla="*/ 3 w 6"/>
                <a:gd name="T49" fmla="*/ 2 h 6"/>
                <a:gd name="T50" fmla="*/ 2 w 6"/>
                <a:gd name="T51" fmla="*/ 2 h 6"/>
                <a:gd name="T52" fmla="*/ 2 w 6"/>
                <a:gd name="T53" fmla="*/ 2 h 6"/>
                <a:gd name="T54" fmla="*/ 2 w 6"/>
                <a:gd name="T55" fmla="*/ 2 h 6"/>
                <a:gd name="T56" fmla="*/ 2 w 6"/>
                <a:gd name="T57" fmla="*/ 2 h 6"/>
                <a:gd name="T58" fmla="*/ 2 w 6"/>
                <a:gd name="T59" fmla="*/ 2 h 6"/>
                <a:gd name="T60" fmla="*/ 2 w 6"/>
                <a:gd name="T61" fmla="*/ 3 h 6"/>
                <a:gd name="T62" fmla="*/ 2 w 6"/>
                <a:gd name="T63" fmla="*/ 2 h 6"/>
                <a:gd name="T64" fmla="*/ 2 w 6"/>
                <a:gd name="T65" fmla="*/ 2 h 6"/>
                <a:gd name="T66" fmla="*/ 2 w 6"/>
                <a:gd name="T67" fmla="*/ 2 h 6"/>
                <a:gd name="T68" fmla="*/ 1 w 6"/>
                <a:gd name="T69" fmla="*/ 2 h 6"/>
                <a:gd name="T70" fmla="*/ 1 w 6"/>
                <a:gd name="T71" fmla="*/ 2 h 6"/>
                <a:gd name="T72" fmla="*/ 1 w 6"/>
                <a:gd name="T73" fmla="*/ 2 h 6"/>
                <a:gd name="T74" fmla="*/ 1 w 6"/>
                <a:gd name="T75" fmla="*/ 1 h 6"/>
                <a:gd name="T76" fmla="*/ 1 w 6"/>
                <a:gd name="T77" fmla="*/ 1 h 6"/>
                <a:gd name="T78" fmla="*/ 0 w 6"/>
                <a:gd name="T79" fmla="*/ 0 h 6"/>
                <a:gd name="T80" fmla="*/ 1 w 6"/>
                <a:gd name="T81" fmla="*/ 0 h 6"/>
                <a:gd name="T82" fmla="*/ 1 w 6"/>
                <a:gd name="T83" fmla="*/ 0 h 6"/>
                <a:gd name="T84" fmla="*/ 1 w 6"/>
                <a:gd name="T85" fmla="*/ 1 h 6"/>
                <a:gd name="T86" fmla="*/ 2 w 6"/>
                <a:gd name="T8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 h="6">
                  <a:moveTo>
                    <a:pt x="3" y="2"/>
                  </a:moveTo>
                  <a:lnTo>
                    <a:pt x="3" y="2"/>
                  </a:lnTo>
                  <a:lnTo>
                    <a:pt x="6" y="3"/>
                  </a:lnTo>
                  <a:lnTo>
                    <a:pt x="6" y="3"/>
                  </a:lnTo>
                  <a:lnTo>
                    <a:pt x="6" y="3"/>
                  </a:lnTo>
                  <a:lnTo>
                    <a:pt x="6" y="3"/>
                  </a:lnTo>
                  <a:lnTo>
                    <a:pt x="6" y="4"/>
                  </a:lnTo>
                  <a:lnTo>
                    <a:pt x="6" y="4"/>
                  </a:lnTo>
                  <a:lnTo>
                    <a:pt x="6" y="4"/>
                  </a:lnTo>
                  <a:lnTo>
                    <a:pt x="6" y="4"/>
                  </a:lnTo>
                  <a:lnTo>
                    <a:pt x="6" y="4"/>
                  </a:lnTo>
                  <a:lnTo>
                    <a:pt x="5" y="4"/>
                  </a:lnTo>
                  <a:lnTo>
                    <a:pt x="5" y="4"/>
                  </a:lnTo>
                  <a:lnTo>
                    <a:pt x="5" y="4"/>
                  </a:lnTo>
                  <a:lnTo>
                    <a:pt x="3" y="4"/>
                  </a:lnTo>
                  <a:lnTo>
                    <a:pt x="3" y="4"/>
                  </a:lnTo>
                  <a:lnTo>
                    <a:pt x="3" y="6"/>
                  </a:lnTo>
                  <a:lnTo>
                    <a:pt x="2" y="6"/>
                  </a:lnTo>
                  <a:lnTo>
                    <a:pt x="2" y="4"/>
                  </a:lnTo>
                  <a:lnTo>
                    <a:pt x="1" y="4"/>
                  </a:lnTo>
                  <a:lnTo>
                    <a:pt x="2" y="4"/>
                  </a:lnTo>
                  <a:lnTo>
                    <a:pt x="2" y="4"/>
                  </a:lnTo>
                  <a:lnTo>
                    <a:pt x="2" y="4"/>
                  </a:lnTo>
                  <a:lnTo>
                    <a:pt x="2" y="4"/>
                  </a:lnTo>
                  <a:lnTo>
                    <a:pt x="2" y="4"/>
                  </a:lnTo>
                  <a:lnTo>
                    <a:pt x="3" y="3"/>
                  </a:lnTo>
                  <a:lnTo>
                    <a:pt x="2" y="3"/>
                  </a:lnTo>
                  <a:lnTo>
                    <a:pt x="2"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5" y="3"/>
                  </a:lnTo>
                  <a:lnTo>
                    <a:pt x="5" y="3"/>
                  </a:lnTo>
                  <a:lnTo>
                    <a:pt x="5" y="3"/>
                  </a:lnTo>
                  <a:lnTo>
                    <a:pt x="5" y="3"/>
                  </a:lnTo>
                  <a:lnTo>
                    <a:pt x="3" y="2"/>
                  </a:lnTo>
                  <a:lnTo>
                    <a:pt x="3" y="2"/>
                  </a:lnTo>
                  <a:lnTo>
                    <a:pt x="3" y="2"/>
                  </a:lnTo>
                  <a:lnTo>
                    <a:pt x="3" y="2"/>
                  </a:lnTo>
                  <a:lnTo>
                    <a:pt x="3" y="2"/>
                  </a:lnTo>
                  <a:lnTo>
                    <a:pt x="3" y="2"/>
                  </a:lnTo>
                  <a:lnTo>
                    <a:pt x="2" y="2"/>
                  </a:lnTo>
                  <a:lnTo>
                    <a:pt x="2" y="2"/>
                  </a:lnTo>
                  <a:lnTo>
                    <a:pt x="2" y="2"/>
                  </a:lnTo>
                  <a:lnTo>
                    <a:pt x="2" y="2"/>
                  </a:lnTo>
                  <a:lnTo>
                    <a:pt x="2" y="2"/>
                  </a:lnTo>
                  <a:lnTo>
                    <a:pt x="2" y="2"/>
                  </a:lnTo>
                  <a:lnTo>
                    <a:pt x="2" y="2"/>
                  </a:lnTo>
                  <a:lnTo>
                    <a:pt x="2" y="2"/>
                  </a:lnTo>
                  <a:lnTo>
                    <a:pt x="2" y="2"/>
                  </a:lnTo>
                  <a:lnTo>
                    <a:pt x="2" y="2"/>
                  </a:lnTo>
                  <a:lnTo>
                    <a:pt x="2" y="3"/>
                  </a:lnTo>
                  <a:lnTo>
                    <a:pt x="2" y="2"/>
                  </a:lnTo>
                  <a:lnTo>
                    <a:pt x="2" y="2"/>
                  </a:lnTo>
                  <a:lnTo>
                    <a:pt x="2" y="2"/>
                  </a:lnTo>
                  <a:lnTo>
                    <a:pt x="2" y="2"/>
                  </a:lnTo>
                  <a:lnTo>
                    <a:pt x="2" y="2"/>
                  </a:lnTo>
                  <a:lnTo>
                    <a:pt x="2" y="2"/>
                  </a:lnTo>
                  <a:lnTo>
                    <a:pt x="2" y="2"/>
                  </a:lnTo>
                  <a:lnTo>
                    <a:pt x="1" y="2"/>
                  </a:lnTo>
                  <a:lnTo>
                    <a:pt x="1" y="2"/>
                  </a:lnTo>
                  <a:lnTo>
                    <a:pt x="1" y="2"/>
                  </a:lnTo>
                  <a:lnTo>
                    <a:pt x="1" y="2"/>
                  </a:lnTo>
                  <a:lnTo>
                    <a:pt x="1" y="2"/>
                  </a:lnTo>
                  <a:lnTo>
                    <a:pt x="1" y="2"/>
                  </a:lnTo>
                  <a:lnTo>
                    <a:pt x="1" y="1"/>
                  </a:lnTo>
                  <a:lnTo>
                    <a:pt x="1" y="1"/>
                  </a:lnTo>
                  <a:lnTo>
                    <a:pt x="1" y="1"/>
                  </a:lnTo>
                  <a:lnTo>
                    <a:pt x="0" y="1"/>
                  </a:lnTo>
                  <a:lnTo>
                    <a:pt x="0" y="0"/>
                  </a:lnTo>
                  <a:lnTo>
                    <a:pt x="1" y="0"/>
                  </a:lnTo>
                  <a:lnTo>
                    <a:pt x="1" y="0"/>
                  </a:lnTo>
                  <a:lnTo>
                    <a:pt x="1" y="0"/>
                  </a:lnTo>
                  <a:lnTo>
                    <a:pt x="1" y="0"/>
                  </a:lnTo>
                  <a:lnTo>
                    <a:pt x="1" y="1"/>
                  </a:lnTo>
                  <a:lnTo>
                    <a:pt x="1" y="1"/>
                  </a:lnTo>
                  <a:lnTo>
                    <a:pt x="2" y="1"/>
                  </a:lnTo>
                  <a:lnTo>
                    <a:pt x="2" y="2"/>
                  </a:lnTo>
                  <a:lnTo>
                    <a:pt x="3"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15" name="Freeform 1079">
              <a:extLst>
                <a:ext uri="{FF2B5EF4-FFF2-40B4-BE49-F238E27FC236}">
                  <a16:creationId xmlns:a16="http://schemas.microsoft.com/office/drawing/2014/main" id="{49B69599-E096-4961-9B16-AB85335D67B3}"/>
                </a:ext>
              </a:extLst>
            </p:cNvPr>
            <p:cNvSpPr>
              <a:spLocks/>
            </p:cNvSpPr>
            <p:nvPr/>
          </p:nvSpPr>
          <p:spPr bwMode="auto">
            <a:xfrm>
              <a:off x="5929293" y="221069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16" name="Rectangle 1080">
              <a:extLst>
                <a:ext uri="{FF2B5EF4-FFF2-40B4-BE49-F238E27FC236}">
                  <a16:creationId xmlns:a16="http://schemas.microsoft.com/office/drawing/2014/main" id="{CEE4F088-3B32-4865-990A-784D26236CDB}"/>
                </a:ext>
              </a:extLst>
            </p:cNvPr>
            <p:cNvSpPr>
              <a:spLocks noChangeArrowheads="1"/>
            </p:cNvSpPr>
            <p:nvPr/>
          </p:nvSpPr>
          <p:spPr bwMode="auto">
            <a:xfrm>
              <a:off x="5931964" y="2210692"/>
              <a:ext cx="1336" cy="1336"/>
            </a:xfrm>
            <a:prstGeom prst="rect">
              <a:avLst/>
            </a:prstGeom>
            <a:solidFill>
              <a:srgbClr val="D2D2D2"/>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it-IT" dirty="0"/>
            </a:p>
          </p:txBody>
        </p:sp>
        <p:sp>
          <p:nvSpPr>
            <p:cNvPr id="317" name="Freeform 1081">
              <a:extLst>
                <a:ext uri="{FF2B5EF4-FFF2-40B4-BE49-F238E27FC236}">
                  <a16:creationId xmlns:a16="http://schemas.microsoft.com/office/drawing/2014/main" id="{A8F498AF-9DCC-4A5D-A006-DD21DA7D1912}"/>
                </a:ext>
              </a:extLst>
            </p:cNvPr>
            <p:cNvSpPr>
              <a:spLocks/>
            </p:cNvSpPr>
            <p:nvPr/>
          </p:nvSpPr>
          <p:spPr bwMode="auto">
            <a:xfrm>
              <a:off x="5943983" y="2204014"/>
              <a:ext cx="2671" cy="1336"/>
            </a:xfrm>
            <a:custGeom>
              <a:avLst/>
              <a:gdLst>
                <a:gd name="T0" fmla="*/ 1 w 2"/>
                <a:gd name="T1" fmla="*/ 1 h 1"/>
                <a:gd name="T2" fmla="*/ 1 w 2"/>
                <a:gd name="T3" fmla="*/ 1 h 1"/>
                <a:gd name="T4" fmla="*/ 0 w 2"/>
                <a:gd name="T5" fmla="*/ 0 h 1"/>
                <a:gd name="T6" fmla="*/ 0 w 2"/>
                <a:gd name="T7" fmla="*/ 0 h 1"/>
                <a:gd name="T8" fmla="*/ 0 w 2"/>
                <a:gd name="T9" fmla="*/ 0 h 1"/>
                <a:gd name="T10" fmla="*/ 0 w 2"/>
                <a:gd name="T11" fmla="*/ 0 h 1"/>
                <a:gd name="T12" fmla="*/ 0 w 2"/>
                <a:gd name="T13" fmla="*/ 0 h 1"/>
                <a:gd name="T14" fmla="*/ 0 w 2"/>
                <a:gd name="T15" fmla="*/ 0 h 1"/>
                <a:gd name="T16" fmla="*/ 1 w 2"/>
                <a:gd name="T17" fmla="*/ 0 h 1"/>
                <a:gd name="T18" fmla="*/ 1 w 2"/>
                <a:gd name="T19" fmla="*/ 0 h 1"/>
                <a:gd name="T20" fmla="*/ 1 w 2"/>
                <a:gd name="T21" fmla="*/ 0 h 1"/>
                <a:gd name="T22" fmla="*/ 2 w 2"/>
                <a:gd name="T23" fmla="*/ 0 h 1"/>
                <a:gd name="T24" fmla="*/ 2 w 2"/>
                <a:gd name="T25" fmla="*/ 0 h 1"/>
                <a:gd name="T26" fmla="*/ 2 w 2"/>
                <a:gd name="T27" fmla="*/ 0 h 1"/>
                <a:gd name="T28" fmla="*/ 2 w 2"/>
                <a:gd name="T29" fmla="*/ 0 h 1"/>
                <a:gd name="T30" fmla="*/ 2 w 2"/>
                <a:gd name="T31" fmla="*/ 0 h 1"/>
                <a:gd name="T32" fmla="*/ 2 w 2"/>
                <a:gd name="T33" fmla="*/ 0 h 1"/>
                <a:gd name="T34" fmla="*/ 1 w 2"/>
                <a:gd name="T35" fmla="*/ 0 h 1"/>
                <a:gd name="T36" fmla="*/ 1 w 2"/>
                <a:gd name="T37" fmla="*/ 0 h 1"/>
                <a:gd name="T38" fmla="*/ 1 w 2"/>
                <a:gd name="T3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 h="1">
                  <a:moveTo>
                    <a:pt x="1" y="1"/>
                  </a:moveTo>
                  <a:lnTo>
                    <a:pt x="1" y="1"/>
                  </a:lnTo>
                  <a:lnTo>
                    <a:pt x="0" y="0"/>
                  </a:lnTo>
                  <a:lnTo>
                    <a:pt x="0" y="0"/>
                  </a:lnTo>
                  <a:lnTo>
                    <a:pt x="0" y="0"/>
                  </a:lnTo>
                  <a:lnTo>
                    <a:pt x="0" y="0"/>
                  </a:lnTo>
                  <a:lnTo>
                    <a:pt x="0" y="0"/>
                  </a:lnTo>
                  <a:lnTo>
                    <a:pt x="0" y="0"/>
                  </a:lnTo>
                  <a:lnTo>
                    <a:pt x="1" y="0"/>
                  </a:lnTo>
                  <a:lnTo>
                    <a:pt x="1" y="0"/>
                  </a:lnTo>
                  <a:lnTo>
                    <a:pt x="1" y="0"/>
                  </a:lnTo>
                  <a:lnTo>
                    <a:pt x="2" y="0"/>
                  </a:lnTo>
                  <a:lnTo>
                    <a:pt x="2" y="0"/>
                  </a:lnTo>
                  <a:lnTo>
                    <a:pt x="2" y="0"/>
                  </a:lnTo>
                  <a:lnTo>
                    <a:pt x="2" y="0"/>
                  </a:lnTo>
                  <a:lnTo>
                    <a:pt x="2" y="0"/>
                  </a:lnTo>
                  <a:lnTo>
                    <a:pt x="2" y="0"/>
                  </a:lnTo>
                  <a:lnTo>
                    <a:pt x="1" y="0"/>
                  </a:lnTo>
                  <a:lnTo>
                    <a:pt x="1" y="0"/>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18" name="Freeform 1082">
              <a:extLst>
                <a:ext uri="{FF2B5EF4-FFF2-40B4-BE49-F238E27FC236}">
                  <a16:creationId xmlns:a16="http://schemas.microsoft.com/office/drawing/2014/main" id="{80C11263-81C0-4DDF-B801-7B2D587DF651}"/>
                </a:ext>
              </a:extLst>
            </p:cNvPr>
            <p:cNvSpPr>
              <a:spLocks/>
            </p:cNvSpPr>
            <p:nvPr/>
          </p:nvSpPr>
          <p:spPr bwMode="auto">
            <a:xfrm>
              <a:off x="5977370" y="2204014"/>
              <a:ext cx="6678" cy="1336"/>
            </a:xfrm>
            <a:custGeom>
              <a:avLst/>
              <a:gdLst>
                <a:gd name="T0" fmla="*/ 4 w 5"/>
                <a:gd name="T1" fmla="*/ 0 h 1"/>
                <a:gd name="T2" fmla="*/ 5 w 5"/>
                <a:gd name="T3" fmla="*/ 1 h 1"/>
                <a:gd name="T4" fmla="*/ 3 w 5"/>
                <a:gd name="T5" fmla="*/ 1 h 1"/>
                <a:gd name="T6" fmla="*/ 3 w 5"/>
                <a:gd name="T7" fmla="*/ 1 h 1"/>
                <a:gd name="T8" fmla="*/ 3 w 5"/>
                <a:gd name="T9" fmla="*/ 1 h 1"/>
                <a:gd name="T10" fmla="*/ 3 w 5"/>
                <a:gd name="T11" fmla="*/ 1 h 1"/>
                <a:gd name="T12" fmla="*/ 3 w 5"/>
                <a:gd name="T13" fmla="*/ 1 h 1"/>
                <a:gd name="T14" fmla="*/ 3 w 5"/>
                <a:gd name="T15" fmla="*/ 1 h 1"/>
                <a:gd name="T16" fmla="*/ 2 w 5"/>
                <a:gd name="T17" fmla="*/ 1 h 1"/>
                <a:gd name="T18" fmla="*/ 2 w 5"/>
                <a:gd name="T19" fmla="*/ 1 h 1"/>
                <a:gd name="T20" fmla="*/ 2 w 5"/>
                <a:gd name="T21" fmla="*/ 1 h 1"/>
                <a:gd name="T22" fmla="*/ 2 w 5"/>
                <a:gd name="T23" fmla="*/ 1 h 1"/>
                <a:gd name="T24" fmla="*/ 2 w 5"/>
                <a:gd name="T25" fmla="*/ 1 h 1"/>
                <a:gd name="T26" fmla="*/ 2 w 5"/>
                <a:gd name="T27" fmla="*/ 1 h 1"/>
                <a:gd name="T28" fmla="*/ 2 w 5"/>
                <a:gd name="T29" fmla="*/ 1 h 1"/>
                <a:gd name="T30" fmla="*/ 2 w 5"/>
                <a:gd name="T31" fmla="*/ 1 h 1"/>
                <a:gd name="T32" fmla="*/ 2 w 5"/>
                <a:gd name="T33" fmla="*/ 1 h 1"/>
                <a:gd name="T34" fmla="*/ 2 w 5"/>
                <a:gd name="T35" fmla="*/ 1 h 1"/>
                <a:gd name="T36" fmla="*/ 2 w 5"/>
                <a:gd name="T37" fmla="*/ 1 h 1"/>
                <a:gd name="T38" fmla="*/ 0 w 5"/>
                <a:gd name="T39" fmla="*/ 1 h 1"/>
                <a:gd name="T40" fmla="*/ 0 w 5"/>
                <a:gd name="T41" fmla="*/ 1 h 1"/>
                <a:gd name="T42" fmla="*/ 2 w 5"/>
                <a:gd name="T43" fmla="*/ 0 h 1"/>
                <a:gd name="T44" fmla="*/ 2 w 5"/>
                <a:gd name="T45" fmla="*/ 0 h 1"/>
                <a:gd name="T46" fmla="*/ 3 w 5"/>
                <a:gd name="T47" fmla="*/ 0 h 1"/>
                <a:gd name="T48" fmla="*/ 3 w 5"/>
                <a:gd name="T49" fmla="*/ 0 h 1"/>
                <a:gd name="T50" fmla="*/ 4 w 5"/>
                <a:gd name="T51" fmla="*/ 0 h 1"/>
                <a:gd name="T52" fmla="*/ 4 w 5"/>
                <a:gd name="T53" fmla="*/ 0 h 1"/>
                <a:gd name="T54" fmla="*/ 4 w 5"/>
                <a:gd name="T5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 h="1">
                  <a:moveTo>
                    <a:pt x="4" y="0"/>
                  </a:moveTo>
                  <a:lnTo>
                    <a:pt x="5" y="1"/>
                  </a:lnTo>
                  <a:lnTo>
                    <a:pt x="3" y="1"/>
                  </a:lnTo>
                  <a:lnTo>
                    <a:pt x="3" y="1"/>
                  </a:lnTo>
                  <a:lnTo>
                    <a:pt x="3" y="1"/>
                  </a:lnTo>
                  <a:lnTo>
                    <a:pt x="3" y="1"/>
                  </a:lnTo>
                  <a:lnTo>
                    <a:pt x="3" y="1"/>
                  </a:lnTo>
                  <a:lnTo>
                    <a:pt x="3" y="1"/>
                  </a:lnTo>
                  <a:lnTo>
                    <a:pt x="2" y="1"/>
                  </a:lnTo>
                  <a:lnTo>
                    <a:pt x="2" y="1"/>
                  </a:lnTo>
                  <a:lnTo>
                    <a:pt x="2" y="1"/>
                  </a:lnTo>
                  <a:lnTo>
                    <a:pt x="2" y="1"/>
                  </a:lnTo>
                  <a:lnTo>
                    <a:pt x="2" y="1"/>
                  </a:lnTo>
                  <a:lnTo>
                    <a:pt x="2" y="1"/>
                  </a:lnTo>
                  <a:lnTo>
                    <a:pt x="2" y="1"/>
                  </a:lnTo>
                  <a:lnTo>
                    <a:pt x="2" y="1"/>
                  </a:lnTo>
                  <a:lnTo>
                    <a:pt x="2" y="1"/>
                  </a:lnTo>
                  <a:lnTo>
                    <a:pt x="2" y="1"/>
                  </a:lnTo>
                  <a:lnTo>
                    <a:pt x="2" y="1"/>
                  </a:lnTo>
                  <a:lnTo>
                    <a:pt x="0" y="1"/>
                  </a:lnTo>
                  <a:lnTo>
                    <a:pt x="0" y="1"/>
                  </a:lnTo>
                  <a:lnTo>
                    <a:pt x="2" y="0"/>
                  </a:lnTo>
                  <a:lnTo>
                    <a:pt x="2" y="0"/>
                  </a:lnTo>
                  <a:lnTo>
                    <a:pt x="3" y="0"/>
                  </a:lnTo>
                  <a:lnTo>
                    <a:pt x="3" y="0"/>
                  </a:lnTo>
                  <a:lnTo>
                    <a:pt x="4" y="0"/>
                  </a:lnTo>
                  <a:lnTo>
                    <a:pt x="4" y="0"/>
                  </a:lnTo>
                  <a:lnTo>
                    <a:pt x="4"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19" name="Freeform 1083">
              <a:extLst>
                <a:ext uri="{FF2B5EF4-FFF2-40B4-BE49-F238E27FC236}">
                  <a16:creationId xmlns:a16="http://schemas.microsoft.com/office/drawing/2014/main" id="{D1EDDFB1-A0EE-4C44-B74E-FDA3FCC906B9}"/>
                </a:ext>
              </a:extLst>
            </p:cNvPr>
            <p:cNvSpPr>
              <a:spLocks/>
            </p:cNvSpPr>
            <p:nvPr/>
          </p:nvSpPr>
          <p:spPr bwMode="auto">
            <a:xfrm>
              <a:off x="5939976" y="2202679"/>
              <a:ext cx="2671" cy="1336"/>
            </a:xfrm>
            <a:custGeom>
              <a:avLst/>
              <a:gdLst>
                <a:gd name="T0" fmla="*/ 2 w 2"/>
                <a:gd name="T1" fmla="*/ 1 h 1"/>
                <a:gd name="T2" fmla="*/ 2 w 2"/>
                <a:gd name="T3" fmla="*/ 1 h 1"/>
                <a:gd name="T4" fmla="*/ 0 w 2"/>
                <a:gd name="T5" fmla="*/ 1 h 1"/>
                <a:gd name="T6" fmla="*/ 0 w 2"/>
                <a:gd name="T7" fmla="*/ 1 h 1"/>
                <a:gd name="T8" fmla="*/ 0 w 2"/>
                <a:gd name="T9" fmla="*/ 1 h 1"/>
                <a:gd name="T10" fmla="*/ 0 w 2"/>
                <a:gd name="T11" fmla="*/ 1 h 1"/>
                <a:gd name="T12" fmla="*/ 0 w 2"/>
                <a:gd name="T13" fmla="*/ 1 h 1"/>
                <a:gd name="T14" fmla="*/ 0 w 2"/>
                <a:gd name="T15" fmla="*/ 1 h 1"/>
                <a:gd name="T16" fmla="*/ 2 w 2"/>
                <a:gd name="T17" fmla="*/ 1 h 1"/>
                <a:gd name="T18" fmla="*/ 2 w 2"/>
                <a:gd name="T19" fmla="*/ 0 h 1"/>
                <a:gd name="T20" fmla="*/ 2 w 2"/>
                <a:gd name="T21" fmla="*/ 1 h 1"/>
                <a:gd name="T22" fmla="*/ 2 w 2"/>
                <a:gd name="T23" fmla="*/ 1 h 1"/>
                <a:gd name="T24" fmla="*/ 2 w 2"/>
                <a:gd name="T2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1">
                  <a:moveTo>
                    <a:pt x="2" y="1"/>
                  </a:moveTo>
                  <a:lnTo>
                    <a:pt x="2" y="1"/>
                  </a:lnTo>
                  <a:lnTo>
                    <a:pt x="0" y="1"/>
                  </a:lnTo>
                  <a:lnTo>
                    <a:pt x="0" y="1"/>
                  </a:lnTo>
                  <a:lnTo>
                    <a:pt x="0" y="1"/>
                  </a:lnTo>
                  <a:lnTo>
                    <a:pt x="0" y="1"/>
                  </a:lnTo>
                  <a:lnTo>
                    <a:pt x="0" y="1"/>
                  </a:lnTo>
                  <a:lnTo>
                    <a:pt x="0" y="1"/>
                  </a:lnTo>
                  <a:lnTo>
                    <a:pt x="2" y="1"/>
                  </a:lnTo>
                  <a:lnTo>
                    <a:pt x="2" y="0"/>
                  </a:lnTo>
                  <a:lnTo>
                    <a:pt x="2" y="1"/>
                  </a:lnTo>
                  <a:lnTo>
                    <a:pt x="2" y="1"/>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20" name="Freeform 1084">
              <a:extLst>
                <a:ext uri="{FF2B5EF4-FFF2-40B4-BE49-F238E27FC236}">
                  <a16:creationId xmlns:a16="http://schemas.microsoft.com/office/drawing/2014/main" id="{8882E1CF-1CC1-4DD2-9A31-48EB93223D52}"/>
                </a:ext>
              </a:extLst>
            </p:cNvPr>
            <p:cNvSpPr>
              <a:spLocks/>
            </p:cNvSpPr>
            <p:nvPr/>
          </p:nvSpPr>
          <p:spPr bwMode="auto">
            <a:xfrm>
              <a:off x="6010757" y="2202679"/>
              <a:ext cx="1336" cy="2671"/>
            </a:xfrm>
            <a:custGeom>
              <a:avLst/>
              <a:gdLst>
                <a:gd name="T0" fmla="*/ 1 w 1"/>
                <a:gd name="T1" fmla="*/ 0 h 2"/>
                <a:gd name="T2" fmla="*/ 1 w 1"/>
                <a:gd name="T3" fmla="*/ 0 h 2"/>
                <a:gd name="T4" fmla="*/ 1 w 1"/>
                <a:gd name="T5" fmla="*/ 0 h 2"/>
                <a:gd name="T6" fmla="*/ 1 w 1"/>
                <a:gd name="T7" fmla="*/ 0 h 2"/>
                <a:gd name="T8" fmla="*/ 1 w 1"/>
                <a:gd name="T9" fmla="*/ 0 h 2"/>
                <a:gd name="T10" fmla="*/ 1 w 1"/>
                <a:gd name="T11" fmla="*/ 0 h 2"/>
                <a:gd name="T12" fmla="*/ 1 w 1"/>
                <a:gd name="T13" fmla="*/ 0 h 2"/>
                <a:gd name="T14" fmla="*/ 1 w 1"/>
                <a:gd name="T15" fmla="*/ 0 h 2"/>
                <a:gd name="T16" fmla="*/ 1 w 1"/>
                <a:gd name="T17" fmla="*/ 0 h 2"/>
                <a:gd name="T18" fmla="*/ 0 w 1"/>
                <a:gd name="T19" fmla="*/ 0 h 2"/>
                <a:gd name="T20" fmla="*/ 1 w 1"/>
                <a:gd name="T21" fmla="*/ 0 h 2"/>
                <a:gd name="T22" fmla="*/ 0 w 1"/>
                <a:gd name="T23" fmla="*/ 1 h 2"/>
                <a:gd name="T24" fmla="*/ 0 w 1"/>
                <a:gd name="T25" fmla="*/ 1 h 2"/>
                <a:gd name="T26" fmla="*/ 0 w 1"/>
                <a:gd name="T27" fmla="*/ 1 h 2"/>
                <a:gd name="T28" fmla="*/ 0 w 1"/>
                <a:gd name="T29" fmla="*/ 1 h 2"/>
                <a:gd name="T30" fmla="*/ 0 w 1"/>
                <a:gd name="T31" fmla="*/ 1 h 2"/>
                <a:gd name="T32" fmla="*/ 0 w 1"/>
                <a:gd name="T33" fmla="*/ 1 h 2"/>
                <a:gd name="T34" fmla="*/ 0 w 1"/>
                <a:gd name="T35" fmla="*/ 2 h 2"/>
                <a:gd name="T36" fmla="*/ 0 w 1"/>
                <a:gd name="T37" fmla="*/ 2 h 2"/>
                <a:gd name="T38" fmla="*/ 0 w 1"/>
                <a:gd name="T39" fmla="*/ 1 h 2"/>
                <a:gd name="T40" fmla="*/ 0 w 1"/>
                <a:gd name="T41" fmla="*/ 1 h 2"/>
                <a:gd name="T42" fmla="*/ 0 w 1"/>
                <a:gd name="T43" fmla="*/ 0 h 2"/>
                <a:gd name="T44" fmla="*/ 0 w 1"/>
                <a:gd name="T45" fmla="*/ 0 h 2"/>
                <a:gd name="T46" fmla="*/ 0 w 1"/>
                <a:gd name="T47" fmla="*/ 0 h 2"/>
                <a:gd name="T48" fmla="*/ 1 w 1"/>
                <a:gd name="T49" fmla="*/ 0 h 2"/>
                <a:gd name="T50" fmla="*/ 1 w 1"/>
                <a:gd name="T51" fmla="*/ 0 h 2"/>
                <a:gd name="T52" fmla="*/ 1 w 1"/>
                <a:gd name="T53" fmla="*/ 0 h 2"/>
                <a:gd name="T54" fmla="*/ 1 w 1"/>
                <a:gd name="T5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 h="2">
                  <a:moveTo>
                    <a:pt x="1" y="0"/>
                  </a:moveTo>
                  <a:lnTo>
                    <a:pt x="1" y="0"/>
                  </a:lnTo>
                  <a:lnTo>
                    <a:pt x="1" y="0"/>
                  </a:lnTo>
                  <a:lnTo>
                    <a:pt x="1" y="0"/>
                  </a:lnTo>
                  <a:lnTo>
                    <a:pt x="1" y="0"/>
                  </a:lnTo>
                  <a:lnTo>
                    <a:pt x="1" y="0"/>
                  </a:lnTo>
                  <a:lnTo>
                    <a:pt x="1" y="0"/>
                  </a:lnTo>
                  <a:lnTo>
                    <a:pt x="1" y="0"/>
                  </a:lnTo>
                  <a:lnTo>
                    <a:pt x="1" y="0"/>
                  </a:lnTo>
                  <a:lnTo>
                    <a:pt x="0" y="0"/>
                  </a:lnTo>
                  <a:lnTo>
                    <a:pt x="1" y="0"/>
                  </a:lnTo>
                  <a:lnTo>
                    <a:pt x="0" y="1"/>
                  </a:lnTo>
                  <a:lnTo>
                    <a:pt x="0" y="1"/>
                  </a:lnTo>
                  <a:lnTo>
                    <a:pt x="0" y="1"/>
                  </a:lnTo>
                  <a:lnTo>
                    <a:pt x="0" y="1"/>
                  </a:lnTo>
                  <a:lnTo>
                    <a:pt x="0" y="1"/>
                  </a:lnTo>
                  <a:lnTo>
                    <a:pt x="0" y="1"/>
                  </a:lnTo>
                  <a:lnTo>
                    <a:pt x="0" y="2"/>
                  </a:lnTo>
                  <a:lnTo>
                    <a:pt x="0" y="2"/>
                  </a:lnTo>
                  <a:lnTo>
                    <a:pt x="0" y="1"/>
                  </a:lnTo>
                  <a:lnTo>
                    <a:pt x="0" y="1"/>
                  </a:lnTo>
                  <a:lnTo>
                    <a:pt x="0" y="0"/>
                  </a:lnTo>
                  <a:lnTo>
                    <a:pt x="0" y="0"/>
                  </a:lnTo>
                  <a:lnTo>
                    <a:pt x="0"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21" name="Freeform 1085">
              <a:extLst>
                <a:ext uri="{FF2B5EF4-FFF2-40B4-BE49-F238E27FC236}">
                  <a16:creationId xmlns:a16="http://schemas.microsoft.com/office/drawing/2014/main" id="{8AB8F207-E742-4E8E-9E30-845F06F45B75}"/>
                </a:ext>
              </a:extLst>
            </p:cNvPr>
            <p:cNvSpPr>
              <a:spLocks/>
            </p:cNvSpPr>
            <p:nvPr/>
          </p:nvSpPr>
          <p:spPr bwMode="auto">
            <a:xfrm>
              <a:off x="6012093" y="2201343"/>
              <a:ext cx="9349" cy="9349"/>
            </a:xfrm>
            <a:custGeom>
              <a:avLst/>
              <a:gdLst>
                <a:gd name="T0" fmla="*/ 2 w 7"/>
                <a:gd name="T1" fmla="*/ 1 h 7"/>
                <a:gd name="T2" fmla="*/ 5 w 7"/>
                <a:gd name="T3" fmla="*/ 1 h 7"/>
                <a:gd name="T4" fmla="*/ 6 w 7"/>
                <a:gd name="T5" fmla="*/ 2 h 7"/>
                <a:gd name="T6" fmla="*/ 5 w 7"/>
                <a:gd name="T7" fmla="*/ 3 h 7"/>
                <a:gd name="T8" fmla="*/ 6 w 7"/>
                <a:gd name="T9" fmla="*/ 3 h 7"/>
                <a:gd name="T10" fmla="*/ 7 w 7"/>
                <a:gd name="T11" fmla="*/ 4 h 7"/>
                <a:gd name="T12" fmla="*/ 7 w 7"/>
                <a:gd name="T13" fmla="*/ 4 h 7"/>
                <a:gd name="T14" fmla="*/ 7 w 7"/>
                <a:gd name="T15" fmla="*/ 6 h 7"/>
                <a:gd name="T16" fmla="*/ 7 w 7"/>
                <a:gd name="T17" fmla="*/ 6 h 7"/>
                <a:gd name="T18" fmla="*/ 6 w 7"/>
                <a:gd name="T19" fmla="*/ 6 h 7"/>
                <a:gd name="T20" fmla="*/ 7 w 7"/>
                <a:gd name="T21" fmla="*/ 6 h 7"/>
                <a:gd name="T22" fmla="*/ 6 w 7"/>
                <a:gd name="T23" fmla="*/ 4 h 7"/>
                <a:gd name="T24" fmla="*/ 7 w 7"/>
                <a:gd name="T25" fmla="*/ 4 h 7"/>
                <a:gd name="T26" fmla="*/ 6 w 7"/>
                <a:gd name="T27" fmla="*/ 4 h 7"/>
                <a:gd name="T28" fmla="*/ 5 w 7"/>
                <a:gd name="T29" fmla="*/ 4 h 7"/>
                <a:gd name="T30" fmla="*/ 4 w 7"/>
                <a:gd name="T31" fmla="*/ 6 h 7"/>
                <a:gd name="T32" fmla="*/ 2 w 7"/>
                <a:gd name="T33" fmla="*/ 6 h 7"/>
                <a:gd name="T34" fmla="*/ 2 w 7"/>
                <a:gd name="T35" fmla="*/ 6 h 7"/>
                <a:gd name="T36" fmla="*/ 4 w 7"/>
                <a:gd name="T37" fmla="*/ 7 h 7"/>
                <a:gd name="T38" fmla="*/ 2 w 7"/>
                <a:gd name="T39" fmla="*/ 6 h 7"/>
                <a:gd name="T40" fmla="*/ 2 w 7"/>
                <a:gd name="T41" fmla="*/ 6 h 7"/>
                <a:gd name="T42" fmla="*/ 2 w 7"/>
                <a:gd name="T43" fmla="*/ 6 h 7"/>
                <a:gd name="T44" fmla="*/ 1 w 7"/>
                <a:gd name="T45" fmla="*/ 6 h 7"/>
                <a:gd name="T46" fmla="*/ 1 w 7"/>
                <a:gd name="T47" fmla="*/ 6 h 7"/>
                <a:gd name="T48" fmla="*/ 1 w 7"/>
                <a:gd name="T49" fmla="*/ 6 h 7"/>
                <a:gd name="T50" fmla="*/ 0 w 7"/>
                <a:gd name="T51" fmla="*/ 6 h 7"/>
                <a:gd name="T52" fmla="*/ 0 w 7"/>
                <a:gd name="T53" fmla="*/ 4 h 7"/>
                <a:gd name="T54" fmla="*/ 1 w 7"/>
                <a:gd name="T55" fmla="*/ 4 h 7"/>
                <a:gd name="T56" fmla="*/ 1 w 7"/>
                <a:gd name="T57" fmla="*/ 4 h 7"/>
                <a:gd name="T58" fmla="*/ 1 w 7"/>
                <a:gd name="T59" fmla="*/ 3 h 7"/>
                <a:gd name="T60" fmla="*/ 1 w 7"/>
                <a:gd name="T61" fmla="*/ 3 h 7"/>
                <a:gd name="T62" fmla="*/ 0 w 7"/>
                <a:gd name="T63" fmla="*/ 3 h 7"/>
                <a:gd name="T64" fmla="*/ 1 w 7"/>
                <a:gd name="T65" fmla="*/ 2 h 7"/>
                <a:gd name="T66" fmla="*/ 1 w 7"/>
                <a:gd name="T67" fmla="*/ 2 h 7"/>
                <a:gd name="T68" fmla="*/ 1 w 7"/>
                <a:gd name="T69" fmla="*/ 2 h 7"/>
                <a:gd name="T70" fmla="*/ 0 w 7"/>
                <a:gd name="T71" fmla="*/ 2 h 7"/>
                <a:gd name="T72" fmla="*/ 0 w 7"/>
                <a:gd name="T73" fmla="*/ 2 h 7"/>
                <a:gd name="T74" fmla="*/ 0 w 7"/>
                <a:gd name="T75" fmla="*/ 2 h 7"/>
                <a:gd name="T76" fmla="*/ 1 w 7"/>
                <a:gd name="T77" fmla="*/ 1 h 7"/>
                <a:gd name="T78" fmla="*/ 1 w 7"/>
                <a:gd name="T79" fmla="*/ 2 h 7"/>
                <a:gd name="T80" fmla="*/ 1 w 7"/>
                <a:gd name="T81" fmla="*/ 1 h 7"/>
                <a:gd name="T82" fmla="*/ 2 w 7"/>
                <a:gd name="T83" fmla="*/ 1 h 7"/>
                <a:gd name="T84" fmla="*/ 2 w 7"/>
                <a:gd name="T85" fmla="*/ 1 h 7"/>
                <a:gd name="T86" fmla="*/ 2 w 7"/>
                <a:gd name="T87" fmla="*/ 2 h 7"/>
                <a:gd name="T88" fmla="*/ 2 w 7"/>
                <a:gd name="T89" fmla="*/ 2 h 7"/>
                <a:gd name="T90" fmla="*/ 2 w 7"/>
                <a:gd name="T91" fmla="*/ 1 h 7"/>
                <a:gd name="T92" fmla="*/ 2 w 7"/>
                <a:gd name="T93" fmla="*/ 2 h 7"/>
                <a:gd name="T94" fmla="*/ 4 w 7"/>
                <a:gd name="T95" fmla="*/ 2 h 7"/>
                <a:gd name="T96" fmla="*/ 5 w 7"/>
                <a:gd name="T97" fmla="*/ 2 h 7"/>
                <a:gd name="T98" fmla="*/ 4 w 7"/>
                <a:gd name="T99" fmla="*/ 2 h 7"/>
                <a:gd name="T100" fmla="*/ 4 w 7"/>
                <a:gd name="T101" fmla="*/ 1 h 7"/>
                <a:gd name="T102" fmla="*/ 4 w 7"/>
                <a:gd name="T103" fmla="*/ 1 h 7"/>
                <a:gd name="T104" fmla="*/ 4 w 7"/>
                <a:gd name="T105" fmla="*/ 1 h 7"/>
                <a:gd name="T106" fmla="*/ 4 w 7"/>
                <a:gd name="T107" fmla="*/ 1 h 7"/>
                <a:gd name="T108" fmla="*/ 2 w 7"/>
                <a:gd name="T109" fmla="*/ 1 h 7"/>
                <a:gd name="T110" fmla="*/ 2 w 7"/>
                <a:gd name="T111" fmla="*/ 1 h 7"/>
                <a:gd name="T112" fmla="*/ 1 w 7"/>
                <a:gd name="T113" fmla="*/ 1 h 7"/>
                <a:gd name="T114" fmla="*/ 1 w 7"/>
                <a:gd name="T115" fmla="*/ 1 h 7"/>
                <a:gd name="T116" fmla="*/ 1 w 7"/>
                <a:gd name="T117" fmla="*/ 0 h 7"/>
                <a:gd name="T118" fmla="*/ 1 w 7"/>
                <a:gd name="T119" fmla="*/ 0 h 7"/>
                <a:gd name="T120" fmla="*/ 1 w 7"/>
                <a:gd name="T121" fmla="*/ 0 h 7"/>
                <a:gd name="T122" fmla="*/ 4 w 7"/>
                <a:gd name="T123" fmla="*/ 0 h 7"/>
                <a:gd name="T124" fmla="*/ 2 w 7"/>
                <a:gd name="T1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 h="7">
                  <a:moveTo>
                    <a:pt x="2" y="0"/>
                  </a:moveTo>
                  <a:lnTo>
                    <a:pt x="2" y="0"/>
                  </a:lnTo>
                  <a:lnTo>
                    <a:pt x="2" y="1"/>
                  </a:lnTo>
                  <a:lnTo>
                    <a:pt x="2" y="1"/>
                  </a:lnTo>
                  <a:lnTo>
                    <a:pt x="2" y="1"/>
                  </a:lnTo>
                  <a:lnTo>
                    <a:pt x="4" y="1"/>
                  </a:lnTo>
                  <a:lnTo>
                    <a:pt x="4" y="1"/>
                  </a:lnTo>
                  <a:lnTo>
                    <a:pt x="5" y="1"/>
                  </a:lnTo>
                  <a:lnTo>
                    <a:pt x="6" y="1"/>
                  </a:lnTo>
                  <a:lnTo>
                    <a:pt x="6" y="1"/>
                  </a:lnTo>
                  <a:lnTo>
                    <a:pt x="6" y="2"/>
                  </a:lnTo>
                  <a:lnTo>
                    <a:pt x="6" y="2"/>
                  </a:lnTo>
                  <a:lnTo>
                    <a:pt x="6" y="2"/>
                  </a:lnTo>
                  <a:lnTo>
                    <a:pt x="5" y="2"/>
                  </a:lnTo>
                  <a:lnTo>
                    <a:pt x="5" y="2"/>
                  </a:lnTo>
                  <a:lnTo>
                    <a:pt x="5" y="3"/>
                  </a:lnTo>
                  <a:lnTo>
                    <a:pt x="5" y="3"/>
                  </a:lnTo>
                  <a:lnTo>
                    <a:pt x="6" y="3"/>
                  </a:lnTo>
                  <a:lnTo>
                    <a:pt x="6" y="3"/>
                  </a:lnTo>
                  <a:lnTo>
                    <a:pt x="6" y="3"/>
                  </a:lnTo>
                  <a:lnTo>
                    <a:pt x="6" y="3"/>
                  </a:lnTo>
                  <a:lnTo>
                    <a:pt x="7" y="4"/>
                  </a:lnTo>
                  <a:lnTo>
                    <a:pt x="7" y="4"/>
                  </a:lnTo>
                  <a:lnTo>
                    <a:pt x="7" y="4"/>
                  </a:lnTo>
                  <a:lnTo>
                    <a:pt x="7" y="4"/>
                  </a:lnTo>
                  <a:lnTo>
                    <a:pt x="7" y="4"/>
                  </a:lnTo>
                  <a:lnTo>
                    <a:pt x="7" y="4"/>
                  </a:lnTo>
                  <a:lnTo>
                    <a:pt x="7" y="4"/>
                  </a:lnTo>
                  <a:lnTo>
                    <a:pt x="7" y="6"/>
                  </a:lnTo>
                  <a:lnTo>
                    <a:pt x="7" y="6"/>
                  </a:lnTo>
                  <a:lnTo>
                    <a:pt x="7" y="6"/>
                  </a:lnTo>
                  <a:lnTo>
                    <a:pt x="7" y="6"/>
                  </a:lnTo>
                  <a:lnTo>
                    <a:pt x="7" y="6"/>
                  </a:lnTo>
                  <a:lnTo>
                    <a:pt x="7" y="6"/>
                  </a:lnTo>
                  <a:lnTo>
                    <a:pt x="7" y="6"/>
                  </a:lnTo>
                  <a:lnTo>
                    <a:pt x="7" y="6"/>
                  </a:lnTo>
                  <a:lnTo>
                    <a:pt x="7" y="6"/>
                  </a:lnTo>
                  <a:lnTo>
                    <a:pt x="7" y="6"/>
                  </a:lnTo>
                  <a:lnTo>
                    <a:pt x="7" y="6"/>
                  </a:lnTo>
                  <a:lnTo>
                    <a:pt x="6" y="6"/>
                  </a:lnTo>
                  <a:lnTo>
                    <a:pt x="6" y="6"/>
                  </a:lnTo>
                  <a:lnTo>
                    <a:pt x="6" y="6"/>
                  </a:lnTo>
                  <a:lnTo>
                    <a:pt x="6" y="6"/>
                  </a:lnTo>
                  <a:lnTo>
                    <a:pt x="7" y="6"/>
                  </a:lnTo>
                  <a:lnTo>
                    <a:pt x="7" y="4"/>
                  </a:lnTo>
                  <a:lnTo>
                    <a:pt x="7" y="4"/>
                  </a:lnTo>
                  <a:lnTo>
                    <a:pt x="6" y="4"/>
                  </a:lnTo>
                  <a:lnTo>
                    <a:pt x="6" y="4"/>
                  </a:lnTo>
                  <a:lnTo>
                    <a:pt x="6" y="4"/>
                  </a:lnTo>
                  <a:lnTo>
                    <a:pt x="6" y="4"/>
                  </a:lnTo>
                  <a:lnTo>
                    <a:pt x="7" y="4"/>
                  </a:lnTo>
                  <a:lnTo>
                    <a:pt x="7" y="4"/>
                  </a:lnTo>
                  <a:lnTo>
                    <a:pt x="6" y="4"/>
                  </a:lnTo>
                  <a:lnTo>
                    <a:pt x="6" y="4"/>
                  </a:lnTo>
                  <a:lnTo>
                    <a:pt x="6" y="4"/>
                  </a:lnTo>
                  <a:lnTo>
                    <a:pt x="6" y="4"/>
                  </a:lnTo>
                  <a:lnTo>
                    <a:pt x="6" y="4"/>
                  </a:lnTo>
                  <a:lnTo>
                    <a:pt x="6" y="4"/>
                  </a:lnTo>
                  <a:lnTo>
                    <a:pt x="6" y="4"/>
                  </a:lnTo>
                  <a:lnTo>
                    <a:pt x="5" y="4"/>
                  </a:lnTo>
                  <a:lnTo>
                    <a:pt x="4" y="4"/>
                  </a:lnTo>
                  <a:lnTo>
                    <a:pt x="4" y="6"/>
                  </a:lnTo>
                  <a:lnTo>
                    <a:pt x="4" y="6"/>
                  </a:lnTo>
                  <a:lnTo>
                    <a:pt x="4" y="6"/>
                  </a:lnTo>
                  <a:lnTo>
                    <a:pt x="4" y="6"/>
                  </a:lnTo>
                  <a:lnTo>
                    <a:pt x="2" y="6"/>
                  </a:lnTo>
                  <a:lnTo>
                    <a:pt x="2" y="6"/>
                  </a:lnTo>
                  <a:lnTo>
                    <a:pt x="2" y="6"/>
                  </a:lnTo>
                  <a:lnTo>
                    <a:pt x="2" y="6"/>
                  </a:lnTo>
                  <a:lnTo>
                    <a:pt x="2" y="6"/>
                  </a:lnTo>
                  <a:lnTo>
                    <a:pt x="2" y="6"/>
                  </a:lnTo>
                  <a:lnTo>
                    <a:pt x="2" y="6"/>
                  </a:lnTo>
                  <a:lnTo>
                    <a:pt x="4" y="6"/>
                  </a:lnTo>
                  <a:lnTo>
                    <a:pt x="4" y="6"/>
                  </a:lnTo>
                  <a:lnTo>
                    <a:pt x="4" y="6"/>
                  </a:lnTo>
                  <a:lnTo>
                    <a:pt x="4" y="7"/>
                  </a:lnTo>
                  <a:lnTo>
                    <a:pt x="4" y="7"/>
                  </a:lnTo>
                  <a:lnTo>
                    <a:pt x="4" y="7"/>
                  </a:lnTo>
                  <a:lnTo>
                    <a:pt x="2" y="7"/>
                  </a:lnTo>
                  <a:lnTo>
                    <a:pt x="2" y="6"/>
                  </a:lnTo>
                  <a:lnTo>
                    <a:pt x="2" y="6"/>
                  </a:lnTo>
                  <a:lnTo>
                    <a:pt x="2" y="6"/>
                  </a:lnTo>
                  <a:lnTo>
                    <a:pt x="2" y="6"/>
                  </a:lnTo>
                  <a:lnTo>
                    <a:pt x="2" y="6"/>
                  </a:lnTo>
                  <a:lnTo>
                    <a:pt x="2" y="6"/>
                  </a:lnTo>
                  <a:lnTo>
                    <a:pt x="2" y="6"/>
                  </a:lnTo>
                  <a:lnTo>
                    <a:pt x="2" y="6"/>
                  </a:lnTo>
                  <a:lnTo>
                    <a:pt x="2" y="6"/>
                  </a:lnTo>
                  <a:lnTo>
                    <a:pt x="2" y="6"/>
                  </a:lnTo>
                  <a:lnTo>
                    <a:pt x="2" y="6"/>
                  </a:lnTo>
                  <a:lnTo>
                    <a:pt x="1" y="6"/>
                  </a:lnTo>
                  <a:lnTo>
                    <a:pt x="1" y="6"/>
                  </a:lnTo>
                  <a:lnTo>
                    <a:pt x="1" y="6"/>
                  </a:lnTo>
                  <a:lnTo>
                    <a:pt x="1" y="6"/>
                  </a:lnTo>
                  <a:lnTo>
                    <a:pt x="1" y="6"/>
                  </a:lnTo>
                  <a:lnTo>
                    <a:pt x="1" y="6"/>
                  </a:lnTo>
                  <a:lnTo>
                    <a:pt x="1" y="6"/>
                  </a:lnTo>
                  <a:lnTo>
                    <a:pt x="1" y="6"/>
                  </a:lnTo>
                  <a:lnTo>
                    <a:pt x="1" y="6"/>
                  </a:lnTo>
                  <a:lnTo>
                    <a:pt x="1" y="6"/>
                  </a:lnTo>
                  <a:lnTo>
                    <a:pt x="0" y="6"/>
                  </a:lnTo>
                  <a:lnTo>
                    <a:pt x="0" y="6"/>
                  </a:lnTo>
                  <a:lnTo>
                    <a:pt x="0" y="6"/>
                  </a:lnTo>
                  <a:lnTo>
                    <a:pt x="0" y="6"/>
                  </a:lnTo>
                  <a:lnTo>
                    <a:pt x="0" y="6"/>
                  </a:lnTo>
                  <a:lnTo>
                    <a:pt x="0" y="6"/>
                  </a:lnTo>
                  <a:lnTo>
                    <a:pt x="0" y="6"/>
                  </a:lnTo>
                  <a:lnTo>
                    <a:pt x="0" y="4"/>
                  </a:lnTo>
                  <a:lnTo>
                    <a:pt x="0" y="4"/>
                  </a:lnTo>
                  <a:lnTo>
                    <a:pt x="0" y="4"/>
                  </a:lnTo>
                  <a:lnTo>
                    <a:pt x="0" y="4"/>
                  </a:lnTo>
                  <a:lnTo>
                    <a:pt x="1" y="4"/>
                  </a:lnTo>
                  <a:lnTo>
                    <a:pt x="1" y="4"/>
                  </a:lnTo>
                  <a:lnTo>
                    <a:pt x="1" y="4"/>
                  </a:lnTo>
                  <a:lnTo>
                    <a:pt x="1" y="4"/>
                  </a:lnTo>
                  <a:lnTo>
                    <a:pt x="1" y="4"/>
                  </a:lnTo>
                  <a:lnTo>
                    <a:pt x="1" y="4"/>
                  </a:lnTo>
                  <a:lnTo>
                    <a:pt x="1" y="3"/>
                  </a:lnTo>
                  <a:lnTo>
                    <a:pt x="1" y="3"/>
                  </a:lnTo>
                  <a:lnTo>
                    <a:pt x="1" y="3"/>
                  </a:lnTo>
                  <a:lnTo>
                    <a:pt x="1" y="3"/>
                  </a:lnTo>
                  <a:lnTo>
                    <a:pt x="1" y="3"/>
                  </a:lnTo>
                  <a:lnTo>
                    <a:pt x="1" y="3"/>
                  </a:lnTo>
                  <a:lnTo>
                    <a:pt x="1" y="3"/>
                  </a:lnTo>
                  <a:lnTo>
                    <a:pt x="1" y="3"/>
                  </a:lnTo>
                  <a:lnTo>
                    <a:pt x="0" y="3"/>
                  </a:lnTo>
                  <a:lnTo>
                    <a:pt x="0" y="3"/>
                  </a:lnTo>
                  <a:lnTo>
                    <a:pt x="0" y="3"/>
                  </a:lnTo>
                  <a:lnTo>
                    <a:pt x="1" y="3"/>
                  </a:lnTo>
                  <a:lnTo>
                    <a:pt x="1" y="3"/>
                  </a:lnTo>
                  <a:lnTo>
                    <a:pt x="1" y="3"/>
                  </a:lnTo>
                  <a:lnTo>
                    <a:pt x="1" y="2"/>
                  </a:lnTo>
                  <a:lnTo>
                    <a:pt x="1" y="2"/>
                  </a:lnTo>
                  <a:lnTo>
                    <a:pt x="1" y="2"/>
                  </a:lnTo>
                  <a:lnTo>
                    <a:pt x="1" y="2"/>
                  </a:lnTo>
                  <a:lnTo>
                    <a:pt x="1" y="2"/>
                  </a:lnTo>
                  <a:lnTo>
                    <a:pt x="1" y="2"/>
                  </a:lnTo>
                  <a:lnTo>
                    <a:pt x="1" y="2"/>
                  </a:lnTo>
                  <a:lnTo>
                    <a:pt x="1" y="2"/>
                  </a:lnTo>
                  <a:lnTo>
                    <a:pt x="1" y="2"/>
                  </a:lnTo>
                  <a:lnTo>
                    <a:pt x="1" y="2"/>
                  </a:lnTo>
                  <a:lnTo>
                    <a:pt x="1" y="2"/>
                  </a:lnTo>
                  <a:lnTo>
                    <a:pt x="0" y="2"/>
                  </a:lnTo>
                  <a:lnTo>
                    <a:pt x="0" y="2"/>
                  </a:lnTo>
                  <a:lnTo>
                    <a:pt x="0" y="2"/>
                  </a:lnTo>
                  <a:lnTo>
                    <a:pt x="0" y="2"/>
                  </a:lnTo>
                  <a:lnTo>
                    <a:pt x="0" y="2"/>
                  </a:lnTo>
                  <a:lnTo>
                    <a:pt x="0" y="2"/>
                  </a:lnTo>
                  <a:lnTo>
                    <a:pt x="0" y="2"/>
                  </a:lnTo>
                  <a:lnTo>
                    <a:pt x="0" y="2"/>
                  </a:lnTo>
                  <a:lnTo>
                    <a:pt x="0" y="2"/>
                  </a:lnTo>
                  <a:lnTo>
                    <a:pt x="0" y="2"/>
                  </a:lnTo>
                  <a:lnTo>
                    <a:pt x="0" y="2"/>
                  </a:lnTo>
                  <a:lnTo>
                    <a:pt x="0" y="1"/>
                  </a:lnTo>
                  <a:lnTo>
                    <a:pt x="1" y="1"/>
                  </a:lnTo>
                  <a:lnTo>
                    <a:pt x="1" y="1"/>
                  </a:lnTo>
                  <a:lnTo>
                    <a:pt x="1" y="2"/>
                  </a:lnTo>
                  <a:lnTo>
                    <a:pt x="1" y="2"/>
                  </a:lnTo>
                  <a:lnTo>
                    <a:pt x="1" y="2"/>
                  </a:lnTo>
                  <a:lnTo>
                    <a:pt x="1" y="2"/>
                  </a:lnTo>
                  <a:lnTo>
                    <a:pt x="1" y="2"/>
                  </a:lnTo>
                  <a:lnTo>
                    <a:pt x="1" y="2"/>
                  </a:lnTo>
                  <a:lnTo>
                    <a:pt x="2" y="2"/>
                  </a:lnTo>
                  <a:lnTo>
                    <a:pt x="1" y="1"/>
                  </a:lnTo>
                  <a:lnTo>
                    <a:pt x="2" y="1"/>
                  </a:lnTo>
                  <a:lnTo>
                    <a:pt x="2" y="1"/>
                  </a:lnTo>
                  <a:lnTo>
                    <a:pt x="2" y="1"/>
                  </a:lnTo>
                  <a:lnTo>
                    <a:pt x="2" y="1"/>
                  </a:lnTo>
                  <a:lnTo>
                    <a:pt x="2" y="1"/>
                  </a:lnTo>
                  <a:lnTo>
                    <a:pt x="2" y="1"/>
                  </a:lnTo>
                  <a:lnTo>
                    <a:pt x="2" y="1"/>
                  </a:lnTo>
                  <a:lnTo>
                    <a:pt x="2" y="1"/>
                  </a:lnTo>
                  <a:lnTo>
                    <a:pt x="2" y="1"/>
                  </a:lnTo>
                  <a:lnTo>
                    <a:pt x="2" y="2"/>
                  </a:lnTo>
                  <a:lnTo>
                    <a:pt x="2" y="2"/>
                  </a:lnTo>
                  <a:lnTo>
                    <a:pt x="2" y="2"/>
                  </a:lnTo>
                  <a:lnTo>
                    <a:pt x="2" y="2"/>
                  </a:lnTo>
                  <a:lnTo>
                    <a:pt x="2" y="2"/>
                  </a:lnTo>
                  <a:lnTo>
                    <a:pt x="2" y="2"/>
                  </a:lnTo>
                  <a:lnTo>
                    <a:pt x="2" y="2"/>
                  </a:lnTo>
                  <a:lnTo>
                    <a:pt x="2" y="2"/>
                  </a:lnTo>
                  <a:lnTo>
                    <a:pt x="2" y="2"/>
                  </a:lnTo>
                  <a:lnTo>
                    <a:pt x="2" y="1"/>
                  </a:lnTo>
                  <a:lnTo>
                    <a:pt x="2" y="1"/>
                  </a:lnTo>
                  <a:lnTo>
                    <a:pt x="2" y="1"/>
                  </a:lnTo>
                  <a:lnTo>
                    <a:pt x="2" y="1"/>
                  </a:lnTo>
                  <a:lnTo>
                    <a:pt x="2" y="1"/>
                  </a:lnTo>
                  <a:lnTo>
                    <a:pt x="2" y="2"/>
                  </a:lnTo>
                  <a:lnTo>
                    <a:pt x="4" y="2"/>
                  </a:lnTo>
                  <a:lnTo>
                    <a:pt x="4" y="2"/>
                  </a:lnTo>
                  <a:lnTo>
                    <a:pt x="4" y="2"/>
                  </a:lnTo>
                  <a:lnTo>
                    <a:pt x="4" y="2"/>
                  </a:lnTo>
                  <a:lnTo>
                    <a:pt x="5" y="2"/>
                  </a:lnTo>
                  <a:lnTo>
                    <a:pt x="4" y="2"/>
                  </a:lnTo>
                  <a:lnTo>
                    <a:pt x="5" y="2"/>
                  </a:lnTo>
                  <a:lnTo>
                    <a:pt x="5" y="2"/>
                  </a:lnTo>
                  <a:lnTo>
                    <a:pt x="5" y="2"/>
                  </a:lnTo>
                  <a:lnTo>
                    <a:pt x="5" y="2"/>
                  </a:lnTo>
                  <a:lnTo>
                    <a:pt x="5" y="2"/>
                  </a:lnTo>
                  <a:lnTo>
                    <a:pt x="4" y="2"/>
                  </a:lnTo>
                  <a:lnTo>
                    <a:pt x="4" y="1"/>
                  </a:lnTo>
                  <a:lnTo>
                    <a:pt x="4" y="1"/>
                  </a:lnTo>
                  <a:lnTo>
                    <a:pt x="4" y="1"/>
                  </a:lnTo>
                  <a:lnTo>
                    <a:pt x="4" y="1"/>
                  </a:lnTo>
                  <a:lnTo>
                    <a:pt x="5" y="1"/>
                  </a:lnTo>
                  <a:lnTo>
                    <a:pt x="5" y="1"/>
                  </a:lnTo>
                  <a:lnTo>
                    <a:pt x="5" y="1"/>
                  </a:lnTo>
                  <a:lnTo>
                    <a:pt x="4" y="1"/>
                  </a:lnTo>
                  <a:lnTo>
                    <a:pt x="4" y="1"/>
                  </a:lnTo>
                  <a:lnTo>
                    <a:pt x="4" y="1"/>
                  </a:lnTo>
                  <a:lnTo>
                    <a:pt x="4" y="1"/>
                  </a:lnTo>
                  <a:lnTo>
                    <a:pt x="4" y="1"/>
                  </a:lnTo>
                  <a:lnTo>
                    <a:pt x="4" y="1"/>
                  </a:lnTo>
                  <a:lnTo>
                    <a:pt x="4" y="1"/>
                  </a:lnTo>
                  <a:lnTo>
                    <a:pt x="4" y="1"/>
                  </a:lnTo>
                  <a:lnTo>
                    <a:pt x="4" y="1"/>
                  </a:lnTo>
                  <a:lnTo>
                    <a:pt x="4" y="1"/>
                  </a:lnTo>
                  <a:lnTo>
                    <a:pt x="2" y="1"/>
                  </a:lnTo>
                  <a:lnTo>
                    <a:pt x="2" y="1"/>
                  </a:lnTo>
                  <a:lnTo>
                    <a:pt x="2" y="1"/>
                  </a:lnTo>
                  <a:lnTo>
                    <a:pt x="2" y="1"/>
                  </a:lnTo>
                  <a:lnTo>
                    <a:pt x="2" y="1"/>
                  </a:lnTo>
                  <a:lnTo>
                    <a:pt x="2" y="1"/>
                  </a:lnTo>
                  <a:lnTo>
                    <a:pt x="2" y="1"/>
                  </a:lnTo>
                  <a:lnTo>
                    <a:pt x="2" y="1"/>
                  </a:lnTo>
                  <a:lnTo>
                    <a:pt x="2" y="1"/>
                  </a:lnTo>
                  <a:lnTo>
                    <a:pt x="1" y="1"/>
                  </a:lnTo>
                  <a:lnTo>
                    <a:pt x="1" y="1"/>
                  </a:lnTo>
                  <a:lnTo>
                    <a:pt x="1" y="1"/>
                  </a:lnTo>
                  <a:lnTo>
                    <a:pt x="1" y="1"/>
                  </a:lnTo>
                  <a:lnTo>
                    <a:pt x="1" y="1"/>
                  </a:lnTo>
                  <a:lnTo>
                    <a:pt x="1" y="1"/>
                  </a:lnTo>
                  <a:lnTo>
                    <a:pt x="1" y="1"/>
                  </a:lnTo>
                  <a:lnTo>
                    <a:pt x="1" y="1"/>
                  </a:lnTo>
                  <a:lnTo>
                    <a:pt x="1" y="1"/>
                  </a:lnTo>
                  <a:lnTo>
                    <a:pt x="1" y="0"/>
                  </a:lnTo>
                  <a:lnTo>
                    <a:pt x="1" y="0"/>
                  </a:lnTo>
                  <a:lnTo>
                    <a:pt x="1" y="0"/>
                  </a:lnTo>
                  <a:lnTo>
                    <a:pt x="1" y="0"/>
                  </a:lnTo>
                  <a:lnTo>
                    <a:pt x="1" y="0"/>
                  </a:lnTo>
                  <a:lnTo>
                    <a:pt x="1" y="0"/>
                  </a:lnTo>
                  <a:lnTo>
                    <a:pt x="1" y="0"/>
                  </a:lnTo>
                  <a:lnTo>
                    <a:pt x="1" y="0"/>
                  </a:lnTo>
                  <a:lnTo>
                    <a:pt x="1" y="0"/>
                  </a:lnTo>
                  <a:lnTo>
                    <a:pt x="1" y="0"/>
                  </a:lnTo>
                  <a:lnTo>
                    <a:pt x="2" y="0"/>
                  </a:lnTo>
                  <a:lnTo>
                    <a:pt x="2" y="0"/>
                  </a:lnTo>
                  <a:lnTo>
                    <a:pt x="4" y="0"/>
                  </a:lnTo>
                  <a:lnTo>
                    <a:pt x="4" y="0"/>
                  </a:lnTo>
                  <a:lnTo>
                    <a:pt x="4"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22" name="Freeform 1086">
              <a:extLst>
                <a:ext uri="{FF2B5EF4-FFF2-40B4-BE49-F238E27FC236}">
                  <a16:creationId xmlns:a16="http://schemas.microsoft.com/office/drawing/2014/main" id="{D85A0E7D-E0C0-42F4-998B-1EE1788CC085}"/>
                </a:ext>
              </a:extLst>
            </p:cNvPr>
            <p:cNvSpPr>
              <a:spLocks/>
            </p:cNvSpPr>
            <p:nvPr/>
          </p:nvSpPr>
          <p:spPr bwMode="auto">
            <a:xfrm>
              <a:off x="5935970" y="2200008"/>
              <a:ext cx="1336" cy="2671"/>
            </a:xfrm>
            <a:custGeom>
              <a:avLst/>
              <a:gdLst>
                <a:gd name="T0" fmla="*/ 1 w 1"/>
                <a:gd name="T1" fmla="*/ 0 h 2"/>
                <a:gd name="T2" fmla="*/ 1 w 1"/>
                <a:gd name="T3" fmla="*/ 0 h 2"/>
                <a:gd name="T4" fmla="*/ 1 w 1"/>
                <a:gd name="T5" fmla="*/ 0 h 2"/>
                <a:gd name="T6" fmla="*/ 1 w 1"/>
                <a:gd name="T7" fmla="*/ 0 h 2"/>
                <a:gd name="T8" fmla="*/ 0 w 1"/>
                <a:gd name="T9" fmla="*/ 1 h 2"/>
                <a:gd name="T10" fmla="*/ 0 w 1"/>
                <a:gd name="T11" fmla="*/ 1 h 2"/>
                <a:gd name="T12" fmla="*/ 1 w 1"/>
                <a:gd name="T13" fmla="*/ 1 h 2"/>
                <a:gd name="T14" fmla="*/ 1 w 1"/>
                <a:gd name="T15" fmla="*/ 1 h 2"/>
                <a:gd name="T16" fmla="*/ 1 w 1"/>
                <a:gd name="T17" fmla="*/ 2 h 2"/>
                <a:gd name="T18" fmla="*/ 1 w 1"/>
                <a:gd name="T19" fmla="*/ 2 h 2"/>
                <a:gd name="T20" fmla="*/ 0 w 1"/>
                <a:gd name="T21" fmla="*/ 1 h 2"/>
                <a:gd name="T22" fmla="*/ 0 w 1"/>
                <a:gd name="T23" fmla="*/ 1 h 2"/>
                <a:gd name="T24" fmla="*/ 0 w 1"/>
                <a:gd name="T25" fmla="*/ 1 h 2"/>
                <a:gd name="T26" fmla="*/ 0 w 1"/>
                <a:gd name="T27" fmla="*/ 1 h 2"/>
                <a:gd name="T28" fmla="*/ 0 w 1"/>
                <a:gd name="T29" fmla="*/ 0 h 2"/>
                <a:gd name="T30" fmla="*/ 1 w 1"/>
                <a:gd name="T31" fmla="*/ 0 h 2"/>
                <a:gd name="T32" fmla="*/ 1 w 1"/>
                <a:gd name="T3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 h="2">
                  <a:moveTo>
                    <a:pt x="1" y="0"/>
                  </a:moveTo>
                  <a:lnTo>
                    <a:pt x="1" y="0"/>
                  </a:lnTo>
                  <a:lnTo>
                    <a:pt x="1" y="0"/>
                  </a:lnTo>
                  <a:lnTo>
                    <a:pt x="1" y="0"/>
                  </a:lnTo>
                  <a:lnTo>
                    <a:pt x="0" y="1"/>
                  </a:lnTo>
                  <a:lnTo>
                    <a:pt x="0" y="1"/>
                  </a:lnTo>
                  <a:lnTo>
                    <a:pt x="1" y="1"/>
                  </a:lnTo>
                  <a:lnTo>
                    <a:pt x="1" y="1"/>
                  </a:lnTo>
                  <a:lnTo>
                    <a:pt x="1" y="2"/>
                  </a:lnTo>
                  <a:lnTo>
                    <a:pt x="1" y="2"/>
                  </a:lnTo>
                  <a:lnTo>
                    <a:pt x="0" y="1"/>
                  </a:lnTo>
                  <a:lnTo>
                    <a:pt x="0" y="1"/>
                  </a:lnTo>
                  <a:lnTo>
                    <a:pt x="0" y="1"/>
                  </a:lnTo>
                  <a:lnTo>
                    <a:pt x="0" y="1"/>
                  </a:lnTo>
                  <a:lnTo>
                    <a:pt x="0"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23" name="Freeform 1087">
              <a:extLst>
                <a:ext uri="{FF2B5EF4-FFF2-40B4-BE49-F238E27FC236}">
                  <a16:creationId xmlns:a16="http://schemas.microsoft.com/office/drawing/2014/main" id="{F9D9B79C-12B7-46DF-9442-8D833866D9A6}"/>
                </a:ext>
              </a:extLst>
            </p:cNvPr>
            <p:cNvSpPr>
              <a:spLocks/>
            </p:cNvSpPr>
            <p:nvPr/>
          </p:nvSpPr>
          <p:spPr bwMode="auto">
            <a:xfrm>
              <a:off x="5937305" y="2200008"/>
              <a:ext cx="2671" cy="1336"/>
            </a:xfrm>
            <a:custGeom>
              <a:avLst/>
              <a:gdLst>
                <a:gd name="T0" fmla="*/ 2 w 2"/>
                <a:gd name="T1" fmla="*/ 1 h 1"/>
                <a:gd name="T2" fmla="*/ 2 w 2"/>
                <a:gd name="T3" fmla="*/ 1 h 1"/>
                <a:gd name="T4" fmla="*/ 2 w 2"/>
                <a:gd name="T5" fmla="*/ 1 h 1"/>
                <a:gd name="T6" fmla="*/ 1 w 2"/>
                <a:gd name="T7" fmla="*/ 1 h 1"/>
                <a:gd name="T8" fmla="*/ 1 w 2"/>
                <a:gd name="T9" fmla="*/ 1 h 1"/>
                <a:gd name="T10" fmla="*/ 1 w 2"/>
                <a:gd name="T11" fmla="*/ 1 h 1"/>
                <a:gd name="T12" fmla="*/ 1 w 2"/>
                <a:gd name="T13" fmla="*/ 1 h 1"/>
                <a:gd name="T14" fmla="*/ 1 w 2"/>
                <a:gd name="T15" fmla="*/ 1 h 1"/>
                <a:gd name="T16" fmla="*/ 0 w 2"/>
                <a:gd name="T17" fmla="*/ 0 h 1"/>
                <a:gd name="T18" fmla="*/ 0 w 2"/>
                <a:gd name="T19" fmla="*/ 0 h 1"/>
                <a:gd name="T20" fmla="*/ 0 w 2"/>
                <a:gd name="T21" fmla="*/ 0 h 1"/>
                <a:gd name="T22" fmla="*/ 1 w 2"/>
                <a:gd name="T23" fmla="*/ 0 h 1"/>
                <a:gd name="T24" fmla="*/ 1 w 2"/>
                <a:gd name="T25" fmla="*/ 0 h 1"/>
                <a:gd name="T26" fmla="*/ 2 w 2"/>
                <a:gd name="T27" fmla="*/ 0 h 1"/>
                <a:gd name="T28" fmla="*/ 2 w 2"/>
                <a:gd name="T29" fmla="*/ 0 h 1"/>
                <a:gd name="T30" fmla="*/ 2 w 2"/>
                <a:gd name="T31" fmla="*/ 0 h 1"/>
                <a:gd name="T32" fmla="*/ 2 w 2"/>
                <a:gd name="T33" fmla="*/ 0 h 1"/>
                <a:gd name="T34" fmla="*/ 2 w 2"/>
                <a:gd name="T35" fmla="*/ 0 h 1"/>
                <a:gd name="T36" fmla="*/ 2 w 2"/>
                <a:gd name="T3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1">
                  <a:moveTo>
                    <a:pt x="2" y="1"/>
                  </a:moveTo>
                  <a:lnTo>
                    <a:pt x="2" y="1"/>
                  </a:lnTo>
                  <a:lnTo>
                    <a:pt x="2" y="1"/>
                  </a:lnTo>
                  <a:lnTo>
                    <a:pt x="1" y="1"/>
                  </a:lnTo>
                  <a:lnTo>
                    <a:pt x="1" y="1"/>
                  </a:lnTo>
                  <a:lnTo>
                    <a:pt x="1" y="1"/>
                  </a:lnTo>
                  <a:lnTo>
                    <a:pt x="1" y="1"/>
                  </a:lnTo>
                  <a:lnTo>
                    <a:pt x="1" y="1"/>
                  </a:lnTo>
                  <a:lnTo>
                    <a:pt x="0" y="0"/>
                  </a:lnTo>
                  <a:lnTo>
                    <a:pt x="0" y="0"/>
                  </a:lnTo>
                  <a:lnTo>
                    <a:pt x="0" y="0"/>
                  </a:lnTo>
                  <a:lnTo>
                    <a:pt x="1" y="0"/>
                  </a:lnTo>
                  <a:lnTo>
                    <a:pt x="1" y="0"/>
                  </a:lnTo>
                  <a:lnTo>
                    <a:pt x="2" y="0"/>
                  </a:lnTo>
                  <a:lnTo>
                    <a:pt x="2" y="0"/>
                  </a:lnTo>
                  <a:lnTo>
                    <a:pt x="2" y="0"/>
                  </a:lnTo>
                  <a:lnTo>
                    <a:pt x="2" y="0"/>
                  </a:lnTo>
                  <a:lnTo>
                    <a:pt x="2" y="0"/>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24" name="Freeform 1088">
              <a:extLst>
                <a:ext uri="{FF2B5EF4-FFF2-40B4-BE49-F238E27FC236}">
                  <a16:creationId xmlns:a16="http://schemas.microsoft.com/office/drawing/2014/main" id="{19244F6E-8828-45A8-B701-B4355171FF8F}"/>
                </a:ext>
              </a:extLst>
            </p:cNvPr>
            <p:cNvSpPr>
              <a:spLocks/>
            </p:cNvSpPr>
            <p:nvPr/>
          </p:nvSpPr>
          <p:spPr bwMode="auto">
            <a:xfrm>
              <a:off x="5899912" y="2196002"/>
              <a:ext cx="148240" cy="156253"/>
            </a:xfrm>
            <a:custGeom>
              <a:avLst/>
              <a:gdLst>
                <a:gd name="T0" fmla="*/ 44 w 111"/>
                <a:gd name="T1" fmla="*/ 1 h 117"/>
                <a:gd name="T2" fmla="*/ 48 w 111"/>
                <a:gd name="T3" fmla="*/ 5 h 117"/>
                <a:gd name="T4" fmla="*/ 55 w 111"/>
                <a:gd name="T5" fmla="*/ 8 h 117"/>
                <a:gd name="T6" fmla="*/ 60 w 111"/>
                <a:gd name="T7" fmla="*/ 11 h 117"/>
                <a:gd name="T8" fmla="*/ 63 w 111"/>
                <a:gd name="T9" fmla="*/ 14 h 117"/>
                <a:gd name="T10" fmla="*/ 72 w 111"/>
                <a:gd name="T11" fmla="*/ 12 h 117"/>
                <a:gd name="T12" fmla="*/ 81 w 111"/>
                <a:gd name="T13" fmla="*/ 7 h 117"/>
                <a:gd name="T14" fmla="*/ 76 w 111"/>
                <a:gd name="T15" fmla="*/ 10 h 117"/>
                <a:gd name="T16" fmla="*/ 81 w 111"/>
                <a:gd name="T17" fmla="*/ 8 h 117"/>
                <a:gd name="T18" fmla="*/ 89 w 111"/>
                <a:gd name="T19" fmla="*/ 12 h 117"/>
                <a:gd name="T20" fmla="*/ 92 w 111"/>
                <a:gd name="T21" fmla="*/ 15 h 117"/>
                <a:gd name="T22" fmla="*/ 100 w 111"/>
                <a:gd name="T23" fmla="*/ 24 h 117"/>
                <a:gd name="T24" fmla="*/ 101 w 111"/>
                <a:gd name="T25" fmla="*/ 33 h 117"/>
                <a:gd name="T26" fmla="*/ 105 w 111"/>
                <a:gd name="T27" fmla="*/ 41 h 117"/>
                <a:gd name="T28" fmla="*/ 106 w 111"/>
                <a:gd name="T29" fmla="*/ 48 h 117"/>
                <a:gd name="T30" fmla="*/ 110 w 111"/>
                <a:gd name="T31" fmla="*/ 56 h 117"/>
                <a:gd name="T32" fmla="*/ 105 w 111"/>
                <a:gd name="T33" fmla="*/ 59 h 117"/>
                <a:gd name="T34" fmla="*/ 98 w 111"/>
                <a:gd name="T35" fmla="*/ 62 h 117"/>
                <a:gd name="T36" fmla="*/ 90 w 111"/>
                <a:gd name="T37" fmla="*/ 66 h 117"/>
                <a:gd name="T38" fmla="*/ 79 w 111"/>
                <a:gd name="T39" fmla="*/ 69 h 117"/>
                <a:gd name="T40" fmla="*/ 76 w 111"/>
                <a:gd name="T41" fmla="*/ 71 h 117"/>
                <a:gd name="T42" fmla="*/ 81 w 111"/>
                <a:gd name="T43" fmla="*/ 80 h 117"/>
                <a:gd name="T44" fmla="*/ 86 w 111"/>
                <a:gd name="T45" fmla="*/ 84 h 117"/>
                <a:gd name="T46" fmla="*/ 94 w 111"/>
                <a:gd name="T47" fmla="*/ 90 h 117"/>
                <a:gd name="T48" fmla="*/ 98 w 111"/>
                <a:gd name="T49" fmla="*/ 94 h 117"/>
                <a:gd name="T50" fmla="*/ 94 w 111"/>
                <a:gd name="T51" fmla="*/ 99 h 117"/>
                <a:gd name="T52" fmla="*/ 88 w 111"/>
                <a:gd name="T53" fmla="*/ 105 h 117"/>
                <a:gd name="T54" fmla="*/ 89 w 111"/>
                <a:gd name="T55" fmla="*/ 113 h 117"/>
                <a:gd name="T56" fmla="*/ 82 w 111"/>
                <a:gd name="T57" fmla="*/ 110 h 117"/>
                <a:gd name="T58" fmla="*/ 72 w 111"/>
                <a:gd name="T59" fmla="*/ 112 h 117"/>
                <a:gd name="T60" fmla="*/ 64 w 111"/>
                <a:gd name="T61" fmla="*/ 113 h 117"/>
                <a:gd name="T62" fmla="*/ 57 w 111"/>
                <a:gd name="T63" fmla="*/ 116 h 117"/>
                <a:gd name="T64" fmla="*/ 53 w 111"/>
                <a:gd name="T65" fmla="*/ 112 h 117"/>
                <a:gd name="T66" fmla="*/ 46 w 111"/>
                <a:gd name="T67" fmla="*/ 110 h 117"/>
                <a:gd name="T68" fmla="*/ 40 w 111"/>
                <a:gd name="T69" fmla="*/ 111 h 117"/>
                <a:gd name="T70" fmla="*/ 34 w 111"/>
                <a:gd name="T71" fmla="*/ 110 h 117"/>
                <a:gd name="T72" fmla="*/ 30 w 111"/>
                <a:gd name="T73" fmla="*/ 111 h 117"/>
                <a:gd name="T74" fmla="*/ 24 w 111"/>
                <a:gd name="T75" fmla="*/ 111 h 117"/>
                <a:gd name="T76" fmla="*/ 25 w 111"/>
                <a:gd name="T77" fmla="*/ 99 h 117"/>
                <a:gd name="T78" fmla="*/ 30 w 111"/>
                <a:gd name="T79" fmla="*/ 90 h 117"/>
                <a:gd name="T80" fmla="*/ 18 w 111"/>
                <a:gd name="T81" fmla="*/ 88 h 117"/>
                <a:gd name="T82" fmla="*/ 10 w 111"/>
                <a:gd name="T83" fmla="*/ 85 h 117"/>
                <a:gd name="T84" fmla="*/ 8 w 111"/>
                <a:gd name="T85" fmla="*/ 78 h 117"/>
                <a:gd name="T86" fmla="*/ 4 w 111"/>
                <a:gd name="T87" fmla="*/ 74 h 117"/>
                <a:gd name="T88" fmla="*/ 5 w 111"/>
                <a:gd name="T89" fmla="*/ 67 h 117"/>
                <a:gd name="T90" fmla="*/ 3 w 111"/>
                <a:gd name="T91" fmla="*/ 60 h 117"/>
                <a:gd name="T92" fmla="*/ 4 w 111"/>
                <a:gd name="T93" fmla="*/ 55 h 117"/>
                <a:gd name="T94" fmla="*/ 3 w 111"/>
                <a:gd name="T95" fmla="*/ 47 h 117"/>
                <a:gd name="T96" fmla="*/ 8 w 111"/>
                <a:gd name="T97" fmla="*/ 46 h 117"/>
                <a:gd name="T98" fmla="*/ 13 w 111"/>
                <a:gd name="T99" fmla="*/ 41 h 117"/>
                <a:gd name="T100" fmla="*/ 10 w 111"/>
                <a:gd name="T101" fmla="*/ 34 h 117"/>
                <a:gd name="T102" fmla="*/ 15 w 111"/>
                <a:gd name="T103" fmla="*/ 25 h 117"/>
                <a:gd name="T104" fmla="*/ 14 w 111"/>
                <a:gd name="T105" fmla="*/ 20 h 117"/>
                <a:gd name="T106" fmla="*/ 27 w 111"/>
                <a:gd name="T107" fmla="*/ 20 h 117"/>
                <a:gd name="T108" fmla="*/ 28 w 111"/>
                <a:gd name="T109" fmla="*/ 19 h 117"/>
                <a:gd name="T110" fmla="*/ 30 w 111"/>
                <a:gd name="T111" fmla="*/ 19 h 117"/>
                <a:gd name="T112" fmla="*/ 39 w 111"/>
                <a:gd name="T113" fmla="*/ 15 h 117"/>
                <a:gd name="T114" fmla="*/ 44 w 111"/>
                <a:gd name="T115" fmla="*/ 20 h 117"/>
                <a:gd name="T116" fmla="*/ 35 w 111"/>
                <a:gd name="T117" fmla="*/ 15 h 117"/>
                <a:gd name="T118" fmla="*/ 35 w 111"/>
                <a:gd name="T119" fmla="*/ 8 h 117"/>
                <a:gd name="T120" fmla="*/ 35 w 111"/>
                <a:gd name="T121" fmla="*/ 7 h 117"/>
                <a:gd name="T122" fmla="*/ 33 w 111"/>
                <a:gd name="T12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1" h="117">
                  <a:moveTo>
                    <a:pt x="34" y="0"/>
                  </a:moveTo>
                  <a:lnTo>
                    <a:pt x="35" y="0"/>
                  </a:lnTo>
                  <a:lnTo>
                    <a:pt x="37" y="1"/>
                  </a:lnTo>
                  <a:lnTo>
                    <a:pt x="39" y="1"/>
                  </a:lnTo>
                  <a:lnTo>
                    <a:pt x="40" y="1"/>
                  </a:lnTo>
                  <a:lnTo>
                    <a:pt x="41" y="1"/>
                  </a:lnTo>
                  <a:lnTo>
                    <a:pt x="42" y="1"/>
                  </a:lnTo>
                  <a:lnTo>
                    <a:pt x="42" y="0"/>
                  </a:lnTo>
                  <a:lnTo>
                    <a:pt x="42" y="1"/>
                  </a:lnTo>
                  <a:lnTo>
                    <a:pt x="43" y="1"/>
                  </a:lnTo>
                  <a:lnTo>
                    <a:pt x="44" y="1"/>
                  </a:lnTo>
                  <a:lnTo>
                    <a:pt x="44" y="3"/>
                  </a:lnTo>
                  <a:lnTo>
                    <a:pt x="46" y="3"/>
                  </a:lnTo>
                  <a:lnTo>
                    <a:pt x="46" y="1"/>
                  </a:lnTo>
                  <a:lnTo>
                    <a:pt x="47" y="3"/>
                  </a:lnTo>
                  <a:lnTo>
                    <a:pt x="47" y="4"/>
                  </a:lnTo>
                  <a:lnTo>
                    <a:pt x="46" y="4"/>
                  </a:lnTo>
                  <a:lnTo>
                    <a:pt x="47" y="4"/>
                  </a:lnTo>
                  <a:lnTo>
                    <a:pt x="48" y="4"/>
                  </a:lnTo>
                  <a:lnTo>
                    <a:pt x="47" y="4"/>
                  </a:lnTo>
                  <a:lnTo>
                    <a:pt x="48" y="4"/>
                  </a:lnTo>
                  <a:lnTo>
                    <a:pt x="48" y="5"/>
                  </a:lnTo>
                  <a:lnTo>
                    <a:pt x="47" y="6"/>
                  </a:lnTo>
                  <a:lnTo>
                    <a:pt x="46" y="6"/>
                  </a:lnTo>
                  <a:lnTo>
                    <a:pt x="46" y="7"/>
                  </a:lnTo>
                  <a:lnTo>
                    <a:pt x="49" y="6"/>
                  </a:lnTo>
                  <a:lnTo>
                    <a:pt x="49" y="7"/>
                  </a:lnTo>
                  <a:lnTo>
                    <a:pt x="49" y="8"/>
                  </a:lnTo>
                  <a:lnTo>
                    <a:pt x="50" y="7"/>
                  </a:lnTo>
                  <a:lnTo>
                    <a:pt x="51" y="7"/>
                  </a:lnTo>
                  <a:lnTo>
                    <a:pt x="53" y="7"/>
                  </a:lnTo>
                  <a:lnTo>
                    <a:pt x="54" y="8"/>
                  </a:lnTo>
                  <a:lnTo>
                    <a:pt x="55" y="8"/>
                  </a:lnTo>
                  <a:lnTo>
                    <a:pt x="56" y="10"/>
                  </a:lnTo>
                  <a:lnTo>
                    <a:pt x="57" y="8"/>
                  </a:lnTo>
                  <a:lnTo>
                    <a:pt x="58" y="8"/>
                  </a:lnTo>
                  <a:lnTo>
                    <a:pt x="60" y="8"/>
                  </a:lnTo>
                  <a:lnTo>
                    <a:pt x="58" y="8"/>
                  </a:lnTo>
                  <a:lnTo>
                    <a:pt x="60" y="8"/>
                  </a:lnTo>
                  <a:lnTo>
                    <a:pt x="61" y="8"/>
                  </a:lnTo>
                  <a:lnTo>
                    <a:pt x="60" y="8"/>
                  </a:lnTo>
                  <a:lnTo>
                    <a:pt x="60" y="10"/>
                  </a:lnTo>
                  <a:lnTo>
                    <a:pt x="61" y="11"/>
                  </a:lnTo>
                  <a:lnTo>
                    <a:pt x="60" y="11"/>
                  </a:lnTo>
                  <a:lnTo>
                    <a:pt x="58" y="12"/>
                  </a:lnTo>
                  <a:lnTo>
                    <a:pt x="57" y="12"/>
                  </a:lnTo>
                  <a:lnTo>
                    <a:pt x="56" y="13"/>
                  </a:lnTo>
                  <a:lnTo>
                    <a:pt x="57" y="13"/>
                  </a:lnTo>
                  <a:lnTo>
                    <a:pt x="57" y="14"/>
                  </a:lnTo>
                  <a:lnTo>
                    <a:pt x="58" y="14"/>
                  </a:lnTo>
                  <a:lnTo>
                    <a:pt x="60" y="14"/>
                  </a:lnTo>
                  <a:lnTo>
                    <a:pt x="60" y="13"/>
                  </a:lnTo>
                  <a:lnTo>
                    <a:pt x="62" y="13"/>
                  </a:lnTo>
                  <a:lnTo>
                    <a:pt x="62" y="14"/>
                  </a:lnTo>
                  <a:lnTo>
                    <a:pt x="63" y="14"/>
                  </a:lnTo>
                  <a:lnTo>
                    <a:pt x="64" y="14"/>
                  </a:lnTo>
                  <a:lnTo>
                    <a:pt x="64" y="15"/>
                  </a:lnTo>
                  <a:lnTo>
                    <a:pt x="65" y="14"/>
                  </a:lnTo>
                  <a:lnTo>
                    <a:pt x="65" y="13"/>
                  </a:lnTo>
                  <a:lnTo>
                    <a:pt x="67" y="13"/>
                  </a:lnTo>
                  <a:lnTo>
                    <a:pt x="67" y="12"/>
                  </a:lnTo>
                  <a:lnTo>
                    <a:pt x="68" y="12"/>
                  </a:lnTo>
                  <a:lnTo>
                    <a:pt x="69" y="12"/>
                  </a:lnTo>
                  <a:lnTo>
                    <a:pt x="71" y="11"/>
                  </a:lnTo>
                  <a:lnTo>
                    <a:pt x="72" y="11"/>
                  </a:lnTo>
                  <a:lnTo>
                    <a:pt x="72" y="12"/>
                  </a:lnTo>
                  <a:lnTo>
                    <a:pt x="72" y="11"/>
                  </a:lnTo>
                  <a:lnTo>
                    <a:pt x="74" y="10"/>
                  </a:lnTo>
                  <a:lnTo>
                    <a:pt x="75" y="10"/>
                  </a:lnTo>
                  <a:lnTo>
                    <a:pt x="75" y="8"/>
                  </a:lnTo>
                  <a:lnTo>
                    <a:pt x="76" y="7"/>
                  </a:lnTo>
                  <a:lnTo>
                    <a:pt x="76" y="6"/>
                  </a:lnTo>
                  <a:lnTo>
                    <a:pt x="77" y="6"/>
                  </a:lnTo>
                  <a:lnTo>
                    <a:pt x="77" y="7"/>
                  </a:lnTo>
                  <a:lnTo>
                    <a:pt x="81" y="7"/>
                  </a:lnTo>
                  <a:lnTo>
                    <a:pt x="82" y="7"/>
                  </a:lnTo>
                  <a:lnTo>
                    <a:pt x="81" y="7"/>
                  </a:lnTo>
                  <a:lnTo>
                    <a:pt x="79" y="7"/>
                  </a:lnTo>
                  <a:lnTo>
                    <a:pt x="78" y="7"/>
                  </a:lnTo>
                  <a:lnTo>
                    <a:pt x="77" y="7"/>
                  </a:lnTo>
                  <a:lnTo>
                    <a:pt x="77" y="8"/>
                  </a:lnTo>
                  <a:lnTo>
                    <a:pt x="78" y="8"/>
                  </a:lnTo>
                  <a:lnTo>
                    <a:pt x="77" y="8"/>
                  </a:lnTo>
                  <a:lnTo>
                    <a:pt x="76" y="8"/>
                  </a:lnTo>
                  <a:lnTo>
                    <a:pt x="75" y="8"/>
                  </a:lnTo>
                  <a:lnTo>
                    <a:pt x="76" y="8"/>
                  </a:lnTo>
                  <a:lnTo>
                    <a:pt x="75" y="10"/>
                  </a:lnTo>
                  <a:lnTo>
                    <a:pt x="76" y="10"/>
                  </a:lnTo>
                  <a:lnTo>
                    <a:pt x="76" y="8"/>
                  </a:lnTo>
                  <a:lnTo>
                    <a:pt x="77" y="8"/>
                  </a:lnTo>
                  <a:lnTo>
                    <a:pt x="78" y="8"/>
                  </a:lnTo>
                  <a:lnTo>
                    <a:pt x="78" y="7"/>
                  </a:lnTo>
                  <a:lnTo>
                    <a:pt x="79" y="7"/>
                  </a:lnTo>
                  <a:lnTo>
                    <a:pt x="78" y="7"/>
                  </a:lnTo>
                  <a:lnTo>
                    <a:pt x="78" y="8"/>
                  </a:lnTo>
                  <a:lnTo>
                    <a:pt x="79" y="8"/>
                  </a:lnTo>
                  <a:lnTo>
                    <a:pt x="79" y="7"/>
                  </a:lnTo>
                  <a:lnTo>
                    <a:pt x="79" y="8"/>
                  </a:lnTo>
                  <a:lnTo>
                    <a:pt x="81" y="8"/>
                  </a:lnTo>
                  <a:lnTo>
                    <a:pt x="82" y="7"/>
                  </a:lnTo>
                  <a:lnTo>
                    <a:pt x="83" y="7"/>
                  </a:lnTo>
                  <a:lnTo>
                    <a:pt x="83" y="8"/>
                  </a:lnTo>
                  <a:lnTo>
                    <a:pt x="84" y="8"/>
                  </a:lnTo>
                  <a:lnTo>
                    <a:pt x="83" y="8"/>
                  </a:lnTo>
                  <a:lnTo>
                    <a:pt x="84" y="10"/>
                  </a:lnTo>
                  <a:lnTo>
                    <a:pt x="85" y="10"/>
                  </a:lnTo>
                  <a:lnTo>
                    <a:pt x="86" y="11"/>
                  </a:lnTo>
                  <a:lnTo>
                    <a:pt x="88" y="11"/>
                  </a:lnTo>
                  <a:lnTo>
                    <a:pt x="88" y="12"/>
                  </a:lnTo>
                  <a:lnTo>
                    <a:pt x="89" y="12"/>
                  </a:lnTo>
                  <a:lnTo>
                    <a:pt x="90" y="12"/>
                  </a:lnTo>
                  <a:lnTo>
                    <a:pt x="91" y="11"/>
                  </a:lnTo>
                  <a:lnTo>
                    <a:pt x="91" y="12"/>
                  </a:lnTo>
                  <a:lnTo>
                    <a:pt x="92" y="12"/>
                  </a:lnTo>
                  <a:lnTo>
                    <a:pt x="92" y="13"/>
                  </a:lnTo>
                  <a:lnTo>
                    <a:pt x="91" y="13"/>
                  </a:lnTo>
                  <a:lnTo>
                    <a:pt x="92" y="13"/>
                  </a:lnTo>
                  <a:lnTo>
                    <a:pt x="92" y="14"/>
                  </a:lnTo>
                  <a:lnTo>
                    <a:pt x="93" y="14"/>
                  </a:lnTo>
                  <a:lnTo>
                    <a:pt x="93" y="15"/>
                  </a:lnTo>
                  <a:lnTo>
                    <a:pt x="92" y="15"/>
                  </a:lnTo>
                  <a:lnTo>
                    <a:pt x="93" y="17"/>
                  </a:lnTo>
                  <a:lnTo>
                    <a:pt x="94" y="17"/>
                  </a:lnTo>
                  <a:lnTo>
                    <a:pt x="96" y="18"/>
                  </a:lnTo>
                  <a:lnTo>
                    <a:pt x="97" y="18"/>
                  </a:lnTo>
                  <a:lnTo>
                    <a:pt x="98" y="18"/>
                  </a:lnTo>
                  <a:lnTo>
                    <a:pt x="98" y="19"/>
                  </a:lnTo>
                  <a:lnTo>
                    <a:pt x="99" y="20"/>
                  </a:lnTo>
                  <a:lnTo>
                    <a:pt x="99" y="21"/>
                  </a:lnTo>
                  <a:lnTo>
                    <a:pt x="99" y="22"/>
                  </a:lnTo>
                  <a:lnTo>
                    <a:pt x="100" y="22"/>
                  </a:lnTo>
                  <a:lnTo>
                    <a:pt x="100" y="24"/>
                  </a:lnTo>
                  <a:lnTo>
                    <a:pt x="100" y="25"/>
                  </a:lnTo>
                  <a:lnTo>
                    <a:pt x="100" y="26"/>
                  </a:lnTo>
                  <a:lnTo>
                    <a:pt x="100" y="27"/>
                  </a:lnTo>
                  <a:lnTo>
                    <a:pt x="100" y="28"/>
                  </a:lnTo>
                  <a:lnTo>
                    <a:pt x="99" y="28"/>
                  </a:lnTo>
                  <a:lnTo>
                    <a:pt x="98" y="29"/>
                  </a:lnTo>
                  <a:lnTo>
                    <a:pt x="98" y="31"/>
                  </a:lnTo>
                  <a:lnTo>
                    <a:pt x="98" y="32"/>
                  </a:lnTo>
                  <a:lnTo>
                    <a:pt x="99" y="32"/>
                  </a:lnTo>
                  <a:lnTo>
                    <a:pt x="100" y="33"/>
                  </a:lnTo>
                  <a:lnTo>
                    <a:pt x="101" y="33"/>
                  </a:lnTo>
                  <a:lnTo>
                    <a:pt x="101" y="34"/>
                  </a:lnTo>
                  <a:lnTo>
                    <a:pt x="103" y="34"/>
                  </a:lnTo>
                  <a:lnTo>
                    <a:pt x="104" y="35"/>
                  </a:lnTo>
                  <a:lnTo>
                    <a:pt x="104" y="36"/>
                  </a:lnTo>
                  <a:lnTo>
                    <a:pt x="104" y="38"/>
                  </a:lnTo>
                  <a:lnTo>
                    <a:pt x="103" y="38"/>
                  </a:lnTo>
                  <a:lnTo>
                    <a:pt x="103" y="39"/>
                  </a:lnTo>
                  <a:lnTo>
                    <a:pt x="104" y="39"/>
                  </a:lnTo>
                  <a:lnTo>
                    <a:pt x="104" y="40"/>
                  </a:lnTo>
                  <a:lnTo>
                    <a:pt x="105" y="40"/>
                  </a:lnTo>
                  <a:lnTo>
                    <a:pt x="105" y="41"/>
                  </a:lnTo>
                  <a:lnTo>
                    <a:pt x="105" y="42"/>
                  </a:lnTo>
                  <a:lnTo>
                    <a:pt x="106" y="42"/>
                  </a:lnTo>
                  <a:lnTo>
                    <a:pt x="106" y="43"/>
                  </a:lnTo>
                  <a:lnTo>
                    <a:pt x="105" y="45"/>
                  </a:lnTo>
                  <a:lnTo>
                    <a:pt x="106" y="45"/>
                  </a:lnTo>
                  <a:lnTo>
                    <a:pt x="105" y="46"/>
                  </a:lnTo>
                  <a:lnTo>
                    <a:pt x="105" y="47"/>
                  </a:lnTo>
                  <a:lnTo>
                    <a:pt x="104" y="47"/>
                  </a:lnTo>
                  <a:lnTo>
                    <a:pt x="105" y="47"/>
                  </a:lnTo>
                  <a:lnTo>
                    <a:pt x="105" y="48"/>
                  </a:lnTo>
                  <a:lnTo>
                    <a:pt x="106" y="48"/>
                  </a:lnTo>
                  <a:lnTo>
                    <a:pt x="106" y="49"/>
                  </a:lnTo>
                  <a:lnTo>
                    <a:pt x="106" y="50"/>
                  </a:lnTo>
                  <a:lnTo>
                    <a:pt x="106" y="52"/>
                  </a:lnTo>
                  <a:lnTo>
                    <a:pt x="107" y="52"/>
                  </a:lnTo>
                  <a:lnTo>
                    <a:pt x="108" y="52"/>
                  </a:lnTo>
                  <a:lnTo>
                    <a:pt x="110" y="53"/>
                  </a:lnTo>
                  <a:lnTo>
                    <a:pt x="110" y="54"/>
                  </a:lnTo>
                  <a:lnTo>
                    <a:pt x="110" y="55"/>
                  </a:lnTo>
                  <a:lnTo>
                    <a:pt x="111" y="55"/>
                  </a:lnTo>
                  <a:lnTo>
                    <a:pt x="111" y="56"/>
                  </a:lnTo>
                  <a:lnTo>
                    <a:pt x="110" y="56"/>
                  </a:lnTo>
                  <a:lnTo>
                    <a:pt x="110" y="57"/>
                  </a:lnTo>
                  <a:lnTo>
                    <a:pt x="110" y="59"/>
                  </a:lnTo>
                  <a:lnTo>
                    <a:pt x="110" y="60"/>
                  </a:lnTo>
                  <a:lnTo>
                    <a:pt x="108" y="61"/>
                  </a:lnTo>
                  <a:lnTo>
                    <a:pt x="108" y="62"/>
                  </a:lnTo>
                  <a:lnTo>
                    <a:pt x="107" y="62"/>
                  </a:lnTo>
                  <a:lnTo>
                    <a:pt x="106" y="62"/>
                  </a:lnTo>
                  <a:lnTo>
                    <a:pt x="106" y="61"/>
                  </a:lnTo>
                  <a:lnTo>
                    <a:pt x="105" y="61"/>
                  </a:lnTo>
                  <a:lnTo>
                    <a:pt x="105" y="60"/>
                  </a:lnTo>
                  <a:lnTo>
                    <a:pt x="105" y="59"/>
                  </a:lnTo>
                  <a:lnTo>
                    <a:pt x="104" y="59"/>
                  </a:lnTo>
                  <a:lnTo>
                    <a:pt x="103" y="59"/>
                  </a:lnTo>
                  <a:lnTo>
                    <a:pt x="101" y="59"/>
                  </a:lnTo>
                  <a:lnTo>
                    <a:pt x="101" y="60"/>
                  </a:lnTo>
                  <a:lnTo>
                    <a:pt x="103" y="60"/>
                  </a:lnTo>
                  <a:lnTo>
                    <a:pt x="101" y="60"/>
                  </a:lnTo>
                  <a:lnTo>
                    <a:pt x="103" y="60"/>
                  </a:lnTo>
                  <a:lnTo>
                    <a:pt x="103" y="61"/>
                  </a:lnTo>
                  <a:lnTo>
                    <a:pt x="101" y="61"/>
                  </a:lnTo>
                  <a:lnTo>
                    <a:pt x="99" y="62"/>
                  </a:lnTo>
                  <a:lnTo>
                    <a:pt x="98" y="62"/>
                  </a:lnTo>
                  <a:lnTo>
                    <a:pt x="97" y="62"/>
                  </a:lnTo>
                  <a:lnTo>
                    <a:pt x="97" y="63"/>
                  </a:lnTo>
                  <a:lnTo>
                    <a:pt x="96" y="63"/>
                  </a:lnTo>
                  <a:lnTo>
                    <a:pt x="94" y="63"/>
                  </a:lnTo>
                  <a:lnTo>
                    <a:pt x="93" y="63"/>
                  </a:lnTo>
                  <a:lnTo>
                    <a:pt x="93" y="64"/>
                  </a:lnTo>
                  <a:lnTo>
                    <a:pt x="92" y="64"/>
                  </a:lnTo>
                  <a:lnTo>
                    <a:pt x="92" y="66"/>
                  </a:lnTo>
                  <a:lnTo>
                    <a:pt x="91" y="64"/>
                  </a:lnTo>
                  <a:lnTo>
                    <a:pt x="91" y="66"/>
                  </a:lnTo>
                  <a:lnTo>
                    <a:pt x="90" y="66"/>
                  </a:lnTo>
                  <a:lnTo>
                    <a:pt x="90" y="67"/>
                  </a:lnTo>
                  <a:lnTo>
                    <a:pt x="89" y="67"/>
                  </a:lnTo>
                  <a:lnTo>
                    <a:pt x="88" y="67"/>
                  </a:lnTo>
                  <a:lnTo>
                    <a:pt x="88" y="68"/>
                  </a:lnTo>
                  <a:lnTo>
                    <a:pt x="86" y="68"/>
                  </a:lnTo>
                  <a:lnTo>
                    <a:pt x="85" y="68"/>
                  </a:lnTo>
                  <a:lnTo>
                    <a:pt x="84" y="68"/>
                  </a:lnTo>
                  <a:lnTo>
                    <a:pt x="83" y="68"/>
                  </a:lnTo>
                  <a:lnTo>
                    <a:pt x="82" y="68"/>
                  </a:lnTo>
                  <a:lnTo>
                    <a:pt x="81" y="69"/>
                  </a:lnTo>
                  <a:lnTo>
                    <a:pt x="79" y="69"/>
                  </a:lnTo>
                  <a:lnTo>
                    <a:pt x="79" y="70"/>
                  </a:lnTo>
                  <a:lnTo>
                    <a:pt x="79" y="71"/>
                  </a:lnTo>
                  <a:lnTo>
                    <a:pt x="78" y="71"/>
                  </a:lnTo>
                  <a:lnTo>
                    <a:pt x="78" y="70"/>
                  </a:lnTo>
                  <a:lnTo>
                    <a:pt x="77" y="70"/>
                  </a:lnTo>
                  <a:lnTo>
                    <a:pt x="77" y="69"/>
                  </a:lnTo>
                  <a:lnTo>
                    <a:pt x="76" y="69"/>
                  </a:lnTo>
                  <a:lnTo>
                    <a:pt x="76" y="70"/>
                  </a:lnTo>
                  <a:lnTo>
                    <a:pt x="77" y="70"/>
                  </a:lnTo>
                  <a:lnTo>
                    <a:pt x="76" y="70"/>
                  </a:lnTo>
                  <a:lnTo>
                    <a:pt x="76" y="71"/>
                  </a:lnTo>
                  <a:lnTo>
                    <a:pt x="77" y="71"/>
                  </a:lnTo>
                  <a:lnTo>
                    <a:pt x="77" y="73"/>
                  </a:lnTo>
                  <a:lnTo>
                    <a:pt x="78" y="73"/>
                  </a:lnTo>
                  <a:lnTo>
                    <a:pt x="78" y="74"/>
                  </a:lnTo>
                  <a:lnTo>
                    <a:pt x="81" y="75"/>
                  </a:lnTo>
                  <a:lnTo>
                    <a:pt x="82" y="75"/>
                  </a:lnTo>
                  <a:lnTo>
                    <a:pt x="81" y="75"/>
                  </a:lnTo>
                  <a:lnTo>
                    <a:pt x="82" y="76"/>
                  </a:lnTo>
                  <a:lnTo>
                    <a:pt x="82" y="77"/>
                  </a:lnTo>
                  <a:lnTo>
                    <a:pt x="81" y="78"/>
                  </a:lnTo>
                  <a:lnTo>
                    <a:pt x="81" y="80"/>
                  </a:lnTo>
                  <a:lnTo>
                    <a:pt x="82" y="80"/>
                  </a:lnTo>
                  <a:lnTo>
                    <a:pt x="82" y="81"/>
                  </a:lnTo>
                  <a:lnTo>
                    <a:pt x="83" y="81"/>
                  </a:lnTo>
                  <a:lnTo>
                    <a:pt x="83" y="82"/>
                  </a:lnTo>
                  <a:lnTo>
                    <a:pt x="84" y="82"/>
                  </a:lnTo>
                  <a:lnTo>
                    <a:pt x="84" y="83"/>
                  </a:lnTo>
                  <a:lnTo>
                    <a:pt x="85" y="83"/>
                  </a:lnTo>
                  <a:lnTo>
                    <a:pt x="85" y="84"/>
                  </a:lnTo>
                  <a:lnTo>
                    <a:pt x="86" y="84"/>
                  </a:lnTo>
                  <a:lnTo>
                    <a:pt x="86" y="85"/>
                  </a:lnTo>
                  <a:lnTo>
                    <a:pt x="86" y="84"/>
                  </a:lnTo>
                  <a:lnTo>
                    <a:pt x="88" y="84"/>
                  </a:lnTo>
                  <a:lnTo>
                    <a:pt x="88" y="85"/>
                  </a:lnTo>
                  <a:lnTo>
                    <a:pt x="89" y="85"/>
                  </a:lnTo>
                  <a:lnTo>
                    <a:pt x="89" y="87"/>
                  </a:lnTo>
                  <a:lnTo>
                    <a:pt x="90" y="88"/>
                  </a:lnTo>
                  <a:lnTo>
                    <a:pt x="91" y="88"/>
                  </a:lnTo>
                  <a:lnTo>
                    <a:pt x="92" y="88"/>
                  </a:lnTo>
                  <a:lnTo>
                    <a:pt x="92" y="89"/>
                  </a:lnTo>
                  <a:lnTo>
                    <a:pt x="93" y="89"/>
                  </a:lnTo>
                  <a:lnTo>
                    <a:pt x="93" y="90"/>
                  </a:lnTo>
                  <a:lnTo>
                    <a:pt x="94" y="90"/>
                  </a:lnTo>
                  <a:lnTo>
                    <a:pt x="94" y="91"/>
                  </a:lnTo>
                  <a:lnTo>
                    <a:pt x="94" y="90"/>
                  </a:lnTo>
                  <a:lnTo>
                    <a:pt x="96" y="90"/>
                  </a:lnTo>
                  <a:lnTo>
                    <a:pt x="96" y="91"/>
                  </a:lnTo>
                  <a:lnTo>
                    <a:pt x="97" y="91"/>
                  </a:lnTo>
                  <a:lnTo>
                    <a:pt x="98" y="92"/>
                  </a:lnTo>
                  <a:lnTo>
                    <a:pt x="98" y="94"/>
                  </a:lnTo>
                  <a:lnTo>
                    <a:pt x="99" y="94"/>
                  </a:lnTo>
                  <a:lnTo>
                    <a:pt x="98" y="94"/>
                  </a:lnTo>
                  <a:lnTo>
                    <a:pt x="98" y="95"/>
                  </a:lnTo>
                  <a:lnTo>
                    <a:pt x="98" y="94"/>
                  </a:lnTo>
                  <a:lnTo>
                    <a:pt x="99" y="95"/>
                  </a:lnTo>
                  <a:lnTo>
                    <a:pt x="99" y="96"/>
                  </a:lnTo>
                  <a:lnTo>
                    <a:pt x="98" y="96"/>
                  </a:lnTo>
                  <a:lnTo>
                    <a:pt x="98" y="97"/>
                  </a:lnTo>
                  <a:lnTo>
                    <a:pt x="97" y="97"/>
                  </a:lnTo>
                  <a:lnTo>
                    <a:pt x="97" y="96"/>
                  </a:lnTo>
                  <a:lnTo>
                    <a:pt x="96" y="96"/>
                  </a:lnTo>
                  <a:lnTo>
                    <a:pt x="94" y="96"/>
                  </a:lnTo>
                  <a:lnTo>
                    <a:pt x="94" y="97"/>
                  </a:lnTo>
                  <a:lnTo>
                    <a:pt x="94" y="98"/>
                  </a:lnTo>
                  <a:lnTo>
                    <a:pt x="94" y="99"/>
                  </a:lnTo>
                  <a:lnTo>
                    <a:pt x="93" y="101"/>
                  </a:lnTo>
                  <a:lnTo>
                    <a:pt x="92" y="101"/>
                  </a:lnTo>
                  <a:lnTo>
                    <a:pt x="91" y="101"/>
                  </a:lnTo>
                  <a:lnTo>
                    <a:pt x="90" y="101"/>
                  </a:lnTo>
                  <a:lnTo>
                    <a:pt x="90" y="102"/>
                  </a:lnTo>
                  <a:lnTo>
                    <a:pt x="89" y="102"/>
                  </a:lnTo>
                  <a:lnTo>
                    <a:pt x="88" y="102"/>
                  </a:lnTo>
                  <a:lnTo>
                    <a:pt x="88" y="103"/>
                  </a:lnTo>
                  <a:lnTo>
                    <a:pt x="86" y="103"/>
                  </a:lnTo>
                  <a:lnTo>
                    <a:pt x="86" y="104"/>
                  </a:lnTo>
                  <a:lnTo>
                    <a:pt x="88" y="105"/>
                  </a:lnTo>
                  <a:lnTo>
                    <a:pt x="89" y="106"/>
                  </a:lnTo>
                  <a:lnTo>
                    <a:pt x="90" y="108"/>
                  </a:lnTo>
                  <a:lnTo>
                    <a:pt x="89" y="109"/>
                  </a:lnTo>
                  <a:lnTo>
                    <a:pt x="89" y="110"/>
                  </a:lnTo>
                  <a:lnTo>
                    <a:pt x="90" y="110"/>
                  </a:lnTo>
                  <a:lnTo>
                    <a:pt x="91" y="110"/>
                  </a:lnTo>
                  <a:lnTo>
                    <a:pt x="91" y="111"/>
                  </a:lnTo>
                  <a:lnTo>
                    <a:pt x="91" y="112"/>
                  </a:lnTo>
                  <a:lnTo>
                    <a:pt x="91" y="113"/>
                  </a:lnTo>
                  <a:lnTo>
                    <a:pt x="90" y="113"/>
                  </a:lnTo>
                  <a:lnTo>
                    <a:pt x="89" y="113"/>
                  </a:lnTo>
                  <a:lnTo>
                    <a:pt x="89" y="112"/>
                  </a:lnTo>
                  <a:lnTo>
                    <a:pt x="88" y="112"/>
                  </a:lnTo>
                  <a:lnTo>
                    <a:pt x="88" y="111"/>
                  </a:lnTo>
                  <a:lnTo>
                    <a:pt x="88" y="110"/>
                  </a:lnTo>
                  <a:lnTo>
                    <a:pt x="86" y="110"/>
                  </a:lnTo>
                  <a:lnTo>
                    <a:pt x="85" y="110"/>
                  </a:lnTo>
                  <a:lnTo>
                    <a:pt x="85" y="111"/>
                  </a:lnTo>
                  <a:lnTo>
                    <a:pt x="84" y="111"/>
                  </a:lnTo>
                  <a:lnTo>
                    <a:pt x="83" y="111"/>
                  </a:lnTo>
                  <a:lnTo>
                    <a:pt x="83" y="110"/>
                  </a:lnTo>
                  <a:lnTo>
                    <a:pt x="82" y="110"/>
                  </a:lnTo>
                  <a:lnTo>
                    <a:pt x="81" y="110"/>
                  </a:lnTo>
                  <a:lnTo>
                    <a:pt x="79" y="110"/>
                  </a:lnTo>
                  <a:lnTo>
                    <a:pt x="81" y="110"/>
                  </a:lnTo>
                  <a:lnTo>
                    <a:pt x="81" y="111"/>
                  </a:lnTo>
                  <a:lnTo>
                    <a:pt x="79" y="111"/>
                  </a:lnTo>
                  <a:lnTo>
                    <a:pt x="77" y="111"/>
                  </a:lnTo>
                  <a:lnTo>
                    <a:pt x="76" y="111"/>
                  </a:lnTo>
                  <a:lnTo>
                    <a:pt x="76" y="112"/>
                  </a:lnTo>
                  <a:lnTo>
                    <a:pt x="75" y="111"/>
                  </a:lnTo>
                  <a:lnTo>
                    <a:pt x="74" y="111"/>
                  </a:lnTo>
                  <a:lnTo>
                    <a:pt x="72" y="112"/>
                  </a:lnTo>
                  <a:lnTo>
                    <a:pt x="71" y="113"/>
                  </a:lnTo>
                  <a:lnTo>
                    <a:pt x="71" y="112"/>
                  </a:lnTo>
                  <a:lnTo>
                    <a:pt x="70" y="112"/>
                  </a:lnTo>
                  <a:lnTo>
                    <a:pt x="70" y="113"/>
                  </a:lnTo>
                  <a:lnTo>
                    <a:pt x="69" y="113"/>
                  </a:lnTo>
                  <a:lnTo>
                    <a:pt x="69" y="115"/>
                  </a:lnTo>
                  <a:lnTo>
                    <a:pt x="68" y="115"/>
                  </a:lnTo>
                  <a:lnTo>
                    <a:pt x="67" y="115"/>
                  </a:lnTo>
                  <a:lnTo>
                    <a:pt x="65" y="115"/>
                  </a:lnTo>
                  <a:lnTo>
                    <a:pt x="65" y="113"/>
                  </a:lnTo>
                  <a:lnTo>
                    <a:pt x="64" y="113"/>
                  </a:lnTo>
                  <a:lnTo>
                    <a:pt x="64" y="112"/>
                  </a:lnTo>
                  <a:lnTo>
                    <a:pt x="63" y="112"/>
                  </a:lnTo>
                  <a:lnTo>
                    <a:pt x="62" y="112"/>
                  </a:lnTo>
                  <a:lnTo>
                    <a:pt x="61" y="112"/>
                  </a:lnTo>
                  <a:lnTo>
                    <a:pt x="60" y="112"/>
                  </a:lnTo>
                  <a:lnTo>
                    <a:pt x="58" y="112"/>
                  </a:lnTo>
                  <a:lnTo>
                    <a:pt x="58" y="111"/>
                  </a:lnTo>
                  <a:lnTo>
                    <a:pt x="58" y="112"/>
                  </a:lnTo>
                  <a:lnTo>
                    <a:pt x="58" y="113"/>
                  </a:lnTo>
                  <a:lnTo>
                    <a:pt x="58" y="115"/>
                  </a:lnTo>
                  <a:lnTo>
                    <a:pt x="57" y="116"/>
                  </a:lnTo>
                  <a:lnTo>
                    <a:pt x="56" y="116"/>
                  </a:lnTo>
                  <a:lnTo>
                    <a:pt x="56" y="117"/>
                  </a:lnTo>
                  <a:lnTo>
                    <a:pt x="55" y="117"/>
                  </a:lnTo>
                  <a:lnTo>
                    <a:pt x="55" y="116"/>
                  </a:lnTo>
                  <a:lnTo>
                    <a:pt x="56" y="116"/>
                  </a:lnTo>
                  <a:lnTo>
                    <a:pt x="56" y="115"/>
                  </a:lnTo>
                  <a:lnTo>
                    <a:pt x="55" y="115"/>
                  </a:lnTo>
                  <a:lnTo>
                    <a:pt x="54" y="115"/>
                  </a:lnTo>
                  <a:lnTo>
                    <a:pt x="54" y="113"/>
                  </a:lnTo>
                  <a:lnTo>
                    <a:pt x="53" y="113"/>
                  </a:lnTo>
                  <a:lnTo>
                    <a:pt x="53" y="112"/>
                  </a:lnTo>
                  <a:lnTo>
                    <a:pt x="51" y="112"/>
                  </a:lnTo>
                  <a:lnTo>
                    <a:pt x="50" y="112"/>
                  </a:lnTo>
                  <a:lnTo>
                    <a:pt x="51" y="112"/>
                  </a:lnTo>
                  <a:lnTo>
                    <a:pt x="50" y="112"/>
                  </a:lnTo>
                  <a:lnTo>
                    <a:pt x="50" y="111"/>
                  </a:lnTo>
                  <a:lnTo>
                    <a:pt x="50" y="112"/>
                  </a:lnTo>
                  <a:lnTo>
                    <a:pt x="49" y="112"/>
                  </a:lnTo>
                  <a:lnTo>
                    <a:pt x="48" y="111"/>
                  </a:lnTo>
                  <a:lnTo>
                    <a:pt x="47" y="111"/>
                  </a:lnTo>
                  <a:lnTo>
                    <a:pt x="47" y="110"/>
                  </a:lnTo>
                  <a:lnTo>
                    <a:pt x="46" y="110"/>
                  </a:lnTo>
                  <a:lnTo>
                    <a:pt x="44" y="110"/>
                  </a:lnTo>
                  <a:lnTo>
                    <a:pt x="43" y="110"/>
                  </a:lnTo>
                  <a:lnTo>
                    <a:pt x="43" y="109"/>
                  </a:lnTo>
                  <a:lnTo>
                    <a:pt x="42" y="108"/>
                  </a:lnTo>
                  <a:lnTo>
                    <a:pt x="41" y="108"/>
                  </a:lnTo>
                  <a:lnTo>
                    <a:pt x="42" y="109"/>
                  </a:lnTo>
                  <a:lnTo>
                    <a:pt x="43" y="109"/>
                  </a:lnTo>
                  <a:lnTo>
                    <a:pt x="43" y="110"/>
                  </a:lnTo>
                  <a:lnTo>
                    <a:pt x="42" y="110"/>
                  </a:lnTo>
                  <a:lnTo>
                    <a:pt x="41" y="110"/>
                  </a:lnTo>
                  <a:lnTo>
                    <a:pt x="40" y="111"/>
                  </a:lnTo>
                  <a:lnTo>
                    <a:pt x="39" y="110"/>
                  </a:lnTo>
                  <a:lnTo>
                    <a:pt x="37" y="110"/>
                  </a:lnTo>
                  <a:lnTo>
                    <a:pt x="37" y="109"/>
                  </a:lnTo>
                  <a:lnTo>
                    <a:pt x="36" y="109"/>
                  </a:lnTo>
                  <a:lnTo>
                    <a:pt x="35" y="109"/>
                  </a:lnTo>
                  <a:lnTo>
                    <a:pt x="34" y="109"/>
                  </a:lnTo>
                  <a:lnTo>
                    <a:pt x="34" y="110"/>
                  </a:lnTo>
                  <a:lnTo>
                    <a:pt x="33" y="110"/>
                  </a:lnTo>
                  <a:lnTo>
                    <a:pt x="34" y="110"/>
                  </a:lnTo>
                  <a:lnTo>
                    <a:pt x="33" y="110"/>
                  </a:lnTo>
                  <a:lnTo>
                    <a:pt x="34" y="110"/>
                  </a:lnTo>
                  <a:lnTo>
                    <a:pt x="34" y="111"/>
                  </a:lnTo>
                  <a:lnTo>
                    <a:pt x="35" y="111"/>
                  </a:lnTo>
                  <a:lnTo>
                    <a:pt x="35" y="110"/>
                  </a:lnTo>
                  <a:lnTo>
                    <a:pt x="36" y="110"/>
                  </a:lnTo>
                  <a:lnTo>
                    <a:pt x="36" y="111"/>
                  </a:lnTo>
                  <a:lnTo>
                    <a:pt x="35" y="111"/>
                  </a:lnTo>
                  <a:lnTo>
                    <a:pt x="34" y="111"/>
                  </a:lnTo>
                  <a:lnTo>
                    <a:pt x="34" y="112"/>
                  </a:lnTo>
                  <a:lnTo>
                    <a:pt x="33" y="111"/>
                  </a:lnTo>
                  <a:lnTo>
                    <a:pt x="32" y="111"/>
                  </a:lnTo>
                  <a:lnTo>
                    <a:pt x="30" y="111"/>
                  </a:lnTo>
                  <a:lnTo>
                    <a:pt x="29" y="111"/>
                  </a:lnTo>
                  <a:lnTo>
                    <a:pt x="29" y="112"/>
                  </a:lnTo>
                  <a:lnTo>
                    <a:pt x="27" y="112"/>
                  </a:lnTo>
                  <a:lnTo>
                    <a:pt x="27" y="111"/>
                  </a:lnTo>
                  <a:lnTo>
                    <a:pt x="26" y="111"/>
                  </a:lnTo>
                  <a:lnTo>
                    <a:pt x="26" y="112"/>
                  </a:lnTo>
                  <a:lnTo>
                    <a:pt x="25" y="112"/>
                  </a:lnTo>
                  <a:lnTo>
                    <a:pt x="24" y="112"/>
                  </a:lnTo>
                  <a:lnTo>
                    <a:pt x="25" y="112"/>
                  </a:lnTo>
                  <a:lnTo>
                    <a:pt x="25" y="111"/>
                  </a:lnTo>
                  <a:lnTo>
                    <a:pt x="24" y="111"/>
                  </a:lnTo>
                  <a:lnTo>
                    <a:pt x="22" y="110"/>
                  </a:lnTo>
                  <a:lnTo>
                    <a:pt x="22" y="109"/>
                  </a:lnTo>
                  <a:lnTo>
                    <a:pt x="22" y="108"/>
                  </a:lnTo>
                  <a:lnTo>
                    <a:pt x="24" y="108"/>
                  </a:lnTo>
                  <a:lnTo>
                    <a:pt x="24" y="106"/>
                  </a:lnTo>
                  <a:lnTo>
                    <a:pt x="24" y="105"/>
                  </a:lnTo>
                  <a:lnTo>
                    <a:pt x="24" y="104"/>
                  </a:lnTo>
                  <a:lnTo>
                    <a:pt x="24" y="103"/>
                  </a:lnTo>
                  <a:lnTo>
                    <a:pt x="25" y="102"/>
                  </a:lnTo>
                  <a:lnTo>
                    <a:pt x="25" y="101"/>
                  </a:lnTo>
                  <a:lnTo>
                    <a:pt x="25" y="99"/>
                  </a:lnTo>
                  <a:lnTo>
                    <a:pt x="25" y="98"/>
                  </a:lnTo>
                  <a:lnTo>
                    <a:pt x="25" y="97"/>
                  </a:lnTo>
                  <a:lnTo>
                    <a:pt x="26" y="97"/>
                  </a:lnTo>
                  <a:lnTo>
                    <a:pt x="26" y="96"/>
                  </a:lnTo>
                  <a:lnTo>
                    <a:pt x="26" y="95"/>
                  </a:lnTo>
                  <a:lnTo>
                    <a:pt x="27" y="95"/>
                  </a:lnTo>
                  <a:lnTo>
                    <a:pt x="27" y="94"/>
                  </a:lnTo>
                  <a:lnTo>
                    <a:pt x="28" y="94"/>
                  </a:lnTo>
                  <a:lnTo>
                    <a:pt x="29" y="92"/>
                  </a:lnTo>
                  <a:lnTo>
                    <a:pt x="29" y="91"/>
                  </a:lnTo>
                  <a:lnTo>
                    <a:pt x="30" y="90"/>
                  </a:lnTo>
                  <a:lnTo>
                    <a:pt x="29" y="90"/>
                  </a:lnTo>
                  <a:lnTo>
                    <a:pt x="27" y="89"/>
                  </a:lnTo>
                  <a:lnTo>
                    <a:pt x="26" y="89"/>
                  </a:lnTo>
                  <a:lnTo>
                    <a:pt x="25" y="89"/>
                  </a:lnTo>
                  <a:lnTo>
                    <a:pt x="24" y="89"/>
                  </a:lnTo>
                  <a:lnTo>
                    <a:pt x="22" y="89"/>
                  </a:lnTo>
                  <a:lnTo>
                    <a:pt x="21" y="89"/>
                  </a:lnTo>
                  <a:lnTo>
                    <a:pt x="21" y="88"/>
                  </a:lnTo>
                  <a:lnTo>
                    <a:pt x="20" y="88"/>
                  </a:lnTo>
                  <a:lnTo>
                    <a:pt x="19" y="88"/>
                  </a:lnTo>
                  <a:lnTo>
                    <a:pt x="18" y="88"/>
                  </a:lnTo>
                  <a:lnTo>
                    <a:pt x="17" y="88"/>
                  </a:lnTo>
                  <a:lnTo>
                    <a:pt x="15" y="88"/>
                  </a:lnTo>
                  <a:lnTo>
                    <a:pt x="15" y="87"/>
                  </a:lnTo>
                  <a:lnTo>
                    <a:pt x="14" y="87"/>
                  </a:lnTo>
                  <a:lnTo>
                    <a:pt x="13" y="87"/>
                  </a:lnTo>
                  <a:lnTo>
                    <a:pt x="13" y="88"/>
                  </a:lnTo>
                  <a:lnTo>
                    <a:pt x="12" y="88"/>
                  </a:lnTo>
                  <a:lnTo>
                    <a:pt x="12" y="87"/>
                  </a:lnTo>
                  <a:lnTo>
                    <a:pt x="11" y="87"/>
                  </a:lnTo>
                  <a:lnTo>
                    <a:pt x="11" y="85"/>
                  </a:lnTo>
                  <a:lnTo>
                    <a:pt x="10" y="85"/>
                  </a:lnTo>
                  <a:lnTo>
                    <a:pt x="10" y="84"/>
                  </a:lnTo>
                  <a:lnTo>
                    <a:pt x="11" y="84"/>
                  </a:lnTo>
                  <a:lnTo>
                    <a:pt x="10" y="84"/>
                  </a:lnTo>
                  <a:lnTo>
                    <a:pt x="10" y="83"/>
                  </a:lnTo>
                  <a:lnTo>
                    <a:pt x="8" y="83"/>
                  </a:lnTo>
                  <a:lnTo>
                    <a:pt x="7" y="83"/>
                  </a:lnTo>
                  <a:lnTo>
                    <a:pt x="7" y="82"/>
                  </a:lnTo>
                  <a:lnTo>
                    <a:pt x="7" y="81"/>
                  </a:lnTo>
                  <a:lnTo>
                    <a:pt x="8" y="81"/>
                  </a:lnTo>
                  <a:lnTo>
                    <a:pt x="8" y="80"/>
                  </a:lnTo>
                  <a:lnTo>
                    <a:pt x="8" y="78"/>
                  </a:lnTo>
                  <a:lnTo>
                    <a:pt x="10" y="78"/>
                  </a:lnTo>
                  <a:lnTo>
                    <a:pt x="8" y="78"/>
                  </a:lnTo>
                  <a:lnTo>
                    <a:pt x="8" y="77"/>
                  </a:lnTo>
                  <a:lnTo>
                    <a:pt x="10" y="77"/>
                  </a:lnTo>
                  <a:lnTo>
                    <a:pt x="8" y="77"/>
                  </a:lnTo>
                  <a:lnTo>
                    <a:pt x="7" y="77"/>
                  </a:lnTo>
                  <a:lnTo>
                    <a:pt x="6" y="77"/>
                  </a:lnTo>
                  <a:lnTo>
                    <a:pt x="6" y="76"/>
                  </a:lnTo>
                  <a:lnTo>
                    <a:pt x="5" y="75"/>
                  </a:lnTo>
                  <a:lnTo>
                    <a:pt x="4" y="75"/>
                  </a:lnTo>
                  <a:lnTo>
                    <a:pt x="4" y="74"/>
                  </a:lnTo>
                  <a:lnTo>
                    <a:pt x="4" y="73"/>
                  </a:lnTo>
                  <a:lnTo>
                    <a:pt x="4" y="71"/>
                  </a:lnTo>
                  <a:lnTo>
                    <a:pt x="5" y="71"/>
                  </a:lnTo>
                  <a:lnTo>
                    <a:pt x="5" y="70"/>
                  </a:lnTo>
                  <a:lnTo>
                    <a:pt x="6" y="70"/>
                  </a:lnTo>
                  <a:lnTo>
                    <a:pt x="7" y="70"/>
                  </a:lnTo>
                  <a:lnTo>
                    <a:pt x="7" y="69"/>
                  </a:lnTo>
                  <a:lnTo>
                    <a:pt x="7" y="68"/>
                  </a:lnTo>
                  <a:lnTo>
                    <a:pt x="6" y="68"/>
                  </a:lnTo>
                  <a:lnTo>
                    <a:pt x="6" y="67"/>
                  </a:lnTo>
                  <a:lnTo>
                    <a:pt x="5" y="67"/>
                  </a:lnTo>
                  <a:lnTo>
                    <a:pt x="5" y="66"/>
                  </a:lnTo>
                  <a:lnTo>
                    <a:pt x="6" y="66"/>
                  </a:lnTo>
                  <a:lnTo>
                    <a:pt x="5" y="66"/>
                  </a:lnTo>
                  <a:lnTo>
                    <a:pt x="5" y="64"/>
                  </a:lnTo>
                  <a:lnTo>
                    <a:pt x="4" y="64"/>
                  </a:lnTo>
                  <a:lnTo>
                    <a:pt x="5" y="64"/>
                  </a:lnTo>
                  <a:lnTo>
                    <a:pt x="4" y="63"/>
                  </a:lnTo>
                  <a:lnTo>
                    <a:pt x="3" y="63"/>
                  </a:lnTo>
                  <a:lnTo>
                    <a:pt x="3" y="62"/>
                  </a:lnTo>
                  <a:lnTo>
                    <a:pt x="3" y="61"/>
                  </a:lnTo>
                  <a:lnTo>
                    <a:pt x="3" y="60"/>
                  </a:lnTo>
                  <a:lnTo>
                    <a:pt x="1" y="60"/>
                  </a:lnTo>
                  <a:lnTo>
                    <a:pt x="0" y="60"/>
                  </a:lnTo>
                  <a:lnTo>
                    <a:pt x="0" y="59"/>
                  </a:lnTo>
                  <a:lnTo>
                    <a:pt x="1" y="59"/>
                  </a:lnTo>
                  <a:lnTo>
                    <a:pt x="3" y="59"/>
                  </a:lnTo>
                  <a:lnTo>
                    <a:pt x="3" y="57"/>
                  </a:lnTo>
                  <a:lnTo>
                    <a:pt x="4" y="57"/>
                  </a:lnTo>
                  <a:lnTo>
                    <a:pt x="4" y="56"/>
                  </a:lnTo>
                  <a:lnTo>
                    <a:pt x="3" y="56"/>
                  </a:lnTo>
                  <a:lnTo>
                    <a:pt x="3" y="55"/>
                  </a:lnTo>
                  <a:lnTo>
                    <a:pt x="4" y="55"/>
                  </a:lnTo>
                  <a:lnTo>
                    <a:pt x="4" y="54"/>
                  </a:lnTo>
                  <a:lnTo>
                    <a:pt x="5" y="54"/>
                  </a:lnTo>
                  <a:lnTo>
                    <a:pt x="5" y="53"/>
                  </a:lnTo>
                  <a:lnTo>
                    <a:pt x="5" y="52"/>
                  </a:lnTo>
                  <a:lnTo>
                    <a:pt x="4" y="50"/>
                  </a:lnTo>
                  <a:lnTo>
                    <a:pt x="3" y="50"/>
                  </a:lnTo>
                  <a:lnTo>
                    <a:pt x="3" y="49"/>
                  </a:lnTo>
                  <a:lnTo>
                    <a:pt x="3" y="48"/>
                  </a:lnTo>
                  <a:lnTo>
                    <a:pt x="1" y="48"/>
                  </a:lnTo>
                  <a:lnTo>
                    <a:pt x="1" y="47"/>
                  </a:lnTo>
                  <a:lnTo>
                    <a:pt x="3" y="47"/>
                  </a:lnTo>
                  <a:lnTo>
                    <a:pt x="3" y="46"/>
                  </a:lnTo>
                  <a:lnTo>
                    <a:pt x="4" y="46"/>
                  </a:lnTo>
                  <a:lnTo>
                    <a:pt x="4" y="47"/>
                  </a:lnTo>
                  <a:lnTo>
                    <a:pt x="4" y="46"/>
                  </a:lnTo>
                  <a:lnTo>
                    <a:pt x="3" y="46"/>
                  </a:lnTo>
                  <a:lnTo>
                    <a:pt x="4" y="46"/>
                  </a:lnTo>
                  <a:lnTo>
                    <a:pt x="5" y="46"/>
                  </a:lnTo>
                  <a:lnTo>
                    <a:pt x="6" y="47"/>
                  </a:lnTo>
                  <a:lnTo>
                    <a:pt x="6" y="46"/>
                  </a:lnTo>
                  <a:lnTo>
                    <a:pt x="7" y="46"/>
                  </a:lnTo>
                  <a:lnTo>
                    <a:pt x="8" y="46"/>
                  </a:lnTo>
                  <a:lnTo>
                    <a:pt x="10" y="46"/>
                  </a:lnTo>
                  <a:lnTo>
                    <a:pt x="11" y="46"/>
                  </a:lnTo>
                  <a:lnTo>
                    <a:pt x="11" y="45"/>
                  </a:lnTo>
                  <a:lnTo>
                    <a:pt x="12" y="45"/>
                  </a:lnTo>
                  <a:lnTo>
                    <a:pt x="11" y="43"/>
                  </a:lnTo>
                  <a:lnTo>
                    <a:pt x="10" y="43"/>
                  </a:lnTo>
                  <a:lnTo>
                    <a:pt x="11" y="43"/>
                  </a:lnTo>
                  <a:lnTo>
                    <a:pt x="11" y="42"/>
                  </a:lnTo>
                  <a:lnTo>
                    <a:pt x="12" y="42"/>
                  </a:lnTo>
                  <a:lnTo>
                    <a:pt x="12" y="41"/>
                  </a:lnTo>
                  <a:lnTo>
                    <a:pt x="13" y="41"/>
                  </a:lnTo>
                  <a:lnTo>
                    <a:pt x="14" y="40"/>
                  </a:lnTo>
                  <a:lnTo>
                    <a:pt x="14" y="39"/>
                  </a:lnTo>
                  <a:lnTo>
                    <a:pt x="14" y="38"/>
                  </a:lnTo>
                  <a:lnTo>
                    <a:pt x="13" y="38"/>
                  </a:lnTo>
                  <a:lnTo>
                    <a:pt x="12" y="38"/>
                  </a:lnTo>
                  <a:lnTo>
                    <a:pt x="11" y="38"/>
                  </a:lnTo>
                  <a:lnTo>
                    <a:pt x="10" y="36"/>
                  </a:lnTo>
                  <a:lnTo>
                    <a:pt x="10" y="35"/>
                  </a:lnTo>
                  <a:lnTo>
                    <a:pt x="11" y="35"/>
                  </a:lnTo>
                  <a:lnTo>
                    <a:pt x="10" y="35"/>
                  </a:lnTo>
                  <a:lnTo>
                    <a:pt x="10" y="34"/>
                  </a:lnTo>
                  <a:lnTo>
                    <a:pt x="11" y="34"/>
                  </a:lnTo>
                  <a:lnTo>
                    <a:pt x="12" y="34"/>
                  </a:lnTo>
                  <a:lnTo>
                    <a:pt x="13" y="34"/>
                  </a:lnTo>
                  <a:lnTo>
                    <a:pt x="14" y="34"/>
                  </a:lnTo>
                  <a:lnTo>
                    <a:pt x="14" y="32"/>
                  </a:lnTo>
                  <a:lnTo>
                    <a:pt x="14" y="31"/>
                  </a:lnTo>
                  <a:lnTo>
                    <a:pt x="15" y="29"/>
                  </a:lnTo>
                  <a:lnTo>
                    <a:pt x="15" y="28"/>
                  </a:lnTo>
                  <a:lnTo>
                    <a:pt x="15" y="27"/>
                  </a:lnTo>
                  <a:lnTo>
                    <a:pt x="15" y="26"/>
                  </a:lnTo>
                  <a:lnTo>
                    <a:pt x="15" y="25"/>
                  </a:lnTo>
                  <a:lnTo>
                    <a:pt x="15" y="24"/>
                  </a:lnTo>
                  <a:lnTo>
                    <a:pt x="17" y="24"/>
                  </a:lnTo>
                  <a:lnTo>
                    <a:pt x="17" y="25"/>
                  </a:lnTo>
                  <a:lnTo>
                    <a:pt x="18" y="25"/>
                  </a:lnTo>
                  <a:lnTo>
                    <a:pt x="17" y="24"/>
                  </a:lnTo>
                  <a:lnTo>
                    <a:pt x="14" y="24"/>
                  </a:lnTo>
                  <a:lnTo>
                    <a:pt x="13" y="24"/>
                  </a:lnTo>
                  <a:lnTo>
                    <a:pt x="13" y="22"/>
                  </a:lnTo>
                  <a:lnTo>
                    <a:pt x="13" y="21"/>
                  </a:lnTo>
                  <a:lnTo>
                    <a:pt x="14" y="21"/>
                  </a:lnTo>
                  <a:lnTo>
                    <a:pt x="14" y="20"/>
                  </a:lnTo>
                  <a:lnTo>
                    <a:pt x="14" y="19"/>
                  </a:lnTo>
                  <a:lnTo>
                    <a:pt x="15" y="19"/>
                  </a:lnTo>
                  <a:lnTo>
                    <a:pt x="17" y="19"/>
                  </a:lnTo>
                  <a:lnTo>
                    <a:pt x="18" y="19"/>
                  </a:lnTo>
                  <a:lnTo>
                    <a:pt x="19" y="19"/>
                  </a:lnTo>
                  <a:lnTo>
                    <a:pt x="20" y="18"/>
                  </a:lnTo>
                  <a:lnTo>
                    <a:pt x="24" y="18"/>
                  </a:lnTo>
                  <a:lnTo>
                    <a:pt x="25" y="18"/>
                  </a:lnTo>
                  <a:lnTo>
                    <a:pt x="25" y="19"/>
                  </a:lnTo>
                  <a:lnTo>
                    <a:pt x="26" y="20"/>
                  </a:lnTo>
                  <a:lnTo>
                    <a:pt x="27" y="20"/>
                  </a:lnTo>
                  <a:lnTo>
                    <a:pt x="26" y="21"/>
                  </a:lnTo>
                  <a:lnTo>
                    <a:pt x="25" y="21"/>
                  </a:lnTo>
                  <a:lnTo>
                    <a:pt x="26" y="21"/>
                  </a:lnTo>
                  <a:lnTo>
                    <a:pt x="26" y="22"/>
                  </a:lnTo>
                  <a:lnTo>
                    <a:pt x="27" y="22"/>
                  </a:lnTo>
                  <a:lnTo>
                    <a:pt x="28" y="22"/>
                  </a:lnTo>
                  <a:lnTo>
                    <a:pt x="28" y="21"/>
                  </a:lnTo>
                  <a:lnTo>
                    <a:pt x="27" y="21"/>
                  </a:lnTo>
                  <a:lnTo>
                    <a:pt x="27" y="20"/>
                  </a:lnTo>
                  <a:lnTo>
                    <a:pt x="28" y="20"/>
                  </a:lnTo>
                  <a:lnTo>
                    <a:pt x="28" y="19"/>
                  </a:lnTo>
                  <a:lnTo>
                    <a:pt x="28" y="20"/>
                  </a:lnTo>
                  <a:lnTo>
                    <a:pt x="29" y="20"/>
                  </a:lnTo>
                  <a:lnTo>
                    <a:pt x="30" y="20"/>
                  </a:lnTo>
                  <a:lnTo>
                    <a:pt x="30" y="21"/>
                  </a:lnTo>
                  <a:lnTo>
                    <a:pt x="30" y="22"/>
                  </a:lnTo>
                  <a:lnTo>
                    <a:pt x="30" y="24"/>
                  </a:lnTo>
                  <a:lnTo>
                    <a:pt x="30" y="22"/>
                  </a:lnTo>
                  <a:lnTo>
                    <a:pt x="30" y="21"/>
                  </a:lnTo>
                  <a:lnTo>
                    <a:pt x="32" y="20"/>
                  </a:lnTo>
                  <a:lnTo>
                    <a:pt x="30" y="20"/>
                  </a:lnTo>
                  <a:lnTo>
                    <a:pt x="30" y="19"/>
                  </a:lnTo>
                  <a:lnTo>
                    <a:pt x="30" y="18"/>
                  </a:lnTo>
                  <a:lnTo>
                    <a:pt x="30" y="17"/>
                  </a:lnTo>
                  <a:lnTo>
                    <a:pt x="30" y="15"/>
                  </a:lnTo>
                  <a:lnTo>
                    <a:pt x="32" y="15"/>
                  </a:lnTo>
                  <a:lnTo>
                    <a:pt x="33" y="15"/>
                  </a:lnTo>
                  <a:lnTo>
                    <a:pt x="34" y="17"/>
                  </a:lnTo>
                  <a:lnTo>
                    <a:pt x="35" y="17"/>
                  </a:lnTo>
                  <a:lnTo>
                    <a:pt x="36" y="17"/>
                  </a:lnTo>
                  <a:lnTo>
                    <a:pt x="36" y="15"/>
                  </a:lnTo>
                  <a:lnTo>
                    <a:pt x="37" y="15"/>
                  </a:lnTo>
                  <a:lnTo>
                    <a:pt x="39" y="15"/>
                  </a:lnTo>
                  <a:lnTo>
                    <a:pt x="40" y="15"/>
                  </a:lnTo>
                  <a:lnTo>
                    <a:pt x="40" y="17"/>
                  </a:lnTo>
                  <a:lnTo>
                    <a:pt x="41" y="18"/>
                  </a:lnTo>
                  <a:lnTo>
                    <a:pt x="42" y="18"/>
                  </a:lnTo>
                  <a:lnTo>
                    <a:pt x="42" y="19"/>
                  </a:lnTo>
                  <a:lnTo>
                    <a:pt x="43" y="20"/>
                  </a:lnTo>
                  <a:lnTo>
                    <a:pt x="44" y="20"/>
                  </a:lnTo>
                  <a:lnTo>
                    <a:pt x="46" y="20"/>
                  </a:lnTo>
                  <a:lnTo>
                    <a:pt x="46" y="21"/>
                  </a:lnTo>
                  <a:lnTo>
                    <a:pt x="46" y="20"/>
                  </a:lnTo>
                  <a:lnTo>
                    <a:pt x="44" y="20"/>
                  </a:lnTo>
                  <a:lnTo>
                    <a:pt x="43" y="20"/>
                  </a:lnTo>
                  <a:lnTo>
                    <a:pt x="42" y="19"/>
                  </a:lnTo>
                  <a:lnTo>
                    <a:pt x="42" y="18"/>
                  </a:lnTo>
                  <a:lnTo>
                    <a:pt x="41" y="18"/>
                  </a:lnTo>
                  <a:lnTo>
                    <a:pt x="41" y="17"/>
                  </a:lnTo>
                  <a:lnTo>
                    <a:pt x="40" y="17"/>
                  </a:lnTo>
                  <a:lnTo>
                    <a:pt x="40" y="15"/>
                  </a:lnTo>
                  <a:lnTo>
                    <a:pt x="39" y="15"/>
                  </a:lnTo>
                  <a:lnTo>
                    <a:pt x="37" y="15"/>
                  </a:lnTo>
                  <a:lnTo>
                    <a:pt x="36" y="15"/>
                  </a:lnTo>
                  <a:lnTo>
                    <a:pt x="35" y="15"/>
                  </a:lnTo>
                  <a:lnTo>
                    <a:pt x="35" y="14"/>
                  </a:lnTo>
                  <a:lnTo>
                    <a:pt x="34" y="13"/>
                  </a:lnTo>
                  <a:lnTo>
                    <a:pt x="35" y="13"/>
                  </a:lnTo>
                  <a:lnTo>
                    <a:pt x="36" y="13"/>
                  </a:lnTo>
                  <a:lnTo>
                    <a:pt x="36" y="12"/>
                  </a:lnTo>
                  <a:lnTo>
                    <a:pt x="35" y="12"/>
                  </a:lnTo>
                  <a:lnTo>
                    <a:pt x="34" y="12"/>
                  </a:lnTo>
                  <a:lnTo>
                    <a:pt x="34" y="11"/>
                  </a:lnTo>
                  <a:lnTo>
                    <a:pt x="34" y="10"/>
                  </a:lnTo>
                  <a:lnTo>
                    <a:pt x="35" y="10"/>
                  </a:lnTo>
                  <a:lnTo>
                    <a:pt x="35" y="8"/>
                  </a:lnTo>
                  <a:lnTo>
                    <a:pt x="35" y="10"/>
                  </a:lnTo>
                  <a:lnTo>
                    <a:pt x="34" y="10"/>
                  </a:lnTo>
                  <a:lnTo>
                    <a:pt x="33" y="10"/>
                  </a:lnTo>
                  <a:lnTo>
                    <a:pt x="32" y="10"/>
                  </a:lnTo>
                  <a:lnTo>
                    <a:pt x="30" y="10"/>
                  </a:lnTo>
                  <a:lnTo>
                    <a:pt x="30" y="8"/>
                  </a:lnTo>
                  <a:lnTo>
                    <a:pt x="32" y="8"/>
                  </a:lnTo>
                  <a:lnTo>
                    <a:pt x="32" y="7"/>
                  </a:lnTo>
                  <a:lnTo>
                    <a:pt x="33" y="7"/>
                  </a:lnTo>
                  <a:lnTo>
                    <a:pt x="34" y="7"/>
                  </a:lnTo>
                  <a:lnTo>
                    <a:pt x="35" y="7"/>
                  </a:lnTo>
                  <a:lnTo>
                    <a:pt x="35" y="6"/>
                  </a:lnTo>
                  <a:lnTo>
                    <a:pt x="34" y="5"/>
                  </a:lnTo>
                  <a:lnTo>
                    <a:pt x="33" y="5"/>
                  </a:lnTo>
                  <a:lnTo>
                    <a:pt x="34" y="5"/>
                  </a:lnTo>
                  <a:lnTo>
                    <a:pt x="33" y="4"/>
                  </a:lnTo>
                  <a:lnTo>
                    <a:pt x="32" y="3"/>
                  </a:lnTo>
                  <a:lnTo>
                    <a:pt x="32" y="1"/>
                  </a:lnTo>
                  <a:lnTo>
                    <a:pt x="30" y="1"/>
                  </a:lnTo>
                  <a:lnTo>
                    <a:pt x="30" y="0"/>
                  </a:lnTo>
                  <a:lnTo>
                    <a:pt x="32" y="0"/>
                  </a:lnTo>
                  <a:lnTo>
                    <a:pt x="33" y="0"/>
                  </a:lnTo>
                  <a:lnTo>
                    <a:pt x="34"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25" name="Freeform 1089">
              <a:extLst>
                <a:ext uri="{FF2B5EF4-FFF2-40B4-BE49-F238E27FC236}">
                  <a16:creationId xmlns:a16="http://schemas.microsoft.com/office/drawing/2014/main" id="{00892B47-30FA-4985-A728-C808ACF90846}"/>
                </a:ext>
              </a:extLst>
            </p:cNvPr>
            <p:cNvSpPr>
              <a:spLocks/>
            </p:cNvSpPr>
            <p:nvPr/>
          </p:nvSpPr>
          <p:spPr bwMode="auto">
            <a:xfrm>
              <a:off x="5935970" y="2193331"/>
              <a:ext cx="4007" cy="6678"/>
            </a:xfrm>
            <a:custGeom>
              <a:avLst/>
              <a:gdLst>
                <a:gd name="T0" fmla="*/ 1 w 3"/>
                <a:gd name="T1" fmla="*/ 2 h 5"/>
                <a:gd name="T2" fmla="*/ 1 w 3"/>
                <a:gd name="T3" fmla="*/ 2 h 5"/>
                <a:gd name="T4" fmla="*/ 3 w 3"/>
                <a:gd name="T5" fmla="*/ 2 h 5"/>
                <a:gd name="T6" fmla="*/ 3 w 3"/>
                <a:gd name="T7" fmla="*/ 2 h 5"/>
                <a:gd name="T8" fmla="*/ 2 w 3"/>
                <a:gd name="T9" fmla="*/ 2 h 5"/>
                <a:gd name="T10" fmla="*/ 2 w 3"/>
                <a:gd name="T11" fmla="*/ 2 h 5"/>
                <a:gd name="T12" fmla="*/ 2 w 3"/>
                <a:gd name="T13" fmla="*/ 2 h 5"/>
                <a:gd name="T14" fmla="*/ 1 w 3"/>
                <a:gd name="T15" fmla="*/ 2 h 5"/>
                <a:gd name="T16" fmla="*/ 1 w 3"/>
                <a:gd name="T17" fmla="*/ 2 h 5"/>
                <a:gd name="T18" fmla="*/ 1 w 3"/>
                <a:gd name="T19" fmla="*/ 2 h 5"/>
                <a:gd name="T20" fmla="*/ 1 w 3"/>
                <a:gd name="T21" fmla="*/ 2 h 5"/>
                <a:gd name="T22" fmla="*/ 0 w 3"/>
                <a:gd name="T23" fmla="*/ 2 h 5"/>
                <a:gd name="T24" fmla="*/ 0 w 3"/>
                <a:gd name="T25" fmla="*/ 2 h 5"/>
                <a:gd name="T26" fmla="*/ 0 w 3"/>
                <a:gd name="T27" fmla="*/ 2 h 5"/>
                <a:gd name="T28" fmla="*/ 0 w 3"/>
                <a:gd name="T29" fmla="*/ 2 h 5"/>
                <a:gd name="T30" fmla="*/ 0 w 3"/>
                <a:gd name="T31" fmla="*/ 2 h 5"/>
                <a:gd name="T32" fmla="*/ 0 w 3"/>
                <a:gd name="T33" fmla="*/ 3 h 5"/>
                <a:gd name="T34" fmla="*/ 0 w 3"/>
                <a:gd name="T35" fmla="*/ 3 h 5"/>
                <a:gd name="T36" fmla="*/ 0 w 3"/>
                <a:gd name="T37" fmla="*/ 3 h 5"/>
                <a:gd name="T38" fmla="*/ 0 w 3"/>
                <a:gd name="T39" fmla="*/ 5 h 5"/>
                <a:gd name="T40" fmla="*/ 0 w 3"/>
                <a:gd name="T41" fmla="*/ 5 h 5"/>
                <a:gd name="T42" fmla="*/ 0 w 3"/>
                <a:gd name="T43" fmla="*/ 5 h 5"/>
                <a:gd name="T44" fmla="*/ 0 w 3"/>
                <a:gd name="T45" fmla="*/ 5 h 5"/>
                <a:gd name="T46" fmla="*/ 0 w 3"/>
                <a:gd name="T47" fmla="*/ 5 h 5"/>
                <a:gd name="T48" fmla="*/ 0 w 3"/>
                <a:gd name="T49" fmla="*/ 3 h 5"/>
                <a:gd name="T50" fmla="*/ 0 w 3"/>
                <a:gd name="T51" fmla="*/ 2 h 5"/>
                <a:gd name="T52" fmla="*/ 0 w 3"/>
                <a:gd name="T53" fmla="*/ 2 h 5"/>
                <a:gd name="T54" fmla="*/ 1 w 3"/>
                <a:gd name="T55" fmla="*/ 0 h 5"/>
                <a:gd name="T56" fmla="*/ 1 w 3"/>
                <a:gd name="T57" fmla="*/ 0 h 5"/>
                <a:gd name="T58" fmla="*/ 1 w 3"/>
                <a:gd name="T59" fmla="*/ 0 h 5"/>
                <a:gd name="T60" fmla="*/ 1 w 3"/>
                <a:gd name="T61" fmla="*/ 0 h 5"/>
                <a:gd name="T62" fmla="*/ 1 w 3"/>
                <a:gd name="T63" fmla="*/ 0 h 5"/>
                <a:gd name="T64" fmla="*/ 1 w 3"/>
                <a:gd name="T65" fmla="*/ 0 h 5"/>
                <a:gd name="T66" fmla="*/ 1 w 3"/>
                <a:gd name="T67" fmla="*/ 0 h 5"/>
                <a:gd name="T68" fmla="*/ 1 w 3"/>
                <a:gd name="T69" fmla="*/ 0 h 5"/>
                <a:gd name="T70" fmla="*/ 1 w 3"/>
                <a:gd name="T71" fmla="*/ 1 h 5"/>
                <a:gd name="T72" fmla="*/ 0 w 3"/>
                <a:gd name="T73" fmla="*/ 1 h 5"/>
                <a:gd name="T74" fmla="*/ 0 w 3"/>
                <a:gd name="T75" fmla="*/ 1 h 5"/>
                <a:gd name="T76" fmla="*/ 0 w 3"/>
                <a:gd name="T77" fmla="*/ 1 h 5"/>
                <a:gd name="T78" fmla="*/ 0 w 3"/>
                <a:gd name="T79" fmla="*/ 2 h 5"/>
                <a:gd name="T80" fmla="*/ 1 w 3"/>
                <a:gd name="T8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 h="5">
                  <a:moveTo>
                    <a:pt x="1" y="2"/>
                  </a:moveTo>
                  <a:lnTo>
                    <a:pt x="1" y="2"/>
                  </a:lnTo>
                  <a:lnTo>
                    <a:pt x="3" y="2"/>
                  </a:lnTo>
                  <a:lnTo>
                    <a:pt x="3" y="2"/>
                  </a:lnTo>
                  <a:lnTo>
                    <a:pt x="2" y="2"/>
                  </a:lnTo>
                  <a:lnTo>
                    <a:pt x="2" y="2"/>
                  </a:lnTo>
                  <a:lnTo>
                    <a:pt x="2" y="2"/>
                  </a:lnTo>
                  <a:lnTo>
                    <a:pt x="1" y="2"/>
                  </a:lnTo>
                  <a:lnTo>
                    <a:pt x="1" y="2"/>
                  </a:lnTo>
                  <a:lnTo>
                    <a:pt x="1" y="2"/>
                  </a:lnTo>
                  <a:lnTo>
                    <a:pt x="1" y="2"/>
                  </a:lnTo>
                  <a:lnTo>
                    <a:pt x="0" y="2"/>
                  </a:lnTo>
                  <a:lnTo>
                    <a:pt x="0" y="2"/>
                  </a:lnTo>
                  <a:lnTo>
                    <a:pt x="0" y="2"/>
                  </a:lnTo>
                  <a:lnTo>
                    <a:pt x="0" y="2"/>
                  </a:lnTo>
                  <a:lnTo>
                    <a:pt x="0" y="2"/>
                  </a:lnTo>
                  <a:lnTo>
                    <a:pt x="0" y="3"/>
                  </a:lnTo>
                  <a:lnTo>
                    <a:pt x="0" y="3"/>
                  </a:lnTo>
                  <a:lnTo>
                    <a:pt x="0" y="3"/>
                  </a:lnTo>
                  <a:lnTo>
                    <a:pt x="0" y="5"/>
                  </a:lnTo>
                  <a:lnTo>
                    <a:pt x="0" y="5"/>
                  </a:lnTo>
                  <a:lnTo>
                    <a:pt x="0" y="5"/>
                  </a:lnTo>
                  <a:lnTo>
                    <a:pt x="0" y="5"/>
                  </a:lnTo>
                  <a:lnTo>
                    <a:pt x="0" y="5"/>
                  </a:lnTo>
                  <a:lnTo>
                    <a:pt x="0" y="3"/>
                  </a:lnTo>
                  <a:lnTo>
                    <a:pt x="0" y="2"/>
                  </a:lnTo>
                  <a:lnTo>
                    <a:pt x="0" y="2"/>
                  </a:lnTo>
                  <a:lnTo>
                    <a:pt x="1" y="0"/>
                  </a:lnTo>
                  <a:lnTo>
                    <a:pt x="1" y="0"/>
                  </a:lnTo>
                  <a:lnTo>
                    <a:pt x="1" y="0"/>
                  </a:lnTo>
                  <a:lnTo>
                    <a:pt x="1" y="0"/>
                  </a:lnTo>
                  <a:lnTo>
                    <a:pt x="1" y="0"/>
                  </a:lnTo>
                  <a:lnTo>
                    <a:pt x="1" y="0"/>
                  </a:lnTo>
                  <a:lnTo>
                    <a:pt x="1" y="0"/>
                  </a:lnTo>
                  <a:lnTo>
                    <a:pt x="1" y="0"/>
                  </a:lnTo>
                  <a:lnTo>
                    <a:pt x="1" y="1"/>
                  </a:lnTo>
                  <a:lnTo>
                    <a:pt x="0" y="1"/>
                  </a:lnTo>
                  <a:lnTo>
                    <a:pt x="0" y="1"/>
                  </a:lnTo>
                  <a:lnTo>
                    <a:pt x="0" y="1"/>
                  </a:lnTo>
                  <a:lnTo>
                    <a:pt x="0" y="2"/>
                  </a:lnTo>
                  <a:lnTo>
                    <a:pt x="1"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26" name="Freeform 1090">
              <a:extLst>
                <a:ext uri="{FF2B5EF4-FFF2-40B4-BE49-F238E27FC236}">
                  <a16:creationId xmlns:a16="http://schemas.microsoft.com/office/drawing/2014/main" id="{4203923C-412B-49DE-8855-474B8CA719A5}"/>
                </a:ext>
              </a:extLst>
            </p:cNvPr>
            <p:cNvSpPr>
              <a:spLocks/>
            </p:cNvSpPr>
            <p:nvPr/>
          </p:nvSpPr>
          <p:spPr bwMode="auto">
            <a:xfrm>
              <a:off x="5977370" y="2194666"/>
              <a:ext cx="14691" cy="8013"/>
            </a:xfrm>
            <a:custGeom>
              <a:avLst/>
              <a:gdLst>
                <a:gd name="T0" fmla="*/ 4 w 11"/>
                <a:gd name="T1" fmla="*/ 1 h 6"/>
                <a:gd name="T2" fmla="*/ 4 w 11"/>
                <a:gd name="T3" fmla="*/ 1 h 6"/>
                <a:gd name="T4" fmla="*/ 5 w 11"/>
                <a:gd name="T5" fmla="*/ 1 h 6"/>
                <a:gd name="T6" fmla="*/ 7 w 11"/>
                <a:gd name="T7" fmla="*/ 2 h 6"/>
                <a:gd name="T8" fmla="*/ 7 w 11"/>
                <a:gd name="T9" fmla="*/ 2 h 6"/>
                <a:gd name="T10" fmla="*/ 7 w 11"/>
                <a:gd name="T11" fmla="*/ 2 h 6"/>
                <a:gd name="T12" fmla="*/ 7 w 11"/>
                <a:gd name="T13" fmla="*/ 1 h 6"/>
                <a:gd name="T14" fmla="*/ 7 w 11"/>
                <a:gd name="T15" fmla="*/ 1 h 6"/>
                <a:gd name="T16" fmla="*/ 7 w 11"/>
                <a:gd name="T17" fmla="*/ 1 h 6"/>
                <a:gd name="T18" fmla="*/ 9 w 11"/>
                <a:gd name="T19" fmla="*/ 1 h 6"/>
                <a:gd name="T20" fmla="*/ 10 w 11"/>
                <a:gd name="T21" fmla="*/ 2 h 6"/>
                <a:gd name="T22" fmla="*/ 10 w 11"/>
                <a:gd name="T23" fmla="*/ 2 h 6"/>
                <a:gd name="T24" fmla="*/ 10 w 11"/>
                <a:gd name="T25" fmla="*/ 2 h 6"/>
                <a:gd name="T26" fmla="*/ 10 w 11"/>
                <a:gd name="T27" fmla="*/ 2 h 6"/>
                <a:gd name="T28" fmla="*/ 11 w 11"/>
                <a:gd name="T29" fmla="*/ 4 h 6"/>
                <a:gd name="T30" fmla="*/ 11 w 11"/>
                <a:gd name="T31" fmla="*/ 4 h 6"/>
                <a:gd name="T32" fmla="*/ 10 w 11"/>
                <a:gd name="T33" fmla="*/ 4 h 6"/>
                <a:gd name="T34" fmla="*/ 10 w 11"/>
                <a:gd name="T35" fmla="*/ 4 h 6"/>
                <a:gd name="T36" fmla="*/ 11 w 11"/>
                <a:gd name="T37" fmla="*/ 5 h 6"/>
                <a:gd name="T38" fmla="*/ 10 w 11"/>
                <a:gd name="T39" fmla="*/ 5 h 6"/>
                <a:gd name="T40" fmla="*/ 7 w 11"/>
                <a:gd name="T41" fmla="*/ 5 h 6"/>
                <a:gd name="T42" fmla="*/ 6 w 11"/>
                <a:gd name="T43" fmla="*/ 5 h 6"/>
                <a:gd name="T44" fmla="*/ 6 w 11"/>
                <a:gd name="T45" fmla="*/ 5 h 6"/>
                <a:gd name="T46" fmla="*/ 4 w 11"/>
                <a:gd name="T47" fmla="*/ 5 h 6"/>
                <a:gd name="T48" fmla="*/ 2 w 11"/>
                <a:gd name="T49" fmla="*/ 4 h 6"/>
                <a:gd name="T50" fmla="*/ 0 w 11"/>
                <a:gd name="T51" fmla="*/ 4 h 6"/>
                <a:gd name="T52" fmla="*/ 0 w 11"/>
                <a:gd name="T53" fmla="*/ 2 h 6"/>
                <a:gd name="T54" fmla="*/ 0 w 11"/>
                <a:gd name="T55" fmla="*/ 2 h 6"/>
                <a:gd name="T56" fmla="*/ 2 w 11"/>
                <a:gd name="T57" fmla="*/ 2 h 6"/>
                <a:gd name="T58" fmla="*/ 2 w 11"/>
                <a:gd name="T59" fmla="*/ 2 h 6"/>
                <a:gd name="T60" fmla="*/ 0 w 11"/>
                <a:gd name="T61" fmla="*/ 1 h 6"/>
                <a:gd name="T62" fmla="*/ 0 w 11"/>
                <a:gd name="T63" fmla="*/ 1 h 6"/>
                <a:gd name="T64" fmla="*/ 2 w 11"/>
                <a:gd name="T65" fmla="*/ 0 h 6"/>
                <a:gd name="T66" fmla="*/ 3 w 11"/>
                <a:gd name="T6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 h="6">
                  <a:moveTo>
                    <a:pt x="3" y="0"/>
                  </a:moveTo>
                  <a:lnTo>
                    <a:pt x="4" y="1"/>
                  </a:lnTo>
                  <a:lnTo>
                    <a:pt x="4" y="1"/>
                  </a:lnTo>
                  <a:lnTo>
                    <a:pt x="4" y="1"/>
                  </a:lnTo>
                  <a:lnTo>
                    <a:pt x="5" y="1"/>
                  </a:lnTo>
                  <a:lnTo>
                    <a:pt x="5" y="1"/>
                  </a:lnTo>
                  <a:lnTo>
                    <a:pt x="5" y="1"/>
                  </a:lnTo>
                  <a:lnTo>
                    <a:pt x="7" y="2"/>
                  </a:lnTo>
                  <a:lnTo>
                    <a:pt x="7" y="2"/>
                  </a:lnTo>
                  <a:lnTo>
                    <a:pt x="7" y="2"/>
                  </a:lnTo>
                  <a:lnTo>
                    <a:pt x="7" y="2"/>
                  </a:lnTo>
                  <a:lnTo>
                    <a:pt x="7" y="2"/>
                  </a:lnTo>
                  <a:lnTo>
                    <a:pt x="7" y="2"/>
                  </a:lnTo>
                  <a:lnTo>
                    <a:pt x="7" y="1"/>
                  </a:lnTo>
                  <a:lnTo>
                    <a:pt x="9" y="1"/>
                  </a:lnTo>
                  <a:lnTo>
                    <a:pt x="7" y="1"/>
                  </a:lnTo>
                  <a:lnTo>
                    <a:pt x="7" y="1"/>
                  </a:lnTo>
                  <a:lnTo>
                    <a:pt x="7" y="1"/>
                  </a:lnTo>
                  <a:lnTo>
                    <a:pt x="7" y="1"/>
                  </a:lnTo>
                  <a:lnTo>
                    <a:pt x="9" y="1"/>
                  </a:lnTo>
                  <a:lnTo>
                    <a:pt x="9" y="2"/>
                  </a:lnTo>
                  <a:lnTo>
                    <a:pt x="10" y="2"/>
                  </a:lnTo>
                  <a:lnTo>
                    <a:pt x="10" y="2"/>
                  </a:lnTo>
                  <a:lnTo>
                    <a:pt x="10" y="2"/>
                  </a:lnTo>
                  <a:lnTo>
                    <a:pt x="10" y="2"/>
                  </a:lnTo>
                  <a:lnTo>
                    <a:pt x="10" y="2"/>
                  </a:lnTo>
                  <a:lnTo>
                    <a:pt x="10" y="2"/>
                  </a:lnTo>
                  <a:lnTo>
                    <a:pt x="10" y="2"/>
                  </a:lnTo>
                  <a:lnTo>
                    <a:pt x="11" y="4"/>
                  </a:lnTo>
                  <a:lnTo>
                    <a:pt x="11" y="4"/>
                  </a:lnTo>
                  <a:lnTo>
                    <a:pt x="11" y="4"/>
                  </a:lnTo>
                  <a:lnTo>
                    <a:pt x="11" y="4"/>
                  </a:lnTo>
                  <a:lnTo>
                    <a:pt x="11" y="4"/>
                  </a:lnTo>
                  <a:lnTo>
                    <a:pt x="10" y="4"/>
                  </a:lnTo>
                  <a:lnTo>
                    <a:pt x="10" y="4"/>
                  </a:lnTo>
                  <a:lnTo>
                    <a:pt x="10" y="4"/>
                  </a:lnTo>
                  <a:lnTo>
                    <a:pt x="10" y="4"/>
                  </a:lnTo>
                  <a:lnTo>
                    <a:pt x="11" y="5"/>
                  </a:lnTo>
                  <a:lnTo>
                    <a:pt x="11" y="5"/>
                  </a:lnTo>
                  <a:lnTo>
                    <a:pt x="10" y="5"/>
                  </a:lnTo>
                  <a:lnTo>
                    <a:pt x="10" y="5"/>
                  </a:lnTo>
                  <a:lnTo>
                    <a:pt x="7" y="5"/>
                  </a:lnTo>
                  <a:lnTo>
                    <a:pt x="7" y="5"/>
                  </a:lnTo>
                  <a:lnTo>
                    <a:pt x="6" y="5"/>
                  </a:lnTo>
                  <a:lnTo>
                    <a:pt x="6" y="6"/>
                  </a:lnTo>
                  <a:lnTo>
                    <a:pt x="6" y="5"/>
                  </a:lnTo>
                  <a:lnTo>
                    <a:pt x="5" y="5"/>
                  </a:lnTo>
                  <a:lnTo>
                    <a:pt x="4" y="5"/>
                  </a:lnTo>
                  <a:lnTo>
                    <a:pt x="3" y="4"/>
                  </a:lnTo>
                  <a:lnTo>
                    <a:pt x="2" y="4"/>
                  </a:lnTo>
                  <a:lnTo>
                    <a:pt x="2" y="4"/>
                  </a:lnTo>
                  <a:lnTo>
                    <a:pt x="0" y="4"/>
                  </a:lnTo>
                  <a:lnTo>
                    <a:pt x="0" y="4"/>
                  </a:lnTo>
                  <a:lnTo>
                    <a:pt x="0" y="2"/>
                  </a:lnTo>
                  <a:lnTo>
                    <a:pt x="0" y="2"/>
                  </a:lnTo>
                  <a:lnTo>
                    <a:pt x="0" y="2"/>
                  </a:lnTo>
                  <a:lnTo>
                    <a:pt x="2" y="2"/>
                  </a:lnTo>
                  <a:lnTo>
                    <a:pt x="2" y="2"/>
                  </a:lnTo>
                  <a:lnTo>
                    <a:pt x="2" y="2"/>
                  </a:lnTo>
                  <a:lnTo>
                    <a:pt x="2" y="2"/>
                  </a:lnTo>
                  <a:lnTo>
                    <a:pt x="2" y="2"/>
                  </a:lnTo>
                  <a:lnTo>
                    <a:pt x="0" y="1"/>
                  </a:lnTo>
                  <a:lnTo>
                    <a:pt x="0" y="1"/>
                  </a:lnTo>
                  <a:lnTo>
                    <a:pt x="0" y="1"/>
                  </a:lnTo>
                  <a:lnTo>
                    <a:pt x="0" y="1"/>
                  </a:lnTo>
                  <a:lnTo>
                    <a:pt x="2" y="0"/>
                  </a:lnTo>
                  <a:lnTo>
                    <a:pt x="2" y="0"/>
                  </a:lnTo>
                  <a:lnTo>
                    <a:pt x="3" y="0"/>
                  </a:lnTo>
                  <a:lnTo>
                    <a:pt x="3"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27" name="Freeform 1091">
              <a:extLst>
                <a:ext uri="{FF2B5EF4-FFF2-40B4-BE49-F238E27FC236}">
                  <a16:creationId xmlns:a16="http://schemas.microsoft.com/office/drawing/2014/main" id="{CFD19E47-BF95-41DB-9495-84E86FBC615B}"/>
                </a:ext>
              </a:extLst>
            </p:cNvPr>
            <p:cNvSpPr>
              <a:spLocks/>
            </p:cNvSpPr>
            <p:nvPr/>
          </p:nvSpPr>
          <p:spPr bwMode="auto">
            <a:xfrm>
              <a:off x="5965350" y="2194666"/>
              <a:ext cx="5342" cy="2671"/>
            </a:xfrm>
            <a:custGeom>
              <a:avLst/>
              <a:gdLst>
                <a:gd name="T0" fmla="*/ 1 w 4"/>
                <a:gd name="T1" fmla="*/ 1 h 2"/>
                <a:gd name="T2" fmla="*/ 2 w 4"/>
                <a:gd name="T3" fmla="*/ 1 h 2"/>
                <a:gd name="T4" fmla="*/ 2 w 4"/>
                <a:gd name="T5" fmla="*/ 1 h 2"/>
                <a:gd name="T6" fmla="*/ 2 w 4"/>
                <a:gd name="T7" fmla="*/ 1 h 2"/>
                <a:gd name="T8" fmla="*/ 2 w 4"/>
                <a:gd name="T9" fmla="*/ 1 h 2"/>
                <a:gd name="T10" fmla="*/ 2 w 4"/>
                <a:gd name="T11" fmla="*/ 1 h 2"/>
                <a:gd name="T12" fmla="*/ 2 w 4"/>
                <a:gd name="T13" fmla="*/ 1 h 2"/>
                <a:gd name="T14" fmla="*/ 2 w 4"/>
                <a:gd name="T15" fmla="*/ 1 h 2"/>
                <a:gd name="T16" fmla="*/ 2 w 4"/>
                <a:gd name="T17" fmla="*/ 1 h 2"/>
                <a:gd name="T18" fmla="*/ 2 w 4"/>
                <a:gd name="T19" fmla="*/ 1 h 2"/>
                <a:gd name="T20" fmla="*/ 4 w 4"/>
                <a:gd name="T21" fmla="*/ 1 h 2"/>
                <a:gd name="T22" fmla="*/ 4 w 4"/>
                <a:gd name="T23" fmla="*/ 1 h 2"/>
                <a:gd name="T24" fmla="*/ 2 w 4"/>
                <a:gd name="T25" fmla="*/ 1 h 2"/>
                <a:gd name="T26" fmla="*/ 4 w 4"/>
                <a:gd name="T27" fmla="*/ 1 h 2"/>
                <a:gd name="T28" fmla="*/ 4 w 4"/>
                <a:gd name="T29" fmla="*/ 1 h 2"/>
                <a:gd name="T30" fmla="*/ 4 w 4"/>
                <a:gd name="T31" fmla="*/ 1 h 2"/>
                <a:gd name="T32" fmla="*/ 4 w 4"/>
                <a:gd name="T33" fmla="*/ 2 h 2"/>
                <a:gd name="T34" fmla="*/ 4 w 4"/>
                <a:gd name="T35" fmla="*/ 2 h 2"/>
                <a:gd name="T36" fmla="*/ 4 w 4"/>
                <a:gd name="T37" fmla="*/ 2 h 2"/>
                <a:gd name="T38" fmla="*/ 2 w 4"/>
                <a:gd name="T39" fmla="*/ 2 h 2"/>
                <a:gd name="T40" fmla="*/ 2 w 4"/>
                <a:gd name="T41" fmla="*/ 2 h 2"/>
                <a:gd name="T42" fmla="*/ 2 w 4"/>
                <a:gd name="T43" fmla="*/ 2 h 2"/>
                <a:gd name="T44" fmla="*/ 2 w 4"/>
                <a:gd name="T45" fmla="*/ 2 h 2"/>
                <a:gd name="T46" fmla="*/ 0 w 4"/>
                <a:gd name="T47" fmla="*/ 0 h 2"/>
                <a:gd name="T48" fmla="*/ 0 w 4"/>
                <a:gd name="T49" fmla="*/ 0 h 2"/>
                <a:gd name="T50" fmla="*/ 0 w 4"/>
                <a:gd name="T51" fmla="*/ 0 h 2"/>
                <a:gd name="T52" fmla="*/ 0 w 4"/>
                <a:gd name="T53" fmla="*/ 0 h 2"/>
                <a:gd name="T54" fmla="*/ 1 w 4"/>
                <a:gd name="T55" fmla="*/ 0 h 2"/>
                <a:gd name="T56" fmla="*/ 1 w 4"/>
                <a:gd name="T57" fmla="*/ 1 h 2"/>
                <a:gd name="T58" fmla="*/ 1 w 4"/>
                <a:gd name="T59" fmla="*/ 1 h 2"/>
                <a:gd name="T60" fmla="*/ 1 w 4"/>
                <a:gd name="T6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 h="2">
                  <a:moveTo>
                    <a:pt x="1" y="1"/>
                  </a:moveTo>
                  <a:lnTo>
                    <a:pt x="2" y="1"/>
                  </a:lnTo>
                  <a:lnTo>
                    <a:pt x="2" y="1"/>
                  </a:lnTo>
                  <a:lnTo>
                    <a:pt x="2" y="1"/>
                  </a:lnTo>
                  <a:lnTo>
                    <a:pt x="2" y="1"/>
                  </a:lnTo>
                  <a:lnTo>
                    <a:pt x="2" y="1"/>
                  </a:lnTo>
                  <a:lnTo>
                    <a:pt x="2" y="1"/>
                  </a:lnTo>
                  <a:lnTo>
                    <a:pt x="2" y="1"/>
                  </a:lnTo>
                  <a:lnTo>
                    <a:pt x="2" y="1"/>
                  </a:lnTo>
                  <a:lnTo>
                    <a:pt x="2" y="1"/>
                  </a:lnTo>
                  <a:lnTo>
                    <a:pt x="4" y="1"/>
                  </a:lnTo>
                  <a:lnTo>
                    <a:pt x="4" y="1"/>
                  </a:lnTo>
                  <a:lnTo>
                    <a:pt x="2" y="1"/>
                  </a:lnTo>
                  <a:lnTo>
                    <a:pt x="4" y="1"/>
                  </a:lnTo>
                  <a:lnTo>
                    <a:pt x="4" y="1"/>
                  </a:lnTo>
                  <a:lnTo>
                    <a:pt x="4" y="1"/>
                  </a:lnTo>
                  <a:lnTo>
                    <a:pt x="4" y="2"/>
                  </a:lnTo>
                  <a:lnTo>
                    <a:pt x="4" y="2"/>
                  </a:lnTo>
                  <a:lnTo>
                    <a:pt x="4" y="2"/>
                  </a:lnTo>
                  <a:lnTo>
                    <a:pt x="2" y="2"/>
                  </a:lnTo>
                  <a:lnTo>
                    <a:pt x="2" y="2"/>
                  </a:lnTo>
                  <a:lnTo>
                    <a:pt x="2" y="2"/>
                  </a:lnTo>
                  <a:lnTo>
                    <a:pt x="2" y="2"/>
                  </a:lnTo>
                  <a:lnTo>
                    <a:pt x="0" y="0"/>
                  </a:lnTo>
                  <a:lnTo>
                    <a:pt x="0" y="0"/>
                  </a:lnTo>
                  <a:lnTo>
                    <a:pt x="0" y="0"/>
                  </a:lnTo>
                  <a:lnTo>
                    <a:pt x="0" y="0"/>
                  </a:lnTo>
                  <a:lnTo>
                    <a:pt x="1" y="0"/>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28" name="Freeform 1092">
              <a:extLst>
                <a:ext uri="{FF2B5EF4-FFF2-40B4-BE49-F238E27FC236}">
                  <a16:creationId xmlns:a16="http://schemas.microsoft.com/office/drawing/2014/main" id="{061F7D1D-6A27-43B4-8D30-CB7AC085C1AC}"/>
                </a:ext>
              </a:extLst>
            </p:cNvPr>
            <p:cNvSpPr>
              <a:spLocks/>
            </p:cNvSpPr>
            <p:nvPr/>
          </p:nvSpPr>
          <p:spPr bwMode="auto">
            <a:xfrm>
              <a:off x="5994731" y="2193331"/>
              <a:ext cx="6678" cy="2671"/>
            </a:xfrm>
            <a:custGeom>
              <a:avLst/>
              <a:gdLst>
                <a:gd name="T0" fmla="*/ 5 w 5"/>
                <a:gd name="T1" fmla="*/ 1 h 2"/>
                <a:gd name="T2" fmla="*/ 5 w 5"/>
                <a:gd name="T3" fmla="*/ 1 h 2"/>
                <a:gd name="T4" fmla="*/ 5 w 5"/>
                <a:gd name="T5" fmla="*/ 1 h 2"/>
                <a:gd name="T6" fmla="*/ 5 w 5"/>
                <a:gd name="T7" fmla="*/ 1 h 2"/>
                <a:gd name="T8" fmla="*/ 5 w 5"/>
                <a:gd name="T9" fmla="*/ 1 h 2"/>
                <a:gd name="T10" fmla="*/ 5 w 5"/>
                <a:gd name="T11" fmla="*/ 1 h 2"/>
                <a:gd name="T12" fmla="*/ 4 w 5"/>
                <a:gd name="T13" fmla="*/ 1 h 2"/>
                <a:gd name="T14" fmla="*/ 3 w 5"/>
                <a:gd name="T15" fmla="*/ 1 h 2"/>
                <a:gd name="T16" fmla="*/ 3 w 5"/>
                <a:gd name="T17" fmla="*/ 1 h 2"/>
                <a:gd name="T18" fmla="*/ 3 w 5"/>
                <a:gd name="T19" fmla="*/ 2 h 2"/>
                <a:gd name="T20" fmla="*/ 1 w 5"/>
                <a:gd name="T21" fmla="*/ 2 h 2"/>
                <a:gd name="T22" fmla="*/ 1 w 5"/>
                <a:gd name="T23" fmla="*/ 2 h 2"/>
                <a:gd name="T24" fmla="*/ 1 w 5"/>
                <a:gd name="T25" fmla="*/ 2 h 2"/>
                <a:gd name="T26" fmla="*/ 0 w 5"/>
                <a:gd name="T27" fmla="*/ 2 h 2"/>
                <a:gd name="T28" fmla="*/ 0 w 5"/>
                <a:gd name="T29" fmla="*/ 2 h 2"/>
                <a:gd name="T30" fmla="*/ 0 w 5"/>
                <a:gd name="T31" fmla="*/ 2 h 2"/>
                <a:gd name="T32" fmla="*/ 0 w 5"/>
                <a:gd name="T33" fmla="*/ 2 h 2"/>
                <a:gd name="T34" fmla="*/ 0 w 5"/>
                <a:gd name="T35" fmla="*/ 2 h 2"/>
                <a:gd name="T36" fmla="*/ 0 w 5"/>
                <a:gd name="T37" fmla="*/ 2 h 2"/>
                <a:gd name="T38" fmla="*/ 0 w 5"/>
                <a:gd name="T39" fmla="*/ 1 h 2"/>
                <a:gd name="T40" fmla="*/ 0 w 5"/>
                <a:gd name="T41" fmla="*/ 1 h 2"/>
                <a:gd name="T42" fmla="*/ 0 w 5"/>
                <a:gd name="T43" fmla="*/ 1 h 2"/>
                <a:gd name="T44" fmla="*/ 0 w 5"/>
                <a:gd name="T45" fmla="*/ 1 h 2"/>
                <a:gd name="T46" fmla="*/ 0 w 5"/>
                <a:gd name="T47" fmla="*/ 1 h 2"/>
                <a:gd name="T48" fmla="*/ 1 w 5"/>
                <a:gd name="T49" fmla="*/ 1 h 2"/>
                <a:gd name="T50" fmla="*/ 1 w 5"/>
                <a:gd name="T51" fmla="*/ 1 h 2"/>
                <a:gd name="T52" fmla="*/ 1 w 5"/>
                <a:gd name="T53" fmla="*/ 1 h 2"/>
                <a:gd name="T54" fmla="*/ 1 w 5"/>
                <a:gd name="T55" fmla="*/ 1 h 2"/>
                <a:gd name="T56" fmla="*/ 1 w 5"/>
                <a:gd name="T57" fmla="*/ 1 h 2"/>
                <a:gd name="T58" fmla="*/ 1 w 5"/>
                <a:gd name="T59" fmla="*/ 1 h 2"/>
                <a:gd name="T60" fmla="*/ 1 w 5"/>
                <a:gd name="T61" fmla="*/ 1 h 2"/>
                <a:gd name="T62" fmla="*/ 1 w 5"/>
                <a:gd name="T63" fmla="*/ 1 h 2"/>
                <a:gd name="T64" fmla="*/ 3 w 5"/>
                <a:gd name="T65" fmla="*/ 1 h 2"/>
                <a:gd name="T66" fmla="*/ 3 w 5"/>
                <a:gd name="T67" fmla="*/ 1 h 2"/>
                <a:gd name="T68" fmla="*/ 3 w 5"/>
                <a:gd name="T69" fmla="*/ 1 h 2"/>
                <a:gd name="T70" fmla="*/ 3 w 5"/>
                <a:gd name="T71" fmla="*/ 1 h 2"/>
                <a:gd name="T72" fmla="*/ 3 w 5"/>
                <a:gd name="T73" fmla="*/ 1 h 2"/>
                <a:gd name="T74" fmla="*/ 3 w 5"/>
                <a:gd name="T75" fmla="*/ 0 h 2"/>
                <a:gd name="T76" fmla="*/ 3 w 5"/>
                <a:gd name="T77" fmla="*/ 0 h 2"/>
                <a:gd name="T78" fmla="*/ 1 w 5"/>
                <a:gd name="T79" fmla="*/ 0 h 2"/>
                <a:gd name="T80" fmla="*/ 1 w 5"/>
                <a:gd name="T81" fmla="*/ 0 h 2"/>
                <a:gd name="T82" fmla="*/ 1 w 5"/>
                <a:gd name="T83" fmla="*/ 0 h 2"/>
                <a:gd name="T84" fmla="*/ 1 w 5"/>
                <a:gd name="T85" fmla="*/ 0 h 2"/>
                <a:gd name="T86" fmla="*/ 1 w 5"/>
                <a:gd name="T87" fmla="*/ 0 h 2"/>
                <a:gd name="T88" fmla="*/ 3 w 5"/>
                <a:gd name="T89" fmla="*/ 0 h 2"/>
                <a:gd name="T90" fmla="*/ 3 w 5"/>
                <a:gd name="T91" fmla="*/ 0 h 2"/>
                <a:gd name="T92" fmla="*/ 3 w 5"/>
                <a:gd name="T93" fmla="*/ 0 h 2"/>
                <a:gd name="T94" fmla="*/ 4 w 5"/>
                <a:gd name="T95" fmla="*/ 0 h 2"/>
                <a:gd name="T96" fmla="*/ 5 w 5"/>
                <a:gd name="T97" fmla="*/ 0 h 2"/>
                <a:gd name="T98" fmla="*/ 5 w 5"/>
                <a:gd name="T9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 h="2">
                  <a:moveTo>
                    <a:pt x="5" y="1"/>
                  </a:moveTo>
                  <a:lnTo>
                    <a:pt x="5" y="1"/>
                  </a:lnTo>
                  <a:lnTo>
                    <a:pt x="5" y="1"/>
                  </a:lnTo>
                  <a:lnTo>
                    <a:pt x="5" y="1"/>
                  </a:lnTo>
                  <a:lnTo>
                    <a:pt x="5" y="1"/>
                  </a:lnTo>
                  <a:lnTo>
                    <a:pt x="5" y="1"/>
                  </a:lnTo>
                  <a:lnTo>
                    <a:pt x="4" y="1"/>
                  </a:lnTo>
                  <a:lnTo>
                    <a:pt x="3" y="1"/>
                  </a:lnTo>
                  <a:lnTo>
                    <a:pt x="3" y="1"/>
                  </a:lnTo>
                  <a:lnTo>
                    <a:pt x="3" y="2"/>
                  </a:lnTo>
                  <a:lnTo>
                    <a:pt x="1" y="2"/>
                  </a:lnTo>
                  <a:lnTo>
                    <a:pt x="1" y="2"/>
                  </a:lnTo>
                  <a:lnTo>
                    <a:pt x="1" y="2"/>
                  </a:lnTo>
                  <a:lnTo>
                    <a:pt x="0" y="2"/>
                  </a:lnTo>
                  <a:lnTo>
                    <a:pt x="0" y="2"/>
                  </a:lnTo>
                  <a:lnTo>
                    <a:pt x="0" y="2"/>
                  </a:lnTo>
                  <a:lnTo>
                    <a:pt x="0" y="2"/>
                  </a:lnTo>
                  <a:lnTo>
                    <a:pt x="0" y="2"/>
                  </a:lnTo>
                  <a:lnTo>
                    <a:pt x="0" y="2"/>
                  </a:lnTo>
                  <a:lnTo>
                    <a:pt x="0" y="1"/>
                  </a:lnTo>
                  <a:lnTo>
                    <a:pt x="0" y="1"/>
                  </a:lnTo>
                  <a:lnTo>
                    <a:pt x="0" y="1"/>
                  </a:lnTo>
                  <a:lnTo>
                    <a:pt x="0" y="1"/>
                  </a:lnTo>
                  <a:lnTo>
                    <a:pt x="0" y="1"/>
                  </a:lnTo>
                  <a:lnTo>
                    <a:pt x="1" y="1"/>
                  </a:lnTo>
                  <a:lnTo>
                    <a:pt x="1" y="1"/>
                  </a:lnTo>
                  <a:lnTo>
                    <a:pt x="1" y="1"/>
                  </a:lnTo>
                  <a:lnTo>
                    <a:pt x="1" y="1"/>
                  </a:lnTo>
                  <a:lnTo>
                    <a:pt x="1" y="1"/>
                  </a:lnTo>
                  <a:lnTo>
                    <a:pt x="1" y="1"/>
                  </a:lnTo>
                  <a:lnTo>
                    <a:pt x="1" y="1"/>
                  </a:lnTo>
                  <a:lnTo>
                    <a:pt x="1" y="1"/>
                  </a:lnTo>
                  <a:lnTo>
                    <a:pt x="3" y="1"/>
                  </a:lnTo>
                  <a:lnTo>
                    <a:pt x="3" y="1"/>
                  </a:lnTo>
                  <a:lnTo>
                    <a:pt x="3" y="1"/>
                  </a:lnTo>
                  <a:lnTo>
                    <a:pt x="3" y="1"/>
                  </a:lnTo>
                  <a:lnTo>
                    <a:pt x="3" y="1"/>
                  </a:lnTo>
                  <a:lnTo>
                    <a:pt x="3" y="0"/>
                  </a:lnTo>
                  <a:lnTo>
                    <a:pt x="3" y="0"/>
                  </a:lnTo>
                  <a:lnTo>
                    <a:pt x="1" y="0"/>
                  </a:lnTo>
                  <a:lnTo>
                    <a:pt x="1" y="0"/>
                  </a:lnTo>
                  <a:lnTo>
                    <a:pt x="1" y="0"/>
                  </a:lnTo>
                  <a:lnTo>
                    <a:pt x="1" y="0"/>
                  </a:lnTo>
                  <a:lnTo>
                    <a:pt x="1" y="0"/>
                  </a:lnTo>
                  <a:lnTo>
                    <a:pt x="3" y="0"/>
                  </a:lnTo>
                  <a:lnTo>
                    <a:pt x="3" y="0"/>
                  </a:lnTo>
                  <a:lnTo>
                    <a:pt x="3" y="0"/>
                  </a:lnTo>
                  <a:lnTo>
                    <a:pt x="4" y="0"/>
                  </a:lnTo>
                  <a:lnTo>
                    <a:pt x="5" y="0"/>
                  </a:lnTo>
                  <a:lnTo>
                    <a:pt x="5"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29" name="Freeform 1093">
              <a:extLst>
                <a:ext uri="{FF2B5EF4-FFF2-40B4-BE49-F238E27FC236}">
                  <a16:creationId xmlns:a16="http://schemas.microsoft.com/office/drawing/2014/main" id="{D0408C9D-2B50-483A-BA49-CBA2CA3FB049}"/>
                </a:ext>
              </a:extLst>
            </p:cNvPr>
            <p:cNvSpPr>
              <a:spLocks/>
            </p:cNvSpPr>
            <p:nvPr/>
          </p:nvSpPr>
          <p:spPr bwMode="auto">
            <a:xfrm>
              <a:off x="5956002" y="2193331"/>
              <a:ext cx="8013" cy="4007"/>
            </a:xfrm>
            <a:custGeom>
              <a:avLst/>
              <a:gdLst>
                <a:gd name="T0" fmla="*/ 2 w 6"/>
                <a:gd name="T1" fmla="*/ 0 h 3"/>
                <a:gd name="T2" fmla="*/ 4 w 6"/>
                <a:gd name="T3" fmla="*/ 0 h 3"/>
                <a:gd name="T4" fmla="*/ 5 w 6"/>
                <a:gd name="T5" fmla="*/ 1 h 3"/>
                <a:gd name="T6" fmla="*/ 5 w 6"/>
                <a:gd name="T7" fmla="*/ 1 h 3"/>
                <a:gd name="T8" fmla="*/ 6 w 6"/>
                <a:gd name="T9" fmla="*/ 2 h 3"/>
                <a:gd name="T10" fmla="*/ 5 w 6"/>
                <a:gd name="T11" fmla="*/ 2 h 3"/>
                <a:gd name="T12" fmla="*/ 5 w 6"/>
                <a:gd name="T13" fmla="*/ 2 h 3"/>
                <a:gd name="T14" fmla="*/ 5 w 6"/>
                <a:gd name="T15" fmla="*/ 2 h 3"/>
                <a:gd name="T16" fmla="*/ 4 w 6"/>
                <a:gd name="T17" fmla="*/ 2 h 3"/>
                <a:gd name="T18" fmla="*/ 4 w 6"/>
                <a:gd name="T19" fmla="*/ 2 h 3"/>
                <a:gd name="T20" fmla="*/ 4 w 6"/>
                <a:gd name="T21" fmla="*/ 2 h 3"/>
                <a:gd name="T22" fmla="*/ 5 w 6"/>
                <a:gd name="T23" fmla="*/ 2 h 3"/>
                <a:gd name="T24" fmla="*/ 4 w 6"/>
                <a:gd name="T25" fmla="*/ 2 h 3"/>
                <a:gd name="T26" fmla="*/ 4 w 6"/>
                <a:gd name="T27" fmla="*/ 2 h 3"/>
                <a:gd name="T28" fmla="*/ 4 w 6"/>
                <a:gd name="T29" fmla="*/ 2 h 3"/>
                <a:gd name="T30" fmla="*/ 2 w 6"/>
                <a:gd name="T31" fmla="*/ 2 h 3"/>
                <a:gd name="T32" fmla="*/ 2 w 6"/>
                <a:gd name="T33" fmla="*/ 1 h 3"/>
                <a:gd name="T34" fmla="*/ 1 w 6"/>
                <a:gd name="T35" fmla="*/ 1 h 3"/>
                <a:gd name="T36" fmla="*/ 2 w 6"/>
                <a:gd name="T37" fmla="*/ 1 h 3"/>
                <a:gd name="T38" fmla="*/ 2 w 6"/>
                <a:gd name="T39" fmla="*/ 1 h 3"/>
                <a:gd name="T40" fmla="*/ 2 w 6"/>
                <a:gd name="T41" fmla="*/ 1 h 3"/>
                <a:gd name="T42" fmla="*/ 2 w 6"/>
                <a:gd name="T43" fmla="*/ 1 h 3"/>
                <a:gd name="T44" fmla="*/ 2 w 6"/>
                <a:gd name="T45" fmla="*/ 1 h 3"/>
                <a:gd name="T46" fmla="*/ 2 w 6"/>
                <a:gd name="T47" fmla="*/ 1 h 3"/>
                <a:gd name="T48" fmla="*/ 2 w 6"/>
                <a:gd name="T49" fmla="*/ 1 h 3"/>
                <a:gd name="T50" fmla="*/ 1 w 6"/>
                <a:gd name="T51" fmla="*/ 1 h 3"/>
                <a:gd name="T52" fmla="*/ 1 w 6"/>
                <a:gd name="T53" fmla="*/ 0 h 3"/>
                <a:gd name="T54" fmla="*/ 1 w 6"/>
                <a:gd name="T55" fmla="*/ 0 h 3"/>
                <a:gd name="T56" fmla="*/ 1 w 6"/>
                <a:gd name="T57" fmla="*/ 0 h 3"/>
                <a:gd name="T58" fmla="*/ 1 w 6"/>
                <a:gd name="T59" fmla="*/ 0 h 3"/>
                <a:gd name="T60" fmla="*/ 0 w 6"/>
                <a:gd name="T61" fmla="*/ 0 h 3"/>
                <a:gd name="T62" fmla="*/ 0 w 6"/>
                <a:gd name="T63" fmla="*/ 0 h 3"/>
                <a:gd name="T64" fmla="*/ 1 w 6"/>
                <a:gd name="T65" fmla="*/ 0 h 3"/>
                <a:gd name="T66" fmla="*/ 2 w 6"/>
                <a:gd name="T6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3">
                  <a:moveTo>
                    <a:pt x="2" y="0"/>
                  </a:moveTo>
                  <a:lnTo>
                    <a:pt x="2" y="0"/>
                  </a:lnTo>
                  <a:lnTo>
                    <a:pt x="4" y="0"/>
                  </a:lnTo>
                  <a:lnTo>
                    <a:pt x="4" y="0"/>
                  </a:lnTo>
                  <a:lnTo>
                    <a:pt x="4" y="1"/>
                  </a:lnTo>
                  <a:lnTo>
                    <a:pt x="5" y="1"/>
                  </a:lnTo>
                  <a:lnTo>
                    <a:pt x="5" y="1"/>
                  </a:lnTo>
                  <a:lnTo>
                    <a:pt x="5" y="1"/>
                  </a:lnTo>
                  <a:lnTo>
                    <a:pt x="6" y="2"/>
                  </a:lnTo>
                  <a:lnTo>
                    <a:pt x="6" y="2"/>
                  </a:lnTo>
                  <a:lnTo>
                    <a:pt x="5" y="2"/>
                  </a:lnTo>
                  <a:lnTo>
                    <a:pt x="5" y="2"/>
                  </a:lnTo>
                  <a:lnTo>
                    <a:pt x="5" y="2"/>
                  </a:lnTo>
                  <a:lnTo>
                    <a:pt x="5" y="2"/>
                  </a:lnTo>
                  <a:lnTo>
                    <a:pt x="5" y="3"/>
                  </a:lnTo>
                  <a:lnTo>
                    <a:pt x="5" y="2"/>
                  </a:lnTo>
                  <a:lnTo>
                    <a:pt x="4" y="2"/>
                  </a:lnTo>
                  <a:lnTo>
                    <a:pt x="4" y="2"/>
                  </a:lnTo>
                  <a:lnTo>
                    <a:pt x="4" y="2"/>
                  </a:lnTo>
                  <a:lnTo>
                    <a:pt x="4" y="2"/>
                  </a:lnTo>
                  <a:lnTo>
                    <a:pt x="4" y="2"/>
                  </a:lnTo>
                  <a:lnTo>
                    <a:pt x="4" y="2"/>
                  </a:lnTo>
                  <a:lnTo>
                    <a:pt x="5" y="2"/>
                  </a:lnTo>
                  <a:lnTo>
                    <a:pt x="5" y="2"/>
                  </a:lnTo>
                  <a:lnTo>
                    <a:pt x="5" y="2"/>
                  </a:lnTo>
                  <a:lnTo>
                    <a:pt x="4" y="2"/>
                  </a:lnTo>
                  <a:lnTo>
                    <a:pt x="4" y="2"/>
                  </a:lnTo>
                  <a:lnTo>
                    <a:pt x="4" y="2"/>
                  </a:lnTo>
                  <a:lnTo>
                    <a:pt x="4" y="2"/>
                  </a:lnTo>
                  <a:lnTo>
                    <a:pt x="4" y="2"/>
                  </a:lnTo>
                  <a:lnTo>
                    <a:pt x="2" y="2"/>
                  </a:lnTo>
                  <a:lnTo>
                    <a:pt x="2" y="2"/>
                  </a:lnTo>
                  <a:lnTo>
                    <a:pt x="2" y="2"/>
                  </a:lnTo>
                  <a:lnTo>
                    <a:pt x="2" y="1"/>
                  </a:lnTo>
                  <a:lnTo>
                    <a:pt x="2" y="1"/>
                  </a:lnTo>
                  <a:lnTo>
                    <a:pt x="1" y="1"/>
                  </a:lnTo>
                  <a:lnTo>
                    <a:pt x="1" y="1"/>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0"/>
                  </a:lnTo>
                  <a:lnTo>
                    <a:pt x="1" y="1"/>
                  </a:lnTo>
                  <a:lnTo>
                    <a:pt x="1" y="1"/>
                  </a:lnTo>
                  <a:lnTo>
                    <a:pt x="1" y="0"/>
                  </a:lnTo>
                  <a:lnTo>
                    <a:pt x="1" y="0"/>
                  </a:lnTo>
                  <a:lnTo>
                    <a:pt x="1" y="0"/>
                  </a:lnTo>
                  <a:lnTo>
                    <a:pt x="1" y="0"/>
                  </a:lnTo>
                  <a:lnTo>
                    <a:pt x="1" y="0"/>
                  </a:lnTo>
                  <a:lnTo>
                    <a:pt x="1" y="0"/>
                  </a:lnTo>
                  <a:lnTo>
                    <a:pt x="1" y="0"/>
                  </a:lnTo>
                  <a:lnTo>
                    <a:pt x="1" y="0"/>
                  </a:lnTo>
                  <a:lnTo>
                    <a:pt x="0" y="0"/>
                  </a:lnTo>
                  <a:lnTo>
                    <a:pt x="0" y="0"/>
                  </a:lnTo>
                  <a:lnTo>
                    <a:pt x="0" y="0"/>
                  </a:lnTo>
                  <a:lnTo>
                    <a:pt x="0" y="0"/>
                  </a:lnTo>
                  <a:lnTo>
                    <a:pt x="1" y="0"/>
                  </a:lnTo>
                  <a:lnTo>
                    <a:pt x="1"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30" name="Freeform 1094">
              <a:extLst>
                <a:ext uri="{FF2B5EF4-FFF2-40B4-BE49-F238E27FC236}">
                  <a16:creationId xmlns:a16="http://schemas.microsoft.com/office/drawing/2014/main" id="{48DB9700-3EC8-4CBD-8FAB-FA527D15A2A2}"/>
                </a:ext>
              </a:extLst>
            </p:cNvPr>
            <p:cNvSpPr>
              <a:spLocks/>
            </p:cNvSpPr>
            <p:nvPr/>
          </p:nvSpPr>
          <p:spPr bwMode="auto">
            <a:xfrm>
              <a:off x="5972028" y="2191996"/>
              <a:ext cx="4007" cy="8013"/>
            </a:xfrm>
            <a:custGeom>
              <a:avLst/>
              <a:gdLst>
                <a:gd name="T0" fmla="*/ 2 w 3"/>
                <a:gd name="T1" fmla="*/ 3 h 6"/>
                <a:gd name="T2" fmla="*/ 2 w 3"/>
                <a:gd name="T3" fmla="*/ 6 h 6"/>
                <a:gd name="T4" fmla="*/ 1 w 3"/>
                <a:gd name="T5" fmla="*/ 6 h 6"/>
                <a:gd name="T6" fmla="*/ 1 w 3"/>
                <a:gd name="T7" fmla="*/ 6 h 6"/>
                <a:gd name="T8" fmla="*/ 1 w 3"/>
                <a:gd name="T9" fmla="*/ 6 h 6"/>
                <a:gd name="T10" fmla="*/ 1 w 3"/>
                <a:gd name="T11" fmla="*/ 6 h 6"/>
                <a:gd name="T12" fmla="*/ 1 w 3"/>
                <a:gd name="T13" fmla="*/ 4 h 6"/>
                <a:gd name="T14" fmla="*/ 0 w 3"/>
                <a:gd name="T15" fmla="*/ 4 h 6"/>
                <a:gd name="T16" fmla="*/ 0 w 3"/>
                <a:gd name="T17" fmla="*/ 4 h 6"/>
                <a:gd name="T18" fmla="*/ 0 w 3"/>
                <a:gd name="T19" fmla="*/ 4 h 6"/>
                <a:gd name="T20" fmla="*/ 0 w 3"/>
                <a:gd name="T21" fmla="*/ 4 h 6"/>
                <a:gd name="T22" fmla="*/ 0 w 3"/>
                <a:gd name="T23" fmla="*/ 4 h 6"/>
                <a:gd name="T24" fmla="*/ 1 w 3"/>
                <a:gd name="T25" fmla="*/ 4 h 6"/>
                <a:gd name="T26" fmla="*/ 1 w 3"/>
                <a:gd name="T27" fmla="*/ 3 h 6"/>
                <a:gd name="T28" fmla="*/ 1 w 3"/>
                <a:gd name="T29" fmla="*/ 3 h 6"/>
                <a:gd name="T30" fmla="*/ 1 w 3"/>
                <a:gd name="T31" fmla="*/ 3 h 6"/>
                <a:gd name="T32" fmla="*/ 1 w 3"/>
                <a:gd name="T33" fmla="*/ 3 h 6"/>
                <a:gd name="T34" fmla="*/ 1 w 3"/>
                <a:gd name="T35" fmla="*/ 3 h 6"/>
                <a:gd name="T36" fmla="*/ 1 w 3"/>
                <a:gd name="T37" fmla="*/ 3 h 6"/>
                <a:gd name="T38" fmla="*/ 1 w 3"/>
                <a:gd name="T39" fmla="*/ 3 h 6"/>
                <a:gd name="T40" fmla="*/ 1 w 3"/>
                <a:gd name="T41" fmla="*/ 3 h 6"/>
                <a:gd name="T42" fmla="*/ 1 w 3"/>
                <a:gd name="T43" fmla="*/ 3 h 6"/>
                <a:gd name="T44" fmla="*/ 1 w 3"/>
                <a:gd name="T45" fmla="*/ 3 h 6"/>
                <a:gd name="T46" fmla="*/ 1 w 3"/>
                <a:gd name="T47" fmla="*/ 3 h 6"/>
                <a:gd name="T48" fmla="*/ 1 w 3"/>
                <a:gd name="T49" fmla="*/ 3 h 6"/>
                <a:gd name="T50" fmla="*/ 1 w 3"/>
                <a:gd name="T51" fmla="*/ 3 h 6"/>
                <a:gd name="T52" fmla="*/ 1 w 3"/>
                <a:gd name="T53" fmla="*/ 2 h 6"/>
                <a:gd name="T54" fmla="*/ 2 w 3"/>
                <a:gd name="T55" fmla="*/ 2 h 6"/>
                <a:gd name="T56" fmla="*/ 2 w 3"/>
                <a:gd name="T57" fmla="*/ 2 h 6"/>
                <a:gd name="T58" fmla="*/ 2 w 3"/>
                <a:gd name="T59" fmla="*/ 1 h 6"/>
                <a:gd name="T60" fmla="*/ 2 w 3"/>
                <a:gd name="T61" fmla="*/ 1 h 6"/>
                <a:gd name="T62" fmla="*/ 3 w 3"/>
                <a:gd name="T63" fmla="*/ 0 h 6"/>
                <a:gd name="T64" fmla="*/ 3 w 3"/>
                <a:gd name="T65" fmla="*/ 0 h 6"/>
                <a:gd name="T66" fmla="*/ 3 w 3"/>
                <a:gd name="T67" fmla="*/ 0 h 6"/>
                <a:gd name="T68" fmla="*/ 3 w 3"/>
                <a:gd name="T69" fmla="*/ 1 h 6"/>
                <a:gd name="T70" fmla="*/ 3 w 3"/>
                <a:gd name="T71" fmla="*/ 2 h 6"/>
                <a:gd name="T72" fmla="*/ 2 w 3"/>
                <a:gd name="T7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 h="6">
                  <a:moveTo>
                    <a:pt x="2" y="3"/>
                  </a:moveTo>
                  <a:lnTo>
                    <a:pt x="2" y="6"/>
                  </a:lnTo>
                  <a:lnTo>
                    <a:pt x="1" y="6"/>
                  </a:lnTo>
                  <a:lnTo>
                    <a:pt x="1" y="6"/>
                  </a:lnTo>
                  <a:lnTo>
                    <a:pt x="1" y="6"/>
                  </a:lnTo>
                  <a:lnTo>
                    <a:pt x="1" y="6"/>
                  </a:lnTo>
                  <a:lnTo>
                    <a:pt x="1" y="4"/>
                  </a:lnTo>
                  <a:lnTo>
                    <a:pt x="0" y="4"/>
                  </a:lnTo>
                  <a:lnTo>
                    <a:pt x="0" y="4"/>
                  </a:lnTo>
                  <a:lnTo>
                    <a:pt x="0" y="4"/>
                  </a:lnTo>
                  <a:lnTo>
                    <a:pt x="0" y="4"/>
                  </a:lnTo>
                  <a:lnTo>
                    <a:pt x="0" y="4"/>
                  </a:lnTo>
                  <a:lnTo>
                    <a:pt x="1" y="4"/>
                  </a:lnTo>
                  <a:lnTo>
                    <a:pt x="1" y="3"/>
                  </a:lnTo>
                  <a:lnTo>
                    <a:pt x="1" y="3"/>
                  </a:lnTo>
                  <a:lnTo>
                    <a:pt x="1" y="3"/>
                  </a:lnTo>
                  <a:lnTo>
                    <a:pt x="1" y="3"/>
                  </a:lnTo>
                  <a:lnTo>
                    <a:pt x="1" y="3"/>
                  </a:lnTo>
                  <a:lnTo>
                    <a:pt x="1" y="3"/>
                  </a:lnTo>
                  <a:lnTo>
                    <a:pt x="1" y="3"/>
                  </a:lnTo>
                  <a:lnTo>
                    <a:pt x="1" y="3"/>
                  </a:lnTo>
                  <a:lnTo>
                    <a:pt x="1" y="3"/>
                  </a:lnTo>
                  <a:lnTo>
                    <a:pt x="1" y="3"/>
                  </a:lnTo>
                  <a:lnTo>
                    <a:pt x="1" y="3"/>
                  </a:lnTo>
                  <a:lnTo>
                    <a:pt x="1" y="3"/>
                  </a:lnTo>
                  <a:lnTo>
                    <a:pt x="1" y="3"/>
                  </a:lnTo>
                  <a:lnTo>
                    <a:pt x="1" y="2"/>
                  </a:lnTo>
                  <a:lnTo>
                    <a:pt x="2" y="2"/>
                  </a:lnTo>
                  <a:lnTo>
                    <a:pt x="2" y="2"/>
                  </a:lnTo>
                  <a:lnTo>
                    <a:pt x="2" y="1"/>
                  </a:lnTo>
                  <a:lnTo>
                    <a:pt x="2" y="1"/>
                  </a:lnTo>
                  <a:lnTo>
                    <a:pt x="3" y="0"/>
                  </a:lnTo>
                  <a:lnTo>
                    <a:pt x="3" y="0"/>
                  </a:lnTo>
                  <a:lnTo>
                    <a:pt x="3" y="0"/>
                  </a:lnTo>
                  <a:lnTo>
                    <a:pt x="3" y="1"/>
                  </a:lnTo>
                  <a:lnTo>
                    <a:pt x="3" y="2"/>
                  </a:lnTo>
                  <a:lnTo>
                    <a:pt x="2" y="3"/>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31" name="Freeform 1095">
              <a:extLst>
                <a:ext uri="{FF2B5EF4-FFF2-40B4-BE49-F238E27FC236}">
                  <a16:creationId xmlns:a16="http://schemas.microsoft.com/office/drawing/2014/main" id="{8BBD7EC4-63E0-4F2C-BFFC-7205B9B1CC55}"/>
                </a:ext>
              </a:extLst>
            </p:cNvPr>
            <p:cNvSpPr>
              <a:spLocks/>
            </p:cNvSpPr>
            <p:nvPr/>
          </p:nvSpPr>
          <p:spPr bwMode="auto">
            <a:xfrm>
              <a:off x="6034796" y="2187989"/>
              <a:ext cx="6678" cy="6678"/>
            </a:xfrm>
            <a:custGeom>
              <a:avLst/>
              <a:gdLst>
                <a:gd name="T0" fmla="*/ 3 w 5"/>
                <a:gd name="T1" fmla="*/ 2 h 5"/>
                <a:gd name="T2" fmla="*/ 3 w 5"/>
                <a:gd name="T3" fmla="*/ 2 h 5"/>
                <a:gd name="T4" fmla="*/ 3 w 5"/>
                <a:gd name="T5" fmla="*/ 2 h 5"/>
                <a:gd name="T6" fmla="*/ 3 w 5"/>
                <a:gd name="T7" fmla="*/ 2 h 5"/>
                <a:gd name="T8" fmla="*/ 4 w 5"/>
                <a:gd name="T9" fmla="*/ 2 h 5"/>
                <a:gd name="T10" fmla="*/ 4 w 5"/>
                <a:gd name="T11" fmla="*/ 2 h 5"/>
                <a:gd name="T12" fmla="*/ 4 w 5"/>
                <a:gd name="T13" fmla="*/ 2 h 5"/>
                <a:gd name="T14" fmla="*/ 5 w 5"/>
                <a:gd name="T15" fmla="*/ 3 h 5"/>
                <a:gd name="T16" fmla="*/ 5 w 5"/>
                <a:gd name="T17" fmla="*/ 3 h 5"/>
                <a:gd name="T18" fmla="*/ 5 w 5"/>
                <a:gd name="T19" fmla="*/ 3 h 5"/>
                <a:gd name="T20" fmla="*/ 5 w 5"/>
                <a:gd name="T21" fmla="*/ 3 h 5"/>
                <a:gd name="T22" fmla="*/ 5 w 5"/>
                <a:gd name="T23" fmla="*/ 3 h 5"/>
                <a:gd name="T24" fmla="*/ 5 w 5"/>
                <a:gd name="T25" fmla="*/ 3 h 5"/>
                <a:gd name="T26" fmla="*/ 5 w 5"/>
                <a:gd name="T27" fmla="*/ 3 h 5"/>
                <a:gd name="T28" fmla="*/ 5 w 5"/>
                <a:gd name="T29" fmla="*/ 3 h 5"/>
                <a:gd name="T30" fmla="*/ 5 w 5"/>
                <a:gd name="T31" fmla="*/ 3 h 5"/>
                <a:gd name="T32" fmla="*/ 5 w 5"/>
                <a:gd name="T33" fmla="*/ 4 h 5"/>
                <a:gd name="T34" fmla="*/ 5 w 5"/>
                <a:gd name="T35" fmla="*/ 4 h 5"/>
                <a:gd name="T36" fmla="*/ 5 w 5"/>
                <a:gd name="T37" fmla="*/ 4 h 5"/>
                <a:gd name="T38" fmla="*/ 5 w 5"/>
                <a:gd name="T39" fmla="*/ 4 h 5"/>
                <a:gd name="T40" fmla="*/ 5 w 5"/>
                <a:gd name="T41" fmla="*/ 4 h 5"/>
                <a:gd name="T42" fmla="*/ 5 w 5"/>
                <a:gd name="T43" fmla="*/ 4 h 5"/>
                <a:gd name="T44" fmla="*/ 5 w 5"/>
                <a:gd name="T45" fmla="*/ 4 h 5"/>
                <a:gd name="T46" fmla="*/ 5 w 5"/>
                <a:gd name="T47" fmla="*/ 5 h 5"/>
                <a:gd name="T48" fmla="*/ 5 w 5"/>
                <a:gd name="T49" fmla="*/ 5 h 5"/>
                <a:gd name="T50" fmla="*/ 5 w 5"/>
                <a:gd name="T51" fmla="*/ 5 h 5"/>
                <a:gd name="T52" fmla="*/ 4 w 5"/>
                <a:gd name="T53" fmla="*/ 5 h 5"/>
                <a:gd name="T54" fmla="*/ 4 w 5"/>
                <a:gd name="T55" fmla="*/ 5 h 5"/>
                <a:gd name="T56" fmla="*/ 3 w 5"/>
                <a:gd name="T57" fmla="*/ 5 h 5"/>
                <a:gd name="T58" fmla="*/ 2 w 5"/>
                <a:gd name="T59" fmla="*/ 4 h 5"/>
                <a:gd name="T60" fmla="*/ 2 w 5"/>
                <a:gd name="T61" fmla="*/ 4 h 5"/>
                <a:gd name="T62" fmla="*/ 0 w 5"/>
                <a:gd name="T63" fmla="*/ 4 h 5"/>
                <a:gd name="T64" fmla="*/ 0 w 5"/>
                <a:gd name="T65" fmla="*/ 3 h 5"/>
                <a:gd name="T66" fmla="*/ 0 w 5"/>
                <a:gd name="T67" fmla="*/ 3 h 5"/>
                <a:gd name="T68" fmla="*/ 0 w 5"/>
                <a:gd name="T69" fmla="*/ 3 h 5"/>
                <a:gd name="T70" fmla="*/ 0 w 5"/>
                <a:gd name="T71" fmla="*/ 2 h 5"/>
                <a:gd name="T72" fmla="*/ 0 w 5"/>
                <a:gd name="T73" fmla="*/ 2 h 5"/>
                <a:gd name="T74" fmla="*/ 0 w 5"/>
                <a:gd name="T75" fmla="*/ 2 h 5"/>
                <a:gd name="T76" fmla="*/ 0 w 5"/>
                <a:gd name="T77" fmla="*/ 0 h 5"/>
                <a:gd name="T78" fmla="*/ 0 w 5"/>
                <a:gd name="T79" fmla="*/ 0 h 5"/>
                <a:gd name="T80" fmla="*/ 0 w 5"/>
                <a:gd name="T81" fmla="*/ 0 h 5"/>
                <a:gd name="T82" fmla="*/ 0 w 5"/>
                <a:gd name="T83" fmla="*/ 0 h 5"/>
                <a:gd name="T84" fmla="*/ 0 w 5"/>
                <a:gd name="T85" fmla="*/ 0 h 5"/>
                <a:gd name="T86" fmla="*/ 2 w 5"/>
                <a:gd name="T87" fmla="*/ 0 h 5"/>
                <a:gd name="T88" fmla="*/ 2 w 5"/>
                <a:gd name="T89" fmla="*/ 0 h 5"/>
                <a:gd name="T90" fmla="*/ 2 w 5"/>
                <a:gd name="T91" fmla="*/ 2 h 5"/>
                <a:gd name="T92" fmla="*/ 3 w 5"/>
                <a:gd name="T9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 h="5">
                  <a:moveTo>
                    <a:pt x="3" y="2"/>
                  </a:moveTo>
                  <a:lnTo>
                    <a:pt x="3" y="2"/>
                  </a:lnTo>
                  <a:lnTo>
                    <a:pt x="3" y="2"/>
                  </a:lnTo>
                  <a:lnTo>
                    <a:pt x="3" y="2"/>
                  </a:lnTo>
                  <a:lnTo>
                    <a:pt x="4" y="2"/>
                  </a:lnTo>
                  <a:lnTo>
                    <a:pt x="4" y="2"/>
                  </a:lnTo>
                  <a:lnTo>
                    <a:pt x="4" y="2"/>
                  </a:lnTo>
                  <a:lnTo>
                    <a:pt x="5" y="3"/>
                  </a:lnTo>
                  <a:lnTo>
                    <a:pt x="5" y="3"/>
                  </a:lnTo>
                  <a:lnTo>
                    <a:pt x="5" y="3"/>
                  </a:lnTo>
                  <a:lnTo>
                    <a:pt x="5" y="3"/>
                  </a:lnTo>
                  <a:lnTo>
                    <a:pt x="5" y="3"/>
                  </a:lnTo>
                  <a:lnTo>
                    <a:pt x="5" y="3"/>
                  </a:lnTo>
                  <a:lnTo>
                    <a:pt x="5" y="3"/>
                  </a:lnTo>
                  <a:lnTo>
                    <a:pt x="5" y="3"/>
                  </a:lnTo>
                  <a:lnTo>
                    <a:pt x="5" y="3"/>
                  </a:lnTo>
                  <a:lnTo>
                    <a:pt x="5" y="4"/>
                  </a:lnTo>
                  <a:lnTo>
                    <a:pt x="5" y="4"/>
                  </a:lnTo>
                  <a:lnTo>
                    <a:pt x="5" y="4"/>
                  </a:lnTo>
                  <a:lnTo>
                    <a:pt x="5" y="4"/>
                  </a:lnTo>
                  <a:lnTo>
                    <a:pt x="5" y="4"/>
                  </a:lnTo>
                  <a:lnTo>
                    <a:pt x="5" y="4"/>
                  </a:lnTo>
                  <a:lnTo>
                    <a:pt x="5" y="4"/>
                  </a:lnTo>
                  <a:lnTo>
                    <a:pt x="5" y="5"/>
                  </a:lnTo>
                  <a:lnTo>
                    <a:pt x="5" y="5"/>
                  </a:lnTo>
                  <a:lnTo>
                    <a:pt x="5" y="5"/>
                  </a:lnTo>
                  <a:lnTo>
                    <a:pt x="4" y="5"/>
                  </a:lnTo>
                  <a:lnTo>
                    <a:pt x="4" y="5"/>
                  </a:lnTo>
                  <a:lnTo>
                    <a:pt x="3" y="5"/>
                  </a:lnTo>
                  <a:lnTo>
                    <a:pt x="2" y="4"/>
                  </a:lnTo>
                  <a:lnTo>
                    <a:pt x="2" y="4"/>
                  </a:lnTo>
                  <a:lnTo>
                    <a:pt x="0" y="4"/>
                  </a:lnTo>
                  <a:lnTo>
                    <a:pt x="0" y="3"/>
                  </a:lnTo>
                  <a:lnTo>
                    <a:pt x="0" y="3"/>
                  </a:lnTo>
                  <a:lnTo>
                    <a:pt x="0" y="3"/>
                  </a:lnTo>
                  <a:lnTo>
                    <a:pt x="0" y="2"/>
                  </a:lnTo>
                  <a:lnTo>
                    <a:pt x="0" y="2"/>
                  </a:lnTo>
                  <a:lnTo>
                    <a:pt x="0" y="2"/>
                  </a:lnTo>
                  <a:lnTo>
                    <a:pt x="0" y="0"/>
                  </a:lnTo>
                  <a:lnTo>
                    <a:pt x="0" y="0"/>
                  </a:lnTo>
                  <a:lnTo>
                    <a:pt x="0" y="0"/>
                  </a:lnTo>
                  <a:lnTo>
                    <a:pt x="0" y="0"/>
                  </a:lnTo>
                  <a:lnTo>
                    <a:pt x="0" y="0"/>
                  </a:lnTo>
                  <a:lnTo>
                    <a:pt x="2" y="0"/>
                  </a:lnTo>
                  <a:lnTo>
                    <a:pt x="2" y="0"/>
                  </a:lnTo>
                  <a:lnTo>
                    <a:pt x="2" y="2"/>
                  </a:lnTo>
                  <a:lnTo>
                    <a:pt x="3"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32" name="Freeform 1096">
              <a:extLst>
                <a:ext uri="{FF2B5EF4-FFF2-40B4-BE49-F238E27FC236}">
                  <a16:creationId xmlns:a16="http://schemas.microsoft.com/office/drawing/2014/main" id="{7F8E33BA-BB45-4E13-A81C-F10D639E7223}"/>
                </a:ext>
              </a:extLst>
            </p:cNvPr>
            <p:cNvSpPr>
              <a:spLocks/>
            </p:cNvSpPr>
            <p:nvPr/>
          </p:nvSpPr>
          <p:spPr bwMode="auto">
            <a:xfrm>
              <a:off x="5935970" y="2185318"/>
              <a:ext cx="1336" cy="1336"/>
            </a:xfrm>
            <a:custGeom>
              <a:avLst/>
              <a:gdLst>
                <a:gd name="T0" fmla="*/ 1 w 1"/>
                <a:gd name="T1" fmla="*/ 0 h 1"/>
                <a:gd name="T2" fmla="*/ 1 w 1"/>
                <a:gd name="T3" fmla="*/ 0 h 1"/>
                <a:gd name="T4" fmla="*/ 1 w 1"/>
                <a:gd name="T5" fmla="*/ 0 h 1"/>
                <a:gd name="T6" fmla="*/ 1 w 1"/>
                <a:gd name="T7" fmla="*/ 0 h 1"/>
                <a:gd name="T8" fmla="*/ 1 w 1"/>
                <a:gd name="T9" fmla="*/ 0 h 1"/>
                <a:gd name="T10" fmla="*/ 1 w 1"/>
                <a:gd name="T11" fmla="*/ 1 h 1"/>
                <a:gd name="T12" fmla="*/ 1 w 1"/>
                <a:gd name="T13" fmla="*/ 1 h 1"/>
                <a:gd name="T14" fmla="*/ 1 w 1"/>
                <a:gd name="T15" fmla="*/ 1 h 1"/>
                <a:gd name="T16" fmla="*/ 1 w 1"/>
                <a:gd name="T17" fmla="*/ 1 h 1"/>
                <a:gd name="T18" fmla="*/ 1 w 1"/>
                <a:gd name="T19" fmla="*/ 1 h 1"/>
                <a:gd name="T20" fmla="*/ 1 w 1"/>
                <a:gd name="T21" fmla="*/ 1 h 1"/>
                <a:gd name="T22" fmla="*/ 1 w 1"/>
                <a:gd name="T23" fmla="*/ 1 h 1"/>
                <a:gd name="T24" fmla="*/ 1 w 1"/>
                <a:gd name="T25" fmla="*/ 1 h 1"/>
                <a:gd name="T26" fmla="*/ 0 w 1"/>
                <a:gd name="T27" fmla="*/ 0 h 1"/>
                <a:gd name="T28" fmla="*/ 0 w 1"/>
                <a:gd name="T29" fmla="*/ 0 h 1"/>
                <a:gd name="T30" fmla="*/ 0 w 1"/>
                <a:gd name="T31" fmla="*/ 0 h 1"/>
                <a:gd name="T32" fmla="*/ 1 w 1"/>
                <a:gd name="T33" fmla="*/ 0 h 1"/>
                <a:gd name="T34" fmla="*/ 1 w 1"/>
                <a:gd name="T3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 h="1">
                  <a:moveTo>
                    <a:pt x="1" y="0"/>
                  </a:moveTo>
                  <a:lnTo>
                    <a:pt x="1" y="0"/>
                  </a:lnTo>
                  <a:lnTo>
                    <a:pt x="1" y="0"/>
                  </a:lnTo>
                  <a:lnTo>
                    <a:pt x="1" y="0"/>
                  </a:lnTo>
                  <a:lnTo>
                    <a:pt x="1" y="0"/>
                  </a:lnTo>
                  <a:lnTo>
                    <a:pt x="1" y="1"/>
                  </a:lnTo>
                  <a:lnTo>
                    <a:pt x="1" y="1"/>
                  </a:lnTo>
                  <a:lnTo>
                    <a:pt x="1" y="1"/>
                  </a:lnTo>
                  <a:lnTo>
                    <a:pt x="1" y="1"/>
                  </a:lnTo>
                  <a:lnTo>
                    <a:pt x="1" y="1"/>
                  </a:lnTo>
                  <a:lnTo>
                    <a:pt x="1" y="1"/>
                  </a:lnTo>
                  <a:lnTo>
                    <a:pt x="1" y="1"/>
                  </a:lnTo>
                  <a:lnTo>
                    <a:pt x="1" y="1"/>
                  </a:lnTo>
                  <a:lnTo>
                    <a:pt x="0" y="0"/>
                  </a:lnTo>
                  <a:lnTo>
                    <a:pt x="0" y="0"/>
                  </a:lnTo>
                  <a:lnTo>
                    <a:pt x="0"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33" name="Freeform 1097">
              <a:extLst>
                <a:ext uri="{FF2B5EF4-FFF2-40B4-BE49-F238E27FC236}">
                  <a16:creationId xmlns:a16="http://schemas.microsoft.com/office/drawing/2014/main" id="{926595E2-829E-49EA-B849-E8CE5EAD2E83}"/>
                </a:ext>
              </a:extLst>
            </p:cNvPr>
            <p:cNvSpPr>
              <a:spLocks/>
            </p:cNvSpPr>
            <p:nvPr/>
          </p:nvSpPr>
          <p:spPr bwMode="auto">
            <a:xfrm>
              <a:off x="5956002" y="2182647"/>
              <a:ext cx="18697" cy="10684"/>
            </a:xfrm>
            <a:custGeom>
              <a:avLst/>
              <a:gdLst>
                <a:gd name="T0" fmla="*/ 9 w 14"/>
                <a:gd name="T1" fmla="*/ 1 h 8"/>
                <a:gd name="T2" fmla="*/ 9 w 14"/>
                <a:gd name="T3" fmla="*/ 1 h 8"/>
                <a:gd name="T4" fmla="*/ 9 w 14"/>
                <a:gd name="T5" fmla="*/ 1 h 8"/>
                <a:gd name="T6" fmla="*/ 9 w 14"/>
                <a:gd name="T7" fmla="*/ 1 h 8"/>
                <a:gd name="T8" fmla="*/ 9 w 14"/>
                <a:gd name="T9" fmla="*/ 1 h 8"/>
                <a:gd name="T10" fmla="*/ 9 w 14"/>
                <a:gd name="T11" fmla="*/ 2 h 8"/>
                <a:gd name="T12" fmla="*/ 12 w 14"/>
                <a:gd name="T13" fmla="*/ 1 h 8"/>
                <a:gd name="T14" fmla="*/ 11 w 14"/>
                <a:gd name="T15" fmla="*/ 1 h 8"/>
                <a:gd name="T16" fmla="*/ 11 w 14"/>
                <a:gd name="T17" fmla="*/ 1 h 8"/>
                <a:gd name="T18" fmla="*/ 12 w 14"/>
                <a:gd name="T19" fmla="*/ 1 h 8"/>
                <a:gd name="T20" fmla="*/ 11 w 14"/>
                <a:gd name="T21" fmla="*/ 0 h 8"/>
                <a:gd name="T22" fmla="*/ 11 w 14"/>
                <a:gd name="T23" fmla="*/ 0 h 8"/>
                <a:gd name="T24" fmla="*/ 12 w 14"/>
                <a:gd name="T25" fmla="*/ 1 h 8"/>
                <a:gd name="T26" fmla="*/ 13 w 14"/>
                <a:gd name="T27" fmla="*/ 1 h 8"/>
                <a:gd name="T28" fmla="*/ 13 w 14"/>
                <a:gd name="T29" fmla="*/ 2 h 8"/>
                <a:gd name="T30" fmla="*/ 11 w 14"/>
                <a:gd name="T31" fmla="*/ 2 h 8"/>
                <a:gd name="T32" fmla="*/ 11 w 14"/>
                <a:gd name="T33" fmla="*/ 2 h 8"/>
                <a:gd name="T34" fmla="*/ 11 w 14"/>
                <a:gd name="T35" fmla="*/ 2 h 8"/>
                <a:gd name="T36" fmla="*/ 14 w 14"/>
                <a:gd name="T37" fmla="*/ 3 h 8"/>
                <a:gd name="T38" fmla="*/ 14 w 14"/>
                <a:gd name="T39" fmla="*/ 4 h 8"/>
                <a:gd name="T40" fmla="*/ 13 w 14"/>
                <a:gd name="T41" fmla="*/ 4 h 8"/>
                <a:gd name="T42" fmla="*/ 14 w 14"/>
                <a:gd name="T43" fmla="*/ 6 h 8"/>
                <a:gd name="T44" fmla="*/ 14 w 14"/>
                <a:gd name="T45" fmla="*/ 7 h 8"/>
                <a:gd name="T46" fmla="*/ 13 w 14"/>
                <a:gd name="T47" fmla="*/ 8 h 8"/>
                <a:gd name="T48" fmla="*/ 13 w 14"/>
                <a:gd name="T49" fmla="*/ 8 h 8"/>
                <a:gd name="T50" fmla="*/ 12 w 14"/>
                <a:gd name="T51" fmla="*/ 8 h 8"/>
                <a:gd name="T52" fmla="*/ 11 w 14"/>
                <a:gd name="T53" fmla="*/ 8 h 8"/>
                <a:gd name="T54" fmla="*/ 9 w 14"/>
                <a:gd name="T55" fmla="*/ 8 h 8"/>
                <a:gd name="T56" fmla="*/ 8 w 14"/>
                <a:gd name="T57" fmla="*/ 8 h 8"/>
                <a:gd name="T58" fmla="*/ 7 w 14"/>
                <a:gd name="T59" fmla="*/ 8 h 8"/>
                <a:gd name="T60" fmla="*/ 6 w 14"/>
                <a:gd name="T61" fmla="*/ 8 h 8"/>
                <a:gd name="T62" fmla="*/ 6 w 14"/>
                <a:gd name="T63" fmla="*/ 7 h 8"/>
                <a:gd name="T64" fmla="*/ 6 w 14"/>
                <a:gd name="T65" fmla="*/ 6 h 8"/>
                <a:gd name="T66" fmla="*/ 5 w 14"/>
                <a:gd name="T67" fmla="*/ 6 h 8"/>
                <a:gd name="T68" fmla="*/ 5 w 14"/>
                <a:gd name="T69" fmla="*/ 6 h 8"/>
                <a:gd name="T70" fmla="*/ 5 w 14"/>
                <a:gd name="T71" fmla="*/ 7 h 8"/>
                <a:gd name="T72" fmla="*/ 5 w 14"/>
                <a:gd name="T73" fmla="*/ 7 h 8"/>
                <a:gd name="T74" fmla="*/ 4 w 14"/>
                <a:gd name="T75" fmla="*/ 6 h 8"/>
                <a:gd name="T76" fmla="*/ 4 w 14"/>
                <a:gd name="T77" fmla="*/ 6 h 8"/>
                <a:gd name="T78" fmla="*/ 4 w 14"/>
                <a:gd name="T79" fmla="*/ 6 h 8"/>
                <a:gd name="T80" fmla="*/ 2 w 14"/>
                <a:gd name="T81" fmla="*/ 4 h 8"/>
                <a:gd name="T82" fmla="*/ 4 w 14"/>
                <a:gd name="T83" fmla="*/ 4 h 8"/>
                <a:gd name="T84" fmla="*/ 2 w 14"/>
                <a:gd name="T85" fmla="*/ 3 h 8"/>
                <a:gd name="T86" fmla="*/ 2 w 14"/>
                <a:gd name="T87" fmla="*/ 3 h 8"/>
                <a:gd name="T88" fmla="*/ 2 w 14"/>
                <a:gd name="T89" fmla="*/ 3 h 8"/>
                <a:gd name="T90" fmla="*/ 2 w 14"/>
                <a:gd name="T91" fmla="*/ 2 h 8"/>
                <a:gd name="T92" fmla="*/ 1 w 14"/>
                <a:gd name="T93" fmla="*/ 2 h 8"/>
                <a:gd name="T94" fmla="*/ 1 w 14"/>
                <a:gd name="T95" fmla="*/ 2 h 8"/>
                <a:gd name="T96" fmla="*/ 0 w 14"/>
                <a:gd name="T97" fmla="*/ 1 h 8"/>
                <a:gd name="T98" fmla="*/ 1 w 14"/>
                <a:gd name="T99" fmla="*/ 1 h 8"/>
                <a:gd name="T100" fmla="*/ 2 w 14"/>
                <a:gd name="T101" fmla="*/ 1 h 8"/>
                <a:gd name="T102" fmla="*/ 4 w 14"/>
                <a:gd name="T103" fmla="*/ 1 h 8"/>
                <a:gd name="T104" fmla="*/ 7 w 14"/>
                <a:gd name="T105" fmla="*/ 0 h 8"/>
                <a:gd name="T106" fmla="*/ 7 w 14"/>
                <a:gd name="T107" fmla="*/ 0 h 8"/>
                <a:gd name="T108" fmla="*/ 7 w 14"/>
                <a:gd name="T10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 h="8">
                  <a:moveTo>
                    <a:pt x="8" y="0"/>
                  </a:moveTo>
                  <a:lnTo>
                    <a:pt x="8" y="0"/>
                  </a:lnTo>
                  <a:lnTo>
                    <a:pt x="9" y="0"/>
                  </a:lnTo>
                  <a:lnTo>
                    <a:pt x="9" y="1"/>
                  </a:lnTo>
                  <a:lnTo>
                    <a:pt x="9" y="1"/>
                  </a:lnTo>
                  <a:lnTo>
                    <a:pt x="9" y="1"/>
                  </a:lnTo>
                  <a:lnTo>
                    <a:pt x="9" y="1"/>
                  </a:lnTo>
                  <a:lnTo>
                    <a:pt x="9" y="1"/>
                  </a:lnTo>
                  <a:lnTo>
                    <a:pt x="11" y="1"/>
                  </a:lnTo>
                  <a:lnTo>
                    <a:pt x="9" y="1"/>
                  </a:lnTo>
                  <a:lnTo>
                    <a:pt x="9" y="1"/>
                  </a:lnTo>
                  <a:lnTo>
                    <a:pt x="9" y="1"/>
                  </a:lnTo>
                  <a:lnTo>
                    <a:pt x="9" y="1"/>
                  </a:lnTo>
                  <a:lnTo>
                    <a:pt x="9" y="1"/>
                  </a:lnTo>
                  <a:lnTo>
                    <a:pt x="9" y="1"/>
                  </a:lnTo>
                  <a:lnTo>
                    <a:pt x="9" y="1"/>
                  </a:lnTo>
                  <a:lnTo>
                    <a:pt x="9" y="1"/>
                  </a:lnTo>
                  <a:lnTo>
                    <a:pt x="9" y="1"/>
                  </a:lnTo>
                  <a:lnTo>
                    <a:pt x="9" y="1"/>
                  </a:lnTo>
                  <a:lnTo>
                    <a:pt x="9" y="1"/>
                  </a:lnTo>
                  <a:lnTo>
                    <a:pt x="9" y="2"/>
                  </a:lnTo>
                  <a:lnTo>
                    <a:pt x="9" y="2"/>
                  </a:lnTo>
                  <a:lnTo>
                    <a:pt x="9" y="2"/>
                  </a:lnTo>
                  <a:lnTo>
                    <a:pt x="9" y="2"/>
                  </a:lnTo>
                  <a:lnTo>
                    <a:pt x="9" y="2"/>
                  </a:lnTo>
                  <a:lnTo>
                    <a:pt x="11" y="2"/>
                  </a:lnTo>
                  <a:lnTo>
                    <a:pt x="11" y="1"/>
                  </a:lnTo>
                  <a:lnTo>
                    <a:pt x="12" y="1"/>
                  </a:lnTo>
                  <a:lnTo>
                    <a:pt x="11" y="1"/>
                  </a:lnTo>
                  <a:lnTo>
                    <a:pt x="11" y="1"/>
                  </a:lnTo>
                  <a:lnTo>
                    <a:pt x="11" y="1"/>
                  </a:lnTo>
                  <a:lnTo>
                    <a:pt x="11" y="1"/>
                  </a:lnTo>
                  <a:lnTo>
                    <a:pt x="11" y="1"/>
                  </a:lnTo>
                  <a:lnTo>
                    <a:pt x="11" y="1"/>
                  </a:lnTo>
                  <a:lnTo>
                    <a:pt x="11" y="1"/>
                  </a:lnTo>
                  <a:lnTo>
                    <a:pt x="11" y="1"/>
                  </a:lnTo>
                  <a:lnTo>
                    <a:pt x="11" y="1"/>
                  </a:lnTo>
                  <a:lnTo>
                    <a:pt x="11" y="1"/>
                  </a:lnTo>
                  <a:lnTo>
                    <a:pt x="11" y="1"/>
                  </a:lnTo>
                  <a:lnTo>
                    <a:pt x="12" y="1"/>
                  </a:lnTo>
                  <a:lnTo>
                    <a:pt x="11" y="1"/>
                  </a:lnTo>
                  <a:lnTo>
                    <a:pt x="11" y="1"/>
                  </a:lnTo>
                  <a:lnTo>
                    <a:pt x="11" y="0"/>
                  </a:lnTo>
                  <a:lnTo>
                    <a:pt x="11" y="0"/>
                  </a:lnTo>
                  <a:lnTo>
                    <a:pt x="12" y="0"/>
                  </a:lnTo>
                  <a:lnTo>
                    <a:pt x="12" y="0"/>
                  </a:lnTo>
                  <a:lnTo>
                    <a:pt x="11" y="0"/>
                  </a:lnTo>
                  <a:lnTo>
                    <a:pt x="11" y="0"/>
                  </a:lnTo>
                  <a:lnTo>
                    <a:pt x="12" y="0"/>
                  </a:lnTo>
                  <a:lnTo>
                    <a:pt x="12" y="0"/>
                  </a:lnTo>
                  <a:lnTo>
                    <a:pt x="12" y="1"/>
                  </a:lnTo>
                  <a:lnTo>
                    <a:pt x="12" y="1"/>
                  </a:lnTo>
                  <a:lnTo>
                    <a:pt x="12" y="1"/>
                  </a:lnTo>
                  <a:lnTo>
                    <a:pt x="12" y="1"/>
                  </a:lnTo>
                  <a:lnTo>
                    <a:pt x="13" y="1"/>
                  </a:lnTo>
                  <a:lnTo>
                    <a:pt x="13" y="1"/>
                  </a:lnTo>
                  <a:lnTo>
                    <a:pt x="13" y="1"/>
                  </a:lnTo>
                  <a:lnTo>
                    <a:pt x="13" y="1"/>
                  </a:lnTo>
                  <a:lnTo>
                    <a:pt x="13" y="1"/>
                  </a:lnTo>
                  <a:lnTo>
                    <a:pt x="13" y="2"/>
                  </a:lnTo>
                  <a:lnTo>
                    <a:pt x="12" y="2"/>
                  </a:lnTo>
                  <a:lnTo>
                    <a:pt x="12" y="2"/>
                  </a:lnTo>
                  <a:lnTo>
                    <a:pt x="11" y="2"/>
                  </a:lnTo>
                  <a:lnTo>
                    <a:pt x="11" y="2"/>
                  </a:lnTo>
                  <a:lnTo>
                    <a:pt x="11" y="2"/>
                  </a:lnTo>
                  <a:lnTo>
                    <a:pt x="11" y="2"/>
                  </a:lnTo>
                  <a:lnTo>
                    <a:pt x="11" y="2"/>
                  </a:lnTo>
                  <a:lnTo>
                    <a:pt x="11" y="2"/>
                  </a:lnTo>
                  <a:lnTo>
                    <a:pt x="11" y="2"/>
                  </a:lnTo>
                  <a:lnTo>
                    <a:pt x="11" y="2"/>
                  </a:lnTo>
                  <a:lnTo>
                    <a:pt x="11" y="2"/>
                  </a:lnTo>
                  <a:lnTo>
                    <a:pt x="11" y="2"/>
                  </a:lnTo>
                  <a:lnTo>
                    <a:pt x="12" y="2"/>
                  </a:lnTo>
                  <a:lnTo>
                    <a:pt x="12" y="2"/>
                  </a:lnTo>
                  <a:lnTo>
                    <a:pt x="12" y="2"/>
                  </a:lnTo>
                  <a:lnTo>
                    <a:pt x="14" y="3"/>
                  </a:lnTo>
                  <a:lnTo>
                    <a:pt x="14" y="3"/>
                  </a:lnTo>
                  <a:lnTo>
                    <a:pt x="14" y="4"/>
                  </a:lnTo>
                  <a:lnTo>
                    <a:pt x="14" y="4"/>
                  </a:lnTo>
                  <a:lnTo>
                    <a:pt x="14" y="4"/>
                  </a:lnTo>
                  <a:lnTo>
                    <a:pt x="14" y="4"/>
                  </a:lnTo>
                  <a:lnTo>
                    <a:pt x="14" y="4"/>
                  </a:lnTo>
                  <a:lnTo>
                    <a:pt x="13" y="4"/>
                  </a:lnTo>
                  <a:lnTo>
                    <a:pt x="13" y="4"/>
                  </a:lnTo>
                  <a:lnTo>
                    <a:pt x="13" y="4"/>
                  </a:lnTo>
                  <a:lnTo>
                    <a:pt x="14" y="4"/>
                  </a:lnTo>
                  <a:lnTo>
                    <a:pt x="14" y="6"/>
                  </a:lnTo>
                  <a:lnTo>
                    <a:pt x="14" y="6"/>
                  </a:lnTo>
                  <a:lnTo>
                    <a:pt x="14" y="6"/>
                  </a:lnTo>
                  <a:lnTo>
                    <a:pt x="14" y="6"/>
                  </a:lnTo>
                  <a:lnTo>
                    <a:pt x="14" y="7"/>
                  </a:lnTo>
                  <a:lnTo>
                    <a:pt x="14" y="7"/>
                  </a:lnTo>
                  <a:lnTo>
                    <a:pt x="14" y="7"/>
                  </a:lnTo>
                  <a:lnTo>
                    <a:pt x="14" y="7"/>
                  </a:lnTo>
                  <a:lnTo>
                    <a:pt x="13" y="7"/>
                  </a:lnTo>
                  <a:lnTo>
                    <a:pt x="13" y="8"/>
                  </a:lnTo>
                  <a:lnTo>
                    <a:pt x="13" y="8"/>
                  </a:lnTo>
                  <a:lnTo>
                    <a:pt x="13" y="8"/>
                  </a:lnTo>
                  <a:lnTo>
                    <a:pt x="13" y="8"/>
                  </a:lnTo>
                  <a:lnTo>
                    <a:pt x="13" y="8"/>
                  </a:lnTo>
                  <a:lnTo>
                    <a:pt x="12" y="8"/>
                  </a:lnTo>
                  <a:lnTo>
                    <a:pt x="12" y="8"/>
                  </a:lnTo>
                  <a:lnTo>
                    <a:pt x="12" y="8"/>
                  </a:lnTo>
                  <a:lnTo>
                    <a:pt x="12" y="8"/>
                  </a:lnTo>
                  <a:lnTo>
                    <a:pt x="12" y="8"/>
                  </a:lnTo>
                  <a:lnTo>
                    <a:pt x="11" y="8"/>
                  </a:lnTo>
                  <a:lnTo>
                    <a:pt x="11" y="8"/>
                  </a:lnTo>
                  <a:lnTo>
                    <a:pt x="11" y="8"/>
                  </a:lnTo>
                  <a:lnTo>
                    <a:pt x="11" y="8"/>
                  </a:lnTo>
                  <a:lnTo>
                    <a:pt x="9" y="8"/>
                  </a:lnTo>
                  <a:lnTo>
                    <a:pt x="9" y="8"/>
                  </a:lnTo>
                  <a:lnTo>
                    <a:pt x="9" y="8"/>
                  </a:lnTo>
                  <a:lnTo>
                    <a:pt x="9" y="8"/>
                  </a:lnTo>
                  <a:lnTo>
                    <a:pt x="8" y="8"/>
                  </a:lnTo>
                  <a:lnTo>
                    <a:pt x="8" y="8"/>
                  </a:lnTo>
                  <a:lnTo>
                    <a:pt x="8" y="8"/>
                  </a:lnTo>
                  <a:lnTo>
                    <a:pt x="8" y="8"/>
                  </a:lnTo>
                  <a:lnTo>
                    <a:pt x="7" y="8"/>
                  </a:lnTo>
                  <a:lnTo>
                    <a:pt x="7" y="7"/>
                  </a:lnTo>
                  <a:lnTo>
                    <a:pt x="7" y="8"/>
                  </a:lnTo>
                  <a:lnTo>
                    <a:pt x="7" y="8"/>
                  </a:lnTo>
                  <a:lnTo>
                    <a:pt x="7" y="8"/>
                  </a:lnTo>
                  <a:lnTo>
                    <a:pt x="6" y="8"/>
                  </a:lnTo>
                  <a:lnTo>
                    <a:pt x="6" y="8"/>
                  </a:lnTo>
                  <a:lnTo>
                    <a:pt x="6" y="8"/>
                  </a:lnTo>
                  <a:lnTo>
                    <a:pt x="6" y="8"/>
                  </a:lnTo>
                  <a:lnTo>
                    <a:pt x="5" y="8"/>
                  </a:lnTo>
                  <a:lnTo>
                    <a:pt x="6" y="7"/>
                  </a:lnTo>
                  <a:lnTo>
                    <a:pt x="6" y="7"/>
                  </a:lnTo>
                  <a:lnTo>
                    <a:pt x="6" y="7"/>
                  </a:lnTo>
                  <a:lnTo>
                    <a:pt x="6" y="7"/>
                  </a:lnTo>
                  <a:lnTo>
                    <a:pt x="6" y="6"/>
                  </a:lnTo>
                  <a:lnTo>
                    <a:pt x="6" y="6"/>
                  </a:lnTo>
                  <a:lnTo>
                    <a:pt x="5" y="6"/>
                  </a:lnTo>
                  <a:lnTo>
                    <a:pt x="5" y="6"/>
                  </a:lnTo>
                  <a:lnTo>
                    <a:pt x="5" y="6"/>
                  </a:lnTo>
                  <a:lnTo>
                    <a:pt x="5" y="6"/>
                  </a:lnTo>
                  <a:lnTo>
                    <a:pt x="5" y="6"/>
                  </a:lnTo>
                  <a:lnTo>
                    <a:pt x="5" y="6"/>
                  </a:lnTo>
                  <a:lnTo>
                    <a:pt x="5" y="6"/>
                  </a:lnTo>
                  <a:lnTo>
                    <a:pt x="5" y="6"/>
                  </a:lnTo>
                  <a:lnTo>
                    <a:pt x="5" y="7"/>
                  </a:lnTo>
                  <a:lnTo>
                    <a:pt x="5" y="7"/>
                  </a:lnTo>
                  <a:lnTo>
                    <a:pt x="5" y="7"/>
                  </a:lnTo>
                  <a:lnTo>
                    <a:pt x="5" y="7"/>
                  </a:lnTo>
                  <a:lnTo>
                    <a:pt x="5" y="7"/>
                  </a:lnTo>
                  <a:lnTo>
                    <a:pt x="5" y="7"/>
                  </a:lnTo>
                  <a:lnTo>
                    <a:pt x="5" y="7"/>
                  </a:lnTo>
                  <a:lnTo>
                    <a:pt x="5" y="7"/>
                  </a:lnTo>
                  <a:lnTo>
                    <a:pt x="5" y="7"/>
                  </a:lnTo>
                  <a:lnTo>
                    <a:pt x="5" y="7"/>
                  </a:lnTo>
                  <a:lnTo>
                    <a:pt x="4" y="6"/>
                  </a:lnTo>
                  <a:lnTo>
                    <a:pt x="4" y="6"/>
                  </a:lnTo>
                  <a:lnTo>
                    <a:pt x="4" y="6"/>
                  </a:lnTo>
                  <a:lnTo>
                    <a:pt x="5" y="6"/>
                  </a:lnTo>
                  <a:lnTo>
                    <a:pt x="4" y="6"/>
                  </a:lnTo>
                  <a:lnTo>
                    <a:pt x="4" y="6"/>
                  </a:lnTo>
                  <a:lnTo>
                    <a:pt x="4" y="6"/>
                  </a:lnTo>
                  <a:lnTo>
                    <a:pt x="4" y="6"/>
                  </a:lnTo>
                  <a:lnTo>
                    <a:pt x="4" y="6"/>
                  </a:lnTo>
                  <a:lnTo>
                    <a:pt x="4" y="6"/>
                  </a:lnTo>
                  <a:lnTo>
                    <a:pt x="4" y="6"/>
                  </a:lnTo>
                  <a:lnTo>
                    <a:pt x="2" y="4"/>
                  </a:lnTo>
                  <a:lnTo>
                    <a:pt x="2" y="4"/>
                  </a:lnTo>
                  <a:lnTo>
                    <a:pt x="2" y="4"/>
                  </a:lnTo>
                  <a:lnTo>
                    <a:pt x="4" y="4"/>
                  </a:lnTo>
                  <a:lnTo>
                    <a:pt x="4" y="4"/>
                  </a:lnTo>
                  <a:lnTo>
                    <a:pt x="4" y="4"/>
                  </a:lnTo>
                  <a:lnTo>
                    <a:pt x="2" y="4"/>
                  </a:lnTo>
                  <a:lnTo>
                    <a:pt x="2" y="4"/>
                  </a:lnTo>
                  <a:lnTo>
                    <a:pt x="2" y="3"/>
                  </a:lnTo>
                  <a:lnTo>
                    <a:pt x="2" y="3"/>
                  </a:lnTo>
                  <a:lnTo>
                    <a:pt x="2" y="3"/>
                  </a:lnTo>
                  <a:lnTo>
                    <a:pt x="2" y="3"/>
                  </a:lnTo>
                  <a:lnTo>
                    <a:pt x="2" y="3"/>
                  </a:lnTo>
                  <a:lnTo>
                    <a:pt x="2" y="3"/>
                  </a:lnTo>
                  <a:lnTo>
                    <a:pt x="1" y="3"/>
                  </a:lnTo>
                  <a:lnTo>
                    <a:pt x="1" y="3"/>
                  </a:lnTo>
                  <a:lnTo>
                    <a:pt x="2" y="3"/>
                  </a:lnTo>
                  <a:lnTo>
                    <a:pt x="2" y="3"/>
                  </a:lnTo>
                  <a:lnTo>
                    <a:pt x="2" y="3"/>
                  </a:lnTo>
                  <a:lnTo>
                    <a:pt x="1" y="2"/>
                  </a:lnTo>
                  <a:lnTo>
                    <a:pt x="1" y="2"/>
                  </a:lnTo>
                  <a:lnTo>
                    <a:pt x="2" y="2"/>
                  </a:lnTo>
                  <a:lnTo>
                    <a:pt x="2" y="2"/>
                  </a:lnTo>
                  <a:lnTo>
                    <a:pt x="1" y="2"/>
                  </a:lnTo>
                  <a:lnTo>
                    <a:pt x="1" y="2"/>
                  </a:lnTo>
                  <a:lnTo>
                    <a:pt x="1" y="2"/>
                  </a:lnTo>
                  <a:lnTo>
                    <a:pt x="1" y="2"/>
                  </a:lnTo>
                  <a:lnTo>
                    <a:pt x="1" y="2"/>
                  </a:lnTo>
                  <a:lnTo>
                    <a:pt x="1" y="2"/>
                  </a:lnTo>
                  <a:lnTo>
                    <a:pt x="1" y="2"/>
                  </a:lnTo>
                  <a:lnTo>
                    <a:pt x="1" y="2"/>
                  </a:lnTo>
                  <a:lnTo>
                    <a:pt x="2" y="2"/>
                  </a:lnTo>
                  <a:lnTo>
                    <a:pt x="1" y="1"/>
                  </a:lnTo>
                  <a:lnTo>
                    <a:pt x="0" y="1"/>
                  </a:lnTo>
                  <a:lnTo>
                    <a:pt x="0" y="1"/>
                  </a:lnTo>
                  <a:lnTo>
                    <a:pt x="0" y="1"/>
                  </a:lnTo>
                  <a:lnTo>
                    <a:pt x="0" y="1"/>
                  </a:lnTo>
                  <a:lnTo>
                    <a:pt x="1" y="1"/>
                  </a:lnTo>
                  <a:lnTo>
                    <a:pt x="1" y="1"/>
                  </a:lnTo>
                  <a:lnTo>
                    <a:pt x="2" y="1"/>
                  </a:lnTo>
                  <a:lnTo>
                    <a:pt x="2" y="1"/>
                  </a:lnTo>
                  <a:lnTo>
                    <a:pt x="2" y="1"/>
                  </a:lnTo>
                  <a:lnTo>
                    <a:pt x="2" y="1"/>
                  </a:lnTo>
                  <a:lnTo>
                    <a:pt x="2" y="1"/>
                  </a:lnTo>
                  <a:lnTo>
                    <a:pt x="2" y="1"/>
                  </a:lnTo>
                  <a:lnTo>
                    <a:pt x="4" y="1"/>
                  </a:lnTo>
                  <a:lnTo>
                    <a:pt x="5" y="1"/>
                  </a:lnTo>
                  <a:lnTo>
                    <a:pt x="6" y="0"/>
                  </a:lnTo>
                  <a:lnTo>
                    <a:pt x="6" y="0"/>
                  </a:lnTo>
                  <a:lnTo>
                    <a:pt x="7" y="0"/>
                  </a:lnTo>
                  <a:lnTo>
                    <a:pt x="7" y="0"/>
                  </a:lnTo>
                  <a:lnTo>
                    <a:pt x="7" y="0"/>
                  </a:lnTo>
                  <a:lnTo>
                    <a:pt x="7" y="0"/>
                  </a:lnTo>
                  <a:lnTo>
                    <a:pt x="7" y="0"/>
                  </a:lnTo>
                  <a:lnTo>
                    <a:pt x="7" y="0"/>
                  </a:lnTo>
                  <a:lnTo>
                    <a:pt x="7" y="0"/>
                  </a:lnTo>
                  <a:lnTo>
                    <a:pt x="7" y="0"/>
                  </a:lnTo>
                  <a:lnTo>
                    <a:pt x="7" y="0"/>
                  </a:lnTo>
                  <a:lnTo>
                    <a:pt x="7" y="0"/>
                  </a:lnTo>
                  <a:lnTo>
                    <a:pt x="8"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34" name="Freeform 1098">
              <a:extLst>
                <a:ext uri="{FF2B5EF4-FFF2-40B4-BE49-F238E27FC236}">
                  <a16:creationId xmlns:a16="http://schemas.microsoft.com/office/drawing/2014/main" id="{64A76C43-11E5-443C-9D61-F5781E99D85F}"/>
                </a:ext>
              </a:extLst>
            </p:cNvPr>
            <p:cNvSpPr>
              <a:spLocks/>
            </p:cNvSpPr>
            <p:nvPr/>
          </p:nvSpPr>
          <p:spPr bwMode="auto">
            <a:xfrm>
              <a:off x="6000073" y="2181312"/>
              <a:ext cx="2671" cy="2671"/>
            </a:xfrm>
            <a:custGeom>
              <a:avLst/>
              <a:gdLst>
                <a:gd name="T0" fmla="*/ 1 w 2"/>
                <a:gd name="T1" fmla="*/ 2 h 2"/>
                <a:gd name="T2" fmla="*/ 1 w 2"/>
                <a:gd name="T3" fmla="*/ 2 h 2"/>
                <a:gd name="T4" fmla="*/ 1 w 2"/>
                <a:gd name="T5" fmla="*/ 1 h 2"/>
                <a:gd name="T6" fmla="*/ 0 w 2"/>
                <a:gd name="T7" fmla="*/ 1 h 2"/>
                <a:gd name="T8" fmla="*/ 0 w 2"/>
                <a:gd name="T9" fmla="*/ 1 h 2"/>
                <a:gd name="T10" fmla="*/ 1 w 2"/>
                <a:gd name="T11" fmla="*/ 1 h 2"/>
                <a:gd name="T12" fmla="*/ 1 w 2"/>
                <a:gd name="T13" fmla="*/ 1 h 2"/>
                <a:gd name="T14" fmla="*/ 1 w 2"/>
                <a:gd name="T15" fmla="*/ 0 h 2"/>
                <a:gd name="T16" fmla="*/ 1 w 2"/>
                <a:gd name="T17" fmla="*/ 0 h 2"/>
                <a:gd name="T18" fmla="*/ 1 w 2"/>
                <a:gd name="T19" fmla="*/ 0 h 2"/>
                <a:gd name="T20" fmla="*/ 1 w 2"/>
                <a:gd name="T21" fmla="*/ 0 h 2"/>
                <a:gd name="T22" fmla="*/ 1 w 2"/>
                <a:gd name="T23" fmla="*/ 0 h 2"/>
                <a:gd name="T24" fmla="*/ 1 w 2"/>
                <a:gd name="T25" fmla="*/ 0 h 2"/>
                <a:gd name="T26" fmla="*/ 1 w 2"/>
                <a:gd name="T27" fmla="*/ 0 h 2"/>
                <a:gd name="T28" fmla="*/ 1 w 2"/>
                <a:gd name="T29" fmla="*/ 0 h 2"/>
                <a:gd name="T30" fmla="*/ 2 w 2"/>
                <a:gd name="T31" fmla="*/ 1 h 2"/>
                <a:gd name="T32" fmla="*/ 2 w 2"/>
                <a:gd name="T33" fmla="*/ 1 h 2"/>
                <a:gd name="T34" fmla="*/ 2 w 2"/>
                <a:gd name="T35" fmla="*/ 1 h 2"/>
                <a:gd name="T36" fmla="*/ 2 w 2"/>
                <a:gd name="T37" fmla="*/ 1 h 2"/>
                <a:gd name="T38" fmla="*/ 1 w 2"/>
                <a:gd name="T39" fmla="*/ 1 h 2"/>
                <a:gd name="T40" fmla="*/ 1 w 2"/>
                <a:gd name="T41" fmla="*/ 2 h 2"/>
                <a:gd name="T42" fmla="*/ 1 w 2"/>
                <a:gd name="T4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 h="2">
                  <a:moveTo>
                    <a:pt x="1" y="2"/>
                  </a:moveTo>
                  <a:lnTo>
                    <a:pt x="1" y="2"/>
                  </a:lnTo>
                  <a:lnTo>
                    <a:pt x="1" y="1"/>
                  </a:lnTo>
                  <a:lnTo>
                    <a:pt x="0" y="1"/>
                  </a:lnTo>
                  <a:lnTo>
                    <a:pt x="0" y="1"/>
                  </a:lnTo>
                  <a:lnTo>
                    <a:pt x="1" y="1"/>
                  </a:lnTo>
                  <a:lnTo>
                    <a:pt x="1" y="1"/>
                  </a:lnTo>
                  <a:lnTo>
                    <a:pt x="1" y="0"/>
                  </a:lnTo>
                  <a:lnTo>
                    <a:pt x="1" y="0"/>
                  </a:lnTo>
                  <a:lnTo>
                    <a:pt x="1" y="0"/>
                  </a:lnTo>
                  <a:lnTo>
                    <a:pt x="1" y="0"/>
                  </a:lnTo>
                  <a:lnTo>
                    <a:pt x="1" y="0"/>
                  </a:lnTo>
                  <a:lnTo>
                    <a:pt x="1" y="0"/>
                  </a:lnTo>
                  <a:lnTo>
                    <a:pt x="1" y="0"/>
                  </a:lnTo>
                  <a:lnTo>
                    <a:pt x="1" y="0"/>
                  </a:lnTo>
                  <a:lnTo>
                    <a:pt x="2" y="1"/>
                  </a:lnTo>
                  <a:lnTo>
                    <a:pt x="2" y="1"/>
                  </a:lnTo>
                  <a:lnTo>
                    <a:pt x="2" y="1"/>
                  </a:lnTo>
                  <a:lnTo>
                    <a:pt x="2" y="1"/>
                  </a:lnTo>
                  <a:lnTo>
                    <a:pt x="1" y="1"/>
                  </a:lnTo>
                  <a:lnTo>
                    <a:pt x="1" y="2"/>
                  </a:lnTo>
                  <a:lnTo>
                    <a:pt x="1"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35" name="Freeform 1099">
              <a:extLst>
                <a:ext uri="{FF2B5EF4-FFF2-40B4-BE49-F238E27FC236}">
                  <a16:creationId xmlns:a16="http://schemas.microsoft.com/office/drawing/2014/main" id="{4A5D143F-2DAC-47FD-97C9-220AB6F7FF3C}"/>
                </a:ext>
              </a:extLst>
            </p:cNvPr>
            <p:cNvSpPr>
              <a:spLocks/>
            </p:cNvSpPr>
            <p:nvPr/>
          </p:nvSpPr>
          <p:spPr bwMode="auto">
            <a:xfrm>
              <a:off x="5968021" y="2174634"/>
              <a:ext cx="4007" cy="4007"/>
            </a:xfrm>
            <a:custGeom>
              <a:avLst/>
              <a:gdLst>
                <a:gd name="T0" fmla="*/ 2 w 3"/>
                <a:gd name="T1" fmla="*/ 1 h 3"/>
                <a:gd name="T2" fmla="*/ 2 w 3"/>
                <a:gd name="T3" fmla="*/ 2 h 3"/>
                <a:gd name="T4" fmla="*/ 3 w 3"/>
                <a:gd name="T5" fmla="*/ 2 h 3"/>
                <a:gd name="T6" fmla="*/ 3 w 3"/>
                <a:gd name="T7" fmla="*/ 1 h 3"/>
                <a:gd name="T8" fmla="*/ 3 w 3"/>
                <a:gd name="T9" fmla="*/ 1 h 3"/>
                <a:gd name="T10" fmla="*/ 3 w 3"/>
                <a:gd name="T11" fmla="*/ 1 h 3"/>
                <a:gd name="T12" fmla="*/ 3 w 3"/>
                <a:gd name="T13" fmla="*/ 2 h 3"/>
                <a:gd name="T14" fmla="*/ 2 w 3"/>
                <a:gd name="T15" fmla="*/ 2 h 3"/>
                <a:gd name="T16" fmla="*/ 2 w 3"/>
                <a:gd name="T17" fmla="*/ 2 h 3"/>
                <a:gd name="T18" fmla="*/ 2 w 3"/>
                <a:gd name="T19" fmla="*/ 3 h 3"/>
                <a:gd name="T20" fmla="*/ 2 w 3"/>
                <a:gd name="T21" fmla="*/ 3 h 3"/>
                <a:gd name="T22" fmla="*/ 2 w 3"/>
                <a:gd name="T23" fmla="*/ 3 h 3"/>
                <a:gd name="T24" fmla="*/ 2 w 3"/>
                <a:gd name="T25" fmla="*/ 3 h 3"/>
                <a:gd name="T26" fmla="*/ 0 w 3"/>
                <a:gd name="T27" fmla="*/ 3 h 3"/>
                <a:gd name="T28" fmla="*/ 0 w 3"/>
                <a:gd name="T29" fmla="*/ 2 h 3"/>
                <a:gd name="T30" fmla="*/ 0 w 3"/>
                <a:gd name="T31" fmla="*/ 2 h 3"/>
                <a:gd name="T32" fmla="*/ 0 w 3"/>
                <a:gd name="T33" fmla="*/ 2 h 3"/>
                <a:gd name="T34" fmla="*/ 2 w 3"/>
                <a:gd name="T35" fmla="*/ 2 h 3"/>
                <a:gd name="T36" fmla="*/ 2 w 3"/>
                <a:gd name="T37" fmla="*/ 2 h 3"/>
                <a:gd name="T38" fmla="*/ 2 w 3"/>
                <a:gd name="T39" fmla="*/ 1 h 3"/>
                <a:gd name="T40" fmla="*/ 2 w 3"/>
                <a:gd name="T41" fmla="*/ 1 h 3"/>
                <a:gd name="T42" fmla="*/ 2 w 3"/>
                <a:gd name="T43" fmla="*/ 1 h 3"/>
                <a:gd name="T44" fmla="*/ 2 w 3"/>
                <a:gd name="T45" fmla="*/ 1 h 3"/>
                <a:gd name="T46" fmla="*/ 2 w 3"/>
                <a:gd name="T47" fmla="*/ 1 h 3"/>
                <a:gd name="T48" fmla="*/ 0 w 3"/>
                <a:gd name="T49" fmla="*/ 1 h 3"/>
                <a:gd name="T50" fmla="*/ 0 w 3"/>
                <a:gd name="T51" fmla="*/ 1 h 3"/>
                <a:gd name="T52" fmla="*/ 0 w 3"/>
                <a:gd name="T53" fmla="*/ 0 h 3"/>
                <a:gd name="T54" fmla="*/ 0 w 3"/>
                <a:gd name="T55" fmla="*/ 0 h 3"/>
                <a:gd name="T56" fmla="*/ 0 w 3"/>
                <a:gd name="T57" fmla="*/ 0 h 3"/>
                <a:gd name="T58" fmla="*/ 2 w 3"/>
                <a:gd name="T59" fmla="*/ 0 h 3"/>
                <a:gd name="T60" fmla="*/ 2 w 3"/>
                <a:gd name="T61" fmla="*/ 1 h 3"/>
                <a:gd name="T62" fmla="*/ 2 w 3"/>
                <a:gd name="T63" fmla="*/ 1 h 3"/>
                <a:gd name="T64" fmla="*/ 2 w 3"/>
                <a:gd name="T65" fmla="*/ 1 h 3"/>
                <a:gd name="T66" fmla="*/ 2 w 3"/>
                <a:gd name="T67" fmla="*/ 1 h 3"/>
                <a:gd name="T68" fmla="*/ 2 w 3"/>
                <a:gd name="T69" fmla="*/ 1 h 3"/>
                <a:gd name="T70" fmla="*/ 2 w 3"/>
                <a:gd name="T71" fmla="*/ 1 h 3"/>
                <a:gd name="T72" fmla="*/ 2 w 3"/>
                <a:gd name="T73" fmla="*/ 1 h 3"/>
                <a:gd name="T74" fmla="*/ 2 w 3"/>
                <a:gd name="T7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 h="3">
                  <a:moveTo>
                    <a:pt x="2" y="1"/>
                  </a:moveTo>
                  <a:lnTo>
                    <a:pt x="2" y="2"/>
                  </a:lnTo>
                  <a:lnTo>
                    <a:pt x="3" y="2"/>
                  </a:lnTo>
                  <a:lnTo>
                    <a:pt x="3" y="1"/>
                  </a:lnTo>
                  <a:lnTo>
                    <a:pt x="3" y="1"/>
                  </a:lnTo>
                  <a:lnTo>
                    <a:pt x="3" y="1"/>
                  </a:lnTo>
                  <a:lnTo>
                    <a:pt x="3" y="2"/>
                  </a:lnTo>
                  <a:lnTo>
                    <a:pt x="2" y="2"/>
                  </a:lnTo>
                  <a:lnTo>
                    <a:pt x="2" y="2"/>
                  </a:lnTo>
                  <a:lnTo>
                    <a:pt x="2" y="3"/>
                  </a:lnTo>
                  <a:lnTo>
                    <a:pt x="2" y="3"/>
                  </a:lnTo>
                  <a:lnTo>
                    <a:pt x="2" y="3"/>
                  </a:lnTo>
                  <a:lnTo>
                    <a:pt x="2" y="3"/>
                  </a:lnTo>
                  <a:lnTo>
                    <a:pt x="0" y="3"/>
                  </a:lnTo>
                  <a:lnTo>
                    <a:pt x="0" y="2"/>
                  </a:lnTo>
                  <a:lnTo>
                    <a:pt x="0" y="2"/>
                  </a:lnTo>
                  <a:lnTo>
                    <a:pt x="0" y="2"/>
                  </a:lnTo>
                  <a:lnTo>
                    <a:pt x="2" y="2"/>
                  </a:lnTo>
                  <a:lnTo>
                    <a:pt x="2" y="2"/>
                  </a:lnTo>
                  <a:lnTo>
                    <a:pt x="2" y="1"/>
                  </a:lnTo>
                  <a:lnTo>
                    <a:pt x="2" y="1"/>
                  </a:lnTo>
                  <a:lnTo>
                    <a:pt x="2" y="1"/>
                  </a:lnTo>
                  <a:lnTo>
                    <a:pt x="2" y="1"/>
                  </a:lnTo>
                  <a:lnTo>
                    <a:pt x="2" y="1"/>
                  </a:lnTo>
                  <a:lnTo>
                    <a:pt x="0" y="1"/>
                  </a:lnTo>
                  <a:lnTo>
                    <a:pt x="0" y="1"/>
                  </a:lnTo>
                  <a:lnTo>
                    <a:pt x="0" y="0"/>
                  </a:lnTo>
                  <a:lnTo>
                    <a:pt x="0" y="0"/>
                  </a:lnTo>
                  <a:lnTo>
                    <a:pt x="0" y="0"/>
                  </a:lnTo>
                  <a:lnTo>
                    <a:pt x="2" y="0"/>
                  </a:lnTo>
                  <a:lnTo>
                    <a:pt x="2" y="1"/>
                  </a:lnTo>
                  <a:lnTo>
                    <a:pt x="2" y="1"/>
                  </a:lnTo>
                  <a:lnTo>
                    <a:pt x="2" y="1"/>
                  </a:lnTo>
                  <a:lnTo>
                    <a:pt x="2" y="1"/>
                  </a:lnTo>
                  <a:lnTo>
                    <a:pt x="2" y="1"/>
                  </a:lnTo>
                  <a:lnTo>
                    <a:pt x="2" y="1"/>
                  </a:lnTo>
                  <a:lnTo>
                    <a:pt x="2" y="1"/>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36" name="Freeform 1100">
              <a:extLst>
                <a:ext uri="{FF2B5EF4-FFF2-40B4-BE49-F238E27FC236}">
                  <a16:creationId xmlns:a16="http://schemas.microsoft.com/office/drawing/2014/main" id="{DB60C0C1-500A-41E6-9AD8-4AE1E1CE48C0}"/>
                </a:ext>
              </a:extLst>
            </p:cNvPr>
            <p:cNvSpPr>
              <a:spLocks/>
            </p:cNvSpPr>
            <p:nvPr/>
          </p:nvSpPr>
          <p:spPr bwMode="auto">
            <a:xfrm>
              <a:off x="5974699" y="2171963"/>
              <a:ext cx="26710" cy="30717"/>
            </a:xfrm>
            <a:custGeom>
              <a:avLst/>
              <a:gdLst>
                <a:gd name="T0" fmla="*/ 20 w 20"/>
                <a:gd name="T1" fmla="*/ 2 h 23"/>
                <a:gd name="T2" fmla="*/ 20 w 20"/>
                <a:gd name="T3" fmla="*/ 4 h 23"/>
                <a:gd name="T4" fmla="*/ 20 w 20"/>
                <a:gd name="T5" fmla="*/ 5 h 23"/>
                <a:gd name="T6" fmla="*/ 19 w 20"/>
                <a:gd name="T7" fmla="*/ 8 h 23"/>
                <a:gd name="T8" fmla="*/ 16 w 20"/>
                <a:gd name="T9" fmla="*/ 8 h 23"/>
                <a:gd name="T10" fmla="*/ 18 w 20"/>
                <a:gd name="T11" fmla="*/ 11 h 23"/>
                <a:gd name="T12" fmla="*/ 19 w 20"/>
                <a:gd name="T13" fmla="*/ 12 h 23"/>
                <a:gd name="T14" fmla="*/ 15 w 20"/>
                <a:gd name="T15" fmla="*/ 15 h 23"/>
                <a:gd name="T16" fmla="*/ 14 w 20"/>
                <a:gd name="T17" fmla="*/ 14 h 23"/>
                <a:gd name="T18" fmla="*/ 16 w 20"/>
                <a:gd name="T19" fmla="*/ 15 h 23"/>
                <a:gd name="T20" fmla="*/ 15 w 20"/>
                <a:gd name="T21" fmla="*/ 16 h 23"/>
                <a:gd name="T22" fmla="*/ 14 w 20"/>
                <a:gd name="T23" fmla="*/ 17 h 23"/>
                <a:gd name="T24" fmla="*/ 13 w 20"/>
                <a:gd name="T25" fmla="*/ 17 h 23"/>
                <a:gd name="T26" fmla="*/ 13 w 20"/>
                <a:gd name="T27" fmla="*/ 18 h 23"/>
                <a:gd name="T28" fmla="*/ 14 w 20"/>
                <a:gd name="T29" fmla="*/ 18 h 23"/>
                <a:gd name="T30" fmla="*/ 15 w 20"/>
                <a:gd name="T31" fmla="*/ 18 h 23"/>
                <a:gd name="T32" fmla="*/ 14 w 20"/>
                <a:gd name="T33" fmla="*/ 21 h 23"/>
                <a:gd name="T34" fmla="*/ 14 w 20"/>
                <a:gd name="T35" fmla="*/ 23 h 23"/>
                <a:gd name="T36" fmla="*/ 13 w 20"/>
                <a:gd name="T37" fmla="*/ 21 h 23"/>
                <a:gd name="T38" fmla="*/ 12 w 20"/>
                <a:gd name="T39" fmla="*/ 19 h 23"/>
                <a:gd name="T40" fmla="*/ 12 w 20"/>
                <a:gd name="T41" fmla="*/ 18 h 23"/>
                <a:gd name="T42" fmla="*/ 12 w 20"/>
                <a:gd name="T43" fmla="*/ 17 h 23"/>
                <a:gd name="T44" fmla="*/ 13 w 20"/>
                <a:gd name="T45" fmla="*/ 17 h 23"/>
                <a:gd name="T46" fmla="*/ 11 w 20"/>
                <a:gd name="T47" fmla="*/ 16 h 23"/>
                <a:gd name="T48" fmla="*/ 12 w 20"/>
                <a:gd name="T49" fmla="*/ 16 h 23"/>
                <a:gd name="T50" fmla="*/ 12 w 20"/>
                <a:gd name="T51" fmla="*/ 15 h 23"/>
                <a:gd name="T52" fmla="*/ 9 w 20"/>
                <a:gd name="T53" fmla="*/ 14 h 23"/>
                <a:gd name="T54" fmla="*/ 7 w 20"/>
                <a:gd name="T55" fmla="*/ 14 h 23"/>
                <a:gd name="T56" fmla="*/ 5 w 20"/>
                <a:gd name="T57" fmla="*/ 14 h 23"/>
                <a:gd name="T58" fmla="*/ 5 w 20"/>
                <a:gd name="T59" fmla="*/ 14 h 23"/>
                <a:gd name="T60" fmla="*/ 4 w 20"/>
                <a:gd name="T61" fmla="*/ 11 h 23"/>
                <a:gd name="T62" fmla="*/ 4 w 20"/>
                <a:gd name="T63" fmla="*/ 11 h 23"/>
                <a:gd name="T64" fmla="*/ 4 w 20"/>
                <a:gd name="T65" fmla="*/ 11 h 23"/>
                <a:gd name="T66" fmla="*/ 5 w 20"/>
                <a:gd name="T67" fmla="*/ 10 h 23"/>
                <a:gd name="T68" fmla="*/ 4 w 20"/>
                <a:gd name="T69" fmla="*/ 9 h 23"/>
                <a:gd name="T70" fmla="*/ 4 w 20"/>
                <a:gd name="T71" fmla="*/ 9 h 23"/>
                <a:gd name="T72" fmla="*/ 2 w 20"/>
                <a:gd name="T73" fmla="*/ 7 h 23"/>
                <a:gd name="T74" fmla="*/ 0 w 20"/>
                <a:gd name="T75" fmla="*/ 5 h 23"/>
                <a:gd name="T76" fmla="*/ 4 w 20"/>
                <a:gd name="T77" fmla="*/ 5 h 23"/>
                <a:gd name="T78" fmla="*/ 4 w 20"/>
                <a:gd name="T79" fmla="*/ 5 h 23"/>
                <a:gd name="T80" fmla="*/ 6 w 20"/>
                <a:gd name="T81" fmla="*/ 5 h 23"/>
                <a:gd name="T82" fmla="*/ 6 w 20"/>
                <a:gd name="T83" fmla="*/ 4 h 23"/>
                <a:gd name="T84" fmla="*/ 7 w 20"/>
                <a:gd name="T85" fmla="*/ 3 h 23"/>
                <a:gd name="T86" fmla="*/ 8 w 20"/>
                <a:gd name="T87" fmla="*/ 3 h 23"/>
                <a:gd name="T88" fmla="*/ 9 w 20"/>
                <a:gd name="T89" fmla="*/ 3 h 23"/>
                <a:gd name="T90" fmla="*/ 9 w 20"/>
                <a:gd name="T91" fmla="*/ 3 h 23"/>
                <a:gd name="T92" fmla="*/ 9 w 20"/>
                <a:gd name="T93" fmla="*/ 4 h 23"/>
                <a:gd name="T94" fmla="*/ 9 w 20"/>
                <a:gd name="T95" fmla="*/ 5 h 23"/>
                <a:gd name="T96" fmla="*/ 9 w 20"/>
                <a:gd name="T97" fmla="*/ 5 h 23"/>
                <a:gd name="T98" fmla="*/ 11 w 20"/>
                <a:gd name="T99" fmla="*/ 7 h 23"/>
                <a:gd name="T100" fmla="*/ 12 w 20"/>
                <a:gd name="T101" fmla="*/ 5 h 23"/>
                <a:gd name="T102" fmla="*/ 12 w 20"/>
                <a:gd name="T103" fmla="*/ 4 h 23"/>
                <a:gd name="T104" fmla="*/ 13 w 20"/>
                <a:gd name="T105" fmla="*/ 3 h 23"/>
                <a:gd name="T106" fmla="*/ 13 w 20"/>
                <a:gd name="T107" fmla="*/ 4 h 23"/>
                <a:gd name="T108" fmla="*/ 13 w 20"/>
                <a:gd name="T109" fmla="*/ 7 h 23"/>
                <a:gd name="T110" fmla="*/ 13 w 20"/>
                <a:gd name="T111" fmla="*/ 7 h 23"/>
                <a:gd name="T112" fmla="*/ 14 w 20"/>
                <a:gd name="T113" fmla="*/ 7 h 23"/>
                <a:gd name="T114" fmla="*/ 13 w 20"/>
                <a:gd name="T115" fmla="*/ 2 h 23"/>
                <a:gd name="T116" fmla="*/ 13 w 20"/>
                <a:gd name="T117"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 h="23">
                  <a:moveTo>
                    <a:pt x="16" y="0"/>
                  </a:moveTo>
                  <a:lnTo>
                    <a:pt x="18" y="1"/>
                  </a:lnTo>
                  <a:lnTo>
                    <a:pt x="19" y="1"/>
                  </a:lnTo>
                  <a:lnTo>
                    <a:pt x="19" y="1"/>
                  </a:lnTo>
                  <a:lnTo>
                    <a:pt x="19" y="1"/>
                  </a:lnTo>
                  <a:lnTo>
                    <a:pt x="19" y="1"/>
                  </a:lnTo>
                  <a:lnTo>
                    <a:pt x="20" y="1"/>
                  </a:lnTo>
                  <a:lnTo>
                    <a:pt x="20" y="2"/>
                  </a:lnTo>
                  <a:lnTo>
                    <a:pt x="20" y="2"/>
                  </a:lnTo>
                  <a:lnTo>
                    <a:pt x="19" y="2"/>
                  </a:lnTo>
                  <a:lnTo>
                    <a:pt x="19" y="3"/>
                  </a:lnTo>
                  <a:lnTo>
                    <a:pt x="19" y="3"/>
                  </a:lnTo>
                  <a:lnTo>
                    <a:pt x="19" y="3"/>
                  </a:lnTo>
                  <a:lnTo>
                    <a:pt x="19" y="3"/>
                  </a:lnTo>
                  <a:lnTo>
                    <a:pt x="19" y="3"/>
                  </a:lnTo>
                  <a:lnTo>
                    <a:pt x="20" y="4"/>
                  </a:lnTo>
                  <a:lnTo>
                    <a:pt x="20" y="4"/>
                  </a:lnTo>
                  <a:lnTo>
                    <a:pt x="20" y="4"/>
                  </a:lnTo>
                  <a:lnTo>
                    <a:pt x="20" y="4"/>
                  </a:lnTo>
                  <a:lnTo>
                    <a:pt x="20" y="5"/>
                  </a:lnTo>
                  <a:lnTo>
                    <a:pt x="20" y="5"/>
                  </a:lnTo>
                  <a:lnTo>
                    <a:pt x="20" y="5"/>
                  </a:lnTo>
                  <a:lnTo>
                    <a:pt x="20" y="5"/>
                  </a:lnTo>
                  <a:lnTo>
                    <a:pt x="20" y="5"/>
                  </a:lnTo>
                  <a:lnTo>
                    <a:pt x="20" y="5"/>
                  </a:lnTo>
                  <a:lnTo>
                    <a:pt x="20" y="5"/>
                  </a:lnTo>
                  <a:lnTo>
                    <a:pt x="20" y="7"/>
                  </a:lnTo>
                  <a:lnTo>
                    <a:pt x="20" y="7"/>
                  </a:lnTo>
                  <a:lnTo>
                    <a:pt x="20" y="7"/>
                  </a:lnTo>
                  <a:lnTo>
                    <a:pt x="20" y="7"/>
                  </a:lnTo>
                  <a:lnTo>
                    <a:pt x="19" y="8"/>
                  </a:lnTo>
                  <a:lnTo>
                    <a:pt x="19" y="8"/>
                  </a:lnTo>
                  <a:lnTo>
                    <a:pt x="19" y="8"/>
                  </a:lnTo>
                  <a:lnTo>
                    <a:pt x="19" y="8"/>
                  </a:lnTo>
                  <a:lnTo>
                    <a:pt x="19" y="8"/>
                  </a:lnTo>
                  <a:lnTo>
                    <a:pt x="19" y="8"/>
                  </a:lnTo>
                  <a:lnTo>
                    <a:pt x="18" y="8"/>
                  </a:lnTo>
                  <a:lnTo>
                    <a:pt x="18" y="8"/>
                  </a:lnTo>
                  <a:lnTo>
                    <a:pt x="18" y="8"/>
                  </a:lnTo>
                  <a:lnTo>
                    <a:pt x="16" y="8"/>
                  </a:lnTo>
                  <a:lnTo>
                    <a:pt x="16" y="9"/>
                  </a:lnTo>
                  <a:lnTo>
                    <a:pt x="16" y="9"/>
                  </a:lnTo>
                  <a:lnTo>
                    <a:pt x="15" y="9"/>
                  </a:lnTo>
                  <a:lnTo>
                    <a:pt x="16" y="10"/>
                  </a:lnTo>
                  <a:lnTo>
                    <a:pt x="16" y="10"/>
                  </a:lnTo>
                  <a:lnTo>
                    <a:pt x="16" y="10"/>
                  </a:lnTo>
                  <a:lnTo>
                    <a:pt x="18" y="11"/>
                  </a:lnTo>
                  <a:lnTo>
                    <a:pt x="18" y="11"/>
                  </a:lnTo>
                  <a:lnTo>
                    <a:pt x="19" y="11"/>
                  </a:lnTo>
                  <a:lnTo>
                    <a:pt x="19" y="11"/>
                  </a:lnTo>
                  <a:lnTo>
                    <a:pt x="19" y="11"/>
                  </a:lnTo>
                  <a:lnTo>
                    <a:pt x="19" y="11"/>
                  </a:lnTo>
                  <a:lnTo>
                    <a:pt x="19" y="12"/>
                  </a:lnTo>
                  <a:lnTo>
                    <a:pt x="19" y="12"/>
                  </a:lnTo>
                  <a:lnTo>
                    <a:pt x="19" y="12"/>
                  </a:lnTo>
                  <a:lnTo>
                    <a:pt x="19" y="12"/>
                  </a:lnTo>
                  <a:lnTo>
                    <a:pt x="19" y="12"/>
                  </a:lnTo>
                  <a:lnTo>
                    <a:pt x="15" y="14"/>
                  </a:lnTo>
                  <a:lnTo>
                    <a:pt x="15" y="14"/>
                  </a:lnTo>
                  <a:lnTo>
                    <a:pt x="15" y="14"/>
                  </a:lnTo>
                  <a:lnTo>
                    <a:pt x="15" y="14"/>
                  </a:lnTo>
                  <a:lnTo>
                    <a:pt x="15" y="15"/>
                  </a:lnTo>
                  <a:lnTo>
                    <a:pt x="15" y="15"/>
                  </a:lnTo>
                  <a:lnTo>
                    <a:pt x="15" y="15"/>
                  </a:lnTo>
                  <a:lnTo>
                    <a:pt x="15" y="15"/>
                  </a:lnTo>
                  <a:lnTo>
                    <a:pt x="15" y="15"/>
                  </a:lnTo>
                  <a:lnTo>
                    <a:pt x="15" y="15"/>
                  </a:lnTo>
                  <a:lnTo>
                    <a:pt x="15" y="15"/>
                  </a:lnTo>
                  <a:lnTo>
                    <a:pt x="14" y="14"/>
                  </a:lnTo>
                  <a:lnTo>
                    <a:pt x="14" y="14"/>
                  </a:lnTo>
                  <a:lnTo>
                    <a:pt x="14" y="14"/>
                  </a:lnTo>
                  <a:lnTo>
                    <a:pt x="14" y="14"/>
                  </a:lnTo>
                  <a:lnTo>
                    <a:pt x="14" y="15"/>
                  </a:lnTo>
                  <a:lnTo>
                    <a:pt x="14" y="15"/>
                  </a:lnTo>
                  <a:lnTo>
                    <a:pt x="14" y="15"/>
                  </a:lnTo>
                  <a:lnTo>
                    <a:pt x="14" y="15"/>
                  </a:lnTo>
                  <a:lnTo>
                    <a:pt x="14" y="15"/>
                  </a:lnTo>
                  <a:lnTo>
                    <a:pt x="15" y="15"/>
                  </a:lnTo>
                  <a:lnTo>
                    <a:pt x="15" y="15"/>
                  </a:lnTo>
                  <a:lnTo>
                    <a:pt x="16" y="15"/>
                  </a:lnTo>
                  <a:lnTo>
                    <a:pt x="15" y="15"/>
                  </a:lnTo>
                  <a:lnTo>
                    <a:pt x="15" y="16"/>
                  </a:lnTo>
                  <a:lnTo>
                    <a:pt x="15" y="16"/>
                  </a:lnTo>
                  <a:lnTo>
                    <a:pt x="15" y="16"/>
                  </a:lnTo>
                  <a:lnTo>
                    <a:pt x="15" y="16"/>
                  </a:lnTo>
                  <a:lnTo>
                    <a:pt x="15" y="16"/>
                  </a:lnTo>
                  <a:lnTo>
                    <a:pt x="15" y="16"/>
                  </a:lnTo>
                  <a:lnTo>
                    <a:pt x="15" y="16"/>
                  </a:lnTo>
                  <a:lnTo>
                    <a:pt x="15" y="17"/>
                  </a:lnTo>
                  <a:lnTo>
                    <a:pt x="15" y="17"/>
                  </a:lnTo>
                  <a:lnTo>
                    <a:pt x="15" y="17"/>
                  </a:lnTo>
                  <a:lnTo>
                    <a:pt x="15" y="17"/>
                  </a:lnTo>
                  <a:lnTo>
                    <a:pt x="15" y="17"/>
                  </a:lnTo>
                  <a:lnTo>
                    <a:pt x="14" y="17"/>
                  </a:lnTo>
                  <a:lnTo>
                    <a:pt x="14" y="17"/>
                  </a:lnTo>
                  <a:lnTo>
                    <a:pt x="14" y="17"/>
                  </a:lnTo>
                  <a:lnTo>
                    <a:pt x="13" y="17"/>
                  </a:lnTo>
                  <a:lnTo>
                    <a:pt x="13" y="17"/>
                  </a:lnTo>
                  <a:lnTo>
                    <a:pt x="13" y="17"/>
                  </a:lnTo>
                  <a:lnTo>
                    <a:pt x="13" y="17"/>
                  </a:lnTo>
                  <a:lnTo>
                    <a:pt x="13" y="17"/>
                  </a:lnTo>
                  <a:lnTo>
                    <a:pt x="13" y="17"/>
                  </a:lnTo>
                  <a:lnTo>
                    <a:pt x="13" y="17"/>
                  </a:lnTo>
                  <a:lnTo>
                    <a:pt x="13" y="17"/>
                  </a:lnTo>
                  <a:lnTo>
                    <a:pt x="13" y="17"/>
                  </a:lnTo>
                  <a:lnTo>
                    <a:pt x="13" y="17"/>
                  </a:lnTo>
                  <a:lnTo>
                    <a:pt x="13" y="17"/>
                  </a:lnTo>
                  <a:lnTo>
                    <a:pt x="13" y="17"/>
                  </a:lnTo>
                  <a:lnTo>
                    <a:pt x="13" y="17"/>
                  </a:lnTo>
                  <a:lnTo>
                    <a:pt x="13" y="17"/>
                  </a:lnTo>
                  <a:lnTo>
                    <a:pt x="13" y="18"/>
                  </a:lnTo>
                  <a:lnTo>
                    <a:pt x="13" y="18"/>
                  </a:lnTo>
                  <a:lnTo>
                    <a:pt x="13" y="18"/>
                  </a:lnTo>
                  <a:lnTo>
                    <a:pt x="13" y="18"/>
                  </a:lnTo>
                  <a:lnTo>
                    <a:pt x="13" y="18"/>
                  </a:lnTo>
                  <a:lnTo>
                    <a:pt x="13" y="17"/>
                  </a:lnTo>
                  <a:lnTo>
                    <a:pt x="13" y="17"/>
                  </a:lnTo>
                  <a:lnTo>
                    <a:pt x="14" y="17"/>
                  </a:lnTo>
                  <a:lnTo>
                    <a:pt x="14" y="17"/>
                  </a:lnTo>
                  <a:lnTo>
                    <a:pt x="14" y="18"/>
                  </a:lnTo>
                  <a:lnTo>
                    <a:pt x="14" y="18"/>
                  </a:lnTo>
                  <a:lnTo>
                    <a:pt x="14" y="18"/>
                  </a:lnTo>
                  <a:lnTo>
                    <a:pt x="14" y="18"/>
                  </a:lnTo>
                  <a:lnTo>
                    <a:pt x="14" y="18"/>
                  </a:lnTo>
                  <a:lnTo>
                    <a:pt x="15" y="18"/>
                  </a:lnTo>
                  <a:lnTo>
                    <a:pt x="15" y="18"/>
                  </a:lnTo>
                  <a:lnTo>
                    <a:pt x="15" y="18"/>
                  </a:lnTo>
                  <a:lnTo>
                    <a:pt x="15" y="18"/>
                  </a:lnTo>
                  <a:lnTo>
                    <a:pt x="15" y="18"/>
                  </a:lnTo>
                  <a:lnTo>
                    <a:pt x="16" y="19"/>
                  </a:lnTo>
                  <a:lnTo>
                    <a:pt x="16" y="19"/>
                  </a:lnTo>
                  <a:lnTo>
                    <a:pt x="15" y="19"/>
                  </a:lnTo>
                  <a:lnTo>
                    <a:pt x="15" y="19"/>
                  </a:lnTo>
                  <a:lnTo>
                    <a:pt x="14" y="21"/>
                  </a:lnTo>
                  <a:lnTo>
                    <a:pt x="14" y="21"/>
                  </a:lnTo>
                  <a:lnTo>
                    <a:pt x="14" y="21"/>
                  </a:lnTo>
                  <a:lnTo>
                    <a:pt x="14" y="21"/>
                  </a:lnTo>
                  <a:lnTo>
                    <a:pt x="14" y="21"/>
                  </a:lnTo>
                  <a:lnTo>
                    <a:pt x="14" y="22"/>
                  </a:lnTo>
                  <a:lnTo>
                    <a:pt x="14" y="22"/>
                  </a:lnTo>
                  <a:lnTo>
                    <a:pt x="14" y="23"/>
                  </a:lnTo>
                  <a:lnTo>
                    <a:pt x="14" y="23"/>
                  </a:lnTo>
                  <a:lnTo>
                    <a:pt x="14" y="23"/>
                  </a:lnTo>
                  <a:lnTo>
                    <a:pt x="14" y="23"/>
                  </a:lnTo>
                  <a:lnTo>
                    <a:pt x="14" y="23"/>
                  </a:lnTo>
                  <a:lnTo>
                    <a:pt x="13" y="23"/>
                  </a:lnTo>
                  <a:lnTo>
                    <a:pt x="13" y="22"/>
                  </a:lnTo>
                  <a:lnTo>
                    <a:pt x="13" y="22"/>
                  </a:lnTo>
                  <a:lnTo>
                    <a:pt x="13" y="22"/>
                  </a:lnTo>
                  <a:lnTo>
                    <a:pt x="13" y="22"/>
                  </a:lnTo>
                  <a:lnTo>
                    <a:pt x="13" y="21"/>
                  </a:lnTo>
                  <a:lnTo>
                    <a:pt x="13" y="21"/>
                  </a:lnTo>
                  <a:lnTo>
                    <a:pt x="13" y="21"/>
                  </a:lnTo>
                  <a:lnTo>
                    <a:pt x="13" y="21"/>
                  </a:lnTo>
                  <a:lnTo>
                    <a:pt x="13" y="21"/>
                  </a:lnTo>
                  <a:lnTo>
                    <a:pt x="13" y="21"/>
                  </a:lnTo>
                  <a:lnTo>
                    <a:pt x="13" y="21"/>
                  </a:lnTo>
                  <a:lnTo>
                    <a:pt x="13" y="21"/>
                  </a:lnTo>
                  <a:lnTo>
                    <a:pt x="12" y="19"/>
                  </a:lnTo>
                  <a:lnTo>
                    <a:pt x="12" y="19"/>
                  </a:lnTo>
                  <a:lnTo>
                    <a:pt x="12" y="19"/>
                  </a:lnTo>
                  <a:lnTo>
                    <a:pt x="12" y="19"/>
                  </a:lnTo>
                  <a:lnTo>
                    <a:pt x="12" y="19"/>
                  </a:lnTo>
                  <a:lnTo>
                    <a:pt x="12" y="19"/>
                  </a:lnTo>
                  <a:lnTo>
                    <a:pt x="12" y="19"/>
                  </a:lnTo>
                  <a:lnTo>
                    <a:pt x="12" y="19"/>
                  </a:lnTo>
                  <a:lnTo>
                    <a:pt x="12" y="18"/>
                  </a:lnTo>
                  <a:lnTo>
                    <a:pt x="12" y="18"/>
                  </a:lnTo>
                  <a:lnTo>
                    <a:pt x="11" y="18"/>
                  </a:lnTo>
                  <a:lnTo>
                    <a:pt x="11" y="18"/>
                  </a:lnTo>
                  <a:lnTo>
                    <a:pt x="11" y="18"/>
                  </a:lnTo>
                  <a:lnTo>
                    <a:pt x="11" y="18"/>
                  </a:lnTo>
                  <a:lnTo>
                    <a:pt x="11" y="17"/>
                  </a:lnTo>
                  <a:lnTo>
                    <a:pt x="11" y="17"/>
                  </a:lnTo>
                  <a:lnTo>
                    <a:pt x="11" y="17"/>
                  </a:lnTo>
                  <a:lnTo>
                    <a:pt x="12" y="17"/>
                  </a:lnTo>
                  <a:lnTo>
                    <a:pt x="12" y="17"/>
                  </a:lnTo>
                  <a:lnTo>
                    <a:pt x="12" y="17"/>
                  </a:lnTo>
                  <a:lnTo>
                    <a:pt x="12" y="17"/>
                  </a:lnTo>
                  <a:lnTo>
                    <a:pt x="12" y="17"/>
                  </a:lnTo>
                  <a:lnTo>
                    <a:pt x="12" y="17"/>
                  </a:lnTo>
                  <a:lnTo>
                    <a:pt x="12" y="17"/>
                  </a:lnTo>
                  <a:lnTo>
                    <a:pt x="12" y="17"/>
                  </a:lnTo>
                  <a:lnTo>
                    <a:pt x="13" y="17"/>
                  </a:lnTo>
                  <a:lnTo>
                    <a:pt x="13" y="17"/>
                  </a:lnTo>
                  <a:lnTo>
                    <a:pt x="13" y="17"/>
                  </a:lnTo>
                  <a:lnTo>
                    <a:pt x="13" y="17"/>
                  </a:lnTo>
                  <a:lnTo>
                    <a:pt x="12" y="16"/>
                  </a:lnTo>
                  <a:lnTo>
                    <a:pt x="12" y="16"/>
                  </a:lnTo>
                  <a:lnTo>
                    <a:pt x="12" y="16"/>
                  </a:lnTo>
                  <a:lnTo>
                    <a:pt x="11" y="16"/>
                  </a:lnTo>
                  <a:lnTo>
                    <a:pt x="11" y="16"/>
                  </a:lnTo>
                  <a:lnTo>
                    <a:pt x="11" y="16"/>
                  </a:lnTo>
                  <a:lnTo>
                    <a:pt x="11" y="16"/>
                  </a:lnTo>
                  <a:lnTo>
                    <a:pt x="9" y="16"/>
                  </a:lnTo>
                  <a:lnTo>
                    <a:pt x="9" y="16"/>
                  </a:lnTo>
                  <a:lnTo>
                    <a:pt x="9" y="16"/>
                  </a:lnTo>
                  <a:lnTo>
                    <a:pt x="9" y="16"/>
                  </a:lnTo>
                  <a:lnTo>
                    <a:pt x="9" y="16"/>
                  </a:lnTo>
                  <a:lnTo>
                    <a:pt x="12" y="16"/>
                  </a:lnTo>
                  <a:lnTo>
                    <a:pt x="12" y="16"/>
                  </a:lnTo>
                  <a:lnTo>
                    <a:pt x="12" y="16"/>
                  </a:lnTo>
                  <a:lnTo>
                    <a:pt x="11" y="15"/>
                  </a:lnTo>
                  <a:lnTo>
                    <a:pt x="11" y="15"/>
                  </a:lnTo>
                  <a:lnTo>
                    <a:pt x="12" y="15"/>
                  </a:lnTo>
                  <a:lnTo>
                    <a:pt x="12" y="15"/>
                  </a:lnTo>
                  <a:lnTo>
                    <a:pt x="12" y="15"/>
                  </a:lnTo>
                  <a:lnTo>
                    <a:pt x="12" y="15"/>
                  </a:lnTo>
                  <a:lnTo>
                    <a:pt x="11" y="15"/>
                  </a:lnTo>
                  <a:lnTo>
                    <a:pt x="11" y="15"/>
                  </a:lnTo>
                  <a:lnTo>
                    <a:pt x="11" y="14"/>
                  </a:lnTo>
                  <a:lnTo>
                    <a:pt x="11" y="14"/>
                  </a:lnTo>
                  <a:lnTo>
                    <a:pt x="11" y="14"/>
                  </a:lnTo>
                  <a:lnTo>
                    <a:pt x="11" y="14"/>
                  </a:lnTo>
                  <a:lnTo>
                    <a:pt x="11" y="14"/>
                  </a:lnTo>
                  <a:lnTo>
                    <a:pt x="9" y="14"/>
                  </a:lnTo>
                  <a:lnTo>
                    <a:pt x="9" y="14"/>
                  </a:lnTo>
                  <a:lnTo>
                    <a:pt x="9" y="14"/>
                  </a:lnTo>
                  <a:lnTo>
                    <a:pt x="9" y="14"/>
                  </a:lnTo>
                  <a:lnTo>
                    <a:pt x="9" y="14"/>
                  </a:lnTo>
                  <a:lnTo>
                    <a:pt x="8" y="14"/>
                  </a:lnTo>
                  <a:lnTo>
                    <a:pt x="8" y="14"/>
                  </a:lnTo>
                  <a:lnTo>
                    <a:pt x="8" y="14"/>
                  </a:lnTo>
                  <a:lnTo>
                    <a:pt x="7" y="14"/>
                  </a:lnTo>
                  <a:lnTo>
                    <a:pt x="7" y="14"/>
                  </a:lnTo>
                  <a:lnTo>
                    <a:pt x="7" y="14"/>
                  </a:lnTo>
                  <a:lnTo>
                    <a:pt x="6" y="14"/>
                  </a:lnTo>
                  <a:lnTo>
                    <a:pt x="6" y="14"/>
                  </a:lnTo>
                  <a:lnTo>
                    <a:pt x="6" y="14"/>
                  </a:lnTo>
                  <a:lnTo>
                    <a:pt x="6" y="14"/>
                  </a:lnTo>
                  <a:lnTo>
                    <a:pt x="6" y="14"/>
                  </a:lnTo>
                  <a:lnTo>
                    <a:pt x="5" y="14"/>
                  </a:lnTo>
                  <a:lnTo>
                    <a:pt x="5" y="14"/>
                  </a:lnTo>
                  <a:lnTo>
                    <a:pt x="5" y="14"/>
                  </a:lnTo>
                  <a:lnTo>
                    <a:pt x="5" y="14"/>
                  </a:lnTo>
                  <a:lnTo>
                    <a:pt x="5" y="14"/>
                  </a:lnTo>
                  <a:lnTo>
                    <a:pt x="5" y="14"/>
                  </a:lnTo>
                  <a:lnTo>
                    <a:pt x="5" y="12"/>
                  </a:lnTo>
                  <a:lnTo>
                    <a:pt x="5" y="12"/>
                  </a:lnTo>
                  <a:lnTo>
                    <a:pt x="5" y="14"/>
                  </a:lnTo>
                  <a:lnTo>
                    <a:pt x="5" y="14"/>
                  </a:lnTo>
                  <a:lnTo>
                    <a:pt x="5" y="12"/>
                  </a:lnTo>
                  <a:lnTo>
                    <a:pt x="5" y="12"/>
                  </a:lnTo>
                  <a:lnTo>
                    <a:pt x="5" y="12"/>
                  </a:lnTo>
                  <a:lnTo>
                    <a:pt x="5" y="12"/>
                  </a:lnTo>
                  <a:lnTo>
                    <a:pt x="4" y="12"/>
                  </a:lnTo>
                  <a:lnTo>
                    <a:pt x="4" y="11"/>
                  </a:lnTo>
                  <a:lnTo>
                    <a:pt x="4" y="11"/>
                  </a:lnTo>
                  <a:lnTo>
                    <a:pt x="4" y="11"/>
                  </a:lnTo>
                  <a:lnTo>
                    <a:pt x="4" y="11"/>
                  </a:lnTo>
                  <a:lnTo>
                    <a:pt x="4" y="11"/>
                  </a:lnTo>
                  <a:lnTo>
                    <a:pt x="4" y="11"/>
                  </a:lnTo>
                  <a:lnTo>
                    <a:pt x="4" y="11"/>
                  </a:lnTo>
                  <a:lnTo>
                    <a:pt x="4" y="11"/>
                  </a:lnTo>
                  <a:lnTo>
                    <a:pt x="4" y="11"/>
                  </a:lnTo>
                  <a:lnTo>
                    <a:pt x="4" y="11"/>
                  </a:lnTo>
                  <a:lnTo>
                    <a:pt x="4" y="11"/>
                  </a:lnTo>
                  <a:lnTo>
                    <a:pt x="4" y="11"/>
                  </a:lnTo>
                  <a:lnTo>
                    <a:pt x="4" y="11"/>
                  </a:lnTo>
                  <a:lnTo>
                    <a:pt x="4" y="11"/>
                  </a:lnTo>
                  <a:lnTo>
                    <a:pt x="2" y="11"/>
                  </a:lnTo>
                  <a:lnTo>
                    <a:pt x="2" y="11"/>
                  </a:lnTo>
                  <a:lnTo>
                    <a:pt x="4" y="11"/>
                  </a:lnTo>
                  <a:lnTo>
                    <a:pt x="4" y="11"/>
                  </a:lnTo>
                  <a:lnTo>
                    <a:pt x="4" y="11"/>
                  </a:lnTo>
                  <a:lnTo>
                    <a:pt x="4" y="11"/>
                  </a:lnTo>
                  <a:lnTo>
                    <a:pt x="4" y="11"/>
                  </a:lnTo>
                  <a:lnTo>
                    <a:pt x="4" y="11"/>
                  </a:lnTo>
                  <a:lnTo>
                    <a:pt x="4" y="11"/>
                  </a:lnTo>
                  <a:lnTo>
                    <a:pt x="5" y="11"/>
                  </a:lnTo>
                  <a:lnTo>
                    <a:pt x="5" y="11"/>
                  </a:lnTo>
                  <a:lnTo>
                    <a:pt x="5" y="10"/>
                  </a:lnTo>
                  <a:lnTo>
                    <a:pt x="4" y="10"/>
                  </a:lnTo>
                  <a:lnTo>
                    <a:pt x="5" y="10"/>
                  </a:lnTo>
                  <a:lnTo>
                    <a:pt x="4" y="10"/>
                  </a:lnTo>
                  <a:lnTo>
                    <a:pt x="4" y="9"/>
                  </a:lnTo>
                  <a:lnTo>
                    <a:pt x="4" y="9"/>
                  </a:lnTo>
                  <a:lnTo>
                    <a:pt x="4" y="9"/>
                  </a:lnTo>
                  <a:lnTo>
                    <a:pt x="4" y="9"/>
                  </a:lnTo>
                  <a:lnTo>
                    <a:pt x="4" y="9"/>
                  </a:lnTo>
                  <a:lnTo>
                    <a:pt x="2" y="9"/>
                  </a:lnTo>
                  <a:lnTo>
                    <a:pt x="2" y="9"/>
                  </a:lnTo>
                  <a:lnTo>
                    <a:pt x="2" y="9"/>
                  </a:lnTo>
                  <a:lnTo>
                    <a:pt x="2" y="9"/>
                  </a:lnTo>
                  <a:lnTo>
                    <a:pt x="2" y="9"/>
                  </a:lnTo>
                  <a:lnTo>
                    <a:pt x="2" y="9"/>
                  </a:lnTo>
                  <a:lnTo>
                    <a:pt x="2" y="9"/>
                  </a:lnTo>
                  <a:lnTo>
                    <a:pt x="4" y="9"/>
                  </a:lnTo>
                  <a:lnTo>
                    <a:pt x="4" y="9"/>
                  </a:lnTo>
                  <a:lnTo>
                    <a:pt x="4" y="8"/>
                  </a:lnTo>
                  <a:lnTo>
                    <a:pt x="4" y="8"/>
                  </a:lnTo>
                  <a:lnTo>
                    <a:pt x="2" y="8"/>
                  </a:lnTo>
                  <a:lnTo>
                    <a:pt x="2" y="7"/>
                  </a:lnTo>
                  <a:lnTo>
                    <a:pt x="1" y="7"/>
                  </a:lnTo>
                  <a:lnTo>
                    <a:pt x="1" y="7"/>
                  </a:lnTo>
                  <a:lnTo>
                    <a:pt x="2" y="7"/>
                  </a:lnTo>
                  <a:lnTo>
                    <a:pt x="2" y="7"/>
                  </a:lnTo>
                  <a:lnTo>
                    <a:pt x="1" y="7"/>
                  </a:lnTo>
                  <a:lnTo>
                    <a:pt x="1" y="7"/>
                  </a:lnTo>
                  <a:lnTo>
                    <a:pt x="1" y="7"/>
                  </a:lnTo>
                  <a:lnTo>
                    <a:pt x="1" y="7"/>
                  </a:lnTo>
                  <a:lnTo>
                    <a:pt x="1" y="5"/>
                  </a:lnTo>
                  <a:lnTo>
                    <a:pt x="1" y="5"/>
                  </a:lnTo>
                  <a:lnTo>
                    <a:pt x="0" y="5"/>
                  </a:lnTo>
                  <a:lnTo>
                    <a:pt x="0" y="5"/>
                  </a:lnTo>
                  <a:lnTo>
                    <a:pt x="0" y="5"/>
                  </a:lnTo>
                  <a:lnTo>
                    <a:pt x="2" y="5"/>
                  </a:lnTo>
                  <a:lnTo>
                    <a:pt x="2" y="5"/>
                  </a:lnTo>
                  <a:lnTo>
                    <a:pt x="2" y="5"/>
                  </a:lnTo>
                  <a:lnTo>
                    <a:pt x="4" y="5"/>
                  </a:lnTo>
                  <a:lnTo>
                    <a:pt x="4" y="5"/>
                  </a:lnTo>
                  <a:lnTo>
                    <a:pt x="4" y="5"/>
                  </a:lnTo>
                  <a:lnTo>
                    <a:pt x="4" y="5"/>
                  </a:lnTo>
                  <a:lnTo>
                    <a:pt x="2" y="5"/>
                  </a:lnTo>
                  <a:lnTo>
                    <a:pt x="2" y="5"/>
                  </a:lnTo>
                  <a:lnTo>
                    <a:pt x="4" y="7"/>
                  </a:lnTo>
                  <a:lnTo>
                    <a:pt x="4" y="7"/>
                  </a:lnTo>
                  <a:lnTo>
                    <a:pt x="4" y="7"/>
                  </a:lnTo>
                  <a:lnTo>
                    <a:pt x="4" y="7"/>
                  </a:lnTo>
                  <a:lnTo>
                    <a:pt x="4" y="5"/>
                  </a:lnTo>
                  <a:lnTo>
                    <a:pt x="4" y="5"/>
                  </a:lnTo>
                  <a:lnTo>
                    <a:pt x="4" y="5"/>
                  </a:lnTo>
                  <a:lnTo>
                    <a:pt x="4" y="5"/>
                  </a:lnTo>
                  <a:lnTo>
                    <a:pt x="5" y="5"/>
                  </a:lnTo>
                  <a:lnTo>
                    <a:pt x="5" y="5"/>
                  </a:lnTo>
                  <a:lnTo>
                    <a:pt x="5" y="5"/>
                  </a:lnTo>
                  <a:lnTo>
                    <a:pt x="6" y="5"/>
                  </a:lnTo>
                  <a:lnTo>
                    <a:pt x="6" y="5"/>
                  </a:lnTo>
                  <a:lnTo>
                    <a:pt x="6" y="5"/>
                  </a:lnTo>
                  <a:lnTo>
                    <a:pt x="6" y="5"/>
                  </a:lnTo>
                  <a:lnTo>
                    <a:pt x="6" y="5"/>
                  </a:lnTo>
                  <a:lnTo>
                    <a:pt x="6" y="4"/>
                  </a:lnTo>
                  <a:lnTo>
                    <a:pt x="6" y="4"/>
                  </a:lnTo>
                  <a:lnTo>
                    <a:pt x="6" y="4"/>
                  </a:lnTo>
                  <a:lnTo>
                    <a:pt x="6" y="4"/>
                  </a:lnTo>
                  <a:lnTo>
                    <a:pt x="6" y="4"/>
                  </a:lnTo>
                  <a:lnTo>
                    <a:pt x="6" y="4"/>
                  </a:lnTo>
                  <a:lnTo>
                    <a:pt x="6" y="4"/>
                  </a:lnTo>
                  <a:lnTo>
                    <a:pt x="6" y="4"/>
                  </a:lnTo>
                  <a:lnTo>
                    <a:pt x="6" y="4"/>
                  </a:lnTo>
                  <a:lnTo>
                    <a:pt x="7" y="4"/>
                  </a:lnTo>
                  <a:lnTo>
                    <a:pt x="7" y="4"/>
                  </a:lnTo>
                  <a:lnTo>
                    <a:pt x="7" y="3"/>
                  </a:lnTo>
                  <a:lnTo>
                    <a:pt x="7" y="3"/>
                  </a:lnTo>
                  <a:lnTo>
                    <a:pt x="6" y="3"/>
                  </a:lnTo>
                  <a:lnTo>
                    <a:pt x="6" y="3"/>
                  </a:lnTo>
                  <a:lnTo>
                    <a:pt x="5" y="2"/>
                  </a:lnTo>
                  <a:lnTo>
                    <a:pt x="5" y="2"/>
                  </a:lnTo>
                  <a:lnTo>
                    <a:pt x="5" y="2"/>
                  </a:lnTo>
                  <a:lnTo>
                    <a:pt x="6" y="2"/>
                  </a:lnTo>
                  <a:lnTo>
                    <a:pt x="6" y="2"/>
                  </a:lnTo>
                  <a:lnTo>
                    <a:pt x="8" y="3"/>
                  </a:lnTo>
                  <a:lnTo>
                    <a:pt x="8" y="3"/>
                  </a:lnTo>
                  <a:lnTo>
                    <a:pt x="8" y="3"/>
                  </a:lnTo>
                  <a:lnTo>
                    <a:pt x="9" y="2"/>
                  </a:lnTo>
                  <a:lnTo>
                    <a:pt x="9" y="2"/>
                  </a:lnTo>
                  <a:lnTo>
                    <a:pt x="11" y="2"/>
                  </a:lnTo>
                  <a:lnTo>
                    <a:pt x="11" y="2"/>
                  </a:lnTo>
                  <a:lnTo>
                    <a:pt x="11" y="3"/>
                  </a:lnTo>
                  <a:lnTo>
                    <a:pt x="9" y="3"/>
                  </a:lnTo>
                  <a:lnTo>
                    <a:pt x="9" y="3"/>
                  </a:lnTo>
                  <a:lnTo>
                    <a:pt x="9" y="3"/>
                  </a:lnTo>
                  <a:lnTo>
                    <a:pt x="9" y="3"/>
                  </a:lnTo>
                  <a:lnTo>
                    <a:pt x="9" y="3"/>
                  </a:lnTo>
                  <a:lnTo>
                    <a:pt x="9" y="3"/>
                  </a:lnTo>
                  <a:lnTo>
                    <a:pt x="9" y="3"/>
                  </a:lnTo>
                  <a:lnTo>
                    <a:pt x="9" y="3"/>
                  </a:lnTo>
                  <a:lnTo>
                    <a:pt x="9" y="3"/>
                  </a:lnTo>
                  <a:lnTo>
                    <a:pt x="9" y="3"/>
                  </a:lnTo>
                  <a:lnTo>
                    <a:pt x="9" y="3"/>
                  </a:lnTo>
                  <a:lnTo>
                    <a:pt x="9" y="4"/>
                  </a:lnTo>
                  <a:lnTo>
                    <a:pt x="9" y="4"/>
                  </a:lnTo>
                  <a:lnTo>
                    <a:pt x="9" y="4"/>
                  </a:lnTo>
                  <a:lnTo>
                    <a:pt x="9" y="4"/>
                  </a:lnTo>
                  <a:lnTo>
                    <a:pt x="9" y="4"/>
                  </a:lnTo>
                  <a:lnTo>
                    <a:pt x="9" y="4"/>
                  </a:lnTo>
                  <a:lnTo>
                    <a:pt x="8" y="5"/>
                  </a:lnTo>
                  <a:lnTo>
                    <a:pt x="8" y="5"/>
                  </a:lnTo>
                  <a:lnTo>
                    <a:pt x="8" y="5"/>
                  </a:lnTo>
                  <a:lnTo>
                    <a:pt x="8" y="5"/>
                  </a:lnTo>
                  <a:lnTo>
                    <a:pt x="8" y="5"/>
                  </a:lnTo>
                  <a:lnTo>
                    <a:pt x="9" y="5"/>
                  </a:lnTo>
                  <a:lnTo>
                    <a:pt x="9" y="5"/>
                  </a:lnTo>
                  <a:lnTo>
                    <a:pt x="9" y="5"/>
                  </a:lnTo>
                  <a:lnTo>
                    <a:pt x="9" y="4"/>
                  </a:lnTo>
                  <a:lnTo>
                    <a:pt x="9" y="5"/>
                  </a:lnTo>
                  <a:lnTo>
                    <a:pt x="11" y="5"/>
                  </a:lnTo>
                  <a:lnTo>
                    <a:pt x="11" y="5"/>
                  </a:lnTo>
                  <a:lnTo>
                    <a:pt x="11" y="5"/>
                  </a:lnTo>
                  <a:lnTo>
                    <a:pt x="11" y="5"/>
                  </a:lnTo>
                  <a:lnTo>
                    <a:pt x="9" y="5"/>
                  </a:lnTo>
                  <a:lnTo>
                    <a:pt x="9" y="5"/>
                  </a:lnTo>
                  <a:lnTo>
                    <a:pt x="9" y="5"/>
                  </a:lnTo>
                  <a:lnTo>
                    <a:pt x="9" y="5"/>
                  </a:lnTo>
                  <a:lnTo>
                    <a:pt x="9" y="5"/>
                  </a:lnTo>
                  <a:lnTo>
                    <a:pt x="9" y="5"/>
                  </a:lnTo>
                  <a:lnTo>
                    <a:pt x="11" y="5"/>
                  </a:lnTo>
                  <a:lnTo>
                    <a:pt x="11" y="5"/>
                  </a:lnTo>
                  <a:lnTo>
                    <a:pt x="11" y="5"/>
                  </a:lnTo>
                  <a:lnTo>
                    <a:pt x="11" y="7"/>
                  </a:lnTo>
                  <a:lnTo>
                    <a:pt x="11" y="7"/>
                  </a:lnTo>
                  <a:lnTo>
                    <a:pt x="11" y="7"/>
                  </a:lnTo>
                  <a:lnTo>
                    <a:pt x="11" y="7"/>
                  </a:lnTo>
                  <a:lnTo>
                    <a:pt x="11" y="7"/>
                  </a:lnTo>
                  <a:lnTo>
                    <a:pt x="11" y="7"/>
                  </a:lnTo>
                  <a:lnTo>
                    <a:pt x="11" y="7"/>
                  </a:lnTo>
                  <a:lnTo>
                    <a:pt x="12" y="5"/>
                  </a:lnTo>
                  <a:lnTo>
                    <a:pt x="12" y="5"/>
                  </a:lnTo>
                  <a:lnTo>
                    <a:pt x="12" y="5"/>
                  </a:lnTo>
                  <a:lnTo>
                    <a:pt x="12" y="5"/>
                  </a:lnTo>
                  <a:lnTo>
                    <a:pt x="12" y="5"/>
                  </a:lnTo>
                  <a:lnTo>
                    <a:pt x="12" y="5"/>
                  </a:lnTo>
                  <a:lnTo>
                    <a:pt x="12" y="5"/>
                  </a:lnTo>
                  <a:lnTo>
                    <a:pt x="12" y="5"/>
                  </a:lnTo>
                  <a:lnTo>
                    <a:pt x="12" y="4"/>
                  </a:lnTo>
                  <a:lnTo>
                    <a:pt x="12" y="4"/>
                  </a:lnTo>
                  <a:lnTo>
                    <a:pt x="12" y="4"/>
                  </a:lnTo>
                  <a:lnTo>
                    <a:pt x="12" y="4"/>
                  </a:lnTo>
                  <a:lnTo>
                    <a:pt x="13" y="4"/>
                  </a:lnTo>
                  <a:lnTo>
                    <a:pt x="12" y="3"/>
                  </a:lnTo>
                  <a:lnTo>
                    <a:pt x="12" y="3"/>
                  </a:lnTo>
                  <a:lnTo>
                    <a:pt x="12" y="3"/>
                  </a:lnTo>
                  <a:lnTo>
                    <a:pt x="12" y="3"/>
                  </a:lnTo>
                  <a:lnTo>
                    <a:pt x="13" y="3"/>
                  </a:lnTo>
                  <a:lnTo>
                    <a:pt x="13" y="3"/>
                  </a:lnTo>
                  <a:lnTo>
                    <a:pt x="13" y="3"/>
                  </a:lnTo>
                  <a:lnTo>
                    <a:pt x="13" y="3"/>
                  </a:lnTo>
                  <a:lnTo>
                    <a:pt x="13" y="3"/>
                  </a:lnTo>
                  <a:lnTo>
                    <a:pt x="13" y="4"/>
                  </a:lnTo>
                  <a:lnTo>
                    <a:pt x="13" y="4"/>
                  </a:lnTo>
                  <a:lnTo>
                    <a:pt x="13" y="4"/>
                  </a:lnTo>
                  <a:lnTo>
                    <a:pt x="13" y="4"/>
                  </a:lnTo>
                  <a:lnTo>
                    <a:pt x="13" y="4"/>
                  </a:lnTo>
                  <a:lnTo>
                    <a:pt x="13" y="4"/>
                  </a:lnTo>
                  <a:lnTo>
                    <a:pt x="14" y="5"/>
                  </a:lnTo>
                  <a:lnTo>
                    <a:pt x="14" y="5"/>
                  </a:lnTo>
                  <a:lnTo>
                    <a:pt x="13" y="7"/>
                  </a:lnTo>
                  <a:lnTo>
                    <a:pt x="13" y="5"/>
                  </a:lnTo>
                  <a:lnTo>
                    <a:pt x="13" y="5"/>
                  </a:lnTo>
                  <a:lnTo>
                    <a:pt x="13" y="7"/>
                  </a:lnTo>
                  <a:lnTo>
                    <a:pt x="13" y="7"/>
                  </a:lnTo>
                  <a:lnTo>
                    <a:pt x="12" y="7"/>
                  </a:lnTo>
                  <a:lnTo>
                    <a:pt x="12" y="7"/>
                  </a:lnTo>
                  <a:lnTo>
                    <a:pt x="13" y="7"/>
                  </a:lnTo>
                  <a:lnTo>
                    <a:pt x="13" y="7"/>
                  </a:lnTo>
                  <a:lnTo>
                    <a:pt x="13" y="7"/>
                  </a:lnTo>
                  <a:lnTo>
                    <a:pt x="13" y="7"/>
                  </a:lnTo>
                  <a:lnTo>
                    <a:pt x="13" y="7"/>
                  </a:lnTo>
                  <a:lnTo>
                    <a:pt x="13" y="7"/>
                  </a:lnTo>
                  <a:lnTo>
                    <a:pt x="14" y="7"/>
                  </a:lnTo>
                  <a:lnTo>
                    <a:pt x="14" y="7"/>
                  </a:lnTo>
                  <a:lnTo>
                    <a:pt x="13" y="7"/>
                  </a:lnTo>
                  <a:lnTo>
                    <a:pt x="13" y="7"/>
                  </a:lnTo>
                  <a:lnTo>
                    <a:pt x="13" y="7"/>
                  </a:lnTo>
                  <a:lnTo>
                    <a:pt x="13" y="7"/>
                  </a:lnTo>
                  <a:lnTo>
                    <a:pt x="14" y="7"/>
                  </a:lnTo>
                  <a:lnTo>
                    <a:pt x="14" y="7"/>
                  </a:lnTo>
                  <a:lnTo>
                    <a:pt x="14" y="7"/>
                  </a:lnTo>
                  <a:lnTo>
                    <a:pt x="14" y="5"/>
                  </a:lnTo>
                  <a:lnTo>
                    <a:pt x="14" y="4"/>
                  </a:lnTo>
                  <a:lnTo>
                    <a:pt x="14" y="4"/>
                  </a:lnTo>
                  <a:lnTo>
                    <a:pt x="13" y="3"/>
                  </a:lnTo>
                  <a:lnTo>
                    <a:pt x="13" y="3"/>
                  </a:lnTo>
                  <a:lnTo>
                    <a:pt x="13" y="2"/>
                  </a:lnTo>
                  <a:lnTo>
                    <a:pt x="13" y="2"/>
                  </a:lnTo>
                  <a:lnTo>
                    <a:pt x="13" y="2"/>
                  </a:lnTo>
                  <a:lnTo>
                    <a:pt x="12" y="3"/>
                  </a:lnTo>
                  <a:lnTo>
                    <a:pt x="12" y="3"/>
                  </a:lnTo>
                  <a:lnTo>
                    <a:pt x="11" y="3"/>
                  </a:lnTo>
                  <a:lnTo>
                    <a:pt x="12" y="2"/>
                  </a:lnTo>
                  <a:lnTo>
                    <a:pt x="12" y="2"/>
                  </a:lnTo>
                  <a:lnTo>
                    <a:pt x="13" y="2"/>
                  </a:lnTo>
                  <a:lnTo>
                    <a:pt x="14" y="1"/>
                  </a:lnTo>
                  <a:lnTo>
                    <a:pt x="15" y="0"/>
                  </a:lnTo>
                  <a:lnTo>
                    <a:pt x="16"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37" name="Freeform 1101">
              <a:extLst>
                <a:ext uri="{FF2B5EF4-FFF2-40B4-BE49-F238E27FC236}">
                  <a16:creationId xmlns:a16="http://schemas.microsoft.com/office/drawing/2014/main" id="{5AACBD2E-7476-4EB9-A0CB-EE1829C67561}"/>
                </a:ext>
              </a:extLst>
            </p:cNvPr>
            <p:cNvSpPr>
              <a:spLocks/>
            </p:cNvSpPr>
            <p:nvPr/>
          </p:nvSpPr>
          <p:spPr bwMode="auto">
            <a:xfrm>
              <a:off x="5982712" y="2159944"/>
              <a:ext cx="2671" cy="0"/>
            </a:xfrm>
            <a:custGeom>
              <a:avLst/>
              <a:gdLst>
                <a:gd name="T0" fmla="*/ 1 w 2"/>
                <a:gd name="T1" fmla="*/ 1 w 2"/>
                <a:gd name="T2" fmla="*/ 1 w 2"/>
                <a:gd name="T3" fmla="*/ 0 w 2"/>
                <a:gd name="T4" fmla="*/ 0 w 2"/>
                <a:gd name="T5" fmla="*/ 0 w 2"/>
                <a:gd name="T6" fmla="*/ 0 w 2"/>
                <a:gd name="T7" fmla="*/ 1 w 2"/>
                <a:gd name="T8" fmla="*/ 2 w 2"/>
                <a:gd name="T9" fmla="*/ 2 w 2"/>
                <a:gd name="T10" fmla="*/ 2 w 2"/>
                <a:gd name="T11" fmla="*/ 2 w 2"/>
                <a:gd name="T12" fmla="*/ 2 w 2"/>
                <a:gd name="T13" fmla="*/ 1 w 2"/>
                <a:gd name="T14" fmla="*/ 1 w 2"/>
                <a:gd name="T15" fmla="*/ 1 w 2"/>
                <a:gd name="T16" fmla="*/ 1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Lst>
              <a:rect l="0" t="0" r="r" b="b"/>
              <a:pathLst>
                <a:path w="2">
                  <a:moveTo>
                    <a:pt x="1" y="0"/>
                  </a:moveTo>
                  <a:lnTo>
                    <a:pt x="1" y="0"/>
                  </a:lnTo>
                  <a:lnTo>
                    <a:pt x="1" y="0"/>
                  </a:lnTo>
                  <a:lnTo>
                    <a:pt x="0" y="0"/>
                  </a:lnTo>
                  <a:lnTo>
                    <a:pt x="0" y="0"/>
                  </a:lnTo>
                  <a:lnTo>
                    <a:pt x="0" y="0"/>
                  </a:lnTo>
                  <a:lnTo>
                    <a:pt x="0" y="0"/>
                  </a:lnTo>
                  <a:lnTo>
                    <a:pt x="1" y="0"/>
                  </a:lnTo>
                  <a:lnTo>
                    <a:pt x="2" y="0"/>
                  </a:lnTo>
                  <a:lnTo>
                    <a:pt x="2" y="0"/>
                  </a:lnTo>
                  <a:lnTo>
                    <a:pt x="2" y="0"/>
                  </a:lnTo>
                  <a:lnTo>
                    <a:pt x="2" y="0"/>
                  </a:lnTo>
                  <a:lnTo>
                    <a:pt x="2"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38" name="Freeform 1102">
              <a:extLst>
                <a:ext uri="{FF2B5EF4-FFF2-40B4-BE49-F238E27FC236}">
                  <a16:creationId xmlns:a16="http://schemas.microsoft.com/office/drawing/2014/main" id="{7C60208B-4AF6-449B-831A-3075308520B2}"/>
                </a:ext>
              </a:extLst>
            </p:cNvPr>
            <p:cNvSpPr>
              <a:spLocks/>
            </p:cNvSpPr>
            <p:nvPr/>
          </p:nvSpPr>
          <p:spPr bwMode="auto">
            <a:xfrm>
              <a:off x="5937305" y="2154602"/>
              <a:ext cx="6678" cy="5342"/>
            </a:xfrm>
            <a:custGeom>
              <a:avLst/>
              <a:gdLst>
                <a:gd name="T0" fmla="*/ 4 w 5"/>
                <a:gd name="T1" fmla="*/ 1 h 4"/>
                <a:gd name="T2" fmla="*/ 5 w 5"/>
                <a:gd name="T3" fmla="*/ 1 h 4"/>
                <a:gd name="T4" fmla="*/ 5 w 5"/>
                <a:gd name="T5" fmla="*/ 1 h 4"/>
                <a:gd name="T6" fmla="*/ 4 w 5"/>
                <a:gd name="T7" fmla="*/ 2 h 4"/>
                <a:gd name="T8" fmla="*/ 4 w 5"/>
                <a:gd name="T9" fmla="*/ 2 h 4"/>
                <a:gd name="T10" fmla="*/ 4 w 5"/>
                <a:gd name="T11" fmla="*/ 2 h 4"/>
                <a:gd name="T12" fmla="*/ 4 w 5"/>
                <a:gd name="T13" fmla="*/ 2 h 4"/>
                <a:gd name="T14" fmla="*/ 4 w 5"/>
                <a:gd name="T15" fmla="*/ 2 h 4"/>
                <a:gd name="T16" fmla="*/ 4 w 5"/>
                <a:gd name="T17" fmla="*/ 2 h 4"/>
                <a:gd name="T18" fmla="*/ 4 w 5"/>
                <a:gd name="T19" fmla="*/ 2 h 4"/>
                <a:gd name="T20" fmla="*/ 4 w 5"/>
                <a:gd name="T21" fmla="*/ 3 h 4"/>
                <a:gd name="T22" fmla="*/ 4 w 5"/>
                <a:gd name="T23" fmla="*/ 3 h 4"/>
                <a:gd name="T24" fmla="*/ 4 w 5"/>
                <a:gd name="T25" fmla="*/ 3 h 4"/>
                <a:gd name="T26" fmla="*/ 4 w 5"/>
                <a:gd name="T27" fmla="*/ 3 h 4"/>
                <a:gd name="T28" fmla="*/ 4 w 5"/>
                <a:gd name="T29" fmla="*/ 3 h 4"/>
                <a:gd name="T30" fmla="*/ 4 w 5"/>
                <a:gd name="T31" fmla="*/ 3 h 4"/>
                <a:gd name="T32" fmla="*/ 2 w 5"/>
                <a:gd name="T33" fmla="*/ 4 h 4"/>
                <a:gd name="T34" fmla="*/ 1 w 5"/>
                <a:gd name="T35" fmla="*/ 4 h 4"/>
                <a:gd name="T36" fmla="*/ 1 w 5"/>
                <a:gd name="T37" fmla="*/ 4 h 4"/>
                <a:gd name="T38" fmla="*/ 1 w 5"/>
                <a:gd name="T39" fmla="*/ 4 h 4"/>
                <a:gd name="T40" fmla="*/ 0 w 5"/>
                <a:gd name="T41" fmla="*/ 3 h 4"/>
                <a:gd name="T42" fmla="*/ 0 w 5"/>
                <a:gd name="T43" fmla="*/ 4 h 4"/>
                <a:gd name="T44" fmla="*/ 0 w 5"/>
                <a:gd name="T45" fmla="*/ 3 h 4"/>
                <a:gd name="T46" fmla="*/ 0 w 5"/>
                <a:gd name="T47" fmla="*/ 3 h 4"/>
                <a:gd name="T48" fmla="*/ 0 w 5"/>
                <a:gd name="T49" fmla="*/ 3 h 4"/>
                <a:gd name="T50" fmla="*/ 0 w 5"/>
                <a:gd name="T51" fmla="*/ 3 h 4"/>
                <a:gd name="T52" fmla="*/ 0 w 5"/>
                <a:gd name="T53" fmla="*/ 3 h 4"/>
                <a:gd name="T54" fmla="*/ 1 w 5"/>
                <a:gd name="T55" fmla="*/ 3 h 4"/>
                <a:gd name="T56" fmla="*/ 1 w 5"/>
                <a:gd name="T57" fmla="*/ 2 h 4"/>
                <a:gd name="T58" fmla="*/ 1 w 5"/>
                <a:gd name="T59" fmla="*/ 2 h 4"/>
                <a:gd name="T60" fmla="*/ 1 w 5"/>
                <a:gd name="T61" fmla="*/ 2 h 4"/>
                <a:gd name="T62" fmla="*/ 1 w 5"/>
                <a:gd name="T63" fmla="*/ 2 h 4"/>
                <a:gd name="T64" fmla="*/ 1 w 5"/>
                <a:gd name="T65" fmla="*/ 2 h 4"/>
                <a:gd name="T66" fmla="*/ 1 w 5"/>
                <a:gd name="T67" fmla="*/ 2 h 4"/>
                <a:gd name="T68" fmla="*/ 1 w 5"/>
                <a:gd name="T69" fmla="*/ 2 h 4"/>
                <a:gd name="T70" fmla="*/ 1 w 5"/>
                <a:gd name="T71" fmla="*/ 1 h 4"/>
                <a:gd name="T72" fmla="*/ 2 w 5"/>
                <a:gd name="T73" fmla="*/ 1 h 4"/>
                <a:gd name="T74" fmla="*/ 4 w 5"/>
                <a:gd name="T75" fmla="*/ 1 h 4"/>
                <a:gd name="T76" fmla="*/ 4 w 5"/>
                <a:gd name="T77" fmla="*/ 1 h 4"/>
                <a:gd name="T78" fmla="*/ 5 w 5"/>
                <a:gd name="T79" fmla="*/ 0 h 4"/>
                <a:gd name="T80" fmla="*/ 5 w 5"/>
                <a:gd name="T8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 h="4">
                  <a:moveTo>
                    <a:pt x="4" y="1"/>
                  </a:moveTo>
                  <a:lnTo>
                    <a:pt x="4" y="1"/>
                  </a:lnTo>
                  <a:lnTo>
                    <a:pt x="4" y="1"/>
                  </a:lnTo>
                  <a:lnTo>
                    <a:pt x="5" y="1"/>
                  </a:lnTo>
                  <a:lnTo>
                    <a:pt x="5" y="1"/>
                  </a:lnTo>
                  <a:lnTo>
                    <a:pt x="5" y="1"/>
                  </a:lnTo>
                  <a:lnTo>
                    <a:pt x="5" y="2"/>
                  </a:lnTo>
                  <a:lnTo>
                    <a:pt x="4" y="2"/>
                  </a:lnTo>
                  <a:lnTo>
                    <a:pt x="4" y="2"/>
                  </a:lnTo>
                  <a:lnTo>
                    <a:pt x="4" y="2"/>
                  </a:lnTo>
                  <a:lnTo>
                    <a:pt x="4" y="2"/>
                  </a:lnTo>
                  <a:lnTo>
                    <a:pt x="4" y="2"/>
                  </a:lnTo>
                  <a:lnTo>
                    <a:pt x="4" y="2"/>
                  </a:lnTo>
                  <a:lnTo>
                    <a:pt x="4" y="2"/>
                  </a:lnTo>
                  <a:lnTo>
                    <a:pt x="4" y="2"/>
                  </a:lnTo>
                  <a:lnTo>
                    <a:pt x="4" y="2"/>
                  </a:lnTo>
                  <a:lnTo>
                    <a:pt x="4" y="2"/>
                  </a:lnTo>
                  <a:lnTo>
                    <a:pt x="4" y="2"/>
                  </a:lnTo>
                  <a:lnTo>
                    <a:pt x="4" y="2"/>
                  </a:lnTo>
                  <a:lnTo>
                    <a:pt x="4" y="2"/>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4"/>
                  </a:lnTo>
                  <a:lnTo>
                    <a:pt x="2" y="4"/>
                  </a:lnTo>
                  <a:lnTo>
                    <a:pt x="2" y="4"/>
                  </a:lnTo>
                  <a:lnTo>
                    <a:pt x="1" y="4"/>
                  </a:lnTo>
                  <a:lnTo>
                    <a:pt x="1" y="4"/>
                  </a:lnTo>
                  <a:lnTo>
                    <a:pt x="1" y="4"/>
                  </a:lnTo>
                  <a:lnTo>
                    <a:pt x="1" y="4"/>
                  </a:lnTo>
                  <a:lnTo>
                    <a:pt x="1" y="4"/>
                  </a:lnTo>
                  <a:lnTo>
                    <a:pt x="0" y="4"/>
                  </a:lnTo>
                  <a:lnTo>
                    <a:pt x="0" y="3"/>
                  </a:lnTo>
                  <a:lnTo>
                    <a:pt x="0" y="3"/>
                  </a:lnTo>
                  <a:lnTo>
                    <a:pt x="0" y="4"/>
                  </a:lnTo>
                  <a:lnTo>
                    <a:pt x="0" y="4"/>
                  </a:lnTo>
                  <a:lnTo>
                    <a:pt x="0" y="3"/>
                  </a:lnTo>
                  <a:lnTo>
                    <a:pt x="0" y="3"/>
                  </a:lnTo>
                  <a:lnTo>
                    <a:pt x="0" y="3"/>
                  </a:lnTo>
                  <a:lnTo>
                    <a:pt x="0" y="3"/>
                  </a:lnTo>
                  <a:lnTo>
                    <a:pt x="0" y="3"/>
                  </a:lnTo>
                  <a:lnTo>
                    <a:pt x="0" y="3"/>
                  </a:lnTo>
                  <a:lnTo>
                    <a:pt x="0" y="3"/>
                  </a:lnTo>
                  <a:lnTo>
                    <a:pt x="0" y="3"/>
                  </a:lnTo>
                  <a:lnTo>
                    <a:pt x="0" y="3"/>
                  </a:lnTo>
                  <a:lnTo>
                    <a:pt x="0" y="3"/>
                  </a:lnTo>
                  <a:lnTo>
                    <a:pt x="1" y="3"/>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1"/>
                  </a:lnTo>
                  <a:lnTo>
                    <a:pt x="2" y="1"/>
                  </a:lnTo>
                  <a:lnTo>
                    <a:pt x="2" y="1"/>
                  </a:lnTo>
                  <a:lnTo>
                    <a:pt x="4" y="1"/>
                  </a:lnTo>
                  <a:lnTo>
                    <a:pt x="4" y="1"/>
                  </a:lnTo>
                  <a:lnTo>
                    <a:pt x="4" y="1"/>
                  </a:lnTo>
                  <a:lnTo>
                    <a:pt x="4" y="1"/>
                  </a:lnTo>
                  <a:lnTo>
                    <a:pt x="4" y="1"/>
                  </a:lnTo>
                  <a:lnTo>
                    <a:pt x="5" y="0"/>
                  </a:lnTo>
                  <a:lnTo>
                    <a:pt x="5" y="1"/>
                  </a:lnTo>
                  <a:lnTo>
                    <a:pt x="5" y="1"/>
                  </a:lnTo>
                  <a:lnTo>
                    <a:pt x="4"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39" name="Freeform 1103">
              <a:extLst>
                <a:ext uri="{FF2B5EF4-FFF2-40B4-BE49-F238E27FC236}">
                  <a16:creationId xmlns:a16="http://schemas.microsoft.com/office/drawing/2014/main" id="{B540DDC2-00A5-4742-BFD2-0193B175B02C}"/>
                </a:ext>
              </a:extLst>
            </p:cNvPr>
            <p:cNvSpPr>
              <a:spLocks/>
            </p:cNvSpPr>
            <p:nvPr/>
          </p:nvSpPr>
          <p:spPr bwMode="auto">
            <a:xfrm>
              <a:off x="5972028" y="2147924"/>
              <a:ext cx="5342" cy="2671"/>
            </a:xfrm>
            <a:custGeom>
              <a:avLst/>
              <a:gdLst>
                <a:gd name="T0" fmla="*/ 4 w 4"/>
                <a:gd name="T1" fmla="*/ 0 h 2"/>
                <a:gd name="T2" fmla="*/ 4 w 4"/>
                <a:gd name="T3" fmla="*/ 0 h 2"/>
                <a:gd name="T4" fmla="*/ 4 w 4"/>
                <a:gd name="T5" fmla="*/ 0 h 2"/>
                <a:gd name="T6" fmla="*/ 4 w 4"/>
                <a:gd name="T7" fmla="*/ 1 h 2"/>
                <a:gd name="T8" fmla="*/ 3 w 4"/>
                <a:gd name="T9" fmla="*/ 0 h 2"/>
                <a:gd name="T10" fmla="*/ 3 w 4"/>
                <a:gd name="T11" fmla="*/ 0 h 2"/>
                <a:gd name="T12" fmla="*/ 2 w 4"/>
                <a:gd name="T13" fmla="*/ 1 h 2"/>
                <a:gd name="T14" fmla="*/ 3 w 4"/>
                <a:gd name="T15" fmla="*/ 1 h 2"/>
                <a:gd name="T16" fmla="*/ 3 w 4"/>
                <a:gd name="T17" fmla="*/ 1 h 2"/>
                <a:gd name="T18" fmla="*/ 3 w 4"/>
                <a:gd name="T19" fmla="*/ 1 h 2"/>
                <a:gd name="T20" fmla="*/ 2 w 4"/>
                <a:gd name="T21" fmla="*/ 1 h 2"/>
                <a:gd name="T22" fmla="*/ 2 w 4"/>
                <a:gd name="T23" fmla="*/ 1 h 2"/>
                <a:gd name="T24" fmla="*/ 2 w 4"/>
                <a:gd name="T25" fmla="*/ 2 h 2"/>
                <a:gd name="T26" fmla="*/ 2 w 4"/>
                <a:gd name="T27" fmla="*/ 2 h 2"/>
                <a:gd name="T28" fmla="*/ 2 w 4"/>
                <a:gd name="T29" fmla="*/ 2 h 2"/>
                <a:gd name="T30" fmla="*/ 2 w 4"/>
                <a:gd name="T31" fmla="*/ 2 h 2"/>
                <a:gd name="T32" fmla="*/ 1 w 4"/>
                <a:gd name="T33" fmla="*/ 1 h 2"/>
                <a:gd name="T34" fmla="*/ 1 w 4"/>
                <a:gd name="T35" fmla="*/ 1 h 2"/>
                <a:gd name="T36" fmla="*/ 1 w 4"/>
                <a:gd name="T37" fmla="*/ 1 h 2"/>
                <a:gd name="T38" fmla="*/ 1 w 4"/>
                <a:gd name="T39" fmla="*/ 1 h 2"/>
                <a:gd name="T40" fmla="*/ 0 w 4"/>
                <a:gd name="T41" fmla="*/ 1 h 2"/>
                <a:gd name="T42" fmla="*/ 0 w 4"/>
                <a:gd name="T43" fmla="*/ 1 h 2"/>
                <a:gd name="T44" fmla="*/ 1 w 4"/>
                <a:gd name="T45" fmla="*/ 1 h 2"/>
                <a:gd name="T46" fmla="*/ 1 w 4"/>
                <a:gd name="T47" fmla="*/ 1 h 2"/>
                <a:gd name="T48" fmla="*/ 1 w 4"/>
                <a:gd name="T49" fmla="*/ 0 h 2"/>
                <a:gd name="T50" fmla="*/ 2 w 4"/>
                <a:gd name="T51" fmla="*/ 0 h 2"/>
                <a:gd name="T52" fmla="*/ 2 w 4"/>
                <a:gd name="T53" fmla="*/ 0 h 2"/>
                <a:gd name="T54" fmla="*/ 2 w 4"/>
                <a:gd name="T55" fmla="*/ 0 h 2"/>
                <a:gd name="T56" fmla="*/ 3 w 4"/>
                <a:gd name="T57" fmla="*/ 0 h 2"/>
                <a:gd name="T58" fmla="*/ 3 w 4"/>
                <a:gd name="T59" fmla="*/ 0 h 2"/>
                <a:gd name="T60" fmla="*/ 3 w 4"/>
                <a:gd name="T61" fmla="*/ 0 h 2"/>
                <a:gd name="T62" fmla="*/ 3 w 4"/>
                <a:gd name="T63" fmla="*/ 0 h 2"/>
                <a:gd name="T64" fmla="*/ 4 w 4"/>
                <a:gd name="T6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4" y="0"/>
                  </a:moveTo>
                  <a:lnTo>
                    <a:pt x="4" y="0"/>
                  </a:lnTo>
                  <a:lnTo>
                    <a:pt x="4" y="0"/>
                  </a:lnTo>
                  <a:lnTo>
                    <a:pt x="4" y="1"/>
                  </a:lnTo>
                  <a:lnTo>
                    <a:pt x="3" y="0"/>
                  </a:lnTo>
                  <a:lnTo>
                    <a:pt x="3" y="0"/>
                  </a:lnTo>
                  <a:lnTo>
                    <a:pt x="2" y="1"/>
                  </a:lnTo>
                  <a:lnTo>
                    <a:pt x="3" y="1"/>
                  </a:lnTo>
                  <a:lnTo>
                    <a:pt x="3" y="1"/>
                  </a:lnTo>
                  <a:lnTo>
                    <a:pt x="3" y="1"/>
                  </a:lnTo>
                  <a:lnTo>
                    <a:pt x="2" y="1"/>
                  </a:lnTo>
                  <a:lnTo>
                    <a:pt x="2" y="1"/>
                  </a:lnTo>
                  <a:lnTo>
                    <a:pt x="2" y="2"/>
                  </a:lnTo>
                  <a:lnTo>
                    <a:pt x="2" y="2"/>
                  </a:lnTo>
                  <a:lnTo>
                    <a:pt x="2" y="2"/>
                  </a:lnTo>
                  <a:lnTo>
                    <a:pt x="2" y="2"/>
                  </a:lnTo>
                  <a:lnTo>
                    <a:pt x="1" y="1"/>
                  </a:lnTo>
                  <a:lnTo>
                    <a:pt x="1" y="1"/>
                  </a:lnTo>
                  <a:lnTo>
                    <a:pt x="1" y="1"/>
                  </a:lnTo>
                  <a:lnTo>
                    <a:pt x="1" y="1"/>
                  </a:lnTo>
                  <a:lnTo>
                    <a:pt x="0" y="1"/>
                  </a:lnTo>
                  <a:lnTo>
                    <a:pt x="0" y="1"/>
                  </a:lnTo>
                  <a:lnTo>
                    <a:pt x="1" y="1"/>
                  </a:lnTo>
                  <a:lnTo>
                    <a:pt x="1" y="1"/>
                  </a:lnTo>
                  <a:lnTo>
                    <a:pt x="1" y="0"/>
                  </a:lnTo>
                  <a:lnTo>
                    <a:pt x="2" y="0"/>
                  </a:lnTo>
                  <a:lnTo>
                    <a:pt x="2" y="0"/>
                  </a:lnTo>
                  <a:lnTo>
                    <a:pt x="2" y="0"/>
                  </a:lnTo>
                  <a:lnTo>
                    <a:pt x="3" y="0"/>
                  </a:lnTo>
                  <a:lnTo>
                    <a:pt x="3" y="0"/>
                  </a:lnTo>
                  <a:lnTo>
                    <a:pt x="3" y="0"/>
                  </a:lnTo>
                  <a:lnTo>
                    <a:pt x="3" y="0"/>
                  </a:lnTo>
                  <a:lnTo>
                    <a:pt x="4"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40" name="Freeform 1104">
              <a:extLst>
                <a:ext uri="{FF2B5EF4-FFF2-40B4-BE49-F238E27FC236}">
                  <a16:creationId xmlns:a16="http://schemas.microsoft.com/office/drawing/2014/main" id="{E53C6C1F-93D7-439E-9988-8991C7EA8CCC}"/>
                </a:ext>
              </a:extLst>
            </p:cNvPr>
            <p:cNvSpPr>
              <a:spLocks/>
            </p:cNvSpPr>
            <p:nvPr/>
          </p:nvSpPr>
          <p:spPr bwMode="auto">
            <a:xfrm>
              <a:off x="5931964" y="2139911"/>
              <a:ext cx="42736" cy="57426"/>
            </a:xfrm>
            <a:custGeom>
              <a:avLst/>
              <a:gdLst>
                <a:gd name="T0" fmla="*/ 26 w 32"/>
                <a:gd name="T1" fmla="*/ 5 h 43"/>
                <a:gd name="T2" fmla="*/ 25 w 32"/>
                <a:gd name="T3" fmla="*/ 10 h 43"/>
                <a:gd name="T4" fmla="*/ 20 w 32"/>
                <a:gd name="T5" fmla="*/ 10 h 43"/>
                <a:gd name="T6" fmla="*/ 23 w 32"/>
                <a:gd name="T7" fmla="*/ 11 h 43"/>
                <a:gd name="T8" fmla="*/ 25 w 32"/>
                <a:gd name="T9" fmla="*/ 15 h 43"/>
                <a:gd name="T10" fmla="*/ 20 w 32"/>
                <a:gd name="T11" fmla="*/ 17 h 43"/>
                <a:gd name="T12" fmla="*/ 24 w 32"/>
                <a:gd name="T13" fmla="*/ 15 h 43"/>
                <a:gd name="T14" fmla="*/ 24 w 32"/>
                <a:gd name="T15" fmla="*/ 19 h 43"/>
                <a:gd name="T16" fmla="*/ 25 w 32"/>
                <a:gd name="T17" fmla="*/ 18 h 43"/>
                <a:gd name="T18" fmla="*/ 32 w 32"/>
                <a:gd name="T19" fmla="*/ 19 h 43"/>
                <a:gd name="T20" fmla="*/ 30 w 32"/>
                <a:gd name="T21" fmla="*/ 24 h 43"/>
                <a:gd name="T22" fmla="*/ 29 w 32"/>
                <a:gd name="T23" fmla="*/ 24 h 43"/>
                <a:gd name="T24" fmla="*/ 25 w 32"/>
                <a:gd name="T25" fmla="*/ 22 h 43"/>
                <a:gd name="T26" fmla="*/ 25 w 32"/>
                <a:gd name="T27" fmla="*/ 21 h 43"/>
                <a:gd name="T28" fmla="*/ 24 w 32"/>
                <a:gd name="T29" fmla="*/ 26 h 43"/>
                <a:gd name="T30" fmla="*/ 23 w 32"/>
                <a:gd name="T31" fmla="*/ 28 h 43"/>
                <a:gd name="T32" fmla="*/ 23 w 32"/>
                <a:gd name="T33" fmla="*/ 28 h 43"/>
                <a:gd name="T34" fmla="*/ 20 w 32"/>
                <a:gd name="T35" fmla="*/ 31 h 43"/>
                <a:gd name="T36" fmla="*/ 19 w 32"/>
                <a:gd name="T37" fmla="*/ 31 h 43"/>
                <a:gd name="T38" fmla="*/ 18 w 32"/>
                <a:gd name="T39" fmla="*/ 33 h 43"/>
                <a:gd name="T40" fmla="*/ 18 w 32"/>
                <a:gd name="T41" fmla="*/ 34 h 43"/>
                <a:gd name="T42" fmla="*/ 19 w 32"/>
                <a:gd name="T43" fmla="*/ 38 h 43"/>
                <a:gd name="T44" fmla="*/ 17 w 32"/>
                <a:gd name="T45" fmla="*/ 39 h 43"/>
                <a:gd name="T46" fmla="*/ 18 w 32"/>
                <a:gd name="T47" fmla="*/ 41 h 43"/>
                <a:gd name="T48" fmla="*/ 18 w 32"/>
                <a:gd name="T49" fmla="*/ 43 h 43"/>
                <a:gd name="T50" fmla="*/ 15 w 32"/>
                <a:gd name="T51" fmla="*/ 43 h 43"/>
                <a:gd name="T52" fmla="*/ 8 w 32"/>
                <a:gd name="T53" fmla="*/ 42 h 43"/>
                <a:gd name="T54" fmla="*/ 8 w 32"/>
                <a:gd name="T55" fmla="*/ 39 h 43"/>
                <a:gd name="T56" fmla="*/ 4 w 32"/>
                <a:gd name="T57" fmla="*/ 39 h 43"/>
                <a:gd name="T58" fmla="*/ 5 w 32"/>
                <a:gd name="T59" fmla="*/ 39 h 43"/>
                <a:gd name="T60" fmla="*/ 6 w 32"/>
                <a:gd name="T61" fmla="*/ 35 h 43"/>
                <a:gd name="T62" fmla="*/ 3 w 32"/>
                <a:gd name="T63" fmla="*/ 33 h 43"/>
                <a:gd name="T64" fmla="*/ 3 w 32"/>
                <a:gd name="T65" fmla="*/ 34 h 43"/>
                <a:gd name="T66" fmla="*/ 1 w 32"/>
                <a:gd name="T67" fmla="*/ 29 h 43"/>
                <a:gd name="T68" fmla="*/ 1 w 32"/>
                <a:gd name="T69" fmla="*/ 28 h 43"/>
                <a:gd name="T70" fmla="*/ 2 w 32"/>
                <a:gd name="T71" fmla="*/ 26 h 43"/>
                <a:gd name="T72" fmla="*/ 0 w 32"/>
                <a:gd name="T73" fmla="*/ 26 h 43"/>
                <a:gd name="T74" fmla="*/ 0 w 32"/>
                <a:gd name="T75" fmla="*/ 17 h 43"/>
                <a:gd name="T76" fmla="*/ 2 w 32"/>
                <a:gd name="T77" fmla="*/ 18 h 43"/>
                <a:gd name="T78" fmla="*/ 5 w 32"/>
                <a:gd name="T79" fmla="*/ 18 h 43"/>
                <a:gd name="T80" fmla="*/ 5 w 32"/>
                <a:gd name="T81" fmla="*/ 17 h 43"/>
                <a:gd name="T82" fmla="*/ 8 w 32"/>
                <a:gd name="T83" fmla="*/ 14 h 43"/>
                <a:gd name="T84" fmla="*/ 11 w 32"/>
                <a:gd name="T85" fmla="*/ 17 h 43"/>
                <a:gd name="T86" fmla="*/ 12 w 32"/>
                <a:gd name="T87" fmla="*/ 17 h 43"/>
                <a:gd name="T88" fmla="*/ 12 w 32"/>
                <a:gd name="T89" fmla="*/ 15 h 43"/>
                <a:gd name="T90" fmla="*/ 11 w 32"/>
                <a:gd name="T91" fmla="*/ 13 h 43"/>
                <a:gd name="T92" fmla="*/ 12 w 32"/>
                <a:gd name="T93" fmla="*/ 11 h 43"/>
                <a:gd name="T94" fmla="*/ 18 w 32"/>
                <a:gd name="T95" fmla="*/ 10 h 43"/>
                <a:gd name="T96" fmla="*/ 16 w 32"/>
                <a:gd name="T97" fmla="*/ 10 h 43"/>
                <a:gd name="T98" fmla="*/ 10 w 32"/>
                <a:gd name="T99" fmla="*/ 11 h 43"/>
                <a:gd name="T100" fmla="*/ 5 w 32"/>
                <a:gd name="T101" fmla="*/ 12 h 43"/>
                <a:gd name="T102" fmla="*/ 4 w 32"/>
                <a:gd name="T103" fmla="*/ 15 h 43"/>
                <a:gd name="T104" fmla="*/ 5 w 32"/>
                <a:gd name="T105" fmla="*/ 15 h 43"/>
                <a:gd name="T106" fmla="*/ 2 w 32"/>
                <a:gd name="T107" fmla="*/ 15 h 43"/>
                <a:gd name="T108" fmla="*/ 1 w 32"/>
                <a:gd name="T109" fmla="*/ 13 h 43"/>
                <a:gd name="T110" fmla="*/ 8 w 32"/>
                <a:gd name="T111" fmla="*/ 10 h 43"/>
                <a:gd name="T112" fmla="*/ 15 w 32"/>
                <a:gd name="T113" fmla="*/ 8 h 43"/>
                <a:gd name="T114" fmla="*/ 20 w 32"/>
                <a:gd name="T115" fmla="*/ 3 h 43"/>
                <a:gd name="T116" fmla="*/ 25 w 32"/>
                <a:gd name="T1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 h="43">
                  <a:moveTo>
                    <a:pt x="25" y="1"/>
                  </a:moveTo>
                  <a:lnTo>
                    <a:pt x="25" y="3"/>
                  </a:lnTo>
                  <a:lnTo>
                    <a:pt x="25" y="4"/>
                  </a:lnTo>
                  <a:lnTo>
                    <a:pt x="26" y="4"/>
                  </a:lnTo>
                  <a:lnTo>
                    <a:pt x="26" y="5"/>
                  </a:lnTo>
                  <a:lnTo>
                    <a:pt x="26" y="6"/>
                  </a:lnTo>
                  <a:lnTo>
                    <a:pt x="26" y="7"/>
                  </a:lnTo>
                  <a:lnTo>
                    <a:pt x="26" y="8"/>
                  </a:lnTo>
                  <a:lnTo>
                    <a:pt x="25" y="8"/>
                  </a:lnTo>
                  <a:lnTo>
                    <a:pt x="25" y="10"/>
                  </a:lnTo>
                  <a:lnTo>
                    <a:pt x="25" y="11"/>
                  </a:lnTo>
                  <a:lnTo>
                    <a:pt x="24" y="11"/>
                  </a:lnTo>
                  <a:lnTo>
                    <a:pt x="23" y="11"/>
                  </a:lnTo>
                  <a:lnTo>
                    <a:pt x="22" y="10"/>
                  </a:lnTo>
                  <a:lnTo>
                    <a:pt x="20" y="10"/>
                  </a:lnTo>
                  <a:lnTo>
                    <a:pt x="19" y="10"/>
                  </a:lnTo>
                  <a:lnTo>
                    <a:pt x="20" y="11"/>
                  </a:lnTo>
                  <a:lnTo>
                    <a:pt x="20" y="10"/>
                  </a:lnTo>
                  <a:lnTo>
                    <a:pt x="22" y="11"/>
                  </a:lnTo>
                  <a:lnTo>
                    <a:pt x="23" y="11"/>
                  </a:lnTo>
                  <a:lnTo>
                    <a:pt x="24" y="11"/>
                  </a:lnTo>
                  <a:lnTo>
                    <a:pt x="24" y="12"/>
                  </a:lnTo>
                  <a:lnTo>
                    <a:pt x="24" y="13"/>
                  </a:lnTo>
                  <a:lnTo>
                    <a:pt x="24" y="14"/>
                  </a:lnTo>
                  <a:lnTo>
                    <a:pt x="25" y="15"/>
                  </a:lnTo>
                  <a:lnTo>
                    <a:pt x="24" y="15"/>
                  </a:lnTo>
                  <a:lnTo>
                    <a:pt x="23" y="15"/>
                  </a:lnTo>
                  <a:lnTo>
                    <a:pt x="22" y="15"/>
                  </a:lnTo>
                  <a:lnTo>
                    <a:pt x="20" y="15"/>
                  </a:lnTo>
                  <a:lnTo>
                    <a:pt x="20" y="17"/>
                  </a:lnTo>
                  <a:lnTo>
                    <a:pt x="19" y="17"/>
                  </a:lnTo>
                  <a:lnTo>
                    <a:pt x="20" y="17"/>
                  </a:lnTo>
                  <a:lnTo>
                    <a:pt x="22" y="15"/>
                  </a:lnTo>
                  <a:lnTo>
                    <a:pt x="23" y="15"/>
                  </a:lnTo>
                  <a:lnTo>
                    <a:pt x="24" y="15"/>
                  </a:lnTo>
                  <a:lnTo>
                    <a:pt x="25" y="15"/>
                  </a:lnTo>
                  <a:lnTo>
                    <a:pt x="25" y="17"/>
                  </a:lnTo>
                  <a:lnTo>
                    <a:pt x="24" y="17"/>
                  </a:lnTo>
                  <a:lnTo>
                    <a:pt x="24" y="18"/>
                  </a:lnTo>
                  <a:lnTo>
                    <a:pt x="24" y="19"/>
                  </a:lnTo>
                  <a:lnTo>
                    <a:pt x="23" y="19"/>
                  </a:lnTo>
                  <a:lnTo>
                    <a:pt x="24" y="19"/>
                  </a:lnTo>
                  <a:lnTo>
                    <a:pt x="24" y="18"/>
                  </a:lnTo>
                  <a:lnTo>
                    <a:pt x="25" y="17"/>
                  </a:lnTo>
                  <a:lnTo>
                    <a:pt x="25" y="18"/>
                  </a:lnTo>
                  <a:lnTo>
                    <a:pt x="26" y="18"/>
                  </a:lnTo>
                  <a:lnTo>
                    <a:pt x="27" y="18"/>
                  </a:lnTo>
                  <a:lnTo>
                    <a:pt x="30" y="18"/>
                  </a:lnTo>
                  <a:lnTo>
                    <a:pt x="31" y="18"/>
                  </a:lnTo>
                  <a:lnTo>
                    <a:pt x="32" y="19"/>
                  </a:lnTo>
                  <a:lnTo>
                    <a:pt x="32" y="20"/>
                  </a:lnTo>
                  <a:lnTo>
                    <a:pt x="32" y="21"/>
                  </a:lnTo>
                  <a:lnTo>
                    <a:pt x="31" y="22"/>
                  </a:lnTo>
                  <a:lnTo>
                    <a:pt x="30" y="22"/>
                  </a:lnTo>
                  <a:lnTo>
                    <a:pt x="30" y="24"/>
                  </a:lnTo>
                  <a:lnTo>
                    <a:pt x="29" y="24"/>
                  </a:lnTo>
                  <a:lnTo>
                    <a:pt x="30" y="22"/>
                  </a:lnTo>
                  <a:lnTo>
                    <a:pt x="29" y="22"/>
                  </a:lnTo>
                  <a:lnTo>
                    <a:pt x="27" y="24"/>
                  </a:lnTo>
                  <a:lnTo>
                    <a:pt x="29" y="24"/>
                  </a:lnTo>
                  <a:lnTo>
                    <a:pt x="29" y="25"/>
                  </a:lnTo>
                  <a:lnTo>
                    <a:pt x="27" y="25"/>
                  </a:lnTo>
                  <a:lnTo>
                    <a:pt x="27" y="24"/>
                  </a:lnTo>
                  <a:lnTo>
                    <a:pt x="26" y="24"/>
                  </a:lnTo>
                  <a:lnTo>
                    <a:pt x="25" y="22"/>
                  </a:lnTo>
                  <a:lnTo>
                    <a:pt x="26" y="22"/>
                  </a:lnTo>
                  <a:lnTo>
                    <a:pt x="27" y="22"/>
                  </a:lnTo>
                  <a:lnTo>
                    <a:pt x="27" y="21"/>
                  </a:lnTo>
                  <a:lnTo>
                    <a:pt x="26" y="21"/>
                  </a:lnTo>
                  <a:lnTo>
                    <a:pt x="25" y="21"/>
                  </a:lnTo>
                  <a:lnTo>
                    <a:pt x="25" y="22"/>
                  </a:lnTo>
                  <a:lnTo>
                    <a:pt x="24" y="24"/>
                  </a:lnTo>
                  <a:lnTo>
                    <a:pt x="25" y="25"/>
                  </a:lnTo>
                  <a:lnTo>
                    <a:pt x="24" y="25"/>
                  </a:lnTo>
                  <a:lnTo>
                    <a:pt x="24" y="26"/>
                  </a:lnTo>
                  <a:lnTo>
                    <a:pt x="25" y="26"/>
                  </a:lnTo>
                  <a:lnTo>
                    <a:pt x="25" y="27"/>
                  </a:lnTo>
                  <a:lnTo>
                    <a:pt x="24" y="27"/>
                  </a:lnTo>
                  <a:lnTo>
                    <a:pt x="24" y="28"/>
                  </a:lnTo>
                  <a:lnTo>
                    <a:pt x="23" y="28"/>
                  </a:lnTo>
                  <a:lnTo>
                    <a:pt x="23" y="27"/>
                  </a:lnTo>
                  <a:lnTo>
                    <a:pt x="22" y="27"/>
                  </a:lnTo>
                  <a:lnTo>
                    <a:pt x="22" y="28"/>
                  </a:lnTo>
                  <a:lnTo>
                    <a:pt x="20" y="28"/>
                  </a:lnTo>
                  <a:lnTo>
                    <a:pt x="23" y="28"/>
                  </a:lnTo>
                  <a:lnTo>
                    <a:pt x="22" y="29"/>
                  </a:lnTo>
                  <a:lnTo>
                    <a:pt x="23" y="29"/>
                  </a:lnTo>
                  <a:lnTo>
                    <a:pt x="22" y="29"/>
                  </a:lnTo>
                  <a:lnTo>
                    <a:pt x="22" y="31"/>
                  </a:lnTo>
                  <a:lnTo>
                    <a:pt x="20" y="31"/>
                  </a:lnTo>
                  <a:lnTo>
                    <a:pt x="19" y="31"/>
                  </a:lnTo>
                  <a:lnTo>
                    <a:pt x="18" y="31"/>
                  </a:lnTo>
                  <a:lnTo>
                    <a:pt x="17" y="31"/>
                  </a:lnTo>
                  <a:lnTo>
                    <a:pt x="18" y="31"/>
                  </a:lnTo>
                  <a:lnTo>
                    <a:pt x="19" y="31"/>
                  </a:lnTo>
                  <a:lnTo>
                    <a:pt x="19" y="32"/>
                  </a:lnTo>
                  <a:lnTo>
                    <a:pt x="20" y="32"/>
                  </a:lnTo>
                  <a:lnTo>
                    <a:pt x="19" y="32"/>
                  </a:lnTo>
                  <a:lnTo>
                    <a:pt x="19" y="33"/>
                  </a:lnTo>
                  <a:lnTo>
                    <a:pt x="18" y="33"/>
                  </a:lnTo>
                  <a:lnTo>
                    <a:pt x="17" y="33"/>
                  </a:lnTo>
                  <a:lnTo>
                    <a:pt x="16" y="33"/>
                  </a:lnTo>
                  <a:lnTo>
                    <a:pt x="17" y="34"/>
                  </a:lnTo>
                  <a:lnTo>
                    <a:pt x="17" y="33"/>
                  </a:lnTo>
                  <a:lnTo>
                    <a:pt x="18" y="34"/>
                  </a:lnTo>
                  <a:lnTo>
                    <a:pt x="17" y="34"/>
                  </a:lnTo>
                  <a:lnTo>
                    <a:pt x="18" y="35"/>
                  </a:lnTo>
                  <a:lnTo>
                    <a:pt x="18" y="36"/>
                  </a:lnTo>
                  <a:lnTo>
                    <a:pt x="19" y="36"/>
                  </a:lnTo>
                  <a:lnTo>
                    <a:pt x="19" y="38"/>
                  </a:lnTo>
                  <a:lnTo>
                    <a:pt x="18" y="38"/>
                  </a:lnTo>
                  <a:lnTo>
                    <a:pt x="17" y="38"/>
                  </a:lnTo>
                  <a:lnTo>
                    <a:pt x="17" y="39"/>
                  </a:lnTo>
                  <a:lnTo>
                    <a:pt x="16" y="39"/>
                  </a:lnTo>
                  <a:lnTo>
                    <a:pt x="17" y="39"/>
                  </a:lnTo>
                  <a:lnTo>
                    <a:pt x="17" y="40"/>
                  </a:lnTo>
                  <a:lnTo>
                    <a:pt x="16" y="40"/>
                  </a:lnTo>
                  <a:lnTo>
                    <a:pt x="17" y="40"/>
                  </a:lnTo>
                  <a:lnTo>
                    <a:pt x="18" y="40"/>
                  </a:lnTo>
                  <a:lnTo>
                    <a:pt x="18" y="41"/>
                  </a:lnTo>
                  <a:lnTo>
                    <a:pt x="19" y="41"/>
                  </a:lnTo>
                  <a:lnTo>
                    <a:pt x="20" y="42"/>
                  </a:lnTo>
                  <a:lnTo>
                    <a:pt x="19" y="42"/>
                  </a:lnTo>
                  <a:lnTo>
                    <a:pt x="19" y="43"/>
                  </a:lnTo>
                  <a:lnTo>
                    <a:pt x="18" y="43"/>
                  </a:lnTo>
                  <a:lnTo>
                    <a:pt x="18" y="42"/>
                  </a:lnTo>
                  <a:lnTo>
                    <a:pt x="17" y="42"/>
                  </a:lnTo>
                  <a:lnTo>
                    <a:pt x="17" y="43"/>
                  </a:lnTo>
                  <a:lnTo>
                    <a:pt x="16" y="43"/>
                  </a:lnTo>
                  <a:lnTo>
                    <a:pt x="15" y="43"/>
                  </a:lnTo>
                  <a:lnTo>
                    <a:pt x="13" y="43"/>
                  </a:lnTo>
                  <a:lnTo>
                    <a:pt x="11" y="42"/>
                  </a:lnTo>
                  <a:lnTo>
                    <a:pt x="10" y="42"/>
                  </a:lnTo>
                  <a:lnTo>
                    <a:pt x="9" y="42"/>
                  </a:lnTo>
                  <a:lnTo>
                    <a:pt x="8" y="42"/>
                  </a:lnTo>
                  <a:lnTo>
                    <a:pt x="8" y="41"/>
                  </a:lnTo>
                  <a:lnTo>
                    <a:pt x="6" y="41"/>
                  </a:lnTo>
                  <a:lnTo>
                    <a:pt x="6" y="40"/>
                  </a:lnTo>
                  <a:lnTo>
                    <a:pt x="6" y="39"/>
                  </a:lnTo>
                  <a:lnTo>
                    <a:pt x="8" y="39"/>
                  </a:lnTo>
                  <a:lnTo>
                    <a:pt x="6" y="39"/>
                  </a:lnTo>
                  <a:lnTo>
                    <a:pt x="5" y="39"/>
                  </a:lnTo>
                  <a:lnTo>
                    <a:pt x="5" y="40"/>
                  </a:lnTo>
                  <a:lnTo>
                    <a:pt x="4" y="40"/>
                  </a:lnTo>
                  <a:lnTo>
                    <a:pt x="4" y="39"/>
                  </a:lnTo>
                  <a:lnTo>
                    <a:pt x="4" y="38"/>
                  </a:lnTo>
                  <a:lnTo>
                    <a:pt x="5" y="38"/>
                  </a:lnTo>
                  <a:lnTo>
                    <a:pt x="6" y="38"/>
                  </a:lnTo>
                  <a:lnTo>
                    <a:pt x="5" y="38"/>
                  </a:lnTo>
                  <a:lnTo>
                    <a:pt x="5" y="39"/>
                  </a:lnTo>
                  <a:lnTo>
                    <a:pt x="6" y="39"/>
                  </a:lnTo>
                  <a:lnTo>
                    <a:pt x="8" y="39"/>
                  </a:lnTo>
                  <a:lnTo>
                    <a:pt x="6" y="38"/>
                  </a:lnTo>
                  <a:lnTo>
                    <a:pt x="6" y="36"/>
                  </a:lnTo>
                  <a:lnTo>
                    <a:pt x="6" y="35"/>
                  </a:lnTo>
                  <a:lnTo>
                    <a:pt x="6" y="34"/>
                  </a:lnTo>
                  <a:lnTo>
                    <a:pt x="5" y="34"/>
                  </a:lnTo>
                  <a:lnTo>
                    <a:pt x="4" y="34"/>
                  </a:lnTo>
                  <a:lnTo>
                    <a:pt x="4" y="33"/>
                  </a:lnTo>
                  <a:lnTo>
                    <a:pt x="3" y="33"/>
                  </a:lnTo>
                  <a:lnTo>
                    <a:pt x="3" y="32"/>
                  </a:lnTo>
                  <a:lnTo>
                    <a:pt x="2" y="32"/>
                  </a:lnTo>
                  <a:lnTo>
                    <a:pt x="2" y="33"/>
                  </a:lnTo>
                  <a:lnTo>
                    <a:pt x="3" y="33"/>
                  </a:lnTo>
                  <a:lnTo>
                    <a:pt x="3" y="34"/>
                  </a:lnTo>
                  <a:lnTo>
                    <a:pt x="1" y="33"/>
                  </a:lnTo>
                  <a:lnTo>
                    <a:pt x="0" y="33"/>
                  </a:lnTo>
                  <a:lnTo>
                    <a:pt x="0" y="32"/>
                  </a:lnTo>
                  <a:lnTo>
                    <a:pt x="1" y="31"/>
                  </a:lnTo>
                  <a:lnTo>
                    <a:pt x="1" y="29"/>
                  </a:lnTo>
                  <a:lnTo>
                    <a:pt x="1" y="26"/>
                  </a:lnTo>
                  <a:lnTo>
                    <a:pt x="0" y="26"/>
                  </a:lnTo>
                  <a:lnTo>
                    <a:pt x="1" y="26"/>
                  </a:lnTo>
                  <a:lnTo>
                    <a:pt x="1" y="27"/>
                  </a:lnTo>
                  <a:lnTo>
                    <a:pt x="1" y="28"/>
                  </a:lnTo>
                  <a:lnTo>
                    <a:pt x="2" y="28"/>
                  </a:lnTo>
                  <a:lnTo>
                    <a:pt x="3" y="28"/>
                  </a:lnTo>
                  <a:lnTo>
                    <a:pt x="3" y="27"/>
                  </a:lnTo>
                  <a:lnTo>
                    <a:pt x="3" y="26"/>
                  </a:lnTo>
                  <a:lnTo>
                    <a:pt x="2" y="26"/>
                  </a:lnTo>
                  <a:lnTo>
                    <a:pt x="2" y="25"/>
                  </a:lnTo>
                  <a:lnTo>
                    <a:pt x="1" y="25"/>
                  </a:lnTo>
                  <a:lnTo>
                    <a:pt x="0" y="26"/>
                  </a:lnTo>
                  <a:lnTo>
                    <a:pt x="1" y="26"/>
                  </a:lnTo>
                  <a:lnTo>
                    <a:pt x="0" y="26"/>
                  </a:lnTo>
                  <a:lnTo>
                    <a:pt x="0" y="25"/>
                  </a:lnTo>
                  <a:lnTo>
                    <a:pt x="0" y="24"/>
                  </a:lnTo>
                  <a:lnTo>
                    <a:pt x="0" y="22"/>
                  </a:lnTo>
                  <a:lnTo>
                    <a:pt x="0" y="18"/>
                  </a:lnTo>
                  <a:lnTo>
                    <a:pt x="0" y="17"/>
                  </a:lnTo>
                  <a:lnTo>
                    <a:pt x="0" y="15"/>
                  </a:lnTo>
                  <a:lnTo>
                    <a:pt x="1" y="15"/>
                  </a:lnTo>
                  <a:lnTo>
                    <a:pt x="1" y="17"/>
                  </a:lnTo>
                  <a:lnTo>
                    <a:pt x="2" y="17"/>
                  </a:lnTo>
                  <a:lnTo>
                    <a:pt x="2" y="18"/>
                  </a:lnTo>
                  <a:lnTo>
                    <a:pt x="2" y="17"/>
                  </a:lnTo>
                  <a:lnTo>
                    <a:pt x="3" y="17"/>
                  </a:lnTo>
                  <a:lnTo>
                    <a:pt x="3" y="18"/>
                  </a:lnTo>
                  <a:lnTo>
                    <a:pt x="4" y="18"/>
                  </a:lnTo>
                  <a:lnTo>
                    <a:pt x="5" y="18"/>
                  </a:lnTo>
                  <a:lnTo>
                    <a:pt x="5" y="19"/>
                  </a:lnTo>
                  <a:lnTo>
                    <a:pt x="6" y="19"/>
                  </a:lnTo>
                  <a:lnTo>
                    <a:pt x="6" y="18"/>
                  </a:lnTo>
                  <a:lnTo>
                    <a:pt x="6" y="17"/>
                  </a:lnTo>
                  <a:lnTo>
                    <a:pt x="5" y="17"/>
                  </a:lnTo>
                  <a:lnTo>
                    <a:pt x="6" y="17"/>
                  </a:lnTo>
                  <a:lnTo>
                    <a:pt x="8" y="15"/>
                  </a:lnTo>
                  <a:lnTo>
                    <a:pt x="9" y="15"/>
                  </a:lnTo>
                  <a:lnTo>
                    <a:pt x="8" y="15"/>
                  </a:lnTo>
                  <a:lnTo>
                    <a:pt x="8" y="14"/>
                  </a:lnTo>
                  <a:lnTo>
                    <a:pt x="9" y="14"/>
                  </a:lnTo>
                  <a:lnTo>
                    <a:pt x="10" y="14"/>
                  </a:lnTo>
                  <a:lnTo>
                    <a:pt x="11" y="14"/>
                  </a:lnTo>
                  <a:lnTo>
                    <a:pt x="11" y="15"/>
                  </a:lnTo>
                  <a:lnTo>
                    <a:pt x="11" y="17"/>
                  </a:lnTo>
                  <a:lnTo>
                    <a:pt x="10" y="17"/>
                  </a:lnTo>
                  <a:lnTo>
                    <a:pt x="10" y="18"/>
                  </a:lnTo>
                  <a:lnTo>
                    <a:pt x="11" y="18"/>
                  </a:lnTo>
                  <a:lnTo>
                    <a:pt x="11" y="17"/>
                  </a:lnTo>
                  <a:lnTo>
                    <a:pt x="12" y="17"/>
                  </a:lnTo>
                  <a:lnTo>
                    <a:pt x="12" y="18"/>
                  </a:lnTo>
                  <a:lnTo>
                    <a:pt x="13" y="18"/>
                  </a:lnTo>
                  <a:lnTo>
                    <a:pt x="13" y="17"/>
                  </a:lnTo>
                  <a:lnTo>
                    <a:pt x="13" y="15"/>
                  </a:lnTo>
                  <a:lnTo>
                    <a:pt x="12" y="15"/>
                  </a:lnTo>
                  <a:lnTo>
                    <a:pt x="11" y="15"/>
                  </a:lnTo>
                  <a:lnTo>
                    <a:pt x="12" y="15"/>
                  </a:lnTo>
                  <a:lnTo>
                    <a:pt x="12" y="14"/>
                  </a:lnTo>
                  <a:lnTo>
                    <a:pt x="11" y="14"/>
                  </a:lnTo>
                  <a:lnTo>
                    <a:pt x="11" y="13"/>
                  </a:lnTo>
                  <a:lnTo>
                    <a:pt x="12" y="13"/>
                  </a:lnTo>
                  <a:lnTo>
                    <a:pt x="11" y="13"/>
                  </a:lnTo>
                  <a:lnTo>
                    <a:pt x="11" y="12"/>
                  </a:lnTo>
                  <a:lnTo>
                    <a:pt x="12" y="12"/>
                  </a:lnTo>
                  <a:lnTo>
                    <a:pt x="12" y="11"/>
                  </a:lnTo>
                  <a:lnTo>
                    <a:pt x="15" y="11"/>
                  </a:lnTo>
                  <a:lnTo>
                    <a:pt x="16" y="11"/>
                  </a:lnTo>
                  <a:lnTo>
                    <a:pt x="16" y="12"/>
                  </a:lnTo>
                  <a:lnTo>
                    <a:pt x="17" y="11"/>
                  </a:lnTo>
                  <a:lnTo>
                    <a:pt x="18" y="10"/>
                  </a:lnTo>
                  <a:lnTo>
                    <a:pt x="18" y="11"/>
                  </a:lnTo>
                  <a:lnTo>
                    <a:pt x="19" y="10"/>
                  </a:lnTo>
                  <a:lnTo>
                    <a:pt x="18" y="10"/>
                  </a:lnTo>
                  <a:lnTo>
                    <a:pt x="17" y="10"/>
                  </a:lnTo>
                  <a:lnTo>
                    <a:pt x="16" y="10"/>
                  </a:lnTo>
                  <a:lnTo>
                    <a:pt x="16" y="11"/>
                  </a:lnTo>
                  <a:lnTo>
                    <a:pt x="15" y="11"/>
                  </a:lnTo>
                  <a:lnTo>
                    <a:pt x="12" y="11"/>
                  </a:lnTo>
                  <a:lnTo>
                    <a:pt x="10" y="10"/>
                  </a:lnTo>
                  <a:lnTo>
                    <a:pt x="10" y="11"/>
                  </a:lnTo>
                  <a:lnTo>
                    <a:pt x="9" y="11"/>
                  </a:lnTo>
                  <a:lnTo>
                    <a:pt x="8" y="11"/>
                  </a:lnTo>
                  <a:lnTo>
                    <a:pt x="8" y="12"/>
                  </a:lnTo>
                  <a:lnTo>
                    <a:pt x="6" y="12"/>
                  </a:lnTo>
                  <a:lnTo>
                    <a:pt x="5" y="12"/>
                  </a:lnTo>
                  <a:lnTo>
                    <a:pt x="5" y="13"/>
                  </a:lnTo>
                  <a:lnTo>
                    <a:pt x="4" y="14"/>
                  </a:lnTo>
                  <a:lnTo>
                    <a:pt x="3" y="14"/>
                  </a:lnTo>
                  <a:lnTo>
                    <a:pt x="4" y="14"/>
                  </a:lnTo>
                  <a:lnTo>
                    <a:pt x="4" y="15"/>
                  </a:lnTo>
                  <a:lnTo>
                    <a:pt x="3" y="15"/>
                  </a:lnTo>
                  <a:lnTo>
                    <a:pt x="4" y="15"/>
                  </a:lnTo>
                  <a:lnTo>
                    <a:pt x="3" y="15"/>
                  </a:lnTo>
                  <a:lnTo>
                    <a:pt x="4" y="15"/>
                  </a:lnTo>
                  <a:lnTo>
                    <a:pt x="5" y="15"/>
                  </a:lnTo>
                  <a:lnTo>
                    <a:pt x="5" y="17"/>
                  </a:lnTo>
                  <a:lnTo>
                    <a:pt x="4" y="17"/>
                  </a:lnTo>
                  <a:lnTo>
                    <a:pt x="3" y="17"/>
                  </a:lnTo>
                  <a:lnTo>
                    <a:pt x="3" y="15"/>
                  </a:lnTo>
                  <a:lnTo>
                    <a:pt x="2" y="15"/>
                  </a:lnTo>
                  <a:lnTo>
                    <a:pt x="2" y="14"/>
                  </a:lnTo>
                  <a:lnTo>
                    <a:pt x="1" y="14"/>
                  </a:lnTo>
                  <a:lnTo>
                    <a:pt x="1" y="15"/>
                  </a:lnTo>
                  <a:lnTo>
                    <a:pt x="1" y="14"/>
                  </a:lnTo>
                  <a:lnTo>
                    <a:pt x="1" y="13"/>
                  </a:lnTo>
                  <a:lnTo>
                    <a:pt x="3" y="11"/>
                  </a:lnTo>
                  <a:lnTo>
                    <a:pt x="4" y="10"/>
                  </a:lnTo>
                  <a:lnTo>
                    <a:pt x="5" y="10"/>
                  </a:lnTo>
                  <a:lnTo>
                    <a:pt x="6" y="10"/>
                  </a:lnTo>
                  <a:lnTo>
                    <a:pt x="8" y="10"/>
                  </a:lnTo>
                  <a:lnTo>
                    <a:pt x="9" y="8"/>
                  </a:lnTo>
                  <a:lnTo>
                    <a:pt x="11" y="8"/>
                  </a:lnTo>
                  <a:lnTo>
                    <a:pt x="12" y="8"/>
                  </a:lnTo>
                  <a:lnTo>
                    <a:pt x="13" y="8"/>
                  </a:lnTo>
                  <a:lnTo>
                    <a:pt x="15" y="8"/>
                  </a:lnTo>
                  <a:lnTo>
                    <a:pt x="16" y="7"/>
                  </a:lnTo>
                  <a:lnTo>
                    <a:pt x="18" y="4"/>
                  </a:lnTo>
                  <a:lnTo>
                    <a:pt x="19" y="4"/>
                  </a:lnTo>
                  <a:lnTo>
                    <a:pt x="19" y="3"/>
                  </a:lnTo>
                  <a:lnTo>
                    <a:pt x="20" y="3"/>
                  </a:lnTo>
                  <a:lnTo>
                    <a:pt x="22" y="3"/>
                  </a:lnTo>
                  <a:lnTo>
                    <a:pt x="23" y="3"/>
                  </a:lnTo>
                  <a:lnTo>
                    <a:pt x="23" y="1"/>
                  </a:lnTo>
                  <a:lnTo>
                    <a:pt x="24" y="1"/>
                  </a:lnTo>
                  <a:lnTo>
                    <a:pt x="25" y="0"/>
                  </a:lnTo>
                  <a:lnTo>
                    <a:pt x="26" y="0"/>
                  </a:lnTo>
                  <a:lnTo>
                    <a:pt x="27" y="0"/>
                  </a:lnTo>
                  <a:lnTo>
                    <a:pt x="26" y="0"/>
                  </a:lnTo>
                  <a:lnTo>
                    <a:pt x="25"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41" name="Freeform 1105">
              <a:extLst>
                <a:ext uri="{FF2B5EF4-FFF2-40B4-BE49-F238E27FC236}">
                  <a16:creationId xmlns:a16="http://schemas.microsoft.com/office/drawing/2014/main" id="{155D2B39-81FE-4D56-BD06-CB07E6AC7209}"/>
                </a:ext>
              </a:extLst>
            </p:cNvPr>
            <p:cNvSpPr>
              <a:spLocks/>
            </p:cNvSpPr>
            <p:nvPr/>
          </p:nvSpPr>
          <p:spPr bwMode="auto">
            <a:xfrm>
              <a:off x="5730304" y="2604661"/>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42" name="Freeform 1106">
              <a:extLst>
                <a:ext uri="{FF2B5EF4-FFF2-40B4-BE49-F238E27FC236}">
                  <a16:creationId xmlns:a16="http://schemas.microsoft.com/office/drawing/2014/main" id="{4C370E98-19DD-4662-86B2-7112B8B4395B}"/>
                </a:ext>
              </a:extLst>
            </p:cNvPr>
            <p:cNvSpPr>
              <a:spLocks/>
            </p:cNvSpPr>
            <p:nvPr/>
          </p:nvSpPr>
          <p:spPr bwMode="auto">
            <a:xfrm>
              <a:off x="5763692" y="260466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43" name="Freeform 1107">
              <a:extLst>
                <a:ext uri="{FF2B5EF4-FFF2-40B4-BE49-F238E27FC236}">
                  <a16:creationId xmlns:a16="http://schemas.microsoft.com/office/drawing/2014/main" id="{866ED978-F503-47E2-B36B-97B4B10561B5}"/>
                </a:ext>
              </a:extLst>
            </p:cNvPr>
            <p:cNvSpPr>
              <a:spLocks/>
            </p:cNvSpPr>
            <p:nvPr/>
          </p:nvSpPr>
          <p:spPr bwMode="auto">
            <a:xfrm>
              <a:off x="5738317" y="260466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44" name="Freeform 1108">
              <a:extLst>
                <a:ext uri="{FF2B5EF4-FFF2-40B4-BE49-F238E27FC236}">
                  <a16:creationId xmlns:a16="http://schemas.microsoft.com/office/drawing/2014/main" id="{FB420EFA-B44B-472A-9B2A-69E150A563E6}"/>
                </a:ext>
              </a:extLst>
            </p:cNvPr>
            <p:cNvSpPr>
              <a:spLocks/>
            </p:cNvSpPr>
            <p:nvPr/>
          </p:nvSpPr>
          <p:spPr bwMode="auto">
            <a:xfrm>
              <a:off x="5738317" y="2604661"/>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45" name="Freeform 1109">
              <a:extLst>
                <a:ext uri="{FF2B5EF4-FFF2-40B4-BE49-F238E27FC236}">
                  <a16:creationId xmlns:a16="http://schemas.microsoft.com/office/drawing/2014/main" id="{DC13164C-9DFE-42F0-8B19-4BAEF56F0184}"/>
                </a:ext>
              </a:extLst>
            </p:cNvPr>
            <p:cNvSpPr>
              <a:spLocks/>
            </p:cNvSpPr>
            <p:nvPr/>
          </p:nvSpPr>
          <p:spPr bwMode="auto">
            <a:xfrm>
              <a:off x="5754343" y="2601990"/>
              <a:ext cx="1336" cy="1336"/>
            </a:xfrm>
            <a:custGeom>
              <a:avLst/>
              <a:gdLst>
                <a:gd name="T0" fmla="*/ 1 w 1"/>
                <a:gd name="T1" fmla="*/ 1 h 1"/>
                <a:gd name="T2" fmla="*/ 1 w 1"/>
                <a:gd name="T3" fmla="*/ 1 h 1"/>
                <a:gd name="T4" fmla="*/ 0 w 1"/>
                <a:gd name="T5" fmla="*/ 1 h 1"/>
                <a:gd name="T6" fmla="*/ 0 w 1"/>
                <a:gd name="T7" fmla="*/ 0 h 1"/>
                <a:gd name="T8" fmla="*/ 1 w 1"/>
                <a:gd name="T9" fmla="*/ 0 h 1"/>
                <a:gd name="T10" fmla="*/ 1 w 1"/>
                <a:gd name="T11" fmla="*/ 1 h 1"/>
                <a:gd name="T12" fmla="*/ 1 w 1"/>
                <a:gd name="T13" fmla="*/ 1 h 1"/>
                <a:gd name="T14" fmla="*/ 1 w 1"/>
                <a:gd name="T15" fmla="*/ 1 h 1"/>
                <a:gd name="T16" fmla="*/ 1 w 1"/>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
                  <a:moveTo>
                    <a:pt x="1" y="1"/>
                  </a:moveTo>
                  <a:lnTo>
                    <a:pt x="1" y="1"/>
                  </a:lnTo>
                  <a:lnTo>
                    <a:pt x="0" y="1"/>
                  </a:lnTo>
                  <a:lnTo>
                    <a:pt x="0" y="0"/>
                  </a:lnTo>
                  <a:lnTo>
                    <a:pt x="1" y="0"/>
                  </a:lnTo>
                  <a:lnTo>
                    <a:pt x="1" y="1"/>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46" name="Freeform 1110">
              <a:extLst>
                <a:ext uri="{FF2B5EF4-FFF2-40B4-BE49-F238E27FC236}">
                  <a16:creationId xmlns:a16="http://schemas.microsoft.com/office/drawing/2014/main" id="{7F24F56D-82F1-4BBB-A522-FE2AD527CCEC}"/>
                </a:ext>
              </a:extLst>
            </p:cNvPr>
            <p:cNvSpPr>
              <a:spLocks/>
            </p:cNvSpPr>
            <p:nvPr/>
          </p:nvSpPr>
          <p:spPr bwMode="auto">
            <a:xfrm>
              <a:off x="5711608" y="258863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47" name="Freeform 1111">
              <a:extLst>
                <a:ext uri="{FF2B5EF4-FFF2-40B4-BE49-F238E27FC236}">
                  <a16:creationId xmlns:a16="http://schemas.microsoft.com/office/drawing/2014/main" id="{A31B2B76-6E10-4ADD-BDB6-66EF8332BF82}"/>
                </a:ext>
              </a:extLst>
            </p:cNvPr>
            <p:cNvSpPr>
              <a:spLocks/>
            </p:cNvSpPr>
            <p:nvPr/>
          </p:nvSpPr>
          <p:spPr bwMode="auto">
            <a:xfrm>
              <a:off x="5711608" y="2588635"/>
              <a:ext cx="2671" cy="1336"/>
            </a:xfrm>
            <a:custGeom>
              <a:avLst/>
              <a:gdLst>
                <a:gd name="T0" fmla="*/ 2 w 2"/>
                <a:gd name="T1" fmla="*/ 0 h 1"/>
                <a:gd name="T2" fmla="*/ 2 w 2"/>
                <a:gd name="T3" fmla="*/ 0 h 1"/>
                <a:gd name="T4" fmla="*/ 2 w 2"/>
                <a:gd name="T5" fmla="*/ 0 h 1"/>
                <a:gd name="T6" fmla="*/ 2 w 2"/>
                <a:gd name="T7" fmla="*/ 0 h 1"/>
                <a:gd name="T8" fmla="*/ 2 w 2"/>
                <a:gd name="T9" fmla="*/ 1 h 1"/>
                <a:gd name="T10" fmla="*/ 2 w 2"/>
                <a:gd name="T11" fmla="*/ 1 h 1"/>
                <a:gd name="T12" fmla="*/ 0 w 2"/>
                <a:gd name="T13" fmla="*/ 1 h 1"/>
                <a:gd name="T14" fmla="*/ 0 w 2"/>
                <a:gd name="T15" fmla="*/ 1 h 1"/>
                <a:gd name="T16" fmla="*/ 0 w 2"/>
                <a:gd name="T17" fmla="*/ 0 h 1"/>
                <a:gd name="T18" fmla="*/ 0 w 2"/>
                <a:gd name="T19" fmla="*/ 0 h 1"/>
                <a:gd name="T20" fmla="*/ 0 w 2"/>
                <a:gd name="T21" fmla="*/ 0 h 1"/>
                <a:gd name="T22" fmla="*/ 0 w 2"/>
                <a:gd name="T23" fmla="*/ 0 h 1"/>
                <a:gd name="T24" fmla="*/ 0 w 2"/>
                <a:gd name="T25" fmla="*/ 0 h 1"/>
                <a:gd name="T26" fmla="*/ 2 w 2"/>
                <a:gd name="T27" fmla="*/ 0 h 1"/>
                <a:gd name="T28" fmla="*/ 2 w 2"/>
                <a:gd name="T2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1">
                  <a:moveTo>
                    <a:pt x="2" y="0"/>
                  </a:moveTo>
                  <a:lnTo>
                    <a:pt x="2" y="0"/>
                  </a:lnTo>
                  <a:lnTo>
                    <a:pt x="2" y="0"/>
                  </a:lnTo>
                  <a:lnTo>
                    <a:pt x="2" y="0"/>
                  </a:lnTo>
                  <a:lnTo>
                    <a:pt x="2" y="1"/>
                  </a:lnTo>
                  <a:lnTo>
                    <a:pt x="2" y="1"/>
                  </a:lnTo>
                  <a:lnTo>
                    <a:pt x="0" y="1"/>
                  </a:lnTo>
                  <a:lnTo>
                    <a:pt x="0" y="1"/>
                  </a:lnTo>
                  <a:lnTo>
                    <a:pt x="0" y="0"/>
                  </a:lnTo>
                  <a:lnTo>
                    <a:pt x="0" y="0"/>
                  </a:lnTo>
                  <a:lnTo>
                    <a:pt x="0" y="0"/>
                  </a:lnTo>
                  <a:lnTo>
                    <a:pt x="0" y="0"/>
                  </a:lnTo>
                  <a:lnTo>
                    <a:pt x="0"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48" name="Freeform 1112">
              <a:extLst>
                <a:ext uri="{FF2B5EF4-FFF2-40B4-BE49-F238E27FC236}">
                  <a16:creationId xmlns:a16="http://schemas.microsoft.com/office/drawing/2014/main" id="{E147A1FF-B725-4D26-9C9E-5358ECEFD240}"/>
                </a:ext>
              </a:extLst>
            </p:cNvPr>
            <p:cNvSpPr>
              <a:spLocks/>
            </p:cNvSpPr>
            <p:nvPr/>
          </p:nvSpPr>
          <p:spPr bwMode="auto">
            <a:xfrm>
              <a:off x="5793073" y="2549906"/>
              <a:ext cx="1336" cy="1336"/>
            </a:xfrm>
            <a:custGeom>
              <a:avLst/>
              <a:gdLst>
                <a:gd name="T0" fmla="*/ 1 w 1"/>
                <a:gd name="T1" fmla="*/ 1 h 1"/>
                <a:gd name="T2" fmla="*/ 1 w 1"/>
                <a:gd name="T3" fmla="*/ 1 h 1"/>
                <a:gd name="T4" fmla="*/ 0 w 1"/>
                <a:gd name="T5" fmla="*/ 1 h 1"/>
                <a:gd name="T6" fmla="*/ 0 w 1"/>
                <a:gd name="T7" fmla="*/ 1 h 1"/>
                <a:gd name="T8" fmla="*/ 0 w 1"/>
                <a:gd name="T9" fmla="*/ 0 h 1"/>
                <a:gd name="T10" fmla="*/ 0 w 1"/>
                <a:gd name="T11" fmla="*/ 0 h 1"/>
                <a:gd name="T12" fmla="*/ 0 w 1"/>
                <a:gd name="T13" fmla="*/ 0 h 1"/>
                <a:gd name="T14" fmla="*/ 0 w 1"/>
                <a:gd name="T15" fmla="*/ 0 h 1"/>
                <a:gd name="T16" fmla="*/ 0 w 1"/>
                <a:gd name="T17" fmla="*/ 0 h 1"/>
                <a:gd name="T18" fmla="*/ 0 w 1"/>
                <a:gd name="T19" fmla="*/ 0 h 1"/>
                <a:gd name="T20" fmla="*/ 0 w 1"/>
                <a:gd name="T21" fmla="*/ 0 h 1"/>
                <a:gd name="T22" fmla="*/ 1 w 1"/>
                <a:gd name="T23" fmla="*/ 0 h 1"/>
                <a:gd name="T24" fmla="*/ 1 w 1"/>
                <a:gd name="T25" fmla="*/ 0 h 1"/>
                <a:gd name="T26" fmla="*/ 1 w 1"/>
                <a:gd name="T27" fmla="*/ 1 h 1"/>
                <a:gd name="T28" fmla="*/ 1 w 1"/>
                <a:gd name="T2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 h="1">
                  <a:moveTo>
                    <a:pt x="1" y="1"/>
                  </a:moveTo>
                  <a:lnTo>
                    <a:pt x="1" y="1"/>
                  </a:lnTo>
                  <a:lnTo>
                    <a:pt x="0" y="1"/>
                  </a:lnTo>
                  <a:lnTo>
                    <a:pt x="0" y="1"/>
                  </a:lnTo>
                  <a:lnTo>
                    <a:pt x="0" y="0"/>
                  </a:lnTo>
                  <a:lnTo>
                    <a:pt x="0" y="0"/>
                  </a:lnTo>
                  <a:lnTo>
                    <a:pt x="0" y="0"/>
                  </a:lnTo>
                  <a:lnTo>
                    <a:pt x="0" y="0"/>
                  </a:lnTo>
                  <a:lnTo>
                    <a:pt x="0" y="0"/>
                  </a:lnTo>
                  <a:lnTo>
                    <a:pt x="0" y="0"/>
                  </a:lnTo>
                  <a:lnTo>
                    <a:pt x="0" y="0"/>
                  </a:lnTo>
                  <a:lnTo>
                    <a:pt x="1" y="0"/>
                  </a:lnTo>
                  <a:lnTo>
                    <a:pt x="1" y="0"/>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49" name="Freeform 1113">
              <a:extLst>
                <a:ext uri="{FF2B5EF4-FFF2-40B4-BE49-F238E27FC236}">
                  <a16:creationId xmlns:a16="http://schemas.microsoft.com/office/drawing/2014/main" id="{54507639-80DD-4167-9080-8BD3075B0361}"/>
                </a:ext>
              </a:extLst>
            </p:cNvPr>
            <p:cNvSpPr>
              <a:spLocks/>
            </p:cNvSpPr>
            <p:nvPr/>
          </p:nvSpPr>
          <p:spPr bwMode="auto">
            <a:xfrm>
              <a:off x="5830466" y="2529874"/>
              <a:ext cx="2671" cy="1336"/>
            </a:xfrm>
            <a:custGeom>
              <a:avLst/>
              <a:gdLst>
                <a:gd name="T0" fmla="*/ 1 w 2"/>
                <a:gd name="T1" fmla="*/ 0 h 1"/>
                <a:gd name="T2" fmla="*/ 1 w 2"/>
                <a:gd name="T3" fmla="*/ 0 h 1"/>
                <a:gd name="T4" fmla="*/ 2 w 2"/>
                <a:gd name="T5" fmla="*/ 1 h 1"/>
                <a:gd name="T6" fmla="*/ 2 w 2"/>
                <a:gd name="T7" fmla="*/ 1 h 1"/>
                <a:gd name="T8" fmla="*/ 2 w 2"/>
                <a:gd name="T9" fmla="*/ 1 h 1"/>
                <a:gd name="T10" fmla="*/ 2 w 2"/>
                <a:gd name="T11" fmla="*/ 1 h 1"/>
                <a:gd name="T12" fmla="*/ 2 w 2"/>
                <a:gd name="T13" fmla="*/ 1 h 1"/>
                <a:gd name="T14" fmla="*/ 2 w 2"/>
                <a:gd name="T15" fmla="*/ 1 h 1"/>
                <a:gd name="T16" fmla="*/ 1 w 2"/>
                <a:gd name="T17" fmla="*/ 1 h 1"/>
                <a:gd name="T18" fmla="*/ 1 w 2"/>
                <a:gd name="T19" fmla="*/ 1 h 1"/>
                <a:gd name="T20" fmla="*/ 1 w 2"/>
                <a:gd name="T21" fmla="*/ 1 h 1"/>
                <a:gd name="T22" fmla="*/ 1 w 2"/>
                <a:gd name="T23" fmla="*/ 1 h 1"/>
                <a:gd name="T24" fmla="*/ 0 w 2"/>
                <a:gd name="T25" fmla="*/ 1 h 1"/>
                <a:gd name="T26" fmla="*/ 0 w 2"/>
                <a:gd name="T27" fmla="*/ 1 h 1"/>
                <a:gd name="T28" fmla="*/ 0 w 2"/>
                <a:gd name="T29" fmla="*/ 1 h 1"/>
                <a:gd name="T30" fmla="*/ 0 w 2"/>
                <a:gd name="T31" fmla="*/ 1 h 1"/>
                <a:gd name="T32" fmla="*/ 0 w 2"/>
                <a:gd name="T33" fmla="*/ 1 h 1"/>
                <a:gd name="T34" fmla="*/ 0 w 2"/>
                <a:gd name="T35" fmla="*/ 1 h 1"/>
                <a:gd name="T36" fmla="*/ 0 w 2"/>
                <a:gd name="T37" fmla="*/ 1 h 1"/>
                <a:gd name="T38" fmla="*/ 0 w 2"/>
                <a:gd name="T39" fmla="*/ 0 h 1"/>
                <a:gd name="T40" fmla="*/ 0 w 2"/>
                <a:gd name="T41" fmla="*/ 0 h 1"/>
                <a:gd name="T42" fmla="*/ 0 w 2"/>
                <a:gd name="T43" fmla="*/ 0 h 1"/>
                <a:gd name="T44" fmla="*/ 0 w 2"/>
                <a:gd name="T45" fmla="*/ 0 h 1"/>
                <a:gd name="T46" fmla="*/ 0 w 2"/>
                <a:gd name="T47" fmla="*/ 0 h 1"/>
                <a:gd name="T48" fmla="*/ 0 w 2"/>
                <a:gd name="T49" fmla="*/ 0 h 1"/>
                <a:gd name="T50" fmla="*/ 0 w 2"/>
                <a:gd name="T51" fmla="*/ 0 h 1"/>
                <a:gd name="T52" fmla="*/ 1 w 2"/>
                <a:gd name="T53" fmla="*/ 0 h 1"/>
                <a:gd name="T54" fmla="*/ 1 w 2"/>
                <a:gd name="T55" fmla="*/ 0 h 1"/>
                <a:gd name="T56" fmla="*/ 1 w 2"/>
                <a:gd name="T57" fmla="*/ 0 h 1"/>
                <a:gd name="T58" fmla="*/ 1 w 2"/>
                <a:gd name="T59" fmla="*/ 0 h 1"/>
                <a:gd name="T60" fmla="*/ 1 w 2"/>
                <a:gd name="T61" fmla="*/ 0 h 1"/>
                <a:gd name="T62" fmla="*/ 1 w 2"/>
                <a:gd name="T63" fmla="*/ 0 h 1"/>
                <a:gd name="T64" fmla="*/ 1 w 2"/>
                <a:gd name="T6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1">
                  <a:moveTo>
                    <a:pt x="1" y="0"/>
                  </a:moveTo>
                  <a:lnTo>
                    <a:pt x="1" y="0"/>
                  </a:lnTo>
                  <a:lnTo>
                    <a:pt x="2" y="1"/>
                  </a:lnTo>
                  <a:lnTo>
                    <a:pt x="2" y="1"/>
                  </a:lnTo>
                  <a:lnTo>
                    <a:pt x="2" y="1"/>
                  </a:lnTo>
                  <a:lnTo>
                    <a:pt x="2" y="1"/>
                  </a:lnTo>
                  <a:lnTo>
                    <a:pt x="2" y="1"/>
                  </a:lnTo>
                  <a:lnTo>
                    <a:pt x="2" y="1"/>
                  </a:lnTo>
                  <a:lnTo>
                    <a:pt x="1" y="1"/>
                  </a:lnTo>
                  <a:lnTo>
                    <a:pt x="1" y="1"/>
                  </a:lnTo>
                  <a:lnTo>
                    <a:pt x="1" y="1"/>
                  </a:lnTo>
                  <a:lnTo>
                    <a:pt x="1" y="1"/>
                  </a:lnTo>
                  <a:lnTo>
                    <a:pt x="0" y="1"/>
                  </a:lnTo>
                  <a:lnTo>
                    <a:pt x="0" y="1"/>
                  </a:lnTo>
                  <a:lnTo>
                    <a:pt x="0" y="1"/>
                  </a:lnTo>
                  <a:lnTo>
                    <a:pt x="0" y="1"/>
                  </a:lnTo>
                  <a:lnTo>
                    <a:pt x="0" y="1"/>
                  </a:lnTo>
                  <a:lnTo>
                    <a:pt x="0" y="1"/>
                  </a:lnTo>
                  <a:lnTo>
                    <a:pt x="0" y="1"/>
                  </a:lnTo>
                  <a:lnTo>
                    <a:pt x="0" y="0"/>
                  </a:lnTo>
                  <a:lnTo>
                    <a:pt x="0" y="0"/>
                  </a:lnTo>
                  <a:lnTo>
                    <a:pt x="0" y="0"/>
                  </a:lnTo>
                  <a:lnTo>
                    <a:pt x="0" y="0"/>
                  </a:lnTo>
                  <a:lnTo>
                    <a:pt x="0" y="0"/>
                  </a:lnTo>
                  <a:lnTo>
                    <a:pt x="0" y="0"/>
                  </a:lnTo>
                  <a:lnTo>
                    <a:pt x="0" y="0"/>
                  </a:lnTo>
                  <a:lnTo>
                    <a:pt x="1"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50" name="Freeform 1114">
              <a:extLst>
                <a:ext uri="{FF2B5EF4-FFF2-40B4-BE49-F238E27FC236}">
                  <a16:creationId xmlns:a16="http://schemas.microsoft.com/office/drawing/2014/main" id="{A9B12314-2543-4E7D-89C5-FB7420F5D264}"/>
                </a:ext>
              </a:extLst>
            </p:cNvPr>
            <p:cNvSpPr>
              <a:spLocks/>
            </p:cNvSpPr>
            <p:nvPr/>
          </p:nvSpPr>
          <p:spPr bwMode="auto">
            <a:xfrm>
              <a:off x="5827795" y="2521861"/>
              <a:ext cx="6678" cy="6678"/>
            </a:xfrm>
            <a:custGeom>
              <a:avLst/>
              <a:gdLst>
                <a:gd name="T0" fmla="*/ 4 w 5"/>
                <a:gd name="T1" fmla="*/ 0 h 5"/>
                <a:gd name="T2" fmla="*/ 5 w 5"/>
                <a:gd name="T3" fmla="*/ 0 h 5"/>
                <a:gd name="T4" fmla="*/ 5 w 5"/>
                <a:gd name="T5" fmla="*/ 1 h 5"/>
                <a:gd name="T6" fmla="*/ 5 w 5"/>
                <a:gd name="T7" fmla="*/ 1 h 5"/>
                <a:gd name="T8" fmla="*/ 4 w 5"/>
                <a:gd name="T9" fmla="*/ 1 h 5"/>
                <a:gd name="T10" fmla="*/ 4 w 5"/>
                <a:gd name="T11" fmla="*/ 2 h 5"/>
                <a:gd name="T12" fmla="*/ 4 w 5"/>
                <a:gd name="T13" fmla="*/ 2 h 5"/>
                <a:gd name="T14" fmla="*/ 3 w 5"/>
                <a:gd name="T15" fmla="*/ 4 h 5"/>
                <a:gd name="T16" fmla="*/ 3 w 5"/>
                <a:gd name="T17" fmla="*/ 4 h 5"/>
                <a:gd name="T18" fmla="*/ 3 w 5"/>
                <a:gd name="T19" fmla="*/ 4 h 5"/>
                <a:gd name="T20" fmla="*/ 2 w 5"/>
                <a:gd name="T21" fmla="*/ 4 h 5"/>
                <a:gd name="T22" fmla="*/ 2 w 5"/>
                <a:gd name="T23" fmla="*/ 5 h 5"/>
                <a:gd name="T24" fmla="*/ 2 w 5"/>
                <a:gd name="T25" fmla="*/ 4 h 5"/>
                <a:gd name="T26" fmla="*/ 2 w 5"/>
                <a:gd name="T27" fmla="*/ 4 h 5"/>
                <a:gd name="T28" fmla="*/ 1 w 5"/>
                <a:gd name="T29" fmla="*/ 4 h 5"/>
                <a:gd name="T30" fmla="*/ 1 w 5"/>
                <a:gd name="T31" fmla="*/ 4 h 5"/>
                <a:gd name="T32" fmla="*/ 1 w 5"/>
                <a:gd name="T33" fmla="*/ 4 h 5"/>
                <a:gd name="T34" fmla="*/ 1 w 5"/>
                <a:gd name="T35" fmla="*/ 4 h 5"/>
                <a:gd name="T36" fmla="*/ 0 w 5"/>
                <a:gd name="T37" fmla="*/ 4 h 5"/>
                <a:gd name="T38" fmla="*/ 0 w 5"/>
                <a:gd name="T39" fmla="*/ 2 h 5"/>
                <a:gd name="T40" fmla="*/ 0 w 5"/>
                <a:gd name="T41" fmla="*/ 2 h 5"/>
                <a:gd name="T42" fmla="*/ 1 w 5"/>
                <a:gd name="T43" fmla="*/ 2 h 5"/>
                <a:gd name="T44" fmla="*/ 1 w 5"/>
                <a:gd name="T45" fmla="*/ 2 h 5"/>
                <a:gd name="T46" fmla="*/ 1 w 5"/>
                <a:gd name="T47" fmla="*/ 2 h 5"/>
                <a:gd name="T48" fmla="*/ 1 w 5"/>
                <a:gd name="T49" fmla="*/ 1 h 5"/>
                <a:gd name="T50" fmla="*/ 1 w 5"/>
                <a:gd name="T51" fmla="*/ 1 h 5"/>
                <a:gd name="T52" fmla="*/ 2 w 5"/>
                <a:gd name="T53" fmla="*/ 1 h 5"/>
                <a:gd name="T54" fmla="*/ 2 w 5"/>
                <a:gd name="T55" fmla="*/ 0 h 5"/>
                <a:gd name="T56" fmla="*/ 2 w 5"/>
                <a:gd name="T57" fmla="*/ 0 h 5"/>
                <a:gd name="T58" fmla="*/ 3 w 5"/>
                <a:gd name="T59" fmla="*/ 0 h 5"/>
                <a:gd name="T60" fmla="*/ 3 w 5"/>
                <a:gd name="T61" fmla="*/ 0 h 5"/>
                <a:gd name="T62" fmla="*/ 4 w 5"/>
                <a:gd name="T63" fmla="*/ 0 h 5"/>
                <a:gd name="T64" fmla="*/ 4 w 5"/>
                <a:gd name="T65" fmla="*/ 0 h 5"/>
                <a:gd name="T66" fmla="*/ 4 w 5"/>
                <a:gd name="T6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 h="5">
                  <a:moveTo>
                    <a:pt x="4" y="0"/>
                  </a:moveTo>
                  <a:lnTo>
                    <a:pt x="4" y="0"/>
                  </a:lnTo>
                  <a:lnTo>
                    <a:pt x="5" y="0"/>
                  </a:lnTo>
                  <a:lnTo>
                    <a:pt x="5" y="0"/>
                  </a:lnTo>
                  <a:lnTo>
                    <a:pt x="5" y="0"/>
                  </a:lnTo>
                  <a:lnTo>
                    <a:pt x="5" y="1"/>
                  </a:lnTo>
                  <a:lnTo>
                    <a:pt x="5" y="1"/>
                  </a:lnTo>
                  <a:lnTo>
                    <a:pt x="5" y="1"/>
                  </a:lnTo>
                  <a:lnTo>
                    <a:pt x="4" y="1"/>
                  </a:lnTo>
                  <a:lnTo>
                    <a:pt x="4" y="1"/>
                  </a:lnTo>
                  <a:lnTo>
                    <a:pt x="4" y="1"/>
                  </a:lnTo>
                  <a:lnTo>
                    <a:pt x="4" y="2"/>
                  </a:lnTo>
                  <a:lnTo>
                    <a:pt x="4" y="2"/>
                  </a:lnTo>
                  <a:lnTo>
                    <a:pt x="4" y="2"/>
                  </a:lnTo>
                  <a:lnTo>
                    <a:pt x="3" y="2"/>
                  </a:lnTo>
                  <a:lnTo>
                    <a:pt x="3" y="4"/>
                  </a:lnTo>
                  <a:lnTo>
                    <a:pt x="3" y="4"/>
                  </a:lnTo>
                  <a:lnTo>
                    <a:pt x="3" y="4"/>
                  </a:lnTo>
                  <a:lnTo>
                    <a:pt x="3" y="4"/>
                  </a:lnTo>
                  <a:lnTo>
                    <a:pt x="3" y="4"/>
                  </a:lnTo>
                  <a:lnTo>
                    <a:pt x="3" y="4"/>
                  </a:lnTo>
                  <a:lnTo>
                    <a:pt x="2" y="4"/>
                  </a:lnTo>
                  <a:lnTo>
                    <a:pt x="2" y="4"/>
                  </a:lnTo>
                  <a:lnTo>
                    <a:pt x="2" y="5"/>
                  </a:lnTo>
                  <a:lnTo>
                    <a:pt x="2" y="5"/>
                  </a:lnTo>
                  <a:lnTo>
                    <a:pt x="2" y="4"/>
                  </a:lnTo>
                  <a:lnTo>
                    <a:pt x="2" y="4"/>
                  </a:lnTo>
                  <a:lnTo>
                    <a:pt x="2" y="4"/>
                  </a:lnTo>
                  <a:lnTo>
                    <a:pt x="1" y="4"/>
                  </a:lnTo>
                  <a:lnTo>
                    <a:pt x="1" y="4"/>
                  </a:lnTo>
                  <a:lnTo>
                    <a:pt x="1" y="4"/>
                  </a:lnTo>
                  <a:lnTo>
                    <a:pt x="1" y="4"/>
                  </a:lnTo>
                  <a:lnTo>
                    <a:pt x="1" y="4"/>
                  </a:lnTo>
                  <a:lnTo>
                    <a:pt x="1" y="4"/>
                  </a:lnTo>
                  <a:lnTo>
                    <a:pt x="1" y="4"/>
                  </a:lnTo>
                  <a:lnTo>
                    <a:pt x="1" y="4"/>
                  </a:lnTo>
                  <a:lnTo>
                    <a:pt x="0" y="4"/>
                  </a:lnTo>
                  <a:lnTo>
                    <a:pt x="0" y="4"/>
                  </a:lnTo>
                  <a:lnTo>
                    <a:pt x="0" y="4"/>
                  </a:lnTo>
                  <a:lnTo>
                    <a:pt x="0" y="2"/>
                  </a:lnTo>
                  <a:lnTo>
                    <a:pt x="0" y="2"/>
                  </a:lnTo>
                  <a:lnTo>
                    <a:pt x="0" y="2"/>
                  </a:lnTo>
                  <a:lnTo>
                    <a:pt x="0" y="2"/>
                  </a:lnTo>
                  <a:lnTo>
                    <a:pt x="1" y="2"/>
                  </a:lnTo>
                  <a:lnTo>
                    <a:pt x="1" y="2"/>
                  </a:lnTo>
                  <a:lnTo>
                    <a:pt x="1" y="2"/>
                  </a:lnTo>
                  <a:lnTo>
                    <a:pt x="1" y="2"/>
                  </a:lnTo>
                  <a:lnTo>
                    <a:pt x="1" y="2"/>
                  </a:lnTo>
                  <a:lnTo>
                    <a:pt x="1" y="2"/>
                  </a:lnTo>
                  <a:lnTo>
                    <a:pt x="1" y="1"/>
                  </a:lnTo>
                  <a:lnTo>
                    <a:pt x="1" y="1"/>
                  </a:lnTo>
                  <a:lnTo>
                    <a:pt x="1" y="1"/>
                  </a:lnTo>
                  <a:lnTo>
                    <a:pt x="1" y="1"/>
                  </a:lnTo>
                  <a:lnTo>
                    <a:pt x="2" y="1"/>
                  </a:lnTo>
                  <a:lnTo>
                    <a:pt x="2" y="0"/>
                  </a:lnTo>
                  <a:lnTo>
                    <a:pt x="2" y="0"/>
                  </a:lnTo>
                  <a:lnTo>
                    <a:pt x="2" y="0"/>
                  </a:lnTo>
                  <a:lnTo>
                    <a:pt x="2" y="0"/>
                  </a:lnTo>
                  <a:lnTo>
                    <a:pt x="2" y="0"/>
                  </a:lnTo>
                  <a:lnTo>
                    <a:pt x="3" y="0"/>
                  </a:lnTo>
                  <a:lnTo>
                    <a:pt x="3" y="0"/>
                  </a:lnTo>
                  <a:lnTo>
                    <a:pt x="3" y="0"/>
                  </a:lnTo>
                  <a:lnTo>
                    <a:pt x="3" y="0"/>
                  </a:lnTo>
                  <a:lnTo>
                    <a:pt x="4" y="0"/>
                  </a:lnTo>
                  <a:lnTo>
                    <a:pt x="4" y="0"/>
                  </a:lnTo>
                  <a:lnTo>
                    <a:pt x="4" y="0"/>
                  </a:lnTo>
                  <a:lnTo>
                    <a:pt x="4" y="0"/>
                  </a:lnTo>
                  <a:lnTo>
                    <a:pt x="4" y="0"/>
                  </a:lnTo>
                  <a:lnTo>
                    <a:pt x="4"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51" name="Freeform 1115">
              <a:extLst>
                <a:ext uri="{FF2B5EF4-FFF2-40B4-BE49-F238E27FC236}">
                  <a16:creationId xmlns:a16="http://schemas.microsoft.com/office/drawing/2014/main" id="{0D39C72C-4582-425E-96CD-C1A83AB9A072}"/>
                </a:ext>
              </a:extLst>
            </p:cNvPr>
            <p:cNvSpPr>
              <a:spLocks/>
            </p:cNvSpPr>
            <p:nvPr/>
          </p:nvSpPr>
          <p:spPr bwMode="auto">
            <a:xfrm>
              <a:off x="5857176" y="2520526"/>
              <a:ext cx="1336" cy="1336"/>
            </a:xfrm>
            <a:custGeom>
              <a:avLst/>
              <a:gdLst>
                <a:gd name="T0" fmla="*/ 1 w 1"/>
                <a:gd name="T1" fmla="*/ 0 h 1"/>
                <a:gd name="T2" fmla="*/ 1 w 1"/>
                <a:gd name="T3" fmla="*/ 1 h 1"/>
                <a:gd name="T4" fmla="*/ 0 w 1"/>
                <a:gd name="T5" fmla="*/ 1 h 1"/>
                <a:gd name="T6" fmla="*/ 0 w 1"/>
                <a:gd name="T7" fmla="*/ 0 h 1"/>
                <a:gd name="T8" fmla="*/ 0 w 1"/>
                <a:gd name="T9" fmla="*/ 0 h 1"/>
                <a:gd name="T10" fmla="*/ 1 w 1"/>
                <a:gd name="T11" fmla="*/ 0 h 1"/>
                <a:gd name="T12" fmla="*/ 1 w 1"/>
                <a:gd name="T13" fmla="*/ 0 h 1"/>
                <a:gd name="T14" fmla="*/ 1 w 1"/>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1">
                  <a:moveTo>
                    <a:pt x="1" y="0"/>
                  </a:moveTo>
                  <a:lnTo>
                    <a:pt x="1" y="1"/>
                  </a:lnTo>
                  <a:lnTo>
                    <a:pt x="0" y="1"/>
                  </a:lnTo>
                  <a:lnTo>
                    <a:pt x="0" y="0"/>
                  </a:lnTo>
                  <a:lnTo>
                    <a:pt x="0"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52" name="Freeform 1116">
              <a:extLst>
                <a:ext uri="{FF2B5EF4-FFF2-40B4-BE49-F238E27FC236}">
                  <a16:creationId xmlns:a16="http://schemas.microsoft.com/office/drawing/2014/main" id="{C10A176C-CDA9-4936-B888-B7E3DA43CF54}"/>
                </a:ext>
              </a:extLst>
            </p:cNvPr>
            <p:cNvSpPr>
              <a:spLocks/>
            </p:cNvSpPr>
            <p:nvPr/>
          </p:nvSpPr>
          <p:spPr bwMode="auto">
            <a:xfrm>
              <a:off x="5847827" y="2503164"/>
              <a:ext cx="18697" cy="16026"/>
            </a:xfrm>
            <a:custGeom>
              <a:avLst/>
              <a:gdLst>
                <a:gd name="T0" fmla="*/ 10 w 14"/>
                <a:gd name="T1" fmla="*/ 0 h 12"/>
                <a:gd name="T2" fmla="*/ 10 w 14"/>
                <a:gd name="T3" fmla="*/ 1 h 12"/>
                <a:gd name="T4" fmla="*/ 9 w 14"/>
                <a:gd name="T5" fmla="*/ 1 h 12"/>
                <a:gd name="T6" fmla="*/ 9 w 14"/>
                <a:gd name="T7" fmla="*/ 1 h 12"/>
                <a:gd name="T8" fmla="*/ 9 w 14"/>
                <a:gd name="T9" fmla="*/ 2 h 12"/>
                <a:gd name="T10" fmla="*/ 10 w 14"/>
                <a:gd name="T11" fmla="*/ 1 h 12"/>
                <a:gd name="T12" fmla="*/ 10 w 14"/>
                <a:gd name="T13" fmla="*/ 2 h 12"/>
                <a:gd name="T14" fmla="*/ 10 w 14"/>
                <a:gd name="T15" fmla="*/ 2 h 12"/>
                <a:gd name="T16" fmla="*/ 9 w 14"/>
                <a:gd name="T17" fmla="*/ 2 h 12"/>
                <a:gd name="T18" fmla="*/ 10 w 14"/>
                <a:gd name="T19" fmla="*/ 4 h 12"/>
                <a:gd name="T20" fmla="*/ 11 w 14"/>
                <a:gd name="T21" fmla="*/ 4 h 12"/>
                <a:gd name="T22" fmla="*/ 12 w 14"/>
                <a:gd name="T23" fmla="*/ 4 h 12"/>
                <a:gd name="T24" fmla="*/ 14 w 14"/>
                <a:gd name="T25" fmla="*/ 4 h 12"/>
                <a:gd name="T26" fmla="*/ 14 w 14"/>
                <a:gd name="T27" fmla="*/ 5 h 12"/>
                <a:gd name="T28" fmla="*/ 14 w 14"/>
                <a:gd name="T29" fmla="*/ 5 h 12"/>
                <a:gd name="T30" fmla="*/ 14 w 14"/>
                <a:gd name="T31" fmla="*/ 6 h 12"/>
                <a:gd name="T32" fmla="*/ 12 w 14"/>
                <a:gd name="T33" fmla="*/ 6 h 12"/>
                <a:gd name="T34" fmla="*/ 12 w 14"/>
                <a:gd name="T35" fmla="*/ 7 h 12"/>
                <a:gd name="T36" fmla="*/ 11 w 14"/>
                <a:gd name="T37" fmla="*/ 9 h 12"/>
                <a:gd name="T38" fmla="*/ 11 w 14"/>
                <a:gd name="T39" fmla="*/ 9 h 12"/>
                <a:gd name="T40" fmla="*/ 9 w 14"/>
                <a:gd name="T41" fmla="*/ 11 h 12"/>
                <a:gd name="T42" fmla="*/ 9 w 14"/>
                <a:gd name="T43" fmla="*/ 12 h 12"/>
                <a:gd name="T44" fmla="*/ 8 w 14"/>
                <a:gd name="T45" fmla="*/ 11 h 12"/>
                <a:gd name="T46" fmla="*/ 8 w 14"/>
                <a:gd name="T47" fmla="*/ 11 h 12"/>
                <a:gd name="T48" fmla="*/ 8 w 14"/>
                <a:gd name="T49" fmla="*/ 11 h 12"/>
                <a:gd name="T50" fmla="*/ 8 w 14"/>
                <a:gd name="T51" fmla="*/ 9 h 12"/>
                <a:gd name="T52" fmla="*/ 7 w 14"/>
                <a:gd name="T53" fmla="*/ 11 h 12"/>
                <a:gd name="T54" fmla="*/ 5 w 14"/>
                <a:gd name="T55" fmla="*/ 9 h 12"/>
                <a:gd name="T56" fmla="*/ 4 w 14"/>
                <a:gd name="T57" fmla="*/ 8 h 12"/>
                <a:gd name="T58" fmla="*/ 4 w 14"/>
                <a:gd name="T59" fmla="*/ 7 h 12"/>
                <a:gd name="T60" fmla="*/ 3 w 14"/>
                <a:gd name="T61" fmla="*/ 7 h 12"/>
                <a:gd name="T62" fmla="*/ 2 w 14"/>
                <a:gd name="T63" fmla="*/ 7 h 12"/>
                <a:gd name="T64" fmla="*/ 1 w 14"/>
                <a:gd name="T65" fmla="*/ 8 h 12"/>
                <a:gd name="T66" fmla="*/ 1 w 14"/>
                <a:gd name="T67" fmla="*/ 8 h 12"/>
                <a:gd name="T68" fmla="*/ 1 w 14"/>
                <a:gd name="T69" fmla="*/ 7 h 12"/>
                <a:gd name="T70" fmla="*/ 1 w 14"/>
                <a:gd name="T71" fmla="*/ 7 h 12"/>
                <a:gd name="T72" fmla="*/ 0 w 14"/>
                <a:gd name="T73" fmla="*/ 7 h 12"/>
                <a:gd name="T74" fmla="*/ 0 w 14"/>
                <a:gd name="T75" fmla="*/ 7 h 12"/>
                <a:gd name="T76" fmla="*/ 0 w 14"/>
                <a:gd name="T77" fmla="*/ 6 h 12"/>
                <a:gd name="T78" fmla="*/ 1 w 14"/>
                <a:gd name="T79" fmla="*/ 5 h 12"/>
                <a:gd name="T80" fmla="*/ 2 w 14"/>
                <a:gd name="T81" fmla="*/ 5 h 12"/>
                <a:gd name="T82" fmla="*/ 3 w 14"/>
                <a:gd name="T83" fmla="*/ 4 h 12"/>
                <a:gd name="T84" fmla="*/ 3 w 14"/>
                <a:gd name="T85" fmla="*/ 4 h 12"/>
                <a:gd name="T86" fmla="*/ 3 w 14"/>
                <a:gd name="T87" fmla="*/ 4 h 12"/>
                <a:gd name="T88" fmla="*/ 3 w 14"/>
                <a:gd name="T89" fmla="*/ 4 h 12"/>
                <a:gd name="T90" fmla="*/ 4 w 14"/>
                <a:gd name="T91" fmla="*/ 2 h 12"/>
                <a:gd name="T92" fmla="*/ 4 w 14"/>
                <a:gd name="T93" fmla="*/ 2 h 12"/>
                <a:gd name="T94" fmla="*/ 5 w 14"/>
                <a:gd name="T95" fmla="*/ 2 h 12"/>
                <a:gd name="T96" fmla="*/ 5 w 14"/>
                <a:gd name="T97" fmla="*/ 2 h 12"/>
                <a:gd name="T98" fmla="*/ 7 w 14"/>
                <a:gd name="T99" fmla="*/ 1 h 12"/>
                <a:gd name="T100" fmla="*/ 9 w 14"/>
                <a:gd name="T101"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 h="12">
                  <a:moveTo>
                    <a:pt x="10" y="0"/>
                  </a:moveTo>
                  <a:lnTo>
                    <a:pt x="10" y="0"/>
                  </a:lnTo>
                  <a:lnTo>
                    <a:pt x="10" y="0"/>
                  </a:lnTo>
                  <a:lnTo>
                    <a:pt x="10" y="0"/>
                  </a:lnTo>
                  <a:lnTo>
                    <a:pt x="10" y="0"/>
                  </a:lnTo>
                  <a:lnTo>
                    <a:pt x="10" y="1"/>
                  </a:lnTo>
                  <a:lnTo>
                    <a:pt x="10" y="1"/>
                  </a:lnTo>
                  <a:lnTo>
                    <a:pt x="10" y="1"/>
                  </a:lnTo>
                  <a:lnTo>
                    <a:pt x="9" y="1"/>
                  </a:lnTo>
                  <a:lnTo>
                    <a:pt x="9" y="1"/>
                  </a:lnTo>
                  <a:lnTo>
                    <a:pt x="9" y="1"/>
                  </a:lnTo>
                  <a:lnTo>
                    <a:pt x="9" y="1"/>
                  </a:lnTo>
                  <a:lnTo>
                    <a:pt x="9" y="1"/>
                  </a:lnTo>
                  <a:lnTo>
                    <a:pt x="9" y="1"/>
                  </a:lnTo>
                  <a:lnTo>
                    <a:pt x="9" y="2"/>
                  </a:lnTo>
                  <a:lnTo>
                    <a:pt x="10" y="1"/>
                  </a:lnTo>
                  <a:lnTo>
                    <a:pt x="10" y="1"/>
                  </a:lnTo>
                  <a:lnTo>
                    <a:pt x="10" y="1"/>
                  </a:lnTo>
                  <a:lnTo>
                    <a:pt x="10" y="2"/>
                  </a:lnTo>
                  <a:lnTo>
                    <a:pt x="10" y="2"/>
                  </a:lnTo>
                  <a:lnTo>
                    <a:pt x="10" y="2"/>
                  </a:lnTo>
                  <a:lnTo>
                    <a:pt x="10" y="2"/>
                  </a:lnTo>
                  <a:lnTo>
                    <a:pt x="10" y="2"/>
                  </a:lnTo>
                  <a:lnTo>
                    <a:pt x="10" y="2"/>
                  </a:lnTo>
                  <a:lnTo>
                    <a:pt x="9" y="2"/>
                  </a:lnTo>
                  <a:lnTo>
                    <a:pt x="9" y="2"/>
                  </a:lnTo>
                  <a:lnTo>
                    <a:pt x="9" y="2"/>
                  </a:lnTo>
                  <a:lnTo>
                    <a:pt x="9" y="4"/>
                  </a:lnTo>
                  <a:lnTo>
                    <a:pt x="10" y="4"/>
                  </a:lnTo>
                  <a:lnTo>
                    <a:pt x="10" y="4"/>
                  </a:lnTo>
                  <a:lnTo>
                    <a:pt x="10" y="4"/>
                  </a:lnTo>
                  <a:lnTo>
                    <a:pt x="11" y="4"/>
                  </a:lnTo>
                  <a:lnTo>
                    <a:pt x="11" y="4"/>
                  </a:lnTo>
                  <a:lnTo>
                    <a:pt x="12" y="4"/>
                  </a:lnTo>
                  <a:lnTo>
                    <a:pt x="12" y="4"/>
                  </a:lnTo>
                  <a:lnTo>
                    <a:pt x="12" y="4"/>
                  </a:lnTo>
                  <a:lnTo>
                    <a:pt x="14" y="4"/>
                  </a:lnTo>
                  <a:lnTo>
                    <a:pt x="14" y="4"/>
                  </a:lnTo>
                  <a:lnTo>
                    <a:pt x="14" y="4"/>
                  </a:lnTo>
                  <a:lnTo>
                    <a:pt x="14" y="4"/>
                  </a:lnTo>
                  <a:lnTo>
                    <a:pt x="14" y="5"/>
                  </a:lnTo>
                  <a:lnTo>
                    <a:pt x="14" y="5"/>
                  </a:lnTo>
                  <a:lnTo>
                    <a:pt x="14" y="5"/>
                  </a:lnTo>
                  <a:lnTo>
                    <a:pt x="14" y="5"/>
                  </a:lnTo>
                  <a:lnTo>
                    <a:pt x="14" y="5"/>
                  </a:lnTo>
                  <a:lnTo>
                    <a:pt x="14" y="5"/>
                  </a:lnTo>
                  <a:lnTo>
                    <a:pt x="14" y="5"/>
                  </a:lnTo>
                  <a:lnTo>
                    <a:pt x="14" y="6"/>
                  </a:lnTo>
                  <a:lnTo>
                    <a:pt x="14" y="6"/>
                  </a:lnTo>
                  <a:lnTo>
                    <a:pt x="14" y="6"/>
                  </a:lnTo>
                  <a:lnTo>
                    <a:pt x="12" y="6"/>
                  </a:lnTo>
                  <a:lnTo>
                    <a:pt x="12" y="6"/>
                  </a:lnTo>
                  <a:lnTo>
                    <a:pt x="12" y="6"/>
                  </a:lnTo>
                  <a:lnTo>
                    <a:pt x="12" y="7"/>
                  </a:lnTo>
                  <a:lnTo>
                    <a:pt x="12" y="7"/>
                  </a:lnTo>
                  <a:lnTo>
                    <a:pt x="11" y="8"/>
                  </a:lnTo>
                  <a:lnTo>
                    <a:pt x="11" y="9"/>
                  </a:lnTo>
                  <a:lnTo>
                    <a:pt x="11" y="9"/>
                  </a:lnTo>
                  <a:lnTo>
                    <a:pt x="11" y="9"/>
                  </a:lnTo>
                  <a:lnTo>
                    <a:pt x="11" y="9"/>
                  </a:lnTo>
                  <a:lnTo>
                    <a:pt x="10" y="9"/>
                  </a:lnTo>
                  <a:lnTo>
                    <a:pt x="9" y="11"/>
                  </a:lnTo>
                  <a:lnTo>
                    <a:pt x="9" y="11"/>
                  </a:lnTo>
                  <a:lnTo>
                    <a:pt x="9" y="12"/>
                  </a:lnTo>
                  <a:lnTo>
                    <a:pt x="9" y="12"/>
                  </a:lnTo>
                  <a:lnTo>
                    <a:pt x="9" y="12"/>
                  </a:lnTo>
                  <a:lnTo>
                    <a:pt x="9" y="12"/>
                  </a:lnTo>
                  <a:lnTo>
                    <a:pt x="9" y="12"/>
                  </a:lnTo>
                  <a:lnTo>
                    <a:pt x="8" y="11"/>
                  </a:lnTo>
                  <a:lnTo>
                    <a:pt x="8" y="11"/>
                  </a:lnTo>
                  <a:lnTo>
                    <a:pt x="8" y="11"/>
                  </a:lnTo>
                  <a:lnTo>
                    <a:pt x="8" y="11"/>
                  </a:lnTo>
                  <a:lnTo>
                    <a:pt x="8" y="11"/>
                  </a:lnTo>
                  <a:lnTo>
                    <a:pt x="8" y="11"/>
                  </a:lnTo>
                  <a:lnTo>
                    <a:pt x="8" y="11"/>
                  </a:lnTo>
                  <a:lnTo>
                    <a:pt x="8" y="11"/>
                  </a:lnTo>
                  <a:lnTo>
                    <a:pt x="8" y="11"/>
                  </a:lnTo>
                  <a:lnTo>
                    <a:pt x="8" y="9"/>
                  </a:lnTo>
                  <a:lnTo>
                    <a:pt x="7" y="9"/>
                  </a:lnTo>
                  <a:lnTo>
                    <a:pt x="7" y="9"/>
                  </a:lnTo>
                  <a:lnTo>
                    <a:pt x="7" y="11"/>
                  </a:lnTo>
                  <a:lnTo>
                    <a:pt x="7" y="11"/>
                  </a:lnTo>
                  <a:lnTo>
                    <a:pt x="5" y="9"/>
                  </a:lnTo>
                  <a:lnTo>
                    <a:pt x="5" y="9"/>
                  </a:lnTo>
                  <a:lnTo>
                    <a:pt x="4" y="9"/>
                  </a:lnTo>
                  <a:lnTo>
                    <a:pt x="4" y="8"/>
                  </a:lnTo>
                  <a:lnTo>
                    <a:pt x="4" y="8"/>
                  </a:lnTo>
                  <a:lnTo>
                    <a:pt x="4" y="8"/>
                  </a:lnTo>
                  <a:lnTo>
                    <a:pt x="4" y="8"/>
                  </a:lnTo>
                  <a:lnTo>
                    <a:pt x="4" y="7"/>
                  </a:lnTo>
                  <a:lnTo>
                    <a:pt x="4" y="7"/>
                  </a:lnTo>
                  <a:lnTo>
                    <a:pt x="3" y="7"/>
                  </a:lnTo>
                  <a:lnTo>
                    <a:pt x="3" y="7"/>
                  </a:lnTo>
                  <a:lnTo>
                    <a:pt x="3" y="7"/>
                  </a:lnTo>
                  <a:lnTo>
                    <a:pt x="2" y="7"/>
                  </a:lnTo>
                  <a:lnTo>
                    <a:pt x="2" y="7"/>
                  </a:lnTo>
                  <a:lnTo>
                    <a:pt x="2" y="8"/>
                  </a:lnTo>
                  <a:lnTo>
                    <a:pt x="2" y="8"/>
                  </a:lnTo>
                  <a:lnTo>
                    <a:pt x="1" y="8"/>
                  </a:lnTo>
                  <a:lnTo>
                    <a:pt x="1" y="8"/>
                  </a:lnTo>
                  <a:lnTo>
                    <a:pt x="1" y="8"/>
                  </a:lnTo>
                  <a:lnTo>
                    <a:pt x="1" y="8"/>
                  </a:lnTo>
                  <a:lnTo>
                    <a:pt x="1" y="7"/>
                  </a:lnTo>
                  <a:lnTo>
                    <a:pt x="1" y="7"/>
                  </a:lnTo>
                  <a:lnTo>
                    <a:pt x="1" y="7"/>
                  </a:lnTo>
                  <a:lnTo>
                    <a:pt x="1" y="7"/>
                  </a:lnTo>
                  <a:lnTo>
                    <a:pt x="1" y="7"/>
                  </a:lnTo>
                  <a:lnTo>
                    <a:pt x="1" y="7"/>
                  </a:lnTo>
                  <a:lnTo>
                    <a:pt x="1" y="7"/>
                  </a:lnTo>
                  <a:lnTo>
                    <a:pt x="0" y="7"/>
                  </a:lnTo>
                  <a:lnTo>
                    <a:pt x="0" y="7"/>
                  </a:lnTo>
                  <a:lnTo>
                    <a:pt x="0" y="7"/>
                  </a:lnTo>
                  <a:lnTo>
                    <a:pt x="0" y="7"/>
                  </a:lnTo>
                  <a:lnTo>
                    <a:pt x="0" y="7"/>
                  </a:lnTo>
                  <a:lnTo>
                    <a:pt x="0" y="7"/>
                  </a:lnTo>
                  <a:lnTo>
                    <a:pt x="0" y="6"/>
                  </a:lnTo>
                  <a:lnTo>
                    <a:pt x="0" y="6"/>
                  </a:lnTo>
                  <a:lnTo>
                    <a:pt x="1" y="6"/>
                  </a:lnTo>
                  <a:lnTo>
                    <a:pt x="1" y="6"/>
                  </a:lnTo>
                  <a:lnTo>
                    <a:pt x="1" y="5"/>
                  </a:lnTo>
                  <a:lnTo>
                    <a:pt x="2" y="5"/>
                  </a:lnTo>
                  <a:lnTo>
                    <a:pt x="2" y="5"/>
                  </a:lnTo>
                  <a:lnTo>
                    <a:pt x="2" y="5"/>
                  </a:lnTo>
                  <a:lnTo>
                    <a:pt x="2" y="5"/>
                  </a:lnTo>
                  <a:lnTo>
                    <a:pt x="2" y="5"/>
                  </a:lnTo>
                  <a:lnTo>
                    <a:pt x="3" y="4"/>
                  </a:lnTo>
                  <a:lnTo>
                    <a:pt x="3" y="4"/>
                  </a:lnTo>
                  <a:lnTo>
                    <a:pt x="3" y="4"/>
                  </a:lnTo>
                  <a:lnTo>
                    <a:pt x="3" y="4"/>
                  </a:lnTo>
                  <a:lnTo>
                    <a:pt x="3" y="4"/>
                  </a:lnTo>
                  <a:lnTo>
                    <a:pt x="3" y="4"/>
                  </a:lnTo>
                  <a:lnTo>
                    <a:pt x="3" y="4"/>
                  </a:lnTo>
                  <a:lnTo>
                    <a:pt x="3" y="4"/>
                  </a:lnTo>
                  <a:lnTo>
                    <a:pt x="3" y="4"/>
                  </a:lnTo>
                  <a:lnTo>
                    <a:pt x="3" y="4"/>
                  </a:lnTo>
                  <a:lnTo>
                    <a:pt x="4" y="2"/>
                  </a:lnTo>
                  <a:lnTo>
                    <a:pt x="4" y="2"/>
                  </a:lnTo>
                  <a:lnTo>
                    <a:pt x="4" y="2"/>
                  </a:lnTo>
                  <a:lnTo>
                    <a:pt x="4" y="2"/>
                  </a:lnTo>
                  <a:lnTo>
                    <a:pt x="4" y="2"/>
                  </a:lnTo>
                  <a:lnTo>
                    <a:pt x="4" y="2"/>
                  </a:lnTo>
                  <a:lnTo>
                    <a:pt x="5" y="2"/>
                  </a:lnTo>
                  <a:lnTo>
                    <a:pt x="5" y="2"/>
                  </a:lnTo>
                  <a:lnTo>
                    <a:pt x="5" y="2"/>
                  </a:lnTo>
                  <a:lnTo>
                    <a:pt x="5" y="2"/>
                  </a:lnTo>
                  <a:lnTo>
                    <a:pt x="5" y="2"/>
                  </a:lnTo>
                  <a:lnTo>
                    <a:pt x="5" y="2"/>
                  </a:lnTo>
                  <a:lnTo>
                    <a:pt x="5" y="2"/>
                  </a:lnTo>
                  <a:lnTo>
                    <a:pt x="7" y="1"/>
                  </a:lnTo>
                  <a:lnTo>
                    <a:pt x="7" y="1"/>
                  </a:lnTo>
                  <a:lnTo>
                    <a:pt x="8" y="1"/>
                  </a:lnTo>
                  <a:lnTo>
                    <a:pt x="8" y="1"/>
                  </a:lnTo>
                  <a:lnTo>
                    <a:pt x="9" y="1"/>
                  </a:lnTo>
                  <a:lnTo>
                    <a:pt x="1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53" name="Freeform 1117">
              <a:extLst>
                <a:ext uri="{FF2B5EF4-FFF2-40B4-BE49-F238E27FC236}">
                  <a16:creationId xmlns:a16="http://schemas.microsoft.com/office/drawing/2014/main" id="{B8E3D867-320F-4ADC-A01A-A67B51AC8084}"/>
                </a:ext>
              </a:extLst>
            </p:cNvPr>
            <p:cNvSpPr>
              <a:spLocks/>
            </p:cNvSpPr>
            <p:nvPr/>
          </p:nvSpPr>
          <p:spPr bwMode="auto">
            <a:xfrm>
              <a:off x="5871866" y="2501829"/>
              <a:ext cx="9349" cy="4007"/>
            </a:xfrm>
            <a:custGeom>
              <a:avLst/>
              <a:gdLst>
                <a:gd name="T0" fmla="*/ 4 w 7"/>
                <a:gd name="T1" fmla="*/ 0 h 3"/>
                <a:gd name="T2" fmla="*/ 4 w 7"/>
                <a:gd name="T3" fmla="*/ 0 h 3"/>
                <a:gd name="T4" fmla="*/ 5 w 7"/>
                <a:gd name="T5" fmla="*/ 1 h 3"/>
                <a:gd name="T6" fmla="*/ 5 w 7"/>
                <a:gd name="T7" fmla="*/ 0 h 3"/>
                <a:gd name="T8" fmla="*/ 5 w 7"/>
                <a:gd name="T9" fmla="*/ 0 h 3"/>
                <a:gd name="T10" fmla="*/ 5 w 7"/>
                <a:gd name="T11" fmla="*/ 0 h 3"/>
                <a:gd name="T12" fmla="*/ 5 w 7"/>
                <a:gd name="T13" fmla="*/ 0 h 3"/>
                <a:gd name="T14" fmla="*/ 5 w 7"/>
                <a:gd name="T15" fmla="*/ 1 h 3"/>
                <a:gd name="T16" fmla="*/ 5 w 7"/>
                <a:gd name="T17" fmla="*/ 1 h 3"/>
                <a:gd name="T18" fmla="*/ 6 w 7"/>
                <a:gd name="T19" fmla="*/ 1 h 3"/>
                <a:gd name="T20" fmla="*/ 6 w 7"/>
                <a:gd name="T21" fmla="*/ 1 h 3"/>
                <a:gd name="T22" fmla="*/ 6 w 7"/>
                <a:gd name="T23" fmla="*/ 1 h 3"/>
                <a:gd name="T24" fmla="*/ 6 w 7"/>
                <a:gd name="T25" fmla="*/ 2 h 3"/>
                <a:gd name="T26" fmla="*/ 6 w 7"/>
                <a:gd name="T27" fmla="*/ 2 h 3"/>
                <a:gd name="T28" fmla="*/ 6 w 7"/>
                <a:gd name="T29" fmla="*/ 2 h 3"/>
                <a:gd name="T30" fmla="*/ 7 w 7"/>
                <a:gd name="T31" fmla="*/ 3 h 3"/>
                <a:gd name="T32" fmla="*/ 7 w 7"/>
                <a:gd name="T33" fmla="*/ 3 h 3"/>
                <a:gd name="T34" fmla="*/ 6 w 7"/>
                <a:gd name="T35" fmla="*/ 2 h 3"/>
                <a:gd name="T36" fmla="*/ 6 w 7"/>
                <a:gd name="T37" fmla="*/ 3 h 3"/>
                <a:gd name="T38" fmla="*/ 5 w 7"/>
                <a:gd name="T39" fmla="*/ 3 h 3"/>
                <a:gd name="T40" fmla="*/ 3 w 7"/>
                <a:gd name="T41" fmla="*/ 2 h 3"/>
                <a:gd name="T42" fmla="*/ 1 w 7"/>
                <a:gd name="T43" fmla="*/ 2 h 3"/>
                <a:gd name="T44" fmla="*/ 0 w 7"/>
                <a:gd name="T45" fmla="*/ 2 h 3"/>
                <a:gd name="T46" fmla="*/ 0 w 7"/>
                <a:gd name="T47" fmla="*/ 1 h 3"/>
                <a:gd name="T48" fmla="*/ 0 w 7"/>
                <a:gd name="T49" fmla="*/ 1 h 3"/>
                <a:gd name="T50" fmla="*/ 0 w 7"/>
                <a:gd name="T51" fmla="*/ 1 h 3"/>
                <a:gd name="T52" fmla="*/ 0 w 7"/>
                <a:gd name="T53" fmla="*/ 1 h 3"/>
                <a:gd name="T54" fmla="*/ 0 w 7"/>
                <a:gd name="T55" fmla="*/ 0 h 3"/>
                <a:gd name="T56" fmla="*/ 1 w 7"/>
                <a:gd name="T57" fmla="*/ 0 h 3"/>
                <a:gd name="T58" fmla="*/ 3 w 7"/>
                <a:gd name="T59" fmla="*/ 0 h 3"/>
                <a:gd name="T60" fmla="*/ 4 w 7"/>
                <a:gd name="T61" fmla="*/ 0 h 3"/>
                <a:gd name="T62" fmla="*/ 4 w 7"/>
                <a:gd name="T63" fmla="*/ 0 h 3"/>
                <a:gd name="T64" fmla="*/ 4 w 7"/>
                <a:gd name="T6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 h="3">
                  <a:moveTo>
                    <a:pt x="4" y="0"/>
                  </a:moveTo>
                  <a:lnTo>
                    <a:pt x="4" y="0"/>
                  </a:lnTo>
                  <a:lnTo>
                    <a:pt x="4" y="0"/>
                  </a:lnTo>
                  <a:lnTo>
                    <a:pt x="4" y="0"/>
                  </a:lnTo>
                  <a:lnTo>
                    <a:pt x="4" y="0"/>
                  </a:lnTo>
                  <a:lnTo>
                    <a:pt x="5" y="1"/>
                  </a:lnTo>
                  <a:lnTo>
                    <a:pt x="5" y="0"/>
                  </a:lnTo>
                  <a:lnTo>
                    <a:pt x="5" y="0"/>
                  </a:lnTo>
                  <a:lnTo>
                    <a:pt x="5" y="0"/>
                  </a:lnTo>
                  <a:lnTo>
                    <a:pt x="5" y="0"/>
                  </a:lnTo>
                  <a:lnTo>
                    <a:pt x="5" y="0"/>
                  </a:lnTo>
                  <a:lnTo>
                    <a:pt x="5" y="0"/>
                  </a:lnTo>
                  <a:lnTo>
                    <a:pt x="5" y="0"/>
                  </a:lnTo>
                  <a:lnTo>
                    <a:pt x="5" y="0"/>
                  </a:lnTo>
                  <a:lnTo>
                    <a:pt x="5" y="1"/>
                  </a:lnTo>
                  <a:lnTo>
                    <a:pt x="5" y="1"/>
                  </a:lnTo>
                  <a:lnTo>
                    <a:pt x="5" y="1"/>
                  </a:lnTo>
                  <a:lnTo>
                    <a:pt x="5" y="1"/>
                  </a:lnTo>
                  <a:lnTo>
                    <a:pt x="6" y="1"/>
                  </a:lnTo>
                  <a:lnTo>
                    <a:pt x="6" y="1"/>
                  </a:lnTo>
                  <a:lnTo>
                    <a:pt x="6" y="1"/>
                  </a:lnTo>
                  <a:lnTo>
                    <a:pt x="6" y="1"/>
                  </a:lnTo>
                  <a:lnTo>
                    <a:pt x="6" y="1"/>
                  </a:lnTo>
                  <a:lnTo>
                    <a:pt x="6" y="1"/>
                  </a:lnTo>
                  <a:lnTo>
                    <a:pt x="6" y="2"/>
                  </a:lnTo>
                  <a:lnTo>
                    <a:pt x="6" y="2"/>
                  </a:lnTo>
                  <a:lnTo>
                    <a:pt x="6" y="2"/>
                  </a:lnTo>
                  <a:lnTo>
                    <a:pt x="6" y="2"/>
                  </a:lnTo>
                  <a:lnTo>
                    <a:pt x="6" y="2"/>
                  </a:lnTo>
                  <a:lnTo>
                    <a:pt x="6" y="2"/>
                  </a:lnTo>
                  <a:lnTo>
                    <a:pt x="7" y="2"/>
                  </a:lnTo>
                  <a:lnTo>
                    <a:pt x="7" y="3"/>
                  </a:lnTo>
                  <a:lnTo>
                    <a:pt x="7" y="3"/>
                  </a:lnTo>
                  <a:lnTo>
                    <a:pt x="7" y="3"/>
                  </a:lnTo>
                  <a:lnTo>
                    <a:pt x="7" y="2"/>
                  </a:lnTo>
                  <a:lnTo>
                    <a:pt x="6" y="2"/>
                  </a:lnTo>
                  <a:lnTo>
                    <a:pt x="6" y="2"/>
                  </a:lnTo>
                  <a:lnTo>
                    <a:pt x="6" y="3"/>
                  </a:lnTo>
                  <a:lnTo>
                    <a:pt x="6" y="3"/>
                  </a:lnTo>
                  <a:lnTo>
                    <a:pt x="5" y="3"/>
                  </a:lnTo>
                  <a:lnTo>
                    <a:pt x="3" y="2"/>
                  </a:lnTo>
                  <a:lnTo>
                    <a:pt x="3" y="2"/>
                  </a:lnTo>
                  <a:lnTo>
                    <a:pt x="1" y="2"/>
                  </a:lnTo>
                  <a:lnTo>
                    <a:pt x="1" y="2"/>
                  </a:lnTo>
                  <a:lnTo>
                    <a:pt x="0" y="2"/>
                  </a:lnTo>
                  <a:lnTo>
                    <a:pt x="0" y="2"/>
                  </a:lnTo>
                  <a:lnTo>
                    <a:pt x="0" y="1"/>
                  </a:lnTo>
                  <a:lnTo>
                    <a:pt x="0" y="1"/>
                  </a:lnTo>
                  <a:lnTo>
                    <a:pt x="0" y="1"/>
                  </a:lnTo>
                  <a:lnTo>
                    <a:pt x="0" y="1"/>
                  </a:lnTo>
                  <a:lnTo>
                    <a:pt x="0" y="1"/>
                  </a:lnTo>
                  <a:lnTo>
                    <a:pt x="0" y="1"/>
                  </a:lnTo>
                  <a:lnTo>
                    <a:pt x="0" y="1"/>
                  </a:lnTo>
                  <a:lnTo>
                    <a:pt x="0" y="1"/>
                  </a:lnTo>
                  <a:lnTo>
                    <a:pt x="0" y="1"/>
                  </a:lnTo>
                  <a:lnTo>
                    <a:pt x="0" y="0"/>
                  </a:lnTo>
                  <a:lnTo>
                    <a:pt x="0" y="0"/>
                  </a:lnTo>
                  <a:lnTo>
                    <a:pt x="1" y="0"/>
                  </a:lnTo>
                  <a:lnTo>
                    <a:pt x="1" y="0"/>
                  </a:lnTo>
                  <a:lnTo>
                    <a:pt x="3" y="0"/>
                  </a:lnTo>
                  <a:lnTo>
                    <a:pt x="4" y="0"/>
                  </a:lnTo>
                  <a:lnTo>
                    <a:pt x="4" y="0"/>
                  </a:lnTo>
                  <a:lnTo>
                    <a:pt x="4" y="0"/>
                  </a:lnTo>
                  <a:lnTo>
                    <a:pt x="4" y="0"/>
                  </a:lnTo>
                  <a:lnTo>
                    <a:pt x="4" y="0"/>
                  </a:lnTo>
                  <a:lnTo>
                    <a:pt x="4" y="0"/>
                  </a:lnTo>
                  <a:lnTo>
                    <a:pt x="4"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54" name="Freeform 1118">
              <a:extLst>
                <a:ext uri="{FF2B5EF4-FFF2-40B4-BE49-F238E27FC236}">
                  <a16:creationId xmlns:a16="http://schemas.microsoft.com/office/drawing/2014/main" id="{61479C80-0E17-499D-B0F3-8E602B3B9D30}"/>
                </a:ext>
              </a:extLst>
            </p:cNvPr>
            <p:cNvSpPr>
              <a:spLocks/>
            </p:cNvSpPr>
            <p:nvPr/>
          </p:nvSpPr>
          <p:spPr bwMode="auto">
            <a:xfrm>
              <a:off x="5839814" y="2449744"/>
              <a:ext cx="1336" cy="2671"/>
            </a:xfrm>
            <a:custGeom>
              <a:avLst/>
              <a:gdLst>
                <a:gd name="T0" fmla="*/ 0 w 1"/>
                <a:gd name="T1" fmla="*/ 2 h 2"/>
                <a:gd name="T2" fmla="*/ 0 w 1"/>
                <a:gd name="T3" fmla="*/ 2 h 2"/>
                <a:gd name="T4" fmla="*/ 0 w 1"/>
                <a:gd name="T5" fmla="*/ 2 h 2"/>
                <a:gd name="T6" fmla="*/ 0 w 1"/>
                <a:gd name="T7" fmla="*/ 2 h 2"/>
                <a:gd name="T8" fmla="*/ 0 w 1"/>
                <a:gd name="T9" fmla="*/ 2 h 2"/>
                <a:gd name="T10" fmla="*/ 0 w 1"/>
                <a:gd name="T11" fmla="*/ 0 h 2"/>
                <a:gd name="T12" fmla="*/ 0 w 1"/>
                <a:gd name="T13" fmla="*/ 0 h 2"/>
                <a:gd name="T14" fmla="*/ 0 w 1"/>
                <a:gd name="T15" fmla="*/ 2 h 2"/>
                <a:gd name="T16" fmla="*/ 0 w 1"/>
                <a:gd name="T17" fmla="*/ 2 h 2"/>
                <a:gd name="T18" fmla="*/ 1 w 1"/>
                <a:gd name="T19" fmla="*/ 2 h 2"/>
                <a:gd name="T20" fmla="*/ 1 w 1"/>
                <a:gd name="T21" fmla="*/ 2 h 2"/>
                <a:gd name="T22" fmla="*/ 0 w 1"/>
                <a:gd name="T2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2">
                  <a:moveTo>
                    <a:pt x="0" y="2"/>
                  </a:moveTo>
                  <a:lnTo>
                    <a:pt x="0" y="2"/>
                  </a:lnTo>
                  <a:lnTo>
                    <a:pt x="0" y="2"/>
                  </a:lnTo>
                  <a:lnTo>
                    <a:pt x="0" y="2"/>
                  </a:lnTo>
                  <a:lnTo>
                    <a:pt x="0" y="2"/>
                  </a:lnTo>
                  <a:lnTo>
                    <a:pt x="0" y="0"/>
                  </a:lnTo>
                  <a:lnTo>
                    <a:pt x="0" y="0"/>
                  </a:lnTo>
                  <a:lnTo>
                    <a:pt x="0" y="2"/>
                  </a:lnTo>
                  <a:lnTo>
                    <a:pt x="0" y="2"/>
                  </a:lnTo>
                  <a:lnTo>
                    <a:pt x="1" y="2"/>
                  </a:lnTo>
                  <a:lnTo>
                    <a:pt x="1" y="2"/>
                  </a:lnTo>
                  <a:lnTo>
                    <a:pt x="0"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55" name="Freeform 1119">
              <a:extLst>
                <a:ext uri="{FF2B5EF4-FFF2-40B4-BE49-F238E27FC236}">
                  <a16:creationId xmlns:a16="http://schemas.microsoft.com/office/drawing/2014/main" id="{C79D7934-C7DD-47A2-B291-7B189CE4D058}"/>
                </a:ext>
              </a:extLst>
            </p:cNvPr>
            <p:cNvSpPr>
              <a:spLocks/>
            </p:cNvSpPr>
            <p:nvPr/>
          </p:nvSpPr>
          <p:spPr bwMode="auto">
            <a:xfrm>
              <a:off x="5650175" y="2424370"/>
              <a:ext cx="212343" cy="162930"/>
            </a:xfrm>
            <a:custGeom>
              <a:avLst/>
              <a:gdLst>
                <a:gd name="T0" fmla="*/ 29 w 159"/>
                <a:gd name="T1" fmla="*/ 3 h 122"/>
                <a:gd name="T2" fmla="*/ 37 w 159"/>
                <a:gd name="T3" fmla="*/ 3 h 122"/>
                <a:gd name="T4" fmla="*/ 49 w 159"/>
                <a:gd name="T5" fmla="*/ 4 h 122"/>
                <a:gd name="T6" fmla="*/ 60 w 159"/>
                <a:gd name="T7" fmla="*/ 5 h 122"/>
                <a:gd name="T8" fmla="*/ 70 w 159"/>
                <a:gd name="T9" fmla="*/ 4 h 122"/>
                <a:gd name="T10" fmla="*/ 74 w 159"/>
                <a:gd name="T11" fmla="*/ 5 h 122"/>
                <a:gd name="T12" fmla="*/ 80 w 159"/>
                <a:gd name="T13" fmla="*/ 5 h 122"/>
                <a:gd name="T14" fmla="*/ 87 w 159"/>
                <a:gd name="T15" fmla="*/ 7 h 122"/>
                <a:gd name="T16" fmla="*/ 95 w 159"/>
                <a:gd name="T17" fmla="*/ 8 h 122"/>
                <a:gd name="T18" fmla="*/ 100 w 159"/>
                <a:gd name="T19" fmla="*/ 10 h 122"/>
                <a:gd name="T20" fmla="*/ 109 w 159"/>
                <a:gd name="T21" fmla="*/ 14 h 122"/>
                <a:gd name="T22" fmla="*/ 115 w 159"/>
                <a:gd name="T23" fmla="*/ 16 h 122"/>
                <a:gd name="T24" fmla="*/ 124 w 159"/>
                <a:gd name="T25" fmla="*/ 17 h 122"/>
                <a:gd name="T26" fmla="*/ 134 w 159"/>
                <a:gd name="T27" fmla="*/ 17 h 122"/>
                <a:gd name="T28" fmla="*/ 140 w 159"/>
                <a:gd name="T29" fmla="*/ 19 h 122"/>
                <a:gd name="T30" fmla="*/ 149 w 159"/>
                <a:gd name="T31" fmla="*/ 23 h 122"/>
                <a:gd name="T32" fmla="*/ 158 w 159"/>
                <a:gd name="T33" fmla="*/ 23 h 122"/>
                <a:gd name="T34" fmla="*/ 158 w 159"/>
                <a:gd name="T35" fmla="*/ 29 h 122"/>
                <a:gd name="T36" fmla="*/ 148 w 159"/>
                <a:gd name="T37" fmla="*/ 35 h 122"/>
                <a:gd name="T38" fmla="*/ 134 w 159"/>
                <a:gd name="T39" fmla="*/ 42 h 122"/>
                <a:gd name="T40" fmla="*/ 127 w 159"/>
                <a:gd name="T41" fmla="*/ 46 h 122"/>
                <a:gd name="T42" fmla="*/ 124 w 159"/>
                <a:gd name="T43" fmla="*/ 50 h 122"/>
                <a:gd name="T44" fmla="*/ 116 w 159"/>
                <a:gd name="T45" fmla="*/ 60 h 122"/>
                <a:gd name="T46" fmla="*/ 114 w 159"/>
                <a:gd name="T47" fmla="*/ 72 h 122"/>
                <a:gd name="T48" fmla="*/ 119 w 159"/>
                <a:gd name="T49" fmla="*/ 80 h 122"/>
                <a:gd name="T50" fmla="*/ 110 w 159"/>
                <a:gd name="T51" fmla="*/ 86 h 122"/>
                <a:gd name="T52" fmla="*/ 107 w 159"/>
                <a:gd name="T53" fmla="*/ 94 h 122"/>
                <a:gd name="T54" fmla="*/ 101 w 159"/>
                <a:gd name="T55" fmla="*/ 98 h 122"/>
                <a:gd name="T56" fmla="*/ 94 w 159"/>
                <a:gd name="T57" fmla="*/ 102 h 122"/>
                <a:gd name="T58" fmla="*/ 87 w 159"/>
                <a:gd name="T59" fmla="*/ 109 h 122"/>
                <a:gd name="T60" fmla="*/ 76 w 159"/>
                <a:gd name="T61" fmla="*/ 110 h 122"/>
                <a:gd name="T62" fmla="*/ 62 w 159"/>
                <a:gd name="T63" fmla="*/ 110 h 122"/>
                <a:gd name="T64" fmla="*/ 51 w 159"/>
                <a:gd name="T65" fmla="*/ 115 h 122"/>
                <a:gd name="T66" fmla="*/ 43 w 159"/>
                <a:gd name="T67" fmla="*/ 121 h 122"/>
                <a:gd name="T68" fmla="*/ 36 w 159"/>
                <a:gd name="T69" fmla="*/ 115 h 122"/>
                <a:gd name="T70" fmla="*/ 34 w 159"/>
                <a:gd name="T71" fmla="*/ 109 h 122"/>
                <a:gd name="T72" fmla="*/ 32 w 159"/>
                <a:gd name="T73" fmla="*/ 107 h 122"/>
                <a:gd name="T74" fmla="*/ 24 w 159"/>
                <a:gd name="T75" fmla="*/ 102 h 122"/>
                <a:gd name="T76" fmla="*/ 21 w 159"/>
                <a:gd name="T77" fmla="*/ 95 h 122"/>
                <a:gd name="T78" fmla="*/ 27 w 159"/>
                <a:gd name="T79" fmla="*/ 88 h 122"/>
                <a:gd name="T80" fmla="*/ 23 w 159"/>
                <a:gd name="T81" fmla="*/ 80 h 122"/>
                <a:gd name="T82" fmla="*/ 23 w 159"/>
                <a:gd name="T83" fmla="*/ 72 h 122"/>
                <a:gd name="T84" fmla="*/ 24 w 159"/>
                <a:gd name="T85" fmla="*/ 64 h 122"/>
                <a:gd name="T86" fmla="*/ 28 w 159"/>
                <a:gd name="T87" fmla="*/ 56 h 122"/>
                <a:gd name="T88" fmla="*/ 30 w 159"/>
                <a:gd name="T89" fmla="*/ 45 h 122"/>
                <a:gd name="T90" fmla="*/ 35 w 159"/>
                <a:gd name="T91" fmla="*/ 38 h 122"/>
                <a:gd name="T92" fmla="*/ 34 w 159"/>
                <a:gd name="T93" fmla="*/ 32 h 122"/>
                <a:gd name="T94" fmla="*/ 28 w 159"/>
                <a:gd name="T95" fmla="*/ 28 h 122"/>
                <a:gd name="T96" fmla="*/ 21 w 159"/>
                <a:gd name="T97" fmla="*/ 30 h 122"/>
                <a:gd name="T98" fmla="*/ 14 w 159"/>
                <a:gd name="T99" fmla="*/ 31 h 122"/>
                <a:gd name="T100" fmla="*/ 9 w 159"/>
                <a:gd name="T101" fmla="*/ 26 h 122"/>
                <a:gd name="T102" fmla="*/ 7 w 159"/>
                <a:gd name="T103" fmla="*/ 24 h 122"/>
                <a:gd name="T104" fmla="*/ 6 w 159"/>
                <a:gd name="T105" fmla="*/ 22 h 122"/>
                <a:gd name="T106" fmla="*/ 6 w 159"/>
                <a:gd name="T107" fmla="*/ 19 h 122"/>
                <a:gd name="T108" fmla="*/ 3 w 159"/>
                <a:gd name="T109" fmla="*/ 19 h 122"/>
                <a:gd name="T110" fmla="*/ 1 w 159"/>
                <a:gd name="T111" fmla="*/ 15 h 122"/>
                <a:gd name="T112" fmla="*/ 1 w 159"/>
                <a:gd name="T113" fmla="*/ 10 h 122"/>
                <a:gd name="T114" fmla="*/ 5 w 159"/>
                <a:gd name="T115" fmla="*/ 7 h 122"/>
                <a:gd name="T116" fmla="*/ 13 w 159"/>
                <a:gd name="T117" fmla="*/ 5 h 122"/>
                <a:gd name="T118" fmla="*/ 14 w 159"/>
                <a:gd name="T119" fmla="*/ 3 h 122"/>
                <a:gd name="T120" fmla="*/ 19 w 159"/>
                <a:gd name="T121" fmla="*/ 1 h 122"/>
                <a:gd name="T122" fmla="*/ 20 w 159"/>
                <a:gd name="T123" fmla="*/ 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122">
                  <a:moveTo>
                    <a:pt x="20" y="1"/>
                  </a:moveTo>
                  <a:lnTo>
                    <a:pt x="21" y="1"/>
                  </a:lnTo>
                  <a:lnTo>
                    <a:pt x="21" y="0"/>
                  </a:lnTo>
                  <a:lnTo>
                    <a:pt x="21" y="1"/>
                  </a:lnTo>
                  <a:lnTo>
                    <a:pt x="22" y="1"/>
                  </a:lnTo>
                  <a:lnTo>
                    <a:pt x="23" y="1"/>
                  </a:lnTo>
                  <a:lnTo>
                    <a:pt x="24" y="1"/>
                  </a:lnTo>
                  <a:lnTo>
                    <a:pt x="25" y="3"/>
                  </a:lnTo>
                  <a:lnTo>
                    <a:pt x="27" y="3"/>
                  </a:lnTo>
                  <a:lnTo>
                    <a:pt x="28" y="3"/>
                  </a:lnTo>
                  <a:lnTo>
                    <a:pt x="29" y="3"/>
                  </a:lnTo>
                  <a:lnTo>
                    <a:pt x="29" y="4"/>
                  </a:lnTo>
                  <a:lnTo>
                    <a:pt x="28" y="4"/>
                  </a:lnTo>
                  <a:lnTo>
                    <a:pt x="29" y="4"/>
                  </a:lnTo>
                  <a:lnTo>
                    <a:pt x="29" y="3"/>
                  </a:lnTo>
                  <a:lnTo>
                    <a:pt x="30" y="3"/>
                  </a:lnTo>
                  <a:lnTo>
                    <a:pt x="31" y="3"/>
                  </a:lnTo>
                  <a:lnTo>
                    <a:pt x="32" y="3"/>
                  </a:lnTo>
                  <a:lnTo>
                    <a:pt x="34" y="3"/>
                  </a:lnTo>
                  <a:lnTo>
                    <a:pt x="35" y="3"/>
                  </a:lnTo>
                  <a:lnTo>
                    <a:pt x="36" y="3"/>
                  </a:lnTo>
                  <a:lnTo>
                    <a:pt x="37" y="3"/>
                  </a:lnTo>
                  <a:lnTo>
                    <a:pt x="38" y="3"/>
                  </a:lnTo>
                  <a:lnTo>
                    <a:pt x="39" y="3"/>
                  </a:lnTo>
                  <a:lnTo>
                    <a:pt x="41" y="3"/>
                  </a:lnTo>
                  <a:lnTo>
                    <a:pt x="42" y="3"/>
                  </a:lnTo>
                  <a:lnTo>
                    <a:pt x="43" y="3"/>
                  </a:lnTo>
                  <a:lnTo>
                    <a:pt x="43" y="2"/>
                  </a:lnTo>
                  <a:lnTo>
                    <a:pt x="44" y="2"/>
                  </a:lnTo>
                  <a:lnTo>
                    <a:pt x="45" y="3"/>
                  </a:lnTo>
                  <a:lnTo>
                    <a:pt x="46" y="3"/>
                  </a:lnTo>
                  <a:lnTo>
                    <a:pt x="49" y="3"/>
                  </a:lnTo>
                  <a:lnTo>
                    <a:pt x="49" y="4"/>
                  </a:lnTo>
                  <a:lnTo>
                    <a:pt x="50" y="4"/>
                  </a:lnTo>
                  <a:lnTo>
                    <a:pt x="50" y="3"/>
                  </a:lnTo>
                  <a:lnTo>
                    <a:pt x="51" y="3"/>
                  </a:lnTo>
                  <a:lnTo>
                    <a:pt x="51" y="4"/>
                  </a:lnTo>
                  <a:lnTo>
                    <a:pt x="52" y="4"/>
                  </a:lnTo>
                  <a:lnTo>
                    <a:pt x="53" y="4"/>
                  </a:lnTo>
                  <a:lnTo>
                    <a:pt x="55" y="4"/>
                  </a:lnTo>
                  <a:lnTo>
                    <a:pt x="56" y="4"/>
                  </a:lnTo>
                  <a:lnTo>
                    <a:pt x="56" y="5"/>
                  </a:lnTo>
                  <a:lnTo>
                    <a:pt x="57" y="5"/>
                  </a:lnTo>
                  <a:lnTo>
                    <a:pt x="60" y="5"/>
                  </a:lnTo>
                  <a:lnTo>
                    <a:pt x="62" y="5"/>
                  </a:lnTo>
                  <a:lnTo>
                    <a:pt x="63" y="5"/>
                  </a:lnTo>
                  <a:lnTo>
                    <a:pt x="64" y="5"/>
                  </a:lnTo>
                  <a:lnTo>
                    <a:pt x="65" y="5"/>
                  </a:lnTo>
                  <a:lnTo>
                    <a:pt x="66" y="5"/>
                  </a:lnTo>
                  <a:lnTo>
                    <a:pt x="66" y="4"/>
                  </a:lnTo>
                  <a:lnTo>
                    <a:pt x="66" y="5"/>
                  </a:lnTo>
                  <a:lnTo>
                    <a:pt x="67" y="5"/>
                  </a:lnTo>
                  <a:lnTo>
                    <a:pt x="67" y="4"/>
                  </a:lnTo>
                  <a:lnTo>
                    <a:pt x="69" y="4"/>
                  </a:lnTo>
                  <a:lnTo>
                    <a:pt x="70" y="4"/>
                  </a:lnTo>
                  <a:lnTo>
                    <a:pt x="69" y="4"/>
                  </a:lnTo>
                  <a:lnTo>
                    <a:pt x="69" y="5"/>
                  </a:lnTo>
                  <a:lnTo>
                    <a:pt x="70" y="5"/>
                  </a:lnTo>
                  <a:lnTo>
                    <a:pt x="70" y="4"/>
                  </a:lnTo>
                  <a:lnTo>
                    <a:pt x="70" y="5"/>
                  </a:lnTo>
                  <a:lnTo>
                    <a:pt x="70" y="4"/>
                  </a:lnTo>
                  <a:lnTo>
                    <a:pt x="71" y="4"/>
                  </a:lnTo>
                  <a:lnTo>
                    <a:pt x="72" y="4"/>
                  </a:lnTo>
                  <a:lnTo>
                    <a:pt x="73" y="4"/>
                  </a:lnTo>
                  <a:lnTo>
                    <a:pt x="74" y="4"/>
                  </a:lnTo>
                  <a:lnTo>
                    <a:pt x="74" y="5"/>
                  </a:lnTo>
                  <a:lnTo>
                    <a:pt x="73" y="5"/>
                  </a:lnTo>
                  <a:lnTo>
                    <a:pt x="73" y="4"/>
                  </a:lnTo>
                  <a:lnTo>
                    <a:pt x="73" y="5"/>
                  </a:lnTo>
                  <a:lnTo>
                    <a:pt x="74" y="5"/>
                  </a:lnTo>
                  <a:lnTo>
                    <a:pt x="76" y="5"/>
                  </a:lnTo>
                  <a:lnTo>
                    <a:pt x="77" y="5"/>
                  </a:lnTo>
                  <a:lnTo>
                    <a:pt x="77" y="7"/>
                  </a:lnTo>
                  <a:lnTo>
                    <a:pt x="78" y="7"/>
                  </a:lnTo>
                  <a:lnTo>
                    <a:pt x="79" y="7"/>
                  </a:lnTo>
                  <a:lnTo>
                    <a:pt x="79" y="5"/>
                  </a:lnTo>
                  <a:lnTo>
                    <a:pt x="80" y="5"/>
                  </a:lnTo>
                  <a:lnTo>
                    <a:pt x="81" y="5"/>
                  </a:lnTo>
                  <a:lnTo>
                    <a:pt x="83" y="5"/>
                  </a:lnTo>
                  <a:lnTo>
                    <a:pt x="83" y="4"/>
                  </a:lnTo>
                  <a:lnTo>
                    <a:pt x="83" y="5"/>
                  </a:lnTo>
                  <a:lnTo>
                    <a:pt x="84" y="5"/>
                  </a:lnTo>
                  <a:lnTo>
                    <a:pt x="84" y="7"/>
                  </a:lnTo>
                  <a:lnTo>
                    <a:pt x="84" y="5"/>
                  </a:lnTo>
                  <a:lnTo>
                    <a:pt x="85" y="5"/>
                  </a:lnTo>
                  <a:lnTo>
                    <a:pt x="86" y="5"/>
                  </a:lnTo>
                  <a:lnTo>
                    <a:pt x="86" y="7"/>
                  </a:lnTo>
                  <a:lnTo>
                    <a:pt x="87" y="7"/>
                  </a:lnTo>
                  <a:lnTo>
                    <a:pt x="88" y="7"/>
                  </a:lnTo>
                  <a:lnTo>
                    <a:pt x="89" y="7"/>
                  </a:lnTo>
                  <a:lnTo>
                    <a:pt x="89" y="8"/>
                  </a:lnTo>
                  <a:lnTo>
                    <a:pt x="91" y="8"/>
                  </a:lnTo>
                  <a:lnTo>
                    <a:pt x="91" y="7"/>
                  </a:lnTo>
                  <a:lnTo>
                    <a:pt x="92" y="7"/>
                  </a:lnTo>
                  <a:lnTo>
                    <a:pt x="93" y="7"/>
                  </a:lnTo>
                  <a:lnTo>
                    <a:pt x="94" y="5"/>
                  </a:lnTo>
                  <a:lnTo>
                    <a:pt x="94" y="7"/>
                  </a:lnTo>
                  <a:lnTo>
                    <a:pt x="95" y="7"/>
                  </a:lnTo>
                  <a:lnTo>
                    <a:pt x="95" y="8"/>
                  </a:lnTo>
                  <a:lnTo>
                    <a:pt x="96" y="7"/>
                  </a:lnTo>
                  <a:lnTo>
                    <a:pt x="96" y="8"/>
                  </a:lnTo>
                  <a:lnTo>
                    <a:pt x="98" y="8"/>
                  </a:lnTo>
                  <a:lnTo>
                    <a:pt x="99" y="8"/>
                  </a:lnTo>
                  <a:lnTo>
                    <a:pt x="100" y="8"/>
                  </a:lnTo>
                  <a:lnTo>
                    <a:pt x="100" y="9"/>
                  </a:lnTo>
                  <a:lnTo>
                    <a:pt x="99" y="9"/>
                  </a:lnTo>
                  <a:lnTo>
                    <a:pt x="99" y="10"/>
                  </a:lnTo>
                  <a:lnTo>
                    <a:pt x="99" y="11"/>
                  </a:lnTo>
                  <a:lnTo>
                    <a:pt x="100" y="11"/>
                  </a:lnTo>
                  <a:lnTo>
                    <a:pt x="100" y="10"/>
                  </a:lnTo>
                  <a:lnTo>
                    <a:pt x="101" y="10"/>
                  </a:lnTo>
                  <a:lnTo>
                    <a:pt x="101" y="11"/>
                  </a:lnTo>
                  <a:lnTo>
                    <a:pt x="102" y="11"/>
                  </a:lnTo>
                  <a:lnTo>
                    <a:pt x="103" y="11"/>
                  </a:lnTo>
                  <a:lnTo>
                    <a:pt x="103" y="12"/>
                  </a:lnTo>
                  <a:lnTo>
                    <a:pt x="105" y="12"/>
                  </a:lnTo>
                  <a:lnTo>
                    <a:pt x="106" y="12"/>
                  </a:lnTo>
                  <a:lnTo>
                    <a:pt x="107" y="12"/>
                  </a:lnTo>
                  <a:lnTo>
                    <a:pt x="108" y="12"/>
                  </a:lnTo>
                  <a:lnTo>
                    <a:pt x="108" y="14"/>
                  </a:lnTo>
                  <a:lnTo>
                    <a:pt x="109" y="14"/>
                  </a:lnTo>
                  <a:lnTo>
                    <a:pt x="109" y="15"/>
                  </a:lnTo>
                  <a:lnTo>
                    <a:pt x="110" y="15"/>
                  </a:lnTo>
                  <a:lnTo>
                    <a:pt x="109" y="15"/>
                  </a:lnTo>
                  <a:lnTo>
                    <a:pt x="109" y="16"/>
                  </a:lnTo>
                  <a:lnTo>
                    <a:pt x="110" y="16"/>
                  </a:lnTo>
                  <a:lnTo>
                    <a:pt x="110" y="15"/>
                  </a:lnTo>
                  <a:lnTo>
                    <a:pt x="112" y="15"/>
                  </a:lnTo>
                  <a:lnTo>
                    <a:pt x="113" y="15"/>
                  </a:lnTo>
                  <a:lnTo>
                    <a:pt x="114" y="15"/>
                  </a:lnTo>
                  <a:lnTo>
                    <a:pt x="115" y="15"/>
                  </a:lnTo>
                  <a:lnTo>
                    <a:pt x="115" y="16"/>
                  </a:lnTo>
                  <a:lnTo>
                    <a:pt x="116" y="16"/>
                  </a:lnTo>
                  <a:lnTo>
                    <a:pt x="116" y="17"/>
                  </a:lnTo>
                  <a:lnTo>
                    <a:pt x="117" y="17"/>
                  </a:lnTo>
                  <a:lnTo>
                    <a:pt x="119" y="16"/>
                  </a:lnTo>
                  <a:lnTo>
                    <a:pt x="120" y="16"/>
                  </a:lnTo>
                  <a:lnTo>
                    <a:pt x="121" y="17"/>
                  </a:lnTo>
                  <a:lnTo>
                    <a:pt x="121" y="16"/>
                  </a:lnTo>
                  <a:lnTo>
                    <a:pt x="122" y="16"/>
                  </a:lnTo>
                  <a:lnTo>
                    <a:pt x="122" y="17"/>
                  </a:lnTo>
                  <a:lnTo>
                    <a:pt x="123" y="17"/>
                  </a:lnTo>
                  <a:lnTo>
                    <a:pt x="124" y="17"/>
                  </a:lnTo>
                  <a:lnTo>
                    <a:pt x="126" y="17"/>
                  </a:lnTo>
                  <a:lnTo>
                    <a:pt x="126" y="16"/>
                  </a:lnTo>
                  <a:lnTo>
                    <a:pt x="126" y="15"/>
                  </a:lnTo>
                  <a:lnTo>
                    <a:pt x="127" y="15"/>
                  </a:lnTo>
                  <a:lnTo>
                    <a:pt x="128" y="15"/>
                  </a:lnTo>
                  <a:lnTo>
                    <a:pt x="129" y="15"/>
                  </a:lnTo>
                  <a:lnTo>
                    <a:pt x="130" y="16"/>
                  </a:lnTo>
                  <a:lnTo>
                    <a:pt x="131" y="16"/>
                  </a:lnTo>
                  <a:lnTo>
                    <a:pt x="133" y="16"/>
                  </a:lnTo>
                  <a:lnTo>
                    <a:pt x="134" y="16"/>
                  </a:lnTo>
                  <a:lnTo>
                    <a:pt x="134" y="17"/>
                  </a:lnTo>
                  <a:lnTo>
                    <a:pt x="135" y="17"/>
                  </a:lnTo>
                  <a:lnTo>
                    <a:pt x="135" y="18"/>
                  </a:lnTo>
                  <a:lnTo>
                    <a:pt x="135" y="19"/>
                  </a:lnTo>
                  <a:lnTo>
                    <a:pt x="136" y="19"/>
                  </a:lnTo>
                  <a:lnTo>
                    <a:pt x="135" y="19"/>
                  </a:lnTo>
                  <a:lnTo>
                    <a:pt x="135" y="21"/>
                  </a:lnTo>
                  <a:lnTo>
                    <a:pt x="136" y="21"/>
                  </a:lnTo>
                  <a:lnTo>
                    <a:pt x="137" y="21"/>
                  </a:lnTo>
                  <a:lnTo>
                    <a:pt x="138" y="21"/>
                  </a:lnTo>
                  <a:lnTo>
                    <a:pt x="138" y="19"/>
                  </a:lnTo>
                  <a:lnTo>
                    <a:pt x="140" y="19"/>
                  </a:lnTo>
                  <a:lnTo>
                    <a:pt x="141" y="21"/>
                  </a:lnTo>
                  <a:lnTo>
                    <a:pt x="142" y="21"/>
                  </a:lnTo>
                  <a:lnTo>
                    <a:pt x="142" y="22"/>
                  </a:lnTo>
                  <a:lnTo>
                    <a:pt x="143" y="22"/>
                  </a:lnTo>
                  <a:lnTo>
                    <a:pt x="144" y="22"/>
                  </a:lnTo>
                  <a:lnTo>
                    <a:pt x="144" y="21"/>
                  </a:lnTo>
                  <a:lnTo>
                    <a:pt x="145" y="21"/>
                  </a:lnTo>
                  <a:lnTo>
                    <a:pt x="147" y="21"/>
                  </a:lnTo>
                  <a:lnTo>
                    <a:pt x="148" y="22"/>
                  </a:lnTo>
                  <a:lnTo>
                    <a:pt x="149" y="22"/>
                  </a:lnTo>
                  <a:lnTo>
                    <a:pt x="149" y="23"/>
                  </a:lnTo>
                  <a:lnTo>
                    <a:pt x="150" y="22"/>
                  </a:lnTo>
                  <a:lnTo>
                    <a:pt x="151" y="22"/>
                  </a:lnTo>
                  <a:lnTo>
                    <a:pt x="151" y="21"/>
                  </a:lnTo>
                  <a:lnTo>
                    <a:pt x="152" y="21"/>
                  </a:lnTo>
                  <a:lnTo>
                    <a:pt x="153" y="21"/>
                  </a:lnTo>
                  <a:lnTo>
                    <a:pt x="155" y="21"/>
                  </a:lnTo>
                  <a:lnTo>
                    <a:pt x="156" y="21"/>
                  </a:lnTo>
                  <a:lnTo>
                    <a:pt x="157" y="21"/>
                  </a:lnTo>
                  <a:lnTo>
                    <a:pt x="157" y="22"/>
                  </a:lnTo>
                  <a:lnTo>
                    <a:pt x="158" y="22"/>
                  </a:lnTo>
                  <a:lnTo>
                    <a:pt x="158" y="23"/>
                  </a:lnTo>
                  <a:lnTo>
                    <a:pt x="159" y="22"/>
                  </a:lnTo>
                  <a:lnTo>
                    <a:pt x="159" y="23"/>
                  </a:lnTo>
                  <a:lnTo>
                    <a:pt x="159" y="24"/>
                  </a:lnTo>
                  <a:lnTo>
                    <a:pt x="158" y="24"/>
                  </a:lnTo>
                  <a:lnTo>
                    <a:pt x="157" y="24"/>
                  </a:lnTo>
                  <a:lnTo>
                    <a:pt x="157" y="23"/>
                  </a:lnTo>
                  <a:lnTo>
                    <a:pt x="157" y="24"/>
                  </a:lnTo>
                  <a:lnTo>
                    <a:pt x="157" y="25"/>
                  </a:lnTo>
                  <a:lnTo>
                    <a:pt x="158" y="26"/>
                  </a:lnTo>
                  <a:lnTo>
                    <a:pt x="158" y="28"/>
                  </a:lnTo>
                  <a:lnTo>
                    <a:pt x="158" y="29"/>
                  </a:lnTo>
                  <a:lnTo>
                    <a:pt x="158" y="30"/>
                  </a:lnTo>
                  <a:lnTo>
                    <a:pt x="157" y="30"/>
                  </a:lnTo>
                  <a:lnTo>
                    <a:pt x="156" y="30"/>
                  </a:lnTo>
                  <a:lnTo>
                    <a:pt x="156" y="31"/>
                  </a:lnTo>
                  <a:lnTo>
                    <a:pt x="155" y="32"/>
                  </a:lnTo>
                  <a:lnTo>
                    <a:pt x="153" y="32"/>
                  </a:lnTo>
                  <a:lnTo>
                    <a:pt x="152" y="32"/>
                  </a:lnTo>
                  <a:lnTo>
                    <a:pt x="152" y="33"/>
                  </a:lnTo>
                  <a:lnTo>
                    <a:pt x="151" y="33"/>
                  </a:lnTo>
                  <a:lnTo>
                    <a:pt x="149" y="35"/>
                  </a:lnTo>
                  <a:lnTo>
                    <a:pt x="148" y="35"/>
                  </a:lnTo>
                  <a:lnTo>
                    <a:pt x="148" y="36"/>
                  </a:lnTo>
                  <a:lnTo>
                    <a:pt x="147" y="36"/>
                  </a:lnTo>
                  <a:lnTo>
                    <a:pt x="145" y="37"/>
                  </a:lnTo>
                  <a:lnTo>
                    <a:pt x="145" y="38"/>
                  </a:lnTo>
                  <a:lnTo>
                    <a:pt x="144" y="38"/>
                  </a:lnTo>
                  <a:lnTo>
                    <a:pt x="143" y="39"/>
                  </a:lnTo>
                  <a:lnTo>
                    <a:pt x="142" y="39"/>
                  </a:lnTo>
                  <a:lnTo>
                    <a:pt x="141" y="39"/>
                  </a:lnTo>
                  <a:lnTo>
                    <a:pt x="138" y="40"/>
                  </a:lnTo>
                  <a:lnTo>
                    <a:pt x="137" y="40"/>
                  </a:lnTo>
                  <a:lnTo>
                    <a:pt x="134" y="42"/>
                  </a:lnTo>
                  <a:lnTo>
                    <a:pt x="133" y="42"/>
                  </a:lnTo>
                  <a:lnTo>
                    <a:pt x="133" y="43"/>
                  </a:lnTo>
                  <a:lnTo>
                    <a:pt x="131" y="42"/>
                  </a:lnTo>
                  <a:lnTo>
                    <a:pt x="130" y="43"/>
                  </a:lnTo>
                  <a:lnTo>
                    <a:pt x="128" y="44"/>
                  </a:lnTo>
                  <a:lnTo>
                    <a:pt x="128" y="45"/>
                  </a:lnTo>
                  <a:lnTo>
                    <a:pt x="127" y="46"/>
                  </a:lnTo>
                  <a:lnTo>
                    <a:pt x="126" y="46"/>
                  </a:lnTo>
                  <a:lnTo>
                    <a:pt x="127" y="46"/>
                  </a:lnTo>
                  <a:lnTo>
                    <a:pt x="127" y="47"/>
                  </a:lnTo>
                  <a:lnTo>
                    <a:pt x="127" y="46"/>
                  </a:lnTo>
                  <a:lnTo>
                    <a:pt x="128" y="46"/>
                  </a:lnTo>
                  <a:lnTo>
                    <a:pt x="128" y="47"/>
                  </a:lnTo>
                  <a:lnTo>
                    <a:pt x="128" y="49"/>
                  </a:lnTo>
                  <a:lnTo>
                    <a:pt x="127" y="49"/>
                  </a:lnTo>
                  <a:lnTo>
                    <a:pt x="127" y="50"/>
                  </a:lnTo>
                  <a:lnTo>
                    <a:pt x="126" y="50"/>
                  </a:lnTo>
                  <a:lnTo>
                    <a:pt x="124" y="50"/>
                  </a:lnTo>
                  <a:lnTo>
                    <a:pt x="126" y="50"/>
                  </a:lnTo>
                  <a:lnTo>
                    <a:pt x="127" y="49"/>
                  </a:lnTo>
                  <a:lnTo>
                    <a:pt x="126" y="49"/>
                  </a:lnTo>
                  <a:lnTo>
                    <a:pt x="124" y="50"/>
                  </a:lnTo>
                  <a:lnTo>
                    <a:pt x="123" y="51"/>
                  </a:lnTo>
                  <a:lnTo>
                    <a:pt x="123" y="52"/>
                  </a:lnTo>
                  <a:lnTo>
                    <a:pt x="122" y="53"/>
                  </a:lnTo>
                  <a:lnTo>
                    <a:pt x="122" y="54"/>
                  </a:lnTo>
                  <a:lnTo>
                    <a:pt x="121" y="54"/>
                  </a:lnTo>
                  <a:lnTo>
                    <a:pt x="121" y="56"/>
                  </a:lnTo>
                  <a:lnTo>
                    <a:pt x="120" y="57"/>
                  </a:lnTo>
                  <a:lnTo>
                    <a:pt x="119" y="58"/>
                  </a:lnTo>
                  <a:lnTo>
                    <a:pt x="117" y="59"/>
                  </a:lnTo>
                  <a:lnTo>
                    <a:pt x="117" y="60"/>
                  </a:lnTo>
                  <a:lnTo>
                    <a:pt x="116" y="60"/>
                  </a:lnTo>
                  <a:lnTo>
                    <a:pt x="116" y="61"/>
                  </a:lnTo>
                  <a:lnTo>
                    <a:pt x="115" y="64"/>
                  </a:lnTo>
                  <a:lnTo>
                    <a:pt x="114" y="64"/>
                  </a:lnTo>
                  <a:lnTo>
                    <a:pt x="114" y="65"/>
                  </a:lnTo>
                  <a:lnTo>
                    <a:pt x="114" y="66"/>
                  </a:lnTo>
                  <a:lnTo>
                    <a:pt x="113" y="66"/>
                  </a:lnTo>
                  <a:lnTo>
                    <a:pt x="113" y="67"/>
                  </a:lnTo>
                  <a:lnTo>
                    <a:pt x="113" y="68"/>
                  </a:lnTo>
                  <a:lnTo>
                    <a:pt x="113" y="70"/>
                  </a:lnTo>
                  <a:lnTo>
                    <a:pt x="114" y="71"/>
                  </a:lnTo>
                  <a:lnTo>
                    <a:pt x="114" y="72"/>
                  </a:lnTo>
                  <a:lnTo>
                    <a:pt x="114" y="73"/>
                  </a:lnTo>
                  <a:lnTo>
                    <a:pt x="115" y="74"/>
                  </a:lnTo>
                  <a:lnTo>
                    <a:pt x="115" y="75"/>
                  </a:lnTo>
                  <a:lnTo>
                    <a:pt x="116" y="75"/>
                  </a:lnTo>
                  <a:lnTo>
                    <a:pt x="116" y="77"/>
                  </a:lnTo>
                  <a:lnTo>
                    <a:pt x="117" y="77"/>
                  </a:lnTo>
                  <a:lnTo>
                    <a:pt x="119" y="77"/>
                  </a:lnTo>
                  <a:lnTo>
                    <a:pt x="119" y="78"/>
                  </a:lnTo>
                  <a:lnTo>
                    <a:pt x="120" y="78"/>
                  </a:lnTo>
                  <a:lnTo>
                    <a:pt x="120" y="79"/>
                  </a:lnTo>
                  <a:lnTo>
                    <a:pt x="119" y="80"/>
                  </a:lnTo>
                  <a:lnTo>
                    <a:pt x="117" y="80"/>
                  </a:lnTo>
                  <a:lnTo>
                    <a:pt x="116" y="80"/>
                  </a:lnTo>
                  <a:lnTo>
                    <a:pt x="116" y="81"/>
                  </a:lnTo>
                  <a:lnTo>
                    <a:pt x="116" y="82"/>
                  </a:lnTo>
                  <a:lnTo>
                    <a:pt x="115" y="82"/>
                  </a:lnTo>
                  <a:lnTo>
                    <a:pt x="114" y="82"/>
                  </a:lnTo>
                  <a:lnTo>
                    <a:pt x="113" y="84"/>
                  </a:lnTo>
                  <a:lnTo>
                    <a:pt x="112" y="84"/>
                  </a:lnTo>
                  <a:lnTo>
                    <a:pt x="112" y="85"/>
                  </a:lnTo>
                  <a:lnTo>
                    <a:pt x="110" y="85"/>
                  </a:lnTo>
                  <a:lnTo>
                    <a:pt x="110" y="86"/>
                  </a:lnTo>
                  <a:lnTo>
                    <a:pt x="110" y="87"/>
                  </a:lnTo>
                  <a:lnTo>
                    <a:pt x="109" y="87"/>
                  </a:lnTo>
                  <a:lnTo>
                    <a:pt x="109" y="88"/>
                  </a:lnTo>
                  <a:lnTo>
                    <a:pt x="109" y="89"/>
                  </a:lnTo>
                  <a:lnTo>
                    <a:pt x="109" y="91"/>
                  </a:lnTo>
                  <a:lnTo>
                    <a:pt x="108" y="91"/>
                  </a:lnTo>
                  <a:lnTo>
                    <a:pt x="108" y="92"/>
                  </a:lnTo>
                  <a:lnTo>
                    <a:pt x="107" y="93"/>
                  </a:lnTo>
                  <a:lnTo>
                    <a:pt x="107" y="94"/>
                  </a:lnTo>
                  <a:lnTo>
                    <a:pt x="107" y="93"/>
                  </a:lnTo>
                  <a:lnTo>
                    <a:pt x="107" y="94"/>
                  </a:lnTo>
                  <a:lnTo>
                    <a:pt x="106" y="94"/>
                  </a:lnTo>
                  <a:lnTo>
                    <a:pt x="106" y="95"/>
                  </a:lnTo>
                  <a:lnTo>
                    <a:pt x="107" y="95"/>
                  </a:lnTo>
                  <a:lnTo>
                    <a:pt x="107" y="96"/>
                  </a:lnTo>
                  <a:lnTo>
                    <a:pt x="108" y="96"/>
                  </a:lnTo>
                  <a:lnTo>
                    <a:pt x="107" y="96"/>
                  </a:lnTo>
                  <a:lnTo>
                    <a:pt x="106" y="98"/>
                  </a:lnTo>
                  <a:lnTo>
                    <a:pt x="105" y="98"/>
                  </a:lnTo>
                  <a:lnTo>
                    <a:pt x="103" y="98"/>
                  </a:lnTo>
                  <a:lnTo>
                    <a:pt x="102" y="98"/>
                  </a:lnTo>
                  <a:lnTo>
                    <a:pt x="101" y="98"/>
                  </a:lnTo>
                  <a:lnTo>
                    <a:pt x="100" y="98"/>
                  </a:lnTo>
                  <a:lnTo>
                    <a:pt x="99" y="98"/>
                  </a:lnTo>
                  <a:lnTo>
                    <a:pt x="99" y="99"/>
                  </a:lnTo>
                  <a:lnTo>
                    <a:pt x="98" y="99"/>
                  </a:lnTo>
                  <a:lnTo>
                    <a:pt x="98" y="100"/>
                  </a:lnTo>
                  <a:lnTo>
                    <a:pt x="96" y="100"/>
                  </a:lnTo>
                  <a:lnTo>
                    <a:pt x="95" y="100"/>
                  </a:lnTo>
                  <a:lnTo>
                    <a:pt x="95" y="101"/>
                  </a:lnTo>
                  <a:lnTo>
                    <a:pt x="95" y="100"/>
                  </a:lnTo>
                  <a:lnTo>
                    <a:pt x="95" y="101"/>
                  </a:lnTo>
                  <a:lnTo>
                    <a:pt x="94" y="102"/>
                  </a:lnTo>
                  <a:lnTo>
                    <a:pt x="93" y="103"/>
                  </a:lnTo>
                  <a:lnTo>
                    <a:pt x="93" y="105"/>
                  </a:lnTo>
                  <a:lnTo>
                    <a:pt x="93" y="106"/>
                  </a:lnTo>
                  <a:lnTo>
                    <a:pt x="92" y="107"/>
                  </a:lnTo>
                  <a:lnTo>
                    <a:pt x="93" y="107"/>
                  </a:lnTo>
                  <a:lnTo>
                    <a:pt x="92" y="107"/>
                  </a:lnTo>
                  <a:lnTo>
                    <a:pt x="91" y="108"/>
                  </a:lnTo>
                  <a:lnTo>
                    <a:pt x="91" y="109"/>
                  </a:lnTo>
                  <a:lnTo>
                    <a:pt x="89" y="110"/>
                  </a:lnTo>
                  <a:lnTo>
                    <a:pt x="88" y="110"/>
                  </a:lnTo>
                  <a:lnTo>
                    <a:pt x="87" y="109"/>
                  </a:lnTo>
                  <a:lnTo>
                    <a:pt x="86" y="109"/>
                  </a:lnTo>
                  <a:lnTo>
                    <a:pt x="85" y="109"/>
                  </a:lnTo>
                  <a:lnTo>
                    <a:pt x="84" y="109"/>
                  </a:lnTo>
                  <a:lnTo>
                    <a:pt x="83" y="110"/>
                  </a:lnTo>
                  <a:lnTo>
                    <a:pt x="83" y="112"/>
                  </a:lnTo>
                  <a:lnTo>
                    <a:pt x="81" y="112"/>
                  </a:lnTo>
                  <a:lnTo>
                    <a:pt x="80" y="110"/>
                  </a:lnTo>
                  <a:lnTo>
                    <a:pt x="79" y="110"/>
                  </a:lnTo>
                  <a:lnTo>
                    <a:pt x="78" y="110"/>
                  </a:lnTo>
                  <a:lnTo>
                    <a:pt x="77" y="110"/>
                  </a:lnTo>
                  <a:lnTo>
                    <a:pt x="76" y="110"/>
                  </a:lnTo>
                  <a:lnTo>
                    <a:pt x="73" y="110"/>
                  </a:lnTo>
                  <a:lnTo>
                    <a:pt x="72" y="112"/>
                  </a:lnTo>
                  <a:lnTo>
                    <a:pt x="71" y="110"/>
                  </a:lnTo>
                  <a:lnTo>
                    <a:pt x="70" y="110"/>
                  </a:lnTo>
                  <a:lnTo>
                    <a:pt x="69" y="110"/>
                  </a:lnTo>
                  <a:lnTo>
                    <a:pt x="67" y="110"/>
                  </a:lnTo>
                  <a:lnTo>
                    <a:pt x="66" y="110"/>
                  </a:lnTo>
                  <a:lnTo>
                    <a:pt x="65" y="110"/>
                  </a:lnTo>
                  <a:lnTo>
                    <a:pt x="64" y="110"/>
                  </a:lnTo>
                  <a:lnTo>
                    <a:pt x="63" y="110"/>
                  </a:lnTo>
                  <a:lnTo>
                    <a:pt x="62" y="110"/>
                  </a:lnTo>
                  <a:lnTo>
                    <a:pt x="59" y="110"/>
                  </a:lnTo>
                  <a:lnTo>
                    <a:pt x="59" y="112"/>
                  </a:lnTo>
                  <a:lnTo>
                    <a:pt x="58" y="112"/>
                  </a:lnTo>
                  <a:lnTo>
                    <a:pt x="58" y="113"/>
                  </a:lnTo>
                  <a:lnTo>
                    <a:pt x="57" y="113"/>
                  </a:lnTo>
                  <a:lnTo>
                    <a:pt x="57" y="114"/>
                  </a:lnTo>
                  <a:lnTo>
                    <a:pt x="56" y="114"/>
                  </a:lnTo>
                  <a:lnTo>
                    <a:pt x="55" y="114"/>
                  </a:lnTo>
                  <a:lnTo>
                    <a:pt x="53" y="114"/>
                  </a:lnTo>
                  <a:lnTo>
                    <a:pt x="52" y="115"/>
                  </a:lnTo>
                  <a:lnTo>
                    <a:pt x="51" y="115"/>
                  </a:lnTo>
                  <a:lnTo>
                    <a:pt x="50" y="115"/>
                  </a:lnTo>
                  <a:lnTo>
                    <a:pt x="49" y="116"/>
                  </a:lnTo>
                  <a:lnTo>
                    <a:pt x="49" y="117"/>
                  </a:lnTo>
                  <a:lnTo>
                    <a:pt x="48" y="117"/>
                  </a:lnTo>
                  <a:lnTo>
                    <a:pt x="48" y="119"/>
                  </a:lnTo>
                  <a:lnTo>
                    <a:pt x="48" y="120"/>
                  </a:lnTo>
                  <a:lnTo>
                    <a:pt x="46" y="120"/>
                  </a:lnTo>
                  <a:lnTo>
                    <a:pt x="46" y="121"/>
                  </a:lnTo>
                  <a:lnTo>
                    <a:pt x="45" y="121"/>
                  </a:lnTo>
                  <a:lnTo>
                    <a:pt x="44" y="122"/>
                  </a:lnTo>
                  <a:lnTo>
                    <a:pt x="43" y="121"/>
                  </a:lnTo>
                  <a:lnTo>
                    <a:pt x="42" y="121"/>
                  </a:lnTo>
                  <a:lnTo>
                    <a:pt x="41" y="121"/>
                  </a:lnTo>
                  <a:lnTo>
                    <a:pt x="41" y="120"/>
                  </a:lnTo>
                  <a:lnTo>
                    <a:pt x="39" y="120"/>
                  </a:lnTo>
                  <a:lnTo>
                    <a:pt x="39" y="119"/>
                  </a:lnTo>
                  <a:lnTo>
                    <a:pt x="39" y="120"/>
                  </a:lnTo>
                  <a:lnTo>
                    <a:pt x="38" y="119"/>
                  </a:lnTo>
                  <a:lnTo>
                    <a:pt x="37" y="119"/>
                  </a:lnTo>
                  <a:lnTo>
                    <a:pt x="37" y="117"/>
                  </a:lnTo>
                  <a:lnTo>
                    <a:pt x="36" y="116"/>
                  </a:lnTo>
                  <a:lnTo>
                    <a:pt x="36" y="115"/>
                  </a:lnTo>
                  <a:lnTo>
                    <a:pt x="36" y="114"/>
                  </a:lnTo>
                  <a:lnTo>
                    <a:pt x="35" y="114"/>
                  </a:lnTo>
                  <a:lnTo>
                    <a:pt x="36" y="114"/>
                  </a:lnTo>
                  <a:lnTo>
                    <a:pt x="36" y="115"/>
                  </a:lnTo>
                  <a:lnTo>
                    <a:pt x="36" y="114"/>
                  </a:lnTo>
                  <a:lnTo>
                    <a:pt x="36" y="113"/>
                  </a:lnTo>
                  <a:lnTo>
                    <a:pt x="35" y="113"/>
                  </a:lnTo>
                  <a:lnTo>
                    <a:pt x="34" y="113"/>
                  </a:lnTo>
                  <a:lnTo>
                    <a:pt x="34" y="112"/>
                  </a:lnTo>
                  <a:lnTo>
                    <a:pt x="34" y="110"/>
                  </a:lnTo>
                  <a:lnTo>
                    <a:pt x="34" y="109"/>
                  </a:lnTo>
                  <a:lnTo>
                    <a:pt x="35" y="109"/>
                  </a:lnTo>
                  <a:lnTo>
                    <a:pt x="35" y="108"/>
                  </a:lnTo>
                  <a:lnTo>
                    <a:pt x="36" y="108"/>
                  </a:lnTo>
                  <a:lnTo>
                    <a:pt x="36" y="107"/>
                  </a:lnTo>
                  <a:lnTo>
                    <a:pt x="36" y="108"/>
                  </a:lnTo>
                  <a:lnTo>
                    <a:pt x="35" y="107"/>
                  </a:lnTo>
                  <a:lnTo>
                    <a:pt x="35" y="108"/>
                  </a:lnTo>
                  <a:lnTo>
                    <a:pt x="35" y="109"/>
                  </a:lnTo>
                  <a:lnTo>
                    <a:pt x="34" y="109"/>
                  </a:lnTo>
                  <a:lnTo>
                    <a:pt x="34" y="108"/>
                  </a:lnTo>
                  <a:lnTo>
                    <a:pt x="32" y="107"/>
                  </a:lnTo>
                  <a:lnTo>
                    <a:pt x="29" y="105"/>
                  </a:lnTo>
                  <a:lnTo>
                    <a:pt x="28" y="103"/>
                  </a:lnTo>
                  <a:lnTo>
                    <a:pt x="27" y="103"/>
                  </a:lnTo>
                  <a:lnTo>
                    <a:pt x="27" y="102"/>
                  </a:lnTo>
                  <a:lnTo>
                    <a:pt x="28" y="102"/>
                  </a:lnTo>
                  <a:lnTo>
                    <a:pt x="28" y="101"/>
                  </a:lnTo>
                  <a:lnTo>
                    <a:pt x="28" y="102"/>
                  </a:lnTo>
                  <a:lnTo>
                    <a:pt x="27" y="102"/>
                  </a:lnTo>
                  <a:lnTo>
                    <a:pt x="27" y="103"/>
                  </a:lnTo>
                  <a:lnTo>
                    <a:pt x="25" y="103"/>
                  </a:lnTo>
                  <a:lnTo>
                    <a:pt x="24" y="102"/>
                  </a:lnTo>
                  <a:lnTo>
                    <a:pt x="24" y="103"/>
                  </a:lnTo>
                  <a:lnTo>
                    <a:pt x="22" y="103"/>
                  </a:lnTo>
                  <a:lnTo>
                    <a:pt x="21" y="103"/>
                  </a:lnTo>
                  <a:lnTo>
                    <a:pt x="21" y="102"/>
                  </a:lnTo>
                  <a:lnTo>
                    <a:pt x="21" y="101"/>
                  </a:lnTo>
                  <a:lnTo>
                    <a:pt x="21" y="100"/>
                  </a:lnTo>
                  <a:lnTo>
                    <a:pt x="20" y="100"/>
                  </a:lnTo>
                  <a:lnTo>
                    <a:pt x="20" y="99"/>
                  </a:lnTo>
                  <a:lnTo>
                    <a:pt x="20" y="98"/>
                  </a:lnTo>
                  <a:lnTo>
                    <a:pt x="20" y="96"/>
                  </a:lnTo>
                  <a:lnTo>
                    <a:pt x="21" y="95"/>
                  </a:lnTo>
                  <a:lnTo>
                    <a:pt x="21" y="94"/>
                  </a:lnTo>
                  <a:lnTo>
                    <a:pt x="22" y="93"/>
                  </a:lnTo>
                  <a:lnTo>
                    <a:pt x="22" y="92"/>
                  </a:lnTo>
                  <a:lnTo>
                    <a:pt x="23" y="92"/>
                  </a:lnTo>
                  <a:lnTo>
                    <a:pt x="23" y="91"/>
                  </a:lnTo>
                  <a:lnTo>
                    <a:pt x="24" y="91"/>
                  </a:lnTo>
                  <a:lnTo>
                    <a:pt x="24" y="89"/>
                  </a:lnTo>
                  <a:lnTo>
                    <a:pt x="25" y="89"/>
                  </a:lnTo>
                  <a:lnTo>
                    <a:pt x="25" y="91"/>
                  </a:lnTo>
                  <a:lnTo>
                    <a:pt x="27" y="89"/>
                  </a:lnTo>
                  <a:lnTo>
                    <a:pt x="27" y="88"/>
                  </a:lnTo>
                  <a:lnTo>
                    <a:pt x="27" y="87"/>
                  </a:lnTo>
                  <a:lnTo>
                    <a:pt x="25" y="87"/>
                  </a:lnTo>
                  <a:lnTo>
                    <a:pt x="25" y="88"/>
                  </a:lnTo>
                  <a:lnTo>
                    <a:pt x="24" y="87"/>
                  </a:lnTo>
                  <a:lnTo>
                    <a:pt x="24" y="86"/>
                  </a:lnTo>
                  <a:lnTo>
                    <a:pt x="23" y="86"/>
                  </a:lnTo>
                  <a:lnTo>
                    <a:pt x="22" y="84"/>
                  </a:lnTo>
                  <a:lnTo>
                    <a:pt x="22" y="82"/>
                  </a:lnTo>
                  <a:lnTo>
                    <a:pt x="22" y="81"/>
                  </a:lnTo>
                  <a:lnTo>
                    <a:pt x="23" y="81"/>
                  </a:lnTo>
                  <a:lnTo>
                    <a:pt x="23" y="80"/>
                  </a:lnTo>
                  <a:lnTo>
                    <a:pt x="23" y="79"/>
                  </a:lnTo>
                  <a:lnTo>
                    <a:pt x="24" y="78"/>
                  </a:lnTo>
                  <a:lnTo>
                    <a:pt x="25" y="78"/>
                  </a:lnTo>
                  <a:lnTo>
                    <a:pt x="25" y="77"/>
                  </a:lnTo>
                  <a:lnTo>
                    <a:pt x="27" y="75"/>
                  </a:lnTo>
                  <a:lnTo>
                    <a:pt x="27" y="74"/>
                  </a:lnTo>
                  <a:lnTo>
                    <a:pt x="27" y="73"/>
                  </a:lnTo>
                  <a:lnTo>
                    <a:pt x="25" y="73"/>
                  </a:lnTo>
                  <a:lnTo>
                    <a:pt x="24" y="73"/>
                  </a:lnTo>
                  <a:lnTo>
                    <a:pt x="24" y="72"/>
                  </a:lnTo>
                  <a:lnTo>
                    <a:pt x="23" y="72"/>
                  </a:lnTo>
                  <a:lnTo>
                    <a:pt x="23" y="71"/>
                  </a:lnTo>
                  <a:lnTo>
                    <a:pt x="23" y="70"/>
                  </a:lnTo>
                  <a:lnTo>
                    <a:pt x="23" y="68"/>
                  </a:lnTo>
                  <a:lnTo>
                    <a:pt x="23" y="67"/>
                  </a:lnTo>
                  <a:lnTo>
                    <a:pt x="22" y="67"/>
                  </a:lnTo>
                  <a:lnTo>
                    <a:pt x="22" y="66"/>
                  </a:lnTo>
                  <a:lnTo>
                    <a:pt x="21" y="66"/>
                  </a:lnTo>
                  <a:lnTo>
                    <a:pt x="21" y="65"/>
                  </a:lnTo>
                  <a:lnTo>
                    <a:pt x="20" y="64"/>
                  </a:lnTo>
                  <a:lnTo>
                    <a:pt x="23" y="64"/>
                  </a:lnTo>
                  <a:lnTo>
                    <a:pt x="24" y="64"/>
                  </a:lnTo>
                  <a:lnTo>
                    <a:pt x="27" y="64"/>
                  </a:lnTo>
                  <a:lnTo>
                    <a:pt x="27" y="63"/>
                  </a:lnTo>
                  <a:lnTo>
                    <a:pt x="27" y="61"/>
                  </a:lnTo>
                  <a:lnTo>
                    <a:pt x="28" y="61"/>
                  </a:lnTo>
                  <a:lnTo>
                    <a:pt x="28" y="60"/>
                  </a:lnTo>
                  <a:lnTo>
                    <a:pt x="29" y="59"/>
                  </a:lnTo>
                  <a:lnTo>
                    <a:pt x="28" y="58"/>
                  </a:lnTo>
                  <a:lnTo>
                    <a:pt x="28" y="57"/>
                  </a:lnTo>
                  <a:lnTo>
                    <a:pt x="27" y="57"/>
                  </a:lnTo>
                  <a:lnTo>
                    <a:pt x="27" y="56"/>
                  </a:lnTo>
                  <a:lnTo>
                    <a:pt x="28" y="56"/>
                  </a:lnTo>
                  <a:lnTo>
                    <a:pt x="28" y="54"/>
                  </a:lnTo>
                  <a:lnTo>
                    <a:pt x="29" y="54"/>
                  </a:lnTo>
                  <a:lnTo>
                    <a:pt x="30" y="53"/>
                  </a:lnTo>
                  <a:lnTo>
                    <a:pt x="29" y="52"/>
                  </a:lnTo>
                  <a:lnTo>
                    <a:pt x="29" y="51"/>
                  </a:lnTo>
                  <a:lnTo>
                    <a:pt x="30" y="51"/>
                  </a:lnTo>
                  <a:lnTo>
                    <a:pt x="29" y="50"/>
                  </a:lnTo>
                  <a:lnTo>
                    <a:pt x="30" y="49"/>
                  </a:lnTo>
                  <a:lnTo>
                    <a:pt x="30" y="47"/>
                  </a:lnTo>
                  <a:lnTo>
                    <a:pt x="30" y="46"/>
                  </a:lnTo>
                  <a:lnTo>
                    <a:pt x="30" y="45"/>
                  </a:lnTo>
                  <a:lnTo>
                    <a:pt x="29" y="45"/>
                  </a:lnTo>
                  <a:lnTo>
                    <a:pt x="29" y="44"/>
                  </a:lnTo>
                  <a:lnTo>
                    <a:pt x="29" y="43"/>
                  </a:lnTo>
                  <a:lnTo>
                    <a:pt x="30" y="43"/>
                  </a:lnTo>
                  <a:lnTo>
                    <a:pt x="30" y="42"/>
                  </a:lnTo>
                  <a:lnTo>
                    <a:pt x="31" y="42"/>
                  </a:lnTo>
                  <a:lnTo>
                    <a:pt x="31" y="40"/>
                  </a:lnTo>
                  <a:lnTo>
                    <a:pt x="31" y="39"/>
                  </a:lnTo>
                  <a:lnTo>
                    <a:pt x="32" y="39"/>
                  </a:lnTo>
                  <a:lnTo>
                    <a:pt x="34" y="39"/>
                  </a:lnTo>
                  <a:lnTo>
                    <a:pt x="35" y="38"/>
                  </a:lnTo>
                  <a:lnTo>
                    <a:pt x="36" y="37"/>
                  </a:lnTo>
                  <a:lnTo>
                    <a:pt x="37" y="36"/>
                  </a:lnTo>
                  <a:lnTo>
                    <a:pt x="37" y="35"/>
                  </a:lnTo>
                  <a:lnTo>
                    <a:pt x="38" y="35"/>
                  </a:lnTo>
                  <a:lnTo>
                    <a:pt x="38" y="33"/>
                  </a:lnTo>
                  <a:lnTo>
                    <a:pt x="37" y="33"/>
                  </a:lnTo>
                  <a:lnTo>
                    <a:pt x="36" y="32"/>
                  </a:lnTo>
                  <a:lnTo>
                    <a:pt x="35" y="32"/>
                  </a:lnTo>
                  <a:lnTo>
                    <a:pt x="35" y="33"/>
                  </a:lnTo>
                  <a:lnTo>
                    <a:pt x="34" y="33"/>
                  </a:lnTo>
                  <a:lnTo>
                    <a:pt x="34" y="32"/>
                  </a:lnTo>
                  <a:lnTo>
                    <a:pt x="34" y="31"/>
                  </a:lnTo>
                  <a:lnTo>
                    <a:pt x="34" y="30"/>
                  </a:lnTo>
                  <a:lnTo>
                    <a:pt x="34" y="29"/>
                  </a:lnTo>
                  <a:lnTo>
                    <a:pt x="34" y="28"/>
                  </a:lnTo>
                  <a:lnTo>
                    <a:pt x="32" y="29"/>
                  </a:lnTo>
                  <a:lnTo>
                    <a:pt x="31" y="29"/>
                  </a:lnTo>
                  <a:lnTo>
                    <a:pt x="31" y="28"/>
                  </a:lnTo>
                  <a:lnTo>
                    <a:pt x="30" y="28"/>
                  </a:lnTo>
                  <a:lnTo>
                    <a:pt x="30" y="29"/>
                  </a:lnTo>
                  <a:lnTo>
                    <a:pt x="29" y="29"/>
                  </a:lnTo>
                  <a:lnTo>
                    <a:pt x="28" y="28"/>
                  </a:lnTo>
                  <a:lnTo>
                    <a:pt x="28" y="29"/>
                  </a:lnTo>
                  <a:lnTo>
                    <a:pt x="27" y="29"/>
                  </a:lnTo>
                  <a:lnTo>
                    <a:pt x="27" y="28"/>
                  </a:lnTo>
                  <a:lnTo>
                    <a:pt x="25" y="28"/>
                  </a:lnTo>
                  <a:lnTo>
                    <a:pt x="25" y="29"/>
                  </a:lnTo>
                  <a:lnTo>
                    <a:pt x="25" y="30"/>
                  </a:lnTo>
                  <a:lnTo>
                    <a:pt x="24" y="30"/>
                  </a:lnTo>
                  <a:lnTo>
                    <a:pt x="23" y="30"/>
                  </a:lnTo>
                  <a:lnTo>
                    <a:pt x="22" y="31"/>
                  </a:lnTo>
                  <a:lnTo>
                    <a:pt x="22" y="30"/>
                  </a:lnTo>
                  <a:lnTo>
                    <a:pt x="21" y="30"/>
                  </a:lnTo>
                  <a:lnTo>
                    <a:pt x="20" y="30"/>
                  </a:lnTo>
                  <a:lnTo>
                    <a:pt x="21" y="30"/>
                  </a:lnTo>
                  <a:lnTo>
                    <a:pt x="20" y="30"/>
                  </a:lnTo>
                  <a:lnTo>
                    <a:pt x="20" y="29"/>
                  </a:lnTo>
                  <a:lnTo>
                    <a:pt x="19" y="29"/>
                  </a:lnTo>
                  <a:lnTo>
                    <a:pt x="17" y="30"/>
                  </a:lnTo>
                  <a:lnTo>
                    <a:pt x="16" y="30"/>
                  </a:lnTo>
                  <a:lnTo>
                    <a:pt x="16" y="29"/>
                  </a:lnTo>
                  <a:lnTo>
                    <a:pt x="16" y="30"/>
                  </a:lnTo>
                  <a:lnTo>
                    <a:pt x="15" y="30"/>
                  </a:lnTo>
                  <a:lnTo>
                    <a:pt x="14" y="31"/>
                  </a:lnTo>
                  <a:lnTo>
                    <a:pt x="13" y="31"/>
                  </a:lnTo>
                  <a:lnTo>
                    <a:pt x="13" y="30"/>
                  </a:lnTo>
                  <a:lnTo>
                    <a:pt x="13" y="29"/>
                  </a:lnTo>
                  <a:lnTo>
                    <a:pt x="13" y="28"/>
                  </a:lnTo>
                  <a:lnTo>
                    <a:pt x="14" y="28"/>
                  </a:lnTo>
                  <a:lnTo>
                    <a:pt x="14" y="26"/>
                  </a:lnTo>
                  <a:lnTo>
                    <a:pt x="13" y="26"/>
                  </a:lnTo>
                  <a:lnTo>
                    <a:pt x="13" y="25"/>
                  </a:lnTo>
                  <a:lnTo>
                    <a:pt x="12" y="25"/>
                  </a:lnTo>
                  <a:lnTo>
                    <a:pt x="12" y="26"/>
                  </a:lnTo>
                  <a:lnTo>
                    <a:pt x="9" y="26"/>
                  </a:lnTo>
                  <a:lnTo>
                    <a:pt x="8" y="26"/>
                  </a:lnTo>
                  <a:lnTo>
                    <a:pt x="7" y="26"/>
                  </a:lnTo>
                  <a:lnTo>
                    <a:pt x="7" y="28"/>
                  </a:lnTo>
                  <a:lnTo>
                    <a:pt x="6" y="28"/>
                  </a:lnTo>
                  <a:lnTo>
                    <a:pt x="6" y="29"/>
                  </a:lnTo>
                  <a:lnTo>
                    <a:pt x="5" y="29"/>
                  </a:lnTo>
                  <a:lnTo>
                    <a:pt x="5" y="26"/>
                  </a:lnTo>
                  <a:lnTo>
                    <a:pt x="5" y="25"/>
                  </a:lnTo>
                  <a:lnTo>
                    <a:pt x="6" y="25"/>
                  </a:lnTo>
                  <a:lnTo>
                    <a:pt x="6" y="24"/>
                  </a:lnTo>
                  <a:lnTo>
                    <a:pt x="7" y="24"/>
                  </a:lnTo>
                  <a:lnTo>
                    <a:pt x="7" y="23"/>
                  </a:lnTo>
                  <a:lnTo>
                    <a:pt x="8" y="23"/>
                  </a:lnTo>
                  <a:lnTo>
                    <a:pt x="8" y="22"/>
                  </a:lnTo>
                  <a:lnTo>
                    <a:pt x="7" y="22"/>
                  </a:lnTo>
                  <a:lnTo>
                    <a:pt x="7" y="23"/>
                  </a:lnTo>
                  <a:lnTo>
                    <a:pt x="6" y="23"/>
                  </a:lnTo>
                  <a:lnTo>
                    <a:pt x="5" y="23"/>
                  </a:lnTo>
                  <a:lnTo>
                    <a:pt x="5" y="24"/>
                  </a:lnTo>
                  <a:lnTo>
                    <a:pt x="5" y="23"/>
                  </a:lnTo>
                  <a:lnTo>
                    <a:pt x="5" y="22"/>
                  </a:lnTo>
                  <a:lnTo>
                    <a:pt x="6" y="22"/>
                  </a:lnTo>
                  <a:lnTo>
                    <a:pt x="7" y="22"/>
                  </a:lnTo>
                  <a:lnTo>
                    <a:pt x="7" y="21"/>
                  </a:lnTo>
                  <a:lnTo>
                    <a:pt x="6" y="21"/>
                  </a:lnTo>
                  <a:lnTo>
                    <a:pt x="6" y="22"/>
                  </a:lnTo>
                  <a:lnTo>
                    <a:pt x="5" y="22"/>
                  </a:lnTo>
                  <a:lnTo>
                    <a:pt x="5" y="21"/>
                  </a:lnTo>
                  <a:lnTo>
                    <a:pt x="3" y="21"/>
                  </a:lnTo>
                  <a:lnTo>
                    <a:pt x="5" y="19"/>
                  </a:lnTo>
                  <a:lnTo>
                    <a:pt x="5" y="21"/>
                  </a:lnTo>
                  <a:lnTo>
                    <a:pt x="6" y="21"/>
                  </a:lnTo>
                  <a:lnTo>
                    <a:pt x="6" y="19"/>
                  </a:lnTo>
                  <a:lnTo>
                    <a:pt x="6" y="18"/>
                  </a:lnTo>
                  <a:lnTo>
                    <a:pt x="7" y="17"/>
                  </a:lnTo>
                  <a:lnTo>
                    <a:pt x="6" y="17"/>
                  </a:lnTo>
                  <a:lnTo>
                    <a:pt x="5" y="17"/>
                  </a:lnTo>
                  <a:lnTo>
                    <a:pt x="5" y="18"/>
                  </a:lnTo>
                  <a:lnTo>
                    <a:pt x="5" y="17"/>
                  </a:lnTo>
                  <a:lnTo>
                    <a:pt x="5" y="18"/>
                  </a:lnTo>
                  <a:lnTo>
                    <a:pt x="3" y="18"/>
                  </a:lnTo>
                  <a:lnTo>
                    <a:pt x="5" y="18"/>
                  </a:lnTo>
                  <a:lnTo>
                    <a:pt x="3" y="18"/>
                  </a:lnTo>
                  <a:lnTo>
                    <a:pt x="3" y="19"/>
                  </a:lnTo>
                  <a:lnTo>
                    <a:pt x="2" y="19"/>
                  </a:lnTo>
                  <a:lnTo>
                    <a:pt x="2" y="18"/>
                  </a:lnTo>
                  <a:lnTo>
                    <a:pt x="2" y="17"/>
                  </a:lnTo>
                  <a:lnTo>
                    <a:pt x="2" y="16"/>
                  </a:lnTo>
                  <a:lnTo>
                    <a:pt x="3" y="16"/>
                  </a:lnTo>
                  <a:lnTo>
                    <a:pt x="5" y="16"/>
                  </a:lnTo>
                  <a:lnTo>
                    <a:pt x="5" y="15"/>
                  </a:lnTo>
                  <a:lnTo>
                    <a:pt x="3" y="15"/>
                  </a:lnTo>
                  <a:lnTo>
                    <a:pt x="2" y="15"/>
                  </a:lnTo>
                  <a:lnTo>
                    <a:pt x="2" y="16"/>
                  </a:lnTo>
                  <a:lnTo>
                    <a:pt x="1" y="15"/>
                  </a:lnTo>
                  <a:lnTo>
                    <a:pt x="2" y="15"/>
                  </a:lnTo>
                  <a:lnTo>
                    <a:pt x="1" y="14"/>
                  </a:lnTo>
                  <a:lnTo>
                    <a:pt x="1" y="12"/>
                  </a:lnTo>
                  <a:lnTo>
                    <a:pt x="1" y="14"/>
                  </a:lnTo>
                  <a:lnTo>
                    <a:pt x="1" y="12"/>
                  </a:lnTo>
                  <a:lnTo>
                    <a:pt x="0" y="12"/>
                  </a:lnTo>
                  <a:lnTo>
                    <a:pt x="0" y="14"/>
                  </a:lnTo>
                  <a:lnTo>
                    <a:pt x="0" y="12"/>
                  </a:lnTo>
                  <a:lnTo>
                    <a:pt x="0" y="11"/>
                  </a:lnTo>
                  <a:lnTo>
                    <a:pt x="0" y="10"/>
                  </a:lnTo>
                  <a:lnTo>
                    <a:pt x="1" y="10"/>
                  </a:lnTo>
                  <a:lnTo>
                    <a:pt x="2" y="10"/>
                  </a:lnTo>
                  <a:lnTo>
                    <a:pt x="1" y="10"/>
                  </a:lnTo>
                  <a:lnTo>
                    <a:pt x="1" y="9"/>
                  </a:lnTo>
                  <a:lnTo>
                    <a:pt x="2" y="9"/>
                  </a:lnTo>
                  <a:lnTo>
                    <a:pt x="3" y="9"/>
                  </a:lnTo>
                  <a:lnTo>
                    <a:pt x="3" y="8"/>
                  </a:lnTo>
                  <a:lnTo>
                    <a:pt x="3" y="9"/>
                  </a:lnTo>
                  <a:lnTo>
                    <a:pt x="5" y="8"/>
                  </a:lnTo>
                  <a:lnTo>
                    <a:pt x="3" y="8"/>
                  </a:lnTo>
                  <a:lnTo>
                    <a:pt x="5" y="8"/>
                  </a:lnTo>
                  <a:lnTo>
                    <a:pt x="5" y="7"/>
                  </a:lnTo>
                  <a:lnTo>
                    <a:pt x="6" y="7"/>
                  </a:lnTo>
                  <a:lnTo>
                    <a:pt x="7" y="7"/>
                  </a:lnTo>
                  <a:lnTo>
                    <a:pt x="7" y="8"/>
                  </a:lnTo>
                  <a:lnTo>
                    <a:pt x="8" y="8"/>
                  </a:lnTo>
                  <a:lnTo>
                    <a:pt x="8" y="7"/>
                  </a:lnTo>
                  <a:lnTo>
                    <a:pt x="9" y="7"/>
                  </a:lnTo>
                  <a:lnTo>
                    <a:pt x="10" y="7"/>
                  </a:lnTo>
                  <a:lnTo>
                    <a:pt x="12" y="5"/>
                  </a:lnTo>
                  <a:lnTo>
                    <a:pt x="12" y="7"/>
                  </a:lnTo>
                  <a:lnTo>
                    <a:pt x="12" y="5"/>
                  </a:lnTo>
                  <a:lnTo>
                    <a:pt x="13" y="5"/>
                  </a:lnTo>
                  <a:lnTo>
                    <a:pt x="13" y="7"/>
                  </a:lnTo>
                  <a:lnTo>
                    <a:pt x="14" y="7"/>
                  </a:lnTo>
                  <a:lnTo>
                    <a:pt x="14" y="5"/>
                  </a:lnTo>
                  <a:lnTo>
                    <a:pt x="13" y="5"/>
                  </a:lnTo>
                  <a:lnTo>
                    <a:pt x="13" y="4"/>
                  </a:lnTo>
                  <a:lnTo>
                    <a:pt x="14" y="4"/>
                  </a:lnTo>
                  <a:lnTo>
                    <a:pt x="13" y="4"/>
                  </a:lnTo>
                  <a:lnTo>
                    <a:pt x="12" y="4"/>
                  </a:lnTo>
                  <a:lnTo>
                    <a:pt x="13" y="4"/>
                  </a:lnTo>
                  <a:lnTo>
                    <a:pt x="13" y="3"/>
                  </a:lnTo>
                  <a:lnTo>
                    <a:pt x="14" y="3"/>
                  </a:lnTo>
                  <a:lnTo>
                    <a:pt x="15" y="2"/>
                  </a:lnTo>
                  <a:lnTo>
                    <a:pt x="16" y="2"/>
                  </a:lnTo>
                  <a:lnTo>
                    <a:pt x="15" y="2"/>
                  </a:lnTo>
                  <a:lnTo>
                    <a:pt x="16" y="2"/>
                  </a:lnTo>
                  <a:lnTo>
                    <a:pt x="15" y="2"/>
                  </a:lnTo>
                  <a:lnTo>
                    <a:pt x="15" y="1"/>
                  </a:lnTo>
                  <a:lnTo>
                    <a:pt x="16" y="1"/>
                  </a:lnTo>
                  <a:lnTo>
                    <a:pt x="17" y="1"/>
                  </a:lnTo>
                  <a:lnTo>
                    <a:pt x="17" y="0"/>
                  </a:lnTo>
                  <a:lnTo>
                    <a:pt x="19" y="0"/>
                  </a:lnTo>
                  <a:lnTo>
                    <a:pt x="19" y="1"/>
                  </a:lnTo>
                  <a:lnTo>
                    <a:pt x="17" y="1"/>
                  </a:lnTo>
                  <a:lnTo>
                    <a:pt x="19" y="1"/>
                  </a:lnTo>
                  <a:lnTo>
                    <a:pt x="17" y="1"/>
                  </a:lnTo>
                  <a:lnTo>
                    <a:pt x="17" y="2"/>
                  </a:lnTo>
                  <a:lnTo>
                    <a:pt x="19" y="2"/>
                  </a:lnTo>
                  <a:lnTo>
                    <a:pt x="19" y="1"/>
                  </a:lnTo>
                  <a:lnTo>
                    <a:pt x="20" y="1"/>
                  </a:lnTo>
                  <a:lnTo>
                    <a:pt x="20" y="0"/>
                  </a:lnTo>
                  <a:lnTo>
                    <a:pt x="21" y="0"/>
                  </a:lnTo>
                  <a:lnTo>
                    <a:pt x="21" y="1"/>
                  </a:lnTo>
                  <a:lnTo>
                    <a:pt x="2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56" name="Freeform 1120">
              <a:extLst>
                <a:ext uri="{FF2B5EF4-FFF2-40B4-BE49-F238E27FC236}">
                  <a16:creationId xmlns:a16="http://schemas.microsoft.com/office/drawing/2014/main" id="{28644224-0B7D-4436-804C-5F44F03BD507}"/>
                </a:ext>
              </a:extLst>
            </p:cNvPr>
            <p:cNvSpPr>
              <a:spLocks/>
            </p:cNvSpPr>
            <p:nvPr/>
          </p:nvSpPr>
          <p:spPr bwMode="auto">
            <a:xfrm>
              <a:off x="6160332" y="2138576"/>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57" name="Freeform 1121">
              <a:extLst>
                <a:ext uri="{FF2B5EF4-FFF2-40B4-BE49-F238E27FC236}">
                  <a16:creationId xmlns:a16="http://schemas.microsoft.com/office/drawing/2014/main" id="{D7457474-4A5C-4373-81E1-57837ABDB619}"/>
                </a:ext>
              </a:extLst>
            </p:cNvPr>
            <p:cNvSpPr>
              <a:spLocks/>
            </p:cNvSpPr>
            <p:nvPr/>
          </p:nvSpPr>
          <p:spPr bwMode="auto">
            <a:xfrm>
              <a:off x="6169680" y="2131898"/>
              <a:ext cx="1336" cy="0"/>
            </a:xfrm>
            <a:custGeom>
              <a:avLst/>
              <a:gdLst>
                <a:gd name="T0" fmla="*/ 1 w 1"/>
                <a:gd name="T1" fmla="*/ 0 w 1"/>
                <a:gd name="T2" fmla="*/ 0 w 1"/>
                <a:gd name="T3" fmla="*/ 0 w 1"/>
                <a:gd name="T4" fmla="*/ 0 w 1"/>
                <a:gd name="T5" fmla="*/ 0 w 1"/>
                <a:gd name="T6" fmla="*/ 1 w 1"/>
                <a:gd name="T7" fmla="*/ 1 w 1"/>
                <a:gd name="T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
                  <a:moveTo>
                    <a:pt x="1" y="0"/>
                  </a:moveTo>
                  <a:lnTo>
                    <a:pt x="0" y="0"/>
                  </a:lnTo>
                  <a:lnTo>
                    <a:pt x="0" y="0"/>
                  </a:lnTo>
                  <a:lnTo>
                    <a:pt x="0" y="0"/>
                  </a:lnTo>
                  <a:lnTo>
                    <a:pt x="0" y="0"/>
                  </a:lnTo>
                  <a:lnTo>
                    <a:pt x="0"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58" name="Freeform 1122">
              <a:extLst>
                <a:ext uri="{FF2B5EF4-FFF2-40B4-BE49-F238E27FC236}">
                  <a16:creationId xmlns:a16="http://schemas.microsoft.com/office/drawing/2014/main" id="{7BFC5ABD-A36B-4187-882D-E631CA8B7B50}"/>
                </a:ext>
              </a:extLst>
            </p:cNvPr>
            <p:cNvSpPr>
              <a:spLocks/>
            </p:cNvSpPr>
            <p:nvPr/>
          </p:nvSpPr>
          <p:spPr bwMode="auto">
            <a:xfrm>
              <a:off x="6221764" y="2127892"/>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59" name="Freeform 1123">
              <a:extLst>
                <a:ext uri="{FF2B5EF4-FFF2-40B4-BE49-F238E27FC236}">
                  <a16:creationId xmlns:a16="http://schemas.microsoft.com/office/drawing/2014/main" id="{A5BD3A5B-CD84-484E-9A97-3CC71E43D4C9}"/>
                </a:ext>
              </a:extLst>
            </p:cNvPr>
            <p:cNvSpPr>
              <a:spLocks/>
            </p:cNvSpPr>
            <p:nvPr/>
          </p:nvSpPr>
          <p:spPr bwMode="auto">
            <a:xfrm>
              <a:off x="6136293" y="2122550"/>
              <a:ext cx="21368" cy="14691"/>
            </a:xfrm>
            <a:custGeom>
              <a:avLst/>
              <a:gdLst>
                <a:gd name="T0" fmla="*/ 9 w 16"/>
                <a:gd name="T1" fmla="*/ 0 h 11"/>
                <a:gd name="T2" fmla="*/ 9 w 16"/>
                <a:gd name="T3" fmla="*/ 0 h 11"/>
                <a:gd name="T4" fmla="*/ 11 w 16"/>
                <a:gd name="T5" fmla="*/ 0 h 11"/>
                <a:gd name="T6" fmla="*/ 13 w 16"/>
                <a:gd name="T7" fmla="*/ 0 h 11"/>
                <a:gd name="T8" fmla="*/ 14 w 16"/>
                <a:gd name="T9" fmla="*/ 2 h 11"/>
                <a:gd name="T10" fmla="*/ 15 w 16"/>
                <a:gd name="T11" fmla="*/ 2 h 11"/>
                <a:gd name="T12" fmla="*/ 16 w 16"/>
                <a:gd name="T13" fmla="*/ 3 h 11"/>
                <a:gd name="T14" fmla="*/ 16 w 16"/>
                <a:gd name="T15" fmla="*/ 3 h 11"/>
                <a:gd name="T16" fmla="*/ 15 w 16"/>
                <a:gd name="T17" fmla="*/ 3 h 11"/>
                <a:gd name="T18" fmla="*/ 15 w 16"/>
                <a:gd name="T19" fmla="*/ 3 h 11"/>
                <a:gd name="T20" fmla="*/ 15 w 16"/>
                <a:gd name="T21" fmla="*/ 3 h 11"/>
                <a:gd name="T22" fmla="*/ 14 w 16"/>
                <a:gd name="T23" fmla="*/ 3 h 11"/>
                <a:gd name="T24" fmla="*/ 14 w 16"/>
                <a:gd name="T25" fmla="*/ 3 h 11"/>
                <a:gd name="T26" fmla="*/ 14 w 16"/>
                <a:gd name="T27" fmla="*/ 3 h 11"/>
                <a:gd name="T28" fmla="*/ 14 w 16"/>
                <a:gd name="T29" fmla="*/ 4 h 11"/>
                <a:gd name="T30" fmla="*/ 13 w 16"/>
                <a:gd name="T31" fmla="*/ 4 h 11"/>
                <a:gd name="T32" fmla="*/ 12 w 16"/>
                <a:gd name="T33" fmla="*/ 5 h 11"/>
                <a:gd name="T34" fmla="*/ 12 w 16"/>
                <a:gd name="T35" fmla="*/ 5 h 11"/>
                <a:gd name="T36" fmla="*/ 11 w 16"/>
                <a:gd name="T37" fmla="*/ 5 h 11"/>
                <a:gd name="T38" fmla="*/ 9 w 16"/>
                <a:gd name="T39" fmla="*/ 6 h 11"/>
                <a:gd name="T40" fmla="*/ 9 w 16"/>
                <a:gd name="T41" fmla="*/ 5 h 11"/>
                <a:gd name="T42" fmla="*/ 8 w 16"/>
                <a:gd name="T43" fmla="*/ 5 h 11"/>
                <a:gd name="T44" fmla="*/ 8 w 16"/>
                <a:gd name="T45" fmla="*/ 6 h 11"/>
                <a:gd name="T46" fmla="*/ 8 w 16"/>
                <a:gd name="T47" fmla="*/ 6 h 11"/>
                <a:gd name="T48" fmla="*/ 7 w 16"/>
                <a:gd name="T49" fmla="*/ 6 h 11"/>
                <a:gd name="T50" fmla="*/ 7 w 16"/>
                <a:gd name="T51" fmla="*/ 6 h 11"/>
                <a:gd name="T52" fmla="*/ 6 w 16"/>
                <a:gd name="T53" fmla="*/ 6 h 11"/>
                <a:gd name="T54" fmla="*/ 6 w 16"/>
                <a:gd name="T55" fmla="*/ 6 h 11"/>
                <a:gd name="T56" fmla="*/ 6 w 16"/>
                <a:gd name="T57" fmla="*/ 7 h 11"/>
                <a:gd name="T58" fmla="*/ 5 w 16"/>
                <a:gd name="T59" fmla="*/ 9 h 11"/>
                <a:gd name="T60" fmla="*/ 5 w 16"/>
                <a:gd name="T61" fmla="*/ 10 h 11"/>
                <a:gd name="T62" fmla="*/ 2 w 16"/>
                <a:gd name="T63" fmla="*/ 10 h 11"/>
                <a:gd name="T64" fmla="*/ 2 w 16"/>
                <a:gd name="T65" fmla="*/ 10 h 11"/>
                <a:gd name="T66" fmla="*/ 2 w 16"/>
                <a:gd name="T67" fmla="*/ 10 h 11"/>
                <a:gd name="T68" fmla="*/ 2 w 16"/>
                <a:gd name="T69" fmla="*/ 9 h 11"/>
                <a:gd name="T70" fmla="*/ 4 w 16"/>
                <a:gd name="T71" fmla="*/ 9 h 11"/>
                <a:gd name="T72" fmla="*/ 5 w 16"/>
                <a:gd name="T73" fmla="*/ 9 h 11"/>
                <a:gd name="T74" fmla="*/ 5 w 16"/>
                <a:gd name="T75" fmla="*/ 7 h 11"/>
                <a:gd name="T76" fmla="*/ 2 w 16"/>
                <a:gd name="T77" fmla="*/ 6 h 11"/>
                <a:gd name="T78" fmla="*/ 1 w 16"/>
                <a:gd name="T79" fmla="*/ 5 h 11"/>
                <a:gd name="T80" fmla="*/ 0 w 16"/>
                <a:gd name="T81" fmla="*/ 5 h 11"/>
                <a:gd name="T82" fmla="*/ 0 w 16"/>
                <a:gd name="T83" fmla="*/ 4 h 11"/>
                <a:gd name="T84" fmla="*/ 1 w 16"/>
                <a:gd name="T85" fmla="*/ 4 h 11"/>
                <a:gd name="T86" fmla="*/ 1 w 16"/>
                <a:gd name="T87" fmla="*/ 4 h 11"/>
                <a:gd name="T88" fmla="*/ 1 w 16"/>
                <a:gd name="T89" fmla="*/ 4 h 11"/>
                <a:gd name="T90" fmla="*/ 0 w 16"/>
                <a:gd name="T91" fmla="*/ 3 h 11"/>
                <a:gd name="T92" fmla="*/ 0 w 16"/>
                <a:gd name="T93" fmla="*/ 2 h 11"/>
                <a:gd name="T94" fmla="*/ 1 w 16"/>
                <a:gd name="T95" fmla="*/ 2 h 11"/>
                <a:gd name="T96" fmla="*/ 2 w 16"/>
                <a:gd name="T97" fmla="*/ 3 h 11"/>
                <a:gd name="T98" fmla="*/ 2 w 16"/>
                <a:gd name="T99" fmla="*/ 3 h 11"/>
                <a:gd name="T100" fmla="*/ 2 w 16"/>
                <a:gd name="T101" fmla="*/ 3 h 11"/>
                <a:gd name="T102" fmla="*/ 2 w 16"/>
                <a:gd name="T103" fmla="*/ 2 h 11"/>
                <a:gd name="T104" fmla="*/ 4 w 16"/>
                <a:gd name="T105" fmla="*/ 2 h 11"/>
                <a:gd name="T106" fmla="*/ 4 w 16"/>
                <a:gd name="T107" fmla="*/ 2 h 11"/>
                <a:gd name="T108" fmla="*/ 4 w 16"/>
                <a:gd name="T109" fmla="*/ 2 h 11"/>
                <a:gd name="T110" fmla="*/ 5 w 16"/>
                <a:gd name="T111" fmla="*/ 2 h 11"/>
                <a:gd name="T112" fmla="*/ 7 w 16"/>
                <a:gd name="T113" fmla="*/ 0 h 11"/>
                <a:gd name="T114" fmla="*/ 8 w 16"/>
                <a:gd name="T11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 h="11">
                  <a:moveTo>
                    <a:pt x="8" y="0"/>
                  </a:moveTo>
                  <a:lnTo>
                    <a:pt x="8" y="0"/>
                  </a:lnTo>
                  <a:lnTo>
                    <a:pt x="9" y="0"/>
                  </a:lnTo>
                  <a:lnTo>
                    <a:pt x="9" y="0"/>
                  </a:lnTo>
                  <a:lnTo>
                    <a:pt x="9" y="0"/>
                  </a:lnTo>
                  <a:lnTo>
                    <a:pt x="9" y="0"/>
                  </a:lnTo>
                  <a:lnTo>
                    <a:pt x="9" y="0"/>
                  </a:lnTo>
                  <a:lnTo>
                    <a:pt x="9" y="0"/>
                  </a:lnTo>
                  <a:lnTo>
                    <a:pt x="11" y="0"/>
                  </a:lnTo>
                  <a:lnTo>
                    <a:pt x="11" y="0"/>
                  </a:lnTo>
                  <a:lnTo>
                    <a:pt x="11" y="0"/>
                  </a:lnTo>
                  <a:lnTo>
                    <a:pt x="11" y="0"/>
                  </a:lnTo>
                  <a:lnTo>
                    <a:pt x="12" y="0"/>
                  </a:lnTo>
                  <a:lnTo>
                    <a:pt x="12" y="0"/>
                  </a:lnTo>
                  <a:lnTo>
                    <a:pt x="12" y="0"/>
                  </a:lnTo>
                  <a:lnTo>
                    <a:pt x="13" y="0"/>
                  </a:lnTo>
                  <a:lnTo>
                    <a:pt x="13" y="0"/>
                  </a:lnTo>
                  <a:lnTo>
                    <a:pt x="14" y="0"/>
                  </a:lnTo>
                  <a:lnTo>
                    <a:pt x="14" y="2"/>
                  </a:lnTo>
                  <a:lnTo>
                    <a:pt x="14" y="2"/>
                  </a:lnTo>
                  <a:lnTo>
                    <a:pt x="14" y="2"/>
                  </a:lnTo>
                  <a:lnTo>
                    <a:pt x="14" y="2"/>
                  </a:lnTo>
                  <a:lnTo>
                    <a:pt x="15" y="2"/>
                  </a:lnTo>
                  <a:lnTo>
                    <a:pt x="15" y="2"/>
                  </a:lnTo>
                  <a:lnTo>
                    <a:pt x="16" y="2"/>
                  </a:lnTo>
                  <a:lnTo>
                    <a:pt x="16" y="2"/>
                  </a:lnTo>
                  <a:lnTo>
                    <a:pt x="16" y="3"/>
                  </a:lnTo>
                  <a:lnTo>
                    <a:pt x="16" y="3"/>
                  </a:lnTo>
                  <a:lnTo>
                    <a:pt x="16" y="3"/>
                  </a:lnTo>
                  <a:lnTo>
                    <a:pt x="16" y="3"/>
                  </a:lnTo>
                  <a:lnTo>
                    <a:pt x="15" y="3"/>
                  </a:lnTo>
                  <a:lnTo>
                    <a:pt x="16" y="3"/>
                  </a:lnTo>
                  <a:lnTo>
                    <a:pt x="16" y="3"/>
                  </a:lnTo>
                  <a:lnTo>
                    <a:pt x="16" y="3"/>
                  </a:lnTo>
                  <a:lnTo>
                    <a:pt x="16" y="3"/>
                  </a:lnTo>
                  <a:lnTo>
                    <a:pt x="15" y="3"/>
                  </a:lnTo>
                  <a:lnTo>
                    <a:pt x="15" y="3"/>
                  </a:lnTo>
                  <a:lnTo>
                    <a:pt x="15" y="3"/>
                  </a:lnTo>
                  <a:lnTo>
                    <a:pt x="15" y="3"/>
                  </a:lnTo>
                  <a:lnTo>
                    <a:pt x="15" y="3"/>
                  </a:lnTo>
                  <a:lnTo>
                    <a:pt x="15" y="3"/>
                  </a:lnTo>
                  <a:lnTo>
                    <a:pt x="15" y="3"/>
                  </a:lnTo>
                  <a:lnTo>
                    <a:pt x="15" y="3"/>
                  </a:lnTo>
                  <a:lnTo>
                    <a:pt x="15" y="3"/>
                  </a:lnTo>
                  <a:lnTo>
                    <a:pt x="15" y="3"/>
                  </a:lnTo>
                  <a:lnTo>
                    <a:pt x="15" y="3"/>
                  </a:lnTo>
                  <a:lnTo>
                    <a:pt x="15" y="3"/>
                  </a:lnTo>
                  <a:lnTo>
                    <a:pt x="14" y="3"/>
                  </a:lnTo>
                  <a:lnTo>
                    <a:pt x="14" y="3"/>
                  </a:lnTo>
                  <a:lnTo>
                    <a:pt x="14" y="3"/>
                  </a:lnTo>
                  <a:lnTo>
                    <a:pt x="14" y="3"/>
                  </a:lnTo>
                  <a:lnTo>
                    <a:pt x="14" y="3"/>
                  </a:lnTo>
                  <a:lnTo>
                    <a:pt x="14" y="3"/>
                  </a:lnTo>
                  <a:lnTo>
                    <a:pt x="14" y="3"/>
                  </a:lnTo>
                  <a:lnTo>
                    <a:pt x="14" y="3"/>
                  </a:lnTo>
                  <a:lnTo>
                    <a:pt x="14" y="3"/>
                  </a:lnTo>
                  <a:lnTo>
                    <a:pt x="14" y="3"/>
                  </a:lnTo>
                  <a:lnTo>
                    <a:pt x="14" y="4"/>
                  </a:lnTo>
                  <a:lnTo>
                    <a:pt x="14" y="4"/>
                  </a:lnTo>
                  <a:lnTo>
                    <a:pt x="14" y="4"/>
                  </a:lnTo>
                  <a:lnTo>
                    <a:pt x="14" y="4"/>
                  </a:lnTo>
                  <a:lnTo>
                    <a:pt x="14" y="4"/>
                  </a:lnTo>
                  <a:lnTo>
                    <a:pt x="13" y="4"/>
                  </a:lnTo>
                  <a:lnTo>
                    <a:pt x="13" y="4"/>
                  </a:lnTo>
                  <a:lnTo>
                    <a:pt x="13" y="4"/>
                  </a:lnTo>
                  <a:lnTo>
                    <a:pt x="13" y="4"/>
                  </a:lnTo>
                  <a:lnTo>
                    <a:pt x="12" y="5"/>
                  </a:lnTo>
                  <a:lnTo>
                    <a:pt x="12" y="5"/>
                  </a:lnTo>
                  <a:lnTo>
                    <a:pt x="12" y="5"/>
                  </a:lnTo>
                  <a:lnTo>
                    <a:pt x="12" y="5"/>
                  </a:lnTo>
                  <a:lnTo>
                    <a:pt x="12" y="5"/>
                  </a:lnTo>
                  <a:lnTo>
                    <a:pt x="12" y="5"/>
                  </a:lnTo>
                  <a:lnTo>
                    <a:pt x="11" y="5"/>
                  </a:lnTo>
                  <a:lnTo>
                    <a:pt x="11" y="5"/>
                  </a:lnTo>
                  <a:lnTo>
                    <a:pt x="11" y="5"/>
                  </a:lnTo>
                  <a:lnTo>
                    <a:pt x="11" y="5"/>
                  </a:lnTo>
                  <a:lnTo>
                    <a:pt x="11" y="6"/>
                  </a:lnTo>
                  <a:lnTo>
                    <a:pt x="11" y="6"/>
                  </a:lnTo>
                  <a:lnTo>
                    <a:pt x="9" y="6"/>
                  </a:lnTo>
                  <a:lnTo>
                    <a:pt x="9" y="6"/>
                  </a:lnTo>
                  <a:lnTo>
                    <a:pt x="9" y="5"/>
                  </a:lnTo>
                  <a:lnTo>
                    <a:pt x="9" y="5"/>
                  </a:lnTo>
                  <a:lnTo>
                    <a:pt x="9" y="5"/>
                  </a:lnTo>
                  <a:lnTo>
                    <a:pt x="9" y="5"/>
                  </a:lnTo>
                  <a:lnTo>
                    <a:pt x="8" y="6"/>
                  </a:lnTo>
                  <a:lnTo>
                    <a:pt x="8" y="6"/>
                  </a:lnTo>
                  <a:lnTo>
                    <a:pt x="8" y="6"/>
                  </a:lnTo>
                  <a:lnTo>
                    <a:pt x="8" y="5"/>
                  </a:lnTo>
                  <a:lnTo>
                    <a:pt x="8" y="5"/>
                  </a:lnTo>
                  <a:lnTo>
                    <a:pt x="8" y="5"/>
                  </a:lnTo>
                  <a:lnTo>
                    <a:pt x="8" y="6"/>
                  </a:lnTo>
                  <a:lnTo>
                    <a:pt x="8" y="6"/>
                  </a:lnTo>
                  <a:lnTo>
                    <a:pt x="8" y="6"/>
                  </a:lnTo>
                  <a:lnTo>
                    <a:pt x="8" y="6"/>
                  </a:lnTo>
                  <a:lnTo>
                    <a:pt x="8" y="6"/>
                  </a:lnTo>
                  <a:lnTo>
                    <a:pt x="8" y="6"/>
                  </a:lnTo>
                  <a:lnTo>
                    <a:pt x="8" y="6"/>
                  </a:lnTo>
                  <a:lnTo>
                    <a:pt x="8" y="6"/>
                  </a:lnTo>
                  <a:lnTo>
                    <a:pt x="7" y="6"/>
                  </a:lnTo>
                  <a:lnTo>
                    <a:pt x="7" y="6"/>
                  </a:lnTo>
                  <a:lnTo>
                    <a:pt x="7" y="6"/>
                  </a:lnTo>
                  <a:lnTo>
                    <a:pt x="7" y="6"/>
                  </a:lnTo>
                  <a:lnTo>
                    <a:pt x="7" y="6"/>
                  </a:lnTo>
                  <a:lnTo>
                    <a:pt x="7" y="6"/>
                  </a:lnTo>
                  <a:lnTo>
                    <a:pt x="7" y="6"/>
                  </a:lnTo>
                  <a:lnTo>
                    <a:pt x="7" y="6"/>
                  </a:lnTo>
                  <a:lnTo>
                    <a:pt x="7" y="6"/>
                  </a:lnTo>
                  <a:lnTo>
                    <a:pt x="6" y="6"/>
                  </a:lnTo>
                  <a:lnTo>
                    <a:pt x="6" y="6"/>
                  </a:lnTo>
                  <a:lnTo>
                    <a:pt x="6" y="6"/>
                  </a:lnTo>
                  <a:lnTo>
                    <a:pt x="6" y="6"/>
                  </a:lnTo>
                  <a:lnTo>
                    <a:pt x="6" y="6"/>
                  </a:lnTo>
                  <a:lnTo>
                    <a:pt x="6" y="6"/>
                  </a:lnTo>
                  <a:lnTo>
                    <a:pt x="6" y="6"/>
                  </a:lnTo>
                  <a:lnTo>
                    <a:pt x="6" y="7"/>
                  </a:lnTo>
                  <a:lnTo>
                    <a:pt x="6" y="7"/>
                  </a:lnTo>
                  <a:lnTo>
                    <a:pt x="6" y="7"/>
                  </a:lnTo>
                  <a:lnTo>
                    <a:pt x="5" y="9"/>
                  </a:lnTo>
                  <a:lnTo>
                    <a:pt x="5" y="9"/>
                  </a:lnTo>
                  <a:lnTo>
                    <a:pt x="5" y="9"/>
                  </a:lnTo>
                  <a:lnTo>
                    <a:pt x="5" y="9"/>
                  </a:lnTo>
                  <a:lnTo>
                    <a:pt x="5" y="9"/>
                  </a:lnTo>
                  <a:lnTo>
                    <a:pt x="5" y="10"/>
                  </a:lnTo>
                  <a:lnTo>
                    <a:pt x="5" y="10"/>
                  </a:lnTo>
                  <a:lnTo>
                    <a:pt x="4" y="11"/>
                  </a:lnTo>
                  <a:lnTo>
                    <a:pt x="4" y="11"/>
                  </a:lnTo>
                  <a:lnTo>
                    <a:pt x="2" y="10"/>
                  </a:lnTo>
                  <a:lnTo>
                    <a:pt x="2" y="10"/>
                  </a:lnTo>
                  <a:lnTo>
                    <a:pt x="2" y="10"/>
                  </a:lnTo>
                  <a:lnTo>
                    <a:pt x="2" y="10"/>
                  </a:lnTo>
                  <a:lnTo>
                    <a:pt x="2" y="10"/>
                  </a:lnTo>
                  <a:lnTo>
                    <a:pt x="2" y="10"/>
                  </a:lnTo>
                  <a:lnTo>
                    <a:pt x="2" y="10"/>
                  </a:lnTo>
                  <a:lnTo>
                    <a:pt x="2" y="10"/>
                  </a:lnTo>
                  <a:lnTo>
                    <a:pt x="2" y="10"/>
                  </a:lnTo>
                  <a:lnTo>
                    <a:pt x="2" y="10"/>
                  </a:lnTo>
                  <a:lnTo>
                    <a:pt x="2" y="10"/>
                  </a:lnTo>
                  <a:lnTo>
                    <a:pt x="2" y="10"/>
                  </a:lnTo>
                  <a:lnTo>
                    <a:pt x="2" y="9"/>
                  </a:lnTo>
                  <a:lnTo>
                    <a:pt x="2" y="9"/>
                  </a:lnTo>
                  <a:lnTo>
                    <a:pt x="4" y="9"/>
                  </a:lnTo>
                  <a:lnTo>
                    <a:pt x="4" y="9"/>
                  </a:lnTo>
                  <a:lnTo>
                    <a:pt x="4" y="9"/>
                  </a:lnTo>
                  <a:lnTo>
                    <a:pt x="4" y="9"/>
                  </a:lnTo>
                  <a:lnTo>
                    <a:pt x="4" y="9"/>
                  </a:lnTo>
                  <a:lnTo>
                    <a:pt x="4" y="9"/>
                  </a:lnTo>
                  <a:lnTo>
                    <a:pt x="4" y="9"/>
                  </a:lnTo>
                  <a:lnTo>
                    <a:pt x="5" y="9"/>
                  </a:lnTo>
                  <a:lnTo>
                    <a:pt x="5" y="9"/>
                  </a:lnTo>
                  <a:lnTo>
                    <a:pt x="5" y="7"/>
                  </a:lnTo>
                  <a:lnTo>
                    <a:pt x="5" y="7"/>
                  </a:lnTo>
                  <a:lnTo>
                    <a:pt x="5" y="7"/>
                  </a:lnTo>
                  <a:lnTo>
                    <a:pt x="5" y="7"/>
                  </a:lnTo>
                  <a:lnTo>
                    <a:pt x="4" y="6"/>
                  </a:lnTo>
                  <a:lnTo>
                    <a:pt x="4" y="6"/>
                  </a:lnTo>
                  <a:lnTo>
                    <a:pt x="2" y="6"/>
                  </a:lnTo>
                  <a:lnTo>
                    <a:pt x="2" y="6"/>
                  </a:lnTo>
                  <a:lnTo>
                    <a:pt x="2" y="6"/>
                  </a:lnTo>
                  <a:lnTo>
                    <a:pt x="1" y="6"/>
                  </a:lnTo>
                  <a:lnTo>
                    <a:pt x="1" y="5"/>
                  </a:lnTo>
                  <a:lnTo>
                    <a:pt x="1" y="5"/>
                  </a:lnTo>
                  <a:lnTo>
                    <a:pt x="0" y="5"/>
                  </a:lnTo>
                  <a:lnTo>
                    <a:pt x="0" y="5"/>
                  </a:lnTo>
                  <a:lnTo>
                    <a:pt x="0" y="5"/>
                  </a:lnTo>
                  <a:lnTo>
                    <a:pt x="0" y="5"/>
                  </a:lnTo>
                  <a:lnTo>
                    <a:pt x="1" y="5"/>
                  </a:lnTo>
                  <a:lnTo>
                    <a:pt x="1" y="5"/>
                  </a:lnTo>
                  <a:lnTo>
                    <a:pt x="0" y="4"/>
                  </a:lnTo>
                  <a:lnTo>
                    <a:pt x="0" y="4"/>
                  </a:lnTo>
                  <a:lnTo>
                    <a:pt x="1" y="4"/>
                  </a:lnTo>
                  <a:lnTo>
                    <a:pt x="1" y="4"/>
                  </a:lnTo>
                  <a:lnTo>
                    <a:pt x="1" y="4"/>
                  </a:lnTo>
                  <a:lnTo>
                    <a:pt x="1" y="5"/>
                  </a:lnTo>
                  <a:lnTo>
                    <a:pt x="1" y="4"/>
                  </a:lnTo>
                  <a:lnTo>
                    <a:pt x="1" y="4"/>
                  </a:lnTo>
                  <a:lnTo>
                    <a:pt x="1" y="4"/>
                  </a:lnTo>
                  <a:lnTo>
                    <a:pt x="2" y="4"/>
                  </a:lnTo>
                  <a:lnTo>
                    <a:pt x="2" y="4"/>
                  </a:lnTo>
                  <a:lnTo>
                    <a:pt x="2" y="4"/>
                  </a:lnTo>
                  <a:lnTo>
                    <a:pt x="1" y="4"/>
                  </a:lnTo>
                  <a:lnTo>
                    <a:pt x="1" y="3"/>
                  </a:lnTo>
                  <a:lnTo>
                    <a:pt x="1" y="3"/>
                  </a:lnTo>
                  <a:lnTo>
                    <a:pt x="0" y="3"/>
                  </a:lnTo>
                  <a:lnTo>
                    <a:pt x="0" y="3"/>
                  </a:lnTo>
                  <a:lnTo>
                    <a:pt x="0" y="2"/>
                  </a:lnTo>
                  <a:lnTo>
                    <a:pt x="0" y="2"/>
                  </a:lnTo>
                  <a:lnTo>
                    <a:pt x="0" y="2"/>
                  </a:lnTo>
                  <a:lnTo>
                    <a:pt x="0" y="2"/>
                  </a:lnTo>
                  <a:lnTo>
                    <a:pt x="1" y="2"/>
                  </a:lnTo>
                  <a:lnTo>
                    <a:pt x="1" y="2"/>
                  </a:lnTo>
                  <a:lnTo>
                    <a:pt x="1" y="2"/>
                  </a:lnTo>
                  <a:lnTo>
                    <a:pt x="1" y="2"/>
                  </a:lnTo>
                  <a:lnTo>
                    <a:pt x="1" y="2"/>
                  </a:lnTo>
                  <a:lnTo>
                    <a:pt x="1" y="2"/>
                  </a:lnTo>
                  <a:lnTo>
                    <a:pt x="2" y="2"/>
                  </a:lnTo>
                  <a:lnTo>
                    <a:pt x="2" y="3"/>
                  </a:lnTo>
                  <a:lnTo>
                    <a:pt x="2" y="3"/>
                  </a:lnTo>
                  <a:lnTo>
                    <a:pt x="2" y="3"/>
                  </a:lnTo>
                  <a:lnTo>
                    <a:pt x="2" y="3"/>
                  </a:lnTo>
                  <a:lnTo>
                    <a:pt x="2" y="3"/>
                  </a:lnTo>
                  <a:lnTo>
                    <a:pt x="2" y="3"/>
                  </a:lnTo>
                  <a:lnTo>
                    <a:pt x="2" y="3"/>
                  </a:lnTo>
                  <a:lnTo>
                    <a:pt x="2" y="3"/>
                  </a:lnTo>
                  <a:lnTo>
                    <a:pt x="2" y="3"/>
                  </a:lnTo>
                  <a:lnTo>
                    <a:pt x="2" y="3"/>
                  </a:lnTo>
                  <a:lnTo>
                    <a:pt x="2" y="3"/>
                  </a:lnTo>
                  <a:lnTo>
                    <a:pt x="2" y="2"/>
                  </a:lnTo>
                  <a:lnTo>
                    <a:pt x="2" y="2"/>
                  </a:lnTo>
                  <a:lnTo>
                    <a:pt x="4" y="2"/>
                  </a:lnTo>
                  <a:lnTo>
                    <a:pt x="4" y="2"/>
                  </a:lnTo>
                  <a:lnTo>
                    <a:pt x="4" y="2"/>
                  </a:lnTo>
                  <a:lnTo>
                    <a:pt x="4" y="2"/>
                  </a:lnTo>
                  <a:lnTo>
                    <a:pt x="4" y="2"/>
                  </a:lnTo>
                  <a:lnTo>
                    <a:pt x="4" y="2"/>
                  </a:lnTo>
                  <a:lnTo>
                    <a:pt x="4" y="2"/>
                  </a:lnTo>
                  <a:lnTo>
                    <a:pt x="4" y="2"/>
                  </a:lnTo>
                  <a:lnTo>
                    <a:pt x="4" y="2"/>
                  </a:lnTo>
                  <a:lnTo>
                    <a:pt x="4" y="2"/>
                  </a:lnTo>
                  <a:lnTo>
                    <a:pt x="4" y="2"/>
                  </a:lnTo>
                  <a:lnTo>
                    <a:pt x="4" y="2"/>
                  </a:lnTo>
                  <a:lnTo>
                    <a:pt x="5" y="2"/>
                  </a:lnTo>
                  <a:lnTo>
                    <a:pt x="5" y="2"/>
                  </a:lnTo>
                  <a:lnTo>
                    <a:pt x="5" y="2"/>
                  </a:lnTo>
                  <a:lnTo>
                    <a:pt x="5" y="2"/>
                  </a:lnTo>
                  <a:lnTo>
                    <a:pt x="5" y="2"/>
                  </a:lnTo>
                  <a:lnTo>
                    <a:pt x="5" y="0"/>
                  </a:lnTo>
                  <a:lnTo>
                    <a:pt x="5" y="0"/>
                  </a:lnTo>
                  <a:lnTo>
                    <a:pt x="7" y="0"/>
                  </a:lnTo>
                  <a:lnTo>
                    <a:pt x="7" y="0"/>
                  </a:lnTo>
                  <a:lnTo>
                    <a:pt x="8" y="0"/>
                  </a:lnTo>
                  <a:lnTo>
                    <a:pt x="8" y="0"/>
                  </a:lnTo>
                  <a:lnTo>
                    <a:pt x="8" y="0"/>
                  </a:lnTo>
                  <a:lnTo>
                    <a:pt x="8" y="0"/>
                  </a:lnTo>
                  <a:lnTo>
                    <a:pt x="8" y="0"/>
                  </a:lnTo>
                  <a:lnTo>
                    <a:pt x="8"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60" name="Freeform 1124">
              <a:extLst>
                <a:ext uri="{FF2B5EF4-FFF2-40B4-BE49-F238E27FC236}">
                  <a16:creationId xmlns:a16="http://schemas.microsoft.com/office/drawing/2014/main" id="{3B04D928-8265-4457-9724-2567659E1BA8}"/>
                </a:ext>
              </a:extLst>
            </p:cNvPr>
            <p:cNvSpPr>
              <a:spLocks/>
            </p:cNvSpPr>
            <p:nvPr/>
          </p:nvSpPr>
          <p:spPr bwMode="auto">
            <a:xfrm>
              <a:off x="6153655" y="2121214"/>
              <a:ext cx="6678" cy="4007"/>
            </a:xfrm>
            <a:custGeom>
              <a:avLst/>
              <a:gdLst>
                <a:gd name="T0" fmla="*/ 3 w 5"/>
                <a:gd name="T1" fmla="*/ 1 h 3"/>
                <a:gd name="T2" fmla="*/ 3 w 5"/>
                <a:gd name="T3" fmla="*/ 1 h 3"/>
                <a:gd name="T4" fmla="*/ 3 w 5"/>
                <a:gd name="T5" fmla="*/ 1 h 3"/>
                <a:gd name="T6" fmla="*/ 3 w 5"/>
                <a:gd name="T7" fmla="*/ 1 h 3"/>
                <a:gd name="T8" fmla="*/ 3 w 5"/>
                <a:gd name="T9" fmla="*/ 1 h 3"/>
                <a:gd name="T10" fmla="*/ 5 w 5"/>
                <a:gd name="T11" fmla="*/ 1 h 3"/>
                <a:gd name="T12" fmla="*/ 5 w 5"/>
                <a:gd name="T13" fmla="*/ 3 h 3"/>
                <a:gd name="T14" fmla="*/ 5 w 5"/>
                <a:gd name="T15" fmla="*/ 3 h 3"/>
                <a:gd name="T16" fmla="*/ 5 w 5"/>
                <a:gd name="T17" fmla="*/ 3 h 3"/>
                <a:gd name="T18" fmla="*/ 5 w 5"/>
                <a:gd name="T19" fmla="*/ 3 h 3"/>
                <a:gd name="T20" fmla="*/ 3 w 5"/>
                <a:gd name="T21" fmla="*/ 3 h 3"/>
                <a:gd name="T22" fmla="*/ 3 w 5"/>
                <a:gd name="T23" fmla="*/ 3 h 3"/>
                <a:gd name="T24" fmla="*/ 3 w 5"/>
                <a:gd name="T25" fmla="*/ 3 h 3"/>
                <a:gd name="T26" fmla="*/ 3 w 5"/>
                <a:gd name="T27" fmla="*/ 3 h 3"/>
                <a:gd name="T28" fmla="*/ 3 w 5"/>
                <a:gd name="T29" fmla="*/ 3 h 3"/>
                <a:gd name="T30" fmla="*/ 3 w 5"/>
                <a:gd name="T31" fmla="*/ 3 h 3"/>
                <a:gd name="T32" fmla="*/ 2 w 5"/>
                <a:gd name="T33" fmla="*/ 3 h 3"/>
                <a:gd name="T34" fmla="*/ 2 w 5"/>
                <a:gd name="T35" fmla="*/ 3 h 3"/>
                <a:gd name="T36" fmla="*/ 1 w 5"/>
                <a:gd name="T37" fmla="*/ 1 h 3"/>
                <a:gd name="T38" fmla="*/ 1 w 5"/>
                <a:gd name="T39" fmla="*/ 1 h 3"/>
                <a:gd name="T40" fmla="*/ 0 w 5"/>
                <a:gd name="T41" fmla="*/ 1 h 3"/>
                <a:gd name="T42" fmla="*/ 0 w 5"/>
                <a:gd name="T43" fmla="*/ 1 h 3"/>
                <a:gd name="T44" fmla="*/ 1 w 5"/>
                <a:gd name="T45" fmla="*/ 1 h 3"/>
                <a:gd name="T46" fmla="*/ 1 w 5"/>
                <a:gd name="T47" fmla="*/ 1 h 3"/>
                <a:gd name="T48" fmla="*/ 1 w 5"/>
                <a:gd name="T49" fmla="*/ 1 h 3"/>
                <a:gd name="T50" fmla="*/ 1 w 5"/>
                <a:gd name="T51" fmla="*/ 1 h 3"/>
                <a:gd name="T52" fmla="*/ 1 w 5"/>
                <a:gd name="T53" fmla="*/ 0 h 3"/>
                <a:gd name="T54" fmla="*/ 1 w 5"/>
                <a:gd name="T55" fmla="*/ 0 h 3"/>
                <a:gd name="T56" fmla="*/ 1 w 5"/>
                <a:gd name="T57" fmla="*/ 0 h 3"/>
                <a:gd name="T58" fmla="*/ 1 w 5"/>
                <a:gd name="T59" fmla="*/ 0 h 3"/>
                <a:gd name="T60" fmla="*/ 2 w 5"/>
                <a:gd name="T61" fmla="*/ 0 h 3"/>
                <a:gd name="T62" fmla="*/ 2 w 5"/>
                <a:gd name="T63" fmla="*/ 0 h 3"/>
                <a:gd name="T64" fmla="*/ 3 w 5"/>
                <a:gd name="T65" fmla="*/ 0 h 3"/>
                <a:gd name="T66" fmla="*/ 3 w 5"/>
                <a:gd name="T67" fmla="*/ 1 h 3"/>
                <a:gd name="T68" fmla="*/ 3 w 5"/>
                <a:gd name="T69" fmla="*/ 1 h 3"/>
                <a:gd name="T70" fmla="*/ 3 w 5"/>
                <a:gd name="T7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 h="3">
                  <a:moveTo>
                    <a:pt x="3" y="1"/>
                  </a:moveTo>
                  <a:lnTo>
                    <a:pt x="3" y="1"/>
                  </a:lnTo>
                  <a:lnTo>
                    <a:pt x="3" y="1"/>
                  </a:lnTo>
                  <a:lnTo>
                    <a:pt x="3" y="1"/>
                  </a:lnTo>
                  <a:lnTo>
                    <a:pt x="3" y="1"/>
                  </a:lnTo>
                  <a:lnTo>
                    <a:pt x="5" y="1"/>
                  </a:lnTo>
                  <a:lnTo>
                    <a:pt x="5" y="3"/>
                  </a:lnTo>
                  <a:lnTo>
                    <a:pt x="5" y="3"/>
                  </a:lnTo>
                  <a:lnTo>
                    <a:pt x="5" y="3"/>
                  </a:lnTo>
                  <a:lnTo>
                    <a:pt x="5" y="3"/>
                  </a:lnTo>
                  <a:lnTo>
                    <a:pt x="3" y="3"/>
                  </a:lnTo>
                  <a:lnTo>
                    <a:pt x="3" y="3"/>
                  </a:lnTo>
                  <a:lnTo>
                    <a:pt x="3" y="3"/>
                  </a:lnTo>
                  <a:lnTo>
                    <a:pt x="3" y="3"/>
                  </a:lnTo>
                  <a:lnTo>
                    <a:pt x="3" y="3"/>
                  </a:lnTo>
                  <a:lnTo>
                    <a:pt x="3" y="3"/>
                  </a:lnTo>
                  <a:lnTo>
                    <a:pt x="2" y="3"/>
                  </a:lnTo>
                  <a:lnTo>
                    <a:pt x="2" y="3"/>
                  </a:lnTo>
                  <a:lnTo>
                    <a:pt x="1" y="1"/>
                  </a:lnTo>
                  <a:lnTo>
                    <a:pt x="1" y="1"/>
                  </a:lnTo>
                  <a:lnTo>
                    <a:pt x="0" y="1"/>
                  </a:lnTo>
                  <a:lnTo>
                    <a:pt x="0" y="1"/>
                  </a:lnTo>
                  <a:lnTo>
                    <a:pt x="1" y="1"/>
                  </a:lnTo>
                  <a:lnTo>
                    <a:pt x="1" y="1"/>
                  </a:lnTo>
                  <a:lnTo>
                    <a:pt x="1" y="1"/>
                  </a:lnTo>
                  <a:lnTo>
                    <a:pt x="1" y="1"/>
                  </a:lnTo>
                  <a:lnTo>
                    <a:pt x="1" y="0"/>
                  </a:lnTo>
                  <a:lnTo>
                    <a:pt x="1" y="0"/>
                  </a:lnTo>
                  <a:lnTo>
                    <a:pt x="1" y="0"/>
                  </a:lnTo>
                  <a:lnTo>
                    <a:pt x="1" y="0"/>
                  </a:lnTo>
                  <a:lnTo>
                    <a:pt x="2" y="0"/>
                  </a:lnTo>
                  <a:lnTo>
                    <a:pt x="2" y="0"/>
                  </a:lnTo>
                  <a:lnTo>
                    <a:pt x="3" y="0"/>
                  </a:lnTo>
                  <a:lnTo>
                    <a:pt x="3" y="1"/>
                  </a:lnTo>
                  <a:lnTo>
                    <a:pt x="3" y="1"/>
                  </a:lnTo>
                  <a:lnTo>
                    <a:pt x="3"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61" name="Freeform 1125">
              <a:extLst>
                <a:ext uri="{FF2B5EF4-FFF2-40B4-BE49-F238E27FC236}">
                  <a16:creationId xmlns:a16="http://schemas.microsoft.com/office/drawing/2014/main" id="{27E8E0C6-A924-40DC-8141-B38455CD7055}"/>
                </a:ext>
              </a:extLst>
            </p:cNvPr>
            <p:cNvSpPr>
              <a:spLocks/>
            </p:cNvSpPr>
            <p:nvPr/>
          </p:nvSpPr>
          <p:spPr bwMode="auto">
            <a:xfrm>
              <a:off x="6153655" y="2113201"/>
              <a:ext cx="4007" cy="2671"/>
            </a:xfrm>
            <a:custGeom>
              <a:avLst/>
              <a:gdLst>
                <a:gd name="T0" fmla="*/ 1 w 3"/>
                <a:gd name="T1" fmla="*/ 0 h 2"/>
                <a:gd name="T2" fmla="*/ 2 w 3"/>
                <a:gd name="T3" fmla="*/ 2 h 2"/>
                <a:gd name="T4" fmla="*/ 2 w 3"/>
                <a:gd name="T5" fmla="*/ 2 h 2"/>
                <a:gd name="T6" fmla="*/ 2 w 3"/>
                <a:gd name="T7" fmla="*/ 2 h 2"/>
                <a:gd name="T8" fmla="*/ 2 w 3"/>
                <a:gd name="T9" fmla="*/ 2 h 2"/>
                <a:gd name="T10" fmla="*/ 3 w 3"/>
                <a:gd name="T11" fmla="*/ 2 h 2"/>
                <a:gd name="T12" fmla="*/ 3 w 3"/>
                <a:gd name="T13" fmla="*/ 2 h 2"/>
                <a:gd name="T14" fmla="*/ 3 w 3"/>
                <a:gd name="T15" fmla="*/ 2 h 2"/>
                <a:gd name="T16" fmla="*/ 3 w 3"/>
                <a:gd name="T17" fmla="*/ 2 h 2"/>
                <a:gd name="T18" fmla="*/ 3 w 3"/>
                <a:gd name="T19" fmla="*/ 2 h 2"/>
                <a:gd name="T20" fmla="*/ 2 w 3"/>
                <a:gd name="T21" fmla="*/ 2 h 2"/>
                <a:gd name="T22" fmla="*/ 2 w 3"/>
                <a:gd name="T23" fmla="*/ 2 h 2"/>
                <a:gd name="T24" fmla="*/ 2 w 3"/>
                <a:gd name="T25" fmla="*/ 2 h 2"/>
                <a:gd name="T26" fmla="*/ 2 w 3"/>
                <a:gd name="T27" fmla="*/ 2 h 2"/>
                <a:gd name="T28" fmla="*/ 2 w 3"/>
                <a:gd name="T29" fmla="*/ 2 h 2"/>
                <a:gd name="T30" fmla="*/ 1 w 3"/>
                <a:gd name="T31" fmla="*/ 2 h 2"/>
                <a:gd name="T32" fmla="*/ 1 w 3"/>
                <a:gd name="T33" fmla="*/ 2 h 2"/>
                <a:gd name="T34" fmla="*/ 1 w 3"/>
                <a:gd name="T35" fmla="*/ 2 h 2"/>
                <a:gd name="T36" fmla="*/ 1 w 3"/>
                <a:gd name="T37" fmla="*/ 2 h 2"/>
                <a:gd name="T38" fmla="*/ 1 w 3"/>
                <a:gd name="T39" fmla="*/ 2 h 2"/>
                <a:gd name="T40" fmla="*/ 1 w 3"/>
                <a:gd name="T41" fmla="*/ 2 h 2"/>
                <a:gd name="T42" fmla="*/ 1 w 3"/>
                <a:gd name="T43" fmla="*/ 2 h 2"/>
                <a:gd name="T44" fmla="*/ 0 w 3"/>
                <a:gd name="T45" fmla="*/ 2 h 2"/>
                <a:gd name="T46" fmla="*/ 0 w 3"/>
                <a:gd name="T47" fmla="*/ 2 h 2"/>
                <a:gd name="T48" fmla="*/ 0 w 3"/>
                <a:gd name="T49" fmla="*/ 2 h 2"/>
                <a:gd name="T50" fmla="*/ 0 w 3"/>
                <a:gd name="T51" fmla="*/ 2 h 2"/>
                <a:gd name="T52" fmla="*/ 0 w 3"/>
                <a:gd name="T53" fmla="*/ 2 h 2"/>
                <a:gd name="T54" fmla="*/ 0 w 3"/>
                <a:gd name="T55" fmla="*/ 0 h 2"/>
                <a:gd name="T56" fmla="*/ 1 w 3"/>
                <a:gd name="T57" fmla="*/ 0 h 2"/>
                <a:gd name="T58" fmla="*/ 1 w 3"/>
                <a:gd name="T5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 h="2">
                  <a:moveTo>
                    <a:pt x="1" y="0"/>
                  </a:moveTo>
                  <a:lnTo>
                    <a:pt x="2" y="2"/>
                  </a:lnTo>
                  <a:lnTo>
                    <a:pt x="2" y="2"/>
                  </a:lnTo>
                  <a:lnTo>
                    <a:pt x="2" y="2"/>
                  </a:lnTo>
                  <a:lnTo>
                    <a:pt x="2" y="2"/>
                  </a:lnTo>
                  <a:lnTo>
                    <a:pt x="3" y="2"/>
                  </a:lnTo>
                  <a:lnTo>
                    <a:pt x="3" y="2"/>
                  </a:lnTo>
                  <a:lnTo>
                    <a:pt x="3" y="2"/>
                  </a:lnTo>
                  <a:lnTo>
                    <a:pt x="3" y="2"/>
                  </a:lnTo>
                  <a:lnTo>
                    <a:pt x="3" y="2"/>
                  </a:lnTo>
                  <a:lnTo>
                    <a:pt x="2" y="2"/>
                  </a:lnTo>
                  <a:lnTo>
                    <a:pt x="2" y="2"/>
                  </a:lnTo>
                  <a:lnTo>
                    <a:pt x="2" y="2"/>
                  </a:lnTo>
                  <a:lnTo>
                    <a:pt x="2" y="2"/>
                  </a:lnTo>
                  <a:lnTo>
                    <a:pt x="2" y="2"/>
                  </a:lnTo>
                  <a:lnTo>
                    <a:pt x="1" y="2"/>
                  </a:lnTo>
                  <a:lnTo>
                    <a:pt x="1" y="2"/>
                  </a:lnTo>
                  <a:lnTo>
                    <a:pt x="1" y="2"/>
                  </a:lnTo>
                  <a:lnTo>
                    <a:pt x="1" y="2"/>
                  </a:lnTo>
                  <a:lnTo>
                    <a:pt x="1" y="2"/>
                  </a:lnTo>
                  <a:lnTo>
                    <a:pt x="1" y="2"/>
                  </a:lnTo>
                  <a:lnTo>
                    <a:pt x="1" y="2"/>
                  </a:lnTo>
                  <a:lnTo>
                    <a:pt x="0" y="2"/>
                  </a:lnTo>
                  <a:lnTo>
                    <a:pt x="0" y="2"/>
                  </a:lnTo>
                  <a:lnTo>
                    <a:pt x="0" y="2"/>
                  </a:lnTo>
                  <a:lnTo>
                    <a:pt x="0" y="2"/>
                  </a:lnTo>
                  <a:lnTo>
                    <a:pt x="0" y="2"/>
                  </a:lnTo>
                  <a:lnTo>
                    <a:pt x="0"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62" name="Freeform 1126">
              <a:extLst>
                <a:ext uri="{FF2B5EF4-FFF2-40B4-BE49-F238E27FC236}">
                  <a16:creationId xmlns:a16="http://schemas.microsoft.com/office/drawing/2014/main" id="{042240D0-011B-4D71-A973-D6F74915FA89}"/>
                </a:ext>
              </a:extLst>
            </p:cNvPr>
            <p:cNvSpPr>
              <a:spLocks/>
            </p:cNvSpPr>
            <p:nvPr/>
          </p:nvSpPr>
          <p:spPr bwMode="auto">
            <a:xfrm>
              <a:off x="6137629" y="2113201"/>
              <a:ext cx="16026" cy="8013"/>
            </a:xfrm>
            <a:custGeom>
              <a:avLst/>
              <a:gdLst>
                <a:gd name="T0" fmla="*/ 7 w 12"/>
                <a:gd name="T1" fmla="*/ 2 h 6"/>
                <a:gd name="T2" fmla="*/ 10 w 12"/>
                <a:gd name="T3" fmla="*/ 2 h 6"/>
                <a:gd name="T4" fmla="*/ 11 w 12"/>
                <a:gd name="T5" fmla="*/ 3 h 6"/>
                <a:gd name="T6" fmla="*/ 11 w 12"/>
                <a:gd name="T7" fmla="*/ 3 h 6"/>
                <a:gd name="T8" fmla="*/ 11 w 12"/>
                <a:gd name="T9" fmla="*/ 3 h 6"/>
                <a:gd name="T10" fmla="*/ 11 w 12"/>
                <a:gd name="T11" fmla="*/ 3 h 6"/>
                <a:gd name="T12" fmla="*/ 11 w 12"/>
                <a:gd name="T13" fmla="*/ 3 h 6"/>
                <a:gd name="T14" fmla="*/ 11 w 12"/>
                <a:gd name="T15" fmla="*/ 4 h 6"/>
                <a:gd name="T16" fmla="*/ 12 w 12"/>
                <a:gd name="T17" fmla="*/ 4 h 6"/>
                <a:gd name="T18" fmla="*/ 12 w 12"/>
                <a:gd name="T19" fmla="*/ 4 h 6"/>
                <a:gd name="T20" fmla="*/ 12 w 12"/>
                <a:gd name="T21" fmla="*/ 4 h 6"/>
                <a:gd name="T22" fmla="*/ 12 w 12"/>
                <a:gd name="T23" fmla="*/ 4 h 6"/>
                <a:gd name="T24" fmla="*/ 11 w 12"/>
                <a:gd name="T25" fmla="*/ 4 h 6"/>
                <a:gd name="T26" fmla="*/ 11 w 12"/>
                <a:gd name="T27" fmla="*/ 4 h 6"/>
                <a:gd name="T28" fmla="*/ 11 w 12"/>
                <a:gd name="T29" fmla="*/ 4 h 6"/>
                <a:gd name="T30" fmla="*/ 11 w 12"/>
                <a:gd name="T31" fmla="*/ 4 h 6"/>
                <a:gd name="T32" fmla="*/ 10 w 12"/>
                <a:gd name="T33" fmla="*/ 4 h 6"/>
                <a:gd name="T34" fmla="*/ 10 w 12"/>
                <a:gd name="T35" fmla="*/ 4 h 6"/>
                <a:gd name="T36" fmla="*/ 10 w 12"/>
                <a:gd name="T37" fmla="*/ 4 h 6"/>
                <a:gd name="T38" fmla="*/ 10 w 12"/>
                <a:gd name="T39" fmla="*/ 5 h 6"/>
                <a:gd name="T40" fmla="*/ 10 w 12"/>
                <a:gd name="T41" fmla="*/ 5 h 6"/>
                <a:gd name="T42" fmla="*/ 10 w 12"/>
                <a:gd name="T43" fmla="*/ 5 h 6"/>
                <a:gd name="T44" fmla="*/ 8 w 12"/>
                <a:gd name="T45" fmla="*/ 5 h 6"/>
                <a:gd name="T46" fmla="*/ 8 w 12"/>
                <a:gd name="T47" fmla="*/ 5 h 6"/>
                <a:gd name="T48" fmla="*/ 10 w 12"/>
                <a:gd name="T49" fmla="*/ 4 h 6"/>
                <a:gd name="T50" fmla="*/ 8 w 12"/>
                <a:gd name="T51" fmla="*/ 4 h 6"/>
                <a:gd name="T52" fmla="*/ 8 w 12"/>
                <a:gd name="T53" fmla="*/ 4 h 6"/>
                <a:gd name="T54" fmla="*/ 8 w 12"/>
                <a:gd name="T55" fmla="*/ 5 h 6"/>
                <a:gd name="T56" fmla="*/ 7 w 12"/>
                <a:gd name="T57" fmla="*/ 6 h 6"/>
                <a:gd name="T58" fmla="*/ 6 w 12"/>
                <a:gd name="T59" fmla="*/ 6 h 6"/>
                <a:gd name="T60" fmla="*/ 5 w 12"/>
                <a:gd name="T61" fmla="*/ 6 h 6"/>
                <a:gd name="T62" fmla="*/ 6 w 12"/>
                <a:gd name="T63" fmla="*/ 5 h 6"/>
                <a:gd name="T64" fmla="*/ 6 w 12"/>
                <a:gd name="T65" fmla="*/ 5 h 6"/>
                <a:gd name="T66" fmla="*/ 5 w 12"/>
                <a:gd name="T67" fmla="*/ 5 h 6"/>
                <a:gd name="T68" fmla="*/ 5 w 12"/>
                <a:gd name="T69" fmla="*/ 4 h 6"/>
                <a:gd name="T70" fmla="*/ 5 w 12"/>
                <a:gd name="T71" fmla="*/ 4 h 6"/>
                <a:gd name="T72" fmla="*/ 4 w 12"/>
                <a:gd name="T73" fmla="*/ 3 h 6"/>
                <a:gd name="T74" fmla="*/ 3 w 12"/>
                <a:gd name="T75" fmla="*/ 3 h 6"/>
                <a:gd name="T76" fmla="*/ 1 w 12"/>
                <a:gd name="T77" fmla="*/ 3 h 6"/>
                <a:gd name="T78" fmla="*/ 0 w 12"/>
                <a:gd name="T79" fmla="*/ 3 h 6"/>
                <a:gd name="T80" fmla="*/ 0 w 12"/>
                <a:gd name="T81" fmla="*/ 3 h 6"/>
                <a:gd name="T82" fmla="*/ 5 w 12"/>
                <a:gd name="T83" fmla="*/ 2 h 6"/>
                <a:gd name="T84" fmla="*/ 5 w 12"/>
                <a:gd name="T85" fmla="*/ 2 h 6"/>
                <a:gd name="T86" fmla="*/ 5 w 12"/>
                <a:gd name="T87" fmla="*/ 2 h 6"/>
                <a:gd name="T88" fmla="*/ 5 w 12"/>
                <a:gd name="T89" fmla="*/ 2 h 6"/>
                <a:gd name="T90" fmla="*/ 5 w 12"/>
                <a:gd name="T91" fmla="*/ 2 h 6"/>
                <a:gd name="T92" fmla="*/ 6 w 12"/>
                <a:gd name="T93" fmla="*/ 2 h 6"/>
                <a:gd name="T94" fmla="*/ 6 w 12"/>
                <a:gd name="T95" fmla="*/ 0 h 6"/>
                <a:gd name="T96" fmla="*/ 6 w 12"/>
                <a:gd name="T97" fmla="*/ 0 h 6"/>
                <a:gd name="T98" fmla="*/ 6 w 12"/>
                <a:gd name="T99" fmla="*/ 0 h 6"/>
                <a:gd name="T100" fmla="*/ 6 w 12"/>
                <a:gd name="T101" fmla="*/ 0 h 6"/>
                <a:gd name="T102" fmla="*/ 7 w 12"/>
                <a:gd name="T103" fmla="*/ 0 h 6"/>
                <a:gd name="T104" fmla="*/ 7 w 12"/>
                <a:gd name="T105" fmla="*/ 2 h 6"/>
                <a:gd name="T106" fmla="*/ 7 w 12"/>
                <a:gd name="T10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 h="6">
                  <a:moveTo>
                    <a:pt x="7" y="2"/>
                  </a:moveTo>
                  <a:lnTo>
                    <a:pt x="7" y="2"/>
                  </a:lnTo>
                  <a:lnTo>
                    <a:pt x="8" y="2"/>
                  </a:lnTo>
                  <a:lnTo>
                    <a:pt x="10" y="2"/>
                  </a:lnTo>
                  <a:lnTo>
                    <a:pt x="11" y="2"/>
                  </a:lnTo>
                  <a:lnTo>
                    <a:pt x="11" y="3"/>
                  </a:lnTo>
                  <a:lnTo>
                    <a:pt x="11" y="3"/>
                  </a:lnTo>
                  <a:lnTo>
                    <a:pt x="11" y="3"/>
                  </a:lnTo>
                  <a:lnTo>
                    <a:pt x="11" y="3"/>
                  </a:lnTo>
                  <a:lnTo>
                    <a:pt x="11" y="3"/>
                  </a:lnTo>
                  <a:lnTo>
                    <a:pt x="11" y="3"/>
                  </a:lnTo>
                  <a:lnTo>
                    <a:pt x="11" y="3"/>
                  </a:lnTo>
                  <a:lnTo>
                    <a:pt x="11" y="3"/>
                  </a:lnTo>
                  <a:lnTo>
                    <a:pt x="11" y="3"/>
                  </a:lnTo>
                  <a:lnTo>
                    <a:pt x="11" y="3"/>
                  </a:lnTo>
                  <a:lnTo>
                    <a:pt x="11" y="4"/>
                  </a:lnTo>
                  <a:lnTo>
                    <a:pt x="11" y="4"/>
                  </a:lnTo>
                  <a:lnTo>
                    <a:pt x="12" y="4"/>
                  </a:lnTo>
                  <a:lnTo>
                    <a:pt x="12" y="4"/>
                  </a:lnTo>
                  <a:lnTo>
                    <a:pt x="12" y="4"/>
                  </a:lnTo>
                  <a:lnTo>
                    <a:pt x="12" y="4"/>
                  </a:lnTo>
                  <a:lnTo>
                    <a:pt x="12" y="4"/>
                  </a:lnTo>
                  <a:lnTo>
                    <a:pt x="12" y="4"/>
                  </a:lnTo>
                  <a:lnTo>
                    <a:pt x="12" y="4"/>
                  </a:lnTo>
                  <a:lnTo>
                    <a:pt x="11" y="4"/>
                  </a:lnTo>
                  <a:lnTo>
                    <a:pt x="11" y="4"/>
                  </a:lnTo>
                  <a:lnTo>
                    <a:pt x="11" y="4"/>
                  </a:lnTo>
                  <a:lnTo>
                    <a:pt x="11" y="4"/>
                  </a:lnTo>
                  <a:lnTo>
                    <a:pt x="11" y="4"/>
                  </a:lnTo>
                  <a:lnTo>
                    <a:pt x="11" y="4"/>
                  </a:lnTo>
                  <a:lnTo>
                    <a:pt x="11" y="4"/>
                  </a:lnTo>
                  <a:lnTo>
                    <a:pt x="11" y="4"/>
                  </a:lnTo>
                  <a:lnTo>
                    <a:pt x="10" y="4"/>
                  </a:lnTo>
                  <a:lnTo>
                    <a:pt x="10" y="4"/>
                  </a:lnTo>
                  <a:lnTo>
                    <a:pt x="10" y="4"/>
                  </a:lnTo>
                  <a:lnTo>
                    <a:pt x="10" y="4"/>
                  </a:lnTo>
                  <a:lnTo>
                    <a:pt x="10" y="4"/>
                  </a:lnTo>
                  <a:lnTo>
                    <a:pt x="10" y="4"/>
                  </a:lnTo>
                  <a:lnTo>
                    <a:pt x="10" y="5"/>
                  </a:lnTo>
                  <a:lnTo>
                    <a:pt x="10" y="5"/>
                  </a:lnTo>
                  <a:lnTo>
                    <a:pt x="10" y="5"/>
                  </a:lnTo>
                  <a:lnTo>
                    <a:pt x="10" y="5"/>
                  </a:lnTo>
                  <a:lnTo>
                    <a:pt x="10" y="5"/>
                  </a:lnTo>
                  <a:lnTo>
                    <a:pt x="10" y="5"/>
                  </a:lnTo>
                  <a:lnTo>
                    <a:pt x="10" y="5"/>
                  </a:lnTo>
                  <a:lnTo>
                    <a:pt x="8" y="5"/>
                  </a:lnTo>
                  <a:lnTo>
                    <a:pt x="8" y="5"/>
                  </a:lnTo>
                  <a:lnTo>
                    <a:pt x="8" y="5"/>
                  </a:lnTo>
                  <a:lnTo>
                    <a:pt x="10" y="4"/>
                  </a:lnTo>
                  <a:lnTo>
                    <a:pt x="10" y="4"/>
                  </a:lnTo>
                  <a:lnTo>
                    <a:pt x="10" y="4"/>
                  </a:lnTo>
                  <a:lnTo>
                    <a:pt x="8" y="4"/>
                  </a:lnTo>
                  <a:lnTo>
                    <a:pt x="8" y="4"/>
                  </a:lnTo>
                  <a:lnTo>
                    <a:pt x="8" y="4"/>
                  </a:lnTo>
                  <a:lnTo>
                    <a:pt x="8" y="4"/>
                  </a:lnTo>
                  <a:lnTo>
                    <a:pt x="8" y="5"/>
                  </a:lnTo>
                  <a:lnTo>
                    <a:pt x="7" y="6"/>
                  </a:lnTo>
                  <a:lnTo>
                    <a:pt x="7" y="6"/>
                  </a:lnTo>
                  <a:lnTo>
                    <a:pt x="7" y="6"/>
                  </a:lnTo>
                  <a:lnTo>
                    <a:pt x="6" y="6"/>
                  </a:lnTo>
                  <a:lnTo>
                    <a:pt x="6" y="6"/>
                  </a:lnTo>
                  <a:lnTo>
                    <a:pt x="5" y="6"/>
                  </a:lnTo>
                  <a:lnTo>
                    <a:pt x="5" y="6"/>
                  </a:lnTo>
                  <a:lnTo>
                    <a:pt x="6" y="5"/>
                  </a:lnTo>
                  <a:lnTo>
                    <a:pt x="6" y="5"/>
                  </a:lnTo>
                  <a:lnTo>
                    <a:pt x="6" y="5"/>
                  </a:lnTo>
                  <a:lnTo>
                    <a:pt x="5" y="5"/>
                  </a:lnTo>
                  <a:lnTo>
                    <a:pt x="5" y="5"/>
                  </a:lnTo>
                  <a:lnTo>
                    <a:pt x="5" y="5"/>
                  </a:lnTo>
                  <a:lnTo>
                    <a:pt x="5" y="4"/>
                  </a:lnTo>
                  <a:lnTo>
                    <a:pt x="5" y="4"/>
                  </a:lnTo>
                  <a:lnTo>
                    <a:pt x="5" y="4"/>
                  </a:lnTo>
                  <a:lnTo>
                    <a:pt x="4" y="4"/>
                  </a:lnTo>
                  <a:lnTo>
                    <a:pt x="4" y="3"/>
                  </a:lnTo>
                  <a:lnTo>
                    <a:pt x="4" y="3"/>
                  </a:lnTo>
                  <a:lnTo>
                    <a:pt x="3" y="3"/>
                  </a:lnTo>
                  <a:lnTo>
                    <a:pt x="3" y="3"/>
                  </a:lnTo>
                  <a:lnTo>
                    <a:pt x="1" y="3"/>
                  </a:lnTo>
                  <a:lnTo>
                    <a:pt x="0" y="3"/>
                  </a:lnTo>
                  <a:lnTo>
                    <a:pt x="0" y="3"/>
                  </a:lnTo>
                  <a:lnTo>
                    <a:pt x="0" y="3"/>
                  </a:lnTo>
                  <a:lnTo>
                    <a:pt x="0" y="3"/>
                  </a:lnTo>
                  <a:lnTo>
                    <a:pt x="1" y="3"/>
                  </a:lnTo>
                  <a:lnTo>
                    <a:pt x="5" y="2"/>
                  </a:lnTo>
                  <a:lnTo>
                    <a:pt x="5" y="2"/>
                  </a:lnTo>
                  <a:lnTo>
                    <a:pt x="5" y="2"/>
                  </a:lnTo>
                  <a:lnTo>
                    <a:pt x="5" y="2"/>
                  </a:lnTo>
                  <a:lnTo>
                    <a:pt x="5" y="2"/>
                  </a:lnTo>
                  <a:lnTo>
                    <a:pt x="5" y="2"/>
                  </a:lnTo>
                  <a:lnTo>
                    <a:pt x="5" y="2"/>
                  </a:lnTo>
                  <a:lnTo>
                    <a:pt x="5" y="2"/>
                  </a:lnTo>
                  <a:lnTo>
                    <a:pt x="5" y="2"/>
                  </a:lnTo>
                  <a:lnTo>
                    <a:pt x="6" y="2"/>
                  </a:lnTo>
                  <a:lnTo>
                    <a:pt x="6" y="2"/>
                  </a:lnTo>
                  <a:lnTo>
                    <a:pt x="6" y="0"/>
                  </a:lnTo>
                  <a:lnTo>
                    <a:pt x="6" y="0"/>
                  </a:lnTo>
                  <a:lnTo>
                    <a:pt x="6" y="0"/>
                  </a:lnTo>
                  <a:lnTo>
                    <a:pt x="6" y="0"/>
                  </a:lnTo>
                  <a:lnTo>
                    <a:pt x="6" y="0"/>
                  </a:lnTo>
                  <a:lnTo>
                    <a:pt x="6" y="0"/>
                  </a:lnTo>
                  <a:lnTo>
                    <a:pt x="6" y="0"/>
                  </a:lnTo>
                  <a:lnTo>
                    <a:pt x="6" y="0"/>
                  </a:lnTo>
                  <a:lnTo>
                    <a:pt x="7" y="0"/>
                  </a:lnTo>
                  <a:lnTo>
                    <a:pt x="7" y="0"/>
                  </a:lnTo>
                  <a:lnTo>
                    <a:pt x="7" y="0"/>
                  </a:lnTo>
                  <a:lnTo>
                    <a:pt x="7" y="2"/>
                  </a:lnTo>
                  <a:lnTo>
                    <a:pt x="7" y="2"/>
                  </a:lnTo>
                  <a:lnTo>
                    <a:pt x="7"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63" name="Freeform 1127">
              <a:extLst>
                <a:ext uri="{FF2B5EF4-FFF2-40B4-BE49-F238E27FC236}">
                  <a16:creationId xmlns:a16="http://schemas.microsoft.com/office/drawing/2014/main" id="{A51DDFA2-FF3B-4A01-8CD9-FF5255AC97B9}"/>
                </a:ext>
              </a:extLst>
            </p:cNvPr>
            <p:cNvSpPr>
              <a:spLocks/>
            </p:cNvSpPr>
            <p:nvPr/>
          </p:nvSpPr>
          <p:spPr bwMode="auto">
            <a:xfrm>
              <a:off x="6172351" y="2103853"/>
              <a:ext cx="1336" cy="0"/>
            </a:xfrm>
            <a:custGeom>
              <a:avLst/>
              <a:gdLst>
                <a:gd name="T0" fmla="*/ 1 w 1"/>
                <a:gd name="T1" fmla="*/ 0 w 1"/>
                <a:gd name="T2" fmla="*/ 0 w 1"/>
                <a:gd name="T3" fmla="*/ 0 w 1"/>
                <a:gd name="T4" fmla="*/ 0 w 1"/>
                <a:gd name="T5" fmla="*/ 0 w 1"/>
                <a:gd name="T6" fmla="*/ 1 w 1"/>
                <a:gd name="T7" fmla="*/ 1 w 1"/>
                <a:gd name="T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
                  <a:moveTo>
                    <a:pt x="1" y="0"/>
                  </a:moveTo>
                  <a:lnTo>
                    <a:pt x="0" y="0"/>
                  </a:lnTo>
                  <a:lnTo>
                    <a:pt x="0" y="0"/>
                  </a:lnTo>
                  <a:lnTo>
                    <a:pt x="0" y="0"/>
                  </a:lnTo>
                  <a:lnTo>
                    <a:pt x="0" y="0"/>
                  </a:lnTo>
                  <a:lnTo>
                    <a:pt x="0"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64" name="Freeform 1128">
              <a:extLst>
                <a:ext uri="{FF2B5EF4-FFF2-40B4-BE49-F238E27FC236}">
                  <a16:creationId xmlns:a16="http://schemas.microsoft.com/office/drawing/2014/main" id="{DD821F40-FCF7-4853-8EBD-D5358E467E22}"/>
                </a:ext>
              </a:extLst>
            </p:cNvPr>
            <p:cNvSpPr>
              <a:spLocks/>
            </p:cNvSpPr>
            <p:nvPr/>
          </p:nvSpPr>
          <p:spPr bwMode="auto">
            <a:xfrm>
              <a:off x="6157661" y="2102517"/>
              <a:ext cx="70781" cy="42736"/>
            </a:xfrm>
            <a:custGeom>
              <a:avLst/>
              <a:gdLst>
                <a:gd name="T0" fmla="*/ 27 w 53"/>
                <a:gd name="T1" fmla="*/ 1 h 32"/>
                <a:gd name="T2" fmla="*/ 31 w 53"/>
                <a:gd name="T3" fmla="*/ 1 h 32"/>
                <a:gd name="T4" fmla="*/ 35 w 53"/>
                <a:gd name="T5" fmla="*/ 1 h 32"/>
                <a:gd name="T6" fmla="*/ 39 w 53"/>
                <a:gd name="T7" fmla="*/ 3 h 32"/>
                <a:gd name="T8" fmla="*/ 46 w 53"/>
                <a:gd name="T9" fmla="*/ 4 h 32"/>
                <a:gd name="T10" fmla="*/ 50 w 53"/>
                <a:gd name="T11" fmla="*/ 3 h 32"/>
                <a:gd name="T12" fmla="*/ 53 w 53"/>
                <a:gd name="T13" fmla="*/ 5 h 32"/>
                <a:gd name="T14" fmla="*/ 50 w 53"/>
                <a:gd name="T15" fmla="*/ 5 h 32"/>
                <a:gd name="T16" fmla="*/ 50 w 53"/>
                <a:gd name="T17" fmla="*/ 6 h 32"/>
                <a:gd name="T18" fmla="*/ 47 w 53"/>
                <a:gd name="T19" fmla="*/ 10 h 32"/>
                <a:gd name="T20" fmla="*/ 41 w 53"/>
                <a:gd name="T21" fmla="*/ 12 h 32"/>
                <a:gd name="T22" fmla="*/ 45 w 53"/>
                <a:gd name="T23" fmla="*/ 15 h 32"/>
                <a:gd name="T24" fmla="*/ 46 w 53"/>
                <a:gd name="T25" fmla="*/ 19 h 32"/>
                <a:gd name="T26" fmla="*/ 48 w 53"/>
                <a:gd name="T27" fmla="*/ 21 h 32"/>
                <a:gd name="T28" fmla="*/ 50 w 53"/>
                <a:gd name="T29" fmla="*/ 25 h 32"/>
                <a:gd name="T30" fmla="*/ 53 w 53"/>
                <a:gd name="T31" fmla="*/ 27 h 32"/>
                <a:gd name="T32" fmla="*/ 49 w 53"/>
                <a:gd name="T33" fmla="*/ 29 h 32"/>
                <a:gd name="T34" fmla="*/ 49 w 53"/>
                <a:gd name="T35" fmla="*/ 32 h 32"/>
                <a:gd name="T36" fmla="*/ 45 w 53"/>
                <a:gd name="T37" fmla="*/ 31 h 32"/>
                <a:gd name="T38" fmla="*/ 40 w 53"/>
                <a:gd name="T39" fmla="*/ 31 h 32"/>
                <a:gd name="T40" fmla="*/ 38 w 53"/>
                <a:gd name="T41" fmla="*/ 31 h 32"/>
                <a:gd name="T42" fmla="*/ 34 w 53"/>
                <a:gd name="T43" fmla="*/ 28 h 32"/>
                <a:gd name="T44" fmla="*/ 28 w 53"/>
                <a:gd name="T45" fmla="*/ 26 h 32"/>
                <a:gd name="T46" fmla="*/ 25 w 53"/>
                <a:gd name="T47" fmla="*/ 24 h 32"/>
                <a:gd name="T48" fmla="*/ 21 w 53"/>
                <a:gd name="T49" fmla="*/ 24 h 32"/>
                <a:gd name="T50" fmla="*/ 18 w 53"/>
                <a:gd name="T51" fmla="*/ 25 h 32"/>
                <a:gd name="T52" fmla="*/ 14 w 53"/>
                <a:gd name="T53" fmla="*/ 26 h 32"/>
                <a:gd name="T54" fmla="*/ 14 w 53"/>
                <a:gd name="T55" fmla="*/ 22 h 32"/>
                <a:gd name="T56" fmla="*/ 14 w 53"/>
                <a:gd name="T57" fmla="*/ 19 h 32"/>
                <a:gd name="T58" fmla="*/ 11 w 53"/>
                <a:gd name="T59" fmla="*/ 20 h 32"/>
                <a:gd name="T60" fmla="*/ 7 w 53"/>
                <a:gd name="T61" fmla="*/ 19 h 32"/>
                <a:gd name="T62" fmla="*/ 5 w 53"/>
                <a:gd name="T63" fmla="*/ 17 h 32"/>
                <a:gd name="T64" fmla="*/ 3 w 53"/>
                <a:gd name="T65" fmla="*/ 17 h 32"/>
                <a:gd name="T66" fmla="*/ 3 w 53"/>
                <a:gd name="T67" fmla="*/ 14 h 32"/>
                <a:gd name="T68" fmla="*/ 6 w 53"/>
                <a:gd name="T69" fmla="*/ 13 h 32"/>
                <a:gd name="T70" fmla="*/ 2 w 53"/>
                <a:gd name="T71" fmla="*/ 13 h 32"/>
                <a:gd name="T72" fmla="*/ 3 w 53"/>
                <a:gd name="T73" fmla="*/ 11 h 32"/>
                <a:gd name="T74" fmla="*/ 2 w 53"/>
                <a:gd name="T75" fmla="*/ 10 h 32"/>
                <a:gd name="T76" fmla="*/ 0 w 53"/>
                <a:gd name="T77" fmla="*/ 8 h 32"/>
                <a:gd name="T78" fmla="*/ 0 w 53"/>
                <a:gd name="T79" fmla="*/ 6 h 32"/>
                <a:gd name="T80" fmla="*/ 3 w 53"/>
                <a:gd name="T81" fmla="*/ 6 h 32"/>
                <a:gd name="T82" fmla="*/ 5 w 53"/>
                <a:gd name="T83" fmla="*/ 6 h 32"/>
                <a:gd name="T84" fmla="*/ 6 w 53"/>
                <a:gd name="T85" fmla="*/ 5 h 32"/>
                <a:gd name="T86" fmla="*/ 9 w 53"/>
                <a:gd name="T87" fmla="*/ 5 h 32"/>
                <a:gd name="T88" fmla="*/ 10 w 53"/>
                <a:gd name="T89" fmla="*/ 4 h 32"/>
                <a:gd name="T90" fmla="*/ 13 w 53"/>
                <a:gd name="T91" fmla="*/ 4 h 32"/>
                <a:gd name="T92" fmla="*/ 16 w 53"/>
                <a:gd name="T93" fmla="*/ 1 h 32"/>
                <a:gd name="T94" fmla="*/ 18 w 53"/>
                <a:gd name="T95" fmla="*/ 1 h 32"/>
                <a:gd name="T96" fmla="*/ 21 w 53"/>
                <a:gd name="T97" fmla="*/ 1 h 32"/>
                <a:gd name="T98" fmla="*/ 23 w 53"/>
                <a:gd name="T99" fmla="*/ 0 h 32"/>
                <a:gd name="T100" fmla="*/ 25 w 53"/>
                <a:gd name="T101" fmla="*/ 0 h 32"/>
                <a:gd name="T102" fmla="*/ 25 w 53"/>
                <a:gd name="T10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 h="32">
                  <a:moveTo>
                    <a:pt x="26" y="1"/>
                  </a:moveTo>
                  <a:lnTo>
                    <a:pt x="26" y="0"/>
                  </a:lnTo>
                  <a:lnTo>
                    <a:pt x="27" y="0"/>
                  </a:lnTo>
                  <a:lnTo>
                    <a:pt x="27" y="1"/>
                  </a:lnTo>
                  <a:lnTo>
                    <a:pt x="27" y="0"/>
                  </a:lnTo>
                  <a:lnTo>
                    <a:pt x="28" y="0"/>
                  </a:lnTo>
                  <a:lnTo>
                    <a:pt x="28" y="1"/>
                  </a:lnTo>
                  <a:lnTo>
                    <a:pt x="31" y="1"/>
                  </a:lnTo>
                  <a:lnTo>
                    <a:pt x="32" y="1"/>
                  </a:lnTo>
                  <a:lnTo>
                    <a:pt x="33" y="1"/>
                  </a:lnTo>
                  <a:lnTo>
                    <a:pt x="34" y="1"/>
                  </a:lnTo>
                  <a:lnTo>
                    <a:pt x="35" y="1"/>
                  </a:lnTo>
                  <a:lnTo>
                    <a:pt x="36" y="1"/>
                  </a:lnTo>
                  <a:lnTo>
                    <a:pt x="36" y="3"/>
                  </a:lnTo>
                  <a:lnTo>
                    <a:pt x="38" y="3"/>
                  </a:lnTo>
                  <a:lnTo>
                    <a:pt x="39" y="3"/>
                  </a:lnTo>
                  <a:lnTo>
                    <a:pt x="41" y="4"/>
                  </a:lnTo>
                  <a:lnTo>
                    <a:pt x="42" y="3"/>
                  </a:lnTo>
                  <a:lnTo>
                    <a:pt x="43" y="3"/>
                  </a:lnTo>
                  <a:lnTo>
                    <a:pt x="46" y="4"/>
                  </a:lnTo>
                  <a:lnTo>
                    <a:pt x="48" y="4"/>
                  </a:lnTo>
                  <a:lnTo>
                    <a:pt x="49" y="4"/>
                  </a:lnTo>
                  <a:lnTo>
                    <a:pt x="50" y="4"/>
                  </a:lnTo>
                  <a:lnTo>
                    <a:pt x="50" y="3"/>
                  </a:lnTo>
                  <a:lnTo>
                    <a:pt x="52" y="3"/>
                  </a:lnTo>
                  <a:lnTo>
                    <a:pt x="52" y="4"/>
                  </a:lnTo>
                  <a:lnTo>
                    <a:pt x="53" y="4"/>
                  </a:lnTo>
                  <a:lnTo>
                    <a:pt x="53" y="5"/>
                  </a:lnTo>
                  <a:lnTo>
                    <a:pt x="53" y="4"/>
                  </a:lnTo>
                  <a:lnTo>
                    <a:pt x="53" y="5"/>
                  </a:lnTo>
                  <a:lnTo>
                    <a:pt x="52" y="5"/>
                  </a:lnTo>
                  <a:lnTo>
                    <a:pt x="50" y="5"/>
                  </a:lnTo>
                  <a:lnTo>
                    <a:pt x="52" y="5"/>
                  </a:lnTo>
                  <a:lnTo>
                    <a:pt x="50" y="5"/>
                  </a:lnTo>
                  <a:lnTo>
                    <a:pt x="49" y="6"/>
                  </a:lnTo>
                  <a:lnTo>
                    <a:pt x="50" y="6"/>
                  </a:lnTo>
                  <a:lnTo>
                    <a:pt x="49" y="7"/>
                  </a:lnTo>
                  <a:lnTo>
                    <a:pt x="49" y="8"/>
                  </a:lnTo>
                  <a:lnTo>
                    <a:pt x="49" y="10"/>
                  </a:lnTo>
                  <a:lnTo>
                    <a:pt x="47" y="10"/>
                  </a:lnTo>
                  <a:lnTo>
                    <a:pt x="43" y="10"/>
                  </a:lnTo>
                  <a:lnTo>
                    <a:pt x="42" y="11"/>
                  </a:lnTo>
                  <a:lnTo>
                    <a:pt x="41" y="11"/>
                  </a:lnTo>
                  <a:lnTo>
                    <a:pt x="41" y="12"/>
                  </a:lnTo>
                  <a:lnTo>
                    <a:pt x="41" y="13"/>
                  </a:lnTo>
                  <a:lnTo>
                    <a:pt x="42" y="13"/>
                  </a:lnTo>
                  <a:lnTo>
                    <a:pt x="43" y="14"/>
                  </a:lnTo>
                  <a:lnTo>
                    <a:pt x="45" y="15"/>
                  </a:lnTo>
                  <a:lnTo>
                    <a:pt x="45" y="17"/>
                  </a:lnTo>
                  <a:lnTo>
                    <a:pt x="45" y="18"/>
                  </a:lnTo>
                  <a:lnTo>
                    <a:pt x="46" y="18"/>
                  </a:lnTo>
                  <a:lnTo>
                    <a:pt x="46" y="19"/>
                  </a:lnTo>
                  <a:lnTo>
                    <a:pt x="47" y="19"/>
                  </a:lnTo>
                  <a:lnTo>
                    <a:pt x="47" y="20"/>
                  </a:lnTo>
                  <a:lnTo>
                    <a:pt x="48" y="20"/>
                  </a:lnTo>
                  <a:lnTo>
                    <a:pt x="48" y="21"/>
                  </a:lnTo>
                  <a:lnTo>
                    <a:pt x="49" y="22"/>
                  </a:lnTo>
                  <a:lnTo>
                    <a:pt x="50" y="22"/>
                  </a:lnTo>
                  <a:lnTo>
                    <a:pt x="50" y="24"/>
                  </a:lnTo>
                  <a:lnTo>
                    <a:pt x="50" y="25"/>
                  </a:lnTo>
                  <a:lnTo>
                    <a:pt x="52" y="25"/>
                  </a:lnTo>
                  <a:lnTo>
                    <a:pt x="52" y="26"/>
                  </a:lnTo>
                  <a:lnTo>
                    <a:pt x="53" y="26"/>
                  </a:lnTo>
                  <a:lnTo>
                    <a:pt x="53" y="27"/>
                  </a:lnTo>
                  <a:lnTo>
                    <a:pt x="52" y="27"/>
                  </a:lnTo>
                  <a:lnTo>
                    <a:pt x="50" y="27"/>
                  </a:lnTo>
                  <a:lnTo>
                    <a:pt x="50" y="28"/>
                  </a:lnTo>
                  <a:lnTo>
                    <a:pt x="49" y="29"/>
                  </a:lnTo>
                  <a:lnTo>
                    <a:pt x="49" y="31"/>
                  </a:lnTo>
                  <a:lnTo>
                    <a:pt x="48" y="31"/>
                  </a:lnTo>
                  <a:lnTo>
                    <a:pt x="49" y="31"/>
                  </a:lnTo>
                  <a:lnTo>
                    <a:pt x="49" y="32"/>
                  </a:lnTo>
                  <a:lnTo>
                    <a:pt x="48" y="32"/>
                  </a:lnTo>
                  <a:lnTo>
                    <a:pt x="47" y="31"/>
                  </a:lnTo>
                  <a:lnTo>
                    <a:pt x="46" y="31"/>
                  </a:lnTo>
                  <a:lnTo>
                    <a:pt x="45" y="31"/>
                  </a:lnTo>
                  <a:lnTo>
                    <a:pt x="43" y="29"/>
                  </a:lnTo>
                  <a:lnTo>
                    <a:pt x="42" y="31"/>
                  </a:lnTo>
                  <a:lnTo>
                    <a:pt x="41" y="31"/>
                  </a:lnTo>
                  <a:lnTo>
                    <a:pt x="40" y="31"/>
                  </a:lnTo>
                  <a:lnTo>
                    <a:pt x="40" y="32"/>
                  </a:lnTo>
                  <a:lnTo>
                    <a:pt x="39" y="32"/>
                  </a:lnTo>
                  <a:lnTo>
                    <a:pt x="39" y="31"/>
                  </a:lnTo>
                  <a:lnTo>
                    <a:pt x="38" y="31"/>
                  </a:lnTo>
                  <a:lnTo>
                    <a:pt x="36" y="31"/>
                  </a:lnTo>
                  <a:lnTo>
                    <a:pt x="36" y="29"/>
                  </a:lnTo>
                  <a:lnTo>
                    <a:pt x="35" y="28"/>
                  </a:lnTo>
                  <a:lnTo>
                    <a:pt x="34" y="28"/>
                  </a:lnTo>
                  <a:lnTo>
                    <a:pt x="33" y="27"/>
                  </a:lnTo>
                  <a:lnTo>
                    <a:pt x="31" y="26"/>
                  </a:lnTo>
                  <a:lnTo>
                    <a:pt x="29" y="26"/>
                  </a:lnTo>
                  <a:lnTo>
                    <a:pt x="28" y="26"/>
                  </a:lnTo>
                  <a:lnTo>
                    <a:pt x="27" y="26"/>
                  </a:lnTo>
                  <a:lnTo>
                    <a:pt x="27" y="25"/>
                  </a:lnTo>
                  <a:lnTo>
                    <a:pt x="26" y="25"/>
                  </a:lnTo>
                  <a:lnTo>
                    <a:pt x="25" y="24"/>
                  </a:lnTo>
                  <a:lnTo>
                    <a:pt x="24" y="24"/>
                  </a:lnTo>
                  <a:lnTo>
                    <a:pt x="24" y="25"/>
                  </a:lnTo>
                  <a:lnTo>
                    <a:pt x="23" y="24"/>
                  </a:lnTo>
                  <a:lnTo>
                    <a:pt x="21" y="24"/>
                  </a:lnTo>
                  <a:lnTo>
                    <a:pt x="20" y="24"/>
                  </a:lnTo>
                  <a:lnTo>
                    <a:pt x="20" y="25"/>
                  </a:lnTo>
                  <a:lnTo>
                    <a:pt x="19" y="25"/>
                  </a:lnTo>
                  <a:lnTo>
                    <a:pt x="18" y="25"/>
                  </a:lnTo>
                  <a:lnTo>
                    <a:pt x="17" y="25"/>
                  </a:lnTo>
                  <a:lnTo>
                    <a:pt x="16" y="25"/>
                  </a:lnTo>
                  <a:lnTo>
                    <a:pt x="16" y="26"/>
                  </a:lnTo>
                  <a:lnTo>
                    <a:pt x="14" y="26"/>
                  </a:lnTo>
                  <a:lnTo>
                    <a:pt x="13" y="26"/>
                  </a:lnTo>
                  <a:lnTo>
                    <a:pt x="14" y="25"/>
                  </a:lnTo>
                  <a:lnTo>
                    <a:pt x="14" y="24"/>
                  </a:lnTo>
                  <a:lnTo>
                    <a:pt x="14" y="22"/>
                  </a:lnTo>
                  <a:lnTo>
                    <a:pt x="14" y="21"/>
                  </a:lnTo>
                  <a:lnTo>
                    <a:pt x="14" y="20"/>
                  </a:lnTo>
                  <a:lnTo>
                    <a:pt x="16" y="20"/>
                  </a:lnTo>
                  <a:lnTo>
                    <a:pt x="14" y="19"/>
                  </a:lnTo>
                  <a:lnTo>
                    <a:pt x="13" y="19"/>
                  </a:lnTo>
                  <a:lnTo>
                    <a:pt x="12" y="19"/>
                  </a:lnTo>
                  <a:lnTo>
                    <a:pt x="12" y="20"/>
                  </a:lnTo>
                  <a:lnTo>
                    <a:pt x="11" y="20"/>
                  </a:lnTo>
                  <a:lnTo>
                    <a:pt x="10" y="21"/>
                  </a:lnTo>
                  <a:lnTo>
                    <a:pt x="10" y="20"/>
                  </a:lnTo>
                  <a:lnTo>
                    <a:pt x="9" y="20"/>
                  </a:lnTo>
                  <a:lnTo>
                    <a:pt x="7" y="19"/>
                  </a:lnTo>
                  <a:lnTo>
                    <a:pt x="6" y="19"/>
                  </a:lnTo>
                  <a:lnTo>
                    <a:pt x="5" y="19"/>
                  </a:lnTo>
                  <a:lnTo>
                    <a:pt x="5" y="18"/>
                  </a:lnTo>
                  <a:lnTo>
                    <a:pt x="5" y="17"/>
                  </a:lnTo>
                  <a:lnTo>
                    <a:pt x="4" y="17"/>
                  </a:lnTo>
                  <a:lnTo>
                    <a:pt x="3" y="17"/>
                  </a:lnTo>
                  <a:lnTo>
                    <a:pt x="3" y="15"/>
                  </a:lnTo>
                  <a:lnTo>
                    <a:pt x="3" y="17"/>
                  </a:lnTo>
                  <a:lnTo>
                    <a:pt x="3" y="15"/>
                  </a:lnTo>
                  <a:lnTo>
                    <a:pt x="3" y="14"/>
                  </a:lnTo>
                  <a:lnTo>
                    <a:pt x="2" y="14"/>
                  </a:lnTo>
                  <a:lnTo>
                    <a:pt x="3" y="14"/>
                  </a:lnTo>
                  <a:lnTo>
                    <a:pt x="3" y="13"/>
                  </a:lnTo>
                  <a:lnTo>
                    <a:pt x="4" y="13"/>
                  </a:lnTo>
                  <a:lnTo>
                    <a:pt x="5" y="13"/>
                  </a:lnTo>
                  <a:lnTo>
                    <a:pt x="6" y="13"/>
                  </a:lnTo>
                  <a:lnTo>
                    <a:pt x="5" y="13"/>
                  </a:lnTo>
                  <a:lnTo>
                    <a:pt x="4" y="13"/>
                  </a:lnTo>
                  <a:lnTo>
                    <a:pt x="3" y="13"/>
                  </a:lnTo>
                  <a:lnTo>
                    <a:pt x="2" y="13"/>
                  </a:lnTo>
                  <a:lnTo>
                    <a:pt x="2" y="12"/>
                  </a:lnTo>
                  <a:lnTo>
                    <a:pt x="0" y="11"/>
                  </a:lnTo>
                  <a:lnTo>
                    <a:pt x="2" y="11"/>
                  </a:lnTo>
                  <a:lnTo>
                    <a:pt x="3" y="11"/>
                  </a:lnTo>
                  <a:lnTo>
                    <a:pt x="3" y="10"/>
                  </a:lnTo>
                  <a:lnTo>
                    <a:pt x="3" y="8"/>
                  </a:lnTo>
                  <a:lnTo>
                    <a:pt x="2" y="8"/>
                  </a:lnTo>
                  <a:lnTo>
                    <a:pt x="2" y="10"/>
                  </a:lnTo>
                  <a:lnTo>
                    <a:pt x="3" y="10"/>
                  </a:lnTo>
                  <a:lnTo>
                    <a:pt x="2" y="10"/>
                  </a:lnTo>
                  <a:lnTo>
                    <a:pt x="0" y="10"/>
                  </a:lnTo>
                  <a:lnTo>
                    <a:pt x="0" y="8"/>
                  </a:lnTo>
                  <a:lnTo>
                    <a:pt x="2" y="8"/>
                  </a:lnTo>
                  <a:lnTo>
                    <a:pt x="2" y="7"/>
                  </a:lnTo>
                  <a:lnTo>
                    <a:pt x="0" y="7"/>
                  </a:lnTo>
                  <a:lnTo>
                    <a:pt x="0" y="6"/>
                  </a:lnTo>
                  <a:lnTo>
                    <a:pt x="2" y="6"/>
                  </a:lnTo>
                  <a:lnTo>
                    <a:pt x="3" y="6"/>
                  </a:lnTo>
                  <a:lnTo>
                    <a:pt x="4" y="6"/>
                  </a:lnTo>
                  <a:lnTo>
                    <a:pt x="3" y="6"/>
                  </a:lnTo>
                  <a:lnTo>
                    <a:pt x="4" y="6"/>
                  </a:lnTo>
                  <a:lnTo>
                    <a:pt x="4" y="5"/>
                  </a:lnTo>
                  <a:lnTo>
                    <a:pt x="5" y="5"/>
                  </a:lnTo>
                  <a:lnTo>
                    <a:pt x="5" y="6"/>
                  </a:lnTo>
                  <a:lnTo>
                    <a:pt x="6" y="5"/>
                  </a:lnTo>
                  <a:lnTo>
                    <a:pt x="7" y="6"/>
                  </a:lnTo>
                  <a:lnTo>
                    <a:pt x="7" y="5"/>
                  </a:lnTo>
                  <a:lnTo>
                    <a:pt x="6" y="5"/>
                  </a:lnTo>
                  <a:lnTo>
                    <a:pt x="6" y="4"/>
                  </a:lnTo>
                  <a:lnTo>
                    <a:pt x="7" y="4"/>
                  </a:lnTo>
                  <a:lnTo>
                    <a:pt x="7" y="5"/>
                  </a:lnTo>
                  <a:lnTo>
                    <a:pt x="9" y="5"/>
                  </a:lnTo>
                  <a:lnTo>
                    <a:pt x="9" y="4"/>
                  </a:lnTo>
                  <a:lnTo>
                    <a:pt x="7" y="4"/>
                  </a:lnTo>
                  <a:lnTo>
                    <a:pt x="9" y="4"/>
                  </a:lnTo>
                  <a:lnTo>
                    <a:pt x="10" y="4"/>
                  </a:lnTo>
                  <a:lnTo>
                    <a:pt x="10" y="3"/>
                  </a:lnTo>
                  <a:lnTo>
                    <a:pt x="11" y="3"/>
                  </a:lnTo>
                  <a:lnTo>
                    <a:pt x="12" y="3"/>
                  </a:lnTo>
                  <a:lnTo>
                    <a:pt x="13" y="4"/>
                  </a:lnTo>
                  <a:lnTo>
                    <a:pt x="13" y="3"/>
                  </a:lnTo>
                  <a:lnTo>
                    <a:pt x="14" y="3"/>
                  </a:lnTo>
                  <a:lnTo>
                    <a:pt x="14" y="1"/>
                  </a:lnTo>
                  <a:lnTo>
                    <a:pt x="16" y="1"/>
                  </a:lnTo>
                  <a:lnTo>
                    <a:pt x="16" y="3"/>
                  </a:lnTo>
                  <a:lnTo>
                    <a:pt x="17" y="3"/>
                  </a:lnTo>
                  <a:lnTo>
                    <a:pt x="18" y="3"/>
                  </a:lnTo>
                  <a:lnTo>
                    <a:pt x="18" y="1"/>
                  </a:lnTo>
                  <a:lnTo>
                    <a:pt x="19" y="1"/>
                  </a:lnTo>
                  <a:lnTo>
                    <a:pt x="19" y="3"/>
                  </a:lnTo>
                  <a:lnTo>
                    <a:pt x="21" y="3"/>
                  </a:lnTo>
                  <a:lnTo>
                    <a:pt x="21" y="1"/>
                  </a:lnTo>
                  <a:lnTo>
                    <a:pt x="23" y="1"/>
                  </a:lnTo>
                  <a:lnTo>
                    <a:pt x="23" y="0"/>
                  </a:lnTo>
                  <a:lnTo>
                    <a:pt x="21" y="0"/>
                  </a:lnTo>
                  <a:lnTo>
                    <a:pt x="23" y="0"/>
                  </a:lnTo>
                  <a:lnTo>
                    <a:pt x="24" y="0"/>
                  </a:lnTo>
                  <a:lnTo>
                    <a:pt x="24" y="1"/>
                  </a:lnTo>
                  <a:lnTo>
                    <a:pt x="25" y="1"/>
                  </a:lnTo>
                  <a:lnTo>
                    <a:pt x="25" y="0"/>
                  </a:lnTo>
                  <a:lnTo>
                    <a:pt x="24" y="0"/>
                  </a:lnTo>
                  <a:lnTo>
                    <a:pt x="25" y="0"/>
                  </a:lnTo>
                  <a:lnTo>
                    <a:pt x="24" y="0"/>
                  </a:lnTo>
                  <a:lnTo>
                    <a:pt x="25" y="0"/>
                  </a:lnTo>
                  <a:lnTo>
                    <a:pt x="26"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65" name="Freeform 1129">
              <a:extLst>
                <a:ext uri="{FF2B5EF4-FFF2-40B4-BE49-F238E27FC236}">
                  <a16:creationId xmlns:a16="http://schemas.microsoft.com/office/drawing/2014/main" id="{FBFCEBC0-2299-46B3-B348-A1DB3D728373}"/>
                </a:ext>
              </a:extLst>
            </p:cNvPr>
            <p:cNvSpPr>
              <a:spLocks/>
            </p:cNvSpPr>
            <p:nvPr/>
          </p:nvSpPr>
          <p:spPr bwMode="auto">
            <a:xfrm>
              <a:off x="6141635" y="2098511"/>
              <a:ext cx="1336" cy="0"/>
            </a:xfrm>
            <a:custGeom>
              <a:avLst/>
              <a:gdLst>
                <a:gd name="T0" fmla="*/ 0 w 1"/>
                <a:gd name="T1" fmla="*/ 0 w 1"/>
                <a:gd name="T2" fmla="*/ 0 w 1"/>
                <a:gd name="T3" fmla="*/ 0 w 1"/>
                <a:gd name="T4" fmla="*/ 0 w 1"/>
                <a:gd name="T5" fmla="*/ 0 w 1"/>
                <a:gd name="T6" fmla="*/ 0 w 1"/>
                <a:gd name="T7" fmla="*/ 0 w 1"/>
                <a:gd name="T8" fmla="*/ 0 w 1"/>
                <a:gd name="T9" fmla="*/ 0 w 1"/>
                <a:gd name="T10" fmla="*/ 0 w 1"/>
                <a:gd name="T11" fmla="*/ 0 w 1"/>
                <a:gd name="T12" fmla="*/ 1 w 1"/>
                <a:gd name="T13" fmla="*/ 0 w 1"/>
                <a:gd name="T14"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Lst>
              <a:rect l="0" t="0" r="r" b="b"/>
              <a:pathLst>
                <a:path w="1">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1"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66" name="Freeform 1130">
              <a:extLst>
                <a:ext uri="{FF2B5EF4-FFF2-40B4-BE49-F238E27FC236}">
                  <a16:creationId xmlns:a16="http://schemas.microsoft.com/office/drawing/2014/main" id="{C293798F-3D41-4CCE-AE41-EB94D7410477}"/>
                </a:ext>
              </a:extLst>
            </p:cNvPr>
            <p:cNvSpPr>
              <a:spLocks/>
            </p:cNvSpPr>
            <p:nvPr/>
          </p:nvSpPr>
          <p:spPr bwMode="auto">
            <a:xfrm>
              <a:off x="6161667" y="2097175"/>
              <a:ext cx="1336" cy="0"/>
            </a:xfrm>
            <a:custGeom>
              <a:avLst/>
              <a:gdLst>
                <a:gd name="T0" fmla="*/ 1 w 1"/>
                <a:gd name="T1" fmla="*/ 1 w 1"/>
                <a:gd name="T2" fmla="*/ 1 w 1"/>
                <a:gd name="T3" fmla="*/ 1 w 1"/>
                <a:gd name="T4" fmla="*/ 1 w 1"/>
                <a:gd name="T5" fmla="*/ 1 w 1"/>
                <a:gd name="T6" fmla="*/ 0 w 1"/>
                <a:gd name="T7" fmla="*/ 0 w 1"/>
                <a:gd name="T8" fmla="*/ 0 w 1"/>
                <a:gd name="T9" fmla="*/ 0 w 1"/>
                <a:gd name="T10" fmla="*/ 0 w 1"/>
                <a:gd name="T11" fmla="*/ 0 w 1"/>
                <a:gd name="T12" fmla="*/ 1 w 1"/>
                <a:gd name="T13" fmla="*/ 1 w 1"/>
                <a:gd name="T14" fmla="*/ 1 w 1"/>
                <a:gd name="T15" fmla="*/ 1 w 1"/>
                <a:gd name="T16"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Lst>
              <a:rect l="0" t="0" r="r" b="b"/>
              <a:pathLst>
                <a:path w="1">
                  <a:moveTo>
                    <a:pt x="1" y="0"/>
                  </a:moveTo>
                  <a:lnTo>
                    <a:pt x="1" y="0"/>
                  </a:lnTo>
                  <a:lnTo>
                    <a:pt x="1" y="0"/>
                  </a:lnTo>
                  <a:lnTo>
                    <a:pt x="1" y="0"/>
                  </a:lnTo>
                  <a:lnTo>
                    <a:pt x="1" y="0"/>
                  </a:lnTo>
                  <a:lnTo>
                    <a:pt x="1" y="0"/>
                  </a:lnTo>
                  <a:lnTo>
                    <a:pt x="0" y="0"/>
                  </a:lnTo>
                  <a:lnTo>
                    <a:pt x="0" y="0"/>
                  </a:lnTo>
                  <a:lnTo>
                    <a:pt x="0" y="0"/>
                  </a:lnTo>
                  <a:lnTo>
                    <a:pt x="0" y="0"/>
                  </a:lnTo>
                  <a:lnTo>
                    <a:pt x="0" y="0"/>
                  </a:lnTo>
                  <a:lnTo>
                    <a:pt x="0"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67" name="Freeform 1131">
              <a:extLst>
                <a:ext uri="{FF2B5EF4-FFF2-40B4-BE49-F238E27FC236}">
                  <a16:creationId xmlns:a16="http://schemas.microsoft.com/office/drawing/2014/main" id="{C8751604-293D-4FF6-8B0F-D0164BB4B142}"/>
                </a:ext>
              </a:extLst>
            </p:cNvPr>
            <p:cNvSpPr>
              <a:spLocks/>
            </p:cNvSpPr>
            <p:nvPr/>
          </p:nvSpPr>
          <p:spPr bwMode="auto">
            <a:xfrm>
              <a:off x="6145642" y="2094504"/>
              <a:ext cx="1336" cy="0"/>
            </a:xfrm>
            <a:custGeom>
              <a:avLst/>
              <a:gdLst>
                <a:gd name="T0" fmla="*/ 1 w 1"/>
                <a:gd name="T1" fmla="*/ 1 w 1"/>
                <a:gd name="T2" fmla="*/ 1 w 1"/>
                <a:gd name="T3" fmla="*/ 0 w 1"/>
                <a:gd name="T4" fmla="*/ 0 w 1"/>
                <a:gd name="T5" fmla="*/ 1 w 1"/>
                <a:gd name="T6" fmla="*/ 1 w 1"/>
                <a:gd name="T7" fmla="*/ 1 w 1"/>
                <a:gd name="T8" fmla="*/ 1 w 1"/>
                <a:gd name="T9" fmla="*/ 0 w 1"/>
                <a:gd name="T10" fmla="*/ 0 w 1"/>
                <a:gd name="T11" fmla="*/ 1 w 1"/>
                <a:gd name="T12" fmla="*/ 1 w 1"/>
                <a:gd name="T13" fmla="*/ 1 w 1"/>
                <a:gd name="T14" fmla="*/ 1 w 1"/>
                <a:gd name="T15" fmla="*/ 1 w 1"/>
                <a:gd name="T16" fmla="*/ 1 w 1"/>
                <a:gd name="T17" fmla="*/ 1 w 1"/>
                <a:gd name="T18" fmla="*/ 1 w 1"/>
                <a:gd name="T19" fmla="*/ 1 w 1"/>
                <a:gd name="T20" fmla="*/ 1 w 1"/>
                <a:gd name="T21"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Lst>
              <a:rect l="0" t="0" r="r" b="b"/>
              <a:pathLst>
                <a:path w="1">
                  <a:moveTo>
                    <a:pt x="1" y="0"/>
                  </a:moveTo>
                  <a:lnTo>
                    <a:pt x="1" y="0"/>
                  </a:lnTo>
                  <a:lnTo>
                    <a:pt x="1" y="0"/>
                  </a:lnTo>
                  <a:lnTo>
                    <a:pt x="0" y="0"/>
                  </a:lnTo>
                  <a:lnTo>
                    <a:pt x="0" y="0"/>
                  </a:lnTo>
                  <a:lnTo>
                    <a:pt x="1" y="0"/>
                  </a:lnTo>
                  <a:lnTo>
                    <a:pt x="1" y="0"/>
                  </a:lnTo>
                  <a:lnTo>
                    <a:pt x="1" y="0"/>
                  </a:lnTo>
                  <a:lnTo>
                    <a:pt x="1" y="0"/>
                  </a:lnTo>
                  <a:lnTo>
                    <a:pt x="0" y="0"/>
                  </a:lnTo>
                  <a:lnTo>
                    <a:pt x="0" y="0"/>
                  </a:lnTo>
                  <a:lnTo>
                    <a:pt x="1" y="0"/>
                  </a:lnTo>
                  <a:lnTo>
                    <a:pt x="1" y="0"/>
                  </a:lnTo>
                  <a:lnTo>
                    <a:pt x="1" y="0"/>
                  </a:lnTo>
                  <a:lnTo>
                    <a:pt x="1" y="0"/>
                  </a:lnTo>
                  <a:lnTo>
                    <a:pt x="1"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68" name="Freeform 1132">
              <a:extLst>
                <a:ext uri="{FF2B5EF4-FFF2-40B4-BE49-F238E27FC236}">
                  <a16:creationId xmlns:a16="http://schemas.microsoft.com/office/drawing/2014/main" id="{19736869-9CF2-42D2-B5FD-1EA0650E9427}"/>
                </a:ext>
              </a:extLst>
            </p:cNvPr>
            <p:cNvSpPr>
              <a:spLocks/>
            </p:cNvSpPr>
            <p:nvPr/>
          </p:nvSpPr>
          <p:spPr bwMode="auto">
            <a:xfrm>
              <a:off x="6138964" y="2094504"/>
              <a:ext cx="2671" cy="2671"/>
            </a:xfrm>
            <a:custGeom>
              <a:avLst/>
              <a:gdLst>
                <a:gd name="T0" fmla="*/ 2 w 2"/>
                <a:gd name="T1" fmla="*/ 0 h 2"/>
                <a:gd name="T2" fmla="*/ 2 w 2"/>
                <a:gd name="T3" fmla="*/ 0 h 2"/>
                <a:gd name="T4" fmla="*/ 2 w 2"/>
                <a:gd name="T5" fmla="*/ 0 h 2"/>
                <a:gd name="T6" fmla="*/ 2 w 2"/>
                <a:gd name="T7" fmla="*/ 2 h 2"/>
                <a:gd name="T8" fmla="*/ 2 w 2"/>
                <a:gd name="T9" fmla="*/ 2 h 2"/>
                <a:gd name="T10" fmla="*/ 0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2 w 2"/>
                <a:gd name="T4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 h="2">
                  <a:moveTo>
                    <a:pt x="2" y="0"/>
                  </a:moveTo>
                  <a:lnTo>
                    <a:pt x="2" y="0"/>
                  </a:lnTo>
                  <a:lnTo>
                    <a:pt x="2" y="0"/>
                  </a:lnTo>
                  <a:lnTo>
                    <a:pt x="2" y="2"/>
                  </a:lnTo>
                  <a:lnTo>
                    <a:pt x="2" y="2"/>
                  </a:lnTo>
                  <a:lnTo>
                    <a:pt x="0" y="0"/>
                  </a:lnTo>
                  <a:lnTo>
                    <a:pt x="0" y="0"/>
                  </a:lnTo>
                  <a:lnTo>
                    <a:pt x="0" y="0"/>
                  </a:lnTo>
                  <a:lnTo>
                    <a:pt x="0" y="2"/>
                  </a:lnTo>
                  <a:lnTo>
                    <a:pt x="0" y="2"/>
                  </a:lnTo>
                  <a:lnTo>
                    <a:pt x="0" y="2"/>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69" name="Freeform 1133">
              <a:extLst>
                <a:ext uri="{FF2B5EF4-FFF2-40B4-BE49-F238E27FC236}">
                  <a16:creationId xmlns:a16="http://schemas.microsoft.com/office/drawing/2014/main" id="{9161E79A-84A3-4BD7-9A26-FD830A0F0C4B}"/>
                </a:ext>
              </a:extLst>
            </p:cNvPr>
            <p:cNvSpPr>
              <a:spLocks/>
            </p:cNvSpPr>
            <p:nvPr/>
          </p:nvSpPr>
          <p:spPr bwMode="auto">
            <a:xfrm>
              <a:off x="6145642" y="2093169"/>
              <a:ext cx="1336" cy="1336"/>
            </a:xfrm>
            <a:custGeom>
              <a:avLst/>
              <a:gdLst>
                <a:gd name="T0" fmla="*/ 1 w 1"/>
                <a:gd name="T1" fmla="*/ 0 h 1"/>
                <a:gd name="T2" fmla="*/ 1 w 1"/>
                <a:gd name="T3" fmla="*/ 0 h 1"/>
                <a:gd name="T4" fmla="*/ 1 w 1"/>
                <a:gd name="T5" fmla="*/ 1 h 1"/>
                <a:gd name="T6" fmla="*/ 1 w 1"/>
                <a:gd name="T7" fmla="*/ 1 h 1"/>
                <a:gd name="T8" fmla="*/ 1 w 1"/>
                <a:gd name="T9" fmla="*/ 0 h 1"/>
                <a:gd name="T10" fmla="*/ 1 w 1"/>
                <a:gd name="T11" fmla="*/ 0 h 1"/>
                <a:gd name="T12" fmla="*/ 1 w 1"/>
                <a:gd name="T13" fmla="*/ 0 h 1"/>
                <a:gd name="T14" fmla="*/ 1 w 1"/>
                <a:gd name="T15" fmla="*/ 1 h 1"/>
                <a:gd name="T16" fmla="*/ 1 w 1"/>
                <a:gd name="T17" fmla="*/ 1 h 1"/>
                <a:gd name="T18" fmla="*/ 1 w 1"/>
                <a:gd name="T19" fmla="*/ 1 h 1"/>
                <a:gd name="T20" fmla="*/ 0 w 1"/>
                <a:gd name="T21" fmla="*/ 1 h 1"/>
                <a:gd name="T22" fmla="*/ 0 w 1"/>
                <a:gd name="T23" fmla="*/ 1 h 1"/>
                <a:gd name="T24" fmla="*/ 0 w 1"/>
                <a:gd name="T25" fmla="*/ 0 h 1"/>
                <a:gd name="T26" fmla="*/ 0 w 1"/>
                <a:gd name="T27" fmla="*/ 0 h 1"/>
                <a:gd name="T28" fmla="*/ 0 w 1"/>
                <a:gd name="T29" fmla="*/ 0 h 1"/>
                <a:gd name="T30" fmla="*/ 0 w 1"/>
                <a:gd name="T31" fmla="*/ 0 h 1"/>
                <a:gd name="T32" fmla="*/ 1 w 1"/>
                <a:gd name="T33" fmla="*/ 0 h 1"/>
                <a:gd name="T34" fmla="*/ 1 w 1"/>
                <a:gd name="T35" fmla="*/ 0 h 1"/>
                <a:gd name="T36" fmla="*/ 1 w 1"/>
                <a:gd name="T37" fmla="*/ 0 h 1"/>
                <a:gd name="T38" fmla="*/ 1 w 1"/>
                <a:gd name="T39" fmla="*/ 0 h 1"/>
                <a:gd name="T40" fmla="*/ 1 w 1"/>
                <a:gd name="T41" fmla="*/ 0 h 1"/>
                <a:gd name="T42" fmla="*/ 1 w 1"/>
                <a:gd name="T43" fmla="*/ 0 h 1"/>
                <a:gd name="T44" fmla="*/ 1 w 1"/>
                <a:gd name="T45" fmla="*/ 0 h 1"/>
                <a:gd name="T46" fmla="*/ 1 w 1"/>
                <a:gd name="T4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 h="1">
                  <a:moveTo>
                    <a:pt x="1" y="0"/>
                  </a:moveTo>
                  <a:lnTo>
                    <a:pt x="1" y="0"/>
                  </a:lnTo>
                  <a:lnTo>
                    <a:pt x="1" y="1"/>
                  </a:lnTo>
                  <a:lnTo>
                    <a:pt x="1" y="1"/>
                  </a:lnTo>
                  <a:lnTo>
                    <a:pt x="1" y="0"/>
                  </a:lnTo>
                  <a:lnTo>
                    <a:pt x="1" y="0"/>
                  </a:lnTo>
                  <a:lnTo>
                    <a:pt x="1" y="0"/>
                  </a:lnTo>
                  <a:lnTo>
                    <a:pt x="1" y="1"/>
                  </a:lnTo>
                  <a:lnTo>
                    <a:pt x="1" y="1"/>
                  </a:lnTo>
                  <a:lnTo>
                    <a:pt x="1" y="1"/>
                  </a:lnTo>
                  <a:lnTo>
                    <a:pt x="0" y="1"/>
                  </a:lnTo>
                  <a:lnTo>
                    <a:pt x="0" y="1"/>
                  </a:lnTo>
                  <a:lnTo>
                    <a:pt x="0" y="0"/>
                  </a:lnTo>
                  <a:lnTo>
                    <a:pt x="0" y="0"/>
                  </a:lnTo>
                  <a:lnTo>
                    <a:pt x="0" y="0"/>
                  </a:lnTo>
                  <a:lnTo>
                    <a:pt x="0" y="0"/>
                  </a:lnTo>
                  <a:lnTo>
                    <a:pt x="1" y="0"/>
                  </a:lnTo>
                  <a:lnTo>
                    <a:pt x="1"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70" name="Freeform 1134">
              <a:extLst>
                <a:ext uri="{FF2B5EF4-FFF2-40B4-BE49-F238E27FC236}">
                  <a16:creationId xmlns:a16="http://schemas.microsoft.com/office/drawing/2014/main" id="{F92DA53D-AC59-48C2-9180-8F1BD6CF6521}"/>
                </a:ext>
              </a:extLst>
            </p:cNvPr>
            <p:cNvSpPr>
              <a:spLocks/>
            </p:cNvSpPr>
            <p:nvPr/>
          </p:nvSpPr>
          <p:spPr bwMode="auto">
            <a:xfrm>
              <a:off x="6132287" y="2093169"/>
              <a:ext cx="1336" cy="0"/>
            </a:xfrm>
            <a:custGeom>
              <a:avLst/>
              <a:gdLst>
                <a:gd name="T0" fmla="*/ 1 w 1"/>
                <a:gd name="T1" fmla="*/ 1 w 1"/>
                <a:gd name="T2" fmla="*/ 1 w 1"/>
                <a:gd name="T3" fmla="*/ 1 w 1"/>
                <a:gd name="T4" fmla="*/ 0 w 1"/>
                <a:gd name="T5" fmla="*/ 0 w 1"/>
                <a:gd name="T6" fmla="*/ 1 w 1"/>
                <a:gd name="T7" fmla="*/ 1 w 1"/>
                <a:gd name="T8" fmla="*/ 1 w 1"/>
                <a:gd name="T9" fmla="*/ 1 w 1"/>
                <a:gd name="T10" fmla="*/ 1 w 1"/>
                <a:gd name="T11" fmla="*/ 1 w 1"/>
                <a:gd name="T12" fmla="*/ 1 w 1"/>
                <a:gd name="T13"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Lst>
              <a:rect l="0" t="0" r="r" b="b"/>
              <a:pathLst>
                <a:path w="1">
                  <a:moveTo>
                    <a:pt x="1" y="0"/>
                  </a:moveTo>
                  <a:lnTo>
                    <a:pt x="1" y="0"/>
                  </a:lnTo>
                  <a:lnTo>
                    <a:pt x="1" y="0"/>
                  </a:lnTo>
                  <a:lnTo>
                    <a:pt x="1" y="0"/>
                  </a:lnTo>
                  <a:lnTo>
                    <a:pt x="0" y="0"/>
                  </a:lnTo>
                  <a:lnTo>
                    <a:pt x="0" y="0"/>
                  </a:lnTo>
                  <a:lnTo>
                    <a:pt x="1" y="0"/>
                  </a:lnTo>
                  <a:lnTo>
                    <a:pt x="1"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71" name="Freeform 1135">
              <a:extLst>
                <a:ext uri="{FF2B5EF4-FFF2-40B4-BE49-F238E27FC236}">
                  <a16:creationId xmlns:a16="http://schemas.microsoft.com/office/drawing/2014/main" id="{8BCE96DA-3D58-4743-9BC5-CA66999F90C3}"/>
                </a:ext>
              </a:extLst>
            </p:cNvPr>
            <p:cNvSpPr>
              <a:spLocks/>
            </p:cNvSpPr>
            <p:nvPr/>
          </p:nvSpPr>
          <p:spPr bwMode="auto">
            <a:xfrm>
              <a:off x="6125609" y="2091833"/>
              <a:ext cx="2671" cy="1336"/>
            </a:xfrm>
            <a:custGeom>
              <a:avLst/>
              <a:gdLst>
                <a:gd name="T0" fmla="*/ 2 w 2"/>
                <a:gd name="T1" fmla="*/ 1 h 1"/>
                <a:gd name="T2" fmla="*/ 1 w 2"/>
                <a:gd name="T3" fmla="*/ 1 h 1"/>
                <a:gd name="T4" fmla="*/ 2 w 2"/>
                <a:gd name="T5" fmla="*/ 1 h 1"/>
                <a:gd name="T6" fmla="*/ 2 w 2"/>
                <a:gd name="T7" fmla="*/ 1 h 1"/>
                <a:gd name="T8" fmla="*/ 2 w 2"/>
                <a:gd name="T9" fmla="*/ 1 h 1"/>
                <a:gd name="T10" fmla="*/ 2 w 2"/>
                <a:gd name="T11" fmla="*/ 1 h 1"/>
                <a:gd name="T12" fmla="*/ 1 w 2"/>
                <a:gd name="T13" fmla="*/ 1 h 1"/>
                <a:gd name="T14" fmla="*/ 1 w 2"/>
                <a:gd name="T15" fmla="*/ 1 h 1"/>
                <a:gd name="T16" fmla="*/ 1 w 2"/>
                <a:gd name="T17" fmla="*/ 1 h 1"/>
                <a:gd name="T18" fmla="*/ 1 w 2"/>
                <a:gd name="T19" fmla="*/ 1 h 1"/>
                <a:gd name="T20" fmla="*/ 1 w 2"/>
                <a:gd name="T21" fmla="*/ 1 h 1"/>
                <a:gd name="T22" fmla="*/ 1 w 2"/>
                <a:gd name="T23" fmla="*/ 1 h 1"/>
                <a:gd name="T24" fmla="*/ 1 w 2"/>
                <a:gd name="T25" fmla="*/ 1 h 1"/>
                <a:gd name="T26" fmla="*/ 0 w 2"/>
                <a:gd name="T27" fmla="*/ 1 h 1"/>
                <a:gd name="T28" fmla="*/ 0 w 2"/>
                <a:gd name="T29" fmla="*/ 1 h 1"/>
                <a:gd name="T30" fmla="*/ 0 w 2"/>
                <a:gd name="T31" fmla="*/ 1 h 1"/>
                <a:gd name="T32" fmla="*/ 0 w 2"/>
                <a:gd name="T33" fmla="*/ 1 h 1"/>
                <a:gd name="T34" fmla="*/ 1 w 2"/>
                <a:gd name="T35" fmla="*/ 1 h 1"/>
                <a:gd name="T36" fmla="*/ 1 w 2"/>
                <a:gd name="T37" fmla="*/ 1 h 1"/>
                <a:gd name="T38" fmla="*/ 1 w 2"/>
                <a:gd name="T39" fmla="*/ 1 h 1"/>
                <a:gd name="T40" fmla="*/ 1 w 2"/>
                <a:gd name="T41" fmla="*/ 1 h 1"/>
                <a:gd name="T42" fmla="*/ 0 w 2"/>
                <a:gd name="T43" fmla="*/ 1 h 1"/>
                <a:gd name="T44" fmla="*/ 1 w 2"/>
                <a:gd name="T45" fmla="*/ 1 h 1"/>
                <a:gd name="T46" fmla="*/ 1 w 2"/>
                <a:gd name="T47" fmla="*/ 0 h 1"/>
                <a:gd name="T48" fmla="*/ 1 w 2"/>
                <a:gd name="T49" fmla="*/ 0 h 1"/>
                <a:gd name="T50" fmla="*/ 2 w 2"/>
                <a:gd name="T51" fmla="*/ 1 h 1"/>
                <a:gd name="T52" fmla="*/ 2 w 2"/>
                <a:gd name="T53" fmla="*/ 1 h 1"/>
                <a:gd name="T54" fmla="*/ 2 w 2"/>
                <a:gd name="T5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 h="1">
                  <a:moveTo>
                    <a:pt x="2" y="1"/>
                  </a:moveTo>
                  <a:lnTo>
                    <a:pt x="1" y="1"/>
                  </a:lnTo>
                  <a:lnTo>
                    <a:pt x="2" y="1"/>
                  </a:lnTo>
                  <a:lnTo>
                    <a:pt x="2" y="1"/>
                  </a:lnTo>
                  <a:lnTo>
                    <a:pt x="2" y="1"/>
                  </a:lnTo>
                  <a:lnTo>
                    <a:pt x="2" y="1"/>
                  </a:lnTo>
                  <a:lnTo>
                    <a:pt x="1" y="1"/>
                  </a:lnTo>
                  <a:lnTo>
                    <a:pt x="1" y="1"/>
                  </a:lnTo>
                  <a:lnTo>
                    <a:pt x="1" y="1"/>
                  </a:lnTo>
                  <a:lnTo>
                    <a:pt x="1" y="1"/>
                  </a:lnTo>
                  <a:lnTo>
                    <a:pt x="1" y="1"/>
                  </a:lnTo>
                  <a:lnTo>
                    <a:pt x="1" y="1"/>
                  </a:lnTo>
                  <a:lnTo>
                    <a:pt x="1" y="1"/>
                  </a:lnTo>
                  <a:lnTo>
                    <a:pt x="0" y="1"/>
                  </a:lnTo>
                  <a:lnTo>
                    <a:pt x="0" y="1"/>
                  </a:lnTo>
                  <a:lnTo>
                    <a:pt x="0" y="1"/>
                  </a:lnTo>
                  <a:lnTo>
                    <a:pt x="0" y="1"/>
                  </a:lnTo>
                  <a:lnTo>
                    <a:pt x="1" y="1"/>
                  </a:lnTo>
                  <a:lnTo>
                    <a:pt x="1" y="1"/>
                  </a:lnTo>
                  <a:lnTo>
                    <a:pt x="1" y="1"/>
                  </a:lnTo>
                  <a:lnTo>
                    <a:pt x="1" y="1"/>
                  </a:lnTo>
                  <a:lnTo>
                    <a:pt x="0" y="1"/>
                  </a:lnTo>
                  <a:lnTo>
                    <a:pt x="1" y="1"/>
                  </a:lnTo>
                  <a:lnTo>
                    <a:pt x="1" y="0"/>
                  </a:lnTo>
                  <a:lnTo>
                    <a:pt x="1" y="0"/>
                  </a:lnTo>
                  <a:lnTo>
                    <a:pt x="2" y="1"/>
                  </a:lnTo>
                  <a:lnTo>
                    <a:pt x="2" y="1"/>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72" name="Freeform 1136">
              <a:extLst>
                <a:ext uri="{FF2B5EF4-FFF2-40B4-BE49-F238E27FC236}">
                  <a16:creationId xmlns:a16="http://schemas.microsoft.com/office/drawing/2014/main" id="{A73EE739-F5E3-4E31-BD06-154E2D976775}"/>
                </a:ext>
              </a:extLst>
            </p:cNvPr>
            <p:cNvSpPr>
              <a:spLocks/>
            </p:cNvSpPr>
            <p:nvPr/>
          </p:nvSpPr>
          <p:spPr bwMode="auto">
            <a:xfrm>
              <a:off x="6128280" y="2091833"/>
              <a:ext cx="4007" cy="1336"/>
            </a:xfrm>
            <a:custGeom>
              <a:avLst/>
              <a:gdLst>
                <a:gd name="T0" fmla="*/ 3 w 3"/>
                <a:gd name="T1" fmla="*/ 0 h 1"/>
                <a:gd name="T2" fmla="*/ 3 w 3"/>
                <a:gd name="T3" fmla="*/ 0 h 1"/>
                <a:gd name="T4" fmla="*/ 3 w 3"/>
                <a:gd name="T5" fmla="*/ 0 h 1"/>
                <a:gd name="T6" fmla="*/ 3 w 3"/>
                <a:gd name="T7" fmla="*/ 0 h 1"/>
                <a:gd name="T8" fmla="*/ 3 w 3"/>
                <a:gd name="T9" fmla="*/ 0 h 1"/>
                <a:gd name="T10" fmla="*/ 3 w 3"/>
                <a:gd name="T11" fmla="*/ 0 h 1"/>
                <a:gd name="T12" fmla="*/ 3 w 3"/>
                <a:gd name="T13" fmla="*/ 0 h 1"/>
                <a:gd name="T14" fmla="*/ 3 w 3"/>
                <a:gd name="T15" fmla="*/ 1 h 1"/>
                <a:gd name="T16" fmla="*/ 1 w 3"/>
                <a:gd name="T17" fmla="*/ 1 h 1"/>
                <a:gd name="T18" fmla="*/ 1 w 3"/>
                <a:gd name="T19" fmla="*/ 1 h 1"/>
                <a:gd name="T20" fmla="*/ 1 w 3"/>
                <a:gd name="T21" fmla="*/ 1 h 1"/>
                <a:gd name="T22" fmla="*/ 1 w 3"/>
                <a:gd name="T23" fmla="*/ 1 h 1"/>
                <a:gd name="T24" fmla="*/ 1 w 3"/>
                <a:gd name="T25" fmla="*/ 1 h 1"/>
                <a:gd name="T26" fmla="*/ 1 w 3"/>
                <a:gd name="T27" fmla="*/ 1 h 1"/>
                <a:gd name="T28" fmla="*/ 1 w 3"/>
                <a:gd name="T29" fmla="*/ 1 h 1"/>
                <a:gd name="T30" fmla="*/ 1 w 3"/>
                <a:gd name="T31" fmla="*/ 1 h 1"/>
                <a:gd name="T32" fmla="*/ 1 w 3"/>
                <a:gd name="T33" fmla="*/ 1 h 1"/>
                <a:gd name="T34" fmla="*/ 0 w 3"/>
                <a:gd name="T35" fmla="*/ 1 h 1"/>
                <a:gd name="T36" fmla="*/ 0 w 3"/>
                <a:gd name="T37" fmla="*/ 1 h 1"/>
                <a:gd name="T38" fmla="*/ 0 w 3"/>
                <a:gd name="T39" fmla="*/ 1 h 1"/>
                <a:gd name="T40" fmla="*/ 0 w 3"/>
                <a:gd name="T41" fmla="*/ 1 h 1"/>
                <a:gd name="T42" fmla="*/ 0 w 3"/>
                <a:gd name="T43" fmla="*/ 1 h 1"/>
                <a:gd name="T44" fmla="*/ 0 w 3"/>
                <a:gd name="T45" fmla="*/ 1 h 1"/>
                <a:gd name="T46" fmla="*/ 0 w 3"/>
                <a:gd name="T47" fmla="*/ 1 h 1"/>
                <a:gd name="T48" fmla="*/ 0 w 3"/>
                <a:gd name="T49" fmla="*/ 1 h 1"/>
                <a:gd name="T50" fmla="*/ 0 w 3"/>
                <a:gd name="T51" fmla="*/ 1 h 1"/>
                <a:gd name="T52" fmla="*/ 0 w 3"/>
                <a:gd name="T53" fmla="*/ 0 h 1"/>
                <a:gd name="T54" fmla="*/ 0 w 3"/>
                <a:gd name="T55" fmla="*/ 0 h 1"/>
                <a:gd name="T56" fmla="*/ 1 w 3"/>
                <a:gd name="T57" fmla="*/ 0 h 1"/>
                <a:gd name="T58" fmla="*/ 1 w 3"/>
                <a:gd name="T59" fmla="*/ 0 h 1"/>
                <a:gd name="T60" fmla="*/ 3 w 3"/>
                <a:gd name="T61" fmla="*/ 0 h 1"/>
                <a:gd name="T62" fmla="*/ 3 w 3"/>
                <a:gd name="T6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 h="1">
                  <a:moveTo>
                    <a:pt x="3" y="0"/>
                  </a:moveTo>
                  <a:lnTo>
                    <a:pt x="3" y="0"/>
                  </a:lnTo>
                  <a:lnTo>
                    <a:pt x="3" y="0"/>
                  </a:lnTo>
                  <a:lnTo>
                    <a:pt x="3" y="0"/>
                  </a:lnTo>
                  <a:lnTo>
                    <a:pt x="3" y="0"/>
                  </a:lnTo>
                  <a:lnTo>
                    <a:pt x="3" y="0"/>
                  </a:lnTo>
                  <a:lnTo>
                    <a:pt x="3" y="0"/>
                  </a:lnTo>
                  <a:lnTo>
                    <a:pt x="3" y="1"/>
                  </a:lnTo>
                  <a:lnTo>
                    <a:pt x="1" y="1"/>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0" y="1"/>
                  </a:lnTo>
                  <a:lnTo>
                    <a:pt x="0" y="0"/>
                  </a:lnTo>
                  <a:lnTo>
                    <a:pt x="0" y="0"/>
                  </a:lnTo>
                  <a:lnTo>
                    <a:pt x="1" y="0"/>
                  </a:lnTo>
                  <a:lnTo>
                    <a:pt x="1" y="0"/>
                  </a:lnTo>
                  <a:lnTo>
                    <a:pt x="3" y="0"/>
                  </a:lnTo>
                  <a:lnTo>
                    <a:pt x="3"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73" name="Freeform 1137">
              <a:extLst>
                <a:ext uri="{FF2B5EF4-FFF2-40B4-BE49-F238E27FC236}">
                  <a16:creationId xmlns:a16="http://schemas.microsoft.com/office/drawing/2014/main" id="{ACF6434B-16E7-454E-AB50-749F4D776E75}"/>
                </a:ext>
              </a:extLst>
            </p:cNvPr>
            <p:cNvSpPr>
              <a:spLocks/>
            </p:cNvSpPr>
            <p:nvPr/>
          </p:nvSpPr>
          <p:spPr bwMode="auto">
            <a:xfrm>
              <a:off x="6137629" y="2091833"/>
              <a:ext cx="1336" cy="1336"/>
            </a:xfrm>
            <a:custGeom>
              <a:avLst/>
              <a:gdLst>
                <a:gd name="T0" fmla="*/ 0 w 1"/>
                <a:gd name="T1" fmla="*/ 1 h 1"/>
                <a:gd name="T2" fmla="*/ 0 w 1"/>
                <a:gd name="T3" fmla="*/ 1 h 1"/>
                <a:gd name="T4" fmla="*/ 0 w 1"/>
                <a:gd name="T5" fmla="*/ 1 h 1"/>
                <a:gd name="T6" fmla="*/ 0 w 1"/>
                <a:gd name="T7" fmla="*/ 1 h 1"/>
                <a:gd name="T8" fmla="*/ 0 w 1"/>
                <a:gd name="T9" fmla="*/ 1 h 1"/>
                <a:gd name="T10" fmla="*/ 0 w 1"/>
                <a:gd name="T11" fmla="*/ 1 h 1"/>
                <a:gd name="T12" fmla="*/ 0 w 1"/>
                <a:gd name="T13" fmla="*/ 0 h 1"/>
                <a:gd name="T14" fmla="*/ 0 w 1"/>
                <a:gd name="T15" fmla="*/ 0 h 1"/>
                <a:gd name="T16" fmla="*/ 0 w 1"/>
                <a:gd name="T17" fmla="*/ 0 h 1"/>
                <a:gd name="T18" fmla="*/ 0 w 1"/>
                <a:gd name="T19" fmla="*/ 0 h 1"/>
                <a:gd name="T20" fmla="*/ 0 w 1"/>
                <a:gd name="T21" fmla="*/ 0 h 1"/>
                <a:gd name="T22" fmla="*/ 0 w 1"/>
                <a:gd name="T23" fmla="*/ 0 h 1"/>
                <a:gd name="T24" fmla="*/ 1 w 1"/>
                <a:gd name="T25" fmla="*/ 0 h 1"/>
                <a:gd name="T26" fmla="*/ 1 w 1"/>
                <a:gd name="T27" fmla="*/ 0 h 1"/>
                <a:gd name="T28" fmla="*/ 1 w 1"/>
                <a:gd name="T29" fmla="*/ 0 h 1"/>
                <a:gd name="T30" fmla="*/ 0 w 1"/>
                <a:gd name="T31" fmla="*/ 0 h 1"/>
                <a:gd name="T32" fmla="*/ 0 w 1"/>
                <a:gd name="T33" fmla="*/ 1 h 1"/>
                <a:gd name="T34" fmla="*/ 0 w 1"/>
                <a:gd name="T35" fmla="*/ 1 h 1"/>
                <a:gd name="T36" fmla="*/ 0 w 1"/>
                <a:gd name="T37" fmla="*/ 1 h 1"/>
                <a:gd name="T38" fmla="*/ 0 w 1"/>
                <a:gd name="T39" fmla="*/ 1 h 1"/>
                <a:gd name="T40" fmla="*/ 0 w 1"/>
                <a:gd name="T4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 h="1">
                  <a:moveTo>
                    <a:pt x="0" y="1"/>
                  </a:moveTo>
                  <a:lnTo>
                    <a:pt x="0" y="1"/>
                  </a:lnTo>
                  <a:lnTo>
                    <a:pt x="0" y="1"/>
                  </a:lnTo>
                  <a:lnTo>
                    <a:pt x="0" y="1"/>
                  </a:lnTo>
                  <a:lnTo>
                    <a:pt x="0" y="1"/>
                  </a:lnTo>
                  <a:lnTo>
                    <a:pt x="0" y="1"/>
                  </a:lnTo>
                  <a:lnTo>
                    <a:pt x="0" y="0"/>
                  </a:lnTo>
                  <a:lnTo>
                    <a:pt x="0" y="0"/>
                  </a:lnTo>
                  <a:lnTo>
                    <a:pt x="0" y="0"/>
                  </a:lnTo>
                  <a:lnTo>
                    <a:pt x="0" y="0"/>
                  </a:lnTo>
                  <a:lnTo>
                    <a:pt x="0" y="0"/>
                  </a:lnTo>
                  <a:lnTo>
                    <a:pt x="0" y="0"/>
                  </a:lnTo>
                  <a:lnTo>
                    <a:pt x="1" y="0"/>
                  </a:lnTo>
                  <a:lnTo>
                    <a:pt x="1" y="0"/>
                  </a:lnTo>
                  <a:lnTo>
                    <a:pt x="1" y="0"/>
                  </a:lnTo>
                  <a:lnTo>
                    <a:pt x="0" y="0"/>
                  </a:lnTo>
                  <a:lnTo>
                    <a:pt x="0" y="1"/>
                  </a:lnTo>
                  <a:lnTo>
                    <a:pt x="0" y="1"/>
                  </a:lnTo>
                  <a:lnTo>
                    <a:pt x="0" y="1"/>
                  </a:lnTo>
                  <a:lnTo>
                    <a:pt x="0" y="1"/>
                  </a:lnTo>
                  <a:lnTo>
                    <a:pt x="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74" name="Freeform 1138">
              <a:extLst>
                <a:ext uri="{FF2B5EF4-FFF2-40B4-BE49-F238E27FC236}">
                  <a16:creationId xmlns:a16="http://schemas.microsoft.com/office/drawing/2014/main" id="{AB2719BA-45E0-479C-9845-5DD0070EE139}"/>
                </a:ext>
              </a:extLst>
            </p:cNvPr>
            <p:cNvSpPr>
              <a:spLocks/>
            </p:cNvSpPr>
            <p:nvPr/>
          </p:nvSpPr>
          <p:spPr bwMode="auto">
            <a:xfrm>
              <a:off x="6122938" y="2091833"/>
              <a:ext cx="2671" cy="1336"/>
            </a:xfrm>
            <a:custGeom>
              <a:avLst/>
              <a:gdLst>
                <a:gd name="T0" fmla="*/ 1 w 2"/>
                <a:gd name="T1" fmla="*/ 0 h 1"/>
                <a:gd name="T2" fmla="*/ 2 w 2"/>
                <a:gd name="T3" fmla="*/ 0 h 1"/>
                <a:gd name="T4" fmla="*/ 2 w 2"/>
                <a:gd name="T5" fmla="*/ 0 h 1"/>
                <a:gd name="T6" fmla="*/ 1 w 2"/>
                <a:gd name="T7" fmla="*/ 0 h 1"/>
                <a:gd name="T8" fmla="*/ 1 w 2"/>
                <a:gd name="T9" fmla="*/ 0 h 1"/>
                <a:gd name="T10" fmla="*/ 1 w 2"/>
                <a:gd name="T11" fmla="*/ 1 h 1"/>
                <a:gd name="T12" fmla="*/ 1 w 2"/>
                <a:gd name="T13" fmla="*/ 1 h 1"/>
                <a:gd name="T14" fmla="*/ 1 w 2"/>
                <a:gd name="T15" fmla="*/ 0 h 1"/>
                <a:gd name="T16" fmla="*/ 1 w 2"/>
                <a:gd name="T17" fmla="*/ 0 h 1"/>
                <a:gd name="T18" fmla="*/ 1 w 2"/>
                <a:gd name="T19" fmla="*/ 0 h 1"/>
                <a:gd name="T20" fmla="*/ 0 w 2"/>
                <a:gd name="T21" fmla="*/ 0 h 1"/>
                <a:gd name="T22" fmla="*/ 0 w 2"/>
                <a:gd name="T23" fmla="*/ 0 h 1"/>
                <a:gd name="T24" fmla="*/ 0 w 2"/>
                <a:gd name="T25" fmla="*/ 0 h 1"/>
                <a:gd name="T26" fmla="*/ 0 w 2"/>
                <a:gd name="T27" fmla="*/ 0 h 1"/>
                <a:gd name="T28" fmla="*/ 0 w 2"/>
                <a:gd name="T29" fmla="*/ 0 h 1"/>
                <a:gd name="T30" fmla="*/ 0 w 2"/>
                <a:gd name="T31" fmla="*/ 0 h 1"/>
                <a:gd name="T32" fmla="*/ 1 w 2"/>
                <a:gd name="T33" fmla="*/ 0 h 1"/>
                <a:gd name="T34" fmla="*/ 1 w 2"/>
                <a:gd name="T35" fmla="*/ 0 h 1"/>
                <a:gd name="T36" fmla="*/ 1 w 2"/>
                <a:gd name="T3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1">
                  <a:moveTo>
                    <a:pt x="1" y="0"/>
                  </a:moveTo>
                  <a:lnTo>
                    <a:pt x="2" y="0"/>
                  </a:lnTo>
                  <a:lnTo>
                    <a:pt x="2" y="0"/>
                  </a:lnTo>
                  <a:lnTo>
                    <a:pt x="1" y="0"/>
                  </a:lnTo>
                  <a:lnTo>
                    <a:pt x="1" y="0"/>
                  </a:lnTo>
                  <a:lnTo>
                    <a:pt x="1" y="1"/>
                  </a:lnTo>
                  <a:lnTo>
                    <a:pt x="1" y="1"/>
                  </a:lnTo>
                  <a:lnTo>
                    <a:pt x="1" y="0"/>
                  </a:lnTo>
                  <a:lnTo>
                    <a:pt x="1" y="0"/>
                  </a:lnTo>
                  <a:lnTo>
                    <a:pt x="1" y="0"/>
                  </a:lnTo>
                  <a:lnTo>
                    <a:pt x="0" y="0"/>
                  </a:lnTo>
                  <a:lnTo>
                    <a:pt x="0" y="0"/>
                  </a:lnTo>
                  <a:lnTo>
                    <a:pt x="0" y="0"/>
                  </a:lnTo>
                  <a:lnTo>
                    <a:pt x="0" y="0"/>
                  </a:lnTo>
                  <a:lnTo>
                    <a:pt x="0" y="0"/>
                  </a:lnTo>
                  <a:lnTo>
                    <a:pt x="0"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75" name="Freeform 1139">
              <a:extLst>
                <a:ext uri="{FF2B5EF4-FFF2-40B4-BE49-F238E27FC236}">
                  <a16:creationId xmlns:a16="http://schemas.microsoft.com/office/drawing/2014/main" id="{04497CAD-39F5-4AC5-A79D-5CF30E1FBB9F}"/>
                </a:ext>
              </a:extLst>
            </p:cNvPr>
            <p:cNvSpPr>
              <a:spLocks/>
            </p:cNvSpPr>
            <p:nvPr/>
          </p:nvSpPr>
          <p:spPr bwMode="auto">
            <a:xfrm>
              <a:off x="6132287" y="2091833"/>
              <a:ext cx="2671" cy="1336"/>
            </a:xfrm>
            <a:custGeom>
              <a:avLst/>
              <a:gdLst>
                <a:gd name="T0" fmla="*/ 1 w 2"/>
                <a:gd name="T1" fmla="*/ 1 h 1"/>
                <a:gd name="T2" fmla="*/ 1 w 2"/>
                <a:gd name="T3" fmla="*/ 1 h 1"/>
                <a:gd name="T4" fmla="*/ 1 w 2"/>
                <a:gd name="T5" fmla="*/ 1 h 1"/>
                <a:gd name="T6" fmla="*/ 0 w 2"/>
                <a:gd name="T7" fmla="*/ 0 h 1"/>
                <a:gd name="T8" fmla="*/ 1 w 2"/>
                <a:gd name="T9" fmla="*/ 0 h 1"/>
                <a:gd name="T10" fmla="*/ 1 w 2"/>
                <a:gd name="T11" fmla="*/ 0 h 1"/>
                <a:gd name="T12" fmla="*/ 1 w 2"/>
                <a:gd name="T13" fmla="*/ 0 h 1"/>
                <a:gd name="T14" fmla="*/ 1 w 2"/>
                <a:gd name="T15" fmla="*/ 0 h 1"/>
                <a:gd name="T16" fmla="*/ 2 w 2"/>
                <a:gd name="T17" fmla="*/ 0 h 1"/>
                <a:gd name="T18" fmla="*/ 2 w 2"/>
                <a:gd name="T19" fmla="*/ 0 h 1"/>
                <a:gd name="T20" fmla="*/ 1 w 2"/>
                <a:gd name="T21" fmla="*/ 0 h 1"/>
                <a:gd name="T22" fmla="*/ 1 w 2"/>
                <a:gd name="T23" fmla="*/ 0 h 1"/>
                <a:gd name="T24" fmla="*/ 1 w 2"/>
                <a:gd name="T25" fmla="*/ 1 h 1"/>
                <a:gd name="T26" fmla="*/ 1 w 2"/>
                <a:gd name="T27" fmla="*/ 1 h 1"/>
                <a:gd name="T28" fmla="*/ 1 w 2"/>
                <a:gd name="T2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1">
                  <a:moveTo>
                    <a:pt x="1" y="1"/>
                  </a:moveTo>
                  <a:lnTo>
                    <a:pt x="1" y="1"/>
                  </a:lnTo>
                  <a:lnTo>
                    <a:pt x="1" y="1"/>
                  </a:lnTo>
                  <a:lnTo>
                    <a:pt x="0" y="0"/>
                  </a:lnTo>
                  <a:lnTo>
                    <a:pt x="1" y="0"/>
                  </a:lnTo>
                  <a:lnTo>
                    <a:pt x="1" y="0"/>
                  </a:lnTo>
                  <a:lnTo>
                    <a:pt x="1" y="0"/>
                  </a:lnTo>
                  <a:lnTo>
                    <a:pt x="1" y="0"/>
                  </a:lnTo>
                  <a:lnTo>
                    <a:pt x="2" y="0"/>
                  </a:lnTo>
                  <a:lnTo>
                    <a:pt x="2" y="0"/>
                  </a:lnTo>
                  <a:lnTo>
                    <a:pt x="1" y="0"/>
                  </a:lnTo>
                  <a:lnTo>
                    <a:pt x="1" y="0"/>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76" name="Freeform 1140">
              <a:extLst>
                <a:ext uri="{FF2B5EF4-FFF2-40B4-BE49-F238E27FC236}">
                  <a16:creationId xmlns:a16="http://schemas.microsoft.com/office/drawing/2014/main" id="{DBE4BF84-C95E-4B05-9F4F-A729A2A7389C}"/>
                </a:ext>
              </a:extLst>
            </p:cNvPr>
            <p:cNvSpPr>
              <a:spLocks/>
            </p:cNvSpPr>
            <p:nvPr/>
          </p:nvSpPr>
          <p:spPr bwMode="auto">
            <a:xfrm>
              <a:off x="6189712" y="2091833"/>
              <a:ext cx="1336" cy="0"/>
            </a:xfrm>
            <a:custGeom>
              <a:avLst/>
              <a:gdLst>
                <a:gd name="T0" fmla="*/ 1 w 1"/>
                <a:gd name="T1" fmla="*/ 1 w 1"/>
                <a:gd name="T2" fmla="*/ 0 w 1"/>
                <a:gd name="T3" fmla="*/ 0 w 1"/>
                <a:gd name="T4" fmla="*/ 0 w 1"/>
                <a:gd name="T5" fmla="*/ 1 w 1"/>
                <a:gd name="T6" fmla="*/ 1 w 1"/>
                <a:gd name="T7" fmla="*/ 1 w 1"/>
                <a:gd name="T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
                  <a:moveTo>
                    <a:pt x="1" y="0"/>
                  </a:moveTo>
                  <a:lnTo>
                    <a:pt x="1" y="0"/>
                  </a:lnTo>
                  <a:lnTo>
                    <a:pt x="0" y="0"/>
                  </a:lnTo>
                  <a:lnTo>
                    <a:pt x="0" y="0"/>
                  </a:lnTo>
                  <a:lnTo>
                    <a:pt x="0"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77" name="Freeform 1141">
              <a:extLst>
                <a:ext uri="{FF2B5EF4-FFF2-40B4-BE49-F238E27FC236}">
                  <a16:creationId xmlns:a16="http://schemas.microsoft.com/office/drawing/2014/main" id="{541140D0-2117-413B-AFA5-308AF3D3E8FD}"/>
                </a:ext>
              </a:extLst>
            </p:cNvPr>
            <p:cNvSpPr>
              <a:spLocks/>
            </p:cNvSpPr>
            <p:nvPr/>
          </p:nvSpPr>
          <p:spPr bwMode="auto">
            <a:xfrm>
              <a:off x="6136293" y="2090498"/>
              <a:ext cx="1336" cy="1336"/>
            </a:xfrm>
            <a:custGeom>
              <a:avLst/>
              <a:gdLst>
                <a:gd name="T0" fmla="*/ 1 w 1"/>
                <a:gd name="T1" fmla="*/ 1 h 1"/>
                <a:gd name="T2" fmla="*/ 0 w 1"/>
                <a:gd name="T3" fmla="*/ 1 h 1"/>
                <a:gd name="T4" fmla="*/ 0 w 1"/>
                <a:gd name="T5" fmla="*/ 1 h 1"/>
                <a:gd name="T6" fmla="*/ 0 w 1"/>
                <a:gd name="T7" fmla="*/ 1 h 1"/>
                <a:gd name="T8" fmla="*/ 0 w 1"/>
                <a:gd name="T9" fmla="*/ 1 h 1"/>
                <a:gd name="T10" fmla="*/ 0 w 1"/>
                <a:gd name="T11" fmla="*/ 0 h 1"/>
                <a:gd name="T12" fmla="*/ 1 w 1"/>
                <a:gd name="T13" fmla="*/ 1 h 1"/>
                <a:gd name="T14" fmla="*/ 1 w 1"/>
                <a:gd name="T15" fmla="*/ 1 h 1"/>
                <a:gd name="T16" fmla="*/ 1 w 1"/>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
                  <a:moveTo>
                    <a:pt x="1" y="1"/>
                  </a:moveTo>
                  <a:lnTo>
                    <a:pt x="0" y="1"/>
                  </a:lnTo>
                  <a:lnTo>
                    <a:pt x="0" y="1"/>
                  </a:lnTo>
                  <a:lnTo>
                    <a:pt x="0" y="1"/>
                  </a:lnTo>
                  <a:lnTo>
                    <a:pt x="0" y="1"/>
                  </a:lnTo>
                  <a:lnTo>
                    <a:pt x="0" y="0"/>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78" name="Freeform 1142">
              <a:extLst>
                <a:ext uri="{FF2B5EF4-FFF2-40B4-BE49-F238E27FC236}">
                  <a16:creationId xmlns:a16="http://schemas.microsoft.com/office/drawing/2014/main" id="{AE58EE78-9D1A-42EA-8CB4-043729C714B9}"/>
                </a:ext>
              </a:extLst>
            </p:cNvPr>
            <p:cNvSpPr>
              <a:spLocks/>
            </p:cNvSpPr>
            <p:nvPr/>
          </p:nvSpPr>
          <p:spPr bwMode="auto">
            <a:xfrm>
              <a:off x="6126945" y="2090498"/>
              <a:ext cx="0" cy="1336"/>
            </a:xfrm>
            <a:custGeom>
              <a:avLst/>
              <a:gdLst>
                <a:gd name="T0" fmla="*/ 0 h 1"/>
                <a:gd name="T1" fmla="*/ 0 h 1"/>
                <a:gd name="T2" fmla="*/ 0 h 1"/>
                <a:gd name="T3" fmla="*/ 0 h 1"/>
                <a:gd name="T4" fmla="*/ 1 h 1"/>
                <a:gd name="T5" fmla="*/ 1 h 1"/>
                <a:gd name="T6" fmla="*/ 1 h 1"/>
                <a:gd name="T7" fmla="*/ 1 h 1"/>
                <a:gd name="T8" fmla="*/ 1 h 1"/>
                <a:gd name="T9" fmla="*/ 1 h 1"/>
                <a:gd name="T10" fmla="*/ 1 h 1"/>
                <a:gd name="T11" fmla="*/ 1 h 1"/>
                <a:gd name="T12" fmla="*/ 1 h 1"/>
                <a:gd name="T13" fmla="*/ 0 h 1"/>
                <a:gd name="T14" fmla="*/ 0 h 1"/>
                <a:gd name="T15" fmla="*/ 0 h 1"/>
                <a:gd name="T16" fmla="*/ 0 h 1"/>
                <a:gd name="T17"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Lst>
              <a:rect l="0" t="0" r="r" b="b"/>
              <a:pathLst>
                <a:path h="1">
                  <a:moveTo>
                    <a:pt x="0" y="0"/>
                  </a:moveTo>
                  <a:lnTo>
                    <a:pt x="0" y="0"/>
                  </a:lnTo>
                  <a:lnTo>
                    <a:pt x="0" y="0"/>
                  </a:lnTo>
                  <a:lnTo>
                    <a:pt x="0" y="0"/>
                  </a:lnTo>
                  <a:lnTo>
                    <a:pt x="0" y="1"/>
                  </a:lnTo>
                  <a:lnTo>
                    <a:pt x="0" y="1"/>
                  </a:lnTo>
                  <a:lnTo>
                    <a:pt x="0" y="1"/>
                  </a:lnTo>
                  <a:lnTo>
                    <a:pt x="0" y="1"/>
                  </a:lnTo>
                  <a:lnTo>
                    <a:pt x="0" y="1"/>
                  </a:lnTo>
                  <a:lnTo>
                    <a:pt x="0" y="1"/>
                  </a:lnTo>
                  <a:lnTo>
                    <a:pt x="0" y="1"/>
                  </a:lnTo>
                  <a:lnTo>
                    <a:pt x="0" y="1"/>
                  </a:lnTo>
                  <a:lnTo>
                    <a:pt x="0" y="1"/>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79" name="Freeform 1143">
              <a:extLst>
                <a:ext uri="{FF2B5EF4-FFF2-40B4-BE49-F238E27FC236}">
                  <a16:creationId xmlns:a16="http://schemas.microsoft.com/office/drawing/2014/main" id="{DFC58BF9-C358-462F-B4A6-39F7190725C9}"/>
                </a:ext>
              </a:extLst>
            </p:cNvPr>
            <p:cNvSpPr>
              <a:spLocks/>
            </p:cNvSpPr>
            <p:nvPr/>
          </p:nvSpPr>
          <p:spPr bwMode="auto">
            <a:xfrm>
              <a:off x="6185706" y="2090498"/>
              <a:ext cx="2671" cy="1336"/>
            </a:xfrm>
            <a:custGeom>
              <a:avLst/>
              <a:gdLst>
                <a:gd name="T0" fmla="*/ 2 w 2"/>
                <a:gd name="T1" fmla="*/ 1 h 1"/>
                <a:gd name="T2" fmla="*/ 2 w 2"/>
                <a:gd name="T3" fmla="*/ 1 h 1"/>
                <a:gd name="T4" fmla="*/ 0 w 2"/>
                <a:gd name="T5" fmla="*/ 1 h 1"/>
                <a:gd name="T6" fmla="*/ 0 w 2"/>
                <a:gd name="T7" fmla="*/ 1 h 1"/>
                <a:gd name="T8" fmla="*/ 0 w 2"/>
                <a:gd name="T9" fmla="*/ 1 h 1"/>
                <a:gd name="T10" fmla="*/ 0 w 2"/>
                <a:gd name="T11" fmla="*/ 1 h 1"/>
                <a:gd name="T12" fmla="*/ 0 w 2"/>
                <a:gd name="T13" fmla="*/ 1 h 1"/>
                <a:gd name="T14" fmla="*/ 0 w 2"/>
                <a:gd name="T15" fmla="*/ 0 h 1"/>
                <a:gd name="T16" fmla="*/ 0 w 2"/>
                <a:gd name="T17" fmla="*/ 0 h 1"/>
                <a:gd name="T18" fmla="*/ 0 w 2"/>
                <a:gd name="T19" fmla="*/ 0 h 1"/>
                <a:gd name="T20" fmla="*/ 0 w 2"/>
                <a:gd name="T21" fmla="*/ 0 h 1"/>
                <a:gd name="T22" fmla="*/ 2 w 2"/>
                <a:gd name="T23" fmla="*/ 1 h 1"/>
                <a:gd name="T24" fmla="*/ 2 w 2"/>
                <a:gd name="T25" fmla="*/ 1 h 1"/>
                <a:gd name="T26" fmla="*/ 2 w 2"/>
                <a:gd name="T27" fmla="*/ 1 h 1"/>
                <a:gd name="T28" fmla="*/ 2 w 2"/>
                <a:gd name="T29" fmla="*/ 1 h 1"/>
                <a:gd name="T30" fmla="*/ 2 w 2"/>
                <a:gd name="T3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 h="1">
                  <a:moveTo>
                    <a:pt x="2" y="1"/>
                  </a:moveTo>
                  <a:lnTo>
                    <a:pt x="2" y="1"/>
                  </a:lnTo>
                  <a:lnTo>
                    <a:pt x="0" y="1"/>
                  </a:lnTo>
                  <a:lnTo>
                    <a:pt x="0" y="1"/>
                  </a:lnTo>
                  <a:lnTo>
                    <a:pt x="0" y="1"/>
                  </a:lnTo>
                  <a:lnTo>
                    <a:pt x="0" y="1"/>
                  </a:lnTo>
                  <a:lnTo>
                    <a:pt x="0" y="1"/>
                  </a:lnTo>
                  <a:lnTo>
                    <a:pt x="0" y="0"/>
                  </a:lnTo>
                  <a:lnTo>
                    <a:pt x="0" y="0"/>
                  </a:lnTo>
                  <a:lnTo>
                    <a:pt x="0" y="0"/>
                  </a:lnTo>
                  <a:lnTo>
                    <a:pt x="0" y="0"/>
                  </a:lnTo>
                  <a:lnTo>
                    <a:pt x="2" y="1"/>
                  </a:lnTo>
                  <a:lnTo>
                    <a:pt x="2" y="1"/>
                  </a:lnTo>
                  <a:lnTo>
                    <a:pt x="2" y="1"/>
                  </a:lnTo>
                  <a:lnTo>
                    <a:pt x="2" y="1"/>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80" name="Freeform 1144">
              <a:extLst>
                <a:ext uri="{FF2B5EF4-FFF2-40B4-BE49-F238E27FC236}">
                  <a16:creationId xmlns:a16="http://schemas.microsoft.com/office/drawing/2014/main" id="{D4EB3363-CA8D-41A3-9D2D-B593783AB44D}"/>
                </a:ext>
              </a:extLst>
            </p:cNvPr>
            <p:cNvSpPr>
              <a:spLocks/>
            </p:cNvSpPr>
            <p:nvPr/>
          </p:nvSpPr>
          <p:spPr bwMode="auto">
            <a:xfrm>
              <a:off x="6138964" y="2090498"/>
              <a:ext cx="8013" cy="6678"/>
            </a:xfrm>
            <a:custGeom>
              <a:avLst/>
              <a:gdLst>
                <a:gd name="T0" fmla="*/ 5 w 6"/>
                <a:gd name="T1" fmla="*/ 1 h 5"/>
                <a:gd name="T2" fmla="*/ 5 w 6"/>
                <a:gd name="T3" fmla="*/ 1 h 5"/>
                <a:gd name="T4" fmla="*/ 5 w 6"/>
                <a:gd name="T5" fmla="*/ 2 h 5"/>
                <a:gd name="T6" fmla="*/ 5 w 6"/>
                <a:gd name="T7" fmla="*/ 2 h 5"/>
                <a:gd name="T8" fmla="*/ 5 w 6"/>
                <a:gd name="T9" fmla="*/ 2 h 5"/>
                <a:gd name="T10" fmla="*/ 5 w 6"/>
                <a:gd name="T11" fmla="*/ 2 h 5"/>
                <a:gd name="T12" fmla="*/ 4 w 6"/>
                <a:gd name="T13" fmla="*/ 3 h 5"/>
                <a:gd name="T14" fmla="*/ 4 w 6"/>
                <a:gd name="T15" fmla="*/ 3 h 5"/>
                <a:gd name="T16" fmla="*/ 5 w 6"/>
                <a:gd name="T17" fmla="*/ 3 h 5"/>
                <a:gd name="T18" fmla="*/ 4 w 6"/>
                <a:gd name="T19" fmla="*/ 3 h 5"/>
                <a:gd name="T20" fmla="*/ 4 w 6"/>
                <a:gd name="T21" fmla="*/ 3 h 5"/>
                <a:gd name="T22" fmla="*/ 4 w 6"/>
                <a:gd name="T23" fmla="*/ 5 h 5"/>
                <a:gd name="T24" fmla="*/ 4 w 6"/>
                <a:gd name="T25" fmla="*/ 3 h 5"/>
                <a:gd name="T26" fmla="*/ 3 w 6"/>
                <a:gd name="T27" fmla="*/ 5 h 5"/>
                <a:gd name="T28" fmla="*/ 3 w 6"/>
                <a:gd name="T29" fmla="*/ 5 h 5"/>
                <a:gd name="T30" fmla="*/ 3 w 6"/>
                <a:gd name="T31" fmla="*/ 5 h 5"/>
                <a:gd name="T32" fmla="*/ 3 w 6"/>
                <a:gd name="T33" fmla="*/ 3 h 5"/>
                <a:gd name="T34" fmla="*/ 3 w 6"/>
                <a:gd name="T35" fmla="*/ 3 h 5"/>
                <a:gd name="T36" fmla="*/ 3 w 6"/>
                <a:gd name="T37" fmla="*/ 3 h 5"/>
                <a:gd name="T38" fmla="*/ 3 w 6"/>
                <a:gd name="T39" fmla="*/ 3 h 5"/>
                <a:gd name="T40" fmla="*/ 3 w 6"/>
                <a:gd name="T41" fmla="*/ 3 h 5"/>
                <a:gd name="T42" fmla="*/ 2 w 6"/>
                <a:gd name="T43" fmla="*/ 5 h 5"/>
                <a:gd name="T44" fmla="*/ 2 w 6"/>
                <a:gd name="T45" fmla="*/ 3 h 5"/>
                <a:gd name="T46" fmla="*/ 2 w 6"/>
                <a:gd name="T47" fmla="*/ 3 h 5"/>
                <a:gd name="T48" fmla="*/ 2 w 6"/>
                <a:gd name="T49" fmla="*/ 3 h 5"/>
                <a:gd name="T50" fmla="*/ 2 w 6"/>
                <a:gd name="T51" fmla="*/ 2 h 5"/>
                <a:gd name="T52" fmla="*/ 0 w 6"/>
                <a:gd name="T53" fmla="*/ 2 h 5"/>
                <a:gd name="T54" fmla="*/ 0 w 6"/>
                <a:gd name="T55" fmla="*/ 2 h 5"/>
                <a:gd name="T56" fmla="*/ 2 w 6"/>
                <a:gd name="T57" fmla="*/ 2 h 5"/>
                <a:gd name="T58" fmla="*/ 3 w 6"/>
                <a:gd name="T59" fmla="*/ 2 h 5"/>
                <a:gd name="T60" fmla="*/ 0 w 6"/>
                <a:gd name="T61" fmla="*/ 1 h 5"/>
                <a:gd name="T62" fmla="*/ 0 w 6"/>
                <a:gd name="T63" fmla="*/ 1 h 5"/>
                <a:gd name="T64" fmla="*/ 0 w 6"/>
                <a:gd name="T65" fmla="*/ 1 h 5"/>
                <a:gd name="T66" fmla="*/ 0 w 6"/>
                <a:gd name="T67" fmla="*/ 1 h 5"/>
                <a:gd name="T68" fmla="*/ 3 w 6"/>
                <a:gd name="T69" fmla="*/ 1 h 5"/>
                <a:gd name="T70" fmla="*/ 5 w 6"/>
                <a:gd name="T71" fmla="*/ 1 h 5"/>
                <a:gd name="T72" fmla="*/ 5 w 6"/>
                <a:gd name="T73" fmla="*/ 0 h 5"/>
                <a:gd name="T74" fmla="*/ 6 w 6"/>
                <a:gd name="T75" fmla="*/ 0 h 5"/>
                <a:gd name="T76" fmla="*/ 6 w 6"/>
                <a:gd name="T77" fmla="*/ 0 h 5"/>
                <a:gd name="T78" fmla="*/ 6 w 6"/>
                <a:gd name="T79" fmla="*/ 0 h 5"/>
                <a:gd name="T80" fmla="*/ 5 w 6"/>
                <a:gd name="T81" fmla="*/ 1 h 5"/>
                <a:gd name="T82" fmla="*/ 5 w 6"/>
                <a:gd name="T83" fmla="*/ 1 h 5"/>
                <a:gd name="T84" fmla="*/ 5 w 6"/>
                <a:gd name="T8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 h="5">
                  <a:moveTo>
                    <a:pt x="5" y="1"/>
                  </a:moveTo>
                  <a:lnTo>
                    <a:pt x="5" y="1"/>
                  </a:lnTo>
                  <a:lnTo>
                    <a:pt x="5" y="1"/>
                  </a:lnTo>
                  <a:lnTo>
                    <a:pt x="5" y="1"/>
                  </a:lnTo>
                  <a:lnTo>
                    <a:pt x="5" y="1"/>
                  </a:lnTo>
                  <a:lnTo>
                    <a:pt x="5" y="2"/>
                  </a:lnTo>
                  <a:lnTo>
                    <a:pt x="5" y="2"/>
                  </a:lnTo>
                  <a:lnTo>
                    <a:pt x="5" y="2"/>
                  </a:lnTo>
                  <a:lnTo>
                    <a:pt x="5" y="2"/>
                  </a:lnTo>
                  <a:lnTo>
                    <a:pt x="5" y="2"/>
                  </a:lnTo>
                  <a:lnTo>
                    <a:pt x="5" y="2"/>
                  </a:lnTo>
                  <a:lnTo>
                    <a:pt x="5" y="2"/>
                  </a:lnTo>
                  <a:lnTo>
                    <a:pt x="5" y="3"/>
                  </a:lnTo>
                  <a:lnTo>
                    <a:pt x="4" y="3"/>
                  </a:lnTo>
                  <a:lnTo>
                    <a:pt x="4" y="3"/>
                  </a:lnTo>
                  <a:lnTo>
                    <a:pt x="4" y="3"/>
                  </a:lnTo>
                  <a:lnTo>
                    <a:pt x="4" y="3"/>
                  </a:lnTo>
                  <a:lnTo>
                    <a:pt x="5" y="3"/>
                  </a:lnTo>
                  <a:lnTo>
                    <a:pt x="4" y="3"/>
                  </a:lnTo>
                  <a:lnTo>
                    <a:pt x="4" y="3"/>
                  </a:lnTo>
                  <a:lnTo>
                    <a:pt x="4" y="3"/>
                  </a:lnTo>
                  <a:lnTo>
                    <a:pt x="4" y="3"/>
                  </a:lnTo>
                  <a:lnTo>
                    <a:pt x="4" y="3"/>
                  </a:lnTo>
                  <a:lnTo>
                    <a:pt x="4" y="5"/>
                  </a:lnTo>
                  <a:lnTo>
                    <a:pt x="4" y="3"/>
                  </a:lnTo>
                  <a:lnTo>
                    <a:pt x="4" y="3"/>
                  </a:lnTo>
                  <a:lnTo>
                    <a:pt x="3" y="3"/>
                  </a:lnTo>
                  <a:lnTo>
                    <a:pt x="3" y="5"/>
                  </a:lnTo>
                  <a:lnTo>
                    <a:pt x="3" y="5"/>
                  </a:lnTo>
                  <a:lnTo>
                    <a:pt x="3" y="5"/>
                  </a:lnTo>
                  <a:lnTo>
                    <a:pt x="3" y="5"/>
                  </a:lnTo>
                  <a:lnTo>
                    <a:pt x="3" y="5"/>
                  </a:lnTo>
                  <a:lnTo>
                    <a:pt x="3" y="5"/>
                  </a:lnTo>
                  <a:lnTo>
                    <a:pt x="3" y="3"/>
                  </a:lnTo>
                  <a:lnTo>
                    <a:pt x="3" y="3"/>
                  </a:lnTo>
                  <a:lnTo>
                    <a:pt x="3" y="3"/>
                  </a:lnTo>
                  <a:lnTo>
                    <a:pt x="3" y="3"/>
                  </a:lnTo>
                  <a:lnTo>
                    <a:pt x="3" y="3"/>
                  </a:lnTo>
                  <a:lnTo>
                    <a:pt x="3" y="3"/>
                  </a:lnTo>
                  <a:lnTo>
                    <a:pt x="3" y="3"/>
                  </a:lnTo>
                  <a:lnTo>
                    <a:pt x="3" y="3"/>
                  </a:lnTo>
                  <a:lnTo>
                    <a:pt x="3" y="3"/>
                  </a:lnTo>
                  <a:lnTo>
                    <a:pt x="2" y="3"/>
                  </a:lnTo>
                  <a:lnTo>
                    <a:pt x="2" y="5"/>
                  </a:lnTo>
                  <a:lnTo>
                    <a:pt x="2" y="5"/>
                  </a:lnTo>
                  <a:lnTo>
                    <a:pt x="2" y="3"/>
                  </a:lnTo>
                  <a:lnTo>
                    <a:pt x="2" y="3"/>
                  </a:lnTo>
                  <a:lnTo>
                    <a:pt x="2" y="3"/>
                  </a:lnTo>
                  <a:lnTo>
                    <a:pt x="2" y="3"/>
                  </a:lnTo>
                  <a:lnTo>
                    <a:pt x="2" y="3"/>
                  </a:lnTo>
                  <a:lnTo>
                    <a:pt x="2" y="3"/>
                  </a:lnTo>
                  <a:lnTo>
                    <a:pt x="2" y="2"/>
                  </a:lnTo>
                  <a:lnTo>
                    <a:pt x="2" y="2"/>
                  </a:lnTo>
                  <a:lnTo>
                    <a:pt x="0" y="2"/>
                  </a:lnTo>
                  <a:lnTo>
                    <a:pt x="0" y="2"/>
                  </a:lnTo>
                  <a:lnTo>
                    <a:pt x="0" y="2"/>
                  </a:lnTo>
                  <a:lnTo>
                    <a:pt x="2" y="2"/>
                  </a:lnTo>
                  <a:lnTo>
                    <a:pt x="2" y="2"/>
                  </a:lnTo>
                  <a:lnTo>
                    <a:pt x="3" y="2"/>
                  </a:lnTo>
                  <a:lnTo>
                    <a:pt x="3" y="2"/>
                  </a:lnTo>
                  <a:lnTo>
                    <a:pt x="0" y="2"/>
                  </a:lnTo>
                  <a:lnTo>
                    <a:pt x="0" y="1"/>
                  </a:lnTo>
                  <a:lnTo>
                    <a:pt x="0" y="1"/>
                  </a:lnTo>
                  <a:lnTo>
                    <a:pt x="0" y="1"/>
                  </a:lnTo>
                  <a:lnTo>
                    <a:pt x="0" y="1"/>
                  </a:lnTo>
                  <a:lnTo>
                    <a:pt x="0" y="1"/>
                  </a:lnTo>
                  <a:lnTo>
                    <a:pt x="0" y="1"/>
                  </a:lnTo>
                  <a:lnTo>
                    <a:pt x="0" y="1"/>
                  </a:lnTo>
                  <a:lnTo>
                    <a:pt x="2" y="1"/>
                  </a:lnTo>
                  <a:lnTo>
                    <a:pt x="3" y="1"/>
                  </a:lnTo>
                  <a:lnTo>
                    <a:pt x="3" y="1"/>
                  </a:lnTo>
                  <a:lnTo>
                    <a:pt x="5" y="1"/>
                  </a:lnTo>
                  <a:lnTo>
                    <a:pt x="5" y="1"/>
                  </a:lnTo>
                  <a:lnTo>
                    <a:pt x="5" y="0"/>
                  </a:lnTo>
                  <a:lnTo>
                    <a:pt x="5" y="0"/>
                  </a:lnTo>
                  <a:lnTo>
                    <a:pt x="6" y="0"/>
                  </a:lnTo>
                  <a:lnTo>
                    <a:pt x="6" y="0"/>
                  </a:lnTo>
                  <a:lnTo>
                    <a:pt x="6" y="0"/>
                  </a:lnTo>
                  <a:lnTo>
                    <a:pt x="6" y="0"/>
                  </a:lnTo>
                  <a:lnTo>
                    <a:pt x="6" y="0"/>
                  </a:lnTo>
                  <a:lnTo>
                    <a:pt x="5" y="1"/>
                  </a:lnTo>
                  <a:lnTo>
                    <a:pt x="5" y="1"/>
                  </a:lnTo>
                  <a:lnTo>
                    <a:pt x="5" y="1"/>
                  </a:lnTo>
                  <a:lnTo>
                    <a:pt x="5" y="1"/>
                  </a:lnTo>
                  <a:lnTo>
                    <a:pt x="5" y="1"/>
                  </a:lnTo>
                  <a:lnTo>
                    <a:pt x="5"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81" name="Freeform 1145">
              <a:extLst>
                <a:ext uri="{FF2B5EF4-FFF2-40B4-BE49-F238E27FC236}">
                  <a16:creationId xmlns:a16="http://schemas.microsoft.com/office/drawing/2014/main" id="{2D161BE7-7CE8-4C45-A794-9F4B0EDB5527}"/>
                </a:ext>
              </a:extLst>
            </p:cNvPr>
            <p:cNvSpPr>
              <a:spLocks/>
            </p:cNvSpPr>
            <p:nvPr/>
          </p:nvSpPr>
          <p:spPr bwMode="auto">
            <a:xfrm>
              <a:off x="6133622" y="209049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82" name="Freeform 1146">
              <a:extLst>
                <a:ext uri="{FF2B5EF4-FFF2-40B4-BE49-F238E27FC236}">
                  <a16:creationId xmlns:a16="http://schemas.microsoft.com/office/drawing/2014/main" id="{C777F7C6-B550-4B53-A207-A69AB3E5C4E2}"/>
                </a:ext>
              </a:extLst>
            </p:cNvPr>
            <p:cNvSpPr>
              <a:spLocks/>
            </p:cNvSpPr>
            <p:nvPr/>
          </p:nvSpPr>
          <p:spPr bwMode="auto">
            <a:xfrm>
              <a:off x="6132287" y="2090498"/>
              <a:ext cx="1336" cy="0"/>
            </a:xfrm>
            <a:custGeom>
              <a:avLst/>
              <a:gdLst>
                <a:gd name="T0" fmla="*/ 0 w 1"/>
                <a:gd name="T1" fmla="*/ 0 w 1"/>
                <a:gd name="T2" fmla="*/ 1 w 1"/>
                <a:gd name="T3" fmla="*/ 0 w 1"/>
                <a:gd name="T4" fmla="*/ 0 w 1"/>
                <a:gd name="T5" fmla="*/ 0 w 1"/>
                <a:gd name="T6" fmla="*/ 0 w 1"/>
                <a:gd name="T7" fmla="*/ 0 w 1"/>
                <a:gd name="T8" fmla="*/ 0 w 1"/>
                <a:gd name="T9" fmla="*/ 0 w 1"/>
                <a:gd name="T10" fmla="*/ 0 w 1"/>
                <a:gd name="T11" fmla="*/ 0 w 1"/>
                <a:gd name="T12" fmla="*/ 0 w 1"/>
                <a:gd name="T13" fmla="*/ 0 w 1"/>
                <a:gd name="T14"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Lst>
              <a:rect l="0" t="0" r="r" b="b"/>
              <a:pathLst>
                <a:path w="1">
                  <a:moveTo>
                    <a:pt x="0" y="0"/>
                  </a:moveTo>
                  <a:lnTo>
                    <a:pt x="0" y="0"/>
                  </a:lnTo>
                  <a:lnTo>
                    <a:pt x="1"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83" name="Freeform 1147">
              <a:extLst>
                <a:ext uri="{FF2B5EF4-FFF2-40B4-BE49-F238E27FC236}">
                  <a16:creationId xmlns:a16="http://schemas.microsoft.com/office/drawing/2014/main" id="{F7EA4EC9-4E2C-434B-B880-F6F144144066}"/>
                </a:ext>
              </a:extLst>
            </p:cNvPr>
            <p:cNvSpPr>
              <a:spLocks/>
            </p:cNvSpPr>
            <p:nvPr/>
          </p:nvSpPr>
          <p:spPr bwMode="auto">
            <a:xfrm>
              <a:off x="6134958" y="2090498"/>
              <a:ext cx="2671" cy="0"/>
            </a:xfrm>
            <a:custGeom>
              <a:avLst/>
              <a:gdLst>
                <a:gd name="T0" fmla="*/ 2 w 2"/>
                <a:gd name="T1" fmla="*/ 2 w 2"/>
                <a:gd name="T2" fmla="*/ 2 w 2"/>
                <a:gd name="T3" fmla="*/ 2 w 2"/>
                <a:gd name="T4" fmla="*/ 2 w 2"/>
                <a:gd name="T5" fmla="*/ 2 w 2"/>
                <a:gd name="T6" fmla="*/ 2 w 2"/>
                <a:gd name="T7" fmla="*/ 2 w 2"/>
                <a:gd name="T8" fmla="*/ 1 w 2"/>
                <a:gd name="T9" fmla="*/ 1 w 2"/>
                <a:gd name="T10" fmla="*/ 1 w 2"/>
                <a:gd name="T11" fmla="*/ 1 w 2"/>
                <a:gd name="T12" fmla="*/ 1 w 2"/>
                <a:gd name="T13" fmla="*/ 1 w 2"/>
                <a:gd name="T14" fmla="*/ 1 w 2"/>
                <a:gd name="T15" fmla="*/ 1 w 2"/>
                <a:gd name="T16" fmla="*/ 0 w 2"/>
                <a:gd name="T17" fmla="*/ 0 w 2"/>
                <a:gd name="T18" fmla="*/ 1 w 2"/>
                <a:gd name="T19" fmla="*/ 0 w 2"/>
                <a:gd name="T20" fmla="*/ 0 w 2"/>
                <a:gd name="T21" fmla="*/ 0 w 2"/>
                <a:gd name="T22" fmla="*/ 0 w 2"/>
                <a:gd name="T23" fmla="*/ 0 w 2"/>
                <a:gd name="T24" fmla="*/ 0 w 2"/>
                <a:gd name="T25" fmla="*/ 0 w 2"/>
                <a:gd name="T26" fmla="*/ 0 w 2"/>
                <a:gd name="T27" fmla="*/ 0 w 2"/>
                <a:gd name="T28" fmla="*/ 1 w 2"/>
                <a:gd name="T29" fmla="*/ 2 w 2"/>
                <a:gd name="T30"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Lst>
              <a:rect l="0" t="0" r="r" b="b"/>
              <a:pathLst>
                <a:path w="2">
                  <a:moveTo>
                    <a:pt x="2" y="0"/>
                  </a:moveTo>
                  <a:lnTo>
                    <a:pt x="2" y="0"/>
                  </a:lnTo>
                  <a:lnTo>
                    <a:pt x="2" y="0"/>
                  </a:lnTo>
                  <a:lnTo>
                    <a:pt x="2" y="0"/>
                  </a:lnTo>
                  <a:lnTo>
                    <a:pt x="2" y="0"/>
                  </a:lnTo>
                  <a:lnTo>
                    <a:pt x="2" y="0"/>
                  </a:lnTo>
                  <a:lnTo>
                    <a:pt x="2" y="0"/>
                  </a:lnTo>
                  <a:lnTo>
                    <a:pt x="2" y="0"/>
                  </a:lnTo>
                  <a:lnTo>
                    <a:pt x="1" y="0"/>
                  </a:lnTo>
                  <a:lnTo>
                    <a:pt x="1" y="0"/>
                  </a:lnTo>
                  <a:lnTo>
                    <a:pt x="1" y="0"/>
                  </a:lnTo>
                  <a:lnTo>
                    <a:pt x="1" y="0"/>
                  </a:lnTo>
                  <a:lnTo>
                    <a:pt x="1" y="0"/>
                  </a:lnTo>
                  <a:lnTo>
                    <a:pt x="1" y="0"/>
                  </a:lnTo>
                  <a:lnTo>
                    <a:pt x="1" y="0"/>
                  </a:lnTo>
                  <a:lnTo>
                    <a:pt x="1" y="0"/>
                  </a:lnTo>
                  <a:lnTo>
                    <a:pt x="0" y="0"/>
                  </a:lnTo>
                  <a:lnTo>
                    <a:pt x="0" y="0"/>
                  </a:lnTo>
                  <a:lnTo>
                    <a:pt x="1" y="0"/>
                  </a:lnTo>
                  <a:lnTo>
                    <a:pt x="0" y="0"/>
                  </a:lnTo>
                  <a:lnTo>
                    <a:pt x="0" y="0"/>
                  </a:lnTo>
                  <a:lnTo>
                    <a:pt x="0" y="0"/>
                  </a:lnTo>
                  <a:lnTo>
                    <a:pt x="0" y="0"/>
                  </a:lnTo>
                  <a:lnTo>
                    <a:pt x="0" y="0"/>
                  </a:lnTo>
                  <a:lnTo>
                    <a:pt x="0" y="0"/>
                  </a:lnTo>
                  <a:lnTo>
                    <a:pt x="0" y="0"/>
                  </a:lnTo>
                  <a:lnTo>
                    <a:pt x="0" y="0"/>
                  </a:lnTo>
                  <a:lnTo>
                    <a:pt x="0" y="0"/>
                  </a:lnTo>
                  <a:lnTo>
                    <a:pt x="1"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84" name="Freeform 1148">
              <a:extLst>
                <a:ext uri="{FF2B5EF4-FFF2-40B4-BE49-F238E27FC236}">
                  <a16:creationId xmlns:a16="http://schemas.microsoft.com/office/drawing/2014/main" id="{47EF06F3-C6CD-48B5-B495-60B97A014788}"/>
                </a:ext>
              </a:extLst>
            </p:cNvPr>
            <p:cNvSpPr>
              <a:spLocks/>
            </p:cNvSpPr>
            <p:nvPr/>
          </p:nvSpPr>
          <p:spPr bwMode="auto">
            <a:xfrm>
              <a:off x="6137629" y="2089163"/>
              <a:ext cx="1336" cy="1336"/>
            </a:xfrm>
            <a:custGeom>
              <a:avLst/>
              <a:gdLst>
                <a:gd name="T0" fmla="*/ 1 w 1"/>
                <a:gd name="T1" fmla="*/ 0 h 1"/>
                <a:gd name="T2" fmla="*/ 1 w 1"/>
                <a:gd name="T3" fmla="*/ 0 h 1"/>
                <a:gd name="T4" fmla="*/ 1 w 1"/>
                <a:gd name="T5" fmla="*/ 0 h 1"/>
                <a:gd name="T6" fmla="*/ 1 w 1"/>
                <a:gd name="T7" fmla="*/ 0 h 1"/>
                <a:gd name="T8" fmla="*/ 1 w 1"/>
                <a:gd name="T9" fmla="*/ 1 h 1"/>
                <a:gd name="T10" fmla="*/ 1 w 1"/>
                <a:gd name="T11" fmla="*/ 1 h 1"/>
                <a:gd name="T12" fmla="*/ 1 w 1"/>
                <a:gd name="T13" fmla="*/ 1 h 1"/>
                <a:gd name="T14" fmla="*/ 1 w 1"/>
                <a:gd name="T15" fmla="*/ 1 h 1"/>
                <a:gd name="T16" fmla="*/ 0 w 1"/>
                <a:gd name="T17" fmla="*/ 1 h 1"/>
                <a:gd name="T18" fmla="*/ 0 w 1"/>
                <a:gd name="T19" fmla="*/ 1 h 1"/>
                <a:gd name="T20" fmla="*/ 0 w 1"/>
                <a:gd name="T21" fmla="*/ 1 h 1"/>
                <a:gd name="T22" fmla="*/ 0 w 1"/>
                <a:gd name="T23" fmla="*/ 1 h 1"/>
                <a:gd name="T24" fmla="*/ 0 w 1"/>
                <a:gd name="T25" fmla="*/ 1 h 1"/>
                <a:gd name="T26" fmla="*/ 0 w 1"/>
                <a:gd name="T27" fmla="*/ 1 h 1"/>
                <a:gd name="T28" fmla="*/ 0 w 1"/>
                <a:gd name="T29" fmla="*/ 1 h 1"/>
                <a:gd name="T30" fmla="*/ 0 w 1"/>
                <a:gd name="T31" fmla="*/ 0 h 1"/>
                <a:gd name="T32" fmla="*/ 0 w 1"/>
                <a:gd name="T33" fmla="*/ 0 h 1"/>
                <a:gd name="T34" fmla="*/ 0 w 1"/>
                <a:gd name="T35" fmla="*/ 0 h 1"/>
                <a:gd name="T36" fmla="*/ 0 w 1"/>
                <a:gd name="T37" fmla="*/ 0 h 1"/>
                <a:gd name="T38" fmla="*/ 0 w 1"/>
                <a:gd name="T39" fmla="*/ 0 h 1"/>
                <a:gd name="T40" fmla="*/ 0 w 1"/>
                <a:gd name="T41" fmla="*/ 0 h 1"/>
                <a:gd name="T42" fmla="*/ 0 w 1"/>
                <a:gd name="T43" fmla="*/ 0 h 1"/>
                <a:gd name="T44" fmla="*/ 1 w 1"/>
                <a:gd name="T45" fmla="*/ 0 h 1"/>
                <a:gd name="T46" fmla="*/ 1 w 1"/>
                <a:gd name="T4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 h="1">
                  <a:moveTo>
                    <a:pt x="1" y="0"/>
                  </a:moveTo>
                  <a:lnTo>
                    <a:pt x="1" y="0"/>
                  </a:lnTo>
                  <a:lnTo>
                    <a:pt x="1" y="0"/>
                  </a:lnTo>
                  <a:lnTo>
                    <a:pt x="1" y="0"/>
                  </a:lnTo>
                  <a:lnTo>
                    <a:pt x="1" y="1"/>
                  </a:lnTo>
                  <a:lnTo>
                    <a:pt x="1" y="1"/>
                  </a:lnTo>
                  <a:lnTo>
                    <a:pt x="1" y="1"/>
                  </a:lnTo>
                  <a:lnTo>
                    <a:pt x="1" y="1"/>
                  </a:lnTo>
                  <a:lnTo>
                    <a:pt x="0" y="1"/>
                  </a:lnTo>
                  <a:lnTo>
                    <a:pt x="0" y="1"/>
                  </a:lnTo>
                  <a:lnTo>
                    <a:pt x="0" y="1"/>
                  </a:lnTo>
                  <a:lnTo>
                    <a:pt x="0" y="1"/>
                  </a:lnTo>
                  <a:lnTo>
                    <a:pt x="0" y="1"/>
                  </a:lnTo>
                  <a:lnTo>
                    <a:pt x="0" y="1"/>
                  </a:lnTo>
                  <a:lnTo>
                    <a:pt x="0" y="1"/>
                  </a:lnTo>
                  <a:lnTo>
                    <a:pt x="0" y="0"/>
                  </a:lnTo>
                  <a:lnTo>
                    <a:pt x="0" y="0"/>
                  </a:lnTo>
                  <a:lnTo>
                    <a:pt x="0" y="0"/>
                  </a:lnTo>
                  <a:lnTo>
                    <a:pt x="0" y="0"/>
                  </a:lnTo>
                  <a:lnTo>
                    <a:pt x="0" y="0"/>
                  </a:lnTo>
                  <a:lnTo>
                    <a:pt x="0" y="0"/>
                  </a:lnTo>
                  <a:lnTo>
                    <a:pt x="0"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85" name="Freeform 1149">
              <a:extLst>
                <a:ext uri="{FF2B5EF4-FFF2-40B4-BE49-F238E27FC236}">
                  <a16:creationId xmlns:a16="http://schemas.microsoft.com/office/drawing/2014/main" id="{C0C498FF-5BBA-49FA-9668-FE46DD5D1FFD}"/>
                </a:ext>
              </a:extLst>
            </p:cNvPr>
            <p:cNvSpPr>
              <a:spLocks/>
            </p:cNvSpPr>
            <p:nvPr/>
          </p:nvSpPr>
          <p:spPr bwMode="auto">
            <a:xfrm>
              <a:off x="6134958" y="2089163"/>
              <a:ext cx="1336" cy="0"/>
            </a:xfrm>
            <a:custGeom>
              <a:avLst/>
              <a:gdLst>
                <a:gd name="T0" fmla="*/ 1 w 1"/>
                <a:gd name="T1" fmla="*/ 1 w 1"/>
                <a:gd name="T2" fmla="*/ 0 w 1"/>
                <a:gd name="T3" fmla="*/ 0 w 1"/>
                <a:gd name="T4" fmla="*/ 0 w 1"/>
                <a:gd name="T5" fmla="*/ 0 w 1"/>
                <a:gd name="T6" fmla="*/ 1 w 1"/>
                <a:gd name="T7" fmla="*/ 1 w 1"/>
                <a:gd name="T8" fmla="*/ 1 w 1"/>
                <a:gd name="T9" fmla="*/ 1 w 1"/>
                <a:gd name="T10"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
                  <a:moveTo>
                    <a:pt x="1" y="0"/>
                  </a:moveTo>
                  <a:lnTo>
                    <a:pt x="1" y="0"/>
                  </a:lnTo>
                  <a:lnTo>
                    <a:pt x="0" y="0"/>
                  </a:lnTo>
                  <a:lnTo>
                    <a:pt x="0" y="0"/>
                  </a:lnTo>
                  <a:lnTo>
                    <a:pt x="0" y="0"/>
                  </a:lnTo>
                  <a:lnTo>
                    <a:pt x="0"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86" name="Freeform 1150">
              <a:extLst>
                <a:ext uri="{FF2B5EF4-FFF2-40B4-BE49-F238E27FC236}">
                  <a16:creationId xmlns:a16="http://schemas.microsoft.com/office/drawing/2014/main" id="{706C10BA-130D-4DC7-8138-FF6D12321E68}"/>
                </a:ext>
              </a:extLst>
            </p:cNvPr>
            <p:cNvSpPr>
              <a:spLocks/>
            </p:cNvSpPr>
            <p:nvPr/>
          </p:nvSpPr>
          <p:spPr bwMode="auto">
            <a:xfrm>
              <a:off x="6134958" y="2089163"/>
              <a:ext cx="1336" cy="0"/>
            </a:xfrm>
            <a:custGeom>
              <a:avLst/>
              <a:gdLst>
                <a:gd name="T0" fmla="*/ 1 w 1"/>
                <a:gd name="T1" fmla="*/ 0 w 1"/>
                <a:gd name="T2" fmla="*/ 0 w 1"/>
                <a:gd name="T3" fmla="*/ 0 w 1"/>
                <a:gd name="T4" fmla="*/ 0 w 1"/>
                <a:gd name="T5" fmla="*/ 0 w 1"/>
                <a:gd name="T6" fmla="*/ 1 w 1"/>
                <a:gd name="T7" fmla="*/ 1 w 1"/>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1">
                  <a:moveTo>
                    <a:pt x="1" y="0"/>
                  </a:moveTo>
                  <a:lnTo>
                    <a:pt x="0" y="0"/>
                  </a:lnTo>
                  <a:lnTo>
                    <a:pt x="0" y="0"/>
                  </a:lnTo>
                  <a:lnTo>
                    <a:pt x="0" y="0"/>
                  </a:lnTo>
                  <a:lnTo>
                    <a:pt x="0" y="0"/>
                  </a:lnTo>
                  <a:lnTo>
                    <a:pt x="0"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87" name="Freeform 1151">
              <a:extLst>
                <a:ext uri="{FF2B5EF4-FFF2-40B4-BE49-F238E27FC236}">
                  <a16:creationId xmlns:a16="http://schemas.microsoft.com/office/drawing/2014/main" id="{8399F821-80F1-441B-B736-E6BF1D60A6B4}"/>
                </a:ext>
              </a:extLst>
            </p:cNvPr>
            <p:cNvSpPr>
              <a:spLocks/>
            </p:cNvSpPr>
            <p:nvPr/>
          </p:nvSpPr>
          <p:spPr bwMode="auto">
            <a:xfrm>
              <a:off x="6122938" y="2089163"/>
              <a:ext cx="1336" cy="0"/>
            </a:xfrm>
            <a:custGeom>
              <a:avLst/>
              <a:gdLst>
                <a:gd name="T0" fmla="*/ 0 w 1"/>
                <a:gd name="T1" fmla="*/ 1 w 1"/>
                <a:gd name="T2" fmla="*/ 1 w 1"/>
                <a:gd name="T3" fmla="*/ 0 w 1"/>
                <a:gd name="T4" fmla="*/ 0 w 1"/>
                <a:gd name="T5" fmla="*/ 0 w 1"/>
                <a:gd name="T6" fmla="*/ 0 w 1"/>
                <a:gd name="T7" fmla="*/ 0 w 1"/>
                <a:gd name="T8" fmla="*/ 0 w 1"/>
                <a:gd name="T9" fmla="*/ 0 w 1"/>
                <a:gd name="T10" fmla="*/ 0 w 1"/>
                <a:gd name="T11" fmla="*/ 0 w 1"/>
                <a:gd name="T12" fmla="*/ 0 w 1"/>
                <a:gd name="T13" fmla="*/ 0 w 1"/>
                <a:gd name="T14" fmla="*/ 0 w 1"/>
                <a:gd name="T15" fmla="*/ 0 w 1"/>
                <a:gd name="T16" fmla="*/ 0 w 1"/>
                <a:gd name="T17"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Lst>
              <a:rect l="0" t="0" r="r" b="b"/>
              <a:pathLst>
                <a:path w="1">
                  <a:moveTo>
                    <a:pt x="0" y="0"/>
                  </a:moveTo>
                  <a:lnTo>
                    <a:pt x="1" y="0"/>
                  </a:lnTo>
                  <a:lnTo>
                    <a:pt x="1"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88" name="Freeform 1152">
              <a:extLst>
                <a:ext uri="{FF2B5EF4-FFF2-40B4-BE49-F238E27FC236}">
                  <a16:creationId xmlns:a16="http://schemas.microsoft.com/office/drawing/2014/main" id="{8AF06455-7AEB-47BC-8C04-6B17C776BA8B}"/>
                </a:ext>
              </a:extLst>
            </p:cNvPr>
            <p:cNvSpPr>
              <a:spLocks/>
            </p:cNvSpPr>
            <p:nvPr/>
          </p:nvSpPr>
          <p:spPr bwMode="auto">
            <a:xfrm>
              <a:off x="6200396" y="2087827"/>
              <a:ext cx="1336" cy="1336"/>
            </a:xfrm>
            <a:custGeom>
              <a:avLst/>
              <a:gdLst>
                <a:gd name="T0" fmla="*/ 0 w 1"/>
                <a:gd name="T1" fmla="*/ 1 h 1"/>
                <a:gd name="T2" fmla="*/ 0 w 1"/>
                <a:gd name="T3" fmla="*/ 1 h 1"/>
                <a:gd name="T4" fmla="*/ 0 w 1"/>
                <a:gd name="T5" fmla="*/ 1 h 1"/>
                <a:gd name="T6" fmla="*/ 0 w 1"/>
                <a:gd name="T7" fmla="*/ 1 h 1"/>
                <a:gd name="T8" fmla="*/ 0 w 1"/>
                <a:gd name="T9" fmla="*/ 0 h 1"/>
                <a:gd name="T10" fmla="*/ 0 w 1"/>
                <a:gd name="T11" fmla="*/ 0 h 1"/>
                <a:gd name="T12" fmla="*/ 0 w 1"/>
                <a:gd name="T13" fmla="*/ 0 h 1"/>
                <a:gd name="T14" fmla="*/ 0 w 1"/>
                <a:gd name="T15" fmla="*/ 0 h 1"/>
                <a:gd name="T16" fmla="*/ 0 w 1"/>
                <a:gd name="T17" fmla="*/ 0 h 1"/>
                <a:gd name="T18" fmla="*/ 0 w 1"/>
                <a:gd name="T19" fmla="*/ 0 h 1"/>
                <a:gd name="T20" fmla="*/ 0 w 1"/>
                <a:gd name="T21" fmla="*/ 0 h 1"/>
                <a:gd name="T22" fmla="*/ 0 w 1"/>
                <a:gd name="T23" fmla="*/ 0 h 1"/>
                <a:gd name="T24" fmla="*/ 1 w 1"/>
                <a:gd name="T25" fmla="*/ 0 h 1"/>
                <a:gd name="T26" fmla="*/ 1 w 1"/>
                <a:gd name="T27" fmla="*/ 0 h 1"/>
                <a:gd name="T28" fmla="*/ 1 w 1"/>
                <a:gd name="T29" fmla="*/ 0 h 1"/>
                <a:gd name="T30" fmla="*/ 1 w 1"/>
                <a:gd name="T31" fmla="*/ 0 h 1"/>
                <a:gd name="T32" fmla="*/ 0 w 1"/>
                <a:gd name="T33" fmla="*/ 1 h 1"/>
                <a:gd name="T34" fmla="*/ 0 w 1"/>
                <a:gd name="T35" fmla="*/ 1 h 1"/>
                <a:gd name="T36" fmla="*/ 0 w 1"/>
                <a:gd name="T3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 h="1">
                  <a:moveTo>
                    <a:pt x="0" y="1"/>
                  </a:moveTo>
                  <a:lnTo>
                    <a:pt x="0" y="1"/>
                  </a:lnTo>
                  <a:lnTo>
                    <a:pt x="0" y="1"/>
                  </a:lnTo>
                  <a:lnTo>
                    <a:pt x="0" y="1"/>
                  </a:lnTo>
                  <a:lnTo>
                    <a:pt x="0" y="0"/>
                  </a:lnTo>
                  <a:lnTo>
                    <a:pt x="0" y="0"/>
                  </a:lnTo>
                  <a:lnTo>
                    <a:pt x="0" y="0"/>
                  </a:lnTo>
                  <a:lnTo>
                    <a:pt x="0" y="0"/>
                  </a:lnTo>
                  <a:lnTo>
                    <a:pt x="0" y="0"/>
                  </a:lnTo>
                  <a:lnTo>
                    <a:pt x="0" y="0"/>
                  </a:lnTo>
                  <a:lnTo>
                    <a:pt x="0" y="0"/>
                  </a:lnTo>
                  <a:lnTo>
                    <a:pt x="0" y="0"/>
                  </a:lnTo>
                  <a:lnTo>
                    <a:pt x="1" y="0"/>
                  </a:lnTo>
                  <a:lnTo>
                    <a:pt x="1" y="0"/>
                  </a:lnTo>
                  <a:lnTo>
                    <a:pt x="1" y="0"/>
                  </a:lnTo>
                  <a:lnTo>
                    <a:pt x="1" y="0"/>
                  </a:lnTo>
                  <a:lnTo>
                    <a:pt x="0" y="1"/>
                  </a:lnTo>
                  <a:lnTo>
                    <a:pt x="0" y="1"/>
                  </a:lnTo>
                  <a:lnTo>
                    <a:pt x="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89" name="Freeform 1153">
              <a:extLst>
                <a:ext uri="{FF2B5EF4-FFF2-40B4-BE49-F238E27FC236}">
                  <a16:creationId xmlns:a16="http://schemas.microsoft.com/office/drawing/2014/main" id="{FDD9FB4D-0B48-49D1-98DE-8A6C9C37F68F}"/>
                </a:ext>
              </a:extLst>
            </p:cNvPr>
            <p:cNvSpPr>
              <a:spLocks/>
            </p:cNvSpPr>
            <p:nvPr/>
          </p:nvSpPr>
          <p:spPr bwMode="auto">
            <a:xfrm>
              <a:off x="6129616" y="2087827"/>
              <a:ext cx="4007" cy="2671"/>
            </a:xfrm>
            <a:custGeom>
              <a:avLst/>
              <a:gdLst>
                <a:gd name="T0" fmla="*/ 2 w 3"/>
                <a:gd name="T1" fmla="*/ 1 h 2"/>
                <a:gd name="T2" fmla="*/ 2 w 3"/>
                <a:gd name="T3" fmla="*/ 1 h 2"/>
                <a:gd name="T4" fmla="*/ 2 w 3"/>
                <a:gd name="T5" fmla="*/ 1 h 2"/>
                <a:gd name="T6" fmla="*/ 2 w 3"/>
                <a:gd name="T7" fmla="*/ 1 h 2"/>
                <a:gd name="T8" fmla="*/ 2 w 3"/>
                <a:gd name="T9" fmla="*/ 1 h 2"/>
                <a:gd name="T10" fmla="*/ 2 w 3"/>
                <a:gd name="T11" fmla="*/ 1 h 2"/>
                <a:gd name="T12" fmla="*/ 2 w 3"/>
                <a:gd name="T13" fmla="*/ 1 h 2"/>
                <a:gd name="T14" fmla="*/ 2 w 3"/>
                <a:gd name="T15" fmla="*/ 1 h 2"/>
                <a:gd name="T16" fmla="*/ 2 w 3"/>
                <a:gd name="T17" fmla="*/ 1 h 2"/>
                <a:gd name="T18" fmla="*/ 2 w 3"/>
                <a:gd name="T19" fmla="*/ 1 h 2"/>
                <a:gd name="T20" fmla="*/ 3 w 3"/>
                <a:gd name="T21" fmla="*/ 1 h 2"/>
                <a:gd name="T22" fmla="*/ 3 w 3"/>
                <a:gd name="T23" fmla="*/ 1 h 2"/>
                <a:gd name="T24" fmla="*/ 2 w 3"/>
                <a:gd name="T25" fmla="*/ 1 h 2"/>
                <a:gd name="T26" fmla="*/ 2 w 3"/>
                <a:gd name="T27" fmla="*/ 1 h 2"/>
                <a:gd name="T28" fmla="*/ 2 w 3"/>
                <a:gd name="T29" fmla="*/ 1 h 2"/>
                <a:gd name="T30" fmla="*/ 3 w 3"/>
                <a:gd name="T31" fmla="*/ 1 h 2"/>
                <a:gd name="T32" fmla="*/ 3 w 3"/>
                <a:gd name="T33" fmla="*/ 1 h 2"/>
                <a:gd name="T34" fmla="*/ 3 w 3"/>
                <a:gd name="T35" fmla="*/ 1 h 2"/>
                <a:gd name="T36" fmla="*/ 3 w 3"/>
                <a:gd name="T37" fmla="*/ 1 h 2"/>
                <a:gd name="T38" fmla="*/ 2 w 3"/>
                <a:gd name="T39" fmla="*/ 2 h 2"/>
                <a:gd name="T40" fmla="*/ 2 w 3"/>
                <a:gd name="T41" fmla="*/ 1 h 2"/>
                <a:gd name="T42" fmla="*/ 2 w 3"/>
                <a:gd name="T43" fmla="*/ 1 h 2"/>
                <a:gd name="T44" fmla="*/ 2 w 3"/>
                <a:gd name="T45" fmla="*/ 1 h 2"/>
                <a:gd name="T46" fmla="*/ 2 w 3"/>
                <a:gd name="T47" fmla="*/ 1 h 2"/>
                <a:gd name="T48" fmla="*/ 2 w 3"/>
                <a:gd name="T49" fmla="*/ 2 h 2"/>
                <a:gd name="T50" fmla="*/ 2 w 3"/>
                <a:gd name="T51" fmla="*/ 2 h 2"/>
                <a:gd name="T52" fmla="*/ 2 w 3"/>
                <a:gd name="T53" fmla="*/ 1 h 2"/>
                <a:gd name="T54" fmla="*/ 2 w 3"/>
                <a:gd name="T55" fmla="*/ 1 h 2"/>
                <a:gd name="T56" fmla="*/ 2 w 3"/>
                <a:gd name="T57" fmla="*/ 1 h 2"/>
                <a:gd name="T58" fmla="*/ 2 w 3"/>
                <a:gd name="T59" fmla="*/ 1 h 2"/>
                <a:gd name="T60" fmla="*/ 0 w 3"/>
                <a:gd name="T61" fmla="*/ 1 h 2"/>
                <a:gd name="T62" fmla="*/ 0 w 3"/>
                <a:gd name="T63" fmla="*/ 1 h 2"/>
                <a:gd name="T64" fmla="*/ 0 w 3"/>
                <a:gd name="T65" fmla="*/ 1 h 2"/>
                <a:gd name="T66" fmla="*/ 0 w 3"/>
                <a:gd name="T67" fmla="*/ 1 h 2"/>
                <a:gd name="T68" fmla="*/ 0 w 3"/>
                <a:gd name="T69" fmla="*/ 1 h 2"/>
                <a:gd name="T70" fmla="*/ 0 w 3"/>
                <a:gd name="T71" fmla="*/ 1 h 2"/>
                <a:gd name="T72" fmla="*/ 0 w 3"/>
                <a:gd name="T73" fmla="*/ 1 h 2"/>
                <a:gd name="T74" fmla="*/ 0 w 3"/>
                <a:gd name="T75" fmla="*/ 0 h 2"/>
                <a:gd name="T76" fmla="*/ 0 w 3"/>
                <a:gd name="T77" fmla="*/ 0 h 2"/>
                <a:gd name="T78" fmla="*/ 0 w 3"/>
                <a:gd name="T79" fmla="*/ 0 h 2"/>
                <a:gd name="T80" fmla="*/ 0 w 3"/>
                <a:gd name="T81" fmla="*/ 0 h 2"/>
                <a:gd name="T82" fmla="*/ 0 w 3"/>
                <a:gd name="T83" fmla="*/ 0 h 2"/>
                <a:gd name="T84" fmla="*/ 0 w 3"/>
                <a:gd name="T85" fmla="*/ 0 h 2"/>
                <a:gd name="T86" fmla="*/ 0 w 3"/>
                <a:gd name="T87" fmla="*/ 0 h 2"/>
                <a:gd name="T88" fmla="*/ 0 w 3"/>
                <a:gd name="T89" fmla="*/ 0 h 2"/>
                <a:gd name="T90" fmla="*/ 0 w 3"/>
                <a:gd name="T91" fmla="*/ 0 h 2"/>
                <a:gd name="T92" fmla="*/ 0 w 3"/>
                <a:gd name="T93" fmla="*/ 0 h 2"/>
                <a:gd name="T94" fmla="*/ 2 w 3"/>
                <a:gd name="T95" fmla="*/ 0 h 2"/>
                <a:gd name="T96" fmla="*/ 2 w 3"/>
                <a:gd name="T97" fmla="*/ 0 h 2"/>
                <a:gd name="T98" fmla="*/ 2 w 3"/>
                <a:gd name="T99" fmla="*/ 0 h 2"/>
                <a:gd name="T100" fmla="*/ 2 w 3"/>
                <a:gd name="T101" fmla="*/ 0 h 2"/>
                <a:gd name="T102" fmla="*/ 2 w 3"/>
                <a:gd name="T103" fmla="*/ 0 h 2"/>
                <a:gd name="T104" fmla="*/ 2 w 3"/>
                <a:gd name="T10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 h="2">
                  <a:moveTo>
                    <a:pt x="2" y="1"/>
                  </a:moveTo>
                  <a:lnTo>
                    <a:pt x="2" y="1"/>
                  </a:lnTo>
                  <a:lnTo>
                    <a:pt x="2" y="1"/>
                  </a:lnTo>
                  <a:lnTo>
                    <a:pt x="2" y="1"/>
                  </a:lnTo>
                  <a:lnTo>
                    <a:pt x="2" y="1"/>
                  </a:lnTo>
                  <a:lnTo>
                    <a:pt x="2" y="1"/>
                  </a:lnTo>
                  <a:lnTo>
                    <a:pt x="2" y="1"/>
                  </a:lnTo>
                  <a:lnTo>
                    <a:pt x="2" y="1"/>
                  </a:lnTo>
                  <a:lnTo>
                    <a:pt x="2" y="1"/>
                  </a:lnTo>
                  <a:lnTo>
                    <a:pt x="2" y="1"/>
                  </a:lnTo>
                  <a:lnTo>
                    <a:pt x="3" y="1"/>
                  </a:lnTo>
                  <a:lnTo>
                    <a:pt x="3" y="1"/>
                  </a:lnTo>
                  <a:lnTo>
                    <a:pt x="2" y="1"/>
                  </a:lnTo>
                  <a:lnTo>
                    <a:pt x="2" y="1"/>
                  </a:lnTo>
                  <a:lnTo>
                    <a:pt x="2" y="1"/>
                  </a:lnTo>
                  <a:lnTo>
                    <a:pt x="3" y="1"/>
                  </a:lnTo>
                  <a:lnTo>
                    <a:pt x="3" y="1"/>
                  </a:lnTo>
                  <a:lnTo>
                    <a:pt x="3" y="1"/>
                  </a:lnTo>
                  <a:lnTo>
                    <a:pt x="3" y="1"/>
                  </a:lnTo>
                  <a:lnTo>
                    <a:pt x="2" y="2"/>
                  </a:lnTo>
                  <a:lnTo>
                    <a:pt x="2" y="1"/>
                  </a:lnTo>
                  <a:lnTo>
                    <a:pt x="2" y="1"/>
                  </a:lnTo>
                  <a:lnTo>
                    <a:pt x="2" y="1"/>
                  </a:lnTo>
                  <a:lnTo>
                    <a:pt x="2" y="1"/>
                  </a:lnTo>
                  <a:lnTo>
                    <a:pt x="2" y="2"/>
                  </a:lnTo>
                  <a:lnTo>
                    <a:pt x="2" y="2"/>
                  </a:lnTo>
                  <a:lnTo>
                    <a:pt x="2" y="1"/>
                  </a:lnTo>
                  <a:lnTo>
                    <a:pt x="2" y="1"/>
                  </a:lnTo>
                  <a:lnTo>
                    <a:pt x="2" y="1"/>
                  </a:lnTo>
                  <a:lnTo>
                    <a:pt x="2" y="1"/>
                  </a:lnTo>
                  <a:lnTo>
                    <a:pt x="0" y="1"/>
                  </a:lnTo>
                  <a:lnTo>
                    <a:pt x="0" y="1"/>
                  </a:lnTo>
                  <a:lnTo>
                    <a:pt x="0" y="1"/>
                  </a:lnTo>
                  <a:lnTo>
                    <a:pt x="0" y="1"/>
                  </a:lnTo>
                  <a:lnTo>
                    <a:pt x="0" y="1"/>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90" name="Freeform 1154">
              <a:extLst>
                <a:ext uri="{FF2B5EF4-FFF2-40B4-BE49-F238E27FC236}">
                  <a16:creationId xmlns:a16="http://schemas.microsoft.com/office/drawing/2014/main" id="{1DE66B48-AD38-4509-B51F-8271080A7514}"/>
                </a:ext>
              </a:extLst>
            </p:cNvPr>
            <p:cNvSpPr>
              <a:spLocks/>
            </p:cNvSpPr>
            <p:nvPr/>
          </p:nvSpPr>
          <p:spPr bwMode="auto">
            <a:xfrm>
              <a:off x="6126945" y="2085156"/>
              <a:ext cx="1336" cy="2671"/>
            </a:xfrm>
            <a:custGeom>
              <a:avLst/>
              <a:gdLst>
                <a:gd name="T0" fmla="*/ 1 w 1"/>
                <a:gd name="T1" fmla="*/ 2 h 2"/>
                <a:gd name="T2" fmla="*/ 0 w 1"/>
                <a:gd name="T3" fmla="*/ 2 h 2"/>
                <a:gd name="T4" fmla="*/ 0 w 1"/>
                <a:gd name="T5" fmla="*/ 2 h 2"/>
                <a:gd name="T6" fmla="*/ 0 w 1"/>
                <a:gd name="T7" fmla="*/ 2 h 2"/>
                <a:gd name="T8" fmla="*/ 1 w 1"/>
                <a:gd name="T9" fmla="*/ 0 h 2"/>
                <a:gd name="T10" fmla="*/ 1 w 1"/>
                <a:gd name="T11" fmla="*/ 0 h 2"/>
                <a:gd name="T12" fmla="*/ 1 w 1"/>
                <a:gd name="T13" fmla="*/ 0 h 2"/>
                <a:gd name="T14" fmla="*/ 1 w 1"/>
                <a:gd name="T15" fmla="*/ 0 h 2"/>
                <a:gd name="T16" fmla="*/ 1 w 1"/>
                <a:gd name="T17" fmla="*/ 0 h 2"/>
                <a:gd name="T18" fmla="*/ 1 w 1"/>
                <a:gd name="T19" fmla="*/ 2 h 2"/>
                <a:gd name="T20" fmla="*/ 1 w 1"/>
                <a:gd name="T21" fmla="*/ 2 h 2"/>
                <a:gd name="T22" fmla="*/ 1 w 1"/>
                <a:gd name="T2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2">
                  <a:moveTo>
                    <a:pt x="1" y="2"/>
                  </a:moveTo>
                  <a:lnTo>
                    <a:pt x="0" y="2"/>
                  </a:lnTo>
                  <a:lnTo>
                    <a:pt x="0" y="2"/>
                  </a:lnTo>
                  <a:lnTo>
                    <a:pt x="0" y="2"/>
                  </a:lnTo>
                  <a:lnTo>
                    <a:pt x="1" y="0"/>
                  </a:lnTo>
                  <a:lnTo>
                    <a:pt x="1" y="0"/>
                  </a:lnTo>
                  <a:lnTo>
                    <a:pt x="1" y="0"/>
                  </a:lnTo>
                  <a:lnTo>
                    <a:pt x="1" y="0"/>
                  </a:lnTo>
                  <a:lnTo>
                    <a:pt x="1" y="0"/>
                  </a:lnTo>
                  <a:lnTo>
                    <a:pt x="1" y="2"/>
                  </a:lnTo>
                  <a:lnTo>
                    <a:pt x="1" y="2"/>
                  </a:lnTo>
                  <a:lnTo>
                    <a:pt x="1"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91" name="Freeform 1155">
              <a:extLst>
                <a:ext uri="{FF2B5EF4-FFF2-40B4-BE49-F238E27FC236}">
                  <a16:creationId xmlns:a16="http://schemas.microsoft.com/office/drawing/2014/main" id="{E39A9EB9-FE66-4600-9B37-E2D279A7D565}"/>
                </a:ext>
              </a:extLst>
            </p:cNvPr>
            <p:cNvSpPr>
              <a:spLocks/>
            </p:cNvSpPr>
            <p:nvPr/>
          </p:nvSpPr>
          <p:spPr bwMode="auto">
            <a:xfrm>
              <a:off x="6120267" y="2085156"/>
              <a:ext cx="2671" cy="2671"/>
            </a:xfrm>
            <a:custGeom>
              <a:avLst/>
              <a:gdLst>
                <a:gd name="T0" fmla="*/ 2 w 2"/>
                <a:gd name="T1" fmla="*/ 2 h 2"/>
                <a:gd name="T2" fmla="*/ 2 w 2"/>
                <a:gd name="T3" fmla="*/ 2 h 2"/>
                <a:gd name="T4" fmla="*/ 2 w 2"/>
                <a:gd name="T5" fmla="*/ 2 h 2"/>
                <a:gd name="T6" fmla="*/ 0 w 2"/>
                <a:gd name="T7" fmla="*/ 0 h 2"/>
                <a:gd name="T8" fmla="*/ 0 w 2"/>
                <a:gd name="T9" fmla="*/ 0 h 2"/>
                <a:gd name="T10" fmla="*/ 0 w 2"/>
                <a:gd name="T11" fmla="*/ 0 h 2"/>
                <a:gd name="T12" fmla="*/ 0 w 2"/>
                <a:gd name="T13" fmla="*/ 0 h 2"/>
                <a:gd name="T14" fmla="*/ 0 w 2"/>
                <a:gd name="T15" fmla="*/ 0 h 2"/>
                <a:gd name="T16" fmla="*/ 0 w 2"/>
                <a:gd name="T17" fmla="*/ 0 h 2"/>
                <a:gd name="T18" fmla="*/ 0 w 2"/>
                <a:gd name="T19" fmla="*/ 0 h 2"/>
                <a:gd name="T20" fmla="*/ 0 w 2"/>
                <a:gd name="T21" fmla="*/ 0 h 2"/>
                <a:gd name="T22" fmla="*/ 2 w 2"/>
                <a:gd name="T23" fmla="*/ 0 h 2"/>
                <a:gd name="T24" fmla="*/ 2 w 2"/>
                <a:gd name="T25" fmla="*/ 0 h 2"/>
                <a:gd name="T26" fmla="*/ 2 w 2"/>
                <a:gd name="T2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2">
                  <a:moveTo>
                    <a:pt x="2" y="2"/>
                  </a:moveTo>
                  <a:lnTo>
                    <a:pt x="2" y="2"/>
                  </a:lnTo>
                  <a:lnTo>
                    <a:pt x="2" y="2"/>
                  </a:lnTo>
                  <a:lnTo>
                    <a:pt x="0" y="0"/>
                  </a:lnTo>
                  <a:lnTo>
                    <a:pt x="0" y="0"/>
                  </a:lnTo>
                  <a:lnTo>
                    <a:pt x="0" y="0"/>
                  </a:lnTo>
                  <a:lnTo>
                    <a:pt x="0" y="0"/>
                  </a:lnTo>
                  <a:lnTo>
                    <a:pt x="0" y="0"/>
                  </a:lnTo>
                  <a:lnTo>
                    <a:pt x="0" y="0"/>
                  </a:lnTo>
                  <a:lnTo>
                    <a:pt x="0" y="0"/>
                  </a:lnTo>
                  <a:lnTo>
                    <a:pt x="0" y="0"/>
                  </a:lnTo>
                  <a:lnTo>
                    <a:pt x="2" y="0"/>
                  </a:lnTo>
                  <a:lnTo>
                    <a:pt x="2" y="0"/>
                  </a:lnTo>
                  <a:lnTo>
                    <a:pt x="2"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92" name="Freeform 1156">
              <a:extLst>
                <a:ext uri="{FF2B5EF4-FFF2-40B4-BE49-F238E27FC236}">
                  <a16:creationId xmlns:a16="http://schemas.microsoft.com/office/drawing/2014/main" id="{E92512EF-33DC-43C5-9A4D-ADAF790F9BC8}"/>
                </a:ext>
              </a:extLst>
            </p:cNvPr>
            <p:cNvSpPr>
              <a:spLocks/>
            </p:cNvSpPr>
            <p:nvPr/>
          </p:nvSpPr>
          <p:spPr bwMode="auto">
            <a:xfrm>
              <a:off x="6122938" y="2085156"/>
              <a:ext cx="1336" cy="2671"/>
            </a:xfrm>
            <a:custGeom>
              <a:avLst/>
              <a:gdLst>
                <a:gd name="T0" fmla="*/ 1 w 1"/>
                <a:gd name="T1" fmla="*/ 0 h 2"/>
                <a:gd name="T2" fmla="*/ 1 w 1"/>
                <a:gd name="T3" fmla="*/ 0 h 2"/>
                <a:gd name="T4" fmla="*/ 1 w 1"/>
                <a:gd name="T5" fmla="*/ 0 h 2"/>
                <a:gd name="T6" fmla="*/ 1 w 1"/>
                <a:gd name="T7" fmla="*/ 0 h 2"/>
                <a:gd name="T8" fmla="*/ 1 w 1"/>
                <a:gd name="T9" fmla="*/ 0 h 2"/>
                <a:gd name="T10" fmla="*/ 1 w 1"/>
                <a:gd name="T11" fmla="*/ 0 h 2"/>
                <a:gd name="T12" fmla="*/ 1 w 1"/>
                <a:gd name="T13" fmla="*/ 0 h 2"/>
                <a:gd name="T14" fmla="*/ 1 w 1"/>
                <a:gd name="T15" fmla="*/ 0 h 2"/>
                <a:gd name="T16" fmla="*/ 1 w 1"/>
                <a:gd name="T17" fmla="*/ 0 h 2"/>
                <a:gd name="T18" fmla="*/ 1 w 1"/>
                <a:gd name="T19" fmla="*/ 0 h 2"/>
                <a:gd name="T20" fmla="*/ 1 w 1"/>
                <a:gd name="T21" fmla="*/ 0 h 2"/>
                <a:gd name="T22" fmla="*/ 1 w 1"/>
                <a:gd name="T23" fmla="*/ 2 h 2"/>
                <a:gd name="T24" fmla="*/ 1 w 1"/>
                <a:gd name="T25" fmla="*/ 2 h 2"/>
                <a:gd name="T26" fmla="*/ 1 w 1"/>
                <a:gd name="T27" fmla="*/ 2 h 2"/>
                <a:gd name="T28" fmla="*/ 1 w 1"/>
                <a:gd name="T29" fmla="*/ 2 h 2"/>
                <a:gd name="T30" fmla="*/ 1 w 1"/>
                <a:gd name="T31" fmla="*/ 0 h 2"/>
                <a:gd name="T32" fmla="*/ 0 w 1"/>
                <a:gd name="T33" fmla="*/ 0 h 2"/>
                <a:gd name="T34" fmla="*/ 0 w 1"/>
                <a:gd name="T35" fmla="*/ 0 h 2"/>
                <a:gd name="T36" fmla="*/ 0 w 1"/>
                <a:gd name="T37" fmla="*/ 0 h 2"/>
                <a:gd name="T38" fmla="*/ 0 w 1"/>
                <a:gd name="T39" fmla="*/ 0 h 2"/>
                <a:gd name="T40" fmla="*/ 0 w 1"/>
                <a:gd name="T41" fmla="*/ 0 h 2"/>
                <a:gd name="T42" fmla="*/ 0 w 1"/>
                <a:gd name="T43" fmla="*/ 0 h 2"/>
                <a:gd name="T44" fmla="*/ 0 w 1"/>
                <a:gd name="T45" fmla="*/ 0 h 2"/>
                <a:gd name="T46" fmla="*/ 0 w 1"/>
                <a:gd name="T47" fmla="*/ 0 h 2"/>
                <a:gd name="T48" fmla="*/ 0 w 1"/>
                <a:gd name="T49" fmla="*/ 0 h 2"/>
                <a:gd name="T50" fmla="*/ 1 w 1"/>
                <a:gd name="T51" fmla="*/ 0 h 2"/>
                <a:gd name="T52" fmla="*/ 1 w 1"/>
                <a:gd name="T5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 h="2">
                  <a:moveTo>
                    <a:pt x="1" y="0"/>
                  </a:moveTo>
                  <a:lnTo>
                    <a:pt x="1" y="0"/>
                  </a:lnTo>
                  <a:lnTo>
                    <a:pt x="1" y="0"/>
                  </a:lnTo>
                  <a:lnTo>
                    <a:pt x="1" y="0"/>
                  </a:lnTo>
                  <a:lnTo>
                    <a:pt x="1" y="0"/>
                  </a:lnTo>
                  <a:lnTo>
                    <a:pt x="1" y="0"/>
                  </a:lnTo>
                  <a:lnTo>
                    <a:pt x="1" y="0"/>
                  </a:lnTo>
                  <a:lnTo>
                    <a:pt x="1" y="0"/>
                  </a:lnTo>
                  <a:lnTo>
                    <a:pt x="1" y="0"/>
                  </a:lnTo>
                  <a:lnTo>
                    <a:pt x="1" y="0"/>
                  </a:lnTo>
                  <a:lnTo>
                    <a:pt x="1" y="0"/>
                  </a:lnTo>
                  <a:lnTo>
                    <a:pt x="1" y="2"/>
                  </a:lnTo>
                  <a:lnTo>
                    <a:pt x="1" y="2"/>
                  </a:lnTo>
                  <a:lnTo>
                    <a:pt x="1" y="2"/>
                  </a:lnTo>
                  <a:lnTo>
                    <a:pt x="1" y="2"/>
                  </a:lnTo>
                  <a:lnTo>
                    <a:pt x="1" y="0"/>
                  </a:lnTo>
                  <a:lnTo>
                    <a:pt x="0" y="0"/>
                  </a:lnTo>
                  <a:lnTo>
                    <a:pt x="0" y="0"/>
                  </a:lnTo>
                  <a:lnTo>
                    <a:pt x="0" y="0"/>
                  </a:lnTo>
                  <a:lnTo>
                    <a:pt x="0" y="0"/>
                  </a:lnTo>
                  <a:lnTo>
                    <a:pt x="0" y="0"/>
                  </a:lnTo>
                  <a:lnTo>
                    <a:pt x="0" y="0"/>
                  </a:lnTo>
                  <a:lnTo>
                    <a:pt x="0" y="0"/>
                  </a:lnTo>
                  <a:lnTo>
                    <a:pt x="0" y="0"/>
                  </a:lnTo>
                  <a:lnTo>
                    <a:pt x="0"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93" name="Freeform 1157">
              <a:extLst>
                <a:ext uri="{FF2B5EF4-FFF2-40B4-BE49-F238E27FC236}">
                  <a16:creationId xmlns:a16="http://schemas.microsoft.com/office/drawing/2014/main" id="{606768DC-9A63-4FF0-87C5-E7AD53F5F8A9}"/>
                </a:ext>
              </a:extLst>
            </p:cNvPr>
            <p:cNvSpPr>
              <a:spLocks/>
            </p:cNvSpPr>
            <p:nvPr/>
          </p:nvSpPr>
          <p:spPr bwMode="auto">
            <a:xfrm>
              <a:off x="6120267" y="2083821"/>
              <a:ext cx="2671" cy="1336"/>
            </a:xfrm>
            <a:custGeom>
              <a:avLst/>
              <a:gdLst>
                <a:gd name="T0" fmla="*/ 2 w 2"/>
                <a:gd name="T1" fmla="*/ 1 h 1"/>
                <a:gd name="T2" fmla="*/ 0 w 2"/>
                <a:gd name="T3" fmla="*/ 1 h 1"/>
                <a:gd name="T4" fmla="*/ 0 w 2"/>
                <a:gd name="T5" fmla="*/ 0 h 1"/>
                <a:gd name="T6" fmla="*/ 0 w 2"/>
                <a:gd name="T7" fmla="*/ 0 h 1"/>
                <a:gd name="T8" fmla="*/ 0 w 2"/>
                <a:gd name="T9" fmla="*/ 0 h 1"/>
                <a:gd name="T10" fmla="*/ 0 w 2"/>
                <a:gd name="T11" fmla="*/ 0 h 1"/>
                <a:gd name="T12" fmla="*/ 0 w 2"/>
                <a:gd name="T13" fmla="*/ 0 h 1"/>
                <a:gd name="T14" fmla="*/ 0 w 2"/>
                <a:gd name="T15" fmla="*/ 0 h 1"/>
                <a:gd name="T16" fmla="*/ 0 w 2"/>
                <a:gd name="T17" fmla="*/ 0 h 1"/>
                <a:gd name="T18" fmla="*/ 0 w 2"/>
                <a:gd name="T19" fmla="*/ 0 h 1"/>
                <a:gd name="T20" fmla="*/ 0 w 2"/>
                <a:gd name="T21" fmla="*/ 0 h 1"/>
                <a:gd name="T22" fmla="*/ 0 w 2"/>
                <a:gd name="T23" fmla="*/ 0 h 1"/>
                <a:gd name="T24" fmla="*/ 0 w 2"/>
                <a:gd name="T25" fmla="*/ 0 h 1"/>
                <a:gd name="T26" fmla="*/ 0 w 2"/>
                <a:gd name="T27" fmla="*/ 0 h 1"/>
                <a:gd name="T28" fmla="*/ 0 w 2"/>
                <a:gd name="T29" fmla="*/ 0 h 1"/>
                <a:gd name="T30" fmla="*/ 0 w 2"/>
                <a:gd name="T31" fmla="*/ 0 h 1"/>
                <a:gd name="T32" fmla="*/ 0 w 2"/>
                <a:gd name="T33" fmla="*/ 0 h 1"/>
                <a:gd name="T34" fmla="*/ 0 w 2"/>
                <a:gd name="T35" fmla="*/ 0 h 1"/>
                <a:gd name="T36" fmla="*/ 0 w 2"/>
                <a:gd name="T37" fmla="*/ 0 h 1"/>
                <a:gd name="T38" fmla="*/ 0 w 2"/>
                <a:gd name="T39" fmla="*/ 0 h 1"/>
                <a:gd name="T40" fmla="*/ 0 w 2"/>
                <a:gd name="T41" fmla="*/ 0 h 1"/>
                <a:gd name="T42" fmla="*/ 0 w 2"/>
                <a:gd name="T43" fmla="*/ 0 h 1"/>
                <a:gd name="T44" fmla="*/ 2 w 2"/>
                <a:gd name="T45" fmla="*/ 0 h 1"/>
                <a:gd name="T46" fmla="*/ 2 w 2"/>
                <a:gd name="T4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 h="1">
                  <a:moveTo>
                    <a:pt x="2" y="1"/>
                  </a:move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94" name="Freeform 1158">
              <a:extLst>
                <a:ext uri="{FF2B5EF4-FFF2-40B4-BE49-F238E27FC236}">
                  <a16:creationId xmlns:a16="http://schemas.microsoft.com/office/drawing/2014/main" id="{6B3C4C16-5CA4-4DED-AFA6-7E763E7B0F5E}"/>
                </a:ext>
              </a:extLst>
            </p:cNvPr>
            <p:cNvSpPr>
              <a:spLocks/>
            </p:cNvSpPr>
            <p:nvPr/>
          </p:nvSpPr>
          <p:spPr bwMode="auto">
            <a:xfrm>
              <a:off x="6118932" y="2079815"/>
              <a:ext cx="1336" cy="0"/>
            </a:xfrm>
            <a:custGeom>
              <a:avLst/>
              <a:gdLst>
                <a:gd name="T0" fmla="*/ 0 w 1"/>
                <a:gd name="T1" fmla="*/ 0 w 1"/>
                <a:gd name="T2" fmla="*/ 0 w 1"/>
                <a:gd name="T3" fmla="*/ 0 w 1"/>
                <a:gd name="T4" fmla="*/ 1 w 1"/>
                <a:gd name="T5" fmla="*/ 1 w 1"/>
                <a:gd name="T6" fmla="*/ 1 w 1"/>
                <a:gd name="T7" fmla="*/ 1 w 1"/>
                <a:gd name="T8" fmla="*/ 1 w 1"/>
                <a:gd name="T9" fmla="*/ 1 w 1"/>
                <a:gd name="T10" fmla="*/ 1 w 1"/>
                <a:gd name="T11" fmla="*/ 0 w 1"/>
                <a:gd name="T12" fmla="*/ 0 w 1"/>
                <a:gd name="T13" fmla="*/ 0 w 1"/>
                <a:gd name="T14" fmla="*/ 0 w 1"/>
                <a:gd name="T15" fmla="*/ 0 w 1"/>
                <a:gd name="T16" fmla="*/ 0 w 1"/>
                <a:gd name="T17" fmla="*/ 0 w 1"/>
                <a:gd name="T18" fmla="*/ 0 w 1"/>
                <a:gd name="T19" fmla="*/ 0 w 1"/>
                <a:gd name="T20"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Lst>
              <a:rect l="0" t="0" r="r" b="b"/>
              <a:pathLst>
                <a:path w="1">
                  <a:moveTo>
                    <a:pt x="0" y="0"/>
                  </a:moveTo>
                  <a:lnTo>
                    <a:pt x="0" y="0"/>
                  </a:lnTo>
                  <a:lnTo>
                    <a:pt x="0" y="0"/>
                  </a:lnTo>
                  <a:lnTo>
                    <a:pt x="0" y="0"/>
                  </a:lnTo>
                  <a:lnTo>
                    <a:pt x="1" y="0"/>
                  </a:lnTo>
                  <a:lnTo>
                    <a:pt x="1" y="0"/>
                  </a:lnTo>
                  <a:lnTo>
                    <a:pt x="1" y="0"/>
                  </a:lnTo>
                  <a:lnTo>
                    <a:pt x="1" y="0"/>
                  </a:lnTo>
                  <a:lnTo>
                    <a:pt x="1" y="0"/>
                  </a:lnTo>
                  <a:lnTo>
                    <a:pt x="1" y="0"/>
                  </a:lnTo>
                  <a:lnTo>
                    <a:pt x="1"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95" name="Freeform 1159">
              <a:extLst>
                <a:ext uri="{FF2B5EF4-FFF2-40B4-BE49-F238E27FC236}">
                  <a16:creationId xmlns:a16="http://schemas.microsoft.com/office/drawing/2014/main" id="{C770D470-A25E-4C9C-B431-5EF17F178329}"/>
                </a:ext>
              </a:extLst>
            </p:cNvPr>
            <p:cNvSpPr>
              <a:spLocks/>
            </p:cNvSpPr>
            <p:nvPr/>
          </p:nvSpPr>
          <p:spPr bwMode="auto">
            <a:xfrm>
              <a:off x="6118932" y="2078479"/>
              <a:ext cx="4007" cy="1336"/>
            </a:xfrm>
            <a:custGeom>
              <a:avLst/>
              <a:gdLst>
                <a:gd name="T0" fmla="*/ 1 w 3"/>
                <a:gd name="T1" fmla="*/ 1 h 1"/>
                <a:gd name="T2" fmla="*/ 1 w 3"/>
                <a:gd name="T3" fmla="*/ 1 h 1"/>
                <a:gd name="T4" fmla="*/ 1 w 3"/>
                <a:gd name="T5" fmla="*/ 1 h 1"/>
                <a:gd name="T6" fmla="*/ 1 w 3"/>
                <a:gd name="T7" fmla="*/ 1 h 1"/>
                <a:gd name="T8" fmla="*/ 1 w 3"/>
                <a:gd name="T9" fmla="*/ 1 h 1"/>
                <a:gd name="T10" fmla="*/ 0 w 3"/>
                <a:gd name="T11" fmla="*/ 1 h 1"/>
                <a:gd name="T12" fmla="*/ 0 w 3"/>
                <a:gd name="T13" fmla="*/ 1 h 1"/>
                <a:gd name="T14" fmla="*/ 0 w 3"/>
                <a:gd name="T15" fmla="*/ 1 h 1"/>
                <a:gd name="T16" fmla="*/ 0 w 3"/>
                <a:gd name="T17" fmla="*/ 0 h 1"/>
                <a:gd name="T18" fmla="*/ 1 w 3"/>
                <a:gd name="T19" fmla="*/ 1 h 1"/>
                <a:gd name="T20" fmla="*/ 1 w 3"/>
                <a:gd name="T21" fmla="*/ 0 h 1"/>
                <a:gd name="T22" fmla="*/ 1 w 3"/>
                <a:gd name="T23" fmla="*/ 0 h 1"/>
                <a:gd name="T24" fmla="*/ 1 w 3"/>
                <a:gd name="T25" fmla="*/ 0 h 1"/>
                <a:gd name="T26" fmla="*/ 1 w 3"/>
                <a:gd name="T27" fmla="*/ 0 h 1"/>
                <a:gd name="T28" fmla="*/ 1 w 3"/>
                <a:gd name="T29" fmla="*/ 0 h 1"/>
                <a:gd name="T30" fmla="*/ 1 w 3"/>
                <a:gd name="T31" fmla="*/ 0 h 1"/>
                <a:gd name="T32" fmla="*/ 1 w 3"/>
                <a:gd name="T33" fmla="*/ 0 h 1"/>
                <a:gd name="T34" fmla="*/ 1 w 3"/>
                <a:gd name="T35" fmla="*/ 0 h 1"/>
                <a:gd name="T36" fmla="*/ 1 w 3"/>
                <a:gd name="T37" fmla="*/ 0 h 1"/>
                <a:gd name="T38" fmla="*/ 0 w 3"/>
                <a:gd name="T39" fmla="*/ 0 h 1"/>
                <a:gd name="T40" fmla="*/ 0 w 3"/>
                <a:gd name="T41" fmla="*/ 0 h 1"/>
                <a:gd name="T42" fmla="*/ 1 w 3"/>
                <a:gd name="T43" fmla="*/ 0 h 1"/>
                <a:gd name="T44" fmla="*/ 1 w 3"/>
                <a:gd name="T45" fmla="*/ 0 h 1"/>
                <a:gd name="T46" fmla="*/ 1 w 3"/>
                <a:gd name="T47" fmla="*/ 0 h 1"/>
                <a:gd name="T48" fmla="*/ 1 w 3"/>
                <a:gd name="T49" fmla="*/ 0 h 1"/>
                <a:gd name="T50" fmla="*/ 1 w 3"/>
                <a:gd name="T51" fmla="*/ 0 h 1"/>
                <a:gd name="T52" fmla="*/ 3 w 3"/>
                <a:gd name="T53" fmla="*/ 0 h 1"/>
                <a:gd name="T54" fmla="*/ 1 w 3"/>
                <a:gd name="T55" fmla="*/ 0 h 1"/>
                <a:gd name="T56" fmla="*/ 1 w 3"/>
                <a:gd name="T57" fmla="*/ 0 h 1"/>
                <a:gd name="T58" fmla="*/ 1 w 3"/>
                <a:gd name="T59" fmla="*/ 0 h 1"/>
                <a:gd name="T60" fmla="*/ 1 w 3"/>
                <a:gd name="T6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 h="1">
                  <a:moveTo>
                    <a:pt x="1" y="1"/>
                  </a:moveTo>
                  <a:lnTo>
                    <a:pt x="1" y="1"/>
                  </a:lnTo>
                  <a:lnTo>
                    <a:pt x="1" y="1"/>
                  </a:lnTo>
                  <a:lnTo>
                    <a:pt x="1" y="1"/>
                  </a:lnTo>
                  <a:lnTo>
                    <a:pt x="1" y="1"/>
                  </a:lnTo>
                  <a:lnTo>
                    <a:pt x="0" y="1"/>
                  </a:lnTo>
                  <a:lnTo>
                    <a:pt x="0" y="1"/>
                  </a:lnTo>
                  <a:lnTo>
                    <a:pt x="0" y="1"/>
                  </a:lnTo>
                  <a:lnTo>
                    <a:pt x="0" y="0"/>
                  </a:lnTo>
                  <a:lnTo>
                    <a:pt x="1" y="1"/>
                  </a:lnTo>
                  <a:lnTo>
                    <a:pt x="1" y="0"/>
                  </a:lnTo>
                  <a:lnTo>
                    <a:pt x="1" y="0"/>
                  </a:lnTo>
                  <a:lnTo>
                    <a:pt x="1" y="0"/>
                  </a:lnTo>
                  <a:lnTo>
                    <a:pt x="1" y="0"/>
                  </a:lnTo>
                  <a:lnTo>
                    <a:pt x="1" y="0"/>
                  </a:lnTo>
                  <a:lnTo>
                    <a:pt x="1" y="0"/>
                  </a:lnTo>
                  <a:lnTo>
                    <a:pt x="1" y="0"/>
                  </a:lnTo>
                  <a:lnTo>
                    <a:pt x="1" y="0"/>
                  </a:lnTo>
                  <a:lnTo>
                    <a:pt x="1" y="0"/>
                  </a:lnTo>
                  <a:lnTo>
                    <a:pt x="0" y="0"/>
                  </a:lnTo>
                  <a:lnTo>
                    <a:pt x="0" y="0"/>
                  </a:lnTo>
                  <a:lnTo>
                    <a:pt x="1" y="0"/>
                  </a:lnTo>
                  <a:lnTo>
                    <a:pt x="1" y="0"/>
                  </a:lnTo>
                  <a:lnTo>
                    <a:pt x="1" y="0"/>
                  </a:lnTo>
                  <a:lnTo>
                    <a:pt x="1" y="0"/>
                  </a:lnTo>
                  <a:lnTo>
                    <a:pt x="1" y="0"/>
                  </a:lnTo>
                  <a:lnTo>
                    <a:pt x="3" y="0"/>
                  </a:lnTo>
                  <a:lnTo>
                    <a:pt x="1" y="0"/>
                  </a:lnTo>
                  <a:lnTo>
                    <a:pt x="1" y="0"/>
                  </a:lnTo>
                  <a:lnTo>
                    <a:pt x="1" y="0"/>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96" name="Freeform 1160">
              <a:extLst>
                <a:ext uri="{FF2B5EF4-FFF2-40B4-BE49-F238E27FC236}">
                  <a16:creationId xmlns:a16="http://schemas.microsoft.com/office/drawing/2014/main" id="{2BF58A09-C763-45EB-BA0C-09CD97755217}"/>
                </a:ext>
              </a:extLst>
            </p:cNvPr>
            <p:cNvSpPr>
              <a:spLocks/>
            </p:cNvSpPr>
            <p:nvPr/>
          </p:nvSpPr>
          <p:spPr bwMode="auto">
            <a:xfrm>
              <a:off x="6120267" y="2073137"/>
              <a:ext cx="2671" cy="0"/>
            </a:xfrm>
            <a:custGeom>
              <a:avLst/>
              <a:gdLst>
                <a:gd name="T0" fmla="*/ 0 w 2"/>
                <a:gd name="T1" fmla="*/ 2 w 2"/>
                <a:gd name="T2" fmla="*/ 2 w 2"/>
                <a:gd name="T3" fmla="*/ 2 w 2"/>
                <a:gd name="T4" fmla="*/ 2 w 2"/>
                <a:gd name="T5" fmla="*/ 0 w 2"/>
                <a:gd name="T6" fmla="*/ 0 w 2"/>
                <a:gd name="T7" fmla="*/ 0 w 2"/>
                <a:gd name="T8" fmla="*/ 0 w 2"/>
                <a:gd name="T9" fmla="*/ 0 w 2"/>
                <a:gd name="T10" fmla="*/ 0 w 2"/>
                <a:gd name="T11" fmla="*/ 0 w 2"/>
                <a:gd name="T12" fmla="*/ 0 w 2"/>
                <a:gd name="T13" fmla="*/ 0 w 2"/>
                <a:gd name="T14" fmla="*/ 0 w 2"/>
                <a:gd name="T15" fmla="*/ 0 w 2"/>
                <a:gd name="T16" fmla="*/ 0 w 2"/>
                <a:gd name="T17" fmla="*/ 0 w 2"/>
                <a:gd name="T18" fmla="*/ 0 w 2"/>
                <a:gd name="T19" fmla="*/ 0 w 2"/>
                <a:gd name="T20" fmla="*/ 0 w 2"/>
                <a:gd name="T21"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Lst>
              <a:rect l="0" t="0" r="r" b="b"/>
              <a:pathLst>
                <a:path w="2">
                  <a:moveTo>
                    <a:pt x="0" y="0"/>
                  </a:moveTo>
                  <a:lnTo>
                    <a:pt x="2" y="0"/>
                  </a:ln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97" name="Freeform 1161">
              <a:extLst>
                <a:ext uri="{FF2B5EF4-FFF2-40B4-BE49-F238E27FC236}">
                  <a16:creationId xmlns:a16="http://schemas.microsoft.com/office/drawing/2014/main" id="{76DF4F81-2131-4FED-BA8F-4AE0A9907194}"/>
                </a:ext>
              </a:extLst>
            </p:cNvPr>
            <p:cNvSpPr>
              <a:spLocks/>
            </p:cNvSpPr>
            <p:nvPr/>
          </p:nvSpPr>
          <p:spPr bwMode="auto">
            <a:xfrm>
              <a:off x="6120267" y="2063789"/>
              <a:ext cx="2671" cy="1336"/>
            </a:xfrm>
            <a:custGeom>
              <a:avLst/>
              <a:gdLst>
                <a:gd name="T0" fmla="*/ 0 w 2"/>
                <a:gd name="T1" fmla="*/ 1 h 1"/>
                <a:gd name="T2" fmla="*/ 0 w 2"/>
                <a:gd name="T3" fmla="*/ 1 h 1"/>
                <a:gd name="T4" fmla="*/ 0 w 2"/>
                <a:gd name="T5" fmla="*/ 1 h 1"/>
                <a:gd name="T6" fmla="*/ 0 w 2"/>
                <a:gd name="T7" fmla="*/ 0 h 1"/>
                <a:gd name="T8" fmla="*/ 0 w 2"/>
                <a:gd name="T9" fmla="*/ 0 h 1"/>
                <a:gd name="T10" fmla="*/ 0 w 2"/>
                <a:gd name="T11" fmla="*/ 0 h 1"/>
                <a:gd name="T12" fmla="*/ 0 w 2"/>
                <a:gd name="T13" fmla="*/ 0 h 1"/>
                <a:gd name="T14" fmla="*/ 2 w 2"/>
                <a:gd name="T15" fmla="*/ 0 h 1"/>
                <a:gd name="T16" fmla="*/ 2 w 2"/>
                <a:gd name="T17" fmla="*/ 0 h 1"/>
                <a:gd name="T18" fmla="*/ 2 w 2"/>
                <a:gd name="T19" fmla="*/ 0 h 1"/>
                <a:gd name="T20" fmla="*/ 2 w 2"/>
                <a:gd name="T21" fmla="*/ 1 h 1"/>
                <a:gd name="T22" fmla="*/ 2 w 2"/>
                <a:gd name="T23" fmla="*/ 1 h 1"/>
                <a:gd name="T24" fmla="*/ 0 w 2"/>
                <a:gd name="T25" fmla="*/ 1 h 1"/>
                <a:gd name="T26" fmla="*/ 0 w 2"/>
                <a:gd name="T2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1">
                  <a:moveTo>
                    <a:pt x="0" y="1"/>
                  </a:moveTo>
                  <a:lnTo>
                    <a:pt x="0" y="1"/>
                  </a:lnTo>
                  <a:lnTo>
                    <a:pt x="0" y="1"/>
                  </a:lnTo>
                  <a:lnTo>
                    <a:pt x="0" y="0"/>
                  </a:lnTo>
                  <a:lnTo>
                    <a:pt x="0" y="0"/>
                  </a:lnTo>
                  <a:lnTo>
                    <a:pt x="0" y="0"/>
                  </a:lnTo>
                  <a:lnTo>
                    <a:pt x="0" y="0"/>
                  </a:lnTo>
                  <a:lnTo>
                    <a:pt x="2" y="0"/>
                  </a:lnTo>
                  <a:lnTo>
                    <a:pt x="2" y="0"/>
                  </a:lnTo>
                  <a:lnTo>
                    <a:pt x="2" y="0"/>
                  </a:lnTo>
                  <a:lnTo>
                    <a:pt x="2" y="1"/>
                  </a:lnTo>
                  <a:lnTo>
                    <a:pt x="2" y="1"/>
                  </a:lnTo>
                  <a:lnTo>
                    <a:pt x="0" y="1"/>
                  </a:lnTo>
                  <a:lnTo>
                    <a:pt x="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98" name="Freeform 1162">
              <a:extLst>
                <a:ext uri="{FF2B5EF4-FFF2-40B4-BE49-F238E27FC236}">
                  <a16:creationId xmlns:a16="http://schemas.microsoft.com/office/drawing/2014/main" id="{C03024B5-7A23-4DC2-902E-2365A4C339C2}"/>
                </a:ext>
              </a:extLst>
            </p:cNvPr>
            <p:cNvSpPr>
              <a:spLocks/>
            </p:cNvSpPr>
            <p:nvPr/>
          </p:nvSpPr>
          <p:spPr bwMode="auto">
            <a:xfrm>
              <a:off x="6110919" y="2038414"/>
              <a:ext cx="2671" cy="0"/>
            </a:xfrm>
            <a:custGeom>
              <a:avLst/>
              <a:gdLst>
                <a:gd name="T0" fmla="*/ 2 w 2"/>
                <a:gd name="T1" fmla="*/ 2 w 2"/>
                <a:gd name="T2" fmla="*/ 2 w 2"/>
                <a:gd name="T3" fmla="*/ 2 w 2"/>
                <a:gd name="T4" fmla="*/ 2 w 2"/>
                <a:gd name="T5" fmla="*/ 2 w 2"/>
                <a:gd name="T6" fmla="*/ 2 w 2"/>
                <a:gd name="T7" fmla="*/ 2 w 2"/>
                <a:gd name="T8" fmla="*/ 0 w 2"/>
                <a:gd name="T9" fmla="*/ 0 w 2"/>
                <a:gd name="T10" fmla="*/ 0 w 2"/>
                <a:gd name="T11" fmla="*/ 0 w 2"/>
                <a:gd name="T12" fmla="*/ 0 w 2"/>
                <a:gd name="T13" fmla="*/ 0 w 2"/>
                <a:gd name="T14" fmla="*/ 0 w 2"/>
                <a:gd name="T15" fmla="*/ 2 w 2"/>
                <a:gd name="T16" fmla="*/ 0 w 2"/>
                <a:gd name="T17" fmla="*/ 0 w 2"/>
                <a:gd name="T18" fmla="*/ 0 w 2"/>
                <a:gd name="T19" fmla="*/ 0 w 2"/>
                <a:gd name="T20" fmla="*/ 0 w 2"/>
                <a:gd name="T21" fmla="*/ 0 w 2"/>
                <a:gd name="T22" fmla="*/ 0 w 2"/>
                <a:gd name="T23" fmla="*/ 0 w 2"/>
                <a:gd name="T24" fmla="*/ 0 w 2"/>
                <a:gd name="T25" fmla="*/ 2 w 2"/>
                <a:gd name="T26" fmla="*/ 2 w 2"/>
                <a:gd name="T27" fmla="*/ 2 w 2"/>
                <a:gd name="T2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Lst>
              <a:rect l="0" t="0" r="r" b="b"/>
              <a:pathLst>
                <a:path w="2">
                  <a:moveTo>
                    <a:pt x="2" y="0"/>
                  </a:moveTo>
                  <a:lnTo>
                    <a:pt x="2" y="0"/>
                  </a:lnTo>
                  <a:lnTo>
                    <a:pt x="2" y="0"/>
                  </a:lnTo>
                  <a:lnTo>
                    <a:pt x="2" y="0"/>
                  </a:lnTo>
                  <a:lnTo>
                    <a:pt x="2" y="0"/>
                  </a:lnTo>
                  <a:lnTo>
                    <a:pt x="2" y="0"/>
                  </a:lnTo>
                  <a:lnTo>
                    <a:pt x="2" y="0"/>
                  </a:lnTo>
                  <a:lnTo>
                    <a:pt x="2" y="0"/>
                  </a:lnTo>
                  <a:lnTo>
                    <a:pt x="0" y="0"/>
                  </a:lnTo>
                  <a:lnTo>
                    <a:pt x="0" y="0"/>
                  </a:lnTo>
                  <a:lnTo>
                    <a:pt x="0" y="0"/>
                  </a:lnTo>
                  <a:lnTo>
                    <a:pt x="0" y="0"/>
                  </a:lnTo>
                  <a:lnTo>
                    <a:pt x="0" y="0"/>
                  </a:lnTo>
                  <a:lnTo>
                    <a:pt x="0" y="0"/>
                  </a:lnTo>
                  <a:lnTo>
                    <a:pt x="0" y="0"/>
                  </a:lnTo>
                  <a:lnTo>
                    <a:pt x="2"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399" name="Freeform 1163">
              <a:extLst>
                <a:ext uri="{FF2B5EF4-FFF2-40B4-BE49-F238E27FC236}">
                  <a16:creationId xmlns:a16="http://schemas.microsoft.com/office/drawing/2014/main" id="{BBB5DE70-963B-4507-8D5A-BE4C48401CD1}"/>
                </a:ext>
              </a:extLst>
            </p:cNvPr>
            <p:cNvSpPr>
              <a:spLocks/>
            </p:cNvSpPr>
            <p:nvPr/>
          </p:nvSpPr>
          <p:spPr bwMode="auto">
            <a:xfrm>
              <a:off x="6109583" y="2033072"/>
              <a:ext cx="6678" cy="2671"/>
            </a:xfrm>
            <a:custGeom>
              <a:avLst/>
              <a:gdLst>
                <a:gd name="T0" fmla="*/ 0 w 5"/>
                <a:gd name="T1" fmla="*/ 0 h 2"/>
                <a:gd name="T2" fmla="*/ 1 w 5"/>
                <a:gd name="T3" fmla="*/ 0 h 2"/>
                <a:gd name="T4" fmla="*/ 1 w 5"/>
                <a:gd name="T5" fmla="*/ 0 h 2"/>
                <a:gd name="T6" fmla="*/ 1 w 5"/>
                <a:gd name="T7" fmla="*/ 0 h 2"/>
                <a:gd name="T8" fmla="*/ 3 w 5"/>
                <a:gd name="T9" fmla="*/ 0 h 2"/>
                <a:gd name="T10" fmla="*/ 3 w 5"/>
                <a:gd name="T11" fmla="*/ 0 h 2"/>
                <a:gd name="T12" fmla="*/ 3 w 5"/>
                <a:gd name="T13" fmla="*/ 0 h 2"/>
                <a:gd name="T14" fmla="*/ 1 w 5"/>
                <a:gd name="T15" fmla="*/ 1 h 2"/>
                <a:gd name="T16" fmla="*/ 1 w 5"/>
                <a:gd name="T17" fmla="*/ 1 h 2"/>
                <a:gd name="T18" fmla="*/ 1 w 5"/>
                <a:gd name="T19" fmla="*/ 1 h 2"/>
                <a:gd name="T20" fmla="*/ 1 w 5"/>
                <a:gd name="T21" fmla="*/ 1 h 2"/>
                <a:gd name="T22" fmla="*/ 1 w 5"/>
                <a:gd name="T23" fmla="*/ 1 h 2"/>
                <a:gd name="T24" fmla="*/ 1 w 5"/>
                <a:gd name="T25" fmla="*/ 1 h 2"/>
                <a:gd name="T26" fmla="*/ 1 w 5"/>
                <a:gd name="T27" fmla="*/ 1 h 2"/>
                <a:gd name="T28" fmla="*/ 3 w 5"/>
                <a:gd name="T29" fmla="*/ 1 h 2"/>
                <a:gd name="T30" fmla="*/ 3 w 5"/>
                <a:gd name="T31" fmla="*/ 1 h 2"/>
                <a:gd name="T32" fmla="*/ 3 w 5"/>
                <a:gd name="T33" fmla="*/ 1 h 2"/>
                <a:gd name="T34" fmla="*/ 3 w 5"/>
                <a:gd name="T35" fmla="*/ 1 h 2"/>
                <a:gd name="T36" fmla="*/ 3 w 5"/>
                <a:gd name="T37" fmla="*/ 1 h 2"/>
                <a:gd name="T38" fmla="*/ 3 w 5"/>
                <a:gd name="T39" fmla="*/ 1 h 2"/>
                <a:gd name="T40" fmla="*/ 3 w 5"/>
                <a:gd name="T41" fmla="*/ 1 h 2"/>
                <a:gd name="T42" fmla="*/ 3 w 5"/>
                <a:gd name="T43" fmla="*/ 1 h 2"/>
                <a:gd name="T44" fmla="*/ 3 w 5"/>
                <a:gd name="T45" fmla="*/ 1 h 2"/>
                <a:gd name="T46" fmla="*/ 3 w 5"/>
                <a:gd name="T47" fmla="*/ 1 h 2"/>
                <a:gd name="T48" fmla="*/ 4 w 5"/>
                <a:gd name="T49" fmla="*/ 1 h 2"/>
                <a:gd name="T50" fmla="*/ 4 w 5"/>
                <a:gd name="T51" fmla="*/ 1 h 2"/>
                <a:gd name="T52" fmla="*/ 4 w 5"/>
                <a:gd name="T53" fmla="*/ 1 h 2"/>
                <a:gd name="T54" fmla="*/ 4 w 5"/>
                <a:gd name="T55" fmla="*/ 1 h 2"/>
                <a:gd name="T56" fmla="*/ 4 w 5"/>
                <a:gd name="T57" fmla="*/ 1 h 2"/>
                <a:gd name="T58" fmla="*/ 4 w 5"/>
                <a:gd name="T59" fmla="*/ 1 h 2"/>
                <a:gd name="T60" fmla="*/ 5 w 5"/>
                <a:gd name="T61" fmla="*/ 1 h 2"/>
                <a:gd name="T62" fmla="*/ 4 w 5"/>
                <a:gd name="T63" fmla="*/ 1 h 2"/>
                <a:gd name="T64" fmla="*/ 4 w 5"/>
                <a:gd name="T65" fmla="*/ 1 h 2"/>
                <a:gd name="T66" fmla="*/ 4 w 5"/>
                <a:gd name="T67" fmla="*/ 1 h 2"/>
                <a:gd name="T68" fmla="*/ 4 w 5"/>
                <a:gd name="T69" fmla="*/ 1 h 2"/>
                <a:gd name="T70" fmla="*/ 4 w 5"/>
                <a:gd name="T71" fmla="*/ 1 h 2"/>
                <a:gd name="T72" fmla="*/ 3 w 5"/>
                <a:gd name="T73" fmla="*/ 2 h 2"/>
                <a:gd name="T74" fmla="*/ 3 w 5"/>
                <a:gd name="T75" fmla="*/ 2 h 2"/>
                <a:gd name="T76" fmla="*/ 3 w 5"/>
                <a:gd name="T77" fmla="*/ 2 h 2"/>
                <a:gd name="T78" fmla="*/ 4 w 5"/>
                <a:gd name="T79" fmla="*/ 2 h 2"/>
                <a:gd name="T80" fmla="*/ 3 w 5"/>
                <a:gd name="T81" fmla="*/ 2 h 2"/>
                <a:gd name="T82" fmla="*/ 3 w 5"/>
                <a:gd name="T83" fmla="*/ 2 h 2"/>
                <a:gd name="T84" fmla="*/ 3 w 5"/>
                <a:gd name="T85" fmla="*/ 2 h 2"/>
                <a:gd name="T86" fmla="*/ 3 w 5"/>
                <a:gd name="T87" fmla="*/ 2 h 2"/>
                <a:gd name="T88" fmla="*/ 3 w 5"/>
                <a:gd name="T89" fmla="*/ 2 h 2"/>
                <a:gd name="T90" fmla="*/ 3 w 5"/>
                <a:gd name="T91" fmla="*/ 2 h 2"/>
                <a:gd name="T92" fmla="*/ 1 w 5"/>
                <a:gd name="T93" fmla="*/ 1 h 2"/>
                <a:gd name="T94" fmla="*/ 1 w 5"/>
                <a:gd name="T95" fmla="*/ 1 h 2"/>
                <a:gd name="T96" fmla="*/ 1 w 5"/>
                <a:gd name="T97" fmla="*/ 2 h 2"/>
                <a:gd name="T98" fmla="*/ 1 w 5"/>
                <a:gd name="T99" fmla="*/ 2 h 2"/>
                <a:gd name="T100" fmla="*/ 1 w 5"/>
                <a:gd name="T101" fmla="*/ 1 h 2"/>
                <a:gd name="T102" fmla="*/ 1 w 5"/>
                <a:gd name="T103" fmla="*/ 1 h 2"/>
                <a:gd name="T104" fmla="*/ 1 w 5"/>
                <a:gd name="T105" fmla="*/ 1 h 2"/>
                <a:gd name="T106" fmla="*/ 1 w 5"/>
                <a:gd name="T107" fmla="*/ 1 h 2"/>
                <a:gd name="T108" fmla="*/ 1 w 5"/>
                <a:gd name="T109" fmla="*/ 1 h 2"/>
                <a:gd name="T110" fmla="*/ 0 w 5"/>
                <a:gd name="T111" fmla="*/ 1 h 2"/>
                <a:gd name="T112" fmla="*/ 0 w 5"/>
                <a:gd name="T113" fmla="*/ 1 h 2"/>
                <a:gd name="T114" fmla="*/ 0 w 5"/>
                <a:gd name="T115" fmla="*/ 0 h 2"/>
                <a:gd name="T116" fmla="*/ 0 w 5"/>
                <a:gd name="T1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 h="2">
                  <a:moveTo>
                    <a:pt x="0" y="0"/>
                  </a:moveTo>
                  <a:lnTo>
                    <a:pt x="1" y="0"/>
                  </a:lnTo>
                  <a:lnTo>
                    <a:pt x="1" y="0"/>
                  </a:lnTo>
                  <a:lnTo>
                    <a:pt x="1" y="0"/>
                  </a:lnTo>
                  <a:lnTo>
                    <a:pt x="3" y="0"/>
                  </a:lnTo>
                  <a:lnTo>
                    <a:pt x="3" y="0"/>
                  </a:lnTo>
                  <a:lnTo>
                    <a:pt x="3" y="0"/>
                  </a:lnTo>
                  <a:lnTo>
                    <a:pt x="1" y="1"/>
                  </a:lnTo>
                  <a:lnTo>
                    <a:pt x="1" y="1"/>
                  </a:lnTo>
                  <a:lnTo>
                    <a:pt x="1" y="1"/>
                  </a:lnTo>
                  <a:lnTo>
                    <a:pt x="1" y="1"/>
                  </a:lnTo>
                  <a:lnTo>
                    <a:pt x="1" y="1"/>
                  </a:lnTo>
                  <a:lnTo>
                    <a:pt x="1" y="1"/>
                  </a:lnTo>
                  <a:lnTo>
                    <a:pt x="1" y="1"/>
                  </a:lnTo>
                  <a:lnTo>
                    <a:pt x="3" y="1"/>
                  </a:lnTo>
                  <a:lnTo>
                    <a:pt x="3" y="1"/>
                  </a:lnTo>
                  <a:lnTo>
                    <a:pt x="3" y="1"/>
                  </a:lnTo>
                  <a:lnTo>
                    <a:pt x="3" y="1"/>
                  </a:lnTo>
                  <a:lnTo>
                    <a:pt x="3" y="1"/>
                  </a:lnTo>
                  <a:lnTo>
                    <a:pt x="3" y="1"/>
                  </a:lnTo>
                  <a:lnTo>
                    <a:pt x="3" y="1"/>
                  </a:lnTo>
                  <a:lnTo>
                    <a:pt x="3" y="1"/>
                  </a:lnTo>
                  <a:lnTo>
                    <a:pt x="3" y="1"/>
                  </a:lnTo>
                  <a:lnTo>
                    <a:pt x="3" y="1"/>
                  </a:lnTo>
                  <a:lnTo>
                    <a:pt x="4" y="1"/>
                  </a:lnTo>
                  <a:lnTo>
                    <a:pt x="4" y="1"/>
                  </a:lnTo>
                  <a:lnTo>
                    <a:pt x="4" y="1"/>
                  </a:lnTo>
                  <a:lnTo>
                    <a:pt x="4" y="1"/>
                  </a:lnTo>
                  <a:lnTo>
                    <a:pt x="4" y="1"/>
                  </a:lnTo>
                  <a:lnTo>
                    <a:pt x="4" y="1"/>
                  </a:lnTo>
                  <a:lnTo>
                    <a:pt x="5" y="1"/>
                  </a:lnTo>
                  <a:lnTo>
                    <a:pt x="4" y="1"/>
                  </a:lnTo>
                  <a:lnTo>
                    <a:pt x="4" y="1"/>
                  </a:lnTo>
                  <a:lnTo>
                    <a:pt x="4" y="1"/>
                  </a:lnTo>
                  <a:lnTo>
                    <a:pt x="4" y="1"/>
                  </a:lnTo>
                  <a:lnTo>
                    <a:pt x="4" y="1"/>
                  </a:lnTo>
                  <a:lnTo>
                    <a:pt x="3" y="2"/>
                  </a:lnTo>
                  <a:lnTo>
                    <a:pt x="3" y="2"/>
                  </a:lnTo>
                  <a:lnTo>
                    <a:pt x="3" y="2"/>
                  </a:lnTo>
                  <a:lnTo>
                    <a:pt x="4" y="2"/>
                  </a:lnTo>
                  <a:lnTo>
                    <a:pt x="3" y="2"/>
                  </a:lnTo>
                  <a:lnTo>
                    <a:pt x="3" y="2"/>
                  </a:lnTo>
                  <a:lnTo>
                    <a:pt x="3" y="2"/>
                  </a:lnTo>
                  <a:lnTo>
                    <a:pt x="3" y="2"/>
                  </a:lnTo>
                  <a:lnTo>
                    <a:pt x="3" y="2"/>
                  </a:lnTo>
                  <a:lnTo>
                    <a:pt x="3" y="2"/>
                  </a:lnTo>
                  <a:lnTo>
                    <a:pt x="1" y="1"/>
                  </a:lnTo>
                  <a:lnTo>
                    <a:pt x="1" y="1"/>
                  </a:lnTo>
                  <a:lnTo>
                    <a:pt x="1" y="2"/>
                  </a:lnTo>
                  <a:lnTo>
                    <a:pt x="1" y="2"/>
                  </a:lnTo>
                  <a:lnTo>
                    <a:pt x="1" y="1"/>
                  </a:lnTo>
                  <a:lnTo>
                    <a:pt x="1" y="1"/>
                  </a:lnTo>
                  <a:lnTo>
                    <a:pt x="1" y="1"/>
                  </a:lnTo>
                  <a:lnTo>
                    <a:pt x="1" y="1"/>
                  </a:lnTo>
                  <a:lnTo>
                    <a:pt x="1" y="1"/>
                  </a:lnTo>
                  <a:lnTo>
                    <a:pt x="0" y="1"/>
                  </a:lnTo>
                  <a:lnTo>
                    <a:pt x="0" y="1"/>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00" name="Freeform 1164">
              <a:extLst>
                <a:ext uri="{FF2B5EF4-FFF2-40B4-BE49-F238E27FC236}">
                  <a16:creationId xmlns:a16="http://schemas.microsoft.com/office/drawing/2014/main" id="{C49982EB-4F4D-4031-801E-F19B630AA17E}"/>
                </a:ext>
              </a:extLst>
            </p:cNvPr>
            <p:cNvSpPr>
              <a:spLocks/>
            </p:cNvSpPr>
            <p:nvPr/>
          </p:nvSpPr>
          <p:spPr bwMode="auto">
            <a:xfrm>
              <a:off x="6122938" y="2033072"/>
              <a:ext cx="1336" cy="0"/>
            </a:xfrm>
            <a:custGeom>
              <a:avLst/>
              <a:gdLst>
                <a:gd name="T0" fmla="*/ 1 w 1"/>
                <a:gd name="T1" fmla="*/ 1 w 1"/>
                <a:gd name="T2" fmla="*/ 1 w 1"/>
                <a:gd name="T3" fmla="*/ 1 w 1"/>
                <a:gd name="T4" fmla="*/ 1 w 1"/>
                <a:gd name="T5" fmla="*/ 1 w 1"/>
                <a:gd name="T6" fmla="*/ 1 w 1"/>
                <a:gd name="T7" fmla="*/ 1 w 1"/>
                <a:gd name="T8" fmla="*/ 1 w 1"/>
                <a:gd name="T9" fmla="*/ 1 w 1"/>
                <a:gd name="T10" fmla="*/ 1 w 1"/>
                <a:gd name="T11" fmla="*/ 1 w 1"/>
                <a:gd name="T12" fmla="*/ 1 w 1"/>
                <a:gd name="T13" fmla="*/ 1 w 1"/>
                <a:gd name="T14" fmla="*/ 1 w 1"/>
                <a:gd name="T15" fmla="*/ 0 w 1"/>
                <a:gd name="T16" fmla="*/ 0 w 1"/>
                <a:gd name="T17" fmla="*/ 1 w 1"/>
                <a:gd name="T18" fmla="*/ 1 w 1"/>
                <a:gd name="T19" fmla="*/ 1 w 1"/>
                <a:gd name="T20" fmla="*/ 1 w 1"/>
                <a:gd name="T21" fmla="*/ 1 w 1"/>
                <a:gd name="T22" fmla="*/ 1 w 1"/>
                <a:gd name="T23" fmla="*/ 1 w 1"/>
                <a:gd name="T24" fmla="*/ 1 w 1"/>
                <a:gd name="T25" fmla="*/ 1 w 1"/>
                <a:gd name="T26" fmla="*/ 1 w 1"/>
                <a:gd name="T27" fmla="*/ 1 w 1"/>
                <a:gd name="T2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Lst>
              <a:rect l="0" t="0" r="r" b="b"/>
              <a:pathLst>
                <a:path w="1">
                  <a:moveTo>
                    <a:pt x="1" y="0"/>
                  </a:move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0" y="0"/>
                  </a:lnTo>
                  <a:lnTo>
                    <a:pt x="0" y="0"/>
                  </a:lnTo>
                  <a:lnTo>
                    <a:pt x="1" y="0"/>
                  </a:lnTo>
                  <a:lnTo>
                    <a:pt x="1" y="0"/>
                  </a:lnTo>
                  <a:lnTo>
                    <a:pt x="1" y="0"/>
                  </a:lnTo>
                  <a:lnTo>
                    <a:pt x="1" y="0"/>
                  </a:lnTo>
                  <a:lnTo>
                    <a:pt x="1" y="0"/>
                  </a:lnTo>
                  <a:lnTo>
                    <a:pt x="1"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01" name="Freeform 1165">
              <a:extLst>
                <a:ext uri="{FF2B5EF4-FFF2-40B4-BE49-F238E27FC236}">
                  <a16:creationId xmlns:a16="http://schemas.microsoft.com/office/drawing/2014/main" id="{5E800605-72B7-423E-B2C1-DFEDB035C0CC}"/>
                </a:ext>
              </a:extLst>
            </p:cNvPr>
            <p:cNvSpPr>
              <a:spLocks/>
            </p:cNvSpPr>
            <p:nvPr/>
          </p:nvSpPr>
          <p:spPr bwMode="auto">
            <a:xfrm>
              <a:off x="6124274" y="2033072"/>
              <a:ext cx="2671" cy="1336"/>
            </a:xfrm>
            <a:custGeom>
              <a:avLst/>
              <a:gdLst>
                <a:gd name="T0" fmla="*/ 2 w 2"/>
                <a:gd name="T1" fmla="*/ 0 h 1"/>
                <a:gd name="T2" fmla="*/ 2 w 2"/>
                <a:gd name="T3" fmla="*/ 0 h 1"/>
                <a:gd name="T4" fmla="*/ 2 w 2"/>
                <a:gd name="T5" fmla="*/ 0 h 1"/>
                <a:gd name="T6" fmla="*/ 2 w 2"/>
                <a:gd name="T7" fmla="*/ 0 h 1"/>
                <a:gd name="T8" fmla="*/ 2 w 2"/>
                <a:gd name="T9" fmla="*/ 0 h 1"/>
                <a:gd name="T10" fmla="*/ 2 w 2"/>
                <a:gd name="T11" fmla="*/ 0 h 1"/>
                <a:gd name="T12" fmla="*/ 1 w 2"/>
                <a:gd name="T13" fmla="*/ 0 h 1"/>
                <a:gd name="T14" fmla="*/ 1 w 2"/>
                <a:gd name="T15" fmla="*/ 0 h 1"/>
                <a:gd name="T16" fmla="*/ 1 w 2"/>
                <a:gd name="T17" fmla="*/ 0 h 1"/>
                <a:gd name="T18" fmla="*/ 1 w 2"/>
                <a:gd name="T19" fmla="*/ 0 h 1"/>
                <a:gd name="T20" fmla="*/ 1 w 2"/>
                <a:gd name="T21" fmla="*/ 0 h 1"/>
                <a:gd name="T22" fmla="*/ 1 w 2"/>
                <a:gd name="T23" fmla="*/ 0 h 1"/>
                <a:gd name="T24" fmla="*/ 1 w 2"/>
                <a:gd name="T25" fmla="*/ 1 h 1"/>
                <a:gd name="T26" fmla="*/ 1 w 2"/>
                <a:gd name="T27" fmla="*/ 1 h 1"/>
                <a:gd name="T28" fmla="*/ 1 w 2"/>
                <a:gd name="T29" fmla="*/ 1 h 1"/>
                <a:gd name="T30" fmla="*/ 1 w 2"/>
                <a:gd name="T31" fmla="*/ 1 h 1"/>
                <a:gd name="T32" fmla="*/ 1 w 2"/>
                <a:gd name="T33" fmla="*/ 1 h 1"/>
                <a:gd name="T34" fmla="*/ 1 w 2"/>
                <a:gd name="T35" fmla="*/ 1 h 1"/>
                <a:gd name="T36" fmla="*/ 1 w 2"/>
                <a:gd name="T37" fmla="*/ 1 h 1"/>
                <a:gd name="T38" fmla="*/ 0 w 2"/>
                <a:gd name="T39" fmla="*/ 0 h 1"/>
                <a:gd name="T40" fmla="*/ 0 w 2"/>
                <a:gd name="T41" fmla="*/ 0 h 1"/>
                <a:gd name="T42" fmla="*/ 0 w 2"/>
                <a:gd name="T43" fmla="*/ 0 h 1"/>
                <a:gd name="T44" fmla="*/ 0 w 2"/>
                <a:gd name="T45" fmla="*/ 0 h 1"/>
                <a:gd name="T46" fmla="*/ 0 w 2"/>
                <a:gd name="T47" fmla="*/ 0 h 1"/>
                <a:gd name="T48" fmla="*/ 0 w 2"/>
                <a:gd name="T49" fmla="*/ 0 h 1"/>
                <a:gd name="T50" fmla="*/ 0 w 2"/>
                <a:gd name="T51" fmla="*/ 0 h 1"/>
                <a:gd name="T52" fmla="*/ 0 w 2"/>
                <a:gd name="T53" fmla="*/ 0 h 1"/>
                <a:gd name="T54" fmla="*/ 0 w 2"/>
                <a:gd name="T55" fmla="*/ 0 h 1"/>
                <a:gd name="T56" fmla="*/ 0 w 2"/>
                <a:gd name="T57" fmla="*/ 0 h 1"/>
                <a:gd name="T58" fmla="*/ 0 w 2"/>
                <a:gd name="T59" fmla="*/ 0 h 1"/>
                <a:gd name="T60" fmla="*/ 0 w 2"/>
                <a:gd name="T61" fmla="*/ 0 h 1"/>
                <a:gd name="T62" fmla="*/ 0 w 2"/>
                <a:gd name="T63" fmla="*/ 0 h 1"/>
                <a:gd name="T64" fmla="*/ 1 w 2"/>
                <a:gd name="T65" fmla="*/ 0 h 1"/>
                <a:gd name="T66" fmla="*/ 1 w 2"/>
                <a:gd name="T67" fmla="*/ 0 h 1"/>
                <a:gd name="T68" fmla="*/ 1 w 2"/>
                <a:gd name="T69" fmla="*/ 0 h 1"/>
                <a:gd name="T70" fmla="*/ 1 w 2"/>
                <a:gd name="T71" fmla="*/ 0 h 1"/>
                <a:gd name="T72" fmla="*/ 1 w 2"/>
                <a:gd name="T73" fmla="*/ 0 h 1"/>
                <a:gd name="T74" fmla="*/ 1 w 2"/>
                <a:gd name="T75" fmla="*/ 0 h 1"/>
                <a:gd name="T76" fmla="*/ 1 w 2"/>
                <a:gd name="T77" fmla="*/ 0 h 1"/>
                <a:gd name="T78" fmla="*/ 1 w 2"/>
                <a:gd name="T79" fmla="*/ 0 h 1"/>
                <a:gd name="T80" fmla="*/ 1 w 2"/>
                <a:gd name="T81" fmla="*/ 0 h 1"/>
                <a:gd name="T82" fmla="*/ 1 w 2"/>
                <a:gd name="T83" fmla="*/ 0 h 1"/>
                <a:gd name="T84" fmla="*/ 1 w 2"/>
                <a:gd name="T85" fmla="*/ 0 h 1"/>
                <a:gd name="T86" fmla="*/ 1 w 2"/>
                <a:gd name="T87" fmla="*/ 0 h 1"/>
                <a:gd name="T88" fmla="*/ 1 w 2"/>
                <a:gd name="T89" fmla="*/ 0 h 1"/>
                <a:gd name="T90" fmla="*/ 2 w 2"/>
                <a:gd name="T91" fmla="*/ 0 h 1"/>
                <a:gd name="T92" fmla="*/ 2 w 2"/>
                <a:gd name="T93" fmla="*/ 0 h 1"/>
                <a:gd name="T94" fmla="*/ 2 w 2"/>
                <a:gd name="T95" fmla="*/ 0 h 1"/>
                <a:gd name="T96" fmla="*/ 2 w 2"/>
                <a:gd name="T97" fmla="*/ 0 h 1"/>
                <a:gd name="T98" fmla="*/ 2 w 2"/>
                <a:gd name="T99" fmla="*/ 0 h 1"/>
                <a:gd name="T100" fmla="*/ 2 w 2"/>
                <a:gd name="T101" fmla="*/ 0 h 1"/>
                <a:gd name="T102" fmla="*/ 2 w 2"/>
                <a:gd name="T103" fmla="*/ 0 h 1"/>
                <a:gd name="T104" fmla="*/ 2 w 2"/>
                <a:gd name="T105" fmla="*/ 0 h 1"/>
                <a:gd name="T106" fmla="*/ 2 w 2"/>
                <a:gd name="T107" fmla="*/ 0 h 1"/>
                <a:gd name="T108" fmla="*/ 2 w 2"/>
                <a:gd name="T10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 h="1">
                  <a:moveTo>
                    <a:pt x="2" y="0"/>
                  </a:moveTo>
                  <a:lnTo>
                    <a:pt x="2" y="0"/>
                  </a:lnTo>
                  <a:lnTo>
                    <a:pt x="2" y="0"/>
                  </a:lnTo>
                  <a:lnTo>
                    <a:pt x="2" y="0"/>
                  </a:lnTo>
                  <a:lnTo>
                    <a:pt x="2" y="0"/>
                  </a:lnTo>
                  <a:lnTo>
                    <a:pt x="2" y="0"/>
                  </a:lnTo>
                  <a:lnTo>
                    <a:pt x="1" y="0"/>
                  </a:lnTo>
                  <a:lnTo>
                    <a:pt x="1" y="0"/>
                  </a:lnTo>
                  <a:lnTo>
                    <a:pt x="1" y="0"/>
                  </a:lnTo>
                  <a:lnTo>
                    <a:pt x="1" y="0"/>
                  </a:lnTo>
                  <a:lnTo>
                    <a:pt x="1" y="0"/>
                  </a:lnTo>
                  <a:lnTo>
                    <a:pt x="1" y="0"/>
                  </a:lnTo>
                  <a:lnTo>
                    <a:pt x="1" y="1"/>
                  </a:lnTo>
                  <a:lnTo>
                    <a:pt x="1" y="1"/>
                  </a:lnTo>
                  <a:lnTo>
                    <a:pt x="1" y="1"/>
                  </a:lnTo>
                  <a:lnTo>
                    <a:pt x="1" y="1"/>
                  </a:lnTo>
                  <a:lnTo>
                    <a:pt x="1" y="1"/>
                  </a:lnTo>
                  <a:lnTo>
                    <a:pt x="1" y="1"/>
                  </a:lnTo>
                  <a:lnTo>
                    <a:pt x="1"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2" y="0"/>
                  </a:lnTo>
                  <a:lnTo>
                    <a:pt x="2" y="0"/>
                  </a:lnTo>
                  <a:lnTo>
                    <a:pt x="2" y="0"/>
                  </a:lnTo>
                  <a:lnTo>
                    <a:pt x="2" y="0"/>
                  </a:lnTo>
                  <a:lnTo>
                    <a:pt x="2" y="0"/>
                  </a:lnTo>
                  <a:lnTo>
                    <a:pt x="2" y="0"/>
                  </a:lnTo>
                  <a:lnTo>
                    <a:pt x="2"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02" name="Freeform 1166">
              <a:extLst>
                <a:ext uri="{FF2B5EF4-FFF2-40B4-BE49-F238E27FC236}">
                  <a16:creationId xmlns:a16="http://schemas.microsoft.com/office/drawing/2014/main" id="{F6F18F84-5B4F-4826-BE4A-6BC9BBF4F844}"/>
                </a:ext>
              </a:extLst>
            </p:cNvPr>
            <p:cNvSpPr>
              <a:spLocks/>
            </p:cNvSpPr>
            <p:nvPr/>
          </p:nvSpPr>
          <p:spPr bwMode="auto">
            <a:xfrm>
              <a:off x="6110919" y="2031737"/>
              <a:ext cx="4007" cy="1336"/>
            </a:xfrm>
            <a:custGeom>
              <a:avLst/>
              <a:gdLst>
                <a:gd name="T0" fmla="*/ 3 w 3"/>
                <a:gd name="T1" fmla="*/ 1 h 1"/>
                <a:gd name="T2" fmla="*/ 2 w 3"/>
                <a:gd name="T3" fmla="*/ 1 h 1"/>
                <a:gd name="T4" fmla="*/ 2 w 3"/>
                <a:gd name="T5" fmla="*/ 1 h 1"/>
                <a:gd name="T6" fmla="*/ 2 w 3"/>
                <a:gd name="T7" fmla="*/ 1 h 1"/>
                <a:gd name="T8" fmla="*/ 2 w 3"/>
                <a:gd name="T9" fmla="*/ 1 h 1"/>
                <a:gd name="T10" fmla="*/ 2 w 3"/>
                <a:gd name="T11" fmla="*/ 1 h 1"/>
                <a:gd name="T12" fmla="*/ 0 w 3"/>
                <a:gd name="T13" fmla="*/ 1 h 1"/>
                <a:gd name="T14" fmla="*/ 0 w 3"/>
                <a:gd name="T15" fmla="*/ 1 h 1"/>
                <a:gd name="T16" fmla="*/ 2 w 3"/>
                <a:gd name="T17" fmla="*/ 1 h 1"/>
                <a:gd name="T18" fmla="*/ 2 w 3"/>
                <a:gd name="T19" fmla="*/ 1 h 1"/>
                <a:gd name="T20" fmla="*/ 2 w 3"/>
                <a:gd name="T21" fmla="*/ 1 h 1"/>
                <a:gd name="T22" fmla="*/ 2 w 3"/>
                <a:gd name="T23" fmla="*/ 0 h 1"/>
                <a:gd name="T24" fmla="*/ 2 w 3"/>
                <a:gd name="T25" fmla="*/ 0 h 1"/>
                <a:gd name="T26" fmla="*/ 3 w 3"/>
                <a:gd name="T27" fmla="*/ 0 h 1"/>
                <a:gd name="T28" fmla="*/ 3 w 3"/>
                <a:gd name="T29" fmla="*/ 1 h 1"/>
                <a:gd name="T30" fmla="*/ 3 w 3"/>
                <a:gd name="T3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1">
                  <a:moveTo>
                    <a:pt x="3" y="1"/>
                  </a:moveTo>
                  <a:lnTo>
                    <a:pt x="2" y="1"/>
                  </a:lnTo>
                  <a:lnTo>
                    <a:pt x="2" y="1"/>
                  </a:lnTo>
                  <a:lnTo>
                    <a:pt x="2" y="1"/>
                  </a:lnTo>
                  <a:lnTo>
                    <a:pt x="2" y="1"/>
                  </a:lnTo>
                  <a:lnTo>
                    <a:pt x="2" y="1"/>
                  </a:lnTo>
                  <a:lnTo>
                    <a:pt x="0" y="1"/>
                  </a:lnTo>
                  <a:lnTo>
                    <a:pt x="0" y="1"/>
                  </a:lnTo>
                  <a:lnTo>
                    <a:pt x="2" y="1"/>
                  </a:lnTo>
                  <a:lnTo>
                    <a:pt x="2" y="1"/>
                  </a:lnTo>
                  <a:lnTo>
                    <a:pt x="2" y="1"/>
                  </a:lnTo>
                  <a:lnTo>
                    <a:pt x="2" y="0"/>
                  </a:lnTo>
                  <a:lnTo>
                    <a:pt x="2" y="0"/>
                  </a:lnTo>
                  <a:lnTo>
                    <a:pt x="3" y="0"/>
                  </a:lnTo>
                  <a:lnTo>
                    <a:pt x="3" y="1"/>
                  </a:lnTo>
                  <a:lnTo>
                    <a:pt x="3"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03" name="Freeform 1167">
              <a:extLst>
                <a:ext uri="{FF2B5EF4-FFF2-40B4-BE49-F238E27FC236}">
                  <a16:creationId xmlns:a16="http://schemas.microsoft.com/office/drawing/2014/main" id="{AE9A2E6D-B7ED-4416-B872-BDA62B402266}"/>
                </a:ext>
              </a:extLst>
            </p:cNvPr>
            <p:cNvSpPr>
              <a:spLocks/>
            </p:cNvSpPr>
            <p:nvPr/>
          </p:nvSpPr>
          <p:spPr bwMode="auto">
            <a:xfrm>
              <a:off x="6122938" y="2031737"/>
              <a:ext cx="1336" cy="1336"/>
            </a:xfrm>
            <a:custGeom>
              <a:avLst/>
              <a:gdLst>
                <a:gd name="T0" fmla="*/ 1 w 1"/>
                <a:gd name="T1" fmla="*/ 0 h 1"/>
                <a:gd name="T2" fmla="*/ 1 w 1"/>
                <a:gd name="T3" fmla="*/ 0 h 1"/>
                <a:gd name="T4" fmla="*/ 1 w 1"/>
                <a:gd name="T5" fmla="*/ 0 h 1"/>
                <a:gd name="T6" fmla="*/ 1 w 1"/>
                <a:gd name="T7" fmla="*/ 0 h 1"/>
                <a:gd name="T8" fmla="*/ 1 w 1"/>
                <a:gd name="T9" fmla="*/ 0 h 1"/>
                <a:gd name="T10" fmla="*/ 1 w 1"/>
                <a:gd name="T11" fmla="*/ 0 h 1"/>
                <a:gd name="T12" fmla="*/ 1 w 1"/>
                <a:gd name="T13" fmla="*/ 0 h 1"/>
                <a:gd name="T14" fmla="*/ 1 w 1"/>
                <a:gd name="T15" fmla="*/ 0 h 1"/>
                <a:gd name="T16" fmla="*/ 1 w 1"/>
                <a:gd name="T17" fmla="*/ 0 h 1"/>
                <a:gd name="T18" fmla="*/ 1 w 1"/>
                <a:gd name="T19" fmla="*/ 0 h 1"/>
                <a:gd name="T20" fmla="*/ 1 w 1"/>
                <a:gd name="T21" fmla="*/ 0 h 1"/>
                <a:gd name="T22" fmla="*/ 1 w 1"/>
                <a:gd name="T23" fmla="*/ 0 h 1"/>
                <a:gd name="T24" fmla="*/ 1 w 1"/>
                <a:gd name="T25" fmla="*/ 0 h 1"/>
                <a:gd name="T26" fmla="*/ 1 w 1"/>
                <a:gd name="T27" fmla="*/ 0 h 1"/>
                <a:gd name="T28" fmla="*/ 1 w 1"/>
                <a:gd name="T29" fmla="*/ 1 h 1"/>
                <a:gd name="T30" fmla="*/ 0 w 1"/>
                <a:gd name="T31" fmla="*/ 1 h 1"/>
                <a:gd name="T32" fmla="*/ 0 w 1"/>
                <a:gd name="T33" fmla="*/ 1 h 1"/>
                <a:gd name="T34" fmla="*/ 0 w 1"/>
                <a:gd name="T35" fmla="*/ 1 h 1"/>
                <a:gd name="T36" fmla="*/ 0 w 1"/>
                <a:gd name="T37" fmla="*/ 1 h 1"/>
                <a:gd name="T38" fmla="*/ 0 w 1"/>
                <a:gd name="T39" fmla="*/ 1 h 1"/>
                <a:gd name="T40" fmla="*/ 0 w 1"/>
                <a:gd name="T41" fmla="*/ 1 h 1"/>
                <a:gd name="T42" fmla="*/ 0 w 1"/>
                <a:gd name="T43" fmla="*/ 1 h 1"/>
                <a:gd name="T44" fmla="*/ 0 w 1"/>
                <a:gd name="T45" fmla="*/ 0 h 1"/>
                <a:gd name="T46" fmla="*/ 0 w 1"/>
                <a:gd name="T47" fmla="*/ 0 h 1"/>
                <a:gd name="T48" fmla="*/ 0 w 1"/>
                <a:gd name="T49" fmla="*/ 0 h 1"/>
                <a:gd name="T50" fmla="*/ 0 w 1"/>
                <a:gd name="T51" fmla="*/ 0 h 1"/>
                <a:gd name="T52" fmla="*/ 0 w 1"/>
                <a:gd name="T53" fmla="*/ 0 h 1"/>
                <a:gd name="T54" fmla="*/ 0 w 1"/>
                <a:gd name="T55" fmla="*/ 0 h 1"/>
                <a:gd name="T56" fmla="*/ 0 w 1"/>
                <a:gd name="T57" fmla="*/ 0 h 1"/>
                <a:gd name="T58" fmla="*/ 0 w 1"/>
                <a:gd name="T59" fmla="*/ 0 h 1"/>
                <a:gd name="T60" fmla="*/ 1 w 1"/>
                <a:gd name="T61" fmla="*/ 0 h 1"/>
                <a:gd name="T62" fmla="*/ 1 w 1"/>
                <a:gd name="T63" fmla="*/ 0 h 1"/>
                <a:gd name="T64" fmla="*/ 1 w 1"/>
                <a:gd name="T65" fmla="*/ 0 h 1"/>
                <a:gd name="T66" fmla="*/ 1 w 1"/>
                <a:gd name="T67" fmla="*/ 0 h 1"/>
                <a:gd name="T68" fmla="*/ 1 w 1"/>
                <a:gd name="T69" fmla="*/ 0 h 1"/>
                <a:gd name="T70" fmla="*/ 1 w 1"/>
                <a:gd name="T7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 h="1">
                  <a:moveTo>
                    <a:pt x="1" y="0"/>
                  </a:move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1"/>
                  </a:lnTo>
                  <a:lnTo>
                    <a:pt x="0" y="1"/>
                  </a:lnTo>
                  <a:lnTo>
                    <a:pt x="0" y="1"/>
                  </a:lnTo>
                  <a:lnTo>
                    <a:pt x="0" y="1"/>
                  </a:lnTo>
                  <a:lnTo>
                    <a:pt x="0" y="1"/>
                  </a:lnTo>
                  <a:lnTo>
                    <a:pt x="0" y="1"/>
                  </a:lnTo>
                  <a:lnTo>
                    <a:pt x="0" y="1"/>
                  </a:lnTo>
                  <a:lnTo>
                    <a:pt x="0" y="1"/>
                  </a:lnTo>
                  <a:lnTo>
                    <a:pt x="0" y="0"/>
                  </a:lnTo>
                  <a:lnTo>
                    <a:pt x="0" y="0"/>
                  </a:lnTo>
                  <a:lnTo>
                    <a:pt x="0" y="0"/>
                  </a:lnTo>
                  <a:lnTo>
                    <a:pt x="0" y="0"/>
                  </a:lnTo>
                  <a:lnTo>
                    <a:pt x="0" y="0"/>
                  </a:lnTo>
                  <a:lnTo>
                    <a:pt x="0" y="0"/>
                  </a:lnTo>
                  <a:lnTo>
                    <a:pt x="0" y="0"/>
                  </a:lnTo>
                  <a:lnTo>
                    <a:pt x="0"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04" name="Freeform 1168">
              <a:extLst>
                <a:ext uri="{FF2B5EF4-FFF2-40B4-BE49-F238E27FC236}">
                  <a16:creationId xmlns:a16="http://schemas.microsoft.com/office/drawing/2014/main" id="{D66513C7-2FBB-458A-AC11-4A8EBC18E07F}"/>
                </a:ext>
              </a:extLst>
            </p:cNvPr>
            <p:cNvSpPr>
              <a:spLocks/>
            </p:cNvSpPr>
            <p:nvPr/>
          </p:nvSpPr>
          <p:spPr bwMode="auto">
            <a:xfrm>
              <a:off x="6132287" y="2023724"/>
              <a:ext cx="1336" cy="1336"/>
            </a:xfrm>
            <a:custGeom>
              <a:avLst/>
              <a:gdLst>
                <a:gd name="T0" fmla="*/ 1 w 1"/>
                <a:gd name="T1" fmla="*/ 0 h 1"/>
                <a:gd name="T2" fmla="*/ 1 w 1"/>
                <a:gd name="T3" fmla="*/ 0 h 1"/>
                <a:gd name="T4" fmla="*/ 1 w 1"/>
                <a:gd name="T5" fmla="*/ 0 h 1"/>
                <a:gd name="T6" fmla="*/ 1 w 1"/>
                <a:gd name="T7" fmla="*/ 0 h 1"/>
                <a:gd name="T8" fmla="*/ 1 w 1"/>
                <a:gd name="T9" fmla="*/ 0 h 1"/>
                <a:gd name="T10" fmla="*/ 1 w 1"/>
                <a:gd name="T11" fmla="*/ 0 h 1"/>
                <a:gd name="T12" fmla="*/ 1 w 1"/>
                <a:gd name="T13" fmla="*/ 0 h 1"/>
                <a:gd name="T14" fmla="*/ 1 w 1"/>
                <a:gd name="T15" fmla="*/ 0 h 1"/>
                <a:gd name="T16" fmla="*/ 1 w 1"/>
                <a:gd name="T17" fmla="*/ 0 h 1"/>
                <a:gd name="T18" fmla="*/ 1 w 1"/>
                <a:gd name="T19" fmla="*/ 0 h 1"/>
                <a:gd name="T20" fmla="*/ 1 w 1"/>
                <a:gd name="T21" fmla="*/ 1 h 1"/>
                <a:gd name="T22" fmla="*/ 1 w 1"/>
                <a:gd name="T23" fmla="*/ 1 h 1"/>
                <a:gd name="T24" fmla="*/ 1 w 1"/>
                <a:gd name="T25" fmla="*/ 1 h 1"/>
                <a:gd name="T26" fmla="*/ 1 w 1"/>
                <a:gd name="T27" fmla="*/ 1 h 1"/>
                <a:gd name="T28" fmla="*/ 1 w 1"/>
                <a:gd name="T29" fmla="*/ 1 h 1"/>
                <a:gd name="T30" fmla="*/ 1 w 1"/>
                <a:gd name="T31" fmla="*/ 1 h 1"/>
                <a:gd name="T32" fmla="*/ 1 w 1"/>
                <a:gd name="T33" fmla="*/ 1 h 1"/>
                <a:gd name="T34" fmla="*/ 1 w 1"/>
                <a:gd name="T35" fmla="*/ 1 h 1"/>
                <a:gd name="T36" fmla="*/ 1 w 1"/>
                <a:gd name="T37" fmla="*/ 1 h 1"/>
                <a:gd name="T38" fmla="*/ 1 w 1"/>
                <a:gd name="T39" fmla="*/ 1 h 1"/>
                <a:gd name="T40" fmla="*/ 1 w 1"/>
                <a:gd name="T41" fmla="*/ 1 h 1"/>
                <a:gd name="T42" fmla="*/ 1 w 1"/>
                <a:gd name="T43" fmla="*/ 1 h 1"/>
                <a:gd name="T44" fmla="*/ 0 w 1"/>
                <a:gd name="T45" fmla="*/ 1 h 1"/>
                <a:gd name="T46" fmla="*/ 0 w 1"/>
                <a:gd name="T47" fmla="*/ 1 h 1"/>
                <a:gd name="T48" fmla="*/ 0 w 1"/>
                <a:gd name="T49" fmla="*/ 1 h 1"/>
                <a:gd name="T50" fmla="*/ 0 w 1"/>
                <a:gd name="T51" fmla="*/ 1 h 1"/>
                <a:gd name="T52" fmla="*/ 0 w 1"/>
                <a:gd name="T53" fmla="*/ 1 h 1"/>
                <a:gd name="T54" fmla="*/ 0 w 1"/>
                <a:gd name="T55" fmla="*/ 0 h 1"/>
                <a:gd name="T56" fmla="*/ 0 w 1"/>
                <a:gd name="T57" fmla="*/ 0 h 1"/>
                <a:gd name="T58" fmla="*/ 0 w 1"/>
                <a:gd name="T59" fmla="*/ 0 h 1"/>
                <a:gd name="T60" fmla="*/ 0 w 1"/>
                <a:gd name="T61" fmla="*/ 0 h 1"/>
                <a:gd name="T62" fmla="*/ 0 w 1"/>
                <a:gd name="T63" fmla="*/ 0 h 1"/>
                <a:gd name="T64" fmla="*/ 1 w 1"/>
                <a:gd name="T65" fmla="*/ 0 h 1"/>
                <a:gd name="T66" fmla="*/ 1 w 1"/>
                <a:gd name="T67" fmla="*/ 0 h 1"/>
                <a:gd name="T68" fmla="*/ 1 w 1"/>
                <a:gd name="T69" fmla="*/ 0 h 1"/>
                <a:gd name="T70" fmla="*/ 1 w 1"/>
                <a:gd name="T7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 h="1">
                  <a:moveTo>
                    <a:pt x="1" y="0"/>
                  </a:moveTo>
                  <a:lnTo>
                    <a:pt x="1" y="0"/>
                  </a:lnTo>
                  <a:lnTo>
                    <a:pt x="1" y="0"/>
                  </a:lnTo>
                  <a:lnTo>
                    <a:pt x="1" y="0"/>
                  </a:lnTo>
                  <a:lnTo>
                    <a:pt x="1" y="0"/>
                  </a:lnTo>
                  <a:lnTo>
                    <a:pt x="1" y="0"/>
                  </a:lnTo>
                  <a:lnTo>
                    <a:pt x="1" y="0"/>
                  </a:lnTo>
                  <a:lnTo>
                    <a:pt x="1" y="0"/>
                  </a:lnTo>
                  <a:lnTo>
                    <a:pt x="1" y="0"/>
                  </a:lnTo>
                  <a:lnTo>
                    <a:pt x="1" y="0"/>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0" y="1"/>
                  </a:lnTo>
                  <a:lnTo>
                    <a:pt x="0" y="0"/>
                  </a:lnTo>
                  <a:lnTo>
                    <a:pt x="0" y="0"/>
                  </a:lnTo>
                  <a:lnTo>
                    <a:pt x="0" y="0"/>
                  </a:lnTo>
                  <a:lnTo>
                    <a:pt x="0" y="0"/>
                  </a:lnTo>
                  <a:lnTo>
                    <a:pt x="0"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05" name="Freeform 1169">
              <a:extLst>
                <a:ext uri="{FF2B5EF4-FFF2-40B4-BE49-F238E27FC236}">
                  <a16:creationId xmlns:a16="http://schemas.microsoft.com/office/drawing/2014/main" id="{B9D17910-1920-4AFE-910B-4FE820A5E495}"/>
                </a:ext>
              </a:extLst>
            </p:cNvPr>
            <p:cNvSpPr>
              <a:spLocks/>
            </p:cNvSpPr>
            <p:nvPr/>
          </p:nvSpPr>
          <p:spPr bwMode="auto">
            <a:xfrm>
              <a:off x="6153655" y="1998349"/>
              <a:ext cx="8013" cy="2671"/>
            </a:xfrm>
            <a:custGeom>
              <a:avLst/>
              <a:gdLst>
                <a:gd name="T0" fmla="*/ 3 w 6"/>
                <a:gd name="T1" fmla="*/ 1 h 2"/>
                <a:gd name="T2" fmla="*/ 3 w 6"/>
                <a:gd name="T3" fmla="*/ 1 h 2"/>
                <a:gd name="T4" fmla="*/ 3 w 6"/>
                <a:gd name="T5" fmla="*/ 1 h 2"/>
                <a:gd name="T6" fmla="*/ 5 w 6"/>
                <a:gd name="T7" fmla="*/ 1 h 2"/>
                <a:gd name="T8" fmla="*/ 5 w 6"/>
                <a:gd name="T9" fmla="*/ 1 h 2"/>
                <a:gd name="T10" fmla="*/ 6 w 6"/>
                <a:gd name="T11" fmla="*/ 1 h 2"/>
                <a:gd name="T12" fmla="*/ 6 w 6"/>
                <a:gd name="T13" fmla="*/ 1 h 2"/>
                <a:gd name="T14" fmla="*/ 6 w 6"/>
                <a:gd name="T15" fmla="*/ 1 h 2"/>
                <a:gd name="T16" fmla="*/ 5 w 6"/>
                <a:gd name="T17" fmla="*/ 1 h 2"/>
                <a:gd name="T18" fmla="*/ 3 w 6"/>
                <a:gd name="T19" fmla="*/ 1 h 2"/>
                <a:gd name="T20" fmla="*/ 3 w 6"/>
                <a:gd name="T21" fmla="*/ 1 h 2"/>
                <a:gd name="T22" fmla="*/ 3 w 6"/>
                <a:gd name="T23" fmla="*/ 1 h 2"/>
                <a:gd name="T24" fmla="*/ 2 w 6"/>
                <a:gd name="T25" fmla="*/ 2 h 2"/>
                <a:gd name="T26" fmla="*/ 2 w 6"/>
                <a:gd name="T27" fmla="*/ 2 h 2"/>
                <a:gd name="T28" fmla="*/ 3 w 6"/>
                <a:gd name="T29" fmla="*/ 2 h 2"/>
                <a:gd name="T30" fmla="*/ 3 w 6"/>
                <a:gd name="T31" fmla="*/ 2 h 2"/>
                <a:gd name="T32" fmla="*/ 3 w 6"/>
                <a:gd name="T33" fmla="*/ 2 h 2"/>
                <a:gd name="T34" fmla="*/ 3 w 6"/>
                <a:gd name="T35" fmla="*/ 2 h 2"/>
                <a:gd name="T36" fmla="*/ 3 w 6"/>
                <a:gd name="T37" fmla="*/ 2 h 2"/>
                <a:gd name="T38" fmla="*/ 2 w 6"/>
                <a:gd name="T39" fmla="*/ 2 h 2"/>
                <a:gd name="T40" fmla="*/ 2 w 6"/>
                <a:gd name="T41" fmla="*/ 2 h 2"/>
                <a:gd name="T42" fmla="*/ 2 w 6"/>
                <a:gd name="T43" fmla="*/ 2 h 2"/>
                <a:gd name="T44" fmla="*/ 2 w 6"/>
                <a:gd name="T45" fmla="*/ 2 h 2"/>
                <a:gd name="T46" fmla="*/ 2 w 6"/>
                <a:gd name="T47" fmla="*/ 2 h 2"/>
                <a:gd name="T48" fmla="*/ 2 w 6"/>
                <a:gd name="T49" fmla="*/ 2 h 2"/>
                <a:gd name="T50" fmla="*/ 2 w 6"/>
                <a:gd name="T51" fmla="*/ 2 h 2"/>
                <a:gd name="T52" fmla="*/ 2 w 6"/>
                <a:gd name="T53" fmla="*/ 2 h 2"/>
                <a:gd name="T54" fmla="*/ 2 w 6"/>
                <a:gd name="T55" fmla="*/ 2 h 2"/>
                <a:gd name="T56" fmla="*/ 2 w 6"/>
                <a:gd name="T57" fmla="*/ 2 h 2"/>
                <a:gd name="T58" fmla="*/ 2 w 6"/>
                <a:gd name="T59" fmla="*/ 2 h 2"/>
                <a:gd name="T60" fmla="*/ 1 w 6"/>
                <a:gd name="T61" fmla="*/ 2 h 2"/>
                <a:gd name="T62" fmla="*/ 1 w 6"/>
                <a:gd name="T63" fmla="*/ 2 h 2"/>
                <a:gd name="T64" fmla="*/ 1 w 6"/>
                <a:gd name="T65" fmla="*/ 2 h 2"/>
                <a:gd name="T66" fmla="*/ 1 w 6"/>
                <a:gd name="T67" fmla="*/ 1 h 2"/>
                <a:gd name="T68" fmla="*/ 0 w 6"/>
                <a:gd name="T69" fmla="*/ 1 h 2"/>
                <a:gd name="T70" fmla="*/ 0 w 6"/>
                <a:gd name="T71" fmla="*/ 1 h 2"/>
                <a:gd name="T72" fmla="*/ 1 w 6"/>
                <a:gd name="T73" fmla="*/ 1 h 2"/>
                <a:gd name="T74" fmla="*/ 1 w 6"/>
                <a:gd name="T75" fmla="*/ 1 h 2"/>
                <a:gd name="T76" fmla="*/ 2 w 6"/>
                <a:gd name="T77" fmla="*/ 1 h 2"/>
                <a:gd name="T78" fmla="*/ 3 w 6"/>
                <a:gd name="T79" fmla="*/ 0 h 2"/>
                <a:gd name="T80" fmla="*/ 3 w 6"/>
                <a:gd name="T81" fmla="*/ 1 h 2"/>
                <a:gd name="T82" fmla="*/ 3 w 6"/>
                <a:gd name="T83" fmla="*/ 1 h 2"/>
                <a:gd name="T84" fmla="*/ 3 w 6"/>
                <a:gd name="T8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 h="2">
                  <a:moveTo>
                    <a:pt x="3" y="1"/>
                  </a:moveTo>
                  <a:lnTo>
                    <a:pt x="3" y="1"/>
                  </a:lnTo>
                  <a:lnTo>
                    <a:pt x="3" y="1"/>
                  </a:lnTo>
                  <a:lnTo>
                    <a:pt x="5" y="1"/>
                  </a:lnTo>
                  <a:lnTo>
                    <a:pt x="5" y="1"/>
                  </a:lnTo>
                  <a:lnTo>
                    <a:pt x="6" y="1"/>
                  </a:lnTo>
                  <a:lnTo>
                    <a:pt x="6" y="1"/>
                  </a:lnTo>
                  <a:lnTo>
                    <a:pt x="6" y="1"/>
                  </a:lnTo>
                  <a:lnTo>
                    <a:pt x="5" y="1"/>
                  </a:lnTo>
                  <a:lnTo>
                    <a:pt x="3" y="1"/>
                  </a:lnTo>
                  <a:lnTo>
                    <a:pt x="3" y="1"/>
                  </a:lnTo>
                  <a:lnTo>
                    <a:pt x="3" y="1"/>
                  </a:lnTo>
                  <a:lnTo>
                    <a:pt x="2" y="2"/>
                  </a:lnTo>
                  <a:lnTo>
                    <a:pt x="2" y="2"/>
                  </a:lnTo>
                  <a:lnTo>
                    <a:pt x="3" y="2"/>
                  </a:lnTo>
                  <a:lnTo>
                    <a:pt x="3" y="2"/>
                  </a:lnTo>
                  <a:lnTo>
                    <a:pt x="3" y="2"/>
                  </a:lnTo>
                  <a:lnTo>
                    <a:pt x="3" y="2"/>
                  </a:lnTo>
                  <a:lnTo>
                    <a:pt x="3" y="2"/>
                  </a:lnTo>
                  <a:lnTo>
                    <a:pt x="2" y="2"/>
                  </a:lnTo>
                  <a:lnTo>
                    <a:pt x="2" y="2"/>
                  </a:lnTo>
                  <a:lnTo>
                    <a:pt x="2" y="2"/>
                  </a:lnTo>
                  <a:lnTo>
                    <a:pt x="2" y="2"/>
                  </a:lnTo>
                  <a:lnTo>
                    <a:pt x="2" y="2"/>
                  </a:lnTo>
                  <a:lnTo>
                    <a:pt x="2" y="2"/>
                  </a:lnTo>
                  <a:lnTo>
                    <a:pt x="2" y="2"/>
                  </a:lnTo>
                  <a:lnTo>
                    <a:pt x="2" y="2"/>
                  </a:lnTo>
                  <a:lnTo>
                    <a:pt x="2" y="2"/>
                  </a:lnTo>
                  <a:lnTo>
                    <a:pt x="2" y="2"/>
                  </a:lnTo>
                  <a:lnTo>
                    <a:pt x="2" y="2"/>
                  </a:lnTo>
                  <a:lnTo>
                    <a:pt x="1" y="2"/>
                  </a:lnTo>
                  <a:lnTo>
                    <a:pt x="1" y="2"/>
                  </a:lnTo>
                  <a:lnTo>
                    <a:pt x="1" y="2"/>
                  </a:lnTo>
                  <a:lnTo>
                    <a:pt x="1" y="1"/>
                  </a:lnTo>
                  <a:lnTo>
                    <a:pt x="0" y="1"/>
                  </a:lnTo>
                  <a:lnTo>
                    <a:pt x="0" y="1"/>
                  </a:lnTo>
                  <a:lnTo>
                    <a:pt x="1" y="1"/>
                  </a:lnTo>
                  <a:lnTo>
                    <a:pt x="1" y="1"/>
                  </a:lnTo>
                  <a:lnTo>
                    <a:pt x="2" y="1"/>
                  </a:lnTo>
                  <a:lnTo>
                    <a:pt x="3" y="0"/>
                  </a:lnTo>
                  <a:lnTo>
                    <a:pt x="3" y="1"/>
                  </a:lnTo>
                  <a:lnTo>
                    <a:pt x="3" y="1"/>
                  </a:lnTo>
                  <a:lnTo>
                    <a:pt x="3"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06" name="Freeform 1170">
              <a:extLst>
                <a:ext uri="{FF2B5EF4-FFF2-40B4-BE49-F238E27FC236}">
                  <a16:creationId xmlns:a16="http://schemas.microsoft.com/office/drawing/2014/main" id="{38DD3DE1-A5C5-4F9E-BDC5-F7B1D7C3F7F3}"/>
                </a:ext>
              </a:extLst>
            </p:cNvPr>
            <p:cNvSpPr>
              <a:spLocks/>
            </p:cNvSpPr>
            <p:nvPr/>
          </p:nvSpPr>
          <p:spPr bwMode="auto">
            <a:xfrm>
              <a:off x="6085544" y="1910207"/>
              <a:ext cx="178955" cy="189639"/>
            </a:xfrm>
            <a:custGeom>
              <a:avLst/>
              <a:gdLst>
                <a:gd name="T0" fmla="*/ 86 w 134"/>
                <a:gd name="T1" fmla="*/ 9 h 142"/>
                <a:gd name="T2" fmla="*/ 81 w 134"/>
                <a:gd name="T3" fmla="*/ 19 h 142"/>
                <a:gd name="T4" fmla="*/ 100 w 134"/>
                <a:gd name="T5" fmla="*/ 32 h 142"/>
                <a:gd name="T6" fmla="*/ 100 w 134"/>
                <a:gd name="T7" fmla="*/ 49 h 142"/>
                <a:gd name="T8" fmla="*/ 108 w 134"/>
                <a:gd name="T9" fmla="*/ 59 h 142"/>
                <a:gd name="T10" fmla="*/ 106 w 134"/>
                <a:gd name="T11" fmla="*/ 65 h 142"/>
                <a:gd name="T12" fmla="*/ 111 w 134"/>
                <a:gd name="T13" fmla="*/ 72 h 142"/>
                <a:gd name="T14" fmla="*/ 116 w 134"/>
                <a:gd name="T15" fmla="*/ 79 h 142"/>
                <a:gd name="T16" fmla="*/ 113 w 134"/>
                <a:gd name="T17" fmla="*/ 86 h 142"/>
                <a:gd name="T18" fmla="*/ 130 w 134"/>
                <a:gd name="T19" fmla="*/ 95 h 142"/>
                <a:gd name="T20" fmla="*/ 130 w 134"/>
                <a:gd name="T21" fmla="*/ 105 h 142"/>
                <a:gd name="T22" fmla="*/ 118 w 134"/>
                <a:gd name="T23" fmla="*/ 116 h 142"/>
                <a:gd name="T24" fmla="*/ 108 w 134"/>
                <a:gd name="T25" fmla="*/ 124 h 142"/>
                <a:gd name="T26" fmla="*/ 99 w 134"/>
                <a:gd name="T27" fmla="*/ 131 h 142"/>
                <a:gd name="T28" fmla="*/ 96 w 134"/>
                <a:gd name="T29" fmla="*/ 133 h 142"/>
                <a:gd name="T30" fmla="*/ 90 w 134"/>
                <a:gd name="T31" fmla="*/ 133 h 142"/>
                <a:gd name="T32" fmla="*/ 87 w 134"/>
                <a:gd name="T33" fmla="*/ 130 h 142"/>
                <a:gd name="T34" fmla="*/ 81 w 134"/>
                <a:gd name="T35" fmla="*/ 133 h 142"/>
                <a:gd name="T36" fmla="*/ 79 w 134"/>
                <a:gd name="T37" fmla="*/ 134 h 142"/>
                <a:gd name="T38" fmla="*/ 78 w 134"/>
                <a:gd name="T39" fmla="*/ 136 h 142"/>
                <a:gd name="T40" fmla="*/ 73 w 134"/>
                <a:gd name="T41" fmla="*/ 136 h 142"/>
                <a:gd name="T42" fmla="*/ 70 w 134"/>
                <a:gd name="T43" fmla="*/ 137 h 142"/>
                <a:gd name="T44" fmla="*/ 64 w 134"/>
                <a:gd name="T45" fmla="*/ 137 h 142"/>
                <a:gd name="T46" fmla="*/ 60 w 134"/>
                <a:gd name="T47" fmla="*/ 138 h 142"/>
                <a:gd name="T48" fmla="*/ 53 w 134"/>
                <a:gd name="T49" fmla="*/ 138 h 142"/>
                <a:gd name="T50" fmla="*/ 47 w 134"/>
                <a:gd name="T51" fmla="*/ 141 h 142"/>
                <a:gd name="T52" fmla="*/ 49 w 134"/>
                <a:gd name="T53" fmla="*/ 138 h 142"/>
                <a:gd name="T54" fmla="*/ 45 w 134"/>
                <a:gd name="T55" fmla="*/ 135 h 142"/>
                <a:gd name="T56" fmla="*/ 42 w 134"/>
                <a:gd name="T57" fmla="*/ 135 h 142"/>
                <a:gd name="T58" fmla="*/ 33 w 134"/>
                <a:gd name="T59" fmla="*/ 131 h 142"/>
                <a:gd name="T60" fmla="*/ 30 w 134"/>
                <a:gd name="T61" fmla="*/ 131 h 142"/>
                <a:gd name="T62" fmla="*/ 28 w 134"/>
                <a:gd name="T63" fmla="*/ 128 h 142"/>
                <a:gd name="T64" fmla="*/ 28 w 134"/>
                <a:gd name="T65" fmla="*/ 124 h 142"/>
                <a:gd name="T66" fmla="*/ 28 w 134"/>
                <a:gd name="T67" fmla="*/ 117 h 142"/>
                <a:gd name="T68" fmla="*/ 26 w 134"/>
                <a:gd name="T69" fmla="*/ 114 h 142"/>
                <a:gd name="T70" fmla="*/ 23 w 134"/>
                <a:gd name="T71" fmla="*/ 109 h 142"/>
                <a:gd name="T72" fmla="*/ 21 w 134"/>
                <a:gd name="T73" fmla="*/ 103 h 142"/>
                <a:gd name="T74" fmla="*/ 21 w 134"/>
                <a:gd name="T75" fmla="*/ 98 h 142"/>
                <a:gd name="T76" fmla="*/ 23 w 134"/>
                <a:gd name="T77" fmla="*/ 94 h 142"/>
                <a:gd name="T78" fmla="*/ 28 w 134"/>
                <a:gd name="T79" fmla="*/ 93 h 142"/>
                <a:gd name="T80" fmla="*/ 31 w 134"/>
                <a:gd name="T81" fmla="*/ 91 h 142"/>
                <a:gd name="T82" fmla="*/ 35 w 134"/>
                <a:gd name="T83" fmla="*/ 87 h 142"/>
                <a:gd name="T84" fmla="*/ 39 w 134"/>
                <a:gd name="T85" fmla="*/ 84 h 142"/>
                <a:gd name="T86" fmla="*/ 46 w 134"/>
                <a:gd name="T87" fmla="*/ 79 h 142"/>
                <a:gd name="T88" fmla="*/ 50 w 134"/>
                <a:gd name="T89" fmla="*/ 74 h 142"/>
                <a:gd name="T90" fmla="*/ 58 w 134"/>
                <a:gd name="T91" fmla="*/ 70 h 142"/>
                <a:gd name="T92" fmla="*/ 60 w 134"/>
                <a:gd name="T93" fmla="*/ 68 h 142"/>
                <a:gd name="T94" fmla="*/ 58 w 134"/>
                <a:gd name="T95" fmla="*/ 64 h 142"/>
                <a:gd name="T96" fmla="*/ 53 w 134"/>
                <a:gd name="T97" fmla="*/ 59 h 142"/>
                <a:gd name="T98" fmla="*/ 46 w 134"/>
                <a:gd name="T99" fmla="*/ 57 h 142"/>
                <a:gd name="T100" fmla="*/ 38 w 134"/>
                <a:gd name="T101" fmla="*/ 49 h 142"/>
                <a:gd name="T102" fmla="*/ 38 w 134"/>
                <a:gd name="T103" fmla="*/ 40 h 142"/>
                <a:gd name="T104" fmla="*/ 37 w 134"/>
                <a:gd name="T105" fmla="*/ 36 h 142"/>
                <a:gd name="T106" fmla="*/ 32 w 134"/>
                <a:gd name="T107" fmla="*/ 29 h 142"/>
                <a:gd name="T108" fmla="*/ 24 w 134"/>
                <a:gd name="T109" fmla="*/ 22 h 142"/>
                <a:gd name="T110" fmla="*/ 13 w 134"/>
                <a:gd name="T111" fmla="*/ 18 h 142"/>
                <a:gd name="T112" fmla="*/ 2 w 134"/>
                <a:gd name="T113" fmla="*/ 14 h 142"/>
                <a:gd name="T114" fmla="*/ 15 w 134"/>
                <a:gd name="T115" fmla="*/ 14 h 142"/>
                <a:gd name="T116" fmla="*/ 28 w 134"/>
                <a:gd name="T117" fmla="*/ 18 h 142"/>
                <a:gd name="T118" fmla="*/ 44 w 134"/>
                <a:gd name="T119" fmla="*/ 19 h 142"/>
                <a:gd name="T120" fmla="*/ 52 w 134"/>
                <a:gd name="T121" fmla="*/ 14 h 142"/>
                <a:gd name="T122" fmla="*/ 52 w 134"/>
                <a:gd name="T123" fmla="*/ 4 h 142"/>
                <a:gd name="T124" fmla="*/ 63 w 134"/>
                <a:gd name="T125" fmla="*/ 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4" h="142">
                  <a:moveTo>
                    <a:pt x="71" y="0"/>
                  </a:moveTo>
                  <a:lnTo>
                    <a:pt x="72" y="0"/>
                  </a:lnTo>
                  <a:lnTo>
                    <a:pt x="74" y="2"/>
                  </a:lnTo>
                  <a:lnTo>
                    <a:pt x="77" y="2"/>
                  </a:lnTo>
                  <a:lnTo>
                    <a:pt x="77" y="3"/>
                  </a:lnTo>
                  <a:lnTo>
                    <a:pt x="78" y="3"/>
                  </a:lnTo>
                  <a:lnTo>
                    <a:pt x="81" y="3"/>
                  </a:lnTo>
                  <a:lnTo>
                    <a:pt x="85" y="4"/>
                  </a:lnTo>
                  <a:lnTo>
                    <a:pt x="86" y="5"/>
                  </a:lnTo>
                  <a:lnTo>
                    <a:pt x="87" y="8"/>
                  </a:lnTo>
                  <a:lnTo>
                    <a:pt x="86" y="9"/>
                  </a:lnTo>
                  <a:lnTo>
                    <a:pt x="83" y="10"/>
                  </a:lnTo>
                  <a:lnTo>
                    <a:pt x="83" y="11"/>
                  </a:lnTo>
                  <a:lnTo>
                    <a:pt x="83" y="12"/>
                  </a:lnTo>
                  <a:lnTo>
                    <a:pt x="85" y="14"/>
                  </a:lnTo>
                  <a:lnTo>
                    <a:pt x="83" y="14"/>
                  </a:lnTo>
                  <a:lnTo>
                    <a:pt x="82" y="14"/>
                  </a:lnTo>
                  <a:lnTo>
                    <a:pt x="80" y="15"/>
                  </a:lnTo>
                  <a:lnTo>
                    <a:pt x="82" y="15"/>
                  </a:lnTo>
                  <a:lnTo>
                    <a:pt x="83" y="16"/>
                  </a:lnTo>
                  <a:lnTo>
                    <a:pt x="83" y="17"/>
                  </a:lnTo>
                  <a:lnTo>
                    <a:pt x="81" y="19"/>
                  </a:lnTo>
                  <a:lnTo>
                    <a:pt x="81" y="21"/>
                  </a:lnTo>
                  <a:lnTo>
                    <a:pt x="85" y="24"/>
                  </a:lnTo>
                  <a:lnTo>
                    <a:pt x="88" y="25"/>
                  </a:lnTo>
                  <a:lnTo>
                    <a:pt x="92" y="25"/>
                  </a:lnTo>
                  <a:lnTo>
                    <a:pt x="92" y="26"/>
                  </a:lnTo>
                  <a:lnTo>
                    <a:pt x="93" y="26"/>
                  </a:lnTo>
                  <a:lnTo>
                    <a:pt x="94" y="28"/>
                  </a:lnTo>
                  <a:lnTo>
                    <a:pt x="96" y="29"/>
                  </a:lnTo>
                  <a:lnTo>
                    <a:pt x="96" y="30"/>
                  </a:lnTo>
                  <a:lnTo>
                    <a:pt x="100" y="31"/>
                  </a:lnTo>
                  <a:lnTo>
                    <a:pt x="100" y="32"/>
                  </a:lnTo>
                  <a:lnTo>
                    <a:pt x="100" y="33"/>
                  </a:lnTo>
                  <a:lnTo>
                    <a:pt x="96" y="37"/>
                  </a:lnTo>
                  <a:lnTo>
                    <a:pt x="95" y="37"/>
                  </a:lnTo>
                  <a:lnTo>
                    <a:pt x="93" y="40"/>
                  </a:lnTo>
                  <a:lnTo>
                    <a:pt x="93" y="42"/>
                  </a:lnTo>
                  <a:lnTo>
                    <a:pt x="93" y="43"/>
                  </a:lnTo>
                  <a:lnTo>
                    <a:pt x="96" y="45"/>
                  </a:lnTo>
                  <a:lnTo>
                    <a:pt x="97" y="45"/>
                  </a:lnTo>
                  <a:lnTo>
                    <a:pt x="97" y="46"/>
                  </a:lnTo>
                  <a:lnTo>
                    <a:pt x="99" y="47"/>
                  </a:lnTo>
                  <a:lnTo>
                    <a:pt x="100" y="49"/>
                  </a:lnTo>
                  <a:lnTo>
                    <a:pt x="100" y="50"/>
                  </a:lnTo>
                  <a:lnTo>
                    <a:pt x="101" y="50"/>
                  </a:lnTo>
                  <a:lnTo>
                    <a:pt x="103" y="52"/>
                  </a:lnTo>
                  <a:lnTo>
                    <a:pt x="104" y="52"/>
                  </a:lnTo>
                  <a:lnTo>
                    <a:pt x="104" y="53"/>
                  </a:lnTo>
                  <a:lnTo>
                    <a:pt x="106" y="54"/>
                  </a:lnTo>
                  <a:lnTo>
                    <a:pt x="106" y="56"/>
                  </a:lnTo>
                  <a:lnTo>
                    <a:pt x="107" y="56"/>
                  </a:lnTo>
                  <a:lnTo>
                    <a:pt x="107" y="57"/>
                  </a:lnTo>
                  <a:lnTo>
                    <a:pt x="108" y="58"/>
                  </a:lnTo>
                  <a:lnTo>
                    <a:pt x="108" y="59"/>
                  </a:lnTo>
                  <a:lnTo>
                    <a:pt x="107" y="59"/>
                  </a:lnTo>
                  <a:lnTo>
                    <a:pt x="104" y="59"/>
                  </a:lnTo>
                  <a:lnTo>
                    <a:pt x="103" y="59"/>
                  </a:lnTo>
                  <a:lnTo>
                    <a:pt x="104" y="59"/>
                  </a:lnTo>
                  <a:lnTo>
                    <a:pt x="106" y="60"/>
                  </a:lnTo>
                  <a:lnTo>
                    <a:pt x="104" y="61"/>
                  </a:lnTo>
                  <a:lnTo>
                    <a:pt x="104" y="63"/>
                  </a:lnTo>
                  <a:lnTo>
                    <a:pt x="104" y="64"/>
                  </a:lnTo>
                  <a:lnTo>
                    <a:pt x="103" y="65"/>
                  </a:lnTo>
                  <a:lnTo>
                    <a:pt x="104" y="65"/>
                  </a:lnTo>
                  <a:lnTo>
                    <a:pt x="106" y="65"/>
                  </a:lnTo>
                  <a:lnTo>
                    <a:pt x="107" y="65"/>
                  </a:lnTo>
                  <a:lnTo>
                    <a:pt x="107" y="66"/>
                  </a:lnTo>
                  <a:lnTo>
                    <a:pt x="106" y="67"/>
                  </a:lnTo>
                  <a:lnTo>
                    <a:pt x="104" y="67"/>
                  </a:lnTo>
                  <a:lnTo>
                    <a:pt x="104" y="68"/>
                  </a:lnTo>
                  <a:lnTo>
                    <a:pt x="106" y="70"/>
                  </a:lnTo>
                  <a:lnTo>
                    <a:pt x="107" y="71"/>
                  </a:lnTo>
                  <a:lnTo>
                    <a:pt x="108" y="71"/>
                  </a:lnTo>
                  <a:lnTo>
                    <a:pt x="110" y="71"/>
                  </a:lnTo>
                  <a:lnTo>
                    <a:pt x="111" y="71"/>
                  </a:lnTo>
                  <a:lnTo>
                    <a:pt x="111" y="72"/>
                  </a:lnTo>
                  <a:lnTo>
                    <a:pt x="113" y="73"/>
                  </a:lnTo>
                  <a:lnTo>
                    <a:pt x="111" y="73"/>
                  </a:lnTo>
                  <a:lnTo>
                    <a:pt x="110" y="74"/>
                  </a:lnTo>
                  <a:lnTo>
                    <a:pt x="110" y="75"/>
                  </a:lnTo>
                  <a:lnTo>
                    <a:pt x="111" y="75"/>
                  </a:lnTo>
                  <a:lnTo>
                    <a:pt x="111" y="77"/>
                  </a:lnTo>
                  <a:lnTo>
                    <a:pt x="113" y="77"/>
                  </a:lnTo>
                  <a:lnTo>
                    <a:pt x="113" y="78"/>
                  </a:lnTo>
                  <a:lnTo>
                    <a:pt x="115" y="78"/>
                  </a:lnTo>
                  <a:lnTo>
                    <a:pt x="116" y="78"/>
                  </a:lnTo>
                  <a:lnTo>
                    <a:pt x="116" y="79"/>
                  </a:lnTo>
                  <a:lnTo>
                    <a:pt x="117" y="79"/>
                  </a:lnTo>
                  <a:lnTo>
                    <a:pt x="117" y="80"/>
                  </a:lnTo>
                  <a:lnTo>
                    <a:pt x="118" y="80"/>
                  </a:lnTo>
                  <a:lnTo>
                    <a:pt x="118" y="81"/>
                  </a:lnTo>
                  <a:lnTo>
                    <a:pt x="118" y="82"/>
                  </a:lnTo>
                  <a:lnTo>
                    <a:pt x="116" y="84"/>
                  </a:lnTo>
                  <a:lnTo>
                    <a:pt x="116" y="85"/>
                  </a:lnTo>
                  <a:lnTo>
                    <a:pt x="115" y="85"/>
                  </a:lnTo>
                  <a:lnTo>
                    <a:pt x="114" y="85"/>
                  </a:lnTo>
                  <a:lnTo>
                    <a:pt x="114" y="86"/>
                  </a:lnTo>
                  <a:lnTo>
                    <a:pt x="113" y="86"/>
                  </a:lnTo>
                  <a:lnTo>
                    <a:pt x="114" y="86"/>
                  </a:lnTo>
                  <a:lnTo>
                    <a:pt x="116" y="88"/>
                  </a:lnTo>
                  <a:lnTo>
                    <a:pt x="118" y="88"/>
                  </a:lnTo>
                  <a:lnTo>
                    <a:pt x="118" y="89"/>
                  </a:lnTo>
                  <a:lnTo>
                    <a:pt x="120" y="89"/>
                  </a:lnTo>
                  <a:lnTo>
                    <a:pt x="123" y="91"/>
                  </a:lnTo>
                  <a:lnTo>
                    <a:pt x="125" y="92"/>
                  </a:lnTo>
                  <a:lnTo>
                    <a:pt x="128" y="93"/>
                  </a:lnTo>
                  <a:lnTo>
                    <a:pt x="129" y="94"/>
                  </a:lnTo>
                  <a:lnTo>
                    <a:pt x="129" y="95"/>
                  </a:lnTo>
                  <a:lnTo>
                    <a:pt x="130" y="95"/>
                  </a:lnTo>
                  <a:lnTo>
                    <a:pt x="131" y="96"/>
                  </a:lnTo>
                  <a:lnTo>
                    <a:pt x="132" y="96"/>
                  </a:lnTo>
                  <a:lnTo>
                    <a:pt x="132" y="98"/>
                  </a:lnTo>
                  <a:lnTo>
                    <a:pt x="134" y="98"/>
                  </a:lnTo>
                  <a:lnTo>
                    <a:pt x="132" y="99"/>
                  </a:lnTo>
                  <a:lnTo>
                    <a:pt x="132" y="100"/>
                  </a:lnTo>
                  <a:lnTo>
                    <a:pt x="131" y="101"/>
                  </a:lnTo>
                  <a:lnTo>
                    <a:pt x="131" y="102"/>
                  </a:lnTo>
                  <a:lnTo>
                    <a:pt x="131" y="103"/>
                  </a:lnTo>
                  <a:lnTo>
                    <a:pt x="130" y="103"/>
                  </a:lnTo>
                  <a:lnTo>
                    <a:pt x="130" y="105"/>
                  </a:lnTo>
                  <a:lnTo>
                    <a:pt x="129" y="106"/>
                  </a:lnTo>
                  <a:lnTo>
                    <a:pt x="128" y="106"/>
                  </a:lnTo>
                  <a:lnTo>
                    <a:pt x="127" y="107"/>
                  </a:lnTo>
                  <a:lnTo>
                    <a:pt x="125" y="107"/>
                  </a:lnTo>
                  <a:lnTo>
                    <a:pt x="125" y="108"/>
                  </a:lnTo>
                  <a:lnTo>
                    <a:pt x="124" y="109"/>
                  </a:lnTo>
                  <a:lnTo>
                    <a:pt x="123" y="110"/>
                  </a:lnTo>
                  <a:lnTo>
                    <a:pt x="121" y="113"/>
                  </a:lnTo>
                  <a:lnTo>
                    <a:pt x="120" y="114"/>
                  </a:lnTo>
                  <a:lnTo>
                    <a:pt x="118" y="115"/>
                  </a:lnTo>
                  <a:lnTo>
                    <a:pt x="118" y="116"/>
                  </a:lnTo>
                  <a:lnTo>
                    <a:pt x="117" y="116"/>
                  </a:lnTo>
                  <a:lnTo>
                    <a:pt x="116" y="117"/>
                  </a:lnTo>
                  <a:lnTo>
                    <a:pt x="115" y="117"/>
                  </a:lnTo>
                  <a:lnTo>
                    <a:pt x="115" y="119"/>
                  </a:lnTo>
                  <a:lnTo>
                    <a:pt x="114" y="120"/>
                  </a:lnTo>
                  <a:lnTo>
                    <a:pt x="113" y="121"/>
                  </a:lnTo>
                  <a:lnTo>
                    <a:pt x="111" y="122"/>
                  </a:lnTo>
                  <a:lnTo>
                    <a:pt x="110" y="122"/>
                  </a:lnTo>
                  <a:lnTo>
                    <a:pt x="109" y="123"/>
                  </a:lnTo>
                  <a:lnTo>
                    <a:pt x="108" y="123"/>
                  </a:lnTo>
                  <a:lnTo>
                    <a:pt x="108" y="124"/>
                  </a:lnTo>
                  <a:lnTo>
                    <a:pt x="107" y="124"/>
                  </a:lnTo>
                  <a:lnTo>
                    <a:pt x="107" y="126"/>
                  </a:lnTo>
                  <a:lnTo>
                    <a:pt x="106" y="126"/>
                  </a:lnTo>
                  <a:lnTo>
                    <a:pt x="104" y="127"/>
                  </a:lnTo>
                  <a:lnTo>
                    <a:pt x="103" y="128"/>
                  </a:lnTo>
                  <a:lnTo>
                    <a:pt x="102" y="128"/>
                  </a:lnTo>
                  <a:lnTo>
                    <a:pt x="101" y="129"/>
                  </a:lnTo>
                  <a:lnTo>
                    <a:pt x="101" y="130"/>
                  </a:lnTo>
                  <a:lnTo>
                    <a:pt x="100" y="130"/>
                  </a:lnTo>
                  <a:lnTo>
                    <a:pt x="100" y="131"/>
                  </a:lnTo>
                  <a:lnTo>
                    <a:pt x="99" y="131"/>
                  </a:lnTo>
                  <a:lnTo>
                    <a:pt x="99" y="130"/>
                  </a:lnTo>
                  <a:lnTo>
                    <a:pt x="99" y="131"/>
                  </a:lnTo>
                  <a:lnTo>
                    <a:pt x="99" y="133"/>
                  </a:lnTo>
                  <a:lnTo>
                    <a:pt x="97" y="131"/>
                  </a:lnTo>
                  <a:lnTo>
                    <a:pt x="99" y="131"/>
                  </a:lnTo>
                  <a:lnTo>
                    <a:pt x="97" y="131"/>
                  </a:lnTo>
                  <a:lnTo>
                    <a:pt x="97" y="133"/>
                  </a:lnTo>
                  <a:lnTo>
                    <a:pt x="96" y="131"/>
                  </a:lnTo>
                  <a:lnTo>
                    <a:pt x="95" y="131"/>
                  </a:lnTo>
                  <a:lnTo>
                    <a:pt x="96" y="131"/>
                  </a:lnTo>
                  <a:lnTo>
                    <a:pt x="96" y="133"/>
                  </a:lnTo>
                  <a:lnTo>
                    <a:pt x="95" y="133"/>
                  </a:lnTo>
                  <a:lnTo>
                    <a:pt x="95" y="131"/>
                  </a:lnTo>
                  <a:lnTo>
                    <a:pt x="94" y="131"/>
                  </a:lnTo>
                  <a:lnTo>
                    <a:pt x="93" y="131"/>
                  </a:lnTo>
                  <a:lnTo>
                    <a:pt x="94" y="131"/>
                  </a:lnTo>
                  <a:lnTo>
                    <a:pt x="93" y="131"/>
                  </a:lnTo>
                  <a:lnTo>
                    <a:pt x="93" y="130"/>
                  </a:lnTo>
                  <a:lnTo>
                    <a:pt x="93" y="131"/>
                  </a:lnTo>
                  <a:lnTo>
                    <a:pt x="92" y="131"/>
                  </a:lnTo>
                  <a:lnTo>
                    <a:pt x="90" y="131"/>
                  </a:lnTo>
                  <a:lnTo>
                    <a:pt x="90" y="133"/>
                  </a:lnTo>
                  <a:lnTo>
                    <a:pt x="89" y="133"/>
                  </a:lnTo>
                  <a:lnTo>
                    <a:pt x="90" y="133"/>
                  </a:lnTo>
                  <a:lnTo>
                    <a:pt x="89" y="133"/>
                  </a:lnTo>
                  <a:lnTo>
                    <a:pt x="88" y="133"/>
                  </a:lnTo>
                  <a:lnTo>
                    <a:pt x="87" y="133"/>
                  </a:lnTo>
                  <a:lnTo>
                    <a:pt x="86" y="133"/>
                  </a:lnTo>
                  <a:lnTo>
                    <a:pt x="85" y="133"/>
                  </a:lnTo>
                  <a:lnTo>
                    <a:pt x="85" y="131"/>
                  </a:lnTo>
                  <a:lnTo>
                    <a:pt x="86" y="131"/>
                  </a:lnTo>
                  <a:lnTo>
                    <a:pt x="86" y="130"/>
                  </a:lnTo>
                  <a:lnTo>
                    <a:pt x="87" y="130"/>
                  </a:lnTo>
                  <a:lnTo>
                    <a:pt x="86" y="129"/>
                  </a:lnTo>
                  <a:lnTo>
                    <a:pt x="86" y="130"/>
                  </a:lnTo>
                  <a:lnTo>
                    <a:pt x="85" y="131"/>
                  </a:lnTo>
                  <a:lnTo>
                    <a:pt x="85" y="133"/>
                  </a:lnTo>
                  <a:lnTo>
                    <a:pt x="85" y="134"/>
                  </a:lnTo>
                  <a:lnTo>
                    <a:pt x="83" y="133"/>
                  </a:lnTo>
                  <a:lnTo>
                    <a:pt x="83" y="134"/>
                  </a:lnTo>
                  <a:lnTo>
                    <a:pt x="83" y="133"/>
                  </a:lnTo>
                  <a:lnTo>
                    <a:pt x="82" y="133"/>
                  </a:lnTo>
                  <a:lnTo>
                    <a:pt x="82" y="134"/>
                  </a:lnTo>
                  <a:lnTo>
                    <a:pt x="81" y="133"/>
                  </a:lnTo>
                  <a:lnTo>
                    <a:pt x="81" y="134"/>
                  </a:lnTo>
                  <a:lnTo>
                    <a:pt x="81" y="133"/>
                  </a:lnTo>
                  <a:lnTo>
                    <a:pt x="80" y="133"/>
                  </a:lnTo>
                  <a:lnTo>
                    <a:pt x="79" y="133"/>
                  </a:lnTo>
                  <a:lnTo>
                    <a:pt x="80" y="133"/>
                  </a:lnTo>
                  <a:lnTo>
                    <a:pt x="80" y="134"/>
                  </a:lnTo>
                  <a:lnTo>
                    <a:pt x="81" y="134"/>
                  </a:lnTo>
                  <a:lnTo>
                    <a:pt x="81" y="135"/>
                  </a:lnTo>
                  <a:lnTo>
                    <a:pt x="80" y="135"/>
                  </a:lnTo>
                  <a:lnTo>
                    <a:pt x="80" y="134"/>
                  </a:lnTo>
                  <a:lnTo>
                    <a:pt x="79" y="134"/>
                  </a:lnTo>
                  <a:lnTo>
                    <a:pt x="78" y="134"/>
                  </a:lnTo>
                  <a:lnTo>
                    <a:pt x="79" y="134"/>
                  </a:lnTo>
                  <a:lnTo>
                    <a:pt x="79" y="135"/>
                  </a:lnTo>
                  <a:lnTo>
                    <a:pt x="79" y="136"/>
                  </a:lnTo>
                  <a:lnTo>
                    <a:pt x="79" y="135"/>
                  </a:lnTo>
                  <a:lnTo>
                    <a:pt x="78" y="135"/>
                  </a:lnTo>
                  <a:lnTo>
                    <a:pt x="77" y="135"/>
                  </a:lnTo>
                  <a:lnTo>
                    <a:pt x="78" y="135"/>
                  </a:lnTo>
                  <a:lnTo>
                    <a:pt x="79" y="135"/>
                  </a:lnTo>
                  <a:lnTo>
                    <a:pt x="78" y="135"/>
                  </a:lnTo>
                  <a:lnTo>
                    <a:pt x="78" y="136"/>
                  </a:lnTo>
                  <a:lnTo>
                    <a:pt x="78" y="135"/>
                  </a:lnTo>
                  <a:lnTo>
                    <a:pt x="77" y="135"/>
                  </a:lnTo>
                  <a:lnTo>
                    <a:pt x="77" y="134"/>
                  </a:lnTo>
                  <a:lnTo>
                    <a:pt x="75" y="134"/>
                  </a:lnTo>
                  <a:lnTo>
                    <a:pt x="77" y="134"/>
                  </a:lnTo>
                  <a:lnTo>
                    <a:pt x="75" y="134"/>
                  </a:lnTo>
                  <a:lnTo>
                    <a:pt x="74" y="135"/>
                  </a:lnTo>
                  <a:lnTo>
                    <a:pt x="75" y="135"/>
                  </a:lnTo>
                  <a:lnTo>
                    <a:pt x="74" y="135"/>
                  </a:lnTo>
                  <a:lnTo>
                    <a:pt x="74" y="136"/>
                  </a:lnTo>
                  <a:lnTo>
                    <a:pt x="73" y="136"/>
                  </a:lnTo>
                  <a:lnTo>
                    <a:pt x="73" y="135"/>
                  </a:lnTo>
                  <a:lnTo>
                    <a:pt x="72" y="135"/>
                  </a:lnTo>
                  <a:lnTo>
                    <a:pt x="73" y="135"/>
                  </a:lnTo>
                  <a:lnTo>
                    <a:pt x="72" y="136"/>
                  </a:lnTo>
                  <a:lnTo>
                    <a:pt x="71" y="136"/>
                  </a:lnTo>
                  <a:lnTo>
                    <a:pt x="72" y="136"/>
                  </a:lnTo>
                  <a:lnTo>
                    <a:pt x="71" y="136"/>
                  </a:lnTo>
                  <a:lnTo>
                    <a:pt x="72" y="136"/>
                  </a:lnTo>
                  <a:lnTo>
                    <a:pt x="71" y="136"/>
                  </a:lnTo>
                  <a:lnTo>
                    <a:pt x="70" y="136"/>
                  </a:lnTo>
                  <a:lnTo>
                    <a:pt x="70" y="137"/>
                  </a:lnTo>
                  <a:lnTo>
                    <a:pt x="70" y="136"/>
                  </a:lnTo>
                  <a:lnTo>
                    <a:pt x="68" y="136"/>
                  </a:lnTo>
                  <a:lnTo>
                    <a:pt x="68" y="137"/>
                  </a:lnTo>
                  <a:lnTo>
                    <a:pt x="67" y="137"/>
                  </a:lnTo>
                  <a:lnTo>
                    <a:pt x="67" y="136"/>
                  </a:lnTo>
                  <a:lnTo>
                    <a:pt x="67" y="137"/>
                  </a:lnTo>
                  <a:lnTo>
                    <a:pt x="66" y="137"/>
                  </a:lnTo>
                  <a:lnTo>
                    <a:pt x="65" y="137"/>
                  </a:lnTo>
                  <a:lnTo>
                    <a:pt x="64" y="137"/>
                  </a:lnTo>
                  <a:lnTo>
                    <a:pt x="65" y="137"/>
                  </a:lnTo>
                  <a:lnTo>
                    <a:pt x="64" y="137"/>
                  </a:lnTo>
                  <a:lnTo>
                    <a:pt x="65" y="137"/>
                  </a:lnTo>
                  <a:lnTo>
                    <a:pt x="65" y="138"/>
                  </a:lnTo>
                  <a:lnTo>
                    <a:pt x="64" y="138"/>
                  </a:lnTo>
                  <a:lnTo>
                    <a:pt x="64" y="140"/>
                  </a:lnTo>
                  <a:lnTo>
                    <a:pt x="64" y="138"/>
                  </a:lnTo>
                  <a:lnTo>
                    <a:pt x="63" y="138"/>
                  </a:lnTo>
                  <a:lnTo>
                    <a:pt x="63" y="140"/>
                  </a:lnTo>
                  <a:lnTo>
                    <a:pt x="61" y="140"/>
                  </a:lnTo>
                  <a:lnTo>
                    <a:pt x="63" y="138"/>
                  </a:lnTo>
                  <a:lnTo>
                    <a:pt x="61" y="138"/>
                  </a:lnTo>
                  <a:lnTo>
                    <a:pt x="60" y="138"/>
                  </a:lnTo>
                  <a:lnTo>
                    <a:pt x="59" y="138"/>
                  </a:lnTo>
                  <a:lnTo>
                    <a:pt x="58" y="138"/>
                  </a:lnTo>
                  <a:lnTo>
                    <a:pt x="59" y="138"/>
                  </a:lnTo>
                  <a:lnTo>
                    <a:pt x="58" y="138"/>
                  </a:lnTo>
                  <a:lnTo>
                    <a:pt x="58" y="140"/>
                  </a:lnTo>
                  <a:lnTo>
                    <a:pt x="57" y="140"/>
                  </a:lnTo>
                  <a:lnTo>
                    <a:pt x="56" y="140"/>
                  </a:lnTo>
                  <a:lnTo>
                    <a:pt x="54" y="140"/>
                  </a:lnTo>
                  <a:lnTo>
                    <a:pt x="53" y="140"/>
                  </a:lnTo>
                  <a:lnTo>
                    <a:pt x="52" y="140"/>
                  </a:lnTo>
                  <a:lnTo>
                    <a:pt x="53" y="138"/>
                  </a:lnTo>
                  <a:lnTo>
                    <a:pt x="52" y="138"/>
                  </a:lnTo>
                  <a:lnTo>
                    <a:pt x="52" y="140"/>
                  </a:lnTo>
                  <a:lnTo>
                    <a:pt x="51" y="141"/>
                  </a:lnTo>
                  <a:lnTo>
                    <a:pt x="50" y="141"/>
                  </a:lnTo>
                  <a:lnTo>
                    <a:pt x="51" y="141"/>
                  </a:lnTo>
                  <a:lnTo>
                    <a:pt x="51" y="142"/>
                  </a:lnTo>
                  <a:lnTo>
                    <a:pt x="49" y="142"/>
                  </a:lnTo>
                  <a:lnTo>
                    <a:pt x="47" y="142"/>
                  </a:lnTo>
                  <a:lnTo>
                    <a:pt x="46" y="142"/>
                  </a:lnTo>
                  <a:lnTo>
                    <a:pt x="47" y="142"/>
                  </a:lnTo>
                  <a:lnTo>
                    <a:pt x="47" y="141"/>
                  </a:lnTo>
                  <a:lnTo>
                    <a:pt x="49" y="141"/>
                  </a:lnTo>
                  <a:lnTo>
                    <a:pt x="50" y="141"/>
                  </a:lnTo>
                  <a:lnTo>
                    <a:pt x="51" y="140"/>
                  </a:lnTo>
                  <a:lnTo>
                    <a:pt x="51" y="138"/>
                  </a:lnTo>
                  <a:lnTo>
                    <a:pt x="50" y="140"/>
                  </a:lnTo>
                  <a:lnTo>
                    <a:pt x="49" y="140"/>
                  </a:lnTo>
                  <a:lnTo>
                    <a:pt x="49" y="141"/>
                  </a:lnTo>
                  <a:lnTo>
                    <a:pt x="49" y="140"/>
                  </a:lnTo>
                  <a:lnTo>
                    <a:pt x="50" y="140"/>
                  </a:lnTo>
                  <a:lnTo>
                    <a:pt x="50" y="138"/>
                  </a:lnTo>
                  <a:lnTo>
                    <a:pt x="49" y="138"/>
                  </a:lnTo>
                  <a:lnTo>
                    <a:pt x="47" y="138"/>
                  </a:lnTo>
                  <a:lnTo>
                    <a:pt x="47" y="137"/>
                  </a:lnTo>
                  <a:lnTo>
                    <a:pt x="46" y="137"/>
                  </a:lnTo>
                  <a:lnTo>
                    <a:pt x="45" y="137"/>
                  </a:lnTo>
                  <a:lnTo>
                    <a:pt x="45" y="136"/>
                  </a:lnTo>
                  <a:lnTo>
                    <a:pt x="46" y="136"/>
                  </a:lnTo>
                  <a:lnTo>
                    <a:pt x="46" y="135"/>
                  </a:lnTo>
                  <a:lnTo>
                    <a:pt x="47" y="135"/>
                  </a:lnTo>
                  <a:lnTo>
                    <a:pt x="47" y="134"/>
                  </a:lnTo>
                  <a:lnTo>
                    <a:pt x="46" y="135"/>
                  </a:lnTo>
                  <a:lnTo>
                    <a:pt x="45" y="135"/>
                  </a:lnTo>
                  <a:lnTo>
                    <a:pt x="44" y="136"/>
                  </a:lnTo>
                  <a:lnTo>
                    <a:pt x="43" y="136"/>
                  </a:lnTo>
                  <a:lnTo>
                    <a:pt x="42" y="136"/>
                  </a:lnTo>
                  <a:lnTo>
                    <a:pt x="43" y="136"/>
                  </a:lnTo>
                  <a:lnTo>
                    <a:pt x="42" y="136"/>
                  </a:lnTo>
                  <a:lnTo>
                    <a:pt x="42" y="135"/>
                  </a:lnTo>
                  <a:lnTo>
                    <a:pt x="43" y="135"/>
                  </a:lnTo>
                  <a:lnTo>
                    <a:pt x="42" y="135"/>
                  </a:lnTo>
                  <a:lnTo>
                    <a:pt x="40" y="136"/>
                  </a:lnTo>
                  <a:lnTo>
                    <a:pt x="40" y="135"/>
                  </a:lnTo>
                  <a:lnTo>
                    <a:pt x="42" y="135"/>
                  </a:lnTo>
                  <a:lnTo>
                    <a:pt x="42" y="134"/>
                  </a:lnTo>
                  <a:lnTo>
                    <a:pt x="43" y="134"/>
                  </a:lnTo>
                  <a:lnTo>
                    <a:pt x="42" y="134"/>
                  </a:lnTo>
                  <a:lnTo>
                    <a:pt x="40" y="134"/>
                  </a:lnTo>
                  <a:lnTo>
                    <a:pt x="39" y="134"/>
                  </a:lnTo>
                  <a:lnTo>
                    <a:pt x="38" y="134"/>
                  </a:lnTo>
                  <a:lnTo>
                    <a:pt x="37" y="133"/>
                  </a:lnTo>
                  <a:lnTo>
                    <a:pt x="36" y="133"/>
                  </a:lnTo>
                  <a:lnTo>
                    <a:pt x="35" y="133"/>
                  </a:lnTo>
                  <a:lnTo>
                    <a:pt x="35" y="131"/>
                  </a:lnTo>
                  <a:lnTo>
                    <a:pt x="33" y="131"/>
                  </a:lnTo>
                  <a:lnTo>
                    <a:pt x="33" y="133"/>
                  </a:lnTo>
                  <a:lnTo>
                    <a:pt x="32" y="133"/>
                  </a:lnTo>
                  <a:lnTo>
                    <a:pt x="32" y="131"/>
                  </a:lnTo>
                  <a:lnTo>
                    <a:pt x="32" y="130"/>
                  </a:lnTo>
                  <a:lnTo>
                    <a:pt x="33" y="130"/>
                  </a:lnTo>
                  <a:lnTo>
                    <a:pt x="32" y="130"/>
                  </a:lnTo>
                  <a:lnTo>
                    <a:pt x="31" y="130"/>
                  </a:lnTo>
                  <a:lnTo>
                    <a:pt x="31" y="131"/>
                  </a:lnTo>
                  <a:lnTo>
                    <a:pt x="31" y="133"/>
                  </a:lnTo>
                  <a:lnTo>
                    <a:pt x="30" y="133"/>
                  </a:lnTo>
                  <a:lnTo>
                    <a:pt x="30" y="131"/>
                  </a:lnTo>
                  <a:lnTo>
                    <a:pt x="30" y="130"/>
                  </a:lnTo>
                  <a:lnTo>
                    <a:pt x="29" y="130"/>
                  </a:lnTo>
                  <a:lnTo>
                    <a:pt x="29" y="131"/>
                  </a:lnTo>
                  <a:lnTo>
                    <a:pt x="29" y="130"/>
                  </a:lnTo>
                  <a:lnTo>
                    <a:pt x="28" y="130"/>
                  </a:lnTo>
                  <a:lnTo>
                    <a:pt x="28" y="129"/>
                  </a:lnTo>
                  <a:lnTo>
                    <a:pt x="29" y="129"/>
                  </a:lnTo>
                  <a:lnTo>
                    <a:pt x="28" y="129"/>
                  </a:lnTo>
                  <a:lnTo>
                    <a:pt x="29" y="129"/>
                  </a:lnTo>
                  <a:lnTo>
                    <a:pt x="29" y="128"/>
                  </a:lnTo>
                  <a:lnTo>
                    <a:pt x="28" y="128"/>
                  </a:lnTo>
                  <a:lnTo>
                    <a:pt x="28" y="127"/>
                  </a:lnTo>
                  <a:lnTo>
                    <a:pt x="26" y="127"/>
                  </a:lnTo>
                  <a:lnTo>
                    <a:pt x="28" y="127"/>
                  </a:lnTo>
                  <a:lnTo>
                    <a:pt x="26" y="126"/>
                  </a:lnTo>
                  <a:lnTo>
                    <a:pt x="28" y="126"/>
                  </a:lnTo>
                  <a:lnTo>
                    <a:pt x="26" y="124"/>
                  </a:lnTo>
                  <a:lnTo>
                    <a:pt x="26" y="123"/>
                  </a:lnTo>
                  <a:lnTo>
                    <a:pt x="26" y="124"/>
                  </a:lnTo>
                  <a:lnTo>
                    <a:pt x="28" y="124"/>
                  </a:lnTo>
                  <a:lnTo>
                    <a:pt x="26" y="123"/>
                  </a:lnTo>
                  <a:lnTo>
                    <a:pt x="28" y="124"/>
                  </a:lnTo>
                  <a:lnTo>
                    <a:pt x="28" y="123"/>
                  </a:lnTo>
                  <a:lnTo>
                    <a:pt x="28" y="122"/>
                  </a:lnTo>
                  <a:lnTo>
                    <a:pt x="29" y="122"/>
                  </a:lnTo>
                  <a:lnTo>
                    <a:pt x="29" y="121"/>
                  </a:lnTo>
                  <a:lnTo>
                    <a:pt x="28" y="121"/>
                  </a:lnTo>
                  <a:lnTo>
                    <a:pt x="28" y="120"/>
                  </a:lnTo>
                  <a:lnTo>
                    <a:pt x="28" y="119"/>
                  </a:lnTo>
                  <a:lnTo>
                    <a:pt x="26" y="119"/>
                  </a:lnTo>
                  <a:lnTo>
                    <a:pt x="28" y="119"/>
                  </a:lnTo>
                  <a:lnTo>
                    <a:pt x="26" y="117"/>
                  </a:lnTo>
                  <a:lnTo>
                    <a:pt x="28" y="117"/>
                  </a:lnTo>
                  <a:lnTo>
                    <a:pt x="29" y="117"/>
                  </a:lnTo>
                  <a:lnTo>
                    <a:pt x="28" y="117"/>
                  </a:lnTo>
                  <a:lnTo>
                    <a:pt x="26" y="116"/>
                  </a:lnTo>
                  <a:lnTo>
                    <a:pt x="28" y="116"/>
                  </a:lnTo>
                  <a:lnTo>
                    <a:pt x="29" y="116"/>
                  </a:lnTo>
                  <a:lnTo>
                    <a:pt x="29" y="117"/>
                  </a:lnTo>
                  <a:lnTo>
                    <a:pt x="30" y="117"/>
                  </a:lnTo>
                  <a:lnTo>
                    <a:pt x="29" y="116"/>
                  </a:lnTo>
                  <a:lnTo>
                    <a:pt x="28" y="115"/>
                  </a:lnTo>
                  <a:lnTo>
                    <a:pt x="26" y="115"/>
                  </a:lnTo>
                  <a:lnTo>
                    <a:pt x="26" y="114"/>
                  </a:lnTo>
                  <a:lnTo>
                    <a:pt x="28" y="114"/>
                  </a:lnTo>
                  <a:lnTo>
                    <a:pt x="28" y="115"/>
                  </a:lnTo>
                  <a:lnTo>
                    <a:pt x="28" y="114"/>
                  </a:lnTo>
                  <a:lnTo>
                    <a:pt x="26" y="114"/>
                  </a:lnTo>
                  <a:lnTo>
                    <a:pt x="26" y="113"/>
                  </a:lnTo>
                  <a:lnTo>
                    <a:pt x="25" y="113"/>
                  </a:lnTo>
                  <a:lnTo>
                    <a:pt x="25" y="112"/>
                  </a:lnTo>
                  <a:lnTo>
                    <a:pt x="24" y="112"/>
                  </a:lnTo>
                  <a:lnTo>
                    <a:pt x="24" y="110"/>
                  </a:lnTo>
                  <a:lnTo>
                    <a:pt x="23" y="110"/>
                  </a:lnTo>
                  <a:lnTo>
                    <a:pt x="23" y="109"/>
                  </a:lnTo>
                  <a:lnTo>
                    <a:pt x="23" y="108"/>
                  </a:lnTo>
                  <a:lnTo>
                    <a:pt x="24" y="109"/>
                  </a:lnTo>
                  <a:lnTo>
                    <a:pt x="24" y="108"/>
                  </a:lnTo>
                  <a:lnTo>
                    <a:pt x="24" y="107"/>
                  </a:lnTo>
                  <a:lnTo>
                    <a:pt x="23" y="107"/>
                  </a:lnTo>
                  <a:lnTo>
                    <a:pt x="23" y="106"/>
                  </a:lnTo>
                  <a:lnTo>
                    <a:pt x="23" y="105"/>
                  </a:lnTo>
                  <a:lnTo>
                    <a:pt x="22" y="106"/>
                  </a:lnTo>
                  <a:lnTo>
                    <a:pt x="22" y="105"/>
                  </a:lnTo>
                  <a:lnTo>
                    <a:pt x="21" y="105"/>
                  </a:lnTo>
                  <a:lnTo>
                    <a:pt x="21" y="103"/>
                  </a:lnTo>
                  <a:lnTo>
                    <a:pt x="21" y="102"/>
                  </a:lnTo>
                  <a:lnTo>
                    <a:pt x="22" y="102"/>
                  </a:lnTo>
                  <a:lnTo>
                    <a:pt x="21" y="101"/>
                  </a:lnTo>
                  <a:lnTo>
                    <a:pt x="19" y="102"/>
                  </a:lnTo>
                  <a:lnTo>
                    <a:pt x="19" y="101"/>
                  </a:lnTo>
                  <a:lnTo>
                    <a:pt x="21" y="101"/>
                  </a:lnTo>
                  <a:lnTo>
                    <a:pt x="21" y="100"/>
                  </a:lnTo>
                  <a:lnTo>
                    <a:pt x="19" y="100"/>
                  </a:lnTo>
                  <a:lnTo>
                    <a:pt x="19" y="99"/>
                  </a:lnTo>
                  <a:lnTo>
                    <a:pt x="21" y="99"/>
                  </a:lnTo>
                  <a:lnTo>
                    <a:pt x="21" y="98"/>
                  </a:lnTo>
                  <a:lnTo>
                    <a:pt x="22" y="98"/>
                  </a:lnTo>
                  <a:lnTo>
                    <a:pt x="23" y="98"/>
                  </a:lnTo>
                  <a:lnTo>
                    <a:pt x="23" y="96"/>
                  </a:lnTo>
                  <a:lnTo>
                    <a:pt x="23" y="95"/>
                  </a:lnTo>
                  <a:lnTo>
                    <a:pt x="24" y="95"/>
                  </a:lnTo>
                  <a:lnTo>
                    <a:pt x="25" y="95"/>
                  </a:lnTo>
                  <a:lnTo>
                    <a:pt x="25" y="96"/>
                  </a:lnTo>
                  <a:lnTo>
                    <a:pt x="25" y="95"/>
                  </a:lnTo>
                  <a:lnTo>
                    <a:pt x="24" y="95"/>
                  </a:lnTo>
                  <a:lnTo>
                    <a:pt x="24" y="94"/>
                  </a:lnTo>
                  <a:lnTo>
                    <a:pt x="23" y="94"/>
                  </a:lnTo>
                  <a:lnTo>
                    <a:pt x="24" y="94"/>
                  </a:lnTo>
                  <a:lnTo>
                    <a:pt x="23" y="93"/>
                  </a:lnTo>
                  <a:lnTo>
                    <a:pt x="24" y="93"/>
                  </a:lnTo>
                  <a:lnTo>
                    <a:pt x="25" y="93"/>
                  </a:lnTo>
                  <a:lnTo>
                    <a:pt x="26" y="93"/>
                  </a:lnTo>
                  <a:lnTo>
                    <a:pt x="25" y="93"/>
                  </a:lnTo>
                  <a:lnTo>
                    <a:pt x="26" y="93"/>
                  </a:lnTo>
                  <a:lnTo>
                    <a:pt x="28" y="93"/>
                  </a:lnTo>
                  <a:lnTo>
                    <a:pt x="28" y="94"/>
                  </a:lnTo>
                  <a:lnTo>
                    <a:pt x="29" y="94"/>
                  </a:lnTo>
                  <a:lnTo>
                    <a:pt x="28" y="93"/>
                  </a:lnTo>
                  <a:lnTo>
                    <a:pt x="29" y="93"/>
                  </a:lnTo>
                  <a:lnTo>
                    <a:pt x="30" y="93"/>
                  </a:lnTo>
                  <a:lnTo>
                    <a:pt x="31" y="93"/>
                  </a:lnTo>
                  <a:lnTo>
                    <a:pt x="31" y="92"/>
                  </a:lnTo>
                  <a:lnTo>
                    <a:pt x="32" y="92"/>
                  </a:lnTo>
                  <a:lnTo>
                    <a:pt x="32" y="91"/>
                  </a:lnTo>
                  <a:lnTo>
                    <a:pt x="31" y="91"/>
                  </a:lnTo>
                  <a:lnTo>
                    <a:pt x="30" y="91"/>
                  </a:lnTo>
                  <a:lnTo>
                    <a:pt x="30" y="89"/>
                  </a:lnTo>
                  <a:lnTo>
                    <a:pt x="31" y="89"/>
                  </a:lnTo>
                  <a:lnTo>
                    <a:pt x="31" y="91"/>
                  </a:lnTo>
                  <a:lnTo>
                    <a:pt x="32" y="91"/>
                  </a:lnTo>
                  <a:lnTo>
                    <a:pt x="31" y="89"/>
                  </a:lnTo>
                  <a:lnTo>
                    <a:pt x="31" y="88"/>
                  </a:lnTo>
                  <a:lnTo>
                    <a:pt x="31" y="89"/>
                  </a:lnTo>
                  <a:lnTo>
                    <a:pt x="32" y="89"/>
                  </a:lnTo>
                  <a:lnTo>
                    <a:pt x="32" y="88"/>
                  </a:lnTo>
                  <a:lnTo>
                    <a:pt x="33" y="88"/>
                  </a:lnTo>
                  <a:lnTo>
                    <a:pt x="33" y="87"/>
                  </a:lnTo>
                  <a:lnTo>
                    <a:pt x="33" y="86"/>
                  </a:lnTo>
                  <a:lnTo>
                    <a:pt x="35" y="86"/>
                  </a:lnTo>
                  <a:lnTo>
                    <a:pt x="35" y="87"/>
                  </a:lnTo>
                  <a:lnTo>
                    <a:pt x="36" y="87"/>
                  </a:lnTo>
                  <a:lnTo>
                    <a:pt x="37" y="87"/>
                  </a:lnTo>
                  <a:lnTo>
                    <a:pt x="37" y="86"/>
                  </a:lnTo>
                  <a:lnTo>
                    <a:pt x="36" y="86"/>
                  </a:lnTo>
                  <a:lnTo>
                    <a:pt x="37" y="86"/>
                  </a:lnTo>
                  <a:lnTo>
                    <a:pt x="37" y="85"/>
                  </a:lnTo>
                  <a:lnTo>
                    <a:pt x="38" y="85"/>
                  </a:lnTo>
                  <a:lnTo>
                    <a:pt x="38" y="86"/>
                  </a:lnTo>
                  <a:lnTo>
                    <a:pt x="38" y="85"/>
                  </a:lnTo>
                  <a:lnTo>
                    <a:pt x="38" y="84"/>
                  </a:lnTo>
                  <a:lnTo>
                    <a:pt x="39" y="84"/>
                  </a:lnTo>
                  <a:lnTo>
                    <a:pt x="40" y="84"/>
                  </a:lnTo>
                  <a:lnTo>
                    <a:pt x="42" y="84"/>
                  </a:lnTo>
                  <a:lnTo>
                    <a:pt x="42" y="82"/>
                  </a:lnTo>
                  <a:lnTo>
                    <a:pt x="42" y="81"/>
                  </a:lnTo>
                  <a:lnTo>
                    <a:pt x="43" y="81"/>
                  </a:lnTo>
                  <a:lnTo>
                    <a:pt x="44" y="81"/>
                  </a:lnTo>
                  <a:lnTo>
                    <a:pt x="43" y="80"/>
                  </a:lnTo>
                  <a:lnTo>
                    <a:pt x="44" y="80"/>
                  </a:lnTo>
                  <a:lnTo>
                    <a:pt x="45" y="80"/>
                  </a:lnTo>
                  <a:lnTo>
                    <a:pt x="45" y="79"/>
                  </a:lnTo>
                  <a:lnTo>
                    <a:pt x="46" y="79"/>
                  </a:lnTo>
                  <a:lnTo>
                    <a:pt x="46" y="78"/>
                  </a:lnTo>
                  <a:lnTo>
                    <a:pt x="46" y="79"/>
                  </a:lnTo>
                  <a:lnTo>
                    <a:pt x="47" y="79"/>
                  </a:lnTo>
                  <a:lnTo>
                    <a:pt x="46" y="79"/>
                  </a:lnTo>
                  <a:lnTo>
                    <a:pt x="46" y="78"/>
                  </a:lnTo>
                  <a:lnTo>
                    <a:pt x="47" y="78"/>
                  </a:lnTo>
                  <a:lnTo>
                    <a:pt x="47" y="77"/>
                  </a:lnTo>
                  <a:lnTo>
                    <a:pt x="47" y="75"/>
                  </a:lnTo>
                  <a:lnTo>
                    <a:pt x="49" y="75"/>
                  </a:lnTo>
                  <a:lnTo>
                    <a:pt x="50" y="75"/>
                  </a:lnTo>
                  <a:lnTo>
                    <a:pt x="50" y="74"/>
                  </a:lnTo>
                  <a:lnTo>
                    <a:pt x="51" y="74"/>
                  </a:lnTo>
                  <a:lnTo>
                    <a:pt x="51" y="73"/>
                  </a:lnTo>
                  <a:lnTo>
                    <a:pt x="51" y="72"/>
                  </a:lnTo>
                  <a:lnTo>
                    <a:pt x="52" y="72"/>
                  </a:lnTo>
                  <a:lnTo>
                    <a:pt x="52" y="71"/>
                  </a:lnTo>
                  <a:lnTo>
                    <a:pt x="53" y="71"/>
                  </a:lnTo>
                  <a:lnTo>
                    <a:pt x="53" y="70"/>
                  </a:lnTo>
                  <a:lnTo>
                    <a:pt x="54" y="70"/>
                  </a:lnTo>
                  <a:lnTo>
                    <a:pt x="56" y="70"/>
                  </a:lnTo>
                  <a:lnTo>
                    <a:pt x="57" y="70"/>
                  </a:lnTo>
                  <a:lnTo>
                    <a:pt x="58" y="70"/>
                  </a:lnTo>
                  <a:lnTo>
                    <a:pt x="59" y="70"/>
                  </a:lnTo>
                  <a:lnTo>
                    <a:pt x="59" y="71"/>
                  </a:lnTo>
                  <a:lnTo>
                    <a:pt x="60" y="71"/>
                  </a:lnTo>
                  <a:lnTo>
                    <a:pt x="60" y="70"/>
                  </a:lnTo>
                  <a:lnTo>
                    <a:pt x="59" y="70"/>
                  </a:lnTo>
                  <a:lnTo>
                    <a:pt x="59" y="68"/>
                  </a:lnTo>
                  <a:lnTo>
                    <a:pt x="58" y="68"/>
                  </a:lnTo>
                  <a:lnTo>
                    <a:pt x="59" y="68"/>
                  </a:lnTo>
                  <a:lnTo>
                    <a:pt x="60" y="68"/>
                  </a:lnTo>
                  <a:lnTo>
                    <a:pt x="61" y="68"/>
                  </a:lnTo>
                  <a:lnTo>
                    <a:pt x="60" y="68"/>
                  </a:lnTo>
                  <a:lnTo>
                    <a:pt x="60" y="67"/>
                  </a:lnTo>
                  <a:lnTo>
                    <a:pt x="59" y="66"/>
                  </a:lnTo>
                  <a:lnTo>
                    <a:pt x="58" y="66"/>
                  </a:lnTo>
                  <a:lnTo>
                    <a:pt x="58" y="65"/>
                  </a:lnTo>
                  <a:lnTo>
                    <a:pt x="59" y="65"/>
                  </a:lnTo>
                  <a:lnTo>
                    <a:pt x="58" y="65"/>
                  </a:lnTo>
                  <a:lnTo>
                    <a:pt x="59" y="65"/>
                  </a:lnTo>
                  <a:lnTo>
                    <a:pt x="58" y="65"/>
                  </a:lnTo>
                  <a:lnTo>
                    <a:pt x="58" y="64"/>
                  </a:lnTo>
                  <a:lnTo>
                    <a:pt x="59" y="64"/>
                  </a:lnTo>
                  <a:lnTo>
                    <a:pt x="58" y="64"/>
                  </a:lnTo>
                  <a:lnTo>
                    <a:pt x="59" y="64"/>
                  </a:lnTo>
                  <a:lnTo>
                    <a:pt x="58" y="63"/>
                  </a:lnTo>
                  <a:lnTo>
                    <a:pt x="59" y="63"/>
                  </a:lnTo>
                  <a:lnTo>
                    <a:pt x="59" y="61"/>
                  </a:lnTo>
                  <a:lnTo>
                    <a:pt x="58" y="61"/>
                  </a:lnTo>
                  <a:lnTo>
                    <a:pt x="58" y="60"/>
                  </a:lnTo>
                  <a:lnTo>
                    <a:pt x="57" y="60"/>
                  </a:lnTo>
                  <a:lnTo>
                    <a:pt x="56" y="60"/>
                  </a:lnTo>
                  <a:lnTo>
                    <a:pt x="56" y="59"/>
                  </a:lnTo>
                  <a:lnTo>
                    <a:pt x="54" y="59"/>
                  </a:lnTo>
                  <a:lnTo>
                    <a:pt x="53" y="59"/>
                  </a:lnTo>
                  <a:lnTo>
                    <a:pt x="52" y="59"/>
                  </a:lnTo>
                  <a:lnTo>
                    <a:pt x="51" y="59"/>
                  </a:lnTo>
                  <a:lnTo>
                    <a:pt x="51" y="58"/>
                  </a:lnTo>
                  <a:lnTo>
                    <a:pt x="50" y="58"/>
                  </a:lnTo>
                  <a:lnTo>
                    <a:pt x="50" y="57"/>
                  </a:lnTo>
                  <a:lnTo>
                    <a:pt x="50" y="56"/>
                  </a:lnTo>
                  <a:lnTo>
                    <a:pt x="51" y="56"/>
                  </a:lnTo>
                  <a:lnTo>
                    <a:pt x="50" y="56"/>
                  </a:lnTo>
                  <a:lnTo>
                    <a:pt x="49" y="57"/>
                  </a:lnTo>
                  <a:lnTo>
                    <a:pt x="47" y="57"/>
                  </a:lnTo>
                  <a:lnTo>
                    <a:pt x="46" y="57"/>
                  </a:lnTo>
                  <a:lnTo>
                    <a:pt x="45" y="57"/>
                  </a:lnTo>
                  <a:lnTo>
                    <a:pt x="44" y="56"/>
                  </a:lnTo>
                  <a:lnTo>
                    <a:pt x="44" y="54"/>
                  </a:lnTo>
                  <a:lnTo>
                    <a:pt x="43" y="53"/>
                  </a:lnTo>
                  <a:lnTo>
                    <a:pt x="42" y="53"/>
                  </a:lnTo>
                  <a:lnTo>
                    <a:pt x="42" y="52"/>
                  </a:lnTo>
                  <a:lnTo>
                    <a:pt x="40" y="52"/>
                  </a:lnTo>
                  <a:lnTo>
                    <a:pt x="39" y="52"/>
                  </a:lnTo>
                  <a:lnTo>
                    <a:pt x="39" y="51"/>
                  </a:lnTo>
                  <a:lnTo>
                    <a:pt x="38" y="50"/>
                  </a:lnTo>
                  <a:lnTo>
                    <a:pt x="38" y="49"/>
                  </a:lnTo>
                  <a:lnTo>
                    <a:pt x="38" y="47"/>
                  </a:lnTo>
                  <a:lnTo>
                    <a:pt x="39" y="47"/>
                  </a:lnTo>
                  <a:lnTo>
                    <a:pt x="39" y="46"/>
                  </a:lnTo>
                  <a:lnTo>
                    <a:pt x="40" y="46"/>
                  </a:lnTo>
                  <a:lnTo>
                    <a:pt x="39" y="45"/>
                  </a:lnTo>
                  <a:lnTo>
                    <a:pt x="40" y="45"/>
                  </a:lnTo>
                  <a:lnTo>
                    <a:pt x="39" y="44"/>
                  </a:lnTo>
                  <a:lnTo>
                    <a:pt x="40" y="44"/>
                  </a:lnTo>
                  <a:lnTo>
                    <a:pt x="40" y="43"/>
                  </a:lnTo>
                  <a:lnTo>
                    <a:pt x="39" y="42"/>
                  </a:lnTo>
                  <a:lnTo>
                    <a:pt x="38" y="40"/>
                  </a:lnTo>
                  <a:lnTo>
                    <a:pt x="37" y="40"/>
                  </a:lnTo>
                  <a:lnTo>
                    <a:pt x="37" y="39"/>
                  </a:lnTo>
                  <a:lnTo>
                    <a:pt x="36" y="39"/>
                  </a:lnTo>
                  <a:lnTo>
                    <a:pt x="36" y="38"/>
                  </a:lnTo>
                  <a:lnTo>
                    <a:pt x="35" y="38"/>
                  </a:lnTo>
                  <a:lnTo>
                    <a:pt x="36" y="38"/>
                  </a:lnTo>
                  <a:lnTo>
                    <a:pt x="36" y="37"/>
                  </a:lnTo>
                  <a:lnTo>
                    <a:pt x="35" y="37"/>
                  </a:lnTo>
                  <a:lnTo>
                    <a:pt x="36" y="37"/>
                  </a:lnTo>
                  <a:lnTo>
                    <a:pt x="37" y="37"/>
                  </a:lnTo>
                  <a:lnTo>
                    <a:pt x="37" y="36"/>
                  </a:lnTo>
                  <a:lnTo>
                    <a:pt x="37" y="35"/>
                  </a:lnTo>
                  <a:lnTo>
                    <a:pt x="36" y="35"/>
                  </a:lnTo>
                  <a:lnTo>
                    <a:pt x="35" y="35"/>
                  </a:lnTo>
                  <a:lnTo>
                    <a:pt x="33" y="35"/>
                  </a:lnTo>
                  <a:lnTo>
                    <a:pt x="32" y="33"/>
                  </a:lnTo>
                  <a:lnTo>
                    <a:pt x="33" y="33"/>
                  </a:lnTo>
                  <a:lnTo>
                    <a:pt x="33" y="32"/>
                  </a:lnTo>
                  <a:lnTo>
                    <a:pt x="33" y="31"/>
                  </a:lnTo>
                  <a:lnTo>
                    <a:pt x="32" y="31"/>
                  </a:lnTo>
                  <a:lnTo>
                    <a:pt x="32" y="30"/>
                  </a:lnTo>
                  <a:lnTo>
                    <a:pt x="32" y="29"/>
                  </a:lnTo>
                  <a:lnTo>
                    <a:pt x="33" y="28"/>
                  </a:lnTo>
                  <a:lnTo>
                    <a:pt x="32" y="26"/>
                  </a:lnTo>
                  <a:lnTo>
                    <a:pt x="31" y="26"/>
                  </a:lnTo>
                  <a:lnTo>
                    <a:pt x="30" y="25"/>
                  </a:lnTo>
                  <a:lnTo>
                    <a:pt x="29" y="25"/>
                  </a:lnTo>
                  <a:lnTo>
                    <a:pt x="28" y="25"/>
                  </a:lnTo>
                  <a:lnTo>
                    <a:pt x="28" y="24"/>
                  </a:lnTo>
                  <a:lnTo>
                    <a:pt x="28" y="23"/>
                  </a:lnTo>
                  <a:lnTo>
                    <a:pt x="26" y="23"/>
                  </a:lnTo>
                  <a:lnTo>
                    <a:pt x="25" y="22"/>
                  </a:lnTo>
                  <a:lnTo>
                    <a:pt x="24" y="22"/>
                  </a:lnTo>
                  <a:lnTo>
                    <a:pt x="23" y="22"/>
                  </a:lnTo>
                  <a:lnTo>
                    <a:pt x="23" y="21"/>
                  </a:lnTo>
                  <a:lnTo>
                    <a:pt x="22" y="21"/>
                  </a:lnTo>
                  <a:lnTo>
                    <a:pt x="21" y="21"/>
                  </a:lnTo>
                  <a:lnTo>
                    <a:pt x="19" y="21"/>
                  </a:lnTo>
                  <a:lnTo>
                    <a:pt x="18" y="21"/>
                  </a:lnTo>
                  <a:lnTo>
                    <a:pt x="16" y="21"/>
                  </a:lnTo>
                  <a:lnTo>
                    <a:pt x="16" y="19"/>
                  </a:lnTo>
                  <a:lnTo>
                    <a:pt x="15" y="19"/>
                  </a:lnTo>
                  <a:lnTo>
                    <a:pt x="13" y="19"/>
                  </a:lnTo>
                  <a:lnTo>
                    <a:pt x="13" y="18"/>
                  </a:lnTo>
                  <a:lnTo>
                    <a:pt x="11" y="18"/>
                  </a:lnTo>
                  <a:lnTo>
                    <a:pt x="10" y="18"/>
                  </a:lnTo>
                  <a:lnTo>
                    <a:pt x="9" y="17"/>
                  </a:lnTo>
                  <a:lnTo>
                    <a:pt x="8" y="17"/>
                  </a:lnTo>
                  <a:lnTo>
                    <a:pt x="8" y="16"/>
                  </a:lnTo>
                  <a:lnTo>
                    <a:pt x="7" y="16"/>
                  </a:lnTo>
                  <a:lnTo>
                    <a:pt x="6" y="16"/>
                  </a:lnTo>
                  <a:lnTo>
                    <a:pt x="6" y="15"/>
                  </a:lnTo>
                  <a:lnTo>
                    <a:pt x="3" y="15"/>
                  </a:lnTo>
                  <a:lnTo>
                    <a:pt x="3" y="14"/>
                  </a:lnTo>
                  <a:lnTo>
                    <a:pt x="2" y="14"/>
                  </a:lnTo>
                  <a:lnTo>
                    <a:pt x="1" y="14"/>
                  </a:lnTo>
                  <a:lnTo>
                    <a:pt x="0" y="12"/>
                  </a:lnTo>
                  <a:lnTo>
                    <a:pt x="1" y="12"/>
                  </a:lnTo>
                  <a:lnTo>
                    <a:pt x="4" y="12"/>
                  </a:lnTo>
                  <a:lnTo>
                    <a:pt x="6" y="12"/>
                  </a:lnTo>
                  <a:lnTo>
                    <a:pt x="4" y="11"/>
                  </a:lnTo>
                  <a:lnTo>
                    <a:pt x="4" y="10"/>
                  </a:lnTo>
                  <a:lnTo>
                    <a:pt x="7" y="9"/>
                  </a:lnTo>
                  <a:lnTo>
                    <a:pt x="10" y="10"/>
                  </a:lnTo>
                  <a:lnTo>
                    <a:pt x="14" y="12"/>
                  </a:lnTo>
                  <a:lnTo>
                    <a:pt x="15" y="14"/>
                  </a:lnTo>
                  <a:lnTo>
                    <a:pt x="16" y="14"/>
                  </a:lnTo>
                  <a:lnTo>
                    <a:pt x="16" y="15"/>
                  </a:lnTo>
                  <a:lnTo>
                    <a:pt x="17" y="15"/>
                  </a:lnTo>
                  <a:lnTo>
                    <a:pt x="18" y="16"/>
                  </a:lnTo>
                  <a:lnTo>
                    <a:pt x="19" y="17"/>
                  </a:lnTo>
                  <a:lnTo>
                    <a:pt x="21" y="17"/>
                  </a:lnTo>
                  <a:lnTo>
                    <a:pt x="24" y="18"/>
                  </a:lnTo>
                  <a:lnTo>
                    <a:pt x="25" y="17"/>
                  </a:lnTo>
                  <a:lnTo>
                    <a:pt x="26" y="17"/>
                  </a:lnTo>
                  <a:lnTo>
                    <a:pt x="26" y="18"/>
                  </a:lnTo>
                  <a:lnTo>
                    <a:pt x="28" y="18"/>
                  </a:lnTo>
                  <a:lnTo>
                    <a:pt x="30" y="17"/>
                  </a:lnTo>
                  <a:lnTo>
                    <a:pt x="32" y="17"/>
                  </a:lnTo>
                  <a:lnTo>
                    <a:pt x="33" y="16"/>
                  </a:lnTo>
                  <a:lnTo>
                    <a:pt x="35" y="16"/>
                  </a:lnTo>
                  <a:lnTo>
                    <a:pt x="37" y="16"/>
                  </a:lnTo>
                  <a:lnTo>
                    <a:pt x="37" y="17"/>
                  </a:lnTo>
                  <a:lnTo>
                    <a:pt x="39" y="17"/>
                  </a:lnTo>
                  <a:lnTo>
                    <a:pt x="40" y="17"/>
                  </a:lnTo>
                  <a:lnTo>
                    <a:pt x="43" y="18"/>
                  </a:lnTo>
                  <a:lnTo>
                    <a:pt x="44" y="18"/>
                  </a:lnTo>
                  <a:lnTo>
                    <a:pt x="44" y="19"/>
                  </a:lnTo>
                  <a:lnTo>
                    <a:pt x="45" y="19"/>
                  </a:lnTo>
                  <a:lnTo>
                    <a:pt x="45" y="18"/>
                  </a:lnTo>
                  <a:lnTo>
                    <a:pt x="46" y="18"/>
                  </a:lnTo>
                  <a:lnTo>
                    <a:pt x="47" y="18"/>
                  </a:lnTo>
                  <a:lnTo>
                    <a:pt x="47" y="17"/>
                  </a:lnTo>
                  <a:lnTo>
                    <a:pt x="47" y="16"/>
                  </a:lnTo>
                  <a:lnTo>
                    <a:pt x="49" y="15"/>
                  </a:lnTo>
                  <a:lnTo>
                    <a:pt x="50" y="15"/>
                  </a:lnTo>
                  <a:lnTo>
                    <a:pt x="51" y="15"/>
                  </a:lnTo>
                  <a:lnTo>
                    <a:pt x="52" y="15"/>
                  </a:lnTo>
                  <a:lnTo>
                    <a:pt x="52" y="14"/>
                  </a:lnTo>
                  <a:lnTo>
                    <a:pt x="53" y="14"/>
                  </a:lnTo>
                  <a:lnTo>
                    <a:pt x="52" y="14"/>
                  </a:lnTo>
                  <a:lnTo>
                    <a:pt x="52" y="12"/>
                  </a:lnTo>
                  <a:lnTo>
                    <a:pt x="52" y="11"/>
                  </a:lnTo>
                  <a:lnTo>
                    <a:pt x="51" y="10"/>
                  </a:lnTo>
                  <a:lnTo>
                    <a:pt x="52" y="9"/>
                  </a:lnTo>
                  <a:lnTo>
                    <a:pt x="52" y="8"/>
                  </a:lnTo>
                  <a:lnTo>
                    <a:pt x="52" y="7"/>
                  </a:lnTo>
                  <a:lnTo>
                    <a:pt x="53" y="7"/>
                  </a:lnTo>
                  <a:lnTo>
                    <a:pt x="53" y="5"/>
                  </a:lnTo>
                  <a:lnTo>
                    <a:pt x="52" y="4"/>
                  </a:lnTo>
                  <a:lnTo>
                    <a:pt x="53" y="4"/>
                  </a:lnTo>
                  <a:lnTo>
                    <a:pt x="54" y="4"/>
                  </a:lnTo>
                  <a:lnTo>
                    <a:pt x="54" y="3"/>
                  </a:lnTo>
                  <a:lnTo>
                    <a:pt x="56" y="3"/>
                  </a:lnTo>
                  <a:lnTo>
                    <a:pt x="57" y="2"/>
                  </a:lnTo>
                  <a:lnTo>
                    <a:pt x="57" y="1"/>
                  </a:lnTo>
                  <a:lnTo>
                    <a:pt x="58" y="1"/>
                  </a:lnTo>
                  <a:lnTo>
                    <a:pt x="59" y="1"/>
                  </a:lnTo>
                  <a:lnTo>
                    <a:pt x="60" y="1"/>
                  </a:lnTo>
                  <a:lnTo>
                    <a:pt x="61" y="1"/>
                  </a:lnTo>
                  <a:lnTo>
                    <a:pt x="63" y="1"/>
                  </a:lnTo>
                  <a:lnTo>
                    <a:pt x="63" y="2"/>
                  </a:lnTo>
                  <a:lnTo>
                    <a:pt x="65" y="1"/>
                  </a:lnTo>
                  <a:lnTo>
                    <a:pt x="66" y="1"/>
                  </a:lnTo>
                  <a:lnTo>
                    <a:pt x="65" y="1"/>
                  </a:lnTo>
                  <a:lnTo>
                    <a:pt x="66" y="1"/>
                  </a:lnTo>
                  <a:lnTo>
                    <a:pt x="66" y="0"/>
                  </a:lnTo>
                  <a:lnTo>
                    <a:pt x="67" y="0"/>
                  </a:lnTo>
                  <a:lnTo>
                    <a:pt x="68" y="0"/>
                  </a:lnTo>
                  <a:lnTo>
                    <a:pt x="70" y="0"/>
                  </a:lnTo>
                  <a:lnTo>
                    <a:pt x="7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07" name="Freeform 1171">
              <a:extLst>
                <a:ext uri="{FF2B5EF4-FFF2-40B4-BE49-F238E27FC236}">
                  <a16:creationId xmlns:a16="http://schemas.microsoft.com/office/drawing/2014/main" id="{AF6007B3-E0FB-4A46-A621-85717A51F3ED}"/>
                </a:ext>
              </a:extLst>
            </p:cNvPr>
            <p:cNvSpPr>
              <a:spLocks/>
            </p:cNvSpPr>
            <p:nvPr/>
          </p:nvSpPr>
          <p:spPr bwMode="auto">
            <a:xfrm>
              <a:off x="5966686" y="2447073"/>
              <a:ext cx="0" cy="1336"/>
            </a:xfrm>
            <a:custGeom>
              <a:avLst/>
              <a:gdLst>
                <a:gd name="T0" fmla="*/ 1 h 1"/>
                <a:gd name="T1" fmla="*/ 1 h 1"/>
                <a:gd name="T2" fmla="*/ 0 h 1"/>
                <a:gd name="T3" fmla="*/ 1 h 1"/>
                <a:gd name="T4" fmla="*/ 1 h 1"/>
              </a:gdLst>
              <a:ahLst/>
              <a:cxnLst>
                <a:cxn ang="0">
                  <a:pos x="0" y="T0"/>
                </a:cxn>
                <a:cxn ang="0">
                  <a:pos x="0" y="T1"/>
                </a:cxn>
                <a:cxn ang="0">
                  <a:pos x="0" y="T2"/>
                </a:cxn>
                <a:cxn ang="0">
                  <a:pos x="0" y="T3"/>
                </a:cxn>
                <a:cxn ang="0">
                  <a:pos x="0" y="T4"/>
                </a:cxn>
              </a:cxnLst>
              <a:rect l="0" t="0" r="r" b="b"/>
              <a:pathLst>
                <a:path h="1">
                  <a:moveTo>
                    <a:pt x="0" y="1"/>
                  </a:moveTo>
                  <a:lnTo>
                    <a:pt x="0" y="1"/>
                  </a:lnTo>
                  <a:lnTo>
                    <a:pt x="0" y="0"/>
                  </a:lnTo>
                  <a:lnTo>
                    <a:pt x="0" y="1"/>
                  </a:lnTo>
                  <a:lnTo>
                    <a:pt x="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08" name="Freeform 1172">
              <a:extLst>
                <a:ext uri="{FF2B5EF4-FFF2-40B4-BE49-F238E27FC236}">
                  <a16:creationId xmlns:a16="http://schemas.microsoft.com/office/drawing/2014/main" id="{3807E41B-01FF-4950-A9C6-15519A023F6F}"/>
                </a:ext>
              </a:extLst>
            </p:cNvPr>
            <p:cNvSpPr>
              <a:spLocks/>
            </p:cNvSpPr>
            <p:nvPr/>
          </p:nvSpPr>
          <p:spPr bwMode="auto">
            <a:xfrm>
              <a:off x="5951995" y="2439060"/>
              <a:ext cx="16026" cy="34723"/>
            </a:xfrm>
            <a:custGeom>
              <a:avLst/>
              <a:gdLst>
                <a:gd name="T0" fmla="*/ 11 w 12"/>
                <a:gd name="T1" fmla="*/ 6 h 26"/>
                <a:gd name="T2" fmla="*/ 11 w 12"/>
                <a:gd name="T3" fmla="*/ 7 h 26"/>
                <a:gd name="T4" fmla="*/ 11 w 12"/>
                <a:gd name="T5" fmla="*/ 7 h 26"/>
                <a:gd name="T6" fmla="*/ 12 w 12"/>
                <a:gd name="T7" fmla="*/ 10 h 26"/>
                <a:gd name="T8" fmla="*/ 12 w 12"/>
                <a:gd name="T9" fmla="*/ 12 h 26"/>
                <a:gd name="T10" fmla="*/ 12 w 12"/>
                <a:gd name="T11" fmla="*/ 15 h 26"/>
                <a:gd name="T12" fmla="*/ 11 w 12"/>
                <a:gd name="T13" fmla="*/ 18 h 26"/>
                <a:gd name="T14" fmla="*/ 10 w 12"/>
                <a:gd name="T15" fmla="*/ 21 h 26"/>
                <a:gd name="T16" fmla="*/ 10 w 12"/>
                <a:gd name="T17" fmla="*/ 22 h 26"/>
                <a:gd name="T18" fmla="*/ 10 w 12"/>
                <a:gd name="T19" fmla="*/ 22 h 26"/>
                <a:gd name="T20" fmla="*/ 10 w 12"/>
                <a:gd name="T21" fmla="*/ 24 h 26"/>
                <a:gd name="T22" fmla="*/ 9 w 12"/>
                <a:gd name="T23" fmla="*/ 24 h 26"/>
                <a:gd name="T24" fmla="*/ 9 w 12"/>
                <a:gd name="T25" fmla="*/ 25 h 26"/>
                <a:gd name="T26" fmla="*/ 9 w 12"/>
                <a:gd name="T27" fmla="*/ 26 h 26"/>
                <a:gd name="T28" fmla="*/ 9 w 12"/>
                <a:gd name="T29" fmla="*/ 26 h 26"/>
                <a:gd name="T30" fmla="*/ 8 w 12"/>
                <a:gd name="T31" fmla="*/ 26 h 26"/>
                <a:gd name="T32" fmla="*/ 8 w 12"/>
                <a:gd name="T33" fmla="*/ 25 h 26"/>
                <a:gd name="T34" fmla="*/ 7 w 12"/>
                <a:gd name="T35" fmla="*/ 25 h 26"/>
                <a:gd name="T36" fmla="*/ 7 w 12"/>
                <a:gd name="T37" fmla="*/ 25 h 26"/>
                <a:gd name="T38" fmla="*/ 5 w 12"/>
                <a:gd name="T39" fmla="*/ 25 h 26"/>
                <a:gd name="T40" fmla="*/ 4 w 12"/>
                <a:gd name="T41" fmla="*/ 24 h 26"/>
                <a:gd name="T42" fmla="*/ 3 w 12"/>
                <a:gd name="T43" fmla="*/ 24 h 26"/>
                <a:gd name="T44" fmla="*/ 3 w 12"/>
                <a:gd name="T45" fmla="*/ 22 h 26"/>
                <a:gd name="T46" fmla="*/ 4 w 12"/>
                <a:gd name="T47" fmla="*/ 21 h 26"/>
                <a:gd name="T48" fmla="*/ 3 w 12"/>
                <a:gd name="T49" fmla="*/ 21 h 26"/>
                <a:gd name="T50" fmla="*/ 2 w 12"/>
                <a:gd name="T51" fmla="*/ 20 h 26"/>
                <a:gd name="T52" fmla="*/ 2 w 12"/>
                <a:gd name="T53" fmla="*/ 20 h 26"/>
                <a:gd name="T54" fmla="*/ 3 w 12"/>
                <a:gd name="T55" fmla="*/ 19 h 26"/>
                <a:gd name="T56" fmla="*/ 3 w 12"/>
                <a:gd name="T57" fmla="*/ 19 h 26"/>
                <a:gd name="T58" fmla="*/ 3 w 12"/>
                <a:gd name="T59" fmla="*/ 18 h 26"/>
                <a:gd name="T60" fmla="*/ 3 w 12"/>
                <a:gd name="T61" fmla="*/ 18 h 26"/>
                <a:gd name="T62" fmla="*/ 1 w 12"/>
                <a:gd name="T63" fmla="*/ 18 h 26"/>
                <a:gd name="T64" fmla="*/ 1 w 12"/>
                <a:gd name="T65" fmla="*/ 17 h 26"/>
                <a:gd name="T66" fmla="*/ 2 w 12"/>
                <a:gd name="T67" fmla="*/ 15 h 26"/>
                <a:gd name="T68" fmla="*/ 1 w 12"/>
                <a:gd name="T69" fmla="*/ 14 h 26"/>
                <a:gd name="T70" fmla="*/ 1 w 12"/>
                <a:gd name="T71" fmla="*/ 14 h 26"/>
                <a:gd name="T72" fmla="*/ 1 w 12"/>
                <a:gd name="T73" fmla="*/ 14 h 26"/>
                <a:gd name="T74" fmla="*/ 0 w 12"/>
                <a:gd name="T75" fmla="*/ 13 h 26"/>
                <a:gd name="T76" fmla="*/ 1 w 12"/>
                <a:gd name="T77" fmla="*/ 13 h 26"/>
                <a:gd name="T78" fmla="*/ 2 w 12"/>
                <a:gd name="T79" fmla="*/ 12 h 26"/>
                <a:gd name="T80" fmla="*/ 1 w 12"/>
                <a:gd name="T81" fmla="*/ 12 h 26"/>
                <a:gd name="T82" fmla="*/ 1 w 12"/>
                <a:gd name="T83" fmla="*/ 11 h 26"/>
                <a:gd name="T84" fmla="*/ 0 w 12"/>
                <a:gd name="T85" fmla="*/ 11 h 26"/>
                <a:gd name="T86" fmla="*/ 1 w 12"/>
                <a:gd name="T87" fmla="*/ 11 h 26"/>
                <a:gd name="T88" fmla="*/ 1 w 12"/>
                <a:gd name="T89" fmla="*/ 10 h 26"/>
                <a:gd name="T90" fmla="*/ 1 w 12"/>
                <a:gd name="T91" fmla="*/ 10 h 26"/>
                <a:gd name="T92" fmla="*/ 2 w 12"/>
                <a:gd name="T93" fmla="*/ 7 h 26"/>
                <a:gd name="T94" fmla="*/ 2 w 12"/>
                <a:gd name="T95" fmla="*/ 7 h 26"/>
                <a:gd name="T96" fmla="*/ 3 w 12"/>
                <a:gd name="T97" fmla="*/ 7 h 26"/>
                <a:gd name="T98" fmla="*/ 7 w 12"/>
                <a:gd name="T99" fmla="*/ 5 h 26"/>
                <a:gd name="T100" fmla="*/ 9 w 12"/>
                <a:gd name="T101" fmla="*/ 5 h 26"/>
                <a:gd name="T102" fmla="*/ 9 w 12"/>
                <a:gd name="T103" fmla="*/ 5 h 26"/>
                <a:gd name="T104" fmla="*/ 9 w 12"/>
                <a:gd name="T105" fmla="*/ 3 h 26"/>
                <a:gd name="T106" fmla="*/ 10 w 12"/>
                <a:gd name="T107" fmla="*/ 1 h 26"/>
                <a:gd name="T108" fmla="*/ 10 w 12"/>
                <a:gd name="T109" fmla="*/ 0 h 26"/>
                <a:gd name="T110" fmla="*/ 11 w 12"/>
                <a:gd name="T111" fmla="*/ 1 h 26"/>
                <a:gd name="T112" fmla="*/ 11 w 12"/>
                <a:gd name="T113"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 h="26">
                  <a:moveTo>
                    <a:pt x="11" y="6"/>
                  </a:moveTo>
                  <a:lnTo>
                    <a:pt x="11" y="6"/>
                  </a:lnTo>
                  <a:lnTo>
                    <a:pt x="11" y="6"/>
                  </a:lnTo>
                  <a:lnTo>
                    <a:pt x="11" y="6"/>
                  </a:lnTo>
                  <a:lnTo>
                    <a:pt x="11" y="6"/>
                  </a:lnTo>
                  <a:lnTo>
                    <a:pt x="11" y="6"/>
                  </a:lnTo>
                  <a:lnTo>
                    <a:pt x="11" y="6"/>
                  </a:lnTo>
                  <a:lnTo>
                    <a:pt x="11" y="6"/>
                  </a:lnTo>
                  <a:lnTo>
                    <a:pt x="11" y="6"/>
                  </a:lnTo>
                  <a:lnTo>
                    <a:pt x="11" y="6"/>
                  </a:lnTo>
                  <a:lnTo>
                    <a:pt x="11" y="7"/>
                  </a:lnTo>
                  <a:lnTo>
                    <a:pt x="11" y="7"/>
                  </a:lnTo>
                  <a:lnTo>
                    <a:pt x="11" y="7"/>
                  </a:lnTo>
                  <a:lnTo>
                    <a:pt x="11" y="7"/>
                  </a:lnTo>
                  <a:lnTo>
                    <a:pt x="11" y="7"/>
                  </a:lnTo>
                  <a:lnTo>
                    <a:pt x="11" y="7"/>
                  </a:lnTo>
                  <a:lnTo>
                    <a:pt x="11" y="7"/>
                  </a:lnTo>
                  <a:lnTo>
                    <a:pt x="11" y="7"/>
                  </a:lnTo>
                  <a:lnTo>
                    <a:pt x="11" y="7"/>
                  </a:lnTo>
                  <a:lnTo>
                    <a:pt x="11" y="7"/>
                  </a:lnTo>
                  <a:lnTo>
                    <a:pt x="11" y="7"/>
                  </a:lnTo>
                  <a:lnTo>
                    <a:pt x="11" y="7"/>
                  </a:lnTo>
                  <a:lnTo>
                    <a:pt x="11" y="7"/>
                  </a:lnTo>
                  <a:lnTo>
                    <a:pt x="11" y="7"/>
                  </a:lnTo>
                  <a:lnTo>
                    <a:pt x="12" y="7"/>
                  </a:lnTo>
                  <a:lnTo>
                    <a:pt x="12" y="8"/>
                  </a:lnTo>
                  <a:lnTo>
                    <a:pt x="12" y="8"/>
                  </a:lnTo>
                  <a:lnTo>
                    <a:pt x="12" y="10"/>
                  </a:lnTo>
                  <a:lnTo>
                    <a:pt x="12" y="10"/>
                  </a:lnTo>
                  <a:lnTo>
                    <a:pt x="12" y="10"/>
                  </a:lnTo>
                  <a:lnTo>
                    <a:pt x="12" y="10"/>
                  </a:lnTo>
                  <a:lnTo>
                    <a:pt x="12" y="11"/>
                  </a:lnTo>
                  <a:lnTo>
                    <a:pt x="12" y="11"/>
                  </a:lnTo>
                  <a:lnTo>
                    <a:pt x="12" y="11"/>
                  </a:lnTo>
                  <a:lnTo>
                    <a:pt x="12" y="12"/>
                  </a:lnTo>
                  <a:lnTo>
                    <a:pt x="12" y="12"/>
                  </a:lnTo>
                  <a:lnTo>
                    <a:pt x="12" y="14"/>
                  </a:lnTo>
                  <a:lnTo>
                    <a:pt x="12" y="14"/>
                  </a:lnTo>
                  <a:lnTo>
                    <a:pt x="12" y="14"/>
                  </a:lnTo>
                  <a:lnTo>
                    <a:pt x="12" y="14"/>
                  </a:lnTo>
                  <a:lnTo>
                    <a:pt x="12" y="14"/>
                  </a:lnTo>
                  <a:lnTo>
                    <a:pt x="12" y="15"/>
                  </a:lnTo>
                  <a:lnTo>
                    <a:pt x="12" y="15"/>
                  </a:lnTo>
                  <a:lnTo>
                    <a:pt x="12" y="15"/>
                  </a:lnTo>
                  <a:lnTo>
                    <a:pt x="12" y="15"/>
                  </a:lnTo>
                  <a:lnTo>
                    <a:pt x="11" y="17"/>
                  </a:lnTo>
                  <a:lnTo>
                    <a:pt x="11" y="17"/>
                  </a:lnTo>
                  <a:lnTo>
                    <a:pt x="11" y="18"/>
                  </a:lnTo>
                  <a:lnTo>
                    <a:pt x="11" y="18"/>
                  </a:lnTo>
                  <a:lnTo>
                    <a:pt x="11" y="19"/>
                  </a:lnTo>
                  <a:lnTo>
                    <a:pt x="11" y="20"/>
                  </a:lnTo>
                  <a:lnTo>
                    <a:pt x="11" y="21"/>
                  </a:lnTo>
                  <a:lnTo>
                    <a:pt x="11" y="21"/>
                  </a:lnTo>
                  <a:lnTo>
                    <a:pt x="11" y="21"/>
                  </a:lnTo>
                  <a:lnTo>
                    <a:pt x="10" y="21"/>
                  </a:lnTo>
                  <a:lnTo>
                    <a:pt x="10" y="21"/>
                  </a:lnTo>
                  <a:lnTo>
                    <a:pt x="10" y="21"/>
                  </a:lnTo>
                  <a:lnTo>
                    <a:pt x="11" y="21"/>
                  </a:lnTo>
                  <a:lnTo>
                    <a:pt x="10" y="22"/>
                  </a:lnTo>
                  <a:lnTo>
                    <a:pt x="10" y="22"/>
                  </a:lnTo>
                  <a:lnTo>
                    <a:pt x="10" y="22"/>
                  </a:lnTo>
                  <a:lnTo>
                    <a:pt x="10" y="22"/>
                  </a:lnTo>
                  <a:lnTo>
                    <a:pt x="10" y="22"/>
                  </a:lnTo>
                  <a:lnTo>
                    <a:pt x="10" y="22"/>
                  </a:lnTo>
                  <a:lnTo>
                    <a:pt x="10" y="22"/>
                  </a:lnTo>
                  <a:lnTo>
                    <a:pt x="10" y="22"/>
                  </a:lnTo>
                  <a:lnTo>
                    <a:pt x="10" y="22"/>
                  </a:lnTo>
                  <a:lnTo>
                    <a:pt x="10" y="22"/>
                  </a:lnTo>
                  <a:lnTo>
                    <a:pt x="10" y="22"/>
                  </a:lnTo>
                  <a:lnTo>
                    <a:pt x="10" y="22"/>
                  </a:lnTo>
                  <a:lnTo>
                    <a:pt x="9" y="22"/>
                  </a:lnTo>
                  <a:lnTo>
                    <a:pt x="9" y="22"/>
                  </a:lnTo>
                  <a:lnTo>
                    <a:pt x="10" y="22"/>
                  </a:lnTo>
                  <a:lnTo>
                    <a:pt x="10" y="22"/>
                  </a:lnTo>
                  <a:lnTo>
                    <a:pt x="10" y="22"/>
                  </a:lnTo>
                  <a:lnTo>
                    <a:pt x="10" y="22"/>
                  </a:lnTo>
                  <a:lnTo>
                    <a:pt x="10" y="24"/>
                  </a:lnTo>
                  <a:lnTo>
                    <a:pt x="10" y="24"/>
                  </a:lnTo>
                  <a:lnTo>
                    <a:pt x="10" y="24"/>
                  </a:lnTo>
                  <a:lnTo>
                    <a:pt x="10" y="24"/>
                  </a:lnTo>
                  <a:lnTo>
                    <a:pt x="10" y="24"/>
                  </a:lnTo>
                  <a:lnTo>
                    <a:pt x="10" y="24"/>
                  </a:lnTo>
                  <a:lnTo>
                    <a:pt x="9" y="24"/>
                  </a:lnTo>
                  <a:lnTo>
                    <a:pt x="9" y="24"/>
                  </a:lnTo>
                  <a:lnTo>
                    <a:pt x="9" y="24"/>
                  </a:lnTo>
                  <a:lnTo>
                    <a:pt x="9" y="24"/>
                  </a:lnTo>
                  <a:lnTo>
                    <a:pt x="9" y="25"/>
                  </a:lnTo>
                  <a:lnTo>
                    <a:pt x="9" y="25"/>
                  </a:lnTo>
                  <a:lnTo>
                    <a:pt x="9" y="25"/>
                  </a:lnTo>
                  <a:lnTo>
                    <a:pt x="9" y="25"/>
                  </a:lnTo>
                  <a:lnTo>
                    <a:pt x="9" y="25"/>
                  </a:lnTo>
                  <a:lnTo>
                    <a:pt x="9" y="25"/>
                  </a:lnTo>
                  <a:lnTo>
                    <a:pt x="9" y="25"/>
                  </a:lnTo>
                  <a:lnTo>
                    <a:pt x="9" y="25"/>
                  </a:lnTo>
                  <a:lnTo>
                    <a:pt x="9" y="25"/>
                  </a:lnTo>
                  <a:lnTo>
                    <a:pt x="9" y="25"/>
                  </a:lnTo>
                  <a:lnTo>
                    <a:pt x="9" y="25"/>
                  </a:lnTo>
                  <a:lnTo>
                    <a:pt x="9" y="26"/>
                  </a:lnTo>
                  <a:lnTo>
                    <a:pt x="9" y="26"/>
                  </a:lnTo>
                  <a:lnTo>
                    <a:pt x="9" y="26"/>
                  </a:lnTo>
                  <a:lnTo>
                    <a:pt x="9" y="26"/>
                  </a:lnTo>
                  <a:lnTo>
                    <a:pt x="9" y="26"/>
                  </a:lnTo>
                  <a:lnTo>
                    <a:pt x="9" y="26"/>
                  </a:lnTo>
                  <a:lnTo>
                    <a:pt x="9" y="26"/>
                  </a:lnTo>
                  <a:lnTo>
                    <a:pt x="9" y="26"/>
                  </a:lnTo>
                  <a:lnTo>
                    <a:pt x="9" y="26"/>
                  </a:lnTo>
                  <a:lnTo>
                    <a:pt x="9" y="26"/>
                  </a:lnTo>
                  <a:lnTo>
                    <a:pt x="9" y="26"/>
                  </a:lnTo>
                  <a:lnTo>
                    <a:pt x="9" y="26"/>
                  </a:lnTo>
                  <a:lnTo>
                    <a:pt x="9" y="26"/>
                  </a:lnTo>
                  <a:lnTo>
                    <a:pt x="9" y="26"/>
                  </a:lnTo>
                  <a:lnTo>
                    <a:pt x="8" y="26"/>
                  </a:lnTo>
                  <a:lnTo>
                    <a:pt x="8" y="26"/>
                  </a:lnTo>
                  <a:lnTo>
                    <a:pt x="8" y="26"/>
                  </a:lnTo>
                  <a:lnTo>
                    <a:pt x="8" y="26"/>
                  </a:lnTo>
                  <a:lnTo>
                    <a:pt x="8" y="26"/>
                  </a:lnTo>
                  <a:lnTo>
                    <a:pt x="8" y="26"/>
                  </a:lnTo>
                  <a:lnTo>
                    <a:pt x="8" y="26"/>
                  </a:lnTo>
                  <a:lnTo>
                    <a:pt x="8" y="25"/>
                  </a:lnTo>
                  <a:lnTo>
                    <a:pt x="7" y="25"/>
                  </a:lnTo>
                  <a:lnTo>
                    <a:pt x="7" y="25"/>
                  </a:lnTo>
                  <a:lnTo>
                    <a:pt x="7" y="25"/>
                  </a:lnTo>
                  <a:lnTo>
                    <a:pt x="7" y="25"/>
                  </a:lnTo>
                  <a:lnTo>
                    <a:pt x="7" y="25"/>
                  </a:lnTo>
                  <a:lnTo>
                    <a:pt x="7" y="25"/>
                  </a:lnTo>
                  <a:lnTo>
                    <a:pt x="7" y="25"/>
                  </a:lnTo>
                  <a:lnTo>
                    <a:pt x="7" y="25"/>
                  </a:lnTo>
                  <a:lnTo>
                    <a:pt x="7" y="25"/>
                  </a:lnTo>
                  <a:lnTo>
                    <a:pt x="7" y="25"/>
                  </a:lnTo>
                  <a:lnTo>
                    <a:pt x="7" y="25"/>
                  </a:lnTo>
                  <a:lnTo>
                    <a:pt x="7" y="25"/>
                  </a:lnTo>
                  <a:lnTo>
                    <a:pt x="7" y="25"/>
                  </a:lnTo>
                  <a:lnTo>
                    <a:pt x="7" y="25"/>
                  </a:lnTo>
                  <a:lnTo>
                    <a:pt x="7" y="25"/>
                  </a:lnTo>
                  <a:lnTo>
                    <a:pt x="5" y="25"/>
                  </a:lnTo>
                  <a:lnTo>
                    <a:pt x="5" y="25"/>
                  </a:lnTo>
                  <a:lnTo>
                    <a:pt x="5" y="25"/>
                  </a:lnTo>
                  <a:lnTo>
                    <a:pt x="5" y="25"/>
                  </a:lnTo>
                  <a:lnTo>
                    <a:pt x="5" y="25"/>
                  </a:lnTo>
                  <a:lnTo>
                    <a:pt x="5" y="25"/>
                  </a:lnTo>
                  <a:lnTo>
                    <a:pt x="4" y="25"/>
                  </a:lnTo>
                  <a:lnTo>
                    <a:pt x="4" y="25"/>
                  </a:lnTo>
                  <a:lnTo>
                    <a:pt x="4" y="24"/>
                  </a:lnTo>
                  <a:lnTo>
                    <a:pt x="4" y="24"/>
                  </a:lnTo>
                  <a:lnTo>
                    <a:pt x="4" y="24"/>
                  </a:lnTo>
                  <a:lnTo>
                    <a:pt x="4" y="24"/>
                  </a:lnTo>
                  <a:lnTo>
                    <a:pt x="4" y="24"/>
                  </a:lnTo>
                  <a:lnTo>
                    <a:pt x="4" y="24"/>
                  </a:lnTo>
                  <a:lnTo>
                    <a:pt x="4" y="24"/>
                  </a:lnTo>
                  <a:lnTo>
                    <a:pt x="4" y="24"/>
                  </a:lnTo>
                  <a:lnTo>
                    <a:pt x="4" y="24"/>
                  </a:lnTo>
                  <a:lnTo>
                    <a:pt x="4" y="24"/>
                  </a:lnTo>
                  <a:lnTo>
                    <a:pt x="4" y="24"/>
                  </a:lnTo>
                  <a:lnTo>
                    <a:pt x="3" y="24"/>
                  </a:lnTo>
                  <a:lnTo>
                    <a:pt x="3" y="24"/>
                  </a:lnTo>
                  <a:lnTo>
                    <a:pt x="3" y="24"/>
                  </a:lnTo>
                  <a:lnTo>
                    <a:pt x="3" y="24"/>
                  </a:lnTo>
                  <a:lnTo>
                    <a:pt x="3" y="24"/>
                  </a:lnTo>
                  <a:lnTo>
                    <a:pt x="3" y="24"/>
                  </a:lnTo>
                  <a:lnTo>
                    <a:pt x="3" y="22"/>
                  </a:lnTo>
                  <a:lnTo>
                    <a:pt x="3" y="22"/>
                  </a:lnTo>
                  <a:lnTo>
                    <a:pt x="3" y="22"/>
                  </a:lnTo>
                  <a:lnTo>
                    <a:pt x="3" y="22"/>
                  </a:lnTo>
                  <a:lnTo>
                    <a:pt x="3" y="22"/>
                  </a:lnTo>
                  <a:lnTo>
                    <a:pt x="4" y="22"/>
                  </a:lnTo>
                  <a:lnTo>
                    <a:pt x="4" y="22"/>
                  </a:lnTo>
                  <a:lnTo>
                    <a:pt x="4" y="21"/>
                  </a:lnTo>
                  <a:lnTo>
                    <a:pt x="4" y="21"/>
                  </a:lnTo>
                  <a:lnTo>
                    <a:pt x="4" y="21"/>
                  </a:lnTo>
                  <a:lnTo>
                    <a:pt x="4" y="21"/>
                  </a:lnTo>
                  <a:lnTo>
                    <a:pt x="4" y="21"/>
                  </a:lnTo>
                  <a:lnTo>
                    <a:pt x="4" y="21"/>
                  </a:lnTo>
                  <a:lnTo>
                    <a:pt x="3" y="21"/>
                  </a:lnTo>
                  <a:lnTo>
                    <a:pt x="3" y="21"/>
                  </a:lnTo>
                  <a:lnTo>
                    <a:pt x="3" y="21"/>
                  </a:lnTo>
                  <a:lnTo>
                    <a:pt x="3" y="20"/>
                  </a:lnTo>
                  <a:lnTo>
                    <a:pt x="3" y="20"/>
                  </a:lnTo>
                  <a:lnTo>
                    <a:pt x="2" y="21"/>
                  </a:lnTo>
                  <a:lnTo>
                    <a:pt x="2" y="21"/>
                  </a:lnTo>
                  <a:lnTo>
                    <a:pt x="2" y="21"/>
                  </a:lnTo>
                  <a:lnTo>
                    <a:pt x="2" y="20"/>
                  </a:lnTo>
                  <a:lnTo>
                    <a:pt x="2" y="20"/>
                  </a:lnTo>
                  <a:lnTo>
                    <a:pt x="2" y="20"/>
                  </a:lnTo>
                  <a:lnTo>
                    <a:pt x="2" y="20"/>
                  </a:lnTo>
                  <a:lnTo>
                    <a:pt x="2" y="20"/>
                  </a:lnTo>
                  <a:lnTo>
                    <a:pt x="2" y="20"/>
                  </a:lnTo>
                  <a:lnTo>
                    <a:pt x="2" y="20"/>
                  </a:lnTo>
                  <a:lnTo>
                    <a:pt x="2" y="20"/>
                  </a:lnTo>
                  <a:lnTo>
                    <a:pt x="2" y="20"/>
                  </a:lnTo>
                  <a:lnTo>
                    <a:pt x="2" y="20"/>
                  </a:lnTo>
                  <a:lnTo>
                    <a:pt x="2" y="20"/>
                  </a:lnTo>
                  <a:lnTo>
                    <a:pt x="2" y="20"/>
                  </a:lnTo>
                  <a:lnTo>
                    <a:pt x="2" y="20"/>
                  </a:lnTo>
                  <a:lnTo>
                    <a:pt x="2" y="20"/>
                  </a:lnTo>
                  <a:lnTo>
                    <a:pt x="3" y="20"/>
                  </a:lnTo>
                  <a:lnTo>
                    <a:pt x="3" y="19"/>
                  </a:lnTo>
                  <a:lnTo>
                    <a:pt x="3" y="19"/>
                  </a:lnTo>
                  <a:lnTo>
                    <a:pt x="3" y="19"/>
                  </a:lnTo>
                  <a:lnTo>
                    <a:pt x="3" y="19"/>
                  </a:lnTo>
                  <a:lnTo>
                    <a:pt x="3" y="19"/>
                  </a:lnTo>
                  <a:lnTo>
                    <a:pt x="3" y="19"/>
                  </a:lnTo>
                  <a:lnTo>
                    <a:pt x="3" y="19"/>
                  </a:lnTo>
                  <a:lnTo>
                    <a:pt x="3" y="19"/>
                  </a:lnTo>
                  <a:lnTo>
                    <a:pt x="3" y="19"/>
                  </a:lnTo>
                  <a:lnTo>
                    <a:pt x="3" y="19"/>
                  </a:lnTo>
                  <a:lnTo>
                    <a:pt x="3" y="19"/>
                  </a:lnTo>
                  <a:lnTo>
                    <a:pt x="3" y="18"/>
                  </a:lnTo>
                  <a:lnTo>
                    <a:pt x="3" y="18"/>
                  </a:lnTo>
                  <a:lnTo>
                    <a:pt x="3" y="18"/>
                  </a:lnTo>
                  <a:lnTo>
                    <a:pt x="3" y="18"/>
                  </a:lnTo>
                  <a:lnTo>
                    <a:pt x="3" y="18"/>
                  </a:lnTo>
                  <a:lnTo>
                    <a:pt x="3" y="18"/>
                  </a:lnTo>
                  <a:lnTo>
                    <a:pt x="3" y="18"/>
                  </a:lnTo>
                  <a:lnTo>
                    <a:pt x="3" y="18"/>
                  </a:lnTo>
                  <a:lnTo>
                    <a:pt x="3" y="18"/>
                  </a:lnTo>
                  <a:lnTo>
                    <a:pt x="3" y="18"/>
                  </a:lnTo>
                  <a:lnTo>
                    <a:pt x="3" y="18"/>
                  </a:lnTo>
                  <a:lnTo>
                    <a:pt x="2" y="18"/>
                  </a:lnTo>
                  <a:lnTo>
                    <a:pt x="2" y="18"/>
                  </a:lnTo>
                  <a:lnTo>
                    <a:pt x="2" y="18"/>
                  </a:lnTo>
                  <a:lnTo>
                    <a:pt x="1" y="18"/>
                  </a:lnTo>
                  <a:lnTo>
                    <a:pt x="1" y="18"/>
                  </a:lnTo>
                  <a:lnTo>
                    <a:pt x="1" y="18"/>
                  </a:lnTo>
                  <a:lnTo>
                    <a:pt x="1" y="18"/>
                  </a:lnTo>
                  <a:lnTo>
                    <a:pt x="1" y="18"/>
                  </a:lnTo>
                  <a:lnTo>
                    <a:pt x="1" y="18"/>
                  </a:lnTo>
                  <a:lnTo>
                    <a:pt x="1" y="17"/>
                  </a:lnTo>
                  <a:lnTo>
                    <a:pt x="1" y="17"/>
                  </a:lnTo>
                  <a:lnTo>
                    <a:pt x="1" y="17"/>
                  </a:lnTo>
                  <a:lnTo>
                    <a:pt x="2" y="17"/>
                  </a:lnTo>
                  <a:lnTo>
                    <a:pt x="1" y="17"/>
                  </a:lnTo>
                  <a:lnTo>
                    <a:pt x="1" y="17"/>
                  </a:lnTo>
                  <a:lnTo>
                    <a:pt x="2" y="17"/>
                  </a:lnTo>
                  <a:lnTo>
                    <a:pt x="2" y="17"/>
                  </a:lnTo>
                  <a:lnTo>
                    <a:pt x="2" y="17"/>
                  </a:lnTo>
                  <a:lnTo>
                    <a:pt x="2" y="15"/>
                  </a:lnTo>
                  <a:lnTo>
                    <a:pt x="2" y="15"/>
                  </a:lnTo>
                  <a:lnTo>
                    <a:pt x="2" y="15"/>
                  </a:lnTo>
                  <a:lnTo>
                    <a:pt x="2" y="15"/>
                  </a:lnTo>
                  <a:lnTo>
                    <a:pt x="2" y="15"/>
                  </a:lnTo>
                  <a:lnTo>
                    <a:pt x="2" y="15"/>
                  </a:lnTo>
                  <a:lnTo>
                    <a:pt x="2" y="14"/>
                  </a:lnTo>
                  <a:lnTo>
                    <a:pt x="2" y="14"/>
                  </a:lnTo>
                  <a:lnTo>
                    <a:pt x="1" y="15"/>
                  </a:lnTo>
                  <a:lnTo>
                    <a:pt x="1" y="14"/>
                  </a:lnTo>
                  <a:lnTo>
                    <a:pt x="1" y="14"/>
                  </a:lnTo>
                  <a:lnTo>
                    <a:pt x="1" y="14"/>
                  </a:lnTo>
                  <a:lnTo>
                    <a:pt x="1" y="14"/>
                  </a:lnTo>
                  <a:lnTo>
                    <a:pt x="1" y="14"/>
                  </a:lnTo>
                  <a:lnTo>
                    <a:pt x="1" y="14"/>
                  </a:lnTo>
                  <a:lnTo>
                    <a:pt x="1" y="14"/>
                  </a:lnTo>
                  <a:lnTo>
                    <a:pt x="1" y="14"/>
                  </a:lnTo>
                  <a:lnTo>
                    <a:pt x="0" y="14"/>
                  </a:lnTo>
                  <a:lnTo>
                    <a:pt x="0" y="14"/>
                  </a:lnTo>
                  <a:lnTo>
                    <a:pt x="0" y="14"/>
                  </a:lnTo>
                  <a:lnTo>
                    <a:pt x="0" y="14"/>
                  </a:lnTo>
                  <a:lnTo>
                    <a:pt x="0" y="14"/>
                  </a:lnTo>
                  <a:lnTo>
                    <a:pt x="1" y="14"/>
                  </a:lnTo>
                  <a:lnTo>
                    <a:pt x="1" y="14"/>
                  </a:lnTo>
                  <a:lnTo>
                    <a:pt x="0" y="14"/>
                  </a:lnTo>
                  <a:lnTo>
                    <a:pt x="0" y="14"/>
                  </a:lnTo>
                  <a:lnTo>
                    <a:pt x="0" y="13"/>
                  </a:lnTo>
                  <a:lnTo>
                    <a:pt x="0" y="13"/>
                  </a:lnTo>
                  <a:lnTo>
                    <a:pt x="0" y="13"/>
                  </a:lnTo>
                  <a:lnTo>
                    <a:pt x="0" y="13"/>
                  </a:lnTo>
                  <a:lnTo>
                    <a:pt x="0" y="13"/>
                  </a:lnTo>
                  <a:lnTo>
                    <a:pt x="0" y="13"/>
                  </a:lnTo>
                  <a:lnTo>
                    <a:pt x="0" y="13"/>
                  </a:lnTo>
                  <a:lnTo>
                    <a:pt x="0" y="13"/>
                  </a:lnTo>
                  <a:lnTo>
                    <a:pt x="0" y="13"/>
                  </a:lnTo>
                  <a:lnTo>
                    <a:pt x="0" y="13"/>
                  </a:lnTo>
                  <a:lnTo>
                    <a:pt x="1" y="13"/>
                  </a:lnTo>
                  <a:lnTo>
                    <a:pt x="1" y="13"/>
                  </a:lnTo>
                  <a:lnTo>
                    <a:pt x="1" y="13"/>
                  </a:lnTo>
                  <a:lnTo>
                    <a:pt x="1" y="13"/>
                  </a:lnTo>
                  <a:lnTo>
                    <a:pt x="1" y="12"/>
                  </a:lnTo>
                  <a:lnTo>
                    <a:pt x="1" y="12"/>
                  </a:lnTo>
                  <a:lnTo>
                    <a:pt x="1" y="12"/>
                  </a:lnTo>
                  <a:lnTo>
                    <a:pt x="2" y="12"/>
                  </a:lnTo>
                  <a:lnTo>
                    <a:pt x="2" y="12"/>
                  </a:lnTo>
                  <a:lnTo>
                    <a:pt x="2" y="12"/>
                  </a:lnTo>
                  <a:lnTo>
                    <a:pt x="2" y="12"/>
                  </a:lnTo>
                  <a:lnTo>
                    <a:pt x="1" y="12"/>
                  </a:lnTo>
                  <a:lnTo>
                    <a:pt x="1" y="12"/>
                  </a:lnTo>
                  <a:lnTo>
                    <a:pt x="1" y="12"/>
                  </a:lnTo>
                  <a:lnTo>
                    <a:pt x="1" y="12"/>
                  </a:lnTo>
                  <a:lnTo>
                    <a:pt x="1" y="12"/>
                  </a:lnTo>
                  <a:lnTo>
                    <a:pt x="1" y="12"/>
                  </a:lnTo>
                  <a:lnTo>
                    <a:pt x="1" y="12"/>
                  </a:lnTo>
                  <a:lnTo>
                    <a:pt x="1" y="12"/>
                  </a:lnTo>
                  <a:lnTo>
                    <a:pt x="1" y="12"/>
                  </a:lnTo>
                  <a:lnTo>
                    <a:pt x="1" y="12"/>
                  </a:lnTo>
                  <a:lnTo>
                    <a:pt x="1" y="12"/>
                  </a:lnTo>
                  <a:lnTo>
                    <a:pt x="1" y="11"/>
                  </a:lnTo>
                  <a:lnTo>
                    <a:pt x="1" y="11"/>
                  </a:lnTo>
                  <a:lnTo>
                    <a:pt x="1" y="11"/>
                  </a:lnTo>
                  <a:lnTo>
                    <a:pt x="0" y="11"/>
                  </a:lnTo>
                  <a:lnTo>
                    <a:pt x="0" y="11"/>
                  </a:lnTo>
                  <a:lnTo>
                    <a:pt x="0" y="11"/>
                  </a:lnTo>
                  <a:lnTo>
                    <a:pt x="0" y="11"/>
                  </a:lnTo>
                  <a:lnTo>
                    <a:pt x="0" y="11"/>
                  </a:lnTo>
                  <a:lnTo>
                    <a:pt x="0" y="11"/>
                  </a:lnTo>
                  <a:lnTo>
                    <a:pt x="0" y="11"/>
                  </a:lnTo>
                  <a:lnTo>
                    <a:pt x="0" y="11"/>
                  </a:lnTo>
                  <a:lnTo>
                    <a:pt x="0" y="11"/>
                  </a:lnTo>
                  <a:lnTo>
                    <a:pt x="0" y="11"/>
                  </a:lnTo>
                  <a:lnTo>
                    <a:pt x="1" y="11"/>
                  </a:lnTo>
                  <a:lnTo>
                    <a:pt x="1" y="11"/>
                  </a:lnTo>
                  <a:lnTo>
                    <a:pt x="1" y="11"/>
                  </a:lnTo>
                  <a:lnTo>
                    <a:pt x="1" y="10"/>
                  </a:lnTo>
                  <a:lnTo>
                    <a:pt x="1" y="10"/>
                  </a:lnTo>
                  <a:lnTo>
                    <a:pt x="1" y="10"/>
                  </a:lnTo>
                  <a:lnTo>
                    <a:pt x="1" y="10"/>
                  </a:lnTo>
                  <a:lnTo>
                    <a:pt x="1" y="10"/>
                  </a:lnTo>
                  <a:lnTo>
                    <a:pt x="1" y="10"/>
                  </a:lnTo>
                  <a:lnTo>
                    <a:pt x="1" y="10"/>
                  </a:lnTo>
                  <a:lnTo>
                    <a:pt x="1" y="10"/>
                  </a:lnTo>
                  <a:lnTo>
                    <a:pt x="1" y="10"/>
                  </a:lnTo>
                  <a:lnTo>
                    <a:pt x="1" y="10"/>
                  </a:lnTo>
                  <a:lnTo>
                    <a:pt x="1" y="10"/>
                  </a:lnTo>
                  <a:lnTo>
                    <a:pt x="1" y="10"/>
                  </a:lnTo>
                  <a:lnTo>
                    <a:pt x="1" y="10"/>
                  </a:lnTo>
                  <a:lnTo>
                    <a:pt x="1" y="8"/>
                  </a:lnTo>
                  <a:lnTo>
                    <a:pt x="1" y="8"/>
                  </a:lnTo>
                  <a:lnTo>
                    <a:pt x="1" y="8"/>
                  </a:lnTo>
                  <a:lnTo>
                    <a:pt x="2" y="8"/>
                  </a:lnTo>
                  <a:lnTo>
                    <a:pt x="2" y="8"/>
                  </a:lnTo>
                  <a:lnTo>
                    <a:pt x="2" y="8"/>
                  </a:lnTo>
                  <a:lnTo>
                    <a:pt x="2" y="7"/>
                  </a:lnTo>
                  <a:lnTo>
                    <a:pt x="2" y="7"/>
                  </a:lnTo>
                  <a:lnTo>
                    <a:pt x="2" y="7"/>
                  </a:lnTo>
                  <a:lnTo>
                    <a:pt x="2" y="7"/>
                  </a:lnTo>
                  <a:lnTo>
                    <a:pt x="2" y="7"/>
                  </a:lnTo>
                  <a:lnTo>
                    <a:pt x="2" y="7"/>
                  </a:lnTo>
                  <a:lnTo>
                    <a:pt x="2" y="7"/>
                  </a:lnTo>
                  <a:lnTo>
                    <a:pt x="2" y="7"/>
                  </a:lnTo>
                  <a:lnTo>
                    <a:pt x="2" y="7"/>
                  </a:lnTo>
                  <a:lnTo>
                    <a:pt x="2" y="7"/>
                  </a:lnTo>
                  <a:lnTo>
                    <a:pt x="2" y="7"/>
                  </a:lnTo>
                  <a:lnTo>
                    <a:pt x="3" y="7"/>
                  </a:lnTo>
                  <a:lnTo>
                    <a:pt x="3" y="7"/>
                  </a:lnTo>
                  <a:lnTo>
                    <a:pt x="3" y="7"/>
                  </a:lnTo>
                  <a:lnTo>
                    <a:pt x="3" y="7"/>
                  </a:lnTo>
                  <a:lnTo>
                    <a:pt x="3" y="7"/>
                  </a:lnTo>
                  <a:lnTo>
                    <a:pt x="3" y="7"/>
                  </a:lnTo>
                  <a:lnTo>
                    <a:pt x="4" y="6"/>
                  </a:lnTo>
                  <a:lnTo>
                    <a:pt x="5" y="6"/>
                  </a:lnTo>
                  <a:lnTo>
                    <a:pt x="5" y="6"/>
                  </a:lnTo>
                  <a:lnTo>
                    <a:pt x="5" y="6"/>
                  </a:lnTo>
                  <a:lnTo>
                    <a:pt x="7" y="5"/>
                  </a:lnTo>
                  <a:lnTo>
                    <a:pt x="7" y="5"/>
                  </a:lnTo>
                  <a:lnTo>
                    <a:pt x="7" y="5"/>
                  </a:lnTo>
                  <a:lnTo>
                    <a:pt x="8" y="5"/>
                  </a:lnTo>
                  <a:lnTo>
                    <a:pt x="8" y="5"/>
                  </a:lnTo>
                  <a:lnTo>
                    <a:pt x="8" y="5"/>
                  </a:lnTo>
                  <a:lnTo>
                    <a:pt x="8" y="5"/>
                  </a:lnTo>
                  <a:lnTo>
                    <a:pt x="9" y="5"/>
                  </a:lnTo>
                  <a:lnTo>
                    <a:pt x="9" y="5"/>
                  </a:lnTo>
                  <a:lnTo>
                    <a:pt x="9" y="6"/>
                  </a:lnTo>
                  <a:lnTo>
                    <a:pt x="9" y="6"/>
                  </a:lnTo>
                  <a:lnTo>
                    <a:pt x="9" y="6"/>
                  </a:lnTo>
                  <a:lnTo>
                    <a:pt x="9" y="6"/>
                  </a:lnTo>
                  <a:lnTo>
                    <a:pt x="9" y="5"/>
                  </a:lnTo>
                  <a:lnTo>
                    <a:pt x="9" y="5"/>
                  </a:lnTo>
                  <a:lnTo>
                    <a:pt x="9" y="5"/>
                  </a:lnTo>
                  <a:lnTo>
                    <a:pt x="9" y="4"/>
                  </a:lnTo>
                  <a:lnTo>
                    <a:pt x="9" y="4"/>
                  </a:lnTo>
                  <a:lnTo>
                    <a:pt x="9" y="4"/>
                  </a:lnTo>
                  <a:lnTo>
                    <a:pt x="9" y="4"/>
                  </a:lnTo>
                  <a:lnTo>
                    <a:pt x="9" y="3"/>
                  </a:lnTo>
                  <a:lnTo>
                    <a:pt x="9" y="3"/>
                  </a:lnTo>
                  <a:lnTo>
                    <a:pt x="9" y="3"/>
                  </a:lnTo>
                  <a:lnTo>
                    <a:pt x="9" y="3"/>
                  </a:lnTo>
                  <a:lnTo>
                    <a:pt x="9" y="3"/>
                  </a:lnTo>
                  <a:lnTo>
                    <a:pt x="9" y="3"/>
                  </a:lnTo>
                  <a:lnTo>
                    <a:pt x="10" y="3"/>
                  </a:lnTo>
                  <a:lnTo>
                    <a:pt x="10" y="1"/>
                  </a:lnTo>
                  <a:lnTo>
                    <a:pt x="10" y="1"/>
                  </a:lnTo>
                  <a:lnTo>
                    <a:pt x="10" y="1"/>
                  </a:lnTo>
                  <a:lnTo>
                    <a:pt x="10" y="1"/>
                  </a:lnTo>
                  <a:lnTo>
                    <a:pt x="9" y="1"/>
                  </a:lnTo>
                  <a:lnTo>
                    <a:pt x="9" y="1"/>
                  </a:lnTo>
                  <a:lnTo>
                    <a:pt x="9" y="1"/>
                  </a:lnTo>
                  <a:lnTo>
                    <a:pt x="9" y="0"/>
                  </a:lnTo>
                  <a:lnTo>
                    <a:pt x="10" y="0"/>
                  </a:lnTo>
                  <a:lnTo>
                    <a:pt x="10" y="0"/>
                  </a:lnTo>
                  <a:lnTo>
                    <a:pt x="10" y="0"/>
                  </a:lnTo>
                  <a:lnTo>
                    <a:pt x="10" y="0"/>
                  </a:lnTo>
                  <a:lnTo>
                    <a:pt x="10" y="1"/>
                  </a:lnTo>
                  <a:lnTo>
                    <a:pt x="11" y="1"/>
                  </a:lnTo>
                  <a:lnTo>
                    <a:pt x="11" y="1"/>
                  </a:lnTo>
                  <a:lnTo>
                    <a:pt x="11" y="1"/>
                  </a:lnTo>
                  <a:lnTo>
                    <a:pt x="11" y="1"/>
                  </a:lnTo>
                  <a:lnTo>
                    <a:pt x="11" y="1"/>
                  </a:lnTo>
                  <a:lnTo>
                    <a:pt x="11" y="1"/>
                  </a:lnTo>
                  <a:lnTo>
                    <a:pt x="11" y="3"/>
                  </a:lnTo>
                  <a:lnTo>
                    <a:pt x="11" y="4"/>
                  </a:lnTo>
                  <a:lnTo>
                    <a:pt x="11" y="4"/>
                  </a:lnTo>
                  <a:lnTo>
                    <a:pt x="11" y="5"/>
                  </a:lnTo>
                  <a:lnTo>
                    <a:pt x="11" y="6"/>
                  </a:lnTo>
                  <a:lnTo>
                    <a:pt x="11" y="6"/>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09" name="Freeform 1173">
              <a:extLst>
                <a:ext uri="{FF2B5EF4-FFF2-40B4-BE49-F238E27FC236}">
                  <a16:creationId xmlns:a16="http://schemas.microsoft.com/office/drawing/2014/main" id="{B9724FD1-DE1B-41D5-950A-0055C5B10805}"/>
                </a:ext>
              </a:extLst>
            </p:cNvPr>
            <p:cNvSpPr>
              <a:spLocks/>
            </p:cNvSpPr>
            <p:nvPr/>
          </p:nvSpPr>
          <p:spPr bwMode="auto">
            <a:xfrm>
              <a:off x="5910596" y="2439060"/>
              <a:ext cx="2671" cy="1336"/>
            </a:xfrm>
            <a:custGeom>
              <a:avLst/>
              <a:gdLst>
                <a:gd name="T0" fmla="*/ 2 w 2"/>
                <a:gd name="T1" fmla="*/ 0 h 1"/>
                <a:gd name="T2" fmla="*/ 2 w 2"/>
                <a:gd name="T3" fmla="*/ 1 h 1"/>
                <a:gd name="T4" fmla="*/ 2 w 2"/>
                <a:gd name="T5" fmla="*/ 1 h 1"/>
                <a:gd name="T6" fmla="*/ 0 w 2"/>
                <a:gd name="T7" fmla="*/ 1 h 1"/>
                <a:gd name="T8" fmla="*/ 0 w 2"/>
                <a:gd name="T9" fmla="*/ 1 h 1"/>
                <a:gd name="T10" fmla="*/ 0 w 2"/>
                <a:gd name="T11" fmla="*/ 1 h 1"/>
                <a:gd name="T12" fmla="*/ 0 w 2"/>
                <a:gd name="T13" fmla="*/ 1 h 1"/>
                <a:gd name="T14" fmla="*/ 0 w 2"/>
                <a:gd name="T15" fmla="*/ 0 h 1"/>
                <a:gd name="T16" fmla="*/ 0 w 2"/>
                <a:gd name="T17" fmla="*/ 0 h 1"/>
                <a:gd name="T18" fmla="*/ 0 w 2"/>
                <a:gd name="T19" fmla="*/ 0 h 1"/>
                <a:gd name="T20" fmla="*/ 0 w 2"/>
                <a:gd name="T21" fmla="*/ 0 h 1"/>
                <a:gd name="T22" fmla="*/ 0 w 2"/>
                <a:gd name="T23" fmla="*/ 0 h 1"/>
                <a:gd name="T24" fmla="*/ 0 w 2"/>
                <a:gd name="T25" fmla="*/ 0 h 1"/>
                <a:gd name="T26" fmla="*/ 0 w 2"/>
                <a:gd name="T27" fmla="*/ 0 h 1"/>
                <a:gd name="T28" fmla="*/ 2 w 2"/>
                <a:gd name="T29" fmla="*/ 0 h 1"/>
                <a:gd name="T30" fmla="*/ 2 w 2"/>
                <a:gd name="T31" fmla="*/ 0 h 1"/>
                <a:gd name="T32" fmla="*/ 2 w 2"/>
                <a:gd name="T33" fmla="*/ 0 h 1"/>
                <a:gd name="T34" fmla="*/ 2 w 2"/>
                <a:gd name="T3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 h="1">
                  <a:moveTo>
                    <a:pt x="2" y="0"/>
                  </a:moveTo>
                  <a:lnTo>
                    <a:pt x="2" y="1"/>
                  </a:lnTo>
                  <a:lnTo>
                    <a:pt x="2" y="1"/>
                  </a:lnTo>
                  <a:lnTo>
                    <a:pt x="0" y="1"/>
                  </a:lnTo>
                  <a:lnTo>
                    <a:pt x="0" y="1"/>
                  </a:lnTo>
                  <a:lnTo>
                    <a:pt x="0" y="1"/>
                  </a:lnTo>
                  <a:lnTo>
                    <a:pt x="0" y="1"/>
                  </a:lnTo>
                  <a:lnTo>
                    <a:pt x="0" y="0"/>
                  </a:lnTo>
                  <a:lnTo>
                    <a:pt x="0" y="0"/>
                  </a:lnTo>
                  <a:lnTo>
                    <a:pt x="0" y="0"/>
                  </a:lnTo>
                  <a:lnTo>
                    <a:pt x="0" y="0"/>
                  </a:lnTo>
                  <a:lnTo>
                    <a:pt x="0" y="0"/>
                  </a:lnTo>
                  <a:lnTo>
                    <a:pt x="0" y="0"/>
                  </a:lnTo>
                  <a:lnTo>
                    <a:pt x="0" y="0"/>
                  </a:lnTo>
                  <a:lnTo>
                    <a:pt x="2"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10" name="Freeform 1174">
              <a:extLst>
                <a:ext uri="{FF2B5EF4-FFF2-40B4-BE49-F238E27FC236}">
                  <a16:creationId xmlns:a16="http://schemas.microsoft.com/office/drawing/2014/main" id="{B18241B2-A61E-4969-B733-E0DC73B4ABB5}"/>
                </a:ext>
              </a:extLst>
            </p:cNvPr>
            <p:cNvSpPr>
              <a:spLocks/>
            </p:cNvSpPr>
            <p:nvPr/>
          </p:nvSpPr>
          <p:spPr bwMode="auto">
            <a:xfrm>
              <a:off x="5783724" y="2377628"/>
              <a:ext cx="2671" cy="4007"/>
            </a:xfrm>
            <a:custGeom>
              <a:avLst/>
              <a:gdLst>
                <a:gd name="T0" fmla="*/ 1 w 2"/>
                <a:gd name="T1" fmla="*/ 0 h 3"/>
                <a:gd name="T2" fmla="*/ 1 w 2"/>
                <a:gd name="T3" fmla="*/ 1 h 3"/>
                <a:gd name="T4" fmla="*/ 1 w 2"/>
                <a:gd name="T5" fmla="*/ 0 h 3"/>
                <a:gd name="T6" fmla="*/ 1 w 2"/>
                <a:gd name="T7" fmla="*/ 0 h 3"/>
                <a:gd name="T8" fmla="*/ 2 w 2"/>
                <a:gd name="T9" fmla="*/ 1 h 3"/>
                <a:gd name="T10" fmla="*/ 2 w 2"/>
                <a:gd name="T11" fmla="*/ 1 h 3"/>
                <a:gd name="T12" fmla="*/ 2 w 2"/>
                <a:gd name="T13" fmla="*/ 1 h 3"/>
                <a:gd name="T14" fmla="*/ 2 w 2"/>
                <a:gd name="T15" fmla="*/ 1 h 3"/>
                <a:gd name="T16" fmla="*/ 2 w 2"/>
                <a:gd name="T17" fmla="*/ 1 h 3"/>
                <a:gd name="T18" fmla="*/ 2 w 2"/>
                <a:gd name="T19" fmla="*/ 1 h 3"/>
                <a:gd name="T20" fmla="*/ 2 w 2"/>
                <a:gd name="T21" fmla="*/ 1 h 3"/>
                <a:gd name="T22" fmla="*/ 2 w 2"/>
                <a:gd name="T23" fmla="*/ 1 h 3"/>
                <a:gd name="T24" fmla="*/ 2 w 2"/>
                <a:gd name="T25" fmla="*/ 2 h 3"/>
                <a:gd name="T26" fmla="*/ 2 w 2"/>
                <a:gd name="T27" fmla="*/ 2 h 3"/>
                <a:gd name="T28" fmla="*/ 2 w 2"/>
                <a:gd name="T29" fmla="*/ 2 h 3"/>
                <a:gd name="T30" fmla="*/ 2 w 2"/>
                <a:gd name="T31" fmla="*/ 2 h 3"/>
                <a:gd name="T32" fmla="*/ 2 w 2"/>
                <a:gd name="T33" fmla="*/ 3 h 3"/>
                <a:gd name="T34" fmla="*/ 2 w 2"/>
                <a:gd name="T35" fmla="*/ 3 h 3"/>
                <a:gd name="T36" fmla="*/ 2 w 2"/>
                <a:gd name="T37" fmla="*/ 3 h 3"/>
                <a:gd name="T38" fmla="*/ 2 w 2"/>
                <a:gd name="T39" fmla="*/ 2 h 3"/>
                <a:gd name="T40" fmla="*/ 1 w 2"/>
                <a:gd name="T41" fmla="*/ 2 h 3"/>
                <a:gd name="T42" fmla="*/ 1 w 2"/>
                <a:gd name="T43" fmla="*/ 2 h 3"/>
                <a:gd name="T44" fmla="*/ 1 w 2"/>
                <a:gd name="T45" fmla="*/ 1 h 3"/>
                <a:gd name="T46" fmla="*/ 0 w 2"/>
                <a:gd name="T47" fmla="*/ 1 h 3"/>
                <a:gd name="T48" fmla="*/ 0 w 2"/>
                <a:gd name="T49" fmla="*/ 1 h 3"/>
                <a:gd name="T50" fmla="*/ 0 w 2"/>
                <a:gd name="T51" fmla="*/ 1 h 3"/>
                <a:gd name="T52" fmla="*/ 0 w 2"/>
                <a:gd name="T53" fmla="*/ 1 h 3"/>
                <a:gd name="T54" fmla="*/ 0 w 2"/>
                <a:gd name="T55" fmla="*/ 1 h 3"/>
                <a:gd name="T56" fmla="*/ 0 w 2"/>
                <a:gd name="T57" fmla="*/ 0 h 3"/>
                <a:gd name="T58" fmla="*/ 0 w 2"/>
                <a:gd name="T59" fmla="*/ 0 h 3"/>
                <a:gd name="T60" fmla="*/ 0 w 2"/>
                <a:gd name="T61" fmla="*/ 0 h 3"/>
                <a:gd name="T62" fmla="*/ 0 w 2"/>
                <a:gd name="T63" fmla="*/ 0 h 3"/>
                <a:gd name="T64" fmla="*/ 1 w 2"/>
                <a:gd name="T65" fmla="*/ 0 h 3"/>
                <a:gd name="T66" fmla="*/ 1 w 2"/>
                <a:gd name="T6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 h="3">
                  <a:moveTo>
                    <a:pt x="1" y="0"/>
                  </a:moveTo>
                  <a:lnTo>
                    <a:pt x="1" y="1"/>
                  </a:lnTo>
                  <a:lnTo>
                    <a:pt x="1" y="0"/>
                  </a:lnTo>
                  <a:lnTo>
                    <a:pt x="1" y="0"/>
                  </a:lnTo>
                  <a:lnTo>
                    <a:pt x="2" y="1"/>
                  </a:lnTo>
                  <a:lnTo>
                    <a:pt x="2" y="1"/>
                  </a:lnTo>
                  <a:lnTo>
                    <a:pt x="2" y="1"/>
                  </a:lnTo>
                  <a:lnTo>
                    <a:pt x="2" y="1"/>
                  </a:lnTo>
                  <a:lnTo>
                    <a:pt x="2" y="1"/>
                  </a:lnTo>
                  <a:lnTo>
                    <a:pt x="2" y="1"/>
                  </a:lnTo>
                  <a:lnTo>
                    <a:pt x="2" y="1"/>
                  </a:lnTo>
                  <a:lnTo>
                    <a:pt x="2" y="1"/>
                  </a:lnTo>
                  <a:lnTo>
                    <a:pt x="2" y="2"/>
                  </a:lnTo>
                  <a:lnTo>
                    <a:pt x="2" y="2"/>
                  </a:lnTo>
                  <a:lnTo>
                    <a:pt x="2" y="2"/>
                  </a:lnTo>
                  <a:lnTo>
                    <a:pt x="2" y="2"/>
                  </a:lnTo>
                  <a:lnTo>
                    <a:pt x="2" y="3"/>
                  </a:lnTo>
                  <a:lnTo>
                    <a:pt x="2" y="3"/>
                  </a:lnTo>
                  <a:lnTo>
                    <a:pt x="2" y="3"/>
                  </a:lnTo>
                  <a:lnTo>
                    <a:pt x="2" y="2"/>
                  </a:lnTo>
                  <a:lnTo>
                    <a:pt x="1" y="2"/>
                  </a:lnTo>
                  <a:lnTo>
                    <a:pt x="1" y="2"/>
                  </a:lnTo>
                  <a:lnTo>
                    <a:pt x="1" y="1"/>
                  </a:lnTo>
                  <a:lnTo>
                    <a:pt x="0" y="1"/>
                  </a:lnTo>
                  <a:lnTo>
                    <a:pt x="0" y="1"/>
                  </a:lnTo>
                  <a:lnTo>
                    <a:pt x="0" y="1"/>
                  </a:lnTo>
                  <a:lnTo>
                    <a:pt x="0" y="1"/>
                  </a:lnTo>
                  <a:lnTo>
                    <a:pt x="0" y="1"/>
                  </a:lnTo>
                  <a:lnTo>
                    <a:pt x="0" y="0"/>
                  </a:lnTo>
                  <a:lnTo>
                    <a:pt x="0" y="0"/>
                  </a:lnTo>
                  <a:lnTo>
                    <a:pt x="0" y="0"/>
                  </a:lnTo>
                  <a:lnTo>
                    <a:pt x="0"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11" name="Freeform 1175">
              <a:extLst>
                <a:ext uri="{FF2B5EF4-FFF2-40B4-BE49-F238E27FC236}">
                  <a16:creationId xmlns:a16="http://schemas.microsoft.com/office/drawing/2014/main" id="{896083D7-F9F0-4EDF-BD1A-945CD06A473A}"/>
                </a:ext>
              </a:extLst>
            </p:cNvPr>
            <p:cNvSpPr>
              <a:spLocks/>
            </p:cNvSpPr>
            <p:nvPr/>
          </p:nvSpPr>
          <p:spPr bwMode="auto">
            <a:xfrm>
              <a:off x="5781053" y="2372286"/>
              <a:ext cx="4007" cy="1336"/>
            </a:xfrm>
            <a:custGeom>
              <a:avLst/>
              <a:gdLst>
                <a:gd name="T0" fmla="*/ 1 w 3"/>
                <a:gd name="T1" fmla="*/ 0 h 1"/>
                <a:gd name="T2" fmla="*/ 1 w 3"/>
                <a:gd name="T3" fmla="*/ 0 h 1"/>
                <a:gd name="T4" fmla="*/ 1 w 3"/>
                <a:gd name="T5" fmla="*/ 0 h 1"/>
                <a:gd name="T6" fmla="*/ 1 w 3"/>
                <a:gd name="T7" fmla="*/ 0 h 1"/>
                <a:gd name="T8" fmla="*/ 1 w 3"/>
                <a:gd name="T9" fmla="*/ 0 h 1"/>
                <a:gd name="T10" fmla="*/ 1 w 3"/>
                <a:gd name="T11" fmla="*/ 0 h 1"/>
                <a:gd name="T12" fmla="*/ 1 w 3"/>
                <a:gd name="T13" fmla="*/ 0 h 1"/>
                <a:gd name="T14" fmla="*/ 1 w 3"/>
                <a:gd name="T15" fmla="*/ 0 h 1"/>
                <a:gd name="T16" fmla="*/ 2 w 3"/>
                <a:gd name="T17" fmla="*/ 0 h 1"/>
                <a:gd name="T18" fmla="*/ 2 w 3"/>
                <a:gd name="T19" fmla="*/ 0 h 1"/>
                <a:gd name="T20" fmla="*/ 2 w 3"/>
                <a:gd name="T21" fmla="*/ 0 h 1"/>
                <a:gd name="T22" fmla="*/ 2 w 3"/>
                <a:gd name="T23" fmla="*/ 0 h 1"/>
                <a:gd name="T24" fmla="*/ 2 w 3"/>
                <a:gd name="T25" fmla="*/ 1 h 1"/>
                <a:gd name="T26" fmla="*/ 3 w 3"/>
                <a:gd name="T27" fmla="*/ 1 h 1"/>
                <a:gd name="T28" fmla="*/ 3 w 3"/>
                <a:gd name="T29" fmla="*/ 1 h 1"/>
                <a:gd name="T30" fmla="*/ 3 w 3"/>
                <a:gd name="T31" fmla="*/ 1 h 1"/>
                <a:gd name="T32" fmla="*/ 3 w 3"/>
                <a:gd name="T33" fmla="*/ 1 h 1"/>
                <a:gd name="T34" fmla="*/ 3 w 3"/>
                <a:gd name="T35" fmla="*/ 1 h 1"/>
                <a:gd name="T36" fmla="*/ 3 w 3"/>
                <a:gd name="T37" fmla="*/ 1 h 1"/>
                <a:gd name="T38" fmla="*/ 3 w 3"/>
                <a:gd name="T39" fmla="*/ 1 h 1"/>
                <a:gd name="T40" fmla="*/ 3 w 3"/>
                <a:gd name="T41" fmla="*/ 1 h 1"/>
                <a:gd name="T42" fmla="*/ 3 w 3"/>
                <a:gd name="T43" fmla="*/ 1 h 1"/>
                <a:gd name="T44" fmla="*/ 3 w 3"/>
                <a:gd name="T45" fmla="*/ 1 h 1"/>
                <a:gd name="T46" fmla="*/ 2 w 3"/>
                <a:gd name="T47" fmla="*/ 1 h 1"/>
                <a:gd name="T48" fmla="*/ 1 w 3"/>
                <a:gd name="T49" fmla="*/ 1 h 1"/>
                <a:gd name="T50" fmla="*/ 1 w 3"/>
                <a:gd name="T51" fmla="*/ 1 h 1"/>
                <a:gd name="T52" fmla="*/ 0 w 3"/>
                <a:gd name="T53" fmla="*/ 0 h 1"/>
                <a:gd name="T54" fmla="*/ 0 w 3"/>
                <a:gd name="T55" fmla="*/ 0 h 1"/>
                <a:gd name="T56" fmla="*/ 0 w 3"/>
                <a:gd name="T57" fmla="*/ 0 h 1"/>
                <a:gd name="T58" fmla="*/ 1 w 3"/>
                <a:gd name="T59" fmla="*/ 0 h 1"/>
                <a:gd name="T60" fmla="*/ 1 w 3"/>
                <a:gd name="T61" fmla="*/ 0 h 1"/>
                <a:gd name="T62" fmla="*/ 1 w 3"/>
                <a:gd name="T63" fmla="*/ 0 h 1"/>
                <a:gd name="T64" fmla="*/ 1 w 3"/>
                <a:gd name="T6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1">
                  <a:moveTo>
                    <a:pt x="1" y="0"/>
                  </a:moveTo>
                  <a:lnTo>
                    <a:pt x="1" y="0"/>
                  </a:lnTo>
                  <a:lnTo>
                    <a:pt x="1" y="0"/>
                  </a:lnTo>
                  <a:lnTo>
                    <a:pt x="1" y="0"/>
                  </a:lnTo>
                  <a:lnTo>
                    <a:pt x="1" y="0"/>
                  </a:lnTo>
                  <a:lnTo>
                    <a:pt x="1" y="0"/>
                  </a:lnTo>
                  <a:lnTo>
                    <a:pt x="1" y="0"/>
                  </a:lnTo>
                  <a:lnTo>
                    <a:pt x="1" y="0"/>
                  </a:lnTo>
                  <a:lnTo>
                    <a:pt x="2" y="0"/>
                  </a:lnTo>
                  <a:lnTo>
                    <a:pt x="2" y="0"/>
                  </a:lnTo>
                  <a:lnTo>
                    <a:pt x="2" y="0"/>
                  </a:lnTo>
                  <a:lnTo>
                    <a:pt x="2" y="0"/>
                  </a:lnTo>
                  <a:lnTo>
                    <a:pt x="2" y="1"/>
                  </a:lnTo>
                  <a:lnTo>
                    <a:pt x="3" y="1"/>
                  </a:lnTo>
                  <a:lnTo>
                    <a:pt x="3" y="1"/>
                  </a:lnTo>
                  <a:lnTo>
                    <a:pt x="3" y="1"/>
                  </a:lnTo>
                  <a:lnTo>
                    <a:pt x="3" y="1"/>
                  </a:lnTo>
                  <a:lnTo>
                    <a:pt x="3" y="1"/>
                  </a:lnTo>
                  <a:lnTo>
                    <a:pt x="3" y="1"/>
                  </a:lnTo>
                  <a:lnTo>
                    <a:pt x="3" y="1"/>
                  </a:lnTo>
                  <a:lnTo>
                    <a:pt x="3" y="1"/>
                  </a:lnTo>
                  <a:lnTo>
                    <a:pt x="3" y="1"/>
                  </a:lnTo>
                  <a:lnTo>
                    <a:pt x="3" y="1"/>
                  </a:lnTo>
                  <a:lnTo>
                    <a:pt x="2" y="1"/>
                  </a:lnTo>
                  <a:lnTo>
                    <a:pt x="1" y="1"/>
                  </a:lnTo>
                  <a:lnTo>
                    <a:pt x="1" y="1"/>
                  </a:lnTo>
                  <a:lnTo>
                    <a:pt x="0" y="0"/>
                  </a:lnTo>
                  <a:lnTo>
                    <a:pt x="0" y="0"/>
                  </a:lnTo>
                  <a:lnTo>
                    <a:pt x="0"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12" name="Freeform 1176">
              <a:extLst>
                <a:ext uri="{FF2B5EF4-FFF2-40B4-BE49-F238E27FC236}">
                  <a16:creationId xmlns:a16="http://schemas.microsoft.com/office/drawing/2014/main" id="{30C34740-5F3B-4C62-B5FF-4BC1690AC07E}"/>
                </a:ext>
              </a:extLst>
            </p:cNvPr>
            <p:cNvSpPr>
              <a:spLocks/>
            </p:cNvSpPr>
            <p:nvPr/>
          </p:nvSpPr>
          <p:spPr bwMode="auto">
            <a:xfrm>
              <a:off x="5766363" y="2362938"/>
              <a:ext cx="2671" cy="0"/>
            </a:xfrm>
            <a:custGeom>
              <a:avLst/>
              <a:gdLst>
                <a:gd name="T0" fmla="*/ 2 w 2"/>
                <a:gd name="T1" fmla="*/ 2 w 2"/>
                <a:gd name="T2" fmla="*/ 1 w 2"/>
                <a:gd name="T3" fmla="*/ 1 w 2"/>
                <a:gd name="T4" fmla="*/ 0 w 2"/>
                <a:gd name="T5" fmla="*/ 1 w 2"/>
                <a:gd name="T6" fmla="*/ 1 w 2"/>
                <a:gd name="T7" fmla="*/ 1 w 2"/>
                <a:gd name="T8" fmla="*/ 1 w 2"/>
                <a:gd name="T9"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2">
                  <a:moveTo>
                    <a:pt x="2" y="0"/>
                  </a:moveTo>
                  <a:lnTo>
                    <a:pt x="2" y="0"/>
                  </a:lnTo>
                  <a:lnTo>
                    <a:pt x="1" y="0"/>
                  </a:lnTo>
                  <a:lnTo>
                    <a:pt x="1" y="0"/>
                  </a:lnTo>
                  <a:lnTo>
                    <a:pt x="0" y="0"/>
                  </a:lnTo>
                  <a:lnTo>
                    <a:pt x="1" y="0"/>
                  </a:lnTo>
                  <a:lnTo>
                    <a:pt x="1" y="0"/>
                  </a:lnTo>
                  <a:lnTo>
                    <a:pt x="1" y="0"/>
                  </a:lnTo>
                  <a:lnTo>
                    <a:pt x="1"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13" name="Freeform 1177">
              <a:extLst>
                <a:ext uri="{FF2B5EF4-FFF2-40B4-BE49-F238E27FC236}">
                  <a16:creationId xmlns:a16="http://schemas.microsoft.com/office/drawing/2014/main" id="{103447CD-166C-4FE7-A22D-C297049E63C3}"/>
                </a:ext>
              </a:extLst>
            </p:cNvPr>
            <p:cNvSpPr>
              <a:spLocks/>
            </p:cNvSpPr>
            <p:nvPr/>
          </p:nvSpPr>
          <p:spPr bwMode="auto">
            <a:xfrm>
              <a:off x="5767698" y="2356260"/>
              <a:ext cx="4007" cy="2671"/>
            </a:xfrm>
            <a:custGeom>
              <a:avLst/>
              <a:gdLst>
                <a:gd name="T0" fmla="*/ 3 w 3"/>
                <a:gd name="T1" fmla="*/ 0 h 2"/>
                <a:gd name="T2" fmla="*/ 3 w 3"/>
                <a:gd name="T3" fmla="*/ 2 h 2"/>
                <a:gd name="T4" fmla="*/ 3 w 3"/>
                <a:gd name="T5" fmla="*/ 2 h 2"/>
                <a:gd name="T6" fmla="*/ 3 w 3"/>
                <a:gd name="T7" fmla="*/ 2 h 2"/>
                <a:gd name="T8" fmla="*/ 3 w 3"/>
                <a:gd name="T9" fmla="*/ 2 h 2"/>
                <a:gd name="T10" fmla="*/ 3 w 3"/>
                <a:gd name="T11" fmla="*/ 2 h 2"/>
                <a:gd name="T12" fmla="*/ 3 w 3"/>
                <a:gd name="T13" fmla="*/ 2 h 2"/>
                <a:gd name="T14" fmla="*/ 3 w 3"/>
                <a:gd name="T15" fmla="*/ 2 h 2"/>
                <a:gd name="T16" fmla="*/ 1 w 3"/>
                <a:gd name="T17" fmla="*/ 2 h 2"/>
                <a:gd name="T18" fmla="*/ 1 w 3"/>
                <a:gd name="T19" fmla="*/ 2 h 2"/>
                <a:gd name="T20" fmla="*/ 1 w 3"/>
                <a:gd name="T21" fmla="*/ 2 h 2"/>
                <a:gd name="T22" fmla="*/ 1 w 3"/>
                <a:gd name="T23" fmla="*/ 0 h 2"/>
                <a:gd name="T24" fmla="*/ 1 w 3"/>
                <a:gd name="T25" fmla="*/ 0 h 2"/>
                <a:gd name="T26" fmla="*/ 0 w 3"/>
                <a:gd name="T27" fmla="*/ 0 h 2"/>
                <a:gd name="T28" fmla="*/ 1 w 3"/>
                <a:gd name="T29" fmla="*/ 0 h 2"/>
                <a:gd name="T30" fmla="*/ 1 w 3"/>
                <a:gd name="T31" fmla="*/ 0 h 2"/>
                <a:gd name="T32" fmla="*/ 1 w 3"/>
                <a:gd name="T33" fmla="*/ 0 h 2"/>
                <a:gd name="T34" fmla="*/ 1 w 3"/>
                <a:gd name="T35" fmla="*/ 0 h 2"/>
                <a:gd name="T36" fmla="*/ 1 w 3"/>
                <a:gd name="T37" fmla="*/ 0 h 2"/>
                <a:gd name="T38" fmla="*/ 1 w 3"/>
                <a:gd name="T39" fmla="*/ 0 h 2"/>
                <a:gd name="T40" fmla="*/ 3 w 3"/>
                <a:gd name="T4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 h="2">
                  <a:moveTo>
                    <a:pt x="3" y="0"/>
                  </a:moveTo>
                  <a:lnTo>
                    <a:pt x="3" y="2"/>
                  </a:lnTo>
                  <a:lnTo>
                    <a:pt x="3" y="2"/>
                  </a:lnTo>
                  <a:lnTo>
                    <a:pt x="3" y="2"/>
                  </a:lnTo>
                  <a:lnTo>
                    <a:pt x="3" y="2"/>
                  </a:lnTo>
                  <a:lnTo>
                    <a:pt x="3" y="2"/>
                  </a:lnTo>
                  <a:lnTo>
                    <a:pt x="3" y="2"/>
                  </a:lnTo>
                  <a:lnTo>
                    <a:pt x="3" y="2"/>
                  </a:lnTo>
                  <a:lnTo>
                    <a:pt x="1" y="2"/>
                  </a:lnTo>
                  <a:lnTo>
                    <a:pt x="1" y="2"/>
                  </a:lnTo>
                  <a:lnTo>
                    <a:pt x="1" y="2"/>
                  </a:lnTo>
                  <a:lnTo>
                    <a:pt x="1" y="0"/>
                  </a:lnTo>
                  <a:lnTo>
                    <a:pt x="1" y="0"/>
                  </a:lnTo>
                  <a:lnTo>
                    <a:pt x="0" y="0"/>
                  </a:lnTo>
                  <a:lnTo>
                    <a:pt x="1" y="0"/>
                  </a:lnTo>
                  <a:lnTo>
                    <a:pt x="1" y="0"/>
                  </a:lnTo>
                  <a:lnTo>
                    <a:pt x="1" y="0"/>
                  </a:lnTo>
                  <a:lnTo>
                    <a:pt x="1" y="0"/>
                  </a:lnTo>
                  <a:lnTo>
                    <a:pt x="1" y="0"/>
                  </a:lnTo>
                  <a:lnTo>
                    <a:pt x="1" y="0"/>
                  </a:lnTo>
                  <a:lnTo>
                    <a:pt x="3"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14" name="Freeform 1178">
              <a:extLst>
                <a:ext uri="{FF2B5EF4-FFF2-40B4-BE49-F238E27FC236}">
                  <a16:creationId xmlns:a16="http://schemas.microsoft.com/office/drawing/2014/main" id="{F46453E1-3716-40A5-969A-1D058461EE99}"/>
                </a:ext>
              </a:extLst>
            </p:cNvPr>
            <p:cNvSpPr>
              <a:spLocks/>
            </p:cNvSpPr>
            <p:nvPr/>
          </p:nvSpPr>
          <p:spPr bwMode="auto">
            <a:xfrm>
              <a:off x="5753008" y="2349583"/>
              <a:ext cx="2671" cy="1336"/>
            </a:xfrm>
            <a:custGeom>
              <a:avLst/>
              <a:gdLst>
                <a:gd name="T0" fmla="*/ 2 w 2"/>
                <a:gd name="T1" fmla="*/ 1 h 1"/>
                <a:gd name="T2" fmla="*/ 2 w 2"/>
                <a:gd name="T3" fmla="*/ 1 h 1"/>
                <a:gd name="T4" fmla="*/ 2 w 2"/>
                <a:gd name="T5" fmla="*/ 1 h 1"/>
                <a:gd name="T6" fmla="*/ 2 w 2"/>
                <a:gd name="T7" fmla="*/ 1 h 1"/>
                <a:gd name="T8" fmla="*/ 2 w 2"/>
                <a:gd name="T9" fmla="*/ 1 h 1"/>
                <a:gd name="T10" fmla="*/ 2 w 2"/>
                <a:gd name="T11" fmla="*/ 1 h 1"/>
                <a:gd name="T12" fmla="*/ 1 w 2"/>
                <a:gd name="T13" fmla="*/ 1 h 1"/>
                <a:gd name="T14" fmla="*/ 1 w 2"/>
                <a:gd name="T15" fmla="*/ 1 h 1"/>
                <a:gd name="T16" fmla="*/ 0 w 2"/>
                <a:gd name="T17" fmla="*/ 1 h 1"/>
                <a:gd name="T18" fmla="*/ 1 w 2"/>
                <a:gd name="T19" fmla="*/ 1 h 1"/>
                <a:gd name="T20" fmla="*/ 0 w 2"/>
                <a:gd name="T21" fmla="*/ 1 h 1"/>
                <a:gd name="T22" fmla="*/ 0 w 2"/>
                <a:gd name="T23" fmla="*/ 0 h 1"/>
                <a:gd name="T24" fmla="*/ 0 w 2"/>
                <a:gd name="T25" fmla="*/ 0 h 1"/>
                <a:gd name="T26" fmla="*/ 0 w 2"/>
                <a:gd name="T27" fmla="*/ 0 h 1"/>
                <a:gd name="T28" fmla="*/ 0 w 2"/>
                <a:gd name="T29" fmla="*/ 0 h 1"/>
                <a:gd name="T30" fmla="*/ 0 w 2"/>
                <a:gd name="T31" fmla="*/ 0 h 1"/>
                <a:gd name="T32" fmla="*/ 1 w 2"/>
                <a:gd name="T33" fmla="*/ 0 h 1"/>
                <a:gd name="T34" fmla="*/ 1 w 2"/>
                <a:gd name="T35" fmla="*/ 0 h 1"/>
                <a:gd name="T36" fmla="*/ 1 w 2"/>
                <a:gd name="T37" fmla="*/ 0 h 1"/>
                <a:gd name="T38" fmla="*/ 1 w 2"/>
                <a:gd name="T39" fmla="*/ 0 h 1"/>
                <a:gd name="T40" fmla="*/ 1 w 2"/>
                <a:gd name="T41" fmla="*/ 0 h 1"/>
                <a:gd name="T42" fmla="*/ 2 w 2"/>
                <a:gd name="T4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 h="1">
                  <a:moveTo>
                    <a:pt x="2" y="1"/>
                  </a:moveTo>
                  <a:lnTo>
                    <a:pt x="2" y="1"/>
                  </a:lnTo>
                  <a:lnTo>
                    <a:pt x="2" y="1"/>
                  </a:lnTo>
                  <a:lnTo>
                    <a:pt x="2" y="1"/>
                  </a:lnTo>
                  <a:lnTo>
                    <a:pt x="2" y="1"/>
                  </a:lnTo>
                  <a:lnTo>
                    <a:pt x="2" y="1"/>
                  </a:lnTo>
                  <a:lnTo>
                    <a:pt x="1" y="1"/>
                  </a:lnTo>
                  <a:lnTo>
                    <a:pt x="1" y="1"/>
                  </a:lnTo>
                  <a:lnTo>
                    <a:pt x="0" y="1"/>
                  </a:lnTo>
                  <a:lnTo>
                    <a:pt x="1" y="1"/>
                  </a:lnTo>
                  <a:lnTo>
                    <a:pt x="0" y="1"/>
                  </a:lnTo>
                  <a:lnTo>
                    <a:pt x="0" y="0"/>
                  </a:lnTo>
                  <a:lnTo>
                    <a:pt x="0" y="0"/>
                  </a:lnTo>
                  <a:lnTo>
                    <a:pt x="0" y="0"/>
                  </a:lnTo>
                  <a:lnTo>
                    <a:pt x="0" y="0"/>
                  </a:lnTo>
                  <a:lnTo>
                    <a:pt x="0" y="0"/>
                  </a:lnTo>
                  <a:lnTo>
                    <a:pt x="1" y="0"/>
                  </a:lnTo>
                  <a:lnTo>
                    <a:pt x="1" y="0"/>
                  </a:lnTo>
                  <a:lnTo>
                    <a:pt x="1" y="0"/>
                  </a:lnTo>
                  <a:lnTo>
                    <a:pt x="1" y="0"/>
                  </a:lnTo>
                  <a:lnTo>
                    <a:pt x="1" y="0"/>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15" name="Freeform 1179">
              <a:extLst>
                <a:ext uri="{FF2B5EF4-FFF2-40B4-BE49-F238E27FC236}">
                  <a16:creationId xmlns:a16="http://schemas.microsoft.com/office/drawing/2014/main" id="{2F982D33-B44B-4357-84B4-03CD3A40F797}"/>
                </a:ext>
              </a:extLst>
            </p:cNvPr>
            <p:cNvSpPr>
              <a:spLocks/>
            </p:cNvSpPr>
            <p:nvPr/>
          </p:nvSpPr>
          <p:spPr bwMode="auto">
            <a:xfrm>
              <a:off x="5723627" y="2326879"/>
              <a:ext cx="1336" cy="0"/>
            </a:xfrm>
            <a:custGeom>
              <a:avLst/>
              <a:gdLst>
                <a:gd name="T0" fmla="*/ 1 w 1"/>
                <a:gd name="T1" fmla="*/ 1 w 1"/>
                <a:gd name="T2" fmla="*/ 1 w 1"/>
                <a:gd name="T3" fmla="*/ 1 w 1"/>
                <a:gd name="T4" fmla="*/ 0 w 1"/>
                <a:gd name="T5" fmla="*/ 0 w 1"/>
                <a:gd name="T6" fmla="*/ 0 w 1"/>
                <a:gd name="T7" fmla="*/ 0 w 1"/>
                <a:gd name="T8" fmla="*/ 0 w 1"/>
                <a:gd name="T9" fmla="*/ 0 w 1"/>
                <a:gd name="T10" fmla="*/ 0 w 1"/>
                <a:gd name="T11" fmla="*/ 0 w 1"/>
                <a:gd name="T12" fmla="*/ 0 w 1"/>
                <a:gd name="T13" fmla="*/ 0 w 1"/>
                <a:gd name="T14" fmla="*/ 0 w 1"/>
                <a:gd name="T15" fmla="*/ 1 w 1"/>
                <a:gd name="T16" fmla="*/ 1 w 1"/>
                <a:gd name="T17" fmla="*/ 1 w 1"/>
                <a:gd name="T1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Lst>
              <a:rect l="0" t="0" r="r" b="b"/>
              <a:pathLst>
                <a:path w="1">
                  <a:moveTo>
                    <a:pt x="1" y="0"/>
                  </a:moveTo>
                  <a:lnTo>
                    <a:pt x="1" y="0"/>
                  </a:lnTo>
                  <a:lnTo>
                    <a:pt x="1" y="0"/>
                  </a:lnTo>
                  <a:lnTo>
                    <a:pt x="1" y="0"/>
                  </a:lnTo>
                  <a:lnTo>
                    <a:pt x="0" y="0"/>
                  </a:lnTo>
                  <a:lnTo>
                    <a:pt x="0" y="0"/>
                  </a:lnTo>
                  <a:lnTo>
                    <a:pt x="0" y="0"/>
                  </a:lnTo>
                  <a:lnTo>
                    <a:pt x="0" y="0"/>
                  </a:lnTo>
                  <a:lnTo>
                    <a:pt x="0" y="0"/>
                  </a:lnTo>
                  <a:lnTo>
                    <a:pt x="0" y="0"/>
                  </a:lnTo>
                  <a:lnTo>
                    <a:pt x="0" y="0"/>
                  </a:lnTo>
                  <a:lnTo>
                    <a:pt x="0" y="0"/>
                  </a:lnTo>
                  <a:lnTo>
                    <a:pt x="0" y="0"/>
                  </a:lnTo>
                  <a:lnTo>
                    <a:pt x="0" y="0"/>
                  </a:lnTo>
                  <a:lnTo>
                    <a:pt x="0"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16" name="Freeform 1180">
              <a:extLst>
                <a:ext uri="{FF2B5EF4-FFF2-40B4-BE49-F238E27FC236}">
                  <a16:creationId xmlns:a16="http://schemas.microsoft.com/office/drawing/2014/main" id="{4FBA986E-D313-4943-B28A-A822BE26C970}"/>
                </a:ext>
              </a:extLst>
            </p:cNvPr>
            <p:cNvSpPr>
              <a:spLocks noEditPoints="1"/>
            </p:cNvSpPr>
            <p:nvPr/>
          </p:nvSpPr>
          <p:spPr bwMode="auto">
            <a:xfrm>
              <a:off x="5727633" y="2272125"/>
              <a:ext cx="212343" cy="182962"/>
            </a:xfrm>
            <a:custGeom>
              <a:avLst/>
              <a:gdLst>
                <a:gd name="T0" fmla="*/ 98 w 159"/>
                <a:gd name="T1" fmla="*/ 7 h 137"/>
                <a:gd name="T2" fmla="*/ 108 w 159"/>
                <a:gd name="T3" fmla="*/ 13 h 137"/>
                <a:gd name="T4" fmla="*/ 118 w 159"/>
                <a:gd name="T5" fmla="*/ 14 h 137"/>
                <a:gd name="T6" fmla="*/ 125 w 159"/>
                <a:gd name="T7" fmla="*/ 24 h 137"/>
                <a:gd name="T8" fmla="*/ 139 w 159"/>
                <a:gd name="T9" fmla="*/ 26 h 137"/>
                <a:gd name="T10" fmla="*/ 146 w 159"/>
                <a:gd name="T11" fmla="*/ 31 h 137"/>
                <a:gd name="T12" fmla="*/ 158 w 159"/>
                <a:gd name="T13" fmla="*/ 35 h 137"/>
                <a:gd name="T14" fmla="*/ 153 w 159"/>
                <a:gd name="T15" fmla="*/ 48 h 137"/>
                <a:gd name="T16" fmla="*/ 148 w 159"/>
                <a:gd name="T17" fmla="*/ 56 h 137"/>
                <a:gd name="T18" fmla="*/ 139 w 159"/>
                <a:gd name="T19" fmla="*/ 65 h 137"/>
                <a:gd name="T20" fmla="*/ 134 w 159"/>
                <a:gd name="T21" fmla="*/ 76 h 137"/>
                <a:gd name="T22" fmla="*/ 139 w 159"/>
                <a:gd name="T23" fmla="*/ 74 h 137"/>
                <a:gd name="T24" fmla="*/ 147 w 159"/>
                <a:gd name="T25" fmla="*/ 81 h 137"/>
                <a:gd name="T26" fmla="*/ 148 w 159"/>
                <a:gd name="T27" fmla="*/ 90 h 137"/>
                <a:gd name="T28" fmla="*/ 144 w 159"/>
                <a:gd name="T29" fmla="*/ 96 h 137"/>
                <a:gd name="T30" fmla="*/ 146 w 159"/>
                <a:gd name="T31" fmla="*/ 104 h 137"/>
                <a:gd name="T32" fmla="*/ 154 w 159"/>
                <a:gd name="T33" fmla="*/ 111 h 137"/>
                <a:gd name="T34" fmla="*/ 147 w 159"/>
                <a:gd name="T35" fmla="*/ 118 h 137"/>
                <a:gd name="T36" fmla="*/ 140 w 159"/>
                <a:gd name="T37" fmla="*/ 124 h 137"/>
                <a:gd name="T38" fmla="*/ 129 w 159"/>
                <a:gd name="T39" fmla="*/ 123 h 137"/>
                <a:gd name="T40" fmla="*/ 123 w 159"/>
                <a:gd name="T41" fmla="*/ 117 h 137"/>
                <a:gd name="T42" fmla="*/ 119 w 159"/>
                <a:gd name="T43" fmla="*/ 117 h 137"/>
                <a:gd name="T44" fmla="*/ 112 w 159"/>
                <a:gd name="T45" fmla="*/ 117 h 137"/>
                <a:gd name="T46" fmla="*/ 98 w 159"/>
                <a:gd name="T47" fmla="*/ 128 h 137"/>
                <a:gd name="T48" fmla="*/ 92 w 159"/>
                <a:gd name="T49" fmla="*/ 136 h 137"/>
                <a:gd name="T50" fmla="*/ 82 w 159"/>
                <a:gd name="T51" fmla="*/ 133 h 137"/>
                <a:gd name="T52" fmla="*/ 72 w 159"/>
                <a:gd name="T53" fmla="*/ 130 h 137"/>
                <a:gd name="T54" fmla="*/ 61 w 159"/>
                <a:gd name="T55" fmla="*/ 130 h 137"/>
                <a:gd name="T56" fmla="*/ 51 w 159"/>
                <a:gd name="T57" fmla="*/ 129 h 137"/>
                <a:gd name="T58" fmla="*/ 41 w 159"/>
                <a:gd name="T59" fmla="*/ 125 h 137"/>
                <a:gd name="T60" fmla="*/ 37 w 159"/>
                <a:gd name="T61" fmla="*/ 119 h 137"/>
                <a:gd name="T62" fmla="*/ 47 w 159"/>
                <a:gd name="T63" fmla="*/ 100 h 137"/>
                <a:gd name="T64" fmla="*/ 48 w 159"/>
                <a:gd name="T65" fmla="*/ 88 h 137"/>
                <a:gd name="T66" fmla="*/ 52 w 159"/>
                <a:gd name="T67" fmla="*/ 95 h 137"/>
                <a:gd name="T68" fmla="*/ 45 w 159"/>
                <a:gd name="T69" fmla="*/ 82 h 137"/>
                <a:gd name="T70" fmla="*/ 44 w 159"/>
                <a:gd name="T71" fmla="*/ 76 h 137"/>
                <a:gd name="T72" fmla="*/ 37 w 159"/>
                <a:gd name="T73" fmla="*/ 72 h 137"/>
                <a:gd name="T74" fmla="*/ 34 w 159"/>
                <a:gd name="T75" fmla="*/ 63 h 137"/>
                <a:gd name="T76" fmla="*/ 37 w 159"/>
                <a:gd name="T77" fmla="*/ 60 h 137"/>
                <a:gd name="T78" fmla="*/ 29 w 159"/>
                <a:gd name="T79" fmla="*/ 58 h 137"/>
                <a:gd name="T80" fmla="*/ 25 w 159"/>
                <a:gd name="T81" fmla="*/ 56 h 137"/>
                <a:gd name="T82" fmla="*/ 23 w 159"/>
                <a:gd name="T83" fmla="*/ 55 h 137"/>
                <a:gd name="T84" fmla="*/ 21 w 159"/>
                <a:gd name="T85" fmla="*/ 52 h 137"/>
                <a:gd name="T86" fmla="*/ 18 w 159"/>
                <a:gd name="T87" fmla="*/ 53 h 137"/>
                <a:gd name="T88" fmla="*/ 11 w 159"/>
                <a:gd name="T89" fmla="*/ 51 h 137"/>
                <a:gd name="T90" fmla="*/ 6 w 159"/>
                <a:gd name="T91" fmla="*/ 47 h 137"/>
                <a:gd name="T92" fmla="*/ 6 w 159"/>
                <a:gd name="T93" fmla="*/ 44 h 137"/>
                <a:gd name="T94" fmla="*/ 6 w 159"/>
                <a:gd name="T95" fmla="*/ 42 h 137"/>
                <a:gd name="T96" fmla="*/ 1 w 159"/>
                <a:gd name="T97" fmla="*/ 39 h 137"/>
                <a:gd name="T98" fmla="*/ 9 w 159"/>
                <a:gd name="T99" fmla="*/ 38 h 137"/>
                <a:gd name="T100" fmla="*/ 14 w 159"/>
                <a:gd name="T101" fmla="*/ 38 h 137"/>
                <a:gd name="T102" fmla="*/ 21 w 159"/>
                <a:gd name="T103" fmla="*/ 35 h 137"/>
                <a:gd name="T104" fmla="*/ 28 w 159"/>
                <a:gd name="T105" fmla="*/ 39 h 137"/>
                <a:gd name="T106" fmla="*/ 35 w 159"/>
                <a:gd name="T107" fmla="*/ 39 h 137"/>
                <a:gd name="T108" fmla="*/ 42 w 159"/>
                <a:gd name="T109" fmla="*/ 38 h 137"/>
                <a:gd name="T110" fmla="*/ 40 w 159"/>
                <a:gd name="T111" fmla="*/ 31 h 137"/>
                <a:gd name="T112" fmla="*/ 36 w 159"/>
                <a:gd name="T113" fmla="*/ 21 h 137"/>
                <a:gd name="T114" fmla="*/ 45 w 159"/>
                <a:gd name="T115" fmla="*/ 27 h 137"/>
                <a:gd name="T116" fmla="*/ 61 w 159"/>
                <a:gd name="T117" fmla="*/ 27 h 137"/>
                <a:gd name="T118" fmla="*/ 64 w 159"/>
                <a:gd name="T119" fmla="*/ 21 h 137"/>
                <a:gd name="T120" fmla="*/ 78 w 159"/>
                <a:gd name="T121" fmla="*/ 13 h 137"/>
                <a:gd name="T122" fmla="*/ 85 w 159"/>
                <a:gd name="T123" fmla="*/ 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137">
                  <a:moveTo>
                    <a:pt x="90" y="2"/>
                  </a:moveTo>
                  <a:lnTo>
                    <a:pt x="91" y="3"/>
                  </a:lnTo>
                  <a:lnTo>
                    <a:pt x="90" y="4"/>
                  </a:lnTo>
                  <a:lnTo>
                    <a:pt x="91" y="4"/>
                  </a:lnTo>
                  <a:lnTo>
                    <a:pt x="91" y="5"/>
                  </a:lnTo>
                  <a:lnTo>
                    <a:pt x="92" y="5"/>
                  </a:lnTo>
                  <a:lnTo>
                    <a:pt x="92" y="6"/>
                  </a:lnTo>
                  <a:lnTo>
                    <a:pt x="93" y="6"/>
                  </a:lnTo>
                  <a:lnTo>
                    <a:pt x="94" y="6"/>
                  </a:lnTo>
                  <a:lnTo>
                    <a:pt x="95" y="6"/>
                  </a:lnTo>
                  <a:lnTo>
                    <a:pt x="97" y="5"/>
                  </a:lnTo>
                  <a:lnTo>
                    <a:pt x="97" y="6"/>
                  </a:lnTo>
                  <a:lnTo>
                    <a:pt x="98" y="6"/>
                  </a:lnTo>
                  <a:lnTo>
                    <a:pt x="98" y="7"/>
                  </a:lnTo>
                  <a:lnTo>
                    <a:pt x="99" y="9"/>
                  </a:lnTo>
                  <a:lnTo>
                    <a:pt x="99" y="10"/>
                  </a:lnTo>
                  <a:lnTo>
                    <a:pt x="100" y="10"/>
                  </a:lnTo>
                  <a:lnTo>
                    <a:pt x="101" y="10"/>
                  </a:lnTo>
                  <a:lnTo>
                    <a:pt x="102" y="10"/>
                  </a:lnTo>
                  <a:lnTo>
                    <a:pt x="104" y="11"/>
                  </a:lnTo>
                  <a:lnTo>
                    <a:pt x="104" y="12"/>
                  </a:lnTo>
                  <a:lnTo>
                    <a:pt x="104" y="13"/>
                  </a:lnTo>
                  <a:lnTo>
                    <a:pt x="104" y="12"/>
                  </a:lnTo>
                  <a:lnTo>
                    <a:pt x="105" y="12"/>
                  </a:lnTo>
                  <a:lnTo>
                    <a:pt x="106" y="12"/>
                  </a:lnTo>
                  <a:lnTo>
                    <a:pt x="107" y="12"/>
                  </a:lnTo>
                  <a:lnTo>
                    <a:pt x="108" y="12"/>
                  </a:lnTo>
                  <a:lnTo>
                    <a:pt x="108" y="13"/>
                  </a:lnTo>
                  <a:lnTo>
                    <a:pt x="109" y="13"/>
                  </a:lnTo>
                  <a:lnTo>
                    <a:pt x="109" y="14"/>
                  </a:lnTo>
                  <a:lnTo>
                    <a:pt x="109" y="16"/>
                  </a:lnTo>
                  <a:lnTo>
                    <a:pt x="109" y="17"/>
                  </a:lnTo>
                  <a:lnTo>
                    <a:pt x="111" y="17"/>
                  </a:lnTo>
                  <a:lnTo>
                    <a:pt x="109" y="17"/>
                  </a:lnTo>
                  <a:lnTo>
                    <a:pt x="109" y="18"/>
                  </a:lnTo>
                  <a:lnTo>
                    <a:pt x="111" y="18"/>
                  </a:lnTo>
                  <a:lnTo>
                    <a:pt x="113" y="18"/>
                  </a:lnTo>
                  <a:lnTo>
                    <a:pt x="115" y="18"/>
                  </a:lnTo>
                  <a:lnTo>
                    <a:pt x="115" y="17"/>
                  </a:lnTo>
                  <a:lnTo>
                    <a:pt x="115" y="16"/>
                  </a:lnTo>
                  <a:lnTo>
                    <a:pt x="118" y="16"/>
                  </a:lnTo>
                  <a:lnTo>
                    <a:pt x="118" y="14"/>
                  </a:lnTo>
                  <a:lnTo>
                    <a:pt x="118" y="16"/>
                  </a:lnTo>
                  <a:lnTo>
                    <a:pt x="118" y="17"/>
                  </a:lnTo>
                  <a:lnTo>
                    <a:pt x="118" y="18"/>
                  </a:lnTo>
                  <a:lnTo>
                    <a:pt x="118" y="19"/>
                  </a:lnTo>
                  <a:lnTo>
                    <a:pt x="118" y="20"/>
                  </a:lnTo>
                  <a:lnTo>
                    <a:pt x="119" y="20"/>
                  </a:lnTo>
                  <a:lnTo>
                    <a:pt x="120" y="20"/>
                  </a:lnTo>
                  <a:lnTo>
                    <a:pt x="120" y="21"/>
                  </a:lnTo>
                  <a:lnTo>
                    <a:pt x="121" y="21"/>
                  </a:lnTo>
                  <a:lnTo>
                    <a:pt x="121" y="23"/>
                  </a:lnTo>
                  <a:lnTo>
                    <a:pt x="122" y="23"/>
                  </a:lnTo>
                  <a:lnTo>
                    <a:pt x="123" y="23"/>
                  </a:lnTo>
                  <a:lnTo>
                    <a:pt x="123" y="24"/>
                  </a:lnTo>
                  <a:lnTo>
                    <a:pt x="125" y="24"/>
                  </a:lnTo>
                  <a:lnTo>
                    <a:pt x="126" y="25"/>
                  </a:lnTo>
                  <a:lnTo>
                    <a:pt x="127" y="25"/>
                  </a:lnTo>
                  <a:lnTo>
                    <a:pt x="128" y="25"/>
                  </a:lnTo>
                  <a:lnTo>
                    <a:pt x="129" y="25"/>
                  </a:lnTo>
                  <a:lnTo>
                    <a:pt x="130" y="25"/>
                  </a:lnTo>
                  <a:lnTo>
                    <a:pt x="132" y="25"/>
                  </a:lnTo>
                  <a:lnTo>
                    <a:pt x="132" y="26"/>
                  </a:lnTo>
                  <a:lnTo>
                    <a:pt x="133" y="26"/>
                  </a:lnTo>
                  <a:lnTo>
                    <a:pt x="133" y="25"/>
                  </a:lnTo>
                  <a:lnTo>
                    <a:pt x="134" y="25"/>
                  </a:lnTo>
                  <a:lnTo>
                    <a:pt x="135" y="25"/>
                  </a:lnTo>
                  <a:lnTo>
                    <a:pt x="136" y="26"/>
                  </a:lnTo>
                  <a:lnTo>
                    <a:pt x="137" y="26"/>
                  </a:lnTo>
                  <a:lnTo>
                    <a:pt x="139" y="26"/>
                  </a:lnTo>
                  <a:lnTo>
                    <a:pt x="139" y="27"/>
                  </a:lnTo>
                  <a:lnTo>
                    <a:pt x="140" y="27"/>
                  </a:lnTo>
                  <a:lnTo>
                    <a:pt x="139" y="27"/>
                  </a:lnTo>
                  <a:lnTo>
                    <a:pt x="139" y="28"/>
                  </a:lnTo>
                  <a:lnTo>
                    <a:pt x="140" y="28"/>
                  </a:lnTo>
                  <a:lnTo>
                    <a:pt x="140" y="30"/>
                  </a:lnTo>
                  <a:lnTo>
                    <a:pt x="141" y="30"/>
                  </a:lnTo>
                  <a:lnTo>
                    <a:pt x="141" y="31"/>
                  </a:lnTo>
                  <a:lnTo>
                    <a:pt x="142" y="31"/>
                  </a:lnTo>
                  <a:lnTo>
                    <a:pt x="142" y="30"/>
                  </a:lnTo>
                  <a:lnTo>
                    <a:pt x="143" y="30"/>
                  </a:lnTo>
                  <a:lnTo>
                    <a:pt x="144" y="30"/>
                  </a:lnTo>
                  <a:lnTo>
                    <a:pt x="144" y="31"/>
                  </a:lnTo>
                  <a:lnTo>
                    <a:pt x="146" y="31"/>
                  </a:lnTo>
                  <a:lnTo>
                    <a:pt x="147" y="31"/>
                  </a:lnTo>
                  <a:lnTo>
                    <a:pt x="148" y="31"/>
                  </a:lnTo>
                  <a:lnTo>
                    <a:pt x="149" y="31"/>
                  </a:lnTo>
                  <a:lnTo>
                    <a:pt x="150" y="31"/>
                  </a:lnTo>
                  <a:lnTo>
                    <a:pt x="150" y="32"/>
                  </a:lnTo>
                  <a:lnTo>
                    <a:pt x="151" y="32"/>
                  </a:lnTo>
                  <a:lnTo>
                    <a:pt x="153" y="32"/>
                  </a:lnTo>
                  <a:lnTo>
                    <a:pt x="154" y="32"/>
                  </a:lnTo>
                  <a:lnTo>
                    <a:pt x="155" y="32"/>
                  </a:lnTo>
                  <a:lnTo>
                    <a:pt x="156" y="32"/>
                  </a:lnTo>
                  <a:lnTo>
                    <a:pt x="158" y="33"/>
                  </a:lnTo>
                  <a:lnTo>
                    <a:pt x="159" y="33"/>
                  </a:lnTo>
                  <a:lnTo>
                    <a:pt x="158" y="34"/>
                  </a:lnTo>
                  <a:lnTo>
                    <a:pt x="158" y="35"/>
                  </a:lnTo>
                  <a:lnTo>
                    <a:pt x="157" y="37"/>
                  </a:lnTo>
                  <a:lnTo>
                    <a:pt x="156" y="37"/>
                  </a:lnTo>
                  <a:lnTo>
                    <a:pt x="156" y="38"/>
                  </a:lnTo>
                  <a:lnTo>
                    <a:pt x="155" y="38"/>
                  </a:lnTo>
                  <a:lnTo>
                    <a:pt x="155" y="39"/>
                  </a:lnTo>
                  <a:lnTo>
                    <a:pt x="155" y="40"/>
                  </a:lnTo>
                  <a:lnTo>
                    <a:pt x="154" y="40"/>
                  </a:lnTo>
                  <a:lnTo>
                    <a:pt x="154" y="41"/>
                  </a:lnTo>
                  <a:lnTo>
                    <a:pt x="154" y="42"/>
                  </a:lnTo>
                  <a:lnTo>
                    <a:pt x="154" y="44"/>
                  </a:lnTo>
                  <a:lnTo>
                    <a:pt x="154" y="45"/>
                  </a:lnTo>
                  <a:lnTo>
                    <a:pt x="153" y="46"/>
                  </a:lnTo>
                  <a:lnTo>
                    <a:pt x="153" y="47"/>
                  </a:lnTo>
                  <a:lnTo>
                    <a:pt x="153" y="48"/>
                  </a:lnTo>
                  <a:lnTo>
                    <a:pt x="153" y="49"/>
                  </a:lnTo>
                  <a:lnTo>
                    <a:pt x="153" y="51"/>
                  </a:lnTo>
                  <a:lnTo>
                    <a:pt x="151" y="51"/>
                  </a:lnTo>
                  <a:lnTo>
                    <a:pt x="151" y="52"/>
                  </a:lnTo>
                  <a:lnTo>
                    <a:pt x="151" y="53"/>
                  </a:lnTo>
                  <a:lnTo>
                    <a:pt x="153" y="54"/>
                  </a:lnTo>
                  <a:lnTo>
                    <a:pt x="153" y="55"/>
                  </a:lnTo>
                  <a:lnTo>
                    <a:pt x="151" y="55"/>
                  </a:lnTo>
                  <a:lnTo>
                    <a:pt x="151" y="56"/>
                  </a:lnTo>
                  <a:lnTo>
                    <a:pt x="150" y="56"/>
                  </a:lnTo>
                  <a:lnTo>
                    <a:pt x="149" y="56"/>
                  </a:lnTo>
                  <a:lnTo>
                    <a:pt x="149" y="58"/>
                  </a:lnTo>
                  <a:lnTo>
                    <a:pt x="148" y="58"/>
                  </a:lnTo>
                  <a:lnTo>
                    <a:pt x="148" y="56"/>
                  </a:lnTo>
                  <a:lnTo>
                    <a:pt x="147" y="56"/>
                  </a:lnTo>
                  <a:lnTo>
                    <a:pt x="146" y="56"/>
                  </a:lnTo>
                  <a:lnTo>
                    <a:pt x="144" y="58"/>
                  </a:lnTo>
                  <a:lnTo>
                    <a:pt x="143" y="59"/>
                  </a:lnTo>
                  <a:lnTo>
                    <a:pt x="146" y="58"/>
                  </a:lnTo>
                  <a:lnTo>
                    <a:pt x="146" y="59"/>
                  </a:lnTo>
                  <a:lnTo>
                    <a:pt x="144" y="59"/>
                  </a:lnTo>
                  <a:lnTo>
                    <a:pt x="144" y="60"/>
                  </a:lnTo>
                  <a:lnTo>
                    <a:pt x="143" y="61"/>
                  </a:lnTo>
                  <a:lnTo>
                    <a:pt x="142" y="62"/>
                  </a:lnTo>
                  <a:lnTo>
                    <a:pt x="142" y="63"/>
                  </a:lnTo>
                  <a:lnTo>
                    <a:pt x="141" y="63"/>
                  </a:lnTo>
                  <a:lnTo>
                    <a:pt x="140" y="65"/>
                  </a:lnTo>
                  <a:lnTo>
                    <a:pt x="139" y="65"/>
                  </a:lnTo>
                  <a:lnTo>
                    <a:pt x="139" y="66"/>
                  </a:lnTo>
                  <a:lnTo>
                    <a:pt x="139" y="67"/>
                  </a:lnTo>
                  <a:lnTo>
                    <a:pt x="139" y="68"/>
                  </a:lnTo>
                  <a:lnTo>
                    <a:pt x="137" y="68"/>
                  </a:lnTo>
                  <a:lnTo>
                    <a:pt x="136" y="68"/>
                  </a:lnTo>
                  <a:lnTo>
                    <a:pt x="135" y="70"/>
                  </a:lnTo>
                  <a:lnTo>
                    <a:pt x="135" y="72"/>
                  </a:lnTo>
                  <a:lnTo>
                    <a:pt x="134" y="72"/>
                  </a:lnTo>
                  <a:lnTo>
                    <a:pt x="134" y="73"/>
                  </a:lnTo>
                  <a:lnTo>
                    <a:pt x="135" y="73"/>
                  </a:lnTo>
                  <a:lnTo>
                    <a:pt x="135" y="74"/>
                  </a:lnTo>
                  <a:lnTo>
                    <a:pt x="135" y="75"/>
                  </a:lnTo>
                  <a:lnTo>
                    <a:pt x="134" y="75"/>
                  </a:lnTo>
                  <a:lnTo>
                    <a:pt x="134" y="76"/>
                  </a:lnTo>
                  <a:lnTo>
                    <a:pt x="133" y="76"/>
                  </a:lnTo>
                  <a:lnTo>
                    <a:pt x="134" y="76"/>
                  </a:lnTo>
                  <a:lnTo>
                    <a:pt x="133" y="76"/>
                  </a:lnTo>
                  <a:lnTo>
                    <a:pt x="133" y="77"/>
                  </a:lnTo>
                  <a:lnTo>
                    <a:pt x="134" y="77"/>
                  </a:lnTo>
                  <a:lnTo>
                    <a:pt x="135" y="76"/>
                  </a:lnTo>
                  <a:lnTo>
                    <a:pt x="135" y="77"/>
                  </a:lnTo>
                  <a:lnTo>
                    <a:pt x="135" y="76"/>
                  </a:lnTo>
                  <a:lnTo>
                    <a:pt x="136" y="76"/>
                  </a:lnTo>
                  <a:lnTo>
                    <a:pt x="137" y="75"/>
                  </a:lnTo>
                  <a:lnTo>
                    <a:pt x="136" y="75"/>
                  </a:lnTo>
                  <a:lnTo>
                    <a:pt x="136" y="74"/>
                  </a:lnTo>
                  <a:lnTo>
                    <a:pt x="137" y="74"/>
                  </a:lnTo>
                  <a:lnTo>
                    <a:pt x="139" y="74"/>
                  </a:lnTo>
                  <a:lnTo>
                    <a:pt x="140" y="73"/>
                  </a:lnTo>
                  <a:lnTo>
                    <a:pt x="142" y="73"/>
                  </a:lnTo>
                  <a:lnTo>
                    <a:pt x="143" y="73"/>
                  </a:lnTo>
                  <a:lnTo>
                    <a:pt x="143" y="74"/>
                  </a:lnTo>
                  <a:lnTo>
                    <a:pt x="143" y="75"/>
                  </a:lnTo>
                  <a:lnTo>
                    <a:pt x="144" y="75"/>
                  </a:lnTo>
                  <a:lnTo>
                    <a:pt x="143" y="76"/>
                  </a:lnTo>
                  <a:lnTo>
                    <a:pt x="143" y="77"/>
                  </a:lnTo>
                  <a:lnTo>
                    <a:pt x="144" y="77"/>
                  </a:lnTo>
                  <a:lnTo>
                    <a:pt x="144" y="79"/>
                  </a:lnTo>
                  <a:lnTo>
                    <a:pt x="146" y="79"/>
                  </a:lnTo>
                  <a:lnTo>
                    <a:pt x="146" y="80"/>
                  </a:lnTo>
                  <a:lnTo>
                    <a:pt x="147" y="80"/>
                  </a:lnTo>
                  <a:lnTo>
                    <a:pt x="147" y="81"/>
                  </a:lnTo>
                  <a:lnTo>
                    <a:pt x="146" y="81"/>
                  </a:lnTo>
                  <a:lnTo>
                    <a:pt x="146" y="82"/>
                  </a:lnTo>
                  <a:lnTo>
                    <a:pt x="144" y="82"/>
                  </a:lnTo>
                  <a:lnTo>
                    <a:pt x="143" y="82"/>
                  </a:lnTo>
                  <a:lnTo>
                    <a:pt x="143" y="83"/>
                  </a:lnTo>
                  <a:lnTo>
                    <a:pt x="144" y="84"/>
                  </a:lnTo>
                  <a:lnTo>
                    <a:pt x="146" y="84"/>
                  </a:lnTo>
                  <a:lnTo>
                    <a:pt x="146" y="86"/>
                  </a:lnTo>
                  <a:lnTo>
                    <a:pt x="146" y="87"/>
                  </a:lnTo>
                  <a:lnTo>
                    <a:pt x="147" y="87"/>
                  </a:lnTo>
                  <a:lnTo>
                    <a:pt x="148" y="88"/>
                  </a:lnTo>
                  <a:lnTo>
                    <a:pt x="149" y="88"/>
                  </a:lnTo>
                  <a:lnTo>
                    <a:pt x="148" y="89"/>
                  </a:lnTo>
                  <a:lnTo>
                    <a:pt x="148" y="90"/>
                  </a:lnTo>
                  <a:lnTo>
                    <a:pt x="148" y="91"/>
                  </a:lnTo>
                  <a:lnTo>
                    <a:pt x="147" y="91"/>
                  </a:lnTo>
                  <a:lnTo>
                    <a:pt x="146" y="91"/>
                  </a:lnTo>
                  <a:lnTo>
                    <a:pt x="146" y="93"/>
                  </a:lnTo>
                  <a:lnTo>
                    <a:pt x="144" y="93"/>
                  </a:lnTo>
                  <a:lnTo>
                    <a:pt x="146" y="93"/>
                  </a:lnTo>
                  <a:lnTo>
                    <a:pt x="144" y="93"/>
                  </a:lnTo>
                  <a:lnTo>
                    <a:pt x="143" y="93"/>
                  </a:lnTo>
                  <a:lnTo>
                    <a:pt x="142" y="93"/>
                  </a:lnTo>
                  <a:lnTo>
                    <a:pt x="142" y="94"/>
                  </a:lnTo>
                  <a:lnTo>
                    <a:pt x="143" y="94"/>
                  </a:lnTo>
                  <a:lnTo>
                    <a:pt x="143" y="95"/>
                  </a:lnTo>
                  <a:lnTo>
                    <a:pt x="143" y="96"/>
                  </a:lnTo>
                  <a:lnTo>
                    <a:pt x="144" y="96"/>
                  </a:lnTo>
                  <a:lnTo>
                    <a:pt x="144" y="97"/>
                  </a:lnTo>
                  <a:lnTo>
                    <a:pt x="146" y="97"/>
                  </a:lnTo>
                  <a:lnTo>
                    <a:pt x="147" y="97"/>
                  </a:lnTo>
                  <a:lnTo>
                    <a:pt x="147" y="98"/>
                  </a:lnTo>
                  <a:lnTo>
                    <a:pt x="148" y="100"/>
                  </a:lnTo>
                  <a:lnTo>
                    <a:pt x="147" y="100"/>
                  </a:lnTo>
                  <a:lnTo>
                    <a:pt x="146" y="100"/>
                  </a:lnTo>
                  <a:lnTo>
                    <a:pt x="146" y="101"/>
                  </a:lnTo>
                  <a:lnTo>
                    <a:pt x="147" y="101"/>
                  </a:lnTo>
                  <a:lnTo>
                    <a:pt x="146" y="101"/>
                  </a:lnTo>
                  <a:lnTo>
                    <a:pt x="146" y="102"/>
                  </a:lnTo>
                  <a:lnTo>
                    <a:pt x="144" y="102"/>
                  </a:lnTo>
                  <a:lnTo>
                    <a:pt x="146" y="103"/>
                  </a:lnTo>
                  <a:lnTo>
                    <a:pt x="146" y="104"/>
                  </a:lnTo>
                  <a:lnTo>
                    <a:pt x="146" y="105"/>
                  </a:lnTo>
                  <a:lnTo>
                    <a:pt x="147" y="105"/>
                  </a:lnTo>
                  <a:lnTo>
                    <a:pt x="147" y="107"/>
                  </a:lnTo>
                  <a:lnTo>
                    <a:pt x="148" y="107"/>
                  </a:lnTo>
                  <a:lnTo>
                    <a:pt x="149" y="107"/>
                  </a:lnTo>
                  <a:lnTo>
                    <a:pt x="150" y="108"/>
                  </a:lnTo>
                  <a:lnTo>
                    <a:pt x="151" y="108"/>
                  </a:lnTo>
                  <a:lnTo>
                    <a:pt x="151" y="109"/>
                  </a:lnTo>
                  <a:lnTo>
                    <a:pt x="154" y="108"/>
                  </a:lnTo>
                  <a:lnTo>
                    <a:pt x="155" y="108"/>
                  </a:lnTo>
                  <a:lnTo>
                    <a:pt x="156" y="109"/>
                  </a:lnTo>
                  <a:lnTo>
                    <a:pt x="156" y="110"/>
                  </a:lnTo>
                  <a:lnTo>
                    <a:pt x="155" y="110"/>
                  </a:lnTo>
                  <a:lnTo>
                    <a:pt x="154" y="111"/>
                  </a:lnTo>
                  <a:lnTo>
                    <a:pt x="154" y="112"/>
                  </a:lnTo>
                  <a:lnTo>
                    <a:pt x="154" y="114"/>
                  </a:lnTo>
                  <a:lnTo>
                    <a:pt x="153" y="114"/>
                  </a:lnTo>
                  <a:lnTo>
                    <a:pt x="153" y="115"/>
                  </a:lnTo>
                  <a:lnTo>
                    <a:pt x="153" y="114"/>
                  </a:lnTo>
                  <a:lnTo>
                    <a:pt x="153" y="115"/>
                  </a:lnTo>
                  <a:lnTo>
                    <a:pt x="151" y="115"/>
                  </a:lnTo>
                  <a:lnTo>
                    <a:pt x="150" y="115"/>
                  </a:lnTo>
                  <a:lnTo>
                    <a:pt x="150" y="116"/>
                  </a:lnTo>
                  <a:lnTo>
                    <a:pt x="149" y="116"/>
                  </a:lnTo>
                  <a:lnTo>
                    <a:pt x="149" y="117"/>
                  </a:lnTo>
                  <a:lnTo>
                    <a:pt x="148" y="117"/>
                  </a:lnTo>
                  <a:lnTo>
                    <a:pt x="147" y="117"/>
                  </a:lnTo>
                  <a:lnTo>
                    <a:pt x="147" y="118"/>
                  </a:lnTo>
                  <a:lnTo>
                    <a:pt x="147" y="119"/>
                  </a:lnTo>
                  <a:lnTo>
                    <a:pt x="146" y="119"/>
                  </a:lnTo>
                  <a:lnTo>
                    <a:pt x="144" y="119"/>
                  </a:lnTo>
                  <a:lnTo>
                    <a:pt x="144" y="121"/>
                  </a:lnTo>
                  <a:lnTo>
                    <a:pt x="143" y="121"/>
                  </a:lnTo>
                  <a:lnTo>
                    <a:pt x="143" y="122"/>
                  </a:lnTo>
                  <a:lnTo>
                    <a:pt x="142" y="122"/>
                  </a:lnTo>
                  <a:lnTo>
                    <a:pt x="143" y="122"/>
                  </a:lnTo>
                  <a:lnTo>
                    <a:pt x="143" y="123"/>
                  </a:lnTo>
                  <a:lnTo>
                    <a:pt x="142" y="123"/>
                  </a:lnTo>
                  <a:lnTo>
                    <a:pt x="141" y="124"/>
                  </a:lnTo>
                  <a:lnTo>
                    <a:pt x="141" y="123"/>
                  </a:lnTo>
                  <a:lnTo>
                    <a:pt x="141" y="124"/>
                  </a:lnTo>
                  <a:lnTo>
                    <a:pt x="140" y="124"/>
                  </a:lnTo>
                  <a:lnTo>
                    <a:pt x="139" y="124"/>
                  </a:lnTo>
                  <a:lnTo>
                    <a:pt x="137" y="124"/>
                  </a:lnTo>
                  <a:lnTo>
                    <a:pt x="137" y="125"/>
                  </a:lnTo>
                  <a:lnTo>
                    <a:pt x="136" y="125"/>
                  </a:lnTo>
                  <a:lnTo>
                    <a:pt x="136" y="124"/>
                  </a:lnTo>
                  <a:lnTo>
                    <a:pt x="135" y="124"/>
                  </a:lnTo>
                  <a:lnTo>
                    <a:pt x="134" y="124"/>
                  </a:lnTo>
                  <a:lnTo>
                    <a:pt x="134" y="125"/>
                  </a:lnTo>
                  <a:lnTo>
                    <a:pt x="133" y="125"/>
                  </a:lnTo>
                  <a:lnTo>
                    <a:pt x="133" y="124"/>
                  </a:lnTo>
                  <a:lnTo>
                    <a:pt x="132" y="124"/>
                  </a:lnTo>
                  <a:lnTo>
                    <a:pt x="132" y="123"/>
                  </a:lnTo>
                  <a:lnTo>
                    <a:pt x="130" y="123"/>
                  </a:lnTo>
                  <a:lnTo>
                    <a:pt x="129" y="123"/>
                  </a:lnTo>
                  <a:lnTo>
                    <a:pt x="128" y="123"/>
                  </a:lnTo>
                  <a:lnTo>
                    <a:pt x="127" y="123"/>
                  </a:lnTo>
                  <a:lnTo>
                    <a:pt x="127" y="122"/>
                  </a:lnTo>
                  <a:lnTo>
                    <a:pt x="127" y="121"/>
                  </a:lnTo>
                  <a:lnTo>
                    <a:pt x="126" y="121"/>
                  </a:lnTo>
                  <a:lnTo>
                    <a:pt x="125" y="121"/>
                  </a:lnTo>
                  <a:lnTo>
                    <a:pt x="123" y="121"/>
                  </a:lnTo>
                  <a:lnTo>
                    <a:pt x="122" y="121"/>
                  </a:lnTo>
                  <a:lnTo>
                    <a:pt x="122" y="119"/>
                  </a:lnTo>
                  <a:lnTo>
                    <a:pt x="123" y="119"/>
                  </a:lnTo>
                  <a:lnTo>
                    <a:pt x="125" y="119"/>
                  </a:lnTo>
                  <a:lnTo>
                    <a:pt x="125" y="118"/>
                  </a:lnTo>
                  <a:lnTo>
                    <a:pt x="123" y="118"/>
                  </a:lnTo>
                  <a:lnTo>
                    <a:pt x="123" y="117"/>
                  </a:lnTo>
                  <a:lnTo>
                    <a:pt x="122" y="117"/>
                  </a:lnTo>
                  <a:lnTo>
                    <a:pt x="122" y="118"/>
                  </a:lnTo>
                  <a:lnTo>
                    <a:pt x="123" y="118"/>
                  </a:lnTo>
                  <a:lnTo>
                    <a:pt x="123" y="119"/>
                  </a:lnTo>
                  <a:lnTo>
                    <a:pt x="122" y="119"/>
                  </a:lnTo>
                  <a:lnTo>
                    <a:pt x="121" y="119"/>
                  </a:lnTo>
                  <a:lnTo>
                    <a:pt x="120" y="119"/>
                  </a:lnTo>
                  <a:lnTo>
                    <a:pt x="121" y="119"/>
                  </a:lnTo>
                  <a:lnTo>
                    <a:pt x="121" y="121"/>
                  </a:lnTo>
                  <a:lnTo>
                    <a:pt x="120" y="121"/>
                  </a:lnTo>
                  <a:lnTo>
                    <a:pt x="120" y="119"/>
                  </a:lnTo>
                  <a:lnTo>
                    <a:pt x="119" y="119"/>
                  </a:lnTo>
                  <a:lnTo>
                    <a:pt x="119" y="118"/>
                  </a:lnTo>
                  <a:lnTo>
                    <a:pt x="119" y="117"/>
                  </a:lnTo>
                  <a:lnTo>
                    <a:pt x="119" y="118"/>
                  </a:lnTo>
                  <a:lnTo>
                    <a:pt x="119" y="119"/>
                  </a:lnTo>
                  <a:lnTo>
                    <a:pt x="120" y="119"/>
                  </a:lnTo>
                  <a:lnTo>
                    <a:pt x="120" y="121"/>
                  </a:lnTo>
                  <a:lnTo>
                    <a:pt x="118" y="121"/>
                  </a:lnTo>
                  <a:lnTo>
                    <a:pt x="116" y="121"/>
                  </a:lnTo>
                  <a:lnTo>
                    <a:pt x="116" y="119"/>
                  </a:lnTo>
                  <a:lnTo>
                    <a:pt x="118" y="119"/>
                  </a:lnTo>
                  <a:lnTo>
                    <a:pt x="116" y="119"/>
                  </a:lnTo>
                  <a:lnTo>
                    <a:pt x="116" y="118"/>
                  </a:lnTo>
                  <a:lnTo>
                    <a:pt x="115" y="119"/>
                  </a:lnTo>
                  <a:lnTo>
                    <a:pt x="112" y="118"/>
                  </a:lnTo>
                  <a:lnTo>
                    <a:pt x="111" y="118"/>
                  </a:lnTo>
                  <a:lnTo>
                    <a:pt x="112" y="117"/>
                  </a:lnTo>
                  <a:lnTo>
                    <a:pt x="111" y="117"/>
                  </a:lnTo>
                  <a:lnTo>
                    <a:pt x="109" y="117"/>
                  </a:lnTo>
                  <a:lnTo>
                    <a:pt x="108" y="117"/>
                  </a:lnTo>
                  <a:lnTo>
                    <a:pt x="106" y="119"/>
                  </a:lnTo>
                  <a:lnTo>
                    <a:pt x="105" y="121"/>
                  </a:lnTo>
                  <a:lnTo>
                    <a:pt x="104" y="122"/>
                  </a:lnTo>
                  <a:lnTo>
                    <a:pt x="102" y="122"/>
                  </a:lnTo>
                  <a:lnTo>
                    <a:pt x="101" y="122"/>
                  </a:lnTo>
                  <a:lnTo>
                    <a:pt x="100" y="123"/>
                  </a:lnTo>
                  <a:lnTo>
                    <a:pt x="99" y="123"/>
                  </a:lnTo>
                  <a:lnTo>
                    <a:pt x="99" y="124"/>
                  </a:lnTo>
                  <a:lnTo>
                    <a:pt x="98" y="125"/>
                  </a:lnTo>
                  <a:lnTo>
                    <a:pt x="98" y="126"/>
                  </a:lnTo>
                  <a:lnTo>
                    <a:pt x="98" y="128"/>
                  </a:lnTo>
                  <a:lnTo>
                    <a:pt x="98" y="129"/>
                  </a:lnTo>
                  <a:lnTo>
                    <a:pt x="98" y="130"/>
                  </a:lnTo>
                  <a:lnTo>
                    <a:pt x="98" y="131"/>
                  </a:lnTo>
                  <a:lnTo>
                    <a:pt x="98" y="132"/>
                  </a:lnTo>
                  <a:lnTo>
                    <a:pt x="98" y="133"/>
                  </a:lnTo>
                  <a:lnTo>
                    <a:pt x="99" y="133"/>
                  </a:lnTo>
                  <a:lnTo>
                    <a:pt x="99" y="135"/>
                  </a:lnTo>
                  <a:lnTo>
                    <a:pt x="98" y="135"/>
                  </a:lnTo>
                  <a:lnTo>
                    <a:pt x="97" y="135"/>
                  </a:lnTo>
                  <a:lnTo>
                    <a:pt x="95" y="135"/>
                  </a:lnTo>
                  <a:lnTo>
                    <a:pt x="94" y="135"/>
                  </a:lnTo>
                  <a:lnTo>
                    <a:pt x="93" y="135"/>
                  </a:lnTo>
                  <a:lnTo>
                    <a:pt x="93" y="136"/>
                  </a:lnTo>
                  <a:lnTo>
                    <a:pt x="92" y="136"/>
                  </a:lnTo>
                  <a:lnTo>
                    <a:pt x="91" y="137"/>
                  </a:lnTo>
                  <a:lnTo>
                    <a:pt x="91" y="136"/>
                  </a:lnTo>
                  <a:lnTo>
                    <a:pt x="90" y="136"/>
                  </a:lnTo>
                  <a:lnTo>
                    <a:pt x="89" y="135"/>
                  </a:lnTo>
                  <a:lnTo>
                    <a:pt x="87" y="135"/>
                  </a:lnTo>
                  <a:lnTo>
                    <a:pt x="86" y="135"/>
                  </a:lnTo>
                  <a:lnTo>
                    <a:pt x="86" y="136"/>
                  </a:lnTo>
                  <a:lnTo>
                    <a:pt x="85" y="136"/>
                  </a:lnTo>
                  <a:lnTo>
                    <a:pt x="84" y="136"/>
                  </a:lnTo>
                  <a:lnTo>
                    <a:pt x="84" y="135"/>
                  </a:lnTo>
                  <a:lnTo>
                    <a:pt x="83" y="135"/>
                  </a:lnTo>
                  <a:lnTo>
                    <a:pt x="82" y="133"/>
                  </a:lnTo>
                  <a:lnTo>
                    <a:pt x="80" y="133"/>
                  </a:lnTo>
                  <a:lnTo>
                    <a:pt x="82" y="133"/>
                  </a:lnTo>
                  <a:lnTo>
                    <a:pt x="82" y="132"/>
                  </a:lnTo>
                  <a:lnTo>
                    <a:pt x="80" y="132"/>
                  </a:lnTo>
                  <a:lnTo>
                    <a:pt x="82" y="132"/>
                  </a:lnTo>
                  <a:lnTo>
                    <a:pt x="79" y="132"/>
                  </a:lnTo>
                  <a:lnTo>
                    <a:pt x="79" y="131"/>
                  </a:lnTo>
                  <a:lnTo>
                    <a:pt x="78" y="131"/>
                  </a:lnTo>
                  <a:lnTo>
                    <a:pt x="78" y="132"/>
                  </a:lnTo>
                  <a:lnTo>
                    <a:pt x="77" y="132"/>
                  </a:lnTo>
                  <a:lnTo>
                    <a:pt x="77" y="131"/>
                  </a:lnTo>
                  <a:lnTo>
                    <a:pt x="76" y="131"/>
                  </a:lnTo>
                  <a:lnTo>
                    <a:pt x="76" y="130"/>
                  </a:lnTo>
                  <a:lnTo>
                    <a:pt x="75" y="130"/>
                  </a:lnTo>
                  <a:lnTo>
                    <a:pt x="73" y="130"/>
                  </a:lnTo>
                  <a:lnTo>
                    <a:pt x="72" y="130"/>
                  </a:lnTo>
                  <a:lnTo>
                    <a:pt x="71" y="129"/>
                  </a:lnTo>
                  <a:lnTo>
                    <a:pt x="70" y="129"/>
                  </a:lnTo>
                  <a:lnTo>
                    <a:pt x="69" y="129"/>
                  </a:lnTo>
                  <a:lnTo>
                    <a:pt x="68" y="129"/>
                  </a:lnTo>
                  <a:lnTo>
                    <a:pt x="68" y="130"/>
                  </a:lnTo>
                  <a:lnTo>
                    <a:pt x="68" y="131"/>
                  </a:lnTo>
                  <a:lnTo>
                    <a:pt x="66" y="131"/>
                  </a:lnTo>
                  <a:lnTo>
                    <a:pt x="65" y="131"/>
                  </a:lnTo>
                  <a:lnTo>
                    <a:pt x="64" y="131"/>
                  </a:lnTo>
                  <a:lnTo>
                    <a:pt x="64" y="130"/>
                  </a:lnTo>
                  <a:lnTo>
                    <a:pt x="63" y="130"/>
                  </a:lnTo>
                  <a:lnTo>
                    <a:pt x="63" y="131"/>
                  </a:lnTo>
                  <a:lnTo>
                    <a:pt x="62" y="130"/>
                  </a:lnTo>
                  <a:lnTo>
                    <a:pt x="61" y="130"/>
                  </a:lnTo>
                  <a:lnTo>
                    <a:pt x="59" y="131"/>
                  </a:lnTo>
                  <a:lnTo>
                    <a:pt x="58" y="131"/>
                  </a:lnTo>
                  <a:lnTo>
                    <a:pt x="58" y="130"/>
                  </a:lnTo>
                  <a:lnTo>
                    <a:pt x="57" y="130"/>
                  </a:lnTo>
                  <a:lnTo>
                    <a:pt x="57" y="129"/>
                  </a:lnTo>
                  <a:lnTo>
                    <a:pt x="56" y="129"/>
                  </a:lnTo>
                  <a:lnTo>
                    <a:pt x="55" y="129"/>
                  </a:lnTo>
                  <a:lnTo>
                    <a:pt x="54" y="129"/>
                  </a:lnTo>
                  <a:lnTo>
                    <a:pt x="52" y="129"/>
                  </a:lnTo>
                  <a:lnTo>
                    <a:pt x="52" y="130"/>
                  </a:lnTo>
                  <a:lnTo>
                    <a:pt x="51" y="130"/>
                  </a:lnTo>
                  <a:lnTo>
                    <a:pt x="51" y="129"/>
                  </a:lnTo>
                  <a:lnTo>
                    <a:pt x="52" y="129"/>
                  </a:lnTo>
                  <a:lnTo>
                    <a:pt x="51" y="129"/>
                  </a:lnTo>
                  <a:lnTo>
                    <a:pt x="51" y="128"/>
                  </a:lnTo>
                  <a:lnTo>
                    <a:pt x="50" y="128"/>
                  </a:lnTo>
                  <a:lnTo>
                    <a:pt x="50" y="126"/>
                  </a:lnTo>
                  <a:lnTo>
                    <a:pt x="49" y="126"/>
                  </a:lnTo>
                  <a:lnTo>
                    <a:pt x="48" y="126"/>
                  </a:lnTo>
                  <a:lnTo>
                    <a:pt x="47" y="126"/>
                  </a:lnTo>
                  <a:lnTo>
                    <a:pt x="45" y="126"/>
                  </a:lnTo>
                  <a:lnTo>
                    <a:pt x="45" y="125"/>
                  </a:lnTo>
                  <a:lnTo>
                    <a:pt x="44" y="125"/>
                  </a:lnTo>
                  <a:lnTo>
                    <a:pt x="43" y="125"/>
                  </a:lnTo>
                  <a:lnTo>
                    <a:pt x="43" y="124"/>
                  </a:lnTo>
                  <a:lnTo>
                    <a:pt x="42" y="124"/>
                  </a:lnTo>
                  <a:lnTo>
                    <a:pt x="42" y="125"/>
                  </a:lnTo>
                  <a:lnTo>
                    <a:pt x="41" y="125"/>
                  </a:lnTo>
                  <a:lnTo>
                    <a:pt x="41" y="124"/>
                  </a:lnTo>
                  <a:lnTo>
                    <a:pt x="41" y="123"/>
                  </a:lnTo>
                  <a:lnTo>
                    <a:pt x="42" y="123"/>
                  </a:lnTo>
                  <a:lnTo>
                    <a:pt x="42" y="122"/>
                  </a:lnTo>
                  <a:lnTo>
                    <a:pt x="41" y="122"/>
                  </a:lnTo>
                  <a:lnTo>
                    <a:pt x="40" y="122"/>
                  </a:lnTo>
                  <a:lnTo>
                    <a:pt x="38" y="122"/>
                  </a:lnTo>
                  <a:lnTo>
                    <a:pt x="38" y="121"/>
                  </a:lnTo>
                  <a:lnTo>
                    <a:pt x="37" y="122"/>
                  </a:lnTo>
                  <a:lnTo>
                    <a:pt x="37" y="121"/>
                  </a:lnTo>
                  <a:lnTo>
                    <a:pt x="36" y="121"/>
                  </a:lnTo>
                  <a:lnTo>
                    <a:pt x="36" y="119"/>
                  </a:lnTo>
                  <a:lnTo>
                    <a:pt x="37" y="121"/>
                  </a:lnTo>
                  <a:lnTo>
                    <a:pt x="37" y="119"/>
                  </a:lnTo>
                  <a:lnTo>
                    <a:pt x="38" y="119"/>
                  </a:lnTo>
                  <a:lnTo>
                    <a:pt x="40" y="118"/>
                  </a:lnTo>
                  <a:lnTo>
                    <a:pt x="40" y="117"/>
                  </a:lnTo>
                  <a:lnTo>
                    <a:pt x="41" y="117"/>
                  </a:lnTo>
                  <a:lnTo>
                    <a:pt x="41" y="116"/>
                  </a:lnTo>
                  <a:lnTo>
                    <a:pt x="42" y="112"/>
                  </a:lnTo>
                  <a:lnTo>
                    <a:pt x="42" y="110"/>
                  </a:lnTo>
                  <a:lnTo>
                    <a:pt x="43" y="105"/>
                  </a:lnTo>
                  <a:lnTo>
                    <a:pt x="43" y="103"/>
                  </a:lnTo>
                  <a:lnTo>
                    <a:pt x="43" y="102"/>
                  </a:lnTo>
                  <a:lnTo>
                    <a:pt x="44" y="101"/>
                  </a:lnTo>
                  <a:lnTo>
                    <a:pt x="44" y="100"/>
                  </a:lnTo>
                  <a:lnTo>
                    <a:pt x="45" y="100"/>
                  </a:lnTo>
                  <a:lnTo>
                    <a:pt x="47" y="100"/>
                  </a:lnTo>
                  <a:lnTo>
                    <a:pt x="45" y="100"/>
                  </a:lnTo>
                  <a:lnTo>
                    <a:pt x="45" y="98"/>
                  </a:lnTo>
                  <a:lnTo>
                    <a:pt x="44" y="98"/>
                  </a:lnTo>
                  <a:lnTo>
                    <a:pt x="44" y="100"/>
                  </a:lnTo>
                  <a:lnTo>
                    <a:pt x="43" y="100"/>
                  </a:lnTo>
                  <a:lnTo>
                    <a:pt x="43" y="101"/>
                  </a:lnTo>
                  <a:lnTo>
                    <a:pt x="44" y="93"/>
                  </a:lnTo>
                  <a:lnTo>
                    <a:pt x="44" y="90"/>
                  </a:lnTo>
                  <a:lnTo>
                    <a:pt x="45" y="87"/>
                  </a:lnTo>
                  <a:lnTo>
                    <a:pt x="45" y="86"/>
                  </a:lnTo>
                  <a:lnTo>
                    <a:pt x="45" y="87"/>
                  </a:lnTo>
                  <a:lnTo>
                    <a:pt x="47" y="87"/>
                  </a:lnTo>
                  <a:lnTo>
                    <a:pt x="47" y="88"/>
                  </a:lnTo>
                  <a:lnTo>
                    <a:pt x="48" y="88"/>
                  </a:lnTo>
                  <a:lnTo>
                    <a:pt x="49" y="89"/>
                  </a:lnTo>
                  <a:lnTo>
                    <a:pt x="50" y="89"/>
                  </a:lnTo>
                  <a:lnTo>
                    <a:pt x="50" y="90"/>
                  </a:lnTo>
                  <a:lnTo>
                    <a:pt x="50" y="91"/>
                  </a:lnTo>
                  <a:lnTo>
                    <a:pt x="50" y="93"/>
                  </a:lnTo>
                  <a:lnTo>
                    <a:pt x="50" y="94"/>
                  </a:lnTo>
                  <a:lnTo>
                    <a:pt x="51" y="94"/>
                  </a:lnTo>
                  <a:lnTo>
                    <a:pt x="51" y="95"/>
                  </a:lnTo>
                  <a:lnTo>
                    <a:pt x="52" y="95"/>
                  </a:lnTo>
                  <a:lnTo>
                    <a:pt x="52" y="96"/>
                  </a:lnTo>
                  <a:lnTo>
                    <a:pt x="52" y="95"/>
                  </a:lnTo>
                  <a:lnTo>
                    <a:pt x="51" y="94"/>
                  </a:lnTo>
                  <a:lnTo>
                    <a:pt x="52" y="94"/>
                  </a:lnTo>
                  <a:lnTo>
                    <a:pt x="52" y="95"/>
                  </a:lnTo>
                  <a:lnTo>
                    <a:pt x="52" y="94"/>
                  </a:lnTo>
                  <a:lnTo>
                    <a:pt x="51" y="94"/>
                  </a:lnTo>
                  <a:lnTo>
                    <a:pt x="51" y="93"/>
                  </a:lnTo>
                  <a:lnTo>
                    <a:pt x="50" y="89"/>
                  </a:lnTo>
                  <a:lnTo>
                    <a:pt x="50" y="88"/>
                  </a:lnTo>
                  <a:lnTo>
                    <a:pt x="49" y="87"/>
                  </a:lnTo>
                  <a:lnTo>
                    <a:pt x="47" y="86"/>
                  </a:lnTo>
                  <a:lnTo>
                    <a:pt x="47" y="84"/>
                  </a:lnTo>
                  <a:lnTo>
                    <a:pt x="45" y="84"/>
                  </a:lnTo>
                  <a:lnTo>
                    <a:pt x="44" y="84"/>
                  </a:lnTo>
                  <a:lnTo>
                    <a:pt x="44" y="83"/>
                  </a:lnTo>
                  <a:lnTo>
                    <a:pt x="43" y="83"/>
                  </a:lnTo>
                  <a:lnTo>
                    <a:pt x="44" y="82"/>
                  </a:lnTo>
                  <a:lnTo>
                    <a:pt x="45" y="82"/>
                  </a:lnTo>
                  <a:lnTo>
                    <a:pt x="45" y="83"/>
                  </a:lnTo>
                  <a:lnTo>
                    <a:pt x="47" y="83"/>
                  </a:lnTo>
                  <a:lnTo>
                    <a:pt x="45" y="82"/>
                  </a:lnTo>
                  <a:lnTo>
                    <a:pt x="45" y="81"/>
                  </a:lnTo>
                  <a:lnTo>
                    <a:pt x="44" y="81"/>
                  </a:lnTo>
                  <a:lnTo>
                    <a:pt x="45" y="81"/>
                  </a:lnTo>
                  <a:lnTo>
                    <a:pt x="45" y="80"/>
                  </a:lnTo>
                  <a:lnTo>
                    <a:pt x="45" y="79"/>
                  </a:lnTo>
                  <a:lnTo>
                    <a:pt x="47" y="79"/>
                  </a:lnTo>
                  <a:lnTo>
                    <a:pt x="45" y="79"/>
                  </a:lnTo>
                  <a:lnTo>
                    <a:pt x="45" y="77"/>
                  </a:lnTo>
                  <a:lnTo>
                    <a:pt x="44" y="77"/>
                  </a:lnTo>
                  <a:lnTo>
                    <a:pt x="45" y="76"/>
                  </a:lnTo>
                  <a:lnTo>
                    <a:pt x="44" y="76"/>
                  </a:lnTo>
                  <a:lnTo>
                    <a:pt x="44" y="75"/>
                  </a:lnTo>
                  <a:lnTo>
                    <a:pt x="45" y="75"/>
                  </a:lnTo>
                  <a:lnTo>
                    <a:pt x="45" y="74"/>
                  </a:lnTo>
                  <a:lnTo>
                    <a:pt x="44" y="74"/>
                  </a:lnTo>
                  <a:lnTo>
                    <a:pt x="44" y="75"/>
                  </a:lnTo>
                  <a:lnTo>
                    <a:pt x="43" y="74"/>
                  </a:lnTo>
                  <a:lnTo>
                    <a:pt x="42" y="74"/>
                  </a:lnTo>
                  <a:lnTo>
                    <a:pt x="41" y="74"/>
                  </a:lnTo>
                  <a:lnTo>
                    <a:pt x="41" y="73"/>
                  </a:lnTo>
                  <a:lnTo>
                    <a:pt x="40" y="73"/>
                  </a:lnTo>
                  <a:lnTo>
                    <a:pt x="38" y="73"/>
                  </a:lnTo>
                  <a:lnTo>
                    <a:pt x="40" y="73"/>
                  </a:lnTo>
                  <a:lnTo>
                    <a:pt x="38" y="72"/>
                  </a:lnTo>
                  <a:lnTo>
                    <a:pt x="37" y="72"/>
                  </a:lnTo>
                  <a:lnTo>
                    <a:pt x="37" y="70"/>
                  </a:lnTo>
                  <a:lnTo>
                    <a:pt x="37" y="72"/>
                  </a:lnTo>
                  <a:lnTo>
                    <a:pt x="36" y="70"/>
                  </a:lnTo>
                  <a:lnTo>
                    <a:pt x="36" y="69"/>
                  </a:lnTo>
                  <a:lnTo>
                    <a:pt x="35" y="68"/>
                  </a:lnTo>
                  <a:lnTo>
                    <a:pt x="35" y="67"/>
                  </a:lnTo>
                  <a:lnTo>
                    <a:pt x="34" y="67"/>
                  </a:lnTo>
                  <a:lnTo>
                    <a:pt x="33" y="67"/>
                  </a:lnTo>
                  <a:lnTo>
                    <a:pt x="33" y="66"/>
                  </a:lnTo>
                  <a:lnTo>
                    <a:pt x="33" y="65"/>
                  </a:lnTo>
                  <a:lnTo>
                    <a:pt x="34" y="65"/>
                  </a:lnTo>
                  <a:lnTo>
                    <a:pt x="33" y="65"/>
                  </a:lnTo>
                  <a:lnTo>
                    <a:pt x="34" y="65"/>
                  </a:lnTo>
                  <a:lnTo>
                    <a:pt x="34" y="63"/>
                  </a:lnTo>
                  <a:lnTo>
                    <a:pt x="35" y="63"/>
                  </a:lnTo>
                  <a:lnTo>
                    <a:pt x="35" y="62"/>
                  </a:lnTo>
                  <a:lnTo>
                    <a:pt x="34" y="62"/>
                  </a:lnTo>
                  <a:lnTo>
                    <a:pt x="31" y="61"/>
                  </a:lnTo>
                  <a:lnTo>
                    <a:pt x="33" y="61"/>
                  </a:lnTo>
                  <a:lnTo>
                    <a:pt x="33" y="60"/>
                  </a:lnTo>
                  <a:lnTo>
                    <a:pt x="33" y="59"/>
                  </a:lnTo>
                  <a:lnTo>
                    <a:pt x="34" y="59"/>
                  </a:lnTo>
                  <a:lnTo>
                    <a:pt x="35" y="59"/>
                  </a:lnTo>
                  <a:lnTo>
                    <a:pt x="36" y="59"/>
                  </a:lnTo>
                  <a:lnTo>
                    <a:pt x="36" y="60"/>
                  </a:lnTo>
                  <a:lnTo>
                    <a:pt x="35" y="60"/>
                  </a:lnTo>
                  <a:lnTo>
                    <a:pt x="36" y="60"/>
                  </a:lnTo>
                  <a:lnTo>
                    <a:pt x="37" y="60"/>
                  </a:lnTo>
                  <a:lnTo>
                    <a:pt x="36" y="60"/>
                  </a:lnTo>
                  <a:lnTo>
                    <a:pt x="36" y="59"/>
                  </a:lnTo>
                  <a:lnTo>
                    <a:pt x="35" y="59"/>
                  </a:lnTo>
                  <a:lnTo>
                    <a:pt x="33" y="59"/>
                  </a:lnTo>
                  <a:lnTo>
                    <a:pt x="31" y="60"/>
                  </a:lnTo>
                  <a:lnTo>
                    <a:pt x="30" y="60"/>
                  </a:lnTo>
                  <a:lnTo>
                    <a:pt x="30" y="59"/>
                  </a:lnTo>
                  <a:lnTo>
                    <a:pt x="29" y="59"/>
                  </a:lnTo>
                  <a:lnTo>
                    <a:pt x="29" y="60"/>
                  </a:lnTo>
                  <a:lnTo>
                    <a:pt x="28" y="59"/>
                  </a:lnTo>
                  <a:lnTo>
                    <a:pt x="29" y="59"/>
                  </a:lnTo>
                  <a:lnTo>
                    <a:pt x="28" y="59"/>
                  </a:lnTo>
                  <a:lnTo>
                    <a:pt x="28" y="58"/>
                  </a:lnTo>
                  <a:lnTo>
                    <a:pt x="29" y="58"/>
                  </a:lnTo>
                  <a:lnTo>
                    <a:pt x="29" y="56"/>
                  </a:lnTo>
                  <a:lnTo>
                    <a:pt x="28" y="56"/>
                  </a:lnTo>
                  <a:lnTo>
                    <a:pt x="29" y="56"/>
                  </a:lnTo>
                  <a:lnTo>
                    <a:pt x="28" y="56"/>
                  </a:lnTo>
                  <a:lnTo>
                    <a:pt x="29" y="56"/>
                  </a:lnTo>
                  <a:lnTo>
                    <a:pt x="30" y="55"/>
                  </a:lnTo>
                  <a:lnTo>
                    <a:pt x="29" y="55"/>
                  </a:lnTo>
                  <a:lnTo>
                    <a:pt x="28" y="55"/>
                  </a:lnTo>
                  <a:lnTo>
                    <a:pt x="27" y="55"/>
                  </a:lnTo>
                  <a:lnTo>
                    <a:pt x="28" y="55"/>
                  </a:lnTo>
                  <a:lnTo>
                    <a:pt x="27" y="55"/>
                  </a:lnTo>
                  <a:lnTo>
                    <a:pt x="26" y="56"/>
                  </a:lnTo>
                  <a:lnTo>
                    <a:pt x="26" y="55"/>
                  </a:lnTo>
                  <a:lnTo>
                    <a:pt x="25" y="56"/>
                  </a:lnTo>
                  <a:lnTo>
                    <a:pt x="25" y="55"/>
                  </a:lnTo>
                  <a:lnTo>
                    <a:pt x="23" y="55"/>
                  </a:lnTo>
                  <a:lnTo>
                    <a:pt x="25" y="55"/>
                  </a:lnTo>
                  <a:lnTo>
                    <a:pt x="26" y="55"/>
                  </a:lnTo>
                  <a:lnTo>
                    <a:pt x="26" y="54"/>
                  </a:lnTo>
                  <a:lnTo>
                    <a:pt x="25" y="54"/>
                  </a:lnTo>
                  <a:lnTo>
                    <a:pt x="26" y="54"/>
                  </a:lnTo>
                  <a:lnTo>
                    <a:pt x="25" y="54"/>
                  </a:lnTo>
                  <a:lnTo>
                    <a:pt x="23" y="54"/>
                  </a:lnTo>
                  <a:lnTo>
                    <a:pt x="22" y="54"/>
                  </a:lnTo>
                  <a:lnTo>
                    <a:pt x="22" y="53"/>
                  </a:lnTo>
                  <a:lnTo>
                    <a:pt x="22" y="54"/>
                  </a:lnTo>
                  <a:lnTo>
                    <a:pt x="23" y="54"/>
                  </a:lnTo>
                  <a:lnTo>
                    <a:pt x="23" y="55"/>
                  </a:lnTo>
                  <a:lnTo>
                    <a:pt x="22" y="55"/>
                  </a:lnTo>
                  <a:lnTo>
                    <a:pt x="22" y="54"/>
                  </a:lnTo>
                  <a:lnTo>
                    <a:pt x="22" y="55"/>
                  </a:lnTo>
                  <a:lnTo>
                    <a:pt x="22" y="54"/>
                  </a:lnTo>
                  <a:lnTo>
                    <a:pt x="21" y="55"/>
                  </a:lnTo>
                  <a:lnTo>
                    <a:pt x="21" y="54"/>
                  </a:lnTo>
                  <a:lnTo>
                    <a:pt x="21" y="55"/>
                  </a:lnTo>
                  <a:lnTo>
                    <a:pt x="21" y="56"/>
                  </a:lnTo>
                  <a:lnTo>
                    <a:pt x="21" y="55"/>
                  </a:lnTo>
                  <a:lnTo>
                    <a:pt x="21" y="54"/>
                  </a:lnTo>
                  <a:lnTo>
                    <a:pt x="20" y="54"/>
                  </a:lnTo>
                  <a:lnTo>
                    <a:pt x="20" y="53"/>
                  </a:lnTo>
                  <a:lnTo>
                    <a:pt x="21" y="53"/>
                  </a:lnTo>
                  <a:lnTo>
                    <a:pt x="21" y="52"/>
                  </a:lnTo>
                  <a:lnTo>
                    <a:pt x="21" y="53"/>
                  </a:lnTo>
                  <a:lnTo>
                    <a:pt x="21" y="52"/>
                  </a:lnTo>
                  <a:lnTo>
                    <a:pt x="20" y="52"/>
                  </a:lnTo>
                  <a:lnTo>
                    <a:pt x="20" y="53"/>
                  </a:lnTo>
                  <a:lnTo>
                    <a:pt x="20" y="54"/>
                  </a:lnTo>
                  <a:lnTo>
                    <a:pt x="20" y="53"/>
                  </a:lnTo>
                  <a:lnTo>
                    <a:pt x="19" y="53"/>
                  </a:lnTo>
                  <a:lnTo>
                    <a:pt x="18" y="53"/>
                  </a:lnTo>
                  <a:lnTo>
                    <a:pt x="19" y="53"/>
                  </a:lnTo>
                  <a:lnTo>
                    <a:pt x="18" y="53"/>
                  </a:lnTo>
                  <a:lnTo>
                    <a:pt x="18" y="52"/>
                  </a:lnTo>
                  <a:lnTo>
                    <a:pt x="19" y="52"/>
                  </a:lnTo>
                  <a:lnTo>
                    <a:pt x="18" y="52"/>
                  </a:lnTo>
                  <a:lnTo>
                    <a:pt x="18" y="53"/>
                  </a:lnTo>
                  <a:lnTo>
                    <a:pt x="16" y="53"/>
                  </a:lnTo>
                  <a:lnTo>
                    <a:pt x="16" y="52"/>
                  </a:lnTo>
                  <a:lnTo>
                    <a:pt x="15" y="52"/>
                  </a:lnTo>
                  <a:lnTo>
                    <a:pt x="14" y="52"/>
                  </a:lnTo>
                  <a:lnTo>
                    <a:pt x="14" y="51"/>
                  </a:lnTo>
                  <a:lnTo>
                    <a:pt x="13" y="51"/>
                  </a:lnTo>
                  <a:lnTo>
                    <a:pt x="13" y="52"/>
                  </a:lnTo>
                  <a:lnTo>
                    <a:pt x="12" y="52"/>
                  </a:lnTo>
                  <a:lnTo>
                    <a:pt x="12" y="51"/>
                  </a:lnTo>
                  <a:lnTo>
                    <a:pt x="11" y="51"/>
                  </a:lnTo>
                  <a:lnTo>
                    <a:pt x="11" y="49"/>
                  </a:lnTo>
                  <a:lnTo>
                    <a:pt x="11" y="51"/>
                  </a:lnTo>
                  <a:lnTo>
                    <a:pt x="9" y="51"/>
                  </a:lnTo>
                  <a:lnTo>
                    <a:pt x="11" y="51"/>
                  </a:lnTo>
                  <a:lnTo>
                    <a:pt x="9" y="51"/>
                  </a:lnTo>
                  <a:lnTo>
                    <a:pt x="8" y="51"/>
                  </a:lnTo>
                  <a:lnTo>
                    <a:pt x="8" y="49"/>
                  </a:lnTo>
                  <a:lnTo>
                    <a:pt x="8" y="51"/>
                  </a:lnTo>
                  <a:lnTo>
                    <a:pt x="7" y="52"/>
                  </a:lnTo>
                  <a:lnTo>
                    <a:pt x="6" y="52"/>
                  </a:lnTo>
                  <a:lnTo>
                    <a:pt x="6" y="51"/>
                  </a:lnTo>
                  <a:lnTo>
                    <a:pt x="6" y="49"/>
                  </a:lnTo>
                  <a:lnTo>
                    <a:pt x="5" y="48"/>
                  </a:lnTo>
                  <a:lnTo>
                    <a:pt x="4" y="48"/>
                  </a:lnTo>
                  <a:lnTo>
                    <a:pt x="2" y="48"/>
                  </a:lnTo>
                  <a:lnTo>
                    <a:pt x="1" y="47"/>
                  </a:lnTo>
                  <a:lnTo>
                    <a:pt x="6" y="46"/>
                  </a:lnTo>
                  <a:lnTo>
                    <a:pt x="6" y="47"/>
                  </a:lnTo>
                  <a:lnTo>
                    <a:pt x="7" y="47"/>
                  </a:lnTo>
                  <a:lnTo>
                    <a:pt x="7" y="46"/>
                  </a:lnTo>
                  <a:lnTo>
                    <a:pt x="6" y="45"/>
                  </a:lnTo>
                  <a:lnTo>
                    <a:pt x="5" y="45"/>
                  </a:lnTo>
                  <a:lnTo>
                    <a:pt x="4" y="45"/>
                  </a:lnTo>
                  <a:lnTo>
                    <a:pt x="4" y="46"/>
                  </a:lnTo>
                  <a:lnTo>
                    <a:pt x="4" y="45"/>
                  </a:lnTo>
                  <a:lnTo>
                    <a:pt x="4" y="44"/>
                  </a:lnTo>
                  <a:lnTo>
                    <a:pt x="2" y="44"/>
                  </a:lnTo>
                  <a:lnTo>
                    <a:pt x="4" y="44"/>
                  </a:lnTo>
                  <a:lnTo>
                    <a:pt x="4" y="42"/>
                  </a:lnTo>
                  <a:lnTo>
                    <a:pt x="4" y="44"/>
                  </a:lnTo>
                  <a:lnTo>
                    <a:pt x="5" y="44"/>
                  </a:lnTo>
                  <a:lnTo>
                    <a:pt x="6" y="44"/>
                  </a:lnTo>
                  <a:lnTo>
                    <a:pt x="7" y="44"/>
                  </a:lnTo>
                  <a:lnTo>
                    <a:pt x="8" y="44"/>
                  </a:lnTo>
                  <a:lnTo>
                    <a:pt x="7" y="44"/>
                  </a:lnTo>
                  <a:lnTo>
                    <a:pt x="6" y="44"/>
                  </a:lnTo>
                  <a:lnTo>
                    <a:pt x="7" y="44"/>
                  </a:lnTo>
                  <a:lnTo>
                    <a:pt x="7" y="42"/>
                  </a:lnTo>
                  <a:lnTo>
                    <a:pt x="6" y="42"/>
                  </a:lnTo>
                  <a:lnTo>
                    <a:pt x="5" y="44"/>
                  </a:lnTo>
                  <a:lnTo>
                    <a:pt x="5" y="42"/>
                  </a:lnTo>
                  <a:lnTo>
                    <a:pt x="6" y="42"/>
                  </a:lnTo>
                  <a:lnTo>
                    <a:pt x="5" y="42"/>
                  </a:lnTo>
                  <a:lnTo>
                    <a:pt x="5" y="44"/>
                  </a:lnTo>
                  <a:lnTo>
                    <a:pt x="5" y="42"/>
                  </a:lnTo>
                  <a:lnTo>
                    <a:pt x="6" y="42"/>
                  </a:lnTo>
                  <a:lnTo>
                    <a:pt x="7" y="41"/>
                  </a:lnTo>
                  <a:lnTo>
                    <a:pt x="6" y="41"/>
                  </a:lnTo>
                  <a:lnTo>
                    <a:pt x="6" y="42"/>
                  </a:lnTo>
                  <a:lnTo>
                    <a:pt x="5" y="42"/>
                  </a:lnTo>
                  <a:lnTo>
                    <a:pt x="4" y="42"/>
                  </a:lnTo>
                  <a:lnTo>
                    <a:pt x="2" y="42"/>
                  </a:lnTo>
                  <a:lnTo>
                    <a:pt x="1" y="42"/>
                  </a:lnTo>
                  <a:lnTo>
                    <a:pt x="0" y="42"/>
                  </a:lnTo>
                  <a:lnTo>
                    <a:pt x="1" y="42"/>
                  </a:lnTo>
                  <a:lnTo>
                    <a:pt x="1" y="41"/>
                  </a:lnTo>
                  <a:lnTo>
                    <a:pt x="0" y="41"/>
                  </a:lnTo>
                  <a:lnTo>
                    <a:pt x="1" y="41"/>
                  </a:lnTo>
                  <a:lnTo>
                    <a:pt x="1" y="40"/>
                  </a:lnTo>
                  <a:lnTo>
                    <a:pt x="1" y="39"/>
                  </a:lnTo>
                  <a:lnTo>
                    <a:pt x="1" y="40"/>
                  </a:lnTo>
                  <a:lnTo>
                    <a:pt x="1" y="39"/>
                  </a:lnTo>
                  <a:lnTo>
                    <a:pt x="2" y="39"/>
                  </a:lnTo>
                  <a:lnTo>
                    <a:pt x="4" y="39"/>
                  </a:lnTo>
                  <a:lnTo>
                    <a:pt x="2" y="39"/>
                  </a:lnTo>
                  <a:lnTo>
                    <a:pt x="4" y="39"/>
                  </a:lnTo>
                  <a:lnTo>
                    <a:pt x="5" y="39"/>
                  </a:lnTo>
                  <a:lnTo>
                    <a:pt x="5" y="38"/>
                  </a:lnTo>
                  <a:lnTo>
                    <a:pt x="6" y="38"/>
                  </a:lnTo>
                  <a:lnTo>
                    <a:pt x="5" y="38"/>
                  </a:lnTo>
                  <a:lnTo>
                    <a:pt x="6" y="38"/>
                  </a:lnTo>
                  <a:lnTo>
                    <a:pt x="7" y="38"/>
                  </a:lnTo>
                  <a:lnTo>
                    <a:pt x="8" y="38"/>
                  </a:lnTo>
                  <a:lnTo>
                    <a:pt x="9" y="38"/>
                  </a:lnTo>
                  <a:lnTo>
                    <a:pt x="9" y="37"/>
                  </a:lnTo>
                  <a:lnTo>
                    <a:pt x="11" y="37"/>
                  </a:lnTo>
                  <a:lnTo>
                    <a:pt x="11" y="38"/>
                  </a:lnTo>
                  <a:lnTo>
                    <a:pt x="12" y="38"/>
                  </a:lnTo>
                  <a:lnTo>
                    <a:pt x="12" y="39"/>
                  </a:lnTo>
                  <a:lnTo>
                    <a:pt x="12" y="38"/>
                  </a:lnTo>
                  <a:lnTo>
                    <a:pt x="13" y="38"/>
                  </a:lnTo>
                  <a:lnTo>
                    <a:pt x="12" y="38"/>
                  </a:lnTo>
                  <a:lnTo>
                    <a:pt x="13" y="38"/>
                  </a:lnTo>
                  <a:lnTo>
                    <a:pt x="13" y="37"/>
                  </a:lnTo>
                  <a:lnTo>
                    <a:pt x="13" y="38"/>
                  </a:lnTo>
                  <a:lnTo>
                    <a:pt x="13" y="37"/>
                  </a:lnTo>
                  <a:lnTo>
                    <a:pt x="14" y="37"/>
                  </a:lnTo>
                  <a:lnTo>
                    <a:pt x="14" y="38"/>
                  </a:lnTo>
                  <a:lnTo>
                    <a:pt x="15" y="38"/>
                  </a:lnTo>
                  <a:lnTo>
                    <a:pt x="15" y="37"/>
                  </a:lnTo>
                  <a:lnTo>
                    <a:pt x="16" y="37"/>
                  </a:lnTo>
                  <a:lnTo>
                    <a:pt x="15" y="37"/>
                  </a:lnTo>
                  <a:lnTo>
                    <a:pt x="15" y="35"/>
                  </a:lnTo>
                  <a:lnTo>
                    <a:pt x="16" y="35"/>
                  </a:lnTo>
                  <a:lnTo>
                    <a:pt x="18" y="35"/>
                  </a:lnTo>
                  <a:lnTo>
                    <a:pt x="19" y="35"/>
                  </a:lnTo>
                  <a:lnTo>
                    <a:pt x="20" y="35"/>
                  </a:lnTo>
                  <a:lnTo>
                    <a:pt x="20" y="34"/>
                  </a:lnTo>
                  <a:lnTo>
                    <a:pt x="20" y="35"/>
                  </a:lnTo>
                  <a:lnTo>
                    <a:pt x="21" y="35"/>
                  </a:lnTo>
                  <a:lnTo>
                    <a:pt x="21" y="34"/>
                  </a:lnTo>
                  <a:lnTo>
                    <a:pt x="21" y="35"/>
                  </a:lnTo>
                  <a:lnTo>
                    <a:pt x="22" y="35"/>
                  </a:lnTo>
                  <a:lnTo>
                    <a:pt x="21" y="35"/>
                  </a:lnTo>
                  <a:lnTo>
                    <a:pt x="21" y="37"/>
                  </a:lnTo>
                  <a:lnTo>
                    <a:pt x="21" y="35"/>
                  </a:lnTo>
                  <a:lnTo>
                    <a:pt x="22" y="35"/>
                  </a:lnTo>
                  <a:lnTo>
                    <a:pt x="22" y="37"/>
                  </a:lnTo>
                  <a:lnTo>
                    <a:pt x="23" y="37"/>
                  </a:lnTo>
                  <a:lnTo>
                    <a:pt x="23" y="38"/>
                  </a:lnTo>
                  <a:lnTo>
                    <a:pt x="25" y="38"/>
                  </a:lnTo>
                  <a:lnTo>
                    <a:pt x="25" y="39"/>
                  </a:lnTo>
                  <a:lnTo>
                    <a:pt x="26" y="39"/>
                  </a:lnTo>
                  <a:lnTo>
                    <a:pt x="26" y="40"/>
                  </a:lnTo>
                  <a:lnTo>
                    <a:pt x="27" y="40"/>
                  </a:lnTo>
                  <a:lnTo>
                    <a:pt x="28" y="39"/>
                  </a:lnTo>
                  <a:lnTo>
                    <a:pt x="29" y="39"/>
                  </a:lnTo>
                  <a:lnTo>
                    <a:pt x="29" y="38"/>
                  </a:lnTo>
                  <a:lnTo>
                    <a:pt x="30" y="38"/>
                  </a:lnTo>
                  <a:lnTo>
                    <a:pt x="31" y="38"/>
                  </a:lnTo>
                  <a:lnTo>
                    <a:pt x="30" y="39"/>
                  </a:lnTo>
                  <a:lnTo>
                    <a:pt x="31" y="39"/>
                  </a:lnTo>
                  <a:lnTo>
                    <a:pt x="31" y="38"/>
                  </a:lnTo>
                  <a:lnTo>
                    <a:pt x="31" y="39"/>
                  </a:lnTo>
                  <a:lnTo>
                    <a:pt x="33" y="39"/>
                  </a:lnTo>
                  <a:lnTo>
                    <a:pt x="34" y="38"/>
                  </a:lnTo>
                  <a:lnTo>
                    <a:pt x="34" y="39"/>
                  </a:lnTo>
                  <a:lnTo>
                    <a:pt x="35" y="39"/>
                  </a:lnTo>
                  <a:lnTo>
                    <a:pt x="35" y="40"/>
                  </a:lnTo>
                  <a:lnTo>
                    <a:pt x="35" y="39"/>
                  </a:lnTo>
                  <a:lnTo>
                    <a:pt x="34" y="38"/>
                  </a:lnTo>
                  <a:lnTo>
                    <a:pt x="35" y="38"/>
                  </a:lnTo>
                  <a:lnTo>
                    <a:pt x="36" y="38"/>
                  </a:lnTo>
                  <a:lnTo>
                    <a:pt x="37" y="38"/>
                  </a:lnTo>
                  <a:lnTo>
                    <a:pt x="36" y="38"/>
                  </a:lnTo>
                  <a:lnTo>
                    <a:pt x="36" y="39"/>
                  </a:lnTo>
                  <a:lnTo>
                    <a:pt x="37" y="39"/>
                  </a:lnTo>
                  <a:lnTo>
                    <a:pt x="38" y="39"/>
                  </a:lnTo>
                  <a:lnTo>
                    <a:pt x="40" y="39"/>
                  </a:lnTo>
                  <a:lnTo>
                    <a:pt x="40" y="38"/>
                  </a:lnTo>
                  <a:lnTo>
                    <a:pt x="41" y="39"/>
                  </a:lnTo>
                  <a:lnTo>
                    <a:pt x="42" y="38"/>
                  </a:lnTo>
                  <a:lnTo>
                    <a:pt x="43" y="38"/>
                  </a:lnTo>
                  <a:lnTo>
                    <a:pt x="42" y="38"/>
                  </a:lnTo>
                  <a:lnTo>
                    <a:pt x="41" y="38"/>
                  </a:lnTo>
                  <a:lnTo>
                    <a:pt x="41" y="37"/>
                  </a:lnTo>
                  <a:lnTo>
                    <a:pt x="40" y="37"/>
                  </a:lnTo>
                  <a:lnTo>
                    <a:pt x="40" y="35"/>
                  </a:lnTo>
                  <a:lnTo>
                    <a:pt x="40" y="34"/>
                  </a:lnTo>
                  <a:lnTo>
                    <a:pt x="41" y="34"/>
                  </a:lnTo>
                  <a:lnTo>
                    <a:pt x="41" y="33"/>
                  </a:lnTo>
                  <a:lnTo>
                    <a:pt x="40" y="33"/>
                  </a:lnTo>
                  <a:lnTo>
                    <a:pt x="41" y="33"/>
                  </a:lnTo>
                  <a:lnTo>
                    <a:pt x="41" y="32"/>
                  </a:lnTo>
                  <a:lnTo>
                    <a:pt x="40" y="32"/>
                  </a:lnTo>
                  <a:lnTo>
                    <a:pt x="40" y="33"/>
                  </a:lnTo>
                  <a:lnTo>
                    <a:pt x="40" y="32"/>
                  </a:lnTo>
                  <a:lnTo>
                    <a:pt x="40" y="31"/>
                  </a:lnTo>
                  <a:lnTo>
                    <a:pt x="40" y="30"/>
                  </a:lnTo>
                  <a:lnTo>
                    <a:pt x="41" y="30"/>
                  </a:lnTo>
                  <a:lnTo>
                    <a:pt x="40" y="30"/>
                  </a:lnTo>
                  <a:lnTo>
                    <a:pt x="38" y="28"/>
                  </a:lnTo>
                  <a:lnTo>
                    <a:pt x="38" y="27"/>
                  </a:lnTo>
                  <a:lnTo>
                    <a:pt x="37" y="27"/>
                  </a:lnTo>
                  <a:lnTo>
                    <a:pt x="37" y="26"/>
                  </a:lnTo>
                  <a:lnTo>
                    <a:pt x="37" y="25"/>
                  </a:lnTo>
                  <a:lnTo>
                    <a:pt x="36" y="25"/>
                  </a:lnTo>
                  <a:lnTo>
                    <a:pt x="36" y="24"/>
                  </a:lnTo>
                  <a:lnTo>
                    <a:pt x="37" y="24"/>
                  </a:lnTo>
                  <a:lnTo>
                    <a:pt x="37" y="23"/>
                  </a:lnTo>
                  <a:lnTo>
                    <a:pt x="36" y="23"/>
                  </a:lnTo>
                  <a:lnTo>
                    <a:pt x="36" y="21"/>
                  </a:lnTo>
                  <a:lnTo>
                    <a:pt x="37" y="21"/>
                  </a:lnTo>
                  <a:lnTo>
                    <a:pt x="37" y="23"/>
                  </a:lnTo>
                  <a:lnTo>
                    <a:pt x="38" y="23"/>
                  </a:lnTo>
                  <a:lnTo>
                    <a:pt x="40" y="23"/>
                  </a:lnTo>
                  <a:lnTo>
                    <a:pt x="41" y="23"/>
                  </a:lnTo>
                  <a:lnTo>
                    <a:pt x="42" y="21"/>
                  </a:lnTo>
                  <a:lnTo>
                    <a:pt x="44" y="23"/>
                  </a:lnTo>
                  <a:lnTo>
                    <a:pt x="44" y="24"/>
                  </a:lnTo>
                  <a:lnTo>
                    <a:pt x="43" y="24"/>
                  </a:lnTo>
                  <a:lnTo>
                    <a:pt x="43" y="25"/>
                  </a:lnTo>
                  <a:lnTo>
                    <a:pt x="44" y="25"/>
                  </a:lnTo>
                  <a:lnTo>
                    <a:pt x="44" y="26"/>
                  </a:lnTo>
                  <a:lnTo>
                    <a:pt x="45" y="26"/>
                  </a:lnTo>
                  <a:lnTo>
                    <a:pt x="45" y="27"/>
                  </a:lnTo>
                  <a:lnTo>
                    <a:pt x="44" y="27"/>
                  </a:lnTo>
                  <a:lnTo>
                    <a:pt x="45" y="27"/>
                  </a:lnTo>
                  <a:lnTo>
                    <a:pt x="47" y="27"/>
                  </a:lnTo>
                  <a:lnTo>
                    <a:pt x="48" y="27"/>
                  </a:lnTo>
                  <a:lnTo>
                    <a:pt x="49" y="27"/>
                  </a:lnTo>
                  <a:lnTo>
                    <a:pt x="51" y="27"/>
                  </a:lnTo>
                  <a:lnTo>
                    <a:pt x="52" y="27"/>
                  </a:lnTo>
                  <a:lnTo>
                    <a:pt x="54" y="27"/>
                  </a:lnTo>
                  <a:lnTo>
                    <a:pt x="55" y="27"/>
                  </a:lnTo>
                  <a:lnTo>
                    <a:pt x="56" y="28"/>
                  </a:lnTo>
                  <a:lnTo>
                    <a:pt x="57" y="28"/>
                  </a:lnTo>
                  <a:lnTo>
                    <a:pt x="58" y="28"/>
                  </a:lnTo>
                  <a:lnTo>
                    <a:pt x="59" y="27"/>
                  </a:lnTo>
                  <a:lnTo>
                    <a:pt x="61" y="27"/>
                  </a:lnTo>
                  <a:lnTo>
                    <a:pt x="61" y="26"/>
                  </a:lnTo>
                  <a:lnTo>
                    <a:pt x="63" y="26"/>
                  </a:lnTo>
                  <a:lnTo>
                    <a:pt x="64" y="26"/>
                  </a:lnTo>
                  <a:lnTo>
                    <a:pt x="65" y="26"/>
                  </a:lnTo>
                  <a:lnTo>
                    <a:pt x="65" y="25"/>
                  </a:lnTo>
                  <a:lnTo>
                    <a:pt x="64" y="26"/>
                  </a:lnTo>
                  <a:lnTo>
                    <a:pt x="63" y="26"/>
                  </a:lnTo>
                  <a:lnTo>
                    <a:pt x="62" y="26"/>
                  </a:lnTo>
                  <a:lnTo>
                    <a:pt x="62" y="25"/>
                  </a:lnTo>
                  <a:lnTo>
                    <a:pt x="61" y="25"/>
                  </a:lnTo>
                  <a:lnTo>
                    <a:pt x="61" y="24"/>
                  </a:lnTo>
                  <a:lnTo>
                    <a:pt x="62" y="23"/>
                  </a:lnTo>
                  <a:lnTo>
                    <a:pt x="62" y="21"/>
                  </a:lnTo>
                  <a:lnTo>
                    <a:pt x="64" y="21"/>
                  </a:lnTo>
                  <a:lnTo>
                    <a:pt x="64" y="20"/>
                  </a:lnTo>
                  <a:lnTo>
                    <a:pt x="65" y="20"/>
                  </a:lnTo>
                  <a:lnTo>
                    <a:pt x="66" y="20"/>
                  </a:lnTo>
                  <a:lnTo>
                    <a:pt x="66" y="19"/>
                  </a:lnTo>
                  <a:lnTo>
                    <a:pt x="68" y="19"/>
                  </a:lnTo>
                  <a:lnTo>
                    <a:pt x="69" y="19"/>
                  </a:lnTo>
                  <a:lnTo>
                    <a:pt x="73" y="18"/>
                  </a:lnTo>
                  <a:lnTo>
                    <a:pt x="75" y="17"/>
                  </a:lnTo>
                  <a:lnTo>
                    <a:pt x="76" y="17"/>
                  </a:lnTo>
                  <a:lnTo>
                    <a:pt x="77" y="16"/>
                  </a:lnTo>
                  <a:lnTo>
                    <a:pt x="77" y="14"/>
                  </a:lnTo>
                  <a:lnTo>
                    <a:pt x="78" y="14"/>
                  </a:lnTo>
                  <a:lnTo>
                    <a:pt x="79" y="14"/>
                  </a:lnTo>
                  <a:lnTo>
                    <a:pt x="78" y="13"/>
                  </a:lnTo>
                  <a:lnTo>
                    <a:pt x="78" y="12"/>
                  </a:lnTo>
                  <a:lnTo>
                    <a:pt x="78" y="11"/>
                  </a:lnTo>
                  <a:lnTo>
                    <a:pt x="78" y="10"/>
                  </a:lnTo>
                  <a:lnTo>
                    <a:pt x="78" y="9"/>
                  </a:lnTo>
                  <a:lnTo>
                    <a:pt x="78" y="7"/>
                  </a:lnTo>
                  <a:lnTo>
                    <a:pt x="78" y="6"/>
                  </a:lnTo>
                  <a:lnTo>
                    <a:pt x="78" y="5"/>
                  </a:lnTo>
                  <a:lnTo>
                    <a:pt x="78" y="4"/>
                  </a:lnTo>
                  <a:lnTo>
                    <a:pt x="79" y="4"/>
                  </a:lnTo>
                  <a:lnTo>
                    <a:pt x="79" y="3"/>
                  </a:lnTo>
                  <a:lnTo>
                    <a:pt x="80" y="3"/>
                  </a:lnTo>
                  <a:lnTo>
                    <a:pt x="83" y="3"/>
                  </a:lnTo>
                  <a:lnTo>
                    <a:pt x="83" y="2"/>
                  </a:lnTo>
                  <a:lnTo>
                    <a:pt x="85" y="2"/>
                  </a:lnTo>
                  <a:lnTo>
                    <a:pt x="87" y="2"/>
                  </a:lnTo>
                  <a:lnTo>
                    <a:pt x="89" y="2"/>
                  </a:lnTo>
                  <a:lnTo>
                    <a:pt x="90" y="0"/>
                  </a:lnTo>
                  <a:lnTo>
                    <a:pt x="90" y="2"/>
                  </a:lnTo>
                  <a:close/>
                  <a:moveTo>
                    <a:pt x="84" y="135"/>
                  </a:moveTo>
                  <a:lnTo>
                    <a:pt x="85" y="135"/>
                  </a:lnTo>
                  <a:lnTo>
                    <a:pt x="84" y="135"/>
                  </a:lnTo>
                  <a:lnTo>
                    <a:pt x="84" y="133"/>
                  </a:lnTo>
                  <a:lnTo>
                    <a:pt x="84" y="135"/>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17" name="Freeform 1181">
              <a:extLst>
                <a:ext uri="{FF2B5EF4-FFF2-40B4-BE49-F238E27FC236}">
                  <a16:creationId xmlns:a16="http://schemas.microsoft.com/office/drawing/2014/main" id="{1D08FEE8-7A04-4789-9EDB-0234F989D5B8}"/>
                </a:ext>
              </a:extLst>
            </p:cNvPr>
            <p:cNvSpPr>
              <a:spLocks/>
            </p:cNvSpPr>
            <p:nvPr/>
          </p:nvSpPr>
          <p:spPr bwMode="auto">
            <a:xfrm>
              <a:off x="5704931" y="2063789"/>
              <a:ext cx="4007" cy="5342"/>
            </a:xfrm>
            <a:custGeom>
              <a:avLst/>
              <a:gdLst>
                <a:gd name="T0" fmla="*/ 1 w 3"/>
                <a:gd name="T1" fmla="*/ 1 h 4"/>
                <a:gd name="T2" fmla="*/ 1 w 3"/>
                <a:gd name="T3" fmla="*/ 1 h 4"/>
                <a:gd name="T4" fmla="*/ 1 w 3"/>
                <a:gd name="T5" fmla="*/ 1 h 4"/>
                <a:gd name="T6" fmla="*/ 2 w 3"/>
                <a:gd name="T7" fmla="*/ 1 h 4"/>
                <a:gd name="T8" fmla="*/ 2 w 3"/>
                <a:gd name="T9" fmla="*/ 1 h 4"/>
                <a:gd name="T10" fmla="*/ 2 w 3"/>
                <a:gd name="T11" fmla="*/ 1 h 4"/>
                <a:gd name="T12" fmla="*/ 2 w 3"/>
                <a:gd name="T13" fmla="*/ 1 h 4"/>
                <a:gd name="T14" fmla="*/ 2 w 3"/>
                <a:gd name="T15" fmla="*/ 1 h 4"/>
                <a:gd name="T16" fmla="*/ 2 w 3"/>
                <a:gd name="T17" fmla="*/ 1 h 4"/>
                <a:gd name="T18" fmla="*/ 2 w 3"/>
                <a:gd name="T19" fmla="*/ 2 h 4"/>
                <a:gd name="T20" fmla="*/ 2 w 3"/>
                <a:gd name="T21" fmla="*/ 2 h 4"/>
                <a:gd name="T22" fmla="*/ 2 w 3"/>
                <a:gd name="T23" fmla="*/ 2 h 4"/>
                <a:gd name="T24" fmla="*/ 3 w 3"/>
                <a:gd name="T25" fmla="*/ 2 h 4"/>
                <a:gd name="T26" fmla="*/ 2 w 3"/>
                <a:gd name="T27" fmla="*/ 2 h 4"/>
                <a:gd name="T28" fmla="*/ 3 w 3"/>
                <a:gd name="T29" fmla="*/ 2 h 4"/>
                <a:gd name="T30" fmla="*/ 3 w 3"/>
                <a:gd name="T31" fmla="*/ 2 h 4"/>
                <a:gd name="T32" fmla="*/ 2 w 3"/>
                <a:gd name="T33" fmla="*/ 2 h 4"/>
                <a:gd name="T34" fmla="*/ 2 w 3"/>
                <a:gd name="T35" fmla="*/ 2 h 4"/>
                <a:gd name="T36" fmla="*/ 2 w 3"/>
                <a:gd name="T37" fmla="*/ 2 h 4"/>
                <a:gd name="T38" fmla="*/ 2 w 3"/>
                <a:gd name="T39" fmla="*/ 4 h 4"/>
                <a:gd name="T40" fmla="*/ 2 w 3"/>
                <a:gd name="T41" fmla="*/ 4 h 4"/>
                <a:gd name="T42" fmla="*/ 2 w 3"/>
                <a:gd name="T43" fmla="*/ 4 h 4"/>
                <a:gd name="T44" fmla="*/ 3 w 3"/>
                <a:gd name="T45" fmla="*/ 4 h 4"/>
                <a:gd name="T46" fmla="*/ 3 w 3"/>
                <a:gd name="T47" fmla="*/ 4 h 4"/>
                <a:gd name="T48" fmla="*/ 3 w 3"/>
                <a:gd name="T49" fmla="*/ 4 h 4"/>
                <a:gd name="T50" fmla="*/ 3 w 3"/>
                <a:gd name="T51" fmla="*/ 4 h 4"/>
                <a:gd name="T52" fmla="*/ 2 w 3"/>
                <a:gd name="T53" fmla="*/ 4 h 4"/>
                <a:gd name="T54" fmla="*/ 1 w 3"/>
                <a:gd name="T55" fmla="*/ 2 h 4"/>
                <a:gd name="T56" fmla="*/ 1 w 3"/>
                <a:gd name="T57" fmla="*/ 2 h 4"/>
                <a:gd name="T58" fmla="*/ 0 w 3"/>
                <a:gd name="T59" fmla="*/ 1 h 4"/>
                <a:gd name="T60" fmla="*/ 0 w 3"/>
                <a:gd name="T61" fmla="*/ 1 h 4"/>
                <a:gd name="T62" fmla="*/ 0 w 3"/>
                <a:gd name="T63" fmla="*/ 0 h 4"/>
                <a:gd name="T64" fmla="*/ 0 w 3"/>
                <a:gd name="T65" fmla="*/ 0 h 4"/>
                <a:gd name="T66" fmla="*/ 1 w 3"/>
                <a:gd name="T67" fmla="*/ 0 h 4"/>
                <a:gd name="T68" fmla="*/ 1 w 3"/>
                <a:gd name="T69" fmla="*/ 0 h 4"/>
                <a:gd name="T70" fmla="*/ 1 w 3"/>
                <a:gd name="T71" fmla="*/ 0 h 4"/>
                <a:gd name="T72" fmla="*/ 1 w 3"/>
                <a:gd name="T7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 h="4">
                  <a:moveTo>
                    <a:pt x="1" y="1"/>
                  </a:moveTo>
                  <a:lnTo>
                    <a:pt x="1" y="1"/>
                  </a:lnTo>
                  <a:lnTo>
                    <a:pt x="1" y="1"/>
                  </a:lnTo>
                  <a:lnTo>
                    <a:pt x="1" y="1"/>
                  </a:lnTo>
                  <a:lnTo>
                    <a:pt x="1" y="1"/>
                  </a:lnTo>
                  <a:lnTo>
                    <a:pt x="1" y="1"/>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2"/>
                  </a:lnTo>
                  <a:lnTo>
                    <a:pt x="2" y="2"/>
                  </a:lnTo>
                  <a:lnTo>
                    <a:pt x="2" y="2"/>
                  </a:lnTo>
                  <a:lnTo>
                    <a:pt x="2" y="2"/>
                  </a:lnTo>
                  <a:lnTo>
                    <a:pt x="2" y="2"/>
                  </a:lnTo>
                  <a:lnTo>
                    <a:pt x="2" y="2"/>
                  </a:lnTo>
                  <a:lnTo>
                    <a:pt x="3" y="2"/>
                  </a:lnTo>
                  <a:lnTo>
                    <a:pt x="3" y="2"/>
                  </a:lnTo>
                  <a:lnTo>
                    <a:pt x="3" y="2"/>
                  </a:lnTo>
                  <a:lnTo>
                    <a:pt x="2" y="2"/>
                  </a:lnTo>
                  <a:lnTo>
                    <a:pt x="2" y="2"/>
                  </a:lnTo>
                  <a:lnTo>
                    <a:pt x="3" y="2"/>
                  </a:lnTo>
                  <a:lnTo>
                    <a:pt x="3" y="2"/>
                  </a:lnTo>
                  <a:lnTo>
                    <a:pt x="3" y="2"/>
                  </a:lnTo>
                  <a:lnTo>
                    <a:pt x="3" y="2"/>
                  </a:lnTo>
                  <a:lnTo>
                    <a:pt x="2" y="2"/>
                  </a:lnTo>
                  <a:lnTo>
                    <a:pt x="2" y="2"/>
                  </a:lnTo>
                  <a:lnTo>
                    <a:pt x="2" y="2"/>
                  </a:lnTo>
                  <a:lnTo>
                    <a:pt x="2" y="2"/>
                  </a:lnTo>
                  <a:lnTo>
                    <a:pt x="2" y="2"/>
                  </a:lnTo>
                  <a:lnTo>
                    <a:pt x="2" y="2"/>
                  </a:lnTo>
                  <a:lnTo>
                    <a:pt x="2" y="4"/>
                  </a:lnTo>
                  <a:lnTo>
                    <a:pt x="2" y="4"/>
                  </a:lnTo>
                  <a:lnTo>
                    <a:pt x="2" y="4"/>
                  </a:lnTo>
                  <a:lnTo>
                    <a:pt x="2" y="4"/>
                  </a:lnTo>
                  <a:lnTo>
                    <a:pt x="2" y="4"/>
                  </a:lnTo>
                  <a:lnTo>
                    <a:pt x="3" y="4"/>
                  </a:lnTo>
                  <a:lnTo>
                    <a:pt x="3" y="4"/>
                  </a:lnTo>
                  <a:lnTo>
                    <a:pt x="3" y="4"/>
                  </a:lnTo>
                  <a:lnTo>
                    <a:pt x="3" y="4"/>
                  </a:lnTo>
                  <a:lnTo>
                    <a:pt x="3" y="4"/>
                  </a:lnTo>
                  <a:lnTo>
                    <a:pt x="3" y="4"/>
                  </a:lnTo>
                  <a:lnTo>
                    <a:pt x="3" y="4"/>
                  </a:lnTo>
                  <a:lnTo>
                    <a:pt x="3" y="4"/>
                  </a:lnTo>
                  <a:lnTo>
                    <a:pt x="3" y="4"/>
                  </a:lnTo>
                  <a:lnTo>
                    <a:pt x="2" y="4"/>
                  </a:lnTo>
                  <a:lnTo>
                    <a:pt x="1" y="2"/>
                  </a:lnTo>
                  <a:lnTo>
                    <a:pt x="1" y="2"/>
                  </a:lnTo>
                  <a:lnTo>
                    <a:pt x="1" y="2"/>
                  </a:lnTo>
                  <a:lnTo>
                    <a:pt x="1" y="2"/>
                  </a:lnTo>
                  <a:lnTo>
                    <a:pt x="1" y="1"/>
                  </a:lnTo>
                  <a:lnTo>
                    <a:pt x="0" y="1"/>
                  </a:lnTo>
                  <a:lnTo>
                    <a:pt x="0" y="1"/>
                  </a:lnTo>
                  <a:lnTo>
                    <a:pt x="0" y="1"/>
                  </a:lnTo>
                  <a:lnTo>
                    <a:pt x="0" y="0"/>
                  </a:lnTo>
                  <a:lnTo>
                    <a:pt x="0" y="0"/>
                  </a:lnTo>
                  <a:lnTo>
                    <a:pt x="0" y="0"/>
                  </a:lnTo>
                  <a:lnTo>
                    <a:pt x="0" y="0"/>
                  </a:lnTo>
                  <a:lnTo>
                    <a:pt x="0" y="0"/>
                  </a:lnTo>
                  <a:lnTo>
                    <a:pt x="1" y="0"/>
                  </a:lnTo>
                  <a:lnTo>
                    <a:pt x="1" y="0"/>
                  </a:lnTo>
                  <a:lnTo>
                    <a:pt x="1" y="0"/>
                  </a:lnTo>
                  <a:lnTo>
                    <a:pt x="1" y="0"/>
                  </a:lnTo>
                  <a:lnTo>
                    <a:pt x="1" y="0"/>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18" name="Freeform 1182">
              <a:extLst>
                <a:ext uri="{FF2B5EF4-FFF2-40B4-BE49-F238E27FC236}">
                  <a16:creationId xmlns:a16="http://schemas.microsoft.com/office/drawing/2014/main" id="{F7C3D08A-F239-4CBF-9F58-A3C959E2CC83}"/>
                </a:ext>
              </a:extLst>
            </p:cNvPr>
            <p:cNvSpPr>
              <a:spLocks/>
            </p:cNvSpPr>
            <p:nvPr/>
          </p:nvSpPr>
          <p:spPr bwMode="auto">
            <a:xfrm>
              <a:off x="5706266" y="2059782"/>
              <a:ext cx="4007" cy="2671"/>
            </a:xfrm>
            <a:custGeom>
              <a:avLst/>
              <a:gdLst>
                <a:gd name="T0" fmla="*/ 0 w 3"/>
                <a:gd name="T1" fmla="*/ 0 h 2"/>
                <a:gd name="T2" fmla="*/ 1 w 3"/>
                <a:gd name="T3" fmla="*/ 0 h 2"/>
                <a:gd name="T4" fmla="*/ 1 w 3"/>
                <a:gd name="T5" fmla="*/ 0 h 2"/>
                <a:gd name="T6" fmla="*/ 1 w 3"/>
                <a:gd name="T7" fmla="*/ 0 h 2"/>
                <a:gd name="T8" fmla="*/ 1 w 3"/>
                <a:gd name="T9" fmla="*/ 0 h 2"/>
                <a:gd name="T10" fmla="*/ 1 w 3"/>
                <a:gd name="T11" fmla="*/ 0 h 2"/>
                <a:gd name="T12" fmla="*/ 1 w 3"/>
                <a:gd name="T13" fmla="*/ 0 h 2"/>
                <a:gd name="T14" fmla="*/ 2 w 3"/>
                <a:gd name="T15" fmla="*/ 1 h 2"/>
                <a:gd name="T16" fmla="*/ 2 w 3"/>
                <a:gd name="T17" fmla="*/ 1 h 2"/>
                <a:gd name="T18" fmla="*/ 2 w 3"/>
                <a:gd name="T19" fmla="*/ 1 h 2"/>
                <a:gd name="T20" fmla="*/ 3 w 3"/>
                <a:gd name="T21" fmla="*/ 1 h 2"/>
                <a:gd name="T22" fmla="*/ 3 w 3"/>
                <a:gd name="T23" fmla="*/ 1 h 2"/>
                <a:gd name="T24" fmla="*/ 2 w 3"/>
                <a:gd name="T25" fmla="*/ 1 h 2"/>
                <a:gd name="T26" fmla="*/ 2 w 3"/>
                <a:gd name="T27" fmla="*/ 1 h 2"/>
                <a:gd name="T28" fmla="*/ 2 w 3"/>
                <a:gd name="T29" fmla="*/ 1 h 2"/>
                <a:gd name="T30" fmla="*/ 2 w 3"/>
                <a:gd name="T31" fmla="*/ 1 h 2"/>
                <a:gd name="T32" fmla="*/ 2 w 3"/>
                <a:gd name="T33" fmla="*/ 2 h 2"/>
                <a:gd name="T34" fmla="*/ 2 w 3"/>
                <a:gd name="T35" fmla="*/ 2 h 2"/>
                <a:gd name="T36" fmla="*/ 2 w 3"/>
                <a:gd name="T37" fmla="*/ 2 h 2"/>
                <a:gd name="T38" fmla="*/ 2 w 3"/>
                <a:gd name="T39" fmla="*/ 2 h 2"/>
                <a:gd name="T40" fmla="*/ 2 w 3"/>
                <a:gd name="T41" fmla="*/ 2 h 2"/>
                <a:gd name="T42" fmla="*/ 2 w 3"/>
                <a:gd name="T43" fmla="*/ 2 h 2"/>
                <a:gd name="T44" fmla="*/ 1 w 3"/>
                <a:gd name="T45" fmla="*/ 1 h 2"/>
                <a:gd name="T46" fmla="*/ 1 w 3"/>
                <a:gd name="T47" fmla="*/ 1 h 2"/>
                <a:gd name="T48" fmla="*/ 0 w 3"/>
                <a:gd name="T49" fmla="*/ 1 h 2"/>
                <a:gd name="T50" fmla="*/ 0 w 3"/>
                <a:gd name="T51" fmla="*/ 1 h 2"/>
                <a:gd name="T52" fmla="*/ 0 w 3"/>
                <a:gd name="T53" fmla="*/ 1 h 2"/>
                <a:gd name="T54" fmla="*/ 0 w 3"/>
                <a:gd name="T55" fmla="*/ 1 h 2"/>
                <a:gd name="T56" fmla="*/ 0 w 3"/>
                <a:gd name="T57" fmla="*/ 1 h 2"/>
                <a:gd name="T58" fmla="*/ 0 w 3"/>
                <a:gd name="T59" fmla="*/ 0 h 2"/>
                <a:gd name="T60" fmla="*/ 0 w 3"/>
                <a:gd name="T61" fmla="*/ 0 h 2"/>
                <a:gd name="T62" fmla="*/ 0 w 3"/>
                <a:gd name="T63" fmla="*/ 0 h 2"/>
                <a:gd name="T64" fmla="*/ 0 w 3"/>
                <a:gd name="T6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 h="2">
                  <a:moveTo>
                    <a:pt x="0" y="0"/>
                  </a:moveTo>
                  <a:lnTo>
                    <a:pt x="1" y="0"/>
                  </a:lnTo>
                  <a:lnTo>
                    <a:pt x="1" y="0"/>
                  </a:lnTo>
                  <a:lnTo>
                    <a:pt x="1" y="0"/>
                  </a:lnTo>
                  <a:lnTo>
                    <a:pt x="1" y="0"/>
                  </a:lnTo>
                  <a:lnTo>
                    <a:pt x="1" y="0"/>
                  </a:lnTo>
                  <a:lnTo>
                    <a:pt x="1" y="0"/>
                  </a:lnTo>
                  <a:lnTo>
                    <a:pt x="2" y="1"/>
                  </a:lnTo>
                  <a:lnTo>
                    <a:pt x="2" y="1"/>
                  </a:lnTo>
                  <a:lnTo>
                    <a:pt x="2" y="1"/>
                  </a:lnTo>
                  <a:lnTo>
                    <a:pt x="3" y="1"/>
                  </a:lnTo>
                  <a:lnTo>
                    <a:pt x="3" y="1"/>
                  </a:lnTo>
                  <a:lnTo>
                    <a:pt x="2" y="1"/>
                  </a:lnTo>
                  <a:lnTo>
                    <a:pt x="2" y="1"/>
                  </a:lnTo>
                  <a:lnTo>
                    <a:pt x="2" y="1"/>
                  </a:lnTo>
                  <a:lnTo>
                    <a:pt x="2" y="1"/>
                  </a:lnTo>
                  <a:lnTo>
                    <a:pt x="2" y="2"/>
                  </a:lnTo>
                  <a:lnTo>
                    <a:pt x="2" y="2"/>
                  </a:lnTo>
                  <a:lnTo>
                    <a:pt x="2" y="2"/>
                  </a:lnTo>
                  <a:lnTo>
                    <a:pt x="2" y="2"/>
                  </a:lnTo>
                  <a:lnTo>
                    <a:pt x="2" y="2"/>
                  </a:lnTo>
                  <a:lnTo>
                    <a:pt x="2" y="2"/>
                  </a:lnTo>
                  <a:lnTo>
                    <a:pt x="1" y="1"/>
                  </a:lnTo>
                  <a:lnTo>
                    <a:pt x="1" y="1"/>
                  </a:lnTo>
                  <a:lnTo>
                    <a:pt x="0" y="1"/>
                  </a:lnTo>
                  <a:lnTo>
                    <a:pt x="0" y="1"/>
                  </a:lnTo>
                  <a:lnTo>
                    <a:pt x="0" y="1"/>
                  </a:lnTo>
                  <a:lnTo>
                    <a:pt x="0" y="1"/>
                  </a:lnTo>
                  <a:lnTo>
                    <a:pt x="0" y="1"/>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19" name="Freeform 1183">
              <a:extLst>
                <a:ext uri="{FF2B5EF4-FFF2-40B4-BE49-F238E27FC236}">
                  <a16:creationId xmlns:a16="http://schemas.microsoft.com/office/drawing/2014/main" id="{352E5A0A-751F-4DF0-BF27-98877A82C1CC}"/>
                </a:ext>
              </a:extLst>
            </p:cNvPr>
            <p:cNvSpPr>
              <a:spLocks/>
            </p:cNvSpPr>
            <p:nvPr/>
          </p:nvSpPr>
          <p:spPr bwMode="auto">
            <a:xfrm>
              <a:off x="5695582" y="2055776"/>
              <a:ext cx="1336" cy="0"/>
            </a:xfrm>
            <a:custGeom>
              <a:avLst/>
              <a:gdLst>
                <a:gd name="T0" fmla="*/ 1 w 1"/>
                <a:gd name="T1" fmla="*/ 1 w 1"/>
                <a:gd name="T2" fmla="*/ 0 w 1"/>
                <a:gd name="T3" fmla="*/ 0 w 1"/>
                <a:gd name="T4" fmla="*/ 0 w 1"/>
                <a:gd name="T5" fmla="*/ 1 w 1"/>
                <a:gd name="T6" fmla="*/ 1 w 1"/>
                <a:gd name="T7" fmla="*/ 1 w 1"/>
                <a:gd name="T8" fmla="*/ 1 w 1"/>
                <a:gd name="T9"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1">
                  <a:moveTo>
                    <a:pt x="1" y="0"/>
                  </a:moveTo>
                  <a:lnTo>
                    <a:pt x="1" y="0"/>
                  </a:lnTo>
                  <a:lnTo>
                    <a:pt x="0" y="0"/>
                  </a:lnTo>
                  <a:lnTo>
                    <a:pt x="0" y="0"/>
                  </a:lnTo>
                  <a:lnTo>
                    <a:pt x="0"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20" name="Freeform 1184">
              <a:extLst>
                <a:ext uri="{FF2B5EF4-FFF2-40B4-BE49-F238E27FC236}">
                  <a16:creationId xmlns:a16="http://schemas.microsoft.com/office/drawing/2014/main" id="{DB376A54-2F3E-43A1-826A-0DCF84A2B4DC}"/>
                </a:ext>
              </a:extLst>
            </p:cNvPr>
            <p:cNvSpPr>
              <a:spLocks/>
            </p:cNvSpPr>
            <p:nvPr/>
          </p:nvSpPr>
          <p:spPr bwMode="auto">
            <a:xfrm>
              <a:off x="5698253" y="2054440"/>
              <a:ext cx="6678" cy="2671"/>
            </a:xfrm>
            <a:custGeom>
              <a:avLst/>
              <a:gdLst>
                <a:gd name="T0" fmla="*/ 3 w 5"/>
                <a:gd name="T1" fmla="*/ 0 h 2"/>
                <a:gd name="T2" fmla="*/ 3 w 5"/>
                <a:gd name="T3" fmla="*/ 0 h 2"/>
                <a:gd name="T4" fmla="*/ 3 w 5"/>
                <a:gd name="T5" fmla="*/ 1 h 2"/>
                <a:gd name="T6" fmla="*/ 3 w 5"/>
                <a:gd name="T7" fmla="*/ 1 h 2"/>
                <a:gd name="T8" fmla="*/ 3 w 5"/>
                <a:gd name="T9" fmla="*/ 1 h 2"/>
                <a:gd name="T10" fmla="*/ 5 w 5"/>
                <a:gd name="T11" fmla="*/ 1 h 2"/>
                <a:gd name="T12" fmla="*/ 5 w 5"/>
                <a:gd name="T13" fmla="*/ 1 h 2"/>
                <a:gd name="T14" fmla="*/ 5 w 5"/>
                <a:gd name="T15" fmla="*/ 1 h 2"/>
                <a:gd name="T16" fmla="*/ 5 w 5"/>
                <a:gd name="T17" fmla="*/ 1 h 2"/>
                <a:gd name="T18" fmla="*/ 3 w 5"/>
                <a:gd name="T19" fmla="*/ 1 h 2"/>
                <a:gd name="T20" fmla="*/ 3 w 5"/>
                <a:gd name="T21" fmla="*/ 1 h 2"/>
                <a:gd name="T22" fmla="*/ 3 w 5"/>
                <a:gd name="T23" fmla="*/ 1 h 2"/>
                <a:gd name="T24" fmla="*/ 3 w 5"/>
                <a:gd name="T25" fmla="*/ 1 h 2"/>
                <a:gd name="T26" fmla="*/ 3 w 5"/>
                <a:gd name="T27" fmla="*/ 1 h 2"/>
                <a:gd name="T28" fmla="*/ 3 w 5"/>
                <a:gd name="T29" fmla="*/ 1 h 2"/>
                <a:gd name="T30" fmla="*/ 3 w 5"/>
                <a:gd name="T31" fmla="*/ 1 h 2"/>
                <a:gd name="T32" fmla="*/ 3 w 5"/>
                <a:gd name="T33" fmla="*/ 1 h 2"/>
                <a:gd name="T34" fmla="*/ 3 w 5"/>
                <a:gd name="T35" fmla="*/ 1 h 2"/>
                <a:gd name="T36" fmla="*/ 3 w 5"/>
                <a:gd name="T37" fmla="*/ 1 h 2"/>
                <a:gd name="T38" fmla="*/ 2 w 5"/>
                <a:gd name="T39" fmla="*/ 2 h 2"/>
                <a:gd name="T40" fmla="*/ 2 w 5"/>
                <a:gd name="T41" fmla="*/ 2 h 2"/>
                <a:gd name="T42" fmla="*/ 2 w 5"/>
                <a:gd name="T43" fmla="*/ 2 h 2"/>
                <a:gd name="T44" fmla="*/ 2 w 5"/>
                <a:gd name="T45" fmla="*/ 2 h 2"/>
                <a:gd name="T46" fmla="*/ 2 w 5"/>
                <a:gd name="T47" fmla="*/ 1 h 2"/>
                <a:gd name="T48" fmla="*/ 2 w 5"/>
                <a:gd name="T49" fmla="*/ 1 h 2"/>
                <a:gd name="T50" fmla="*/ 2 w 5"/>
                <a:gd name="T51" fmla="*/ 1 h 2"/>
                <a:gd name="T52" fmla="*/ 2 w 5"/>
                <a:gd name="T53" fmla="*/ 1 h 2"/>
                <a:gd name="T54" fmla="*/ 2 w 5"/>
                <a:gd name="T55" fmla="*/ 1 h 2"/>
                <a:gd name="T56" fmla="*/ 2 w 5"/>
                <a:gd name="T57" fmla="*/ 1 h 2"/>
                <a:gd name="T58" fmla="*/ 2 w 5"/>
                <a:gd name="T59" fmla="*/ 1 h 2"/>
                <a:gd name="T60" fmla="*/ 2 w 5"/>
                <a:gd name="T61" fmla="*/ 2 h 2"/>
                <a:gd name="T62" fmla="*/ 2 w 5"/>
                <a:gd name="T63" fmla="*/ 2 h 2"/>
                <a:gd name="T64" fmla="*/ 2 w 5"/>
                <a:gd name="T65" fmla="*/ 1 h 2"/>
                <a:gd name="T66" fmla="*/ 1 w 5"/>
                <a:gd name="T67" fmla="*/ 1 h 2"/>
                <a:gd name="T68" fmla="*/ 1 w 5"/>
                <a:gd name="T69" fmla="*/ 1 h 2"/>
                <a:gd name="T70" fmla="*/ 1 w 5"/>
                <a:gd name="T71" fmla="*/ 1 h 2"/>
                <a:gd name="T72" fmla="*/ 1 w 5"/>
                <a:gd name="T73" fmla="*/ 1 h 2"/>
                <a:gd name="T74" fmla="*/ 1 w 5"/>
                <a:gd name="T75" fmla="*/ 1 h 2"/>
                <a:gd name="T76" fmla="*/ 1 w 5"/>
                <a:gd name="T77" fmla="*/ 1 h 2"/>
                <a:gd name="T78" fmla="*/ 1 w 5"/>
                <a:gd name="T79" fmla="*/ 1 h 2"/>
                <a:gd name="T80" fmla="*/ 1 w 5"/>
                <a:gd name="T81" fmla="*/ 1 h 2"/>
                <a:gd name="T82" fmla="*/ 0 w 5"/>
                <a:gd name="T83" fmla="*/ 1 h 2"/>
                <a:gd name="T84" fmla="*/ 0 w 5"/>
                <a:gd name="T85" fmla="*/ 0 h 2"/>
                <a:gd name="T86" fmla="*/ 0 w 5"/>
                <a:gd name="T87" fmla="*/ 0 h 2"/>
                <a:gd name="T88" fmla="*/ 0 w 5"/>
                <a:gd name="T89" fmla="*/ 0 h 2"/>
                <a:gd name="T90" fmla="*/ 1 w 5"/>
                <a:gd name="T91" fmla="*/ 0 h 2"/>
                <a:gd name="T92" fmla="*/ 1 w 5"/>
                <a:gd name="T93" fmla="*/ 0 h 2"/>
                <a:gd name="T94" fmla="*/ 1 w 5"/>
                <a:gd name="T95" fmla="*/ 0 h 2"/>
                <a:gd name="T96" fmla="*/ 1 w 5"/>
                <a:gd name="T97" fmla="*/ 0 h 2"/>
                <a:gd name="T98" fmla="*/ 1 w 5"/>
                <a:gd name="T99" fmla="*/ 0 h 2"/>
                <a:gd name="T100" fmla="*/ 1 w 5"/>
                <a:gd name="T101" fmla="*/ 0 h 2"/>
                <a:gd name="T102" fmla="*/ 1 w 5"/>
                <a:gd name="T103" fmla="*/ 0 h 2"/>
                <a:gd name="T104" fmla="*/ 1 w 5"/>
                <a:gd name="T105" fmla="*/ 0 h 2"/>
                <a:gd name="T106" fmla="*/ 1 w 5"/>
                <a:gd name="T107" fmla="*/ 0 h 2"/>
                <a:gd name="T108" fmla="*/ 1 w 5"/>
                <a:gd name="T109" fmla="*/ 0 h 2"/>
                <a:gd name="T110" fmla="*/ 2 w 5"/>
                <a:gd name="T111" fmla="*/ 0 h 2"/>
                <a:gd name="T112" fmla="*/ 2 w 5"/>
                <a:gd name="T113" fmla="*/ 0 h 2"/>
                <a:gd name="T114" fmla="*/ 2 w 5"/>
                <a:gd name="T115" fmla="*/ 0 h 2"/>
                <a:gd name="T116" fmla="*/ 2 w 5"/>
                <a:gd name="T117" fmla="*/ 0 h 2"/>
                <a:gd name="T118" fmla="*/ 2 w 5"/>
                <a:gd name="T119" fmla="*/ 0 h 2"/>
                <a:gd name="T120" fmla="*/ 3 w 5"/>
                <a:gd name="T121" fmla="*/ 0 h 2"/>
                <a:gd name="T122" fmla="*/ 3 w 5"/>
                <a:gd name="T12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 h="2">
                  <a:moveTo>
                    <a:pt x="3" y="0"/>
                  </a:moveTo>
                  <a:lnTo>
                    <a:pt x="3" y="0"/>
                  </a:lnTo>
                  <a:lnTo>
                    <a:pt x="3" y="1"/>
                  </a:lnTo>
                  <a:lnTo>
                    <a:pt x="3" y="1"/>
                  </a:lnTo>
                  <a:lnTo>
                    <a:pt x="3" y="1"/>
                  </a:lnTo>
                  <a:lnTo>
                    <a:pt x="5" y="1"/>
                  </a:lnTo>
                  <a:lnTo>
                    <a:pt x="5" y="1"/>
                  </a:lnTo>
                  <a:lnTo>
                    <a:pt x="5" y="1"/>
                  </a:lnTo>
                  <a:lnTo>
                    <a:pt x="5" y="1"/>
                  </a:lnTo>
                  <a:lnTo>
                    <a:pt x="3" y="1"/>
                  </a:lnTo>
                  <a:lnTo>
                    <a:pt x="3" y="1"/>
                  </a:lnTo>
                  <a:lnTo>
                    <a:pt x="3" y="1"/>
                  </a:lnTo>
                  <a:lnTo>
                    <a:pt x="3" y="1"/>
                  </a:lnTo>
                  <a:lnTo>
                    <a:pt x="3" y="1"/>
                  </a:lnTo>
                  <a:lnTo>
                    <a:pt x="3" y="1"/>
                  </a:lnTo>
                  <a:lnTo>
                    <a:pt x="3" y="1"/>
                  </a:lnTo>
                  <a:lnTo>
                    <a:pt x="3" y="1"/>
                  </a:lnTo>
                  <a:lnTo>
                    <a:pt x="3" y="1"/>
                  </a:lnTo>
                  <a:lnTo>
                    <a:pt x="3" y="1"/>
                  </a:lnTo>
                  <a:lnTo>
                    <a:pt x="2" y="2"/>
                  </a:lnTo>
                  <a:lnTo>
                    <a:pt x="2" y="2"/>
                  </a:lnTo>
                  <a:lnTo>
                    <a:pt x="2" y="2"/>
                  </a:lnTo>
                  <a:lnTo>
                    <a:pt x="2" y="2"/>
                  </a:lnTo>
                  <a:lnTo>
                    <a:pt x="2" y="1"/>
                  </a:lnTo>
                  <a:lnTo>
                    <a:pt x="2" y="1"/>
                  </a:lnTo>
                  <a:lnTo>
                    <a:pt x="2" y="1"/>
                  </a:lnTo>
                  <a:lnTo>
                    <a:pt x="2" y="1"/>
                  </a:lnTo>
                  <a:lnTo>
                    <a:pt x="2" y="1"/>
                  </a:lnTo>
                  <a:lnTo>
                    <a:pt x="2" y="1"/>
                  </a:lnTo>
                  <a:lnTo>
                    <a:pt x="2" y="1"/>
                  </a:lnTo>
                  <a:lnTo>
                    <a:pt x="2" y="2"/>
                  </a:lnTo>
                  <a:lnTo>
                    <a:pt x="2" y="2"/>
                  </a:lnTo>
                  <a:lnTo>
                    <a:pt x="2" y="1"/>
                  </a:lnTo>
                  <a:lnTo>
                    <a:pt x="1" y="1"/>
                  </a:lnTo>
                  <a:lnTo>
                    <a:pt x="1" y="1"/>
                  </a:lnTo>
                  <a:lnTo>
                    <a:pt x="1" y="1"/>
                  </a:lnTo>
                  <a:lnTo>
                    <a:pt x="1" y="1"/>
                  </a:lnTo>
                  <a:lnTo>
                    <a:pt x="1" y="1"/>
                  </a:lnTo>
                  <a:lnTo>
                    <a:pt x="1" y="1"/>
                  </a:lnTo>
                  <a:lnTo>
                    <a:pt x="1" y="1"/>
                  </a:lnTo>
                  <a:lnTo>
                    <a:pt x="1" y="1"/>
                  </a:lnTo>
                  <a:lnTo>
                    <a:pt x="0" y="1"/>
                  </a:lnTo>
                  <a:lnTo>
                    <a:pt x="0" y="0"/>
                  </a:lnTo>
                  <a:lnTo>
                    <a:pt x="0" y="0"/>
                  </a:lnTo>
                  <a:lnTo>
                    <a:pt x="0" y="0"/>
                  </a:lnTo>
                  <a:lnTo>
                    <a:pt x="1" y="0"/>
                  </a:lnTo>
                  <a:lnTo>
                    <a:pt x="1" y="0"/>
                  </a:lnTo>
                  <a:lnTo>
                    <a:pt x="1" y="0"/>
                  </a:lnTo>
                  <a:lnTo>
                    <a:pt x="1" y="0"/>
                  </a:lnTo>
                  <a:lnTo>
                    <a:pt x="1" y="0"/>
                  </a:lnTo>
                  <a:lnTo>
                    <a:pt x="1" y="0"/>
                  </a:lnTo>
                  <a:lnTo>
                    <a:pt x="1" y="0"/>
                  </a:lnTo>
                  <a:lnTo>
                    <a:pt x="1" y="0"/>
                  </a:lnTo>
                  <a:lnTo>
                    <a:pt x="1" y="0"/>
                  </a:lnTo>
                  <a:lnTo>
                    <a:pt x="1" y="0"/>
                  </a:lnTo>
                  <a:lnTo>
                    <a:pt x="2" y="0"/>
                  </a:lnTo>
                  <a:lnTo>
                    <a:pt x="2" y="0"/>
                  </a:lnTo>
                  <a:lnTo>
                    <a:pt x="2" y="0"/>
                  </a:lnTo>
                  <a:lnTo>
                    <a:pt x="2" y="0"/>
                  </a:lnTo>
                  <a:lnTo>
                    <a:pt x="2" y="0"/>
                  </a:lnTo>
                  <a:lnTo>
                    <a:pt x="3" y="0"/>
                  </a:lnTo>
                  <a:lnTo>
                    <a:pt x="3"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21" name="Freeform 1185">
              <a:extLst>
                <a:ext uri="{FF2B5EF4-FFF2-40B4-BE49-F238E27FC236}">
                  <a16:creationId xmlns:a16="http://schemas.microsoft.com/office/drawing/2014/main" id="{C70E1AA7-B213-4D02-B4FF-8AC9CEA094A5}"/>
                </a:ext>
              </a:extLst>
            </p:cNvPr>
            <p:cNvSpPr>
              <a:spLocks/>
            </p:cNvSpPr>
            <p:nvPr/>
          </p:nvSpPr>
          <p:spPr bwMode="auto">
            <a:xfrm>
              <a:off x="5714279" y="2051769"/>
              <a:ext cx="1336" cy="1336"/>
            </a:xfrm>
            <a:custGeom>
              <a:avLst/>
              <a:gdLst>
                <a:gd name="T0" fmla="*/ 1 w 1"/>
                <a:gd name="T1" fmla="*/ 1 h 1"/>
                <a:gd name="T2" fmla="*/ 0 w 1"/>
                <a:gd name="T3" fmla="*/ 1 h 1"/>
                <a:gd name="T4" fmla="*/ 0 w 1"/>
                <a:gd name="T5" fmla="*/ 1 h 1"/>
                <a:gd name="T6" fmla="*/ 0 w 1"/>
                <a:gd name="T7" fmla="*/ 1 h 1"/>
                <a:gd name="T8" fmla="*/ 0 w 1"/>
                <a:gd name="T9" fmla="*/ 1 h 1"/>
                <a:gd name="T10" fmla="*/ 0 w 1"/>
                <a:gd name="T11" fmla="*/ 0 h 1"/>
                <a:gd name="T12" fmla="*/ 0 w 1"/>
                <a:gd name="T13" fmla="*/ 0 h 1"/>
                <a:gd name="T14" fmla="*/ 0 w 1"/>
                <a:gd name="T15" fmla="*/ 0 h 1"/>
                <a:gd name="T16" fmla="*/ 1 w 1"/>
                <a:gd name="T17" fmla="*/ 0 h 1"/>
                <a:gd name="T18" fmla="*/ 1 w 1"/>
                <a:gd name="T19" fmla="*/ 0 h 1"/>
                <a:gd name="T20" fmla="*/ 1 w 1"/>
                <a:gd name="T21" fmla="*/ 0 h 1"/>
                <a:gd name="T22" fmla="*/ 1 w 1"/>
                <a:gd name="T23" fmla="*/ 0 h 1"/>
                <a:gd name="T24" fmla="*/ 1 w 1"/>
                <a:gd name="T25" fmla="*/ 0 h 1"/>
                <a:gd name="T26" fmla="*/ 1 w 1"/>
                <a:gd name="T27" fmla="*/ 1 h 1"/>
                <a:gd name="T28" fmla="*/ 1 w 1"/>
                <a:gd name="T29" fmla="*/ 1 h 1"/>
                <a:gd name="T30" fmla="*/ 1 w 1"/>
                <a:gd name="T31" fmla="*/ 1 h 1"/>
                <a:gd name="T32" fmla="*/ 1 w 1"/>
                <a:gd name="T33" fmla="*/ 1 h 1"/>
                <a:gd name="T34" fmla="*/ 1 w 1"/>
                <a:gd name="T3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 h="1">
                  <a:moveTo>
                    <a:pt x="1" y="1"/>
                  </a:moveTo>
                  <a:lnTo>
                    <a:pt x="0" y="1"/>
                  </a:lnTo>
                  <a:lnTo>
                    <a:pt x="0" y="1"/>
                  </a:lnTo>
                  <a:lnTo>
                    <a:pt x="0" y="1"/>
                  </a:lnTo>
                  <a:lnTo>
                    <a:pt x="0" y="1"/>
                  </a:lnTo>
                  <a:lnTo>
                    <a:pt x="0" y="0"/>
                  </a:lnTo>
                  <a:lnTo>
                    <a:pt x="0" y="0"/>
                  </a:lnTo>
                  <a:lnTo>
                    <a:pt x="0" y="0"/>
                  </a:lnTo>
                  <a:lnTo>
                    <a:pt x="1" y="0"/>
                  </a:lnTo>
                  <a:lnTo>
                    <a:pt x="1" y="0"/>
                  </a:lnTo>
                  <a:lnTo>
                    <a:pt x="1" y="0"/>
                  </a:lnTo>
                  <a:lnTo>
                    <a:pt x="1" y="0"/>
                  </a:lnTo>
                  <a:lnTo>
                    <a:pt x="1" y="0"/>
                  </a:lnTo>
                  <a:lnTo>
                    <a:pt x="1" y="1"/>
                  </a:lnTo>
                  <a:lnTo>
                    <a:pt x="1" y="1"/>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22" name="Freeform 1186">
              <a:extLst>
                <a:ext uri="{FF2B5EF4-FFF2-40B4-BE49-F238E27FC236}">
                  <a16:creationId xmlns:a16="http://schemas.microsoft.com/office/drawing/2014/main" id="{478F7E97-7356-4C7E-BF48-1CEB4734669B}"/>
                </a:ext>
              </a:extLst>
            </p:cNvPr>
            <p:cNvSpPr>
              <a:spLocks/>
            </p:cNvSpPr>
            <p:nvPr/>
          </p:nvSpPr>
          <p:spPr bwMode="auto">
            <a:xfrm>
              <a:off x="5700924" y="2051769"/>
              <a:ext cx="8013" cy="8013"/>
            </a:xfrm>
            <a:custGeom>
              <a:avLst/>
              <a:gdLst>
                <a:gd name="T0" fmla="*/ 1 w 6"/>
                <a:gd name="T1" fmla="*/ 0 h 6"/>
                <a:gd name="T2" fmla="*/ 1 w 6"/>
                <a:gd name="T3" fmla="*/ 0 h 6"/>
                <a:gd name="T4" fmla="*/ 3 w 6"/>
                <a:gd name="T5" fmla="*/ 0 h 6"/>
                <a:gd name="T6" fmla="*/ 3 w 6"/>
                <a:gd name="T7" fmla="*/ 1 h 6"/>
                <a:gd name="T8" fmla="*/ 3 w 6"/>
                <a:gd name="T9" fmla="*/ 2 h 6"/>
                <a:gd name="T10" fmla="*/ 4 w 6"/>
                <a:gd name="T11" fmla="*/ 2 h 6"/>
                <a:gd name="T12" fmla="*/ 5 w 6"/>
                <a:gd name="T13" fmla="*/ 2 h 6"/>
                <a:gd name="T14" fmla="*/ 5 w 6"/>
                <a:gd name="T15" fmla="*/ 2 h 6"/>
                <a:gd name="T16" fmla="*/ 4 w 6"/>
                <a:gd name="T17" fmla="*/ 3 h 6"/>
                <a:gd name="T18" fmla="*/ 4 w 6"/>
                <a:gd name="T19" fmla="*/ 3 h 6"/>
                <a:gd name="T20" fmla="*/ 5 w 6"/>
                <a:gd name="T21" fmla="*/ 3 h 6"/>
                <a:gd name="T22" fmla="*/ 5 w 6"/>
                <a:gd name="T23" fmla="*/ 3 h 6"/>
                <a:gd name="T24" fmla="*/ 5 w 6"/>
                <a:gd name="T25" fmla="*/ 3 h 6"/>
                <a:gd name="T26" fmla="*/ 5 w 6"/>
                <a:gd name="T27" fmla="*/ 3 h 6"/>
                <a:gd name="T28" fmla="*/ 6 w 6"/>
                <a:gd name="T29" fmla="*/ 4 h 6"/>
                <a:gd name="T30" fmla="*/ 6 w 6"/>
                <a:gd name="T31" fmla="*/ 4 h 6"/>
                <a:gd name="T32" fmla="*/ 6 w 6"/>
                <a:gd name="T33" fmla="*/ 4 h 6"/>
                <a:gd name="T34" fmla="*/ 6 w 6"/>
                <a:gd name="T35" fmla="*/ 4 h 6"/>
                <a:gd name="T36" fmla="*/ 6 w 6"/>
                <a:gd name="T37" fmla="*/ 6 h 6"/>
                <a:gd name="T38" fmla="*/ 5 w 6"/>
                <a:gd name="T39" fmla="*/ 4 h 6"/>
                <a:gd name="T40" fmla="*/ 4 w 6"/>
                <a:gd name="T41" fmla="*/ 3 h 6"/>
                <a:gd name="T42" fmla="*/ 3 w 6"/>
                <a:gd name="T43" fmla="*/ 3 h 6"/>
                <a:gd name="T44" fmla="*/ 3 w 6"/>
                <a:gd name="T45" fmla="*/ 3 h 6"/>
                <a:gd name="T46" fmla="*/ 3 w 6"/>
                <a:gd name="T47" fmla="*/ 3 h 6"/>
                <a:gd name="T48" fmla="*/ 3 w 6"/>
                <a:gd name="T49" fmla="*/ 3 h 6"/>
                <a:gd name="T50" fmla="*/ 1 w 6"/>
                <a:gd name="T51" fmla="*/ 2 h 6"/>
                <a:gd name="T52" fmla="*/ 1 w 6"/>
                <a:gd name="T53" fmla="*/ 2 h 6"/>
                <a:gd name="T54" fmla="*/ 1 w 6"/>
                <a:gd name="T55" fmla="*/ 2 h 6"/>
                <a:gd name="T56" fmla="*/ 1 w 6"/>
                <a:gd name="T57" fmla="*/ 2 h 6"/>
                <a:gd name="T58" fmla="*/ 1 w 6"/>
                <a:gd name="T59" fmla="*/ 2 h 6"/>
                <a:gd name="T60" fmla="*/ 0 w 6"/>
                <a:gd name="T61" fmla="*/ 2 h 6"/>
                <a:gd name="T62" fmla="*/ 0 w 6"/>
                <a:gd name="T63" fmla="*/ 2 h 6"/>
                <a:gd name="T64" fmla="*/ 0 w 6"/>
                <a:gd name="T65" fmla="*/ 2 h 6"/>
                <a:gd name="T66" fmla="*/ 0 w 6"/>
                <a:gd name="T67" fmla="*/ 1 h 6"/>
                <a:gd name="T68" fmla="*/ 0 w 6"/>
                <a:gd name="T69" fmla="*/ 1 h 6"/>
                <a:gd name="T70" fmla="*/ 0 w 6"/>
                <a:gd name="T71" fmla="*/ 1 h 6"/>
                <a:gd name="T72" fmla="*/ 0 w 6"/>
                <a:gd name="T73" fmla="*/ 1 h 6"/>
                <a:gd name="T74" fmla="*/ 0 w 6"/>
                <a:gd name="T75" fmla="*/ 1 h 6"/>
                <a:gd name="T76" fmla="*/ 0 w 6"/>
                <a:gd name="T7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 h="6">
                  <a:moveTo>
                    <a:pt x="0" y="0"/>
                  </a:moveTo>
                  <a:lnTo>
                    <a:pt x="1" y="0"/>
                  </a:lnTo>
                  <a:lnTo>
                    <a:pt x="1" y="0"/>
                  </a:lnTo>
                  <a:lnTo>
                    <a:pt x="1" y="0"/>
                  </a:lnTo>
                  <a:lnTo>
                    <a:pt x="1" y="0"/>
                  </a:lnTo>
                  <a:lnTo>
                    <a:pt x="3" y="0"/>
                  </a:lnTo>
                  <a:lnTo>
                    <a:pt x="3" y="1"/>
                  </a:lnTo>
                  <a:lnTo>
                    <a:pt x="3" y="1"/>
                  </a:lnTo>
                  <a:lnTo>
                    <a:pt x="3" y="1"/>
                  </a:lnTo>
                  <a:lnTo>
                    <a:pt x="3" y="2"/>
                  </a:lnTo>
                  <a:lnTo>
                    <a:pt x="4" y="2"/>
                  </a:lnTo>
                  <a:lnTo>
                    <a:pt x="4" y="2"/>
                  </a:lnTo>
                  <a:lnTo>
                    <a:pt x="5" y="2"/>
                  </a:lnTo>
                  <a:lnTo>
                    <a:pt x="5" y="2"/>
                  </a:lnTo>
                  <a:lnTo>
                    <a:pt x="5" y="2"/>
                  </a:lnTo>
                  <a:lnTo>
                    <a:pt x="5" y="2"/>
                  </a:lnTo>
                  <a:lnTo>
                    <a:pt x="4" y="3"/>
                  </a:lnTo>
                  <a:lnTo>
                    <a:pt x="4" y="3"/>
                  </a:lnTo>
                  <a:lnTo>
                    <a:pt x="4" y="3"/>
                  </a:lnTo>
                  <a:lnTo>
                    <a:pt x="4" y="3"/>
                  </a:lnTo>
                  <a:lnTo>
                    <a:pt x="5" y="3"/>
                  </a:lnTo>
                  <a:lnTo>
                    <a:pt x="5" y="3"/>
                  </a:lnTo>
                  <a:lnTo>
                    <a:pt x="5" y="3"/>
                  </a:lnTo>
                  <a:lnTo>
                    <a:pt x="5" y="3"/>
                  </a:lnTo>
                  <a:lnTo>
                    <a:pt x="5" y="3"/>
                  </a:lnTo>
                  <a:lnTo>
                    <a:pt x="5" y="3"/>
                  </a:lnTo>
                  <a:lnTo>
                    <a:pt x="5" y="3"/>
                  </a:lnTo>
                  <a:lnTo>
                    <a:pt x="5" y="3"/>
                  </a:lnTo>
                  <a:lnTo>
                    <a:pt x="6" y="3"/>
                  </a:lnTo>
                  <a:lnTo>
                    <a:pt x="6" y="4"/>
                  </a:lnTo>
                  <a:lnTo>
                    <a:pt x="6" y="4"/>
                  </a:lnTo>
                  <a:lnTo>
                    <a:pt x="6" y="4"/>
                  </a:lnTo>
                  <a:lnTo>
                    <a:pt x="6" y="4"/>
                  </a:lnTo>
                  <a:lnTo>
                    <a:pt x="6" y="4"/>
                  </a:lnTo>
                  <a:lnTo>
                    <a:pt x="6" y="4"/>
                  </a:lnTo>
                  <a:lnTo>
                    <a:pt x="6" y="4"/>
                  </a:lnTo>
                  <a:lnTo>
                    <a:pt x="6" y="6"/>
                  </a:lnTo>
                  <a:lnTo>
                    <a:pt x="6" y="6"/>
                  </a:lnTo>
                  <a:lnTo>
                    <a:pt x="5" y="4"/>
                  </a:lnTo>
                  <a:lnTo>
                    <a:pt x="5" y="4"/>
                  </a:lnTo>
                  <a:lnTo>
                    <a:pt x="4" y="4"/>
                  </a:lnTo>
                  <a:lnTo>
                    <a:pt x="4" y="3"/>
                  </a:lnTo>
                  <a:lnTo>
                    <a:pt x="4" y="3"/>
                  </a:lnTo>
                  <a:lnTo>
                    <a:pt x="3" y="3"/>
                  </a:lnTo>
                  <a:lnTo>
                    <a:pt x="3" y="3"/>
                  </a:lnTo>
                  <a:lnTo>
                    <a:pt x="3" y="3"/>
                  </a:lnTo>
                  <a:lnTo>
                    <a:pt x="3" y="3"/>
                  </a:lnTo>
                  <a:lnTo>
                    <a:pt x="3" y="3"/>
                  </a:lnTo>
                  <a:lnTo>
                    <a:pt x="3" y="3"/>
                  </a:lnTo>
                  <a:lnTo>
                    <a:pt x="3" y="3"/>
                  </a:lnTo>
                  <a:lnTo>
                    <a:pt x="3" y="2"/>
                  </a:lnTo>
                  <a:lnTo>
                    <a:pt x="1" y="2"/>
                  </a:lnTo>
                  <a:lnTo>
                    <a:pt x="1" y="2"/>
                  </a:lnTo>
                  <a:lnTo>
                    <a:pt x="1" y="2"/>
                  </a:lnTo>
                  <a:lnTo>
                    <a:pt x="1" y="2"/>
                  </a:lnTo>
                  <a:lnTo>
                    <a:pt x="1" y="2"/>
                  </a:lnTo>
                  <a:lnTo>
                    <a:pt x="1" y="2"/>
                  </a:lnTo>
                  <a:lnTo>
                    <a:pt x="1" y="2"/>
                  </a:lnTo>
                  <a:lnTo>
                    <a:pt x="1" y="2"/>
                  </a:lnTo>
                  <a:lnTo>
                    <a:pt x="1" y="2"/>
                  </a:lnTo>
                  <a:lnTo>
                    <a:pt x="0" y="2"/>
                  </a:lnTo>
                  <a:lnTo>
                    <a:pt x="0" y="2"/>
                  </a:lnTo>
                  <a:lnTo>
                    <a:pt x="0" y="2"/>
                  </a:lnTo>
                  <a:lnTo>
                    <a:pt x="0" y="2"/>
                  </a:lnTo>
                  <a:lnTo>
                    <a:pt x="0" y="2"/>
                  </a:lnTo>
                  <a:lnTo>
                    <a:pt x="0" y="2"/>
                  </a:lnTo>
                  <a:lnTo>
                    <a:pt x="0" y="1"/>
                  </a:lnTo>
                  <a:lnTo>
                    <a:pt x="0" y="1"/>
                  </a:lnTo>
                  <a:lnTo>
                    <a:pt x="0" y="1"/>
                  </a:lnTo>
                  <a:lnTo>
                    <a:pt x="0" y="1"/>
                  </a:lnTo>
                  <a:lnTo>
                    <a:pt x="0" y="1"/>
                  </a:lnTo>
                  <a:lnTo>
                    <a:pt x="0" y="1"/>
                  </a:lnTo>
                  <a:lnTo>
                    <a:pt x="0" y="1"/>
                  </a:lnTo>
                  <a:lnTo>
                    <a:pt x="0" y="1"/>
                  </a:lnTo>
                  <a:lnTo>
                    <a:pt x="0" y="1"/>
                  </a:lnTo>
                  <a:lnTo>
                    <a:pt x="0" y="1"/>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23" name="Freeform 1187">
              <a:extLst>
                <a:ext uri="{FF2B5EF4-FFF2-40B4-BE49-F238E27FC236}">
                  <a16:creationId xmlns:a16="http://schemas.microsoft.com/office/drawing/2014/main" id="{EDACD7B1-4818-4378-9FAD-0DF5541832BA}"/>
                </a:ext>
              </a:extLst>
            </p:cNvPr>
            <p:cNvSpPr>
              <a:spLocks/>
            </p:cNvSpPr>
            <p:nvPr/>
          </p:nvSpPr>
          <p:spPr bwMode="auto">
            <a:xfrm>
              <a:off x="5702260" y="2051769"/>
              <a:ext cx="8013" cy="4007"/>
            </a:xfrm>
            <a:custGeom>
              <a:avLst/>
              <a:gdLst>
                <a:gd name="T0" fmla="*/ 3 w 6"/>
                <a:gd name="T1" fmla="*/ 0 h 3"/>
                <a:gd name="T2" fmla="*/ 3 w 6"/>
                <a:gd name="T3" fmla="*/ 0 h 3"/>
                <a:gd name="T4" fmla="*/ 3 w 6"/>
                <a:gd name="T5" fmla="*/ 1 h 3"/>
                <a:gd name="T6" fmla="*/ 3 w 6"/>
                <a:gd name="T7" fmla="*/ 1 h 3"/>
                <a:gd name="T8" fmla="*/ 3 w 6"/>
                <a:gd name="T9" fmla="*/ 1 h 3"/>
                <a:gd name="T10" fmla="*/ 4 w 6"/>
                <a:gd name="T11" fmla="*/ 0 h 3"/>
                <a:gd name="T12" fmla="*/ 4 w 6"/>
                <a:gd name="T13" fmla="*/ 0 h 3"/>
                <a:gd name="T14" fmla="*/ 4 w 6"/>
                <a:gd name="T15" fmla="*/ 1 h 3"/>
                <a:gd name="T16" fmla="*/ 5 w 6"/>
                <a:gd name="T17" fmla="*/ 1 h 3"/>
                <a:gd name="T18" fmla="*/ 4 w 6"/>
                <a:gd name="T19" fmla="*/ 1 h 3"/>
                <a:gd name="T20" fmla="*/ 4 w 6"/>
                <a:gd name="T21" fmla="*/ 1 h 3"/>
                <a:gd name="T22" fmla="*/ 5 w 6"/>
                <a:gd name="T23" fmla="*/ 1 h 3"/>
                <a:gd name="T24" fmla="*/ 5 w 6"/>
                <a:gd name="T25" fmla="*/ 1 h 3"/>
                <a:gd name="T26" fmla="*/ 5 w 6"/>
                <a:gd name="T27" fmla="*/ 1 h 3"/>
                <a:gd name="T28" fmla="*/ 6 w 6"/>
                <a:gd name="T29" fmla="*/ 1 h 3"/>
                <a:gd name="T30" fmla="*/ 6 w 6"/>
                <a:gd name="T31" fmla="*/ 2 h 3"/>
                <a:gd name="T32" fmla="*/ 5 w 6"/>
                <a:gd name="T33" fmla="*/ 2 h 3"/>
                <a:gd name="T34" fmla="*/ 5 w 6"/>
                <a:gd name="T35" fmla="*/ 2 h 3"/>
                <a:gd name="T36" fmla="*/ 6 w 6"/>
                <a:gd name="T37" fmla="*/ 2 h 3"/>
                <a:gd name="T38" fmla="*/ 5 w 6"/>
                <a:gd name="T39" fmla="*/ 2 h 3"/>
                <a:gd name="T40" fmla="*/ 5 w 6"/>
                <a:gd name="T41" fmla="*/ 2 h 3"/>
                <a:gd name="T42" fmla="*/ 6 w 6"/>
                <a:gd name="T43" fmla="*/ 2 h 3"/>
                <a:gd name="T44" fmla="*/ 6 w 6"/>
                <a:gd name="T45" fmla="*/ 3 h 3"/>
                <a:gd name="T46" fmla="*/ 5 w 6"/>
                <a:gd name="T47" fmla="*/ 3 h 3"/>
                <a:gd name="T48" fmla="*/ 5 w 6"/>
                <a:gd name="T49" fmla="*/ 3 h 3"/>
                <a:gd name="T50" fmla="*/ 5 w 6"/>
                <a:gd name="T51" fmla="*/ 3 h 3"/>
                <a:gd name="T52" fmla="*/ 5 w 6"/>
                <a:gd name="T53" fmla="*/ 3 h 3"/>
                <a:gd name="T54" fmla="*/ 5 w 6"/>
                <a:gd name="T55" fmla="*/ 3 h 3"/>
                <a:gd name="T56" fmla="*/ 5 w 6"/>
                <a:gd name="T57" fmla="*/ 3 h 3"/>
                <a:gd name="T58" fmla="*/ 5 w 6"/>
                <a:gd name="T59" fmla="*/ 2 h 3"/>
                <a:gd name="T60" fmla="*/ 5 w 6"/>
                <a:gd name="T61" fmla="*/ 2 h 3"/>
                <a:gd name="T62" fmla="*/ 4 w 6"/>
                <a:gd name="T63" fmla="*/ 2 h 3"/>
                <a:gd name="T64" fmla="*/ 4 w 6"/>
                <a:gd name="T65" fmla="*/ 2 h 3"/>
                <a:gd name="T66" fmla="*/ 5 w 6"/>
                <a:gd name="T67" fmla="*/ 2 h 3"/>
                <a:gd name="T68" fmla="*/ 5 w 6"/>
                <a:gd name="T69" fmla="*/ 3 h 3"/>
                <a:gd name="T70" fmla="*/ 3 w 6"/>
                <a:gd name="T71" fmla="*/ 2 h 3"/>
                <a:gd name="T72" fmla="*/ 3 w 6"/>
                <a:gd name="T73" fmla="*/ 2 h 3"/>
                <a:gd name="T74" fmla="*/ 3 w 6"/>
                <a:gd name="T75" fmla="*/ 2 h 3"/>
                <a:gd name="T76" fmla="*/ 3 w 6"/>
                <a:gd name="T77" fmla="*/ 2 h 3"/>
                <a:gd name="T78" fmla="*/ 2 w 6"/>
                <a:gd name="T79" fmla="*/ 0 h 3"/>
                <a:gd name="T80" fmla="*/ 2 w 6"/>
                <a:gd name="T81" fmla="*/ 0 h 3"/>
                <a:gd name="T82" fmla="*/ 0 w 6"/>
                <a:gd name="T83" fmla="*/ 0 h 3"/>
                <a:gd name="T84" fmla="*/ 2 w 6"/>
                <a:gd name="T85" fmla="*/ 0 h 3"/>
                <a:gd name="T86" fmla="*/ 2 w 6"/>
                <a:gd name="T87" fmla="*/ 0 h 3"/>
                <a:gd name="T88" fmla="*/ 2 w 6"/>
                <a:gd name="T89" fmla="*/ 0 h 3"/>
                <a:gd name="T90" fmla="*/ 3 w 6"/>
                <a:gd name="T91" fmla="*/ 0 h 3"/>
                <a:gd name="T92" fmla="*/ 3 w 6"/>
                <a:gd name="T93" fmla="*/ 0 h 3"/>
                <a:gd name="T94" fmla="*/ 3 w 6"/>
                <a:gd name="T9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 h="3">
                  <a:moveTo>
                    <a:pt x="3" y="0"/>
                  </a:moveTo>
                  <a:lnTo>
                    <a:pt x="3" y="0"/>
                  </a:lnTo>
                  <a:lnTo>
                    <a:pt x="3" y="0"/>
                  </a:lnTo>
                  <a:lnTo>
                    <a:pt x="3" y="0"/>
                  </a:lnTo>
                  <a:lnTo>
                    <a:pt x="3" y="0"/>
                  </a:lnTo>
                  <a:lnTo>
                    <a:pt x="3" y="1"/>
                  </a:lnTo>
                  <a:lnTo>
                    <a:pt x="3" y="1"/>
                  </a:lnTo>
                  <a:lnTo>
                    <a:pt x="3" y="1"/>
                  </a:lnTo>
                  <a:lnTo>
                    <a:pt x="3" y="1"/>
                  </a:lnTo>
                  <a:lnTo>
                    <a:pt x="3" y="1"/>
                  </a:lnTo>
                  <a:lnTo>
                    <a:pt x="3" y="0"/>
                  </a:lnTo>
                  <a:lnTo>
                    <a:pt x="4" y="0"/>
                  </a:lnTo>
                  <a:lnTo>
                    <a:pt x="4" y="0"/>
                  </a:lnTo>
                  <a:lnTo>
                    <a:pt x="4" y="0"/>
                  </a:lnTo>
                  <a:lnTo>
                    <a:pt x="4" y="1"/>
                  </a:lnTo>
                  <a:lnTo>
                    <a:pt x="4" y="1"/>
                  </a:lnTo>
                  <a:lnTo>
                    <a:pt x="5" y="1"/>
                  </a:lnTo>
                  <a:lnTo>
                    <a:pt x="5" y="1"/>
                  </a:lnTo>
                  <a:lnTo>
                    <a:pt x="5" y="1"/>
                  </a:lnTo>
                  <a:lnTo>
                    <a:pt x="4" y="1"/>
                  </a:lnTo>
                  <a:lnTo>
                    <a:pt x="4" y="1"/>
                  </a:lnTo>
                  <a:lnTo>
                    <a:pt x="4" y="1"/>
                  </a:lnTo>
                  <a:lnTo>
                    <a:pt x="4" y="1"/>
                  </a:lnTo>
                  <a:lnTo>
                    <a:pt x="5" y="1"/>
                  </a:lnTo>
                  <a:lnTo>
                    <a:pt x="5" y="1"/>
                  </a:lnTo>
                  <a:lnTo>
                    <a:pt x="5" y="1"/>
                  </a:lnTo>
                  <a:lnTo>
                    <a:pt x="5" y="1"/>
                  </a:lnTo>
                  <a:lnTo>
                    <a:pt x="5" y="1"/>
                  </a:lnTo>
                  <a:lnTo>
                    <a:pt x="5" y="1"/>
                  </a:lnTo>
                  <a:lnTo>
                    <a:pt x="6" y="1"/>
                  </a:lnTo>
                  <a:lnTo>
                    <a:pt x="6" y="2"/>
                  </a:lnTo>
                  <a:lnTo>
                    <a:pt x="6" y="2"/>
                  </a:lnTo>
                  <a:lnTo>
                    <a:pt x="6" y="2"/>
                  </a:lnTo>
                  <a:lnTo>
                    <a:pt x="5" y="2"/>
                  </a:lnTo>
                  <a:lnTo>
                    <a:pt x="5" y="2"/>
                  </a:lnTo>
                  <a:lnTo>
                    <a:pt x="5" y="2"/>
                  </a:lnTo>
                  <a:lnTo>
                    <a:pt x="6" y="2"/>
                  </a:lnTo>
                  <a:lnTo>
                    <a:pt x="6" y="2"/>
                  </a:lnTo>
                  <a:lnTo>
                    <a:pt x="6" y="2"/>
                  </a:lnTo>
                  <a:lnTo>
                    <a:pt x="5" y="2"/>
                  </a:lnTo>
                  <a:lnTo>
                    <a:pt x="5" y="2"/>
                  </a:lnTo>
                  <a:lnTo>
                    <a:pt x="5" y="2"/>
                  </a:lnTo>
                  <a:lnTo>
                    <a:pt x="6" y="2"/>
                  </a:lnTo>
                  <a:lnTo>
                    <a:pt x="6" y="2"/>
                  </a:lnTo>
                  <a:lnTo>
                    <a:pt x="6" y="3"/>
                  </a:lnTo>
                  <a:lnTo>
                    <a:pt x="6" y="3"/>
                  </a:lnTo>
                  <a:lnTo>
                    <a:pt x="6" y="3"/>
                  </a:lnTo>
                  <a:lnTo>
                    <a:pt x="5" y="3"/>
                  </a:lnTo>
                  <a:lnTo>
                    <a:pt x="5" y="3"/>
                  </a:lnTo>
                  <a:lnTo>
                    <a:pt x="5" y="3"/>
                  </a:lnTo>
                  <a:lnTo>
                    <a:pt x="5" y="3"/>
                  </a:lnTo>
                  <a:lnTo>
                    <a:pt x="5" y="3"/>
                  </a:lnTo>
                  <a:lnTo>
                    <a:pt x="5" y="3"/>
                  </a:lnTo>
                  <a:lnTo>
                    <a:pt x="5" y="3"/>
                  </a:lnTo>
                  <a:lnTo>
                    <a:pt x="5" y="3"/>
                  </a:lnTo>
                  <a:lnTo>
                    <a:pt x="5" y="3"/>
                  </a:lnTo>
                  <a:lnTo>
                    <a:pt x="5" y="3"/>
                  </a:lnTo>
                  <a:lnTo>
                    <a:pt x="5" y="3"/>
                  </a:lnTo>
                  <a:lnTo>
                    <a:pt x="5" y="3"/>
                  </a:lnTo>
                  <a:lnTo>
                    <a:pt x="5" y="2"/>
                  </a:lnTo>
                  <a:lnTo>
                    <a:pt x="5" y="2"/>
                  </a:lnTo>
                  <a:lnTo>
                    <a:pt x="5" y="2"/>
                  </a:lnTo>
                  <a:lnTo>
                    <a:pt x="4" y="2"/>
                  </a:lnTo>
                  <a:lnTo>
                    <a:pt x="4" y="2"/>
                  </a:lnTo>
                  <a:lnTo>
                    <a:pt x="4" y="2"/>
                  </a:lnTo>
                  <a:lnTo>
                    <a:pt x="4" y="2"/>
                  </a:lnTo>
                  <a:lnTo>
                    <a:pt x="4" y="2"/>
                  </a:lnTo>
                  <a:lnTo>
                    <a:pt x="5" y="2"/>
                  </a:lnTo>
                  <a:lnTo>
                    <a:pt x="5" y="2"/>
                  </a:lnTo>
                  <a:lnTo>
                    <a:pt x="5" y="3"/>
                  </a:lnTo>
                  <a:lnTo>
                    <a:pt x="4" y="2"/>
                  </a:lnTo>
                  <a:lnTo>
                    <a:pt x="3" y="2"/>
                  </a:lnTo>
                  <a:lnTo>
                    <a:pt x="3" y="2"/>
                  </a:lnTo>
                  <a:lnTo>
                    <a:pt x="3" y="2"/>
                  </a:lnTo>
                  <a:lnTo>
                    <a:pt x="3" y="2"/>
                  </a:lnTo>
                  <a:lnTo>
                    <a:pt x="3" y="2"/>
                  </a:lnTo>
                  <a:lnTo>
                    <a:pt x="3" y="2"/>
                  </a:lnTo>
                  <a:lnTo>
                    <a:pt x="3" y="2"/>
                  </a:lnTo>
                  <a:lnTo>
                    <a:pt x="2" y="1"/>
                  </a:lnTo>
                  <a:lnTo>
                    <a:pt x="2" y="0"/>
                  </a:lnTo>
                  <a:lnTo>
                    <a:pt x="2" y="0"/>
                  </a:lnTo>
                  <a:lnTo>
                    <a:pt x="2" y="0"/>
                  </a:lnTo>
                  <a:lnTo>
                    <a:pt x="0" y="0"/>
                  </a:lnTo>
                  <a:lnTo>
                    <a:pt x="0" y="0"/>
                  </a:lnTo>
                  <a:lnTo>
                    <a:pt x="2" y="0"/>
                  </a:lnTo>
                  <a:lnTo>
                    <a:pt x="2" y="0"/>
                  </a:lnTo>
                  <a:lnTo>
                    <a:pt x="2" y="0"/>
                  </a:lnTo>
                  <a:lnTo>
                    <a:pt x="2" y="0"/>
                  </a:lnTo>
                  <a:lnTo>
                    <a:pt x="2" y="0"/>
                  </a:lnTo>
                  <a:lnTo>
                    <a:pt x="2" y="0"/>
                  </a:lnTo>
                  <a:lnTo>
                    <a:pt x="3" y="0"/>
                  </a:lnTo>
                  <a:lnTo>
                    <a:pt x="3" y="0"/>
                  </a:lnTo>
                  <a:lnTo>
                    <a:pt x="3" y="0"/>
                  </a:lnTo>
                  <a:lnTo>
                    <a:pt x="3" y="0"/>
                  </a:lnTo>
                  <a:lnTo>
                    <a:pt x="3" y="0"/>
                  </a:lnTo>
                  <a:lnTo>
                    <a:pt x="3"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24" name="Freeform 1188">
              <a:extLst>
                <a:ext uri="{FF2B5EF4-FFF2-40B4-BE49-F238E27FC236}">
                  <a16:creationId xmlns:a16="http://schemas.microsoft.com/office/drawing/2014/main" id="{E3EEBBA1-86E5-4FF1-AD16-6D5C6BEDF472}"/>
                </a:ext>
              </a:extLst>
            </p:cNvPr>
            <p:cNvSpPr>
              <a:spLocks/>
            </p:cNvSpPr>
            <p:nvPr/>
          </p:nvSpPr>
          <p:spPr bwMode="auto">
            <a:xfrm>
              <a:off x="5710272" y="2050434"/>
              <a:ext cx="4007" cy="4007"/>
            </a:xfrm>
            <a:custGeom>
              <a:avLst/>
              <a:gdLst>
                <a:gd name="T0" fmla="*/ 3 w 3"/>
                <a:gd name="T1" fmla="*/ 2 h 3"/>
                <a:gd name="T2" fmla="*/ 3 w 3"/>
                <a:gd name="T3" fmla="*/ 2 h 3"/>
                <a:gd name="T4" fmla="*/ 3 w 3"/>
                <a:gd name="T5" fmla="*/ 2 h 3"/>
                <a:gd name="T6" fmla="*/ 1 w 3"/>
                <a:gd name="T7" fmla="*/ 2 h 3"/>
                <a:gd name="T8" fmla="*/ 1 w 3"/>
                <a:gd name="T9" fmla="*/ 2 h 3"/>
                <a:gd name="T10" fmla="*/ 1 w 3"/>
                <a:gd name="T11" fmla="*/ 2 h 3"/>
                <a:gd name="T12" fmla="*/ 1 w 3"/>
                <a:gd name="T13" fmla="*/ 2 h 3"/>
                <a:gd name="T14" fmla="*/ 1 w 3"/>
                <a:gd name="T15" fmla="*/ 2 h 3"/>
                <a:gd name="T16" fmla="*/ 3 w 3"/>
                <a:gd name="T17" fmla="*/ 2 h 3"/>
                <a:gd name="T18" fmla="*/ 3 w 3"/>
                <a:gd name="T19" fmla="*/ 2 h 3"/>
                <a:gd name="T20" fmla="*/ 3 w 3"/>
                <a:gd name="T21" fmla="*/ 2 h 3"/>
                <a:gd name="T22" fmla="*/ 3 w 3"/>
                <a:gd name="T23" fmla="*/ 3 h 3"/>
                <a:gd name="T24" fmla="*/ 3 w 3"/>
                <a:gd name="T25" fmla="*/ 3 h 3"/>
                <a:gd name="T26" fmla="*/ 3 w 3"/>
                <a:gd name="T27" fmla="*/ 3 h 3"/>
                <a:gd name="T28" fmla="*/ 1 w 3"/>
                <a:gd name="T29" fmla="*/ 3 h 3"/>
                <a:gd name="T30" fmla="*/ 1 w 3"/>
                <a:gd name="T31" fmla="*/ 3 h 3"/>
                <a:gd name="T32" fmla="*/ 1 w 3"/>
                <a:gd name="T33" fmla="*/ 3 h 3"/>
                <a:gd name="T34" fmla="*/ 1 w 3"/>
                <a:gd name="T35" fmla="*/ 2 h 3"/>
                <a:gd name="T36" fmla="*/ 1 w 3"/>
                <a:gd name="T37" fmla="*/ 2 h 3"/>
                <a:gd name="T38" fmla="*/ 1 w 3"/>
                <a:gd name="T39" fmla="*/ 2 h 3"/>
                <a:gd name="T40" fmla="*/ 1 w 3"/>
                <a:gd name="T41" fmla="*/ 3 h 3"/>
                <a:gd name="T42" fmla="*/ 1 w 3"/>
                <a:gd name="T43" fmla="*/ 3 h 3"/>
                <a:gd name="T44" fmla="*/ 1 w 3"/>
                <a:gd name="T45" fmla="*/ 3 h 3"/>
                <a:gd name="T46" fmla="*/ 1 w 3"/>
                <a:gd name="T47" fmla="*/ 3 h 3"/>
                <a:gd name="T48" fmla="*/ 1 w 3"/>
                <a:gd name="T49" fmla="*/ 3 h 3"/>
                <a:gd name="T50" fmla="*/ 1 w 3"/>
                <a:gd name="T51" fmla="*/ 3 h 3"/>
                <a:gd name="T52" fmla="*/ 1 w 3"/>
                <a:gd name="T53" fmla="*/ 3 h 3"/>
                <a:gd name="T54" fmla="*/ 1 w 3"/>
                <a:gd name="T55" fmla="*/ 3 h 3"/>
                <a:gd name="T56" fmla="*/ 1 w 3"/>
                <a:gd name="T57" fmla="*/ 3 h 3"/>
                <a:gd name="T58" fmla="*/ 0 w 3"/>
                <a:gd name="T59" fmla="*/ 2 h 3"/>
                <a:gd name="T60" fmla="*/ 0 w 3"/>
                <a:gd name="T61" fmla="*/ 2 h 3"/>
                <a:gd name="T62" fmla="*/ 0 w 3"/>
                <a:gd name="T63" fmla="*/ 2 h 3"/>
                <a:gd name="T64" fmla="*/ 0 w 3"/>
                <a:gd name="T65" fmla="*/ 2 h 3"/>
                <a:gd name="T66" fmla="*/ 0 w 3"/>
                <a:gd name="T67" fmla="*/ 2 h 3"/>
                <a:gd name="T68" fmla="*/ 0 w 3"/>
                <a:gd name="T69" fmla="*/ 2 h 3"/>
                <a:gd name="T70" fmla="*/ 0 w 3"/>
                <a:gd name="T71" fmla="*/ 2 h 3"/>
                <a:gd name="T72" fmla="*/ 0 w 3"/>
                <a:gd name="T73" fmla="*/ 2 h 3"/>
                <a:gd name="T74" fmla="*/ 0 w 3"/>
                <a:gd name="T75" fmla="*/ 2 h 3"/>
                <a:gd name="T76" fmla="*/ 0 w 3"/>
                <a:gd name="T77" fmla="*/ 2 h 3"/>
                <a:gd name="T78" fmla="*/ 0 w 3"/>
                <a:gd name="T79" fmla="*/ 2 h 3"/>
                <a:gd name="T80" fmla="*/ 0 w 3"/>
                <a:gd name="T81" fmla="*/ 2 h 3"/>
                <a:gd name="T82" fmla="*/ 0 w 3"/>
                <a:gd name="T83" fmla="*/ 1 h 3"/>
                <a:gd name="T84" fmla="*/ 0 w 3"/>
                <a:gd name="T85" fmla="*/ 1 h 3"/>
                <a:gd name="T86" fmla="*/ 0 w 3"/>
                <a:gd name="T87" fmla="*/ 1 h 3"/>
                <a:gd name="T88" fmla="*/ 0 w 3"/>
                <a:gd name="T89" fmla="*/ 1 h 3"/>
                <a:gd name="T90" fmla="*/ 0 w 3"/>
                <a:gd name="T91" fmla="*/ 1 h 3"/>
                <a:gd name="T92" fmla="*/ 1 w 3"/>
                <a:gd name="T93" fmla="*/ 0 h 3"/>
                <a:gd name="T94" fmla="*/ 1 w 3"/>
                <a:gd name="T95" fmla="*/ 0 h 3"/>
                <a:gd name="T96" fmla="*/ 1 w 3"/>
                <a:gd name="T97" fmla="*/ 1 h 3"/>
                <a:gd name="T98" fmla="*/ 1 w 3"/>
                <a:gd name="T99" fmla="*/ 1 h 3"/>
                <a:gd name="T100" fmla="*/ 1 w 3"/>
                <a:gd name="T101" fmla="*/ 2 h 3"/>
                <a:gd name="T102" fmla="*/ 3 w 3"/>
                <a:gd name="T103"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 h="3">
                  <a:moveTo>
                    <a:pt x="3" y="2"/>
                  </a:moveTo>
                  <a:lnTo>
                    <a:pt x="3" y="2"/>
                  </a:lnTo>
                  <a:lnTo>
                    <a:pt x="3" y="2"/>
                  </a:lnTo>
                  <a:lnTo>
                    <a:pt x="1" y="2"/>
                  </a:lnTo>
                  <a:lnTo>
                    <a:pt x="1" y="2"/>
                  </a:lnTo>
                  <a:lnTo>
                    <a:pt x="1" y="2"/>
                  </a:lnTo>
                  <a:lnTo>
                    <a:pt x="1" y="2"/>
                  </a:lnTo>
                  <a:lnTo>
                    <a:pt x="1" y="2"/>
                  </a:lnTo>
                  <a:lnTo>
                    <a:pt x="3" y="2"/>
                  </a:lnTo>
                  <a:lnTo>
                    <a:pt x="3" y="2"/>
                  </a:lnTo>
                  <a:lnTo>
                    <a:pt x="3" y="2"/>
                  </a:lnTo>
                  <a:lnTo>
                    <a:pt x="3" y="3"/>
                  </a:lnTo>
                  <a:lnTo>
                    <a:pt x="3" y="3"/>
                  </a:lnTo>
                  <a:lnTo>
                    <a:pt x="3" y="3"/>
                  </a:lnTo>
                  <a:lnTo>
                    <a:pt x="1" y="3"/>
                  </a:lnTo>
                  <a:lnTo>
                    <a:pt x="1" y="3"/>
                  </a:lnTo>
                  <a:lnTo>
                    <a:pt x="1" y="3"/>
                  </a:lnTo>
                  <a:lnTo>
                    <a:pt x="1" y="2"/>
                  </a:lnTo>
                  <a:lnTo>
                    <a:pt x="1" y="2"/>
                  </a:lnTo>
                  <a:lnTo>
                    <a:pt x="1" y="2"/>
                  </a:lnTo>
                  <a:lnTo>
                    <a:pt x="1" y="3"/>
                  </a:lnTo>
                  <a:lnTo>
                    <a:pt x="1" y="3"/>
                  </a:lnTo>
                  <a:lnTo>
                    <a:pt x="1" y="3"/>
                  </a:lnTo>
                  <a:lnTo>
                    <a:pt x="1" y="3"/>
                  </a:lnTo>
                  <a:lnTo>
                    <a:pt x="1" y="3"/>
                  </a:lnTo>
                  <a:lnTo>
                    <a:pt x="1" y="3"/>
                  </a:lnTo>
                  <a:lnTo>
                    <a:pt x="1" y="3"/>
                  </a:lnTo>
                  <a:lnTo>
                    <a:pt x="1" y="3"/>
                  </a:lnTo>
                  <a:lnTo>
                    <a:pt x="1" y="3"/>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1"/>
                  </a:lnTo>
                  <a:lnTo>
                    <a:pt x="0" y="1"/>
                  </a:lnTo>
                  <a:lnTo>
                    <a:pt x="0" y="1"/>
                  </a:lnTo>
                  <a:lnTo>
                    <a:pt x="0" y="1"/>
                  </a:lnTo>
                  <a:lnTo>
                    <a:pt x="0" y="1"/>
                  </a:lnTo>
                  <a:lnTo>
                    <a:pt x="1" y="0"/>
                  </a:lnTo>
                  <a:lnTo>
                    <a:pt x="1" y="0"/>
                  </a:lnTo>
                  <a:lnTo>
                    <a:pt x="1" y="1"/>
                  </a:lnTo>
                  <a:lnTo>
                    <a:pt x="1" y="1"/>
                  </a:lnTo>
                  <a:lnTo>
                    <a:pt x="1" y="2"/>
                  </a:lnTo>
                  <a:lnTo>
                    <a:pt x="3"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25" name="Freeform 1189">
              <a:extLst>
                <a:ext uri="{FF2B5EF4-FFF2-40B4-BE49-F238E27FC236}">
                  <a16:creationId xmlns:a16="http://schemas.microsoft.com/office/drawing/2014/main" id="{5F6AE5B9-CA8D-4255-89BE-FD64E8F8A4E3}"/>
                </a:ext>
              </a:extLst>
            </p:cNvPr>
            <p:cNvSpPr>
              <a:spLocks/>
            </p:cNvSpPr>
            <p:nvPr/>
          </p:nvSpPr>
          <p:spPr bwMode="auto">
            <a:xfrm>
              <a:off x="5708937" y="2050434"/>
              <a:ext cx="1336" cy="2671"/>
            </a:xfrm>
            <a:custGeom>
              <a:avLst/>
              <a:gdLst>
                <a:gd name="T0" fmla="*/ 1 w 1"/>
                <a:gd name="T1" fmla="*/ 2 h 2"/>
                <a:gd name="T2" fmla="*/ 1 w 1"/>
                <a:gd name="T3" fmla="*/ 2 h 2"/>
                <a:gd name="T4" fmla="*/ 1 w 1"/>
                <a:gd name="T5" fmla="*/ 2 h 2"/>
                <a:gd name="T6" fmla="*/ 1 w 1"/>
                <a:gd name="T7" fmla="*/ 1 h 2"/>
                <a:gd name="T8" fmla="*/ 1 w 1"/>
                <a:gd name="T9" fmla="*/ 1 h 2"/>
                <a:gd name="T10" fmla="*/ 0 w 1"/>
                <a:gd name="T11" fmla="*/ 1 h 2"/>
                <a:gd name="T12" fmla="*/ 0 w 1"/>
                <a:gd name="T13" fmla="*/ 1 h 2"/>
                <a:gd name="T14" fmla="*/ 0 w 1"/>
                <a:gd name="T15" fmla="*/ 0 h 2"/>
                <a:gd name="T16" fmla="*/ 0 w 1"/>
                <a:gd name="T17" fmla="*/ 0 h 2"/>
                <a:gd name="T18" fmla="*/ 1 w 1"/>
                <a:gd name="T19" fmla="*/ 0 h 2"/>
                <a:gd name="T20" fmla="*/ 1 w 1"/>
                <a:gd name="T21" fmla="*/ 1 h 2"/>
                <a:gd name="T22" fmla="*/ 1 w 1"/>
                <a:gd name="T23" fmla="*/ 1 h 2"/>
                <a:gd name="T24" fmla="*/ 1 w 1"/>
                <a:gd name="T25" fmla="*/ 1 h 2"/>
                <a:gd name="T26" fmla="*/ 1 w 1"/>
                <a:gd name="T27" fmla="*/ 1 h 2"/>
                <a:gd name="T28" fmla="*/ 1 w 1"/>
                <a:gd name="T2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 h="2">
                  <a:moveTo>
                    <a:pt x="1" y="2"/>
                  </a:moveTo>
                  <a:lnTo>
                    <a:pt x="1" y="2"/>
                  </a:lnTo>
                  <a:lnTo>
                    <a:pt x="1" y="2"/>
                  </a:lnTo>
                  <a:lnTo>
                    <a:pt x="1" y="1"/>
                  </a:lnTo>
                  <a:lnTo>
                    <a:pt x="1" y="1"/>
                  </a:lnTo>
                  <a:lnTo>
                    <a:pt x="0" y="1"/>
                  </a:lnTo>
                  <a:lnTo>
                    <a:pt x="0" y="1"/>
                  </a:lnTo>
                  <a:lnTo>
                    <a:pt x="0" y="0"/>
                  </a:lnTo>
                  <a:lnTo>
                    <a:pt x="0" y="0"/>
                  </a:lnTo>
                  <a:lnTo>
                    <a:pt x="1" y="0"/>
                  </a:lnTo>
                  <a:lnTo>
                    <a:pt x="1" y="1"/>
                  </a:lnTo>
                  <a:lnTo>
                    <a:pt x="1" y="1"/>
                  </a:lnTo>
                  <a:lnTo>
                    <a:pt x="1" y="1"/>
                  </a:lnTo>
                  <a:lnTo>
                    <a:pt x="1" y="1"/>
                  </a:lnTo>
                  <a:lnTo>
                    <a:pt x="1"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26" name="Freeform 1190">
              <a:extLst>
                <a:ext uri="{FF2B5EF4-FFF2-40B4-BE49-F238E27FC236}">
                  <a16:creationId xmlns:a16="http://schemas.microsoft.com/office/drawing/2014/main" id="{F3386ADA-AA9A-4C05-90E5-47437042F77D}"/>
                </a:ext>
              </a:extLst>
            </p:cNvPr>
            <p:cNvSpPr>
              <a:spLocks/>
            </p:cNvSpPr>
            <p:nvPr/>
          </p:nvSpPr>
          <p:spPr bwMode="auto">
            <a:xfrm>
              <a:off x="5707602" y="2050434"/>
              <a:ext cx="2671" cy="2671"/>
            </a:xfrm>
            <a:custGeom>
              <a:avLst/>
              <a:gdLst>
                <a:gd name="T0" fmla="*/ 2 w 2"/>
                <a:gd name="T1" fmla="*/ 2 h 2"/>
                <a:gd name="T2" fmla="*/ 1 w 2"/>
                <a:gd name="T3" fmla="*/ 2 h 2"/>
                <a:gd name="T4" fmla="*/ 1 w 2"/>
                <a:gd name="T5" fmla="*/ 2 h 2"/>
                <a:gd name="T6" fmla="*/ 1 w 2"/>
                <a:gd name="T7" fmla="*/ 2 h 2"/>
                <a:gd name="T8" fmla="*/ 1 w 2"/>
                <a:gd name="T9" fmla="*/ 2 h 2"/>
                <a:gd name="T10" fmla="*/ 1 w 2"/>
                <a:gd name="T11" fmla="*/ 1 h 2"/>
                <a:gd name="T12" fmla="*/ 1 w 2"/>
                <a:gd name="T13" fmla="*/ 1 h 2"/>
                <a:gd name="T14" fmla="*/ 1 w 2"/>
                <a:gd name="T15" fmla="*/ 1 h 2"/>
                <a:gd name="T16" fmla="*/ 1 w 2"/>
                <a:gd name="T17" fmla="*/ 1 h 2"/>
                <a:gd name="T18" fmla="*/ 0 w 2"/>
                <a:gd name="T19" fmla="*/ 1 h 2"/>
                <a:gd name="T20" fmla="*/ 0 w 2"/>
                <a:gd name="T21" fmla="*/ 1 h 2"/>
                <a:gd name="T22" fmla="*/ 0 w 2"/>
                <a:gd name="T23" fmla="*/ 0 h 2"/>
                <a:gd name="T24" fmla="*/ 0 w 2"/>
                <a:gd name="T25" fmla="*/ 0 h 2"/>
                <a:gd name="T26" fmla="*/ 1 w 2"/>
                <a:gd name="T27" fmla="*/ 0 h 2"/>
                <a:gd name="T28" fmla="*/ 1 w 2"/>
                <a:gd name="T29" fmla="*/ 0 h 2"/>
                <a:gd name="T30" fmla="*/ 1 w 2"/>
                <a:gd name="T31" fmla="*/ 1 h 2"/>
                <a:gd name="T32" fmla="*/ 1 w 2"/>
                <a:gd name="T33" fmla="*/ 2 h 2"/>
                <a:gd name="T34" fmla="*/ 2 w 2"/>
                <a:gd name="T35" fmla="*/ 2 h 2"/>
                <a:gd name="T36" fmla="*/ 2 w 2"/>
                <a:gd name="T37" fmla="*/ 2 h 2"/>
                <a:gd name="T38" fmla="*/ 2 w 2"/>
                <a:gd name="T3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 h="2">
                  <a:moveTo>
                    <a:pt x="2" y="2"/>
                  </a:moveTo>
                  <a:lnTo>
                    <a:pt x="1" y="2"/>
                  </a:lnTo>
                  <a:lnTo>
                    <a:pt x="1" y="2"/>
                  </a:lnTo>
                  <a:lnTo>
                    <a:pt x="1" y="2"/>
                  </a:lnTo>
                  <a:lnTo>
                    <a:pt x="1" y="2"/>
                  </a:lnTo>
                  <a:lnTo>
                    <a:pt x="1" y="1"/>
                  </a:lnTo>
                  <a:lnTo>
                    <a:pt x="1" y="1"/>
                  </a:lnTo>
                  <a:lnTo>
                    <a:pt x="1" y="1"/>
                  </a:lnTo>
                  <a:lnTo>
                    <a:pt x="1" y="1"/>
                  </a:lnTo>
                  <a:lnTo>
                    <a:pt x="0" y="1"/>
                  </a:lnTo>
                  <a:lnTo>
                    <a:pt x="0" y="1"/>
                  </a:lnTo>
                  <a:lnTo>
                    <a:pt x="0" y="0"/>
                  </a:lnTo>
                  <a:lnTo>
                    <a:pt x="0" y="0"/>
                  </a:lnTo>
                  <a:lnTo>
                    <a:pt x="1" y="0"/>
                  </a:lnTo>
                  <a:lnTo>
                    <a:pt x="1" y="0"/>
                  </a:lnTo>
                  <a:lnTo>
                    <a:pt x="1" y="1"/>
                  </a:lnTo>
                  <a:lnTo>
                    <a:pt x="1" y="2"/>
                  </a:lnTo>
                  <a:lnTo>
                    <a:pt x="2" y="2"/>
                  </a:lnTo>
                  <a:lnTo>
                    <a:pt x="2" y="2"/>
                  </a:lnTo>
                  <a:lnTo>
                    <a:pt x="2"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27" name="Freeform 1191">
              <a:extLst>
                <a:ext uri="{FF2B5EF4-FFF2-40B4-BE49-F238E27FC236}">
                  <a16:creationId xmlns:a16="http://schemas.microsoft.com/office/drawing/2014/main" id="{782B7C0B-15C3-43A4-B830-DAFFC3D115FB}"/>
                </a:ext>
              </a:extLst>
            </p:cNvPr>
            <p:cNvSpPr>
              <a:spLocks/>
            </p:cNvSpPr>
            <p:nvPr/>
          </p:nvSpPr>
          <p:spPr bwMode="auto">
            <a:xfrm>
              <a:off x="5710272" y="2050434"/>
              <a:ext cx="4007" cy="1336"/>
            </a:xfrm>
            <a:custGeom>
              <a:avLst/>
              <a:gdLst>
                <a:gd name="T0" fmla="*/ 1 w 3"/>
                <a:gd name="T1" fmla="*/ 1 h 1"/>
                <a:gd name="T2" fmla="*/ 1 w 3"/>
                <a:gd name="T3" fmla="*/ 1 h 1"/>
                <a:gd name="T4" fmla="*/ 3 w 3"/>
                <a:gd name="T5" fmla="*/ 1 h 1"/>
                <a:gd name="T6" fmla="*/ 3 w 3"/>
                <a:gd name="T7" fmla="*/ 1 h 1"/>
                <a:gd name="T8" fmla="*/ 3 w 3"/>
                <a:gd name="T9" fmla="*/ 1 h 1"/>
                <a:gd name="T10" fmla="*/ 3 w 3"/>
                <a:gd name="T11" fmla="*/ 1 h 1"/>
                <a:gd name="T12" fmla="*/ 3 w 3"/>
                <a:gd name="T13" fmla="*/ 1 h 1"/>
                <a:gd name="T14" fmla="*/ 3 w 3"/>
                <a:gd name="T15" fmla="*/ 1 h 1"/>
                <a:gd name="T16" fmla="*/ 3 w 3"/>
                <a:gd name="T17" fmla="*/ 1 h 1"/>
                <a:gd name="T18" fmla="*/ 3 w 3"/>
                <a:gd name="T19" fmla="*/ 1 h 1"/>
                <a:gd name="T20" fmla="*/ 3 w 3"/>
                <a:gd name="T21" fmla="*/ 1 h 1"/>
                <a:gd name="T22" fmla="*/ 1 w 3"/>
                <a:gd name="T23" fmla="*/ 1 h 1"/>
                <a:gd name="T24" fmla="*/ 1 w 3"/>
                <a:gd name="T25" fmla="*/ 1 h 1"/>
                <a:gd name="T26" fmla="*/ 1 w 3"/>
                <a:gd name="T27" fmla="*/ 1 h 1"/>
                <a:gd name="T28" fmla="*/ 1 w 3"/>
                <a:gd name="T29" fmla="*/ 1 h 1"/>
                <a:gd name="T30" fmla="*/ 1 w 3"/>
                <a:gd name="T31" fmla="*/ 0 h 1"/>
                <a:gd name="T32" fmla="*/ 1 w 3"/>
                <a:gd name="T33" fmla="*/ 0 h 1"/>
                <a:gd name="T34" fmla="*/ 0 w 3"/>
                <a:gd name="T35" fmla="*/ 0 h 1"/>
                <a:gd name="T36" fmla="*/ 1 w 3"/>
                <a:gd name="T37" fmla="*/ 0 h 1"/>
                <a:gd name="T38" fmla="*/ 1 w 3"/>
                <a:gd name="T39" fmla="*/ 0 h 1"/>
                <a:gd name="T40" fmla="*/ 1 w 3"/>
                <a:gd name="T41" fmla="*/ 0 h 1"/>
                <a:gd name="T42" fmla="*/ 1 w 3"/>
                <a:gd name="T43" fmla="*/ 0 h 1"/>
                <a:gd name="T44" fmla="*/ 1 w 3"/>
                <a:gd name="T45" fmla="*/ 1 h 1"/>
                <a:gd name="T46" fmla="*/ 1 w 3"/>
                <a:gd name="T47" fmla="*/ 1 h 1"/>
                <a:gd name="T48" fmla="*/ 1 w 3"/>
                <a:gd name="T49" fmla="*/ 1 h 1"/>
                <a:gd name="T50" fmla="*/ 1 w 3"/>
                <a:gd name="T51" fmla="*/ 1 h 1"/>
                <a:gd name="T52" fmla="*/ 1 w 3"/>
                <a:gd name="T5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 h="1">
                  <a:moveTo>
                    <a:pt x="1" y="1"/>
                  </a:moveTo>
                  <a:lnTo>
                    <a:pt x="1" y="1"/>
                  </a:lnTo>
                  <a:lnTo>
                    <a:pt x="3" y="1"/>
                  </a:lnTo>
                  <a:lnTo>
                    <a:pt x="3" y="1"/>
                  </a:lnTo>
                  <a:lnTo>
                    <a:pt x="3" y="1"/>
                  </a:lnTo>
                  <a:lnTo>
                    <a:pt x="3" y="1"/>
                  </a:lnTo>
                  <a:lnTo>
                    <a:pt x="3" y="1"/>
                  </a:lnTo>
                  <a:lnTo>
                    <a:pt x="3" y="1"/>
                  </a:lnTo>
                  <a:lnTo>
                    <a:pt x="3" y="1"/>
                  </a:lnTo>
                  <a:lnTo>
                    <a:pt x="3" y="1"/>
                  </a:lnTo>
                  <a:lnTo>
                    <a:pt x="3" y="1"/>
                  </a:lnTo>
                  <a:lnTo>
                    <a:pt x="1" y="1"/>
                  </a:lnTo>
                  <a:lnTo>
                    <a:pt x="1" y="1"/>
                  </a:lnTo>
                  <a:lnTo>
                    <a:pt x="1" y="1"/>
                  </a:lnTo>
                  <a:lnTo>
                    <a:pt x="1" y="1"/>
                  </a:lnTo>
                  <a:lnTo>
                    <a:pt x="1" y="0"/>
                  </a:lnTo>
                  <a:lnTo>
                    <a:pt x="1" y="0"/>
                  </a:lnTo>
                  <a:lnTo>
                    <a:pt x="0" y="0"/>
                  </a:lnTo>
                  <a:lnTo>
                    <a:pt x="1" y="0"/>
                  </a:lnTo>
                  <a:lnTo>
                    <a:pt x="1" y="0"/>
                  </a:lnTo>
                  <a:lnTo>
                    <a:pt x="1" y="0"/>
                  </a:lnTo>
                  <a:lnTo>
                    <a:pt x="1" y="0"/>
                  </a:lnTo>
                  <a:lnTo>
                    <a:pt x="1" y="1"/>
                  </a:lnTo>
                  <a:lnTo>
                    <a:pt x="1" y="1"/>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28" name="Freeform 1192">
              <a:extLst>
                <a:ext uri="{FF2B5EF4-FFF2-40B4-BE49-F238E27FC236}">
                  <a16:creationId xmlns:a16="http://schemas.microsoft.com/office/drawing/2014/main" id="{444A6250-A33D-4AFB-A9C8-6CF2EA740F17}"/>
                </a:ext>
              </a:extLst>
            </p:cNvPr>
            <p:cNvSpPr>
              <a:spLocks/>
            </p:cNvSpPr>
            <p:nvPr/>
          </p:nvSpPr>
          <p:spPr bwMode="auto">
            <a:xfrm>
              <a:off x="5704931" y="2296164"/>
              <a:ext cx="0" cy="1336"/>
            </a:xfrm>
            <a:custGeom>
              <a:avLst/>
              <a:gdLst>
                <a:gd name="T0" fmla="*/ 1 h 1"/>
                <a:gd name="T1" fmla="*/ 1 h 1"/>
                <a:gd name="T2" fmla="*/ 1 h 1"/>
                <a:gd name="T3" fmla="*/ 1 h 1"/>
                <a:gd name="T4" fmla="*/ 0 h 1"/>
                <a:gd name="T5" fmla="*/ 0 h 1"/>
                <a:gd name="T6" fmla="*/ 1 h 1"/>
                <a:gd name="T7" fmla="*/ 1 h 1"/>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1">
                  <a:moveTo>
                    <a:pt x="0" y="1"/>
                  </a:moveTo>
                  <a:lnTo>
                    <a:pt x="0" y="1"/>
                  </a:lnTo>
                  <a:lnTo>
                    <a:pt x="0" y="1"/>
                  </a:lnTo>
                  <a:lnTo>
                    <a:pt x="0" y="1"/>
                  </a:lnTo>
                  <a:lnTo>
                    <a:pt x="0" y="0"/>
                  </a:lnTo>
                  <a:lnTo>
                    <a:pt x="0" y="0"/>
                  </a:lnTo>
                  <a:lnTo>
                    <a:pt x="0" y="1"/>
                  </a:lnTo>
                  <a:lnTo>
                    <a:pt x="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29" name="Freeform 1193">
              <a:extLst>
                <a:ext uri="{FF2B5EF4-FFF2-40B4-BE49-F238E27FC236}">
                  <a16:creationId xmlns:a16="http://schemas.microsoft.com/office/drawing/2014/main" id="{ADC9BF32-A883-4C0D-ACE0-DDCB3DDA8021}"/>
                </a:ext>
              </a:extLst>
            </p:cNvPr>
            <p:cNvSpPr>
              <a:spLocks/>
            </p:cNvSpPr>
            <p:nvPr/>
          </p:nvSpPr>
          <p:spPr bwMode="auto">
            <a:xfrm>
              <a:off x="5704931" y="2296164"/>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30" name="Freeform 1194">
              <a:extLst>
                <a:ext uri="{FF2B5EF4-FFF2-40B4-BE49-F238E27FC236}">
                  <a16:creationId xmlns:a16="http://schemas.microsoft.com/office/drawing/2014/main" id="{1DD60AFD-02E7-48A8-8FE9-31E3877B5687}"/>
                </a:ext>
              </a:extLst>
            </p:cNvPr>
            <p:cNvSpPr>
              <a:spLocks/>
            </p:cNvSpPr>
            <p:nvPr/>
          </p:nvSpPr>
          <p:spPr bwMode="auto">
            <a:xfrm>
              <a:off x="5782389" y="2278802"/>
              <a:ext cx="8013" cy="5342"/>
            </a:xfrm>
            <a:custGeom>
              <a:avLst/>
              <a:gdLst>
                <a:gd name="T0" fmla="*/ 2 w 6"/>
                <a:gd name="T1" fmla="*/ 0 h 4"/>
                <a:gd name="T2" fmla="*/ 4 w 6"/>
                <a:gd name="T3" fmla="*/ 1 h 4"/>
                <a:gd name="T4" fmla="*/ 4 w 6"/>
                <a:gd name="T5" fmla="*/ 1 h 4"/>
                <a:gd name="T6" fmla="*/ 4 w 6"/>
                <a:gd name="T7" fmla="*/ 1 h 4"/>
                <a:gd name="T8" fmla="*/ 4 w 6"/>
                <a:gd name="T9" fmla="*/ 1 h 4"/>
                <a:gd name="T10" fmla="*/ 4 w 6"/>
                <a:gd name="T11" fmla="*/ 1 h 4"/>
                <a:gd name="T12" fmla="*/ 4 w 6"/>
                <a:gd name="T13" fmla="*/ 1 h 4"/>
                <a:gd name="T14" fmla="*/ 4 w 6"/>
                <a:gd name="T15" fmla="*/ 1 h 4"/>
                <a:gd name="T16" fmla="*/ 4 w 6"/>
                <a:gd name="T17" fmla="*/ 1 h 4"/>
                <a:gd name="T18" fmla="*/ 6 w 6"/>
                <a:gd name="T19" fmla="*/ 1 h 4"/>
                <a:gd name="T20" fmla="*/ 6 w 6"/>
                <a:gd name="T21" fmla="*/ 1 h 4"/>
                <a:gd name="T22" fmla="*/ 6 w 6"/>
                <a:gd name="T23" fmla="*/ 2 h 4"/>
                <a:gd name="T24" fmla="*/ 6 w 6"/>
                <a:gd name="T25" fmla="*/ 2 h 4"/>
                <a:gd name="T26" fmla="*/ 6 w 6"/>
                <a:gd name="T27" fmla="*/ 2 h 4"/>
                <a:gd name="T28" fmla="*/ 6 w 6"/>
                <a:gd name="T29" fmla="*/ 2 h 4"/>
                <a:gd name="T30" fmla="*/ 6 w 6"/>
                <a:gd name="T31" fmla="*/ 2 h 4"/>
                <a:gd name="T32" fmla="*/ 6 w 6"/>
                <a:gd name="T33" fmla="*/ 2 h 4"/>
                <a:gd name="T34" fmla="*/ 4 w 6"/>
                <a:gd name="T35" fmla="*/ 2 h 4"/>
                <a:gd name="T36" fmla="*/ 4 w 6"/>
                <a:gd name="T37" fmla="*/ 2 h 4"/>
                <a:gd name="T38" fmla="*/ 4 w 6"/>
                <a:gd name="T39" fmla="*/ 2 h 4"/>
                <a:gd name="T40" fmla="*/ 4 w 6"/>
                <a:gd name="T41" fmla="*/ 2 h 4"/>
                <a:gd name="T42" fmla="*/ 4 w 6"/>
                <a:gd name="T43" fmla="*/ 2 h 4"/>
                <a:gd name="T44" fmla="*/ 4 w 6"/>
                <a:gd name="T45" fmla="*/ 2 h 4"/>
                <a:gd name="T46" fmla="*/ 4 w 6"/>
                <a:gd name="T47" fmla="*/ 4 h 4"/>
                <a:gd name="T48" fmla="*/ 4 w 6"/>
                <a:gd name="T49" fmla="*/ 4 h 4"/>
                <a:gd name="T50" fmla="*/ 3 w 6"/>
                <a:gd name="T51" fmla="*/ 4 h 4"/>
                <a:gd name="T52" fmla="*/ 2 w 6"/>
                <a:gd name="T53" fmla="*/ 4 h 4"/>
                <a:gd name="T54" fmla="*/ 1 w 6"/>
                <a:gd name="T55" fmla="*/ 2 h 4"/>
                <a:gd name="T56" fmla="*/ 1 w 6"/>
                <a:gd name="T57" fmla="*/ 2 h 4"/>
                <a:gd name="T58" fmla="*/ 0 w 6"/>
                <a:gd name="T59" fmla="*/ 2 h 4"/>
                <a:gd name="T60" fmla="*/ 0 w 6"/>
                <a:gd name="T61" fmla="*/ 2 h 4"/>
                <a:gd name="T62" fmla="*/ 0 w 6"/>
                <a:gd name="T63" fmla="*/ 2 h 4"/>
                <a:gd name="T64" fmla="*/ 0 w 6"/>
                <a:gd name="T65" fmla="*/ 2 h 4"/>
                <a:gd name="T66" fmla="*/ 0 w 6"/>
                <a:gd name="T67" fmla="*/ 2 h 4"/>
                <a:gd name="T68" fmla="*/ 0 w 6"/>
                <a:gd name="T69" fmla="*/ 2 h 4"/>
                <a:gd name="T70" fmla="*/ 0 w 6"/>
                <a:gd name="T71" fmla="*/ 1 h 4"/>
                <a:gd name="T72" fmla="*/ 1 w 6"/>
                <a:gd name="T73" fmla="*/ 1 h 4"/>
                <a:gd name="T74" fmla="*/ 1 w 6"/>
                <a:gd name="T75" fmla="*/ 1 h 4"/>
                <a:gd name="T76" fmla="*/ 1 w 6"/>
                <a:gd name="T77" fmla="*/ 1 h 4"/>
                <a:gd name="T78" fmla="*/ 1 w 6"/>
                <a:gd name="T79" fmla="*/ 1 h 4"/>
                <a:gd name="T80" fmla="*/ 1 w 6"/>
                <a:gd name="T81" fmla="*/ 1 h 4"/>
                <a:gd name="T82" fmla="*/ 2 w 6"/>
                <a:gd name="T83" fmla="*/ 1 h 4"/>
                <a:gd name="T84" fmla="*/ 2 w 6"/>
                <a:gd name="T85" fmla="*/ 1 h 4"/>
                <a:gd name="T86" fmla="*/ 2 w 6"/>
                <a:gd name="T87" fmla="*/ 0 h 4"/>
                <a:gd name="T88" fmla="*/ 2 w 6"/>
                <a:gd name="T8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 h="4">
                  <a:moveTo>
                    <a:pt x="2" y="0"/>
                  </a:moveTo>
                  <a:lnTo>
                    <a:pt x="4" y="1"/>
                  </a:lnTo>
                  <a:lnTo>
                    <a:pt x="4" y="1"/>
                  </a:lnTo>
                  <a:lnTo>
                    <a:pt x="4" y="1"/>
                  </a:lnTo>
                  <a:lnTo>
                    <a:pt x="4" y="1"/>
                  </a:lnTo>
                  <a:lnTo>
                    <a:pt x="4" y="1"/>
                  </a:lnTo>
                  <a:lnTo>
                    <a:pt x="4" y="1"/>
                  </a:lnTo>
                  <a:lnTo>
                    <a:pt x="4" y="1"/>
                  </a:lnTo>
                  <a:lnTo>
                    <a:pt x="4" y="1"/>
                  </a:lnTo>
                  <a:lnTo>
                    <a:pt x="6" y="1"/>
                  </a:lnTo>
                  <a:lnTo>
                    <a:pt x="6" y="1"/>
                  </a:lnTo>
                  <a:lnTo>
                    <a:pt x="6" y="2"/>
                  </a:lnTo>
                  <a:lnTo>
                    <a:pt x="6" y="2"/>
                  </a:lnTo>
                  <a:lnTo>
                    <a:pt x="6" y="2"/>
                  </a:lnTo>
                  <a:lnTo>
                    <a:pt x="6" y="2"/>
                  </a:lnTo>
                  <a:lnTo>
                    <a:pt x="6" y="2"/>
                  </a:lnTo>
                  <a:lnTo>
                    <a:pt x="6" y="2"/>
                  </a:lnTo>
                  <a:lnTo>
                    <a:pt x="4" y="2"/>
                  </a:lnTo>
                  <a:lnTo>
                    <a:pt x="4" y="2"/>
                  </a:lnTo>
                  <a:lnTo>
                    <a:pt x="4" y="2"/>
                  </a:lnTo>
                  <a:lnTo>
                    <a:pt x="4" y="2"/>
                  </a:lnTo>
                  <a:lnTo>
                    <a:pt x="4" y="2"/>
                  </a:lnTo>
                  <a:lnTo>
                    <a:pt x="4" y="2"/>
                  </a:lnTo>
                  <a:lnTo>
                    <a:pt x="4" y="4"/>
                  </a:lnTo>
                  <a:lnTo>
                    <a:pt x="4" y="4"/>
                  </a:lnTo>
                  <a:lnTo>
                    <a:pt x="3" y="4"/>
                  </a:lnTo>
                  <a:lnTo>
                    <a:pt x="2" y="4"/>
                  </a:lnTo>
                  <a:lnTo>
                    <a:pt x="1" y="2"/>
                  </a:lnTo>
                  <a:lnTo>
                    <a:pt x="1" y="2"/>
                  </a:lnTo>
                  <a:lnTo>
                    <a:pt x="0" y="2"/>
                  </a:lnTo>
                  <a:lnTo>
                    <a:pt x="0" y="2"/>
                  </a:lnTo>
                  <a:lnTo>
                    <a:pt x="0" y="2"/>
                  </a:lnTo>
                  <a:lnTo>
                    <a:pt x="0" y="2"/>
                  </a:lnTo>
                  <a:lnTo>
                    <a:pt x="0" y="2"/>
                  </a:lnTo>
                  <a:lnTo>
                    <a:pt x="0" y="2"/>
                  </a:lnTo>
                  <a:lnTo>
                    <a:pt x="0" y="1"/>
                  </a:lnTo>
                  <a:lnTo>
                    <a:pt x="1" y="1"/>
                  </a:lnTo>
                  <a:lnTo>
                    <a:pt x="1" y="1"/>
                  </a:lnTo>
                  <a:lnTo>
                    <a:pt x="1" y="1"/>
                  </a:lnTo>
                  <a:lnTo>
                    <a:pt x="1" y="1"/>
                  </a:lnTo>
                  <a:lnTo>
                    <a:pt x="1" y="1"/>
                  </a:lnTo>
                  <a:lnTo>
                    <a:pt x="2" y="1"/>
                  </a:lnTo>
                  <a:lnTo>
                    <a:pt x="2" y="1"/>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31" name="Freeform 1195">
              <a:extLst>
                <a:ext uri="{FF2B5EF4-FFF2-40B4-BE49-F238E27FC236}">
                  <a16:creationId xmlns:a16="http://schemas.microsoft.com/office/drawing/2014/main" id="{4BD92505-DEB8-4814-BA91-D7863ADE5F23}"/>
                </a:ext>
              </a:extLst>
            </p:cNvPr>
            <p:cNvSpPr>
              <a:spLocks/>
            </p:cNvSpPr>
            <p:nvPr/>
          </p:nvSpPr>
          <p:spPr bwMode="auto">
            <a:xfrm>
              <a:off x="5790402" y="2278802"/>
              <a:ext cx="1336" cy="0"/>
            </a:xfrm>
            <a:custGeom>
              <a:avLst/>
              <a:gdLst>
                <a:gd name="T0" fmla="*/ 1 w 1"/>
                <a:gd name="T1" fmla="*/ 1 w 1"/>
                <a:gd name="T2" fmla="*/ 0 w 1"/>
                <a:gd name="T3" fmla="*/ 0 w 1"/>
                <a:gd name="T4" fmla="*/ 0 w 1"/>
                <a:gd name="T5" fmla="*/ 1 w 1"/>
                <a:gd name="T6" fmla="*/ 1 w 1"/>
                <a:gd name="T7" fmla="*/ 1 w 1"/>
                <a:gd name="T8" fmla="*/ 1 w 1"/>
                <a:gd name="T9" fmla="*/ 1 w 1"/>
                <a:gd name="T10" fmla="*/ 1 w 1"/>
                <a:gd name="T11" fmla="*/ 1 w 1"/>
                <a:gd name="T12" fmla="*/ 1 w 1"/>
                <a:gd name="T13" fmla="*/ 1 w 1"/>
                <a:gd name="T14"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Lst>
              <a:rect l="0" t="0" r="r" b="b"/>
              <a:pathLst>
                <a:path w="1">
                  <a:moveTo>
                    <a:pt x="1" y="0"/>
                  </a:moveTo>
                  <a:lnTo>
                    <a:pt x="1" y="0"/>
                  </a:lnTo>
                  <a:lnTo>
                    <a:pt x="0" y="0"/>
                  </a:lnTo>
                  <a:lnTo>
                    <a:pt x="0" y="0"/>
                  </a:lnTo>
                  <a:lnTo>
                    <a:pt x="0" y="0"/>
                  </a:lnTo>
                  <a:lnTo>
                    <a:pt x="1" y="0"/>
                  </a:lnTo>
                  <a:lnTo>
                    <a:pt x="1" y="0"/>
                  </a:lnTo>
                  <a:lnTo>
                    <a:pt x="1" y="0"/>
                  </a:lnTo>
                  <a:lnTo>
                    <a:pt x="1"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32" name="Freeform 1196">
              <a:extLst>
                <a:ext uri="{FF2B5EF4-FFF2-40B4-BE49-F238E27FC236}">
                  <a16:creationId xmlns:a16="http://schemas.microsoft.com/office/drawing/2014/main" id="{80B856D4-D930-4E91-B2E9-9E4920775A5B}"/>
                </a:ext>
              </a:extLst>
            </p:cNvPr>
            <p:cNvSpPr>
              <a:spLocks/>
            </p:cNvSpPr>
            <p:nvPr/>
          </p:nvSpPr>
          <p:spPr bwMode="auto">
            <a:xfrm>
              <a:off x="5732975" y="227078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33" name="Freeform 1197">
              <a:extLst>
                <a:ext uri="{FF2B5EF4-FFF2-40B4-BE49-F238E27FC236}">
                  <a16:creationId xmlns:a16="http://schemas.microsoft.com/office/drawing/2014/main" id="{D0400EA7-5AB1-42BB-A5E9-FDAB7302A6D7}"/>
                </a:ext>
              </a:extLst>
            </p:cNvPr>
            <p:cNvSpPr>
              <a:spLocks/>
            </p:cNvSpPr>
            <p:nvPr/>
          </p:nvSpPr>
          <p:spPr bwMode="auto">
            <a:xfrm>
              <a:off x="5818447" y="2266783"/>
              <a:ext cx="2671" cy="1336"/>
            </a:xfrm>
            <a:custGeom>
              <a:avLst/>
              <a:gdLst>
                <a:gd name="T0" fmla="*/ 2 w 2"/>
                <a:gd name="T1" fmla="*/ 1 h 1"/>
                <a:gd name="T2" fmla="*/ 2 w 2"/>
                <a:gd name="T3" fmla="*/ 1 h 1"/>
                <a:gd name="T4" fmla="*/ 1 w 2"/>
                <a:gd name="T5" fmla="*/ 1 h 1"/>
                <a:gd name="T6" fmla="*/ 1 w 2"/>
                <a:gd name="T7" fmla="*/ 1 h 1"/>
                <a:gd name="T8" fmla="*/ 1 w 2"/>
                <a:gd name="T9" fmla="*/ 0 h 1"/>
                <a:gd name="T10" fmla="*/ 0 w 2"/>
                <a:gd name="T11" fmla="*/ 0 h 1"/>
                <a:gd name="T12" fmla="*/ 0 w 2"/>
                <a:gd name="T13" fmla="*/ 0 h 1"/>
                <a:gd name="T14" fmla="*/ 0 w 2"/>
                <a:gd name="T15" fmla="*/ 0 h 1"/>
                <a:gd name="T16" fmla="*/ 1 w 2"/>
                <a:gd name="T17" fmla="*/ 0 h 1"/>
                <a:gd name="T18" fmla="*/ 1 w 2"/>
                <a:gd name="T19" fmla="*/ 0 h 1"/>
                <a:gd name="T20" fmla="*/ 2 w 2"/>
                <a:gd name="T21" fmla="*/ 0 h 1"/>
                <a:gd name="T22" fmla="*/ 2 w 2"/>
                <a:gd name="T23" fmla="*/ 0 h 1"/>
                <a:gd name="T24" fmla="*/ 2 w 2"/>
                <a:gd name="T25" fmla="*/ 0 h 1"/>
                <a:gd name="T26" fmla="*/ 2 w 2"/>
                <a:gd name="T27" fmla="*/ 0 h 1"/>
                <a:gd name="T28" fmla="*/ 2 w 2"/>
                <a:gd name="T29" fmla="*/ 1 h 1"/>
                <a:gd name="T30" fmla="*/ 2 w 2"/>
                <a:gd name="T3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 h="1">
                  <a:moveTo>
                    <a:pt x="2" y="1"/>
                  </a:moveTo>
                  <a:lnTo>
                    <a:pt x="2" y="1"/>
                  </a:lnTo>
                  <a:lnTo>
                    <a:pt x="1" y="1"/>
                  </a:lnTo>
                  <a:lnTo>
                    <a:pt x="1" y="1"/>
                  </a:lnTo>
                  <a:lnTo>
                    <a:pt x="1" y="0"/>
                  </a:lnTo>
                  <a:lnTo>
                    <a:pt x="0" y="0"/>
                  </a:lnTo>
                  <a:lnTo>
                    <a:pt x="0" y="0"/>
                  </a:lnTo>
                  <a:lnTo>
                    <a:pt x="0" y="0"/>
                  </a:lnTo>
                  <a:lnTo>
                    <a:pt x="1" y="0"/>
                  </a:lnTo>
                  <a:lnTo>
                    <a:pt x="1" y="0"/>
                  </a:lnTo>
                  <a:lnTo>
                    <a:pt x="2" y="0"/>
                  </a:lnTo>
                  <a:lnTo>
                    <a:pt x="2" y="0"/>
                  </a:lnTo>
                  <a:lnTo>
                    <a:pt x="2" y="0"/>
                  </a:lnTo>
                  <a:lnTo>
                    <a:pt x="2" y="0"/>
                  </a:lnTo>
                  <a:lnTo>
                    <a:pt x="2" y="1"/>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34" name="Freeform 1198">
              <a:extLst>
                <a:ext uri="{FF2B5EF4-FFF2-40B4-BE49-F238E27FC236}">
                  <a16:creationId xmlns:a16="http://schemas.microsoft.com/office/drawing/2014/main" id="{18E9EE7C-E396-452D-A417-834172AA3F86}"/>
                </a:ext>
              </a:extLst>
            </p:cNvPr>
            <p:cNvSpPr>
              <a:spLocks/>
            </p:cNvSpPr>
            <p:nvPr/>
          </p:nvSpPr>
          <p:spPr bwMode="auto">
            <a:xfrm>
              <a:off x="5732975" y="2228053"/>
              <a:ext cx="2671" cy="1336"/>
            </a:xfrm>
            <a:custGeom>
              <a:avLst/>
              <a:gdLst>
                <a:gd name="T0" fmla="*/ 1 w 2"/>
                <a:gd name="T1" fmla="*/ 0 h 1"/>
                <a:gd name="T2" fmla="*/ 1 w 2"/>
                <a:gd name="T3" fmla="*/ 0 h 1"/>
                <a:gd name="T4" fmla="*/ 1 w 2"/>
                <a:gd name="T5" fmla="*/ 0 h 1"/>
                <a:gd name="T6" fmla="*/ 1 w 2"/>
                <a:gd name="T7" fmla="*/ 0 h 1"/>
                <a:gd name="T8" fmla="*/ 1 w 2"/>
                <a:gd name="T9" fmla="*/ 1 h 1"/>
                <a:gd name="T10" fmla="*/ 1 w 2"/>
                <a:gd name="T11" fmla="*/ 1 h 1"/>
                <a:gd name="T12" fmla="*/ 1 w 2"/>
                <a:gd name="T13" fmla="*/ 1 h 1"/>
                <a:gd name="T14" fmla="*/ 1 w 2"/>
                <a:gd name="T15" fmla="*/ 1 h 1"/>
                <a:gd name="T16" fmla="*/ 1 w 2"/>
                <a:gd name="T17" fmla="*/ 1 h 1"/>
                <a:gd name="T18" fmla="*/ 1 w 2"/>
                <a:gd name="T19" fmla="*/ 1 h 1"/>
                <a:gd name="T20" fmla="*/ 2 w 2"/>
                <a:gd name="T21" fmla="*/ 1 h 1"/>
                <a:gd name="T22" fmla="*/ 1 w 2"/>
                <a:gd name="T23" fmla="*/ 1 h 1"/>
                <a:gd name="T24" fmla="*/ 1 w 2"/>
                <a:gd name="T25" fmla="*/ 1 h 1"/>
                <a:gd name="T26" fmla="*/ 1 w 2"/>
                <a:gd name="T27" fmla="*/ 1 h 1"/>
                <a:gd name="T28" fmla="*/ 1 w 2"/>
                <a:gd name="T29" fmla="*/ 1 h 1"/>
                <a:gd name="T30" fmla="*/ 1 w 2"/>
                <a:gd name="T31" fmla="*/ 1 h 1"/>
                <a:gd name="T32" fmla="*/ 1 w 2"/>
                <a:gd name="T33" fmla="*/ 1 h 1"/>
                <a:gd name="T34" fmla="*/ 1 w 2"/>
                <a:gd name="T35" fmla="*/ 1 h 1"/>
                <a:gd name="T36" fmla="*/ 0 w 2"/>
                <a:gd name="T37" fmla="*/ 1 h 1"/>
                <a:gd name="T38" fmla="*/ 0 w 2"/>
                <a:gd name="T39" fmla="*/ 1 h 1"/>
                <a:gd name="T40" fmla="*/ 0 w 2"/>
                <a:gd name="T41" fmla="*/ 1 h 1"/>
                <a:gd name="T42" fmla="*/ 0 w 2"/>
                <a:gd name="T43" fmla="*/ 0 h 1"/>
                <a:gd name="T44" fmla="*/ 0 w 2"/>
                <a:gd name="T45" fmla="*/ 0 h 1"/>
                <a:gd name="T46" fmla="*/ 1 w 2"/>
                <a:gd name="T4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 h="1">
                  <a:moveTo>
                    <a:pt x="1" y="0"/>
                  </a:moveTo>
                  <a:lnTo>
                    <a:pt x="1" y="0"/>
                  </a:lnTo>
                  <a:lnTo>
                    <a:pt x="1" y="0"/>
                  </a:lnTo>
                  <a:lnTo>
                    <a:pt x="1" y="0"/>
                  </a:lnTo>
                  <a:lnTo>
                    <a:pt x="1" y="1"/>
                  </a:lnTo>
                  <a:lnTo>
                    <a:pt x="1" y="1"/>
                  </a:lnTo>
                  <a:lnTo>
                    <a:pt x="1" y="1"/>
                  </a:lnTo>
                  <a:lnTo>
                    <a:pt x="1" y="1"/>
                  </a:lnTo>
                  <a:lnTo>
                    <a:pt x="1" y="1"/>
                  </a:lnTo>
                  <a:lnTo>
                    <a:pt x="1" y="1"/>
                  </a:lnTo>
                  <a:lnTo>
                    <a:pt x="2" y="1"/>
                  </a:lnTo>
                  <a:lnTo>
                    <a:pt x="1" y="1"/>
                  </a:lnTo>
                  <a:lnTo>
                    <a:pt x="1" y="1"/>
                  </a:lnTo>
                  <a:lnTo>
                    <a:pt x="1" y="1"/>
                  </a:lnTo>
                  <a:lnTo>
                    <a:pt x="1" y="1"/>
                  </a:lnTo>
                  <a:lnTo>
                    <a:pt x="1" y="1"/>
                  </a:lnTo>
                  <a:lnTo>
                    <a:pt x="1" y="1"/>
                  </a:lnTo>
                  <a:lnTo>
                    <a:pt x="1" y="1"/>
                  </a:lnTo>
                  <a:lnTo>
                    <a:pt x="0" y="1"/>
                  </a:lnTo>
                  <a:lnTo>
                    <a:pt x="0" y="1"/>
                  </a:lnTo>
                  <a:lnTo>
                    <a:pt x="0" y="1"/>
                  </a:lnTo>
                  <a:lnTo>
                    <a:pt x="0" y="0"/>
                  </a:lnTo>
                  <a:lnTo>
                    <a:pt x="0"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35" name="Freeform 1199">
              <a:extLst>
                <a:ext uri="{FF2B5EF4-FFF2-40B4-BE49-F238E27FC236}">
                  <a16:creationId xmlns:a16="http://schemas.microsoft.com/office/drawing/2014/main" id="{C2B03A39-DFBC-44B8-957E-40BA4064AE05}"/>
                </a:ext>
              </a:extLst>
            </p:cNvPr>
            <p:cNvSpPr>
              <a:spLocks/>
            </p:cNvSpPr>
            <p:nvPr/>
          </p:nvSpPr>
          <p:spPr bwMode="auto">
            <a:xfrm>
              <a:off x="5734311" y="2225382"/>
              <a:ext cx="9349" cy="6678"/>
            </a:xfrm>
            <a:custGeom>
              <a:avLst/>
              <a:gdLst>
                <a:gd name="T0" fmla="*/ 4 w 7"/>
                <a:gd name="T1" fmla="*/ 3 h 5"/>
                <a:gd name="T2" fmla="*/ 6 w 7"/>
                <a:gd name="T3" fmla="*/ 3 h 5"/>
                <a:gd name="T4" fmla="*/ 6 w 7"/>
                <a:gd name="T5" fmla="*/ 3 h 5"/>
                <a:gd name="T6" fmla="*/ 6 w 7"/>
                <a:gd name="T7" fmla="*/ 2 h 5"/>
                <a:gd name="T8" fmla="*/ 6 w 7"/>
                <a:gd name="T9" fmla="*/ 2 h 5"/>
                <a:gd name="T10" fmla="*/ 7 w 7"/>
                <a:gd name="T11" fmla="*/ 2 h 5"/>
                <a:gd name="T12" fmla="*/ 7 w 7"/>
                <a:gd name="T13" fmla="*/ 3 h 5"/>
                <a:gd name="T14" fmla="*/ 6 w 7"/>
                <a:gd name="T15" fmla="*/ 3 h 5"/>
                <a:gd name="T16" fmla="*/ 6 w 7"/>
                <a:gd name="T17" fmla="*/ 3 h 5"/>
                <a:gd name="T18" fmla="*/ 4 w 7"/>
                <a:gd name="T19" fmla="*/ 4 h 5"/>
                <a:gd name="T20" fmla="*/ 4 w 7"/>
                <a:gd name="T21" fmla="*/ 4 h 5"/>
                <a:gd name="T22" fmla="*/ 4 w 7"/>
                <a:gd name="T23" fmla="*/ 4 h 5"/>
                <a:gd name="T24" fmla="*/ 4 w 7"/>
                <a:gd name="T25" fmla="*/ 4 h 5"/>
                <a:gd name="T26" fmla="*/ 4 w 7"/>
                <a:gd name="T27" fmla="*/ 4 h 5"/>
                <a:gd name="T28" fmla="*/ 3 w 7"/>
                <a:gd name="T29" fmla="*/ 4 h 5"/>
                <a:gd name="T30" fmla="*/ 3 w 7"/>
                <a:gd name="T31" fmla="*/ 5 h 5"/>
                <a:gd name="T32" fmla="*/ 2 w 7"/>
                <a:gd name="T33" fmla="*/ 5 h 5"/>
                <a:gd name="T34" fmla="*/ 2 w 7"/>
                <a:gd name="T35" fmla="*/ 5 h 5"/>
                <a:gd name="T36" fmla="*/ 2 w 7"/>
                <a:gd name="T37" fmla="*/ 5 h 5"/>
                <a:gd name="T38" fmla="*/ 2 w 7"/>
                <a:gd name="T39" fmla="*/ 5 h 5"/>
                <a:gd name="T40" fmla="*/ 2 w 7"/>
                <a:gd name="T41" fmla="*/ 4 h 5"/>
                <a:gd name="T42" fmla="*/ 2 w 7"/>
                <a:gd name="T43" fmla="*/ 4 h 5"/>
                <a:gd name="T44" fmla="*/ 2 w 7"/>
                <a:gd name="T45" fmla="*/ 4 h 5"/>
                <a:gd name="T46" fmla="*/ 2 w 7"/>
                <a:gd name="T47" fmla="*/ 4 h 5"/>
                <a:gd name="T48" fmla="*/ 2 w 7"/>
                <a:gd name="T49" fmla="*/ 4 h 5"/>
                <a:gd name="T50" fmla="*/ 1 w 7"/>
                <a:gd name="T51" fmla="*/ 4 h 5"/>
                <a:gd name="T52" fmla="*/ 1 w 7"/>
                <a:gd name="T53" fmla="*/ 4 h 5"/>
                <a:gd name="T54" fmla="*/ 1 w 7"/>
                <a:gd name="T55" fmla="*/ 4 h 5"/>
                <a:gd name="T56" fmla="*/ 1 w 7"/>
                <a:gd name="T57" fmla="*/ 4 h 5"/>
                <a:gd name="T58" fmla="*/ 1 w 7"/>
                <a:gd name="T59" fmla="*/ 4 h 5"/>
                <a:gd name="T60" fmla="*/ 1 w 7"/>
                <a:gd name="T61" fmla="*/ 3 h 5"/>
                <a:gd name="T62" fmla="*/ 0 w 7"/>
                <a:gd name="T63" fmla="*/ 3 h 5"/>
                <a:gd name="T64" fmla="*/ 0 w 7"/>
                <a:gd name="T65" fmla="*/ 3 h 5"/>
                <a:gd name="T66" fmla="*/ 1 w 7"/>
                <a:gd name="T67" fmla="*/ 2 h 5"/>
                <a:gd name="T68" fmla="*/ 0 w 7"/>
                <a:gd name="T69" fmla="*/ 0 h 5"/>
                <a:gd name="T70" fmla="*/ 2 w 7"/>
                <a:gd name="T71" fmla="*/ 0 h 5"/>
                <a:gd name="T72" fmla="*/ 3 w 7"/>
                <a:gd name="T73" fmla="*/ 0 h 5"/>
                <a:gd name="T74" fmla="*/ 3 w 7"/>
                <a:gd name="T75" fmla="*/ 0 h 5"/>
                <a:gd name="T76" fmla="*/ 3 w 7"/>
                <a:gd name="T77" fmla="*/ 0 h 5"/>
                <a:gd name="T78" fmla="*/ 4 w 7"/>
                <a:gd name="T79" fmla="*/ 2 h 5"/>
                <a:gd name="T80" fmla="*/ 4 w 7"/>
                <a:gd name="T81" fmla="*/ 2 h 5"/>
                <a:gd name="T82" fmla="*/ 4 w 7"/>
                <a:gd name="T83" fmla="*/ 2 h 5"/>
                <a:gd name="T84" fmla="*/ 4 w 7"/>
                <a:gd name="T85" fmla="*/ 2 h 5"/>
                <a:gd name="T86" fmla="*/ 4 w 7"/>
                <a:gd name="T87" fmla="*/ 2 h 5"/>
                <a:gd name="T88" fmla="*/ 4 w 7"/>
                <a:gd name="T89" fmla="*/ 2 h 5"/>
                <a:gd name="T90" fmla="*/ 4 w 7"/>
                <a:gd name="T9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 h="5">
                  <a:moveTo>
                    <a:pt x="4" y="3"/>
                  </a:moveTo>
                  <a:lnTo>
                    <a:pt x="4" y="3"/>
                  </a:lnTo>
                  <a:lnTo>
                    <a:pt x="4" y="3"/>
                  </a:lnTo>
                  <a:lnTo>
                    <a:pt x="6" y="3"/>
                  </a:lnTo>
                  <a:lnTo>
                    <a:pt x="6" y="3"/>
                  </a:lnTo>
                  <a:lnTo>
                    <a:pt x="6" y="3"/>
                  </a:lnTo>
                  <a:lnTo>
                    <a:pt x="6" y="2"/>
                  </a:lnTo>
                  <a:lnTo>
                    <a:pt x="6" y="2"/>
                  </a:lnTo>
                  <a:lnTo>
                    <a:pt x="6" y="2"/>
                  </a:lnTo>
                  <a:lnTo>
                    <a:pt x="6" y="2"/>
                  </a:lnTo>
                  <a:lnTo>
                    <a:pt x="6" y="2"/>
                  </a:lnTo>
                  <a:lnTo>
                    <a:pt x="7" y="2"/>
                  </a:lnTo>
                  <a:lnTo>
                    <a:pt x="7" y="2"/>
                  </a:lnTo>
                  <a:lnTo>
                    <a:pt x="7" y="3"/>
                  </a:lnTo>
                  <a:lnTo>
                    <a:pt x="7" y="3"/>
                  </a:lnTo>
                  <a:lnTo>
                    <a:pt x="6" y="3"/>
                  </a:lnTo>
                  <a:lnTo>
                    <a:pt x="6" y="3"/>
                  </a:lnTo>
                  <a:lnTo>
                    <a:pt x="6" y="3"/>
                  </a:lnTo>
                  <a:lnTo>
                    <a:pt x="4" y="3"/>
                  </a:lnTo>
                  <a:lnTo>
                    <a:pt x="4" y="4"/>
                  </a:lnTo>
                  <a:lnTo>
                    <a:pt x="4" y="4"/>
                  </a:lnTo>
                  <a:lnTo>
                    <a:pt x="4" y="4"/>
                  </a:lnTo>
                  <a:lnTo>
                    <a:pt x="4" y="4"/>
                  </a:lnTo>
                  <a:lnTo>
                    <a:pt x="4" y="4"/>
                  </a:lnTo>
                  <a:lnTo>
                    <a:pt x="4" y="4"/>
                  </a:lnTo>
                  <a:lnTo>
                    <a:pt x="4" y="4"/>
                  </a:lnTo>
                  <a:lnTo>
                    <a:pt x="4" y="4"/>
                  </a:lnTo>
                  <a:lnTo>
                    <a:pt x="4" y="4"/>
                  </a:lnTo>
                  <a:lnTo>
                    <a:pt x="3" y="4"/>
                  </a:lnTo>
                  <a:lnTo>
                    <a:pt x="3" y="4"/>
                  </a:lnTo>
                  <a:lnTo>
                    <a:pt x="3" y="5"/>
                  </a:lnTo>
                  <a:lnTo>
                    <a:pt x="3" y="5"/>
                  </a:lnTo>
                  <a:lnTo>
                    <a:pt x="2" y="5"/>
                  </a:lnTo>
                  <a:lnTo>
                    <a:pt x="2" y="5"/>
                  </a:lnTo>
                  <a:lnTo>
                    <a:pt x="2" y="5"/>
                  </a:lnTo>
                  <a:lnTo>
                    <a:pt x="2" y="5"/>
                  </a:lnTo>
                  <a:lnTo>
                    <a:pt x="2" y="5"/>
                  </a:lnTo>
                  <a:lnTo>
                    <a:pt x="2" y="5"/>
                  </a:lnTo>
                  <a:lnTo>
                    <a:pt x="2" y="5"/>
                  </a:lnTo>
                  <a:lnTo>
                    <a:pt x="2" y="5"/>
                  </a:lnTo>
                  <a:lnTo>
                    <a:pt x="2" y="4"/>
                  </a:lnTo>
                  <a:lnTo>
                    <a:pt x="2" y="4"/>
                  </a:lnTo>
                  <a:lnTo>
                    <a:pt x="2" y="4"/>
                  </a:lnTo>
                  <a:lnTo>
                    <a:pt x="2" y="4"/>
                  </a:lnTo>
                  <a:lnTo>
                    <a:pt x="2" y="4"/>
                  </a:lnTo>
                  <a:lnTo>
                    <a:pt x="2" y="4"/>
                  </a:lnTo>
                  <a:lnTo>
                    <a:pt x="2" y="4"/>
                  </a:lnTo>
                  <a:lnTo>
                    <a:pt x="2" y="4"/>
                  </a:lnTo>
                  <a:lnTo>
                    <a:pt x="2" y="4"/>
                  </a:lnTo>
                  <a:lnTo>
                    <a:pt x="2" y="4"/>
                  </a:lnTo>
                  <a:lnTo>
                    <a:pt x="1" y="4"/>
                  </a:lnTo>
                  <a:lnTo>
                    <a:pt x="1" y="4"/>
                  </a:lnTo>
                  <a:lnTo>
                    <a:pt x="1" y="4"/>
                  </a:lnTo>
                  <a:lnTo>
                    <a:pt x="1" y="4"/>
                  </a:lnTo>
                  <a:lnTo>
                    <a:pt x="1" y="4"/>
                  </a:lnTo>
                  <a:lnTo>
                    <a:pt x="1" y="4"/>
                  </a:lnTo>
                  <a:lnTo>
                    <a:pt x="1" y="4"/>
                  </a:lnTo>
                  <a:lnTo>
                    <a:pt x="1" y="4"/>
                  </a:lnTo>
                  <a:lnTo>
                    <a:pt x="1" y="4"/>
                  </a:lnTo>
                  <a:lnTo>
                    <a:pt x="1" y="4"/>
                  </a:lnTo>
                  <a:lnTo>
                    <a:pt x="1" y="4"/>
                  </a:lnTo>
                  <a:lnTo>
                    <a:pt x="1" y="3"/>
                  </a:lnTo>
                  <a:lnTo>
                    <a:pt x="0" y="3"/>
                  </a:lnTo>
                  <a:lnTo>
                    <a:pt x="0" y="3"/>
                  </a:lnTo>
                  <a:lnTo>
                    <a:pt x="0" y="3"/>
                  </a:lnTo>
                  <a:lnTo>
                    <a:pt x="0" y="3"/>
                  </a:lnTo>
                  <a:lnTo>
                    <a:pt x="0" y="2"/>
                  </a:lnTo>
                  <a:lnTo>
                    <a:pt x="1" y="2"/>
                  </a:lnTo>
                  <a:lnTo>
                    <a:pt x="1" y="2"/>
                  </a:lnTo>
                  <a:lnTo>
                    <a:pt x="0" y="0"/>
                  </a:lnTo>
                  <a:lnTo>
                    <a:pt x="1" y="0"/>
                  </a:lnTo>
                  <a:lnTo>
                    <a:pt x="2" y="0"/>
                  </a:lnTo>
                  <a:lnTo>
                    <a:pt x="2" y="0"/>
                  </a:lnTo>
                  <a:lnTo>
                    <a:pt x="3" y="0"/>
                  </a:lnTo>
                  <a:lnTo>
                    <a:pt x="3" y="0"/>
                  </a:lnTo>
                  <a:lnTo>
                    <a:pt x="3" y="0"/>
                  </a:lnTo>
                  <a:lnTo>
                    <a:pt x="3" y="0"/>
                  </a:lnTo>
                  <a:lnTo>
                    <a:pt x="3" y="0"/>
                  </a:lnTo>
                  <a:lnTo>
                    <a:pt x="3" y="2"/>
                  </a:lnTo>
                  <a:lnTo>
                    <a:pt x="4" y="2"/>
                  </a:lnTo>
                  <a:lnTo>
                    <a:pt x="4" y="2"/>
                  </a:lnTo>
                  <a:lnTo>
                    <a:pt x="4" y="2"/>
                  </a:lnTo>
                  <a:lnTo>
                    <a:pt x="4" y="2"/>
                  </a:lnTo>
                  <a:lnTo>
                    <a:pt x="4" y="2"/>
                  </a:lnTo>
                  <a:lnTo>
                    <a:pt x="4" y="2"/>
                  </a:lnTo>
                  <a:lnTo>
                    <a:pt x="4" y="2"/>
                  </a:lnTo>
                  <a:lnTo>
                    <a:pt x="4" y="2"/>
                  </a:lnTo>
                  <a:lnTo>
                    <a:pt x="4" y="2"/>
                  </a:lnTo>
                  <a:lnTo>
                    <a:pt x="4" y="2"/>
                  </a:lnTo>
                  <a:lnTo>
                    <a:pt x="4" y="2"/>
                  </a:lnTo>
                  <a:lnTo>
                    <a:pt x="4" y="2"/>
                  </a:lnTo>
                  <a:lnTo>
                    <a:pt x="4" y="3"/>
                  </a:lnTo>
                  <a:lnTo>
                    <a:pt x="4" y="3"/>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36" name="Freeform 1200">
              <a:extLst>
                <a:ext uri="{FF2B5EF4-FFF2-40B4-BE49-F238E27FC236}">
                  <a16:creationId xmlns:a16="http://schemas.microsoft.com/office/drawing/2014/main" id="{79E19EDD-DA59-4DB9-8DE7-2CC5992D4723}"/>
                </a:ext>
              </a:extLst>
            </p:cNvPr>
            <p:cNvSpPr>
              <a:spLocks/>
            </p:cNvSpPr>
            <p:nvPr/>
          </p:nvSpPr>
          <p:spPr bwMode="auto">
            <a:xfrm>
              <a:off x="5679556" y="2190660"/>
              <a:ext cx="41401" cy="22704"/>
            </a:xfrm>
            <a:custGeom>
              <a:avLst/>
              <a:gdLst>
                <a:gd name="T0" fmla="*/ 23 w 31"/>
                <a:gd name="T1" fmla="*/ 0 h 17"/>
                <a:gd name="T2" fmla="*/ 24 w 31"/>
                <a:gd name="T3" fmla="*/ 1 h 17"/>
                <a:gd name="T4" fmla="*/ 26 w 31"/>
                <a:gd name="T5" fmla="*/ 2 h 17"/>
                <a:gd name="T6" fmla="*/ 27 w 31"/>
                <a:gd name="T7" fmla="*/ 3 h 17"/>
                <a:gd name="T8" fmla="*/ 27 w 31"/>
                <a:gd name="T9" fmla="*/ 4 h 17"/>
                <a:gd name="T10" fmla="*/ 28 w 31"/>
                <a:gd name="T11" fmla="*/ 5 h 17"/>
                <a:gd name="T12" fmla="*/ 29 w 31"/>
                <a:gd name="T13" fmla="*/ 7 h 17"/>
                <a:gd name="T14" fmla="*/ 26 w 31"/>
                <a:gd name="T15" fmla="*/ 8 h 17"/>
                <a:gd name="T16" fmla="*/ 27 w 31"/>
                <a:gd name="T17" fmla="*/ 9 h 17"/>
                <a:gd name="T18" fmla="*/ 29 w 31"/>
                <a:gd name="T19" fmla="*/ 8 h 17"/>
                <a:gd name="T20" fmla="*/ 30 w 31"/>
                <a:gd name="T21" fmla="*/ 8 h 17"/>
                <a:gd name="T22" fmla="*/ 31 w 31"/>
                <a:gd name="T23" fmla="*/ 10 h 17"/>
                <a:gd name="T24" fmla="*/ 31 w 31"/>
                <a:gd name="T25" fmla="*/ 11 h 17"/>
                <a:gd name="T26" fmla="*/ 30 w 31"/>
                <a:gd name="T27" fmla="*/ 12 h 17"/>
                <a:gd name="T28" fmla="*/ 30 w 31"/>
                <a:gd name="T29" fmla="*/ 11 h 17"/>
                <a:gd name="T30" fmla="*/ 29 w 31"/>
                <a:gd name="T31" fmla="*/ 9 h 17"/>
                <a:gd name="T32" fmla="*/ 29 w 31"/>
                <a:gd name="T33" fmla="*/ 10 h 17"/>
                <a:gd name="T34" fmla="*/ 29 w 31"/>
                <a:gd name="T35" fmla="*/ 10 h 17"/>
                <a:gd name="T36" fmla="*/ 29 w 31"/>
                <a:gd name="T37" fmla="*/ 12 h 17"/>
                <a:gd name="T38" fmla="*/ 30 w 31"/>
                <a:gd name="T39" fmla="*/ 12 h 17"/>
                <a:gd name="T40" fmla="*/ 29 w 31"/>
                <a:gd name="T41" fmla="*/ 15 h 17"/>
                <a:gd name="T42" fmla="*/ 27 w 31"/>
                <a:gd name="T43" fmla="*/ 15 h 17"/>
                <a:gd name="T44" fmla="*/ 26 w 31"/>
                <a:gd name="T45" fmla="*/ 16 h 17"/>
                <a:gd name="T46" fmla="*/ 23 w 31"/>
                <a:gd name="T47" fmla="*/ 17 h 17"/>
                <a:gd name="T48" fmla="*/ 22 w 31"/>
                <a:gd name="T49" fmla="*/ 16 h 17"/>
                <a:gd name="T50" fmla="*/ 21 w 31"/>
                <a:gd name="T51" fmla="*/ 16 h 17"/>
                <a:gd name="T52" fmla="*/ 20 w 31"/>
                <a:gd name="T53" fmla="*/ 17 h 17"/>
                <a:gd name="T54" fmla="*/ 19 w 31"/>
                <a:gd name="T55" fmla="*/ 17 h 17"/>
                <a:gd name="T56" fmla="*/ 17 w 31"/>
                <a:gd name="T57" fmla="*/ 17 h 17"/>
                <a:gd name="T58" fmla="*/ 17 w 31"/>
                <a:gd name="T59" fmla="*/ 15 h 17"/>
                <a:gd name="T60" fmla="*/ 16 w 31"/>
                <a:gd name="T61" fmla="*/ 15 h 17"/>
                <a:gd name="T62" fmla="*/ 15 w 31"/>
                <a:gd name="T63" fmla="*/ 14 h 17"/>
                <a:gd name="T64" fmla="*/ 14 w 31"/>
                <a:gd name="T65" fmla="*/ 12 h 17"/>
                <a:gd name="T66" fmla="*/ 13 w 31"/>
                <a:gd name="T67" fmla="*/ 11 h 17"/>
                <a:gd name="T68" fmla="*/ 10 w 31"/>
                <a:gd name="T69" fmla="*/ 12 h 17"/>
                <a:gd name="T70" fmla="*/ 10 w 31"/>
                <a:gd name="T71" fmla="*/ 14 h 17"/>
                <a:gd name="T72" fmla="*/ 10 w 31"/>
                <a:gd name="T73" fmla="*/ 15 h 17"/>
                <a:gd name="T74" fmla="*/ 10 w 31"/>
                <a:gd name="T75" fmla="*/ 15 h 17"/>
                <a:gd name="T76" fmla="*/ 9 w 31"/>
                <a:gd name="T77" fmla="*/ 16 h 17"/>
                <a:gd name="T78" fmla="*/ 9 w 31"/>
                <a:gd name="T79" fmla="*/ 16 h 17"/>
                <a:gd name="T80" fmla="*/ 8 w 31"/>
                <a:gd name="T81" fmla="*/ 16 h 17"/>
                <a:gd name="T82" fmla="*/ 6 w 31"/>
                <a:gd name="T83" fmla="*/ 16 h 17"/>
                <a:gd name="T84" fmla="*/ 3 w 31"/>
                <a:gd name="T85" fmla="*/ 15 h 17"/>
                <a:gd name="T86" fmla="*/ 1 w 31"/>
                <a:gd name="T87" fmla="*/ 12 h 17"/>
                <a:gd name="T88" fmla="*/ 0 w 31"/>
                <a:gd name="T89" fmla="*/ 11 h 17"/>
                <a:gd name="T90" fmla="*/ 1 w 31"/>
                <a:gd name="T91" fmla="*/ 10 h 17"/>
                <a:gd name="T92" fmla="*/ 5 w 31"/>
                <a:gd name="T93" fmla="*/ 9 h 17"/>
                <a:gd name="T94" fmla="*/ 3 w 31"/>
                <a:gd name="T95" fmla="*/ 8 h 17"/>
                <a:gd name="T96" fmla="*/ 3 w 31"/>
                <a:gd name="T97" fmla="*/ 8 h 17"/>
                <a:gd name="T98" fmla="*/ 3 w 31"/>
                <a:gd name="T99" fmla="*/ 7 h 17"/>
                <a:gd name="T100" fmla="*/ 7 w 31"/>
                <a:gd name="T101" fmla="*/ 7 h 17"/>
                <a:gd name="T102" fmla="*/ 7 w 31"/>
                <a:gd name="T103" fmla="*/ 5 h 17"/>
                <a:gd name="T104" fmla="*/ 9 w 31"/>
                <a:gd name="T105" fmla="*/ 3 h 17"/>
                <a:gd name="T106" fmla="*/ 9 w 31"/>
                <a:gd name="T107" fmla="*/ 3 h 17"/>
                <a:gd name="T108" fmla="*/ 10 w 31"/>
                <a:gd name="T109" fmla="*/ 2 h 17"/>
                <a:gd name="T110" fmla="*/ 13 w 31"/>
                <a:gd name="T111" fmla="*/ 2 h 17"/>
                <a:gd name="T112" fmla="*/ 14 w 31"/>
                <a:gd name="T113" fmla="*/ 1 h 17"/>
                <a:gd name="T114" fmla="*/ 19 w 31"/>
                <a:gd name="T11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 h="17">
                  <a:moveTo>
                    <a:pt x="20" y="0"/>
                  </a:moveTo>
                  <a:lnTo>
                    <a:pt x="21" y="0"/>
                  </a:lnTo>
                  <a:lnTo>
                    <a:pt x="21" y="0"/>
                  </a:lnTo>
                  <a:lnTo>
                    <a:pt x="21" y="0"/>
                  </a:lnTo>
                  <a:lnTo>
                    <a:pt x="22" y="0"/>
                  </a:lnTo>
                  <a:lnTo>
                    <a:pt x="22" y="0"/>
                  </a:lnTo>
                  <a:lnTo>
                    <a:pt x="23" y="0"/>
                  </a:lnTo>
                  <a:lnTo>
                    <a:pt x="23" y="0"/>
                  </a:lnTo>
                  <a:lnTo>
                    <a:pt x="23" y="0"/>
                  </a:lnTo>
                  <a:lnTo>
                    <a:pt x="24" y="0"/>
                  </a:lnTo>
                  <a:lnTo>
                    <a:pt x="24" y="0"/>
                  </a:lnTo>
                  <a:lnTo>
                    <a:pt x="24" y="0"/>
                  </a:lnTo>
                  <a:lnTo>
                    <a:pt x="24" y="0"/>
                  </a:lnTo>
                  <a:lnTo>
                    <a:pt x="24" y="0"/>
                  </a:lnTo>
                  <a:lnTo>
                    <a:pt x="24" y="1"/>
                  </a:lnTo>
                  <a:lnTo>
                    <a:pt x="24" y="1"/>
                  </a:lnTo>
                  <a:lnTo>
                    <a:pt x="24" y="1"/>
                  </a:lnTo>
                  <a:lnTo>
                    <a:pt x="24" y="2"/>
                  </a:lnTo>
                  <a:lnTo>
                    <a:pt x="24" y="2"/>
                  </a:lnTo>
                  <a:lnTo>
                    <a:pt x="24" y="2"/>
                  </a:lnTo>
                  <a:lnTo>
                    <a:pt x="26" y="2"/>
                  </a:lnTo>
                  <a:lnTo>
                    <a:pt x="26" y="2"/>
                  </a:lnTo>
                  <a:lnTo>
                    <a:pt x="26" y="2"/>
                  </a:lnTo>
                  <a:lnTo>
                    <a:pt x="26" y="2"/>
                  </a:lnTo>
                  <a:lnTo>
                    <a:pt x="26" y="2"/>
                  </a:lnTo>
                  <a:lnTo>
                    <a:pt x="26" y="2"/>
                  </a:lnTo>
                  <a:lnTo>
                    <a:pt x="26" y="3"/>
                  </a:lnTo>
                  <a:lnTo>
                    <a:pt x="26" y="3"/>
                  </a:lnTo>
                  <a:lnTo>
                    <a:pt x="26" y="3"/>
                  </a:lnTo>
                  <a:lnTo>
                    <a:pt x="26" y="3"/>
                  </a:lnTo>
                  <a:lnTo>
                    <a:pt x="27" y="3"/>
                  </a:lnTo>
                  <a:lnTo>
                    <a:pt x="27" y="3"/>
                  </a:lnTo>
                  <a:lnTo>
                    <a:pt x="27" y="4"/>
                  </a:lnTo>
                  <a:lnTo>
                    <a:pt x="27" y="4"/>
                  </a:lnTo>
                  <a:lnTo>
                    <a:pt x="27" y="4"/>
                  </a:lnTo>
                  <a:lnTo>
                    <a:pt x="27" y="4"/>
                  </a:lnTo>
                  <a:lnTo>
                    <a:pt x="27" y="4"/>
                  </a:lnTo>
                  <a:lnTo>
                    <a:pt x="27" y="4"/>
                  </a:lnTo>
                  <a:lnTo>
                    <a:pt x="27" y="4"/>
                  </a:lnTo>
                  <a:lnTo>
                    <a:pt x="27" y="4"/>
                  </a:lnTo>
                  <a:lnTo>
                    <a:pt x="28" y="4"/>
                  </a:lnTo>
                  <a:lnTo>
                    <a:pt x="28" y="5"/>
                  </a:lnTo>
                  <a:lnTo>
                    <a:pt x="28" y="5"/>
                  </a:lnTo>
                  <a:lnTo>
                    <a:pt x="28" y="5"/>
                  </a:lnTo>
                  <a:lnTo>
                    <a:pt x="28" y="5"/>
                  </a:lnTo>
                  <a:lnTo>
                    <a:pt x="28" y="5"/>
                  </a:lnTo>
                  <a:lnTo>
                    <a:pt x="28" y="5"/>
                  </a:lnTo>
                  <a:lnTo>
                    <a:pt x="28" y="5"/>
                  </a:lnTo>
                  <a:lnTo>
                    <a:pt x="28" y="5"/>
                  </a:lnTo>
                  <a:lnTo>
                    <a:pt x="28" y="4"/>
                  </a:lnTo>
                  <a:lnTo>
                    <a:pt x="28" y="5"/>
                  </a:lnTo>
                  <a:lnTo>
                    <a:pt x="28" y="5"/>
                  </a:lnTo>
                  <a:lnTo>
                    <a:pt x="29" y="5"/>
                  </a:lnTo>
                  <a:lnTo>
                    <a:pt x="29" y="5"/>
                  </a:lnTo>
                  <a:lnTo>
                    <a:pt x="29" y="7"/>
                  </a:lnTo>
                  <a:lnTo>
                    <a:pt x="29" y="7"/>
                  </a:lnTo>
                  <a:lnTo>
                    <a:pt x="28" y="7"/>
                  </a:lnTo>
                  <a:lnTo>
                    <a:pt x="28" y="7"/>
                  </a:lnTo>
                  <a:lnTo>
                    <a:pt x="27" y="7"/>
                  </a:lnTo>
                  <a:lnTo>
                    <a:pt x="27" y="8"/>
                  </a:lnTo>
                  <a:lnTo>
                    <a:pt x="27" y="8"/>
                  </a:lnTo>
                  <a:lnTo>
                    <a:pt x="27" y="8"/>
                  </a:lnTo>
                  <a:lnTo>
                    <a:pt x="26" y="8"/>
                  </a:lnTo>
                  <a:lnTo>
                    <a:pt x="26" y="8"/>
                  </a:lnTo>
                  <a:lnTo>
                    <a:pt x="26" y="8"/>
                  </a:lnTo>
                  <a:lnTo>
                    <a:pt x="26" y="9"/>
                  </a:lnTo>
                  <a:lnTo>
                    <a:pt x="26" y="9"/>
                  </a:lnTo>
                  <a:lnTo>
                    <a:pt x="26" y="9"/>
                  </a:lnTo>
                  <a:lnTo>
                    <a:pt x="27" y="9"/>
                  </a:lnTo>
                  <a:lnTo>
                    <a:pt x="27" y="9"/>
                  </a:lnTo>
                  <a:lnTo>
                    <a:pt x="27" y="9"/>
                  </a:lnTo>
                  <a:lnTo>
                    <a:pt x="27" y="9"/>
                  </a:lnTo>
                  <a:lnTo>
                    <a:pt x="27" y="8"/>
                  </a:lnTo>
                  <a:lnTo>
                    <a:pt x="27" y="8"/>
                  </a:lnTo>
                  <a:lnTo>
                    <a:pt x="28" y="8"/>
                  </a:lnTo>
                  <a:lnTo>
                    <a:pt x="28" y="8"/>
                  </a:lnTo>
                  <a:lnTo>
                    <a:pt x="28" y="8"/>
                  </a:lnTo>
                  <a:lnTo>
                    <a:pt x="28" y="8"/>
                  </a:lnTo>
                  <a:lnTo>
                    <a:pt x="28" y="8"/>
                  </a:lnTo>
                  <a:lnTo>
                    <a:pt x="29" y="8"/>
                  </a:lnTo>
                  <a:lnTo>
                    <a:pt x="30" y="8"/>
                  </a:lnTo>
                  <a:lnTo>
                    <a:pt x="30" y="8"/>
                  </a:lnTo>
                  <a:lnTo>
                    <a:pt x="30" y="8"/>
                  </a:lnTo>
                  <a:lnTo>
                    <a:pt x="30" y="8"/>
                  </a:lnTo>
                  <a:lnTo>
                    <a:pt x="30" y="8"/>
                  </a:lnTo>
                  <a:lnTo>
                    <a:pt x="30" y="8"/>
                  </a:lnTo>
                  <a:lnTo>
                    <a:pt x="30" y="8"/>
                  </a:lnTo>
                  <a:lnTo>
                    <a:pt x="30" y="8"/>
                  </a:lnTo>
                  <a:lnTo>
                    <a:pt x="30" y="9"/>
                  </a:lnTo>
                  <a:lnTo>
                    <a:pt x="31" y="9"/>
                  </a:lnTo>
                  <a:lnTo>
                    <a:pt x="31" y="9"/>
                  </a:lnTo>
                  <a:lnTo>
                    <a:pt x="31" y="9"/>
                  </a:lnTo>
                  <a:lnTo>
                    <a:pt x="31" y="10"/>
                  </a:lnTo>
                  <a:lnTo>
                    <a:pt x="31" y="10"/>
                  </a:lnTo>
                  <a:lnTo>
                    <a:pt x="31" y="10"/>
                  </a:lnTo>
                  <a:lnTo>
                    <a:pt x="31" y="10"/>
                  </a:lnTo>
                  <a:lnTo>
                    <a:pt x="31" y="10"/>
                  </a:lnTo>
                  <a:lnTo>
                    <a:pt x="31" y="11"/>
                  </a:lnTo>
                  <a:lnTo>
                    <a:pt x="31" y="11"/>
                  </a:lnTo>
                  <a:lnTo>
                    <a:pt x="31" y="11"/>
                  </a:lnTo>
                  <a:lnTo>
                    <a:pt x="31" y="11"/>
                  </a:lnTo>
                  <a:lnTo>
                    <a:pt x="31" y="11"/>
                  </a:lnTo>
                  <a:lnTo>
                    <a:pt x="31" y="11"/>
                  </a:lnTo>
                  <a:lnTo>
                    <a:pt x="31" y="11"/>
                  </a:lnTo>
                  <a:lnTo>
                    <a:pt x="31" y="12"/>
                  </a:lnTo>
                  <a:lnTo>
                    <a:pt x="31" y="12"/>
                  </a:lnTo>
                  <a:lnTo>
                    <a:pt x="31" y="12"/>
                  </a:lnTo>
                  <a:lnTo>
                    <a:pt x="31" y="12"/>
                  </a:lnTo>
                  <a:lnTo>
                    <a:pt x="31" y="12"/>
                  </a:lnTo>
                  <a:lnTo>
                    <a:pt x="31" y="12"/>
                  </a:lnTo>
                  <a:lnTo>
                    <a:pt x="30" y="12"/>
                  </a:lnTo>
                  <a:lnTo>
                    <a:pt x="30" y="12"/>
                  </a:lnTo>
                  <a:lnTo>
                    <a:pt x="30" y="12"/>
                  </a:lnTo>
                  <a:lnTo>
                    <a:pt x="30" y="12"/>
                  </a:lnTo>
                  <a:lnTo>
                    <a:pt x="30" y="12"/>
                  </a:lnTo>
                  <a:lnTo>
                    <a:pt x="30" y="12"/>
                  </a:lnTo>
                  <a:lnTo>
                    <a:pt x="30" y="12"/>
                  </a:lnTo>
                  <a:lnTo>
                    <a:pt x="30" y="11"/>
                  </a:lnTo>
                  <a:lnTo>
                    <a:pt x="30" y="11"/>
                  </a:lnTo>
                  <a:lnTo>
                    <a:pt x="30" y="11"/>
                  </a:lnTo>
                  <a:lnTo>
                    <a:pt x="30" y="11"/>
                  </a:lnTo>
                  <a:lnTo>
                    <a:pt x="30" y="11"/>
                  </a:lnTo>
                  <a:lnTo>
                    <a:pt x="30" y="10"/>
                  </a:lnTo>
                  <a:lnTo>
                    <a:pt x="30" y="10"/>
                  </a:lnTo>
                  <a:lnTo>
                    <a:pt x="30" y="10"/>
                  </a:lnTo>
                  <a:lnTo>
                    <a:pt x="29" y="9"/>
                  </a:lnTo>
                  <a:lnTo>
                    <a:pt x="29" y="9"/>
                  </a:lnTo>
                  <a:lnTo>
                    <a:pt x="29" y="9"/>
                  </a:lnTo>
                  <a:lnTo>
                    <a:pt x="29" y="9"/>
                  </a:lnTo>
                  <a:lnTo>
                    <a:pt x="29" y="9"/>
                  </a:lnTo>
                  <a:lnTo>
                    <a:pt x="29" y="9"/>
                  </a:lnTo>
                  <a:lnTo>
                    <a:pt x="28" y="10"/>
                  </a:lnTo>
                  <a:lnTo>
                    <a:pt x="28" y="10"/>
                  </a:lnTo>
                  <a:lnTo>
                    <a:pt x="29" y="10"/>
                  </a:lnTo>
                  <a:lnTo>
                    <a:pt x="29" y="10"/>
                  </a:lnTo>
                  <a:lnTo>
                    <a:pt x="29" y="10"/>
                  </a:lnTo>
                  <a:lnTo>
                    <a:pt x="29" y="10"/>
                  </a:lnTo>
                  <a:lnTo>
                    <a:pt x="29" y="10"/>
                  </a:lnTo>
                  <a:lnTo>
                    <a:pt x="29" y="10"/>
                  </a:lnTo>
                  <a:lnTo>
                    <a:pt x="29" y="10"/>
                  </a:lnTo>
                  <a:lnTo>
                    <a:pt x="29" y="10"/>
                  </a:lnTo>
                  <a:lnTo>
                    <a:pt x="29" y="10"/>
                  </a:lnTo>
                  <a:lnTo>
                    <a:pt x="29" y="10"/>
                  </a:lnTo>
                  <a:lnTo>
                    <a:pt x="29" y="10"/>
                  </a:lnTo>
                  <a:lnTo>
                    <a:pt x="29" y="10"/>
                  </a:lnTo>
                  <a:lnTo>
                    <a:pt x="29" y="11"/>
                  </a:lnTo>
                  <a:lnTo>
                    <a:pt x="29" y="11"/>
                  </a:lnTo>
                  <a:lnTo>
                    <a:pt x="29" y="11"/>
                  </a:lnTo>
                  <a:lnTo>
                    <a:pt x="29" y="11"/>
                  </a:lnTo>
                  <a:lnTo>
                    <a:pt x="29" y="11"/>
                  </a:lnTo>
                  <a:lnTo>
                    <a:pt x="29" y="11"/>
                  </a:lnTo>
                  <a:lnTo>
                    <a:pt x="29" y="12"/>
                  </a:lnTo>
                  <a:lnTo>
                    <a:pt x="29" y="12"/>
                  </a:lnTo>
                  <a:lnTo>
                    <a:pt x="28" y="12"/>
                  </a:lnTo>
                  <a:lnTo>
                    <a:pt x="28" y="12"/>
                  </a:lnTo>
                  <a:lnTo>
                    <a:pt x="29" y="12"/>
                  </a:lnTo>
                  <a:lnTo>
                    <a:pt x="29" y="12"/>
                  </a:lnTo>
                  <a:lnTo>
                    <a:pt x="30" y="12"/>
                  </a:lnTo>
                  <a:lnTo>
                    <a:pt x="30" y="12"/>
                  </a:lnTo>
                  <a:lnTo>
                    <a:pt x="30" y="12"/>
                  </a:lnTo>
                  <a:lnTo>
                    <a:pt x="30" y="14"/>
                  </a:lnTo>
                  <a:lnTo>
                    <a:pt x="30" y="14"/>
                  </a:lnTo>
                  <a:lnTo>
                    <a:pt x="29" y="14"/>
                  </a:lnTo>
                  <a:lnTo>
                    <a:pt x="29" y="14"/>
                  </a:lnTo>
                  <a:lnTo>
                    <a:pt x="29" y="14"/>
                  </a:lnTo>
                  <a:lnTo>
                    <a:pt x="29" y="14"/>
                  </a:lnTo>
                  <a:lnTo>
                    <a:pt x="29" y="15"/>
                  </a:lnTo>
                  <a:lnTo>
                    <a:pt x="29" y="15"/>
                  </a:lnTo>
                  <a:lnTo>
                    <a:pt x="29" y="15"/>
                  </a:lnTo>
                  <a:lnTo>
                    <a:pt x="29" y="15"/>
                  </a:lnTo>
                  <a:lnTo>
                    <a:pt x="29" y="14"/>
                  </a:lnTo>
                  <a:lnTo>
                    <a:pt x="29" y="14"/>
                  </a:lnTo>
                  <a:lnTo>
                    <a:pt x="28" y="14"/>
                  </a:lnTo>
                  <a:lnTo>
                    <a:pt x="28" y="14"/>
                  </a:lnTo>
                  <a:lnTo>
                    <a:pt x="27" y="15"/>
                  </a:lnTo>
                  <a:lnTo>
                    <a:pt x="27" y="15"/>
                  </a:lnTo>
                  <a:lnTo>
                    <a:pt x="27" y="15"/>
                  </a:lnTo>
                  <a:lnTo>
                    <a:pt x="27" y="15"/>
                  </a:lnTo>
                  <a:lnTo>
                    <a:pt x="27" y="15"/>
                  </a:lnTo>
                  <a:lnTo>
                    <a:pt x="27" y="15"/>
                  </a:lnTo>
                  <a:lnTo>
                    <a:pt x="27" y="15"/>
                  </a:lnTo>
                  <a:lnTo>
                    <a:pt x="27" y="16"/>
                  </a:lnTo>
                  <a:lnTo>
                    <a:pt x="26" y="16"/>
                  </a:lnTo>
                  <a:lnTo>
                    <a:pt x="26" y="16"/>
                  </a:lnTo>
                  <a:lnTo>
                    <a:pt x="26" y="16"/>
                  </a:lnTo>
                  <a:lnTo>
                    <a:pt x="26" y="17"/>
                  </a:lnTo>
                  <a:lnTo>
                    <a:pt x="24" y="17"/>
                  </a:lnTo>
                  <a:lnTo>
                    <a:pt x="24" y="17"/>
                  </a:lnTo>
                  <a:lnTo>
                    <a:pt x="24" y="17"/>
                  </a:lnTo>
                  <a:lnTo>
                    <a:pt x="23" y="17"/>
                  </a:lnTo>
                  <a:lnTo>
                    <a:pt x="23" y="17"/>
                  </a:lnTo>
                  <a:lnTo>
                    <a:pt x="23" y="17"/>
                  </a:lnTo>
                  <a:lnTo>
                    <a:pt x="23" y="17"/>
                  </a:lnTo>
                  <a:lnTo>
                    <a:pt x="23" y="17"/>
                  </a:lnTo>
                  <a:lnTo>
                    <a:pt x="23" y="17"/>
                  </a:lnTo>
                  <a:lnTo>
                    <a:pt x="23" y="17"/>
                  </a:lnTo>
                  <a:lnTo>
                    <a:pt x="23" y="17"/>
                  </a:lnTo>
                  <a:lnTo>
                    <a:pt x="22" y="16"/>
                  </a:lnTo>
                  <a:lnTo>
                    <a:pt x="22" y="16"/>
                  </a:lnTo>
                  <a:lnTo>
                    <a:pt x="22" y="16"/>
                  </a:lnTo>
                  <a:lnTo>
                    <a:pt x="22" y="16"/>
                  </a:lnTo>
                  <a:lnTo>
                    <a:pt x="22" y="16"/>
                  </a:lnTo>
                  <a:lnTo>
                    <a:pt x="21" y="16"/>
                  </a:lnTo>
                  <a:lnTo>
                    <a:pt x="21" y="16"/>
                  </a:lnTo>
                  <a:lnTo>
                    <a:pt x="21" y="16"/>
                  </a:lnTo>
                  <a:lnTo>
                    <a:pt x="21" y="16"/>
                  </a:lnTo>
                  <a:lnTo>
                    <a:pt x="21" y="16"/>
                  </a:lnTo>
                  <a:lnTo>
                    <a:pt x="21" y="16"/>
                  </a:lnTo>
                  <a:lnTo>
                    <a:pt x="21" y="16"/>
                  </a:lnTo>
                  <a:lnTo>
                    <a:pt x="21" y="16"/>
                  </a:lnTo>
                  <a:lnTo>
                    <a:pt x="21" y="16"/>
                  </a:lnTo>
                  <a:lnTo>
                    <a:pt x="21" y="16"/>
                  </a:lnTo>
                  <a:lnTo>
                    <a:pt x="21" y="17"/>
                  </a:lnTo>
                  <a:lnTo>
                    <a:pt x="21" y="17"/>
                  </a:lnTo>
                  <a:lnTo>
                    <a:pt x="20" y="17"/>
                  </a:lnTo>
                  <a:lnTo>
                    <a:pt x="20" y="17"/>
                  </a:lnTo>
                  <a:lnTo>
                    <a:pt x="20" y="17"/>
                  </a:lnTo>
                  <a:lnTo>
                    <a:pt x="20" y="17"/>
                  </a:lnTo>
                  <a:lnTo>
                    <a:pt x="20" y="17"/>
                  </a:lnTo>
                  <a:lnTo>
                    <a:pt x="20" y="17"/>
                  </a:lnTo>
                  <a:lnTo>
                    <a:pt x="20" y="17"/>
                  </a:lnTo>
                  <a:lnTo>
                    <a:pt x="20" y="17"/>
                  </a:lnTo>
                  <a:lnTo>
                    <a:pt x="19" y="17"/>
                  </a:lnTo>
                  <a:lnTo>
                    <a:pt x="19" y="17"/>
                  </a:lnTo>
                  <a:lnTo>
                    <a:pt x="17" y="17"/>
                  </a:lnTo>
                  <a:lnTo>
                    <a:pt x="17" y="17"/>
                  </a:lnTo>
                  <a:lnTo>
                    <a:pt x="17" y="17"/>
                  </a:lnTo>
                  <a:lnTo>
                    <a:pt x="17" y="17"/>
                  </a:lnTo>
                  <a:lnTo>
                    <a:pt x="17" y="17"/>
                  </a:lnTo>
                  <a:lnTo>
                    <a:pt x="17" y="17"/>
                  </a:lnTo>
                  <a:lnTo>
                    <a:pt x="17" y="17"/>
                  </a:lnTo>
                  <a:lnTo>
                    <a:pt x="17" y="17"/>
                  </a:lnTo>
                  <a:lnTo>
                    <a:pt x="17" y="17"/>
                  </a:lnTo>
                  <a:lnTo>
                    <a:pt x="16" y="17"/>
                  </a:lnTo>
                  <a:lnTo>
                    <a:pt x="17" y="16"/>
                  </a:lnTo>
                  <a:lnTo>
                    <a:pt x="17" y="16"/>
                  </a:lnTo>
                  <a:lnTo>
                    <a:pt x="17" y="16"/>
                  </a:lnTo>
                  <a:lnTo>
                    <a:pt x="17" y="16"/>
                  </a:lnTo>
                  <a:lnTo>
                    <a:pt x="17" y="16"/>
                  </a:lnTo>
                  <a:lnTo>
                    <a:pt x="17" y="15"/>
                  </a:lnTo>
                  <a:lnTo>
                    <a:pt x="17" y="15"/>
                  </a:lnTo>
                  <a:lnTo>
                    <a:pt x="17" y="15"/>
                  </a:lnTo>
                  <a:lnTo>
                    <a:pt x="16" y="15"/>
                  </a:lnTo>
                  <a:lnTo>
                    <a:pt x="16" y="15"/>
                  </a:lnTo>
                  <a:lnTo>
                    <a:pt x="16" y="15"/>
                  </a:lnTo>
                  <a:lnTo>
                    <a:pt x="16" y="15"/>
                  </a:lnTo>
                  <a:lnTo>
                    <a:pt x="16" y="15"/>
                  </a:lnTo>
                  <a:lnTo>
                    <a:pt x="16" y="15"/>
                  </a:lnTo>
                  <a:lnTo>
                    <a:pt x="16" y="15"/>
                  </a:lnTo>
                  <a:lnTo>
                    <a:pt x="16" y="15"/>
                  </a:lnTo>
                  <a:lnTo>
                    <a:pt x="15" y="15"/>
                  </a:lnTo>
                  <a:lnTo>
                    <a:pt x="15" y="15"/>
                  </a:lnTo>
                  <a:lnTo>
                    <a:pt x="15" y="15"/>
                  </a:lnTo>
                  <a:lnTo>
                    <a:pt x="15" y="14"/>
                  </a:lnTo>
                  <a:lnTo>
                    <a:pt x="15" y="14"/>
                  </a:lnTo>
                  <a:lnTo>
                    <a:pt x="15" y="14"/>
                  </a:lnTo>
                  <a:lnTo>
                    <a:pt x="15" y="14"/>
                  </a:lnTo>
                  <a:lnTo>
                    <a:pt x="14" y="14"/>
                  </a:lnTo>
                  <a:lnTo>
                    <a:pt x="15" y="14"/>
                  </a:lnTo>
                  <a:lnTo>
                    <a:pt x="15" y="14"/>
                  </a:lnTo>
                  <a:lnTo>
                    <a:pt x="15" y="14"/>
                  </a:lnTo>
                  <a:lnTo>
                    <a:pt x="15" y="12"/>
                  </a:lnTo>
                  <a:lnTo>
                    <a:pt x="15" y="12"/>
                  </a:lnTo>
                  <a:lnTo>
                    <a:pt x="14" y="12"/>
                  </a:lnTo>
                  <a:lnTo>
                    <a:pt x="14" y="12"/>
                  </a:lnTo>
                  <a:lnTo>
                    <a:pt x="14" y="12"/>
                  </a:lnTo>
                  <a:lnTo>
                    <a:pt x="14" y="12"/>
                  </a:lnTo>
                  <a:lnTo>
                    <a:pt x="14" y="12"/>
                  </a:lnTo>
                  <a:lnTo>
                    <a:pt x="14" y="11"/>
                  </a:lnTo>
                  <a:lnTo>
                    <a:pt x="13" y="11"/>
                  </a:lnTo>
                  <a:lnTo>
                    <a:pt x="13" y="11"/>
                  </a:lnTo>
                  <a:lnTo>
                    <a:pt x="13" y="11"/>
                  </a:lnTo>
                  <a:lnTo>
                    <a:pt x="12" y="12"/>
                  </a:lnTo>
                  <a:lnTo>
                    <a:pt x="12" y="12"/>
                  </a:lnTo>
                  <a:lnTo>
                    <a:pt x="12" y="12"/>
                  </a:lnTo>
                  <a:lnTo>
                    <a:pt x="10" y="12"/>
                  </a:lnTo>
                  <a:lnTo>
                    <a:pt x="10" y="12"/>
                  </a:lnTo>
                  <a:lnTo>
                    <a:pt x="10" y="12"/>
                  </a:lnTo>
                  <a:lnTo>
                    <a:pt x="10" y="12"/>
                  </a:lnTo>
                  <a:lnTo>
                    <a:pt x="10" y="12"/>
                  </a:lnTo>
                  <a:lnTo>
                    <a:pt x="10" y="12"/>
                  </a:lnTo>
                  <a:lnTo>
                    <a:pt x="10" y="12"/>
                  </a:lnTo>
                  <a:lnTo>
                    <a:pt x="10" y="12"/>
                  </a:lnTo>
                  <a:lnTo>
                    <a:pt x="10" y="14"/>
                  </a:lnTo>
                  <a:lnTo>
                    <a:pt x="10" y="14"/>
                  </a:lnTo>
                  <a:lnTo>
                    <a:pt x="10" y="14"/>
                  </a:lnTo>
                  <a:lnTo>
                    <a:pt x="10" y="14"/>
                  </a:lnTo>
                  <a:lnTo>
                    <a:pt x="10" y="14"/>
                  </a:lnTo>
                  <a:lnTo>
                    <a:pt x="10" y="14"/>
                  </a:lnTo>
                  <a:lnTo>
                    <a:pt x="12" y="14"/>
                  </a:lnTo>
                  <a:lnTo>
                    <a:pt x="10" y="14"/>
                  </a:lnTo>
                  <a:lnTo>
                    <a:pt x="12" y="14"/>
                  </a:lnTo>
                  <a:lnTo>
                    <a:pt x="12" y="14"/>
                  </a:lnTo>
                  <a:lnTo>
                    <a:pt x="12" y="15"/>
                  </a:lnTo>
                  <a:lnTo>
                    <a:pt x="12" y="15"/>
                  </a:lnTo>
                  <a:lnTo>
                    <a:pt x="10" y="15"/>
                  </a:lnTo>
                  <a:lnTo>
                    <a:pt x="10" y="15"/>
                  </a:lnTo>
                  <a:lnTo>
                    <a:pt x="10" y="15"/>
                  </a:lnTo>
                  <a:lnTo>
                    <a:pt x="10" y="15"/>
                  </a:lnTo>
                  <a:lnTo>
                    <a:pt x="10" y="15"/>
                  </a:lnTo>
                  <a:lnTo>
                    <a:pt x="10" y="15"/>
                  </a:lnTo>
                  <a:lnTo>
                    <a:pt x="10" y="15"/>
                  </a:lnTo>
                  <a:lnTo>
                    <a:pt x="10" y="15"/>
                  </a:lnTo>
                  <a:lnTo>
                    <a:pt x="10" y="15"/>
                  </a:lnTo>
                  <a:lnTo>
                    <a:pt x="10" y="16"/>
                  </a:lnTo>
                  <a:lnTo>
                    <a:pt x="10" y="16"/>
                  </a:lnTo>
                  <a:lnTo>
                    <a:pt x="9" y="16"/>
                  </a:lnTo>
                  <a:lnTo>
                    <a:pt x="9" y="16"/>
                  </a:lnTo>
                  <a:lnTo>
                    <a:pt x="9" y="16"/>
                  </a:lnTo>
                  <a:lnTo>
                    <a:pt x="9" y="16"/>
                  </a:lnTo>
                  <a:lnTo>
                    <a:pt x="9" y="16"/>
                  </a:lnTo>
                  <a:lnTo>
                    <a:pt x="9" y="16"/>
                  </a:lnTo>
                  <a:lnTo>
                    <a:pt x="9" y="16"/>
                  </a:lnTo>
                  <a:lnTo>
                    <a:pt x="9" y="15"/>
                  </a:lnTo>
                  <a:lnTo>
                    <a:pt x="9" y="15"/>
                  </a:lnTo>
                  <a:lnTo>
                    <a:pt x="9" y="16"/>
                  </a:lnTo>
                  <a:lnTo>
                    <a:pt x="9" y="16"/>
                  </a:lnTo>
                  <a:lnTo>
                    <a:pt x="9" y="16"/>
                  </a:lnTo>
                  <a:lnTo>
                    <a:pt x="9" y="16"/>
                  </a:lnTo>
                  <a:lnTo>
                    <a:pt x="9" y="16"/>
                  </a:lnTo>
                  <a:lnTo>
                    <a:pt x="9" y="16"/>
                  </a:lnTo>
                  <a:lnTo>
                    <a:pt x="8" y="16"/>
                  </a:lnTo>
                  <a:lnTo>
                    <a:pt x="8" y="16"/>
                  </a:lnTo>
                  <a:lnTo>
                    <a:pt x="8" y="16"/>
                  </a:lnTo>
                  <a:lnTo>
                    <a:pt x="8" y="16"/>
                  </a:lnTo>
                  <a:lnTo>
                    <a:pt x="8" y="16"/>
                  </a:lnTo>
                  <a:lnTo>
                    <a:pt x="8" y="16"/>
                  </a:lnTo>
                  <a:lnTo>
                    <a:pt x="8" y="16"/>
                  </a:lnTo>
                  <a:lnTo>
                    <a:pt x="8" y="16"/>
                  </a:lnTo>
                  <a:lnTo>
                    <a:pt x="8" y="16"/>
                  </a:lnTo>
                  <a:lnTo>
                    <a:pt x="8" y="16"/>
                  </a:lnTo>
                  <a:lnTo>
                    <a:pt x="7" y="16"/>
                  </a:lnTo>
                  <a:lnTo>
                    <a:pt x="7" y="16"/>
                  </a:lnTo>
                  <a:lnTo>
                    <a:pt x="6" y="16"/>
                  </a:lnTo>
                  <a:lnTo>
                    <a:pt x="6" y="16"/>
                  </a:lnTo>
                  <a:lnTo>
                    <a:pt x="6" y="16"/>
                  </a:lnTo>
                  <a:lnTo>
                    <a:pt x="6" y="15"/>
                  </a:lnTo>
                  <a:lnTo>
                    <a:pt x="6" y="15"/>
                  </a:lnTo>
                  <a:lnTo>
                    <a:pt x="5" y="15"/>
                  </a:lnTo>
                  <a:lnTo>
                    <a:pt x="5" y="15"/>
                  </a:lnTo>
                  <a:lnTo>
                    <a:pt x="3" y="15"/>
                  </a:lnTo>
                  <a:lnTo>
                    <a:pt x="3" y="15"/>
                  </a:lnTo>
                  <a:lnTo>
                    <a:pt x="3" y="15"/>
                  </a:lnTo>
                  <a:lnTo>
                    <a:pt x="3" y="15"/>
                  </a:lnTo>
                  <a:lnTo>
                    <a:pt x="3" y="14"/>
                  </a:lnTo>
                  <a:lnTo>
                    <a:pt x="2" y="14"/>
                  </a:lnTo>
                  <a:lnTo>
                    <a:pt x="2" y="14"/>
                  </a:lnTo>
                  <a:lnTo>
                    <a:pt x="2" y="14"/>
                  </a:lnTo>
                  <a:lnTo>
                    <a:pt x="2" y="14"/>
                  </a:lnTo>
                  <a:lnTo>
                    <a:pt x="2" y="14"/>
                  </a:lnTo>
                  <a:lnTo>
                    <a:pt x="2" y="14"/>
                  </a:lnTo>
                  <a:lnTo>
                    <a:pt x="1" y="12"/>
                  </a:lnTo>
                  <a:lnTo>
                    <a:pt x="1" y="12"/>
                  </a:lnTo>
                  <a:lnTo>
                    <a:pt x="1" y="12"/>
                  </a:lnTo>
                  <a:lnTo>
                    <a:pt x="1" y="12"/>
                  </a:lnTo>
                  <a:lnTo>
                    <a:pt x="1" y="12"/>
                  </a:lnTo>
                  <a:lnTo>
                    <a:pt x="0" y="11"/>
                  </a:lnTo>
                  <a:lnTo>
                    <a:pt x="0" y="11"/>
                  </a:lnTo>
                  <a:lnTo>
                    <a:pt x="0" y="11"/>
                  </a:lnTo>
                  <a:lnTo>
                    <a:pt x="0" y="11"/>
                  </a:lnTo>
                  <a:lnTo>
                    <a:pt x="0" y="11"/>
                  </a:lnTo>
                  <a:lnTo>
                    <a:pt x="0" y="11"/>
                  </a:lnTo>
                  <a:lnTo>
                    <a:pt x="0" y="11"/>
                  </a:lnTo>
                  <a:lnTo>
                    <a:pt x="0" y="11"/>
                  </a:lnTo>
                  <a:lnTo>
                    <a:pt x="0" y="10"/>
                  </a:lnTo>
                  <a:lnTo>
                    <a:pt x="1" y="10"/>
                  </a:lnTo>
                  <a:lnTo>
                    <a:pt x="1" y="10"/>
                  </a:lnTo>
                  <a:lnTo>
                    <a:pt x="1" y="10"/>
                  </a:lnTo>
                  <a:lnTo>
                    <a:pt x="1" y="10"/>
                  </a:lnTo>
                  <a:lnTo>
                    <a:pt x="1" y="10"/>
                  </a:lnTo>
                  <a:lnTo>
                    <a:pt x="1" y="10"/>
                  </a:lnTo>
                  <a:lnTo>
                    <a:pt x="2" y="10"/>
                  </a:lnTo>
                  <a:lnTo>
                    <a:pt x="3" y="10"/>
                  </a:lnTo>
                  <a:lnTo>
                    <a:pt x="3" y="10"/>
                  </a:lnTo>
                  <a:lnTo>
                    <a:pt x="5" y="9"/>
                  </a:lnTo>
                  <a:lnTo>
                    <a:pt x="5" y="9"/>
                  </a:lnTo>
                  <a:lnTo>
                    <a:pt x="5" y="9"/>
                  </a:lnTo>
                  <a:lnTo>
                    <a:pt x="5" y="9"/>
                  </a:lnTo>
                  <a:lnTo>
                    <a:pt x="5" y="9"/>
                  </a:lnTo>
                  <a:lnTo>
                    <a:pt x="5" y="9"/>
                  </a:lnTo>
                  <a:lnTo>
                    <a:pt x="5" y="9"/>
                  </a:lnTo>
                  <a:lnTo>
                    <a:pt x="5" y="9"/>
                  </a:lnTo>
                  <a:lnTo>
                    <a:pt x="5" y="9"/>
                  </a:lnTo>
                  <a:lnTo>
                    <a:pt x="3" y="8"/>
                  </a:lnTo>
                  <a:lnTo>
                    <a:pt x="3" y="8"/>
                  </a:lnTo>
                  <a:lnTo>
                    <a:pt x="3" y="8"/>
                  </a:lnTo>
                  <a:lnTo>
                    <a:pt x="3" y="8"/>
                  </a:lnTo>
                  <a:lnTo>
                    <a:pt x="3" y="8"/>
                  </a:lnTo>
                  <a:lnTo>
                    <a:pt x="3" y="8"/>
                  </a:lnTo>
                  <a:lnTo>
                    <a:pt x="3" y="8"/>
                  </a:lnTo>
                  <a:lnTo>
                    <a:pt x="3" y="8"/>
                  </a:lnTo>
                  <a:lnTo>
                    <a:pt x="3" y="8"/>
                  </a:lnTo>
                  <a:lnTo>
                    <a:pt x="2" y="8"/>
                  </a:lnTo>
                  <a:lnTo>
                    <a:pt x="2" y="8"/>
                  </a:lnTo>
                  <a:lnTo>
                    <a:pt x="2" y="8"/>
                  </a:lnTo>
                  <a:lnTo>
                    <a:pt x="2" y="8"/>
                  </a:lnTo>
                  <a:lnTo>
                    <a:pt x="2" y="8"/>
                  </a:lnTo>
                  <a:lnTo>
                    <a:pt x="3" y="7"/>
                  </a:lnTo>
                  <a:lnTo>
                    <a:pt x="3" y="7"/>
                  </a:lnTo>
                  <a:lnTo>
                    <a:pt x="3" y="7"/>
                  </a:lnTo>
                  <a:lnTo>
                    <a:pt x="5" y="7"/>
                  </a:lnTo>
                  <a:lnTo>
                    <a:pt x="5" y="7"/>
                  </a:lnTo>
                  <a:lnTo>
                    <a:pt x="5" y="7"/>
                  </a:lnTo>
                  <a:lnTo>
                    <a:pt x="6" y="7"/>
                  </a:lnTo>
                  <a:lnTo>
                    <a:pt x="6" y="7"/>
                  </a:lnTo>
                  <a:lnTo>
                    <a:pt x="6" y="7"/>
                  </a:lnTo>
                  <a:lnTo>
                    <a:pt x="6" y="7"/>
                  </a:lnTo>
                  <a:lnTo>
                    <a:pt x="7" y="7"/>
                  </a:lnTo>
                  <a:lnTo>
                    <a:pt x="7" y="7"/>
                  </a:lnTo>
                  <a:lnTo>
                    <a:pt x="7" y="7"/>
                  </a:lnTo>
                  <a:lnTo>
                    <a:pt x="7" y="7"/>
                  </a:lnTo>
                  <a:lnTo>
                    <a:pt x="7" y="7"/>
                  </a:lnTo>
                  <a:lnTo>
                    <a:pt x="7" y="7"/>
                  </a:lnTo>
                  <a:lnTo>
                    <a:pt x="7" y="7"/>
                  </a:lnTo>
                  <a:lnTo>
                    <a:pt x="7" y="7"/>
                  </a:lnTo>
                  <a:lnTo>
                    <a:pt x="7" y="5"/>
                  </a:lnTo>
                  <a:lnTo>
                    <a:pt x="8" y="5"/>
                  </a:lnTo>
                  <a:lnTo>
                    <a:pt x="8" y="4"/>
                  </a:lnTo>
                  <a:lnTo>
                    <a:pt x="8" y="4"/>
                  </a:lnTo>
                  <a:lnTo>
                    <a:pt x="8" y="4"/>
                  </a:lnTo>
                  <a:lnTo>
                    <a:pt x="8" y="4"/>
                  </a:lnTo>
                  <a:lnTo>
                    <a:pt x="8" y="4"/>
                  </a:lnTo>
                  <a:lnTo>
                    <a:pt x="8" y="3"/>
                  </a:lnTo>
                  <a:lnTo>
                    <a:pt x="9" y="3"/>
                  </a:lnTo>
                  <a:lnTo>
                    <a:pt x="9" y="3"/>
                  </a:lnTo>
                  <a:lnTo>
                    <a:pt x="9" y="3"/>
                  </a:lnTo>
                  <a:lnTo>
                    <a:pt x="9" y="3"/>
                  </a:lnTo>
                  <a:lnTo>
                    <a:pt x="9" y="3"/>
                  </a:lnTo>
                  <a:lnTo>
                    <a:pt x="9" y="3"/>
                  </a:lnTo>
                  <a:lnTo>
                    <a:pt x="9" y="3"/>
                  </a:lnTo>
                  <a:lnTo>
                    <a:pt x="9" y="3"/>
                  </a:lnTo>
                  <a:lnTo>
                    <a:pt x="9" y="3"/>
                  </a:lnTo>
                  <a:lnTo>
                    <a:pt x="9" y="2"/>
                  </a:lnTo>
                  <a:lnTo>
                    <a:pt x="9" y="2"/>
                  </a:lnTo>
                  <a:lnTo>
                    <a:pt x="9" y="2"/>
                  </a:lnTo>
                  <a:lnTo>
                    <a:pt x="10" y="2"/>
                  </a:lnTo>
                  <a:lnTo>
                    <a:pt x="10" y="2"/>
                  </a:lnTo>
                  <a:lnTo>
                    <a:pt x="10" y="2"/>
                  </a:lnTo>
                  <a:lnTo>
                    <a:pt x="10" y="2"/>
                  </a:lnTo>
                  <a:lnTo>
                    <a:pt x="10" y="2"/>
                  </a:lnTo>
                  <a:lnTo>
                    <a:pt x="10" y="2"/>
                  </a:lnTo>
                  <a:lnTo>
                    <a:pt x="10" y="2"/>
                  </a:lnTo>
                  <a:lnTo>
                    <a:pt x="10" y="2"/>
                  </a:lnTo>
                  <a:lnTo>
                    <a:pt x="12" y="2"/>
                  </a:lnTo>
                  <a:lnTo>
                    <a:pt x="12" y="2"/>
                  </a:lnTo>
                  <a:lnTo>
                    <a:pt x="12" y="2"/>
                  </a:lnTo>
                  <a:lnTo>
                    <a:pt x="13" y="2"/>
                  </a:lnTo>
                  <a:lnTo>
                    <a:pt x="13" y="2"/>
                  </a:lnTo>
                  <a:lnTo>
                    <a:pt x="13" y="2"/>
                  </a:lnTo>
                  <a:lnTo>
                    <a:pt x="13" y="2"/>
                  </a:lnTo>
                  <a:lnTo>
                    <a:pt x="14" y="2"/>
                  </a:lnTo>
                  <a:lnTo>
                    <a:pt x="14" y="2"/>
                  </a:lnTo>
                  <a:lnTo>
                    <a:pt x="14" y="1"/>
                  </a:lnTo>
                  <a:lnTo>
                    <a:pt x="14" y="1"/>
                  </a:lnTo>
                  <a:lnTo>
                    <a:pt x="14" y="1"/>
                  </a:lnTo>
                  <a:lnTo>
                    <a:pt x="14" y="1"/>
                  </a:lnTo>
                  <a:lnTo>
                    <a:pt x="14" y="0"/>
                  </a:lnTo>
                  <a:lnTo>
                    <a:pt x="14" y="0"/>
                  </a:lnTo>
                  <a:lnTo>
                    <a:pt x="14" y="0"/>
                  </a:lnTo>
                  <a:lnTo>
                    <a:pt x="15" y="0"/>
                  </a:lnTo>
                  <a:lnTo>
                    <a:pt x="15" y="0"/>
                  </a:lnTo>
                  <a:lnTo>
                    <a:pt x="16" y="0"/>
                  </a:lnTo>
                  <a:lnTo>
                    <a:pt x="17" y="0"/>
                  </a:lnTo>
                  <a:lnTo>
                    <a:pt x="19" y="0"/>
                  </a:lnTo>
                  <a:lnTo>
                    <a:pt x="19" y="0"/>
                  </a:lnTo>
                  <a:lnTo>
                    <a:pt x="19" y="0"/>
                  </a:lnTo>
                  <a:lnTo>
                    <a:pt x="20" y="0"/>
                  </a:lnTo>
                  <a:lnTo>
                    <a:pt x="20" y="0"/>
                  </a:lnTo>
                  <a:lnTo>
                    <a:pt x="20" y="0"/>
                  </a:lnTo>
                  <a:lnTo>
                    <a:pt x="2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37" name="Freeform 1201">
              <a:extLst>
                <a:ext uri="{FF2B5EF4-FFF2-40B4-BE49-F238E27FC236}">
                  <a16:creationId xmlns:a16="http://schemas.microsoft.com/office/drawing/2014/main" id="{053A2022-1CF4-4761-943C-92ABFCA52A5E}"/>
                </a:ext>
              </a:extLst>
            </p:cNvPr>
            <p:cNvSpPr>
              <a:spLocks/>
            </p:cNvSpPr>
            <p:nvPr/>
          </p:nvSpPr>
          <p:spPr bwMode="auto">
            <a:xfrm>
              <a:off x="5708937" y="2187989"/>
              <a:ext cx="1336" cy="0"/>
            </a:xfrm>
            <a:custGeom>
              <a:avLst/>
              <a:gdLst>
                <a:gd name="T0" fmla="*/ 1 w 1"/>
                <a:gd name="T1" fmla="*/ 1 w 1"/>
                <a:gd name="T2" fmla="*/ 1 w 1"/>
                <a:gd name="T3" fmla="*/ 1 w 1"/>
                <a:gd name="T4" fmla="*/ 1 w 1"/>
                <a:gd name="T5" fmla="*/ 1 w 1"/>
                <a:gd name="T6" fmla="*/ 1 w 1"/>
                <a:gd name="T7" fmla="*/ 1 w 1"/>
                <a:gd name="T8" fmla="*/ 1 w 1"/>
                <a:gd name="T9" fmla="*/ 1 w 1"/>
                <a:gd name="T10" fmla="*/ 1 w 1"/>
                <a:gd name="T11" fmla="*/ 0 w 1"/>
                <a:gd name="T12" fmla="*/ 0 w 1"/>
                <a:gd name="T13" fmla="*/ 0 w 1"/>
                <a:gd name="T14" fmla="*/ 0 w 1"/>
                <a:gd name="T15" fmla="*/ 0 w 1"/>
                <a:gd name="T16" fmla="*/ 1 w 1"/>
                <a:gd name="T17" fmla="*/ 1 w 1"/>
                <a:gd name="T1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Lst>
              <a:rect l="0" t="0" r="r" b="b"/>
              <a:pathLst>
                <a:path w="1">
                  <a:moveTo>
                    <a:pt x="1" y="0"/>
                  </a:moveTo>
                  <a:lnTo>
                    <a:pt x="1" y="0"/>
                  </a:lnTo>
                  <a:lnTo>
                    <a:pt x="1" y="0"/>
                  </a:lnTo>
                  <a:lnTo>
                    <a:pt x="1" y="0"/>
                  </a:lnTo>
                  <a:lnTo>
                    <a:pt x="1" y="0"/>
                  </a:lnTo>
                  <a:lnTo>
                    <a:pt x="1" y="0"/>
                  </a:lnTo>
                  <a:lnTo>
                    <a:pt x="1" y="0"/>
                  </a:lnTo>
                  <a:lnTo>
                    <a:pt x="1" y="0"/>
                  </a:lnTo>
                  <a:lnTo>
                    <a:pt x="1" y="0"/>
                  </a:lnTo>
                  <a:lnTo>
                    <a:pt x="1" y="0"/>
                  </a:lnTo>
                  <a:lnTo>
                    <a:pt x="1" y="0"/>
                  </a:lnTo>
                  <a:lnTo>
                    <a:pt x="0" y="0"/>
                  </a:lnTo>
                  <a:lnTo>
                    <a:pt x="0" y="0"/>
                  </a:lnTo>
                  <a:lnTo>
                    <a:pt x="0" y="0"/>
                  </a:lnTo>
                  <a:lnTo>
                    <a:pt x="0" y="0"/>
                  </a:lnTo>
                  <a:lnTo>
                    <a:pt x="0"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38" name="Freeform 1202">
              <a:extLst>
                <a:ext uri="{FF2B5EF4-FFF2-40B4-BE49-F238E27FC236}">
                  <a16:creationId xmlns:a16="http://schemas.microsoft.com/office/drawing/2014/main" id="{9549B5BD-F9FD-4B6C-96F7-555BE9EAD1C6}"/>
                </a:ext>
              </a:extLst>
            </p:cNvPr>
            <p:cNvSpPr>
              <a:spLocks/>
            </p:cNvSpPr>
            <p:nvPr/>
          </p:nvSpPr>
          <p:spPr bwMode="auto">
            <a:xfrm>
              <a:off x="5723627" y="2178641"/>
              <a:ext cx="4007" cy="6678"/>
            </a:xfrm>
            <a:custGeom>
              <a:avLst/>
              <a:gdLst>
                <a:gd name="T0" fmla="*/ 3 w 3"/>
                <a:gd name="T1" fmla="*/ 5 h 5"/>
                <a:gd name="T2" fmla="*/ 2 w 3"/>
                <a:gd name="T3" fmla="*/ 5 h 5"/>
                <a:gd name="T4" fmla="*/ 2 w 3"/>
                <a:gd name="T5" fmla="*/ 5 h 5"/>
                <a:gd name="T6" fmla="*/ 1 w 3"/>
                <a:gd name="T7" fmla="*/ 5 h 5"/>
                <a:gd name="T8" fmla="*/ 1 w 3"/>
                <a:gd name="T9" fmla="*/ 5 h 5"/>
                <a:gd name="T10" fmla="*/ 1 w 3"/>
                <a:gd name="T11" fmla="*/ 5 h 5"/>
                <a:gd name="T12" fmla="*/ 1 w 3"/>
                <a:gd name="T13" fmla="*/ 4 h 5"/>
                <a:gd name="T14" fmla="*/ 1 w 3"/>
                <a:gd name="T15" fmla="*/ 4 h 5"/>
                <a:gd name="T16" fmla="*/ 0 w 3"/>
                <a:gd name="T17" fmla="*/ 4 h 5"/>
                <a:gd name="T18" fmla="*/ 0 w 3"/>
                <a:gd name="T19" fmla="*/ 4 h 5"/>
                <a:gd name="T20" fmla="*/ 0 w 3"/>
                <a:gd name="T21" fmla="*/ 4 h 5"/>
                <a:gd name="T22" fmla="*/ 0 w 3"/>
                <a:gd name="T23" fmla="*/ 4 h 5"/>
                <a:gd name="T24" fmla="*/ 0 w 3"/>
                <a:gd name="T25" fmla="*/ 4 h 5"/>
                <a:gd name="T26" fmla="*/ 0 w 3"/>
                <a:gd name="T27" fmla="*/ 4 h 5"/>
                <a:gd name="T28" fmla="*/ 1 w 3"/>
                <a:gd name="T29" fmla="*/ 4 h 5"/>
                <a:gd name="T30" fmla="*/ 0 w 3"/>
                <a:gd name="T31" fmla="*/ 3 h 5"/>
                <a:gd name="T32" fmla="*/ 0 w 3"/>
                <a:gd name="T33" fmla="*/ 3 h 5"/>
                <a:gd name="T34" fmla="*/ 0 w 3"/>
                <a:gd name="T35" fmla="*/ 3 h 5"/>
                <a:gd name="T36" fmla="*/ 0 w 3"/>
                <a:gd name="T37" fmla="*/ 2 h 5"/>
                <a:gd name="T38" fmla="*/ 0 w 3"/>
                <a:gd name="T39" fmla="*/ 2 h 5"/>
                <a:gd name="T40" fmla="*/ 1 w 3"/>
                <a:gd name="T41" fmla="*/ 2 h 5"/>
                <a:gd name="T42" fmla="*/ 1 w 3"/>
                <a:gd name="T43" fmla="*/ 2 h 5"/>
                <a:gd name="T44" fmla="*/ 1 w 3"/>
                <a:gd name="T45" fmla="*/ 2 h 5"/>
                <a:gd name="T46" fmla="*/ 1 w 3"/>
                <a:gd name="T47" fmla="*/ 2 h 5"/>
                <a:gd name="T48" fmla="*/ 1 w 3"/>
                <a:gd name="T49" fmla="*/ 2 h 5"/>
                <a:gd name="T50" fmla="*/ 1 w 3"/>
                <a:gd name="T51" fmla="*/ 0 h 5"/>
                <a:gd name="T52" fmla="*/ 1 w 3"/>
                <a:gd name="T53" fmla="*/ 0 h 5"/>
                <a:gd name="T54" fmla="*/ 1 w 3"/>
                <a:gd name="T55" fmla="*/ 0 h 5"/>
                <a:gd name="T56" fmla="*/ 2 w 3"/>
                <a:gd name="T57" fmla="*/ 2 h 5"/>
                <a:gd name="T58" fmla="*/ 2 w 3"/>
                <a:gd name="T59" fmla="*/ 2 h 5"/>
                <a:gd name="T60" fmla="*/ 2 w 3"/>
                <a:gd name="T61" fmla="*/ 2 h 5"/>
                <a:gd name="T62" fmla="*/ 3 w 3"/>
                <a:gd name="T63" fmla="*/ 2 h 5"/>
                <a:gd name="T64" fmla="*/ 3 w 3"/>
                <a:gd name="T65" fmla="*/ 3 h 5"/>
                <a:gd name="T66" fmla="*/ 3 w 3"/>
                <a:gd name="T67" fmla="*/ 3 h 5"/>
                <a:gd name="T68" fmla="*/ 3 w 3"/>
                <a:gd name="T69" fmla="*/ 3 h 5"/>
                <a:gd name="T70" fmla="*/ 3 w 3"/>
                <a:gd name="T71" fmla="*/ 4 h 5"/>
                <a:gd name="T72" fmla="*/ 3 w 3"/>
                <a:gd name="T73" fmla="*/ 4 h 5"/>
                <a:gd name="T74" fmla="*/ 3 w 3"/>
                <a:gd name="T75" fmla="*/ 4 h 5"/>
                <a:gd name="T76" fmla="*/ 3 w 3"/>
                <a:gd name="T77" fmla="*/ 4 h 5"/>
                <a:gd name="T78" fmla="*/ 3 w 3"/>
                <a:gd name="T79" fmla="*/ 4 h 5"/>
                <a:gd name="T80" fmla="*/ 3 w 3"/>
                <a:gd name="T81" fmla="*/ 4 h 5"/>
                <a:gd name="T82" fmla="*/ 3 w 3"/>
                <a:gd name="T83" fmla="*/ 4 h 5"/>
                <a:gd name="T84" fmla="*/ 3 w 3"/>
                <a:gd name="T85" fmla="*/ 4 h 5"/>
                <a:gd name="T86" fmla="*/ 3 w 3"/>
                <a:gd name="T87" fmla="*/ 4 h 5"/>
                <a:gd name="T88" fmla="*/ 3 w 3"/>
                <a:gd name="T89" fmla="*/ 5 h 5"/>
                <a:gd name="T90" fmla="*/ 3 w 3"/>
                <a:gd name="T91" fmla="*/ 5 h 5"/>
                <a:gd name="T92" fmla="*/ 3 w 3"/>
                <a:gd name="T93" fmla="*/ 5 h 5"/>
                <a:gd name="T94" fmla="*/ 3 w 3"/>
                <a:gd name="T9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 h="5">
                  <a:moveTo>
                    <a:pt x="3" y="5"/>
                  </a:moveTo>
                  <a:lnTo>
                    <a:pt x="2" y="5"/>
                  </a:lnTo>
                  <a:lnTo>
                    <a:pt x="2" y="5"/>
                  </a:lnTo>
                  <a:lnTo>
                    <a:pt x="1" y="5"/>
                  </a:lnTo>
                  <a:lnTo>
                    <a:pt x="1" y="5"/>
                  </a:lnTo>
                  <a:lnTo>
                    <a:pt x="1" y="5"/>
                  </a:lnTo>
                  <a:lnTo>
                    <a:pt x="1" y="4"/>
                  </a:lnTo>
                  <a:lnTo>
                    <a:pt x="1" y="4"/>
                  </a:lnTo>
                  <a:lnTo>
                    <a:pt x="0" y="4"/>
                  </a:lnTo>
                  <a:lnTo>
                    <a:pt x="0" y="4"/>
                  </a:lnTo>
                  <a:lnTo>
                    <a:pt x="0" y="4"/>
                  </a:lnTo>
                  <a:lnTo>
                    <a:pt x="0" y="4"/>
                  </a:lnTo>
                  <a:lnTo>
                    <a:pt x="0" y="4"/>
                  </a:lnTo>
                  <a:lnTo>
                    <a:pt x="0" y="4"/>
                  </a:lnTo>
                  <a:lnTo>
                    <a:pt x="1" y="4"/>
                  </a:lnTo>
                  <a:lnTo>
                    <a:pt x="0" y="3"/>
                  </a:lnTo>
                  <a:lnTo>
                    <a:pt x="0" y="3"/>
                  </a:lnTo>
                  <a:lnTo>
                    <a:pt x="0" y="3"/>
                  </a:lnTo>
                  <a:lnTo>
                    <a:pt x="0" y="2"/>
                  </a:lnTo>
                  <a:lnTo>
                    <a:pt x="0" y="2"/>
                  </a:lnTo>
                  <a:lnTo>
                    <a:pt x="1" y="2"/>
                  </a:lnTo>
                  <a:lnTo>
                    <a:pt x="1" y="2"/>
                  </a:lnTo>
                  <a:lnTo>
                    <a:pt x="1" y="2"/>
                  </a:lnTo>
                  <a:lnTo>
                    <a:pt x="1" y="2"/>
                  </a:lnTo>
                  <a:lnTo>
                    <a:pt x="1" y="2"/>
                  </a:lnTo>
                  <a:lnTo>
                    <a:pt x="1" y="0"/>
                  </a:lnTo>
                  <a:lnTo>
                    <a:pt x="1" y="0"/>
                  </a:lnTo>
                  <a:lnTo>
                    <a:pt x="1" y="0"/>
                  </a:lnTo>
                  <a:lnTo>
                    <a:pt x="2" y="2"/>
                  </a:lnTo>
                  <a:lnTo>
                    <a:pt x="2" y="2"/>
                  </a:lnTo>
                  <a:lnTo>
                    <a:pt x="2" y="2"/>
                  </a:lnTo>
                  <a:lnTo>
                    <a:pt x="3" y="2"/>
                  </a:lnTo>
                  <a:lnTo>
                    <a:pt x="3" y="3"/>
                  </a:lnTo>
                  <a:lnTo>
                    <a:pt x="3" y="3"/>
                  </a:lnTo>
                  <a:lnTo>
                    <a:pt x="3" y="3"/>
                  </a:lnTo>
                  <a:lnTo>
                    <a:pt x="3" y="4"/>
                  </a:lnTo>
                  <a:lnTo>
                    <a:pt x="3" y="4"/>
                  </a:lnTo>
                  <a:lnTo>
                    <a:pt x="3" y="4"/>
                  </a:lnTo>
                  <a:lnTo>
                    <a:pt x="3" y="4"/>
                  </a:lnTo>
                  <a:lnTo>
                    <a:pt x="3" y="4"/>
                  </a:lnTo>
                  <a:lnTo>
                    <a:pt x="3" y="4"/>
                  </a:lnTo>
                  <a:lnTo>
                    <a:pt x="3" y="4"/>
                  </a:lnTo>
                  <a:lnTo>
                    <a:pt x="3" y="4"/>
                  </a:lnTo>
                  <a:lnTo>
                    <a:pt x="3" y="4"/>
                  </a:lnTo>
                  <a:lnTo>
                    <a:pt x="3" y="5"/>
                  </a:lnTo>
                  <a:lnTo>
                    <a:pt x="3" y="5"/>
                  </a:lnTo>
                  <a:lnTo>
                    <a:pt x="3" y="5"/>
                  </a:lnTo>
                  <a:lnTo>
                    <a:pt x="3" y="5"/>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39" name="Freeform 1203">
              <a:extLst>
                <a:ext uri="{FF2B5EF4-FFF2-40B4-BE49-F238E27FC236}">
                  <a16:creationId xmlns:a16="http://schemas.microsoft.com/office/drawing/2014/main" id="{DE650187-A096-48DA-B7FD-A21646FA74FF}"/>
                </a:ext>
              </a:extLst>
            </p:cNvPr>
            <p:cNvSpPr>
              <a:spLocks/>
            </p:cNvSpPr>
            <p:nvPr/>
          </p:nvSpPr>
          <p:spPr bwMode="auto">
            <a:xfrm>
              <a:off x="5726298" y="2175970"/>
              <a:ext cx="2671" cy="2671"/>
            </a:xfrm>
            <a:custGeom>
              <a:avLst/>
              <a:gdLst>
                <a:gd name="T0" fmla="*/ 2 w 2"/>
                <a:gd name="T1" fmla="*/ 2 h 2"/>
                <a:gd name="T2" fmla="*/ 2 w 2"/>
                <a:gd name="T3" fmla="*/ 2 h 2"/>
                <a:gd name="T4" fmla="*/ 2 w 2"/>
                <a:gd name="T5" fmla="*/ 2 h 2"/>
                <a:gd name="T6" fmla="*/ 2 w 2"/>
                <a:gd name="T7" fmla="*/ 2 h 2"/>
                <a:gd name="T8" fmla="*/ 2 w 2"/>
                <a:gd name="T9" fmla="*/ 2 h 2"/>
                <a:gd name="T10" fmla="*/ 1 w 2"/>
                <a:gd name="T11" fmla="*/ 2 h 2"/>
                <a:gd name="T12" fmla="*/ 1 w 2"/>
                <a:gd name="T13" fmla="*/ 1 h 2"/>
                <a:gd name="T14" fmla="*/ 1 w 2"/>
                <a:gd name="T15" fmla="*/ 1 h 2"/>
                <a:gd name="T16" fmla="*/ 1 w 2"/>
                <a:gd name="T17" fmla="*/ 1 h 2"/>
                <a:gd name="T18" fmla="*/ 0 w 2"/>
                <a:gd name="T19" fmla="*/ 1 h 2"/>
                <a:gd name="T20" fmla="*/ 0 w 2"/>
                <a:gd name="T21" fmla="*/ 1 h 2"/>
                <a:gd name="T22" fmla="*/ 0 w 2"/>
                <a:gd name="T23" fmla="*/ 0 h 2"/>
                <a:gd name="T24" fmla="*/ 0 w 2"/>
                <a:gd name="T25" fmla="*/ 0 h 2"/>
                <a:gd name="T26" fmla="*/ 0 w 2"/>
                <a:gd name="T27" fmla="*/ 0 h 2"/>
                <a:gd name="T28" fmla="*/ 0 w 2"/>
                <a:gd name="T29" fmla="*/ 0 h 2"/>
                <a:gd name="T30" fmla="*/ 1 w 2"/>
                <a:gd name="T31" fmla="*/ 0 h 2"/>
                <a:gd name="T32" fmla="*/ 1 w 2"/>
                <a:gd name="T33" fmla="*/ 0 h 2"/>
                <a:gd name="T34" fmla="*/ 1 w 2"/>
                <a:gd name="T35" fmla="*/ 0 h 2"/>
                <a:gd name="T36" fmla="*/ 1 w 2"/>
                <a:gd name="T37" fmla="*/ 0 h 2"/>
                <a:gd name="T38" fmla="*/ 1 w 2"/>
                <a:gd name="T39" fmla="*/ 0 h 2"/>
                <a:gd name="T40" fmla="*/ 1 w 2"/>
                <a:gd name="T41" fmla="*/ 1 h 2"/>
                <a:gd name="T42" fmla="*/ 1 w 2"/>
                <a:gd name="T43" fmla="*/ 1 h 2"/>
                <a:gd name="T44" fmla="*/ 2 w 2"/>
                <a:gd name="T45" fmla="*/ 1 h 2"/>
                <a:gd name="T46" fmla="*/ 2 w 2"/>
                <a:gd name="T47" fmla="*/ 1 h 2"/>
                <a:gd name="T48" fmla="*/ 2 w 2"/>
                <a:gd name="T49" fmla="*/ 1 h 2"/>
                <a:gd name="T50" fmla="*/ 2 w 2"/>
                <a:gd name="T51" fmla="*/ 1 h 2"/>
                <a:gd name="T52" fmla="*/ 2 w 2"/>
                <a:gd name="T53" fmla="*/ 1 h 2"/>
                <a:gd name="T54" fmla="*/ 2 w 2"/>
                <a:gd name="T55" fmla="*/ 2 h 2"/>
                <a:gd name="T56" fmla="*/ 2 w 2"/>
                <a:gd name="T57" fmla="*/ 2 h 2"/>
                <a:gd name="T58" fmla="*/ 2 w 2"/>
                <a:gd name="T59" fmla="*/ 2 h 2"/>
                <a:gd name="T60" fmla="*/ 2 w 2"/>
                <a:gd name="T61" fmla="*/ 2 h 2"/>
                <a:gd name="T62" fmla="*/ 2 w 2"/>
                <a:gd name="T63" fmla="*/ 2 h 2"/>
                <a:gd name="T64" fmla="*/ 2 w 2"/>
                <a:gd name="T65" fmla="*/ 2 h 2"/>
                <a:gd name="T66" fmla="*/ 2 w 2"/>
                <a:gd name="T6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 h="2">
                  <a:moveTo>
                    <a:pt x="2" y="2"/>
                  </a:moveTo>
                  <a:lnTo>
                    <a:pt x="2" y="2"/>
                  </a:lnTo>
                  <a:lnTo>
                    <a:pt x="2" y="2"/>
                  </a:lnTo>
                  <a:lnTo>
                    <a:pt x="2" y="2"/>
                  </a:lnTo>
                  <a:lnTo>
                    <a:pt x="2" y="2"/>
                  </a:lnTo>
                  <a:lnTo>
                    <a:pt x="1" y="2"/>
                  </a:lnTo>
                  <a:lnTo>
                    <a:pt x="1" y="1"/>
                  </a:lnTo>
                  <a:lnTo>
                    <a:pt x="1" y="1"/>
                  </a:lnTo>
                  <a:lnTo>
                    <a:pt x="1" y="1"/>
                  </a:lnTo>
                  <a:lnTo>
                    <a:pt x="0" y="1"/>
                  </a:lnTo>
                  <a:lnTo>
                    <a:pt x="0" y="1"/>
                  </a:lnTo>
                  <a:lnTo>
                    <a:pt x="0" y="0"/>
                  </a:lnTo>
                  <a:lnTo>
                    <a:pt x="0" y="0"/>
                  </a:lnTo>
                  <a:lnTo>
                    <a:pt x="0" y="0"/>
                  </a:lnTo>
                  <a:lnTo>
                    <a:pt x="0" y="0"/>
                  </a:lnTo>
                  <a:lnTo>
                    <a:pt x="1" y="0"/>
                  </a:lnTo>
                  <a:lnTo>
                    <a:pt x="1" y="0"/>
                  </a:lnTo>
                  <a:lnTo>
                    <a:pt x="1" y="0"/>
                  </a:lnTo>
                  <a:lnTo>
                    <a:pt x="1" y="0"/>
                  </a:lnTo>
                  <a:lnTo>
                    <a:pt x="1" y="0"/>
                  </a:lnTo>
                  <a:lnTo>
                    <a:pt x="1" y="1"/>
                  </a:lnTo>
                  <a:lnTo>
                    <a:pt x="1" y="1"/>
                  </a:lnTo>
                  <a:lnTo>
                    <a:pt x="2" y="1"/>
                  </a:lnTo>
                  <a:lnTo>
                    <a:pt x="2" y="1"/>
                  </a:lnTo>
                  <a:lnTo>
                    <a:pt x="2" y="1"/>
                  </a:lnTo>
                  <a:lnTo>
                    <a:pt x="2" y="1"/>
                  </a:lnTo>
                  <a:lnTo>
                    <a:pt x="2" y="1"/>
                  </a:lnTo>
                  <a:lnTo>
                    <a:pt x="2" y="2"/>
                  </a:lnTo>
                  <a:lnTo>
                    <a:pt x="2" y="2"/>
                  </a:lnTo>
                  <a:lnTo>
                    <a:pt x="2" y="2"/>
                  </a:lnTo>
                  <a:lnTo>
                    <a:pt x="2" y="2"/>
                  </a:lnTo>
                  <a:lnTo>
                    <a:pt x="2" y="2"/>
                  </a:lnTo>
                  <a:lnTo>
                    <a:pt x="2" y="2"/>
                  </a:lnTo>
                  <a:lnTo>
                    <a:pt x="2"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40" name="Freeform 1204">
              <a:extLst>
                <a:ext uri="{FF2B5EF4-FFF2-40B4-BE49-F238E27FC236}">
                  <a16:creationId xmlns:a16="http://schemas.microsoft.com/office/drawing/2014/main" id="{C6FA5200-B8A7-4E2B-8348-4E6965BB3297}"/>
                </a:ext>
              </a:extLst>
            </p:cNvPr>
            <p:cNvSpPr>
              <a:spLocks/>
            </p:cNvSpPr>
            <p:nvPr/>
          </p:nvSpPr>
          <p:spPr bwMode="auto">
            <a:xfrm>
              <a:off x="5706266" y="2175970"/>
              <a:ext cx="8013" cy="6678"/>
            </a:xfrm>
            <a:custGeom>
              <a:avLst/>
              <a:gdLst>
                <a:gd name="T0" fmla="*/ 4 w 6"/>
                <a:gd name="T1" fmla="*/ 1 h 5"/>
                <a:gd name="T2" fmla="*/ 4 w 6"/>
                <a:gd name="T3" fmla="*/ 2 h 5"/>
                <a:gd name="T4" fmla="*/ 6 w 6"/>
                <a:gd name="T5" fmla="*/ 2 h 5"/>
                <a:gd name="T6" fmla="*/ 6 w 6"/>
                <a:gd name="T7" fmla="*/ 2 h 5"/>
                <a:gd name="T8" fmla="*/ 6 w 6"/>
                <a:gd name="T9" fmla="*/ 2 h 5"/>
                <a:gd name="T10" fmla="*/ 6 w 6"/>
                <a:gd name="T11" fmla="*/ 2 h 5"/>
                <a:gd name="T12" fmla="*/ 6 w 6"/>
                <a:gd name="T13" fmla="*/ 4 h 5"/>
                <a:gd name="T14" fmla="*/ 6 w 6"/>
                <a:gd name="T15" fmla="*/ 4 h 5"/>
                <a:gd name="T16" fmla="*/ 6 w 6"/>
                <a:gd name="T17" fmla="*/ 4 h 5"/>
                <a:gd name="T18" fmla="*/ 6 w 6"/>
                <a:gd name="T19" fmla="*/ 4 h 5"/>
                <a:gd name="T20" fmla="*/ 4 w 6"/>
                <a:gd name="T21" fmla="*/ 4 h 5"/>
                <a:gd name="T22" fmla="*/ 4 w 6"/>
                <a:gd name="T23" fmla="*/ 4 h 5"/>
                <a:gd name="T24" fmla="*/ 4 w 6"/>
                <a:gd name="T25" fmla="*/ 5 h 5"/>
                <a:gd name="T26" fmla="*/ 3 w 6"/>
                <a:gd name="T27" fmla="*/ 5 h 5"/>
                <a:gd name="T28" fmla="*/ 3 w 6"/>
                <a:gd name="T29" fmla="*/ 5 h 5"/>
                <a:gd name="T30" fmla="*/ 3 w 6"/>
                <a:gd name="T31" fmla="*/ 5 h 5"/>
                <a:gd name="T32" fmla="*/ 2 w 6"/>
                <a:gd name="T33" fmla="*/ 5 h 5"/>
                <a:gd name="T34" fmla="*/ 2 w 6"/>
                <a:gd name="T35" fmla="*/ 5 h 5"/>
                <a:gd name="T36" fmla="*/ 2 w 6"/>
                <a:gd name="T37" fmla="*/ 4 h 5"/>
                <a:gd name="T38" fmla="*/ 2 w 6"/>
                <a:gd name="T39" fmla="*/ 4 h 5"/>
                <a:gd name="T40" fmla="*/ 2 w 6"/>
                <a:gd name="T41" fmla="*/ 4 h 5"/>
                <a:gd name="T42" fmla="*/ 2 w 6"/>
                <a:gd name="T43" fmla="*/ 2 h 5"/>
                <a:gd name="T44" fmla="*/ 3 w 6"/>
                <a:gd name="T45" fmla="*/ 2 h 5"/>
                <a:gd name="T46" fmla="*/ 2 w 6"/>
                <a:gd name="T47" fmla="*/ 2 h 5"/>
                <a:gd name="T48" fmla="*/ 2 w 6"/>
                <a:gd name="T49" fmla="*/ 2 h 5"/>
                <a:gd name="T50" fmla="*/ 1 w 6"/>
                <a:gd name="T51" fmla="*/ 2 h 5"/>
                <a:gd name="T52" fmla="*/ 1 w 6"/>
                <a:gd name="T53" fmla="*/ 4 h 5"/>
                <a:gd name="T54" fmla="*/ 0 w 6"/>
                <a:gd name="T55" fmla="*/ 4 h 5"/>
                <a:gd name="T56" fmla="*/ 0 w 6"/>
                <a:gd name="T57" fmla="*/ 4 h 5"/>
                <a:gd name="T58" fmla="*/ 0 w 6"/>
                <a:gd name="T59" fmla="*/ 4 h 5"/>
                <a:gd name="T60" fmla="*/ 0 w 6"/>
                <a:gd name="T61" fmla="*/ 2 h 5"/>
                <a:gd name="T62" fmla="*/ 1 w 6"/>
                <a:gd name="T63" fmla="*/ 2 h 5"/>
                <a:gd name="T64" fmla="*/ 0 w 6"/>
                <a:gd name="T65" fmla="*/ 2 h 5"/>
                <a:gd name="T66" fmla="*/ 1 w 6"/>
                <a:gd name="T67" fmla="*/ 1 h 5"/>
                <a:gd name="T68" fmla="*/ 1 w 6"/>
                <a:gd name="T69" fmla="*/ 1 h 5"/>
                <a:gd name="T70" fmla="*/ 1 w 6"/>
                <a:gd name="T71" fmla="*/ 1 h 5"/>
                <a:gd name="T72" fmla="*/ 2 w 6"/>
                <a:gd name="T73" fmla="*/ 0 h 5"/>
                <a:gd name="T74" fmla="*/ 2 w 6"/>
                <a:gd name="T75" fmla="*/ 0 h 5"/>
                <a:gd name="T76" fmla="*/ 2 w 6"/>
                <a:gd name="T77" fmla="*/ 1 h 5"/>
                <a:gd name="T78" fmla="*/ 2 w 6"/>
                <a:gd name="T79" fmla="*/ 1 h 5"/>
                <a:gd name="T80" fmla="*/ 2 w 6"/>
                <a:gd name="T81" fmla="*/ 1 h 5"/>
                <a:gd name="T82" fmla="*/ 2 w 6"/>
                <a:gd name="T83" fmla="*/ 1 h 5"/>
                <a:gd name="T84" fmla="*/ 3 w 6"/>
                <a:gd name="T85" fmla="*/ 0 h 5"/>
                <a:gd name="T86" fmla="*/ 3 w 6"/>
                <a:gd name="T87" fmla="*/ 0 h 5"/>
                <a:gd name="T88" fmla="*/ 3 w 6"/>
                <a:gd name="T89" fmla="*/ 0 h 5"/>
                <a:gd name="T90" fmla="*/ 4 w 6"/>
                <a:gd name="T91" fmla="*/ 0 h 5"/>
                <a:gd name="T92" fmla="*/ 4 w 6"/>
                <a:gd name="T93" fmla="*/ 0 h 5"/>
                <a:gd name="T94" fmla="*/ 4 w 6"/>
                <a:gd name="T95" fmla="*/ 0 h 5"/>
                <a:gd name="T96" fmla="*/ 4 w 6"/>
                <a:gd name="T9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 h="5">
                  <a:moveTo>
                    <a:pt x="4" y="1"/>
                  </a:moveTo>
                  <a:lnTo>
                    <a:pt x="4" y="1"/>
                  </a:lnTo>
                  <a:lnTo>
                    <a:pt x="4" y="2"/>
                  </a:lnTo>
                  <a:lnTo>
                    <a:pt x="4" y="2"/>
                  </a:lnTo>
                  <a:lnTo>
                    <a:pt x="4" y="2"/>
                  </a:lnTo>
                  <a:lnTo>
                    <a:pt x="6" y="2"/>
                  </a:lnTo>
                  <a:lnTo>
                    <a:pt x="6" y="2"/>
                  </a:lnTo>
                  <a:lnTo>
                    <a:pt x="6" y="2"/>
                  </a:lnTo>
                  <a:lnTo>
                    <a:pt x="6" y="2"/>
                  </a:lnTo>
                  <a:lnTo>
                    <a:pt x="6" y="2"/>
                  </a:lnTo>
                  <a:lnTo>
                    <a:pt x="6" y="2"/>
                  </a:lnTo>
                  <a:lnTo>
                    <a:pt x="6" y="2"/>
                  </a:lnTo>
                  <a:lnTo>
                    <a:pt x="6" y="2"/>
                  </a:lnTo>
                  <a:lnTo>
                    <a:pt x="6" y="4"/>
                  </a:lnTo>
                  <a:lnTo>
                    <a:pt x="6" y="4"/>
                  </a:lnTo>
                  <a:lnTo>
                    <a:pt x="6" y="4"/>
                  </a:lnTo>
                  <a:lnTo>
                    <a:pt x="6" y="4"/>
                  </a:lnTo>
                  <a:lnTo>
                    <a:pt x="6" y="4"/>
                  </a:lnTo>
                  <a:lnTo>
                    <a:pt x="6" y="4"/>
                  </a:lnTo>
                  <a:lnTo>
                    <a:pt x="6" y="4"/>
                  </a:lnTo>
                  <a:lnTo>
                    <a:pt x="6" y="4"/>
                  </a:lnTo>
                  <a:lnTo>
                    <a:pt x="4" y="4"/>
                  </a:lnTo>
                  <a:lnTo>
                    <a:pt x="4" y="4"/>
                  </a:lnTo>
                  <a:lnTo>
                    <a:pt x="4" y="4"/>
                  </a:lnTo>
                  <a:lnTo>
                    <a:pt x="4" y="5"/>
                  </a:lnTo>
                  <a:lnTo>
                    <a:pt x="4" y="5"/>
                  </a:lnTo>
                  <a:lnTo>
                    <a:pt x="3" y="5"/>
                  </a:lnTo>
                  <a:lnTo>
                    <a:pt x="3" y="5"/>
                  </a:lnTo>
                  <a:lnTo>
                    <a:pt x="3" y="5"/>
                  </a:lnTo>
                  <a:lnTo>
                    <a:pt x="3" y="5"/>
                  </a:lnTo>
                  <a:lnTo>
                    <a:pt x="3" y="5"/>
                  </a:lnTo>
                  <a:lnTo>
                    <a:pt x="3" y="5"/>
                  </a:lnTo>
                  <a:lnTo>
                    <a:pt x="2" y="5"/>
                  </a:lnTo>
                  <a:lnTo>
                    <a:pt x="2" y="5"/>
                  </a:lnTo>
                  <a:lnTo>
                    <a:pt x="2" y="5"/>
                  </a:lnTo>
                  <a:lnTo>
                    <a:pt x="2" y="5"/>
                  </a:lnTo>
                  <a:lnTo>
                    <a:pt x="2" y="5"/>
                  </a:lnTo>
                  <a:lnTo>
                    <a:pt x="2" y="4"/>
                  </a:lnTo>
                  <a:lnTo>
                    <a:pt x="3" y="4"/>
                  </a:lnTo>
                  <a:lnTo>
                    <a:pt x="2" y="4"/>
                  </a:lnTo>
                  <a:lnTo>
                    <a:pt x="2" y="4"/>
                  </a:lnTo>
                  <a:lnTo>
                    <a:pt x="2" y="4"/>
                  </a:lnTo>
                  <a:lnTo>
                    <a:pt x="2" y="4"/>
                  </a:lnTo>
                  <a:lnTo>
                    <a:pt x="2" y="2"/>
                  </a:lnTo>
                  <a:lnTo>
                    <a:pt x="2" y="2"/>
                  </a:lnTo>
                  <a:lnTo>
                    <a:pt x="3" y="2"/>
                  </a:lnTo>
                  <a:lnTo>
                    <a:pt x="2" y="2"/>
                  </a:lnTo>
                  <a:lnTo>
                    <a:pt x="2" y="2"/>
                  </a:lnTo>
                  <a:lnTo>
                    <a:pt x="2" y="2"/>
                  </a:lnTo>
                  <a:lnTo>
                    <a:pt x="2" y="2"/>
                  </a:lnTo>
                  <a:lnTo>
                    <a:pt x="1" y="2"/>
                  </a:lnTo>
                  <a:lnTo>
                    <a:pt x="1" y="2"/>
                  </a:lnTo>
                  <a:lnTo>
                    <a:pt x="1" y="4"/>
                  </a:lnTo>
                  <a:lnTo>
                    <a:pt x="1" y="4"/>
                  </a:lnTo>
                  <a:lnTo>
                    <a:pt x="0" y="4"/>
                  </a:lnTo>
                  <a:lnTo>
                    <a:pt x="0" y="4"/>
                  </a:lnTo>
                  <a:lnTo>
                    <a:pt x="0" y="4"/>
                  </a:lnTo>
                  <a:lnTo>
                    <a:pt x="0" y="4"/>
                  </a:lnTo>
                  <a:lnTo>
                    <a:pt x="0" y="4"/>
                  </a:lnTo>
                  <a:lnTo>
                    <a:pt x="0" y="4"/>
                  </a:lnTo>
                  <a:lnTo>
                    <a:pt x="0" y="2"/>
                  </a:lnTo>
                  <a:lnTo>
                    <a:pt x="0" y="2"/>
                  </a:lnTo>
                  <a:lnTo>
                    <a:pt x="0" y="2"/>
                  </a:lnTo>
                  <a:lnTo>
                    <a:pt x="1" y="2"/>
                  </a:lnTo>
                  <a:lnTo>
                    <a:pt x="0" y="2"/>
                  </a:lnTo>
                  <a:lnTo>
                    <a:pt x="0" y="2"/>
                  </a:lnTo>
                  <a:lnTo>
                    <a:pt x="1" y="1"/>
                  </a:lnTo>
                  <a:lnTo>
                    <a:pt x="1" y="1"/>
                  </a:lnTo>
                  <a:lnTo>
                    <a:pt x="1" y="1"/>
                  </a:lnTo>
                  <a:lnTo>
                    <a:pt x="1" y="1"/>
                  </a:lnTo>
                  <a:lnTo>
                    <a:pt x="1" y="1"/>
                  </a:lnTo>
                  <a:lnTo>
                    <a:pt x="1" y="1"/>
                  </a:lnTo>
                  <a:lnTo>
                    <a:pt x="2" y="0"/>
                  </a:lnTo>
                  <a:lnTo>
                    <a:pt x="2" y="0"/>
                  </a:lnTo>
                  <a:lnTo>
                    <a:pt x="2" y="0"/>
                  </a:lnTo>
                  <a:lnTo>
                    <a:pt x="2" y="0"/>
                  </a:lnTo>
                  <a:lnTo>
                    <a:pt x="2" y="0"/>
                  </a:lnTo>
                  <a:lnTo>
                    <a:pt x="2" y="1"/>
                  </a:lnTo>
                  <a:lnTo>
                    <a:pt x="2" y="1"/>
                  </a:lnTo>
                  <a:lnTo>
                    <a:pt x="2" y="1"/>
                  </a:lnTo>
                  <a:lnTo>
                    <a:pt x="2" y="1"/>
                  </a:lnTo>
                  <a:lnTo>
                    <a:pt x="2" y="1"/>
                  </a:lnTo>
                  <a:lnTo>
                    <a:pt x="2" y="1"/>
                  </a:lnTo>
                  <a:lnTo>
                    <a:pt x="2" y="1"/>
                  </a:lnTo>
                  <a:lnTo>
                    <a:pt x="2" y="1"/>
                  </a:lnTo>
                  <a:lnTo>
                    <a:pt x="3" y="0"/>
                  </a:lnTo>
                  <a:lnTo>
                    <a:pt x="3" y="0"/>
                  </a:lnTo>
                  <a:lnTo>
                    <a:pt x="3" y="0"/>
                  </a:lnTo>
                  <a:lnTo>
                    <a:pt x="3" y="0"/>
                  </a:lnTo>
                  <a:lnTo>
                    <a:pt x="3" y="0"/>
                  </a:lnTo>
                  <a:lnTo>
                    <a:pt x="4" y="0"/>
                  </a:lnTo>
                  <a:lnTo>
                    <a:pt x="4" y="0"/>
                  </a:lnTo>
                  <a:lnTo>
                    <a:pt x="4" y="0"/>
                  </a:lnTo>
                  <a:lnTo>
                    <a:pt x="4" y="0"/>
                  </a:lnTo>
                  <a:lnTo>
                    <a:pt x="4" y="0"/>
                  </a:lnTo>
                  <a:lnTo>
                    <a:pt x="4" y="0"/>
                  </a:lnTo>
                  <a:lnTo>
                    <a:pt x="4" y="0"/>
                  </a:lnTo>
                  <a:lnTo>
                    <a:pt x="4"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41" name="Freeform 1205">
              <a:extLst>
                <a:ext uri="{FF2B5EF4-FFF2-40B4-BE49-F238E27FC236}">
                  <a16:creationId xmlns:a16="http://schemas.microsoft.com/office/drawing/2014/main" id="{6C57AE55-99CC-4B79-89DC-86D26EED90AC}"/>
                </a:ext>
              </a:extLst>
            </p:cNvPr>
            <p:cNvSpPr>
              <a:spLocks/>
            </p:cNvSpPr>
            <p:nvPr/>
          </p:nvSpPr>
          <p:spPr bwMode="auto">
            <a:xfrm>
              <a:off x="5710272" y="2171963"/>
              <a:ext cx="1336" cy="2671"/>
            </a:xfrm>
            <a:custGeom>
              <a:avLst/>
              <a:gdLst>
                <a:gd name="T0" fmla="*/ 1 w 1"/>
                <a:gd name="T1" fmla="*/ 0 h 2"/>
                <a:gd name="T2" fmla="*/ 1 w 1"/>
                <a:gd name="T3" fmla="*/ 1 h 2"/>
                <a:gd name="T4" fmla="*/ 1 w 1"/>
                <a:gd name="T5" fmla="*/ 1 h 2"/>
                <a:gd name="T6" fmla="*/ 1 w 1"/>
                <a:gd name="T7" fmla="*/ 1 h 2"/>
                <a:gd name="T8" fmla="*/ 0 w 1"/>
                <a:gd name="T9" fmla="*/ 1 h 2"/>
                <a:gd name="T10" fmla="*/ 0 w 1"/>
                <a:gd name="T11" fmla="*/ 2 h 2"/>
                <a:gd name="T12" fmla="*/ 0 w 1"/>
                <a:gd name="T13" fmla="*/ 2 h 2"/>
                <a:gd name="T14" fmla="*/ 0 w 1"/>
                <a:gd name="T15" fmla="*/ 1 h 2"/>
                <a:gd name="T16" fmla="*/ 0 w 1"/>
                <a:gd name="T17" fmla="*/ 1 h 2"/>
                <a:gd name="T18" fmla="*/ 0 w 1"/>
                <a:gd name="T19" fmla="*/ 1 h 2"/>
                <a:gd name="T20" fmla="*/ 0 w 1"/>
                <a:gd name="T21" fmla="*/ 1 h 2"/>
                <a:gd name="T22" fmla="*/ 0 w 1"/>
                <a:gd name="T23" fmla="*/ 1 h 2"/>
                <a:gd name="T24" fmla="*/ 0 w 1"/>
                <a:gd name="T25" fmla="*/ 1 h 2"/>
                <a:gd name="T26" fmla="*/ 0 w 1"/>
                <a:gd name="T27" fmla="*/ 1 h 2"/>
                <a:gd name="T28" fmla="*/ 0 w 1"/>
                <a:gd name="T29" fmla="*/ 1 h 2"/>
                <a:gd name="T30" fmla="*/ 0 w 1"/>
                <a:gd name="T31" fmla="*/ 1 h 2"/>
                <a:gd name="T32" fmla="*/ 1 w 1"/>
                <a:gd name="T33" fmla="*/ 1 h 2"/>
                <a:gd name="T34" fmla="*/ 1 w 1"/>
                <a:gd name="T35" fmla="*/ 1 h 2"/>
                <a:gd name="T36" fmla="*/ 1 w 1"/>
                <a:gd name="T37" fmla="*/ 0 h 2"/>
                <a:gd name="T38" fmla="*/ 1 w 1"/>
                <a:gd name="T39" fmla="*/ 0 h 2"/>
                <a:gd name="T40" fmla="*/ 1 w 1"/>
                <a:gd name="T41" fmla="*/ 0 h 2"/>
                <a:gd name="T42" fmla="*/ 1 w 1"/>
                <a:gd name="T43" fmla="*/ 0 h 2"/>
                <a:gd name="T44" fmla="*/ 1 w 1"/>
                <a:gd name="T45" fmla="*/ 0 h 2"/>
                <a:gd name="T46" fmla="*/ 1 w 1"/>
                <a:gd name="T4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 h="2">
                  <a:moveTo>
                    <a:pt x="1" y="0"/>
                  </a:moveTo>
                  <a:lnTo>
                    <a:pt x="1" y="1"/>
                  </a:lnTo>
                  <a:lnTo>
                    <a:pt x="1" y="1"/>
                  </a:lnTo>
                  <a:lnTo>
                    <a:pt x="1" y="1"/>
                  </a:lnTo>
                  <a:lnTo>
                    <a:pt x="0" y="1"/>
                  </a:lnTo>
                  <a:lnTo>
                    <a:pt x="0" y="2"/>
                  </a:lnTo>
                  <a:lnTo>
                    <a:pt x="0" y="2"/>
                  </a:lnTo>
                  <a:lnTo>
                    <a:pt x="0" y="1"/>
                  </a:lnTo>
                  <a:lnTo>
                    <a:pt x="0" y="1"/>
                  </a:lnTo>
                  <a:lnTo>
                    <a:pt x="0" y="1"/>
                  </a:lnTo>
                  <a:lnTo>
                    <a:pt x="0" y="1"/>
                  </a:lnTo>
                  <a:lnTo>
                    <a:pt x="0" y="1"/>
                  </a:lnTo>
                  <a:lnTo>
                    <a:pt x="0" y="1"/>
                  </a:lnTo>
                  <a:lnTo>
                    <a:pt x="0" y="1"/>
                  </a:lnTo>
                  <a:lnTo>
                    <a:pt x="0" y="1"/>
                  </a:lnTo>
                  <a:lnTo>
                    <a:pt x="0" y="1"/>
                  </a:lnTo>
                  <a:lnTo>
                    <a:pt x="1" y="1"/>
                  </a:lnTo>
                  <a:lnTo>
                    <a:pt x="1" y="1"/>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42" name="Freeform 1206">
              <a:extLst>
                <a:ext uri="{FF2B5EF4-FFF2-40B4-BE49-F238E27FC236}">
                  <a16:creationId xmlns:a16="http://schemas.microsoft.com/office/drawing/2014/main" id="{64A8D561-EF39-446A-81FF-21AAF0DD0638}"/>
                </a:ext>
              </a:extLst>
            </p:cNvPr>
            <p:cNvSpPr>
              <a:spLocks/>
            </p:cNvSpPr>
            <p:nvPr/>
          </p:nvSpPr>
          <p:spPr bwMode="auto">
            <a:xfrm>
              <a:off x="5711608" y="2171963"/>
              <a:ext cx="6678" cy="6678"/>
            </a:xfrm>
            <a:custGeom>
              <a:avLst/>
              <a:gdLst>
                <a:gd name="T0" fmla="*/ 4 w 5"/>
                <a:gd name="T1" fmla="*/ 2 h 5"/>
                <a:gd name="T2" fmla="*/ 4 w 5"/>
                <a:gd name="T3" fmla="*/ 3 h 5"/>
                <a:gd name="T4" fmla="*/ 3 w 5"/>
                <a:gd name="T5" fmla="*/ 3 h 5"/>
                <a:gd name="T6" fmla="*/ 3 w 5"/>
                <a:gd name="T7" fmla="*/ 3 h 5"/>
                <a:gd name="T8" fmla="*/ 3 w 5"/>
                <a:gd name="T9" fmla="*/ 4 h 5"/>
                <a:gd name="T10" fmla="*/ 3 w 5"/>
                <a:gd name="T11" fmla="*/ 4 h 5"/>
                <a:gd name="T12" fmla="*/ 3 w 5"/>
                <a:gd name="T13" fmla="*/ 4 h 5"/>
                <a:gd name="T14" fmla="*/ 3 w 5"/>
                <a:gd name="T15" fmla="*/ 4 h 5"/>
                <a:gd name="T16" fmla="*/ 3 w 5"/>
                <a:gd name="T17" fmla="*/ 4 h 5"/>
                <a:gd name="T18" fmla="*/ 2 w 5"/>
                <a:gd name="T19" fmla="*/ 5 h 5"/>
                <a:gd name="T20" fmla="*/ 2 w 5"/>
                <a:gd name="T21" fmla="*/ 5 h 5"/>
                <a:gd name="T22" fmla="*/ 2 w 5"/>
                <a:gd name="T23" fmla="*/ 4 h 5"/>
                <a:gd name="T24" fmla="*/ 0 w 5"/>
                <a:gd name="T25" fmla="*/ 4 h 5"/>
                <a:gd name="T26" fmla="*/ 0 w 5"/>
                <a:gd name="T27" fmla="*/ 3 h 5"/>
                <a:gd name="T28" fmla="*/ 0 w 5"/>
                <a:gd name="T29" fmla="*/ 3 h 5"/>
                <a:gd name="T30" fmla="*/ 0 w 5"/>
                <a:gd name="T31" fmla="*/ 3 h 5"/>
                <a:gd name="T32" fmla="*/ 2 w 5"/>
                <a:gd name="T33" fmla="*/ 3 h 5"/>
                <a:gd name="T34" fmla="*/ 2 w 5"/>
                <a:gd name="T35" fmla="*/ 3 h 5"/>
                <a:gd name="T36" fmla="*/ 2 w 5"/>
                <a:gd name="T37" fmla="*/ 3 h 5"/>
                <a:gd name="T38" fmla="*/ 2 w 5"/>
                <a:gd name="T39" fmla="*/ 3 h 5"/>
                <a:gd name="T40" fmla="*/ 3 w 5"/>
                <a:gd name="T41" fmla="*/ 2 h 5"/>
                <a:gd name="T42" fmla="*/ 3 w 5"/>
                <a:gd name="T43" fmla="*/ 2 h 5"/>
                <a:gd name="T44" fmla="*/ 3 w 5"/>
                <a:gd name="T45" fmla="*/ 2 h 5"/>
                <a:gd name="T46" fmla="*/ 3 w 5"/>
                <a:gd name="T47" fmla="*/ 2 h 5"/>
                <a:gd name="T48" fmla="*/ 2 w 5"/>
                <a:gd name="T49" fmla="*/ 2 h 5"/>
                <a:gd name="T50" fmla="*/ 2 w 5"/>
                <a:gd name="T51" fmla="*/ 2 h 5"/>
                <a:gd name="T52" fmla="*/ 2 w 5"/>
                <a:gd name="T53" fmla="*/ 2 h 5"/>
                <a:gd name="T54" fmla="*/ 3 w 5"/>
                <a:gd name="T55" fmla="*/ 1 h 5"/>
                <a:gd name="T56" fmla="*/ 3 w 5"/>
                <a:gd name="T57" fmla="*/ 1 h 5"/>
                <a:gd name="T58" fmla="*/ 3 w 5"/>
                <a:gd name="T59" fmla="*/ 1 h 5"/>
                <a:gd name="T60" fmla="*/ 4 w 5"/>
                <a:gd name="T61" fmla="*/ 1 h 5"/>
                <a:gd name="T62" fmla="*/ 4 w 5"/>
                <a:gd name="T63" fmla="*/ 0 h 5"/>
                <a:gd name="T64" fmla="*/ 5 w 5"/>
                <a:gd name="T65" fmla="*/ 0 h 5"/>
                <a:gd name="T66" fmla="*/ 5 w 5"/>
                <a:gd name="T67" fmla="*/ 0 h 5"/>
                <a:gd name="T68" fmla="*/ 5 w 5"/>
                <a:gd name="T69" fmla="*/ 0 h 5"/>
                <a:gd name="T70" fmla="*/ 5 w 5"/>
                <a:gd name="T71" fmla="*/ 0 h 5"/>
                <a:gd name="T72" fmla="*/ 5 w 5"/>
                <a:gd name="T73" fmla="*/ 0 h 5"/>
                <a:gd name="T74" fmla="*/ 5 w 5"/>
                <a:gd name="T75" fmla="*/ 1 h 5"/>
                <a:gd name="T76" fmla="*/ 5 w 5"/>
                <a:gd name="T77" fmla="*/ 1 h 5"/>
                <a:gd name="T78" fmla="*/ 5 w 5"/>
                <a:gd name="T79" fmla="*/ 1 h 5"/>
                <a:gd name="T80" fmla="*/ 5 w 5"/>
                <a:gd name="T81" fmla="*/ 1 h 5"/>
                <a:gd name="T82" fmla="*/ 4 w 5"/>
                <a:gd name="T8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 h="5">
                  <a:moveTo>
                    <a:pt x="4" y="2"/>
                  </a:moveTo>
                  <a:lnTo>
                    <a:pt x="4" y="3"/>
                  </a:lnTo>
                  <a:lnTo>
                    <a:pt x="3" y="3"/>
                  </a:lnTo>
                  <a:lnTo>
                    <a:pt x="3" y="3"/>
                  </a:lnTo>
                  <a:lnTo>
                    <a:pt x="3" y="4"/>
                  </a:lnTo>
                  <a:lnTo>
                    <a:pt x="3" y="4"/>
                  </a:lnTo>
                  <a:lnTo>
                    <a:pt x="3" y="4"/>
                  </a:lnTo>
                  <a:lnTo>
                    <a:pt x="3" y="4"/>
                  </a:lnTo>
                  <a:lnTo>
                    <a:pt x="3" y="4"/>
                  </a:lnTo>
                  <a:lnTo>
                    <a:pt x="2" y="5"/>
                  </a:lnTo>
                  <a:lnTo>
                    <a:pt x="2" y="5"/>
                  </a:lnTo>
                  <a:lnTo>
                    <a:pt x="2" y="4"/>
                  </a:lnTo>
                  <a:lnTo>
                    <a:pt x="0" y="4"/>
                  </a:lnTo>
                  <a:lnTo>
                    <a:pt x="0" y="3"/>
                  </a:lnTo>
                  <a:lnTo>
                    <a:pt x="0" y="3"/>
                  </a:lnTo>
                  <a:lnTo>
                    <a:pt x="0" y="3"/>
                  </a:lnTo>
                  <a:lnTo>
                    <a:pt x="2" y="3"/>
                  </a:lnTo>
                  <a:lnTo>
                    <a:pt x="2" y="3"/>
                  </a:lnTo>
                  <a:lnTo>
                    <a:pt x="2" y="3"/>
                  </a:lnTo>
                  <a:lnTo>
                    <a:pt x="2" y="3"/>
                  </a:lnTo>
                  <a:lnTo>
                    <a:pt x="3" y="2"/>
                  </a:lnTo>
                  <a:lnTo>
                    <a:pt x="3" y="2"/>
                  </a:lnTo>
                  <a:lnTo>
                    <a:pt x="3" y="2"/>
                  </a:lnTo>
                  <a:lnTo>
                    <a:pt x="3" y="2"/>
                  </a:lnTo>
                  <a:lnTo>
                    <a:pt x="2" y="2"/>
                  </a:lnTo>
                  <a:lnTo>
                    <a:pt x="2" y="2"/>
                  </a:lnTo>
                  <a:lnTo>
                    <a:pt x="2" y="2"/>
                  </a:lnTo>
                  <a:lnTo>
                    <a:pt x="3" y="1"/>
                  </a:lnTo>
                  <a:lnTo>
                    <a:pt x="3" y="1"/>
                  </a:lnTo>
                  <a:lnTo>
                    <a:pt x="3" y="1"/>
                  </a:lnTo>
                  <a:lnTo>
                    <a:pt x="4" y="1"/>
                  </a:lnTo>
                  <a:lnTo>
                    <a:pt x="4" y="0"/>
                  </a:lnTo>
                  <a:lnTo>
                    <a:pt x="5" y="0"/>
                  </a:lnTo>
                  <a:lnTo>
                    <a:pt x="5" y="0"/>
                  </a:lnTo>
                  <a:lnTo>
                    <a:pt x="5" y="0"/>
                  </a:lnTo>
                  <a:lnTo>
                    <a:pt x="5" y="0"/>
                  </a:lnTo>
                  <a:lnTo>
                    <a:pt x="5" y="0"/>
                  </a:lnTo>
                  <a:lnTo>
                    <a:pt x="5" y="1"/>
                  </a:lnTo>
                  <a:lnTo>
                    <a:pt x="5" y="1"/>
                  </a:lnTo>
                  <a:lnTo>
                    <a:pt x="5" y="1"/>
                  </a:lnTo>
                  <a:lnTo>
                    <a:pt x="5" y="1"/>
                  </a:lnTo>
                  <a:lnTo>
                    <a:pt x="4"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43" name="Freeform 1207">
              <a:extLst>
                <a:ext uri="{FF2B5EF4-FFF2-40B4-BE49-F238E27FC236}">
                  <a16:creationId xmlns:a16="http://schemas.microsoft.com/office/drawing/2014/main" id="{93C42485-1AAC-42BE-9566-82FB1BD30521}"/>
                </a:ext>
              </a:extLst>
            </p:cNvPr>
            <p:cNvSpPr>
              <a:spLocks/>
            </p:cNvSpPr>
            <p:nvPr/>
          </p:nvSpPr>
          <p:spPr bwMode="auto">
            <a:xfrm>
              <a:off x="5718285" y="2169292"/>
              <a:ext cx="1336" cy="2671"/>
            </a:xfrm>
            <a:custGeom>
              <a:avLst/>
              <a:gdLst>
                <a:gd name="T0" fmla="*/ 0 w 1"/>
                <a:gd name="T1" fmla="*/ 2 h 2"/>
                <a:gd name="T2" fmla="*/ 0 w 1"/>
                <a:gd name="T3" fmla="*/ 2 h 2"/>
                <a:gd name="T4" fmla="*/ 0 w 1"/>
                <a:gd name="T5" fmla="*/ 2 h 2"/>
                <a:gd name="T6" fmla="*/ 0 w 1"/>
                <a:gd name="T7" fmla="*/ 2 h 2"/>
                <a:gd name="T8" fmla="*/ 0 w 1"/>
                <a:gd name="T9" fmla="*/ 0 h 2"/>
                <a:gd name="T10" fmla="*/ 1 w 1"/>
                <a:gd name="T11" fmla="*/ 0 h 2"/>
                <a:gd name="T12" fmla="*/ 1 w 1"/>
                <a:gd name="T13" fmla="*/ 2 h 2"/>
                <a:gd name="T14" fmla="*/ 0 w 1"/>
                <a:gd name="T15" fmla="*/ 2 h 2"/>
                <a:gd name="T16" fmla="*/ 0 w 1"/>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2">
                  <a:moveTo>
                    <a:pt x="0" y="2"/>
                  </a:moveTo>
                  <a:lnTo>
                    <a:pt x="0" y="2"/>
                  </a:lnTo>
                  <a:lnTo>
                    <a:pt x="0" y="2"/>
                  </a:lnTo>
                  <a:lnTo>
                    <a:pt x="0" y="2"/>
                  </a:lnTo>
                  <a:lnTo>
                    <a:pt x="0" y="0"/>
                  </a:lnTo>
                  <a:lnTo>
                    <a:pt x="1" y="0"/>
                  </a:lnTo>
                  <a:lnTo>
                    <a:pt x="1" y="2"/>
                  </a:lnTo>
                  <a:lnTo>
                    <a:pt x="0" y="2"/>
                  </a:lnTo>
                  <a:lnTo>
                    <a:pt x="0"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44" name="Freeform 1208">
              <a:extLst>
                <a:ext uri="{FF2B5EF4-FFF2-40B4-BE49-F238E27FC236}">
                  <a16:creationId xmlns:a16="http://schemas.microsoft.com/office/drawing/2014/main" id="{AE5436C2-E2D4-4676-B987-7BD6E256B788}"/>
                </a:ext>
              </a:extLst>
            </p:cNvPr>
            <p:cNvSpPr>
              <a:spLocks/>
            </p:cNvSpPr>
            <p:nvPr/>
          </p:nvSpPr>
          <p:spPr bwMode="auto">
            <a:xfrm>
              <a:off x="5719620" y="2169292"/>
              <a:ext cx="0" cy="2671"/>
            </a:xfrm>
            <a:custGeom>
              <a:avLst/>
              <a:gdLst>
                <a:gd name="T0" fmla="*/ 0 h 2"/>
                <a:gd name="T1" fmla="*/ 0 h 2"/>
                <a:gd name="T2" fmla="*/ 0 h 2"/>
                <a:gd name="T3" fmla="*/ 0 h 2"/>
                <a:gd name="T4" fmla="*/ 2 h 2"/>
                <a:gd name="T5" fmla="*/ 0 h 2"/>
                <a:gd name="T6" fmla="*/ 0 h 2"/>
                <a:gd name="T7" fmla="*/ 0 h 2"/>
                <a:gd name="T8" fmla="*/ 0 h 2"/>
                <a:gd name="T9" fmla="*/ 0 h 2"/>
                <a:gd name="T10" fmla="*/ 0 h 2"/>
                <a:gd name="T11" fmla="*/ 0 h 2"/>
                <a:gd name="T12" fmla="*/ 0 h 2"/>
                <a:gd name="T13"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Lst>
              <a:rect l="0" t="0" r="r" b="b"/>
              <a:pathLst>
                <a:path h="2">
                  <a:moveTo>
                    <a:pt x="0" y="0"/>
                  </a:moveTo>
                  <a:lnTo>
                    <a:pt x="0" y="0"/>
                  </a:lnTo>
                  <a:lnTo>
                    <a:pt x="0" y="0"/>
                  </a:lnTo>
                  <a:lnTo>
                    <a:pt x="0" y="0"/>
                  </a:lnTo>
                  <a:lnTo>
                    <a:pt x="0" y="2"/>
                  </a:ln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45" name="Freeform 1209">
              <a:extLst>
                <a:ext uri="{FF2B5EF4-FFF2-40B4-BE49-F238E27FC236}">
                  <a16:creationId xmlns:a16="http://schemas.microsoft.com/office/drawing/2014/main" id="{FBA6E2CB-D8AC-4F3F-A326-EDD79B35E450}"/>
                </a:ext>
              </a:extLst>
            </p:cNvPr>
            <p:cNvSpPr>
              <a:spLocks/>
            </p:cNvSpPr>
            <p:nvPr/>
          </p:nvSpPr>
          <p:spPr bwMode="auto">
            <a:xfrm>
              <a:off x="5719620" y="2167957"/>
              <a:ext cx="1336" cy="0"/>
            </a:xfrm>
            <a:custGeom>
              <a:avLst/>
              <a:gdLst>
                <a:gd name="T0" fmla="*/ 1 w 1"/>
                <a:gd name="T1" fmla="*/ 0 w 1"/>
                <a:gd name="T2" fmla="*/ 0 w 1"/>
                <a:gd name="T3" fmla="*/ 0 w 1"/>
                <a:gd name="T4" fmla="*/ 0 w 1"/>
                <a:gd name="T5" fmla="*/ 0 w 1"/>
                <a:gd name="T6" fmla="*/ 0 w 1"/>
                <a:gd name="T7" fmla="*/ 0 w 1"/>
                <a:gd name="T8" fmla="*/ 0 w 1"/>
                <a:gd name="T9" fmla="*/ 0 w 1"/>
                <a:gd name="T10" fmla="*/ 0 w 1"/>
                <a:gd name="T11"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1">
                  <a:moveTo>
                    <a:pt x="1" y="0"/>
                  </a:moveTo>
                  <a:lnTo>
                    <a:pt x="0" y="0"/>
                  </a:lnTo>
                  <a:lnTo>
                    <a:pt x="0" y="0"/>
                  </a:lnTo>
                  <a:lnTo>
                    <a:pt x="0" y="0"/>
                  </a:lnTo>
                  <a:lnTo>
                    <a:pt x="0" y="0"/>
                  </a:lnTo>
                  <a:lnTo>
                    <a:pt x="0" y="0"/>
                  </a:lnTo>
                  <a:lnTo>
                    <a:pt x="0" y="0"/>
                  </a:lnTo>
                  <a:lnTo>
                    <a:pt x="0" y="0"/>
                  </a:lnTo>
                  <a:lnTo>
                    <a:pt x="0" y="0"/>
                  </a:lnTo>
                  <a:lnTo>
                    <a:pt x="0" y="0"/>
                  </a:lnTo>
                  <a:lnTo>
                    <a:pt x="0"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46" name="Freeform 1210">
              <a:extLst>
                <a:ext uri="{FF2B5EF4-FFF2-40B4-BE49-F238E27FC236}">
                  <a16:creationId xmlns:a16="http://schemas.microsoft.com/office/drawing/2014/main" id="{92E8D557-9EA5-4329-9E63-BE941BBEA778}"/>
                </a:ext>
              </a:extLst>
            </p:cNvPr>
            <p:cNvSpPr>
              <a:spLocks/>
            </p:cNvSpPr>
            <p:nvPr/>
          </p:nvSpPr>
          <p:spPr bwMode="auto">
            <a:xfrm>
              <a:off x="5720956" y="2166621"/>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47" name="Freeform 1211">
              <a:extLst>
                <a:ext uri="{FF2B5EF4-FFF2-40B4-BE49-F238E27FC236}">
                  <a16:creationId xmlns:a16="http://schemas.microsoft.com/office/drawing/2014/main" id="{23BB283C-243D-4F4F-8027-726CBBAB93C6}"/>
                </a:ext>
              </a:extLst>
            </p:cNvPr>
            <p:cNvSpPr>
              <a:spLocks/>
            </p:cNvSpPr>
            <p:nvPr/>
          </p:nvSpPr>
          <p:spPr bwMode="auto">
            <a:xfrm>
              <a:off x="5710272" y="2165286"/>
              <a:ext cx="1336" cy="0"/>
            </a:xfrm>
            <a:custGeom>
              <a:avLst/>
              <a:gdLst>
                <a:gd name="T0" fmla="*/ 1 w 1"/>
                <a:gd name="T1" fmla="*/ 0 w 1"/>
                <a:gd name="T2" fmla="*/ 0 w 1"/>
                <a:gd name="T3" fmla="*/ 0 w 1"/>
                <a:gd name="T4" fmla="*/ 0 w 1"/>
                <a:gd name="T5" fmla="*/ 0 w 1"/>
                <a:gd name="T6" fmla="*/ 0 w 1"/>
                <a:gd name="T7" fmla="*/ 0 w 1"/>
                <a:gd name="T8" fmla="*/ 1 w 1"/>
                <a:gd name="T9" fmla="*/ 1 w 1"/>
                <a:gd name="T10"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
                  <a:moveTo>
                    <a:pt x="1" y="0"/>
                  </a:moveTo>
                  <a:lnTo>
                    <a:pt x="0" y="0"/>
                  </a:lnTo>
                  <a:lnTo>
                    <a:pt x="0" y="0"/>
                  </a:lnTo>
                  <a:lnTo>
                    <a:pt x="0" y="0"/>
                  </a:lnTo>
                  <a:lnTo>
                    <a:pt x="0" y="0"/>
                  </a:lnTo>
                  <a:lnTo>
                    <a:pt x="0" y="0"/>
                  </a:lnTo>
                  <a:lnTo>
                    <a:pt x="0" y="0"/>
                  </a:lnTo>
                  <a:lnTo>
                    <a:pt x="0"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48" name="Freeform 1212">
              <a:extLst>
                <a:ext uri="{FF2B5EF4-FFF2-40B4-BE49-F238E27FC236}">
                  <a16:creationId xmlns:a16="http://schemas.microsoft.com/office/drawing/2014/main" id="{2419BC49-CC0E-4489-B3B9-74F740B58C61}"/>
                </a:ext>
              </a:extLst>
            </p:cNvPr>
            <p:cNvSpPr>
              <a:spLocks/>
            </p:cNvSpPr>
            <p:nvPr/>
          </p:nvSpPr>
          <p:spPr bwMode="auto">
            <a:xfrm>
              <a:off x="5699589" y="2163950"/>
              <a:ext cx="2671" cy="1336"/>
            </a:xfrm>
            <a:custGeom>
              <a:avLst/>
              <a:gdLst>
                <a:gd name="T0" fmla="*/ 1 w 2"/>
                <a:gd name="T1" fmla="*/ 1 h 1"/>
                <a:gd name="T2" fmla="*/ 1 w 2"/>
                <a:gd name="T3" fmla="*/ 1 h 1"/>
                <a:gd name="T4" fmla="*/ 0 w 2"/>
                <a:gd name="T5" fmla="*/ 1 h 1"/>
                <a:gd name="T6" fmla="*/ 0 w 2"/>
                <a:gd name="T7" fmla="*/ 1 h 1"/>
                <a:gd name="T8" fmla="*/ 0 w 2"/>
                <a:gd name="T9" fmla="*/ 1 h 1"/>
                <a:gd name="T10" fmla="*/ 0 w 2"/>
                <a:gd name="T11" fmla="*/ 1 h 1"/>
                <a:gd name="T12" fmla="*/ 0 w 2"/>
                <a:gd name="T13" fmla="*/ 0 h 1"/>
                <a:gd name="T14" fmla="*/ 1 w 2"/>
                <a:gd name="T15" fmla="*/ 0 h 1"/>
                <a:gd name="T16" fmla="*/ 1 w 2"/>
                <a:gd name="T17" fmla="*/ 0 h 1"/>
                <a:gd name="T18" fmla="*/ 1 w 2"/>
                <a:gd name="T19" fmla="*/ 0 h 1"/>
                <a:gd name="T20" fmla="*/ 1 w 2"/>
                <a:gd name="T21" fmla="*/ 0 h 1"/>
                <a:gd name="T22" fmla="*/ 2 w 2"/>
                <a:gd name="T23" fmla="*/ 0 h 1"/>
                <a:gd name="T24" fmla="*/ 2 w 2"/>
                <a:gd name="T25" fmla="*/ 0 h 1"/>
                <a:gd name="T26" fmla="*/ 2 w 2"/>
                <a:gd name="T27" fmla="*/ 0 h 1"/>
                <a:gd name="T28" fmla="*/ 2 w 2"/>
                <a:gd name="T29" fmla="*/ 0 h 1"/>
                <a:gd name="T30" fmla="*/ 2 w 2"/>
                <a:gd name="T31" fmla="*/ 0 h 1"/>
                <a:gd name="T32" fmla="*/ 2 w 2"/>
                <a:gd name="T33" fmla="*/ 1 h 1"/>
                <a:gd name="T34" fmla="*/ 1 w 2"/>
                <a:gd name="T35" fmla="*/ 1 h 1"/>
                <a:gd name="T36" fmla="*/ 1 w 2"/>
                <a:gd name="T37" fmla="*/ 1 h 1"/>
                <a:gd name="T38" fmla="*/ 1 w 2"/>
                <a:gd name="T39" fmla="*/ 1 h 1"/>
                <a:gd name="T40" fmla="*/ 1 w 2"/>
                <a:gd name="T41" fmla="*/ 1 h 1"/>
                <a:gd name="T42" fmla="*/ 1 w 2"/>
                <a:gd name="T4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 h="1">
                  <a:moveTo>
                    <a:pt x="1" y="1"/>
                  </a:moveTo>
                  <a:lnTo>
                    <a:pt x="1" y="1"/>
                  </a:lnTo>
                  <a:lnTo>
                    <a:pt x="0" y="1"/>
                  </a:lnTo>
                  <a:lnTo>
                    <a:pt x="0" y="1"/>
                  </a:lnTo>
                  <a:lnTo>
                    <a:pt x="0" y="1"/>
                  </a:lnTo>
                  <a:lnTo>
                    <a:pt x="0" y="1"/>
                  </a:lnTo>
                  <a:lnTo>
                    <a:pt x="0" y="0"/>
                  </a:lnTo>
                  <a:lnTo>
                    <a:pt x="1" y="0"/>
                  </a:lnTo>
                  <a:lnTo>
                    <a:pt x="1" y="0"/>
                  </a:lnTo>
                  <a:lnTo>
                    <a:pt x="1" y="0"/>
                  </a:lnTo>
                  <a:lnTo>
                    <a:pt x="1" y="0"/>
                  </a:lnTo>
                  <a:lnTo>
                    <a:pt x="2" y="0"/>
                  </a:lnTo>
                  <a:lnTo>
                    <a:pt x="2" y="0"/>
                  </a:lnTo>
                  <a:lnTo>
                    <a:pt x="2" y="0"/>
                  </a:lnTo>
                  <a:lnTo>
                    <a:pt x="2" y="0"/>
                  </a:lnTo>
                  <a:lnTo>
                    <a:pt x="2" y="0"/>
                  </a:lnTo>
                  <a:lnTo>
                    <a:pt x="2" y="1"/>
                  </a:lnTo>
                  <a:lnTo>
                    <a:pt x="1" y="1"/>
                  </a:lnTo>
                  <a:lnTo>
                    <a:pt x="1" y="1"/>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49" name="Freeform 1213">
              <a:extLst>
                <a:ext uri="{FF2B5EF4-FFF2-40B4-BE49-F238E27FC236}">
                  <a16:creationId xmlns:a16="http://schemas.microsoft.com/office/drawing/2014/main" id="{4DCBD2CB-BA52-44AE-8C19-DEB393832CA4}"/>
                </a:ext>
              </a:extLst>
            </p:cNvPr>
            <p:cNvSpPr>
              <a:spLocks/>
            </p:cNvSpPr>
            <p:nvPr/>
          </p:nvSpPr>
          <p:spPr bwMode="auto">
            <a:xfrm>
              <a:off x="5708937" y="2162615"/>
              <a:ext cx="10684" cy="6678"/>
            </a:xfrm>
            <a:custGeom>
              <a:avLst/>
              <a:gdLst>
                <a:gd name="T0" fmla="*/ 5 w 8"/>
                <a:gd name="T1" fmla="*/ 1 h 5"/>
                <a:gd name="T2" fmla="*/ 5 w 8"/>
                <a:gd name="T3" fmla="*/ 1 h 5"/>
                <a:gd name="T4" fmla="*/ 6 w 8"/>
                <a:gd name="T5" fmla="*/ 1 h 5"/>
                <a:gd name="T6" fmla="*/ 6 w 8"/>
                <a:gd name="T7" fmla="*/ 1 h 5"/>
                <a:gd name="T8" fmla="*/ 7 w 8"/>
                <a:gd name="T9" fmla="*/ 1 h 5"/>
                <a:gd name="T10" fmla="*/ 7 w 8"/>
                <a:gd name="T11" fmla="*/ 2 h 5"/>
                <a:gd name="T12" fmla="*/ 7 w 8"/>
                <a:gd name="T13" fmla="*/ 2 h 5"/>
                <a:gd name="T14" fmla="*/ 8 w 8"/>
                <a:gd name="T15" fmla="*/ 2 h 5"/>
                <a:gd name="T16" fmla="*/ 8 w 8"/>
                <a:gd name="T17" fmla="*/ 2 h 5"/>
                <a:gd name="T18" fmla="*/ 8 w 8"/>
                <a:gd name="T19" fmla="*/ 2 h 5"/>
                <a:gd name="T20" fmla="*/ 8 w 8"/>
                <a:gd name="T21" fmla="*/ 3 h 5"/>
                <a:gd name="T22" fmla="*/ 7 w 8"/>
                <a:gd name="T23" fmla="*/ 3 h 5"/>
                <a:gd name="T24" fmla="*/ 7 w 8"/>
                <a:gd name="T25" fmla="*/ 3 h 5"/>
                <a:gd name="T26" fmla="*/ 7 w 8"/>
                <a:gd name="T27" fmla="*/ 3 h 5"/>
                <a:gd name="T28" fmla="*/ 7 w 8"/>
                <a:gd name="T29" fmla="*/ 3 h 5"/>
                <a:gd name="T30" fmla="*/ 7 w 8"/>
                <a:gd name="T31" fmla="*/ 3 h 5"/>
                <a:gd name="T32" fmla="*/ 7 w 8"/>
                <a:gd name="T33" fmla="*/ 3 h 5"/>
                <a:gd name="T34" fmla="*/ 6 w 8"/>
                <a:gd name="T35" fmla="*/ 4 h 5"/>
                <a:gd name="T36" fmla="*/ 6 w 8"/>
                <a:gd name="T37" fmla="*/ 4 h 5"/>
                <a:gd name="T38" fmla="*/ 6 w 8"/>
                <a:gd name="T39" fmla="*/ 3 h 5"/>
                <a:gd name="T40" fmla="*/ 5 w 8"/>
                <a:gd name="T41" fmla="*/ 3 h 5"/>
                <a:gd name="T42" fmla="*/ 5 w 8"/>
                <a:gd name="T43" fmla="*/ 4 h 5"/>
                <a:gd name="T44" fmla="*/ 4 w 8"/>
                <a:gd name="T45" fmla="*/ 4 h 5"/>
                <a:gd name="T46" fmla="*/ 2 w 8"/>
                <a:gd name="T47" fmla="*/ 4 h 5"/>
                <a:gd name="T48" fmla="*/ 2 w 8"/>
                <a:gd name="T49" fmla="*/ 4 h 5"/>
                <a:gd name="T50" fmla="*/ 1 w 8"/>
                <a:gd name="T51" fmla="*/ 4 h 5"/>
                <a:gd name="T52" fmla="*/ 1 w 8"/>
                <a:gd name="T53" fmla="*/ 5 h 5"/>
                <a:gd name="T54" fmla="*/ 0 w 8"/>
                <a:gd name="T55" fmla="*/ 4 h 5"/>
                <a:gd name="T56" fmla="*/ 0 w 8"/>
                <a:gd name="T57" fmla="*/ 4 h 5"/>
                <a:gd name="T58" fmla="*/ 0 w 8"/>
                <a:gd name="T59" fmla="*/ 4 h 5"/>
                <a:gd name="T60" fmla="*/ 1 w 8"/>
                <a:gd name="T61" fmla="*/ 4 h 5"/>
                <a:gd name="T62" fmla="*/ 1 w 8"/>
                <a:gd name="T63" fmla="*/ 4 h 5"/>
                <a:gd name="T64" fmla="*/ 1 w 8"/>
                <a:gd name="T65" fmla="*/ 4 h 5"/>
                <a:gd name="T66" fmla="*/ 2 w 8"/>
                <a:gd name="T67" fmla="*/ 4 h 5"/>
                <a:gd name="T68" fmla="*/ 4 w 8"/>
                <a:gd name="T69" fmla="*/ 3 h 5"/>
                <a:gd name="T70" fmla="*/ 4 w 8"/>
                <a:gd name="T71" fmla="*/ 3 h 5"/>
                <a:gd name="T72" fmla="*/ 2 w 8"/>
                <a:gd name="T73" fmla="*/ 3 h 5"/>
                <a:gd name="T74" fmla="*/ 1 w 8"/>
                <a:gd name="T75" fmla="*/ 3 h 5"/>
                <a:gd name="T76" fmla="*/ 2 w 8"/>
                <a:gd name="T77" fmla="*/ 3 h 5"/>
                <a:gd name="T78" fmla="*/ 2 w 8"/>
                <a:gd name="T79" fmla="*/ 2 h 5"/>
                <a:gd name="T80" fmla="*/ 2 w 8"/>
                <a:gd name="T81" fmla="*/ 2 h 5"/>
                <a:gd name="T82" fmla="*/ 4 w 8"/>
                <a:gd name="T83" fmla="*/ 2 h 5"/>
                <a:gd name="T84" fmla="*/ 4 w 8"/>
                <a:gd name="T85" fmla="*/ 2 h 5"/>
                <a:gd name="T86" fmla="*/ 4 w 8"/>
                <a:gd name="T87" fmla="*/ 2 h 5"/>
                <a:gd name="T88" fmla="*/ 2 w 8"/>
                <a:gd name="T89" fmla="*/ 2 h 5"/>
                <a:gd name="T90" fmla="*/ 2 w 8"/>
                <a:gd name="T91" fmla="*/ 2 h 5"/>
                <a:gd name="T92" fmla="*/ 2 w 8"/>
                <a:gd name="T93" fmla="*/ 1 h 5"/>
                <a:gd name="T94" fmla="*/ 0 w 8"/>
                <a:gd name="T95" fmla="*/ 1 h 5"/>
                <a:gd name="T96" fmla="*/ 1 w 8"/>
                <a:gd name="T97" fmla="*/ 1 h 5"/>
                <a:gd name="T98" fmla="*/ 1 w 8"/>
                <a:gd name="T99" fmla="*/ 0 h 5"/>
                <a:gd name="T100" fmla="*/ 1 w 8"/>
                <a:gd name="T101" fmla="*/ 0 h 5"/>
                <a:gd name="T102" fmla="*/ 1 w 8"/>
                <a:gd name="T103" fmla="*/ 0 h 5"/>
                <a:gd name="T104" fmla="*/ 2 w 8"/>
                <a:gd name="T105" fmla="*/ 0 h 5"/>
                <a:gd name="T106" fmla="*/ 4 w 8"/>
                <a:gd name="T107" fmla="*/ 0 h 5"/>
                <a:gd name="T108" fmla="*/ 4 w 8"/>
                <a:gd name="T10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 h="5">
                  <a:moveTo>
                    <a:pt x="4" y="0"/>
                  </a:moveTo>
                  <a:lnTo>
                    <a:pt x="4" y="0"/>
                  </a:lnTo>
                  <a:lnTo>
                    <a:pt x="5" y="1"/>
                  </a:lnTo>
                  <a:lnTo>
                    <a:pt x="5" y="1"/>
                  </a:lnTo>
                  <a:lnTo>
                    <a:pt x="5" y="1"/>
                  </a:lnTo>
                  <a:lnTo>
                    <a:pt x="5" y="1"/>
                  </a:lnTo>
                  <a:lnTo>
                    <a:pt x="5" y="1"/>
                  </a:lnTo>
                  <a:lnTo>
                    <a:pt x="6" y="1"/>
                  </a:lnTo>
                  <a:lnTo>
                    <a:pt x="6" y="1"/>
                  </a:lnTo>
                  <a:lnTo>
                    <a:pt x="6" y="1"/>
                  </a:lnTo>
                  <a:lnTo>
                    <a:pt x="6" y="1"/>
                  </a:lnTo>
                  <a:lnTo>
                    <a:pt x="6" y="1"/>
                  </a:lnTo>
                  <a:lnTo>
                    <a:pt x="6" y="1"/>
                  </a:lnTo>
                  <a:lnTo>
                    <a:pt x="7" y="1"/>
                  </a:lnTo>
                  <a:lnTo>
                    <a:pt x="7" y="1"/>
                  </a:lnTo>
                  <a:lnTo>
                    <a:pt x="7" y="2"/>
                  </a:lnTo>
                  <a:lnTo>
                    <a:pt x="7" y="2"/>
                  </a:lnTo>
                  <a:lnTo>
                    <a:pt x="7" y="2"/>
                  </a:lnTo>
                  <a:lnTo>
                    <a:pt x="7" y="2"/>
                  </a:lnTo>
                  <a:lnTo>
                    <a:pt x="7" y="2"/>
                  </a:lnTo>
                  <a:lnTo>
                    <a:pt x="7" y="2"/>
                  </a:lnTo>
                  <a:lnTo>
                    <a:pt x="7" y="2"/>
                  </a:lnTo>
                  <a:lnTo>
                    <a:pt x="8" y="2"/>
                  </a:lnTo>
                  <a:lnTo>
                    <a:pt x="8" y="2"/>
                  </a:lnTo>
                  <a:lnTo>
                    <a:pt x="8" y="2"/>
                  </a:lnTo>
                  <a:lnTo>
                    <a:pt x="8" y="2"/>
                  </a:lnTo>
                  <a:lnTo>
                    <a:pt x="8" y="2"/>
                  </a:lnTo>
                  <a:lnTo>
                    <a:pt x="8" y="2"/>
                  </a:lnTo>
                  <a:lnTo>
                    <a:pt x="8" y="2"/>
                  </a:lnTo>
                  <a:lnTo>
                    <a:pt x="8" y="2"/>
                  </a:lnTo>
                  <a:lnTo>
                    <a:pt x="8" y="2"/>
                  </a:lnTo>
                  <a:lnTo>
                    <a:pt x="8" y="2"/>
                  </a:lnTo>
                  <a:lnTo>
                    <a:pt x="8" y="3"/>
                  </a:lnTo>
                  <a:lnTo>
                    <a:pt x="8" y="3"/>
                  </a:lnTo>
                  <a:lnTo>
                    <a:pt x="8"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6" y="4"/>
                  </a:lnTo>
                  <a:lnTo>
                    <a:pt x="6" y="4"/>
                  </a:lnTo>
                  <a:lnTo>
                    <a:pt x="6" y="4"/>
                  </a:lnTo>
                  <a:lnTo>
                    <a:pt x="6" y="4"/>
                  </a:lnTo>
                  <a:lnTo>
                    <a:pt x="6" y="4"/>
                  </a:lnTo>
                  <a:lnTo>
                    <a:pt x="6" y="4"/>
                  </a:lnTo>
                  <a:lnTo>
                    <a:pt x="6" y="3"/>
                  </a:lnTo>
                  <a:lnTo>
                    <a:pt x="6" y="3"/>
                  </a:lnTo>
                  <a:lnTo>
                    <a:pt x="6" y="3"/>
                  </a:lnTo>
                  <a:lnTo>
                    <a:pt x="5" y="3"/>
                  </a:lnTo>
                  <a:lnTo>
                    <a:pt x="5" y="3"/>
                  </a:lnTo>
                  <a:lnTo>
                    <a:pt x="5" y="4"/>
                  </a:lnTo>
                  <a:lnTo>
                    <a:pt x="5" y="4"/>
                  </a:lnTo>
                  <a:lnTo>
                    <a:pt x="5" y="4"/>
                  </a:lnTo>
                  <a:lnTo>
                    <a:pt x="5" y="4"/>
                  </a:lnTo>
                  <a:lnTo>
                    <a:pt x="4" y="4"/>
                  </a:lnTo>
                  <a:lnTo>
                    <a:pt x="4" y="4"/>
                  </a:lnTo>
                  <a:lnTo>
                    <a:pt x="4" y="4"/>
                  </a:lnTo>
                  <a:lnTo>
                    <a:pt x="4" y="4"/>
                  </a:lnTo>
                  <a:lnTo>
                    <a:pt x="2" y="4"/>
                  </a:lnTo>
                  <a:lnTo>
                    <a:pt x="2" y="4"/>
                  </a:lnTo>
                  <a:lnTo>
                    <a:pt x="2" y="4"/>
                  </a:lnTo>
                  <a:lnTo>
                    <a:pt x="2" y="4"/>
                  </a:lnTo>
                  <a:lnTo>
                    <a:pt x="2" y="4"/>
                  </a:lnTo>
                  <a:lnTo>
                    <a:pt x="1" y="4"/>
                  </a:lnTo>
                  <a:lnTo>
                    <a:pt x="1" y="4"/>
                  </a:lnTo>
                  <a:lnTo>
                    <a:pt x="1" y="4"/>
                  </a:lnTo>
                  <a:lnTo>
                    <a:pt x="1" y="5"/>
                  </a:lnTo>
                  <a:lnTo>
                    <a:pt x="1" y="5"/>
                  </a:lnTo>
                  <a:lnTo>
                    <a:pt x="1" y="5"/>
                  </a:lnTo>
                  <a:lnTo>
                    <a:pt x="0" y="5"/>
                  </a:lnTo>
                  <a:lnTo>
                    <a:pt x="0" y="4"/>
                  </a:lnTo>
                  <a:lnTo>
                    <a:pt x="0" y="4"/>
                  </a:lnTo>
                  <a:lnTo>
                    <a:pt x="0" y="4"/>
                  </a:lnTo>
                  <a:lnTo>
                    <a:pt x="0" y="4"/>
                  </a:lnTo>
                  <a:lnTo>
                    <a:pt x="0" y="4"/>
                  </a:lnTo>
                  <a:lnTo>
                    <a:pt x="0" y="4"/>
                  </a:lnTo>
                  <a:lnTo>
                    <a:pt x="0" y="4"/>
                  </a:lnTo>
                  <a:lnTo>
                    <a:pt x="1" y="4"/>
                  </a:lnTo>
                  <a:lnTo>
                    <a:pt x="1" y="4"/>
                  </a:lnTo>
                  <a:lnTo>
                    <a:pt x="1" y="4"/>
                  </a:lnTo>
                  <a:lnTo>
                    <a:pt x="1" y="4"/>
                  </a:lnTo>
                  <a:lnTo>
                    <a:pt x="1" y="4"/>
                  </a:lnTo>
                  <a:lnTo>
                    <a:pt x="1" y="4"/>
                  </a:lnTo>
                  <a:lnTo>
                    <a:pt x="1" y="4"/>
                  </a:lnTo>
                  <a:lnTo>
                    <a:pt x="1" y="4"/>
                  </a:lnTo>
                  <a:lnTo>
                    <a:pt x="1" y="4"/>
                  </a:lnTo>
                  <a:lnTo>
                    <a:pt x="1" y="4"/>
                  </a:lnTo>
                  <a:lnTo>
                    <a:pt x="1" y="4"/>
                  </a:lnTo>
                  <a:lnTo>
                    <a:pt x="2" y="4"/>
                  </a:lnTo>
                  <a:lnTo>
                    <a:pt x="2" y="4"/>
                  </a:lnTo>
                  <a:lnTo>
                    <a:pt x="2" y="4"/>
                  </a:lnTo>
                  <a:lnTo>
                    <a:pt x="4" y="3"/>
                  </a:lnTo>
                  <a:lnTo>
                    <a:pt x="4" y="3"/>
                  </a:lnTo>
                  <a:lnTo>
                    <a:pt x="4" y="3"/>
                  </a:lnTo>
                  <a:lnTo>
                    <a:pt x="4" y="3"/>
                  </a:lnTo>
                  <a:lnTo>
                    <a:pt x="4" y="3"/>
                  </a:lnTo>
                  <a:lnTo>
                    <a:pt x="2" y="3"/>
                  </a:lnTo>
                  <a:lnTo>
                    <a:pt x="2" y="3"/>
                  </a:lnTo>
                  <a:lnTo>
                    <a:pt x="2" y="3"/>
                  </a:lnTo>
                  <a:lnTo>
                    <a:pt x="1" y="3"/>
                  </a:lnTo>
                  <a:lnTo>
                    <a:pt x="1" y="3"/>
                  </a:lnTo>
                  <a:lnTo>
                    <a:pt x="1" y="3"/>
                  </a:lnTo>
                  <a:lnTo>
                    <a:pt x="2" y="3"/>
                  </a:lnTo>
                  <a:lnTo>
                    <a:pt x="2" y="3"/>
                  </a:lnTo>
                  <a:lnTo>
                    <a:pt x="2" y="3"/>
                  </a:lnTo>
                  <a:lnTo>
                    <a:pt x="2" y="3"/>
                  </a:lnTo>
                  <a:lnTo>
                    <a:pt x="2" y="2"/>
                  </a:lnTo>
                  <a:lnTo>
                    <a:pt x="2" y="2"/>
                  </a:lnTo>
                  <a:lnTo>
                    <a:pt x="2" y="2"/>
                  </a:lnTo>
                  <a:lnTo>
                    <a:pt x="2" y="2"/>
                  </a:lnTo>
                  <a:lnTo>
                    <a:pt x="2" y="2"/>
                  </a:lnTo>
                  <a:lnTo>
                    <a:pt x="4" y="2"/>
                  </a:lnTo>
                  <a:lnTo>
                    <a:pt x="4" y="2"/>
                  </a:lnTo>
                  <a:lnTo>
                    <a:pt x="4" y="2"/>
                  </a:lnTo>
                  <a:lnTo>
                    <a:pt x="4" y="2"/>
                  </a:lnTo>
                  <a:lnTo>
                    <a:pt x="4" y="2"/>
                  </a:lnTo>
                  <a:lnTo>
                    <a:pt x="4" y="2"/>
                  </a:lnTo>
                  <a:lnTo>
                    <a:pt x="4" y="2"/>
                  </a:lnTo>
                  <a:lnTo>
                    <a:pt x="4" y="2"/>
                  </a:lnTo>
                  <a:lnTo>
                    <a:pt x="2" y="2"/>
                  </a:lnTo>
                  <a:lnTo>
                    <a:pt x="2" y="2"/>
                  </a:lnTo>
                  <a:lnTo>
                    <a:pt x="2" y="2"/>
                  </a:lnTo>
                  <a:lnTo>
                    <a:pt x="2" y="2"/>
                  </a:lnTo>
                  <a:lnTo>
                    <a:pt x="2" y="2"/>
                  </a:lnTo>
                  <a:lnTo>
                    <a:pt x="2" y="2"/>
                  </a:lnTo>
                  <a:lnTo>
                    <a:pt x="2" y="1"/>
                  </a:lnTo>
                  <a:lnTo>
                    <a:pt x="2" y="1"/>
                  </a:lnTo>
                  <a:lnTo>
                    <a:pt x="2" y="1"/>
                  </a:lnTo>
                  <a:lnTo>
                    <a:pt x="1" y="1"/>
                  </a:lnTo>
                  <a:lnTo>
                    <a:pt x="0" y="1"/>
                  </a:lnTo>
                  <a:lnTo>
                    <a:pt x="0" y="1"/>
                  </a:lnTo>
                  <a:lnTo>
                    <a:pt x="0" y="1"/>
                  </a:lnTo>
                  <a:lnTo>
                    <a:pt x="1" y="1"/>
                  </a:lnTo>
                  <a:lnTo>
                    <a:pt x="1" y="1"/>
                  </a:lnTo>
                  <a:lnTo>
                    <a:pt x="0" y="0"/>
                  </a:lnTo>
                  <a:lnTo>
                    <a:pt x="0" y="0"/>
                  </a:lnTo>
                  <a:lnTo>
                    <a:pt x="1" y="0"/>
                  </a:lnTo>
                  <a:lnTo>
                    <a:pt x="1" y="0"/>
                  </a:lnTo>
                  <a:lnTo>
                    <a:pt x="1" y="0"/>
                  </a:lnTo>
                  <a:lnTo>
                    <a:pt x="1" y="0"/>
                  </a:lnTo>
                  <a:lnTo>
                    <a:pt x="1" y="0"/>
                  </a:lnTo>
                  <a:lnTo>
                    <a:pt x="1" y="0"/>
                  </a:lnTo>
                  <a:lnTo>
                    <a:pt x="1" y="0"/>
                  </a:lnTo>
                  <a:lnTo>
                    <a:pt x="1" y="0"/>
                  </a:lnTo>
                  <a:lnTo>
                    <a:pt x="2" y="0"/>
                  </a:lnTo>
                  <a:lnTo>
                    <a:pt x="2" y="0"/>
                  </a:lnTo>
                  <a:lnTo>
                    <a:pt x="2" y="0"/>
                  </a:lnTo>
                  <a:lnTo>
                    <a:pt x="4" y="0"/>
                  </a:lnTo>
                  <a:lnTo>
                    <a:pt x="4" y="0"/>
                  </a:lnTo>
                  <a:lnTo>
                    <a:pt x="4" y="0"/>
                  </a:lnTo>
                  <a:lnTo>
                    <a:pt x="4" y="0"/>
                  </a:lnTo>
                  <a:lnTo>
                    <a:pt x="4" y="0"/>
                  </a:lnTo>
                  <a:lnTo>
                    <a:pt x="4"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50" name="Freeform 1214">
              <a:extLst>
                <a:ext uri="{FF2B5EF4-FFF2-40B4-BE49-F238E27FC236}">
                  <a16:creationId xmlns:a16="http://schemas.microsoft.com/office/drawing/2014/main" id="{E283BD1B-EAB3-4A43-ADA1-65D9D4E14703}"/>
                </a:ext>
              </a:extLst>
            </p:cNvPr>
            <p:cNvSpPr>
              <a:spLocks/>
            </p:cNvSpPr>
            <p:nvPr/>
          </p:nvSpPr>
          <p:spPr bwMode="auto">
            <a:xfrm>
              <a:off x="5704931" y="2159944"/>
              <a:ext cx="2671" cy="4007"/>
            </a:xfrm>
            <a:custGeom>
              <a:avLst/>
              <a:gdLst>
                <a:gd name="T0" fmla="*/ 1 w 2"/>
                <a:gd name="T1" fmla="*/ 2 h 3"/>
                <a:gd name="T2" fmla="*/ 0 w 2"/>
                <a:gd name="T3" fmla="*/ 3 h 3"/>
                <a:gd name="T4" fmla="*/ 0 w 2"/>
                <a:gd name="T5" fmla="*/ 3 h 3"/>
                <a:gd name="T6" fmla="*/ 0 w 2"/>
                <a:gd name="T7" fmla="*/ 3 h 3"/>
                <a:gd name="T8" fmla="*/ 0 w 2"/>
                <a:gd name="T9" fmla="*/ 3 h 3"/>
                <a:gd name="T10" fmla="*/ 0 w 2"/>
                <a:gd name="T11" fmla="*/ 3 h 3"/>
                <a:gd name="T12" fmla="*/ 0 w 2"/>
                <a:gd name="T13" fmla="*/ 3 h 3"/>
                <a:gd name="T14" fmla="*/ 0 w 2"/>
                <a:gd name="T15" fmla="*/ 3 h 3"/>
                <a:gd name="T16" fmla="*/ 0 w 2"/>
                <a:gd name="T17" fmla="*/ 3 h 3"/>
                <a:gd name="T18" fmla="*/ 0 w 2"/>
                <a:gd name="T19" fmla="*/ 2 h 3"/>
                <a:gd name="T20" fmla="*/ 0 w 2"/>
                <a:gd name="T21" fmla="*/ 2 h 3"/>
                <a:gd name="T22" fmla="*/ 0 w 2"/>
                <a:gd name="T23" fmla="*/ 2 h 3"/>
                <a:gd name="T24" fmla="*/ 1 w 2"/>
                <a:gd name="T25" fmla="*/ 2 h 3"/>
                <a:gd name="T26" fmla="*/ 1 w 2"/>
                <a:gd name="T27" fmla="*/ 2 h 3"/>
                <a:gd name="T28" fmla="*/ 1 w 2"/>
                <a:gd name="T29" fmla="*/ 0 h 3"/>
                <a:gd name="T30" fmla="*/ 1 w 2"/>
                <a:gd name="T31" fmla="*/ 0 h 3"/>
                <a:gd name="T32" fmla="*/ 2 w 2"/>
                <a:gd name="T33" fmla="*/ 0 h 3"/>
                <a:gd name="T34" fmla="*/ 2 w 2"/>
                <a:gd name="T35" fmla="*/ 0 h 3"/>
                <a:gd name="T36" fmla="*/ 2 w 2"/>
                <a:gd name="T37" fmla="*/ 0 h 3"/>
                <a:gd name="T38" fmla="*/ 2 w 2"/>
                <a:gd name="T39" fmla="*/ 0 h 3"/>
                <a:gd name="T40" fmla="*/ 2 w 2"/>
                <a:gd name="T41" fmla="*/ 0 h 3"/>
                <a:gd name="T42" fmla="*/ 2 w 2"/>
                <a:gd name="T43" fmla="*/ 0 h 3"/>
                <a:gd name="T44" fmla="*/ 2 w 2"/>
                <a:gd name="T45" fmla="*/ 2 h 3"/>
                <a:gd name="T46" fmla="*/ 2 w 2"/>
                <a:gd name="T47" fmla="*/ 2 h 3"/>
                <a:gd name="T48" fmla="*/ 2 w 2"/>
                <a:gd name="T49" fmla="*/ 2 h 3"/>
                <a:gd name="T50" fmla="*/ 2 w 2"/>
                <a:gd name="T51" fmla="*/ 2 h 3"/>
                <a:gd name="T52" fmla="*/ 1 w 2"/>
                <a:gd name="T53" fmla="*/ 2 h 3"/>
                <a:gd name="T54" fmla="*/ 1 w 2"/>
                <a:gd name="T55" fmla="*/ 2 h 3"/>
                <a:gd name="T56" fmla="*/ 1 w 2"/>
                <a:gd name="T5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 h="3">
                  <a:moveTo>
                    <a:pt x="1" y="2"/>
                  </a:moveTo>
                  <a:lnTo>
                    <a:pt x="0" y="3"/>
                  </a:lnTo>
                  <a:lnTo>
                    <a:pt x="0" y="3"/>
                  </a:lnTo>
                  <a:lnTo>
                    <a:pt x="0" y="3"/>
                  </a:lnTo>
                  <a:lnTo>
                    <a:pt x="0" y="3"/>
                  </a:lnTo>
                  <a:lnTo>
                    <a:pt x="0" y="3"/>
                  </a:lnTo>
                  <a:lnTo>
                    <a:pt x="0" y="3"/>
                  </a:lnTo>
                  <a:lnTo>
                    <a:pt x="0" y="3"/>
                  </a:lnTo>
                  <a:lnTo>
                    <a:pt x="0" y="3"/>
                  </a:lnTo>
                  <a:lnTo>
                    <a:pt x="0" y="2"/>
                  </a:lnTo>
                  <a:lnTo>
                    <a:pt x="0" y="2"/>
                  </a:lnTo>
                  <a:lnTo>
                    <a:pt x="0" y="2"/>
                  </a:lnTo>
                  <a:lnTo>
                    <a:pt x="1" y="2"/>
                  </a:lnTo>
                  <a:lnTo>
                    <a:pt x="1" y="2"/>
                  </a:lnTo>
                  <a:lnTo>
                    <a:pt x="1" y="0"/>
                  </a:lnTo>
                  <a:lnTo>
                    <a:pt x="1" y="0"/>
                  </a:lnTo>
                  <a:lnTo>
                    <a:pt x="2" y="0"/>
                  </a:lnTo>
                  <a:lnTo>
                    <a:pt x="2" y="0"/>
                  </a:lnTo>
                  <a:lnTo>
                    <a:pt x="2" y="0"/>
                  </a:lnTo>
                  <a:lnTo>
                    <a:pt x="2" y="0"/>
                  </a:lnTo>
                  <a:lnTo>
                    <a:pt x="2" y="0"/>
                  </a:lnTo>
                  <a:lnTo>
                    <a:pt x="2" y="0"/>
                  </a:lnTo>
                  <a:lnTo>
                    <a:pt x="2" y="2"/>
                  </a:lnTo>
                  <a:lnTo>
                    <a:pt x="2" y="2"/>
                  </a:lnTo>
                  <a:lnTo>
                    <a:pt x="2" y="2"/>
                  </a:lnTo>
                  <a:lnTo>
                    <a:pt x="2" y="2"/>
                  </a:lnTo>
                  <a:lnTo>
                    <a:pt x="1" y="2"/>
                  </a:lnTo>
                  <a:lnTo>
                    <a:pt x="1" y="2"/>
                  </a:lnTo>
                  <a:lnTo>
                    <a:pt x="1"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51" name="Freeform 1215">
              <a:extLst>
                <a:ext uri="{FF2B5EF4-FFF2-40B4-BE49-F238E27FC236}">
                  <a16:creationId xmlns:a16="http://schemas.microsoft.com/office/drawing/2014/main" id="{E2987EE4-57EB-41AE-8E45-038B89B61313}"/>
                </a:ext>
              </a:extLst>
            </p:cNvPr>
            <p:cNvSpPr>
              <a:spLocks/>
            </p:cNvSpPr>
            <p:nvPr/>
          </p:nvSpPr>
          <p:spPr bwMode="auto">
            <a:xfrm>
              <a:off x="5690240" y="2153266"/>
              <a:ext cx="2671" cy="2671"/>
            </a:xfrm>
            <a:custGeom>
              <a:avLst/>
              <a:gdLst>
                <a:gd name="T0" fmla="*/ 2 w 2"/>
                <a:gd name="T1" fmla="*/ 1 h 2"/>
                <a:gd name="T2" fmla="*/ 2 w 2"/>
                <a:gd name="T3" fmla="*/ 1 h 2"/>
                <a:gd name="T4" fmla="*/ 2 w 2"/>
                <a:gd name="T5" fmla="*/ 1 h 2"/>
                <a:gd name="T6" fmla="*/ 2 w 2"/>
                <a:gd name="T7" fmla="*/ 1 h 2"/>
                <a:gd name="T8" fmla="*/ 2 w 2"/>
                <a:gd name="T9" fmla="*/ 2 h 2"/>
                <a:gd name="T10" fmla="*/ 2 w 2"/>
                <a:gd name="T11" fmla="*/ 2 h 2"/>
                <a:gd name="T12" fmla="*/ 2 w 2"/>
                <a:gd name="T13" fmla="*/ 2 h 2"/>
                <a:gd name="T14" fmla="*/ 2 w 2"/>
                <a:gd name="T15" fmla="*/ 2 h 2"/>
                <a:gd name="T16" fmla="*/ 2 w 2"/>
                <a:gd name="T17" fmla="*/ 2 h 2"/>
                <a:gd name="T18" fmla="*/ 2 w 2"/>
                <a:gd name="T19" fmla="*/ 2 h 2"/>
                <a:gd name="T20" fmla="*/ 1 w 2"/>
                <a:gd name="T21" fmla="*/ 2 h 2"/>
                <a:gd name="T22" fmla="*/ 1 w 2"/>
                <a:gd name="T23" fmla="*/ 2 h 2"/>
                <a:gd name="T24" fmla="*/ 1 w 2"/>
                <a:gd name="T25" fmla="*/ 2 h 2"/>
                <a:gd name="T26" fmla="*/ 0 w 2"/>
                <a:gd name="T27" fmla="*/ 2 h 2"/>
                <a:gd name="T28" fmla="*/ 0 w 2"/>
                <a:gd name="T29" fmla="*/ 2 h 2"/>
                <a:gd name="T30" fmla="*/ 1 w 2"/>
                <a:gd name="T31" fmla="*/ 2 h 2"/>
                <a:gd name="T32" fmla="*/ 1 w 2"/>
                <a:gd name="T33" fmla="*/ 2 h 2"/>
                <a:gd name="T34" fmla="*/ 1 w 2"/>
                <a:gd name="T35" fmla="*/ 1 h 2"/>
                <a:gd name="T36" fmla="*/ 1 w 2"/>
                <a:gd name="T37" fmla="*/ 1 h 2"/>
                <a:gd name="T38" fmla="*/ 1 w 2"/>
                <a:gd name="T39" fmla="*/ 1 h 2"/>
                <a:gd name="T40" fmla="*/ 1 w 2"/>
                <a:gd name="T41" fmla="*/ 1 h 2"/>
                <a:gd name="T42" fmla="*/ 1 w 2"/>
                <a:gd name="T43" fmla="*/ 1 h 2"/>
                <a:gd name="T44" fmla="*/ 1 w 2"/>
                <a:gd name="T45" fmla="*/ 1 h 2"/>
                <a:gd name="T46" fmla="*/ 1 w 2"/>
                <a:gd name="T47" fmla="*/ 1 h 2"/>
                <a:gd name="T48" fmla="*/ 2 w 2"/>
                <a:gd name="T49" fmla="*/ 0 h 2"/>
                <a:gd name="T50" fmla="*/ 2 w 2"/>
                <a:gd name="T51" fmla="*/ 0 h 2"/>
                <a:gd name="T52" fmla="*/ 2 w 2"/>
                <a:gd name="T53" fmla="*/ 1 h 2"/>
                <a:gd name="T54" fmla="*/ 2 w 2"/>
                <a:gd name="T55" fmla="*/ 1 h 2"/>
                <a:gd name="T56" fmla="*/ 2 w 2"/>
                <a:gd name="T57" fmla="*/ 1 h 2"/>
                <a:gd name="T58" fmla="*/ 2 w 2"/>
                <a:gd name="T59" fmla="*/ 1 h 2"/>
                <a:gd name="T60" fmla="*/ 2 w 2"/>
                <a:gd name="T61" fmla="*/ 1 h 2"/>
                <a:gd name="T62" fmla="*/ 2 w 2"/>
                <a:gd name="T63" fmla="*/ 1 h 2"/>
                <a:gd name="T64" fmla="*/ 2 w 2"/>
                <a:gd name="T65" fmla="*/ 1 h 2"/>
                <a:gd name="T66" fmla="*/ 2 w 2"/>
                <a:gd name="T67" fmla="*/ 1 h 2"/>
                <a:gd name="T68" fmla="*/ 2 w 2"/>
                <a:gd name="T69" fmla="*/ 1 h 2"/>
                <a:gd name="T70" fmla="*/ 2 w 2"/>
                <a:gd name="T71" fmla="*/ 1 h 2"/>
                <a:gd name="T72" fmla="*/ 2 w 2"/>
                <a:gd name="T73" fmla="*/ 1 h 2"/>
                <a:gd name="T74" fmla="*/ 2 w 2"/>
                <a:gd name="T75" fmla="*/ 1 h 2"/>
                <a:gd name="T76" fmla="*/ 2 w 2"/>
                <a:gd name="T7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 h="2">
                  <a:moveTo>
                    <a:pt x="2" y="1"/>
                  </a:moveTo>
                  <a:lnTo>
                    <a:pt x="2" y="1"/>
                  </a:lnTo>
                  <a:lnTo>
                    <a:pt x="2" y="1"/>
                  </a:lnTo>
                  <a:lnTo>
                    <a:pt x="2" y="1"/>
                  </a:lnTo>
                  <a:lnTo>
                    <a:pt x="2" y="2"/>
                  </a:lnTo>
                  <a:lnTo>
                    <a:pt x="2" y="2"/>
                  </a:lnTo>
                  <a:lnTo>
                    <a:pt x="2" y="2"/>
                  </a:lnTo>
                  <a:lnTo>
                    <a:pt x="2" y="2"/>
                  </a:lnTo>
                  <a:lnTo>
                    <a:pt x="2" y="2"/>
                  </a:lnTo>
                  <a:lnTo>
                    <a:pt x="2" y="2"/>
                  </a:lnTo>
                  <a:lnTo>
                    <a:pt x="1" y="2"/>
                  </a:lnTo>
                  <a:lnTo>
                    <a:pt x="1" y="2"/>
                  </a:lnTo>
                  <a:lnTo>
                    <a:pt x="1" y="2"/>
                  </a:lnTo>
                  <a:lnTo>
                    <a:pt x="0" y="2"/>
                  </a:lnTo>
                  <a:lnTo>
                    <a:pt x="0" y="2"/>
                  </a:lnTo>
                  <a:lnTo>
                    <a:pt x="1" y="2"/>
                  </a:lnTo>
                  <a:lnTo>
                    <a:pt x="1" y="2"/>
                  </a:lnTo>
                  <a:lnTo>
                    <a:pt x="1" y="1"/>
                  </a:lnTo>
                  <a:lnTo>
                    <a:pt x="1" y="1"/>
                  </a:lnTo>
                  <a:lnTo>
                    <a:pt x="1" y="1"/>
                  </a:lnTo>
                  <a:lnTo>
                    <a:pt x="1" y="1"/>
                  </a:lnTo>
                  <a:lnTo>
                    <a:pt x="1" y="1"/>
                  </a:lnTo>
                  <a:lnTo>
                    <a:pt x="1" y="1"/>
                  </a:lnTo>
                  <a:lnTo>
                    <a:pt x="1" y="1"/>
                  </a:lnTo>
                  <a:lnTo>
                    <a:pt x="2" y="0"/>
                  </a:lnTo>
                  <a:lnTo>
                    <a:pt x="2" y="0"/>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52" name="Freeform 1216">
              <a:extLst>
                <a:ext uri="{FF2B5EF4-FFF2-40B4-BE49-F238E27FC236}">
                  <a16:creationId xmlns:a16="http://schemas.microsoft.com/office/drawing/2014/main" id="{0EB41C9D-D91C-46DB-B668-248AFF0C7F95}"/>
                </a:ext>
              </a:extLst>
            </p:cNvPr>
            <p:cNvSpPr>
              <a:spLocks/>
            </p:cNvSpPr>
            <p:nvPr/>
          </p:nvSpPr>
          <p:spPr bwMode="auto">
            <a:xfrm>
              <a:off x="5707602" y="2153266"/>
              <a:ext cx="2671" cy="2671"/>
            </a:xfrm>
            <a:custGeom>
              <a:avLst/>
              <a:gdLst>
                <a:gd name="T0" fmla="*/ 2 w 2"/>
                <a:gd name="T1" fmla="*/ 1 h 2"/>
                <a:gd name="T2" fmla="*/ 2 w 2"/>
                <a:gd name="T3" fmla="*/ 1 h 2"/>
                <a:gd name="T4" fmla="*/ 2 w 2"/>
                <a:gd name="T5" fmla="*/ 1 h 2"/>
                <a:gd name="T6" fmla="*/ 2 w 2"/>
                <a:gd name="T7" fmla="*/ 2 h 2"/>
                <a:gd name="T8" fmla="*/ 2 w 2"/>
                <a:gd name="T9" fmla="*/ 2 h 2"/>
                <a:gd name="T10" fmla="*/ 2 w 2"/>
                <a:gd name="T11" fmla="*/ 2 h 2"/>
                <a:gd name="T12" fmla="*/ 1 w 2"/>
                <a:gd name="T13" fmla="*/ 2 h 2"/>
                <a:gd name="T14" fmla="*/ 1 w 2"/>
                <a:gd name="T15" fmla="*/ 2 h 2"/>
                <a:gd name="T16" fmla="*/ 1 w 2"/>
                <a:gd name="T17" fmla="*/ 2 h 2"/>
                <a:gd name="T18" fmla="*/ 1 w 2"/>
                <a:gd name="T19" fmla="*/ 2 h 2"/>
                <a:gd name="T20" fmla="*/ 1 w 2"/>
                <a:gd name="T21" fmla="*/ 1 h 2"/>
                <a:gd name="T22" fmla="*/ 0 w 2"/>
                <a:gd name="T23" fmla="*/ 1 h 2"/>
                <a:gd name="T24" fmla="*/ 0 w 2"/>
                <a:gd name="T25" fmla="*/ 1 h 2"/>
                <a:gd name="T26" fmla="*/ 1 w 2"/>
                <a:gd name="T27" fmla="*/ 1 h 2"/>
                <a:gd name="T28" fmla="*/ 1 w 2"/>
                <a:gd name="T29" fmla="*/ 1 h 2"/>
                <a:gd name="T30" fmla="*/ 2 w 2"/>
                <a:gd name="T31" fmla="*/ 0 h 2"/>
                <a:gd name="T32" fmla="*/ 2 w 2"/>
                <a:gd name="T33" fmla="*/ 1 h 2"/>
                <a:gd name="T34" fmla="*/ 2 w 2"/>
                <a:gd name="T35" fmla="*/ 1 h 2"/>
                <a:gd name="T36" fmla="*/ 2 w 2"/>
                <a:gd name="T3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2">
                  <a:moveTo>
                    <a:pt x="2" y="1"/>
                  </a:moveTo>
                  <a:lnTo>
                    <a:pt x="2" y="1"/>
                  </a:lnTo>
                  <a:lnTo>
                    <a:pt x="2" y="1"/>
                  </a:lnTo>
                  <a:lnTo>
                    <a:pt x="2" y="2"/>
                  </a:lnTo>
                  <a:lnTo>
                    <a:pt x="2" y="2"/>
                  </a:lnTo>
                  <a:lnTo>
                    <a:pt x="2" y="2"/>
                  </a:lnTo>
                  <a:lnTo>
                    <a:pt x="1" y="2"/>
                  </a:lnTo>
                  <a:lnTo>
                    <a:pt x="1" y="2"/>
                  </a:lnTo>
                  <a:lnTo>
                    <a:pt x="1" y="2"/>
                  </a:lnTo>
                  <a:lnTo>
                    <a:pt x="1" y="2"/>
                  </a:lnTo>
                  <a:lnTo>
                    <a:pt x="1" y="1"/>
                  </a:lnTo>
                  <a:lnTo>
                    <a:pt x="0" y="1"/>
                  </a:lnTo>
                  <a:lnTo>
                    <a:pt x="0" y="1"/>
                  </a:lnTo>
                  <a:lnTo>
                    <a:pt x="1" y="1"/>
                  </a:lnTo>
                  <a:lnTo>
                    <a:pt x="1" y="1"/>
                  </a:lnTo>
                  <a:lnTo>
                    <a:pt x="2" y="0"/>
                  </a:lnTo>
                  <a:lnTo>
                    <a:pt x="2" y="1"/>
                  </a:lnTo>
                  <a:lnTo>
                    <a:pt x="2" y="1"/>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53" name="Freeform 1217">
              <a:extLst>
                <a:ext uri="{FF2B5EF4-FFF2-40B4-BE49-F238E27FC236}">
                  <a16:creationId xmlns:a16="http://schemas.microsoft.com/office/drawing/2014/main" id="{2EF802FD-4E7C-4C1C-996B-13766730AF00}"/>
                </a:ext>
              </a:extLst>
            </p:cNvPr>
            <p:cNvSpPr>
              <a:spLocks/>
            </p:cNvSpPr>
            <p:nvPr/>
          </p:nvSpPr>
          <p:spPr bwMode="auto">
            <a:xfrm>
              <a:off x="5706266" y="2153266"/>
              <a:ext cx="1336" cy="1336"/>
            </a:xfrm>
            <a:custGeom>
              <a:avLst/>
              <a:gdLst>
                <a:gd name="T0" fmla="*/ 1 w 1"/>
                <a:gd name="T1" fmla="*/ 1 h 1"/>
                <a:gd name="T2" fmla="*/ 0 w 1"/>
                <a:gd name="T3" fmla="*/ 1 h 1"/>
                <a:gd name="T4" fmla="*/ 0 w 1"/>
                <a:gd name="T5" fmla="*/ 1 h 1"/>
                <a:gd name="T6" fmla="*/ 0 w 1"/>
                <a:gd name="T7" fmla="*/ 1 h 1"/>
                <a:gd name="T8" fmla="*/ 0 w 1"/>
                <a:gd name="T9" fmla="*/ 0 h 1"/>
                <a:gd name="T10" fmla="*/ 0 w 1"/>
                <a:gd name="T11" fmla="*/ 0 h 1"/>
                <a:gd name="T12" fmla="*/ 1 w 1"/>
                <a:gd name="T13" fmla="*/ 0 h 1"/>
                <a:gd name="T14" fmla="*/ 1 w 1"/>
                <a:gd name="T15" fmla="*/ 0 h 1"/>
                <a:gd name="T16" fmla="*/ 1 w 1"/>
                <a:gd name="T17" fmla="*/ 0 h 1"/>
                <a:gd name="T18" fmla="*/ 1 w 1"/>
                <a:gd name="T19" fmla="*/ 0 h 1"/>
                <a:gd name="T20" fmla="*/ 1 w 1"/>
                <a:gd name="T2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1">
                  <a:moveTo>
                    <a:pt x="1" y="1"/>
                  </a:moveTo>
                  <a:lnTo>
                    <a:pt x="0" y="1"/>
                  </a:lnTo>
                  <a:lnTo>
                    <a:pt x="0" y="1"/>
                  </a:lnTo>
                  <a:lnTo>
                    <a:pt x="0" y="1"/>
                  </a:lnTo>
                  <a:lnTo>
                    <a:pt x="0" y="0"/>
                  </a:lnTo>
                  <a:lnTo>
                    <a:pt x="0" y="0"/>
                  </a:lnTo>
                  <a:lnTo>
                    <a:pt x="1" y="0"/>
                  </a:lnTo>
                  <a:lnTo>
                    <a:pt x="1" y="0"/>
                  </a:lnTo>
                  <a:lnTo>
                    <a:pt x="1" y="0"/>
                  </a:lnTo>
                  <a:lnTo>
                    <a:pt x="1" y="0"/>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54" name="Freeform 1219">
              <a:extLst>
                <a:ext uri="{FF2B5EF4-FFF2-40B4-BE49-F238E27FC236}">
                  <a16:creationId xmlns:a16="http://schemas.microsoft.com/office/drawing/2014/main" id="{1853BAF1-0546-484A-B6D3-087FBE318830}"/>
                </a:ext>
              </a:extLst>
            </p:cNvPr>
            <p:cNvSpPr>
              <a:spLocks/>
            </p:cNvSpPr>
            <p:nvPr/>
          </p:nvSpPr>
          <p:spPr bwMode="auto">
            <a:xfrm>
              <a:off x="5715614" y="2147924"/>
              <a:ext cx="1336" cy="1336"/>
            </a:xfrm>
            <a:custGeom>
              <a:avLst/>
              <a:gdLst>
                <a:gd name="T0" fmla="*/ 1 w 1"/>
                <a:gd name="T1" fmla="*/ 1 h 1"/>
                <a:gd name="T2" fmla="*/ 0 w 1"/>
                <a:gd name="T3" fmla="*/ 1 h 1"/>
                <a:gd name="T4" fmla="*/ 0 w 1"/>
                <a:gd name="T5" fmla="*/ 1 h 1"/>
                <a:gd name="T6" fmla="*/ 0 w 1"/>
                <a:gd name="T7" fmla="*/ 0 h 1"/>
                <a:gd name="T8" fmla="*/ 0 w 1"/>
                <a:gd name="T9" fmla="*/ 0 h 1"/>
                <a:gd name="T10" fmla="*/ 0 w 1"/>
                <a:gd name="T11" fmla="*/ 0 h 1"/>
                <a:gd name="T12" fmla="*/ 0 w 1"/>
                <a:gd name="T13" fmla="*/ 0 h 1"/>
                <a:gd name="T14" fmla="*/ 1 w 1"/>
                <a:gd name="T15" fmla="*/ 0 h 1"/>
                <a:gd name="T16" fmla="*/ 1 w 1"/>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1">
                  <a:moveTo>
                    <a:pt x="1" y="1"/>
                  </a:moveTo>
                  <a:lnTo>
                    <a:pt x="0" y="1"/>
                  </a:lnTo>
                  <a:lnTo>
                    <a:pt x="0" y="1"/>
                  </a:lnTo>
                  <a:lnTo>
                    <a:pt x="0" y="0"/>
                  </a:lnTo>
                  <a:lnTo>
                    <a:pt x="0" y="0"/>
                  </a:lnTo>
                  <a:lnTo>
                    <a:pt x="0" y="0"/>
                  </a:lnTo>
                  <a:lnTo>
                    <a:pt x="0" y="0"/>
                  </a:lnTo>
                  <a:lnTo>
                    <a:pt x="1" y="0"/>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55" name="Freeform 1220">
              <a:extLst>
                <a:ext uri="{FF2B5EF4-FFF2-40B4-BE49-F238E27FC236}">
                  <a16:creationId xmlns:a16="http://schemas.microsoft.com/office/drawing/2014/main" id="{7927D959-86E8-433F-A9F5-CC9D8184CEAE}"/>
                </a:ext>
              </a:extLst>
            </p:cNvPr>
            <p:cNvSpPr>
              <a:spLocks/>
            </p:cNvSpPr>
            <p:nvPr/>
          </p:nvSpPr>
          <p:spPr bwMode="auto">
            <a:xfrm>
              <a:off x="5692912" y="2146589"/>
              <a:ext cx="4007" cy="6678"/>
            </a:xfrm>
            <a:custGeom>
              <a:avLst/>
              <a:gdLst>
                <a:gd name="T0" fmla="*/ 3 w 3"/>
                <a:gd name="T1" fmla="*/ 1 h 5"/>
                <a:gd name="T2" fmla="*/ 2 w 3"/>
                <a:gd name="T3" fmla="*/ 1 h 5"/>
                <a:gd name="T4" fmla="*/ 2 w 3"/>
                <a:gd name="T5" fmla="*/ 1 h 5"/>
                <a:gd name="T6" fmla="*/ 3 w 3"/>
                <a:gd name="T7" fmla="*/ 1 h 5"/>
                <a:gd name="T8" fmla="*/ 3 w 3"/>
                <a:gd name="T9" fmla="*/ 1 h 5"/>
                <a:gd name="T10" fmla="*/ 2 w 3"/>
                <a:gd name="T11" fmla="*/ 1 h 5"/>
                <a:gd name="T12" fmla="*/ 2 w 3"/>
                <a:gd name="T13" fmla="*/ 1 h 5"/>
                <a:gd name="T14" fmla="*/ 2 w 3"/>
                <a:gd name="T15" fmla="*/ 0 h 5"/>
                <a:gd name="T16" fmla="*/ 0 w 3"/>
                <a:gd name="T17" fmla="*/ 0 h 5"/>
                <a:gd name="T18" fmla="*/ 0 w 3"/>
                <a:gd name="T19" fmla="*/ 1 h 5"/>
                <a:gd name="T20" fmla="*/ 2 w 3"/>
                <a:gd name="T21" fmla="*/ 1 h 5"/>
                <a:gd name="T22" fmla="*/ 2 w 3"/>
                <a:gd name="T23" fmla="*/ 1 h 5"/>
                <a:gd name="T24" fmla="*/ 2 w 3"/>
                <a:gd name="T25" fmla="*/ 1 h 5"/>
                <a:gd name="T26" fmla="*/ 2 w 3"/>
                <a:gd name="T27" fmla="*/ 1 h 5"/>
                <a:gd name="T28" fmla="*/ 3 w 3"/>
                <a:gd name="T29" fmla="*/ 1 h 5"/>
                <a:gd name="T30" fmla="*/ 3 w 3"/>
                <a:gd name="T31" fmla="*/ 1 h 5"/>
                <a:gd name="T32" fmla="*/ 3 w 3"/>
                <a:gd name="T33" fmla="*/ 1 h 5"/>
                <a:gd name="T34" fmla="*/ 3 w 3"/>
                <a:gd name="T35" fmla="*/ 2 h 5"/>
                <a:gd name="T36" fmla="*/ 3 w 3"/>
                <a:gd name="T37" fmla="*/ 2 h 5"/>
                <a:gd name="T38" fmla="*/ 3 w 3"/>
                <a:gd name="T39" fmla="*/ 2 h 5"/>
                <a:gd name="T40" fmla="*/ 3 w 3"/>
                <a:gd name="T41" fmla="*/ 2 h 5"/>
                <a:gd name="T42" fmla="*/ 2 w 3"/>
                <a:gd name="T43" fmla="*/ 2 h 5"/>
                <a:gd name="T44" fmla="*/ 2 w 3"/>
                <a:gd name="T45" fmla="*/ 2 h 5"/>
                <a:gd name="T46" fmla="*/ 2 w 3"/>
                <a:gd name="T47" fmla="*/ 3 h 5"/>
                <a:gd name="T48" fmla="*/ 2 w 3"/>
                <a:gd name="T49" fmla="*/ 3 h 5"/>
                <a:gd name="T50" fmla="*/ 2 w 3"/>
                <a:gd name="T51" fmla="*/ 3 h 5"/>
                <a:gd name="T52" fmla="*/ 2 w 3"/>
                <a:gd name="T53" fmla="*/ 3 h 5"/>
                <a:gd name="T54" fmla="*/ 2 w 3"/>
                <a:gd name="T55" fmla="*/ 3 h 5"/>
                <a:gd name="T56" fmla="*/ 2 w 3"/>
                <a:gd name="T57" fmla="*/ 3 h 5"/>
                <a:gd name="T58" fmla="*/ 3 w 3"/>
                <a:gd name="T59" fmla="*/ 5 h 5"/>
                <a:gd name="T60" fmla="*/ 3 w 3"/>
                <a:gd name="T61" fmla="*/ 5 h 5"/>
                <a:gd name="T62" fmla="*/ 3 w 3"/>
                <a:gd name="T63" fmla="*/ 5 h 5"/>
                <a:gd name="T64" fmla="*/ 2 w 3"/>
                <a:gd name="T65" fmla="*/ 5 h 5"/>
                <a:gd name="T66" fmla="*/ 0 w 3"/>
                <a:gd name="T67" fmla="*/ 5 h 5"/>
                <a:gd name="T68" fmla="*/ 0 w 3"/>
                <a:gd name="T69" fmla="*/ 3 h 5"/>
                <a:gd name="T70" fmla="*/ 0 w 3"/>
                <a:gd name="T71" fmla="*/ 2 h 5"/>
                <a:gd name="T72" fmla="*/ 0 w 3"/>
                <a:gd name="T73" fmla="*/ 2 h 5"/>
                <a:gd name="T74" fmla="*/ 0 w 3"/>
                <a:gd name="T75" fmla="*/ 2 h 5"/>
                <a:gd name="T76" fmla="*/ 0 w 3"/>
                <a:gd name="T77" fmla="*/ 2 h 5"/>
                <a:gd name="T78" fmla="*/ 0 w 3"/>
                <a:gd name="T79" fmla="*/ 2 h 5"/>
                <a:gd name="T80" fmla="*/ 0 w 3"/>
                <a:gd name="T81" fmla="*/ 1 h 5"/>
                <a:gd name="T82" fmla="*/ 0 w 3"/>
                <a:gd name="T83" fmla="*/ 1 h 5"/>
                <a:gd name="T84" fmla="*/ 0 w 3"/>
                <a:gd name="T85" fmla="*/ 0 h 5"/>
                <a:gd name="T86" fmla="*/ 2 w 3"/>
                <a:gd name="T8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 h="5">
                  <a:moveTo>
                    <a:pt x="2" y="0"/>
                  </a:moveTo>
                  <a:lnTo>
                    <a:pt x="3" y="1"/>
                  </a:lnTo>
                  <a:lnTo>
                    <a:pt x="2" y="1"/>
                  </a:lnTo>
                  <a:lnTo>
                    <a:pt x="2" y="1"/>
                  </a:lnTo>
                  <a:lnTo>
                    <a:pt x="2" y="1"/>
                  </a:lnTo>
                  <a:lnTo>
                    <a:pt x="2" y="1"/>
                  </a:lnTo>
                  <a:lnTo>
                    <a:pt x="2" y="1"/>
                  </a:lnTo>
                  <a:lnTo>
                    <a:pt x="3" y="1"/>
                  </a:lnTo>
                  <a:lnTo>
                    <a:pt x="3" y="1"/>
                  </a:lnTo>
                  <a:lnTo>
                    <a:pt x="3" y="1"/>
                  </a:lnTo>
                  <a:lnTo>
                    <a:pt x="3" y="1"/>
                  </a:lnTo>
                  <a:lnTo>
                    <a:pt x="2" y="1"/>
                  </a:lnTo>
                  <a:lnTo>
                    <a:pt x="2" y="1"/>
                  </a:lnTo>
                  <a:lnTo>
                    <a:pt x="2" y="1"/>
                  </a:lnTo>
                  <a:lnTo>
                    <a:pt x="2" y="0"/>
                  </a:lnTo>
                  <a:lnTo>
                    <a:pt x="2" y="0"/>
                  </a:lnTo>
                  <a:lnTo>
                    <a:pt x="0" y="0"/>
                  </a:lnTo>
                  <a:lnTo>
                    <a:pt x="0" y="0"/>
                  </a:lnTo>
                  <a:lnTo>
                    <a:pt x="0" y="1"/>
                  </a:lnTo>
                  <a:lnTo>
                    <a:pt x="0" y="1"/>
                  </a:lnTo>
                  <a:lnTo>
                    <a:pt x="0" y="1"/>
                  </a:lnTo>
                  <a:lnTo>
                    <a:pt x="2" y="1"/>
                  </a:lnTo>
                  <a:lnTo>
                    <a:pt x="2" y="1"/>
                  </a:lnTo>
                  <a:lnTo>
                    <a:pt x="2" y="1"/>
                  </a:lnTo>
                  <a:lnTo>
                    <a:pt x="2" y="1"/>
                  </a:lnTo>
                  <a:lnTo>
                    <a:pt x="2" y="1"/>
                  </a:lnTo>
                  <a:lnTo>
                    <a:pt x="2" y="1"/>
                  </a:lnTo>
                  <a:lnTo>
                    <a:pt x="2" y="1"/>
                  </a:lnTo>
                  <a:lnTo>
                    <a:pt x="2" y="1"/>
                  </a:lnTo>
                  <a:lnTo>
                    <a:pt x="3" y="1"/>
                  </a:lnTo>
                  <a:lnTo>
                    <a:pt x="3" y="1"/>
                  </a:lnTo>
                  <a:lnTo>
                    <a:pt x="3" y="1"/>
                  </a:lnTo>
                  <a:lnTo>
                    <a:pt x="3" y="1"/>
                  </a:lnTo>
                  <a:lnTo>
                    <a:pt x="3" y="1"/>
                  </a:lnTo>
                  <a:lnTo>
                    <a:pt x="3" y="1"/>
                  </a:lnTo>
                  <a:lnTo>
                    <a:pt x="3" y="2"/>
                  </a:lnTo>
                  <a:lnTo>
                    <a:pt x="3" y="2"/>
                  </a:lnTo>
                  <a:lnTo>
                    <a:pt x="3" y="2"/>
                  </a:lnTo>
                  <a:lnTo>
                    <a:pt x="3" y="2"/>
                  </a:lnTo>
                  <a:lnTo>
                    <a:pt x="3" y="2"/>
                  </a:lnTo>
                  <a:lnTo>
                    <a:pt x="3" y="2"/>
                  </a:lnTo>
                  <a:lnTo>
                    <a:pt x="3" y="2"/>
                  </a:lnTo>
                  <a:lnTo>
                    <a:pt x="2" y="2"/>
                  </a:lnTo>
                  <a:lnTo>
                    <a:pt x="2" y="2"/>
                  </a:lnTo>
                  <a:lnTo>
                    <a:pt x="2" y="2"/>
                  </a:lnTo>
                  <a:lnTo>
                    <a:pt x="2" y="2"/>
                  </a:lnTo>
                  <a:lnTo>
                    <a:pt x="2" y="2"/>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3" y="5"/>
                  </a:lnTo>
                  <a:lnTo>
                    <a:pt x="3" y="5"/>
                  </a:lnTo>
                  <a:lnTo>
                    <a:pt x="3" y="5"/>
                  </a:lnTo>
                  <a:lnTo>
                    <a:pt x="3" y="5"/>
                  </a:lnTo>
                  <a:lnTo>
                    <a:pt x="3" y="5"/>
                  </a:lnTo>
                  <a:lnTo>
                    <a:pt x="2" y="5"/>
                  </a:lnTo>
                  <a:lnTo>
                    <a:pt x="2" y="5"/>
                  </a:lnTo>
                  <a:lnTo>
                    <a:pt x="0" y="5"/>
                  </a:lnTo>
                  <a:lnTo>
                    <a:pt x="0" y="5"/>
                  </a:lnTo>
                  <a:lnTo>
                    <a:pt x="0" y="3"/>
                  </a:lnTo>
                  <a:lnTo>
                    <a:pt x="0" y="3"/>
                  </a:lnTo>
                  <a:lnTo>
                    <a:pt x="0" y="3"/>
                  </a:lnTo>
                  <a:lnTo>
                    <a:pt x="0" y="2"/>
                  </a:lnTo>
                  <a:lnTo>
                    <a:pt x="0" y="2"/>
                  </a:lnTo>
                  <a:lnTo>
                    <a:pt x="0" y="2"/>
                  </a:lnTo>
                  <a:lnTo>
                    <a:pt x="0" y="2"/>
                  </a:lnTo>
                  <a:lnTo>
                    <a:pt x="0" y="2"/>
                  </a:lnTo>
                  <a:lnTo>
                    <a:pt x="0" y="2"/>
                  </a:lnTo>
                  <a:lnTo>
                    <a:pt x="0" y="2"/>
                  </a:lnTo>
                  <a:lnTo>
                    <a:pt x="0" y="2"/>
                  </a:lnTo>
                  <a:lnTo>
                    <a:pt x="0" y="2"/>
                  </a:lnTo>
                  <a:lnTo>
                    <a:pt x="0" y="1"/>
                  </a:lnTo>
                  <a:lnTo>
                    <a:pt x="0" y="1"/>
                  </a:lnTo>
                  <a:lnTo>
                    <a:pt x="0" y="1"/>
                  </a:lnTo>
                  <a:lnTo>
                    <a:pt x="0" y="1"/>
                  </a:lnTo>
                  <a:lnTo>
                    <a:pt x="0" y="0"/>
                  </a:lnTo>
                  <a:lnTo>
                    <a:pt x="0"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56" name="Freeform 1221">
              <a:extLst>
                <a:ext uri="{FF2B5EF4-FFF2-40B4-BE49-F238E27FC236}">
                  <a16:creationId xmlns:a16="http://schemas.microsoft.com/office/drawing/2014/main" id="{D569C28B-C8DF-4C37-A9CD-ADAD4B17686F}"/>
                </a:ext>
              </a:extLst>
            </p:cNvPr>
            <p:cNvSpPr>
              <a:spLocks/>
            </p:cNvSpPr>
            <p:nvPr/>
          </p:nvSpPr>
          <p:spPr bwMode="auto">
            <a:xfrm>
              <a:off x="5692912" y="2145253"/>
              <a:ext cx="4007" cy="1336"/>
            </a:xfrm>
            <a:custGeom>
              <a:avLst/>
              <a:gdLst>
                <a:gd name="T0" fmla="*/ 2 w 3"/>
                <a:gd name="T1" fmla="*/ 0 h 1"/>
                <a:gd name="T2" fmla="*/ 2 w 3"/>
                <a:gd name="T3" fmla="*/ 0 h 1"/>
                <a:gd name="T4" fmla="*/ 3 w 3"/>
                <a:gd name="T5" fmla="*/ 0 h 1"/>
                <a:gd name="T6" fmla="*/ 3 w 3"/>
                <a:gd name="T7" fmla="*/ 0 h 1"/>
                <a:gd name="T8" fmla="*/ 3 w 3"/>
                <a:gd name="T9" fmla="*/ 0 h 1"/>
                <a:gd name="T10" fmla="*/ 3 w 3"/>
                <a:gd name="T11" fmla="*/ 0 h 1"/>
                <a:gd name="T12" fmla="*/ 3 w 3"/>
                <a:gd name="T13" fmla="*/ 0 h 1"/>
                <a:gd name="T14" fmla="*/ 3 w 3"/>
                <a:gd name="T15" fmla="*/ 0 h 1"/>
                <a:gd name="T16" fmla="*/ 3 w 3"/>
                <a:gd name="T17" fmla="*/ 0 h 1"/>
                <a:gd name="T18" fmla="*/ 3 w 3"/>
                <a:gd name="T19" fmla="*/ 0 h 1"/>
                <a:gd name="T20" fmla="*/ 3 w 3"/>
                <a:gd name="T21" fmla="*/ 0 h 1"/>
                <a:gd name="T22" fmla="*/ 3 w 3"/>
                <a:gd name="T23" fmla="*/ 0 h 1"/>
                <a:gd name="T24" fmla="*/ 3 w 3"/>
                <a:gd name="T25" fmla="*/ 0 h 1"/>
                <a:gd name="T26" fmla="*/ 3 w 3"/>
                <a:gd name="T27" fmla="*/ 0 h 1"/>
                <a:gd name="T28" fmla="*/ 3 w 3"/>
                <a:gd name="T29" fmla="*/ 0 h 1"/>
                <a:gd name="T30" fmla="*/ 3 w 3"/>
                <a:gd name="T31" fmla="*/ 0 h 1"/>
                <a:gd name="T32" fmla="*/ 3 w 3"/>
                <a:gd name="T33" fmla="*/ 1 h 1"/>
                <a:gd name="T34" fmla="*/ 3 w 3"/>
                <a:gd name="T35" fmla="*/ 1 h 1"/>
                <a:gd name="T36" fmla="*/ 3 w 3"/>
                <a:gd name="T37" fmla="*/ 1 h 1"/>
                <a:gd name="T38" fmla="*/ 3 w 3"/>
                <a:gd name="T39" fmla="*/ 1 h 1"/>
                <a:gd name="T40" fmla="*/ 3 w 3"/>
                <a:gd name="T41" fmla="*/ 1 h 1"/>
                <a:gd name="T42" fmla="*/ 3 w 3"/>
                <a:gd name="T43" fmla="*/ 1 h 1"/>
                <a:gd name="T44" fmla="*/ 3 w 3"/>
                <a:gd name="T45" fmla="*/ 1 h 1"/>
                <a:gd name="T46" fmla="*/ 3 w 3"/>
                <a:gd name="T47" fmla="*/ 1 h 1"/>
                <a:gd name="T48" fmla="*/ 2 w 3"/>
                <a:gd name="T49" fmla="*/ 1 h 1"/>
                <a:gd name="T50" fmla="*/ 2 w 3"/>
                <a:gd name="T51" fmla="*/ 1 h 1"/>
                <a:gd name="T52" fmla="*/ 0 w 3"/>
                <a:gd name="T53" fmla="*/ 1 h 1"/>
                <a:gd name="T54" fmla="*/ 0 w 3"/>
                <a:gd name="T55" fmla="*/ 1 h 1"/>
                <a:gd name="T56" fmla="*/ 0 w 3"/>
                <a:gd name="T57" fmla="*/ 0 h 1"/>
                <a:gd name="T58" fmla="*/ 0 w 3"/>
                <a:gd name="T59" fmla="*/ 0 h 1"/>
                <a:gd name="T60" fmla="*/ 2 w 3"/>
                <a:gd name="T61" fmla="*/ 0 h 1"/>
                <a:gd name="T62" fmla="*/ 2 w 3"/>
                <a:gd name="T63" fmla="*/ 0 h 1"/>
                <a:gd name="T64" fmla="*/ 2 w 3"/>
                <a:gd name="T65" fmla="*/ 0 h 1"/>
                <a:gd name="T66" fmla="*/ 2 w 3"/>
                <a:gd name="T67" fmla="*/ 0 h 1"/>
                <a:gd name="T68" fmla="*/ 2 w 3"/>
                <a:gd name="T69" fmla="*/ 0 h 1"/>
                <a:gd name="T70" fmla="*/ 2 w 3"/>
                <a:gd name="T71" fmla="*/ 0 h 1"/>
                <a:gd name="T72" fmla="*/ 2 w 3"/>
                <a:gd name="T7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 h="1">
                  <a:moveTo>
                    <a:pt x="2" y="0"/>
                  </a:moveTo>
                  <a:lnTo>
                    <a:pt x="2"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0"/>
                  </a:lnTo>
                  <a:lnTo>
                    <a:pt x="3" y="1"/>
                  </a:lnTo>
                  <a:lnTo>
                    <a:pt x="3" y="1"/>
                  </a:lnTo>
                  <a:lnTo>
                    <a:pt x="3" y="1"/>
                  </a:lnTo>
                  <a:lnTo>
                    <a:pt x="3" y="1"/>
                  </a:lnTo>
                  <a:lnTo>
                    <a:pt x="3" y="1"/>
                  </a:lnTo>
                  <a:lnTo>
                    <a:pt x="3" y="1"/>
                  </a:lnTo>
                  <a:lnTo>
                    <a:pt x="3" y="1"/>
                  </a:lnTo>
                  <a:lnTo>
                    <a:pt x="3" y="1"/>
                  </a:lnTo>
                  <a:lnTo>
                    <a:pt x="2" y="1"/>
                  </a:lnTo>
                  <a:lnTo>
                    <a:pt x="2" y="1"/>
                  </a:lnTo>
                  <a:lnTo>
                    <a:pt x="0" y="1"/>
                  </a:lnTo>
                  <a:lnTo>
                    <a:pt x="0" y="1"/>
                  </a:lnTo>
                  <a:lnTo>
                    <a:pt x="0" y="0"/>
                  </a:lnTo>
                  <a:lnTo>
                    <a:pt x="0" y="0"/>
                  </a:lnTo>
                  <a:lnTo>
                    <a:pt x="2" y="0"/>
                  </a:lnTo>
                  <a:lnTo>
                    <a:pt x="2" y="0"/>
                  </a:lnTo>
                  <a:lnTo>
                    <a:pt x="2" y="0"/>
                  </a:lnTo>
                  <a:lnTo>
                    <a:pt x="2"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57" name="Freeform 1222">
              <a:extLst>
                <a:ext uri="{FF2B5EF4-FFF2-40B4-BE49-F238E27FC236}">
                  <a16:creationId xmlns:a16="http://schemas.microsoft.com/office/drawing/2014/main" id="{FAEAFAD5-A3C9-46B0-8321-9275B3F830BD}"/>
                </a:ext>
              </a:extLst>
            </p:cNvPr>
            <p:cNvSpPr>
              <a:spLocks/>
            </p:cNvSpPr>
            <p:nvPr/>
          </p:nvSpPr>
          <p:spPr bwMode="auto">
            <a:xfrm>
              <a:off x="5714279" y="2145253"/>
              <a:ext cx="1336" cy="2671"/>
            </a:xfrm>
            <a:custGeom>
              <a:avLst/>
              <a:gdLst>
                <a:gd name="T0" fmla="*/ 1 w 1"/>
                <a:gd name="T1" fmla="*/ 0 h 2"/>
                <a:gd name="T2" fmla="*/ 1 w 1"/>
                <a:gd name="T3" fmla="*/ 0 h 2"/>
                <a:gd name="T4" fmla="*/ 1 w 1"/>
                <a:gd name="T5" fmla="*/ 1 h 2"/>
                <a:gd name="T6" fmla="*/ 1 w 1"/>
                <a:gd name="T7" fmla="*/ 1 h 2"/>
                <a:gd name="T8" fmla="*/ 1 w 1"/>
                <a:gd name="T9" fmla="*/ 1 h 2"/>
                <a:gd name="T10" fmla="*/ 1 w 1"/>
                <a:gd name="T11" fmla="*/ 1 h 2"/>
                <a:gd name="T12" fmla="*/ 1 w 1"/>
                <a:gd name="T13" fmla="*/ 2 h 2"/>
                <a:gd name="T14" fmla="*/ 1 w 1"/>
                <a:gd name="T15" fmla="*/ 2 h 2"/>
                <a:gd name="T16" fmla="*/ 1 w 1"/>
                <a:gd name="T17" fmla="*/ 2 h 2"/>
                <a:gd name="T18" fmla="*/ 1 w 1"/>
                <a:gd name="T19" fmla="*/ 2 h 2"/>
                <a:gd name="T20" fmla="*/ 1 w 1"/>
                <a:gd name="T21" fmla="*/ 2 h 2"/>
                <a:gd name="T22" fmla="*/ 0 w 1"/>
                <a:gd name="T23" fmla="*/ 2 h 2"/>
                <a:gd name="T24" fmla="*/ 0 w 1"/>
                <a:gd name="T25" fmla="*/ 2 h 2"/>
                <a:gd name="T26" fmla="*/ 0 w 1"/>
                <a:gd name="T27" fmla="*/ 2 h 2"/>
                <a:gd name="T28" fmla="*/ 0 w 1"/>
                <a:gd name="T29" fmla="*/ 2 h 2"/>
                <a:gd name="T30" fmla="*/ 0 w 1"/>
                <a:gd name="T31" fmla="*/ 2 h 2"/>
                <a:gd name="T32" fmla="*/ 0 w 1"/>
                <a:gd name="T33" fmla="*/ 2 h 2"/>
                <a:gd name="T34" fmla="*/ 0 w 1"/>
                <a:gd name="T35" fmla="*/ 2 h 2"/>
                <a:gd name="T36" fmla="*/ 0 w 1"/>
                <a:gd name="T37" fmla="*/ 1 h 2"/>
                <a:gd name="T38" fmla="*/ 0 w 1"/>
                <a:gd name="T39" fmla="*/ 1 h 2"/>
                <a:gd name="T40" fmla="*/ 1 w 1"/>
                <a:gd name="T41" fmla="*/ 0 h 2"/>
                <a:gd name="T42" fmla="*/ 1 w 1"/>
                <a:gd name="T43" fmla="*/ 0 h 2"/>
                <a:gd name="T44" fmla="*/ 1 w 1"/>
                <a:gd name="T45" fmla="*/ 0 h 2"/>
                <a:gd name="T46" fmla="*/ 1 w 1"/>
                <a:gd name="T47" fmla="*/ 0 h 2"/>
                <a:gd name="T48" fmla="*/ 1 w 1"/>
                <a:gd name="T49" fmla="*/ 0 h 2"/>
                <a:gd name="T50" fmla="*/ 1 w 1"/>
                <a:gd name="T51" fmla="*/ 0 h 2"/>
                <a:gd name="T52" fmla="*/ 1 w 1"/>
                <a:gd name="T53" fmla="*/ 0 h 2"/>
                <a:gd name="T54" fmla="*/ 1 w 1"/>
                <a:gd name="T55" fmla="*/ 0 h 2"/>
                <a:gd name="T56" fmla="*/ 1 w 1"/>
                <a:gd name="T57" fmla="*/ 0 h 2"/>
                <a:gd name="T58" fmla="*/ 1 w 1"/>
                <a:gd name="T59" fmla="*/ 0 h 2"/>
                <a:gd name="T60" fmla="*/ 1 w 1"/>
                <a:gd name="T61" fmla="*/ 0 h 2"/>
                <a:gd name="T62" fmla="*/ 1 w 1"/>
                <a:gd name="T63" fmla="*/ 0 h 2"/>
                <a:gd name="T64" fmla="*/ 1 w 1"/>
                <a:gd name="T65" fmla="*/ 0 h 2"/>
                <a:gd name="T66" fmla="*/ 1 w 1"/>
                <a:gd name="T67" fmla="*/ 0 h 2"/>
                <a:gd name="T68" fmla="*/ 1 w 1"/>
                <a:gd name="T6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 h="2">
                  <a:moveTo>
                    <a:pt x="1" y="0"/>
                  </a:moveTo>
                  <a:lnTo>
                    <a:pt x="1" y="0"/>
                  </a:lnTo>
                  <a:lnTo>
                    <a:pt x="1" y="1"/>
                  </a:lnTo>
                  <a:lnTo>
                    <a:pt x="1" y="1"/>
                  </a:lnTo>
                  <a:lnTo>
                    <a:pt x="1" y="1"/>
                  </a:lnTo>
                  <a:lnTo>
                    <a:pt x="1" y="1"/>
                  </a:lnTo>
                  <a:lnTo>
                    <a:pt x="1" y="2"/>
                  </a:lnTo>
                  <a:lnTo>
                    <a:pt x="1" y="2"/>
                  </a:lnTo>
                  <a:lnTo>
                    <a:pt x="1" y="2"/>
                  </a:lnTo>
                  <a:lnTo>
                    <a:pt x="1" y="2"/>
                  </a:lnTo>
                  <a:lnTo>
                    <a:pt x="1" y="2"/>
                  </a:lnTo>
                  <a:lnTo>
                    <a:pt x="0" y="2"/>
                  </a:lnTo>
                  <a:lnTo>
                    <a:pt x="0" y="2"/>
                  </a:lnTo>
                  <a:lnTo>
                    <a:pt x="0" y="2"/>
                  </a:lnTo>
                  <a:lnTo>
                    <a:pt x="0" y="2"/>
                  </a:lnTo>
                  <a:lnTo>
                    <a:pt x="0" y="2"/>
                  </a:lnTo>
                  <a:lnTo>
                    <a:pt x="0" y="2"/>
                  </a:lnTo>
                  <a:lnTo>
                    <a:pt x="0" y="2"/>
                  </a:lnTo>
                  <a:lnTo>
                    <a:pt x="0" y="1"/>
                  </a:lnTo>
                  <a:lnTo>
                    <a:pt x="0" y="1"/>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58" name="Freeform 1223">
              <a:extLst>
                <a:ext uri="{FF2B5EF4-FFF2-40B4-BE49-F238E27FC236}">
                  <a16:creationId xmlns:a16="http://schemas.microsoft.com/office/drawing/2014/main" id="{77E847DF-CFFE-4FEF-8F3B-50BB994FC5C8}"/>
                </a:ext>
              </a:extLst>
            </p:cNvPr>
            <p:cNvSpPr>
              <a:spLocks/>
            </p:cNvSpPr>
            <p:nvPr/>
          </p:nvSpPr>
          <p:spPr bwMode="auto">
            <a:xfrm>
              <a:off x="5715614" y="2143918"/>
              <a:ext cx="0" cy="1336"/>
            </a:xfrm>
            <a:custGeom>
              <a:avLst/>
              <a:gdLst>
                <a:gd name="T0" fmla="*/ 0 h 1"/>
                <a:gd name="T1" fmla="*/ 1 h 1"/>
                <a:gd name="T2" fmla="*/ 1 h 1"/>
                <a:gd name="T3" fmla="*/ 0 h 1"/>
                <a:gd name="T4" fmla="*/ 0 h 1"/>
                <a:gd name="T5" fmla="*/ 0 h 1"/>
                <a:gd name="T6" fmla="*/ 0 h 1"/>
                <a:gd name="T7" fmla="*/ 0 h 1"/>
                <a:gd name="T8" fmla="*/ 0 h 1"/>
                <a:gd name="T9" fmla="*/ 0 h 1"/>
                <a:gd name="T10" fmla="*/ 0 h 1"/>
                <a:gd name="T11" fmla="*/ 0 h 1"/>
                <a:gd name="T12" fmla="*/ 0 h 1"/>
                <a:gd name="T13"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Lst>
              <a:rect l="0" t="0" r="r" b="b"/>
              <a:pathLst>
                <a:path h="1">
                  <a:moveTo>
                    <a:pt x="0" y="0"/>
                  </a:move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59" name="Freeform 1224">
              <a:extLst>
                <a:ext uri="{FF2B5EF4-FFF2-40B4-BE49-F238E27FC236}">
                  <a16:creationId xmlns:a16="http://schemas.microsoft.com/office/drawing/2014/main" id="{51907AA5-6F4B-458C-B4FB-E41EDE0C9CD0}"/>
                </a:ext>
              </a:extLst>
            </p:cNvPr>
            <p:cNvSpPr>
              <a:spLocks/>
            </p:cNvSpPr>
            <p:nvPr/>
          </p:nvSpPr>
          <p:spPr bwMode="auto">
            <a:xfrm>
              <a:off x="5598091" y="214391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60" name="Freeform 1225">
              <a:extLst>
                <a:ext uri="{FF2B5EF4-FFF2-40B4-BE49-F238E27FC236}">
                  <a16:creationId xmlns:a16="http://schemas.microsoft.com/office/drawing/2014/main" id="{573186E1-2434-443A-A801-C14724DF7FEB}"/>
                </a:ext>
              </a:extLst>
            </p:cNvPr>
            <p:cNvSpPr>
              <a:spLocks/>
            </p:cNvSpPr>
            <p:nvPr/>
          </p:nvSpPr>
          <p:spPr bwMode="auto">
            <a:xfrm>
              <a:off x="5691576" y="2141247"/>
              <a:ext cx="8013" cy="4007"/>
            </a:xfrm>
            <a:custGeom>
              <a:avLst/>
              <a:gdLst>
                <a:gd name="T0" fmla="*/ 5 w 6"/>
                <a:gd name="T1" fmla="*/ 0 h 3"/>
                <a:gd name="T2" fmla="*/ 5 w 6"/>
                <a:gd name="T3" fmla="*/ 0 h 3"/>
                <a:gd name="T4" fmla="*/ 5 w 6"/>
                <a:gd name="T5" fmla="*/ 0 h 3"/>
                <a:gd name="T6" fmla="*/ 6 w 6"/>
                <a:gd name="T7" fmla="*/ 0 h 3"/>
                <a:gd name="T8" fmla="*/ 5 w 6"/>
                <a:gd name="T9" fmla="*/ 2 h 3"/>
                <a:gd name="T10" fmla="*/ 5 w 6"/>
                <a:gd name="T11" fmla="*/ 2 h 3"/>
                <a:gd name="T12" fmla="*/ 5 w 6"/>
                <a:gd name="T13" fmla="*/ 0 h 3"/>
                <a:gd name="T14" fmla="*/ 5 w 6"/>
                <a:gd name="T15" fmla="*/ 0 h 3"/>
                <a:gd name="T16" fmla="*/ 4 w 6"/>
                <a:gd name="T17" fmla="*/ 0 h 3"/>
                <a:gd name="T18" fmla="*/ 4 w 6"/>
                <a:gd name="T19" fmla="*/ 0 h 3"/>
                <a:gd name="T20" fmla="*/ 4 w 6"/>
                <a:gd name="T21" fmla="*/ 0 h 3"/>
                <a:gd name="T22" fmla="*/ 4 w 6"/>
                <a:gd name="T23" fmla="*/ 0 h 3"/>
                <a:gd name="T24" fmla="*/ 5 w 6"/>
                <a:gd name="T25" fmla="*/ 2 h 3"/>
                <a:gd name="T26" fmla="*/ 5 w 6"/>
                <a:gd name="T27" fmla="*/ 2 h 3"/>
                <a:gd name="T28" fmla="*/ 5 w 6"/>
                <a:gd name="T29" fmla="*/ 2 h 3"/>
                <a:gd name="T30" fmla="*/ 5 w 6"/>
                <a:gd name="T31" fmla="*/ 2 h 3"/>
                <a:gd name="T32" fmla="*/ 4 w 6"/>
                <a:gd name="T33" fmla="*/ 2 h 3"/>
                <a:gd name="T34" fmla="*/ 4 w 6"/>
                <a:gd name="T35" fmla="*/ 2 h 3"/>
                <a:gd name="T36" fmla="*/ 4 w 6"/>
                <a:gd name="T37" fmla="*/ 2 h 3"/>
                <a:gd name="T38" fmla="*/ 4 w 6"/>
                <a:gd name="T39" fmla="*/ 2 h 3"/>
                <a:gd name="T40" fmla="*/ 3 w 6"/>
                <a:gd name="T41" fmla="*/ 2 h 3"/>
                <a:gd name="T42" fmla="*/ 4 w 6"/>
                <a:gd name="T43" fmla="*/ 2 h 3"/>
                <a:gd name="T44" fmla="*/ 5 w 6"/>
                <a:gd name="T45" fmla="*/ 2 h 3"/>
                <a:gd name="T46" fmla="*/ 5 w 6"/>
                <a:gd name="T47" fmla="*/ 2 h 3"/>
                <a:gd name="T48" fmla="*/ 5 w 6"/>
                <a:gd name="T49" fmla="*/ 3 h 3"/>
                <a:gd name="T50" fmla="*/ 4 w 6"/>
                <a:gd name="T51" fmla="*/ 3 h 3"/>
                <a:gd name="T52" fmla="*/ 4 w 6"/>
                <a:gd name="T53" fmla="*/ 3 h 3"/>
                <a:gd name="T54" fmla="*/ 3 w 6"/>
                <a:gd name="T55" fmla="*/ 3 h 3"/>
                <a:gd name="T56" fmla="*/ 3 w 6"/>
                <a:gd name="T57" fmla="*/ 3 h 3"/>
                <a:gd name="T58" fmla="*/ 3 w 6"/>
                <a:gd name="T59" fmla="*/ 2 h 3"/>
                <a:gd name="T60" fmla="*/ 3 w 6"/>
                <a:gd name="T61" fmla="*/ 2 h 3"/>
                <a:gd name="T62" fmla="*/ 3 w 6"/>
                <a:gd name="T63" fmla="*/ 2 h 3"/>
                <a:gd name="T64" fmla="*/ 1 w 6"/>
                <a:gd name="T65" fmla="*/ 2 h 3"/>
                <a:gd name="T66" fmla="*/ 1 w 6"/>
                <a:gd name="T67" fmla="*/ 2 h 3"/>
                <a:gd name="T68" fmla="*/ 1 w 6"/>
                <a:gd name="T69" fmla="*/ 2 h 3"/>
                <a:gd name="T70" fmla="*/ 1 w 6"/>
                <a:gd name="T71" fmla="*/ 2 h 3"/>
                <a:gd name="T72" fmla="*/ 0 w 6"/>
                <a:gd name="T73" fmla="*/ 2 h 3"/>
                <a:gd name="T74" fmla="*/ 0 w 6"/>
                <a:gd name="T75" fmla="*/ 2 h 3"/>
                <a:gd name="T76" fmla="*/ 0 w 6"/>
                <a:gd name="T77" fmla="*/ 0 h 3"/>
                <a:gd name="T78" fmla="*/ 1 w 6"/>
                <a:gd name="T79" fmla="*/ 0 h 3"/>
                <a:gd name="T80" fmla="*/ 3 w 6"/>
                <a:gd name="T81" fmla="*/ 0 h 3"/>
                <a:gd name="T82" fmla="*/ 1 w 6"/>
                <a:gd name="T83" fmla="*/ 0 h 3"/>
                <a:gd name="T84" fmla="*/ 3 w 6"/>
                <a:gd name="T85" fmla="*/ 0 h 3"/>
                <a:gd name="T86" fmla="*/ 3 w 6"/>
                <a:gd name="T87" fmla="*/ 0 h 3"/>
                <a:gd name="T88" fmla="*/ 3 w 6"/>
                <a:gd name="T89" fmla="*/ 0 h 3"/>
                <a:gd name="T90" fmla="*/ 3 w 6"/>
                <a:gd name="T91" fmla="*/ 0 h 3"/>
                <a:gd name="T92" fmla="*/ 4 w 6"/>
                <a:gd name="T93" fmla="*/ 0 h 3"/>
                <a:gd name="T94" fmla="*/ 4 w 6"/>
                <a:gd name="T95" fmla="*/ 0 h 3"/>
                <a:gd name="T96" fmla="*/ 4 w 6"/>
                <a:gd name="T97" fmla="*/ 0 h 3"/>
                <a:gd name="T98" fmla="*/ 5 w 6"/>
                <a:gd name="T99" fmla="*/ 0 h 3"/>
                <a:gd name="T100" fmla="*/ 5 w 6"/>
                <a:gd name="T101" fmla="*/ 0 h 3"/>
                <a:gd name="T102" fmla="*/ 4 w 6"/>
                <a:gd name="T10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 h="3">
                  <a:moveTo>
                    <a:pt x="4" y="0"/>
                  </a:moveTo>
                  <a:lnTo>
                    <a:pt x="5" y="0"/>
                  </a:lnTo>
                  <a:lnTo>
                    <a:pt x="5" y="0"/>
                  </a:lnTo>
                  <a:lnTo>
                    <a:pt x="5" y="0"/>
                  </a:lnTo>
                  <a:lnTo>
                    <a:pt x="5" y="0"/>
                  </a:lnTo>
                  <a:lnTo>
                    <a:pt x="5" y="0"/>
                  </a:lnTo>
                  <a:lnTo>
                    <a:pt x="6" y="0"/>
                  </a:lnTo>
                  <a:lnTo>
                    <a:pt x="6" y="0"/>
                  </a:lnTo>
                  <a:lnTo>
                    <a:pt x="6" y="0"/>
                  </a:lnTo>
                  <a:lnTo>
                    <a:pt x="5" y="2"/>
                  </a:lnTo>
                  <a:lnTo>
                    <a:pt x="5" y="2"/>
                  </a:lnTo>
                  <a:lnTo>
                    <a:pt x="5" y="2"/>
                  </a:lnTo>
                  <a:lnTo>
                    <a:pt x="5" y="0"/>
                  </a:lnTo>
                  <a:lnTo>
                    <a:pt x="5" y="0"/>
                  </a:lnTo>
                  <a:lnTo>
                    <a:pt x="5" y="0"/>
                  </a:lnTo>
                  <a:lnTo>
                    <a:pt x="5" y="0"/>
                  </a:lnTo>
                  <a:lnTo>
                    <a:pt x="5" y="0"/>
                  </a:lnTo>
                  <a:lnTo>
                    <a:pt x="4" y="0"/>
                  </a:lnTo>
                  <a:lnTo>
                    <a:pt x="4" y="0"/>
                  </a:lnTo>
                  <a:lnTo>
                    <a:pt x="4" y="0"/>
                  </a:lnTo>
                  <a:lnTo>
                    <a:pt x="4" y="0"/>
                  </a:lnTo>
                  <a:lnTo>
                    <a:pt x="4" y="0"/>
                  </a:lnTo>
                  <a:lnTo>
                    <a:pt x="4" y="0"/>
                  </a:lnTo>
                  <a:lnTo>
                    <a:pt x="4" y="0"/>
                  </a:lnTo>
                  <a:lnTo>
                    <a:pt x="5" y="0"/>
                  </a:lnTo>
                  <a:lnTo>
                    <a:pt x="5" y="2"/>
                  </a:lnTo>
                  <a:lnTo>
                    <a:pt x="5" y="2"/>
                  </a:lnTo>
                  <a:lnTo>
                    <a:pt x="5" y="2"/>
                  </a:lnTo>
                  <a:lnTo>
                    <a:pt x="5" y="2"/>
                  </a:lnTo>
                  <a:lnTo>
                    <a:pt x="5" y="2"/>
                  </a:lnTo>
                  <a:lnTo>
                    <a:pt x="5" y="2"/>
                  </a:lnTo>
                  <a:lnTo>
                    <a:pt x="5" y="2"/>
                  </a:lnTo>
                  <a:lnTo>
                    <a:pt x="4" y="2"/>
                  </a:lnTo>
                  <a:lnTo>
                    <a:pt x="4" y="2"/>
                  </a:lnTo>
                  <a:lnTo>
                    <a:pt x="4" y="2"/>
                  </a:lnTo>
                  <a:lnTo>
                    <a:pt x="4" y="2"/>
                  </a:lnTo>
                  <a:lnTo>
                    <a:pt x="4" y="2"/>
                  </a:lnTo>
                  <a:lnTo>
                    <a:pt x="4" y="2"/>
                  </a:lnTo>
                  <a:lnTo>
                    <a:pt x="4" y="2"/>
                  </a:lnTo>
                  <a:lnTo>
                    <a:pt x="4" y="2"/>
                  </a:lnTo>
                  <a:lnTo>
                    <a:pt x="3" y="2"/>
                  </a:lnTo>
                  <a:lnTo>
                    <a:pt x="3" y="2"/>
                  </a:lnTo>
                  <a:lnTo>
                    <a:pt x="4" y="2"/>
                  </a:lnTo>
                  <a:lnTo>
                    <a:pt x="4" y="2"/>
                  </a:lnTo>
                  <a:lnTo>
                    <a:pt x="5" y="2"/>
                  </a:lnTo>
                  <a:lnTo>
                    <a:pt x="5" y="2"/>
                  </a:lnTo>
                  <a:lnTo>
                    <a:pt x="5" y="2"/>
                  </a:lnTo>
                  <a:lnTo>
                    <a:pt x="5" y="2"/>
                  </a:lnTo>
                  <a:lnTo>
                    <a:pt x="5" y="3"/>
                  </a:lnTo>
                  <a:lnTo>
                    <a:pt x="5" y="3"/>
                  </a:lnTo>
                  <a:lnTo>
                    <a:pt x="4" y="3"/>
                  </a:lnTo>
                  <a:lnTo>
                    <a:pt x="4" y="3"/>
                  </a:lnTo>
                  <a:lnTo>
                    <a:pt x="4" y="3"/>
                  </a:lnTo>
                  <a:lnTo>
                    <a:pt x="4" y="3"/>
                  </a:lnTo>
                  <a:lnTo>
                    <a:pt x="3" y="3"/>
                  </a:lnTo>
                  <a:lnTo>
                    <a:pt x="3" y="3"/>
                  </a:lnTo>
                  <a:lnTo>
                    <a:pt x="3" y="3"/>
                  </a:lnTo>
                  <a:lnTo>
                    <a:pt x="3" y="3"/>
                  </a:lnTo>
                  <a:lnTo>
                    <a:pt x="3" y="3"/>
                  </a:lnTo>
                  <a:lnTo>
                    <a:pt x="3" y="2"/>
                  </a:lnTo>
                  <a:lnTo>
                    <a:pt x="3" y="2"/>
                  </a:lnTo>
                  <a:lnTo>
                    <a:pt x="3" y="2"/>
                  </a:lnTo>
                  <a:lnTo>
                    <a:pt x="3" y="2"/>
                  </a:lnTo>
                  <a:lnTo>
                    <a:pt x="3" y="2"/>
                  </a:lnTo>
                  <a:lnTo>
                    <a:pt x="3" y="2"/>
                  </a:lnTo>
                  <a:lnTo>
                    <a:pt x="1" y="2"/>
                  </a:lnTo>
                  <a:lnTo>
                    <a:pt x="1" y="2"/>
                  </a:lnTo>
                  <a:lnTo>
                    <a:pt x="1" y="2"/>
                  </a:lnTo>
                  <a:lnTo>
                    <a:pt x="1" y="2"/>
                  </a:lnTo>
                  <a:lnTo>
                    <a:pt x="1" y="2"/>
                  </a:lnTo>
                  <a:lnTo>
                    <a:pt x="1" y="2"/>
                  </a:lnTo>
                  <a:lnTo>
                    <a:pt x="1" y="2"/>
                  </a:lnTo>
                  <a:lnTo>
                    <a:pt x="0" y="2"/>
                  </a:lnTo>
                  <a:lnTo>
                    <a:pt x="0" y="2"/>
                  </a:lnTo>
                  <a:lnTo>
                    <a:pt x="0" y="2"/>
                  </a:lnTo>
                  <a:lnTo>
                    <a:pt x="0" y="2"/>
                  </a:lnTo>
                  <a:lnTo>
                    <a:pt x="0" y="0"/>
                  </a:lnTo>
                  <a:lnTo>
                    <a:pt x="0" y="0"/>
                  </a:lnTo>
                  <a:lnTo>
                    <a:pt x="1" y="0"/>
                  </a:lnTo>
                  <a:lnTo>
                    <a:pt x="1" y="0"/>
                  </a:lnTo>
                  <a:lnTo>
                    <a:pt x="3" y="0"/>
                  </a:lnTo>
                  <a:lnTo>
                    <a:pt x="3" y="0"/>
                  </a:lnTo>
                  <a:lnTo>
                    <a:pt x="1" y="0"/>
                  </a:lnTo>
                  <a:lnTo>
                    <a:pt x="1" y="0"/>
                  </a:lnTo>
                  <a:lnTo>
                    <a:pt x="1" y="0"/>
                  </a:lnTo>
                  <a:lnTo>
                    <a:pt x="3" y="0"/>
                  </a:lnTo>
                  <a:lnTo>
                    <a:pt x="3" y="0"/>
                  </a:lnTo>
                  <a:lnTo>
                    <a:pt x="3" y="0"/>
                  </a:lnTo>
                  <a:lnTo>
                    <a:pt x="3" y="0"/>
                  </a:lnTo>
                  <a:lnTo>
                    <a:pt x="3" y="0"/>
                  </a:lnTo>
                  <a:lnTo>
                    <a:pt x="3" y="0"/>
                  </a:lnTo>
                  <a:lnTo>
                    <a:pt x="3" y="0"/>
                  </a:lnTo>
                  <a:lnTo>
                    <a:pt x="4" y="0"/>
                  </a:lnTo>
                  <a:lnTo>
                    <a:pt x="4" y="0"/>
                  </a:lnTo>
                  <a:lnTo>
                    <a:pt x="4" y="0"/>
                  </a:lnTo>
                  <a:lnTo>
                    <a:pt x="4" y="0"/>
                  </a:lnTo>
                  <a:lnTo>
                    <a:pt x="4" y="0"/>
                  </a:lnTo>
                  <a:lnTo>
                    <a:pt x="4" y="0"/>
                  </a:lnTo>
                  <a:lnTo>
                    <a:pt x="4" y="0"/>
                  </a:lnTo>
                  <a:lnTo>
                    <a:pt x="5" y="0"/>
                  </a:lnTo>
                  <a:lnTo>
                    <a:pt x="5" y="0"/>
                  </a:lnTo>
                  <a:lnTo>
                    <a:pt x="5" y="0"/>
                  </a:lnTo>
                  <a:lnTo>
                    <a:pt x="5" y="0"/>
                  </a:lnTo>
                  <a:lnTo>
                    <a:pt x="4"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61" name="Freeform 1226">
              <a:extLst>
                <a:ext uri="{FF2B5EF4-FFF2-40B4-BE49-F238E27FC236}">
                  <a16:creationId xmlns:a16="http://schemas.microsoft.com/office/drawing/2014/main" id="{D21394C1-87DB-4A20-A1B7-730D7CAA748B}"/>
                </a:ext>
              </a:extLst>
            </p:cNvPr>
            <p:cNvSpPr>
              <a:spLocks/>
            </p:cNvSpPr>
            <p:nvPr/>
          </p:nvSpPr>
          <p:spPr bwMode="auto">
            <a:xfrm>
              <a:off x="5702260" y="2139911"/>
              <a:ext cx="17362" cy="14691"/>
            </a:xfrm>
            <a:custGeom>
              <a:avLst/>
              <a:gdLst>
                <a:gd name="T0" fmla="*/ 7 w 13"/>
                <a:gd name="T1" fmla="*/ 1 h 11"/>
                <a:gd name="T2" fmla="*/ 9 w 13"/>
                <a:gd name="T3" fmla="*/ 3 h 11"/>
                <a:gd name="T4" fmla="*/ 9 w 13"/>
                <a:gd name="T5" fmla="*/ 4 h 11"/>
                <a:gd name="T6" fmla="*/ 7 w 13"/>
                <a:gd name="T7" fmla="*/ 5 h 11"/>
                <a:gd name="T8" fmla="*/ 9 w 13"/>
                <a:gd name="T9" fmla="*/ 5 h 11"/>
                <a:gd name="T10" fmla="*/ 9 w 13"/>
                <a:gd name="T11" fmla="*/ 6 h 11"/>
                <a:gd name="T12" fmla="*/ 7 w 13"/>
                <a:gd name="T13" fmla="*/ 6 h 11"/>
                <a:gd name="T14" fmla="*/ 9 w 13"/>
                <a:gd name="T15" fmla="*/ 7 h 11"/>
                <a:gd name="T16" fmla="*/ 10 w 13"/>
                <a:gd name="T17" fmla="*/ 7 h 11"/>
                <a:gd name="T18" fmla="*/ 11 w 13"/>
                <a:gd name="T19" fmla="*/ 7 h 11"/>
                <a:gd name="T20" fmla="*/ 11 w 13"/>
                <a:gd name="T21" fmla="*/ 7 h 11"/>
                <a:gd name="T22" fmla="*/ 12 w 13"/>
                <a:gd name="T23" fmla="*/ 7 h 11"/>
                <a:gd name="T24" fmla="*/ 13 w 13"/>
                <a:gd name="T25" fmla="*/ 7 h 11"/>
                <a:gd name="T26" fmla="*/ 12 w 13"/>
                <a:gd name="T27" fmla="*/ 8 h 11"/>
                <a:gd name="T28" fmla="*/ 12 w 13"/>
                <a:gd name="T29" fmla="*/ 10 h 11"/>
                <a:gd name="T30" fmla="*/ 10 w 13"/>
                <a:gd name="T31" fmla="*/ 11 h 11"/>
                <a:gd name="T32" fmla="*/ 10 w 13"/>
                <a:gd name="T33" fmla="*/ 10 h 11"/>
                <a:gd name="T34" fmla="*/ 10 w 13"/>
                <a:gd name="T35" fmla="*/ 10 h 11"/>
                <a:gd name="T36" fmla="*/ 10 w 13"/>
                <a:gd name="T37" fmla="*/ 8 h 11"/>
                <a:gd name="T38" fmla="*/ 11 w 13"/>
                <a:gd name="T39" fmla="*/ 8 h 11"/>
                <a:gd name="T40" fmla="*/ 10 w 13"/>
                <a:gd name="T41" fmla="*/ 8 h 11"/>
                <a:gd name="T42" fmla="*/ 10 w 13"/>
                <a:gd name="T43" fmla="*/ 8 h 11"/>
                <a:gd name="T44" fmla="*/ 9 w 13"/>
                <a:gd name="T45" fmla="*/ 8 h 11"/>
                <a:gd name="T46" fmla="*/ 9 w 13"/>
                <a:gd name="T47" fmla="*/ 10 h 11"/>
                <a:gd name="T48" fmla="*/ 9 w 13"/>
                <a:gd name="T49" fmla="*/ 8 h 11"/>
                <a:gd name="T50" fmla="*/ 7 w 13"/>
                <a:gd name="T51" fmla="*/ 8 h 11"/>
                <a:gd name="T52" fmla="*/ 6 w 13"/>
                <a:gd name="T53" fmla="*/ 8 h 11"/>
                <a:gd name="T54" fmla="*/ 6 w 13"/>
                <a:gd name="T55" fmla="*/ 8 h 11"/>
                <a:gd name="T56" fmla="*/ 5 w 13"/>
                <a:gd name="T57" fmla="*/ 7 h 11"/>
                <a:gd name="T58" fmla="*/ 5 w 13"/>
                <a:gd name="T59" fmla="*/ 7 h 11"/>
                <a:gd name="T60" fmla="*/ 4 w 13"/>
                <a:gd name="T61" fmla="*/ 7 h 11"/>
                <a:gd name="T62" fmla="*/ 5 w 13"/>
                <a:gd name="T63" fmla="*/ 6 h 11"/>
                <a:gd name="T64" fmla="*/ 6 w 13"/>
                <a:gd name="T65" fmla="*/ 6 h 11"/>
                <a:gd name="T66" fmla="*/ 5 w 13"/>
                <a:gd name="T67" fmla="*/ 6 h 11"/>
                <a:gd name="T68" fmla="*/ 5 w 13"/>
                <a:gd name="T69" fmla="*/ 6 h 11"/>
                <a:gd name="T70" fmla="*/ 4 w 13"/>
                <a:gd name="T71" fmla="*/ 6 h 11"/>
                <a:gd name="T72" fmla="*/ 4 w 13"/>
                <a:gd name="T73" fmla="*/ 5 h 11"/>
                <a:gd name="T74" fmla="*/ 4 w 13"/>
                <a:gd name="T75" fmla="*/ 5 h 11"/>
                <a:gd name="T76" fmla="*/ 3 w 13"/>
                <a:gd name="T77" fmla="*/ 5 h 11"/>
                <a:gd name="T78" fmla="*/ 3 w 13"/>
                <a:gd name="T79" fmla="*/ 6 h 11"/>
                <a:gd name="T80" fmla="*/ 2 w 13"/>
                <a:gd name="T81" fmla="*/ 5 h 11"/>
                <a:gd name="T82" fmla="*/ 2 w 13"/>
                <a:gd name="T83" fmla="*/ 4 h 11"/>
                <a:gd name="T84" fmla="*/ 2 w 13"/>
                <a:gd name="T85" fmla="*/ 4 h 11"/>
                <a:gd name="T86" fmla="*/ 3 w 13"/>
                <a:gd name="T87" fmla="*/ 5 h 11"/>
                <a:gd name="T88" fmla="*/ 3 w 13"/>
                <a:gd name="T89" fmla="*/ 4 h 11"/>
                <a:gd name="T90" fmla="*/ 3 w 13"/>
                <a:gd name="T91" fmla="*/ 4 h 11"/>
                <a:gd name="T92" fmla="*/ 3 w 13"/>
                <a:gd name="T93" fmla="*/ 4 h 11"/>
                <a:gd name="T94" fmla="*/ 3 w 13"/>
                <a:gd name="T95" fmla="*/ 3 h 11"/>
                <a:gd name="T96" fmla="*/ 3 w 13"/>
                <a:gd name="T97" fmla="*/ 3 h 11"/>
                <a:gd name="T98" fmla="*/ 3 w 13"/>
                <a:gd name="T99" fmla="*/ 3 h 11"/>
                <a:gd name="T100" fmla="*/ 4 w 13"/>
                <a:gd name="T101" fmla="*/ 3 h 11"/>
                <a:gd name="T102" fmla="*/ 5 w 13"/>
                <a:gd name="T103" fmla="*/ 4 h 11"/>
                <a:gd name="T104" fmla="*/ 5 w 13"/>
                <a:gd name="T105" fmla="*/ 4 h 11"/>
                <a:gd name="T106" fmla="*/ 6 w 13"/>
                <a:gd name="T107" fmla="*/ 4 h 11"/>
                <a:gd name="T108" fmla="*/ 5 w 13"/>
                <a:gd name="T109" fmla="*/ 3 h 11"/>
                <a:gd name="T110" fmla="*/ 5 w 13"/>
                <a:gd name="T111" fmla="*/ 3 h 11"/>
                <a:gd name="T112" fmla="*/ 5 w 13"/>
                <a:gd name="T113" fmla="*/ 1 h 11"/>
                <a:gd name="T114" fmla="*/ 6 w 13"/>
                <a:gd name="T115" fmla="*/ 1 h 11"/>
                <a:gd name="T116" fmla="*/ 6 w 13"/>
                <a:gd name="T1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 h="11">
                  <a:moveTo>
                    <a:pt x="6" y="0"/>
                  </a:moveTo>
                  <a:lnTo>
                    <a:pt x="6" y="0"/>
                  </a:lnTo>
                  <a:lnTo>
                    <a:pt x="6" y="1"/>
                  </a:lnTo>
                  <a:lnTo>
                    <a:pt x="6" y="1"/>
                  </a:lnTo>
                  <a:lnTo>
                    <a:pt x="7" y="1"/>
                  </a:lnTo>
                  <a:lnTo>
                    <a:pt x="7" y="1"/>
                  </a:lnTo>
                  <a:lnTo>
                    <a:pt x="7" y="1"/>
                  </a:lnTo>
                  <a:lnTo>
                    <a:pt x="7" y="1"/>
                  </a:lnTo>
                  <a:lnTo>
                    <a:pt x="7" y="3"/>
                  </a:lnTo>
                  <a:lnTo>
                    <a:pt x="9" y="3"/>
                  </a:lnTo>
                  <a:lnTo>
                    <a:pt x="9" y="3"/>
                  </a:lnTo>
                  <a:lnTo>
                    <a:pt x="9" y="4"/>
                  </a:lnTo>
                  <a:lnTo>
                    <a:pt x="9" y="4"/>
                  </a:lnTo>
                  <a:lnTo>
                    <a:pt x="9" y="4"/>
                  </a:lnTo>
                  <a:lnTo>
                    <a:pt x="9" y="4"/>
                  </a:lnTo>
                  <a:lnTo>
                    <a:pt x="9" y="5"/>
                  </a:lnTo>
                  <a:lnTo>
                    <a:pt x="9" y="5"/>
                  </a:lnTo>
                  <a:lnTo>
                    <a:pt x="7" y="5"/>
                  </a:lnTo>
                  <a:lnTo>
                    <a:pt x="7" y="5"/>
                  </a:lnTo>
                  <a:lnTo>
                    <a:pt x="7" y="5"/>
                  </a:lnTo>
                  <a:lnTo>
                    <a:pt x="7" y="5"/>
                  </a:lnTo>
                  <a:lnTo>
                    <a:pt x="7" y="5"/>
                  </a:lnTo>
                  <a:lnTo>
                    <a:pt x="9" y="5"/>
                  </a:lnTo>
                  <a:lnTo>
                    <a:pt x="9" y="5"/>
                  </a:lnTo>
                  <a:lnTo>
                    <a:pt x="9" y="5"/>
                  </a:lnTo>
                  <a:lnTo>
                    <a:pt x="9" y="5"/>
                  </a:lnTo>
                  <a:lnTo>
                    <a:pt x="9" y="5"/>
                  </a:lnTo>
                  <a:lnTo>
                    <a:pt x="9" y="6"/>
                  </a:lnTo>
                  <a:lnTo>
                    <a:pt x="9" y="6"/>
                  </a:lnTo>
                  <a:lnTo>
                    <a:pt x="9" y="6"/>
                  </a:lnTo>
                  <a:lnTo>
                    <a:pt x="9" y="6"/>
                  </a:lnTo>
                  <a:lnTo>
                    <a:pt x="9" y="6"/>
                  </a:lnTo>
                  <a:lnTo>
                    <a:pt x="9" y="6"/>
                  </a:lnTo>
                  <a:lnTo>
                    <a:pt x="9" y="6"/>
                  </a:lnTo>
                  <a:lnTo>
                    <a:pt x="7" y="6"/>
                  </a:lnTo>
                  <a:lnTo>
                    <a:pt x="9" y="6"/>
                  </a:lnTo>
                  <a:lnTo>
                    <a:pt x="9" y="6"/>
                  </a:lnTo>
                  <a:lnTo>
                    <a:pt x="10" y="6"/>
                  </a:lnTo>
                  <a:lnTo>
                    <a:pt x="9" y="7"/>
                  </a:lnTo>
                  <a:lnTo>
                    <a:pt x="9" y="7"/>
                  </a:lnTo>
                  <a:lnTo>
                    <a:pt x="9" y="7"/>
                  </a:lnTo>
                  <a:lnTo>
                    <a:pt x="9" y="7"/>
                  </a:lnTo>
                  <a:lnTo>
                    <a:pt x="10" y="7"/>
                  </a:lnTo>
                  <a:lnTo>
                    <a:pt x="10" y="7"/>
                  </a:lnTo>
                  <a:lnTo>
                    <a:pt x="10" y="7"/>
                  </a:lnTo>
                  <a:lnTo>
                    <a:pt x="10" y="7"/>
                  </a:lnTo>
                  <a:lnTo>
                    <a:pt x="10" y="7"/>
                  </a:lnTo>
                  <a:lnTo>
                    <a:pt x="11" y="7"/>
                  </a:lnTo>
                  <a:lnTo>
                    <a:pt x="11" y="7"/>
                  </a:lnTo>
                  <a:lnTo>
                    <a:pt x="11" y="7"/>
                  </a:lnTo>
                  <a:lnTo>
                    <a:pt x="11" y="7"/>
                  </a:lnTo>
                  <a:lnTo>
                    <a:pt x="11" y="7"/>
                  </a:lnTo>
                  <a:lnTo>
                    <a:pt x="11" y="7"/>
                  </a:lnTo>
                  <a:lnTo>
                    <a:pt x="11" y="7"/>
                  </a:lnTo>
                  <a:lnTo>
                    <a:pt x="11" y="7"/>
                  </a:lnTo>
                  <a:lnTo>
                    <a:pt x="11" y="7"/>
                  </a:lnTo>
                  <a:lnTo>
                    <a:pt x="12" y="7"/>
                  </a:lnTo>
                  <a:lnTo>
                    <a:pt x="12" y="7"/>
                  </a:lnTo>
                  <a:lnTo>
                    <a:pt x="12" y="7"/>
                  </a:lnTo>
                  <a:lnTo>
                    <a:pt x="12" y="7"/>
                  </a:lnTo>
                  <a:lnTo>
                    <a:pt x="13" y="7"/>
                  </a:lnTo>
                  <a:lnTo>
                    <a:pt x="13" y="7"/>
                  </a:lnTo>
                  <a:lnTo>
                    <a:pt x="13" y="7"/>
                  </a:lnTo>
                  <a:lnTo>
                    <a:pt x="13" y="7"/>
                  </a:lnTo>
                  <a:lnTo>
                    <a:pt x="13" y="7"/>
                  </a:lnTo>
                  <a:lnTo>
                    <a:pt x="13" y="8"/>
                  </a:lnTo>
                  <a:lnTo>
                    <a:pt x="13" y="8"/>
                  </a:lnTo>
                  <a:lnTo>
                    <a:pt x="13" y="8"/>
                  </a:lnTo>
                  <a:lnTo>
                    <a:pt x="13" y="8"/>
                  </a:lnTo>
                  <a:lnTo>
                    <a:pt x="12" y="8"/>
                  </a:lnTo>
                  <a:lnTo>
                    <a:pt x="12" y="8"/>
                  </a:lnTo>
                  <a:lnTo>
                    <a:pt x="12" y="8"/>
                  </a:lnTo>
                  <a:lnTo>
                    <a:pt x="12" y="8"/>
                  </a:lnTo>
                  <a:lnTo>
                    <a:pt x="12" y="10"/>
                  </a:lnTo>
                  <a:lnTo>
                    <a:pt x="12" y="10"/>
                  </a:lnTo>
                  <a:lnTo>
                    <a:pt x="11" y="10"/>
                  </a:lnTo>
                  <a:lnTo>
                    <a:pt x="11" y="10"/>
                  </a:lnTo>
                  <a:lnTo>
                    <a:pt x="11" y="10"/>
                  </a:lnTo>
                  <a:lnTo>
                    <a:pt x="11" y="11"/>
                  </a:lnTo>
                  <a:lnTo>
                    <a:pt x="10" y="11"/>
                  </a:lnTo>
                  <a:lnTo>
                    <a:pt x="10" y="11"/>
                  </a:lnTo>
                  <a:lnTo>
                    <a:pt x="10" y="11"/>
                  </a:lnTo>
                  <a:lnTo>
                    <a:pt x="10" y="11"/>
                  </a:lnTo>
                  <a:lnTo>
                    <a:pt x="9" y="11"/>
                  </a:lnTo>
                  <a:lnTo>
                    <a:pt x="10" y="10"/>
                  </a:lnTo>
                  <a:lnTo>
                    <a:pt x="10" y="10"/>
                  </a:lnTo>
                  <a:lnTo>
                    <a:pt x="10" y="10"/>
                  </a:lnTo>
                  <a:lnTo>
                    <a:pt x="10" y="10"/>
                  </a:lnTo>
                  <a:lnTo>
                    <a:pt x="10" y="10"/>
                  </a:lnTo>
                  <a:lnTo>
                    <a:pt x="10" y="10"/>
                  </a:lnTo>
                  <a:lnTo>
                    <a:pt x="10" y="10"/>
                  </a:lnTo>
                  <a:lnTo>
                    <a:pt x="10" y="10"/>
                  </a:lnTo>
                  <a:lnTo>
                    <a:pt x="10" y="10"/>
                  </a:lnTo>
                  <a:lnTo>
                    <a:pt x="10" y="8"/>
                  </a:lnTo>
                  <a:lnTo>
                    <a:pt x="10" y="8"/>
                  </a:lnTo>
                  <a:lnTo>
                    <a:pt x="10" y="8"/>
                  </a:lnTo>
                  <a:lnTo>
                    <a:pt x="11" y="8"/>
                  </a:lnTo>
                  <a:lnTo>
                    <a:pt x="11" y="8"/>
                  </a:lnTo>
                  <a:lnTo>
                    <a:pt x="11" y="8"/>
                  </a:lnTo>
                  <a:lnTo>
                    <a:pt x="11" y="8"/>
                  </a:lnTo>
                  <a:lnTo>
                    <a:pt x="10" y="8"/>
                  </a:lnTo>
                  <a:lnTo>
                    <a:pt x="10" y="8"/>
                  </a:lnTo>
                  <a:lnTo>
                    <a:pt x="10" y="8"/>
                  </a:lnTo>
                  <a:lnTo>
                    <a:pt x="10" y="8"/>
                  </a:lnTo>
                  <a:lnTo>
                    <a:pt x="10" y="8"/>
                  </a:lnTo>
                  <a:lnTo>
                    <a:pt x="10" y="7"/>
                  </a:lnTo>
                  <a:lnTo>
                    <a:pt x="10" y="7"/>
                  </a:lnTo>
                  <a:lnTo>
                    <a:pt x="9" y="7"/>
                  </a:lnTo>
                  <a:lnTo>
                    <a:pt x="9" y="7"/>
                  </a:lnTo>
                  <a:lnTo>
                    <a:pt x="10" y="8"/>
                  </a:lnTo>
                  <a:lnTo>
                    <a:pt x="10" y="8"/>
                  </a:lnTo>
                  <a:lnTo>
                    <a:pt x="10" y="8"/>
                  </a:lnTo>
                  <a:lnTo>
                    <a:pt x="9" y="8"/>
                  </a:lnTo>
                  <a:lnTo>
                    <a:pt x="9" y="8"/>
                  </a:lnTo>
                  <a:lnTo>
                    <a:pt x="9" y="8"/>
                  </a:lnTo>
                  <a:lnTo>
                    <a:pt x="9" y="8"/>
                  </a:lnTo>
                  <a:lnTo>
                    <a:pt x="9" y="8"/>
                  </a:lnTo>
                  <a:lnTo>
                    <a:pt x="9" y="10"/>
                  </a:lnTo>
                  <a:lnTo>
                    <a:pt x="9" y="10"/>
                  </a:lnTo>
                  <a:lnTo>
                    <a:pt x="9" y="10"/>
                  </a:lnTo>
                  <a:lnTo>
                    <a:pt x="9" y="8"/>
                  </a:lnTo>
                  <a:lnTo>
                    <a:pt x="9" y="8"/>
                  </a:lnTo>
                  <a:lnTo>
                    <a:pt x="9" y="8"/>
                  </a:lnTo>
                  <a:lnTo>
                    <a:pt x="9" y="8"/>
                  </a:lnTo>
                  <a:lnTo>
                    <a:pt x="9" y="8"/>
                  </a:lnTo>
                  <a:lnTo>
                    <a:pt x="9" y="8"/>
                  </a:lnTo>
                  <a:lnTo>
                    <a:pt x="7" y="8"/>
                  </a:lnTo>
                  <a:lnTo>
                    <a:pt x="7" y="8"/>
                  </a:lnTo>
                  <a:lnTo>
                    <a:pt x="7" y="8"/>
                  </a:lnTo>
                  <a:lnTo>
                    <a:pt x="7" y="8"/>
                  </a:lnTo>
                  <a:lnTo>
                    <a:pt x="7" y="8"/>
                  </a:lnTo>
                  <a:lnTo>
                    <a:pt x="7" y="8"/>
                  </a:lnTo>
                  <a:lnTo>
                    <a:pt x="7" y="8"/>
                  </a:lnTo>
                  <a:lnTo>
                    <a:pt x="7" y="8"/>
                  </a:lnTo>
                  <a:lnTo>
                    <a:pt x="6" y="8"/>
                  </a:lnTo>
                  <a:lnTo>
                    <a:pt x="6" y="8"/>
                  </a:lnTo>
                  <a:lnTo>
                    <a:pt x="6" y="8"/>
                  </a:lnTo>
                  <a:lnTo>
                    <a:pt x="6" y="8"/>
                  </a:lnTo>
                  <a:lnTo>
                    <a:pt x="6" y="8"/>
                  </a:lnTo>
                  <a:lnTo>
                    <a:pt x="6" y="8"/>
                  </a:lnTo>
                  <a:lnTo>
                    <a:pt x="6" y="8"/>
                  </a:lnTo>
                  <a:lnTo>
                    <a:pt x="6" y="8"/>
                  </a:lnTo>
                  <a:lnTo>
                    <a:pt x="5" y="8"/>
                  </a:lnTo>
                  <a:lnTo>
                    <a:pt x="5" y="8"/>
                  </a:lnTo>
                  <a:lnTo>
                    <a:pt x="5" y="7"/>
                  </a:lnTo>
                  <a:lnTo>
                    <a:pt x="5" y="7"/>
                  </a:lnTo>
                  <a:lnTo>
                    <a:pt x="5" y="7"/>
                  </a:lnTo>
                  <a:lnTo>
                    <a:pt x="5" y="7"/>
                  </a:lnTo>
                  <a:lnTo>
                    <a:pt x="5" y="7"/>
                  </a:lnTo>
                  <a:lnTo>
                    <a:pt x="5" y="7"/>
                  </a:lnTo>
                  <a:lnTo>
                    <a:pt x="5" y="7"/>
                  </a:lnTo>
                  <a:lnTo>
                    <a:pt x="4" y="7"/>
                  </a:lnTo>
                  <a:lnTo>
                    <a:pt x="4" y="7"/>
                  </a:lnTo>
                  <a:lnTo>
                    <a:pt x="4" y="7"/>
                  </a:lnTo>
                  <a:lnTo>
                    <a:pt x="4" y="7"/>
                  </a:lnTo>
                  <a:lnTo>
                    <a:pt x="4" y="6"/>
                  </a:lnTo>
                  <a:lnTo>
                    <a:pt x="4" y="6"/>
                  </a:lnTo>
                  <a:lnTo>
                    <a:pt x="4" y="6"/>
                  </a:lnTo>
                  <a:lnTo>
                    <a:pt x="4" y="6"/>
                  </a:lnTo>
                  <a:lnTo>
                    <a:pt x="5" y="6"/>
                  </a:lnTo>
                  <a:lnTo>
                    <a:pt x="5" y="6"/>
                  </a:lnTo>
                  <a:lnTo>
                    <a:pt x="5" y="6"/>
                  </a:lnTo>
                  <a:lnTo>
                    <a:pt x="5" y="6"/>
                  </a:lnTo>
                  <a:lnTo>
                    <a:pt x="5" y="6"/>
                  </a:lnTo>
                  <a:lnTo>
                    <a:pt x="6" y="6"/>
                  </a:lnTo>
                  <a:lnTo>
                    <a:pt x="6" y="6"/>
                  </a:lnTo>
                  <a:lnTo>
                    <a:pt x="6" y="6"/>
                  </a:lnTo>
                  <a:lnTo>
                    <a:pt x="5" y="6"/>
                  </a:lnTo>
                  <a:lnTo>
                    <a:pt x="5" y="6"/>
                  </a:lnTo>
                  <a:lnTo>
                    <a:pt x="5" y="6"/>
                  </a:lnTo>
                  <a:lnTo>
                    <a:pt x="5" y="6"/>
                  </a:lnTo>
                  <a:lnTo>
                    <a:pt x="5" y="6"/>
                  </a:lnTo>
                  <a:lnTo>
                    <a:pt x="5" y="6"/>
                  </a:lnTo>
                  <a:lnTo>
                    <a:pt x="4" y="6"/>
                  </a:lnTo>
                  <a:lnTo>
                    <a:pt x="5" y="6"/>
                  </a:lnTo>
                  <a:lnTo>
                    <a:pt x="5" y="6"/>
                  </a:lnTo>
                  <a:lnTo>
                    <a:pt x="4" y="6"/>
                  </a:lnTo>
                  <a:lnTo>
                    <a:pt x="4" y="6"/>
                  </a:lnTo>
                  <a:lnTo>
                    <a:pt x="4" y="6"/>
                  </a:lnTo>
                  <a:lnTo>
                    <a:pt x="4" y="6"/>
                  </a:lnTo>
                  <a:lnTo>
                    <a:pt x="4" y="6"/>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4" y="5"/>
                  </a:lnTo>
                  <a:lnTo>
                    <a:pt x="3" y="5"/>
                  </a:lnTo>
                  <a:lnTo>
                    <a:pt x="3" y="5"/>
                  </a:lnTo>
                  <a:lnTo>
                    <a:pt x="3" y="5"/>
                  </a:lnTo>
                  <a:lnTo>
                    <a:pt x="3" y="6"/>
                  </a:lnTo>
                  <a:lnTo>
                    <a:pt x="3" y="6"/>
                  </a:lnTo>
                  <a:lnTo>
                    <a:pt x="3" y="6"/>
                  </a:lnTo>
                  <a:lnTo>
                    <a:pt x="2" y="6"/>
                  </a:lnTo>
                  <a:lnTo>
                    <a:pt x="2" y="6"/>
                  </a:lnTo>
                  <a:lnTo>
                    <a:pt x="2" y="5"/>
                  </a:lnTo>
                  <a:lnTo>
                    <a:pt x="2" y="5"/>
                  </a:lnTo>
                  <a:lnTo>
                    <a:pt x="2" y="5"/>
                  </a:lnTo>
                  <a:lnTo>
                    <a:pt x="0" y="5"/>
                  </a:lnTo>
                  <a:lnTo>
                    <a:pt x="0" y="4"/>
                  </a:lnTo>
                  <a:lnTo>
                    <a:pt x="2" y="4"/>
                  </a:lnTo>
                  <a:lnTo>
                    <a:pt x="2" y="4"/>
                  </a:lnTo>
                  <a:lnTo>
                    <a:pt x="2" y="4"/>
                  </a:lnTo>
                  <a:lnTo>
                    <a:pt x="2" y="4"/>
                  </a:lnTo>
                  <a:lnTo>
                    <a:pt x="2" y="4"/>
                  </a:lnTo>
                  <a:lnTo>
                    <a:pt x="2" y="4"/>
                  </a:lnTo>
                  <a:lnTo>
                    <a:pt x="2" y="4"/>
                  </a:lnTo>
                  <a:lnTo>
                    <a:pt x="2" y="4"/>
                  </a:lnTo>
                  <a:lnTo>
                    <a:pt x="3" y="4"/>
                  </a:lnTo>
                  <a:lnTo>
                    <a:pt x="3" y="4"/>
                  </a:lnTo>
                  <a:lnTo>
                    <a:pt x="3" y="4"/>
                  </a:lnTo>
                  <a:lnTo>
                    <a:pt x="3" y="5"/>
                  </a:lnTo>
                  <a:lnTo>
                    <a:pt x="3" y="5"/>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4" y="3"/>
                  </a:lnTo>
                  <a:lnTo>
                    <a:pt x="4" y="3"/>
                  </a:lnTo>
                  <a:lnTo>
                    <a:pt x="4" y="3"/>
                  </a:lnTo>
                  <a:lnTo>
                    <a:pt x="4" y="3"/>
                  </a:lnTo>
                  <a:lnTo>
                    <a:pt x="4" y="3"/>
                  </a:lnTo>
                  <a:lnTo>
                    <a:pt x="4" y="4"/>
                  </a:lnTo>
                  <a:lnTo>
                    <a:pt x="4" y="4"/>
                  </a:lnTo>
                  <a:lnTo>
                    <a:pt x="4" y="4"/>
                  </a:lnTo>
                  <a:lnTo>
                    <a:pt x="5" y="4"/>
                  </a:lnTo>
                  <a:lnTo>
                    <a:pt x="5" y="4"/>
                  </a:lnTo>
                  <a:lnTo>
                    <a:pt x="5" y="4"/>
                  </a:lnTo>
                  <a:lnTo>
                    <a:pt x="5" y="4"/>
                  </a:lnTo>
                  <a:lnTo>
                    <a:pt x="5" y="4"/>
                  </a:lnTo>
                  <a:lnTo>
                    <a:pt x="5" y="4"/>
                  </a:lnTo>
                  <a:lnTo>
                    <a:pt x="5" y="4"/>
                  </a:lnTo>
                  <a:lnTo>
                    <a:pt x="5" y="4"/>
                  </a:lnTo>
                  <a:lnTo>
                    <a:pt x="6" y="4"/>
                  </a:lnTo>
                  <a:lnTo>
                    <a:pt x="6" y="4"/>
                  </a:lnTo>
                  <a:lnTo>
                    <a:pt x="6" y="4"/>
                  </a:lnTo>
                  <a:lnTo>
                    <a:pt x="6" y="4"/>
                  </a:lnTo>
                  <a:lnTo>
                    <a:pt x="6" y="4"/>
                  </a:lnTo>
                  <a:lnTo>
                    <a:pt x="6" y="4"/>
                  </a:lnTo>
                  <a:lnTo>
                    <a:pt x="6" y="4"/>
                  </a:lnTo>
                  <a:lnTo>
                    <a:pt x="5" y="4"/>
                  </a:lnTo>
                  <a:lnTo>
                    <a:pt x="5" y="3"/>
                  </a:lnTo>
                  <a:lnTo>
                    <a:pt x="5" y="3"/>
                  </a:lnTo>
                  <a:lnTo>
                    <a:pt x="5" y="3"/>
                  </a:lnTo>
                  <a:lnTo>
                    <a:pt x="6" y="3"/>
                  </a:lnTo>
                  <a:lnTo>
                    <a:pt x="5" y="3"/>
                  </a:lnTo>
                  <a:lnTo>
                    <a:pt x="5" y="3"/>
                  </a:lnTo>
                  <a:lnTo>
                    <a:pt x="5" y="3"/>
                  </a:lnTo>
                  <a:lnTo>
                    <a:pt x="5" y="3"/>
                  </a:lnTo>
                  <a:lnTo>
                    <a:pt x="5" y="1"/>
                  </a:lnTo>
                  <a:lnTo>
                    <a:pt x="5" y="1"/>
                  </a:lnTo>
                  <a:lnTo>
                    <a:pt x="5" y="1"/>
                  </a:lnTo>
                  <a:lnTo>
                    <a:pt x="5" y="1"/>
                  </a:lnTo>
                  <a:lnTo>
                    <a:pt x="5" y="1"/>
                  </a:lnTo>
                  <a:lnTo>
                    <a:pt x="5" y="1"/>
                  </a:lnTo>
                  <a:lnTo>
                    <a:pt x="5" y="1"/>
                  </a:lnTo>
                  <a:lnTo>
                    <a:pt x="6" y="1"/>
                  </a:lnTo>
                  <a:lnTo>
                    <a:pt x="6" y="1"/>
                  </a:lnTo>
                  <a:lnTo>
                    <a:pt x="6" y="1"/>
                  </a:lnTo>
                  <a:lnTo>
                    <a:pt x="6" y="0"/>
                  </a:lnTo>
                  <a:lnTo>
                    <a:pt x="6" y="0"/>
                  </a:lnTo>
                  <a:lnTo>
                    <a:pt x="6" y="0"/>
                  </a:lnTo>
                  <a:lnTo>
                    <a:pt x="6" y="0"/>
                  </a:lnTo>
                  <a:lnTo>
                    <a:pt x="6" y="0"/>
                  </a:lnTo>
                  <a:lnTo>
                    <a:pt x="6"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62" name="Freeform 1227">
              <a:extLst>
                <a:ext uri="{FF2B5EF4-FFF2-40B4-BE49-F238E27FC236}">
                  <a16:creationId xmlns:a16="http://schemas.microsoft.com/office/drawing/2014/main" id="{50D8B096-28E4-461F-8A31-10252C918076}"/>
                </a:ext>
              </a:extLst>
            </p:cNvPr>
            <p:cNvSpPr>
              <a:spLocks/>
            </p:cNvSpPr>
            <p:nvPr/>
          </p:nvSpPr>
          <p:spPr bwMode="auto">
            <a:xfrm>
              <a:off x="5696918" y="2139911"/>
              <a:ext cx="1336" cy="0"/>
            </a:xfrm>
            <a:custGeom>
              <a:avLst/>
              <a:gdLst>
                <a:gd name="T0" fmla="*/ 1 w 1"/>
                <a:gd name="T1" fmla="*/ 0 w 1"/>
                <a:gd name="T2" fmla="*/ 0 w 1"/>
                <a:gd name="T3" fmla="*/ 1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lnTo>
                    <a:pt x="0" y="0"/>
                  </a:lnTo>
                  <a:lnTo>
                    <a:pt x="0"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63" name="Freeform 1228">
              <a:extLst>
                <a:ext uri="{FF2B5EF4-FFF2-40B4-BE49-F238E27FC236}">
                  <a16:creationId xmlns:a16="http://schemas.microsoft.com/office/drawing/2014/main" id="{33A2A991-0D5C-4817-8A24-FD8B1A9F58C7}"/>
                </a:ext>
              </a:extLst>
            </p:cNvPr>
            <p:cNvSpPr>
              <a:spLocks/>
            </p:cNvSpPr>
            <p:nvPr/>
          </p:nvSpPr>
          <p:spPr bwMode="auto">
            <a:xfrm>
              <a:off x="5676886" y="2138576"/>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64" name="Freeform 1229">
              <a:extLst>
                <a:ext uri="{FF2B5EF4-FFF2-40B4-BE49-F238E27FC236}">
                  <a16:creationId xmlns:a16="http://schemas.microsoft.com/office/drawing/2014/main" id="{B79C3DDC-0220-48B3-A2E4-05C1280FD83D}"/>
                </a:ext>
              </a:extLst>
            </p:cNvPr>
            <p:cNvSpPr>
              <a:spLocks/>
            </p:cNvSpPr>
            <p:nvPr/>
          </p:nvSpPr>
          <p:spPr bwMode="auto">
            <a:xfrm>
              <a:off x="5699589" y="2137240"/>
              <a:ext cx="1336" cy="0"/>
            </a:xfrm>
            <a:custGeom>
              <a:avLst/>
              <a:gdLst>
                <a:gd name="T0" fmla="*/ 1 w 1"/>
                <a:gd name="T1" fmla="*/ 0 w 1"/>
                <a:gd name="T2" fmla="*/ 0 w 1"/>
                <a:gd name="T3" fmla="*/ 0 w 1"/>
                <a:gd name="T4" fmla="*/ 0 w 1"/>
                <a:gd name="T5" fmla="*/ 0 w 1"/>
                <a:gd name="T6" fmla="*/ 0 w 1"/>
                <a:gd name="T7" fmla="*/ 0 w 1"/>
                <a:gd name="T8" fmla="*/ 0 w 1"/>
                <a:gd name="T9" fmla="*/ 0 w 1"/>
                <a:gd name="T10" fmla="*/ 0 w 1"/>
                <a:gd name="T11" fmla="*/ 0 w 1"/>
                <a:gd name="T12" fmla="*/ 0 w 1"/>
                <a:gd name="T13" fmla="*/ 0 w 1"/>
                <a:gd name="T14"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Lst>
              <a:rect l="0" t="0" r="r" b="b"/>
              <a:pathLst>
                <a:path w="1">
                  <a:moveTo>
                    <a:pt x="1"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65" name="Freeform 1230">
              <a:extLst>
                <a:ext uri="{FF2B5EF4-FFF2-40B4-BE49-F238E27FC236}">
                  <a16:creationId xmlns:a16="http://schemas.microsoft.com/office/drawing/2014/main" id="{E6E1F6F3-12A6-409A-B97C-97B0F6A43FC2}"/>
                </a:ext>
              </a:extLst>
            </p:cNvPr>
            <p:cNvSpPr>
              <a:spLocks/>
            </p:cNvSpPr>
            <p:nvPr/>
          </p:nvSpPr>
          <p:spPr bwMode="auto">
            <a:xfrm>
              <a:off x="5702260" y="2129227"/>
              <a:ext cx="2671" cy="1336"/>
            </a:xfrm>
            <a:custGeom>
              <a:avLst/>
              <a:gdLst>
                <a:gd name="T0" fmla="*/ 0 w 2"/>
                <a:gd name="T1" fmla="*/ 0 h 1"/>
                <a:gd name="T2" fmla="*/ 0 w 2"/>
                <a:gd name="T3" fmla="*/ 1 h 1"/>
                <a:gd name="T4" fmla="*/ 0 w 2"/>
                <a:gd name="T5" fmla="*/ 1 h 1"/>
                <a:gd name="T6" fmla="*/ 2 w 2"/>
                <a:gd name="T7" fmla="*/ 1 h 1"/>
                <a:gd name="T8" fmla="*/ 2 w 2"/>
                <a:gd name="T9" fmla="*/ 1 h 1"/>
                <a:gd name="T10" fmla="*/ 2 w 2"/>
                <a:gd name="T11" fmla="*/ 1 h 1"/>
                <a:gd name="T12" fmla="*/ 2 w 2"/>
                <a:gd name="T13" fmla="*/ 1 h 1"/>
                <a:gd name="T14" fmla="*/ 0 w 2"/>
                <a:gd name="T15" fmla="*/ 1 h 1"/>
                <a:gd name="T16" fmla="*/ 0 w 2"/>
                <a:gd name="T17" fmla="*/ 1 h 1"/>
                <a:gd name="T18" fmla="*/ 0 w 2"/>
                <a:gd name="T19" fmla="*/ 1 h 1"/>
                <a:gd name="T20" fmla="*/ 0 w 2"/>
                <a:gd name="T21" fmla="*/ 1 h 1"/>
                <a:gd name="T22" fmla="*/ 0 w 2"/>
                <a:gd name="T23" fmla="*/ 1 h 1"/>
                <a:gd name="T24" fmla="*/ 0 w 2"/>
                <a:gd name="T25" fmla="*/ 1 h 1"/>
                <a:gd name="T26" fmla="*/ 0 w 2"/>
                <a:gd name="T27" fmla="*/ 1 h 1"/>
                <a:gd name="T28" fmla="*/ 0 w 2"/>
                <a:gd name="T29" fmla="*/ 0 h 1"/>
                <a:gd name="T30" fmla="*/ 0 w 2"/>
                <a:gd name="T31" fmla="*/ 0 h 1"/>
                <a:gd name="T32" fmla="*/ 0 w 2"/>
                <a:gd name="T3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 h="1">
                  <a:moveTo>
                    <a:pt x="0" y="0"/>
                  </a:moveTo>
                  <a:lnTo>
                    <a:pt x="0" y="1"/>
                  </a:lnTo>
                  <a:lnTo>
                    <a:pt x="0" y="1"/>
                  </a:lnTo>
                  <a:lnTo>
                    <a:pt x="2" y="1"/>
                  </a:lnTo>
                  <a:lnTo>
                    <a:pt x="2" y="1"/>
                  </a:lnTo>
                  <a:lnTo>
                    <a:pt x="2" y="1"/>
                  </a:lnTo>
                  <a:lnTo>
                    <a:pt x="2" y="1"/>
                  </a:lnTo>
                  <a:lnTo>
                    <a:pt x="0" y="1"/>
                  </a:lnTo>
                  <a:lnTo>
                    <a:pt x="0" y="1"/>
                  </a:lnTo>
                  <a:lnTo>
                    <a:pt x="0" y="1"/>
                  </a:lnTo>
                  <a:lnTo>
                    <a:pt x="0" y="1"/>
                  </a:lnTo>
                  <a:lnTo>
                    <a:pt x="0" y="1"/>
                  </a:lnTo>
                  <a:lnTo>
                    <a:pt x="0" y="1"/>
                  </a:lnTo>
                  <a:lnTo>
                    <a:pt x="0" y="1"/>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66" name="Freeform 1231">
              <a:extLst>
                <a:ext uri="{FF2B5EF4-FFF2-40B4-BE49-F238E27FC236}">
                  <a16:creationId xmlns:a16="http://schemas.microsoft.com/office/drawing/2014/main" id="{242050D4-6D7B-448E-9A14-857DA2E3CF2E}"/>
                </a:ext>
              </a:extLst>
            </p:cNvPr>
            <p:cNvSpPr>
              <a:spLocks/>
            </p:cNvSpPr>
            <p:nvPr/>
          </p:nvSpPr>
          <p:spPr bwMode="auto">
            <a:xfrm>
              <a:off x="5698254" y="2125221"/>
              <a:ext cx="16026" cy="14691"/>
            </a:xfrm>
            <a:custGeom>
              <a:avLst/>
              <a:gdLst>
                <a:gd name="T0" fmla="*/ 10 w 12"/>
                <a:gd name="T1" fmla="*/ 3 h 11"/>
                <a:gd name="T2" fmla="*/ 10 w 12"/>
                <a:gd name="T3" fmla="*/ 3 h 11"/>
                <a:gd name="T4" fmla="*/ 9 w 12"/>
                <a:gd name="T5" fmla="*/ 4 h 11"/>
                <a:gd name="T6" fmla="*/ 10 w 12"/>
                <a:gd name="T7" fmla="*/ 4 h 11"/>
                <a:gd name="T8" fmla="*/ 12 w 12"/>
                <a:gd name="T9" fmla="*/ 4 h 11"/>
                <a:gd name="T10" fmla="*/ 12 w 12"/>
                <a:gd name="T11" fmla="*/ 4 h 11"/>
                <a:gd name="T12" fmla="*/ 10 w 12"/>
                <a:gd name="T13" fmla="*/ 4 h 11"/>
                <a:gd name="T14" fmla="*/ 9 w 12"/>
                <a:gd name="T15" fmla="*/ 4 h 11"/>
                <a:gd name="T16" fmla="*/ 9 w 12"/>
                <a:gd name="T17" fmla="*/ 5 h 11"/>
                <a:gd name="T18" fmla="*/ 7 w 12"/>
                <a:gd name="T19" fmla="*/ 5 h 11"/>
                <a:gd name="T20" fmla="*/ 6 w 12"/>
                <a:gd name="T21" fmla="*/ 7 h 11"/>
                <a:gd name="T22" fmla="*/ 9 w 12"/>
                <a:gd name="T23" fmla="*/ 5 h 11"/>
                <a:gd name="T24" fmla="*/ 9 w 12"/>
                <a:gd name="T25" fmla="*/ 7 h 11"/>
                <a:gd name="T26" fmla="*/ 9 w 12"/>
                <a:gd name="T27" fmla="*/ 7 h 11"/>
                <a:gd name="T28" fmla="*/ 7 w 12"/>
                <a:gd name="T29" fmla="*/ 7 h 11"/>
                <a:gd name="T30" fmla="*/ 8 w 12"/>
                <a:gd name="T31" fmla="*/ 8 h 11"/>
                <a:gd name="T32" fmla="*/ 7 w 12"/>
                <a:gd name="T33" fmla="*/ 8 h 11"/>
                <a:gd name="T34" fmla="*/ 7 w 12"/>
                <a:gd name="T35" fmla="*/ 8 h 11"/>
                <a:gd name="T36" fmla="*/ 6 w 12"/>
                <a:gd name="T37" fmla="*/ 8 h 11"/>
                <a:gd name="T38" fmla="*/ 6 w 12"/>
                <a:gd name="T39" fmla="*/ 9 h 11"/>
                <a:gd name="T40" fmla="*/ 6 w 12"/>
                <a:gd name="T41" fmla="*/ 8 h 11"/>
                <a:gd name="T42" fmla="*/ 6 w 12"/>
                <a:gd name="T43" fmla="*/ 7 h 11"/>
                <a:gd name="T44" fmla="*/ 5 w 12"/>
                <a:gd name="T45" fmla="*/ 7 h 11"/>
                <a:gd name="T46" fmla="*/ 5 w 12"/>
                <a:gd name="T47" fmla="*/ 8 h 11"/>
                <a:gd name="T48" fmla="*/ 6 w 12"/>
                <a:gd name="T49" fmla="*/ 9 h 11"/>
                <a:gd name="T50" fmla="*/ 6 w 12"/>
                <a:gd name="T51" fmla="*/ 9 h 11"/>
                <a:gd name="T52" fmla="*/ 3 w 12"/>
                <a:gd name="T53" fmla="*/ 9 h 11"/>
                <a:gd name="T54" fmla="*/ 5 w 12"/>
                <a:gd name="T55" fmla="*/ 10 h 11"/>
                <a:gd name="T56" fmla="*/ 5 w 12"/>
                <a:gd name="T57" fmla="*/ 10 h 11"/>
                <a:gd name="T58" fmla="*/ 3 w 12"/>
                <a:gd name="T59" fmla="*/ 10 h 11"/>
                <a:gd name="T60" fmla="*/ 3 w 12"/>
                <a:gd name="T61" fmla="*/ 10 h 11"/>
                <a:gd name="T62" fmla="*/ 1 w 12"/>
                <a:gd name="T63" fmla="*/ 11 h 11"/>
                <a:gd name="T64" fmla="*/ 0 w 12"/>
                <a:gd name="T65" fmla="*/ 10 h 11"/>
                <a:gd name="T66" fmla="*/ 1 w 12"/>
                <a:gd name="T67" fmla="*/ 9 h 11"/>
                <a:gd name="T68" fmla="*/ 2 w 12"/>
                <a:gd name="T69" fmla="*/ 9 h 11"/>
                <a:gd name="T70" fmla="*/ 3 w 12"/>
                <a:gd name="T71" fmla="*/ 9 h 11"/>
                <a:gd name="T72" fmla="*/ 2 w 12"/>
                <a:gd name="T73" fmla="*/ 8 h 11"/>
                <a:gd name="T74" fmla="*/ 1 w 12"/>
                <a:gd name="T75" fmla="*/ 8 h 11"/>
                <a:gd name="T76" fmla="*/ 1 w 12"/>
                <a:gd name="T77" fmla="*/ 7 h 11"/>
                <a:gd name="T78" fmla="*/ 1 w 12"/>
                <a:gd name="T79" fmla="*/ 7 h 11"/>
                <a:gd name="T80" fmla="*/ 1 w 12"/>
                <a:gd name="T81" fmla="*/ 7 h 11"/>
                <a:gd name="T82" fmla="*/ 1 w 12"/>
                <a:gd name="T83" fmla="*/ 7 h 11"/>
                <a:gd name="T84" fmla="*/ 1 w 12"/>
                <a:gd name="T85" fmla="*/ 5 h 11"/>
                <a:gd name="T86" fmla="*/ 0 w 12"/>
                <a:gd name="T87" fmla="*/ 5 h 11"/>
                <a:gd name="T88" fmla="*/ 1 w 12"/>
                <a:gd name="T89" fmla="*/ 4 h 11"/>
                <a:gd name="T90" fmla="*/ 1 w 12"/>
                <a:gd name="T91" fmla="*/ 4 h 11"/>
                <a:gd name="T92" fmla="*/ 1 w 12"/>
                <a:gd name="T93" fmla="*/ 4 h 11"/>
                <a:gd name="T94" fmla="*/ 3 w 12"/>
                <a:gd name="T95" fmla="*/ 4 h 11"/>
                <a:gd name="T96" fmla="*/ 3 w 12"/>
                <a:gd name="T97" fmla="*/ 5 h 11"/>
                <a:gd name="T98" fmla="*/ 3 w 12"/>
                <a:gd name="T99" fmla="*/ 5 h 11"/>
                <a:gd name="T100" fmla="*/ 3 w 12"/>
                <a:gd name="T101" fmla="*/ 4 h 11"/>
                <a:gd name="T102" fmla="*/ 5 w 12"/>
                <a:gd name="T103" fmla="*/ 4 h 11"/>
                <a:gd name="T104" fmla="*/ 5 w 12"/>
                <a:gd name="T105" fmla="*/ 4 h 11"/>
                <a:gd name="T106" fmla="*/ 5 w 12"/>
                <a:gd name="T107" fmla="*/ 4 h 11"/>
                <a:gd name="T108" fmla="*/ 5 w 12"/>
                <a:gd name="T109" fmla="*/ 3 h 11"/>
                <a:gd name="T110" fmla="*/ 5 w 12"/>
                <a:gd name="T111" fmla="*/ 3 h 11"/>
                <a:gd name="T112" fmla="*/ 6 w 12"/>
                <a:gd name="T113" fmla="*/ 2 h 11"/>
                <a:gd name="T114" fmla="*/ 10 w 12"/>
                <a:gd name="T115" fmla="*/ 0 h 11"/>
                <a:gd name="T116" fmla="*/ 12 w 12"/>
                <a:gd name="T117" fmla="*/ 1 h 11"/>
                <a:gd name="T118" fmla="*/ 10 w 12"/>
                <a:gd name="T119"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 h="11">
                  <a:moveTo>
                    <a:pt x="12" y="2"/>
                  </a:moveTo>
                  <a:lnTo>
                    <a:pt x="12" y="2"/>
                  </a:lnTo>
                  <a:lnTo>
                    <a:pt x="12" y="2"/>
                  </a:lnTo>
                  <a:lnTo>
                    <a:pt x="12" y="2"/>
                  </a:lnTo>
                  <a:lnTo>
                    <a:pt x="12" y="2"/>
                  </a:lnTo>
                  <a:lnTo>
                    <a:pt x="10" y="3"/>
                  </a:lnTo>
                  <a:lnTo>
                    <a:pt x="10" y="3"/>
                  </a:lnTo>
                  <a:lnTo>
                    <a:pt x="10" y="3"/>
                  </a:lnTo>
                  <a:lnTo>
                    <a:pt x="10" y="3"/>
                  </a:lnTo>
                  <a:lnTo>
                    <a:pt x="10" y="3"/>
                  </a:lnTo>
                  <a:lnTo>
                    <a:pt x="10" y="3"/>
                  </a:lnTo>
                  <a:lnTo>
                    <a:pt x="10" y="3"/>
                  </a:lnTo>
                  <a:lnTo>
                    <a:pt x="10" y="3"/>
                  </a:lnTo>
                  <a:lnTo>
                    <a:pt x="9" y="3"/>
                  </a:lnTo>
                  <a:lnTo>
                    <a:pt x="9" y="3"/>
                  </a:lnTo>
                  <a:lnTo>
                    <a:pt x="9" y="3"/>
                  </a:lnTo>
                  <a:lnTo>
                    <a:pt x="9" y="4"/>
                  </a:lnTo>
                  <a:lnTo>
                    <a:pt x="9" y="4"/>
                  </a:lnTo>
                  <a:lnTo>
                    <a:pt x="9" y="4"/>
                  </a:lnTo>
                  <a:lnTo>
                    <a:pt x="9" y="4"/>
                  </a:lnTo>
                  <a:lnTo>
                    <a:pt x="9" y="4"/>
                  </a:lnTo>
                  <a:lnTo>
                    <a:pt x="9" y="4"/>
                  </a:lnTo>
                  <a:lnTo>
                    <a:pt x="10" y="4"/>
                  </a:lnTo>
                  <a:lnTo>
                    <a:pt x="10" y="4"/>
                  </a:lnTo>
                  <a:lnTo>
                    <a:pt x="12" y="3"/>
                  </a:lnTo>
                  <a:lnTo>
                    <a:pt x="12" y="3"/>
                  </a:lnTo>
                  <a:lnTo>
                    <a:pt x="12" y="3"/>
                  </a:lnTo>
                  <a:lnTo>
                    <a:pt x="12" y="3"/>
                  </a:lnTo>
                  <a:lnTo>
                    <a:pt x="12" y="3"/>
                  </a:lnTo>
                  <a:lnTo>
                    <a:pt x="12" y="4"/>
                  </a:lnTo>
                  <a:lnTo>
                    <a:pt x="12" y="4"/>
                  </a:lnTo>
                  <a:lnTo>
                    <a:pt x="12" y="4"/>
                  </a:lnTo>
                  <a:lnTo>
                    <a:pt x="12" y="4"/>
                  </a:lnTo>
                  <a:lnTo>
                    <a:pt x="12" y="4"/>
                  </a:lnTo>
                  <a:lnTo>
                    <a:pt x="12" y="4"/>
                  </a:lnTo>
                  <a:lnTo>
                    <a:pt x="12" y="4"/>
                  </a:lnTo>
                  <a:lnTo>
                    <a:pt x="12" y="4"/>
                  </a:lnTo>
                  <a:lnTo>
                    <a:pt x="10" y="4"/>
                  </a:lnTo>
                  <a:lnTo>
                    <a:pt x="10" y="4"/>
                  </a:lnTo>
                  <a:lnTo>
                    <a:pt x="10" y="4"/>
                  </a:lnTo>
                  <a:lnTo>
                    <a:pt x="10" y="4"/>
                  </a:lnTo>
                  <a:lnTo>
                    <a:pt x="10" y="4"/>
                  </a:lnTo>
                  <a:lnTo>
                    <a:pt x="10" y="4"/>
                  </a:lnTo>
                  <a:lnTo>
                    <a:pt x="10" y="4"/>
                  </a:lnTo>
                  <a:lnTo>
                    <a:pt x="10" y="4"/>
                  </a:lnTo>
                  <a:lnTo>
                    <a:pt x="9" y="4"/>
                  </a:lnTo>
                  <a:lnTo>
                    <a:pt x="9" y="4"/>
                  </a:lnTo>
                  <a:lnTo>
                    <a:pt x="9" y="4"/>
                  </a:lnTo>
                  <a:lnTo>
                    <a:pt x="8" y="4"/>
                  </a:lnTo>
                  <a:lnTo>
                    <a:pt x="9" y="4"/>
                  </a:lnTo>
                  <a:lnTo>
                    <a:pt x="9" y="5"/>
                  </a:lnTo>
                  <a:lnTo>
                    <a:pt x="9" y="5"/>
                  </a:lnTo>
                  <a:lnTo>
                    <a:pt x="9" y="5"/>
                  </a:lnTo>
                  <a:lnTo>
                    <a:pt x="9" y="5"/>
                  </a:lnTo>
                  <a:lnTo>
                    <a:pt x="9" y="5"/>
                  </a:lnTo>
                  <a:lnTo>
                    <a:pt x="9" y="5"/>
                  </a:lnTo>
                  <a:lnTo>
                    <a:pt x="8" y="5"/>
                  </a:lnTo>
                  <a:lnTo>
                    <a:pt x="8" y="5"/>
                  </a:lnTo>
                  <a:lnTo>
                    <a:pt x="8" y="5"/>
                  </a:lnTo>
                  <a:lnTo>
                    <a:pt x="7" y="5"/>
                  </a:lnTo>
                  <a:lnTo>
                    <a:pt x="7" y="5"/>
                  </a:lnTo>
                  <a:lnTo>
                    <a:pt x="7" y="5"/>
                  </a:lnTo>
                  <a:lnTo>
                    <a:pt x="7" y="5"/>
                  </a:lnTo>
                  <a:lnTo>
                    <a:pt x="6" y="7"/>
                  </a:lnTo>
                  <a:lnTo>
                    <a:pt x="6" y="7"/>
                  </a:lnTo>
                  <a:lnTo>
                    <a:pt x="6" y="7"/>
                  </a:lnTo>
                  <a:lnTo>
                    <a:pt x="7" y="7"/>
                  </a:lnTo>
                  <a:lnTo>
                    <a:pt x="8" y="5"/>
                  </a:lnTo>
                  <a:lnTo>
                    <a:pt x="8" y="5"/>
                  </a:lnTo>
                  <a:lnTo>
                    <a:pt x="8" y="5"/>
                  </a:lnTo>
                  <a:lnTo>
                    <a:pt x="8" y="5"/>
                  </a:lnTo>
                  <a:lnTo>
                    <a:pt x="9" y="5"/>
                  </a:lnTo>
                  <a:lnTo>
                    <a:pt x="9" y="7"/>
                  </a:lnTo>
                  <a:lnTo>
                    <a:pt x="9" y="7"/>
                  </a:lnTo>
                  <a:lnTo>
                    <a:pt x="9" y="7"/>
                  </a:lnTo>
                  <a:lnTo>
                    <a:pt x="9" y="7"/>
                  </a:lnTo>
                  <a:lnTo>
                    <a:pt x="9" y="7"/>
                  </a:lnTo>
                  <a:lnTo>
                    <a:pt x="9" y="7"/>
                  </a:lnTo>
                  <a:lnTo>
                    <a:pt x="8" y="7"/>
                  </a:lnTo>
                  <a:lnTo>
                    <a:pt x="8" y="7"/>
                  </a:lnTo>
                  <a:lnTo>
                    <a:pt x="9" y="7"/>
                  </a:lnTo>
                  <a:lnTo>
                    <a:pt x="9" y="7"/>
                  </a:lnTo>
                  <a:lnTo>
                    <a:pt x="9" y="7"/>
                  </a:lnTo>
                  <a:lnTo>
                    <a:pt x="9" y="7"/>
                  </a:lnTo>
                  <a:lnTo>
                    <a:pt x="9" y="7"/>
                  </a:lnTo>
                  <a:lnTo>
                    <a:pt x="9" y="7"/>
                  </a:lnTo>
                  <a:lnTo>
                    <a:pt x="8" y="8"/>
                  </a:lnTo>
                  <a:lnTo>
                    <a:pt x="8" y="8"/>
                  </a:lnTo>
                  <a:lnTo>
                    <a:pt x="7" y="7"/>
                  </a:lnTo>
                  <a:lnTo>
                    <a:pt x="7" y="7"/>
                  </a:lnTo>
                  <a:lnTo>
                    <a:pt x="7" y="7"/>
                  </a:lnTo>
                  <a:lnTo>
                    <a:pt x="7" y="7"/>
                  </a:lnTo>
                  <a:lnTo>
                    <a:pt x="7" y="8"/>
                  </a:lnTo>
                  <a:lnTo>
                    <a:pt x="7" y="8"/>
                  </a:lnTo>
                  <a:lnTo>
                    <a:pt x="7" y="8"/>
                  </a:lnTo>
                  <a:lnTo>
                    <a:pt x="8" y="8"/>
                  </a:lnTo>
                  <a:lnTo>
                    <a:pt x="8" y="8"/>
                  </a:lnTo>
                  <a:lnTo>
                    <a:pt x="8" y="8"/>
                  </a:lnTo>
                  <a:lnTo>
                    <a:pt x="8" y="8"/>
                  </a:lnTo>
                  <a:lnTo>
                    <a:pt x="8" y="8"/>
                  </a:lnTo>
                  <a:lnTo>
                    <a:pt x="7" y="8"/>
                  </a:lnTo>
                  <a:lnTo>
                    <a:pt x="7" y="8"/>
                  </a:lnTo>
                  <a:lnTo>
                    <a:pt x="7" y="8"/>
                  </a:lnTo>
                  <a:lnTo>
                    <a:pt x="7" y="8"/>
                  </a:lnTo>
                  <a:lnTo>
                    <a:pt x="7" y="8"/>
                  </a:lnTo>
                  <a:lnTo>
                    <a:pt x="7" y="8"/>
                  </a:lnTo>
                  <a:lnTo>
                    <a:pt x="7" y="8"/>
                  </a:lnTo>
                  <a:lnTo>
                    <a:pt x="7" y="8"/>
                  </a:lnTo>
                  <a:lnTo>
                    <a:pt x="7" y="9"/>
                  </a:lnTo>
                  <a:lnTo>
                    <a:pt x="7" y="9"/>
                  </a:lnTo>
                  <a:lnTo>
                    <a:pt x="7" y="9"/>
                  </a:lnTo>
                  <a:lnTo>
                    <a:pt x="7" y="9"/>
                  </a:lnTo>
                  <a:lnTo>
                    <a:pt x="6" y="9"/>
                  </a:lnTo>
                  <a:lnTo>
                    <a:pt x="6" y="8"/>
                  </a:lnTo>
                  <a:lnTo>
                    <a:pt x="6" y="8"/>
                  </a:lnTo>
                  <a:lnTo>
                    <a:pt x="6" y="8"/>
                  </a:lnTo>
                  <a:lnTo>
                    <a:pt x="6" y="8"/>
                  </a:lnTo>
                  <a:lnTo>
                    <a:pt x="6" y="8"/>
                  </a:lnTo>
                  <a:lnTo>
                    <a:pt x="6" y="8"/>
                  </a:lnTo>
                  <a:lnTo>
                    <a:pt x="6" y="9"/>
                  </a:lnTo>
                  <a:lnTo>
                    <a:pt x="6" y="9"/>
                  </a:lnTo>
                  <a:lnTo>
                    <a:pt x="6" y="9"/>
                  </a:lnTo>
                  <a:lnTo>
                    <a:pt x="6" y="9"/>
                  </a:lnTo>
                  <a:lnTo>
                    <a:pt x="6" y="9"/>
                  </a:lnTo>
                  <a:lnTo>
                    <a:pt x="6" y="8"/>
                  </a:lnTo>
                  <a:lnTo>
                    <a:pt x="6" y="8"/>
                  </a:lnTo>
                  <a:lnTo>
                    <a:pt x="5" y="8"/>
                  </a:lnTo>
                  <a:lnTo>
                    <a:pt x="5" y="8"/>
                  </a:lnTo>
                  <a:lnTo>
                    <a:pt x="5" y="8"/>
                  </a:lnTo>
                  <a:lnTo>
                    <a:pt x="6" y="7"/>
                  </a:lnTo>
                  <a:lnTo>
                    <a:pt x="6" y="7"/>
                  </a:lnTo>
                  <a:lnTo>
                    <a:pt x="6" y="7"/>
                  </a:lnTo>
                  <a:lnTo>
                    <a:pt x="7" y="7"/>
                  </a:lnTo>
                  <a:lnTo>
                    <a:pt x="7" y="7"/>
                  </a:lnTo>
                  <a:lnTo>
                    <a:pt x="6" y="7"/>
                  </a:lnTo>
                  <a:lnTo>
                    <a:pt x="6" y="7"/>
                  </a:lnTo>
                  <a:lnTo>
                    <a:pt x="6" y="7"/>
                  </a:lnTo>
                  <a:lnTo>
                    <a:pt x="5" y="7"/>
                  </a:lnTo>
                  <a:lnTo>
                    <a:pt x="5" y="7"/>
                  </a:lnTo>
                  <a:lnTo>
                    <a:pt x="5" y="8"/>
                  </a:lnTo>
                  <a:lnTo>
                    <a:pt x="5" y="8"/>
                  </a:lnTo>
                  <a:lnTo>
                    <a:pt x="5" y="8"/>
                  </a:lnTo>
                  <a:lnTo>
                    <a:pt x="5" y="8"/>
                  </a:lnTo>
                  <a:lnTo>
                    <a:pt x="5" y="8"/>
                  </a:lnTo>
                  <a:lnTo>
                    <a:pt x="5" y="8"/>
                  </a:lnTo>
                  <a:lnTo>
                    <a:pt x="6" y="8"/>
                  </a:lnTo>
                  <a:lnTo>
                    <a:pt x="6" y="9"/>
                  </a:lnTo>
                  <a:lnTo>
                    <a:pt x="6" y="9"/>
                  </a:lnTo>
                  <a:lnTo>
                    <a:pt x="6" y="9"/>
                  </a:lnTo>
                  <a:lnTo>
                    <a:pt x="6" y="9"/>
                  </a:lnTo>
                  <a:lnTo>
                    <a:pt x="5" y="9"/>
                  </a:lnTo>
                  <a:lnTo>
                    <a:pt x="6" y="9"/>
                  </a:lnTo>
                  <a:lnTo>
                    <a:pt x="6" y="9"/>
                  </a:lnTo>
                  <a:lnTo>
                    <a:pt x="6" y="9"/>
                  </a:lnTo>
                  <a:lnTo>
                    <a:pt x="6" y="9"/>
                  </a:lnTo>
                  <a:lnTo>
                    <a:pt x="6" y="9"/>
                  </a:lnTo>
                  <a:lnTo>
                    <a:pt x="6" y="9"/>
                  </a:lnTo>
                  <a:lnTo>
                    <a:pt x="5" y="9"/>
                  </a:lnTo>
                  <a:lnTo>
                    <a:pt x="5" y="9"/>
                  </a:lnTo>
                  <a:lnTo>
                    <a:pt x="5" y="9"/>
                  </a:lnTo>
                  <a:lnTo>
                    <a:pt x="3" y="9"/>
                  </a:lnTo>
                  <a:lnTo>
                    <a:pt x="3" y="9"/>
                  </a:lnTo>
                  <a:lnTo>
                    <a:pt x="3" y="9"/>
                  </a:lnTo>
                  <a:lnTo>
                    <a:pt x="3" y="9"/>
                  </a:lnTo>
                  <a:lnTo>
                    <a:pt x="5" y="9"/>
                  </a:lnTo>
                  <a:lnTo>
                    <a:pt x="5" y="9"/>
                  </a:lnTo>
                  <a:lnTo>
                    <a:pt x="5" y="10"/>
                  </a:lnTo>
                  <a:lnTo>
                    <a:pt x="5" y="10"/>
                  </a:lnTo>
                  <a:lnTo>
                    <a:pt x="5" y="10"/>
                  </a:lnTo>
                  <a:lnTo>
                    <a:pt x="5" y="10"/>
                  </a:lnTo>
                  <a:lnTo>
                    <a:pt x="5" y="10"/>
                  </a:lnTo>
                  <a:lnTo>
                    <a:pt x="3" y="10"/>
                  </a:lnTo>
                  <a:lnTo>
                    <a:pt x="3" y="10"/>
                  </a:lnTo>
                  <a:lnTo>
                    <a:pt x="5" y="10"/>
                  </a:lnTo>
                  <a:lnTo>
                    <a:pt x="5" y="10"/>
                  </a:lnTo>
                  <a:lnTo>
                    <a:pt x="3" y="10"/>
                  </a:lnTo>
                  <a:lnTo>
                    <a:pt x="3" y="10"/>
                  </a:lnTo>
                  <a:lnTo>
                    <a:pt x="3" y="10"/>
                  </a:lnTo>
                  <a:lnTo>
                    <a:pt x="3" y="10"/>
                  </a:lnTo>
                  <a:lnTo>
                    <a:pt x="3" y="10"/>
                  </a:lnTo>
                  <a:lnTo>
                    <a:pt x="3" y="10"/>
                  </a:lnTo>
                  <a:lnTo>
                    <a:pt x="3" y="10"/>
                  </a:lnTo>
                  <a:lnTo>
                    <a:pt x="3" y="10"/>
                  </a:lnTo>
                  <a:lnTo>
                    <a:pt x="2" y="10"/>
                  </a:lnTo>
                  <a:lnTo>
                    <a:pt x="3" y="10"/>
                  </a:lnTo>
                  <a:lnTo>
                    <a:pt x="3" y="10"/>
                  </a:lnTo>
                  <a:lnTo>
                    <a:pt x="3" y="10"/>
                  </a:lnTo>
                  <a:lnTo>
                    <a:pt x="2" y="11"/>
                  </a:lnTo>
                  <a:lnTo>
                    <a:pt x="2" y="11"/>
                  </a:lnTo>
                  <a:lnTo>
                    <a:pt x="2" y="11"/>
                  </a:lnTo>
                  <a:lnTo>
                    <a:pt x="2" y="11"/>
                  </a:lnTo>
                  <a:lnTo>
                    <a:pt x="1" y="11"/>
                  </a:lnTo>
                  <a:lnTo>
                    <a:pt x="1" y="10"/>
                  </a:lnTo>
                  <a:lnTo>
                    <a:pt x="0" y="10"/>
                  </a:lnTo>
                  <a:lnTo>
                    <a:pt x="0" y="10"/>
                  </a:lnTo>
                  <a:lnTo>
                    <a:pt x="0" y="10"/>
                  </a:lnTo>
                  <a:lnTo>
                    <a:pt x="0" y="10"/>
                  </a:lnTo>
                  <a:lnTo>
                    <a:pt x="0" y="10"/>
                  </a:lnTo>
                  <a:lnTo>
                    <a:pt x="0" y="10"/>
                  </a:lnTo>
                  <a:lnTo>
                    <a:pt x="0" y="10"/>
                  </a:lnTo>
                  <a:lnTo>
                    <a:pt x="1" y="10"/>
                  </a:lnTo>
                  <a:lnTo>
                    <a:pt x="1" y="10"/>
                  </a:lnTo>
                  <a:lnTo>
                    <a:pt x="1" y="10"/>
                  </a:lnTo>
                  <a:lnTo>
                    <a:pt x="1" y="9"/>
                  </a:lnTo>
                  <a:lnTo>
                    <a:pt x="2" y="9"/>
                  </a:lnTo>
                  <a:lnTo>
                    <a:pt x="2" y="9"/>
                  </a:lnTo>
                  <a:lnTo>
                    <a:pt x="2" y="9"/>
                  </a:lnTo>
                  <a:lnTo>
                    <a:pt x="2" y="9"/>
                  </a:lnTo>
                  <a:lnTo>
                    <a:pt x="2" y="9"/>
                  </a:lnTo>
                  <a:lnTo>
                    <a:pt x="2" y="9"/>
                  </a:lnTo>
                  <a:lnTo>
                    <a:pt x="3" y="9"/>
                  </a:lnTo>
                  <a:lnTo>
                    <a:pt x="3" y="9"/>
                  </a:lnTo>
                  <a:lnTo>
                    <a:pt x="3" y="9"/>
                  </a:lnTo>
                  <a:lnTo>
                    <a:pt x="3" y="9"/>
                  </a:lnTo>
                  <a:lnTo>
                    <a:pt x="3" y="9"/>
                  </a:lnTo>
                  <a:lnTo>
                    <a:pt x="3" y="9"/>
                  </a:lnTo>
                  <a:lnTo>
                    <a:pt x="3" y="9"/>
                  </a:lnTo>
                  <a:lnTo>
                    <a:pt x="3" y="9"/>
                  </a:lnTo>
                  <a:lnTo>
                    <a:pt x="3" y="9"/>
                  </a:lnTo>
                  <a:lnTo>
                    <a:pt x="3" y="9"/>
                  </a:lnTo>
                  <a:lnTo>
                    <a:pt x="3" y="8"/>
                  </a:lnTo>
                  <a:lnTo>
                    <a:pt x="2" y="8"/>
                  </a:lnTo>
                  <a:lnTo>
                    <a:pt x="2" y="8"/>
                  </a:lnTo>
                  <a:lnTo>
                    <a:pt x="2" y="8"/>
                  </a:lnTo>
                  <a:lnTo>
                    <a:pt x="2" y="8"/>
                  </a:lnTo>
                  <a:lnTo>
                    <a:pt x="1" y="8"/>
                  </a:lnTo>
                  <a:lnTo>
                    <a:pt x="1" y="8"/>
                  </a:lnTo>
                  <a:lnTo>
                    <a:pt x="1" y="8"/>
                  </a:lnTo>
                  <a:lnTo>
                    <a:pt x="1" y="8"/>
                  </a:lnTo>
                  <a:lnTo>
                    <a:pt x="1" y="8"/>
                  </a:lnTo>
                  <a:lnTo>
                    <a:pt x="0" y="8"/>
                  </a:lnTo>
                  <a:lnTo>
                    <a:pt x="1" y="8"/>
                  </a:lnTo>
                  <a:lnTo>
                    <a:pt x="1" y="8"/>
                  </a:lnTo>
                  <a:lnTo>
                    <a:pt x="1" y="7"/>
                  </a:lnTo>
                  <a:lnTo>
                    <a:pt x="1" y="7"/>
                  </a:lnTo>
                  <a:lnTo>
                    <a:pt x="1" y="7"/>
                  </a:lnTo>
                  <a:lnTo>
                    <a:pt x="1" y="7"/>
                  </a:lnTo>
                  <a:lnTo>
                    <a:pt x="1" y="7"/>
                  </a:lnTo>
                  <a:lnTo>
                    <a:pt x="1" y="7"/>
                  </a:lnTo>
                  <a:lnTo>
                    <a:pt x="1" y="7"/>
                  </a:lnTo>
                  <a:lnTo>
                    <a:pt x="1" y="7"/>
                  </a:lnTo>
                  <a:lnTo>
                    <a:pt x="2" y="7"/>
                  </a:lnTo>
                  <a:lnTo>
                    <a:pt x="2" y="7"/>
                  </a:lnTo>
                  <a:lnTo>
                    <a:pt x="1" y="7"/>
                  </a:lnTo>
                  <a:lnTo>
                    <a:pt x="1" y="7"/>
                  </a:lnTo>
                  <a:lnTo>
                    <a:pt x="1" y="7"/>
                  </a:lnTo>
                  <a:lnTo>
                    <a:pt x="1" y="7"/>
                  </a:lnTo>
                  <a:lnTo>
                    <a:pt x="1" y="7"/>
                  </a:lnTo>
                  <a:lnTo>
                    <a:pt x="1" y="7"/>
                  </a:lnTo>
                  <a:lnTo>
                    <a:pt x="1" y="7"/>
                  </a:lnTo>
                  <a:lnTo>
                    <a:pt x="1" y="7"/>
                  </a:lnTo>
                  <a:lnTo>
                    <a:pt x="1" y="7"/>
                  </a:lnTo>
                  <a:lnTo>
                    <a:pt x="1" y="7"/>
                  </a:lnTo>
                  <a:lnTo>
                    <a:pt x="1" y="7"/>
                  </a:lnTo>
                  <a:lnTo>
                    <a:pt x="1" y="7"/>
                  </a:lnTo>
                  <a:lnTo>
                    <a:pt x="1" y="7"/>
                  </a:lnTo>
                  <a:lnTo>
                    <a:pt x="1" y="7"/>
                  </a:lnTo>
                  <a:lnTo>
                    <a:pt x="1" y="5"/>
                  </a:lnTo>
                  <a:lnTo>
                    <a:pt x="0" y="5"/>
                  </a:lnTo>
                  <a:lnTo>
                    <a:pt x="1" y="5"/>
                  </a:lnTo>
                  <a:lnTo>
                    <a:pt x="1" y="5"/>
                  </a:lnTo>
                  <a:lnTo>
                    <a:pt x="0" y="5"/>
                  </a:lnTo>
                  <a:lnTo>
                    <a:pt x="0" y="5"/>
                  </a:lnTo>
                  <a:lnTo>
                    <a:pt x="0" y="5"/>
                  </a:lnTo>
                  <a:lnTo>
                    <a:pt x="1" y="5"/>
                  </a:lnTo>
                  <a:lnTo>
                    <a:pt x="1" y="5"/>
                  </a:lnTo>
                  <a:lnTo>
                    <a:pt x="1" y="5"/>
                  </a:lnTo>
                  <a:lnTo>
                    <a:pt x="1" y="5"/>
                  </a:lnTo>
                  <a:lnTo>
                    <a:pt x="1" y="5"/>
                  </a:lnTo>
                  <a:lnTo>
                    <a:pt x="1" y="4"/>
                  </a:lnTo>
                  <a:lnTo>
                    <a:pt x="1" y="4"/>
                  </a:lnTo>
                  <a:lnTo>
                    <a:pt x="1" y="4"/>
                  </a:lnTo>
                  <a:lnTo>
                    <a:pt x="1" y="4"/>
                  </a:lnTo>
                  <a:lnTo>
                    <a:pt x="1" y="4"/>
                  </a:lnTo>
                  <a:lnTo>
                    <a:pt x="1" y="4"/>
                  </a:lnTo>
                  <a:lnTo>
                    <a:pt x="1" y="4"/>
                  </a:lnTo>
                  <a:lnTo>
                    <a:pt x="1" y="4"/>
                  </a:lnTo>
                  <a:lnTo>
                    <a:pt x="1" y="4"/>
                  </a:lnTo>
                  <a:lnTo>
                    <a:pt x="1" y="4"/>
                  </a:lnTo>
                  <a:lnTo>
                    <a:pt x="1" y="4"/>
                  </a:lnTo>
                  <a:lnTo>
                    <a:pt x="1" y="4"/>
                  </a:lnTo>
                  <a:lnTo>
                    <a:pt x="1" y="4"/>
                  </a:lnTo>
                  <a:lnTo>
                    <a:pt x="2" y="4"/>
                  </a:lnTo>
                  <a:lnTo>
                    <a:pt x="2" y="4"/>
                  </a:lnTo>
                  <a:lnTo>
                    <a:pt x="2" y="4"/>
                  </a:lnTo>
                  <a:lnTo>
                    <a:pt x="2" y="4"/>
                  </a:lnTo>
                  <a:lnTo>
                    <a:pt x="3" y="4"/>
                  </a:lnTo>
                  <a:lnTo>
                    <a:pt x="3" y="4"/>
                  </a:lnTo>
                  <a:lnTo>
                    <a:pt x="2" y="4"/>
                  </a:lnTo>
                  <a:lnTo>
                    <a:pt x="2" y="4"/>
                  </a:lnTo>
                  <a:lnTo>
                    <a:pt x="3" y="4"/>
                  </a:lnTo>
                  <a:lnTo>
                    <a:pt x="3" y="4"/>
                  </a:lnTo>
                  <a:lnTo>
                    <a:pt x="3" y="5"/>
                  </a:lnTo>
                  <a:lnTo>
                    <a:pt x="3" y="5"/>
                  </a:lnTo>
                  <a:lnTo>
                    <a:pt x="3" y="5"/>
                  </a:lnTo>
                  <a:lnTo>
                    <a:pt x="3" y="5"/>
                  </a:lnTo>
                  <a:lnTo>
                    <a:pt x="3" y="5"/>
                  </a:lnTo>
                  <a:lnTo>
                    <a:pt x="3" y="5"/>
                  </a:lnTo>
                  <a:lnTo>
                    <a:pt x="3" y="5"/>
                  </a:lnTo>
                  <a:lnTo>
                    <a:pt x="3" y="5"/>
                  </a:lnTo>
                  <a:lnTo>
                    <a:pt x="3" y="5"/>
                  </a:lnTo>
                  <a:lnTo>
                    <a:pt x="3" y="4"/>
                  </a:lnTo>
                  <a:lnTo>
                    <a:pt x="3" y="4"/>
                  </a:lnTo>
                  <a:lnTo>
                    <a:pt x="3" y="4"/>
                  </a:lnTo>
                  <a:lnTo>
                    <a:pt x="3" y="4"/>
                  </a:lnTo>
                  <a:lnTo>
                    <a:pt x="3" y="4"/>
                  </a:lnTo>
                  <a:lnTo>
                    <a:pt x="3" y="4"/>
                  </a:lnTo>
                  <a:lnTo>
                    <a:pt x="3" y="4"/>
                  </a:lnTo>
                  <a:lnTo>
                    <a:pt x="5" y="4"/>
                  </a:lnTo>
                  <a:lnTo>
                    <a:pt x="5" y="4"/>
                  </a:lnTo>
                  <a:lnTo>
                    <a:pt x="5" y="4"/>
                  </a:lnTo>
                  <a:lnTo>
                    <a:pt x="5" y="4"/>
                  </a:lnTo>
                  <a:lnTo>
                    <a:pt x="5" y="4"/>
                  </a:lnTo>
                  <a:lnTo>
                    <a:pt x="5" y="4"/>
                  </a:lnTo>
                  <a:lnTo>
                    <a:pt x="5" y="4"/>
                  </a:lnTo>
                  <a:lnTo>
                    <a:pt x="5" y="4"/>
                  </a:lnTo>
                  <a:lnTo>
                    <a:pt x="5" y="4"/>
                  </a:lnTo>
                  <a:lnTo>
                    <a:pt x="5" y="4"/>
                  </a:lnTo>
                  <a:lnTo>
                    <a:pt x="5" y="4"/>
                  </a:lnTo>
                  <a:lnTo>
                    <a:pt x="5" y="4"/>
                  </a:lnTo>
                  <a:lnTo>
                    <a:pt x="5" y="4"/>
                  </a:lnTo>
                  <a:lnTo>
                    <a:pt x="5" y="4"/>
                  </a:lnTo>
                  <a:lnTo>
                    <a:pt x="5" y="4"/>
                  </a:lnTo>
                  <a:lnTo>
                    <a:pt x="5" y="4"/>
                  </a:lnTo>
                  <a:lnTo>
                    <a:pt x="5" y="3"/>
                  </a:lnTo>
                  <a:lnTo>
                    <a:pt x="5" y="3"/>
                  </a:lnTo>
                  <a:lnTo>
                    <a:pt x="5" y="3"/>
                  </a:lnTo>
                  <a:lnTo>
                    <a:pt x="5" y="3"/>
                  </a:lnTo>
                  <a:lnTo>
                    <a:pt x="5" y="3"/>
                  </a:lnTo>
                  <a:lnTo>
                    <a:pt x="5" y="3"/>
                  </a:lnTo>
                  <a:lnTo>
                    <a:pt x="5" y="3"/>
                  </a:lnTo>
                  <a:lnTo>
                    <a:pt x="5" y="3"/>
                  </a:lnTo>
                  <a:lnTo>
                    <a:pt x="5" y="3"/>
                  </a:lnTo>
                  <a:lnTo>
                    <a:pt x="5" y="3"/>
                  </a:lnTo>
                  <a:lnTo>
                    <a:pt x="3" y="3"/>
                  </a:lnTo>
                  <a:lnTo>
                    <a:pt x="5" y="3"/>
                  </a:lnTo>
                  <a:lnTo>
                    <a:pt x="6" y="2"/>
                  </a:lnTo>
                  <a:lnTo>
                    <a:pt x="6" y="2"/>
                  </a:lnTo>
                  <a:lnTo>
                    <a:pt x="6" y="2"/>
                  </a:lnTo>
                  <a:lnTo>
                    <a:pt x="6" y="2"/>
                  </a:lnTo>
                  <a:lnTo>
                    <a:pt x="6" y="2"/>
                  </a:lnTo>
                  <a:lnTo>
                    <a:pt x="6" y="2"/>
                  </a:lnTo>
                  <a:lnTo>
                    <a:pt x="6" y="2"/>
                  </a:lnTo>
                  <a:lnTo>
                    <a:pt x="7" y="2"/>
                  </a:lnTo>
                  <a:lnTo>
                    <a:pt x="7" y="2"/>
                  </a:lnTo>
                  <a:lnTo>
                    <a:pt x="7" y="2"/>
                  </a:lnTo>
                  <a:lnTo>
                    <a:pt x="9" y="1"/>
                  </a:lnTo>
                  <a:lnTo>
                    <a:pt x="10" y="0"/>
                  </a:lnTo>
                  <a:lnTo>
                    <a:pt x="10" y="0"/>
                  </a:lnTo>
                  <a:lnTo>
                    <a:pt x="10" y="0"/>
                  </a:lnTo>
                  <a:lnTo>
                    <a:pt x="10" y="0"/>
                  </a:lnTo>
                  <a:lnTo>
                    <a:pt x="12" y="1"/>
                  </a:lnTo>
                  <a:lnTo>
                    <a:pt x="12" y="1"/>
                  </a:lnTo>
                  <a:lnTo>
                    <a:pt x="12" y="1"/>
                  </a:lnTo>
                  <a:lnTo>
                    <a:pt x="12" y="1"/>
                  </a:lnTo>
                  <a:lnTo>
                    <a:pt x="12" y="1"/>
                  </a:lnTo>
                  <a:lnTo>
                    <a:pt x="12" y="1"/>
                  </a:lnTo>
                  <a:lnTo>
                    <a:pt x="12" y="1"/>
                  </a:lnTo>
                  <a:lnTo>
                    <a:pt x="10" y="2"/>
                  </a:lnTo>
                  <a:lnTo>
                    <a:pt x="10" y="2"/>
                  </a:lnTo>
                  <a:lnTo>
                    <a:pt x="12"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67" name="Freeform 1232">
              <a:extLst>
                <a:ext uri="{FF2B5EF4-FFF2-40B4-BE49-F238E27FC236}">
                  <a16:creationId xmlns:a16="http://schemas.microsoft.com/office/drawing/2014/main" id="{9530CC19-D2E6-40A5-90C6-BC9B5AF036A2}"/>
                </a:ext>
              </a:extLst>
            </p:cNvPr>
            <p:cNvSpPr>
              <a:spLocks/>
            </p:cNvSpPr>
            <p:nvPr/>
          </p:nvSpPr>
          <p:spPr bwMode="auto">
            <a:xfrm>
              <a:off x="5710272" y="2121214"/>
              <a:ext cx="124201" cy="174949"/>
            </a:xfrm>
            <a:custGeom>
              <a:avLst/>
              <a:gdLst>
                <a:gd name="T0" fmla="*/ 28 w 93"/>
                <a:gd name="T1" fmla="*/ 11 h 131"/>
                <a:gd name="T2" fmla="*/ 29 w 93"/>
                <a:gd name="T3" fmla="*/ 13 h 131"/>
                <a:gd name="T4" fmla="*/ 25 w 93"/>
                <a:gd name="T5" fmla="*/ 17 h 131"/>
                <a:gd name="T6" fmla="*/ 39 w 93"/>
                <a:gd name="T7" fmla="*/ 15 h 131"/>
                <a:gd name="T8" fmla="*/ 51 w 93"/>
                <a:gd name="T9" fmla="*/ 17 h 131"/>
                <a:gd name="T10" fmla="*/ 46 w 93"/>
                <a:gd name="T11" fmla="*/ 27 h 131"/>
                <a:gd name="T12" fmla="*/ 40 w 93"/>
                <a:gd name="T13" fmla="*/ 33 h 131"/>
                <a:gd name="T14" fmla="*/ 31 w 93"/>
                <a:gd name="T15" fmla="*/ 39 h 131"/>
                <a:gd name="T16" fmla="*/ 43 w 93"/>
                <a:gd name="T17" fmla="*/ 40 h 131"/>
                <a:gd name="T18" fmla="*/ 54 w 93"/>
                <a:gd name="T19" fmla="*/ 47 h 131"/>
                <a:gd name="T20" fmla="*/ 60 w 93"/>
                <a:gd name="T21" fmla="*/ 61 h 131"/>
                <a:gd name="T22" fmla="*/ 74 w 93"/>
                <a:gd name="T23" fmla="*/ 75 h 131"/>
                <a:gd name="T24" fmla="*/ 70 w 93"/>
                <a:gd name="T25" fmla="*/ 75 h 131"/>
                <a:gd name="T26" fmla="*/ 76 w 93"/>
                <a:gd name="T27" fmla="*/ 88 h 131"/>
                <a:gd name="T28" fmla="*/ 92 w 93"/>
                <a:gd name="T29" fmla="*/ 94 h 131"/>
                <a:gd name="T30" fmla="*/ 86 w 93"/>
                <a:gd name="T31" fmla="*/ 103 h 131"/>
                <a:gd name="T32" fmla="*/ 79 w 93"/>
                <a:gd name="T33" fmla="*/ 108 h 131"/>
                <a:gd name="T34" fmla="*/ 89 w 93"/>
                <a:gd name="T35" fmla="*/ 111 h 131"/>
                <a:gd name="T36" fmla="*/ 74 w 93"/>
                <a:gd name="T37" fmla="*/ 118 h 131"/>
                <a:gd name="T38" fmla="*/ 60 w 93"/>
                <a:gd name="T39" fmla="*/ 117 h 131"/>
                <a:gd name="T40" fmla="*/ 48 w 93"/>
                <a:gd name="T41" fmla="*/ 119 h 131"/>
                <a:gd name="T42" fmla="*/ 34 w 93"/>
                <a:gd name="T43" fmla="*/ 120 h 131"/>
                <a:gd name="T44" fmla="*/ 25 w 93"/>
                <a:gd name="T45" fmla="*/ 125 h 131"/>
                <a:gd name="T46" fmla="*/ 12 w 93"/>
                <a:gd name="T47" fmla="*/ 127 h 131"/>
                <a:gd name="T48" fmla="*/ 3 w 93"/>
                <a:gd name="T49" fmla="*/ 129 h 131"/>
                <a:gd name="T50" fmla="*/ 13 w 93"/>
                <a:gd name="T51" fmla="*/ 122 h 131"/>
                <a:gd name="T52" fmla="*/ 25 w 93"/>
                <a:gd name="T53" fmla="*/ 111 h 131"/>
                <a:gd name="T54" fmla="*/ 40 w 93"/>
                <a:gd name="T55" fmla="*/ 108 h 131"/>
                <a:gd name="T56" fmla="*/ 34 w 93"/>
                <a:gd name="T57" fmla="*/ 109 h 131"/>
                <a:gd name="T58" fmla="*/ 20 w 93"/>
                <a:gd name="T59" fmla="*/ 104 h 131"/>
                <a:gd name="T60" fmla="*/ 12 w 93"/>
                <a:gd name="T61" fmla="*/ 105 h 131"/>
                <a:gd name="T62" fmla="*/ 8 w 93"/>
                <a:gd name="T63" fmla="*/ 102 h 131"/>
                <a:gd name="T64" fmla="*/ 22 w 93"/>
                <a:gd name="T65" fmla="*/ 95 h 131"/>
                <a:gd name="T66" fmla="*/ 20 w 93"/>
                <a:gd name="T67" fmla="*/ 87 h 131"/>
                <a:gd name="T68" fmla="*/ 25 w 93"/>
                <a:gd name="T69" fmla="*/ 81 h 131"/>
                <a:gd name="T70" fmla="*/ 38 w 93"/>
                <a:gd name="T71" fmla="*/ 81 h 131"/>
                <a:gd name="T72" fmla="*/ 39 w 93"/>
                <a:gd name="T73" fmla="*/ 69 h 131"/>
                <a:gd name="T74" fmla="*/ 35 w 93"/>
                <a:gd name="T75" fmla="*/ 68 h 131"/>
                <a:gd name="T76" fmla="*/ 32 w 93"/>
                <a:gd name="T77" fmla="*/ 57 h 131"/>
                <a:gd name="T78" fmla="*/ 28 w 93"/>
                <a:gd name="T79" fmla="*/ 56 h 131"/>
                <a:gd name="T80" fmla="*/ 21 w 93"/>
                <a:gd name="T81" fmla="*/ 60 h 131"/>
                <a:gd name="T82" fmla="*/ 12 w 93"/>
                <a:gd name="T83" fmla="*/ 55 h 131"/>
                <a:gd name="T84" fmla="*/ 18 w 93"/>
                <a:gd name="T85" fmla="*/ 47 h 131"/>
                <a:gd name="T86" fmla="*/ 17 w 93"/>
                <a:gd name="T87" fmla="*/ 38 h 131"/>
                <a:gd name="T88" fmla="*/ 12 w 93"/>
                <a:gd name="T89" fmla="*/ 41 h 131"/>
                <a:gd name="T90" fmla="*/ 10 w 93"/>
                <a:gd name="T91" fmla="*/ 42 h 131"/>
                <a:gd name="T92" fmla="*/ 5 w 93"/>
                <a:gd name="T93" fmla="*/ 48 h 131"/>
                <a:gd name="T94" fmla="*/ 7 w 93"/>
                <a:gd name="T95" fmla="*/ 40 h 131"/>
                <a:gd name="T96" fmla="*/ 10 w 93"/>
                <a:gd name="T97" fmla="*/ 34 h 131"/>
                <a:gd name="T98" fmla="*/ 10 w 93"/>
                <a:gd name="T99" fmla="*/ 32 h 131"/>
                <a:gd name="T100" fmla="*/ 8 w 93"/>
                <a:gd name="T101" fmla="*/ 32 h 131"/>
                <a:gd name="T102" fmla="*/ 1 w 93"/>
                <a:gd name="T103" fmla="*/ 29 h 131"/>
                <a:gd name="T104" fmla="*/ 7 w 93"/>
                <a:gd name="T105" fmla="*/ 25 h 131"/>
                <a:gd name="T106" fmla="*/ 10 w 93"/>
                <a:gd name="T107" fmla="*/ 21 h 131"/>
                <a:gd name="T108" fmla="*/ 7 w 93"/>
                <a:gd name="T109" fmla="*/ 17 h 131"/>
                <a:gd name="T110" fmla="*/ 7 w 93"/>
                <a:gd name="T111" fmla="*/ 13 h 131"/>
                <a:gd name="T112" fmla="*/ 14 w 93"/>
                <a:gd name="T113" fmla="*/ 12 h 131"/>
                <a:gd name="T114" fmla="*/ 14 w 93"/>
                <a:gd name="T115" fmla="*/ 6 h 131"/>
                <a:gd name="T116" fmla="*/ 18 w 93"/>
                <a:gd name="T117" fmla="*/ 1 h 131"/>
                <a:gd name="T118" fmla="*/ 25 w 93"/>
                <a:gd name="T119" fmla="*/ 3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 h="131">
                  <a:moveTo>
                    <a:pt x="34" y="0"/>
                  </a:moveTo>
                  <a:lnTo>
                    <a:pt x="35" y="0"/>
                  </a:lnTo>
                  <a:lnTo>
                    <a:pt x="36" y="0"/>
                  </a:lnTo>
                  <a:lnTo>
                    <a:pt x="36" y="1"/>
                  </a:lnTo>
                  <a:lnTo>
                    <a:pt x="38" y="1"/>
                  </a:lnTo>
                  <a:lnTo>
                    <a:pt x="38" y="0"/>
                  </a:lnTo>
                  <a:lnTo>
                    <a:pt x="39" y="1"/>
                  </a:lnTo>
                  <a:lnTo>
                    <a:pt x="38" y="1"/>
                  </a:lnTo>
                  <a:lnTo>
                    <a:pt x="38" y="3"/>
                  </a:lnTo>
                  <a:lnTo>
                    <a:pt x="36" y="3"/>
                  </a:lnTo>
                  <a:lnTo>
                    <a:pt x="38" y="4"/>
                  </a:lnTo>
                  <a:lnTo>
                    <a:pt x="36" y="5"/>
                  </a:lnTo>
                  <a:lnTo>
                    <a:pt x="35" y="6"/>
                  </a:lnTo>
                  <a:lnTo>
                    <a:pt x="34" y="6"/>
                  </a:lnTo>
                  <a:lnTo>
                    <a:pt x="33" y="7"/>
                  </a:lnTo>
                  <a:lnTo>
                    <a:pt x="29" y="10"/>
                  </a:lnTo>
                  <a:lnTo>
                    <a:pt x="28" y="10"/>
                  </a:lnTo>
                  <a:lnTo>
                    <a:pt x="28" y="11"/>
                  </a:lnTo>
                  <a:lnTo>
                    <a:pt x="27" y="11"/>
                  </a:lnTo>
                  <a:lnTo>
                    <a:pt x="26" y="11"/>
                  </a:lnTo>
                  <a:lnTo>
                    <a:pt x="27" y="11"/>
                  </a:lnTo>
                  <a:lnTo>
                    <a:pt x="27" y="12"/>
                  </a:lnTo>
                  <a:lnTo>
                    <a:pt x="26" y="12"/>
                  </a:lnTo>
                  <a:lnTo>
                    <a:pt x="25" y="12"/>
                  </a:lnTo>
                  <a:lnTo>
                    <a:pt x="24" y="12"/>
                  </a:lnTo>
                  <a:lnTo>
                    <a:pt x="22" y="12"/>
                  </a:lnTo>
                  <a:lnTo>
                    <a:pt x="24" y="12"/>
                  </a:lnTo>
                  <a:lnTo>
                    <a:pt x="24" y="13"/>
                  </a:lnTo>
                  <a:lnTo>
                    <a:pt x="24" y="12"/>
                  </a:lnTo>
                  <a:lnTo>
                    <a:pt x="25" y="12"/>
                  </a:lnTo>
                  <a:lnTo>
                    <a:pt x="25" y="13"/>
                  </a:lnTo>
                  <a:lnTo>
                    <a:pt x="26" y="13"/>
                  </a:lnTo>
                  <a:lnTo>
                    <a:pt x="27" y="13"/>
                  </a:lnTo>
                  <a:lnTo>
                    <a:pt x="28" y="13"/>
                  </a:lnTo>
                  <a:lnTo>
                    <a:pt x="29" y="12"/>
                  </a:lnTo>
                  <a:lnTo>
                    <a:pt x="29" y="13"/>
                  </a:lnTo>
                  <a:lnTo>
                    <a:pt x="27" y="14"/>
                  </a:lnTo>
                  <a:lnTo>
                    <a:pt x="26" y="14"/>
                  </a:lnTo>
                  <a:lnTo>
                    <a:pt x="27" y="14"/>
                  </a:lnTo>
                  <a:lnTo>
                    <a:pt x="26" y="14"/>
                  </a:lnTo>
                  <a:lnTo>
                    <a:pt x="25" y="14"/>
                  </a:lnTo>
                  <a:lnTo>
                    <a:pt x="25" y="15"/>
                  </a:lnTo>
                  <a:lnTo>
                    <a:pt x="24" y="15"/>
                  </a:lnTo>
                  <a:lnTo>
                    <a:pt x="22" y="15"/>
                  </a:lnTo>
                  <a:lnTo>
                    <a:pt x="22" y="17"/>
                  </a:lnTo>
                  <a:lnTo>
                    <a:pt x="21" y="17"/>
                  </a:lnTo>
                  <a:lnTo>
                    <a:pt x="22" y="17"/>
                  </a:lnTo>
                  <a:lnTo>
                    <a:pt x="22" y="15"/>
                  </a:lnTo>
                  <a:lnTo>
                    <a:pt x="24" y="15"/>
                  </a:lnTo>
                  <a:lnTo>
                    <a:pt x="25" y="15"/>
                  </a:lnTo>
                  <a:lnTo>
                    <a:pt x="26" y="15"/>
                  </a:lnTo>
                  <a:lnTo>
                    <a:pt x="27" y="15"/>
                  </a:lnTo>
                  <a:lnTo>
                    <a:pt x="26" y="15"/>
                  </a:lnTo>
                  <a:lnTo>
                    <a:pt x="25" y="17"/>
                  </a:lnTo>
                  <a:lnTo>
                    <a:pt x="26" y="17"/>
                  </a:lnTo>
                  <a:lnTo>
                    <a:pt x="25" y="17"/>
                  </a:lnTo>
                  <a:lnTo>
                    <a:pt x="24" y="17"/>
                  </a:lnTo>
                  <a:lnTo>
                    <a:pt x="25" y="17"/>
                  </a:lnTo>
                  <a:lnTo>
                    <a:pt x="24" y="18"/>
                  </a:lnTo>
                  <a:lnTo>
                    <a:pt x="25" y="18"/>
                  </a:lnTo>
                  <a:lnTo>
                    <a:pt x="26" y="17"/>
                  </a:lnTo>
                  <a:lnTo>
                    <a:pt x="27" y="17"/>
                  </a:lnTo>
                  <a:lnTo>
                    <a:pt x="28" y="17"/>
                  </a:lnTo>
                  <a:lnTo>
                    <a:pt x="31" y="15"/>
                  </a:lnTo>
                  <a:lnTo>
                    <a:pt x="32" y="15"/>
                  </a:lnTo>
                  <a:lnTo>
                    <a:pt x="31" y="15"/>
                  </a:lnTo>
                  <a:lnTo>
                    <a:pt x="32" y="15"/>
                  </a:lnTo>
                  <a:lnTo>
                    <a:pt x="33" y="15"/>
                  </a:lnTo>
                  <a:lnTo>
                    <a:pt x="33" y="14"/>
                  </a:lnTo>
                  <a:lnTo>
                    <a:pt x="35" y="14"/>
                  </a:lnTo>
                  <a:lnTo>
                    <a:pt x="38" y="15"/>
                  </a:lnTo>
                  <a:lnTo>
                    <a:pt x="39" y="15"/>
                  </a:lnTo>
                  <a:lnTo>
                    <a:pt x="39" y="14"/>
                  </a:lnTo>
                  <a:lnTo>
                    <a:pt x="41" y="14"/>
                  </a:lnTo>
                  <a:lnTo>
                    <a:pt x="41" y="15"/>
                  </a:lnTo>
                  <a:lnTo>
                    <a:pt x="41" y="14"/>
                  </a:lnTo>
                  <a:lnTo>
                    <a:pt x="41" y="15"/>
                  </a:lnTo>
                  <a:lnTo>
                    <a:pt x="42" y="14"/>
                  </a:lnTo>
                  <a:lnTo>
                    <a:pt x="43" y="15"/>
                  </a:lnTo>
                  <a:lnTo>
                    <a:pt x="44" y="15"/>
                  </a:lnTo>
                  <a:lnTo>
                    <a:pt x="46" y="15"/>
                  </a:lnTo>
                  <a:lnTo>
                    <a:pt x="46" y="14"/>
                  </a:lnTo>
                  <a:lnTo>
                    <a:pt x="47" y="14"/>
                  </a:lnTo>
                  <a:lnTo>
                    <a:pt x="47" y="15"/>
                  </a:lnTo>
                  <a:lnTo>
                    <a:pt x="48" y="14"/>
                  </a:lnTo>
                  <a:lnTo>
                    <a:pt x="49" y="14"/>
                  </a:lnTo>
                  <a:lnTo>
                    <a:pt x="49" y="15"/>
                  </a:lnTo>
                  <a:lnTo>
                    <a:pt x="50" y="15"/>
                  </a:lnTo>
                  <a:lnTo>
                    <a:pt x="51" y="15"/>
                  </a:lnTo>
                  <a:lnTo>
                    <a:pt x="51" y="17"/>
                  </a:lnTo>
                  <a:lnTo>
                    <a:pt x="51" y="18"/>
                  </a:lnTo>
                  <a:lnTo>
                    <a:pt x="53" y="18"/>
                  </a:lnTo>
                  <a:lnTo>
                    <a:pt x="51" y="18"/>
                  </a:lnTo>
                  <a:lnTo>
                    <a:pt x="53" y="18"/>
                  </a:lnTo>
                  <a:lnTo>
                    <a:pt x="51" y="18"/>
                  </a:lnTo>
                  <a:lnTo>
                    <a:pt x="51" y="19"/>
                  </a:lnTo>
                  <a:lnTo>
                    <a:pt x="50" y="20"/>
                  </a:lnTo>
                  <a:lnTo>
                    <a:pt x="49" y="20"/>
                  </a:lnTo>
                  <a:lnTo>
                    <a:pt x="49" y="21"/>
                  </a:lnTo>
                  <a:lnTo>
                    <a:pt x="48" y="22"/>
                  </a:lnTo>
                  <a:lnTo>
                    <a:pt x="48" y="24"/>
                  </a:lnTo>
                  <a:lnTo>
                    <a:pt x="49" y="24"/>
                  </a:lnTo>
                  <a:lnTo>
                    <a:pt x="48" y="24"/>
                  </a:lnTo>
                  <a:lnTo>
                    <a:pt x="48" y="25"/>
                  </a:lnTo>
                  <a:lnTo>
                    <a:pt x="47" y="25"/>
                  </a:lnTo>
                  <a:lnTo>
                    <a:pt x="47" y="26"/>
                  </a:lnTo>
                  <a:lnTo>
                    <a:pt x="47" y="27"/>
                  </a:lnTo>
                  <a:lnTo>
                    <a:pt x="46" y="27"/>
                  </a:lnTo>
                  <a:lnTo>
                    <a:pt x="46" y="28"/>
                  </a:lnTo>
                  <a:lnTo>
                    <a:pt x="44" y="28"/>
                  </a:lnTo>
                  <a:lnTo>
                    <a:pt x="44" y="29"/>
                  </a:lnTo>
                  <a:lnTo>
                    <a:pt x="43" y="29"/>
                  </a:lnTo>
                  <a:lnTo>
                    <a:pt x="43" y="31"/>
                  </a:lnTo>
                  <a:lnTo>
                    <a:pt x="43" y="32"/>
                  </a:lnTo>
                  <a:lnTo>
                    <a:pt x="42" y="32"/>
                  </a:lnTo>
                  <a:lnTo>
                    <a:pt x="41" y="32"/>
                  </a:lnTo>
                  <a:lnTo>
                    <a:pt x="41" y="33"/>
                  </a:lnTo>
                  <a:lnTo>
                    <a:pt x="40" y="33"/>
                  </a:lnTo>
                  <a:lnTo>
                    <a:pt x="38" y="33"/>
                  </a:lnTo>
                  <a:lnTo>
                    <a:pt x="36" y="33"/>
                  </a:lnTo>
                  <a:lnTo>
                    <a:pt x="35" y="34"/>
                  </a:lnTo>
                  <a:lnTo>
                    <a:pt x="34" y="34"/>
                  </a:lnTo>
                  <a:lnTo>
                    <a:pt x="35" y="34"/>
                  </a:lnTo>
                  <a:lnTo>
                    <a:pt x="36" y="34"/>
                  </a:lnTo>
                  <a:lnTo>
                    <a:pt x="39" y="33"/>
                  </a:lnTo>
                  <a:lnTo>
                    <a:pt x="40" y="33"/>
                  </a:lnTo>
                  <a:lnTo>
                    <a:pt x="40" y="34"/>
                  </a:lnTo>
                  <a:lnTo>
                    <a:pt x="40" y="35"/>
                  </a:lnTo>
                  <a:lnTo>
                    <a:pt x="41" y="35"/>
                  </a:lnTo>
                  <a:lnTo>
                    <a:pt x="42" y="35"/>
                  </a:lnTo>
                  <a:lnTo>
                    <a:pt x="42" y="36"/>
                  </a:lnTo>
                  <a:lnTo>
                    <a:pt x="41" y="36"/>
                  </a:lnTo>
                  <a:lnTo>
                    <a:pt x="40" y="36"/>
                  </a:lnTo>
                  <a:lnTo>
                    <a:pt x="40" y="38"/>
                  </a:lnTo>
                  <a:lnTo>
                    <a:pt x="39" y="36"/>
                  </a:lnTo>
                  <a:lnTo>
                    <a:pt x="38" y="36"/>
                  </a:lnTo>
                  <a:lnTo>
                    <a:pt x="38" y="38"/>
                  </a:lnTo>
                  <a:lnTo>
                    <a:pt x="36" y="38"/>
                  </a:lnTo>
                  <a:lnTo>
                    <a:pt x="36" y="39"/>
                  </a:lnTo>
                  <a:lnTo>
                    <a:pt x="35" y="39"/>
                  </a:lnTo>
                  <a:lnTo>
                    <a:pt x="34" y="39"/>
                  </a:lnTo>
                  <a:lnTo>
                    <a:pt x="34" y="40"/>
                  </a:lnTo>
                  <a:lnTo>
                    <a:pt x="33" y="40"/>
                  </a:lnTo>
                  <a:lnTo>
                    <a:pt x="31" y="39"/>
                  </a:lnTo>
                  <a:lnTo>
                    <a:pt x="29" y="39"/>
                  </a:lnTo>
                  <a:lnTo>
                    <a:pt x="28" y="39"/>
                  </a:lnTo>
                  <a:lnTo>
                    <a:pt x="28" y="38"/>
                  </a:lnTo>
                  <a:lnTo>
                    <a:pt x="28" y="39"/>
                  </a:lnTo>
                  <a:lnTo>
                    <a:pt x="29" y="39"/>
                  </a:lnTo>
                  <a:lnTo>
                    <a:pt x="29" y="40"/>
                  </a:lnTo>
                  <a:lnTo>
                    <a:pt x="31" y="40"/>
                  </a:lnTo>
                  <a:lnTo>
                    <a:pt x="33" y="40"/>
                  </a:lnTo>
                  <a:lnTo>
                    <a:pt x="34" y="40"/>
                  </a:lnTo>
                  <a:lnTo>
                    <a:pt x="36" y="40"/>
                  </a:lnTo>
                  <a:lnTo>
                    <a:pt x="36" y="41"/>
                  </a:lnTo>
                  <a:lnTo>
                    <a:pt x="38" y="41"/>
                  </a:lnTo>
                  <a:lnTo>
                    <a:pt x="39" y="40"/>
                  </a:lnTo>
                  <a:lnTo>
                    <a:pt x="39" y="39"/>
                  </a:lnTo>
                  <a:lnTo>
                    <a:pt x="40" y="39"/>
                  </a:lnTo>
                  <a:lnTo>
                    <a:pt x="42" y="39"/>
                  </a:lnTo>
                  <a:lnTo>
                    <a:pt x="42" y="40"/>
                  </a:lnTo>
                  <a:lnTo>
                    <a:pt x="43" y="40"/>
                  </a:lnTo>
                  <a:lnTo>
                    <a:pt x="44" y="40"/>
                  </a:lnTo>
                  <a:lnTo>
                    <a:pt x="44" y="41"/>
                  </a:lnTo>
                  <a:lnTo>
                    <a:pt x="46" y="41"/>
                  </a:lnTo>
                  <a:lnTo>
                    <a:pt x="47" y="41"/>
                  </a:lnTo>
                  <a:lnTo>
                    <a:pt x="48" y="41"/>
                  </a:lnTo>
                  <a:lnTo>
                    <a:pt x="48" y="42"/>
                  </a:lnTo>
                  <a:lnTo>
                    <a:pt x="49" y="42"/>
                  </a:lnTo>
                  <a:lnTo>
                    <a:pt x="49" y="43"/>
                  </a:lnTo>
                  <a:lnTo>
                    <a:pt x="50" y="45"/>
                  </a:lnTo>
                  <a:lnTo>
                    <a:pt x="51" y="45"/>
                  </a:lnTo>
                  <a:lnTo>
                    <a:pt x="51" y="46"/>
                  </a:lnTo>
                  <a:lnTo>
                    <a:pt x="51" y="45"/>
                  </a:lnTo>
                  <a:lnTo>
                    <a:pt x="51" y="46"/>
                  </a:lnTo>
                  <a:lnTo>
                    <a:pt x="53" y="46"/>
                  </a:lnTo>
                  <a:lnTo>
                    <a:pt x="54" y="46"/>
                  </a:lnTo>
                  <a:lnTo>
                    <a:pt x="53" y="46"/>
                  </a:lnTo>
                  <a:lnTo>
                    <a:pt x="54" y="46"/>
                  </a:lnTo>
                  <a:lnTo>
                    <a:pt x="54" y="47"/>
                  </a:lnTo>
                  <a:lnTo>
                    <a:pt x="54" y="48"/>
                  </a:lnTo>
                  <a:lnTo>
                    <a:pt x="54" y="49"/>
                  </a:lnTo>
                  <a:lnTo>
                    <a:pt x="54" y="50"/>
                  </a:lnTo>
                  <a:lnTo>
                    <a:pt x="54" y="52"/>
                  </a:lnTo>
                  <a:lnTo>
                    <a:pt x="55" y="52"/>
                  </a:lnTo>
                  <a:lnTo>
                    <a:pt x="55" y="53"/>
                  </a:lnTo>
                  <a:lnTo>
                    <a:pt x="55" y="54"/>
                  </a:lnTo>
                  <a:lnTo>
                    <a:pt x="56" y="54"/>
                  </a:lnTo>
                  <a:lnTo>
                    <a:pt x="56" y="55"/>
                  </a:lnTo>
                  <a:lnTo>
                    <a:pt x="56" y="56"/>
                  </a:lnTo>
                  <a:lnTo>
                    <a:pt x="57" y="59"/>
                  </a:lnTo>
                  <a:lnTo>
                    <a:pt x="58" y="60"/>
                  </a:lnTo>
                  <a:lnTo>
                    <a:pt x="58" y="61"/>
                  </a:lnTo>
                  <a:lnTo>
                    <a:pt x="58" y="60"/>
                  </a:lnTo>
                  <a:lnTo>
                    <a:pt x="58" y="61"/>
                  </a:lnTo>
                  <a:lnTo>
                    <a:pt x="58" y="60"/>
                  </a:lnTo>
                  <a:lnTo>
                    <a:pt x="60" y="60"/>
                  </a:lnTo>
                  <a:lnTo>
                    <a:pt x="60" y="61"/>
                  </a:lnTo>
                  <a:lnTo>
                    <a:pt x="61" y="61"/>
                  </a:lnTo>
                  <a:lnTo>
                    <a:pt x="63" y="61"/>
                  </a:lnTo>
                  <a:lnTo>
                    <a:pt x="65" y="62"/>
                  </a:lnTo>
                  <a:lnTo>
                    <a:pt x="65" y="63"/>
                  </a:lnTo>
                  <a:lnTo>
                    <a:pt x="67" y="63"/>
                  </a:lnTo>
                  <a:lnTo>
                    <a:pt x="67" y="64"/>
                  </a:lnTo>
                  <a:lnTo>
                    <a:pt x="68" y="64"/>
                  </a:lnTo>
                  <a:lnTo>
                    <a:pt x="68" y="66"/>
                  </a:lnTo>
                  <a:lnTo>
                    <a:pt x="69" y="67"/>
                  </a:lnTo>
                  <a:lnTo>
                    <a:pt x="71" y="68"/>
                  </a:lnTo>
                  <a:lnTo>
                    <a:pt x="70" y="68"/>
                  </a:lnTo>
                  <a:lnTo>
                    <a:pt x="70" y="69"/>
                  </a:lnTo>
                  <a:lnTo>
                    <a:pt x="70" y="70"/>
                  </a:lnTo>
                  <a:lnTo>
                    <a:pt x="70" y="71"/>
                  </a:lnTo>
                  <a:lnTo>
                    <a:pt x="71" y="73"/>
                  </a:lnTo>
                  <a:lnTo>
                    <a:pt x="74" y="75"/>
                  </a:lnTo>
                  <a:lnTo>
                    <a:pt x="74" y="76"/>
                  </a:lnTo>
                  <a:lnTo>
                    <a:pt x="74" y="75"/>
                  </a:lnTo>
                  <a:lnTo>
                    <a:pt x="72" y="75"/>
                  </a:lnTo>
                  <a:lnTo>
                    <a:pt x="71" y="75"/>
                  </a:lnTo>
                  <a:lnTo>
                    <a:pt x="70" y="75"/>
                  </a:lnTo>
                  <a:lnTo>
                    <a:pt x="70" y="74"/>
                  </a:lnTo>
                  <a:lnTo>
                    <a:pt x="69" y="74"/>
                  </a:lnTo>
                  <a:lnTo>
                    <a:pt x="67" y="74"/>
                  </a:lnTo>
                  <a:lnTo>
                    <a:pt x="65" y="74"/>
                  </a:lnTo>
                  <a:lnTo>
                    <a:pt x="64" y="74"/>
                  </a:lnTo>
                  <a:lnTo>
                    <a:pt x="63" y="74"/>
                  </a:lnTo>
                  <a:lnTo>
                    <a:pt x="64" y="74"/>
                  </a:lnTo>
                  <a:lnTo>
                    <a:pt x="64" y="75"/>
                  </a:lnTo>
                  <a:lnTo>
                    <a:pt x="64" y="74"/>
                  </a:lnTo>
                  <a:lnTo>
                    <a:pt x="65" y="74"/>
                  </a:lnTo>
                  <a:lnTo>
                    <a:pt x="65" y="75"/>
                  </a:lnTo>
                  <a:lnTo>
                    <a:pt x="67" y="75"/>
                  </a:lnTo>
                  <a:lnTo>
                    <a:pt x="69" y="74"/>
                  </a:lnTo>
                  <a:lnTo>
                    <a:pt x="69" y="75"/>
                  </a:lnTo>
                  <a:lnTo>
                    <a:pt x="70" y="75"/>
                  </a:lnTo>
                  <a:lnTo>
                    <a:pt x="70" y="76"/>
                  </a:lnTo>
                  <a:lnTo>
                    <a:pt x="71" y="76"/>
                  </a:lnTo>
                  <a:lnTo>
                    <a:pt x="72" y="77"/>
                  </a:lnTo>
                  <a:lnTo>
                    <a:pt x="74" y="77"/>
                  </a:lnTo>
                  <a:lnTo>
                    <a:pt x="75" y="78"/>
                  </a:lnTo>
                  <a:lnTo>
                    <a:pt x="75" y="80"/>
                  </a:lnTo>
                  <a:lnTo>
                    <a:pt x="76" y="82"/>
                  </a:lnTo>
                  <a:lnTo>
                    <a:pt x="76" y="83"/>
                  </a:lnTo>
                  <a:lnTo>
                    <a:pt x="76" y="84"/>
                  </a:lnTo>
                  <a:lnTo>
                    <a:pt x="75" y="84"/>
                  </a:lnTo>
                  <a:lnTo>
                    <a:pt x="74" y="84"/>
                  </a:lnTo>
                  <a:lnTo>
                    <a:pt x="74" y="85"/>
                  </a:lnTo>
                  <a:lnTo>
                    <a:pt x="72" y="85"/>
                  </a:lnTo>
                  <a:lnTo>
                    <a:pt x="72" y="87"/>
                  </a:lnTo>
                  <a:lnTo>
                    <a:pt x="74" y="87"/>
                  </a:lnTo>
                  <a:lnTo>
                    <a:pt x="75" y="87"/>
                  </a:lnTo>
                  <a:lnTo>
                    <a:pt x="75" y="88"/>
                  </a:lnTo>
                  <a:lnTo>
                    <a:pt x="76" y="88"/>
                  </a:lnTo>
                  <a:lnTo>
                    <a:pt x="77" y="88"/>
                  </a:lnTo>
                  <a:lnTo>
                    <a:pt x="77" y="87"/>
                  </a:lnTo>
                  <a:lnTo>
                    <a:pt x="78" y="87"/>
                  </a:lnTo>
                  <a:lnTo>
                    <a:pt x="78" y="85"/>
                  </a:lnTo>
                  <a:lnTo>
                    <a:pt x="79" y="85"/>
                  </a:lnTo>
                  <a:lnTo>
                    <a:pt x="81" y="85"/>
                  </a:lnTo>
                  <a:lnTo>
                    <a:pt x="82" y="85"/>
                  </a:lnTo>
                  <a:lnTo>
                    <a:pt x="83" y="85"/>
                  </a:lnTo>
                  <a:lnTo>
                    <a:pt x="84" y="85"/>
                  </a:lnTo>
                  <a:lnTo>
                    <a:pt x="88" y="85"/>
                  </a:lnTo>
                  <a:lnTo>
                    <a:pt x="89" y="87"/>
                  </a:lnTo>
                  <a:lnTo>
                    <a:pt x="92" y="88"/>
                  </a:lnTo>
                  <a:lnTo>
                    <a:pt x="92" y="89"/>
                  </a:lnTo>
                  <a:lnTo>
                    <a:pt x="92" y="90"/>
                  </a:lnTo>
                  <a:lnTo>
                    <a:pt x="93" y="90"/>
                  </a:lnTo>
                  <a:lnTo>
                    <a:pt x="93" y="91"/>
                  </a:lnTo>
                  <a:lnTo>
                    <a:pt x="93" y="92"/>
                  </a:lnTo>
                  <a:lnTo>
                    <a:pt x="92" y="94"/>
                  </a:lnTo>
                  <a:lnTo>
                    <a:pt x="92" y="95"/>
                  </a:lnTo>
                  <a:lnTo>
                    <a:pt x="92" y="96"/>
                  </a:lnTo>
                  <a:lnTo>
                    <a:pt x="91" y="96"/>
                  </a:lnTo>
                  <a:lnTo>
                    <a:pt x="91" y="97"/>
                  </a:lnTo>
                  <a:lnTo>
                    <a:pt x="91" y="98"/>
                  </a:lnTo>
                  <a:lnTo>
                    <a:pt x="90" y="99"/>
                  </a:lnTo>
                  <a:lnTo>
                    <a:pt x="89" y="99"/>
                  </a:lnTo>
                  <a:lnTo>
                    <a:pt x="89" y="101"/>
                  </a:lnTo>
                  <a:lnTo>
                    <a:pt x="88" y="101"/>
                  </a:lnTo>
                  <a:lnTo>
                    <a:pt x="86" y="99"/>
                  </a:lnTo>
                  <a:lnTo>
                    <a:pt x="86" y="101"/>
                  </a:lnTo>
                  <a:lnTo>
                    <a:pt x="88" y="101"/>
                  </a:lnTo>
                  <a:lnTo>
                    <a:pt x="86" y="101"/>
                  </a:lnTo>
                  <a:lnTo>
                    <a:pt x="85" y="101"/>
                  </a:lnTo>
                  <a:lnTo>
                    <a:pt x="88" y="101"/>
                  </a:lnTo>
                  <a:lnTo>
                    <a:pt x="86" y="102"/>
                  </a:lnTo>
                  <a:lnTo>
                    <a:pt x="88" y="102"/>
                  </a:lnTo>
                  <a:lnTo>
                    <a:pt x="86" y="103"/>
                  </a:lnTo>
                  <a:lnTo>
                    <a:pt x="85" y="103"/>
                  </a:lnTo>
                  <a:lnTo>
                    <a:pt x="84" y="103"/>
                  </a:lnTo>
                  <a:lnTo>
                    <a:pt x="83" y="103"/>
                  </a:lnTo>
                  <a:lnTo>
                    <a:pt x="83" y="104"/>
                  </a:lnTo>
                  <a:lnTo>
                    <a:pt x="82" y="104"/>
                  </a:lnTo>
                  <a:lnTo>
                    <a:pt x="81" y="104"/>
                  </a:lnTo>
                  <a:lnTo>
                    <a:pt x="82" y="104"/>
                  </a:lnTo>
                  <a:lnTo>
                    <a:pt x="83" y="104"/>
                  </a:lnTo>
                  <a:lnTo>
                    <a:pt x="84" y="104"/>
                  </a:lnTo>
                  <a:lnTo>
                    <a:pt x="83" y="104"/>
                  </a:lnTo>
                  <a:lnTo>
                    <a:pt x="84" y="105"/>
                  </a:lnTo>
                  <a:lnTo>
                    <a:pt x="83" y="105"/>
                  </a:lnTo>
                  <a:lnTo>
                    <a:pt x="84" y="105"/>
                  </a:lnTo>
                  <a:lnTo>
                    <a:pt x="83" y="106"/>
                  </a:lnTo>
                  <a:lnTo>
                    <a:pt x="82" y="106"/>
                  </a:lnTo>
                  <a:lnTo>
                    <a:pt x="82" y="108"/>
                  </a:lnTo>
                  <a:lnTo>
                    <a:pt x="81" y="108"/>
                  </a:lnTo>
                  <a:lnTo>
                    <a:pt x="79" y="108"/>
                  </a:lnTo>
                  <a:lnTo>
                    <a:pt x="78" y="108"/>
                  </a:lnTo>
                  <a:lnTo>
                    <a:pt x="77" y="108"/>
                  </a:lnTo>
                  <a:lnTo>
                    <a:pt x="77" y="109"/>
                  </a:lnTo>
                  <a:lnTo>
                    <a:pt x="77" y="108"/>
                  </a:lnTo>
                  <a:lnTo>
                    <a:pt x="78" y="108"/>
                  </a:lnTo>
                  <a:lnTo>
                    <a:pt x="81" y="108"/>
                  </a:lnTo>
                  <a:lnTo>
                    <a:pt x="81" y="109"/>
                  </a:lnTo>
                  <a:lnTo>
                    <a:pt x="79" y="109"/>
                  </a:lnTo>
                  <a:lnTo>
                    <a:pt x="78" y="109"/>
                  </a:lnTo>
                  <a:lnTo>
                    <a:pt x="79" y="109"/>
                  </a:lnTo>
                  <a:lnTo>
                    <a:pt x="81" y="109"/>
                  </a:lnTo>
                  <a:lnTo>
                    <a:pt x="82" y="110"/>
                  </a:lnTo>
                  <a:lnTo>
                    <a:pt x="84" y="110"/>
                  </a:lnTo>
                  <a:lnTo>
                    <a:pt x="85" y="110"/>
                  </a:lnTo>
                  <a:lnTo>
                    <a:pt x="89" y="109"/>
                  </a:lnTo>
                  <a:lnTo>
                    <a:pt x="90" y="110"/>
                  </a:lnTo>
                  <a:lnTo>
                    <a:pt x="89" y="110"/>
                  </a:lnTo>
                  <a:lnTo>
                    <a:pt x="89" y="111"/>
                  </a:lnTo>
                  <a:lnTo>
                    <a:pt x="89" y="112"/>
                  </a:lnTo>
                  <a:lnTo>
                    <a:pt x="89" y="113"/>
                  </a:lnTo>
                  <a:lnTo>
                    <a:pt x="88" y="113"/>
                  </a:lnTo>
                  <a:lnTo>
                    <a:pt x="86" y="113"/>
                  </a:lnTo>
                  <a:lnTo>
                    <a:pt x="85" y="115"/>
                  </a:lnTo>
                  <a:lnTo>
                    <a:pt x="84" y="115"/>
                  </a:lnTo>
                  <a:lnTo>
                    <a:pt x="84" y="116"/>
                  </a:lnTo>
                  <a:lnTo>
                    <a:pt x="84" y="117"/>
                  </a:lnTo>
                  <a:lnTo>
                    <a:pt x="83" y="116"/>
                  </a:lnTo>
                  <a:lnTo>
                    <a:pt x="82" y="116"/>
                  </a:lnTo>
                  <a:lnTo>
                    <a:pt x="81" y="117"/>
                  </a:lnTo>
                  <a:lnTo>
                    <a:pt x="79" y="117"/>
                  </a:lnTo>
                  <a:lnTo>
                    <a:pt x="77" y="118"/>
                  </a:lnTo>
                  <a:lnTo>
                    <a:pt x="76" y="118"/>
                  </a:lnTo>
                  <a:lnTo>
                    <a:pt x="76" y="119"/>
                  </a:lnTo>
                  <a:lnTo>
                    <a:pt x="75" y="119"/>
                  </a:lnTo>
                  <a:lnTo>
                    <a:pt x="74" y="119"/>
                  </a:lnTo>
                  <a:lnTo>
                    <a:pt x="74" y="118"/>
                  </a:lnTo>
                  <a:lnTo>
                    <a:pt x="72" y="118"/>
                  </a:lnTo>
                  <a:lnTo>
                    <a:pt x="70" y="118"/>
                  </a:lnTo>
                  <a:lnTo>
                    <a:pt x="69" y="118"/>
                  </a:lnTo>
                  <a:lnTo>
                    <a:pt x="68" y="118"/>
                  </a:lnTo>
                  <a:lnTo>
                    <a:pt x="65" y="118"/>
                  </a:lnTo>
                  <a:lnTo>
                    <a:pt x="63" y="119"/>
                  </a:lnTo>
                  <a:lnTo>
                    <a:pt x="63" y="118"/>
                  </a:lnTo>
                  <a:lnTo>
                    <a:pt x="63" y="119"/>
                  </a:lnTo>
                  <a:lnTo>
                    <a:pt x="62" y="119"/>
                  </a:lnTo>
                  <a:lnTo>
                    <a:pt x="61" y="118"/>
                  </a:lnTo>
                  <a:lnTo>
                    <a:pt x="62" y="118"/>
                  </a:lnTo>
                  <a:lnTo>
                    <a:pt x="61" y="118"/>
                  </a:lnTo>
                  <a:lnTo>
                    <a:pt x="61" y="117"/>
                  </a:lnTo>
                  <a:lnTo>
                    <a:pt x="60" y="117"/>
                  </a:lnTo>
                  <a:lnTo>
                    <a:pt x="60" y="118"/>
                  </a:lnTo>
                  <a:lnTo>
                    <a:pt x="58" y="118"/>
                  </a:lnTo>
                  <a:lnTo>
                    <a:pt x="60" y="118"/>
                  </a:lnTo>
                  <a:lnTo>
                    <a:pt x="60" y="117"/>
                  </a:lnTo>
                  <a:lnTo>
                    <a:pt x="58" y="118"/>
                  </a:lnTo>
                  <a:lnTo>
                    <a:pt x="57" y="118"/>
                  </a:lnTo>
                  <a:lnTo>
                    <a:pt x="56" y="118"/>
                  </a:lnTo>
                  <a:lnTo>
                    <a:pt x="56" y="117"/>
                  </a:lnTo>
                  <a:lnTo>
                    <a:pt x="55" y="117"/>
                  </a:lnTo>
                  <a:lnTo>
                    <a:pt x="56" y="118"/>
                  </a:lnTo>
                  <a:lnTo>
                    <a:pt x="55" y="118"/>
                  </a:lnTo>
                  <a:lnTo>
                    <a:pt x="55" y="119"/>
                  </a:lnTo>
                  <a:lnTo>
                    <a:pt x="54" y="119"/>
                  </a:lnTo>
                  <a:lnTo>
                    <a:pt x="53" y="119"/>
                  </a:lnTo>
                  <a:lnTo>
                    <a:pt x="51" y="119"/>
                  </a:lnTo>
                  <a:lnTo>
                    <a:pt x="50" y="119"/>
                  </a:lnTo>
                  <a:lnTo>
                    <a:pt x="49" y="119"/>
                  </a:lnTo>
                  <a:lnTo>
                    <a:pt x="49" y="120"/>
                  </a:lnTo>
                  <a:lnTo>
                    <a:pt x="49" y="119"/>
                  </a:lnTo>
                  <a:lnTo>
                    <a:pt x="48" y="119"/>
                  </a:lnTo>
                  <a:lnTo>
                    <a:pt x="47" y="119"/>
                  </a:lnTo>
                  <a:lnTo>
                    <a:pt x="48" y="119"/>
                  </a:lnTo>
                  <a:lnTo>
                    <a:pt x="48" y="120"/>
                  </a:lnTo>
                  <a:lnTo>
                    <a:pt x="49" y="120"/>
                  </a:lnTo>
                  <a:lnTo>
                    <a:pt x="48" y="122"/>
                  </a:lnTo>
                  <a:lnTo>
                    <a:pt x="47" y="122"/>
                  </a:lnTo>
                  <a:lnTo>
                    <a:pt x="46" y="120"/>
                  </a:lnTo>
                  <a:lnTo>
                    <a:pt x="44" y="120"/>
                  </a:lnTo>
                  <a:lnTo>
                    <a:pt x="43" y="120"/>
                  </a:lnTo>
                  <a:lnTo>
                    <a:pt x="42" y="120"/>
                  </a:lnTo>
                  <a:lnTo>
                    <a:pt x="42" y="122"/>
                  </a:lnTo>
                  <a:lnTo>
                    <a:pt x="43" y="122"/>
                  </a:lnTo>
                  <a:lnTo>
                    <a:pt x="42" y="123"/>
                  </a:lnTo>
                  <a:lnTo>
                    <a:pt x="42" y="122"/>
                  </a:lnTo>
                  <a:lnTo>
                    <a:pt x="40" y="120"/>
                  </a:lnTo>
                  <a:lnTo>
                    <a:pt x="38" y="119"/>
                  </a:lnTo>
                  <a:lnTo>
                    <a:pt x="36" y="119"/>
                  </a:lnTo>
                  <a:lnTo>
                    <a:pt x="35" y="119"/>
                  </a:lnTo>
                  <a:lnTo>
                    <a:pt x="35" y="120"/>
                  </a:lnTo>
                  <a:lnTo>
                    <a:pt x="34" y="120"/>
                  </a:lnTo>
                  <a:lnTo>
                    <a:pt x="33" y="120"/>
                  </a:lnTo>
                  <a:lnTo>
                    <a:pt x="32" y="122"/>
                  </a:lnTo>
                  <a:lnTo>
                    <a:pt x="32" y="120"/>
                  </a:lnTo>
                  <a:lnTo>
                    <a:pt x="31" y="120"/>
                  </a:lnTo>
                  <a:lnTo>
                    <a:pt x="31" y="122"/>
                  </a:lnTo>
                  <a:lnTo>
                    <a:pt x="29" y="123"/>
                  </a:lnTo>
                  <a:lnTo>
                    <a:pt x="31" y="124"/>
                  </a:lnTo>
                  <a:lnTo>
                    <a:pt x="29" y="124"/>
                  </a:lnTo>
                  <a:lnTo>
                    <a:pt x="31" y="124"/>
                  </a:lnTo>
                  <a:lnTo>
                    <a:pt x="31" y="125"/>
                  </a:lnTo>
                  <a:lnTo>
                    <a:pt x="29" y="125"/>
                  </a:lnTo>
                  <a:lnTo>
                    <a:pt x="28" y="125"/>
                  </a:lnTo>
                  <a:lnTo>
                    <a:pt x="28" y="126"/>
                  </a:lnTo>
                  <a:lnTo>
                    <a:pt x="28" y="127"/>
                  </a:lnTo>
                  <a:lnTo>
                    <a:pt x="27" y="127"/>
                  </a:lnTo>
                  <a:lnTo>
                    <a:pt x="26" y="127"/>
                  </a:lnTo>
                  <a:lnTo>
                    <a:pt x="25" y="126"/>
                  </a:lnTo>
                  <a:lnTo>
                    <a:pt x="25" y="125"/>
                  </a:lnTo>
                  <a:lnTo>
                    <a:pt x="24" y="126"/>
                  </a:lnTo>
                  <a:lnTo>
                    <a:pt x="24" y="125"/>
                  </a:lnTo>
                  <a:lnTo>
                    <a:pt x="22" y="125"/>
                  </a:lnTo>
                  <a:lnTo>
                    <a:pt x="21" y="124"/>
                  </a:lnTo>
                  <a:lnTo>
                    <a:pt x="22" y="124"/>
                  </a:lnTo>
                  <a:lnTo>
                    <a:pt x="21" y="124"/>
                  </a:lnTo>
                  <a:lnTo>
                    <a:pt x="20" y="124"/>
                  </a:lnTo>
                  <a:lnTo>
                    <a:pt x="20" y="125"/>
                  </a:lnTo>
                  <a:lnTo>
                    <a:pt x="21" y="125"/>
                  </a:lnTo>
                  <a:lnTo>
                    <a:pt x="20" y="125"/>
                  </a:lnTo>
                  <a:lnTo>
                    <a:pt x="19" y="125"/>
                  </a:lnTo>
                  <a:lnTo>
                    <a:pt x="18" y="125"/>
                  </a:lnTo>
                  <a:lnTo>
                    <a:pt x="15" y="125"/>
                  </a:lnTo>
                  <a:lnTo>
                    <a:pt x="14" y="125"/>
                  </a:lnTo>
                  <a:lnTo>
                    <a:pt x="14" y="126"/>
                  </a:lnTo>
                  <a:lnTo>
                    <a:pt x="14" y="127"/>
                  </a:lnTo>
                  <a:lnTo>
                    <a:pt x="13" y="127"/>
                  </a:lnTo>
                  <a:lnTo>
                    <a:pt x="12" y="127"/>
                  </a:lnTo>
                  <a:lnTo>
                    <a:pt x="12" y="129"/>
                  </a:lnTo>
                  <a:lnTo>
                    <a:pt x="12" y="127"/>
                  </a:lnTo>
                  <a:lnTo>
                    <a:pt x="11" y="127"/>
                  </a:lnTo>
                  <a:lnTo>
                    <a:pt x="11" y="129"/>
                  </a:lnTo>
                  <a:lnTo>
                    <a:pt x="11" y="130"/>
                  </a:lnTo>
                  <a:lnTo>
                    <a:pt x="10" y="130"/>
                  </a:lnTo>
                  <a:lnTo>
                    <a:pt x="10" y="131"/>
                  </a:lnTo>
                  <a:lnTo>
                    <a:pt x="8" y="131"/>
                  </a:lnTo>
                  <a:lnTo>
                    <a:pt x="8" y="130"/>
                  </a:lnTo>
                  <a:lnTo>
                    <a:pt x="7" y="129"/>
                  </a:lnTo>
                  <a:lnTo>
                    <a:pt x="6" y="129"/>
                  </a:lnTo>
                  <a:lnTo>
                    <a:pt x="5" y="129"/>
                  </a:lnTo>
                  <a:lnTo>
                    <a:pt x="5" y="130"/>
                  </a:lnTo>
                  <a:lnTo>
                    <a:pt x="4" y="130"/>
                  </a:lnTo>
                  <a:lnTo>
                    <a:pt x="3" y="130"/>
                  </a:lnTo>
                  <a:lnTo>
                    <a:pt x="3" y="129"/>
                  </a:lnTo>
                  <a:lnTo>
                    <a:pt x="4" y="129"/>
                  </a:lnTo>
                  <a:lnTo>
                    <a:pt x="3" y="129"/>
                  </a:lnTo>
                  <a:lnTo>
                    <a:pt x="4" y="129"/>
                  </a:lnTo>
                  <a:lnTo>
                    <a:pt x="4" y="127"/>
                  </a:lnTo>
                  <a:lnTo>
                    <a:pt x="5" y="127"/>
                  </a:lnTo>
                  <a:lnTo>
                    <a:pt x="6" y="127"/>
                  </a:lnTo>
                  <a:lnTo>
                    <a:pt x="7" y="127"/>
                  </a:lnTo>
                  <a:lnTo>
                    <a:pt x="7" y="126"/>
                  </a:lnTo>
                  <a:lnTo>
                    <a:pt x="8" y="126"/>
                  </a:lnTo>
                  <a:lnTo>
                    <a:pt x="10" y="125"/>
                  </a:lnTo>
                  <a:lnTo>
                    <a:pt x="10" y="124"/>
                  </a:lnTo>
                  <a:lnTo>
                    <a:pt x="11" y="124"/>
                  </a:lnTo>
                  <a:lnTo>
                    <a:pt x="12" y="124"/>
                  </a:lnTo>
                  <a:lnTo>
                    <a:pt x="12" y="123"/>
                  </a:lnTo>
                  <a:lnTo>
                    <a:pt x="12" y="122"/>
                  </a:lnTo>
                  <a:lnTo>
                    <a:pt x="13" y="122"/>
                  </a:lnTo>
                  <a:lnTo>
                    <a:pt x="13" y="123"/>
                  </a:lnTo>
                  <a:lnTo>
                    <a:pt x="14" y="123"/>
                  </a:lnTo>
                  <a:lnTo>
                    <a:pt x="13" y="123"/>
                  </a:lnTo>
                  <a:lnTo>
                    <a:pt x="13" y="122"/>
                  </a:lnTo>
                  <a:lnTo>
                    <a:pt x="14" y="122"/>
                  </a:lnTo>
                  <a:lnTo>
                    <a:pt x="14" y="120"/>
                  </a:lnTo>
                  <a:lnTo>
                    <a:pt x="15" y="120"/>
                  </a:lnTo>
                  <a:lnTo>
                    <a:pt x="17" y="119"/>
                  </a:lnTo>
                  <a:lnTo>
                    <a:pt x="17" y="118"/>
                  </a:lnTo>
                  <a:lnTo>
                    <a:pt x="18" y="118"/>
                  </a:lnTo>
                  <a:lnTo>
                    <a:pt x="18" y="117"/>
                  </a:lnTo>
                  <a:lnTo>
                    <a:pt x="18" y="116"/>
                  </a:lnTo>
                  <a:lnTo>
                    <a:pt x="18" y="115"/>
                  </a:lnTo>
                  <a:lnTo>
                    <a:pt x="19" y="115"/>
                  </a:lnTo>
                  <a:lnTo>
                    <a:pt x="20" y="116"/>
                  </a:lnTo>
                  <a:lnTo>
                    <a:pt x="20" y="115"/>
                  </a:lnTo>
                  <a:lnTo>
                    <a:pt x="21" y="115"/>
                  </a:lnTo>
                  <a:lnTo>
                    <a:pt x="21" y="113"/>
                  </a:lnTo>
                  <a:lnTo>
                    <a:pt x="21" y="112"/>
                  </a:lnTo>
                  <a:lnTo>
                    <a:pt x="22" y="112"/>
                  </a:lnTo>
                  <a:lnTo>
                    <a:pt x="25" y="112"/>
                  </a:lnTo>
                  <a:lnTo>
                    <a:pt x="25" y="111"/>
                  </a:lnTo>
                  <a:lnTo>
                    <a:pt x="26" y="111"/>
                  </a:lnTo>
                  <a:lnTo>
                    <a:pt x="27" y="111"/>
                  </a:lnTo>
                  <a:lnTo>
                    <a:pt x="28" y="112"/>
                  </a:lnTo>
                  <a:lnTo>
                    <a:pt x="29" y="112"/>
                  </a:lnTo>
                  <a:lnTo>
                    <a:pt x="31" y="112"/>
                  </a:lnTo>
                  <a:lnTo>
                    <a:pt x="32" y="112"/>
                  </a:lnTo>
                  <a:lnTo>
                    <a:pt x="33" y="112"/>
                  </a:lnTo>
                  <a:lnTo>
                    <a:pt x="34" y="112"/>
                  </a:lnTo>
                  <a:lnTo>
                    <a:pt x="35" y="112"/>
                  </a:lnTo>
                  <a:lnTo>
                    <a:pt x="36" y="112"/>
                  </a:lnTo>
                  <a:lnTo>
                    <a:pt x="35" y="112"/>
                  </a:lnTo>
                  <a:lnTo>
                    <a:pt x="36" y="112"/>
                  </a:lnTo>
                  <a:lnTo>
                    <a:pt x="36" y="111"/>
                  </a:lnTo>
                  <a:lnTo>
                    <a:pt x="36" y="110"/>
                  </a:lnTo>
                  <a:lnTo>
                    <a:pt x="36" y="109"/>
                  </a:lnTo>
                  <a:lnTo>
                    <a:pt x="38" y="109"/>
                  </a:lnTo>
                  <a:lnTo>
                    <a:pt x="39" y="108"/>
                  </a:lnTo>
                  <a:lnTo>
                    <a:pt x="40" y="108"/>
                  </a:lnTo>
                  <a:lnTo>
                    <a:pt x="41" y="106"/>
                  </a:lnTo>
                  <a:lnTo>
                    <a:pt x="41" y="105"/>
                  </a:lnTo>
                  <a:lnTo>
                    <a:pt x="42" y="105"/>
                  </a:lnTo>
                  <a:lnTo>
                    <a:pt x="42" y="104"/>
                  </a:lnTo>
                  <a:lnTo>
                    <a:pt x="43" y="104"/>
                  </a:lnTo>
                  <a:lnTo>
                    <a:pt x="43" y="103"/>
                  </a:lnTo>
                  <a:lnTo>
                    <a:pt x="43" y="104"/>
                  </a:lnTo>
                  <a:lnTo>
                    <a:pt x="42" y="104"/>
                  </a:lnTo>
                  <a:lnTo>
                    <a:pt x="41" y="105"/>
                  </a:lnTo>
                  <a:lnTo>
                    <a:pt x="40" y="105"/>
                  </a:lnTo>
                  <a:lnTo>
                    <a:pt x="40" y="106"/>
                  </a:lnTo>
                  <a:lnTo>
                    <a:pt x="39" y="106"/>
                  </a:lnTo>
                  <a:lnTo>
                    <a:pt x="38" y="106"/>
                  </a:lnTo>
                  <a:lnTo>
                    <a:pt x="36" y="106"/>
                  </a:lnTo>
                  <a:lnTo>
                    <a:pt x="36" y="108"/>
                  </a:lnTo>
                  <a:lnTo>
                    <a:pt x="35" y="108"/>
                  </a:lnTo>
                  <a:lnTo>
                    <a:pt x="34" y="108"/>
                  </a:lnTo>
                  <a:lnTo>
                    <a:pt x="34" y="109"/>
                  </a:lnTo>
                  <a:lnTo>
                    <a:pt x="33" y="109"/>
                  </a:lnTo>
                  <a:lnTo>
                    <a:pt x="29" y="109"/>
                  </a:lnTo>
                  <a:lnTo>
                    <a:pt x="28" y="108"/>
                  </a:lnTo>
                  <a:lnTo>
                    <a:pt x="27" y="108"/>
                  </a:lnTo>
                  <a:lnTo>
                    <a:pt x="27" y="106"/>
                  </a:lnTo>
                  <a:lnTo>
                    <a:pt x="26" y="105"/>
                  </a:lnTo>
                  <a:lnTo>
                    <a:pt x="25" y="105"/>
                  </a:lnTo>
                  <a:lnTo>
                    <a:pt x="25" y="106"/>
                  </a:lnTo>
                  <a:lnTo>
                    <a:pt x="24" y="106"/>
                  </a:lnTo>
                  <a:lnTo>
                    <a:pt x="22" y="106"/>
                  </a:lnTo>
                  <a:lnTo>
                    <a:pt x="21" y="106"/>
                  </a:lnTo>
                  <a:lnTo>
                    <a:pt x="21" y="105"/>
                  </a:lnTo>
                  <a:lnTo>
                    <a:pt x="22" y="105"/>
                  </a:lnTo>
                  <a:lnTo>
                    <a:pt x="24" y="105"/>
                  </a:lnTo>
                  <a:lnTo>
                    <a:pt x="22" y="105"/>
                  </a:lnTo>
                  <a:lnTo>
                    <a:pt x="21" y="105"/>
                  </a:lnTo>
                  <a:lnTo>
                    <a:pt x="20" y="105"/>
                  </a:lnTo>
                  <a:lnTo>
                    <a:pt x="20" y="104"/>
                  </a:lnTo>
                  <a:lnTo>
                    <a:pt x="21" y="104"/>
                  </a:lnTo>
                  <a:lnTo>
                    <a:pt x="20" y="104"/>
                  </a:lnTo>
                  <a:lnTo>
                    <a:pt x="20" y="103"/>
                  </a:lnTo>
                  <a:lnTo>
                    <a:pt x="20" y="104"/>
                  </a:lnTo>
                  <a:lnTo>
                    <a:pt x="19" y="103"/>
                  </a:lnTo>
                  <a:lnTo>
                    <a:pt x="19" y="104"/>
                  </a:lnTo>
                  <a:lnTo>
                    <a:pt x="18" y="104"/>
                  </a:lnTo>
                  <a:lnTo>
                    <a:pt x="17" y="104"/>
                  </a:lnTo>
                  <a:lnTo>
                    <a:pt x="17" y="105"/>
                  </a:lnTo>
                  <a:lnTo>
                    <a:pt x="15" y="105"/>
                  </a:lnTo>
                  <a:lnTo>
                    <a:pt x="14" y="105"/>
                  </a:lnTo>
                  <a:lnTo>
                    <a:pt x="13" y="105"/>
                  </a:lnTo>
                  <a:lnTo>
                    <a:pt x="13" y="106"/>
                  </a:lnTo>
                  <a:lnTo>
                    <a:pt x="12" y="105"/>
                  </a:lnTo>
                  <a:lnTo>
                    <a:pt x="11" y="105"/>
                  </a:lnTo>
                  <a:lnTo>
                    <a:pt x="12" y="105"/>
                  </a:lnTo>
                  <a:lnTo>
                    <a:pt x="12" y="104"/>
                  </a:lnTo>
                  <a:lnTo>
                    <a:pt x="12" y="105"/>
                  </a:lnTo>
                  <a:lnTo>
                    <a:pt x="13" y="105"/>
                  </a:lnTo>
                  <a:lnTo>
                    <a:pt x="13" y="104"/>
                  </a:lnTo>
                  <a:lnTo>
                    <a:pt x="14" y="104"/>
                  </a:lnTo>
                  <a:lnTo>
                    <a:pt x="14" y="103"/>
                  </a:lnTo>
                  <a:lnTo>
                    <a:pt x="13" y="103"/>
                  </a:lnTo>
                  <a:lnTo>
                    <a:pt x="13" y="104"/>
                  </a:lnTo>
                  <a:lnTo>
                    <a:pt x="14" y="104"/>
                  </a:lnTo>
                  <a:lnTo>
                    <a:pt x="13" y="104"/>
                  </a:lnTo>
                  <a:lnTo>
                    <a:pt x="12" y="104"/>
                  </a:lnTo>
                  <a:lnTo>
                    <a:pt x="11" y="104"/>
                  </a:lnTo>
                  <a:lnTo>
                    <a:pt x="11" y="105"/>
                  </a:lnTo>
                  <a:lnTo>
                    <a:pt x="11" y="104"/>
                  </a:lnTo>
                  <a:lnTo>
                    <a:pt x="10" y="104"/>
                  </a:lnTo>
                  <a:lnTo>
                    <a:pt x="11" y="104"/>
                  </a:lnTo>
                  <a:lnTo>
                    <a:pt x="11" y="103"/>
                  </a:lnTo>
                  <a:lnTo>
                    <a:pt x="11" y="102"/>
                  </a:lnTo>
                  <a:lnTo>
                    <a:pt x="10" y="102"/>
                  </a:lnTo>
                  <a:lnTo>
                    <a:pt x="8" y="102"/>
                  </a:lnTo>
                  <a:lnTo>
                    <a:pt x="10" y="102"/>
                  </a:lnTo>
                  <a:lnTo>
                    <a:pt x="8" y="102"/>
                  </a:lnTo>
                  <a:lnTo>
                    <a:pt x="10" y="102"/>
                  </a:lnTo>
                  <a:lnTo>
                    <a:pt x="10" y="101"/>
                  </a:lnTo>
                  <a:lnTo>
                    <a:pt x="11" y="101"/>
                  </a:lnTo>
                  <a:lnTo>
                    <a:pt x="12" y="101"/>
                  </a:lnTo>
                  <a:lnTo>
                    <a:pt x="12" y="99"/>
                  </a:lnTo>
                  <a:lnTo>
                    <a:pt x="13" y="99"/>
                  </a:lnTo>
                  <a:lnTo>
                    <a:pt x="14" y="99"/>
                  </a:lnTo>
                  <a:lnTo>
                    <a:pt x="15" y="99"/>
                  </a:lnTo>
                  <a:lnTo>
                    <a:pt x="15" y="98"/>
                  </a:lnTo>
                  <a:lnTo>
                    <a:pt x="17" y="98"/>
                  </a:lnTo>
                  <a:lnTo>
                    <a:pt x="19" y="98"/>
                  </a:lnTo>
                  <a:lnTo>
                    <a:pt x="19" y="97"/>
                  </a:lnTo>
                  <a:lnTo>
                    <a:pt x="20" y="97"/>
                  </a:lnTo>
                  <a:lnTo>
                    <a:pt x="21" y="97"/>
                  </a:lnTo>
                  <a:lnTo>
                    <a:pt x="22" y="96"/>
                  </a:lnTo>
                  <a:lnTo>
                    <a:pt x="22" y="95"/>
                  </a:lnTo>
                  <a:lnTo>
                    <a:pt x="24" y="95"/>
                  </a:lnTo>
                  <a:lnTo>
                    <a:pt x="24" y="94"/>
                  </a:lnTo>
                  <a:lnTo>
                    <a:pt x="24" y="92"/>
                  </a:lnTo>
                  <a:lnTo>
                    <a:pt x="25" y="92"/>
                  </a:lnTo>
                  <a:lnTo>
                    <a:pt x="25" y="91"/>
                  </a:lnTo>
                  <a:lnTo>
                    <a:pt x="24" y="91"/>
                  </a:lnTo>
                  <a:lnTo>
                    <a:pt x="24" y="90"/>
                  </a:lnTo>
                  <a:lnTo>
                    <a:pt x="24" y="89"/>
                  </a:lnTo>
                  <a:lnTo>
                    <a:pt x="25" y="89"/>
                  </a:lnTo>
                  <a:lnTo>
                    <a:pt x="24" y="88"/>
                  </a:lnTo>
                  <a:lnTo>
                    <a:pt x="24" y="87"/>
                  </a:lnTo>
                  <a:lnTo>
                    <a:pt x="24" y="85"/>
                  </a:lnTo>
                  <a:lnTo>
                    <a:pt x="24" y="87"/>
                  </a:lnTo>
                  <a:lnTo>
                    <a:pt x="24" y="85"/>
                  </a:lnTo>
                  <a:lnTo>
                    <a:pt x="24" y="87"/>
                  </a:lnTo>
                  <a:lnTo>
                    <a:pt x="22" y="87"/>
                  </a:lnTo>
                  <a:lnTo>
                    <a:pt x="21" y="87"/>
                  </a:lnTo>
                  <a:lnTo>
                    <a:pt x="20" y="87"/>
                  </a:lnTo>
                  <a:lnTo>
                    <a:pt x="19" y="87"/>
                  </a:lnTo>
                  <a:lnTo>
                    <a:pt x="19" y="88"/>
                  </a:lnTo>
                  <a:lnTo>
                    <a:pt x="18" y="88"/>
                  </a:lnTo>
                  <a:lnTo>
                    <a:pt x="17" y="88"/>
                  </a:lnTo>
                  <a:lnTo>
                    <a:pt x="15" y="88"/>
                  </a:lnTo>
                  <a:lnTo>
                    <a:pt x="17" y="88"/>
                  </a:lnTo>
                  <a:lnTo>
                    <a:pt x="18" y="85"/>
                  </a:lnTo>
                  <a:lnTo>
                    <a:pt x="19" y="85"/>
                  </a:lnTo>
                  <a:lnTo>
                    <a:pt x="20" y="85"/>
                  </a:lnTo>
                  <a:lnTo>
                    <a:pt x="20" y="84"/>
                  </a:lnTo>
                  <a:lnTo>
                    <a:pt x="21" y="84"/>
                  </a:lnTo>
                  <a:lnTo>
                    <a:pt x="21" y="83"/>
                  </a:lnTo>
                  <a:lnTo>
                    <a:pt x="21" y="82"/>
                  </a:lnTo>
                  <a:lnTo>
                    <a:pt x="22" y="82"/>
                  </a:lnTo>
                  <a:lnTo>
                    <a:pt x="24" y="82"/>
                  </a:lnTo>
                  <a:lnTo>
                    <a:pt x="24" y="81"/>
                  </a:lnTo>
                  <a:lnTo>
                    <a:pt x="24" y="82"/>
                  </a:lnTo>
                  <a:lnTo>
                    <a:pt x="25" y="81"/>
                  </a:lnTo>
                  <a:lnTo>
                    <a:pt x="27" y="81"/>
                  </a:lnTo>
                  <a:lnTo>
                    <a:pt x="27" y="80"/>
                  </a:lnTo>
                  <a:lnTo>
                    <a:pt x="26" y="80"/>
                  </a:lnTo>
                  <a:lnTo>
                    <a:pt x="27" y="80"/>
                  </a:lnTo>
                  <a:lnTo>
                    <a:pt x="28" y="80"/>
                  </a:lnTo>
                  <a:lnTo>
                    <a:pt x="28" y="81"/>
                  </a:lnTo>
                  <a:lnTo>
                    <a:pt x="29" y="81"/>
                  </a:lnTo>
                  <a:lnTo>
                    <a:pt x="31" y="81"/>
                  </a:lnTo>
                  <a:lnTo>
                    <a:pt x="33" y="80"/>
                  </a:lnTo>
                  <a:lnTo>
                    <a:pt x="34" y="80"/>
                  </a:lnTo>
                  <a:lnTo>
                    <a:pt x="35" y="81"/>
                  </a:lnTo>
                  <a:lnTo>
                    <a:pt x="35" y="80"/>
                  </a:lnTo>
                  <a:lnTo>
                    <a:pt x="34" y="80"/>
                  </a:lnTo>
                  <a:lnTo>
                    <a:pt x="34" y="78"/>
                  </a:lnTo>
                  <a:lnTo>
                    <a:pt x="35" y="78"/>
                  </a:lnTo>
                  <a:lnTo>
                    <a:pt x="36" y="78"/>
                  </a:lnTo>
                  <a:lnTo>
                    <a:pt x="38" y="80"/>
                  </a:lnTo>
                  <a:lnTo>
                    <a:pt x="38" y="81"/>
                  </a:lnTo>
                  <a:lnTo>
                    <a:pt x="39" y="81"/>
                  </a:lnTo>
                  <a:lnTo>
                    <a:pt x="40" y="81"/>
                  </a:lnTo>
                  <a:lnTo>
                    <a:pt x="40" y="80"/>
                  </a:lnTo>
                  <a:lnTo>
                    <a:pt x="39" y="80"/>
                  </a:lnTo>
                  <a:lnTo>
                    <a:pt x="38" y="80"/>
                  </a:lnTo>
                  <a:lnTo>
                    <a:pt x="38" y="78"/>
                  </a:lnTo>
                  <a:lnTo>
                    <a:pt x="35" y="76"/>
                  </a:lnTo>
                  <a:lnTo>
                    <a:pt x="36" y="76"/>
                  </a:lnTo>
                  <a:lnTo>
                    <a:pt x="36" y="75"/>
                  </a:lnTo>
                  <a:lnTo>
                    <a:pt x="38" y="75"/>
                  </a:lnTo>
                  <a:lnTo>
                    <a:pt x="38" y="74"/>
                  </a:lnTo>
                  <a:lnTo>
                    <a:pt x="36" y="74"/>
                  </a:lnTo>
                  <a:lnTo>
                    <a:pt x="36" y="73"/>
                  </a:lnTo>
                  <a:lnTo>
                    <a:pt x="36" y="71"/>
                  </a:lnTo>
                  <a:lnTo>
                    <a:pt x="36" y="70"/>
                  </a:lnTo>
                  <a:lnTo>
                    <a:pt x="38" y="70"/>
                  </a:lnTo>
                  <a:lnTo>
                    <a:pt x="39" y="70"/>
                  </a:lnTo>
                  <a:lnTo>
                    <a:pt x="39" y="69"/>
                  </a:lnTo>
                  <a:lnTo>
                    <a:pt x="39" y="70"/>
                  </a:lnTo>
                  <a:lnTo>
                    <a:pt x="38" y="69"/>
                  </a:lnTo>
                  <a:lnTo>
                    <a:pt x="39" y="69"/>
                  </a:lnTo>
                  <a:lnTo>
                    <a:pt x="39" y="68"/>
                  </a:lnTo>
                  <a:lnTo>
                    <a:pt x="40" y="68"/>
                  </a:lnTo>
                  <a:lnTo>
                    <a:pt x="39" y="68"/>
                  </a:lnTo>
                  <a:lnTo>
                    <a:pt x="39" y="67"/>
                  </a:lnTo>
                  <a:lnTo>
                    <a:pt x="40" y="67"/>
                  </a:lnTo>
                  <a:lnTo>
                    <a:pt x="40" y="66"/>
                  </a:lnTo>
                  <a:lnTo>
                    <a:pt x="40" y="67"/>
                  </a:lnTo>
                  <a:lnTo>
                    <a:pt x="39" y="67"/>
                  </a:lnTo>
                  <a:lnTo>
                    <a:pt x="38" y="67"/>
                  </a:lnTo>
                  <a:lnTo>
                    <a:pt x="38" y="68"/>
                  </a:lnTo>
                  <a:lnTo>
                    <a:pt x="36" y="67"/>
                  </a:lnTo>
                  <a:lnTo>
                    <a:pt x="36" y="68"/>
                  </a:lnTo>
                  <a:lnTo>
                    <a:pt x="35" y="68"/>
                  </a:lnTo>
                  <a:lnTo>
                    <a:pt x="35" y="69"/>
                  </a:lnTo>
                  <a:lnTo>
                    <a:pt x="35" y="68"/>
                  </a:lnTo>
                  <a:lnTo>
                    <a:pt x="34" y="68"/>
                  </a:lnTo>
                  <a:lnTo>
                    <a:pt x="34" y="67"/>
                  </a:lnTo>
                  <a:lnTo>
                    <a:pt x="34" y="66"/>
                  </a:lnTo>
                  <a:lnTo>
                    <a:pt x="34" y="67"/>
                  </a:lnTo>
                  <a:lnTo>
                    <a:pt x="33" y="67"/>
                  </a:lnTo>
                  <a:lnTo>
                    <a:pt x="33" y="66"/>
                  </a:lnTo>
                  <a:lnTo>
                    <a:pt x="32" y="66"/>
                  </a:lnTo>
                  <a:lnTo>
                    <a:pt x="33" y="66"/>
                  </a:lnTo>
                  <a:lnTo>
                    <a:pt x="33" y="64"/>
                  </a:lnTo>
                  <a:lnTo>
                    <a:pt x="32" y="64"/>
                  </a:lnTo>
                  <a:lnTo>
                    <a:pt x="32" y="63"/>
                  </a:lnTo>
                  <a:lnTo>
                    <a:pt x="31" y="62"/>
                  </a:lnTo>
                  <a:lnTo>
                    <a:pt x="29" y="62"/>
                  </a:lnTo>
                  <a:lnTo>
                    <a:pt x="31" y="62"/>
                  </a:lnTo>
                  <a:lnTo>
                    <a:pt x="31" y="61"/>
                  </a:lnTo>
                  <a:lnTo>
                    <a:pt x="31" y="60"/>
                  </a:lnTo>
                  <a:lnTo>
                    <a:pt x="32" y="59"/>
                  </a:lnTo>
                  <a:lnTo>
                    <a:pt x="32" y="57"/>
                  </a:lnTo>
                  <a:lnTo>
                    <a:pt x="33" y="57"/>
                  </a:lnTo>
                  <a:lnTo>
                    <a:pt x="33" y="56"/>
                  </a:lnTo>
                  <a:lnTo>
                    <a:pt x="34" y="56"/>
                  </a:lnTo>
                  <a:lnTo>
                    <a:pt x="34" y="55"/>
                  </a:lnTo>
                  <a:lnTo>
                    <a:pt x="35" y="55"/>
                  </a:lnTo>
                  <a:lnTo>
                    <a:pt x="35" y="56"/>
                  </a:lnTo>
                  <a:lnTo>
                    <a:pt x="36" y="56"/>
                  </a:lnTo>
                  <a:lnTo>
                    <a:pt x="36" y="55"/>
                  </a:lnTo>
                  <a:lnTo>
                    <a:pt x="38" y="55"/>
                  </a:lnTo>
                  <a:lnTo>
                    <a:pt x="36" y="55"/>
                  </a:lnTo>
                  <a:lnTo>
                    <a:pt x="38" y="55"/>
                  </a:lnTo>
                  <a:lnTo>
                    <a:pt x="36" y="55"/>
                  </a:lnTo>
                  <a:lnTo>
                    <a:pt x="35" y="55"/>
                  </a:lnTo>
                  <a:lnTo>
                    <a:pt x="32" y="55"/>
                  </a:lnTo>
                  <a:lnTo>
                    <a:pt x="31" y="55"/>
                  </a:lnTo>
                  <a:lnTo>
                    <a:pt x="31" y="56"/>
                  </a:lnTo>
                  <a:lnTo>
                    <a:pt x="29" y="56"/>
                  </a:lnTo>
                  <a:lnTo>
                    <a:pt x="28" y="56"/>
                  </a:lnTo>
                  <a:lnTo>
                    <a:pt x="28" y="57"/>
                  </a:lnTo>
                  <a:lnTo>
                    <a:pt x="27" y="56"/>
                  </a:lnTo>
                  <a:lnTo>
                    <a:pt x="28" y="56"/>
                  </a:lnTo>
                  <a:lnTo>
                    <a:pt x="27" y="56"/>
                  </a:lnTo>
                  <a:lnTo>
                    <a:pt x="27" y="57"/>
                  </a:lnTo>
                  <a:lnTo>
                    <a:pt x="26" y="59"/>
                  </a:lnTo>
                  <a:lnTo>
                    <a:pt x="25" y="59"/>
                  </a:lnTo>
                  <a:lnTo>
                    <a:pt x="25" y="57"/>
                  </a:lnTo>
                  <a:lnTo>
                    <a:pt x="25" y="59"/>
                  </a:lnTo>
                  <a:lnTo>
                    <a:pt x="24" y="59"/>
                  </a:lnTo>
                  <a:lnTo>
                    <a:pt x="24" y="57"/>
                  </a:lnTo>
                  <a:lnTo>
                    <a:pt x="24" y="56"/>
                  </a:lnTo>
                  <a:lnTo>
                    <a:pt x="22" y="57"/>
                  </a:lnTo>
                  <a:lnTo>
                    <a:pt x="21" y="56"/>
                  </a:lnTo>
                  <a:lnTo>
                    <a:pt x="20" y="56"/>
                  </a:lnTo>
                  <a:lnTo>
                    <a:pt x="21" y="57"/>
                  </a:lnTo>
                  <a:lnTo>
                    <a:pt x="21" y="59"/>
                  </a:lnTo>
                  <a:lnTo>
                    <a:pt x="21" y="60"/>
                  </a:lnTo>
                  <a:lnTo>
                    <a:pt x="20" y="60"/>
                  </a:lnTo>
                  <a:lnTo>
                    <a:pt x="20" y="59"/>
                  </a:lnTo>
                  <a:lnTo>
                    <a:pt x="19" y="59"/>
                  </a:lnTo>
                  <a:lnTo>
                    <a:pt x="18" y="57"/>
                  </a:lnTo>
                  <a:lnTo>
                    <a:pt x="17" y="57"/>
                  </a:lnTo>
                  <a:lnTo>
                    <a:pt x="17" y="56"/>
                  </a:lnTo>
                  <a:lnTo>
                    <a:pt x="15" y="56"/>
                  </a:lnTo>
                  <a:lnTo>
                    <a:pt x="15" y="57"/>
                  </a:lnTo>
                  <a:lnTo>
                    <a:pt x="14" y="57"/>
                  </a:lnTo>
                  <a:lnTo>
                    <a:pt x="14" y="59"/>
                  </a:lnTo>
                  <a:lnTo>
                    <a:pt x="15" y="59"/>
                  </a:lnTo>
                  <a:lnTo>
                    <a:pt x="15" y="60"/>
                  </a:lnTo>
                  <a:lnTo>
                    <a:pt x="14" y="60"/>
                  </a:lnTo>
                  <a:lnTo>
                    <a:pt x="14" y="59"/>
                  </a:lnTo>
                  <a:lnTo>
                    <a:pt x="13" y="57"/>
                  </a:lnTo>
                  <a:lnTo>
                    <a:pt x="12" y="57"/>
                  </a:lnTo>
                  <a:lnTo>
                    <a:pt x="12" y="56"/>
                  </a:lnTo>
                  <a:lnTo>
                    <a:pt x="12" y="55"/>
                  </a:lnTo>
                  <a:lnTo>
                    <a:pt x="12" y="54"/>
                  </a:lnTo>
                  <a:lnTo>
                    <a:pt x="13" y="54"/>
                  </a:lnTo>
                  <a:lnTo>
                    <a:pt x="13" y="55"/>
                  </a:lnTo>
                  <a:lnTo>
                    <a:pt x="13" y="56"/>
                  </a:lnTo>
                  <a:lnTo>
                    <a:pt x="14" y="56"/>
                  </a:lnTo>
                  <a:lnTo>
                    <a:pt x="13" y="55"/>
                  </a:lnTo>
                  <a:lnTo>
                    <a:pt x="13" y="54"/>
                  </a:lnTo>
                  <a:lnTo>
                    <a:pt x="14" y="54"/>
                  </a:lnTo>
                  <a:lnTo>
                    <a:pt x="14" y="53"/>
                  </a:lnTo>
                  <a:lnTo>
                    <a:pt x="15" y="52"/>
                  </a:lnTo>
                  <a:lnTo>
                    <a:pt x="15" y="50"/>
                  </a:lnTo>
                  <a:lnTo>
                    <a:pt x="17" y="50"/>
                  </a:lnTo>
                  <a:lnTo>
                    <a:pt x="17" y="49"/>
                  </a:lnTo>
                  <a:lnTo>
                    <a:pt x="17" y="48"/>
                  </a:lnTo>
                  <a:lnTo>
                    <a:pt x="18" y="48"/>
                  </a:lnTo>
                  <a:lnTo>
                    <a:pt x="19" y="48"/>
                  </a:lnTo>
                  <a:lnTo>
                    <a:pt x="19" y="47"/>
                  </a:lnTo>
                  <a:lnTo>
                    <a:pt x="18" y="47"/>
                  </a:lnTo>
                  <a:lnTo>
                    <a:pt x="18" y="46"/>
                  </a:lnTo>
                  <a:lnTo>
                    <a:pt x="17" y="46"/>
                  </a:lnTo>
                  <a:lnTo>
                    <a:pt x="17" y="45"/>
                  </a:lnTo>
                  <a:lnTo>
                    <a:pt x="15" y="45"/>
                  </a:lnTo>
                  <a:lnTo>
                    <a:pt x="15" y="43"/>
                  </a:lnTo>
                  <a:lnTo>
                    <a:pt x="15" y="42"/>
                  </a:lnTo>
                  <a:lnTo>
                    <a:pt x="15" y="41"/>
                  </a:lnTo>
                  <a:lnTo>
                    <a:pt x="17" y="41"/>
                  </a:lnTo>
                  <a:lnTo>
                    <a:pt x="17" y="40"/>
                  </a:lnTo>
                  <a:lnTo>
                    <a:pt x="18" y="41"/>
                  </a:lnTo>
                  <a:lnTo>
                    <a:pt x="20" y="41"/>
                  </a:lnTo>
                  <a:lnTo>
                    <a:pt x="19" y="41"/>
                  </a:lnTo>
                  <a:lnTo>
                    <a:pt x="18" y="40"/>
                  </a:lnTo>
                  <a:lnTo>
                    <a:pt x="17" y="40"/>
                  </a:lnTo>
                  <a:lnTo>
                    <a:pt x="17" y="39"/>
                  </a:lnTo>
                  <a:lnTo>
                    <a:pt x="17" y="40"/>
                  </a:lnTo>
                  <a:lnTo>
                    <a:pt x="17" y="39"/>
                  </a:lnTo>
                  <a:lnTo>
                    <a:pt x="17" y="38"/>
                  </a:lnTo>
                  <a:lnTo>
                    <a:pt x="18" y="38"/>
                  </a:lnTo>
                  <a:lnTo>
                    <a:pt x="18" y="36"/>
                  </a:lnTo>
                  <a:lnTo>
                    <a:pt x="17" y="36"/>
                  </a:lnTo>
                  <a:lnTo>
                    <a:pt x="17" y="38"/>
                  </a:lnTo>
                  <a:lnTo>
                    <a:pt x="15" y="39"/>
                  </a:lnTo>
                  <a:lnTo>
                    <a:pt x="15" y="38"/>
                  </a:lnTo>
                  <a:lnTo>
                    <a:pt x="15" y="39"/>
                  </a:lnTo>
                  <a:lnTo>
                    <a:pt x="15" y="40"/>
                  </a:lnTo>
                  <a:lnTo>
                    <a:pt x="15" y="41"/>
                  </a:lnTo>
                  <a:lnTo>
                    <a:pt x="14" y="41"/>
                  </a:lnTo>
                  <a:lnTo>
                    <a:pt x="14" y="42"/>
                  </a:lnTo>
                  <a:lnTo>
                    <a:pt x="14" y="41"/>
                  </a:lnTo>
                  <a:lnTo>
                    <a:pt x="13" y="41"/>
                  </a:lnTo>
                  <a:lnTo>
                    <a:pt x="13" y="40"/>
                  </a:lnTo>
                  <a:lnTo>
                    <a:pt x="13" y="41"/>
                  </a:lnTo>
                  <a:lnTo>
                    <a:pt x="12" y="41"/>
                  </a:lnTo>
                  <a:lnTo>
                    <a:pt x="12" y="40"/>
                  </a:lnTo>
                  <a:lnTo>
                    <a:pt x="12" y="41"/>
                  </a:lnTo>
                  <a:lnTo>
                    <a:pt x="12" y="42"/>
                  </a:lnTo>
                  <a:lnTo>
                    <a:pt x="11" y="42"/>
                  </a:lnTo>
                  <a:lnTo>
                    <a:pt x="11" y="41"/>
                  </a:lnTo>
                  <a:lnTo>
                    <a:pt x="11" y="40"/>
                  </a:lnTo>
                  <a:lnTo>
                    <a:pt x="12" y="38"/>
                  </a:lnTo>
                  <a:lnTo>
                    <a:pt x="13" y="38"/>
                  </a:lnTo>
                  <a:lnTo>
                    <a:pt x="14" y="36"/>
                  </a:lnTo>
                  <a:lnTo>
                    <a:pt x="15" y="36"/>
                  </a:lnTo>
                  <a:lnTo>
                    <a:pt x="15" y="35"/>
                  </a:lnTo>
                  <a:lnTo>
                    <a:pt x="15" y="36"/>
                  </a:lnTo>
                  <a:lnTo>
                    <a:pt x="14" y="36"/>
                  </a:lnTo>
                  <a:lnTo>
                    <a:pt x="13" y="38"/>
                  </a:lnTo>
                  <a:lnTo>
                    <a:pt x="12" y="38"/>
                  </a:lnTo>
                  <a:lnTo>
                    <a:pt x="11" y="39"/>
                  </a:lnTo>
                  <a:lnTo>
                    <a:pt x="11" y="40"/>
                  </a:lnTo>
                  <a:lnTo>
                    <a:pt x="10" y="40"/>
                  </a:lnTo>
                  <a:lnTo>
                    <a:pt x="10" y="41"/>
                  </a:lnTo>
                  <a:lnTo>
                    <a:pt x="10" y="42"/>
                  </a:lnTo>
                  <a:lnTo>
                    <a:pt x="11" y="42"/>
                  </a:lnTo>
                  <a:lnTo>
                    <a:pt x="11" y="43"/>
                  </a:lnTo>
                  <a:lnTo>
                    <a:pt x="10" y="43"/>
                  </a:lnTo>
                  <a:lnTo>
                    <a:pt x="10" y="45"/>
                  </a:lnTo>
                  <a:lnTo>
                    <a:pt x="8" y="45"/>
                  </a:lnTo>
                  <a:lnTo>
                    <a:pt x="8" y="46"/>
                  </a:lnTo>
                  <a:lnTo>
                    <a:pt x="8" y="47"/>
                  </a:lnTo>
                  <a:lnTo>
                    <a:pt x="8" y="48"/>
                  </a:lnTo>
                  <a:lnTo>
                    <a:pt x="8" y="47"/>
                  </a:lnTo>
                  <a:lnTo>
                    <a:pt x="8" y="48"/>
                  </a:lnTo>
                  <a:lnTo>
                    <a:pt x="7" y="48"/>
                  </a:lnTo>
                  <a:lnTo>
                    <a:pt x="8" y="49"/>
                  </a:lnTo>
                  <a:lnTo>
                    <a:pt x="7" y="49"/>
                  </a:lnTo>
                  <a:lnTo>
                    <a:pt x="7" y="50"/>
                  </a:lnTo>
                  <a:lnTo>
                    <a:pt x="6" y="50"/>
                  </a:lnTo>
                  <a:lnTo>
                    <a:pt x="5" y="50"/>
                  </a:lnTo>
                  <a:lnTo>
                    <a:pt x="5" y="49"/>
                  </a:lnTo>
                  <a:lnTo>
                    <a:pt x="5" y="48"/>
                  </a:lnTo>
                  <a:lnTo>
                    <a:pt x="6" y="48"/>
                  </a:lnTo>
                  <a:lnTo>
                    <a:pt x="6" y="47"/>
                  </a:lnTo>
                  <a:lnTo>
                    <a:pt x="6" y="46"/>
                  </a:lnTo>
                  <a:lnTo>
                    <a:pt x="6" y="45"/>
                  </a:lnTo>
                  <a:lnTo>
                    <a:pt x="7" y="45"/>
                  </a:lnTo>
                  <a:lnTo>
                    <a:pt x="7" y="43"/>
                  </a:lnTo>
                  <a:lnTo>
                    <a:pt x="8" y="43"/>
                  </a:lnTo>
                  <a:lnTo>
                    <a:pt x="8" y="42"/>
                  </a:lnTo>
                  <a:lnTo>
                    <a:pt x="10" y="42"/>
                  </a:lnTo>
                  <a:lnTo>
                    <a:pt x="8" y="43"/>
                  </a:lnTo>
                  <a:lnTo>
                    <a:pt x="7" y="43"/>
                  </a:lnTo>
                  <a:lnTo>
                    <a:pt x="6" y="42"/>
                  </a:lnTo>
                  <a:lnTo>
                    <a:pt x="7" y="41"/>
                  </a:lnTo>
                  <a:lnTo>
                    <a:pt x="6" y="41"/>
                  </a:lnTo>
                  <a:lnTo>
                    <a:pt x="7" y="40"/>
                  </a:lnTo>
                  <a:lnTo>
                    <a:pt x="8" y="39"/>
                  </a:lnTo>
                  <a:lnTo>
                    <a:pt x="7" y="39"/>
                  </a:lnTo>
                  <a:lnTo>
                    <a:pt x="7" y="40"/>
                  </a:lnTo>
                  <a:lnTo>
                    <a:pt x="6" y="40"/>
                  </a:lnTo>
                  <a:lnTo>
                    <a:pt x="6" y="41"/>
                  </a:lnTo>
                  <a:lnTo>
                    <a:pt x="6" y="40"/>
                  </a:lnTo>
                  <a:lnTo>
                    <a:pt x="7" y="40"/>
                  </a:lnTo>
                  <a:lnTo>
                    <a:pt x="7" y="39"/>
                  </a:lnTo>
                  <a:lnTo>
                    <a:pt x="8" y="39"/>
                  </a:lnTo>
                  <a:lnTo>
                    <a:pt x="8" y="38"/>
                  </a:lnTo>
                  <a:lnTo>
                    <a:pt x="7" y="38"/>
                  </a:lnTo>
                  <a:lnTo>
                    <a:pt x="8" y="36"/>
                  </a:lnTo>
                  <a:lnTo>
                    <a:pt x="8" y="35"/>
                  </a:lnTo>
                  <a:lnTo>
                    <a:pt x="8" y="36"/>
                  </a:lnTo>
                  <a:lnTo>
                    <a:pt x="7" y="36"/>
                  </a:lnTo>
                  <a:lnTo>
                    <a:pt x="7" y="35"/>
                  </a:lnTo>
                  <a:lnTo>
                    <a:pt x="8" y="35"/>
                  </a:lnTo>
                  <a:lnTo>
                    <a:pt x="8" y="34"/>
                  </a:lnTo>
                  <a:lnTo>
                    <a:pt x="8" y="35"/>
                  </a:lnTo>
                  <a:lnTo>
                    <a:pt x="8" y="34"/>
                  </a:lnTo>
                  <a:lnTo>
                    <a:pt x="10" y="34"/>
                  </a:lnTo>
                  <a:lnTo>
                    <a:pt x="8" y="34"/>
                  </a:lnTo>
                  <a:lnTo>
                    <a:pt x="10" y="34"/>
                  </a:lnTo>
                  <a:lnTo>
                    <a:pt x="10" y="33"/>
                  </a:lnTo>
                  <a:lnTo>
                    <a:pt x="11" y="33"/>
                  </a:lnTo>
                  <a:lnTo>
                    <a:pt x="12" y="33"/>
                  </a:lnTo>
                  <a:lnTo>
                    <a:pt x="13" y="33"/>
                  </a:lnTo>
                  <a:lnTo>
                    <a:pt x="13" y="32"/>
                  </a:lnTo>
                  <a:lnTo>
                    <a:pt x="14" y="32"/>
                  </a:lnTo>
                  <a:lnTo>
                    <a:pt x="13" y="32"/>
                  </a:lnTo>
                  <a:lnTo>
                    <a:pt x="13" y="33"/>
                  </a:lnTo>
                  <a:lnTo>
                    <a:pt x="12" y="33"/>
                  </a:lnTo>
                  <a:lnTo>
                    <a:pt x="11" y="33"/>
                  </a:lnTo>
                  <a:lnTo>
                    <a:pt x="10" y="33"/>
                  </a:lnTo>
                  <a:lnTo>
                    <a:pt x="10" y="32"/>
                  </a:lnTo>
                  <a:lnTo>
                    <a:pt x="11" y="32"/>
                  </a:lnTo>
                  <a:lnTo>
                    <a:pt x="12" y="32"/>
                  </a:lnTo>
                  <a:lnTo>
                    <a:pt x="11" y="32"/>
                  </a:lnTo>
                  <a:lnTo>
                    <a:pt x="10" y="32"/>
                  </a:lnTo>
                  <a:lnTo>
                    <a:pt x="11" y="32"/>
                  </a:lnTo>
                  <a:lnTo>
                    <a:pt x="11" y="31"/>
                  </a:lnTo>
                  <a:lnTo>
                    <a:pt x="12" y="31"/>
                  </a:lnTo>
                  <a:lnTo>
                    <a:pt x="11" y="31"/>
                  </a:lnTo>
                  <a:lnTo>
                    <a:pt x="11" y="29"/>
                  </a:lnTo>
                  <a:lnTo>
                    <a:pt x="12" y="29"/>
                  </a:lnTo>
                  <a:lnTo>
                    <a:pt x="13" y="29"/>
                  </a:lnTo>
                  <a:lnTo>
                    <a:pt x="14" y="29"/>
                  </a:lnTo>
                  <a:lnTo>
                    <a:pt x="15" y="29"/>
                  </a:lnTo>
                  <a:lnTo>
                    <a:pt x="13" y="29"/>
                  </a:lnTo>
                  <a:lnTo>
                    <a:pt x="12" y="29"/>
                  </a:lnTo>
                  <a:lnTo>
                    <a:pt x="13" y="28"/>
                  </a:lnTo>
                  <a:lnTo>
                    <a:pt x="12" y="28"/>
                  </a:lnTo>
                  <a:lnTo>
                    <a:pt x="12" y="29"/>
                  </a:lnTo>
                  <a:lnTo>
                    <a:pt x="11" y="29"/>
                  </a:lnTo>
                  <a:lnTo>
                    <a:pt x="11" y="31"/>
                  </a:lnTo>
                  <a:lnTo>
                    <a:pt x="10" y="31"/>
                  </a:lnTo>
                  <a:lnTo>
                    <a:pt x="8" y="32"/>
                  </a:lnTo>
                  <a:lnTo>
                    <a:pt x="7" y="32"/>
                  </a:lnTo>
                  <a:lnTo>
                    <a:pt x="7" y="33"/>
                  </a:lnTo>
                  <a:lnTo>
                    <a:pt x="7" y="32"/>
                  </a:lnTo>
                  <a:lnTo>
                    <a:pt x="6" y="32"/>
                  </a:lnTo>
                  <a:lnTo>
                    <a:pt x="5" y="32"/>
                  </a:lnTo>
                  <a:lnTo>
                    <a:pt x="4" y="31"/>
                  </a:lnTo>
                  <a:lnTo>
                    <a:pt x="3" y="31"/>
                  </a:lnTo>
                  <a:lnTo>
                    <a:pt x="4" y="31"/>
                  </a:lnTo>
                  <a:lnTo>
                    <a:pt x="5" y="31"/>
                  </a:lnTo>
                  <a:lnTo>
                    <a:pt x="6" y="29"/>
                  </a:lnTo>
                  <a:lnTo>
                    <a:pt x="7" y="29"/>
                  </a:lnTo>
                  <a:lnTo>
                    <a:pt x="8" y="29"/>
                  </a:lnTo>
                  <a:lnTo>
                    <a:pt x="7" y="29"/>
                  </a:lnTo>
                  <a:lnTo>
                    <a:pt x="6" y="29"/>
                  </a:lnTo>
                  <a:lnTo>
                    <a:pt x="5" y="29"/>
                  </a:lnTo>
                  <a:lnTo>
                    <a:pt x="4" y="29"/>
                  </a:lnTo>
                  <a:lnTo>
                    <a:pt x="3" y="29"/>
                  </a:lnTo>
                  <a:lnTo>
                    <a:pt x="1" y="29"/>
                  </a:lnTo>
                  <a:lnTo>
                    <a:pt x="0" y="29"/>
                  </a:lnTo>
                  <a:lnTo>
                    <a:pt x="1" y="28"/>
                  </a:lnTo>
                  <a:lnTo>
                    <a:pt x="3" y="28"/>
                  </a:lnTo>
                  <a:lnTo>
                    <a:pt x="4" y="28"/>
                  </a:lnTo>
                  <a:lnTo>
                    <a:pt x="5" y="28"/>
                  </a:lnTo>
                  <a:lnTo>
                    <a:pt x="6" y="28"/>
                  </a:lnTo>
                  <a:lnTo>
                    <a:pt x="5" y="28"/>
                  </a:lnTo>
                  <a:lnTo>
                    <a:pt x="5" y="27"/>
                  </a:lnTo>
                  <a:lnTo>
                    <a:pt x="6" y="27"/>
                  </a:lnTo>
                  <a:lnTo>
                    <a:pt x="7" y="27"/>
                  </a:lnTo>
                  <a:lnTo>
                    <a:pt x="6" y="27"/>
                  </a:lnTo>
                  <a:lnTo>
                    <a:pt x="5" y="27"/>
                  </a:lnTo>
                  <a:lnTo>
                    <a:pt x="4" y="27"/>
                  </a:lnTo>
                  <a:lnTo>
                    <a:pt x="5" y="27"/>
                  </a:lnTo>
                  <a:lnTo>
                    <a:pt x="5" y="26"/>
                  </a:lnTo>
                  <a:lnTo>
                    <a:pt x="5" y="25"/>
                  </a:lnTo>
                  <a:lnTo>
                    <a:pt x="6" y="25"/>
                  </a:lnTo>
                  <a:lnTo>
                    <a:pt x="7" y="25"/>
                  </a:lnTo>
                  <a:lnTo>
                    <a:pt x="7" y="26"/>
                  </a:lnTo>
                  <a:lnTo>
                    <a:pt x="8" y="25"/>
                  </a:lnTo>
                  <a:lnTo>
                    <a:pt x="7" y="25"/>
                  </a:lnTo>
                  <a:lnTo>
                    <a:pt x="6" y="25"/>
                  </a:lnTo>
                  <a:lnTo>
                    <a:pt x="6" y="24"/>
                  </a:lnTo>
                  <a:lnTo>
                    <a:pt x="7" y="24"/>
                  </a:lnTo>
                  <a:lnTo>
                    <a:pt x="8" y="24"/>
                  </a:lnTo>
                  <a:lnTo>
                    <a:pt x="10" y="24"/>
                  </a:lnTo>
                  <a:lnTo>
                    <a:pt x="11" y="24"/>
                  </a:lnTo>
                  <a:lnTo>
                    <a:pt x="10" y="24"/>
                  </a:lnTo>
                  <a:lnTo>
                    <a:pt x="8" y="24"/>
                  </a:lnTo>
                  <a:lnTo>
                    <a:pt x="7" y="22"/>
                  </a:lnTo>
                  <a:lnTo>
                    <a:pt x="8" y="21"/>
                  </a:lnTo>
                  <a:lnTo>
                    <a:pt x="7" y="21"/>
                  </a:lnTo>
                  <a:lnTo>
                    <a:pt x="8" y="21"/>
                  </a:lnTo>
                  <a:lnTo>
                    <a:pt x="10" y="21"/>
                  </a:lnTo>
                  <a:lnTo>
                    <a:pt x="11" y="21"/>
                  </a:lnTo>
                  <a:lnTo>
                    <a:pt x="10" y="21"/>
                  </a:lnTo>
                  <a:lnTo>
                    <a:pt x="10" y="20"/>
                  </a:lnTo>
                  <a:lnTo>
                    <a:pt x="8" y="21"/>
                  </a:lnTo>
                  <a:lnTo>
                    <a:pt x="7" y="21"/>
                  </a:lnTo>
                  <a:lnTo>
                    <a:pt x="7" y="20"/>
                  </a:lnTo>
                  <a:lnTo>
                    <a:pt x="8" y="20"/>
                  </a:lnTo>
                  <a:lnTo>
                    <a:pt x="10" y="20"/>
                  </a:lnTo>
                  <a:lnTo>
                    <a:pt x="10" y="19"/>
                  </a:lnTo>
                  <a:lnTo>
                    <a:pt x="8" y="20"/>
                  </a:lnTo>
                  <a:lnTo>
                    <a:pt x="7" y="20"/>
                  </a:lnTo>
                  <a:lnTo>
                    <a:pt x="8" y="19"/>
                  </a:lnTo>
                  <a:lnTo>
                    <a:pt x="7" y="20"/>
                  </a:lnTo>
                  <a:lnTo>
                    <a:pt x="6" y="20"/>
                  </a:lnTo>
                  <a:lnTo>
                    <a:pt x="6" y="19"/>
                  </a:lnTo>
                  <a:lnTo>
                    <a:pt x="5" y="19"/>
                  </a:lnTo>
                  <a:lnTo>
                    <a:pt x="5" y="18"/>
                  </a:lnTo>
                  <a:lnTo>
                    <a:pt x="5" y="17"/>
                  </a:lnTo>
                  <a:lnTo>
                    <a:pt x="6" y="17"/>
                  </a:lnTo>
                  <a:lnTo>
                    <a:pt x="7" y="17"/>
                  </a:lnTo>
                  <a:lnTo>
                    <a:pt x="7" y="18"/>
                  </a:lnTo>
                  <a:lnTo>
                    <a:pt x="8" y="18"/>
                  </a:lnTo>
                  <a:lnTo>
                    <a:pt x="7" y="18"/>
                  </a:lnTo>
                  <a:lnTo>
                    <a:pt x="8" y="17"/>
                  </a:lnTo>
                  <a:lnTo>
                    <a:pt x="10" y="17"/>
                  </a:lnTo>
                  <a:lnTo>
                    <a:pt x="8" y="17"/>
                  </a:lnTo>
                  <a:lnTo>
                    <a:pt x="7" y="17"/>
                  </a:lnTo>
                  <a:lnTo>
                    <a:pt x="7" y="15"/>
                  </a:lnTo>
                  <a:lnTo>
                    <a:pt x="6" y="15"/>
                  </a:lnTo>
                  <a:lnTo>
                    <a:pt x="6" y="14"/>
                  </a:lnTo>
                  <a:lnTo>
                    <a:pt x="7" y="14"/>
                  </a:lnTo>
                  <a:lnTo>
                    <a:pt x="7" y="15"/>
                  </a:lnTo>
                  <a:lnTo>
                    <a:pt x="7" y="14"/>
                  </a:lnTo>
                  <a:lnTo>
                    <a:pt x="6" y="14"/>
                  </a:lnTo>
                  <a:lnTo>
                    <a:pt x="6" y="13"/>
                  </a:lnTo>
                  <a:lnTo>
                    <a:pt x="6" y="12"/>
                  </a:lnTo>
                  <a:lnTo>
                    <a:pt x="7" y="12"/>
                  </a:lnTo>
                  <a:lnTo>
                    <a:pt x="7" y="13"/>
                  </a:lnTo>
                  <a:lnTo>
                    <a:pt x="8" y="13"/>
                  </a:lnTo>
                  <a:lnTo>
                    <a:pt x="8" y="12"/>
                  </a:lnTo>
                  <a:lnTo>
                    <a:pt x="10" y="12"/>
                  </a:lnTo>
                  <a:lnTo>
                    <a:pt x="11" y="12"/>
                  </a:lnTo>
                  <a:lnTo>
                    <a:pt x="10" y="12"/>
                  </a:lnTo>
                  <a:lnTo>
                    <a:pt x="11" y="12"/>
                  </a:lnTo>
                  <a:lnTo>
                    <a:pt x="12" y="12"/>
                  </a:lnTo>
                  <a:lnTo>
                    <a:pt x="13" y="13"/>
                  </a:lnTo>
                  <a:lnTo>
                    <a:pt x="13" y="12"/>
                  </a:lnTo>
                  <a:lnTo>
                    <a:pt x="12" y="12"/>
                  </a:lnTo>
                  <a:lnTo>
                    <a:pt x="11" y="12"/>
                  </a:lnTo>
                  <a:lnTo>
                    <a:pt x="11" y="11"/>
                  </a:lnTo>
                  <a:lnTo>
                    <a:pt x="12" y="11"/>
                  </a:lnTo>
                  <a:lnTo>
                    <a:pt x="12" y="12"/>
                  </a:lnTo>
                  <a:lnTo>
                    <a:pt x="13" y="12"/>
                  </a:lnTo>
                  <a:lnTo>
                    <a:pt x="14" y="12"/>
                  </a:lnTo>
                  <a:lnTo>
                    <a:pt x="14" y="13"/>
                  </a:lnTo>
                  <a:lnTo>
                    <a:pt x="14" y="12"/>
                  </a:lnTo>
                  <a:lnTo>
                    <a:pt x="13" y="12"/>
                  </a:lnTo>
                  <a:lnTo>
                    <a:pt x="13" y="11"/>
                  </a:lnTo>
                  <a:lnTo>
                    <a:pt x="12" y="11"/>
                  </a:lnTo>
                  <a:lnTo>
                    <a:pt x="12" y="10"/>
                  </a:lnTo>
                  <a:lnTo>
                    <a:pt x="11" y="10"/>
                  </a:lnTo>
                  <a:lnTo>
                    <a:pt x="11" y="8"/>
                  </a:lnTo>
                  <a:lnTo>
                    <a:pt x="11" y="10"/>
                  </a:lnTo>
                  <a:lnTo>
                    <a:pt x="12" y="10"/>
                  </a:lnTo>
                  <a:lnTo>
                    <a:pt x="12" y="8"/>
                  </a:lnTo>
                  <a:lnTo>
                    <a:pt x="13" y="8"/>
                  </a:lnTo>
                  <a:lnTo>
                    <a:pt x="12" y="8"/>
                  </a:lnTo>
                  <a:lnTo>
                    <a:pt x="12" y="7"/>
                  </a:lnTo>
                  <a:lnTo>
                    <a:pt x="11" y="7"/>
                  </a:lnTo>
                  <a:lnTo>
                    <a:pt x="11" y="6"/>
                  </a:lnTo>
                  <a:lnTo>
                    <a:pt x="12" y="6"/>
                  </a:lnTo>
                  <a:lnTo>
                    <a:pt x="12" y="7"/>
                  </a:lnTo>
                  <a:lnTo>
                    <a:pt x="13" y="6"/>
                  </a:lnTo>
                  <a:lnTo>
                    <a:pt x="14" y="6"/>
                  </a:lnTo>
                  <a:lnTo>
                    <a:pt x="15" y="6"/>
                  </a:lnTo>
                  <a:lnTo>
                    <a:pt x="17" y="7"/>
                  </a:lnTo>
                  <a:lnTo>
                    <a:pt x="15" y="6"/>
                  </a:lnTo>
                  <a:lnTo>
                    <a:pt x="17" y="6"/>
                  </a:lnTo>
                  <a:lnTo>
                    <a:pt x="15" y="6"/>
                  </a:lnTo>
                  <a:lnTo>
                    <a:pt x="14" y="6"/>
                  </a:lnTo>
                  <a:lnTo>
                    <a:pt x="14" y="5"/>
                  </a:lnTo>
                  <a:lnTo>
                    <a:pt x="14" y="4"/>
                  </a:lnTo>
                  <a:lnTo>
                    <a:pt x="15" y="5"/>
                  </a:lnTo>
                  <a:lnTo>
                    <a:pt x="15" y="4"/>
                  </a:lnTo>
                  <a:lnTo>
                    <a:pt x="14" y="4"/>
                  </a:lnTo>
                  <a:lnTo>
                    <a:pt x="15" y="4"/>
                  </a:lnTo>
                  <a:lnTo>
                    <a:pt x="14" y="3"/>
                  </a:lnTo>
                  <a:lnTo>
                    <a:pt x="15" y="3"/>
                  </a:lnTo>
                  <a:lnTo>
                    <a:pt x="15" y="1"/>
                  </a:lnTo>
                  <a:lnTo>
                    <a:pt x="18" y="1"/>
                  </a:lnTo>
                  <a:lnTo>
                    <a:pt x="18" y="3"/>
                  </a:lnTo>
                  <a:lnTo>
                    <a:pt x="18" y="1"/>
                  </a:lnTo>
                  <a:lnTo>
                    <a:pt x="19" y="1"/>
                  </a:lnTo>
                  <a:lnTo>
                    <a:pt x="18" y="1"/>
                  </a:lnTo>
                  <a:lnTo>
                    <a:pt x="19" y="1"/>
                  </a:lnTo>
                  <a:lnTo>
                    <a:pt x="19" y="3"/>
                  </a:lnTo>
                  <a:lnTo>
                    <a:pt x="20" y="3"/>
                  </a:lnTo>
                  <a:lnTo>
                    <a:pt x="19" y="3"/>
                  </a:lnTo>
                  <a:lnTo>
                    <a:pt x="19" y="4"/>
                  </a:lnTo>
                  <a:lnTo>
                    <a:pt x="19" y="3"/>
                  </a:lnTo>
                  <a:lnTo>
                    <a:pt x="20" y="3"/>
                  </a:lnTo>
                  <a:lnTo>
                    <a:pt x="20" y="1"/>
                  </a:lnTo>
                  <a:lnTo>
                    <a:pt x="21" y="1"/>
                  </a:lnTo>
                  <a:lnTo>
                    <a:pt x="22" y="3"/>
                  </a:lnTo>
                  <a:lnTo>
                    <a:pt x="21" y="3"/>
                  </a:lnTo>
                  <a:lnTo>
                    <a:pt x="21" y="4"/>
                  </a:lnTo>
                  <a:lnTo>
                    <a:pt x="22" y="4"/>
                  </a:lnTo>
                  <a:lnTo>
                    <a:pt x="22" y="3"/>
                  </a:lnTo>
                  <a:lnTo>
                    <a:pt x="24" y="3"/>
                  </a:lnTo>
                  <a:lnTo>
                    <a:pt x="25" y="3"/>
                  </a:lnTo>
                  <a:lnTo>
                    <a:pt x="26" y="1"/>
                  </a:lnTo>
                  <a:lnTo>
                    <a:pt x="26" y="3"/>
                  </a:lnTo>
                  <a:lnTo>
                    <a:pt x="26" y="1"/>
                  </a:lnTo>
                  <a:lnTo>
                    <a:pt x="27" y="1"/>
                  </a:lnTo>
                  <a:lnTo>
                    <a:pt x="28" y="1"/>
                  </a:lnTo>
                  <a:lnTo>
                    <a:pt x="29" y="1"/>
                  </a:lnTo>
                  <a:lnTo>
                    <a:pt x="31" y="1"/>
                  </a:lnTo>
                  <a:lnTo>
                    <a:pt x="32" y="1"/>
                  </a:lnTo>
                  <a:lnTo>
                    <a:pt x="33" y="1"/>
                  </a:lnTo>
                  <a:lnTo>
                    <a:pt x="34" y="1"/>
                  </a:lnTo>
                  <a:lnTo>
                    <a:pt x="34"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68" name="Freeform 1233">
              <a:extLst>
                <a:ext uri="{FF2B5EF4-FFF2-40B4-BE49-F238E27FC236}">
                  <a16:creationId xmlns:a16="http://schemas.microsoft.com/office/drawing/2014/main" id="{3BAEB0F6-29BB-471C-AE51-96F3073A2DBA}"/>
                </a:ext>
              </a:extLst>
            </p:cNvPr>
            <p:cNvSpPr>
              <a:spLocks/>
            </p:cNvSpPr>
            <p:nvPr/>
          </p:nvSpPr>
          <p:spPr bwMode="auto">
            <a:xfrm>
              <a:off x="5761021" y="2118543"/>
              <a:ext cx="2671" cy="1336"/>
            </a:xfrm>
            <a:custGeom>
              <a:avLst/>
              <a:gdLst>
                <a:gd name="T0" fmla="*/ 2 w 2"/>
                <a:gd name="T1" fmla="*/ 0 h 1"/>
                <a:gd name="T2" fmla="*/ 2 w 2"/>
                <a:gd name="T3" fmla="*/ 0 h 1"/>
                <a:gd name="T4" fmla="*/ 2 w 2"/>
                <a:gd name="T5" fmla="*/ 0 h 1"/>
                <a:gd name="T6" fmla="*/ 2 w 2"/>
                <a:gd name="T7" fmla="*/ 1 h 1"/>
                <a:gd name="T8" fmla="*/ 2 w 2"/>
                <a:gd name="T9" fmla="*/ 1 h 1"/>
                <a:gd name="T10" fmla="*/ 2 w 2"/>
                <a:gd name="T11" fmla="*/ 1 h 1"/>
                <a:gd name="T12" fmla="*/ 1 w 2"/>
                <a:gd name="T13" fmla="*/ 1 h 1"/>
                <a:gd name="T14" fmla="*/ 2 w 2"/>
                <a:gd name="T15" fmla="*/ 1 h 1"/>
                <a:gd name="T16" fmla="*/ 2 w 2"/>
                <a:gd name="T17" fmla="*/ 1 h 1"/>
                <a:gd name="T18" fmla="*/ 2 w 2"/>
                <a:gd name="T19" fmla="*/ 1 h 1"/>
                <a:gd name="T20" fmla="*/ 1 w 2"/>
                <a:gd name="T21" fmla="*/ 1 h 1"/>
                <a:gd name="T22" fmla="*/ 1 w 2"/>
                <a:gd name="T23" fmla="*/ 1 h 1"/>
                <a:gd name="T24" fmla="*/ 1 w 2"/>
                <a:gd name="T25" fmla="*/ 1 h 1"/>
                <a:gd name="T26" fmla="*/ 1 w 2"/>
                <a:gd name="T27" fmla="*/ 1 h 1"/>
                <a:gd name="T28" fmla="*/ 1 w 2"/>
                <a:gd name="T29" fmla="*/ 1 h 1"/>
                <a:gd name="T30" fmla="*/ 1 w 2"/>
                <a:gd name="T31" fmla="*/ 0 h 1"/>
                <a:gd name="T32" fmla="*/ 1 w 2"/>
                <a:gd name="T33" fmla="*/ 0 h 1"/>
                <a:gd name="T34" fmla="*/ 1 w 2"/>
                <a:gd name="T35" fmla="*/ 0 h 1"/>
                <a:gd name="T36" fmla="*/ 1 w 2"/>
                <a:gd name="T37" fmla="*/ 0 h 1"/>
                <a:gd name="T38" fmla="*/ 1 w 2"/>
                <a:gd name="T39" fmla="*/ 0 h 1"/>
                <a:gd name="T40" fmla="*/ 1 w 2"/>
                <a:gd name="T41" fmla="*/ 0 h 1"/>
                <a:gd name="T42" fmla="*/ 0 w 2"/>
                <a:gd name="T43" fmla="*/ 0 h 1"/>
                <a:gd name="T44" fmla="*/ 0 w 2"/>
                <a:gd name="T45" fmla="*/ 0 h 1"/>
                <a:gd name="T46" fmla="*/ 1 w 2"/>
                <a:gd name="T47" fmla="*/ 0 h 1"/>
                <a:gd name="T48" fmla="*/ 1 w 2"/>
                <a:gd name="T49" fmla="*/ 0 h 1"/>
                <a:gd name="T50" fmla="*/ 2 w 2"/>
                <a:gd name="T51" fmla="*/ 0 h 1"/>
                <a:gd name="T52" fmla="*/ 2 w 2"/>
                <a:gd name="T53" fmla="*/ 0 h 1"/>
                <a:gd name="T54" fmla="*/ 2 w 2"/>
                <a:gd name="T5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 h="1">
                  <a:moveTo>
                    <a:pt x="2" y="0"/>
                  </a:moveTo>
                  <a:lnTo>
                    <a:pt x="2" y="0"/>
                  </a:lnTo>
                  <a:lnTo>
                    <a:pt x="2" y="0"/>
                  </a:lnTo>
                  <a:lnTo>
                    <a:pt x="2" y="1"/>
                  </a:lnTo>
                  <a:lnTo>
                    <a:pt x="2" y="1"/>
                  </a:lnTo>
                  <a:lnTo>
                    <a:pt x="2" y="1"/>
                  </a:lnTo>
                  <a:lnTo>
                    <a:pt x="1" y="1"/>
                  </a:lnTo>
                  <a:lnTo>
                    <a:pt x="2" y="1"/>
                  </a:lnTo>
                  <a:lnTo>
                    <a:pt x="2" y="1"/>
                  </a:lnTo>
                  <a:lnTo>
                    <a:pt x="2" y="1"/>
                  </a:lnTo>
                  <a:lnTo>
                    <a:pt x="1" y="1"/>
                  </a:lnTo>
                  <a:lnTo>
                    <a:pt x="1" y="1"/>
                  </a:lnTo>
                  <a:lnTo>
                    <a:pt x="1" y="1"/>
                  </a:lnTo>
                  <a:lnTo>
                    <a:pt x="1" y="1"/>
                  </a:lnTo>
                  <a:lnTo>
                    <a:pt x="1" y="1"/>
                  </a:lnTo>
                  <a:lnTo>
                    <a:pt x="1" y="0"/>
                  </a:lnTo>
                  <a:lnTo>
                    <a:pt x="1" y="0"/>
                  </a:lnTo>
                  <a:lnTo>
                    <a:pt x="1" y="0"/>
                  </a:lnTo>
                  <a:lnTo>
                    <a:pt x="1" y="0"/>
                  </a:lnTo>
                  <a:lnTo>
                    <a:pt x="1" y="0"/>
                  </a:lnTo>
                  <a:lnTo>
                    <a:pt x="1" y="0"/>
                  </a:lnTo>
                  <a:lnTo>
                    <a:pt x="0" y="0"/>
                  </a:lnTo>
                  <a:lnTo>
                    <a:pt x="0" y="0"/>
                  </a:lnTo>
                  <a:lnTo>
                    <a:pt x="1" y="0"/>
                  </a:lnTo>
                  <a:lnTo>
                    <a:pt x="1"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69" name="Freeform 1234">
              <a:extLst>
                <a:ext uri="{FF2B5EF4-FFF2-40B4-BE49-F238E27FC236}">
                  <a16:creationId xmlns:a16="http://schemas.microsoft.com/office/drawing/2014/main" id="{F878CAB0-3767-43A5-AC4B-E2ADFCE8F56F}"/>
                </a:ext>
              </a:extLst>
            </p:cNvPr>
            <p:cNvSpPr>
              <a:spLocks/>
            </p:cNvSpPr>
            <p:nvPr/>
          </p:nvSpPr>
          <p:spPr bwMode="auto">
            <a:xfrm>
              <a:off x="5755679" y="2117208"/>
              <a:ext cx="2671" cy="2671"/>
            </a:xfrm>
            <a:custGeom>
              <a:avLst/>
              <a:gdLst>
                <a:gd name="T0" fmla="*/ 1 w 2"/>
                <a:gd name="T1" fmla="*/ 0 h 2"/>
                <a:gd name="T2" fmla="*/ 2 w 2"/>
                <a:gd name="T3" fmla="*/ 1 h 2"/>
                <a:gd name="T4" fmla="*/ 2 w 2"/>
                <a:gd name="T5" fmla="*/ 1 h 2"/>
                <a:gd name="T6" fmla="*/ 2 w 2"/>
                <a:gd name="T7" fmla="*/ 1 h 2"/>
                <a:gd name="T8" fmla="*/ 2 w 2"/>
                <a:gd name="T9" fmla="*/ 1 h 2"/>
                <a:gd name="T10" fmla="*/ 2 w 2"/>
                <a:gd name="T11" fmla="*/ 1 h 2"/>
                <a:gd name="T12" fmla="*/ 2 w 2"/>
                <a:gd name="T13" fmla="*/ 1 h 2"/>
                <a:gd name="T14" fmla="*/ 2 w 2"/>
                <a:gd name="T15" fmla="*/ 1 h 2"/>
                <a:gd name="T16" fmla="*/ 2 w 2"/>
                <a:gd name="T17" fmla="*/ 1 h 2"/>
                <a:gd name="T18" fmla="*/ 2 w 2"/>
                <a:gd name="T19" fmla="*/ 1 h 2"/>
                <a:gd name="T20" fmla="*/ 1 w 2"/>
                <a:gd name="T21" fmla="*/ 1 h 2"/>
                <a:gd name="T22" fmla="*/ 1 w 2"/>
                <a:gd name="T23" fmla="*/ 2 h 2"/>
                <a:gd name="T24" fmla="*/ 2 w 2"/>
                <a:gd name="T25" fmla="*/ 2 h 2"/>
                <a:gd name="T26" fmla="*/ 2 w 2"/>
                <a:gd name="T27" fmla="*/ 1 h 2"/>
                <a:gd name="T28" fmla="*/ 2 w 2"/>
                <a:gd name="T29" fmla="*/ 1 h 2"/>
                <a:gd name="T30" fmla="*/ 2 w 2"/>
                <a:gd name="T31" fmla="*/ 2 h 2"/>
                <a:gd name="T32" fmla="*/ 2 w 2"/>
                <a:gd name="T33" fmla="*/ 2 h 2"/>
                <a:gd name="T34" fmla="*/ 1 w 2"/>
                <a:gd name="T35" fmla="*/ 2 h 2"/>
                <a:gd name="T36" fmla="*/ 1 w 2"/>
                <a:gd name="T37" fmla="*/ 2 h 2"/>
                <a:gd name="T38" fmla="*/ 1 w 2"/>
                <a:gd name="T39" fmla="*/ 1 h 2"/>
                <a:gd name="T40" fmla="*/ 1 w 2"/>
                <a:gd name="T41" fmla="*/ 1 h 2"/>
                <a:gd name="T42" fmla="*/ 0 w 2"/>
                <a:gd name="T43" fmla="*/ 1 h 2"/>
                <a:gd name="T44" fmla="*/ 0 w 2"/>
                <a:gd name="T45" fmla="*/ 1 h 2"/>
                <a:gd name="T46" fmla="*/ 0 w 2"/>
                <a:gd name="T47" fmla="*/ 1 h 2"/>
                <a:gd name="T48" fmla="*/ 0 w 2"/>
                <a:gd name="T49" fmla="*/ 1 h 2"/>
                <a:gd name="T50" fmla="*/ 0 w 2"/>
                <a:gd name="T51" fmla="*/ 1 h 2"/>
                <a:gd name="T52" fmla="*/ 0 w 2"/>
                <a:gd name="T53" fmla="*/ 1 h 2"/>
                <a:gd name="T54" fmla="*/ 0 w 2"/>
                <a:gd name="T55" fmla="*/ 1 h 2"/>
                <a:gd name="T56" fmla="*/ 0 w 2"/>
                <a:gd name="T57" fmla="*/ 1 h 2"/>
                <a:gd name="T58" fmla="*/ 0 w 2"/>
                <a:gd name="T59" fmla="*/ 1 h 2"/>
                <a:gd name="T60" fmla="*/ 0 w 2"/>
                <a:gd name="T61" fmla="*/ 1 h 2"/>
                <a:gd name="T62" fmla="*/ 0 w 2"/>
                <a:gd name="T63" fmla="*/ 1 h 2"/>
                <a:gd name="T64" fmla="*/ 0 w 2"/>
                <a:gd name="T65" fmla="*/ 1 h 2"/>
                <a:gd name="T66" fmla="*/ 0 w 2"/>
                <a:gd name="T67" fmla="*/ 1 h 2"/>
                <a:gd name="T68" fmla="*/ 0 w 2"/>
                <a:gd name="T69" fmla="*/ 1 h 2"/>
                <a:gd name="T70" fmla="*/ 0 w 2"/>
                <a:gd name="T71" fmla="*/ 0 h 2"/>
                <a:gd name="T72" fmla="*/ 0 w 2"/>
                <a:gd name="T73" fmla="*/ 0 h 2"/>
                <a:gd name="T74" fmla="*/ 0 w 2"/>
                <a:gd name="T75" fmla="*/ 0 h 2"/>
                <a:gd name="T76" fmla="*/ 0 w 2"/>
                <a:gd name="T77" fmla="*/ 0 h 2"/>
                <a:gd name="T78" fmla="*/ 0 w 2"/>
                <a:gd name="T79" fmla="*/ 0 h 2"/>
                <a:gd name="T80" fmla="*/ 1 w 2"/>
                <a:gd name="T81" fmla="*/ 0 h 2"/>
                <a:gd name="T82" fmla="*/ 1 w 2"/>
                <a:gd name="T83" fmla="*/ 0 h 2"/>
                <a:gd name="T84" fmla="*/ 1 w 2"/>
                <a:gd name="T85" fmla="*/ 0 h 2"/>
                <a:gd name="T86" fmla="*/ 1 w 2"/>
                <a:gd name="T87" fmla="*/ 0 h 2"/>
                <a:gd name="T88" fmla="*/ 1 w 2"/>
                <a:gd name="T8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 h="2">
                  <a:moveTo>
                    <a:pt x="1" y="0"/>
                  </a:moveTo>
                  <a:lnTo>
                    <a:pt x="2" y="1"/>
                  </a:lnTo>
                  <a:lnTo>
                    <a:pt x="2" y="1"/>
                  </a:lnTo>
                  <a:lnTo>
                    <a:pt x="2" y="1"/>
                  </a:lnTo>
                  <a:lnTo>
                    <a:pt x="2" y="1"/>
                  </a:lnTo>
                  <a:lnTo>
                    <a:pt x="2" y="1"/>
                  </a:lnTo>
                  <a:lnTo>
                    <a:pt x="2" y="1"/>
                  </a:lnTo>
                  <a:lnTo>
                    <a:pt x="2" y="1"/>
                  </a:lnTo>
                  <a:lnTo>
                    <a:pt x="2" y="1"/>
                  </a:lnTo>
                  <a:lnTo>
                    <a:pt x="2" y="1"/>
                  </a:lnTo>
                  <a:lnTo>
                    <a:pt x="1" y="1"/>
                  </a:lnTo>
                  <a:lnTo>
                    <a:pt x="1" y="2"/>
                  </a:lnTo>
                  <a:lnTo>
                    <a:pt x="2" y="2"/>
                  </a:lnTo>
                  <a:lnTo>
                    <a:pt x="2" y="1"/>
                  </a:lnTo>
                  <a:lnTo>
                    <a:pt x="2" y="1"/>
                  </a:lnTo>
                  <a:lnTo>
                    <a:pt x="2" y="2"/>
                  </a:lnTo>
                  <a:lnTo>
                    <a:pt x="2" y="2"/>
                  </a:lnTo>
                  <a:lnTo>
                    <a:pt x="1" y="2"/>
                  </a:lnTo>
                  <a:lnTo>
                    <a:pt x="1" y="2"/>
                  </a:lnTo>
                  <a:lnTo>
                    <a:pt x="1" y="1"/>
                  </a:lnTo>
                  <a:lnTo>
                    <a:pt x="1"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0"/>
                  </a:lnTo>
                  <a:lnTo>
                    <a:pt x="0" y="0"/>
                  </a:lnTo>
                  <a:lnTo>
                    <a:pt x="0" y="0"/>
                  </a:lnTo>
                  <a:lnTo>
                    <a:pt x="0" y="0"/>
                  </a:lnTo>
                  <a:lnTo>
                    <a:pt x="0"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70" name="Freeform 1235">
              <a:extLst>
                <a:ext uri="{FF2B5EF4-FFF2-40B4-BE49-F238E27FC236}">
                  <a16:creationId xmlns:a16="http://schemas.microsoft.com/office/drawing/2014/main" id="{49E4FA26-267F-4B7E-89DB-AAA283D53AA5}"/>
                </a:ext>
              </a:extLst>
            </p:cNvPr>
            <p:cNvSpPr>
              <a:spLocks/>
            </p:cNvSpPr>
            <p:nvPr/>
          </p:nvSpPr>
          <p:spPr bwMode="auto">
            <a:xfrm>
              <a:off x="5755679" y="2111866"/>
              <a:ext cx="10684" cy="6678"/>
            </a:xfrm>
            <a:custGeom>
              <a:avLst/>
              <a:gdLst>
                <a:gd name="T0" fmla="*/ 4 w 8"/>
                <a:gd name="T1" fmla="*/ 0 h 5"/>
                <a:gd name="T2" fmla="*/ 4 w 8"/>
                <a:gd name="T3" fmla="*/ 0 h 5"/>
                <a:gd name="T4" fmla="*/ 4 w 8"/>
                <a:gd name="T5" fmla="*/ 1 h 5"/>
                <a:gd name="T6" fmla="*/ 5 w 8"/>
                <a:gd name="T7" fmla="*/ 1 h 5"/>
                <a:gd name="T8" fmla="*/ 5 w 8"/>
                <a:gd name="T9" fmla="*/ 1 h 5"/>
                <a:gd name="T10" fmla="*/ 5 w 8"/>
                <a:gd name="T11" fmla="*/ 1 h 5"/>
                <a:gd name="T12" fmla="*/ 4 w 8"/>
                <a:gd name="T13" fmla="*/ 3 h 5"/>
                <a:gd name="T14" fmla="*/ 4 w 8"/>
                <a:gd name="T15" fmla="*/ 3 h 5"/>
                <a:gd name="T16" fmla="*/ 4 w 8"/>
                <a:gd name="T17" fmla="*/ 3 h 5"/>
                <a:gd name="T18" fmla="*/ 5 w 8"/>
                <a:gd name="T19" fmla="*/ 3 h 5"/>
                <a:gd name="T20" fmla="*/ 5 w 8"/>
                <a:gd name="T21" fmla="*/ 3 h 5"/>
                <a:gd name="T22" fmla="*/ 6 w 8"/>
                <a:gd name="T23" fmla="*/ 3 h 5"/>
                <a:gd name="T24" fmla="*/ 6 w 8"/>
                <a:gd name="T25" fmla="*/ 3 h 5"/>
                <a:gd name="T26" fmla="*/ 6 w 8"/>
                <a:gd name="T27" fmla="*/ 3 h 5"/>
                <a:gd name="T28" fmla="*/ 7 w 8"/>
                <a:gd name="T29" fmla="*/ 3 h 5"/>
                <a:gd name="T30" fmla="*/ 7 w 8"/>
                <a:gd name="T31" fmla="*/ 3 h 5"/>
                <a:gd name="T32" fmla="*/ 6 w 8"/>
                <a:gd name="T33" fmla="*/ 4 h 5"/>
                <a:gd name="T34" fmla="*/ 7 w 8"/>
                <a:gd name="T35" fmla="*/ 4 h 5"/>
                <a:gd name="T36" fmla="*/ 7 w 8"/>
                <a:gd name="T37" fmla="*/ 4 h 5"/>
                <a:gd name="T38" fmla="*/ 7 w 8"/>
                <a:gd name="T39" fmla="*/ 3 h 5"/>
                <a:gd name="T40" fmla="*/ 8 w 8"/>
                <a:gd name="T41" fmla="*/ 4 h 5"/>
                <a:gd name="T42" fmla="*/ 7 w 8"/>
                <a:gd name="T43" fmla="*/ 4 h 5"/>
                <a:gd name="T44" fmla="*/ 7 w 8"/>
                <a:gd name="T45" fmla="*/ 4 h 5"/>
                <a:gd name="T46" fmla="*/ 6 w 8"/>
                <a:gd name="T47" fmla="*/ 4 h 5"/>
                <a:gd name="T48" fmla="*/ 5 w 8"/>
                <a:gd name="T49" fmla="*/ 4 h 5"/>
                <a:gd name="T50" fmla="*/ 5 w 8"/>
                <a:gd name="T51" fmla="*/ 4 h 5"/>
                <a:gd name="T52" fmla="*/ 4 w 8"/>
                <a:gd name="T53" fmla="*/ 4 h 5"/>
                <a:gd name="T54" fmla="*/ 4 w 8"/>
                <a:gd name="T55" fmla="*/ 4 h 5"/>
                <a:gd name="T56" fmla="*/ 4 w 8"/>
                <a:gd name="T57" fmla="*/ 4 h 5"/>
                <a:gd name="T58" fmla="*/ 2 w 8"/>
                <a:gd name="T59" fmla="*/ 4 h 5"/>
                <a:gd name="T60" fmla="*/ 2 w 8"/>
                <a:gd name="T61" fmla="*/ 3 h 5"/>
                <a:gd name="T62" fmla="*/ 2 w 8"/>
                <a:gd name="T63" fmla="*/ 3 h 5"/>
                <a:gd name="T64" fmla="*/ 2 w 8"/>
                <a:gd name="T65" fmla="*/ 3 h 5"/>
                <a:gd name="T66" fmla="*/ 1 w 8"/>
                <a:gd name="T67" fmla="*/ 3 h 5"/>
                <a:gd name="T68" fmla="*/ 1 w 8"/>
                <a:gd name="T69" fmla="*/ 3 h 5"/>
                <a:gd name="T70" fmla="*/ 1 w 8"/>
                <a:gd name="T71" fmla="*/ 3 h 5"/>
                <a:gd name="T72" fmla="*/ 1 w 8"/>
                <a:gd name="T73" fmla="*/ 3 h 5"/>
                <a:gd name="T74" fmla="*/ 1 w 8"/>
                <a:gd name="T75" fmla="*/ 3 h 5"/>
                <a:gd name="T76" fmla="*/ 1 w 8"/>
                <a:gd name="T77" fmla="*/ 4 h 5"/>
                <a:gd name="T78" fmla="*/ 0 w 8"/>
                <a:gd name="T79" fmla="*/ 3 h 5"/>
                <a:gd name="T80" fmla="*/ 0 w 8"/>
                <a:gd name="T81" fmla="*/ 1 h 5"/>
                <a:gd name="T82" fmla="*/ 2 w 8"/>
                <a:gd name="T8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5">
                  <a:moveTo>
                    <a:pt x="2" y="0"/>
                  </a:moveTo>
                  <a:lnTo>
                    <a:pt x="4" y="0"/>
                  </a:lnTo>
                  <a:lnTo>
                    <a:pt x="4" y="0"/>
                  </a:lnTo>
                  <a:lnTo>
                    <a:pt x="4" y="0"/>
                  </a:lnTo>
                  <a:lnTo>
                    <a:pt x="4" y="0"/>
                  </a:lnTo>
                  <a:lnTo>
                    <a:pt x="4" y="0"/>
                  </a:lnTo>
                  <a:lnTo>
                    <a:pt x="4" y="1"/>
                  </a:lnTo>
                  <a:lnTo>
                    <a:pt x="4" y="1"/>
                  </a:lnTo>
                  <a:lnTo>
                    <a:pt x="4" y="1"/>
                  </a:lnTo>
                  <a:lnTo>
                    <a:pt x="4" y="1"/>
                  </a:lnTo>
                  <a:lnTo>
                    <a:pt x="4" y="1"/>
                  </a:lnTo>
                  <a:lnTo>
                    <a:pt x="5" y="1"/>
                  </a:lnTo>
                  <a:lnTo>
                    <a:pt x="5" y="1"/>
                  </a:lnTo>
                  <a:lnTo>
                    <a:pt x="5" y="1"/>
                  </a:lnTo>
                  <a:lnTo>
                    <a:pt x="5" y="1"/>
                  </a:lnTo>
                  <a:lnTo>
                    <a:pt x="5" y="1"/>
                  </a:lnTo>
                  <a:lnTo>
                    <a:pt x="5" y="1"/>
                  </a:lnTo>
                  <a:lnTo>
                    <a:pt x="5" y="1"/>
                  </a:lnTo>
                  <a:lnTo>
                    <a:pt x="4" y="1"/>
                  </a:lnTo>
                  <a:lnTo>
                    <a:pt x="4" y="1"/>
                  </a:lnTo>
                  <a:lnTo>
                    <a:pt x="4" y="3"/>
                  </a:lnTo>
                  <a:lnTo>
                    <a:pt x="4" y="3"/>
                  </a:lnTo>
                  <a:lnTo>
                    <a:pt x="4" y="3"/>
                  </a:lnTo>
                  <a:lnTo>
                    <a:pt x="4" y="3"/>
                  </a:lnTo>
                  <a:lnTo>
                    <a:pt x="4" y="3"/>
                  </a:lnTo>
                  <a:lnTo>
                    <a:pt x="4" y="3"/>
                  </a:lnTo>
                  <a:lnTo>
                    <a:pt x="4" y="3"/>
                  </a:lnTo>
                  <a:lnTo>
                    <a:pt x="4" y="3"/>
                  </a:lnTo>
                  <a:lnTo>
                    <a:pt x="5" y="3"/>
                  </a:lnTo>
                  <a:lnTo>
                    <a:pt x="5" y="3"/>
                  </a:lnTo>
                  <a:lnTo>
                    <a:pt x="5" y="3"/>
                  </a:lnTo>
                  <a:lnTo>
                    <a:pt x="5" y="3"/>
                  </a:lnTo>
                  <a:lnTo>
                    <a:pt x="5" y="3"/>
                  </a:lnTo>
                  <a:lnTo>
                    <a:pt x="5" y="3"/>
                  </a:lnTo>
                  <a:lnTo>
                    <a:pt x="6" y="3"/>
                  </a:lnTo>
                  <a:lnTo>
                    <a:pt x="6" y="3"/>
                  </a:lnTo>
                  <a:lnTo>
                    <a:pt x="6" y="3"/>
                  </a:lnTo>
                  <a:lnTo>
                    <a:pt x="6" y="3"/>
                  </a:lnTo>
                  <a:lnTo>
                    <a:pt x="6" y="3"/>
                  </a:lnTo>
                  <a:lnTo>
                    <a:pt x="6" y="3"/>
                  </a:lnTo>
                  <a:lnTo>
                    <a:pt x="6" y="3"/>
                  </a:lnTo>
                  <a:lnTo>
                    <a:pt x="6" y="3"/>
                  </a:lnTo>
                  <a:lnTo>
                    <a:pt x="6" y="3"/>
                  </a:lnTo>
                  <a:lnTo>
                    <a:pt x="6" y="3"/>
                  </a:lnTo>
                  <a:lnTo>
                    <a:pt x="7" y="3"/>
                  </a:lnTo>
                  <a:lnTo>
                    <a:pt x="7" y="3"/>
                  </a:lnTo>
                  <a:lnTo>
                    <a:pt x="7" y="3"/>
                  </a:lnTo>
                  <a:lnTo>
                    <a:pt x="7" y="3"/>
                  </a:lnTo>
                  <a:lnTo>
                    <a:pt x="7" y="3"/>
                  </a:lnTo>
                  <a:lnTo>
                    <a:pt x="7" y="4"/>
                  </a:lnTo>
                  <a:lnTo>
                    <a:pt x="6" y="4"/>
                  </a:lnTo>
                  <a:lnTo>
                    <a:pt x="6" y="4"/>
                  </a:lnTo>
                  <a:lnTo>
                    <a:pt x="7" y="4"/>
                  </a:lnTo>
                  <a:lnTo>
                    <a:pt x="7" y="4"/>
                  </a:lnTo>
                  <a:lnTo>
                    <a:pt x="7" y="4"/>
                  </a:lnTo>
                  <a:lnTo>
                    <a:pt x="7" y="4"/>
                  </a:lnTo>
                  <a:lnTo>
                    <a:pt x="7" y="4"/>
                  </a:lnTo>
                  <a:lnTo>
                    <a:pt x="7" y="4"/>
                  </a:lnTo>
                  <a:lnTo>
                    <a:pt x="7" y="3"/>
                  </a:lnTo>
                  <a:lnTo>
                    <a:pt x="7" y="3"/>
                  </a:lnTo>
                  <a:lnTo>
                    <a:pt x="8" y="3"/>
                  </a:lnTo>
                  <a:lnTo>
                    <a:pt x="8" y="4"/>
                  </a:lnTo>
                  <a:lnTo>
                    <a:pt x="8" y="4"/>
                  </a:lnTo>
                  <a:lnTo>
                    <a:pt x="8" y="4"/>
                  </a:lnTo>
                  <a:lnTo>
                    <a:pt x="8" y="4"/>
                  </a:lnTo>
                  <a:lnTo>
                    <a:pt x="7" y="4"/>
                  </a:lnTo>
                  <a:lnTo>
                    <a:pt x="7" y="4"/>
                  </a:lnTo>
                  <a:lnTo>
                    <a:pt x="7" y="4"/>
                  </a:lnTo>
                  <a:lnTo>
                    <a:pt x="7" y="4"/>
                  </a:lnTo>
                  <a:lnTo>
                    <a:pt x="6" y="5"/>
                  </a:lnTo>
                  <a:lnTo>
                    <a:pt x="6" y="5"/>
                  </a:lnTo>
                  <a:lnTo>
                    <a:pt x="6" y="4"/>
                  </a:lnTo>
                  <a:lnTo>
                    <a:pt x="5" y="4"/>
                  </a:lnTo>
                  <a:lnTo>
                    <a:pt x="5" y="4"/>
                  </a:lnTo>
                  <a:lnTo>
                    <a:pt x="5" y="4"/>
                  </a:lnTo>
                  <a:lnTo>
                    <a:pt x="5" y="4"/>
                  </a:lnTo>
                  <a:lnTo>
                    <a:pt x="5" y="4"/>
                  </a:lnTo>
                  <a:lnTo>
                    <a:pt x="5" y="4"/>
                  </a:lnTo>
                  <a:lnTo>
                    <a:pt x="5" y="4"/>
                  </a:lnTo>
                  <a:lnTo>
                    <a:pt x="4" y="4"/>
                  </a:lnTo>
                  <a:lnTo>
                    <a:pt x="4" y="4"/>
                  </a:lnTo>
                  <a:lnTo>
                    <a:pt x="4" y="4"/>
                  </a:lnTo>
                  <a:lnTo>
                    <a:pt x="4" y="4"/>
                  </a:lnTo>
                  <a:lnTo>
                    <a:pt x="4" y="4"/>
                  </a:lnTo>
                  <a:lnTo>
                    <a:pt x="4" y="4"/>
                  </a:lnTo>
                  <a:lnTo>
                    <a:pt x="4" y="4"/>
                  </a:lnTo>
                  <a:lnTo>
                    <a:pt x="4" y="4"/>
                  </a:lnTo>
                  <a:lnTo>
                    <a:pt x="4" y="4"/>
                  </a:lnTo>
                  <a:lnTo>
                    <a:pt x="2" y="4"/>
                  </a:lnTo>
                  <a:lnTo>
                    <a:pt x="2" y="4"/>
                  </a:lnTo>
                  <a:lnTo>
                    <a:pt x="2" y="4"/>
                  </a:lnTo>
                  <a:lnTo>
                    <a:pt x="1" y="4"/>
                  </a:lnTo>
                  <a:lnTo>
                    <a:pt x="2" y="3"/>
                  </a:lnTo>
                  <a:lnTo>
                    <a:pt x="2" y="3"/>
                  </a:lnTo>
                  <a:lnTo>
                    <a:pt x="2" y="3"/>
                  </a:lnTo>
                  <a:lnTo>
                    <a:pt x="2" y="3"/>
                  </a:lnTo>
                  <a:lnTo>
                    <a:pt x="2" y="3"/>
                  </a:lnTo>
                  <a:lnTo>
                    <a:pt x="2" y="3"/>
                  </a:lnTo>
                  <a:lnTo>
                    <a:pt x="2" y="3"/>
                  </a:lnTo>
                  <a:lnTo>
                    <a:pt x="2" y="3"/>
                  </a:lnTo>
                  <a:lnTo>
                    <a:pt x="2" y="3"/>
                  </a:lnTo>
                  <a:lnTo>
                    <a:pt x="1" y="3"/>
                  </a:lnTo>
                  <a:lnTo>
                    <a:pt x="1" y="3"/>
                  </a:lnTo>
                  <a:lnTo>
                    <a:pt x="1" y="3"/>
                  </a:lnTo>
                  <a:lnTo>
                    <a:pt x="1" y="3"/>
                  </a:lnTo>
                  <a:lnTo>
                    <a:pt x="1" y="3"/>
                  </a:lnTo>
                  <a:lnTo>
                    <a:pt x="1" y="3"/>
                  </a:lnTo>
                  <a:lnTo>
                    <a:pt x="1" y="3"/>
                  </a:lnTo>
                  <a:lnTo>
                    <a:pt x="1" y="3"/>
                  </a:lnTo>
                  <a:lnTo>
                    <a:pt x="1" y="3"/>
                  </a:lnTo>
                  <a:lnTo>
                    <a:pt x="1" y="3"/>
                  </a:lnTo>
                  <a:lnTo>
                    <a:pt x="1" y="3"/>
                  </a:lnTo>
                  <a:lnTo>
                    <a:pt x="1" y="3"/>
                  </a:lnTo>
                  <a:lnTo>
                    <a:pt x="1" y="3"/>
                  </a:lnTo>
                  <a:lnTo>
                    <a:pt x="1" y="3"/>
                  </a:lnTo>
                  <a:lnTo>
                    <a:pt x="1" y="4"/>
                  </a:lnTo>
                  <a:lnTo>
                    <a:pt x="1" y="4"/>
                  </a:lnTo>
                  <a:lnTo>
                    <a:pt x="1" y="4"/>
                  </a:lnTo>
                  <a:lnTo>
                    <a:pt x="0" y="3"/>
                  </a:lnTo>
                  <a:lnTo>
                    <a:pt x="0" y="3"/>
                  </a:lnTo>
                  <a:lnTo>
                    <a:pt x="0" y="1"/>
                  </a:lnTo>
                  <a:lnTo>
                    <a:pt x="0" y="1"/>
                  </a:lnTo>
                  <a:lnTo>
                    <a:pt x="0" y="1"/>
                  </a:lnTo>
                  <a:lnTo>
                    <a:pt x="1" y="0"/>
                  </a:lnTo>
                  <a:lnTo>
                    <a:pt x="1"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71" name="Freeform 1236">
              <a:extLst>
                <a:ext uri="{FF2B5EF4-FFF2-40B4-BE49-F238E27FC236}">
                  <a16:creationId xmlns:a16="http://schemas.microsoft.com/office/drawing/2014/main" id="{30D60A02-5B64-47ED-8644-989BC59949A4}"/>
                </a:ext>
              </a:extLst>
            </p:cNvPr>
            <p:cNvSpPr>
              <a:spLocks/>
            </p:cNvSpPr>
            <p:nvPr/>
          </p:nvSpPr>
          <p:spPr bwMode="auto">
            <a:xfrm>
              <a:off x="5766363" y="2111866"/>
              <a:ext cx="2671" cy="1336"/>
            </a:xfrm>
            <a:custGeom>
              <a:avLst/>
              <a:gdLst>
                <a:gd name="T0" fmla="*/ 1 w 2"/>
                <a:gd name="T1" fmla="*/ 0 h 1"/>
                <a:gd name="T2" fmla="*/ 1 w 2"/>
                <a:gd name="T3" fmla="*/ 0 h 1"/>
                <a:gd name="T4" fmla="*/ 1 w 2"/>
                <a:gd name="T5" fmla="*/ 0 h 1"/>
                <a:gd name="T6" fmla="*/ 1 w 2"/>
                <a:gd name="T7" fmla="*/ 0 h 1"/>
                <a:gd name="T8" fmla="*/ 1 w 2"/>
                <a:gd name="T9" fmla="*/ 0 h 1"/>
                <a:gd name="T10" fmla="*/ 1 w 2"/>
                <a:gd name="T11" fmla="*/ 0 h 1"/>
                <a:gd name="T12" fmla="*/ 1 w 2"/>
                <a:gd name="T13" fmla="*/ 0 h 1"/>
                <a:gd name="T14" fmla="*/ 1 w 2"/>
                <a:gd name="T15" fmla="*/ 0 h 1"/>
                <a:gd name="T16" fmla="*/ 1 w 2"/>
                <a:gd name="T17" fmla="*/ 1 h 1"/>
                <a:gd name="T18" fmla="*/ 1 w 2"/>
                <a:gd name="T19" fmla="*/ 1 h 1"/>
                <a:gd name="T20" fmla="*/ 1 w 2"/>
                <a:gd name="T21" fmla="*/ 1 h 1"/>
                <a:gd name="T22" fmla="*/ 1 w 2"/>
                <a:gd name="T23" fmla="*/ 0 h 1"/>
                <a:gd name="T24" fmla="*/ 1 w 2"/>
                <a:gd name="T25" fmla="*/ 1 h 1"/>
                <a:gd name="T26" fmla="*/ 1 w 2"/>
                <a:gd name="T27" fmla="*/ 1 h 1"/>
                <a:gd name="T28" fmla="*/ 1 w 2"/>
                <a:gd name="T29" fmla="*/ 1 h 1"/>
                <a:gd name="T30" fmla="*/ 1 w 2"/>
                <a:gd name="T31" fmla="*/ 1 h 1"/>
                <a:gd name="T32" fmla="*/ 1 w 2"/>
                <a:gd name="T33" fmla="*/ 1 h 1"/>
                <a:gd name="T34" fmla="*/ 1 w 2"/>
                <a:gd name="T35" fmla="*/ 1 h 1"/>
                <a:gd name="T36" fmla="*/ 2 w 2"/>
                <a:gd name="T37" fmla="*/ 1 h 1"/>
                <a:gd name="T38" fmla="*/ 1 w 2"/>
                <a:gd name="T39" fmla="*/ 1 h 1"/>
                <a:gd name="T40" fmla="*/ 1 w 2"/>
                <a:gd name="T41" fmla="*/ 1 h 1"/>
                <a:gd name="T42" fmla="*/ 1 w 2"/>
                <a:gd name="T43" fmla="*/ 1 h 1"/>
                <a:gd name="T44" fmla="*/ 1 w 2"/>
                <a:gd name="T45" fmla="*/ 1 h 1"/>
                <a:gd name="T46" fmla="*/ 1 w 2"/>
                <a:gd name="T47" fmla="*/ 1 h 1"/>
                <a:gd name="T48" fmla="*/ 0 w 2"/>
                <a:gd name="T49" fmla="*/ 1 h 1"/>
                <a:gd name="T50" fmla="*/ 0 w 2"/>
                <a:gd name="T51" fmla="*/ 1 h 1"/>
                <a:gd name="T52" fmla="*/ 0 w 2"/>
                <a:gd name="T53" fmla="*/ 1 h 1"/>
                <a:gd name="T54" fmla="*/ 0 w 2"/>
                <a:gd name="T55" fmla="*/ 1 h 1"/>
                <a:gd name="T56" fmla="*/ 0 w 2"/>
                <a:gd name="T57" fmla="*/ 1 h 1"/>
                <a:gd name="T58" fmla="*/ 0 w 2"/>
                <a:gd name="T59" fmla="*/ 1 h 1"/>
                <a:gd name="T60" fmla="*/ 0 w 2"/>
                <a:gd name="T61" fmla="*/ 1 h 1"/>
                <a:gd name="T62" fmla="*/ 0 w 2"/>
                <a:gd name="T63" fmla="*/ 1 h 1"/>
                <a:gd name="T64" fmla="*/ 0 w 2"/>
                <a:gd name="T65" fmla="*/ 1 h 1"/>
                <a:gd name="T66" fmla="*/ 1 w 2"/>
                <a:gd name="T67" fmla="*/ 0 h 1"/>
                <a:gd name="T68" fmla="*/ 0 w 2"/>
                <a:gd name="T69" fmla="*/ 0 h 1"/>
                <a:gd name="T70" fmla="*/ 0 w 2"/>
                <a:gd name="T71" fmla="*/ 0 h 1"/>
                <a:gd name="T72" fmla="*/ 0 w 2"/>
                <a:gd name="T73" fmla="*/ 0 h 1"/>
                <a:gd name="T74" fmla="*/ 0 w 2"/>
                <a:gd name="T75" fmla="*/ 0 h 1"/>
                <a:gd name="T76" fmla="*/ 1 w 2"/>
                <a:gd name="T77" fmla="*/ 0 h 1"/>
                <a:gd name="T78" fmla="*/ 1 w 2"/>
                <a:gd name="T79" fmla="*/ 0 h 1"/>
                <a:gd name="T80" fmla="*/ 1 w 2"/>
                <a:gd name="T8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 h="1">
                  <a:moveTo>
                    <a:pt x="1" y="0"/>
                  </a:moveTo>
                  <a:lnTo>
                    <a:pt x="1" y="0"/>
                  </a:lnTo>
                  <a:lnTo>
                    <a:pt x="1" y="0"/>
                  </a:lnTo>
                  <a:lnTo>
                    <a:pt x="1" y="0"/>
                  </a:lnTo>
                  <a:lnTo>
                    <a:pt x="1" y="0"/>
                  </a:lnTo>
                  <a:lnTo>
                    <a:pt x="1" y="0"/>
                  </a:lnTo>
                  <a:lnTo>
                    <a:pt x="1" y="0"/>
                  </a:lnTo>
                  <a:lnTo>
                    <a:pt x="1" y="0"/>
                  </a:lnTo>
                  <a:lnTo>
                    <a:pt x="1" y="1"/>
                  </a:lnTo>
                  <a:lnTo>
                    <a:pt x="1" y="1"/>
                  </a:lnTo>
                  <a:lnTo>
                    <a:pt x="1" y="1"/>
                  </a:lnTo>
                  <a:lnTo>
                    <a:pt x="1" y="0"/>
                  </a:lnTo>
                  <a:lnTo>
                    <a:pt x="1" y="1"/>
                  </a:lnTo>
                  <a:lnTo>
                    <a:pt x="1" y="1"/>
                  </a:lnTo>
                  <a:lnTo>
                    <a:pt x="1" y="1"/>
                  </a:lnTo>
                  <a:lnTo>
                    <a:pt x="1" y="1"/>
                  </a:lnTo>
                  <a:lnTo>
                    <a:pt x="1" y="1"/>
                  </a:lnTo>
                  <a:lnTo>
                    <a:pt x="1" y="1"/>
                  </a:lnTo>
                  <a:lnTo>
                    <a:pt x="2"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0" y="1"/>
                  </a:lnTo>
                  <a:lnTo>
                    <a:pt x="1" y="0"/>
                  </a:lnTo>
                  <a:lnTo>
                    <a:pt x="0" y="0"/>
                  </a:lnTo>
                  <a:lnTo>
                    <a:pt x="0" y="0"/>
                  </a:lnTo>
                  <a:lnTo>
                    <a:pt x="0" y="0"/>
                  </a:lnTo>
                  <a:lnTo>
                    <a:pt x="0"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72" name="Freeform 1237">
              <a:extLst>
                <a:ext uri="{FF2B5EF4-FFF2-40B4-BE49-F238E27FC236}">
                  <a16:creationId xmlns:a16="http://schemas.microsoft.com/office/drawing/2014/main" id="{59F50B1B-03FA-41E1-9F83-0502055F3980}"/>
                </a:ext>
              </a:extLst>
            </p:cNvPr>
            <p:cNvSpPr>
              <a:spLocks/>
            </p:cNvSpPr>
            <p:nvPr/>
          </p:nvSpPr>
          <p:spPr bwMode="auto">
            <a:xfrm>
              <a:off x="5761021" y="2111866"/>
              <a:ext cx="1336" cy="0"/>
            </a:xfrm>
            <a:custGeom>
              <a:avLst/>
              <a:gdLst>
                <a:gd name="T0" fmla="*/ 1 w 1"/>
                <a:gd name="T1" fmla="*/ 1 w 1"/>
                <a:gd name="T2" fmla="*/ 1 w 1"/>
                <a:gd name="T3" fmla="*/ 1 w 1"/>
                <a:gd name="T4" fmla="*/ 1 w 1"/>
                <a:gd name="T5" fmla="*/ 1 w 1"/>
                <a:gd name="T6" fmla="*/ 1 w 1"/>
                <a:gd name="T7" fmla="*/ 1 w 1"/>
                <a:gd name="T8" fmla="*/ 1 w 1"/>
                <a:gd name="T9" fmla="*/ 1 w 1"/>
                <a:gd name="T10" fmla="*/ 1 w 1"/>
                <a:gd name="T11" fmla="*/ 1 w 1"/>
                <a:gd name="T12" fmla="*/ 1 w 1"/>
                <a:gd name="T13" fmla="*/ 0 w 1"/>
                <a:gd name="T14" fmla="*/ 0 w 1"/>
                <a:gd name="T15" fmla="*/ 0 w 1"/>
                <a:gd name="T16" fmla="*/ 0 w 1"/>
                <a:gd name="T17" fmla="*/ 0 w 1"/>
                <a:gd name="T18" fmla="*/ 0 w 1"/>
                <a:gd name="T19" fmla="*/ 0 w 1"/>
                <a:gd name="T20" fmla="*/ 0 w 1"/>
                <a:gd name="T21" fmla="*/ 0 w 1"/>
                <a:gd name="T22" fmla="*/ 0 w 1"/>
                <a:gd name="T23" fmla="*/ 0 w 1"/>
                <a:gd name="T24" fmla="*/ 1 w 1"/>
                <a:gd name="T25"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Lst>
              <a:rect l="0" t="0" r="r" b="b"/>
              <a:pathLst>
                <a:path w="1">
                  <a:moveTo>
                    <a:pt x="1" y="0"/>
                  </a:moveTo>
                  <a:lnTo>
                    <a:pt x="1" y="0"/>
                  </a:lnTo>
                  <a:lnTo>
                    <a:pt x="1" y="0"/>
                  </a:lnTo>
                  <a:lnTo>
                    <a:pt x="1" y="0"/>
                  </a:lnTo>
                  <a:lnTo>
                    <a:pt x="1" y="0"/>
                  </a:lnTo>
                  <a:lnTo>
                    <a:pt x="1" y="0"/>
                  </a:lnTo>
                  <a:lnTo>
                    <a:pt x="1" y="0"/>
                  </a:lnTo>
                  <a:lnTo>
                    <a:pt x="1" y="0"/>
                  </a:lnTo>
                  <a:lnTo>
                    <a:pt x="1" y="0"/>
                  </a:lnTo>
                  <a:lnTo>
                    <a:pt x="1" y="0"/>
                  </a:lnTo>
                  <a:lnTo>
                    <a:pt x="1" y="0"/>
                  </a:lnTo>
                  <a:lnTo>
                    <a:pt x="1" y="0"/>
                  </a:lnTo>
                  <a:lnTo>
                    <a:pt x="1" y="0"/>
                  </a:lnTo>
                  <a:lnTo>
                    <a:pt x="0" y="0"/>
                  </a:lnTo>
                  <a:lnTo>
                    <a:pt x="0" y="0"/>
                  </a:lnTo>
                  <a:lnTo>
                    <a:pt x="0" y="0"/>
                  </a:lnTo>
                  <a:lnTo>
                    <a:pt x="0" y="0"/>
                  </a:lnTo>
                  <a:lnTo>
                    <a:pt x="0" y="0"/>
                  </a:lnTo>
                  <a:lnTo>
                    <a:pt x="0" y="0"/>
                  </a:lnTo>
                  <a:lnTo>
                    <a:pt x="0" y="0"/>
                  </a:lnTo>
                  <a:lnTo>
                    <a:pt x="0" y="0"/>
                  </a:lnTo>
                  <a:lnTo>
                    <a:pt x="0" y="0"/>
                  </a:lnTo>
                  <a:lnTo>
                    <a:pt x="0" y="0"/>
                  </a:lnTo>
                  <a:lnTo>
                    <a:pt x="0"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73" name="Freeform 1238">
              <a:extLst>
                <a:ext uri="{FF2B5EF4-FFF2-40B4-BE49-F238E27FC236}">
                  <a16:creationId xmlns:a16="http://schemas.microsoft.com/office/drawing/2014/main" id="{979AB129-859C-46E4-AA30-14C736869D4A}"/>
                </a:ext>
              </a:extLst>
            </p:cNvPr>
            <p:cNvSpPr>
              <a:spLocks/>
            </p:cNvSpPr>
            <p:nvPr/>
          </p:nvSpPr>
          <p:spPr bwMode="auto">
            <a:xfrm>
              <a:off x="5763692" y="2110530"/>
              <a:ext cx="1336" cy="1336"/>
            </a:xfrm>
            <a:custGeom>
              <a:avLst/>
              <a:gdLst>
                <a:gd name="T0" fmla="*/ 1 w 1"/>
                <a:gd name="T1" fmla="*/ 0 h 1"/>
                <a:gd name="T2" fmla="*/ 1 w 1"/>
                <a:gd name="T3" fmla="*/ 0 h 1"/>
                <a:gd name="T4" fmla="*/ 1 w 1"/>
                <a:gd name="T5" fmla="*/ 0 h 1"/>
                <a:gd name="T6" fmla="*/ 1 w 1"/>
                <a:gd name="T7" fmla="*/ 0 h 1"/>
                <a:gd name="T8" fmla="*/ 1 w 1"/>
                <a:gd name="T9" fmla="*/ 0 h 1"/>
                <a:gd name="T10" fmla="*/ 1 w 1"/>
                <a:gd name="T11" fmla="*/ 0 h 1"/>
                <a:gd name="T12" fmla="*/ 1 w 1"/>
                <a:gd name="T13" fmla="*/ 0 h 1"/>
                <a:gd name="T14" fmla="*/ 1 w 1"/>
                <a:gd name="T15" fmla="*/ 1 h 1"/>
                <a:gd name="T16" fmla="*/ 1 w 1"/>
                <a:gd name="T17" fmla="*/ 1 h 1"/>
                <a:gd name="T18" fmla="*/ 1 w 1"/>
                <a:gd name="T19" fmla="*/ 1 h 1"/>
                <a:gd name="T20" fmla="*/ 1 w 1"/>
                <a:gd name="T21" fmla="*/ 1 h 1"/>
                <a:gd name="T22" fmla="*/ 1 w 1"/>
                <a:gd name="T23" fmla="*/ 1 h 1"/>
                <a:gd name="T24" fmla="*/ 1 w 1"/>
                <a:gd name="T25" fmla="*/ 1 h 1"/>
                <a:gd name="T26" fmla="*/ 1 w 1"/>
                <a:gd name="T27" fmla="*/ 1 h 1"/>
                <a:gd name="T28" fmla="*/ 1 w 1"/>
                <a:gd name="T29" fmla="*/ 1 h 1"/>
                <a:gd name="T30" fmla="*/ 1 w 1"/>
                <a:gd name="T31" fmla="*/ 1 h 1"/>
                <a:gd name="T32" fmla="*/ 1 w 1"/>
                <a:gd name="T33" fmla="*/ 1 h 1"/>
                <a:gd name="T34" fmla="*/ 1 w 1"/>
                <a:gd name="T35" fmla="*/ 1 h 1"/>
                <a:gd name="T36" fmla="*/ 1 w 1"/>
                <a:gd name="T37" fmla="*/ 1 h 1"/>
                <a:gd name="T38" fmla="*/ 1 w 1"/>
                <a:gd name="T39" fmla="*/ 1 h 1"/>
                <a:gd name="T40" fmla="*/ 0 w 1"/>
                <a:gd name="T41" fmla="*/ 1 h 1"/>
                <a:gd name="T42" fmla="*/ 0 w 1"/>
                <a:gd name="T43" fmla="*/ 1 h 1"/>
                <a:gd name="T44" fmla="*/ 1 w 1"/>
                <a:gd name="T45" fmla="*/ 1 h 1"/>
                <a:gd name="T46" fmla="*/ 1 w 1"/>
                <a:gd name="T47" fmla="*/ 1 h 1"/>
                <a:gd name="T48" fmla="*/ 1 w 1"/>
                <a:gd name="T49" fmla="*/ 1 h 1"/>
                <a:gd name="T50" fmla="*/ 1 w 1"/>
                <a:gd name="T51" fmla="*/ 1 h 1"/>
                <a:gd name="T52" fmla="*/ 1 w 1"/>
                <a:gd name="T53" fmla="*/ 1 h 1"/>
                <a:gd name="T54" fmla="*/ 1 w 1"/>
                <a:gd name="T55" fmla="*/ 0 h 1"/>
                <a:gd name="T56" fmla="*/ 1 w 1"/>
                <a:gd name="T57" fmla="*/ 0 h 1"/>
                <a:gd name="T58" fmla="*/ 1 w 1"/>
                <a:gd name="T59" fmla="*/ 0 h 1"/>
                <a:gd name="T60" fmla="*/ 1 w 1"/>
                <a:gd name="T61" fmla="*/ 0 h 1"/>
                <a:gd name="T62" fmla="*/ 1 w 1"/>
                <a:gd name="T63" fmla="*/ 0 h 1"/>
                <a:gd name="T64" fmla="*/ 1 w 1"/>
                <a:gd name="T65" fmla="*/ 0 h 1"/>
                <a:gd name="T66" fmla="*/ 1 w 1"/>
                <a:gd name="T67" fmla="*/ 0 h 1"/>
                <a:gd name="T68" fmla="*/ 1 w 1"/>
                <a:gd name="T6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 h="1">
                  <a:moveTo>
                    <a:pt x="1" y="0"/>
                  </a:moveTo>
                  <a:lnTo>
                    <a:pt x="1" y="0"/>
                  </a:lnTo>
                  <a:lnTo>
                    <a:pt x="1" y="0"/>
                  </a:lnTo>
                  <a:lnTo>
                    <a:pt x="1" y="0"/>
                  </a:lnTo>
                  <a:lnTo>
                    <a:pt x="1" y="0"/>
                  </a:lnTo>
                  <a:lnTo>
                    <a:pt x="1" y="0"/>
                  </a:lnTo>
                  <a:lnTo>
                    <a:pt x="1" y="0"/>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0" y="1"/>
                  </a:lnTo>
                  <a:lnTo>
                    <a:pt x="0" y="1"/>
                  </a:lnTo>
                  <a:lnTo>
                    <a:pt x="1" y="1"/>
                  </a:lnTo>
                  <a:lnTo>
                    <a:pt x="1" y="1"/>
                  </a:lnTo>
                  <a:lnTo>
                    <a:pt x="1" y="1"/>
                  </a:lnTo>
                  <a:lnTo>
                    <a:pt x="1" y="1"/>
                  </a:lnTo>
                  <a:lnTo>
                    <a:pt x="1" y="1"/>
                  </a:lnTo>
                  <a:lnTo>
                    <a:pt x="1" y="0"/>
                  </a:lnTo>
                  <a:lnTo>
                    <a:pt x="1"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74" name="Freeform 1239">
              <a:extLst>
                <a:ext uri="{FF2B5EF4-FFF2-40B4-BE49-F238E27FC236}">
                  <a16:creationId xmlns:a16="http://schemas.microsoft.com/office/drawing/2014/main" id="{B110D16C-0EE2-4CB1-B638-58F0C82A154F}"/>
                </a:ext>
              </a:extLst>
            </p:cNvPr>
            <p:cNvSpPr>
              <a:spLocks/>
            </p:cNvSpPr>
            <p:nvPr/>
          </p:nvSpPr>
          <p:spPr bwMode="auto">
            <a:xfrm>
              <a:off x="5766363" y="2109195"/>
              <a:ext cx="5342" cy="2671"/>
            </a:xfrm>
            <a:custGeom>
              <a:avLst/>
              <a:gdLst>
                <a:gd name="T0" fmla="*/ 4 w 4"/>
                <a:gd name="T1" fmla="*/ 0 h 2"/>
                <a:gd name="T2" fmla="*/ 4 w 4"/>
                <a:gd name="T3" fmla="*/ 0 h 2"/>
                <a:gd name="T4" fmla="*/ 2 w 4"/>
                <a:gd name="T5" fmla="*/ 0 h 2"/>
                <a:gd name="T6" fmla="*/ 2 w 4"/>
                <a:gd name="T7" fmla="*/ 1 h 2"/>
                <a:gd name="T8" fmla="*/ 2 w 4"/>
                <a:gd name="T9" fmla="*/ 1 h 2"/>
                <a:gd name="T10" fmla="*/ 2 w 4"/>
                <a:gd name="T11" fmla="*/ 1 h 2"/>
                <a:gd name="T12" fmla="*/ 2 w 4"/>
                <a:gd name="T13" fmla="*/ 1 h 2"/>
                <a:gd name="T14" fmla="*/ 2 w 4"/>
                <a:gd name="T15" fmla="*/ 1 h 2"/>
                <a:gd name="T16" fmla="*/ 2 w 4"/>
                <a:gd name="T17" fmla="*/ 1 h 2"/>
                <a:gd name="T18" fmla="*/ 2 w 4"/>
                <a:gd name="T19" fmla="*/ 1 h 2"/>
                <a:gd name="T20" fmla="*/ 1 w 4"/>
                <a:gd name="T21" fmla="*/ 1 h 2"/>
                <a:gd name="T22" fmla="*/ 1 w 4"/>
                <a:gd name="T23" fmla="*/ 1 h 2"/>
                <a:gd name="T24" fmla="*/ 1 w 4"/>
                <a:gd name="T25" fmla="*/ 1 h 2"/>
                <a:gd name="T26" fmla="*/ 1 w 4"/>
                <a:gd name="T27" fmla="*/ 1 h 2"/>
                <a:gd name="T28" fmla="*/ 1 w 4"/>
                <a:gd name="T29" fmla="*/ 1 h 2"/>
                <a:gd name="T30" fmla="*/ 1 w 4"/>
                <a:gd name="T31" fmla="*/ 1 h 2"/>
                <a:gd name="T32" fmla="*/ 1 w 4"/>
                <a:gd name="T33" fmla="*/ 1 h 2"/>
                <a:gd name="T34" fmla="*/ 1 w 4"/>
                <a:gd name="T35" fmla="*/ 1 h 2"/>
                <a:gd name="T36" fmla="*/ 0 w 4"/>
                <a:gd name="T37" fmla="*/ 1 h 2"/>
                <a:gd name="T38" fmla="*/ 0 w 4"/>
                <a:gd name="T39" fmla="*/ 1 h 2"/>
                <a:gd name="T40" fmla="*/ 0 w 4"/>
                <a:gd name="T41" fmla="*/ 1 h 2"/>
                <a:gd name="T42" fmla="*/ 0 w 4"/>
                <a:gd name="T43" fmla="*/ 2 h 2"/>
                <a:gd name="T44" fmla="*/ 0 w 4"/>
                <a:gd name="T45" fmla="*/ 2 h 2"/>
                <a:gd name="T46" fmla="*/ 0 w 4"/>
                <a:gd name="T47" fmla="*/ 2 h 2"/>
                <a:gd name="T48" fmla="*/ 0 w 4"/>
                <a:gd name="T49" fmla="*/ 1 h 2"/>
                <a:gd name="T50" fmla="*/ 0 w 4"/>
                <a:gd name="T51" fmla="*/ 1 h 2"/>
                <a:gd name="T52" fmla="*/ 0 w 4"/>
                <a:gd name="T53" fmla="*/ 1 h 2"/>
                <a:gd name="T54" fmla="*/ 0 w 4"/>
                <a:gd name="T55" fmla="*/ 1 h 2"/>
                <a:gd name="T56" fmla="*/ 0 w 4"/>
                <a:gd name="T57" fmla="*/ 1 h 2"/>
                <a:gd name="T58" fmla="*/ 0 w 4"/>
                <a:gd name="T59" fmla="*/ 1 h 2"/>
                <a:gd name="T60" fmla="*/ 0 w 4"/>
                <a:gd name="T61" fmla="*/ 1 h 2"/>
                <a:gd name="T62" fmla="*/ 0 w 4"/>
                <a:gd name="T63" fmla="*/ 1 h 2"/>
                <a:gd name="T64" fmla="*/ 1 w 4"/>
                <a:gd name="T65" fmla="*/ 1 h 2"/>
                <a:gd name="T66" fmla="*/ 1 w 4"/>
                <a:gd name="T67" fmla="*/ 1 h 2"/>
                <a:gd name="T68" fmla="*/ 1 w 4"/>
                <a:gd name="T69" fmla="*/ 1 h 2"/>
                <a:gd name="T70" fmla="*/ 1 w 4"/>
                <a:gd name="T71" fmla="*/ 1 h 2"/>
                <a:gd name="T72" fmla="*/ 1 w 4"/>
                <a:gd name="T73" fmla="*/ 1 h 2"/>
                <a:gd name="T74" fmla="*/ 1 w 4"/>
                <a:gd name="T75" fmla="*/ 0 h 2"/>
                <a:gd name="T76" fmla="*/ 1 w 4"/>
                <a:gd name="T77" fmla="*/ 0 h 2"/>
                <a:gd name="T78" fmla="*/ 1 w 4"/>
                <a:gd name="T79" fmla="*/ 0 h 2"/>
                <a:gd name="T80" fmla="*/ 1 w 4"/>
                <a:gd name="T81" fmla="*/ 0 h 2"/>
                <a:gd name="T82" fmla="*/ 1 w 4"/>
                <a:gd name="T83" fmla="*/ 0 h 2"/>
                <a:gd name="T84" fmla="*/ 1 w 4"/>
                <a:gd name="T85" fmla="*/ 0 h 2"/>
                <a:gd name="T86" fmla="*/ 1 w 4"/>
                <a:gd name="T87" fmla="*/ 0 h 2"/>
                <a:gd name="T88" fmla="*/ 1 w 4"/>
                <a:gd name="T89" fmla="*/ 1 h 2"/>
                <a:gd name="T90" fmla="*/ 1 w 4"/>
                <a:gd name="T91" fmla="*/ 1 h 2"/>
                <a:gd name="T92" fmla="*/ 1 w 4"/>
                <a:gd name="T93" fmla="*/ 1 h 2"/>
                <a:gd name="T94" fmla="*/ 1 w 4"/>
                <a:gd name="T95" fmla="*/ 1 h 2"/>
                <a:gd name="T96" fmla="*/ 1 w 4"/>
                <a:gd name="T97" fmla="*/ 1 h 2"/>
                <a:gd name="T98" fmla="*/ 2 w 4"/>
                <a:gd name="T99" fmla="*/ 1 h 2"/>
                <a:gd name="T100" fmla="*/ 2 w 4"/>
                <a:gd name="T101" fmla="*/ 0 h 2"/>
                <a:gd name="T102" fmla="*/ 2 w 4"/>
                <a:gd name="T103" fmla="*/ 0 h 2"/>
                <a:gd name="T104" fmla="*/ 2 w 4"/>
                <a:gd name="T105" fmla="*/ 0 h 2"/>
                <a:gd name="T106" fmla="*/ 2 w 4"/>
                <a:gd name="T107" fmla="*/ 0 h 2"/>
                <a:gd name="T108" fmla="*/ 2 w 4"/>
                <a:gd name="T109" fmla="*/ 0 h 2"/>
                <a:gd name="T110" fmla="*/ 4 w 4"/>
                <a:gd name="T111" fmla="*/ 0 h 2"/>
                <a:gd name="T112" fmla="*/ 4 w 4"/>
                <a:gd name="T113" fmla="*/ 0 h 2"/>
                <a:gd name="T114" fmla="*/ 4 w 4"/>
                <a:gd name="T11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 h="2">
                  <a:moveTo>
                    <a:pt x="4" y="0"/>
                  </a:moveTo>
                  <a:lnTo>
                    <a:pt x="4" y="0"/>
                  </a:lnTo>
                  <a:lnTo>
                    <a:pt x="2" y="0"/>
                  </a:lnTo>
                  <a:lnTo>
                    <a:pt x="2" y="1"/>
                  </a:lnTo>
                  <a:lnTo>
                    <a:pt x="2" y="1"/>
                  </a:lnTo>
                  <a:lnTo>
                    <a:pt x="2" y="1"/>
                  </a:lnTo>
                  <a:lnTo>
                    <a:pt x="2" y="1"/>
                  </a:lnTo>
                  <a:lnTo>
                    <a:pt x="2" y="1"/>
                  </a:lnTo>
                  <a:lnTo>
                    <a:pt x="2" y="1"/>
                  </a:lnTo>
                  <a:lnTo>
                    <a:pt x="2" y="1"/>
                  </a:lnTo>
                  <a:lnTo>
                    <a:pt x="1" y="1"/>
                  </a:lnTo>
                  <a:lnTo>
                    <a:pt x="1" y="1"/>
                  </a:lnTo>
                  <a:lnTo>
                    <a:pt x="1" y="1"/>
                  </a:lnTo>
                  <a:lnTo>
                    <a:pt x="1" y="1"/>
                  </a:lnTo>
                  <a:lnTo>
                    <a:pt x="1" y="1"/>
                  </a:lnTo>
                  <a:lnTo>
                    <a:pt x="1" y="1"/>
                  </a:lnTo>
                  <a:lnTo>
                    <a:pt x="1" y="1"/>
                  </a:lnTo>
                  <a:lnTo>
                    <a:pt x="1" y="1"/>
                  </a:lnTo>
                  <a:lnTo>
                    <a:pt x="0" y="1"/>
                  </a:lnTo>
                  <a:lnTo>
                    <a:pt x="0" y="1"/>
                  </a:lnTo>
                  <a:lnTo>
                    <a:pt x="0" y="1"/>
                  </a:lnTo>
                  <a:lnTo>
                    <a:pt x="0" y="2"/>
                  </a:lnTo>
                  <a:lnTo>
                    <a:pt x="0" y="2"/>
                  </a:lnTo>
                  <a:lnTo>
                    <a:pt x="0" y="2"/>
                  </a:lnTo>
                  <a:lnTo>
                    <a:pt x="0" y="1"/>
                  </a:lnTo>
                  <a:lnTo>
                    <a:pt x="0" y="1"/>
                  </a:lnTo>
                  <a:lnTo>
                    <a:pt x="0" y="1"/>
                  </a:lnTo>
                  <a:lnTo>
                    <a:pt x="0" y="1"/>
                  </a:lnTo>
                  <a:lnTo>
                    <a:pt x="0" y="1"/>
                  </a:lnTo>
                  <a:lnTo>
                    <a:pt x="0" y="1"/>
                  </a:lnTo>
                  <a:lnTo>
                    <a:pt x="0" y="1"/>
                  </a:lnTo>
                  <a:lnTo>
                    <a:pt x="0" y="1"/>
                  </a:lnTo>
                  <a:lnTo>
                    <a:pt x="1" y="1"/>
                  </a:lnTo>
                  <a:lnTo>
                    <a:pt x="1" y="1"/>
                  </a:lnTo>
                  <a:lnTo>
                    <a:pt x="1" y="1"/>
                  </a:lnTo>
                  <a:lnTo>
                    <a:pt x="1" y="1"/>
                  </a:lnTo>
                  <a:lnTo>
                    <a:pt x="1" y="1"/>
                  </a:lnTo>
                  <a:lnTo>
                    <a:pt x="1" y="0"/>
                  </a:lnTo>
                  <a:lnTo>
                    <a:pt x="1" y="0"/>
                  </a:lnTo>
                  <a:lnTo>
                    <a:pt x="1" y="0"/>
                  </a:lnTo>
                  <a:lnTo>
                    <a:pt x="1" y="0"/>
                  </a:lnTo>
                  <a:lnTo>
                    <a:pt x="1" y="0"/>
                  </a:lnTo>
                  <a:lnTo>
                    <a:pt x="1" y="0"/>
                  </a:lnTo>
                  <a:lnTo>
                    <a:pt x="1" y="0"/>
                  </a:lnTo>
                  <a:lnTo>
                    <a:pt x="1" y="1"/>
                  </a:lnTo>
                  <a:lnTo>
                    <a:pt x="1" y="1"/>
                  </a:lnTo>
                  <a:lnTo>
                    <a:pt x="1" y="1"/>
                  </a:lnTo>
                  <a:lnTo>
                    <a:pt x="1" y="1"/>
                  </a:lnTo>
                  <a:lnTo>
                    <a:pt x="1" y="1"/>
                  </a:lnTo>
                  <a:lnTo>
                    <a:pt x="2" y="1"/>
                  </a:lnTo>
                  <a:lnTo>
                    <a:pt x="2" y="0"/>
                  </a:lnTo>
                  <a:lnTo>
                    <a:pt x="2" y="0"/>
                  </a:lnTo>
                  <a:lnTo>
                    <a:pt x="2" y="0"/>
                  </a:lnTo>
                  <a:lnTo>
                    <a:pt x="2" y="0"/>
                  </a:lnTo>
                  <a:lnTo>
                    <a:pt x="2" y="0"/>
                  </a:lnTo>
                  <a:lnTo>
                    <a:pt x="4" y="0"/>
                  </a:lnTo>
                  <a:lnTo>
                    <a:pt x="4" y="0"/>
                  </a:lnTo>
                  <a:lnTo>
                    <a:pt x="4"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75" name="Freeform 1240">
              <a:extLst>
                <a:ext uri="{FF2B5EF4-FFF2-40B4-BE49-F238E27FC236}">
                  <a16:creationId xmlns:a16="http://schemas.microsoft.com/office/drawing/2014/main" id="{1E21A7C8-2EB4-4C00-9E09-68314BABCD43}"/>
                </a:ext>
              </a:extLst>
            </p:cNvPr>
            <p:cNvSpPr>
              <a:spLocks/>
            </p:cNvSpPr>
            <p:nvPr/>
          </p:nvSpPr>
          <p:spPr bwMode="auto">
            <a:xfrm>
              <a:off x="5761021" y="2109195"/>
              <a:ext cx="4007" cy="1336"/>
            </a:xfrm>
            <a:custGeom>
              <a:avLst/>
              <a:gdLst>
                <a:gd name="T0" fmla="*/ 1 w 3"/>
                <a:gd name="T1" fmla="*/ 0 h 1"/>
                <a:gd name="T2" fmla="*/ 1 w 3"/>
                <a:gd name="T3" fmla="*/ 0 h 1"/>
                <a:gd name="T4" fmla="*/ 1 w 3"/>
                <a:gd name="T5" fmla="*/ 0 h 1"/>
                <a:gd name="T6" fmla="*/ 1 w 3"/>
                <a:gd name="T7" fmla="*/ 0 h 1"/>
                <a:gd name="T8" fmla="*/ 1 w 3"/>
                <a:gd name="T9" fmla="*/ 0 h 1"/>
                <a:gd name="T10" fmla="*/ 1 w 3"/>
                <a:gd name="T11" fmla="*/ 0 h 1"/>
                <a:gd name="T12" fmla="*/ 1 w 3"/>
                <a:gd name="T13" fmla="*/ 0 h 1"/>
                <a:gd name="T14" fmla="*/ 1 w 3"/>
                <a:gd name="T15" fmla="*/ 0 h 1"/>
                <a:gd name="T16" fmla="*/ 1 w 3"/>
                <a:gd name="T17" fmla="*/ 0 h 1"/>
                <a:gd name="T18" fmla="*/ 1 w 3"/>
                <a:gd name="T19" fmla="*/ 0 h 1"/>
                <a:gd name="T20" fmla="*/ 2 w 3"/>
                <a:gd name="T21" fmla="*/ 0 h 1"/>
                <a:gd name="T22" fmla="*/ 2 w 3"/>
                <a:gd name="T23" fmla="*/ 0 h 1"/>
                <a:gd name="T24" fmla="*/ 2 w 3"/>
                <a:gd name="T25" fmla="*/ 1 h 1"/>
                <a:gd name="T26" fmla="*/ 2 w 3"/>
                <a:gd name="T27" fmla="*/ 1 h 1"/>
                <a:gd name="T28" fmla="*/ 2 w 3"/>
                <a:gd name="T29" fmla="*/ 1 h 1"/>
                <a:gd name="T30" fmla="*/ 2 w 3"/>
                <a:gd name="T31" fmla="*/ 1 h 1"/>
                <a:gd name="T32" fmla="*/ 2 w 3"/>
                <a:gd name="T33" fmla="*/ 1 h 1"/>
                <a:gd name="T34" fmla="*/ 3 w 3"/>
                <a:gd name="T35" fmla="*/ 1 h 1"/>
                <a:gd name="T36" fmla="*/ 3 w 3"/>
                <a:gd name="T37" fmla="*/ 1 h 1"/>
                <a:gd name="T38" fmla="*/ 2 w 3"/>
                <a:gd name="T39" fmla="*/ 1 h 1"/>
                <a:gd name="T40" fmla="*/ 2 w 3"/>
                <a:gd name="T41" fmla="*/ 1 h 1"/>
                <a:gd name="T42" fmla="*/ 2 w 3"/>
                <a:gd name="T43" fmla="*/ 1 h 1"/>
                <a:gd name="T44" fmla="*/ 2 w 3"/>
                <a:gd name="T45" fmla="*/ 1 h 1"/>
                <a:gd name="T46" fmla="*/ 2 w 3"/>
                <a:gd name="T47" fmla="*/ 1 h 1"/>
                <a:gd name="T48" fmla="*/ 2 w 3"/>
                <a:gd name="T49" fmla="*/ 1 h 1"/>
                <a:gd name="T50" fmla="*/ 2 w 3"/>
                <a:gd name="T51" fmla="*/ 1 h 1"/>
                <a:gd name="T52" fmla="*/ 2 w 3"/>
                <a:gd name="T53" fmla="*/ 1 h 1"/>
                <a:gd name="T54" fmla="*/ 1 w 3"/>
                <a:gd name="T55" fmla="*/ 0 h 1"/>
                <a:gd name="T56" fmla="*/ 1 w 3"/>
                <a:gd name="T57" fmla="*/ 0 h 1"/>
                <a:gd name="T58" fmla="*/ 1 w 3"/>
                <a:gd name="T59" fmla="*/ 0 h 1"/>
                <a:gd name="T60" fmla="*/ 1 w 3"/>
                <a:gd name="T61" fmla="*/ 1 h 1"/>
                <a:gd name="T62" fmla="*/ 1 w 3"/>
                <a:gd name="T63" fmla="*/ 1 h 1"/>
                <a:gd name="T64" fmla="*/ 1 w 3"/>
                <a:gd name="T65" fmla="*/ 1 h 1"/>
                <a:gd name="T66" fmla="*/ 1 w 3"/>
                <a:gd name="T67" fmla="*/ 1 h 1"/>
                <a:gd name="T68" fmla="*/ 1 w 3"/>
                <a:gd name="T69" fmla="*/ 1 h 1"/>
                <a:gd name="T70" fmla="*/ 1 w 3"/>
                <a:gd name="T71" fmla="*/ 1 h 1"/>
                <a:gd name="T72" fmla="*/ 1 w 3"/>
                <a:gd name="T73" fmla="*/ 1 h 1"/>
                <a:gd name="T74" fmla="*/ 1 w 3"/>
                <a:gd name="T75" fmla="*/ 1 h 1"/>
                <a:gd name="T76" fmla="*/ 1 w 3"/>
                <a:gd name="T77" fmla="*/ 1 h 1"/>
                <a:gd name="T78" fmla="*/ 1 w 3"/>
                <a:gd name="T79" fmla="*/ 0 h 1"/>
                <a:gd name="T80" fmla="*/ 1 w 3"/>
                <a:gd name="T81" fmla="*/ 0 h 1"/>
                <a:gd name="T82" fmla="*/ 1 w 3"/>
                <a:gd name="T83" fmla="*/ 0 h 1"/>
                <a:gd name="T84" fmla="*/ 0 w 3"/>
                <a:gd name="T85" fmla="*/ 0 h 1"/>
                <a:gd name="T86" fmla="*/ 0 w 3"/>
                <a:gd name="T87" fmla="*/ 0 h 1"/>
                <a:gd name="T88" fmla="*/ 0 w 3"/>
                <a:gd name="T89" fmla="*/ 0 h 1"/>
                <a:gd name="T90" fmla="*/ 0 w 3"/>
                <a:gd name="T91" fmla="*/ 0 h 1"/>
                <a:gd name="T92" fmla="*/ 0 w 3"/>
                <a:gd name="T93" fmla="*/ 0 h 1"/>
                <a:gd name="T94" fmla="*/ 0 w 3"/>
                <a:gd name="T95" fmla="*/ 0 h 1"/>
                <a:gd name="T96" fmla="*/ 1 w 3"/>
                <a:gd name="T97" fmla="*/ 0 h 1"/>
                <a:gd name="T98" fmla="*/ 1 w 3"/>
                <a:gd name="T99" fmla="*/ 0 h 1"/>
                <a:gd name="T100" fmla="*/ 1 w 3"/>
                <a:gd name="T101" fmla="*/ 0 h 1"/>
                <a:gd name="T102" fmla="*/ 1 w 3"/>
                <a:gd name="T103" fmla="*/ 0 h 1"/>
                <a:gd name="T104" fmla="*/ 1 w 3"/>
                <a:gd name="T105" fmla="*/ 0 h 1"/>
                <a:gd name="T106" fmla="*/ 1 w 3"/>
                <a:gd name="T10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 h="1">
                  <a:moveTo>
                    <a:pt x="1" y="0"/>
                  </a:moveTo>
                  <a:lnTo>
                    <a:pt x="1" y="0"/>
                  </a:lnTo>
                  <a:lnTo>
                    <a:pt x="1" y="0"/>
                  </a:lnTo>
                  <a:lnTo>
                    <a:pt x="1" y="0"/>
                  </a:lnTo>
                  <a:lnTo>
                    <a:pt x="1" y="0"/>
                  </a:lnTo>
                  <a:lnTo>
                    <a:pt x="1" y="0"/>
                  </a:lnTo>
                  <a:lnTo>
                    <a:pt x="1" y="0"/>
                  </a:lnTo>
                  <a:lnTo>
                    <a:pt x="1" y="0"/>
                  </a:lnTo>
                  <a:lnTo>
                    <a:pt x="1" y="0"/>
                  </a:lnTo>
                  <a:lnTo>
                    <a:pt x="1" y="0"/>
                  </a:lnTo>
                  <a:lnTo>
                    <a:pt x="2" y="0"/>
                  </a:lnTo>
                  <a:lnTo>
                    <a:pt x="2" y="0"/>
                  </a:lnTo>
                  <a:lnTo>
                    <a:pt x="2" y="1"/>
                  </a:lnTo>
                  <a:lnTo>
                    <a:pt x="2" y="1"/>
                  </a:lnTo>
                  <a:lnTo>
                    <a:pt x="2" y="1"/>
                  </a:lnTo>
                  <a:lnTo>
                    <a:pt x="2" y="1"/>
                  </a:lnTo>
                  <a:lnTo>
                    <a:pt x="2" y="1"/>
                  </a:lnTo>
                  <a:lnTo>
                    <a:pt x="3" y="1"/>
                  </a:lnTo>
                  <a:lnTo>
                    <a:pt x="3" y="1"/>
                  </a:lnTo>
                  <a:lnTo>
                    <a:pt x="2" y="1"/>
                  </a:lnTo>
                  <a:lnTo>
                    <a:pt x="2" y="1"/>
                  </a:lnTo>
                  <a:lnTo>
                    <a:pt x="2" y="1"/>
                  </a:lnTo>
                  <a:lnTo>
                    <a:pt x="2" y="1"/>
                  </a:lnTo>
                  <a:lnTo>
                    <a:pt x="2" y="1"/>
                  </a:lnTo>
                  <a:lnTo>
                    <a:pt x="2" y="1"/>
                  </a:lnTo>
                  <a:lnTo>
                    <a:pt x="2" y="1"/>
                  </a:lnTo>
                  <a:lnTo>
                    <a:pt x="2" y="1"/>
                  </a:lnTo>
                  <a:lnTo>
                    <a:pt x="1" y="0"/>
                  </a:lnTo>
                  <a:lnTo>
                    <a:pt x="1" y="0"/>
                  </a:lnTo>
                  <a:lnTo>
                    <a:pt x="1" y="0"/>
                  </a:lnTo>
                  <a:lnTo>
                    <a:pt x="1" y="1"/>
                  </a:lnTo>
                  <a:lnTo>
                    <a:pt x="1" y="1"/>
                  </a:lnTo>
                  <a:lnTo>
                    <a:pt x="1" y="1"/>
                  </a:lnTo>
                  <a:lnTo>
                    <a:pt x="1" y="1"/>
                  </a:lnTo>
                  <a:lnTo>
                    <a:pt x="1" y="1"/>
                  </a:lnTo>
                  <a:lnTo>
                    <a:pt x="1" y="1"/>
                  </a:lnTo>
                  <a:lnTo>
                    <a:pt x="1" y="1"/>
                  </a:lnTo>
                  <a:lnTo>
                    <a:pt x="1" y="1"/>
                  </a:lnTo>
                  <a:lnTo>
                    <a:pt x="1" y="1"/>
                  </a:lnTo>
                  <a:lnTo>
                    <a:pt x="1" y="0"/>
                  </a:lnTo>
                  <a:lnTo>
                    <a:pt x="1" y="0"/>
                  </a:lnTo>
                  <a:lnTo>
                    <a:pt x="1" y="0"/>
                  </a:lnTo>
                  <a:lnTo>
                    <a:pt x="0" y="0"/>
                  </a:lnTo>
                  <a:lnTo>
                    <a:pt x="0" y="0"/>
                  </a:lnTo>
                  <a:lnTo>
                    <a:pt x="0" y="0"/>
                  </a:lnTo>
                  <a:lnTo>
                    <a:pt x="0" y="0"/>
                  </a:lnTo>
                  <a:lnTo>
                    <a:pt x="0" y="0"/>
                  </a:lnTo>
                  <a:lnTo>
                    <a:pt x="0"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76" name="Freeform 1241">
              <a:extLst>
                <a:ext uri="{FF2B5EF4-FFF2-40B4-BE49-F238E27FC236}">
                  <a16:creationId xmlns:a16="http://schemas.microsoft.com/office/drawing/2014/main" id="{04C721FE-B719-471E-8C3B-CA3EBF4537E5}"/>
                </a:ext>
              </a:extLst>
            </p:cNvPr>
            <p:cNvSpPr>
              <a:spLocks/>
            </p:cNvSpPr>
            <p:nvPr/>
          </p:nvSpPr>
          <p:spPr bwMode="auto">
            <a:xfrm>
              <a:off x="5782389" y="2103853"/>
              <a:ext cx="1336" cy="2671"/>
            </a:xfrm>
            <a:custGeom>
              <a:avLst/>
              <a:gdLst>
                <a:gd name="T0" fmla="*/ 0 w 1"/>
                <a:gd name="T1" fmla="*/ 0 h 2"/>
                <a:gd name="T2" fmla="*/ 0 w 1"/>
                <a:gd name="T3" fmla="*/ 0 h 2"/>
                <a:gd name="T4" fmla="*/ 0 w 1"/>
                <a:gd name="T5" fmla="*/ 0 h 2"/>
                <a:gd name="T6" fmla="*/ 0 w 1"/>
                <a:gd name="T7" fmla="*/ 0 h 2"/>
                <a:gd name="T8" fmla="*/ 0 w 1"/>
                <a:gd name="T9" fmla="*/ 0 h 2"/>
                <a:gd name="T10" fmla="*/ 0 w 1"/>
                <a:gd name="T11" fmla="*/ 2 h 2"/>
                <a:gd name="T12" fmla="*/ 0 w 1"/>
                <a:gd name="T13" fmla="*/ 2 h 2"/>
                <a:gd name="T14" fmla="*/ 0 w 1"/>
                <a:gd name="T15" fmla="*/ 0 h 2"/>
                <a:gd name="T16" fmla="*/ 0 w 1"/>
                <a:gd name="T17" fmla="*/ 0 h 2"/>
                <a:gd name="T18" fmla="*/ 0 w 1"/>
                <a:gd name="T19" fmla="*/ 0 h 2"/>
                <a:gd name="T20" fmla="*/ 0 w 1"/>
                <a:gd name="T21" fmla="*/ 0 h 2"/>
                <a:gd name="T22" fmla="*/ 1 w 1"/>
                <a:gd name="T23" fmla="*/ 0 h 2"/>
                <a:gd name="T24" fmla="*/ 1 w 1"/>
                <a:gd name="T25" fmla="*/ 0 h 2"/>
                <a:gd name="T26" fmla="*/ 1 w 1"/>
                <a:gd name="T27" fmla="*/ 0 h 2"/>
                <a:gd name="T28" fmla="*/ 1 w 1"/>
                <a:gd name="T29" fmla="*/ 0 h 2"/>
                <a:gd name="T30" fmla="*/ 1 w 1"/>
                <a:gd name="T31" fmla="*/ 0 h 2"/>
                <a:gd name="T32" fmla="*/ 0 w 1"/>
                <a:gd name="T33" fmla="*/ 0 h 2"/>
                <a:gd name="T34" fmla="*/ 0 w 1"/>
                <a:gd name="T3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 h="2">
                  <a:moveTo>
                    <a:pt x="0" y="0"/>
                  </a:moveTo>
                  <a:lnTo>
                    <a:pt x="0" y="0"/>
                  </a:lnTo>
                  <a:lnTo>
                    <a:pt x="0" y="0"/>
                  </a:lnTo>
                  <a:lnTo>
                    <a:pt x="0" y="0"/>
                  </a:lnTo>
                  <a:lnTo>
                    <a:pt x="0" y="0"/>
                  </a:lnTo>
                  <a:lnTo>
                    <a:pt x="0" y="2"/>
                  </a:lnTo>
                  <a:lnTo>
                    <a:pt x="0" y="2"/>
                  </a:lnTo>
                  <a:lnTo>
                    <a:pt x="0" y="0"/>
                  </a:lnTo>
                  <a:lnTo>
                    <a:pt x="0" y="0"/>
                  </a:lnTo>
                  <a:lnTo>
                    <a:pt x="0" y="0"/>
                  </a:lnTo>
                  <a:lnTo>
                    <a:pt x="0" y="0"/>
                  </a:lnTo>
                  <a:lnTo>
                    <a:pt x="1" y="0"/>
                  </a:lnTo>
                  <a:lnTo>
                    <a:pt x="1" y="0"/>
                  </a:lnTo>
                  <a:lnTo>
                    <a:pt x="1" y="0"/>
                  </a:lnTo>
                  <a:lnTo>
                    <a:pt x="1" y="0"/>
                  </a:lnTo>
                  <a:lnTo>
                    <a:pt x="1"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77" name="Freeform 1242">
              <a:extLst>
                <a:ext uri="{FF2B5EF4-FFF2-40B4-BE49-F238E27FC236}">
                  <a16:creationId xmlns:a16="http://schemas.microsoft.com/office/drawing/2014/main" id="{14ED890C-5A1D-4241-9A6B-66AE21AC59D2}"/>
                </a:ext>
              </a:extLst>
            </p:cNvPr>
            <p:cNvSpPr>
              <a:spLocks/>
            </p:cNvSpPr>
            <p:nvPr/>
          </p:nvSpPr>
          <p:spPr bwMode="auto">
            <a:xfrm>
              <a:off x="5786396" y="2093169"/>
              <a:ext cx="0" cy="1336"/>
            </a:xfrm>
            <a:custGeom>
              <a:avLst/>
              <a:gdLst>
                <a:gd name="T0" fmla="*/ 0 h 1"/>
                <a:gd name="T1" fmla="*/ 0 h 1"/>
                <a:gd name="T2" fmla="*/ 0 h 1"/>
                <a:gd name="T3" fmla="*/ 0 h 1"/>
                <a:gd name="T4" fmla="*/ 0 h 1"/>
                <a:gd name="T5" fmla="*/ 1 h 1"/>
                <a:gd name="T6" fmla="*/ 1 h 1"/>
                <a:gd name="T7" fmla="*/ 1 h 1"/>
                <a:gd name="T8" fmla="*/ 1 h 1"/>
                <a:gd name="T9" fmla="*/ 1 h 1"/>
                <a:gd name="T10" fmla="*/ 1 h 1"/>
                <a:gd name="T11" fmla="*/ 1 h 1"/>
                <a:gd name="T12" fmla="*/ 1 h 1"/>
                <a:gd name="T13" fmla="*/ 1 h 1"/>
                <a:gd name="T14" fmla="*/ 1 h 1"/>
                <a:gd name="T15" fmla="*/ 1 h 1"/>
                <a:gd name="T16" fmla="*/ 1 h 1"/>
                <a:gd name="T17" fmla="*/ 1 h 1"/>
                <a:gd name="T18" fmla="*/ 1 h 1"/>
                <a:gd name="T19" fmla="*/ 1 h 1"/>
                <a:gd name="T20" fmla="*/ 1 h 1"/>
                <a:gd name="T21" fmla="*/ 1 h 1"/>
                <a:gd name="T22" fmla="*/ 0 h 1"/>
                <a:gd name="T23" fmla="*/ 0 h 1"/>
                <a:gd name="T24" fmla="*/ 0 h 1"/>
                <a:gd name="T25" fmla="*/ 0 h 1"/>
                <a:gd name="T26" fmla="*/ 0 h 1"/>
                <a:gd name="T27" fmla="*/ 0 h 1"/>
                <a:gd name="T28" fmla="*/ 0 h 1"/>
                <a:gd name="T29" fmla="*/ 0 h 1"/>
                <a:gd name="T30"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Lst>
              <a:rect l="0" t="0" r="r" b="b"/>
              <a:pathLst>
                <a:path h="1">
                  <a:moveTo>
                    <a:pt x="0" y="0"/>
                  </a:moveTo>
                  <a:lnTo>
                    <a:pt x="0" y="0"/>
                  </a:lnTo>
                  <a:lnTo>
                    <a:pt x="0" y="0"/>
                  </a:lnTo>
                  <a:lnTo>
                    <a:pt x="0" y="0"/>
                  </a:lnTo>
                  <a:lnTo>
                    <a:pt x="0" y="0"/>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78" name="Freeform 1243">
              <a:extLst>
                <a:ext uri="{FF2B5EF4-FFF2-40B4-BE49-F238E27FC236}">
                  <a16:creationId xmlns:a16="http://schemas.microsoft.com/office/drawing/2014/main" id="{9DB7FDCC-0518-4ACD-9F09-56CC5CA1ED80}"/>
                </a:ext>
              </a:extLst>
            </p:cNvPr>
            <p:cNvSpPr>
              <a:spLocks/>
            </p:cNvSpPr>
            <p:nvPr/>
          </p:nvSpPr>
          <p:spPr bwMode="auto">
            <a:xfrm>
              <a:off x="5775712" y="2093169"/>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79" name="Freeform 1244">
              <a:extLst>
                <a:ext uri="{FF2B5EF4-FFF2-40B4-BE49-F238E27FC236}">
                  <a16:creationId xmlns:a16="http://schemas.microsoft.com/office/drawing/2014/main" id="{04B02A82-1EEE-498D-A64B-39DDD50889C7}"/>
                </a:ext>
              </a:extLst>
            </p:cNvPr>
            <p:cNvSpPr>
              <a:spLocks/>
            </p:cNvSpPr>
            <p:nvPr/>
          </p:nvSpPr>
          <p:spPr bwMode="auto">
            <a:xfrm>
              <a:off x="5790402" y="2091833"/>
              <a:ext cx="1336" cy="1336"/>
            </a:xfrm>
            <a:custGeom>
              <a:avLst/>
              <a:gdLst>
                <a:gd name="T0" fmla="*/ 1 w 1"/>
                <a:gd name="T1" fmla="*/ 0 h 1"/>
                <a:gd name="T2" fmla="*/ 1 w 1"/>
                <a:gd name="T3" fmla="*/ 0 h 1"/>
                <a:gd name="T4" fmla="*/ 1 w 1"/>
                <a:gd name="T5" fmla="*/ 1 h 1"/>
                <a:gd name="T6" fmla="*/ 1 w 1"/>
                <a:gd name="T7" fmla="*/ 1 h 1"/>
                <a:gd name="T8" fmla="*/ 1 w 1"/>
                <a:gd name="T9" fmla="*/ 0 h 1"/>
                <a:gd name="T10" fmla="*/ 1 w 1"/>
                <a:gd name="T11" fmla="*/ 1 h 1"/>
                <a:gd name="T12" fmla="*/ 1 w 1"/>
                <a:gd name="T13" fmla="*/ 1 h 1"/>
                <a:gd name="T14" fmla="*/ 1 w 1"/>
                <a:gd name="T15" fmla="*/ 1 h 1"/>
                <a:gd name="T16" fmla="*/ 1 w 1"/>
                <a:gd name="T17" fmla="*/ 1 h 1"/>
                <a:gd name="T18" fmla="*/ 1 w 1"/>
                <a:gd name="T19" fmla="*/ 1 h 1"/>
                <a:gd name="T20" fmla="*/ 0 w 1"/>
                <a:gd name="T21" fmla="*/ 1 h 1"/>
                <a:gd name="T22" fmla="*/ 0 w 1"/>
                <a:gd name="T23" fmla="*/ 1 h 1"/>
                <a:gd name="T24" fmla="*/ 0 w 1"/>
                <a:gd name="T25" fmla="*/ 1 h 1"/>
                <a:gd name="T26" fmla="*/ 0 w 1"/>
                <a:gd name="T27" fmla="*/ 1 h 1"/>
                <a:gd name="T28" fmla="*/ 0 w 1"/>
                <a:gd name="T29" fmla="*/ 0 h 1"/>
                <a:gd name="T30" fmla="*/ 0 w 1"/>
                <a:gd name="T31" fmla="*/ 0 h 1"/>
                <a:gd name="T32" fmla="*/ 0 w 1"/>
                <a:gd name="T33" fmla="*/ 0 h 1"/>
                <a:gd name="T34" fmla="*/ 0 w 1"/>
                <a:gd name="T35" fmla="*/ 0 h 1"/>
                <a:gd name="T36" fmla="*/ 0 w 1"/>
                <a:gd name="T37" fmla="*/ 0 h 1"/>
                <a:gd name="T38" fmla="*/ 0 w 1"/>
                <a:gd name="T39" fmla="*/ 0 h 1"/>
                <a:gd name="T40" fmla="*/ 0 w 1"/>
                <a:gd name="T41" fmla="*/ 0 h 1"/>
                <a:gd name="T42" fmla="*/ 1 w 1"/>
                <a:gd name="T4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 h="1">
                  <a:moveTo>
                    <a:pt x="1" y="0"/>
                  </a:moveTo>
                  <a:lnTo>
                    <a:pt x="1" y="0"/>
                  </a:lnTo>
                  <a:lnTo>
                    <a:pt x="1" y="1"/>
                  </a:lnTo>
                  <a:lnTo>
                    <a:pt x="1" y="1"/>
                  </a:lnTo>
                  <a:lnTo>
                    <a:pt x="1" y="0"/>
                  </a:lnTo>
                  <a:lnTo>
                    <a:pt x="1" y="1"/>
                  </a:lnTo>
                  <a:lnTo>
                    <a:pt x="1" y="1"/>
                  </a:lnTo>
                  <a:lnTo>
                    <a:pt x="1" y="1"/>
                  </a:lnTo>
                  <a:lnTo>
                    <a:pt x="1" y="1"/>
                  </a:lnTo>
                  <a:lnTo>
                    <a:pt x="1" y="1"/>
                  </a:lnTo>
                  <a:lnTo>
                    <a:pt x="0" y="1"/>
                  </a:lnTo>
                  <a:lnTo>
                    <a:pt x="0" y="1"/>
                  </a:lnTo>
                  <a:lnTo>
                    <a:pt x="0" y="1"/>
                  </a:lnTo>
                  <a:lnTo>
                    <a:pt x="0" y="1"/>
                  </a:lnTo>
                  <a:lnTo>
                    <a:pt x="0" y="0"/>
                  </a:lnTo>
                  <a:lnTo>
                    <a:pt x="0" y="0"/>
                  </a:lnTo>
                  <a:lnTo>
                    <a:pt x="0" y="0"/>
                  </a:lnTo>
                  <a:lnTo>
                    <a:pt x="0" y="0"/>
                  </a:lnTo>
                  <a:lnTo>
                    <a:pt x="0" y="0"/>
                  </a:lnTo>
                  <a:lnTo>
                    <a:pt x="0" y="0"/>
                  </a:lnTo>
                  <a:lnTo>
                    <a:pt x="0"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80" name="Freeform 1245">
              <a:extLst>
                <a:ext uri="{FF2B5EF4-FFF2-40B4-BE49-F238E27FC236}">
                  <a16:creationId xmlns:a16="http://schemas.microsoft.com/office/drawing/2014/main" id="{7C74A721-74BA-4273-B9DB-E5168B24BC2B}"/>
                </a:ext>
              </a:extLst>
            </p:cNvPr>
            <p:cNvSpPr>
              <a:spLocks/>
            </p:cNvSpPr>
            <p:nvPr/>
          </p:nvSpPr>
          <p:spPr bwMode="auto">
            <a:xfrm>
              <a:off x="5791738" y="2089163"/>
              <a:ext cx="1336" cy="0"/>
            </a:xfrm>
            <a:custGeom>
              <a:avLst/>
              <a:gdLst>
                <a:gd name="T0" fmla="*/ 0 w 1"/>
                <a:gd name="T1" fmla="*/ 0 w 1"/>
                <a:gd name="T2" fmla="*/ 0 w 1"/>
                <a:gd name="T3" fmla="*/ 0 w 1"/>
                <a:gd name="T4" fmla="*/ 0 w 1"/>
                <a:gd name="T5" fmla="*/ 0 w 1"/>
                <a:gd name="T6" fmla="*/ 0 w 1"/>
                <a:gd name="T7" fmla="*/ 0 w 1"/>
                <a:gd name="T8" fmla="*/ 0 w 1"/>
                <a:gd name="T9" fmla="*/ 0 w 1"/>
                <a:gd name="T10" fmla="*/ 0 w 1"/>
                <a:gd name="T11" fmla="*/ 1 w 1"/>
                <a:gd name="T12" fmla="*/ 1 w 1"/>
                <a:gd name="T13" fmla="*/ 1 w 1"/>
                <a:gd name="T14" fmla="*/ 1 w 1"/>
                <a:gd name="T15" fmla="*/ 1 w 1"/>
                <a:gd name="T16" fmla="*/ 1 w 1"/>
                <a:gd name="T17" fmla="*/ 1 w 1"/>
                <a:gd name="T18" fmla="*/ 1 w 1"/>
                <a:gd name="T19" fmla="*/ 1 w 1"/>
                <a:gd name="T20"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Lst>
              <a:rect l="0" t="0" r="r" b="b"/>
              <a:pathLst>
                <a:path w="1">
                  <a:moveTo>
                    <a:pt x="0" y="0"/>
                  </a:moveTo>
                  <a:lnTo>
                    <a:pt x="0" y="0"/>
                  </a:lnTo>
                  <a:lnTo>
                    <a:pt x="0" y="0"/>
                  </a:lnTo>
                  <a:lnTo>
                    <a:pt x="0" y="0"/>
                  </a:lnTo>
                  <a:lnTo>
                    <a:pt x="0" y="0"/>
                  </a:lnTo>
                  <a:lnTo>
                    <a:pt x="0" y="0"/>
                  </a:lnTo>
                  <a:lnTo>
                    <a:pt x="0" y="0"/>
                  </a:lnTo>
                  <a:lnTo>
                    <a:pt x="0" y="0"/>
                  </a:lnTo>
                  <a:lnTo>
                    <a:pt x="0" y="0"/>
                  </a:lnTo>
                  <a:lnTo>
                    <a:pt x="0" y="0"/>
                  </a:lnTo>
                  <a:lnTo>
                    <a:pt x="0" y="0"/>
                  </a:lnTo>
                  <a:lnTo>
                    <a:pt x="1" y="0"/>
                  </a:lnTo>
                  <a:lnTo>
                    <a:pt x="1" y="0"/>
                  </a:lnTo>
                  <a:lnTo>
                    <a:pt x="1" y="0"/>
                  </a:lnTo>
                  <a:lnTo>
                    <a:pt x="1" y="0"/>
                  </a:lnTo>
                  <a:lnTo>
                    <a:pt x="1" y="0"/>
                  </a:lnTo>
                  <a:lnTo>
                    <a:pt x="1" y="0"/>
                  </a:lnTo>
                  <a:lnTo>
                    <a:pt x="1" y="0"/>
                  </a:lnTo>
                  <a:lnTo>
                    <a:pt x="1" y="0"/>
                  </a:lnTo>
                  <a:lnTo>
                    <a:pt x="1"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81" name="Freeform 1246">
              <a:extLst>
                <a:ext uri="{FF2B5EF4-FFF2-40B4-BE49-F238E27FC236}">
                  <a16:creationId xmlns:a16="http://schemas.microsoft.com/office/drawing/2014/main" id="{4C2F6261-F6A6-47F9-BB9E-9ABAA83B9461}"/>
                </a:ext>
              </a:extLst>
            </p:cNvPr>
            <p:cNvSpPr>
              <a:spLocks/>
            </p:cNvSpPr>
            <p:nvPr/>
          </p:nvSpPr>
          <p:spPr bwMode="auto">
            <a:xfrm>
              <a:off x="5793073" y="2083821"/>
              <a:ext cx="2671" cy="1336"/>
            </a:xfrm>
            <a:custGeom>
              <a:avLst/>
              <a:gdLst>
                <a:gd name="T0" fmla="*/ 1 w 2"/>
                <a:gd name="T1" fmla="*/ 0 h 1"/>
                <a:gd name="T2" fmla="*/ 1 w 2"/>
                <a:gd name="T3" fmla="*/ 0 h 1"/>
                <a:gd name="T4" fmla="*/ 1 w 2"/>
                <a:gd name="T5" fmla="*/ 0 h 1"/>
                <a:gd name="T6" fmla="*/ 1 w 2"/>
                <a:gd name="T7" fmla="*/ 0 h 1"/>
                <a:gd name="T8" fmla="*/ 1 w 2"/>
                <a:gd name="T9" fmla="*/ 0 h 1"/>
                <a:gd name="T10" fmla="*/ 1 w 2"/>
                <a:gd name="T11" fmla="*/ 0 h 1"/>
                <a:gd name="T12" fmla="*/ 2 w 2"/>
                <a:gd name="T13" fmla="*/ 0 h 1"/>
                <a:gd name="T14" fmla="*/ 2 w 2"/>
                <a:gd name="T15" fmla="*/ 0 h 1"/>
                <a:gd name="T16" fmla="*/ 2 w 2"/>
                <a:gd name="T17" fmla="*/ 0 h 1"/>
                <a:gd name="T18" fmla="*/ 1 w 2"/>
                <a:gd name="T19" fmla="*/ 0 h 1"/>
                <a:gd name="T20" fmla="*/ 1 w 2"/>
                <a:gd name="T21" fmla="*/ 0 h 1"/>
                <a:gd name="T22" fmla="*/ 1 w 2"/>
                <a:gd name="T23" fmla="*/ 0 h 1"/>
                <a:gd name="T24" fmla="*/ 1 w 2"/>
                <a:gd name="T25" fmla="*/ 0 h 1"/>
                <a:gd name="T26" fmla="*/ 1 w 2"/>
                <a:gd name="T27" fmla="*/ 0 h 1"/>
                <a:gd name="T28" fmla="*/ 1 w 2"/>
                <a:gd name="T29" fmla="*/ 0 h 1"/>
                <a:gd name="T30" fmla="*/ 1 w 2"/>
                <a:gd name="T31" fmla="*/ 0 h 1"/>
                <a:gd name="T32" fmla="*/ 1 w 2"/>
                <a:gd name="T33" fmla="*/ 0 h 1"/>
                <a:gd name="T34" fmla="*/ 1 w 2"/>
                <a:gd name="T35" fmla="*/ 1 h 1"/>
                <a:gd name="T36" fmla="*/ 0 w 2"/>
                <a:gd name="T37" fmla="*/ 0 h 1"/>
                <a:gd name="T38" fmla="*/ 0 w 2"/>
                <a:gd name="T39" fmla="*/ 0 h 1"/>
                <a:gd name="T40" fmla="*/ 0 w 2"/>
                <a:gd name="T41" fmla="*/ 0 h 1"/>
                <a:gd name="T42" fmla="*/ 0 w 2"/>
                <a:gd name="T43" fmla="*/ 0 h 1"/>
                <a:gd name="T44" fmla="*/ 1 w 2"/>
                <a:gd name="T45" fmla="*/ 0 h 1"/>
                <a:gd name="T46" fmla="*/ 1 w 2"/>
                <a:gd name="T47" fmla="*/ 0 h 1"/>
                <a:gd name="T48" fmla="*/ 1 w 2"/>
                <a:gd name="T49" fmla="*/ 0 h 1"/>
                <a:gd name="T50" fmla="*/ 1 w 2"/>
                <a:gd name="T51" fmla="*/ 0 h 1"/>
                <a:gd name="T52" fmla="*/ 1 w 2"/>
                <a:gd name="T5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 h="1">
                  <a:moveTo>
                    <a:pt x="1" y="0"/>
                  </a:moveTo>
                  <a:lnTo>
                    <a:pt x="1" y="0"/>
                  </a:lnTo>
                  <a:lnTo>
                    <a:pt x="1" y="0"/>
                  </a:lnTo>
                  <a:lnTo>
                    <a:pt x="1" y="0"/>
                  </a:lnTo>
                  <a:lnTo>
                    <a:pt x="1" y="0"/>
                  </a:lnTo>
                  <a:lnTo>
                    <a:pt x="1" y="0"/>
                  </a:lnTo>
                  <a:lnTo>
                    <a:pt x="2" y="0"/>
                  </a:lnTo>
                  <a:lnTo>
                    <a:pt x="2" y="0"/>
                  </a:lnTo>
                  <a:lnTo>
                    <a:pt x="2" y="0"/>
                  </a:lnTo>
                  <a:lnTo>
                    <a:pt x="1" y="0"/>
                  </a:lnTo>
                  <a:lnTo>
                    <a:pt x="1" y="0"/>
                  </a:lnTo>
                  <a:lnTo>
                    <a:pt x="1" y="0"/>
                  </a:lnTo>
                  <a:lnTo>
                    <a:pt x="1" y="0"/>
                  </a:lnTo>
                  <a:lnTo>
                    <a:pt x="1" y="0"/>
                  </a:lnTo>
                  <a:lnTo>
                    <a:pt x="1" y="0"/>
                  </a:lnTo>
                  <a:lnTo>
                    <a:pt x="1" y="0"/>
                  </a:lnTo>
                  <a:lnTo>
                    <a:pt x="1" y="0"/>
                  </a:lnTo>
                  <a:lnTo>
                    <a:pt x="1" y="1"/>
                  </a:lnTo>
                  <a:lnTo>
                    <a:pt x="0" y="0"/>
                  </a:lnTo>
                  <a:lnTo>
                    <a:pt x="0" y="0"/>
                  </a:lnTo>
                  <a:lnTo>
                    <a:pt x="0" y="0"/>
                  </a:lnTo>
                  <a:lnTo>
                    <a:pt x="0"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82" name="Freeform 1247">
              <a:extLst>
                <a:ext uri="{FF2B5EF4-FFF2-40B4-BE49-F238E27FC236}">
                  <a16:creationId xmlns:a16="http://schemas.microsoft.com/office/drawing/2014/main" id="{BF680633-E816-4B76-AD9D-FC1C83AFA667}"/>
                </a:ext>
              </a:extLst>
            </p:cNvPr>
            <p:cNvSpPr>
              <a:spLocks/>
            </p:cNvSpPr>
            <p:nvPr/>
          </p:nvSpPr>
          <p:spPr bwMode="auto">
            <a:xfrm>
              <a:off x="5782389" y="2083821"/>
              <a:ext cx="9349" cy="14691"/>
            </a:xfrm>
            <a:custGeom>
              <a:avLst/>
              <a:gdLst>
                <a:gd name="T0" fmla="*/ 3 w 7"/>
                <a:gd name="T1" fmla="*/ 1 h 11"/>
                <a:gd name="T2" fmla="*/ 3 w 7"/>
                <a:gd name="T3" fmla="*/ 1 h 11"/>
                <a:gd name="T4" fmla="*/ 3 w 7"/>
                <a:gd name="T5" fmla="*/ 1 h 11"/>
                <a:gd name="T6" fmla="*/ 3 w 7"/>
                <a:gd name="T7" fmla="*/ 3 h 11"/>
                <a:gd name="T8" fmla="*/ 3 w 7"/>
                <a:gd name="T9" fmla="*/ 3 h 11"/>
                <a:gd name="T10" fmla="*/ 4 w 7"/>
                <a:gd name="T11" fmla="*/ 3 h 11"/>
                <a:gd name="T12" fmla="*/ 4 w 7"/>
                <a:gd name="T13" fmla="*/ 3 h 11"/>
                <a:gd name="T14" fmla="*/ 6 w 7"/>
                <a:gd name="T15" fmla="*/ 3 h 11"/>
                <a:gd name="T16" fmla="*/ 4 w 7"/>
                <a:gd name="T17" fmla="*/ 3 h 11"/>
                <a:gd name="T18" fmla="*/ 6 w 7"/>
                <a:gd name="T19" fmla="*/ 3 h 11"/>
                <a:gd name="T20" fmla="*/ 6 w 7"/>
                <a:gd name="T21" fmla="*/ 4 h 11"/>
                <a:gd name="T22" fmla="*/ 6 w 7"/>
                <a:gd name="T23" fmla="*/ 3 h 11"/>
                <a:gd name="T24" fmla="*/ 6 w 7"/>
                <a:gd name="T25" fmla="*/ 4 h 11"/>
                <a:gd name="T26" fmla="*/ 7 w 7"/>
                <a:gd name="T27" fmla="*/ 4 h 11"/>
                <a:gd name="T28" fmla="*/ 6 w 7"/>
                <a:gd name="T29" fmla="*/ 4 h 11"/>
                <a:gd name="T30" fmla="*/ 6 w 7"/>
                <a:gd name="T31" fmla="*/ 5 h 11"/>
                <a:gd name="T32" fmla="*/ 6 w 7"/>
                <a:gd name="T33" fmla="*/ 5 h 11"/>
                <a:gd name="T34" fmla="*/ 4 w 7"/>
                <a:gd name="T35" fmla="*/ 5 h 11"/>
                <a:gd name="T36" fmla="*/ 4 w 7"/>
                <a:gd name="T37" fmla="*/ 6 h 11"/>
                <a:gd name="T38" fmla="*/ 6 w 7"/>
                <a:gd name="T39" fmla="*/ 6 h 11"/>
                <a:gd name="T40" fmla="*/ 6 w 7"/>
                <a:gd name="T41" fmla="*/ 6 h 11"/>
                <a:gd name="T42" fmla="*/ 6 w 7"/>
                <a:gd name="T43" fmla="*/ 7 h 11"/>
                <a:gd name="T44" fmla="*/ 4 w 7"/>
                <a:gd name="T45" fmla="*/ 7 h 11"/>
                <a:gd name="T46" fmla="*/ 4 w 7"/>
                <a:gd name="T47" fmla="*/ 8 h 11"/>
                <a:gd name="T48" fmla="*/ 4 w 7"/>
                <a:gd name="T49" fmla="*/ 8 h 11"/>
                <a:gd name="T50" fmla="*/ 4 w 7"/>
                <a:gd name="T51" fmla="*/ 10 h 11"/>
                <a:gd name="T52" fmla="*/ 4 w 7"/>
                <a:gd name="T53" fmla="*/ 11 h 11"/>
                <a:gd name="T54" fmla="*/ 3 w 7"/>
                <a:gd name="T55" fmla="*/ 11 h 11"/>
                <a:gd name="T56" fmla="*/ 3 w 7"/>
                <a:gd name="T57" fmla="*/ 11 h 11"/>
                <a:gd name="T58" fmla="*/ 3 w 7"/>
                <a:gd name="T59" fmla="*/ 10 h 11"/>
                <a:gd name="T60" fmla="*/ 3 w 7"/>
                <a:gd name="T61" fmla="*/ 8 h 11"/>
                <a:gd name="T62" fmla="*/ 4 w 7"/>
                <a:gd name="T63" fmla="*/ 7 h 11"/>
                <a:gd name="T64" fmla="*/ 3 w 7"/>
                <a:gd name="T65" fmla="*/ 6 h 11"/>
                <a:gd name="T66" fmla="*/ 4 w 7"/>
                <a:gd name="T67" fmla="*/ 6 h 11"/>
                <a:gd name="T68" fmla="*/ 3 w 7"/>
                <a:gd name="T69" fmla="*/ 6 h 11"/>
                <a:gd name="T70" fmla="*/ 3 w 7"/>
                <a:gd name="T71" fmla="*/ 6 h 11"/>
                <a:gd name="T72" fmla="*/ 2 w 7"/>
                <a:gd name="T73" fmla="*/ 6 h 11"/>
                <a:gd name="T74" fmla="*/ 2 w 7"/>
                <a:gd name="T75" fmla="*/ 6 h 11"/>
                <a:gd name="T76" fmla="*/ 1 w 7"/>
                <a:gd name="T77" fmla="*/ 6 h 11"/>
                <a:gd name="T78" fmla="*/ 1 w 7"/>
                <a:gd name="T79" fmla="*/ 6 h 11"/>
                <a:gd name="T80" fmla="*/ 0 w 7"/>
                <a:gd name="T81" fmla="*/ 6 h 11"/>
                <a:gd name="T82" fmla="*/ 0 w 7"/>
                <a:gd name="T83" fmla="*/ 5 h 11"/>
                <a:gd name="T84" fmla="*/ 0 w 7"/>
                <a:gd name="T85" fmla="*/ 5 h 11"/>
                <a:gd name="T86" fmla="*/ 1 w 7"/>
                <a:gd name="T87" fmla="*/ 5 h 11"/>
                <a:gd name="T88" fmla="*/ 2 w 7"/>
                <a:gd name="T89" fmla="*/ 5 h 11"/>
                <a:gd name="T90" fmla="*/ 2 w 7"/>
                <a:gd name="T91" fmla="*/ 5 h 11"/>
                <a:gd name="T92" fmla="*/ 3 w 7"/>
                <a:gd name="T93" fmla="*/ 5 h 11"/>
                <a:gd name="T94" fmla="*/ 4 w 7"/>
                <a:gd name="T95" fmla="*/ 4 h 11"/>
                <a:gd name="T96" fmla="*/ 3 w 7"/>
                <a:gd name="T97" fmla="*/ 4 h 11"/>
                <a:gd name="T98" fmla="*/ 2 w 7"/>
                <a:gd name="T99" fmla="*/ 3 h 11"/>
                <a:gd name="T100" fmla="*/ 2 w 7"/>
                <a:gd name="T101" fmla="*/ 3 h 11"/>
                <a:gd name="T102" fmla="*/ 1 w 7"/>
                <a:gd name="T103" fmla="*/ 3 h 11"/>
                <a:gd name="T104" fmla="*/ 1 w 7"/>
                <a:gd name="T105" fmla="*/ 1 h 11"/>
                <a:gd name="T106" fmla="*/ 1 w 7"/>
                <a:gd name="T107" fmla="*/ 1 h 11"/>
                <a:gd name="T108" fmla="*/ 2 w 7"/>
                <a:gd name="T109" fmla="*/ 1 h 11"/>
                <a:gd name="T110" fmla="*/ 2 w 7"/>
                <a:gd name="T111" fmla="*/ 1 h 11"/>
                <a:gd name="T112" fmla="*/ 2 w 7"/>
                <a:gd name="T113" fmla="*/ 0 h 11"/>
                <a:gd name="T114" fmla="*/ 3 w 7"/>
                <a:gd name="T115" fmla="*/ 0 h 11"/>
                <a:gd name="T116" fmla="*/ 3 w 7"/>
                <a:gd name="T1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 h="11">
                  <a:moveTo>
                    <a:pt x="3" y="0"/>
                  </a:moveTo>
                  <a:lnTo>
                    <a:pt x="3" y="0"/>
                  </a:lnTo>
                  <a:lnTo>
                    <a:pt x="3" y="0"/>
                  </a:lnTo>
                  <a:lnTo>
                    <a:pt x="3" y="0"/>
                  </a:lnTo>
                  <a:lnTo>
                    <a:pt x="3" y="1"/>
                  </a:lnTo>
                  <a:lnTo>
                    <a:pt x="3" y="1"/>
                  </a:lnTo>
                  <a:lnTo>
                    <a:pt x="3" y="1"/>
                  </a:lnTo>
                  <a:lnTo>
                    <a:pt x="3" y="1"/>
                  </a:lnTo>
                  <a:lnTo>
                    <a:pt x="3" y="1"/>
                  </a:lnTo>
                  <a:lnTo>
                    <a:pt x="3" y="1"/>
                  </a:lnTo>
                  <a:lnTo>
                    <a:pt x="3" y="1"/>
                  </a:lnTo>
                  <a:lnTo>
                    <a:pt x="3" y="1"/>
                  </a:lnTo>
                  <a:lnTo>
                    <a:pt x="3" y="1"/>
                  </a:lnTo>
                  <a:lnTo>
                    <a:pt x="3" y="1"/>
                  </a:lnTo>
                  <a:lnTo>
                    <a:pt x="3" y="1"/>
                  </a:lnTo>
                  <a:lnTo>
                    <a:pt x="3" y="1"/>
                  </a:lnTo>
                  <a:lnTo>
                    <a:pt x="3" y="3"/>
                  </a:lnTo>
                  <a:lnTo>
                    <a:pt x="3" y="3"/>
                  </a:lnTo>
                  <a:lnTo>
                    <a:pt x="3" y="3"/>
                  </a:lnTo>
                  <a:lnTo>
                    <a:pt x="3" y="1"/>
                  </a:lnTo>
                  <a:lnTo>
                    <a:pt x="3" y="1"/>
                  </a:lnTo>
                  <a:lnTo>
                    <a:pt x="3" y="1"/>
                  </a:lnTo>
                  <a:lnTo>
                    <a:pt x="3" y="3"/>
                  </a:lnTo>
                  <a:lnTo>
                    <a:pt x="3" y="3"/>
                  </a:lnTo>
                  <a:lnTo>
                    <a:pt x="3" y="3"/>
                  </a:lnTo>
                  <a:lnTo>
                    <a:pt x="3" y="3"/>
                  </a:lnTo>
                  <a:lnTo>
                    <a:pt x="3" y="3"/>
                  </a:lnTo>
                  <a:lnTo>
                    <a:pt x="3" y="3"/>
                  </a:lnTo>
                  <a:lnTo>
                    <a:pt x="3" y="3"/>
                  </a:lnTo>
                  <a:lnTo>
                    <a:pt x="3" y="4"/>
                  </a:lnTo>
                  <a:lnTo>
                    <a:pt x="3" y="4"/>
                  </a:lnTo>
                  <a:lnTo>
                    <a:pt x="3" y="4"/>
                  </a:lnTo>
                  <a:lnTo>
                    <a:pt x="3" y="4"/>
                  </a:lnTo>
                  <a:lnTo>
                    <a:pt x="3" y="3"/>
                  </a:lnTo>
                  <a:lnTo>
                    <a:pt x="3" y="3"/>
                  </a:lnTo>
                  <a:lnTo>
                    <a:pt x="3" y="3"/>
                  </a:lnTo>
                  <a:lnTo>
                    <a:pt x="4" y="3"/>
                  </a:lnTo>
                  <a:lnTo>
                    <a:pt x="4" y="3"/>
                  </a:lnTo>
                  <a:lnTo>
                    <a:pt x="3" y="3"/>
                  </a:lnTo>
                  <a:lnTo>
                    <a:pt x="4" y="3"/>
                  </a:lnTo>
                  <a:lnTo>
                    <a:pt x="4" y="3"/>
                  </a:lnTo>
                  <a:lnTo>
                    <a:pt x="4" y="3"/>
                  </a:lnTo>
                  <a:lnTo>
                    <a:pt x="4" y="3"/>
                  </a:lnTo>
                  <a:lnTo>
                    <a:pt x="4" y="3"/>
                  </a:lnTo>
                  <a:lnTo>
                    <a:pt x="4" y="3"/>
                  </a:lnTo>
                  <a:lnTo>
                    <a:pt x="4" y="1"/>
                  </a:lnTo>
                  <a:lnTo>
                    <a:pt x="4" y="1"/>
                  </a:lnTo>
                  <a:lnTo>
                    <a:pt x="4" y="1"/>
                  </a:lnTo>
                  <a:lnTo>
                    <a:pt x="4" y="3"/>
                  </a:lnTo>
                  <a:lnTo>
                    <a:pt x="4" y="3"/>
                  </a:lnTo>
                  <a:lnTo>
                    <a:pt x="6" y="3"/>
                  </a:lnTo>
                  <a:lnTo>
                    <a:pt x="6" y="3"/>
                  </a:lnTo>
                  <a:lnTo>
                    <a:pt x="6" y="3"/>
                  </a:lnTo>
                  <a:lnTo>
                    <a:pt x="6" y="3"/>
                  </a:lnTo>
                  <a:lnTo>
                    <a:pt x="6" y="3"/>
                  </a:lnTo>
                  <a:lnTo>
                    <a:pt x="6" y="3"/>
                  </a:lnTo>
                  <a:lnTo>
                    <a:pt x="6" y="3"/>
                  </a:lnTo>
                  <a:lnTo>
                    <a:pt x="6" y="3"/>
                  </a:lnTo>
                  <a:lnTo>
                    <a:pt x="4" y="3"/>
                  </a:lnTo>
                  <a:lnTo>
                    <a:pt x="4" y="3"/>
                  </a:lnTo>
                  <a:lnTo>
                    <a:pt x="4" y="3"/>
                  </a:lnTo>
                  <a:lnTo>
                    <a:pt x="4" y="3"/>
                  </a:lnTo>
                  <a:lnTo>
                    <a:pt x="4" y="3"/>
                  </a:lnTo>
                  <a:lnTo>
                    <a:pt x="4" y="3"/>
                  </a:lnTo>
                  <a:lnTo>
                    <a:pt x="4" y="3"/>
                  </a:lnTo>
                  <a:lnTo>
                    <a:pt x="4" y="3"/>
                  </a:lnTo>
                  <a:lnTo>
                    <a:pt x="4" y="3"/>
                  </a:lnTo>
                  <a:lnTo>
                    <a:pt x="4" y="3"/>
                  </a:lnTo>
                  <a:lnTo>
                    <a:pt x="4" y="4"/>
                  </a:lnTo>
                  <a:lnTo>
                    <a:pt x="6" y="3"/>
                  </a:lnTo>
                  <a:lnTo>
                    <a:pt x="6" y="4"/>
                  </a:lnTo>
                  <a:lnTo>
                    <a:pt x="6" y="4"/>
                  </a:lnTo>
                  <a:lnTo>
                    <a:pt x="6" y="4"/>
                  </a:lnTo>
                  <a:lnTo>
                    <a:pt x="6" y="4"/>
                  </a:lnTo>
                  <a:lnTo>
                    <a:pt x="6" y="4"/>
                  </a:lnTo>
                  <a:lnTo>
                    <a:pt x="6" y="4"/>
                  </a:lnTo>
                  <a:lnTo>
                    <a:pt x="6" y="4"/>
                  </a:lnTo>
                  <a:lnTo>
                    <a:pt x="6" y="4"/>
                  </a:lnTo>
                  <a:lnTo>
                    <a:pt x="6" y="3"/>
                  </a:lnTo>
                  <a:lnTo>
                    <a:pt x="6" y="3"/>
                  </a:lnTo>
                  <a:lnTo>
                    <a:pt x="6" y="3"/>
                  </a:lnTo>
                  <a:lnTo>
                    <a:pt x="6" y="3"/>
                  </a:lnTo>
                  <a:lnTo>
                    <a:pt x="6" y="3"/>
                  </a:lnTo>
                  <a:lnTo>
                    <a:pt x="6" y="3"/>
                  </a:lnTo>
                  <a:lnTo>
                    <a:pt x="6" y="3"/>
                  </a:lnTo>
                  <a:lnTo>
                    <a:pt x="7" y="3"/>
                  </a:lnTo>
                  <a:lnTo>
                    <a:pt x="7" y="3"/>
                  </a:lnTo>
                  <a:lnTo>
                    <a:pt x="7" y="3"/>
                  </a:lnTo>
                  <a:lnTo>
                    <a:pt x="7" y="3"/>
                  </a:lnTo>
                  <a:lnTo>
                    <a:pt x="6" y="4"/>
                  </a:lnTo>
                  <a:lnTo>
                    <a:pt x="6" y="4"/>
                  </a:lnTo>
                  <a:lnTo>
                    <a:pt x="6" y="4"/>
                  </a:lnTo>
                  <a:lnTo>
                    <a:pt x="6" y="4"/>
                  </a:lnTo>
                  <a:lnTo>
                    <a:pt x="6" y="4"/>
                  </a:lnTo>
                  <a:lnTo>
                    <a:pt x="6" y="4"/>
                  </a:lnTo>
                  <a:lnTo>
                    <a:pt x="6" y="4"/>
                  </a:lnTo>
                  <a:lnTo>
                    <a:pt x="6" y="4"/>
                  </a:lnTo>
                  <a:lnTo>
                    <a:pt x="7" y="4"/>
                  </a:lnTo>
                  <a:lnTo>
                    <a:pt x="7" y="4"/>
                  </a:lnTo>
                  <a:lnTo>
                    <a:pt x="7" y="4"/>
                  </a:lnTo>
                  <a:lnTo>
                    <a:pt x="7" y="4"/>
                  </a:lnTo>
                  <a:lnTo>
                    <a:pt x="7" y="4"/>
                  </a:lnTo>
                  <a:lnTo>
                    <a:pt x="6" y="4"/>
                  </a:lnTo>
                  <a:lnTo>
                    <a:pt x="6" y="4"/>
                  </a:lnTo>
                  <a:lnTo>
                    <a:pt x="6" y="4"/>
                  </a:lnTo>
                  <a:lnTo>
                    <a:pt x="6" y="4"/>
                  </a:lnTo>
                  <a:lnTo>
                    <a:pt x="6" y="4"/>
                  </a:lnTo>
                  <a:lnTo>
                    <a:pt x="7" y="5"/>
                  </a:lnTo>
                  <a:lnTo>
                    <a:pt x="6" y="5"/>
                  </a:lnTo>
                  <a:lnTo>
                    <a:pt x="6" y="5"/>
                  </a:lnTo>
                  <a:lnTo>
                    <a:pt x="6" y="5"/>
                  </a:lnTo>
                  <a:lnTo>
                    <a:pt x="6" y="5"/>
                  </a:lnTo>
                  <a:lnTo>
                    <a:pt x="6" y="5"/>
                  </a:lnTo>
                  <a:lnTo>
                    <a:pt x="6" y="5"/>
                  </a:lnTo>
                  <a:lnTo>
                    <a:pt x="6" y="5"/>
                  </a:lnTo>
                  <a:lnTo>
                    <a:pt x="6" y="5"/>
                  </a:lnTo>
                  <a:lnTo>
                    <a:pt x="6" y="5"/>
                  </a:lnTo>
                  <a:lnTo>
                    <a:pt x="6" y="5"/>
                  </a:lnTo>
                  <a:lnTo>
                    <a:pt x="6" y="5"/>
                  </a:lnTo>
                  <a:lnTo>
                    <a:pt x="6" y="5"/>
                  </a:lnTo>
                  <a:lnTo>
                    <a:pt x="6" y="5"/>
                  </a:lnTo>
                  <a:lnTo>
                    <a:pt x="6" y="5"/>
                  </a:lnTo>
                  <a:lnTo>
                    <a:pt x="6" y="5"/>
                  </a:lnTo>
                  <a:lnTo>
                    <a:pt x="6" y="5"/>
                  </a:lnTo>
                  <a:lnTo>
                    <a:pt x="4" y="5"/>
                  </a:lnTo>
                  <a:lnTo>
                    <a:pt x="4" y="5"/>
                  </a:lnTo>
                  <a:lnTo>
                    <a:pt x="4" y="5"/>
                  </a:lnTo>
                  <a:lnTo>
                    <a:pt x="4" y="5"/>
                  </a:lnTo>
                  <a:lnTo>
                    <a:pt x="4" y="5"/>
                  </a:lnTo>
                  <a:lnTo>
                    <a:pt x="4" y="5"/>
                  </a:lnTo>
                  <a:lnTo>
                    <a:pt x="4" y="6"/>
                  </a:lnTo>
                  <a:lnTo>
                    <a:pt x="4" y="6"/>
                  </a:lnTo>
                  <a:lnTo>
                    <a:pt x="4" y="6"/>
                  </a:lnTo>
                  <a:lnTo>
                    <a:pt x="4" y="6"/>
                  </a:lnTo>
                  <a:lnTo>
                    <a:pt x="4" y="6"/>
                  </a:lnTo>
                  <a:lnTo>
                    <a:pt x="6" y="6"/>
                  </a:lnTo>
                  <a:lnTo>
                    <a:pt x="4" y="6"/>
                  </a:lnTo>
                  <a:lnTo>
                    <a:pt x="4" y="6"/>
                  </a:lnTo>
                  <a:lnTo>
                    <a:pt x="4" y="6"/>
                  </a:lnTo>
                  <a:lnTo>
                    <a:pt x="6" y="6"/>
                  </a:lnTo>
                  <a:lnTo>
                    <a:pt x="6" y="6"/>
                  </a:lnTo>
                  <a:lnTo>
                    <a:pt x="6" y="6"/>
                  </a:lnTo>
                  <a:lnTo>
                    <a:pt x="4" y="6"/>
                  </a:lnTo>
                  <a:lnTo>
                    <a:pt x="4" y="6"/>
                  </a:lnTo>
                  <a:lnTo>
                    <a:pt x="6" y="6"/>
                  </a:lnTo>
                  <a:lnTo>
                    <a:pt x="6" y="6"/>
                  </a:lnTo>
                  <a:lnTo>
                    <a:pt x="6" y="6"/>
                  </a:lnTo>
                  <a:lnTo>
                    <a:pt x="6" y="6"/>
                  </a:lnTo>
                  <a:lnTo>
                    <a:pt x="6" y="7"/>
                  </a:lnTo>
                  <a:lnTo>
                    <a:pt x="6" y="7"/>
                  </a:lnTo>
                  <a:lnTo>
                    <a:pt x="6" y="7"/>
                  </a:lnTo>
                  <a:lnTo>
                    <a:pt x="6" y="7"/>
                  </a:lnTo>
                  <a:lnTo>
                    <a:pt x="6" y="7"/>
                  </a:lnTo>
                  <a:lnTo>
                    <a:pt x="6" y="7"/>
                  </a:lnTo>
                  <a:lnTo>
                    <a:pt x="6" y="7"/>
                  </a:lnTo>
                  <a:lnTo>
                    <a:pt x="6" y="7"/>
                  </a:lnTo>
                  <a:lnTo>
                    <a:pt x="4" y="7"/>
                  </a:lnTo>
                  <a:lnTo>
                    <a:pt x="4" y="7"/>
                  </a:lnTo>
                  <a:lnTo>
                    <a:pt x="4" y="7"/>
                  </a:lnTo>
                  <a:lnTo>
                    <a:pt x="4" y="7"/>
                  </a:lnTo>
                  <a:lnTo>
                    <a:pt x="4" y="7"/>
                  </a:lnTo>
                  <a:lnTo>
                    <a:pt x="4" y="7"/>
                  </a:lnTo>
                  <a:lnTo>
                    <a:pt x="4" y="7"/>
                  </a:lnTo>
                  <a:lnTo>
                    <a:pt x="4" y="7"/>
                  </a:lnTo>
                  <a:lnTo>
                    <a:pt x="4" y="7"/>
                  </a:lnTo>
                  <a:lnTo>
                    <a:pt x="4" y="7"/>
                  </a:lnTo>
                  <a:lnTo>
                    <a:pt x="4" y="8"/>
                  </a:lnTo>
                  <a:lnTo>
                    <a:pt x="4" y="8"/>
                  </a:lnTo>
                  <a:lnTo>
                    <a:pt x="6" y="8"/>
                  </a:lnTo>
                  <a:lnTo>
                    <a:pt x="6" y="8"/>
                  </a:lnTo>
                  <a:lnTo>
                    <a:pt x="6" y="8"/>
                  </a:lnTo>
                  <a:lnTo>
                    <a:pt x="4" y="8"/>
                  </a:lnTo>
                  <a:lnTo>
                    <a:pt x="4" y="8"/>
                  </a:lnTo>
                  <a:lnTo>
                    <a:pt x="4" y="8"/>
                  </a:lnTo>
                  <a:lnTo>
                    <a:pt x="4" y="8"/>
                  </a:lnTo>
                  <a:lnTo>
                    <a:pt x="4" y="10"/>
                  </a:lnTo>
                  <a:lnTo>
                    <a:pt x="4" y="10"/>
                  </a:lnTo>
                  <a:lnTo>
                    <a:pt x="4" y="10"/>
                  </a:lnTo>
                  <a:lnTo>
                    <a:pt x="4" y="10"/>
                  </a:lnTo>
                  <a:lnTo>
                    <a:pt x="4" y="10"/>
                  </a:lnTo>
                  <a:lnTo>
                    <a:pt x="4" y="10"/>
                  </a:lnTo>
                  <a:lnTo>
                    <a:pt x="4" y="10"/>
                  </a:lnTo>
                  <a:lnTo>
                    <a:pt x="4" y="11"/>
                  </a:lnTo>
                  <a:lnTo>
                    <a:pt x="4" y="10"/>
                  </a:lnTo>
                  <a:lnTo>
                    <a:pt x="4" y="10"/>
                  </a:lnTo>
                  <a:lnTo>
                    <a:pt x="4" y="11"/>
                  </a:lnTo>
                  <a:lnTo>
                    <a:pt x="4" y="11"/>
                  </a:lnTo>
                  <a:lnTo>
                    <a:pt x="4" y="11"/>
                  </a:lnTo>
                  <a:lnTo>
                    <a:pt x="4" y="11"/>
                  </a:lnTo>
                  <a:lnTo>
                    <a:pt x="4" y="11"/>
                  </a:lnTo>
                  <a:lnTo>
                    <a:pt x="4" y="11"/>
                  </a:lnTo>
                  <a:lnTo>
                    <a:pt x="4" y="11"/>
                  </a:lnTo>
                  <a:lnTo>
                    <a:pt x="4" y="11"/>
                  </a:lnTo>
                  <a:lnTo>
                    <a:pt x="4" y="11"/>
                  </a:lnTo>
                  <a:lnTo>
                    <a:pt x="3" y="11"/>
                  </a:lnTo>
                  <a:lnTo>
                    <a:pt x="3" y="11"/>
                  </a:lnTo>
                  <a:lnTo>
                    <a:pt x="3" y="11"/>
                  </a:lnTo>
                  <a:lnTo>
                    <a:pt x="3" y="11"/>
                  </a:lnTo>
                  <a:lnTo>
                    <a:pt x="3" y="11"/>
                  </a:lnTo>
                  <a:lnTo>
                    <a:pt x="3" y="11"/>
                  </a:lnTo>
                  <a:lnTo>
                    <a:pt x="3" y="11"/>
                  </a:lnTo>
                  <a:lnTo>
                    <a:pt x="3" y="11"/>
                  </a:lnTo>
                  <a:lnTo>
                    <a:pt x="3" y="11"/>
                  </a:lnTo>
                  <a:lnTo>
                    <a:pt x="3" y="11"/>
                  </a:lnTo>
                  <a:lnTo>
                    <a:pt x="3" y="11"/>
                  </a:lnTo>
                  <a:lnTo>
                    <a:pt x="3" y="10"/>
                  </a:lnTo>
                  <a:lnTo>
                    <a:pt x="3" y="10"/>
                  </a:lnTo>
                  <a:lnTo>
                    <a:pt x="3" y="10"/>
                  </a:lnTo>
                  <a:lnTo>
                    <a:pt x="3" y="10"/>
                  </a:lnTo>
                  <a:lnTo>
                    <a:pt x="3" y="10"/>
                  </a:lnTo>
                  <a:lnTo>
                    <a:pt x="3" y="10"/>
                  </a:lnTo>
                  <a:lnTo>
                    <a:pt x="3" y="10"/>
                  </a:lnTo>
                  <a:lnTo>
                    <a:pt x="3" y="10"/>
                  </a:lnTo>
                  <a:lnTo>
                    <a:pt x="3" y="10"/>
                  </a:lnTo>
                  <a:lnTo>
                    <a:pt x="3" y="10"/>
                  </a:lnTo>
                  <a:lnTo>
                    <a:pt x="3" y="10"/>
                  </a:lnTo>
                  <a:lnTo>
                    <a:pt x="3" y="8"/>
                  </a:lnTo>
                  <a:lnTo>
                    <a:pt x="3" y="8"/>
                  </a:lnTo>
                  <a:lnTo>
                    <a:pt x="3" y="8"/>
                  </a:lnTo>
                  <a:lnTo>
                    <a:pt x="4" y="7"/>
                  </a:lnTo>
                  <a:lnTo>
                    <a:pt x="4" y="7"/>
                  </a:lnTo>
                  <a:lnTo>
                    <a:pt x="4" y="7"/>
                  </a:lnTo>
                  <a:lnTo>
                    <a:pt x="4" y="7"/>
                  </a:lnTo>
                  <a:lnTo>
                    <a:pt x="4" y="7"/>
                  </a:lnTo>
                  <a:lnTo>
                    <a:pt x="4" y="7"/>
                  </a:lnTo>
                  <a:lnTo>
                    <a:pt x="3" y="7"/>
                  </a:lnTo>
                  <a:lnTo>
                    <a:pt x="3" y="7"/>
                  </a:lnTo>
                  <a:lnTo>
                    <a:pt x="4" y="7"/>
                  </a:lnTo>
                  <a:lnTo>
                    <a:pt x="4" y="6"/>
                  </a:lnTo>
                  <a:lnTo>
                    <a:pt x="4" y="6"/>
                  </a:lnTo>
                  <a:lnTo>
                    <a:pt x="3" y="6"/>
                  </a:lnTo>
                  <a:lnTo>
                    <a:pt x="3" y="6"/>
                  </a:lnTo>
                  <a:lnTo>
                    <a:pt x="3" y="6"/>
                  </a:lnTo>
                  <a:lnTo>
                    <a:pt x="3" y="6"/>
                  </a:lnTo>
                  <a:lnTo>
                    <a:pt x="3" y="6"/>
                  </a:lnTo>
                  <a:lnTo>
                    <a:pt x="3" y="6"/>
                  </a:lnTo>
                  <a:lnTo>
                    <a:pt x="3" y="6"/>
                  </a:lnTo>
                  <a:lnTo>
                    <a:pt x="4" y="6"/>
                  </a:lnTo>
                  <a:lnTo>
                    <a:pt x="4" y="6"/>
                  </a:lnTo>
                  <a:lnTo>
                    <a:pt x="4" y="6"/>
                  </a:lnTo>
                  <a:lnTo>
                    <a:pt x="3" y="6"/>
                  </a:lnTo>
                  <a:lnTo>
                    <a:pt x="3" y="6"/>
                  </a:lnTo>
                  <a:lnTo>
                    <a:pt x="3" y="6"/>
                  </a:lnTo>
                  <a:lnTo>
                    <a:pt x="3" y="6"/>
                  </a:lnTo>
                  <a:lnTo>
                    <a:pt x="3" y="6"/>
                  </a:lnTo>
                  <a:lnTo>
                    <a:pt x="3" y="5"/>
                  </a:lnTo>
                  <a:lnTo>
                    <a:pt x="2" y="5"/>
                  </a:lnTo>
                  <a:lnTo>
                    <a:pt x="2" y="5"/>
                  </a:lnTo>
                  <a:lnTo>
                    <a:pt x="2" y="6"/>
                  </a:lnTo>
                  <a:lnTo>
                    <a:pt x="3" y="6"/>
                  </a:lnTo>
                  <a:lnTo>
                    <a:pt x="3" y="6"/>
                  </a:lnTo>
                  <a:lnTo>
                    <a:pt x="3" y="6"/>
                  </a:lnTo>
                  <a:lnTo>
                    <a:pt x="3" y="6"/>
                  </a:lnTo>
                  <a:lnTo>
                    <a:pt x="3" y="6"/>
                  </a:lnTo>
                  <a:lnTo>
                    <a:pt x="3" y="6"/>
                  </a:lnTo>
                  <a:lnTo>
                    <a:pt x="2" y="6"/>
                  </a:lnTo>
                  <a:lnTo>
                    <a:pt x="2" y="6"/>
                  </a:lnTo>
                  <a:lnTo>
                    <a:pt x="2" y="6"/>
                  </a:lnTo>
                  <a:lnTo>
                    <a:pt x="2" y="6"/>
                  </a:lnTo>
                  <a:lnTo>
                    <a:pt x="2" y="6"/>
                  </a:lnTo>
                  <a:lnTo>
                    <a:pt x="2" y="6"/>
                  </a:lnTo>
                  <a:lnTo>
                    <a:pt x="2" y="6"/>
                  </a:lnTo>
                  <a:lnTo>
                    <a:pt x="2" y="7"/>
                  </a:lnTo>
                  <a:lnTo>
                    <a:pt x="2" y="7"/>
                  </a:lnTo>
                  <a:lnTo>
                    <a:pt x="2" y="7"/>
                  </a:lnTo>
                  <a:lnTo>
                    <a:pt x="2" y="6"/>
                  </a:lnTo>
                  <a:lnTo>
                    <a:pt x="1" y="6"/>
                  </a:lnTo>
                  <a:lnTo>
                    <a:pt x="1" y="6"/>
                  </a:lnTo>
                  <a:lnTo>
                    <a:pt x="1" y="6"/>
                  </a:lnTo>
                  <a:lnTo>
                    <a:pt x="1" y="6"/>
                  </a:lnTo>
                  <a:lnTo>
                    <a:pt x="1" y="6"/>
                  </a:lnTo>
                  <a:lnTo>
                    <a:pt x="1" y="6"/>
                  </a:lnTo>
                  <a:lnTo>
                    <a:pt x="1" y="6"/>
                  </a:lnTo>
                  <a:lnTo>
                    <a:pt x="2" y="6"/>
                  </a:lnTo>
                  <a:lnTo>
                    <a:pt x="2" y="6"/>
                  </a:lnTo>
                  <a:lnTo>
                    <a:pt x="2" y="6"/>
                  </a:lnTo>
                  <a:lnTo>
                    <a:pt x="1" y="6"/>
                  </a:lnTo>
                  <a:lnTo>
                    <a:pt x="1" y="6"/>
                  </a:lnTo>
                  <a:lnTo>
                    <a:pt x="1" y="6"/>
                  </a:lnTo>
                  <a:lnTo>
                    <a:pt x="1" y="6"/>
                  </a:lnTo>
                  <a:lnTo>
                    <a:pt x="1" y="6"/>
                  </a:lnTo>
                  <a:lnTo>
                    <a:pt x="1" y="6"/>
                  </a:lnTo>
                  <a:lnTo>
                    <a:pt x="1" y="6"/>
                  </a:lnTo>
                  <a:lnTo>
                    <a:pt x="1" y="6"/>
                  </a:lnTo>
                  <a:lnTo>
                    <a:pt x="1" y="6"/>
                  </a:lnTo>
                  <a:lnTo>
                    <a:pt x="0" y="6"/>
                  </a:lnTo>
                  <a:lnTo>
                    <a:pt x="0" y="6"/>
                  </a:lnTo>
                  <a:lnTo>
                    <a:pt x="0" y="6"/>
                  </a:lnTo>
                  <a:lnTo>
                    <a:pt x="0" y="6"/>
                  </a:lnTo>
                  <a:lnTo>
                    <a:pt x="0" y="6"/>
                  </a:lnTo>
                  <a:lnTo>
                    <a:pt x="0" y="6"/>
                  </a:lnTo>
                  <a:lnTo>
                    <a:pt x="0" y="6"/>
                  </a:lnTo>
                  <a:lnTo>
                    <a:pt x="0" y="6"/>
                  </a:lnTo>
                  <a:lnTo>
                    <a:pt x="0" y="5"/>
                  </a:lnTo>
                  <a:lnTo>
                    <a:pt x="0" y="5"/>
                  </a:lnTo>
                  <a:lnTo>
                    <a:pt x="0" y="5"/>
                  </a:lnTo>
                  <a:lnTo>
                    <a:pt x="0" y="5"/>
                  </a:lnTo>
                  <a:lnTo>
                    <a:pt x="0" y="5"/>
                  </a:lnTo>
                  <a:lnTo>
                    <a:pt x="0" y="5"/>
                  </a:lnTo>
                  <a:lnTo>
                    <a:pt x="0" y="5"/>
                  </a:lnTo>
                  <a:lnTo>
                    <a:pt x="0" y="5"/>
                  </a:lnTo>
                  <a:lnTo>
                    <a:pt x="1" y="5"/>
                  </a:lnTo>
                  <a:lnTo>
                    <a:pt x="1" y="5"/>
                  </a:lnTo>
                  <a:lnTo>
                    <a:pt x="1" y="5"/>
                  </a:lnTo>
                  <a:lnTo>
                    <a:pt x="1" y="5"/>
                  </a:lnTo>
                  <a:lnTo>
                    <a:pt x="1" y="5"/>
                  </a:lnTo>
                  <a:lnTo>
                    <a:pt x="1" y="5"/>
                  </a:lnTo>
                  <a:lnTo>
                    <a:pt x="1" y="5"/>
                  </a:lnTo>
                  <a:lnTo>
                    <a:pt x="1" y="5"/>
                  </a:lnTo>
                  <a:lnTo>
                    <a:pt x="1" y="5"/>
                  </a:lnTo>
                  <a:lnTo>
                    <a:pt x="2" y="5"/>
                  </a:lnTo>
                  <a:lnTo>
                    <a:pt x="2" y="5"/>
                  </a:lnTo>
                  <a:lnTo>
                    <a:pt x="2" y="5"/>
                  </a:lnTo>
                  <a:lnTo>
                    <a:pt x="2" y="5"/>
                  </a:lnTo>
                  <a:lnTo>
                    <a:pt x="2" y="5"/>
                  </a:lnTo>
                  <a:lnTo>
                    <a:pt x="2" y="5"/>
                  </a:lnTo>
                  <a:lnTo>
                    <a:pt x="2" y="5"/>
                  </a:lnTo>
                  <a:lnTo>
                    <a:pt x="2" y="5"/>
                  </a:lnTo>
                  <a:lnTo>
                    <a:pt x="2" y="5"/>
                  </a:lnTo>
                  <a:lnTo>
                    <a:pt x="2" y="5"/>
                  </a:lnTo>
                  <a:lnTo>
                    <a:pt x="2" y="5"/>
                  </a:lnTo>
                  <a:lnTo>
                    <a:pt x="2" y="5"/>
                  </a:lnTo>
                  <a:lnTo>
                    <a:pt x="2" y="5"/>
                  </a:lnTo>
                  <a:lnTo>
                    <a:pt x="2" y="5"/>
                  </a:lnTo>
                  <a:lnTo>
                    <a:pt x="3" y="5"/>
                  </a:lnTo>
                  <a:lnTo>
                    <a:pt x="3" y="5"/>
                  </a:lnTo>
                  <a:lnTo>
                    <a:pt x="3" y="5"/>
                  </a:lnTo>
                  <a:lnTo>
                    <a:pt x="3" y="5"/>
                  </a:lnTo>
                  <a:lnTo>
                    <a:pt x="3" y="5"/>
                  </a:lnTo>
                  <a:lnTo>
                    <a:pt x="3" y="4"/>
                  </a:lnTo>
                  <a:lnTo>
                    <a:pt x="3" y="4"/>
                  </a:lnTo>
                  <a:lnTo>
                    <a:pt x="3" y="4"/>
                  </a:lnTo>
                  <a:lnTo>
                    <a:pt x="3" y="4"/>
                  </a:lnTo>
                  <a:lnTo>
                    <a:pt x="3" y="4"/>
                  </a:lnTo>
                  <a:lnTo>
                    <a:pt x="3" y="4"/>
                  </a:lnTo>
                  <a:lnTo>
                    <a:pt x="4" y="4"/>
                  </a:lnTo>
                  <a:lnTo>
                    <a:pt x="4" y="4"/>
                  </a:lnTo>
                  <a:lnTo>
                    <a:pt x="3" y="4"/>
                  </a:lnTo>
                  <a:lnTo>
                    <a:pt x="3" y="4"/>
                  </a:lnTo>
                  <a:lnTo>
                    <a:pt x="3" y="4"/>
                  </a:lnTo>
                  <a:lnTo>
                    <a:pt x="3" y="4"/>
                  </a:lnTo>
                  <a:lnTo>
                    <a:pt x="3" y="4"/>
                  </a:lnTo>
                  <a:lnTo>
                    <a:pt x="3" y="4"/>
                  </a:lnTo>
                  <a:lnTo>
                    <a:pt x="2" y="4"/>
                  </a:lnTo>
                  <a:lnTo>
                    <a:pt x="2" y="4"/>
                  </a:lnTo>
                  <a:lnTo>
                    <a:pt x="2" y="3"/>
                  </a:lnTo>
                  <a:lnTo>
                    <a:pt x="3" y="3"/>
                  </a:lnTo>
                  <a:lnTo>
                    <a:pt x="3" y="3"/>
                  </a:lnTo>
                  <a:lnTo>
                    <a:pt x="2" y="3"/>
                  </a:lnTo>
                  <a:lnTo>
                    <a:pt x="2" y="3"/>
                  </a:lnTo>
                  <a:lnTo>
                    <a:pt x="2" y="3"/>
                  </a:lnTo>
                  <a:lnTo>
                    <a:pt x="2" y="3"/>
                  </a:lnTo>
                  <a:lnTo>
                    <a:pt x="2" y="3"/>
                  </a:lnTo>
                  <a:lnTo>
                    <a:pt x="2" y="1"/>
                  </a:lnTo>
                  <a:lnTo>
                    <a:pt x="2" y="3"/>
                  </a:lnTo>
                  <a:lnTo>
                    <a:pt x="2" y="3"/>
                  </a:lnTo>
                  <a:lnTo>
                    <a:pt x="2" y="3"/>
                  </a:lnTo>
                  <a:lnTo>
                    <a:pt x="2" y="3"/>
                  </a:lnTo>
                  <a:lnTo>
                    <a:pt x="2" y="3"/>
                  </a:lnTo>
                  <a:lnTo>
                    <a:pt x="2" y="3"/>
                  </a:lnTo>
                  <a:lnTo>
                    <a:pt x="2" y="3"/>
                  </a:lnTo>
                  <a:lnTo>
                    <a:pt x="1" y="3"/>
                  </a:lnTo>
                  <a:lnTo>
                    <a:pt x="1" y="3"/>
                  </a:lnTo>
                  <a:lnTo>
                    <a:pt x="1" y="3"/>
                  </a:lnTo>
                  <a:lnTo>
                    <a:pt x="1" y="1"/>
                  </a:lnTo>
                  <a:lnTo>
                    <a:pt x="1" y="3"/>
                  </a:lnTo>
                  <a:lnTo>
                    <a:pt x="1" y="3"/>
                  </a:lnTo>
                  <a:lnTo>
                    <a:pt x="0" y="3"/>
                  </a:lnTo>
                  <a:lnTo>
                    <a:pt x="0" y="3"/>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2" y="1"/>
                  </a:lnTo>
                  <a:lnTo>
                    <a:pt x="2" y="1"/>
                  </a:lnTo>
                  <a:lnTo>
                    <a:pt x="2" y="1"/>
                  </a:lnTo>
                  <a:lnTo>
                    <a:pt x="2" y="1"/>
                  </a:lnTo>
                  <a:lnTo>
                    <a:pt x="3" y="1"/>
                  </a:lnTo>
                  <a:lnTo>
                    <a:pt x="2" y="1"/>
                  </a:lnTo>
                  <a:lnTo>
                    <a:pt x="2" y="1"/>
                  </a:lnTo>
                  <a:lnTo>
                    <a:pt x="2" y="1"/>
                  </a:lnTo>
                  <a:lnTo>
                    <a:pt x="2" y="1"/>
                  </a:lnTo>
                  <a:lnTo>
                    <a:pt x="2" y="1"/>
                  </a:lnTo>
                  <a:lnTo>
                    <a:pt x="2" y="1"/>
                  </a:lnTo>
                  <a:lnTo>
                    <a:pt x="2" y="1"/>
                  </a:lnTo>
                  <a:lnTo>
                    <a:pt x="2" y="1"/>
                  </a:lnTo>
                  <a:lnTo>
                    <a:pt x="2" y="1"/>
                  </a:lnTo>
                  <a:lnTo>
                    <a:pt x="2" y="1"/>
                  </a:lnTo>
                  <a:lnTo>
                    <a:pt x="2" y="1"/>
                  </a:lnTo>
                  <a:lnTo>
                    <a:pt x="2" y="0"/>
                  </a:lnTo>
                  <a:lnTo>
                    <a:pt x="2" y="0"/>
                  </a:lnTo>
                  <a:lnTo>
                    <a:pt x="2" y="0"/>
                  </a:lnTo>
                  <a:lnTo>
                    <a:pt x="2" y="0"/>
                  </a:lnTo>
                  <a:lnTo>
                    <a:pt x="2" y="0"/>
                  </a:lnTo>
                  <a:lnTo>
                    <a:pt x="2" y="0"/>
                  </a:lnTo>
                  <a:lnTo>
                    <a:pt x="2" y="0"/>
                  </a:lnTo>
                  <a:lnTo>
                    <a:pt x="3" y="0"/>
                  </a:lnTo>
                  <a:lnTo>
                    <a:pt x="3" y="0"/>
                  </a:lnTo>
                  <a:lnTo>
                    <a:pt x="3" y="0"/>
                  </a:lnTo>
                  <a:lnTo>
                    <a:pt x="3" y="0"/>
                  </a:lnTo>
                  <a:lnTo>
                    <a:pt x="3" y="0"/>
                  </a:lnTo>
                  <a:lnTo>
                    <a:pt x="3" y="0"/>
                  </a:lnTo>
                  <a:lnTo>
                    <a:pt x="3" y="0"/>
                  </a:lnTo>
                  <a:lnTo>
                    <a:pt x="3" y="0"/>
                  </a:lnTo>
                  <a:lnTo>
                    <a:pt x="3" y="0"/>
                  </a:lnTo>
                  <a:lnTo>
                    <a:pt x="4" y="0"/>
                  </a:lnTo>
                  <a:lnTo>
                    <a:pt x="4" y="0"/>
                  </a:lnTo>
                  <a:lnTo>
                    <a:pt x="3" y="0"/>
                  </a:lnTo>
                  <a:lnTo>
                    <a:pt x="3"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83" name="Freeform 1248">
              <a:extLst>
                <a:ext uri="{FF2B5EF4-FFF2-40B4-BE49-F238E27FC236}">
                  <a16:creationId xmlns:a16="http://schemas.microsoft.com/office/drawing/2014/main" id="{D28C77C0-F60A-44EA-A214-4F7CA3CFE2CA}"/>
                </a:ext>
              </a:extLst>
            </p:cNvPr>
            <p:cNvSpPr>
              <a:spLocks/>
            </p:cNvSpPr>
            <p:nvPr/>
          </p:nvSpPr>
          <p:spPr bwMode="auto">
            <a:xfrm>
              <a:off x="5790402" y="2081150"/>
              <a:ext cx="1336" cy="4007"/>
            </a:xfrm>
            <a:custGeom>
              <a:avLst/>
              <a:gdLst>
                <a:gd name="T0" fmla="*/ 1 w 1"/>
                <a:gd name="T1" fmla="*/ 1 h 3"/>
                <a:gd name="T2" fmla="*/ 1 w 1"/>
                <a:gd name="T3" fmla="*/ 0 h 3"/>
                <a:gd name="T4" fmla="*/ 1 w 1"/>
                <a:gd name="T5" fmla="*/ 1 h 3"/>
                <a:gd name="T6" fmla="*/ 1 w 1"/>
                <a:gd name="T7" fmla="*/ 1 h 3"/>
                <a:gd name="T8" fmla="*/ 1 w 1"/>
                <a:gd name="T9" fmla="*/ 1 h 3"/>
                <a:gd name="T10" fmla="*/ 1 w 1"/>
                <a:gd name="T11" fmla="*/ 1 h 3"/>
                <a:gd name="T12" fmla="*/ 1 w 1"/>
                <a:gd name="T13" fmla="*/ 1 h 3"/>
                <a:gd name="T14" fmla="*/ 1 w 1"/>
                <a:gd name="T15" fmla="*/ 2 h 3"/>
                <a:gd name="T16" fmla="*/ 1 w 1"/>
                <a:gd name="T17" fmla="*/ 1 h 3"/>
                <a:gd name="T18" fmla="*/ 1 w 1"/>
                <a:gd name="T19" fmla="*/ 1 h 3"/>
                <a:gd name="T20" fmla="*/ 1 w 1"/>
                <a:gd name="T21" fmla="*/ 2 h 3"/>
                <a:gd name="T22" fmla="*/ 1 w 1"/>
                <a:gd name="T23" fmla="*/ 2 h 3"/>
                <a:gd name="T24" fmla="*/ 1 w 1"/>
                <a:gd name="T25" fmla="*/ 2 h 3"/>
                <a:gd name="T26" fmla="*/ 1 w 1"/>
                <a:gd name="T27" fmla="*/ 2 h 3"/>
                <a:gd name="T28" fmla="*/ 1 w 1"/>
                <a:gd name="T29" fmla="*/ 2 h 3"/>
                <a:gd name="T30" fmla="*/ 1 w 1"/>
                <a:gd name="T31" fmla="*/ 2 h 3"/>
                <a:gd name="T32" fmla="*/ 1 w 1"/>
                <a:gd name="T33" fmla="*/ 2 h 3"/>
                <a:gd name="T34" fmla="*/ 1 w 1"/>
                <a:gd name="T35" fmla="*/ 3 h 3"/>
                <a:gd name="T36" fmla="*/ 1 w 1"/>
                <a:gd name="T37" fmla="*/ 3 h 3"/>
                <a:gd name="T38" fmla="*/ 1 w 1"/>
                <a:gd name="T39" fmla="*/ 3 h 3"/>
                <a:gd name="T40" fmla="*/ 1 w 1"/>
                <a:gd name="T41" fmla="*/ 3 h 3"/>
                <a:gd name="T42" fmla="*/ 1 w 1"/>
                <a:gd name="T43" fmla="*/ 3 h 3"/>
                <a:gd name="T44" fmla="*/ 0 w 1"/>
                <a:gd name="T45" fmla="*/ 3 h 3"/>
                <a:gd name="T46" fmla="*/ 0 w 1"/>
                <a:gd name="T47" fmla="*/ 3 h 3"/>
                <a:gd name="T48" fmla="*/ 0 w 1"/>
                <a:gd name="T49" fmla="*/ 3 h 3"/>
                <a:gd name="T50" fmla="*/ 0 w 1"/>
                <a:gd name="T51" fmla="*/ 3 h 3"/>
                <a:gd name="T52" fmla="*/ 0 w 1"/>
                <a:gd name="T53" fmla="*/ 3 h 3"/>
                <a:gd name="T54" fmla="*/ 0 w 1"/>
                <a:gd name="T55" fmla="*/ 2 h 3"/>
                <a:gd name="T56" fmla="*/ 0 w 1"/>
                <a:gd name="T57" fmla="*/ 2 h 3"/>
                <a:gd name="T58" fmla="*/ 0 w 1"/>
                <a:gd name="T59" fmla="*/ 2 h 3"/>
                <a:gd name="T60" fmla="*/ 0 w 1"/>
                <a:gd name="T61" fmla="*/ 2 h 3"/>
                <a:gd name="T62" fmla="*/ 0 w 1"/>
                <a:gd name="T63" fmla="*/ 2 h 3"/>
                <a:gd name="T64" fmla="*/ 0 w 1"/>
                <a:gd name="T65" fmla="*/ 1 h 3"/>
                <a:gd name="T66" fmla="*/ 0 w 1"/>
                <a:gd name="T67" fmla="*/ 1 h 3"/>
                <a:gd name="T68" fmla="*/ 0 w 1"/>
                <a:gd name="T69" fmla="*/ 1 h 3"/>
                <a:gd name="T70" fmla="*/ 0 w 1"/>
                <a:gd name="T71" fmla="*/ 1 h 3"/>
                <a:gd name="T72" fmla="*/ 0 w 1"/>
                <a:gd name="T73" fmla="*/ 1 h 3"/>
                <a:gd name="T74" fmla="*/ 1 w 1"/>
                <a:gd name="T7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 h="3">
                  <a:moveTo>
                    <a:pt x="1" y="0"/>
                  </a:moveTo>
                  <a:lnTo>
                    <a:pt x="1" y="1"/>
                  </a:lnTo>
                  <a:lnTo>
                    <a:pt x="1" y="1"/>
                  </a:lnTo>
                  <a:lnTo>
                    <a:pt x="1" y="0"/>
                  </a:lnTo>
                  <a:lnTo>
                    <a:pt x="1" y="1"/>
                  </a:lnTo>
                  <a:lnTo>
                    <a:pt x="1" y="1"/>
                  </a:lnTo>
                  <a:lnTo>
                    <a:pt x="1" y="1"/>
                  </a:lnTo>
                  <a:lnTo>
                    <a:pt x="1" y="1"/>
                  </a:lnTo>
                  <a:lnTo>
                    <a:pt x="1" y="1"/>
                  </a:lnTo>
                  <a:lnTo>
                    <a:pt x="1" y="1"/>
                  </a:lnTo>
                  <a:lnTo>
                    <a:pt x="1" y="1"/>
                  </a:lnTo>
                  <a:lnTo>
                    <a:pt x="1" y="1"/>
                  </a:lnTo>
                  <a:lnTo>
                    <a:pt x="1" y="1"/>
                  </a:lnTo>
                  <a:lnTo>
                    <a:pt x="1" y="1"/>
                  </a:lnTo>
                  <a:lnTo>
                    <a:pt x="1" y="1"/>
                  </a:lnTo>
                  <a:lnTo>
                    <a:pt x="1" y="2"/>
                  </a:lnTo>
                  <a:lnTo>
                    <a:pt x="1" y="2"/>
                  </a:lnTo>
                  <a:lnTo>
                    <a:pt x="1" y="1"/>
                  </a:lnTo>
                  <a:lnTo>
                    <a:pt x="1" y="1"/>
                  </a:lnTo>
                  <a:lnTo>
                    <a:pt x="1" y="1"/>
                  </a:lnTo>
                  <a:lnTo>
                    <a:pt x="1" y="1"/>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3"/>
                  </a:lnTo>
                  <a:lnTo>
                    <a:pt x="1" y="3"/>
                  </a:lnTo>
                  <a:lnTo>
                    <a:pt x="1" y="3"/>
                  </a:lnTo>
                  <a:lnTo>
                    <a:pt x="1" y="3"/>
                  </a:lnTo>
                  <a:lnTo>
                    <a:pt x="1" y="3"/>
                  </a:lnTo>
                  <a:lnTo>
                    <a:pt x="1" y="3"/>
                  </a:lnTo>
                  <a:lnTo>
                    <a:pt x="1" y="3"/>
                  </a:lnTo>
                  <a:lnTo>
                    <a:pt x="1" y="3"/>
                  </a:lnTo>
                  <a:lnTo>
                    <a:pt x="1" y="3"/>
                  </a:lnTo>
                  <a:lnTo>
                    <a:pt x="1" y="3"/>
                  </a:lnTo>
                  <a:lnTo>
                    <a:pt x="0" y="3"/>
                  </a:lnTo>
                  <a:lnTo>
                    <a:pt x="0" y="3"/>
                  </a:lnTo>
                  <a:lnTo>
                    <a:pt x="0" y="3"/>
                  </a:lnTo>
                  <a:lnTo>
                    <a:pt x="0" y="3"/>
                  </a:lnTo>
                  <a:lnTo>
                    <a:pt x="0" y="3"/>
                  </a:lnTo>
                  <a:lnTo>
                    <a:pt x="0" y="3"/>
                  </a:lnTo>
                  <a:lnTo>
                    <a:pt x="0" y="3"/>
                  </a:lnTo>
                  <a:lnTo>
                    <a:pt x="0" y="3"/>
                  </a:lnTo>
                  <a:lnTo>
                    <a:pt x="0" y="3"/>
                  </a:lnTo>
                  <a:lnTo>
                    <a:pt x="0" y="3"/>
                  </a:lnTo>
                  <a:lnTo>
                    <a:pt x="0" y="2"/>
                  </a:lnTo>
                  <a:lnTo>
                    <a:pt x="0" y="2"/>
                  </a:lnTo>
                  <a:lnTo>
                    <a:pt x="0" y="2"/>
                  </a:lnTo>
                  <a:lnTo>
                    <a:pt x="0" y="2"/>
                  </a:lnTo>
                  <a:lnTo>
                    <a:pt x="0" y="2"/>
                  </a:lnTo>
                  <a:lnTo>
                    <a:pt x="0" y="2"/>
                  </a:lnTo>
                  <a:lnTo>
                    <a:pt x="0" y="2"/>
                  </a:lnTo>
                  <a:lnTo>
                    <a:pt x="0" y="2"/>
                  </a:lnTo>
                  <a:lnTo>
                    <a:pt x="0" y="2"/>
                  </a:lnTo>
                  <a:lnTo>
                    <a:pt x="0" y="2"/>
                  </a:lnTo>
                  <a:lnTo>
                    <a:pt x="0" y="1"/>
                  </a:lnTo>
                  <a:lnTo>
                    <a:pt x="0" y="1"/>
                  </a:lnTo>
                  <a:lnTo>
                    <a:pt x="0" y="1"/>
                  </a:lnTo>
                  <a:lnTo>
                    <a:pt x="0" y="1"/>
                  </a:lnTo>
                  <a:lnTo>
                    <a:pt x="0" y="1"/>
                  </a:lnTo>
                  <a:lnTo>
                    <a:pt x="0" y="1"/>
                  </a:lnTo>
                  <a:lnTo>
                    <a:pt x="0" y="1"/>
                  </a:lnTo>
                  <a:lnTo>
                    <a:pt x="0" y="1"/>
                  </a:lnTo>
                  <a:lnTo>
                    <a:pt x="0" y="1"/>
                  </a:lnTo>
                  <a:lnTo>
                    <a:pt x="0"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84" name="Freeform 1249">
              <a:extLst>
                <a:ext uri="{FF2B5EF4-FFF2-40B4-BE49-F238E27FC236}">
                  <a16:creationId xmlns:a16="http://schemas.microsoft.com/office/drawing/2014/main" id="{CABB4911-9D6D-4647-AD5B-C63DA7BF2912}"/>
                </a:ext>
              </a:extLst>
            </p:cNvPr>
            <p:cNvSpPr>
              <a:spLocks/>
            </p:cNvSpPr>
            <p:nvPr/>
          </p:nvSpPr>
          <p:spPr bwMode="auto">
            <a:xfrm>
              <a:off x="5793073" y="2079815"/>
              <a:ext cx="2671" cy="2671"/>
            </a:xfrm>
            <a:custGeom>
              <a:avLst/>
              <a:gdLst>
                <a:gd name="T0" fmla="*/ 1 w 2"/>
                <a:gd name="T1" fmla="*/ 1 h 2"/>
                <a:gd name="T2" fmla="*/ 1 w 2"/>
                <a:gd name="T3" fmla="*/ 1 h 2"/>
                <a:gd name="T4" fmla="*/ 1 w 2"/>
                <a:gd name="T5" fmla="*/ 1 h 2"/>
                <a:gd name="T6" fmla="*/ 1 w 2"/>
                <a:gd name="T7" fmla="*/ 1 h 2"/>
                <a:gd name="T8" fmla="*/ 1 w 2"/>
                <a:gd name="T9" fmla="*/ 1 h 2"/>
                <a:gd name="T10" fmla="*/ 1 w 2"/>
                <a:gd name="T11" fmla="*/ 2 h 2"/>
                <a:gd name="T12" fmla="*/ 1 w 2"/>
                <a:gd name="T13" fmla="*/ 2 h 2"/>
                <a:gd name="T14" fmla="*/ 1 w 2"/>
                <a:gd name="T15" fmla="*/ 2 h 2"/>
                <a:gd name="T16" fmla="*/ 1 w 2"/>
                <a:gd name="T17" fmla="*/ 2 h 2"/>
                <a:gd name="T18" fmla="*/ 1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1 h 2"/>
                <a:gd name="T32" fmla="*/ 0 w 2"/>
                <a:gd name="T33" fmla="*/ 1 h 2"/>
                <a:gd name="T34" fmla="*/ 0 w 2"/>
                <a:gd name="T35" fmla="*/ 1 h 2"/>
                <a:gd name="T36" fmla="*/ 0 w 2"/>
                <a:gd name="T37" fmla="*/ 1 h 2"/>
                <a:gd name="T38" fmla="*/ 0 w 2"/>
                <a:gd name="T39" fmla="*/ 0 h 2"/>
                <a:gd name="T40" fmla="*/ 0 w 2"/>
                <a:gd name="T41" fmla="*/ 0 h 2"/>
                <a:gd name="T42" fmla="*/ 1 w 2"/>
                <a:gd name="T43" fmla="*/ 0 h 2"/>
                <a:gd name="T44" fmla="*/ 1 w 2"/>
                <a:gd name="T45" fmla="*/ 0 h 2"/>
                <a:gd name="T46" fmla="*/ 1 w 2"/>
                <a:gd name="T47" fmla="*/ 1 h 2"/>
                <a:gd name="T48" fmla="*/ 0 w 2"/>
                <a:gd name="T49" fmla="*/ 1 h 2"/>
                <a:gd name="T50" fmla="*/ 0 w 2"/>
                <a:gd name="T51" fmla="*/ 1 h 2"/>
                <a:gd name="T52" fmla="*/ 1 w 2"/>
                <a:gd name="T53" fmla="*/ 1 h 2"/>
                <a:gd name="T54" fmla="*/ 1 w 2"/>
                <a:gd name="T55" fmla="*/ 0 h 2"/>
                <a:gd name="T56" fmla="*/ 1 w 2"/>
                <a:gd name="T57" fmla="*/ 0 h 2"/>
                <a:gd name="T58" fmla="*/ 1 w 2"/>
                <a:gd name="T59" fmla="*/ 0 h 2"/>
                <a:gd name="T60" fmla="*/ 2 w 2"/>
                <a:gd name="T61" fmla="*/ 0 h 2"/>
                <a:gd name="T62" fmla="*/ 1 w 2"/>
                <a:gd name="T63" fmla="*/ 1 h 2"/>
                <a:gd name="T64" fmla="*/ 1 w 2"/>
                <a:gd name="T65" fmla="*/ 1 h 2"/>
                <a:gd name="T66" fmla="*/ 1 w 2"/>
                <a:gd name="T6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 h="2">
                  <a:moveTo>
                    <a:pt x="1" y="1"/>
                  </a:moveTo>
                  <a:lnTo>
                    <a:pt x="1" y="1"/>
                  </a:lnTo>
                  <a:lnTo>
                    <a:pt x="1" y="1"/>
                  </a:lnTo>
                  <a:lnTo>
                    <a:pt x="1" y="1"/>
                  </a:lnTo>
                  <a:lnTo>
                    <a:pt x="1" y="1"/>
                  </a:lnTo>
                  <a:lnTo>
                    <a:pt x="1" y="1"/>
                  </a:lnTo>
                  <a:lnTo>
                    <a:pt x="1" y="1"/>
                  </a:lnTo>
                  <a:lnTo>
                    <a:pt x="1" y="1"/>
                  </a:lnTo>
                  <a:lnTo>
                    <a:pt x="1" y="1"/>
                  </a:lnTo>
                  <a:lnTo>
                    <a:pt x="1" y="1"/>
                  </a:lnTo>
                  <a:lnTo>
                    <a:pt x="1" y="2"/>
                  </a:lnTo>
                  <a:lnTo>
                    <a:pt x="1" y="2"/>
                  </a:lnTo>
                  <a:lnTo>
                    <a:pt x="1" y="2"/>
                  </a:lnTo>
                  <a:lnTo>
                    <a:pt x="1" y="2"/>
                  </a:lnTo>
                  <a:lnTo>
                    <a:pt x="1" y="2"/>
                  </a:lnTo>
                  <a:lnTo>
                    <a:pt x="1" y="2"/>
                  </a:lnTo>
                  <a:lnTo>
                    <a:pt x="1" y="2"/>
                  </a:lnTo>
                  <a:lnTo>
                    <a:pt x="1" y="2"/>
                  </a:lnTo>
                  <a:lnTo>
                    <a:pt x="1" y="2"/>
                  </a:lnTo>
                  <a:lnTo>
                    <a:pt x="1" y="2"/>
                  </a:lnTo>
                  <a:lnTo>
                    <a:pt x="0" y="2"/>
                  </a:lnTo>
                  <a:lnTo>
                    <a:pt x="0" y="2"/>
                  </a:lnTo>
                  <a:lnTo>
                    <a:pt x="0" y="2"/>
                  </a:lnTo>
                  <a:lnTo>
                    <a:pt x="0" y="2"/>
                  </a:lnTo>
                  <a:lnTo>
                    <a:pt x="0" y="2"/>
                  </a:lnTo>
                  <a:lnTo>
                    <a:pt x="0" y="2"/>
                  </a:lnTo>
                  <a:lnTo>
                    <a:pt x="0" y="2"/>
                  </a:lnTo>
                  <a:lnTo>
                    <a:pt x="0" y="2"/>
                  </a:lnTo>
                  <a:lnTo>
                    <a:pt x="0" y="2"/>
                  </a:lnTo>
                  <a:lnTo>
                    <a:pt x="0" y="2"/>
                  </a:lnTo>
                  <a:lnTo>
                    <a:pt x="0" y="2"/>
                  </a:lnTo>
                  <a:lnTo>
                    <a:pt x="0" y="1"/>
                  </a:lnTo>
                  <a:lnTo>
                    <a:pt x="0" y="1"/>
                  </a:lnTo>
                  <a:lnTo>
                    <a:pt x="0" y="1"/>
                  </a:lnTo>
                  <a:lnTo>
                    <a:pt x="0" y="1"/>
                  </a:lnTo>
                  <a:lnTo>
                    <a:pt x="0" y="1"/>
                  </a:lnTo>
                  <a:lnTo>
                    <a:pt x="0" y="1"/>
                  </a:lnTo>
                  <a:lnTo>
                    <a:pt x="0" y="1"/>
                  </a:lnTo>
                  <a:lnTo>
                    <a:pt x="0" y="1"/>
                  </a:lnTo>
                  <a:lnTo>
                    <a:pt x="0" y="0"/>
                  </a:lnTo>
                  <a:lnTo>
                    <a:pt x="0" y="0"/>
                  </a:lnTo>
                  <a:lnTo>
                    <a:pt x="0" y="0"/>
                  </a:lnTo>
                  <a:lnTo>
                    <a:pt x="0" y="0"/>
                  </a:lnTo>
                  <a:lnTo>
                    <a:pt x="1" y="0"/>
                  </a:lnTo>
                  <a:lnTo>
                    <a:pt x="1" y="0"/>
                  </a:lnTo>
                  <a:lnTo>
                    <a:pt x="1" y="0"/>
                  </a:lnTo>
                  <a:lnTo>
                    <a:pt x="1" y="1"/>
                  </a:lnTo>
                  <a:lnTo>
                    <a:pt x="1" y="1"/>
                  </a:lnTo>
                  <a:lnTo>
                    <a:pt x="0" y="1"/>
                  </a:lnTo>
                  <a:lnTo>
                    <a:pt x="0" y="1"/>
                  </a:lnTo>
                  <a:lnTo>
                    <a:pt x="0" y="1"/>
                  </a:lnTo>
                  <a:lnTo>
                    <a:pt x="0" y="1"/>
                  </a:lnTo>
                  <a:lnTo>
                    <a:pt x="1" y="1"/>
                  </a:lnTo>
                  <a:lnTo>
                    <a:pt x="1" y="1"/>
                  </a:lnTo>
                  <a:lnTo>
                    <a:pt x="1" y="0"/>
                  </a:lnTo>
                  <a:lnTo>
                    <a:pt x="1" y="0"/>
                  </a:lnTo>
                  <a:lnTo>
                    <a:pt x="1" y="0"/>
                  </a:lnTo>
                  <a:lnTo>
                    <a:pt x="1" y="0"/>
                  </a:lnTo>
                  <a:lnTo>
                    <a:pt x="1" y="0"/>
                  </a:lnTo>
                  <a:lnTo>
                    <a:pt x="1" y="0"/>
                  </a:lnTo>
                  <a:lnTo>
                    <a:pt x="1" y="0"/>
                  </a:lnTo>
                  <a:lnTo>
                    <a:pt x="2" y="0"/>
                  </a:lnTo>
                  <a:lnTo>
                    <a:pt x="2" y="0"/>
                  </a:lnTo>
                  <a:lnTo>
                    <a:pt x="1" y="1"/>
                  </a:lnTo>
                  <a:lnTo>
                    <a:pt x="1" y="1"/>
                  </a:lnTo>
                  <a:lnTo>
                    <a:pt x="1" y="1"/>
                  </a:lnTo>
                  <a:lnTo>
                    <a:pt x="2"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85" name="Freeform 1250">
              <a:extLst>
                <a:ext uri="{FF2B5EF4-FFF2-40B4-BE49-F238E27FC236}">
                  <a16:creationId xmlns:a16="http://schemas.microsoft.com/office/drawing/2014/main" id="{377C3811-AF08-4645-8780-26383D91D75F}"/>
                </a:ext>
              </a:extLst>
            </p:cNvPr>
            <p:cNvSpPr>
              <a:spLocks/>
            </p:cNvSpPr>
            <p:nvPr/>
          </p:nvSpPr>
          <p:spPr bwMode="auto">
            <a:xfrm>
              <a:off x="5767699" y="2306847"/>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86" name="Freeform 1251">
              <a:extLst>
                <a:ext uri="{FF2B5EF4-FFF2-40B4-BE49-F238E27FC236}">
                  <a16:creationId xmlns:a16="http://schemas.microsoft.com/office/drawing/2014/main" id="{515C3AB4-0C3A-4A36-B99F-53BE71C8D2E5}"/>
                </a:ext>
              </a:extLst>
            </p:cNvPr>
            <p:cNvSpPr>
              <a:spLocks/>
            </p:cNvSpPr>
            <p:nvPr/>
          </p:nvSpPr>
          <p:spPr bwMode="auto">
            <a:xfrm>
              <a:off x="5766363" y="2305512"/>
              <a:ext cx="0" cy="1336"/>
            </a:xfrm>
            <a:custGeom>
              <a:avLst/>
              <a:gdLst>
                <a:gd name="T0" fmla="*/ 0 h 1"/>
                <a:gd name="T1" fmla="*/ 1 h 1"/>
                <a:gd name="T2" fmla="*/ 1 h 1"/>
                <a:gd name="T3" fmla="*/ 0 h 1"/>
                <a:gd name="T4" fmla="*/ 0 h 1"/>
                <a:gd name="T5" fmla="*/ 0 h 1"/>
                <a:gd name="T6" fmla="*/ 0 h 1"/>
              </a:gdLst>
              <a:ahLst/>
              <a:cxnLst>
                <a:cxn ang="0">
                  <a:pos x="0" y="T0"/>
                </a:cxn>
                <a:cxn ang="0">
                  <a:pos x="0" y="T1"/>
                </a:cxn>
                <a:cxn ang="0">
                  <a:pos x="0" y="T2"/>
                </a:cxn>
                <a:cxn ang="0">
                  <a:pos x="0" y="T3"/>
                </a:cxn>
                <a:cxn ang="0">
                  <a:pos x="0" y="T4"/>
                </a:cxn>
                <a:cxn ang="0">
                  <a:pos x="0" y="T5"/>
                </a:cxn>
                <a:cxn ang="0">
                  <a:pos x="0" y="T6"/>
                </a:cxn>
              </a:cxnLst>
              <a:rect l="0" t="0" r="r" b="b"/>
              <a:pathLst>
                <a:path h="1">
                  <a:moveTo>
                    <a:pt x="0" y="0"/>
                  </a:moveTo>
                  <a:lnTo>
                    <a:pt x="0" y="1"/>
                  </a:lnTo>
                  <a:lnTo>
                    <a:pt x="0" y="1"/>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87" name="Freeform 1252">
              <a:extLst>
                <a:ext uri="{FF2B5EF4-FFF2-40B4-BE49-F238E27FC236}">
                  <a16:creationId xmlns:a16="http://schemas.microsoft.com/office/drawing/2014/main" id="{83EC06A1-60B8-4C57-9C87-F41BEC23B293}"/>
                </a:ext>
              </a:extLst>
            </p:cNvPr>
            <p:cNvSpPr>
              <a:spLocks/>
            </p:cNvSpPr>
            <p:nvPr/>
          </p:nvSpPr>
          <p:spPr bwMode="auto">
            <a:xfrm>
              <a:off x="5763692" y="2305512"/>
              <a:ext cx="2671" cy="1336"/>
            </a:xfrm>
            <a:custGeom>
              <a:avLst/>
              <a:gdLst>
                <a:gd name="T0" fmla="*/ 1 w 2"/>
                <a:gd name="T1" fmla="*/ 1 h 1"/>
                <a:gd name="T2" fmla="*/ 1 w 2"/>
                <a:gd name="T3" fmla="*/ 1 h 1"/>
                <a:gd name="T4" fmla="*/ 1 w 2"/>
                <a:gd name="T5" fmla="*/ 1 h 1"/>
                <a:gd name="T6" fmla="*/ 1 w 2"/>
                <a:gd name="T7" fmla="*/ 1 h 1"/>
                <a:gd name="T8" fmla="*/ 1 w 2"/>
                <a:gd name="T9" fmla="*/ 1 h 1"/>
                <a:gd name="T10" fmla="*/ 0 w 2"/>
                <a:gd name="T11" fmla="*/ 1 h 1"/>
                <a:gd name="T12" fmla="*/ 0 w 2"/>
                <a:gd name="T13" fmla="*/ 1 h 1"/>
                <a:gd name="T14" fmla="*/ 0 w 2"/>
                <a:gd name="T15" fmla="*/ 1 h 1"/>
                <a:gd name="T16" fmla="*/ 0 w 2"/>
                <a:gd name="T17" fmla="*/ 1 h 1"/>
                <a:gd name="T18" fmla="*/ 0 w 2"/>
                <a:gd name="T19" fmla="*/ 1 h 1"/>
                <a:gd name="T20" fmla="*/ 0 w 2"/>
                <a:gd name="T21" fmla="*/ 1 h 1"/>
                <a:gd name="T22" fmla="*/ 0 w 2"/>
                <a:gd name="T23" fmla="*/ 1 h 1"/>
                <a:gd name="T24" fmla="*/ 0 w 2"/>
                <a:gd name="T25" fmla="*/ 1 h 1"/>
                <a:gd name="T26" fmla="*/ 0 w 2"/>
                <a:gd name="T27" fmla="*/ 1 h 1"/>
                <a:gd name="T28" fmla="*/ 1 w 2"/>
                <a:gd name="T29" fmla="*/ 0 h 1"/>
                <a:gd name="T30" fmla="*/ 1 w 2"/>
                <a:gd name="T31" fmla="*/ 0 h 1"/>
                <a:gd name="T32" fmla="*/ 1 w 2"/>
                <a:gd name="T33" fmla="*/ 0 h 1"/>
                <a:gd name="T34" fmla="*/ 2 w 2"/>
                <a:gd name="T35" fmla="*/ 0 h 1"/>
                <a:gd name="T36" fmla="*/ 2 w 2"/>
                <a:gd name="T37" fmla="*/ 0 h 1"/>
                <a:gd name="T38" fmla="*/ 2 w 2"/>
                <a:gd name="T39" fmla="*/ 0 h 1"/>
                <a:gd name="T40" fmla="*/ 1 w 2"/>
                <a:gd name="T41" fmla="*/ 0 h 1"/>
                <a:gd name="T42" fmla="*/ 1 w 2"/>
                <a:gd name="T43" fmla="*/ 1 h 1"/>
                <a:gd name="T44" fmla="*/ 1 w 2"/>
                <a:gd name="T45" fmla="*/ 1 h 1"/>
                <a:gd name="T46" fmla="*/ 1 w 2"/>
                <a:gd name="T47" fmla="*/ 1 h 1"/>
                <a:gd name="T48" fmla="*/ 1 w 2"/>
                <a:gd name="T49" fmla="*/ 1 h 1"/>
                <a:gd name="T50" fmla="*/ 1 w 2"/>
                <a:gd name="T5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 h="1">
                  <a:moveTo>
                    <a:pt x="1" y="1"/>
                  </a:moveTo>
                  <a:lnTo>
                    <a:pt x="1" y="1"/>
                  </a:lnTo>
                  <a:lnTo>
                    <a:pt x="1" y="1"/>
                  </a:lnTo>
                  <a:lnTo>
                    <a:pt x="1" y="1"/>
                  </a:lnTo>
                  <a:lnTo>
                    <a:pt x="1" y="1"/>
                  </a:lnTo>
                  <a:lnTo>
                    <a:pt x="0" y="1"/>
                  </a:lnTo>
                  <a:lnTo>
                    <a:pt x="0" y="1"/>
                  </a:lnTo>
                  <a:lnTo>
                    <a:pt x="0" y="1"/>
                  </a:lnTo>
                  <a:lnTo>
                    <a:pt x="0" y="1"/>
                  </a:lnTo>
                  <a:lnTo>
                    <a:pt x="0" y="1"/>
                  </a:lnTo>
                  <a:lnTo>
                    <a:pt x="0" y="1"/>
                  </a:lnTo>
                  <a:lnTo>
                    <a:pt x="0" y="1"/>
                  </a:lnTo>
                  <a:lnTo>
                    <a:pt x="0" y="1"/>
                  </a:lnTo>
                  <a:lnTo>
                    <a:pt x="0" y="1"/>
                  </a:lnTo>
                  <a:lnTo>
                    <a:pt x="1" y="0"/>
                  </a:lnTo>
                  <a:lnTo>
                    <a:pt x="1" y="0"/>
                  </a:lnTo>
                  <a:lnTo>
                    <a:pt x="1" y="0"/>
                  </a:lnTo>
                  <a:lnTo>
                    <a:pt x="2" y="0"/>
                  </a:lnTo>
                  <a:lnTo>
                    <a:pt x="2" y="0"/>
                  </a:lnTo>
                  <a:lnTo>
                    <a:pt x="2" y="0"/>
                  </a:lnTo>
                  <a:lnTo>
                    <a:pt x="1" y="0"/>
                  </a:lnTo>
                  <a:lnTo>
                    <a:pt x="1" y="1"/>
                  </a:lnTo>
                  <a:lnTo>
                    <a:pt x="1" y="1"/>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88" name="Freeform 1253">
              <a:extLst>
                <a:ext uri="{FF2B5EF4-FFF2-40B4-BE49-F238E27FC236}">
                  <a16:creationId xmlns:a16="http://schemas.microsoft.com/office/drawing/2014/main" id="{BB96BA25-47EE-41C6-A155-630A9CF3D25F}"/>
                </a:ext>
              </a:extLst>
            </p:cNvPr>
            <p:cNvSpPr>
              <a:spLocks/>
            </p:cNvSpPr>
            <p:nvPr/>
          </p:nvSpPr>
          <p:spPr bwMode="auto">
            <a:xfrm>
              <a:off x="5771705" y="2300170"/>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89" name="Freeform 1254">
              <a:extLst>
                <a:ext uri="{FF2B5EF4-FFF2-40B4-BE49-F238E27FC236}">
                  <a16:creationId xmlns:a16="http://schemas.microsoft.com/office/drawing/2014/main" id="{C0B221EA-9E37-4A1A-BC77-8089C7A17E33}"/>
                </a:ext>
              </a:extLst>
            </p:cNvPr>
            <p:cNvSpPr>
              <a:spLocks/>
            </p:cNvSpPr>
            <p:nvPr/>
          </p:nvSpPr>
          <p:spPr bwMode="auto">
            <a:xfrm>
              <a:off x="6229778" y="2611339"/>
              <a:ext cx="1336" cy="1336"/>
            </a:xfrm>
            <a:custGeom>
              <a:avLst/>
              <a:gdLst>
                <a:gd name="T0" fmla="*/ 1 w 1"/>
                <a:gd name="T1" fmla="*/ 1 h 1"/>
                <a:gd name="T2" fmla="*/ 1 w 1"/>
                <a:gd name="T3" fmla="*/ 1 h 1"/>
                <a:gd name="T4" fmla="*/ 0 w 1"/>
                <a:gd name="T5" fmla="*/ 1 h 1"/>
                <a:gd name="T6" fmla="*/ 0 w 1"/>
                <a:gd name="T7" fmla="*/ 1 h 1"/>
                <a:gd name="T8" fmla="*/ 0 w 1"/>
                <a:gd name="T9" fmla="*/ 1 h 1"/>
                <a:gd name="T10" fmla="*/ 0 w 1"/>
                <a:gd name="T11" fmla="*/ 0 h 1"/>
                <a:gd name="T12" fmla="*/ 0 w 1"/>
                <a:gd name="T13" fmla="*/ 0 h 1"/>
                <a:gd name="T14" fmla="*/ 0 w 1"/>
                <a:gd name="T15" fmla="*/ 0 h 1"/>
                <a:gd name="T16" fmla="*/ 0 w 1"/>
                <a:gd name="T17" fmla="*/ 0 h 1"/>
                <a:gd name="T18" fmla="*/ 0 w 1"/>
                <a:gd name="T19" fmla="*/ 0 h 1"/>
                <a:gd name="T20" fmla="*/ 0 w 1"/>
                <a:gd name="T21" fmla="*/ 0 h 1"/>
                <a:gd name="T22" fmla="*/ 0 w 1"/>
                <a:gd name="T23" fmla="*/ 0 h 1"/>
                <a:gd name="T24" fmla="*/ 1 w 1"/>
                <a:gd name="T25" fmla="*/ 0 h 1"/>
                <a:gd name="T26" fmla="*/ 1 w 1"/>
                <a:gd name="T27" fmla="*/ 0 h 1"/>
                <a:gd name="T28" fmla="*/ 1 w 1"/>
                <a:gd name="T29" fmla="*/ 1 h 1"/>
                <a:gd name="T30" fmla="*/ 1 w 1"/>
                <a:gd name="T31" fmla="*/ 1 h 1"/>
                <a:gd name="T32" fmla="*/ 1 w 1"/>
                <a:gd name="T33" fmla="*/ 1 h 1"/>
                <a:gd name="T34" fmla="*/ 1 w 1"/>
                <a:gd name="T3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 h="1">
                  <a:moveTo>
                    <a:pt x="1" y="1"/>
                  </a:moveTo>
                  <a:lnTo>
                    <a:pt x="1" y="1"/>
                  </a:lnTo>
                  <a:lnTo>
                    <a:pt x="0" y="1"/>
                  </a:lnTo>
                  <a:lnTo>
                    <a:pt x="0" y="1"/>
                  </a:lnTo>
                  <a:lnTo>
                    <a:pt x="0" y="1"/>
                  </a:lnTo>
                  <a:lnTo>
                    <a:pt x="0" y="0"/>
                  </a:lnTo>
                  <a:lnTo>
                    <a:pt x="0" y="0"/>
                  </a:lnTo>
                  <a:lnTo>
                    <a:pt x="0" y="0"/>
                  </a:lnTo>
                  <a:lnTo>
                    <a:pt x="0" y="0"/>
                  </a:lnTo>
                  <a:lnTo>
                    <a:pt x="0" y="0"/>
                  </a:lnTo>
                  <a:lnTo>
                    <a:pt x="0" y="0"/>
                  </a:lnTo>
                  <a:lnTo>
                    <a:pt x="0" y="0"/>
                  </a:lnTo>
                  <a:lnTo>
                    <a:pt x="1" y="0"/>
                  </a:lnTo>
                  <a:lnTo>
                    <a:pt x="1" y="0"/>
                  </a:lnTo>
                  <a:lnTo>
                    <a:pt x="1" y="1"/>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90" name="Freeform 1255">
              <a:extLst>
                <a:ext uri="{FF2B5EF4-FFF2-40B4-BE49-F238E27FC236}">
                  <a16:creationId xmlns:a16="http://schemas.microsoft.com/office/drawing/2014/main" id="{57366682-EBB6-4859-899C-EB600473F274}"/>
                </a:ext>
              </a:extLst>
            </p:cNvPr>
            <p:cNvSpPr>
              <a:spLocks/>
            </p:cNvSpPr>
            <p:nvPr/>
          </p:nvSpPr>
          <p:spPr bwMode="auto">
            <a:xfrm>
              <a:off x="6277855" y="2599319"/>
              <a:ext cx="1336" cy="2671"/>
            </a:xfrm>
            <a:custGeom>
              <a:avLst/>
              <a:gdLst>
                <a:gd name="T0" fmla="*/ 1 w 1"/>
                <a:gd name="T1" fmla="*/ 0 h 2"/>
                <a:gd name="T2" fmla="*/ 1 w 1"/>
                <a:gd name="T3" fmla="*/ 0 h 2"/>
                <a:gd name="T4" fmla="*/ 1 w 1"/>
                <a:gd name="T5" fmla="*/ 0 h 2"/>
                <a:gd name="T6" fmla="*/ 1 w 1"/>
                <a:gd name="T7" fmla="*/ 0 h 2"/>
                <a:gd name="T8" fmla="*/ 1 w 1"/>
                <a:gd name="T9" fmla="*/ 0 h 2"/>
                <a:gd name="T10" fmla="*/ 1 w 1"/>
                <a:gd name="T11" fmla="*/ 0 h 2"/>
                <a:gd name="T12" fmla="*/ 1 w 1"/>
                <a:gd name="T13" fmla="*/ 0 h 2"/>
                <a:gd name="T14" fmla="*/ 1 w 1"/>
                <a:gd name="T15" fmla="*/ 0 h 2"/>
                <a:gd name="T16" fmla="*/ 1 w 1"/>
                <a:gd name="T17" fmla="*/ 0 h 2"/>
                <a:gd name="T18" fmla="*/ 0 w 1"/>
                <a:gd name="T19" fmla="*/ 0 h 2"/>
                <a:gd name="T20" fmla="*/ 0 w 1"/>
                <a:gd name="T21" fmla="*/ 2 h 2"/>
                <a:gd name="T22" fmla="*/ 0 w 1"/>
                <a:gd name="T23" fmla="*/ 2 h 2"/>
                <a:gd name="T24" fmla="*/ 0 w 1"/>
                <a:gd name="T25" fmla="*/ 2 h 2"/>
                <a:gd name="T26" fmla="*/ 0 w 1"/>
                <a:gd name="T27" fmla="*/ 2 h 2"/>
                <a:gd name="T28" fmla="*/ 0 w 1"/>
                <a:gd name="T29" fmla="*/ 2 h 2"/>
                <a:gd name="T30" fmla="*/ 0 w 1"/>
                <a:gd name="T31" fmla="*/ 0 h 2"/>
                <a:gd name="T32" fmla="*/ 0 w 1"/>
                <a:gd name="T33" fmla="*/ 0 h 2"/>
                <a:gd name="T34" fmla="*/ 0 w 1"/>
                <a:gd name="T35" fmla="*/ 0 h 2"/>
                <a:gd name="T36" fmla="*/ 0 w 1"/>
                <a:gd name="T37" fmla="*/ 0 h 2"/>
                <a:gd name="T38" fmla="*/ 0 w 1"/>
                <a:gd name="T39" fmla="*/ 0 h 2"/>
                <a:gd name="T40" fmla="*/ 0 w 1"/>
                <a:gd name="T41" fmla="*/ 0 h 2"/>
                <a:gd name="T42" fmla="*/ 0 w 1"/>
                <a:gd name="T43" fmla="*/ 0 h 2"/>
                <a:gd name="T44" fmla="*/ 0 w 1"/>
                <a:gd name="T45" fmla="*/ 0 h 2"/>
                <a:gd name="T46" fmla="*/ 0 w 1"/>
                <a:gd name="T47" fmla="*/ 0 h 2"/>
                <a:gd name="T48" fmla="*/ 0 w 1"/>
                <a:gd name="T49" fmla="*/ 0 h 2"/>
                <a:gd name="T50" fmla="*/ 0 w 1"/>
                <a:gd name="T51" fmla="*/ 0 h 2"/>
                <a:gd name="T52" fmla="*/ 1 w 1"/>
                <a:gd name="T53" fmla="*/ 0 h 2"/>
                <a:gd name="T54" fmla="*/ 1 w 1"/>
                <a:gd name="T55" fmla="*/ 0 h 2"/>
                <a:gd name="T56" fmla="*/ 1 w 1"/>
                <a:gd name="T57" fmla="*/ 0 h 2"/>
                <a:gd name="T58" fmla="*/ 1 w 1"/>
                <a:gd name="T59" fmla="*/ 0 h 2"/>
                <a:gd name="T60" fmla="*/ 1 w 1"/>
                <a:gd name="T61" fmla="*/ 0 h 2"/>
                <a:gd name="T62" fmla="*/ 1 w 1"/>
                <a:gd name="T63" fmla="*/ 0 h 2"/>
                <a:gd name="T64" fmla="*/ 1 w 1"/>
                <a:gd name="T6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 h="2">
                  <a:moveTo>
                    <a:pt x="1" y="0"/>
                  </a:moveTo>
                  <a:lnTo>
                    <a:pt x="1" y="0"/>
                  </a:lnTo>
                  <a:lnTo>
                    <a:pt x="1" y="0"/>
                  </a:lnTo>
                  <a:lnTo>
                    <a:pt x="1" y="0"/>
                  </a:lnTo>
                  <a:lnTo>
                    <a:pt x="1" y="0"/>
                  </a:lnTo>
                  <a:lnTo>
                    <a:pt x="1" y="0"/>
                  </a:lnTo>
                  <a:lnTo>
                    <a:pt x="1" y="0"/>
                  </a:lnTo>
                  <a:lnTo>
                    <a:pt x="1" y="0"/>
                  </a:lnTo>
                  <a:lnTo>
                    <a:pt x="1" y="0"/>
                  </a:lnTo>
                  <a:lnTo>
                    <a:pt x="0" y="0"/>
                  </a:lnTo>
                  <a:lnTo>
                    <a:pt x="0" y="2"/>
                  </a:lnTo>
                  <a:lnTo>
                    <a:pt x="0" y="2"/>
                  </a:lnTo>
                  <a:lnTo>
                    <a:pt x="0" y="2"/>
                  </a:lnTo>
                  <a:lnTo>
                    <a:pt x="0" y="2"/>
                  </a:lnTo>
                  <a:lnTo>
                    <a:pt x="0" y="2"/>
                  </a:lnTo>
                  <a:lnTo>
                    <a:pt x="0" y="0"/>
                  </a:lnTo>
                  <a:lnTo>
                    <a:pt x="0" y="0"/>
                  </a:lnTo>
                  <a:lnTo>
                    <a:pt x="0" y="0"/>
                  </a:lnTo>
                  <a:lnTo>
                    <a:pt x="0" y="0"/>
                  </a:lnTo>
                  <a:lnTo>
                    <a:pt x="0" y="0"/>
                  </a:lnTo>
                  <a:lnTo>
                    <a:pt x="0" y="0"/>
                  </a:lnTo>
                  <a:lnTo>
                    <a:pt x="0" y="0"/>
                  </a:lnTo>
                  <a:lnTo>
                    <a:pt x="0" y="0"/>
                  </a:lnTo>
                  <a:lnTo>
                    <a:pt x="0" y="0"/>
                  </a:lnTo>
                  <a:lnTo>
                    <a:pt x="0" y="0"/>
                  </a:lnTo>
                  <a:lnTo>
                    <a:pt x="0" y="0"/>
                  </a:lnTo>
                  <a:lnTo>
                    <a:pt x="1"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91" name="Freeform 1256">
              <a:extLst>
                <a:ext uri="{FF2B5EF4-FFF2-40B4-BE49-F238E27FC236}">
                  <a16:creationId xmlns:a16="http://schemas.microsoft.com/office/drawing/2014/main" id="{CEACDC52-A4D6-4FDA-9D3A-211A8DE0199E}"/>
                </a:ext>
              </a:extLst>
            </p:cNvPr>
            <p:cNvSpPr>
              <a:spLocks/>
            </p:cNvSpPr>
            <p:nvPr/>
          </p:nvSpPr>
          <p:spPr bwMode="auto">
            <a:xfrm>
              <a:off x="6219094" y="2593977"/>
              <a:ext cx="49413" cy="14691"/>
            </a:xfrm>
            <a:custGeom>
              <a:avLst/>
              <a:gdLst>
                <a:gd name="T0" fmla="*/ 7 w 37"/>
                <a:gd name="T1" fmla="*/ 2 h 11"/>
                <a:gd name="T2" fmla="*/ 8 w 37"/>
                <a:gd name="T3" fmla="*/ 1 h 11"/>
                <a:gd name="T4" fmla="*/ 8 w 37"/>
                <a:gd name="T5" fmla="*/ 3 h 11"/>
                <a:gd name="T6" fmla="*/ 7 w 37"/>
                <a:gd name="T7" fmla="*/ 3 h 11"/>
                <a:gd name="T8" fmla="*/ 9 w 37"/>
                <a:gd name="T9" fmla="*/ 3 h 11"/>
                <a:gd name="T10" fmla="*/ 10 w 37"/>
                <a:gd name="T11" fmla="*/ 6 h 11"/>
                <a:gd name="T12" fmla="*/ 14 w 37"/>
                <a:gd name="T13" fmla="*/ 4 h 11"/>
                <a:gd name="T14" fmla="*/ 17 w 37"/>
                <a:gd name="T15" fmla="*/ 4 h 11"/>
                <a:gd name="T16" fmla="*/ 18 w 37"/>
                <a:gd name="T17" fmla="*/ 4 h 11"/>
                <a:gd name="T18" fmla="*/ 20 w 37"/>
                <a:gd name="T19" fmla="*/ 4 h 11"/>
                <a:gd name="T20" fmla="*/ 22 w 37"/>
                <a:gd name="T21" fmla="*/ 6 h 11"/>
                <a:gd name="T22" fmla="*/ 23 w 37"/>
                <a:gd name="T23" fmla="*/ 6 h 11"/>
                <a:gd name="T24" fmla="*/ 24 w 37"/>
                <a:gd name="T25" fmla="*/ 6 h 11"/>
                <a:gd name="T26" fmla="*/ 29 w 37"/>
                <a:gd name="T27" fmla="*/ 6 h 11"/>
                <a:gd name="T28" fmla="*/ 29 w 37"/>
                <a:gd name="T29" fmla="*/ 7 h 11"/>
                <a:gd name="T30" fmla="*/ 29 w 37"/>
                <a:gd name="T31" fmla="*/ 7 h 11"/>
                <a:gd name="T32" fmla="*/ 29 w 37"/>
                <a:gd name="T33" fmla="*/ 7 h 11"/>
                <a:gd name="T34" fmla="*/ 29 w 37"/>
                <a:gd name="T35" fmla="*/ 8 h 11"/>
                <a:gd name="T36" fmla="*/ 30 w 37"/>
                <a:gd name="T37" fmla="*/ 9 h 11"/>
                <a:gd name="T38" fmla="*/ 31 w 37"/>
                <a:gd name="T39" fmla="*/ 8 h 11"/>
                <a:gd name="T40" fmla="*/ 32 w 37"/>
                <a:gd name="T41" fmla="*/ 8 h 11"/>
                <a:gd name="T42" fmla="*/ 34 w 37"/>
                <a:gd name="T43" fmla="*/ 7 h 11"/>
                <a:gd name="T44" fmla="*/ 35 w 37"/>
                <a:gd name="T45" fmla="*/ 8 h 11"/>
                <a:gd name="T46" fmla="*/ 36 w 37"/>
                <a:gd name="T47" fmla="*/ 7 h 11"/>
                <a:gd name="T48" fmla="*/ 36 w 37"/>
                <a:gd name="T49" fmla="*/ 6 h 11"/>
                <a:gd name="T50" fmla="*/ 37 w 37"/>
                <a:gd name="T51" fmla="*/ 8 h 11"/>
                <a:gd name="T52" fmla="*/ 37 w 37"/>
                <a:gd name="T53" fmla="*/ 9 h 11"/>
                <a:gd name="T54" fmla="*/ 36 w 37"/>
                <a:gd name="T55" fmla="*/ 10 h 11"/>
                <a:gd name="T56" fmla="*/ 34 w 37"/>
                <a:gd name="T57" fmla="*/ 10 h 11"/>
                <a:gd name="T58" fmla="*/ 32 w 37"/>
                <a:gd name="T59" fmla="*/ 10 h 11"/>
                <a:gd name="T60" fmla="*/ 27 w 37"/>
                <a:gd name="T61" fmla="*/ 11 h 11"/>
                <a:gd name="T62" fmla="*/ 24 w 37"/>
                <a:gd name="T63" fmla="*/ 11 h 11"/>
                <a:gd name="T64" fmla="*/ 22 w 37"/>
                <a:gd name="T65" fmla="*/ 11 h 11"/>
                <a:gd name="T66" fmla="*/ 21 w 37"/>
                <a:gd name="T67" fmla="*/ 11 h 11"/>
                <a:gd name="T68" fmla="*/ 17 w 37"/>
                <a:gd name="T69" fmla="*/ 11 h 11"/>
                <a:gd name="T70" fmla="*/ 16 w 37"/>
                <a:gd name="T71" fmla="*/ 9 h 11"/>
                <a:gd name="T72" fmla="*/ 15 w 37"/>
                <a:gd name="T73" fmla="*/ 9 h 11"/>
                <a:gd name="T74" fmla="*/ 13 w 37"/>
                <a:gd name="T75" fmla="*/ 8 h 11"/>
                <a:gd name="T76" fmla="*/ 9 w 37"/>
                <a:gd name="T77" fmla="*/ 8 h 11"/>
                <a:gd name="T78" fmla="*/ 9 w 37"/>
                <a:gd name="T79" fmla="*/ 8 h 11"/>
                <a:gd name="T80" fmla="*/ 7 w 37"/>
                <a:gd name="T81" fmla="*/ 8 h 11"/>
                <a:gd name="T82" fmla="*/ 4 w 37"/>
                <a:gd name="T83" fmla="*/ 7 h 11"/>
                <a:gd name="T84" fmla="*/ 2 w 37"/>
                <a:gd name="T85" fmla="*/ 7 h 11"/>
                <a:gd name="T86" fmla="*/ 1 w 37"/>
                <a:gd name="T87" fmla="*/ 7 h 11"/>
                <a:gd name="T88" fmla="*/ 0 w 37"/>
                <a:gd name="T89" fmla="*/ 6 h 11"/>
                <a:gd name="T90" fmla="*/ 0 w 37"/>
                <a:gd name="T91" fmla="*/ 6 h 11"/>
                <a:gd name="T92" fmla="*/ 0 w 37"/>
                <a:gd name="T93" fmla="*/ 6 h 11"/>
                <a:gd name="T94" fmla="*/ 1 w 37"/>
                <a:gd name="T95" fmla="*/ 3 h 11"/>
                <a:gd name="T96" fmla="*/ 0 w 37"/>
                <a:gd name="T97" fmla="*/ 3 h 11"/>
                <a:gd name="T98" fmla="*/ 1 w 37"/>
                <a:gd name="T99" fmla="*/ 2 h 11"/>
                <a:gd name="T100" fmla="*/ 1 w 37"/>
                <a:gd name="T101" fmla="*/ 2 h 11"/>
                <a:gd name="T102" fmla="*/ 2 w 37"/>
                <a:gd name="T103" fmla="*/ 3 h 11"/>
                <a:gd name="T104" fmla="*/ 2 w 37"/>
                <a:gd name="T105" fmla="*/ 1 h 11"/>
                <a:gd name="T106" fmla="*/ 2 w 37"/>
                <a:gd name="T107" fmla="*/ 0 h 11"/>
                <a:gd name="T108" fmla="*/ 3 w 37"/>
                <a:gd name="T109"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 h="11">
                  <a:moveTo>
                    <a:pt x="4" y="2"/>
                  </a:moveTo>
                  <a:lnTo>
                    <a:pt x="6" y="2"/>
                  </a:lnTo>
                  <a:lnTo>
                    <a:pt x="6" y="2"/>
                  </a:lnTo>
                  <a:lnTo>
                    <a:pt x="6" y="2"/>
                  </a:lnTo>
                  <a:lnTo>
                    <a:pt x="7" y="2"/>
                  </a:lnTo>
                  <a:lnTo>
                    <a:pt x="7" y="2"/>
                  </a:lnTo>
                  <a:lnTo>
                    <a:pt x="7" y="2"/>
                  </a:lnTo>
                  <a:lnTo>
                    <a:pt x="7" y="2"/>
                  </a:lnTo>
                  <a:lnTo>
                    <a:pt x="7" y="2"/>
                  </a:lnTo>
                  <a:lnTo>
                    <a:pt x="7" y="2"/>
                  </a:lnTo>
                  <a:lnTo>
                    <a:pt x="7" y="2"/>
                  </a:lnTo>
                  <a:lnTo>
                    <a:pt x="7" y="2"/>
                  </a:lnTo>
                  <a:lnTo>
                    <a:pt x="7" y="1"/>
                  </a:lnTo>
                  <a:lnTo>
                    <a:pt x="8" y="1"/>
                  </a:lnTo>
                  <a:lnTo>
                    <a:pt x="8" y="1"/>
                  </a:lnTo>
                  <a:lnTo>
                    <a:pt x="8" y="2"/>
                  </a:lnTo>
                  <a:lnTo>
                    <a:pt x="9" y="2"/>
                  </a:lnTo>
                  <a:lnTo>
                    <a:pt x="9" y="2"/>
                  </a:lnTo>
                  <a:lnTo>
                    <a:pt x="9" y="2"/>
                  </a:lnTo>
                  <a:lnTo>
                    <a:pt x="8" y="2"/>
                  </a:lnTo>
                  <a:lnTo>
                    <a:pt x="8" y="3"/>
                  </a:lnTo>
                  <a:lnTo>
                    <a:pt x="8" y="3"/>
                  </a:lnTo>
                  <a:lnTo>
                    <a:pt x="8" y="3"/>
                  </a:lnTo>
                  <a:lnTo>
                    <a:pt x="8" y="3"/>
                  </a:lnTo>
                  <a:lnTo>
                    <a:pt x="8" y="3"/>
                  </a:lnTo>
                  <a:lnTo>
                    <a:pt x="7" y="3"/>
                  </a:lnTo>
                  <a:lnTo>
                    <a:pt x="7" y="3"/>
                  </a:lnTo>
                  <a:lnTo>
                    <a:pt x="7" y="3"/>
                  </a:lnTo>
                  <a:lnTo>
                    <a:pt x="7" y="3"/>
                  </a:lnTo>
                  <a:lnTo>
                    <a:pt x="8" y="3"/>
                  </a:lnTo>
                  <a:lnTo>
                    <a:pt x="8" y="3"/>
                  </a:lnTo>
                  <a:lnTo>
                    <a:pt x="8" y="3"/>
                  </a:lnTo>
                  <a:lnTo>
                    <a:pt x="9" y="3"/>
                  </a:lnTo>
                  <a:lnTo>
                    <a:pt x="9" y="3"/>
                  </a:lnTo>
                  <a:lnTo>
                    <a:pt x="9" y="3"/>
                  </a:lnTo>
                  <a:lnTo>
                    <a:pt x="9" y="3"/>
                  </a:lnTo>
                  <a:lnTo>
                    <a:pt x="9" y="3"/>
                  </a:lnTo>
                  <a:lnTo>
                    <a:pt x="9" y="4"/>
                  </a:lnTo>
                  <a:lnTo>
                    <a:pt x="9" y="4"/>
                  </a:lnTo>
                  <a:lnTo>
                    <a:pt x="10" y="4"/>
                  </a:lnTo>
                  <a:lnTo>
                    <a:pt x="10" y="4"/>
                  </a:lnTo>
                  <a:lnTo>
                    <a:pt x="10" y="6"/>
                  </a:lnTo>
                  <a:lnTo>
                    <a:pt x="10" y="6"/>
                  </a:lnTo>
                  <a:lnTo>
                    <a:pt x="10" y="6"/>
                  </a:lnTo>
                  <a:lnTo>
                    <a:pt x="10" y="6"/>
                  </a:lnTo>
                  <a:lnTo>
                    <a:pt x="11" y="4"/>
                  </a:lnTo>
                  <a:lnTo>
                    <a:pt x="13" y="6"/>
                  </a:lnTo>
                  <a:lnTo>
                    <a:pt x="13" y="4"/>
                  </a:lnTo>
                  <a:lnTo>
                    <a:pt x="14" y="4"/>
                  </a:lnTo>
                  <a:lnTo>
                    <a:pt x="14" y="4"/>
                  </a:lnTo>
                  <a:lnTo>
                    <a:pt x="15" y="4"/>
                  </a:lnTo>
                  <a:lnTo>
                    <a:pt x="15" y="4"/>
                  </a:lnTo>
                  <a:lnTo>
                    <a:pt x="15" y="4"/>
                  </a:lnTo>
                  <a:lnTo>
                    <a:pt x="16" y="4"/>
                  </a:lnTo>
                  <a:lnTo>
                    <a:pt x="17" y="4"/>
                  </a:lnTo>
                  <a:lnTo>
                    <a:pt x="17" y="4"/>
                  </a:lnTo>
                  <a:lnTo>
                    <a:pt x="17" y="4"/>
                  </a:lnTo>
                  <a:lnTo>
                    <a:pt x="17" y="4"/>
                  </a:lnTo>
                  <a:lnTo>
                    <a:pt x="18" y="4"/>
                  </a:lnTo>
                  <a:lnTo>
                    <a:pt x="18" y="4"/>
                  </a:lnTo>
                  <a:lnTo>
                    <a:pt x="18" y="4"/>
                  </a:lnTo>
                  <a:lnTo>
                    <a:pt x="18" y="4"/>
                  </a:lnTo>
                  <a:lnTo>
                    <a:pt x="18" y="4"/>
                  </a:lnTo>
                  <a:lnTo>
                    <a:pt x="18" y="4"/>
                  </a:lnTo>
                  <a:lnTo>
                    <a:pt x="20" y="4"/>
                  </a:lnTo>
                  <a:lnTo>
                    <a:pt x="20" y="4"/>
                  </a:lnTo>
                  <a:lnTo>
                    <a:pt x="20" y="4"/>
                  </a:lnTo>
                  <a:lnTo>
                    <a:pt x="20" y="4"/>
                  </a:lnTo>
                  <a:lnTo>
                    <a:pt x="20" y="4"/>
                  </a:lnTo>
                  <a:lnTo>
                    <a:pt x="20" y="4"/>
                  </a:lnTo>
                  <a:lnTo>
                    <a:pt x="20" y="4"/>
                  </a:lnTo>
                  <a:lnTo>
                    <a:pt x="20" y="4"/>
                  </a:lnTo>
                  <a:lnTo>
                    <a:pt x="20" y="6"/>
                  </a:lnTo>
                  <a:lnTo>
                    <a:pt x="21" y="6"/>
                  </a:lnTo>
                  <a:lnTo>
                    <a:pt x="21" y="6"/>
                  </a:lnTo>
                  <a:lnTo>
                    <a:pt x="22" y="6"/>
                  </a:lnTo>
                  <a:lnTo>
                    <a:pt x="22" y="6"/>
                  </a:lnTo>
                  <a:lnTo>
                    <a:pt x="22" y="6"/>
                  </a:lnTo>
                  <a:lnTo>
                    <a:pt x="22" y="6"/>
                  </a:lnTo>
                  <a:lnTo>
                    <a:pt x="22" y="6"/>
                  </a:lnTo>
                  <a:lnTo>
                    <a:pt x="22" y="6"/>
                  </a:lnTo>
                  <a:lnTo>
                    <a:pt x="22" y="6"/>
                  </a:lnTo>
                  <a:lnTo>
                    <a:pt x="23" y="6"/>
                  </a:lnTo>
                  <a:lnTo>
                    <a:pt x="23" y="6"/>
                  </a:lnTo>
                  <a:lnTo>
                    <a:pt x="24" y="6"/>
                  </a:lnTo>
                  <a:lnTo>
                    <a:pt x="24" y="6"/>
                  </a:lnTo>
                  <a:lnTo>
                    <a:pt x="24" y="6"/>
                  </a:lnTo>
                  <a:lnTo>
                    <a:pt x="24" y="6"/>
                  </a:lnTo>
                  <a:lnTo>
                    <a:pt x="24" y="6"/>
                  </a:lnTo>
                  <a:lnTo>
                    <a:pt x="24" y="6"/>
                  </a:lnTo>
                  <a:lnTo>
                    <a:pt x="24" y="6"/>
                  </a:lnTo>
                  <a:lnTo>
                    <a:pt x="25" y="6"/>
                  </a:lnTo>
                  <a:lnTo>
                    <a:pt x="25" y="6"/>
                  </a:lnTo>
                  <a:lnTo>
                    <a:pt x="25" y="6"/>
                  </a:lnTo>
                  <a:lnTo>
                    <a:pt x="28" y="6"/>
                  </a:lnTo>
                  <a:lnTo>
                    <a:pt x="28" y="6"/>
                  </a:lnTo>
                  <a:lnTo>
                    <a:pt x="28" y="6"/>
                  </a:lnTo>
                  <a:lnTo>
                    <a:pt x="29" y="6"/>
                  </a:lnTo>
                  <a:lnTo>
                    <a:pt x="29" y="6"/>
                  </a:lnTo>
                  <a:lnTo>
                    <a:pt x="30" y="6"/>
                  </a:lnTo>
                  <a:lnTo>
                    <a:pt x="29" y="6"/>
                  </a:lnTo>
                  <a:lnTo>
                    <a:pt x="29" y="6"/>
                  </a:lnTo>
                  <a:lnTo>
                    <a:pt x="29" y="6"/>
                  </a:lnTo>
                  <a:lnTo>
                    <a:pt x="29" y="7"/>
                  </a:lnTo>
                  <a:lnTo>
                    <a:pt x="29" y="7"/>
                  </a:lnTo>
                  <a:lnTo>
                    <a:pt x="29" y="7"/>
                  </a:lnTo>
                  <a:lnTo>
                    <a:pt x="29" y="7"/>
                  </a:lnTo>
                  <a:lnTo>
                    <a:pt x="29" y="7"/>
                  </a:lnTo>
                  <a:lnTo>
                    <a:pt x="29" y="7"/>
                  </a:lnTo>
                  <a:lnTo>
                    <a:pt x="29" y="7"/>
                  </a:lnTo>
                  <a:lnTo>
                    <a:pt x="29" y="7"/>
                  </a:lnTo>
                  <a:lnTo>
                    <a:pt x="29" y="7"/>
                  </a:lnTo>
                  <a:lnTo>
                    <a:pt x="29" y="7"/>
                  </a:lnTo>
                  <a:lnTo>
                    <a:pt x="29" y="7"/>
                  </a:lnTo>
                  <a:lnTo>
                    <a:pt x="30" y="7"/>
                  </a:lnTo>
                  <a:lnTo>
                    <a:pt x="29" y="7"/>
                  </a:lnTo>
                  <a:lnTo>
                    <a:pt x="29" y="7"/>
                  </a:lnTo>
                  <a:lnTo>
                    <a:pt x="29" y="7"/>
                  </a:lnTo>
                  <a:lnTo>
                    <a:pt x="29" y="7"/>
                  </a:lnTo>
                  <a:lnTo>
                    <a:pt x="29" y="7"/>
                  </a:lnTo>
                  <a:lnTo>
                    <a:pt x="29" y="7"/>
                  </a:lnTo>
                  <a:lnTo>
                    <a:pt x="29" y="7"/>
                  </a:lnTo>
                  <a:lnTo>
                    <a:pt x="29" y="8"/>
                  </a:lnTo>
                  <a:lnTo>
                    <a:pt x="29" y="8"/>
                  </a:lnTo>
                  <a:lnTo>
                    <a:pt x="29" y="8"/>
                  </a:lnTo>
                  <a:lnTo>
                    <a:pt x="29" y="8"/>
                  </a:lnTo>
                  <a:lnTo>
                    <a:pt x="29" y="8"/>
                  </a:lnTo>
                  <a:lnTo>
                    <a:pt x="29" y="8"/>
                  </a:lnTo>
                  <a:lnTo>
                    <a:pt x="29" y="9"/>
                  </a:lnTo>
                  <a:lnTo>
                    <a:pt x="29" y="9"/>
                  </a:lnTo>
                  <a:lnTo>
                    <a:pt x="30" y="9"/>
                  </a:lnTo>
                  <a:lnTo>
                    <a:pt x="30" y="9"/>
                  </a:lnTo>
                  <a:lnTo>
                    <a:pt x="30" y="9"/>
                  </a:lnTo>
                  <a:lnTo>
                    <a:pt x="30" y="9"/>
                  </a:lnTo>
                  <a:lnTo>
                    <a:pt x="30" y="9"/>
                  </a:lnTo>
                  <a:lnTo>
                    <a:pt x="30" y="9"/>
                  </a:lnTo>
                  <a:lnTo>
                    <a:pt x="31" y="8"/>
                  </a:lnTo>
                  <a:lnTo>
                    <a:pt x="31" y="8"/>
                  </a:lnTo>
                  <a:lnTo>
                    <a:pt x="31" y="8"/>
                  </a:lnTo>
                  <a:lnTo>
                    <a:pt x="31" y="8"/>
                  </a:lnTo>
                  <a:lnTo>
                    <a:pt x="31" y="8"/>
                  </a:lnTo>
                  <a:lnTo>
                    <a:pt x="31" y="8"/>
                  </a:lnTo>
                  <a:lnTo>
                    <a:pt x="31" y="8"/>
                  </a:lnTo>
                  <a:lnTo>
                    <a:pt x="31" y="8"/>
                  </a:lnTo>
                  <a:lnTo>
                    <a:pt x="32" y="8"/>
                  </a:lnTo>
                  <a:lnTo>
                    <a:pt x="32" y="8"/>
                  </a:lnTo>
                  <a:lnTo>
                    <a:pt x="32" y="8"/>
                  </a:lnTo>
                  <a:lnTo>
                    <a:pt x="32" y="8"/>
                  </a:lnTo>
                  <a:lnTo>
                    <a:pt x="34" y="7"/>
                  </a:lnTo>
                  <a:lnTo>
                    <a:pt x="34" y="7"/>
                  </a:lnTo>
                  <a:lnTo>
                    <a:pt x="34" y="7"/>
                  </a:lnTo>
                  <a:lnTo>
                    <a:pt x="34" y="7"/>
                  </a:lnTo>
                  <a:lnTo>
                    <a:pt x="34" y="7"/>
                  </a:lnTo>
                  <a:lnTo>
                    <a:pt x="34" y="7"/>
                  </a:lnTo>
                  <a:lnTo>
                    <a:pt x="34" y="7"/>
                  </a:lnTo>
                  <a:lnTo>
                    <a:pt x="34" y="7"/>
                  </a:lnTo>
                  <a:lnTo>
                    <a:pt x="35" y="8"/>
                  </a:lnTo>
                  <a:lnTo>
                    <a:pt x="35" y="8"/>
                  </a:lnTo>
                  <a:lnTo>
                    <a:pt x="35" y="8"/>
                  </a:lnTo>
                  <a:lnTo>
                    <a:pt x="35" y="8"/>
                  </a:lnTo>
                  <a:lnTo>
                    <a:pt x="35" y="8"/>
                  </a:lnTo>
                  <a:lnTo>
                    <a:pt x="36" y="8"/>
                  </a:lnTo>
                  <a:lnTo>
                    <a:pt x="35" y="7"/>
                  </a:lnTo>
                  <a:lnTo>
                    <a:pt x="35" y="7"/>
                  </a:lnTo>
                  <a:lnTo>
                    <a:pt x="35" y="7"/>
                  </a:lnTo>
                  <a:lnTo>
                    <a:pt x="36" y="7"/>
                  </a:lnTo>
                  <a:lnTo>
                    <a:pt x="36" y="7"/>
                  </a:lnTo>
                  <a:lnTo>
                    <a:pt x="36" y="7"/>
                  </a:lnTo>
                  <a:lnTo>
                    <a:pt x="37" y="7"/>
                  </a:lnTo>
                  <a:lnTo>
                    <a:pt x="36" y="6"/>
                  </a:lnTo>
                  <a:lnTo>
                    <a:pt x="37" y="6"/>
                  </a:lnTo>
                  <a:lnTo>
                    <a:pt x="37" y="6"/>
                  </a:lnTo>
                  <a:lnTo>
                    <a:pt x="37" y="6"/>
                  </a:lnTo>
                  <a:lnTo>
                    <a:pt x="37" y="6"/>
                  </a:lnTo>
                  <a:lnTo>
                    <a:pt x="36" y="6"/>
                  </a:lnTo>
                  <a:lnTo>
                    <a:pt x="37" y="6"/>
                  </a:lnTo>
                  <a:lnTo>
                    <a:pt x="37" y="6"/>
                  </a:lnTo>
                  <a:lnTo>
                    <a:pt x="37" y="7"/>
                  </a:lnTo>
                  <a:lnTo>
                    <a:pt x="36" y="7"/>
                  </a:lnTo>
                  <a:lnTo>
                    <a:pt x="36" y="7"/>
                  </a:lnTo>
                  <a:lnTo>
                    <a:pt x="37" y="8"/>
                  </a:lnTo>
                  <a:lnTo>
                    <a:pt x="37" y="8"/>
                  </a:lnTo>
                  <a:lnTo>
                    <a:pt x="37" y="8"/>
                  </a:lnTo>
                  <a:lnTo>
                    <a:pt x="37" y="8"/>
                  </a:lnTo>
                  <a:lnTo>
                    <a:pt x="37" y="8"/>
                  </a:lnTo>
                  <a:lnTo>
                    <a:pt x="37" y="8"/>
                  </a:lnTo>
                  <a:lnTo>
                    <a:pt x="37" y="9"/>
                  </a:lnTo>
                  <a:lnTo>
                    <a:pt x="37" y="9"/>
                  </a:lnTo>
                  <a:lnTo>
                    <a:pt x="37" y="9"/>
                  </a:lnTo>
                  <a:lnTo>
                    <a:pt x="36" y="9"/>
                  </a:lnTo>
                  <a:lnTo>
                    <a:pt x="36" y="10"/>
                  </a:lnTo>
                  <a:lnTo>
                    <a:pt x="36" y="10"/>
                  </a:lnTo>
                  <a:lnTo>
                    <a:pt x="36" y="10"/>
                  </a:lnTo>
                  <a:lnTo>
                    <a:pt x="36" y="10"/>
                  </a:lnTo>
                  <a:lnTo>
                    <a:pt x="36" y="10"/>
                  </a:lnTo>
                  <a:lnTo>
                    <a:pt x="36" y="10"/>
                  </a:lnTo>
                  <a:lnTo>
                    <a:pt x="36" y="10"/>
                  </a:lnTo>
                  <a:lnTo>
                    <a:pt x="35" y="10"/>
                  </a:lnTo>
                  <a:lnTo>
                    <a:pt x="35" y="10"/>
                  </a:lnTo>
                  <a:lnTo>
                    <a:pt x="35" y="10"/>
                  </a:lnTo>
                  <a:lnTo>
                    <a:pt x="35" y="10"/>
                  </a:lnTo>
                  <a:lnTo>
                    <a:pt x="35" y="10"/>
                  </a:lnTo>
                  <a:lnTo>
                    <a:pt x="34" y="10"/>
                  </a:lnTo>
                  <a:lnTo>
                    <a:pt x="34" y="10"/>
                  </a:lnTo>
                  <a:lnTo>
                    <a:pt x="34" y="10"/>
                  </a:lnTo>
                  <a:lnTo>
                    <a:pt x="34" y="10"/>
                  </a:lnTo>
                  <a:lnTo>
                    <a:pt x="34" y="10"/>
                  </a:lnTo>
                  <a:lnTo>
                    <a:pt x="32" y="10"/>
                  </a:lnTo>
                  <a:lnTo>
                    <a:pt x="32" y="10"/>
                  </a:lnTo>
                  <a:lnTo>
                    <a:pt x="32" y="10"/>
                  </a:lnTo>
                  <a:lnTo>
                    <a:pt x="32" y="10"/>
                  </a:lnTo>
                  <a:lnTo>
                    <a:pt x="32" y="10"/>
                  </a:lnTo>
                  <a:lnTo>
                    <a:pt x="32" y="10"/>
                  </a:lnTo>
                  <a:lnTo>
                    <a:pt x="31" y="10"/>
                  </a:lnTo>
                  <a:lnTo>
                    <a:pt x="30" y="10"/>
                  </a:lnTo>
                  <a:lnTo>
                    <a:pt x="28" y="10"/>
                  </a:lnTo>
                  <a:lnTo>
                    <a:pt x="27" y="11"/>
                  </a:lnTo>
                  <a:lnTo>
                    <a:pt x="27" y="11"/>
                  </a:lnTo>
                  <a:lnTo>
                    <a:pt x="27" y="11"/>
                  </a:lnTo>
                  <a:lnTo>
                    <a:pt x="25" y="11"/>
                  </a:lnTo>
                  <a:lnTo>
                    <a:pt x="24" y="11"/>
                  </a:lnTo>
                  <a:lnTo>
                    <a:pt x="24" y="11"/>
                  </a:lnTo>
                  <a:lnTo>
                    <a:pt x="24" y="11"/>
                  </a:lnTo>
                  <a:lnTo>
                    <a:pt x="24" y="11"/>
                  </a:lnTo>
                  <a:lnTo>
                    <a:pt x="23" y="11"/>
                  </a:lnTo>
                  <a:lnTo>
                    <a:pt x="23" y="11"/>
                  </a:lnTo>
                  <a:lnTo>
                    <a:pt x="23" y="11"/>
                  </a:lnTo>
                  <a:lnTo>
                    <a:pt x="22" y="11"/>
                  </a:lnTo>
                  <a:lnTo>
                    <a:pt x="22" y="11"/>
                  </a:lnTo>
                  <a:lnTo>
                    <a:pt x="22" y="11"/>
                  </a:lnTo>
                  <a:lnTo>
                    <a:pt x="22" y="11"/>
                  </a:lnTo>
                  <a:lnTo>
                    <a:pt x="22" y="11"/>
                  </a:lnTo>
                  <a:lnTo>
                    <a:pt x="21" y="11"/>
                  </a:lnTo>
                  <a:lnTo>
                    <a:pt x="21" y="11"/>
                  </a:lnTo>
                  <a:lnTo>
                    <a:pt x="21" y="11"/>
                  </a:lnTo>
                  <a:lnTo>
                    <a:pt x="21" y="11"/>
                  </a:lnTo>
                  <a:lnTo>
                    <a:pt x="21" y="11"/>
                  </a:lnTo>
                  <a:lnTo>
                    <a:pt x="21" y="11"/>
                  </a:lnTo>
                  <a:lnTo>
                    <a:pt x="21" y="11"/>
                  </a:lnTo>
                  <a:lnTo>
                    <a:pt x="20" y="11"/>
                  </a:lnTo>
                  <a:lnTo>
                    <a:pt x="20" y="11"/>
                  </a:lnTo>
                  <a:lnTo>
                    <a:pt x="16" y="11"/>
                  </a:lnTo>
                  <a:lnTo>
                    <a:pt x="16" y="11"/>
                  </a:lnTo>
                  <a:lnTo>
                    <a:pt x="17" y="11"/>
                  </a:lnTo>
                  <a:lnTo>
                    <a:pt x="17" y="11"/>
                  </a:lnTo>
                  <a:lnTo>
                    <a:pt x="16" y="11"/>
                  </a:lnTo>
                  <a:lnTo>
                    <a:pt x="16" y="10"/>
                  </a:lnTo>
                  <a:lnTo>
                    <a:pt x="17" y="10"/>
                  </a:lnTo>
                  <a:lnTo>
                    <a:pt x="16" y="10"/>
                  </a:lnTo>
                  <a:lnTo>
                    <a:pt x="16" y="10"/>
                  </a:lnTo>
                  <a:lnTo>
                    <a:pt x="16" y="10"/>
                  </a:lnTo>
                  <a:lnTo>
                    <a:pt x="16" y="9"/>
                  </a:lnTo>
                  <a:lnTo>
                    <a:pt x="16" y="9"/>
                  </a:lnTo>
                  <a:lnTo>
                    <a:pt x="16" y="9"/>
                  </a:lnTo>
                  <a:lnTo>
                    <a:pt x="16" y="9"/>
                  </a:lnTo>
                  <a:lnTo>
                    <a:pt x="16" y="9"/>
                  </a:lnTo>
                  <a:lnTo>
                    <a:pt x="16" y="9"/>
                  </a:lnTo>
                  <a:lnTo>
                    <a:pt x="15" y="9"/>
                  </a:lnTo>
                  <a:lnTo>
                    <a:pt x="15" y="9"/>
                  </a:lnTo>
                  <a:lnTo>
                    <a:pt x="14" y="9"/>
                  </a:lnTo>
                  <a:lnTo>
                    <a:pt x="14" y="9"/>
                  </a:lnTo>
                  <a:lnTo>
                    <a:pt x="14" y="9"/>
                  </a:lnTo>
                  <a:lnTo>
                    <a:pt x="14" y="9"/>
                  </a:lnTo>
                  <a:lnTo>
                    <a:pt x="14" y="9"/>
                  </a:lnTo>
                  <a:lnTo>
                    <a:pt x="14" y="9"/>
                  </a:lnTo>
                  <a:lnTo>
                    <a:pt x="13" y="8"/>
                  </a:lnTo>
                  <a:lnTo>
                    <a:pt x="13" y="8"/>
                  </a:lnTo>
                  <a:lnTo>
                    <a:pt x="13" y="8"/>
                  </a:lnTo>
                  <a:lnTo>
                    <a:pt x="11" y="8"/>
                  </a:lnTo>
                  <a:lnTo>
                    <a:pt x="11" y="8"/>
                  </a:lnTo>
                  <a:lnTo>
                    <a:pt x="11" y="8"/>
                  </a:lnTo>
                  <a:lnTo>
                    <a:pt x="10" y="8"/>
                  </a:lnTo>
                  <a:lnTo>
                    <a:pt x="9" y="8"/>
                  </a:lnTo>
                  <a:lnTo>
                    <a:pt x="9" y="8"/>
                  </a:lnTo>
                  <a:lnTo>
                    <a:pt x="9" y="8"/>
                  </a:lnTo>
                  <a:lnTo>
                    <a:pt x="9" y="8"/>
                  </a:lnTo>
                  <a:lnTo>
                    <a:pt x="9" y="8"/>
                  </a:lnTo>
                  <a:lnTo>
                    <a:pt x="9" y="8"/>
                  </a:lnTo>
                  <a:lnTo>
                    <a:pt x="9" y="8"/>
                  </a:lnTo>
                  <a:lnTo>
                    <a:pt x="9" y="8"/>
                  </a:lnTo>
                  <a:lnTo>
                    <a:pt x="9" y="8"/>
                  </a:lnTo>
                  <a:lnTo>
                    <a:pt x="8" y="8"/>
                  </a:lnTo>
                  <a:lnTo>
                    <a:pt x="8" y="8"/>
                  </a:lnTo>
                  <a:lnTo>
                    <a:pt x="8" y="8"/>
                  </a:lnTo>
                  <a:lnTo>
                    <a:pt x="8" y="8"/>
                  </a:lnTo>
                  <a:lnTo>
                    <a:pt x="8" y="8"/>
                  </a:lnTo>
                  <a:lnTo>
                    <a:pt x="7" y="8"/>
                  </a:lnTo>
                  <a:lnTo>
                    <a:pt x="7" y="8"/>
                  </a:lnTo>
                  <a:lnTo>
                    <a:pt x="7" y="7"/>
                  </a:lnTo>
                  <a:lnTo>
                    <a:pt x="7" y="7"/>
                  </a:lnTo>
                  <a:lnTo>
                    <a:pt x="6" y="7"/>
                  </a:lnTo>
                  <a:lnTo>
                    <a:pt x="4" y="7"/>
                  </a:lnTo>
                  <a:lnTo>
                    <a:pt x="4" y="7"/>
                  </a:lnTo>
                  <a:lnTo>
                    <a:pt x="4" y="7"/>
                  </a:lnTo>
                  <a:lnTo>
                    <a:pt x="4" y="7"/>
                  </a:lnTo>
                  <a:lnTo>
                    <a:pt x="3" y="7"/>
                  </a:lnTo>
                  <a:lnTo>
                    <a:pt x="3" y="7"/>
                  </a:lnTo>
                  <a:lnTo>
                    <a:pt x="3" y="7"/>
                  </a:lnTo>
                  <a:lnTo>
                    <a:pt x="2" y="7"/>
                  </a:lnTo>
                  <a:lnTo>
                    <a:pt x="2" y="7"/>
                  </a:lnTo>
                  <a:lnTo>
                    <a:pt x="2" y="7"/>
                  </a:lnTo>
                  <a:lnTo>
                    <a:pt x="1" y="7"/>
                  </a:lnTo>
                  <a:lnTo>
                    <a:pt x="1" y="7"/>
                  </a:lnTo>
                  <a:lnTo>
                    <a:pt x="1" y="7"/>
                  </a:lnTo>
                  <a:lnTo>
                    <a:pt x="1" y="7"/>
                  </a:lnTo>
                  <a:lnTo>
                    <a:pt x="1" y="7"/>
                  </a:lnTo>
                  <a:lnTo>
                    <a:pt x="1" y="7"/>
                  </a:lnTo>
                  <a:lnTo>
                    <a:pt x="1" y="7"/>
                  </a:lnTo>
                  <a:lnTo>
                    <a:pt x="1" y="7"/>
                  </a:lnTo>
                  <a:lnTo>
                    <a:pt x="1" y="7"/>
                  </a:lnTo>
                  <a:lnTo>
                    <a:pt x="0" y="7"/>
                  </a:lnTo>
                  <a:lnTo>
                    <a:pt x="0" y="7"/>
                  </a:lnTo>
                  <a:lnTo>
                    <a:pt x="0" y="6"/>
                  </a:lnTo>
                  <a:lnTo>
                    <a:pt x="0" y="6"/>
                  </a:lnTo>
                  <a:lnTo>
                    <a:pt x="0" y="6"/>
                  </a:lnTo>
                  <a:lnTo>
                    <a:pt x="0" y="6"/>
                  </a:lnTo>
                  <a:lnTo>
                    <a:pt x="0" y="6"/>
                  </a:lnTo>
                  <a:lnTo>
                    <a:pt x="0" y="6"/>
                  </a:lnTo>
                  <a:lnTo>
                    <a:pt x="0" y="6"/>
                  </a:lnTo>
                  <a:lnTo>
                    <a:pt x="0" y="6"/>
                  </a:lnTo>
                  <a:lnTo>
                    <a:pt x="0" y="6"/>
                  </a:lnTo>
                  <a:lnTo>
                    <a:pt x="0" y="6"/>
                  </a:lnTo>
                  <a:lnTo>
                    <a:pt x="0" y="6"/>
                  </a:lnTo>
                  <a:lnTo>
                    <a:pt x="0" y="6"/>
                  </a:lnTo>
                  <a:lnTo>
                    <a:pt x="1" y="6"/>
                  </a:lnTo>
                  <a:lnTo>
                    <a:pt x="0" y="6"/>
                  </a:lnTo>
                  <a:lnTo>
                    <a:pt x="0" y="6"/>
                  </a:lnTo>
                  <a:lnTo>
                    <a:pt x="0" y="6"/>
                  </a:lnTo>
                  <a:lnTo>
                    <a:pt x="0" y="6"/>
                  </a:lnTo>
                  <a:lnTo>
                    <a:pt x="0" y="4"/>
                  </a:lnTo>
                  <a:lnTo>
                    <a:pt x="0" y="4"/>
                  </a:lnTo>
                  <a:lnTo>
                    <a:pt x="1" y="4"/>
                  </a:lnTo>
                  <a:lnTo>
                    <a:pt x="1" y="4"/>
                  </a:lnTo>
                  <a:lnTo>
                    <a:pt x="1" y="4"/>
                  </a:lnTo>
                  <a:lnTo>
                    <a:pt x="1" y="3"/>
                  </a:lnTo>
                  <a:lnTo>
                    <a:pt x="1" y="3"/>
                  </a:lnTo>
                  <a:lnTo>
                    <a:pt x="0" y="3"/>
                  </a:lnTo>
                  <a:lnTo>
                    <a:pt x="0" y="3"/>
                  </a:lnTo>
                  <a:lnTo>
                    <a:pt x="1" y="3"/>
                  </a:lnTo>
                  <a:lnTo>
                    <a:pt x="1" y="3"/>
                  </a:lnTo>
                  <a:lnTo>
                    <a:pt x="1" y="3"/>
                  </a:lnTo>
                  <a:lnTo>
                    <a:pt x="0" y="3"/>
                  </a:lnTo>
                  <a:lnTo>
                    <a:pt x="0" y="3"/>
                  </a:lnTo>
                  <a:lnTo>
                    <a:pt x="1" y="2"/>
                  </a:lnTo>
                  <a:lnTo>
                    <a:pt x="1" y="2"/>
                  </a:lnTo>
                  <a:lnTo>
                    <a:pt x="1" y="2"/>
                  </a:lnTo>
                  <a:lnTo>
                    <a:pt x="0" y="2"/>
                  </a:lnTo>
                  <a:lnTo>
                    <a:pt x="1" y="2"/>
                  </a:lnTo>
                  <a:lnTo>
                    <a:pt x="1" y="2"/>
                  </a:lnTo>
                  <a:lnTo>
                    <a:pt x="1" y="2"/>
                  </a:lnTo>
                  <a:lnTo>
                    <a:pt x="1" y="1"/>
                  </a:lnTo>
                  <a:lnTo>
                    <a:pt x="1" y="1"/>
                  </a:lnTo>
                  <a:lnTo>
                    <a:pt x="1" y="1"/>
                  </a:lnTo>
                  <a:lnTo>
                    <a:pt x="1" y="2"/>
                  </a:lnTo>
                  <a:lnTo>
                    <a:pt x="1" y="2"/>
                  </a:lnTo>
                  <a:lnTo>
                    <a:pt x="1" y="2"/>
                  </a:lnTo>
                  <a:lnTo>
                    <a:pt x="1" y="2"/>
                  </a:lnTo>
                  <a:lnTo>
                    <a:pt x="1" y="2"/>
                  </a:lnTo>
                  <a:lnTo>
                    <a:pt x="1" y="2"/>
                  </a:lnTo>
                  <a:lnTo>
                    <a:pt x="1" y="2"/>
                  </a:lnTo>
                  <a:lnTo>
                    <a:pt x="1" y="3"/>
                  </a:lnTo>
                  <a:lnTo>
                    <a:pt x="1" y="3"/>
                  </a:lnTo>
                  <a:lnTo>
                    <a:pt x="1" y="3"/>
                  </a:lnTo>
                  <a:lnTo>
                    <a:pt x="2" y="3"/>
                  </a:lnTo>
                  <a:lnTo>
                    <a:pt x="2" y="3"/>
                  </a:lnTo>
                  <a:lnTo>
                    <a:pt x="2" y="3"/>
                  </a:lnTo>
                  <a:lnTo>
                    <a:pt x="2" y="3"/>
                  </a:lnTo>
                  <a:lnTo>
                    <a:pt x="2" y="2"/>
                  </a:lnTo>
                  <a:lnTo>
                    <a:pt x="2" y="2"/>
                  </a:lnTo>
                  <a:lnTo>
                    <a:pt x="2" y="2"/>
                  </a:lnTo>
                  <a:lnTo>
                    <a:pt x="2" y="1"/>
                  </a:lnTo>
                  <a:lnTo>
                    <a:pt x="2" y="1"/>
                  </a:lnTo>
                  <a:lnTo>
                    <a:pt x="2" y="1"/>
                  </a:lnTo>
                  <a:lnTo>
                    <a:pt x="2" y="1"/>
                  </a:lnTo>
                  <a:lnTo>
                    <a:pt x="2" y="1"/>
                  </a:lnTo>
                  <a:lnTo>
                    <a:pt x="2" y="1"/>
                  </a:lnTo>
                  <a:lnTo>
                    <a:pt x="2" y="0"/>
                  </a:lnTo>
                  <a:lnTo>
                    <a:pt x="2" y="0"/>
                  </a:lnTo>
                  <a:lnTo>
                    <a:pt x="2" y="0"/>
                  </a:lnTo>
                  <a:lnTo>
                    <a:pt x="2" y="0"/>
                  </a:lnTo>
                  <a:lnTo>
                    <a:pt x="3" y="0"/>
                  </a:lnTo>
                  <a:lnTo>
                    <a:pt x="3" y="0"/>
                  </a:lnTo>
                  <a:lnTo>
                    <a:pt x="3" y="1"/>
                  </a:lnTo>
                  <a:lnTo>
                    <a:pt x="3" y="1"/>
                  </a:lnTo>
                  <a:lnTo>
                    <a:pt x="3" y="1"/>
                  </a:lnTo>
                  <a:lnTo>
                    <a:pt x="3" y="2"/>
                  </a:lnTo>
                  <a:lnTo>
                    <a:pt x="3" y="2"/>
                  </a:lnTo>
                  <a:lnTo>
                    <a:pt x="3" y="2"/>
                  </a:lnTo>
                  <a:lnTo>
                    <a:pt x="3" y="2"/>
                  </a:lnTo>
                  <a:lnTo>
                    <a:pt x="4"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92" name="Freeform 1257">
              <a:extLst>
                <a:ext uri="{FF2B5EF4-FFF2-40B4-BE49-F238E27FC236}">
                  <a16:creationId xmlns:a16="http://schemas.microsoft.com/office/drawing/2014/main" id="{9016338D-85DD-40BF-AE44-7E45A4B6A404}"/>
                </a:ext>
              </a:extLst>
            </p:cNvPr>
            <p:cNvSpPr>
              <a:spLocks/>
            </p:cNvSpPr>
            <p:nvPr/>
          </p:nvSpPr>
          <p:spPr bwMode="auto">
            <a:xfrm>
              <a:off x="6280526" y="2589971"/>
              <a:ext cx="4007" cy="9349"/>
            </a:xfrm>
            <a:custGeom>
              <a:avLst/>
              <a:gdLst>
                <a:gd name="T0" fmla="*/ 1 w 3"/>
                <a:gd name="T1" fmla="*/ 2 h 7"/>
                <a:gd name="T2" fmla="*/ 1 w 3"/>
                <a:gd name="T3" fmla="*/ 2 h 7"/>
                <a:gd name="T4" fmla="*/ 1 w 3"/>
                <a:gd name="T5" fmla="*/ 3 h 7"/>
                <a:gd name="T6" fmla="*/ 1 w 3"/>
                <a:gd name="T7" fmla="*/ 3 h 7"/>
                <a:gd name="T8" fmla="*/ 1 w 3"/>
                <a:gd name="T9" fmla="*/ 3 h 7"/>
                <a:gd name="T10" fmla="*/ 1 w 3"/>
                <a:gd name="T11" fmla="*/ 3 h 7"/>
                <a:gd name="T12" fmla="*/ 1 w 3"/>
                <a:gd name="T13" fmla="*/ 4 h 7"/>
                <a:gd name="T14" fmla="*/ 1 w 3"/>
                <a:gd name="T15" fmla="*/ 4 h 7"/>
                <a:gd name="T16" fmla="*/ 1 w 3"/>
                <a:gd name="T17" fmla="*/ 4 h 7"/>
                <a:gd name="T18" fmla="*/ 3 w 3"/>
                <a:gd name="T19" fmla="*/ 5 h 7"/>
                <a:gd name="T20" fmla="*/ 3 w 3"/>
                <a:gd name="T21" fmla="*/ 5 h 7"/>
                <a:gd name="T22" fmla="*/ 1 w 3"/>
                <a:gd name="T23" fmla="*/ 5 h 7"/>
                <a:gd name="T24" fmla="*/ 1 w 3"/>
                <a:gd name="T25" fmla="*/ 5 h 7"/>
                <a:gd name="T26" fmla="*/ 3 w 3"/>
                <a:gd name="T27" fmla="*/ 5 h 7"/>
                <a:gd name="T28" fmla="*/ 3 w 3"/>
                <a:gd name="T29" fmla="*/ 6 h 7"/>
                <a:gd name="T30" fmla="*/ 3 w 3"/>
                <a:gd name="T31" fmla="*/ 6 h 7"/>
                <a:gd name="T32" fmla="*/ 1 w 3"/>
                <a:gd name="T33" fmla="*/ 6 h 7"/>
                <a:gd name="T34" fmla="*/ 1 w 3"/>
                <a:gd name="T35" fmla="*/ 7 h 7"/>
                <a:gd name="T36" fmla="*/ 1 w 3"/>
                <a:gd name="T37" fmla="*/ 7 h 7"/>
                <a:gd name="T38" fmla="*/ 1 w 3"/>
                <a:gd name="T39" fmla="*/ 7 h 7"/>
                <a:gd name="T40" fmla="*/ 1 w 3"/>
                <a:gd name="T41" fmla="*/ 7 h 7"/>
                <a:gd name="T42" fmla="*/ 1 w 3"/>
                <a:gd name="T43" fmla="*/ 7 h 7"/>
                <a:gd name="T44" fmla="*/ 1 w 3"/>
                <a:gd name="T45" fmla="*/ 7 h 7"/>
                <a:gd name="T46" fmla="*/ 0 w 3"/>
                <a:gd name="T47" fmla="*/ 7 h 7"/>
                <a:gd name="T48" fmla="*/ 0 w 3"/>
                <a:gd name="T49" fmla="*/ 6 h 7"/>
                <a:gd name="T50" fmla="*/ 0 w 3"/>
                <a:gd name="T51" fmla="*/ 6 h 7"/>
                <a:gd name="T52" fmla="*/ 0 w 3"/>
                <a:gd name="T53" fmla="*/ 6 h 7"/>
                <a:gd name="T54" fmla="*/ 1 w 3"/>
                <a:gd name="T55" fmla="*/ 6 h 7"/>
                <a:gd name="T56" fmla="*/ 0 w 3"/>
                <a:gd name="T57" fmla="*/ 5 h 7"/>
                <a:gd name="T58" fmla="*/ 0 w 3"/>
                <a:gd name="T59" fmla="*/ 5 h 7"/>
                <a:gd name="T60" fmla="*/ 0 w 3"/>
                <a:gd name="T61" fmla="*/ 5 h 7"/>
                <a:gd name="T62" fmla="*/ 0 w 3"/>
                <a:gd name="T63" fmla="*/ 4 h 7"/>
                <a:gd name="T64" fmla="*/ 0 w 3"/>
                <a:gd name="T65" fmla="*/ 4 h 7"/>
                <a:gd name="T66" fmla="*/ 0 w 3"/>
                <a:gd name="T67" fmla="*/ 4 h 7"/>
                <a:gd name="T68" fmla="*/ 0 w 3"/>
                <a:gd name="T69" fmla="*/ 3 h 7"/>
                <a:gd name="T70" fmla="*/ 1 w 3"/>
                <a:gd name="T71" fmla="*/ 3 h 7"/>
                <a:gd name="T72" fmla="*/ 1 w 3"/>
                <a:gd name="T73" fmla="*/ 2 h 7"/>
                <a:gd name="T74" fmla="*/ 1 w 3"/>
                <a:gd name="T75" fmla="*/ 2 h 7"/>
                <a:gd name="T76" fmla="*/ 1 w 3"/>
                <a:gd name="T77" fmla="*/ 2 h 7"/>
                <a:gd name="T78" fmla="*/ 1 w 3"/>
                <a:gd name="T79" fmla="*/ 2 h 7"/>
                <a:gd name="T80" fmla="*/ 1 w 3"/>
                <a:gd name="T81" fmla="*/ 0 h 7"/>
                <a:gd name="T82" fmla="*/ 1 w 3"/>
                <a:gd name="T83" fmla="*/ 0 h 7"/>
                <a:gd name="T84" fmla="*/ 1 w 3"/>
                <a:gd name="T8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 h="7">
                  <a:moveTo>
                    <a:pt x="1" y="2"/>
                  </a:moveTo>
                  <a:lnTo>
                    <a:pt x="1" y="2"/>
                  </a:lnTo>
                  <a:lnTo>
                    <a:pt x="1" y="2"/>
                  </a:lnTo>
                  <a:lnTo>
                    <a:pt x="1" y="2"/>
                  </a:lnTo>
                  <a:lnTo>
                    <a:pt x="1" y="2"/>
                  </a:lnTo>
                  <a:lnTo>
                    <a:pt x="1" y="3"/>
                  </a:lnTo>
                  <a:lnTo>
                    <a:pt x="1" y="3"/>
                  </a:lnTo>
                  <a:lnTo>
                    <a:pt x="1" y="3"/>
                  </a:lnTo>
                  <a:lnTo>
                    <a:pt x="1" y="3"/>
                  </a:lnTo>
                  <a:lnTo>
                    <a:pt x="1" y="3"/>
                  </a:lnTo>
                  <a:lnTo>
                    <a:pt x="1" y="3"/>
                  </a:lnTo>
                  <a:lnTo>
                    <a:pt x="1" y="3"/>
                  </a:lnTo>
                  <a:lnTo>
                    <a:pt x="1" y="3"/>
                  </a:lnTo>
                  <a:lnTo>
                    <a:pt x="1" y="4"/>
                  </a:lnTo>
                  <a:lnTo>
                    <a:pt x="1" y="4"/>
                  </a:lnTo>
                  <a:lnTo>
                    <a:pt x="1" y="4"/>
                  </a:lnTo>
                  <a:lnTo>
                    <a:pt x="1" y="4"/>
                  </a:lnTo>
                  <a:lnTo>
                    <a:pt x="1" y="4"/>
                  </a:lnTo>
                  <a:lnTo>
                    <a:pt x="1" y="5"/>
                  </a:lnTo>
                  <a:lnTo>
                    <a:pt x="3" y="5"/>
                  </a:lnTo>
                  <a:lnTo>
                    <a:pt x="3" y="5"/>
                  </a:lnTo>
                  <a:lnTo>
                    <a:pt x="3" y="5"/>
                  </a:lnTo>
                  <a:lnTo>
                    <a:pt x="3" y="5"/>
                  </a:lnTo>
                  <a:lnTo>
                    <a:pt x="1" y="5"/>
                  </a:lnTo>
                  <a:lnTo>
                    <a:pt x="1" y="5"/>
                  </a:lnTo>
                  <a:lnTo>
                    <a:pt x="1" y="5"/>
                  </a:lnTo>
                  <a:lnTo>
                    <a:pt x="1" y="5"/>
                  </a:lnTo>
                  <a:lnTo>
                    <a:pt x="3" y="5"/>
                  </a:lnTo>
                  <a:lnTo>
                    <a:pt x="3" y="6"/>
                  </a:lnTo>
                  <a:lnTo>
                    <a:pt x="3" y="6"/>
                  </a:lnTo>
                  <a:lnTo>
                    <a:pt x="3" y="6"/>
                  </a:lnTo>
                  <a:lnTo>
                    <a:pt x="3" y="6"/>
                  </a:lnTo>
                  <a:lnTo>
                    <a:pt x="1" y="6"/>
                  </a:lnTo>
                  <a:lnTo>
                    <a:pt x="1" y="6"/>
                  </a:lnTo>
                  <a:lnTo>
                    <a:pt x="1" y="7"/>
                  </a:lnTo>
                  <a:lnTo>
                    <a:pt x="1" y="7"/>
                  </a:lnTo>
                  <a:lnTo>
                    <a:pt x="1" y="7"/>
                  </a:lnTo>
                  <a:lnTo>
                    <a:pt x="1" y="7"/>
                  </a:lnTo>
                  <a:lnTo>
                    <a:pt x="1" y="7"/>
                  </a:lnTo>
                  <a:lnTo>
                    <a:pt x="1" y="7"/>
                  </a:lnTo>
                  <a:lnTo>
                    <a:pt x="1" y="7"/>
                  </a:lnTo>
                  <a:lnTo>
                    <a:pt x="1" y="7"/>
                  </a:lnTo>
                  <a:lnTo>
                    <a:pt x="1" y="7"/>
                  </a:lnTo>
                  <a:lnTo>
                    <a:pt x="1" y="7"/>
                  </a:lnTo>
                  <a:lnTo>
                    <a:pt x="1" y="7"/>
                  </a:lnTo>
                  <a:lnTo>
                    <a:pt x="1" y="7"/>
                  </a:lnTo>
                  <a:lnTo>
                    <a:pt x="1" y="7"/>
                  </a:lnTo>
                  <a:lnTo>
                    <a:pt x="0" y="7"/>
                  </a:lnTo>
                  <a:lnTo>
                    <a:pt x="0" y="6"/>
                  </a:lnTo>
                  <a:lnTo>
                    <a:pt x="0" y="6"/>
                  </a:lnTo>
                  <a:lnTo>
                    <a:pt x="0" y="6"/>
                  </a:lnTo>
                  <a:lnTo>
                    <a:pt x="0" y="6"/>
                  </a:lnTo>
                  <a:lnTo>
                    <a:pt x="0" y="6"/>
                  </a:lnTo>
                  <a:lnTo>
                    <a:pt x="0" y="6"/>
                  </a:lnTo>
                  <a:lnTo>
                    <a:pt x="1" y="6"/>
                  </a:lnTo>
                  <a:lnTo>
                    <a:pt x="1" y="6"/>
                  </a:lnTo>
                  <a:lnTo>
                    <a:pt x="0" y="5"/>
                  </a:lnTo>
                  <a:lnTo>
                    <a:pt x="0" y="5"/>
                  </a:lnTo>
                  <a:lnTo>
                    <a:pt x="0" y="5"/>
                  </a:lnTo>
                  <a:lnTo>
                    <a:pt x="0" y="5"/>
                  </a:lnTo>
                  <a:lnTo>
                    <a:pt x="0" y="5"/>
                  </a:lnTo>
                  <a:lnTo>
                    <a:pt x="0" y="5"/>
                  </a:lnTo>
                  <a:lnTo>
                    <a:pt x="0" y="5"/>
                  </a:lnTo>
                  <a:lnTo>
                    <a:pt x="0" y="4"/>
                  </a:lnTo>
                  <a:lnTo>
                    <a:pt x="0" y="4"/>
                  </a:lnTo>
                  <a:lnTo>
                    <a:pt x="0" y="4"/>
                  </a:lnTo>
                  <a:lnTo>
                    <a:pt x="0" y="4"/>
                  </a:lnTo>
                  <a:lnTo>
                    <a:pt x="0" y="4"/>
                  </a:lnTo>
                  <a:lnTo>
                    <a:pt x="0" y="4"/>
                  </a:lnTo>
                  <a:lnTo>
                    <a:pt x="0" y="3"/>
                  </a:lnTo>
                  <a:lnTo>
                    <a:pt x="0" y="3"/>
                  </a:lnTo>
                  <a:lnTo>
                    <a:pt x="1" y="3"/>
                  </a:lnTo>
                  <a:lnTo>
                    <a:pt x="1" y="2"/>
                  </a:lnTo>
                  <a:lnTo>
                    <a:pt x="1" y="2"/>
                  </a:lnTo>
                  <a:lnTo>
                    <a:pt x="1" y="2"/>
                  </a:lnTo>
                  <a:lnTo>
                    <a:pt x="1" y="2"/>
                  </a:lnTo>
                  <a:lnTo>
                    <a:pt x="1" y="2"/>
                  </a:lnTo>
                  <a:lnTo>
                    <a:pt x="1" y="2"/>
                  </a:lnTo>
                  <a:lnTo>
                    <a:pt x="1" y="2"/>
                  </a:lnTo>
                  <a:lnTo>
                    <a:pt x="1" y="2"/>
                  </a:lnTo>
                  <a:lnTo>
                    <a:pt x="1" y="2"/>
                  </a:lnTo>
                  <a:lnTo>
                    <a:pt x="1" y="0"/>
                  </a:lnTo>
                  <a:lnTo>
                    <a:pt x="1" y="0"/>
                  </a:lnTo>
                  <a:lnTo>
                    <a:pt x="1" y="0"/>
                  </a:lnTo>
                  <a:lnTo>
                    <a:pt x="1" y="0"/>
                  </a:lnTo>
                  <a:lnTo>
                    <a:pt x="1" y="0"/>
                  </a:lnTo>
                  <a:lnTo>
                    <a:pt x="1"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93" name="Freeform 1258">
              <a:extLst>
                <a:ext uri="{FF2B5EF4-FFF2-40B4-BE49-F238E27FC236}">
                  <a16:creationId xmlns:a16="http://schemas.microsoft.com/office/drawing/2014/main" id="{B8672600-40A2-440E-A1EF-BB81394506D1}"/>
                </a:ext>
              </a:extLst>
            </p:cNvPr>
            <p:cNvSpPr>
              <a:spLocks/>
            </p:cNvSpPr>
            <p:nvPr/>
          </p:nvSpPr>
          <p:spPr bwMode="auto">
            <a:xfrm>
              <a:off x="6213752" y="2588635"/>
              <a:ext cx="1336" cy="1336"/>
            </a:xfrm>
            <a:custGeom>
              <a:avLst/>
              <a:gdLst>
                <a:gd name="T0" fmla="*/ 1 w 1"/>
                <a:gd name="T1" fmla="*/ 1 h 1"/>
                <a:gd name="T2" fmla="*/ 0 w 1"/>
                <a:gd name="T3" fmla="*/ 1 h 1"/>
                <a:gd name="T4" fmla="*/ 0 w 1"/>
                <a:gd name="T5" fmla="*/ 1 h 1"/>
                <a:gd name="T6" fmla="*/ 0 w 1"/>
                <a:gd name="T7" fmla="*/ 1 h 1"/>
                <a:gd name="T8" fmla="*/ 0 w 1"/>
                <a:gd name="T9" fmla="*/ 1 h 1"/>
                <a:gd name="T10" fmla="*/ 0 w 1"/>
                <a:gd name="T11" fmla="*/ 1 h 1"/>
                <a:gd name="T12" fmla="*/ 0 w 1"/>
                <a:gd name="T13" fmla="*/ 0 h 1"/>
                <a:gd name="T14" fmla="*/ 0 w 1"/>
                <a:gd name="T15" fmla="*/ 0 h 1"/>
                <a:gd name="T16" fmla="*/ 0 w 1"/>
                <a:gd name="T17" fmla="*/ 0 h 1"/>
                <a:gd name="T18" fmla="*/ 0 w 1"/>
                <a:gd name="T19" fmla="*/ 0 h 1"/>
                <a:gd name="T20" fmla="*/ 0 w 1"/>
                <a:gd name="T21" fmla="*/ 0 h 1"/>
                <a:gd name="T22" fmla="*/ 0 w 1"/>
                <a:gd name="T23" fmla="*/ 0 h 1"/>
                <a:gd name="T24" fmla="*/ 0 w 1"/>
                <a:gd name="T25" fmla="*/ 1 h 1"/>
                <a:gd name="T26" fmla="*/ 0 w 1"/>
                <a:gd name="T27" fmla="*/ 1 h 1"/>
                <a:gd name="T28" fmla="*/ 1 w 1"/>
                <a:gd name="T2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 h="1">
                  <a:moveTo>
                    <a:pt x="1" y="1"/>
                  </a:moveTo>
                  <a:lnTo>
                    <a:pt x="0" y="1"/>
                  </a:lnTo>
                  <a:lnTo>
                    <a:pt x="0" y="1"/>
                  </a:lnTo>
                  <a:lnTo>
                    <a:pt x="0" y="1"/>
                  </a:lnTo>
                  <a:lnTo>
                    <a:pt x="0" y="1"/>
                  </a:lnTo>
                  <a:lnTo>
                    <a:pt x="0" y="1"/>
                  </a:lnTo>
                  <a:lnTo>
                    <a:pt x="0" y="0"/>
                  </a:lnTo>
                  <a:lnTo>
                    <a:pt x="0" y="0"/>
                  </a:lnTo>
                  <a:lnTo>
                    <a:pt x="0" y="0"/>
                  </a:lnTo>
                  <a:lnTo>
                    <a:pt x="0" y="0"/>
                  </a:lnTo>
                  <a:lnTo>
                    <a:pt x="0" y="0"/>
                  </a:lnTo>
                  <a:lnTo>
                    <a:pt x="0" y="0"/>
                  </a:lnTo>
                  <a:lnTo>
                    <a:pt x="0" y="1"/>
                  </a:lnTo>
                  <a:lnTo>
                    <a:pt x="0"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94" name="Freeform 1259">
              <a:extLst>
                <a:ext uri="{FF2B5EF4-FFF2-40B4-BE49-F238E27FC236}">
                  <a16:creationId xmlns:a16="http://schemas.microsoft.com/office/drawing/2014/main" id="{CD752A16-DE4F-4250-B7BE-E5E7B88F2802}"/>
                </a:ext>
              </a:extLst>
            </p:cNvPr>
            <p:cNvSpPr>
              <a:spLocks/>
            </p:cNvSpPr>
            <p:nvPr/>
          </p:nvSpPr>
          <p:spPr bwMode="auto">
            <a:xfrm>
              <a:off x="6287203" y="2583293"/>
              <a:ext cx="1336" cy="0"/>
            </a:xfrm>
            <a:custGeom>
              <a:avLst/>
              <a:gdLst>
                <a:gd name="T0" fmla="*/ 1 w 1"/>
                <a:gd name="T1" fmla="*/ 1 w 1"/>
                <a:gd name="T2" fmla="*/ 1 w 1"/>
                <a:gd name="T3" fmla="*/ 1 w 1"/>
                <a:gd name="T4" fmla="*/ 1 w 1"/>
                <a:gd name="T5" fmla="*/ 0 w 1"/>
                <a:gd name="T6" fmla="*/ 0 w 1"/>
                <a:gd name="T7" fmla="*/ 0 w 1"/>
                <a:gd name="T8" fmla="*/ 0 w 1"/>
                <a:gd name="T9" fmla="*/ 0 w 1"/>
                <a:gd name="T10" fmla="*/ 0 w 1"/>
                <a:gd name="T11" fmla="*/ 0 w 1"/>
                <a:gd name="T12" fmla="*/ 1 w 1"/>
                <a:gd name="T13" fmla="*/ 1 w 1"/>
                <a:gd name="T14" fmla="*/ 1 w 1"/>
                <a:gd name="T15" fmla="*/ 1 w 1"/>
                <a:gd name="T16"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Lst>
              <a:rect l="0" t="0" r="r" b="b"/>
              <a:pathLst>
                <a:path w="1">
                  <a:moveTo>
                    <a:pt x="1" y="0"/>
                  </a:moveTo>
                  <a:lnTo>
                    <a:pt x="1" y="0"/>
                  </a:lnTo>
                  <a:lnTo>
                    <a:pt x="1" y="0"/>
                  </a:lnTo>
                  <a:lnTo>
                    <a:pt x="1" y="0"/>
                  </a:lnTo>
                  <a:lnTo>
                    <a:pt x="1" y="0"/>
                  </a:lnTo>
                  <a:lnTo>
                    <a:pt x="0" y="0"/>
                  </a:lnTo>
                  <a:lnTo>
                    <a:pt x="0" y="0"/>
                  </a:lnTo>
                  <a:lnTo>
                    <a:pt x="0" y="0"/>
                  </a:lnTo>
                  <a:lnTo>
                    <a:pt x="0" y="0"/>
                  </a:lnTo>
                  <a:lnTo>
                    <a:pt x="0" y="0"/>
                  </a:lnTo>
                  <a:lnTo>
                    <a:pt x="0" y="0"/>
                  </a:lnTo>
                  <a:lnTo>
                    <a:pt x="0"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95" name="Freeform 1260">
              <a:extLst>
                <a:ext uri="{FF2B5EF4-FFF2-40B4-BE49-F238E27FC236}">
                  <a16:creationId xmlns:a16="http://schemas.microsoft.com/office/drawing/2014/main" id="{9CC807C5-1672-4B7F-B316-80DE1CFF065E}"/>
                </a:ext>
              </a:extLst>
            </p:cNvPr>
            <p:cNvSpPr>
              <a:spLocks/>
            </p:cNvSpPr>
            <p:nvPr/>
          </p:nvSpPr>
          <p:spPr bwMode="auto">
            <a:xfrm>
              <a:off x="6205739" y="2579287"/>
              <a:ext cx="4007" cy="5342"/>
            </a:xfrm>
            <a:custGeom>
              <a:avLst/>
              <a:gdLst>
                <a:gd name="T0" fmla="*/ 3 w 3"/>
                <a:gd name="T1" fmla="*/ 3 h 4"/>
                <a:gd name="T2" fmla="*/ 3 w 3"/>
                <a:gd name="T3" fmla="*/ 4 h 4"/>
                <a:gd name="T4" fmla="*/ 3 w 3"/>
                <a:gd name="T5" fmla="*/ 4 h 4"/>
                <a:gd name="T6" fmla="*/ 3 w 3"/>
                <a:gd name="T7" fmla="*/ 4 h 4"/>
                <a:gd name="T8" fmla="*/ 3 w 3"/>
                <a:gd name="T9" fmla="*/ 4 h 4"/>
                <a:gd name="T10" fmla="*/ 2 w 3"/>
                <a:gd name="T11" fmla="*/ 4 h 4"/>
                <a:gd name="T12" fmla="*/ 2 w 3"/>
                <a:gd name="T13" fmla="*/ 4 h 4"/>
                <a:gd name="T14" fmla="*/ 2 w 3"/>
                <a:gd name="T15" fmla="*/ 4 h 4"/>
                <a:gd name="T16" fmla="*/ 2 w 3"/>
                <a:gd name="T17" fmla="*/ 4 h 4"/>
                <a:gd name="T18" fmla="*/ 2 w 3"/>
                <a:gd name="T19" fmla="*/ 4 h 4"/>
                <a:gd name="T20" fmla="*/ 2 w 3"/>
                <a:gd name="T21" fmla="*/ 4 h 4"/>
                <a:gd name="T22" fmla="*/ 2 w 3"/>
                <a:gd name="T23" fmla="*/ 4 h 4"/>
                <a:gd name="T24" fmla="*/ 2 w 3"/>
                <a:gd name="T25" fmla="*/ 4 h 4"/>
                <a:gd name="T26" fmla="*/ 2 w 3"/>
                <a:gd name="T27" fmla="*/ 4 h 4"/>
                <a:gd name="T28" fmla="*/ 2 w 3"/>
                <a:gd name="T29" fmla="*/ 4 h 4"/>
                <a:gd name="T30" fmla="*/ 2 w 3"/>
                <a:gd name="T31" fmla="*/ 4 h 4"/>
                <a:gd name="T32" fmla="*/ 2 w 3"/>
                <a:gd name="T33" fmla="*/ 3 h 4"/>
                <a:gd name="T34" fmla="*/ 0 w 3"/>
                <a:gd name="T35" fmla="*/ 3 h 4"/>
                <a:gd name="T36" fmla="*/ 0 w 3"/>
                <a:gd name="T37" fmla="*/ 3 h 4"/>
                <a:gd name="T38" fmla="*/ 0 w 3"/>
                <a:gd name="T39" fmla="*/ 1 h 4"/>
                <a:gd name="T40" fmla="*/ 0 w 3"/>
                <a:gd name="T41" fmla="*/ 1 h 4"/>
                <a:gd name="T42" fmla="*/ 0 w 3"/>
                <a:gd name="T43" fmla="*/ 1 h 4"/>
                <a:gd name="T44" fmla="*/ 0 w 3"/>
                <a:gd name="T45" fmla="*/ 1 h 4"/>
                <a:gd name="T46" fmla="*/ 0 w 3"/>
                <a:gd name="T47" fmla="*/ 0 h 4"/>
                <a:gd name="T48" fmla="*/ 0 w 3"/>
                <a:gd name="T49" fmla="*/ 0 h 4"/>
                <a:gd name="T50" fmla="*/ 0 w 3"/>
                <a:gd name="T51" fmla="*/ 0 h 4"/>
                <a:gd name="T52" fmla="*/ 2 w 3"/>
                <a:gd name="T53" fmla="*/ 0 h 4"/>
                <a:gd name="T54" fmla="*/ 2 w 3"/>
                <a:gd name="T55" fmla="*/ 0 h 4"/>
                <a:gd name="T56" fmla="*/ 2 w 3"/>
                <a:gd name="T57" fmla="*/ 1 h 4"/>
                <a:gd name="T58" fmla="*/ 2 w 3"/>
                <a:gd name="T59" fmla="*/ 1 h 4"/>
                <a:gd name="T60" fmla="*/ 3 w 3"/>
                <a:gd name="T61" fmla="*/ 1 h 4"/>
                <a:gd name="T62" fmla="*/ 3 w 3"/>
                <a:gd name="T63" fmla="*/ 1 h 4"/>
                <a:gd name="T64" fmla="*/ 3 w 3"/>
                <a:gd name="T65" fmla="*/ 3 h 4"/>
                <a:gd name="T66" fmla="*/ 3 w 3"/>
                <a:gd name="T67" fmla="*/ 3 h 4"/>
                <a:gd name="T68" fmla="*/ 3 w 3"/>
                <a:gd name="T69" fmla="*/ 3 h 4"/>
                <a:gd name="T70" fmla="*/ 3 w 3"/>
                <a:gd name="T71" fmla="*/ 3 h 4"/>
                <a:gd name="T72" fmla="*/ 3 w 3"/>
                <a:gd name="T73" fmla="*/ 3 h 4"/>
                <a:gd name="T74" fmla="*/ 3 w 3"/>
                <a:gd name="T75"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 h="4">
                  <a:moveTo>
                    <a:pt x="3" y="3"/>
                  </a:moveTo>
                  <a:lnTo>
                    <a:pt x="3" y="4"/>
                  </a:lnTo>
                  <a:lnTo>
                    <a:pt x="3" y="4"/>
                  </a:lnTo>
                  <a:lnTo>
                    <a:pt x="3" y="4"/>
                  </a:lnTo>
                  <a:lnTo>
                    <a:pt x="3" y="4"/>
                  </a:lnTo>
                  <a:lnTo>
                    <a:pt x="2" y="4"/>
                  </a:lnTo>
                  <a:lnTo>
                    <a:pt x="2" y="4"/>
                  </a:lnTo>
                  <a:lnTo>
                    <a:pt x="2" y="4"/>
                  </a:lnTo>
                  <a:lnTo>
                    <a:pt x="2" y="4"/>
                  </a:lnTo>
                  <a:lnTo>
                    <a:pt x="2" y="4"/>
                  </a:lnTo>
                  <a:lnTo>
                    <a:pt x="2" y="4"/>
                  </a:lnTo>
                  <a:lnTo>
                    <a:pt x="2" y="4"/>
                  </a:lnTo>
                  <a:lnTo>
                    <a:pt x="2" y="4"/>
                  </a:lnTo>
                  <a:lnTo>
                    <a:pt x="2" y="4"/>
                  </a:lnTo>
                  <a:lnTo>
                    <a:pt x="2" y="4"/>
                  </a:lnTo>
                  <a:lnTo>
                    <a:pt x="2" y="4"/>
                  </a:lnTo>
                  <a:lnTo>
                    <a:pt x="2" y="3"/>
                  </a:lnTo>
                  <a:lnTo>
                    <a:pt x="0" y="3"/>
                  </a:lnTo>
                  <a:lnTo>
                    <a:pt x="0" y="3"/>
                  </a:lnTo>
                  <a:lnTo>
                    <a:pt x="0" y="1"/>
                  </a:lnTo>
                  <a:lnTo>
                    <a:pt x="0" y="1"/>
                  </a:lnTo>
                  <a:lnTo>
                    <a:pt x="0" y="1"/>
                  </a:lnTo>
                  <a:lnTo>
                    <a:pt x="0" y="1"/>
                  </a:lnTo>
                  <a:lnTo>
                    <a:pt x="0" y="0"/>
                  </a:lnTo>
                  <a:lnTo>
                    <a:pt x="0" y="0"/>
                  </a:lnTo>
                  <a:lnTo>
                    <a:pt x="0" y="0"/>
                  </a:lnTo>
                  <a:lnTo>
                    <a:pt x="2" y="0"/>
                  </a:lnTo>
                  <a:lnTo>
                    <a:pt x="2" y="0"/>
                  </a:lnTo>
                  <a:lnTo>
                    <a:pt x="2" y="1"/>
                  </a:lnTo>
                  <a:lnTo>
                    <a:pt x="2" y="1"/>
                  </a:lnTo>
                  <a:lnTo>
                    <a:pt x="3" y="1"/>
                  </a:lnTo>
                  <a:lnTo>
                    <a:pt x="3" y="1"/>
                  </a:lnTo>
                  <a:lnTo>
                    <a:pt x="3" y="3"/>
                  </a:lnTo>
                  <a:lnTo>
                    <a:pt x="3" y="3"/>
                  </a:lnTo>
                  <a:lnTo>
                    <a:pt x="3" y="3"/>
                  </a:lnTo>
                  <a:lnTo>
                    <a:pt x="3" y="3"/>
                  </a:lnTo>
                  <a:lnTo>
                    <a:pt x="3" y="3"/>
                  </a:lnTo>
                  <a:lnTo>
                    <a:pt x="3" y="3"/>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96" name="Freeform 1261">
              <a:extLst>
                <a:ext uri="{FF2B5EF4-FFF2-40B4-BE49-F238E27FC236}">
                  <a16:creationId xmlns:a16="http://schemas.microsoft.com/office/drawing/2014/main" id="{1403A7E0-E1FE-49EC-9279-A53333308016}"/>
                </a:ext>
              </a:extLst>
            </p:cNvPr>
            <p:cNvSpPr>
              <a:spLocks/>
            </p:cNvSpPr>
            <p:nvPr/>
          </p:nvSpPr>
          <p:spPr bwMode="auto">
            <a:xfrm>
              <a:off x="6256488" y="2577951"/>
              <a:ext cx="1336" cy="1336"/>
            </a:xfrm>
            <a:custGeom>
              <a:avLst/>
              <a:gdLst>
                <a:gd name="T0" fmla="*/ 1 w 1"/>
                <a:gd name="T1" fmla="*/ 1 h 1"/>
                <a:gd name="T2" fmla="*/ 1 w 1"/>
                <a:gd name="T3" fmla="*/ 1 h 1"/>
                <a:gd name="T4" fmla="*/ 1 w 1"/>
                <a:gd name="T5" fmla="*/ 1 h 1"/>
                <a:gd name="T6" fmla="*/ 1 w 1"/>
                <a:gd name="T7" fmla="*/ 1 h 1"/>
                <a:gd name="T8" fmla="*/ 1 w 1"/>
                <a:gd name="T9" fmla="*/ 1 h 1"/>
                <a:gd name="T10" fmla="*/ 1 w 1"/>
                <a:gd name="T11" fmla="*/ 1 h 1"/>
                <a:gd name="T12" fmla="*/ 1 w 1"/>
                <a:gd name="T13" fmla="*/ 1 h 1"/>
                <a:gd name="T14" fmla="*/ 0 w 1"/>
                <a:gd name="T15" fmla="*/ 1 h 1"/>
                <a:gd name="T16" fmla="*/ 0 w 1"/>
                <a:gd name="T17" fmla="*/ 1 h 1"/>
                <a:gd name="T18" fmla="*/ 0 w 1"/>
                <a:gd name="T19" fmla="*/ 1 h 1"/>
                <a:gd name="T20" fmla="*/ 0 w 1"/>
                <a:gd name="T21" fmla="*/ 1 h 1"/>
                <a:gd name="T22" fmla="*/ 0 w 1"/>
                <a:gd name="T23" fmla="*/ 1 h 1"/>
                <a:gd name="T24" fmla="*/ 0 w 1"/>
                <a:gd name="T25" fmla="*/ 1 h 1"/>
                <a:gd name="T26" fmla="*/ 0 w 1"/>
                <a:gd name="T27" fmla="*/ 1 h 1"/>
                <a:gd name="T28" fmla="*/ 0 w 1"/>
                <a:gd name="T29" fmla="*/ 1 h 1"/>
                <a:gd name="T30" fmla="*/ 0 w 1"/>
                <a:gd name="T31" fmla="*/ 1 h 1"/>
                <a:gd name="T32" fmla="*/ 0 w 1"/>
                <a:gd name="T33" fmla="*/ 1 h 1"/>
                <a:gd name="T34" fmla="*/ 0 w 1"/>
                <a:gd name="T35" fmla="*/ 0 h 1"/>
                <a:gd name="T36" fmla="*/ 1 w 1"/>
                <a:gd name="T37" fmla="*/ 1 h 1"/>
                <a:gd name="T38" fmla="*/ 1 w 1"/>
                <a:gd name="T39" fmla="*/ 1 h 1"/>
                <a:gd name="T40" fmla="*/ 1 w 1"/>
                <a:gd name="T4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 h="1">
                  <a:moveTo>
                    <a:pt x="1" y="1"/>
                  </a:move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0" y="1"/>
                  </a:lnTo>
                  <a:lnTo>
                    <a:pt x="0" y="1"/>
                  </a:lnTo>
                  <a:lnTo>
                    <a:pt x="0" y="0"/>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97" name="Freeform 1262">
              <a:extLst>
                <a:ext uri="{FF2B5EF4-FFF2-40B4-BE49-F238E27FC236}">
                  <a16:creationId xmlns:a16="http://schemas.microsoft.com/office/drawing/2014/main" id="{222B466E-FE2B-457F-8D45-EB61977F0907}"/>
                </a:ext>
              </a:extLst>
            </p:cNvPr>
            <p:cNvSpPr>
              <a:spLocks/>
            </p:cNvSpPr>
            <p:nvPr/>
          </p:nvSpPr>
          <p:spPr bwMode="auto">
            <a:xfrm>
              <a:off x="6289874" y="2577951"/>
              <a:ext cx="9349" cy="10684"/>
            </a:xfrm>
            <a:custGeom>
              <a:avLst/>
              <a:gdLst>
                <a:gd name="T0" fmla="*/ 7 w 7"/>
                <a:gd name="T1" fmla="*/ 0 h 8"/>
                <a:gd name="T2" fmla="*/ 7 w 7"/>
                <a:gd name="T3" fmla="*/ 1 h 8"/>
                <a:gd name="T4" fmla="*/ 7 w 7"/>
                <a:gd name="T5" fmla="*/ 2 h 8"/>
                <a:gd name="T6" fmla="*/ 6 w 7"/>
                <a:gd name="T7" fmla="*/ 2 h 8"/>
                <a:gd name="T8" fmla="*/ 6 w 7"/>
                <a:gd name="T9" fmla="*/ 4 h 8"/>
                <a:gd name="T10" fmla="*/ 6 w 7"/>
                <a:gd name="T11" fmla="*/ 4 h 8"/>
                <a:gd name="T12" fmla="*/ 6 w 7"/>
                <a:gd name="T13" fmla="*/ 4 h 8"/>
                <a:gd name="T14" fmla="*/ 6 w 7"/>
                <a:gd name="T15" fmla="*/ 4 h 8"/>
                <a:gd name="T16" fmla="*/ 6 w 7"/>
                <a:gd name="T17" fmla="*/ 4 h 8"/>
                <a:gd name="T18" fmla="*/ 6 w 7"/>
                <a:gd name="T19" fmla="*/ 5 h 8"/>
                <a:gd name="T20" fmla="*/ 6 w 7"/>
                <a:gd name="T21" fmla="*/ 5 h 8"/>
                <a:gd name="T22" fmla="*/ 5 w 7"/>
                <a:gd name="T23" fmla="*/ 5 h 8"/>
                <a:gd name="T24" fmla="*/ 6 w 7"/>
                <a:gd name="T25" fmla="*/ 6 h 8"/>
                <a:gd name="T26" fmla="*/ 6 w 7"/>
                <a:gd name="T27" fmla="*/ 6 h 8"/>
                <a:gd name="T28" fmla="*/ 6 w 7"/>
                <a:gd name="T29" fmla="*/ 6 h 8"/>
                <a:gd name="T30" fmla="*/ 6 w 7"/>
                <a:gd name="T31" fmla="*/ 6 h 8"/>
                <a:gd name="T32" fmla="*/ 5 w 7"/>
                <a:gd name="T33" fmla="*/ 6 h 8"/>
                <a:gd name="T34" fmla="*/ 5 w 7"/>
                <a:gd name="T35" fmla="*/ 6 h 8"/>
                <a:gd name="T36" fmla="*/ 4 w 7"/>
                <a:gd name="T37" fmla="*/ 7 h 8"/>
                <a:gd name="T38" fmla="*/ 3 w 7"/>
                <a:gd name="T39" fmla="*/ 8 h 8"/>
                <a:gd name="T40" fmla="*/ 3 w 7"/>
                <a:gd name="T41" fmla="*/ 8 h 8"/>
                <a:gd name="T42" fmla="*/ 1 w 7"/>
                <a:gd name="T43" fmla="*/ 8 h 8"/>
                <a:gd name="T44" fmla="*/ 1 w 7"/>
                <a:gd name="T45" fmla="*/ 8 h 8"/>
                <a:gd name="T46" fmla="*/ 1 w 7"/>
                <a:gd name="T47" fmla="*/ 6 h 8"/>
                <a:gd name="T48" fmla="*/ 1 w 7"/>
                <a:gd name="T49" fmla="*/ 6 h 8"/>
                <a:gd name="T50" fmla="*/ 1 w 7"/>
                <a:gd name="T51" fmla="*/ 6 h 8"/>
                <a:gd name="T52" fmla="*/ 0 w 7"/>
                <a:gd name="T53" fmla="*/ 5 h 8"/>
                <a:gd name="T54" fmla="*/ 0 w 7"/>
                <a:gd name="T55" fmla="*/ 5 h 8"/>
                <a:gd name="T56" fmla="*/ 0 w 7"/>
                <a:gd name="T57" fmla="*/ 5 h 8"/>
                <a:gd name="T58" fmla="*/ 0 w 7"/>
                <a:gd name="T59" fmla="*/ 5 h 8"/>
                <a:gd name="T60" fmla="*/ 1 w 7"/>
                <a:gd name="T61" fmla="*/ 4 h 8"/>
                <a:gd name="T62" fmla="*/ 1 w 7"/>
                <a:gd name="T63" fmla="*/ 4 h 8"/>
                <a:gd name="T64" fmla="*/ 1 w 7"/>
                <a:gd name="T65" fmla="*/ 4 h 8"/>
                <a:gd name="T66" fmla="*/ 1 w 7"/>
                <a:gd name="T67" fmla="*/ 4 h 8"/>
                <a:gd name="T68" fmla="*/ 1 w 7"/>
                <a:gd name="T69" fmla="*/ 4 h 8"/>
                <a:gd name="T70" fmla="*/ 1 w 7"/>
                <a:gd name="T71" fmla="*/ 2 h 8"/>
                <a:gd name="T72" fmla="*/ 3 w 7"/>
                <a:gd name="T73" fmla="*/ 2 h 8"/>
                <a:gd name="T74" fmla="*/ 3 w 7"/>
                <a:gd name="T75" fmla="*/ 2 h 8"/>
                <a:gd name="T76" fmla="*/ 3 w 7"/>
                <a:gd name="T77" fmla="*/ 1 h 8"/>
                <a:gd name="T78" fmla="*/ 4 w 7"/>
                <a:gd name="T79" fmla="*/ 1 h 8"/>
                <a:gd name="T80" fmla="*/ 5 w 7"/>
                <a:gd name="T81" fmla="*/ 0 h 8"/>
                <a:gd name="T82" fmla="*/ 6 w 7"/>
                <a:gd name="T83" fmla="*/ 0 h 8"/>
                <a:gd name="T84" fmla="*/ 7 w 7"/>
                <a:gd name="T85" fmla="*/ 0 h 8"/>
                <a:gd name="T86" fmla="*/ 7 w 7"/>
                <a:gd name="T8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 h="8">
                  <a:moveTo>
                    <a:pt x="7" y="0"/>
                  </a:moveTo>
                  <a:lnTo>
                    <a:pt x="7" y="0"/>
                  </a:lnTo>
                  <a:lnTo>
                    <a:pt x="7" y="1"/>
                  </a:lnTo>
                  <a:lnTo>
                    <a:pt x="7" y="1"/>
                  </a:lnTo>
                  <a:lnTo>
                    <a:pt x="7" y="1"/>
                  </a:lnTo>
                  <a:lnTo>
                    <a:pt x="7" y="2"/>
                  </a:lnTo>
                  <a:lnTo>
                    <a:pt x="7" y="2"/>
                  </a:lnTo>
                  <a:lnTo>
                    <a:pt x="6" y="2"/>
                  </a:lnTo>
                  <a:lnTo>
                    <a:pt x="6" y="2"/>
                  </a:lnTo>
                  <a:lnTo>
                    <a:pt x="6" y="4"/>
                  </a:lnTo>
                  <a:lnTo>
                    <a:pt x="6" y="4"/>
                  </a:lnTo>
                  <a:lnTo>
                    <a:pt x="6" y="4"/>
                  </a:lnTo>
                  <a:lnTo>
                    <a:pt x="6" y="4"/>
                  </a:lnTo>
                  <a:lnTo>
                    <a:pt x="6" y="4"/>
                  </a:lnTo>
                  <a:lnTo>
                    <a:pt x="6" y="4"/>
                  </a:lnTo>
                  <a:lnTo>
                    <a:pt x="6" y="4"/>
                  </a:lnTo>
                  <a:lnTo>
                    <a:pt x="6" y="4"/>
                  </a:lnTo>
                  <a:lnTo>
                    <a:pt x="6" y="4"/>
                  </a:lnTo>
                  <a:lnTo>
                    <a:pt x="6" y="4"/>
                  </a:lnTo>
                  <a:lnTo>
                    <a:pt x="6" y="5"/>
                  </a:lnTo>
                  <a:lnTo>
                    <a:pt x="6" y="5"/>
                  </a:lnTo>
                  <a:lnTo>
                    <a:pt x="6" y="5"/>
                  </a:lnTo>
                  <a:lnTo>
                    <a:pt x="5" y="5"/>
                  </a:lnTo>
                  <a:lnTo>
                    <a:pt x="5" y="5"/>
                  </a:lnTo>
                  <a:lnTo>
                    <a:pt x="6" y="5"/>
                  </a:lnTo>
                  <a:lnTo>
                    <a:pt x="6" y="6"/>
                  </a:lnTo>
                  <a:lnTo>
                    <a:pt x="6" y="6"/>
                  </a:lnTo>
                  <a:lnTo>
                    <a:pt x="6" y="6"/>
                  </a:lnTo>
                  <a:lnTo>
                    <a:pt x="6" y="6"/>
                  </a:lnTo>
                  <a:lnTo>
                    <a:pt x="6" y="6"/>
                  </a:lnTo>
                  <a:lnTo>
                    <a:pt x="6" y="6"/>
                  </a:lnTo>
                  <a:lnTo>
                    <a:pt x="6" y="6"/>
                  </a:lnTo>
                  <a:lnTo>
                    <a:pt x="6" y="6"/>
                  </a:lnTo>
                  <a:lnTo>
                    <a:pt x="5" y="6"/>
                  </a:lnTo>
                  <a:lnTo>
                    <a:pt x="5" y="6"/>
                  </a:lnTo>
                  <a:lnTo>
                    <a:pt x="5" y="6"/>
                  </a:lnTo>
                  <a:lnTo>
                    <a:pt x="4" y="6"/>
                  </a:lnTo>
                  <a:lnTo>
                    <a:pt x="4" y="7"/>
                  </a:lnTo>
                  <a:lnTo>
                    <a:pt x="4" y="7"/>
                  </a:lnTo>
                  <a:lnTo>
                    <a:pt x="3" y="8"/>
                  </a:lnTo>
                  <a:lnTo>
                    <a:pt x="3" y="8"/>
                  </a:lnTo>
                  <a:lnTo>
                    <a:pt x="3" y="8"/>
                  </a:lnTo>
                  <a:lnTo>
                    <a:pt x="1" y="8"/>
                  </a:lnTo>
                  <a:lnTo>
                    <a:pt x="1" y="8"/>
                  </a:lnTo>
                  <a:lnTo>
                    <a:pt x="1" y="8"/>
                  </a:lnTo>
                  <a:lnTo>
                    <a:pt x="1" y="8"/>
                  </a:lnTo>
                  <a:lnTo>
                    <a:pt x="1" y="7"/>
                  </a:lnTo>
                  <a:lnTo>
                    <a:pt x="1" y="6"/>
                  </a:lnTo>
                  <a:lnTo>
                    <a:pt x="1" y="6"/>
                  </a:lnTo>
                  <a:lnTo>
                    <a:pt x="1" y="6"/>
                  </a:lnTo>
                  <a:lnTo>
                    <a:pt x="1" y="6"/>
                  </a:lnTo>
                  <a:lnTo>
                    <a:pt x="1" y="6"/>
                  </a:lnTo>
                  <a:lnTo>
                    <a:pt x="0" y="5"/>
                  </a:lnTo>
                  <a:lnTo>
                    <a:pt x="0" y="5"/>
                  </a:lnTo>
                  <a:lnTo>
                    <a:pt x="0" y="5"/>
                  </a:lnTo>
                  <a:lnTo>
                    <a:pt x="0" y="5"/>
                  </a:lnTo>
                  <a:lnTo>
                    <a:pt x="0" y="5"/>
                  </a:lnTo>
                  <a:lnTo>
                    <a:pt x="0" y="5"/>
                  </a:lnTo>
                  <a:lnTo>
                    <a:pt x="0" y="5"/>
                  </a:lnTo>
                  <a:lnTo>
                    <a:pt x="0" y="5"/>
                  </a:lnTo>
                  <a:lnTo>
                    <a:pt x="0" y="5"/>
                  </a:lnTo>
                  <a:lnTo>
                    <a:pt x="1" y="4"/>
                  </a:lnTo>
                  <a:lnTo>
                    <a:pt x="1" y="4"/>
                  </a:lnTo>
                  <a:lnTo>
                    <a:pt x="1" y="4"/>
                  </a:lnTo>
                  <a:lnTo>
                    <a:pt x="1" y="4"/>
                  </a:lnTo>
                  <a:lnTo>
                    <a:pt x="1" y="4"/>
                  </a:lnTo>
                  <a:lnTo>
                    <a:pt x="1" y="4"/>
                  </a:lnTo>
                  <a:lnTo>
                    <a:pt x="1" y="4"/>
                  </a:lnTo>
                  <a:lnTo>
                    <a:pt x="1" y="4"/>
                  </a:lnTo>
                  <a:lnTo>
                    <a:pt x="1" y="4"/>
                  </a:lnTo>
                  <a:lnTo>
                    <a:pt x="1" y="2"/>
                  </a:lnTo>
                  <a:lnTo>
                    <a:pt x="1" y="2"/>
                  </a:lnTo>
                  <a:lnTo>
                    <a:pt x="1" y="2"/>
                  </a:lnTo>
                  <a:lnTo>
                    <a:pt x="3" y="2"/>
                  </a:lnTo>
                  <a:lnTo>
                    <a:pt x="3" y="2"/>
                  </a:lnTo>
                  <a:lnTo>
                    <a:pt x="3" y="2"/>
                  </a:lnTo>
                  <a:lnTo>
                    <a:pt x="3" y="2"/>
                  </a:lnTo>
                  <a:lnTo>
                    <a:pt x="3" y="1"/>
                  </a:lnTo>
                  <a:lnTo>
                    <a:pt x="3" y="1"/>
                  </a:lnTo>
                  <a:lnTo>
                    <a:pt x="4" y="1"/>
                  </a:lnTo>
                  <a:lnTo>
                    <a:pt x="5" y="0"/>
                  </a:lnTo>
                  <a:lnTo>
                    <a:pt x="5" y="0"/>
                  </a:lnTo>
                  <a:lnTo>
                    <a:pt x="6" y="0"/>
                  </a:lnTo>
                  <a:lnTo>
                    <a:pt x="6" y="0"/>
                  </a:lnTo>
                  <a:lnTo>
                    <a:pt x="7" y="0"/>
                  </a:lnTo>
                  <a:lnTo>
                    <a:pt x="7" y="0"/>
                  </a:lnTo>
                  <a:lnTo>
                    <a:pt x="7" y="0"/>
                  </a:lnTo>
                  <a:lnTo>
                    <a:pt x="7" y="0"/>
                  </a:lnTo>
                  <a:lnTo>
                    <a:pt x="7"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98" name="Freeform 1263">
              <a:extLst>
                <a:ext uri="{FF2B5EF4-FFF2-40B4-BE49-F238E27FC236}">
                  <a16:creationId xmlns:a16="http://schemas.microsoft.com/office/drawing/2014/main" id="{39171157-F200-4D3A-B461-43394BC3113D}"/>
                </a:ext>
              </a:extLst>
            </p:cNvPr>
            <p:cNvSpPr>
              <a:spLocks/>
            </p:cNvSpPr>
            <p:nvPr/>
          </p:nvSpPr>
          <p:spPr bwMode="auto">
            <a:xfrm>
              <a:off x="6249810" y="2576616"/>
              <a:ext cx="1336" cy="2671"/>
            </a:xfrm>
            <a:custGeom>
              <a:avLst/>
              <a:gdLst>
                <a:gd name="T0" fmla="*/ 1 w 1"/>
                <a:gd name="T1" fmla="*/ 2 h 2"/>
                <a:gd name="T2" fmla="*/ 1 w 1"/>
                <a:gd name="T3" fmla="*/ 2 h 2"/>
                <a:gd name="T4" fmla="*/ 1 w 1"/>
                <a:gd name="T5" fmla="*/ 2 h 2"/>
                <a:gd name="T6" fmla="*/ 1 w 1"/>
                <a:gd name="T7" fmla="*/ 2 h 2"/>
                <a:gd name="T8" fmla="*/ 0 w 1"/>
                <a:gd name="T9" fmla="*/ 2 h 2"/>
                <a:gd name="T10" fmla="*/ 0 w 1"/>
                <a:gd name="T11" fmla="*/ 2 h 2"/>
                <a:gd name="T12" fmla="*/ 0 w 1"/>
                <a:gd name="T13" fmla="*/ 2 h 2"/>
                <a:gd name="T14" fmla="*/ 0 w 1"/>
                <a:gd name="T15" fmla="*/ 2 h 2"/>
                <a:gd name="T16" fmla="*/ 0 w 1"/>
                <a:gd name="T17" fmla="*/ 2 h 2"/>
                <a:gd name="T18" fmla="*/ 0 w 1"/>
                <a:gd name="T19" fmla="*/ 2 h 2"/>
                <a:gd name="T20" fmla="*/ 0 w 1"/>
                <a:gd name="T21" fmla="*/ 2 h 2"/>
                <a:gd name="T22" fmla="*/ 0 w 1"/>
                <a:gd name="T23" fmla="*/ 2 h 2"/>
                <a:gd name="T24" fmla="*/ 1 w 1"/>
                <a:gd name="T25" fmla="*/ 2 h 2"/>
                <a:gd name="T26" fmla="*/ 0 w 1"/>
                <a:gd name="T27" fmla="*/ 1 h 2"/>
                <a:gd name="T28" fmla="*/ 0 w 1"/>
                <a:gd name="T29" fmla="*/ 1 h 2"/>
                <a:gd name="T30" fmla="*/ 0 w 1"/>
                <a:gd name="T31" fmla="*/ 1 h 2"/>
                <a:gd name="T32" fmla="*/ 0 w 1"/>
                <a:gd name="T33" fmla="*/ 1 h 2"/>
                <a:gd name="T34" fmla="*/ 0 w 1"/>
                <a:gd name="T35" fmla="*/ 1 h 2"/>
                <a:gd name="T36" fmla="*/ 0 w 1"/>
                <a:gd name="T37" fmla="*/ 1 h 2"/>
                <a:gd name="T38" fmla="*/ 0 w 1"/>
                <a:gd name="T39" fmla="*/ 1 h 2"/>
                <a:gd name="T40" fmla="*/ 0 w 1"/>
                <a:gd name="T41" fmla="*/ 1 h 2"/>
                <a:gd name="T42" fmla="*/ 0 w 1"/>
                <a:gd name="T43" fmla="*/ 1 h 2"/>
                <a:gd name="T44" fmla="*/ 0 w 1"/>
                <a:gd name="T45" fmla="*/ 0 h 2"/>
                <a:gd name="T46" fmla="*/ 0 w 1"/>
                <a:gd name="T47" fmla="*/ 0 h 2"/>
                <a:gd name="T48" fmla="*/ 0 w 1"/>
                <a:gd name="T49" fmla="*/ 1 h 2"/>
                <a:gd name="T50" fmla="*/ 1 w 1"/>
                <a:gd name="T51" fmla="*/ 1 h 2"/>
                <a:gd name="T52" fmla="*/ 1 w 1"/>
                <a:gd name="T53" fmla="*/ 1 h 2"/>
                <a:gd name="T54" fmla="*/ 1 w 1"/>
                <a:gd name="T55" fmla="*/ 2 h 2"/>
                <a:gd name="T56" fmla="*/ 1 w 1"/>
                <a:gd name="T5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 h="2">
                  <a:moveTo>
                    <a:pt x="1" y="2"/>
                  </a:moveTo>
                  <a:lnTo>
                    <a:pt x="1" y="2"/>
                  </a:lnTo>
                  <a:lnTo>
                    <a:pt x="1" y="2"/>
                  </a:lnTo>
                  <a:lnTo>
                    <a:pt x="1" y="2"/>
                  </a:lnTo>
                  <a:lnTo>
                    <a:pt x="0" y="2"/>
                  </a:lnTo>
                  <a:lnTo>
                    <a:pt x="0" y="2"/>
                  </a:lnTo>
                  <a:lnTo>
                    <a:pt x="0" y="2"/>
                  </a:lnTo>
                  <a:lnTo>
                    <a:pt x="0" y="2"/>
                  </a:lnTo>
                  <a:lnTo>
                    <a:pt x="0" y="2"/>
                  </a:lnTo>
                  <a:lnTo>
                    <a:pt x="0" y="2"/>
                  </a:lnTo>
                  <a:lnTo>
                    <a:pt x="0" y="2"/>
                  </a:lnTo>
                  <a:lnTo>
                    <a:pt x="0" y="2"/>
                  </a:lnTo>
                  <a:lnTo>
                    <a:pt x="1" y="2"/>
                  </a:lnTo>
                  <a:lnTo>
                    <a:pt x="0" y="1"/>
                  </a:lnTo>
                  <a:lnTo>
                    <a:pt x="0" y="1"/>
                  </a:lnTo>
                  <a:lnTo>
                    <a:pt x="0" y="1"/>
                  </a:lnTo>
                  <a:lnTo>
                    <a:pt x="0" y="1"/>
                  </a:lnTo>
                  <a:lnTo>
                    <a:pt x="0" y="1"/>
                  </a:lnTo>
                  <a:lnTo>
                    <a:pt x="0" y="1"/>
                  </a:lnTo>
                  <a:lnTo>
                    <a:pt x="0" y="1"/>
                  </a:lnTo>
                  <a:lnTo>
                    <a:pt x="0" y="1"/>
                  </a:lnTo>
                  <a:lnTo>
                    <a:pt x="0" y="1"/>
                  </a:lnTo>
                  <a:lnTo>
                    <a:pt x="0" y="0"/>
                  </a:lnTo>
                  <a:lnTo>
                    <a:pt x="0" y="0"/>
                  </a:lnTo>
                  <a:lnTo>
                    <a:pt x="0" y="1"/>
                  </a:lnTo>
                  <a:lnTo>
                    <a:pt x="1" y="1"/>
                  </a:lnTo>
                  <a:lnTo>
                    <a:pt x="1" y="1"/>
                  </a:lnTo>
                  <a:lnTo>
                    <a:pt x="1" y="2"/>
                  </a:lnTo>
                  <a:lnTo>
                    <a:pt x="1"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499" name="Freeform 1264">
              <a:extLst>
                <a:ext uri="{FF2B5EF4-FFF2-40B4-BE49-F238E27FC236}">
                  <a16:creationId xmlns:a16="http://schemas.microsoft.com/office/drawing/2014/main" id="{7F06A14C-AC70-4D4E-90CD-21E7BED3E53C}"/>
                </a:ext>
              </a:extLst>
            </p:cNvPr>
            <p:cNvSpPr>
              <a:spLocks/>
            </p:cNvSpPr>
            <p:nvPr/>
          </p:nvSpPr>
          <p:spPr bwMode="auto">
            <a:xfrm>
              <a:off x="6281861" y="2576616"/>
              <a:ext cx="4007" cy="2671"/>
            </a:xfrm>
            <a:custGeom>
              <a:avLst/>
              <a:gdLst>
                <a:gd name="T0" fmla="*/ 2 w 3"/>
                <a:gd name="T1" fmla="*/ 1 h 2"/>
                <a:gd name="T2" fmla="*/ 2 w 3"/>
                <a:gd name="T3" fmla="*/ 1 h 2"/>
                <a:gd name="T4" fmla="*/ 2 w 3"/>
                <a:gd name="T5" fmla="*/ 1 h 2"/>
                <a:gd name="T6" fmla="*/ 2 w 3"/>
                <a:gd name="T7" fmla="*/ 1 h 2"/>
                <a:gd name="T8" fmla="*/ 3 w 3"/>
                <a:gd name="T9" fmla="*/ 1 h 2"/>
                <a:gd name="T10" fmla="*/ 3 w 3"/>
                <a:gd name="T11" fmla="*/ 1 h 2"/>
                <a:gd name="T12" fmla="*/ 3 w 3"/>
                <a:gd name="T13" fmla="*/ 1 h 2"/>
                <a:gd name="T14" fmla="*/ 3 w 3"/>
                <a:gd name="T15" fmla="*/ 1 h 2"/>
                <a:gd name="T16" fmla="*/ 3 w 3"/>
                <a:gd name="T17" fmla="*/ 1 h 2"/>
                <a:gd name="T18" fmla="*/ 3 w 3"/>
                <a:gd name="T19" fmla="*/ 1 h 2"/>
                <a:gd name="T20" fmla="*/ 3 w 3"/>
                <a:gd name="T21" fmla="*/ 2 h 2"/>
                <a:gd name="T22" fmla="*/ 3 w 3"/>
                <a:gd name="T23" fmla="*/ 2 h 2"/>
                <a:gd name="T24" fmla="*/ 3 w 3"/>
                <a:gd name="T25" fmla="*/ 2 h 2"/>
                <a:gd name="T26" fmla="*/ 3 w 3"/>
                <a:gd name="T27" fmla="*/ 2 h 2"/>
                <a:gd name="T28" fmla="*/ 3 w 3"/>
                <a:gd name="T29" fmla="*/ 2 h 2"/>
                <a:gd name="T30" fmla="*/ 2 w 3"/>
                <a:gd name="T31" fmla="*/ 2 h 2"/>
                <a:gd name="T32" fmla="*/ 2 w 3"/>
                <a:gd name="T33" fmla="*/ 2 h 2"/>
                <a:gd name="T34" fmla="*/ 2 w 3"/>
                <a:gd name="T35" fmla="*/ 2 h 2"/>
                <a:gd name="T36" fmla="*/ 2 w 3"/>
                <a:gd name="T37" fmla="*/ 1 h 2"/>
                <a:gd name="T38" fmla="*/ 2 w 3"/>
                <a:gd name="T39" fmla="*/ 1 h 2"/>
                <a:gd name="T40" fmla="*/ 2 w 3"/>
                <a:gd name="T41" fmla="*/ 1 h 2"/>
                <a:gd name="T42" fmla="*/ 2 w 3"/>
                <a:gd name="T43" fmla="*/ 1 h 2"/>
                <a:gd name="T44" fmla="*/ 2 w 3"/>
                <a:gd name="T45" fmla="*/ 1 h 2"/>
                <a:gd name="T46" fmla="*/ 2 w 3"/>
                <a:gd name="T47" fmla="*/ 1 h 2"/>
                <a:gd name="T48" fmla="*/ 2 w 3"/>
                <a:gd name="T49" fmla="*/ 1 h 2"/>
                <a:gd name="T50" fmla="*/ 2 w 3"/>
                <a:gd name="T51" fmla="*/ 1 h 2"/>
                <a:gd name="T52" fmla="*/ 0 w 3"/>
                <a:gd name="T53" fmla="*/ 1 h 2"/>
                <a:gd name="T54" fmla="*/ 0 w 3"/>
                <a:gd name="T55" fmla="*/ 1 h 2"/>
                <a:gd name="T56" fmla="*/ 0 w 3"/>
                <a:gd name="T57" fmla="*/ 1 h 2"/>
                <a:gd name="T58" fmla="*/ 0 w 3"/>
                <a:gd name="T59" fmla="*/ 1 h 2"/>
                <a:gd name="T60" fmla="*/ 0 w 3"/>
                <a:gd name="T61" fmla="*/ 1 h 2"/>
                <a:gd name="T62" fmla="*/ 0 w 3"/>
                <a:gd name="T63" fmla="*/ 1 h 2"/>
                <a:gd name="T64" fmla="*/ 2 w 3"/>
                <a:gd name="T65" fmla="*/ 1 h 2"/>
                <a:gd name="T66" fmla="*/ 2 w 3"/>
                <a:gd name="T67" fmla="*/ 1 h 2"/>
                <a:gd name="T68" fmla="*/ 2 w 3"/>
                <a:gd name="T69" fmla="*/ 0 h 2"/>
                <a:gd name="T70" fmla="*/ 2 w 3"/>
                <a:gd name="T7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 h="2">
                  <a:moveTo>
                    <a:pt x="2" y="1"/>
                  </a:moveTo>
                  <a:lnTo>
                    <a:pt x="2" y="1"/>
                  </a:lnTo>
                  <a:lnTo>
                    <a:pt x="2" y="1"/>
                  </a:lnTo>
                  <a:lnTo>
                    <a:pt x="2" y="1"/>
                  </a:lnTo>
                  <a:lnTo>
                    <a:pt x="3" y="1"/>
                  </a:lnTo>
                  <a:lnTo>
                    <a:pt x="3" y="1"/>
                  </a:lnTo>
                  <a:lnTo>
                    <a:pt x="3" y="1"/>
                  </a:lnTo>
                  <a:lnTo>
                    <a:pt x="3" y="1"/>
                  </a:lnTo>
                  <a:lnTo>
                    <a:pt x="3" y="1"/>
                  </a:lnTo>
                  <a:lnTo>
                    <a:pt x="3" y="1"/>
                  </a:lnTo>
                  <a:lnTo>
                    <a:pt x="3" y="2"/>
                  </a:lnTo>
                  <a:lnTo>
                    <a:pt x="3" y="2"/>
                  </a:lnTo>
                  <a:lnTo>
                    <a:pt x="3" y="2"/>
                  </a:lnTo>
                  <a:lnTo>
                    <a:pt x="3" y="2"/>
                  </a:lnTo>
                  <a:lnTo>
                    <a:pt x="3" y="2"/>
                  </a:lnTo>
                  <a:lnTo>
                    <a:pt x="2" y="2"/>
                  </a:lnTo>
                  <a:lnTo>
                    <a:pt x="2" y="2"/>
                  </a:lnTo>
                  <a:lnTo>
                    <a:pt x="2" y="2"/>
                  </a:lnTo>
                  <a:lnTo>
                    <a:pt x="2" y="1"/>
                  </a:lnTo>
                  <a:lnTo>
                    <a:pt x="2" y="1"/>
                  </a:lnTo>
                  <a:lnTo>
                    <a:pt x="2" y="1"/>
                  </a:lnTo>
                  <a:lnTo>
                    <a:pt x="2" y="1"/>
                  </a:lnTo>
                  <a:lnTo>
                    <a:pt x="2" y="1"/>
                  </a:lnTo>
                  <a:lnTo>
                    <a:pt x="2" y="1"/>
                  </a:lnTo>
                  <a:lnTo>
                    <a:pt x="2" y="1"/>
                  </a:lnTo>
                  <a:lnTo>
                    <a:pt x="2" y="1"/>
                  </a:lnTo>
                  <a:lnTo>
                    <a:pt x="0" y="1"/>
                  </a:lnTo>
                  <a:lnTo>
                    <a:pt x="0" y="1"/>
                  </a:lnTo>
                  <a:lnTo>
                    <a:pt x="0" y="1"/>
                  </a:lnTo>
                  <a:lnTo>
                    <a:pt x="0" y="1"/>
                  </a:lnTo>
                  <a:lnTo>
                    <a:pt x="0" y="1"/>
                  </a:lnTo>
                  <a:lnTo>
                    <a:pt x="0" y="1"/>
                  </a:lnTo>
                  <a:lnTo>
                    <a:pt x="2" y="1"/>
                  </a:lnTo>
                  <a:lnTo>
                    <a:pt x="2" y="1"/>
                  </a:lnTo>
                  <a:lnTo>
                    <a:pt x="2" y="0"/>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00" name="Freeform 1265">
              <a:extLst>
                <a:ext uri="{FF2B5EF4-FFF2-40B4-BE49-F238E27FC236}">
                  <a16:creationId xmlns:a16="http://schemas.microsoft.com/office/drawing/2014/main" id="{17F3360C-ADE5-4C38-9608-F4FCC3975FAF}"/>
                </a:ext>
              </a:extLst>
            </p:cNvPr>
            <p:cNvSpPr>
              <a:spLocks/>
            </p:cNvSpPr>
            <p:nvPr/>
          </p:nvSpPr>
          <p:spPr bwMode="auto">
            <a:xfrm>
              <a:off x="6279190" y="2575280"/>
              <a:ext cx="1336" cy="0"/>
            </a:xfrm>
            <a:custGeom>
              <a:avLst/>
              <a:gdLst>
                <a:gd name="T0" fmla="*/ 1 w 1"/>
                <a:gd name="T1" fmla="*/ 1 w 1"/>
                <a:gd name="T2" fmla="*/ 0 w 1"/>
                <a:gd name="T3" fmla="*/ 0 w 1"/>
                <a:gd name="T4" fmla="*/ 0 w 1"/>
                <a:gd name="T5" fmla="*/ 0 w 1"/>
                <a:gd name="T6" fmla="*/ 1 w 1"/>
                <a:gd name="T7" fmla="*/ 1 w 1"/>
                <a:gd name="T8" fmla="*/ 1 w 1"/>
                <a:gd name="T9" fmla="*/ 1 w 1"/>
                <a:gd name="T10" fmla="*/ 1 w 1"/>
                <a:gd name="T11"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1">
                  <a:moveTo>
                    <a:pt x="1" y="0"/>
                  </a:moveTo>
                  <a:lnTo>
                    <a:pt x="1" y="0"/>
                  </a:lnTo>
                  <a:lnTo>
                    <a:pt x="0" y="0"/>
                  </a:lnTo>
                  <a:lnTo>
                    <a:pt x="0" y="0"/>
                  </a:lnTo>
                  <a:lnTo>
                    <a:pt x="0" y="0"/>
                  </a:lnTo>
                  <a:lnTo>
                    <a:pt x="0"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01" name="Freeform 1266">
              <a:extLst>
                <a:ext uri="{FF2B5EF4-FFF2-40B4-BE49-F238E27FC236}">
                  <a16:creationId xmlns:a16="http://schemas.microsoft.com/office/drawing/2014/main" id="{95C18ED0-791A-494D-9F96-CBA4F7BF58FE}"/>
                </a:ext>
              </a:extLst>
            </p:cNvPr>
            <p:cNvSpPr>
              <a:spLocks/>
            </p:cNvSpPr>
            <p:nvPr/>
          </p:nvSpPr>
          <p:spPr bwMode="auto">
            <a:xfrm>
              <a:off x="6265836" y="2573945"/>
              <a:ext cx="2671" cy="2671"/>
            </a:xfrm>
            <a:custGeom>
              <a:avLst/>
              <a:gdLst>
                <a:gd name="T0" fmla="*/ 2 w 2"/>
                <a:gd name="T1" fmla="*/ 1 h 2"/>
                <a:gd name="T2" fmla="*/ 2 w 2"/>
                <a:gd name="T3" fmla="*/ 1 h 2"/>
                <a:gd name="T4" fmla="*/ 2 w 2"/>
                <a:gd name="T5" fmla="*/ 1 h 2"/>
                <a:gd name="T6" fmla="*/ 2 w 2"/>
                <a:gd name="T7" fmla="*/ 1 h 2"/>
                <a:gd name="T8" fmla="*/ 2 w 2"/>
                <a:gd name="T9" fmla="*/ 1 h 2"/>
                <a:gd name="T10" fmla="*/ 2 w 2"/>
                <a:gd name="T11" fmla="*/ 1 h 2"/>
                <a:gd name="T12" fmla="*/ 1 w 2"/>
                <a:gd name="T13" fmla="*/ 1 h 2"/>
                <a:gd name="T14" fmla="*/ 1 w 2"/>
                <a:gd name="T15" fmla="*/ 1 h 2"/>
                <a:gd name="T16" fmla="*/ 1 w 2"/>
                <a:gd name="T17" fmla="*/ 1 h 2"/>
                <a:gd name="T18" fmla="*/ 1 w 2"/>
                <a:gd name="T19" fmla="*/ 1 h 2"/>
                <a:gd name="T20" fmla="*/ 1 w 2"/>
                <a:gd name="T21" fmla="*/ 1 h 2"/>
                <a:gd name="T22" fmla="*/ 1 w 2"/>
                <a:gd name="T23" fmla="*/ 2 h 2"/>
                <a:gd name="T24" fmla="*/ 1 w 2"/>
                <a:gd name="T25" fmla="*/ 2 h 2"/>
                <a:gd name="T26" fmla="*/ 1 w 2"/>
                <a:gd name="T27" fmla="*/ 2 h 2"/>
                <a:gd name="T28" fmla="*/ 1 w 2"/>
                <a:gd name="T29" fmla="*/ 2 h 2"/>
                <a:gd name="T30" fmla="*/ 0 w 2"/>
                <a:gd name="T31" fmla="*/ 2 h 2"/>
                <a:gd name="T32" fmla="*/ 0 w 2"/>
                <a:gd name="T33" fmla="*/ 2 h 2"/>
                <a:gd name="T34" fmla="*/ 0 w 2"/>
                <a:gd name="T35" fmla="*/ 2 h 2"/>
                <a:gd name="T36" fmla="*/ 0 w 2"/>
                <a:gd name="T37" fmla="*/ 2 h 2"/>
                <a:gd name="T38" fmla="*/ 0 w 2"/>
                <a:gd name="T39" fmla="*/ 1 h 2"/>
                <a:gd name="T40" fmla="*/ 0 w 2"/>
                <a:gd name="T41" fmla="*/ 1 h 2"/>
                <a:gd name="T42" fmla="*/ 0 w 2"/>
                <a:gd name="T43" fmla="*/ 1 h 2"/>
                <a:gd name="T44" fmla="*/ 0 w 2"/>
                <a:gd name="T45" fmla="*/ 1 h 2"/>
                <a:gd name="T46" fmla="*/ 0 w 2"/>
                <a:gd name="T47" fmla="*/ 1 h 2"/>
                <a:gd name="T48" fmla="*/ 0 w 2"/>
                <a:gd name="T49" fmla="*/ 1 h 2"/>
                <a:gd name="T50" fmla="*/ 0 w 2"/>
                <a:gd name="T51" fmla="*/ 1 h 2"/>
                <a:gd name="T52" fmla="*/ 0 w 2"/>
                <a:gd name="T53" fmla="*/ 1 h 2"/>
                <a:gd name="T54" fmla="*/ 0 w 2"/>
                <a:gd name="T55" fmla="*/ 1 h 2"/>
                <a:gd name="T56" fmla="*/ 0 w 2"/>
                <a:gd name="T57" fmla="*/ 1 h 2"/>
                <a:gd name="T58" fmla="*/ 0 w 2"/>
                <a:gd name="T59" fmla="*/ 1 h 2"/>
                <a:gd name="T60" fmla="*/ 1 w 2"/>
                <a:gd name="T61" fmla="*/ 1 h 2"/>
                <a:gd name="T62" fmla="*/ 1 w 2"/>
                <a:gd name="T63" fmla="*/ 1 h 2"/>
                <a:gd name="T64" fmla="*/ 1 w 2"/>
                <a:gd name="T65" fmla="*/ 1 h 2"/>
                <a:gd name="T66" fmla="*/ 1 w 2"/>
                <a:gd name="T67" fmla="*/ 1 h 2"/>
                <a:gd name="T68" fmla="*/ 1 w 2"/>
                <a:gd name="T69" fmla="*/ 1 h 2"/>
                <a:gd name="T70" fmla="*/ 1 w 2"/>
                <a:gd name="T71" fmla="*/ 1 h 2"/>
                <a:gd name="T72" fmla="*/ 1 w 2"/>
                <a:gd name="T73" fmla="*/ 1 h 2"/>
                <a:gd name="T74" fmla="*/ 1 w 2"/>
                <a:gd name="T75" fmla="*/ 1 h 2"/>
                <a:gd name="T76" fmla="*/ 1 w 2"/>
                <a:gd name="T77" fmla="*/ 1 h 2"/>
                <a:gd name="T78" fmla="*/ 1 w 2"/>
                <a:gd name="T79" fmla="*/ 1 h 2"/>
                <a:gd name="T80" fmla="*/ 1 w 2"/>
                <a:gd name="T81" fmla="*/ 1 h 2"/>
                <a:gd name="T82" fmla="*/ 1 w 2"/>
                <a:gd name="T83" fmla="*/ 1 h 2"/>
                <a:gd name="T84" fmla="*/ 1 w 2"/>
                <a:gd name="T85" fmla="*/ 0 h 2"/>
                <a:gd name="T86" fmla="*/ 1 w 2"/>
                <a:gd name="T87" fmla="*/ 0 h 2"/>
                <a:gd name="T88" fmla="*/ 1 w 2"/>
                <a:gd name="T89" fmla="*/ 0 h 2"/>
                <a:gd name="T90" fmla="*/ 1 w 2"/>
                <a:gd name="T91" fmla="*/ 0 h 2"/>
                <a:gd name="T92" fmla="*/ 1 w 2"/>
                <a:gd name="T93" fmla="*/ 1 h 2"/>
                <a:gd name="T94" fmla="*/ 2 w 2"/>
                <a:gd name="T9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 h="2">
                  <a:moveTo>
                    <a:pt x="2" y="1"/>
                  </a:moveTo>
                  <a:lnTo>
                    <a:pt x="2" y="1"/>
                  </a:lnTo>
                  <a:lnTo>
                    <a:pt x="2" y="1"/>
                  </a:lnTo>
                  <a:lnTo>
                    <a:pt x="2" y="1"/>
                  </a:lnTo>
                  <a:lnTo>
                    <a:pt x="2" y="1"/>
                  </a:lnTo>
                  <a:lnTo>
                    <a:pt x="2" y="1"/>
                  </a:lnTo>
                  <a:lnTo>
                    <a:pt x="1" y="1"/>
                  </a:lnTo>
                  <a:lnTo>
                    <a:pt x="1" y="1"/>
                  </a:lnTo>
                  <a:lnTo>
                    <a:pt x="1" y="1"/>
                  </a:lnTo>
                  <a:lnTo>
                    <a:pt x="1" y="1"/>
                  </a:lnTo>
                  <a:lnTo>
                    <a:pt x="1" y="1"/>
                  </a:lnTo>
                  <a:lnTo>
                    <a:pt x="1" y="2"/>
                  </a:lnTo>
                  <a:lnTo>
                    <a:pt x="1" y="2"/>
                  </a:lnTo>
                  <a:lnTo>
                    <a:pt x="1" y="2"/>
                  </a:lnTo>
                  <a:lnTo>
                    <a:pt x="1" y="2"/>
                  </a:lnTo>
                  <a:lnTo>
                    <a:pt x="0" y="2"/>
                  </a:lnTo>
                  <a:lnTo>
                    <a:pt x="0" y="2"/>
                  </a:lnTo>
                  <a:lnTo>
                    <a:pt x="0" y="2"/>
                  </a:lnTo>
                  <a:lnTo>
                    <a:pt x="0" y="2"/>
                  </a:lnTo>
                  <a:lnTo>
                    <a:pt x="0" y="1"/>
                  </a:lnTo>
                  <a:lnTo>
                    <a:pt x="0" y="1"/>
                  </a:lnTo>
                  <a:lnTo>
                    <a:pt x="0" y="1"/>
                  </a:lnTo>
                  <a:lnTo>
                    <a:pt x="0" y="1"/>
                  </a:lnTo>
                  <a:lnTo>
                    <a:pt x="0" y="1"/>
                  </a:lnTo>
                  <a:lnTo>
                    <a:pt x="0" y="1"/>
                  </a:lnTo>
                  <a:lnTo>
                    <a:pt x="0" y="1"/>
                  </a:lnTo>
                  <a:lnTo>
                    <a:pt x="0" y="1"/>
                  </a:lnTo>
                  <a:lnTo>
                    <a:pt x="0" y="1"/>
                  </a:lnTo>
                  <a:lnTo>
                    <a:pt x="0" y="1"/>
                  </a:lnTo>
                  <a:lnTo>
                    <a:pt x="0"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0"/>
                  </a:lnTo>
                  <a:lnTo>
                    <a:pt x="1" y="0"/>
                  </a:lnTo>
                  <a:lnTo>
                    <a:pt x="1" y="0"/>
                  </a:lnTo>
                  <a:lnTo>
                    <a:pt x="1" y="0"/>
                  </a:lnTo>
                  <a:lnTo>
                    <a:pt x="1" y="1"/>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02" name="Freeform 1267">
              <a:extLst>
                <a:ext uri="{FF2B5EF4-FFF2-40B4-BE49-F238E27FC236}">
                  <a16:creationId xmlns:a16="http://schemas.microsoft.com/office/drawing/2014/main" id="{5A430AD1-5585-406A-B2BA-237C63415EF6}"/>
                </a:ext>
              </a:extLst>
            </p:cNvPr>
            <p:cNvSpPr>
              <a:spLocks/>
            </p:cNvSpPr>
            <p:nvPr/>
          </p:nvSpPr>
          <p:spPr bwMode="auto">
            <a:xfrm>
              <a:off x="6289874" y="2573945"/>
              <a:ext cx="4007" cy="2671"/>
            </a:xfrm>
            <a:custGeom>
              <a:avLst/>
              <a:gdLst>
                <a:gd name="T0" fmla="*/ 1 w 3"/>
                <a:gd name="T1" fmla="*/ 0 h 2"/>
                <a:gd name="T2" fmla="*/ 1 w 3"/>
                <a:gd name="T3" fmla="*/ 1 h 2"/>
                <a:gd name="T4" fmla="*/ 1 w 3"/>
                <a:gd name="T5" fmla="*/ 1 h 2"/>
                <a:gd name="T6" fmla="*/ 1 w 3"/>
                <a:gd name="T7" fmla="*/ 1 h 2"/>
                <a:gd name="T8" fmla="*/ 1 w 3"/>
                <a:gd name="T9" fmla="*/ 1 h 2"/>
                <a:gd name="T10" fmla="*/ 3 w 3"/>
                <a:gd name="T11" fmla="*/ 0 h 2"/>
                <a:gd name="T12" fmla="*/ 3 w 3"/>
                <a:gd name="T13" fmla="*/ 1 h 2"/>
                <a:gd name="T14" fmla="*/ 3 w 3"/>
                <a:gd name="T15" fmla="*/ 1 h 2"/>
                <a:gd name="T16" fmla="*/ 3 w 3"/>
                <a:gd name="T17" fmla="*/ 1 h 2"/>
                <a:gd name="T18" fmla="*/ 3 w 3"/>
                <a:gd name="T19" fmla="*/ 1 h 2"/>
                <a:gd name="T20" fmla="*/ 3 w 3"/>
                <a:gd name="T21" fmla="*/ 1 h 2"/>
                <a:gd name="T22" fmla="*/ 3 w 3"/>
                <a:gd name="T23" fmla="*/ 1 h 2"/>
                <a:gd name="T24" fmla="*/ 1 w 3"/>
                <a:gd name="T25" fmla="*/ 1 h 2"/>
                <a:gd name="T26" fmla="*/ 1 w 3"/>
                <a:gd name="T27" fmla="*/ 1 h 2"/>
                <a:gd name="T28" fmla="*/ 3 w 3"/>
                <a:gd name="T29" fmla="*/ 1 h 2"/>
                <a:gd name="T30" fmla="*/ 3 w 3"/>
                <a:gd name="T31" fmla="*/ 1 h 2"/>
                <a:gd name="T32" fmla="*/ 3 w 3"/>
                <a:gd name="T33" fmla="*/ 1 h 2"/>
                <a:gd name="T34" fmla="*/ 3 w 3"/>
                <a:gd name="T35" fmla="*/ 1 h 2"/>
                <a:gd name="T36" fmla="*/ 3 w 3"/>
                <a:gd name="T37" fmla="*/ 1 h 2"/>
                <a:gd name="T38" fmla="*/ 3 w 3"/>
                <a:gd name="T39" fmla="*/ 1 h 2"/>
                <a:gd name="T40" fmla="*/ 3 w 3"/>
                <a:gd name="T41" fmla="*/ 1 h 2"/>
                <a:gd name="T42" fmla="*/ 3 w 3"/>
                <a:gd name="T43" fmla="*/ 1 h 2"/>
                <a:gd name="T44" fmla="*/ 3 w 3"/>
                <a:gd name="T45" fmla="*/ 1 h 2"/>
                <a:gd name="T46" fmla="*/ 3 w 3"/>
                <a:gd name="T47" fmla="*/ 1 h 2"/>
                <a:gd name="T48" fmla="*/ 3 w 3"/>
                <a:gd name="T49" fmla="*/ 1 h 2"/>
                <a:gd name="T50" fmla="*/ 3 w 3"/>
                <a:gd name="T51" fmla="*/ 2 h 2"/>
                <a:gd name="T52" fmla="*/ 3 w 3"/>
                <a:gd name="T53" fmla="*/ 2 h 2"/>
                <a:gd name="T54" fmla="*/ 1 w 3"/>
                <a:gd name="T55" fmla="*/ 2 h 2"/>
                <a:gd name="T56" fmla="*/ 1 w 3"/>
                <a:gd name="T57" fmla="*/ 2 h 2"/>
                <a:gd name="T58" fmla="*/ 1 w 3"/>
                <a:gd name="T59" fmla="*/ 2 h 2"/>
                <a:gd name="T60" fmla="*/ 1 w 3"/>
                <a:gd name="T61" fmla="*/ 2 h 2"/>
                <a:gd name="T62" fmla="*/ 1 w 3"/>
                <a:gd name="T63" fmla="*/ 2 h 2"/>
                <a:gd name="T64" fmla="*/ 1 w 3"/>
                <a:gd name="T65" fmla="*/ 2 h 2"/>
                <a:gd name="T66" fmla="*/ 1 w 3"/>
                <a:gd name="T67" fmla="*/ 2 h 2"/>
                <a:gd name="T68" fmla="*/ 1 w 3"/>
                <a:gd name="T69" fmla="*/ 1 h 2"/>
                <a:gd name="T70" fmla="*/ 1 w 3"/>
                <a:gd name="T71" fmla="*/ 1 h 2"/>
                <a:gd name="T72" fmla="*/ 1 w 3"/>
                <a:gd name="T73" fmla="*/ 1 h 2"/>
                <a:gd name="T74" fmla="*/ 0 w 3"/>
                <a:gd name="T75" fmla="*/ 1 h 2"/>
                <a:gd name="T76" fmla="*/ 0 w 3"/>
                <a:gd name="T77" fmla="*/ 1 h 2"/>
                <a:gd name="T78" fmla="*/ 1 w 3"/>
                <a:gd name="T79" fmla="*/ 1 h 2"/>
                <a:gd name="T80" fmla="*/ 1 w 3"/>
                <a:gd name="T81" fmla="*/ 1 h 2"/>
                <a:gd name="T82" fmla="*/ 1 w 3"/>
                <a:gd name="T83" fmla="*/ 1 h 2"/>
                <a:gd name="T84" fmla="*/ 1 w 3"/>
                <a:gd name="T85" fmla="*/ 1 h 2"/>
                <a:gd name="T86" fmla="*/ 1 w 3"/>
                <a:gd name="T87" fmla="*/ 1 h 2"/>
                <a:gd name="T88" fmla="*/ 1 w 3"/>
                <a:gd name="T89" fmla="*/ 0 h 2"/>
                <a:gd name="T90" fmla="*/ 1 w 3"/>
                <a:gd name="T91" fmla="*/ 1 h 2"/>
                <a:gd name="T92" fmla="*/ 1 w 3"/>
                <a:gd name="T93" fmla="*/ 0 h 2"/>
                <a:gd name="T94" fmla="*/ 1 w 3"/>
                <a:gd name="T95" fmla="*/ 0 h 2"/>
                <a:gd name="T96" fmla="*/ 1 w 3"/>
                <a:gd name="T97" fmla="*/ 0 h 2"/>
                <a:gd name="T98" fmla="*/ 1 w 3"/>
                <a:gd name="T99" fmla="*/ 0 h 2"/>
                <a:gd name="T100" fmla="*/ 1 w 3"/>
                <a:gd name="T101" fmla="*/ 0 h 2"/>
                <a:gd name="T102" fmla="*/ 1 w 3"/>
                <a:gd name="T10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 h="2">
                  <a:moveTo>
                    <a:pt x="1" y="0"/>
                  </a:moveTo>
                  <a:lnTo>
                    <a:pt x="1" y="1"/>
                  </a:lnTo>
                  <a:lnTo>
                    <a:pt x="1" y="1"/>
                  </a:lnTo>
                  <a:lnTo>
                    <a:pt x="1" y="1"/>
                  </a:lnTo>
                  <a:lnTo>
                    <a:pt x="1" y="1"/>
                  </a:lnTo>
                  <a:lnTo>
                    <a:pt x="3" y="0"/>
                  </a:lnTo>
                  <a:lnTo>
                    <a:pt x="3" y="1"/>
                  </a:lnTo>
                  <a:lnTo>
                    <a:pt x="3" y="1"/>
                  </a:lnTo>
                  <a:lnTo>
                    <a:pt x="3" y="1"/>
                  </a:lnTo>
                  <a:lnTo>
                    <a:pt x="3" y="1"/>
                  </a:lnTo>
                  <a:lnTo>
                    <a:pt x="3" y="1"/>
                  </a:lnTo>
                  <a:lnTo>
                    <a:pt x="3" y="1"/>
                  </a:lnTo>
                  <a:lnTo>
                    <a:pt x="1" y="1"/>
                  </a:lnTo>
                  <a:lnTo>
                    <a:pt x="1" y="1"/>
                  </a:lnTo>
                  <a:lnTo>
                    <a:pt x="3" y="1"/>
                  </a:lnTo>
                  <a:lnTo>
                    <a:pt x="3" y="1"/>
                  </a:lnTo>
                  <a:lnTo>
                    <a:pt x="3" y="1"/>
                  </a:lnTo>
                  <a:lnTo>
                    <a:pt x="3" y="1"/>
                  </a:lnTo>
                  <a:lnTo>
                    <a:pt x="3" y="1"/>
                  </a:lnTo>
                  <a:lnTo>
                    <a:pt x="3" y="1"/>
                  </a:lnTo>
                  <a:lnTo>
                    <a:pt x="3" y="1"/>
                  </a:lnTo>
                  <a:lnTo>
                    <a:pt x="3" y="1"/>
                  </a:lnTo>
                  <a:lnTo>
                    <a:pt x="3" y="1"/>
                  </a:lnTo>
                  <a:lnTo>
                    <a:pt x="3" y="1"/>
                  </a:lnTo>
                  <a:lnTo>
                    <a:pt x="3" y="1"/>
                  </a:lnTo>
                  <a:lnTo>
                    <a:pt x="3" y="2"/>
                  </a:lnTo>
                  <a:lnTo>
                    <a:pt x="3" y="2"/>
                  </a:lnTo>
                  <a:lnTo>
                    <a:pt x="1" y="2"/>
                  </a:lnTo>
                  <a:lnTo>
                    <a:pt x="1" y="2"/>
                  </a:lnTo>
                  <a:lnTo>
                    <a:pt x="1" y="2"/>
                  </a:lnTo>
                  <a:lnTo>
                    <a:pt x="1" y="2"/>
                  </a:lnTo>
                  <a:lnTo>
                    <a:pt x="1" y="2"/>
                  </a:lnTo>
                  <a:lnTo>
                    <a:pt x="1" y="2"/>
                  </a:lnTo>
                  <a:lnTo>
                    <a:pt x="1" y="2"/>
                  </a:lnTo>
                  <a:lnTo>
                    <a:pt x="1" y="1"/>
                  </a:lnTo>
                  <a:lnTo>
                    <a:pt x="1" y="1"/>
                  </a:lnTo>
                  <a:lnTo>
                    <a:pt x="1" y="1"/>
                  </a:lnTo>
                  <a:lnTo>
                    <a:pt x="0" y="1"/>
                  </a:lnTo>
                  <a:lnTo>
                    <a:pt x="0" y="1"/>
                  </a:lnTo>
                  <a:lnTo>
                    <a:pt x="1" y="1"/>
                  </a:lnTo>
                  <a:lnTo>
                    <a:pt x="1" y="1"/>
                  </a:lnTo>
                  <a:lnTo>
                    <a:pt x="1" y="1"/>
                  </a:lnTo>
                  <a:lnTo>
                    <a:pt x="1" y="1"/>
                  </a:lnTo>
                  <a:lnTo>
                    <a:pt x="1" y="1"/>
                  </a:lnTo>
                  <a:lnTo>
                    <a:pt x="1" y="0"/>
                  </a:lnTo>
                  <a:lnTo>
                    <a:pt x="1" y="1"/>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03" name="Freeform 1268">
              <a:extLst>
                <a:ext uri="{FF2B5EF4-FFF2-40B4-BE49-F238E27FC236}">
                  <a16:creationId xmlns:a16="http://schemas.microsoft.com/office/drawing/2014/main" id="{4DB6A44D-76E3-45D0-87F5-591872BECDD4}"/>
                </a:ext>
              </a:extLst>
            </p:cNvPr>
            <p:cNvSpPr>
              <a:spLocks/>
            </p:cNvSpPr>
            <p:nvPr/>
          </p:nvSpPr>
          <p:spPr bwMode="auto">
            <a:xfrm>
              <a:off x="6239126" y="2573945"/>
              <a:ext cx="2671" cy="1336"/>
            </a:xfrm>
            <a:custGeom>
              <a:avLst/>
              <a:gdLst>
                <a:gd name="T0" fmla="*/ 2 w 2"/>
                <a:gd name="T1" fmla="*/ 1 h 1"/>
                <a:gd name="T2" fmla="*/ 2 w 2"/>
                <a:gd name="T3" fmla="*/ 1 h 1"/>
                <a:gd name="T4" fmla="*/ 2 w 2"/>
                <a:gd name="T5" fmla="*/ 1 h 1"/>
                <a:gd name="T6" fmla="*/ 1 w 2"/>
                <a:gd name="T7" fmla="*/ 1 h 1"/>
                <a:gd name="T8" fmla="*/ 1 w 2"/>
                <a:gd name="T9" fmla="*/ 0 h 1"/>
                <a:gd name="T10" fmla="*/ 1 w 2"/>
                <a:gd name="T11" fmla="*/ 0 h 1"/>
                <a:gd name="T12" fmla="*/ 1 w 2"/>
                <a:gd name="T13" fmla="*/ 0 h 1"/>
                <a:gd name="T14" fmla="*/ 1 w 2"/>
                <a:gd name="T15" fmla="*/ 0 h 1"/>
                <a:gd name="T16" fmla="*/ 0 w 2"/>
                <a:gd name="T17" fmla="*/ 0 h 1"/>
                <a:gd name="T18" fmla="*/ 1 w 2"/>
                <a:gd name="T19" fmla="*/ 0 h 1"/>
                <a:gd name="T20" fmla="*/ 1 w 2"/>
                <a:gd name="T21" fmla="*/ 0 h 1"/>
                <a:gd name="T22" fmla="*/ 2 w 2"/>
                <a:gd name="T23" fmla="*/ 0 h 1"/>
                <a:gd name="T24" fmla="*/ 2 w 2"/>
                <a:gd name="T2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1">
                  <a:moveTo>
                    <a:pt x="2" y="1"/>
                  </a:moveTo>
                  <a:lnTo>
                    <a:pt x="2" y="1"/>
                  </a:lnTo>
                  <a:lnTo>
                    <a:pt x="2" y="1"/>
                  </a:lnTo>
                  <a:lnTo>
                    <a:pt x="1" y="1"/>
                  </a:lnTo>
                  <a:lnTo>
                    <a:pt x="1" y="0"/>
                  </a:lnTo>
                  <a:lnTo>
                    <a:pt x="1" y="0"/>
                  </a:lnTo>
                  <a:lnTo>
                    <a:pt x="1" y="0"/>
                  </a:lnTo>
                  <a:lnTo>
                    <a:pt x="1" y="0"/>
                  </a:lnTo>
                  <a:lnTo>
                    <a:pt x="0" y="0"/>
                  </a:lnTo>
                  <a:lnTo>
                    <a:pt x="1" y="0"/>
                  </a:lnTo>
                  <a:lnTo>
                    <a:pt x="1" y="0"/>
                  </a:lnTo>
                  <a:lnTo>
                    <a:pt x="2" y="0"/>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04" name="Freeform 1269">
              <a:extLst>
                <a:ext uri="{FF2B5EF4-FFF2-40B4-BE49-F238E27FC236}">
                  <a16:creationId xmlns:a16="http://schemas.microsoft.com/office/drawing/2014/main" id="{D7C8AD54-F2E0-4831-A477-4B3576EA1599}"/>
                </a:ext>
              </a:extLst>
            </p:cNvPr>
            <p:cNvSpPr>
              <a:spLocks/>
            </p:cNvSpPr>
            <p:nvPr/>
          </p:nvSpPr>
          <p:spPr bwMode="auto">
            <a:xfrm>
              <a:off x="6243133" y="2571274"/>
              <a:ext cx="2671" cy="2671"/>
            </a:xfrm>
            <a:custGeom>
              <a:avLst/>
              <a:gdLst>
                <a:gd name="T0" fmla="*/ 2 w 2"/>
                <a:gd name="T1" fmla="*/ 2 h 2"/>
                <a:gd name="T2" fmla="*/ 0 w 2"/>
                <a:gd name="T3" fmla="*/ 2 h 2"/>
                <a:gd name="T4" fmla="*/ 0 w 2"/>
                <a:gd name="T5" fmla="*/ 2 h 2"/>
                <a:gd name="T6" fmla="*/ 0 w 2"/>
                <a:gd name="T7" fmla="*/ 0 h 2"/>
                <a:gd name="T8" fmla="*/ 2 w 2"/>
                <a:gd name="T9" fmla="*/ 0 h 2"/>
                <a:gd name="T10" fmla="*/ 2 w 2"/>
                <a:gd name="T11" fmla="*/ 0 h 2"/>
                <a:gd name="T12" fmla="*/ 2 w 2"/>
                <a:gd name="T13" fmla="*/ 0 h 2"/>
                <a:gd name="T14" fmla="*/ 2 w 2"/>
                <a:gd name="T15" fmla="*/ 0 h 2"/>
                <a:gd name="T16" fmla="*/ 2 w 2"/>
                <a:gd name="T17" fmla="*/ 0 h 2"/>
                <a:gd name="T18" fmla="*/ 2 w 2"/>
                <a:gd name="T19" fmla="*/ 0 h 2"/>
                <a:gd name="T20" fmla="*/ 2 w 2"/>
                <a:gd name="T21" fmla="*/ 0 h 2"/>
                <a:gd name="T22" fmla="*/ 2 w 2"/>
                <a:gd name="T2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2">
                  <a:moveTo>
                    <a:pt x="2" y="2"/>
                  </a:moveTo>
                  <a:lnTo>
                    <a:pt x="0" y="2"/>
                  </a:lnTo>
                  <a:lnTo>
                    <a:pt x="0" y="2"/>
                  </a:lnTo>
                  <a:lnTo>
                    <a:pt x="0" y="0"/>
                  </a:lnTo>
                  <a:lnTo>
                    <a:pt x="2" y="0"/>
                  </a:lnTo>
                  <a:lnTo>
                    <a:pt x="2" y="0"/>
                  </a:lnTo>
                  <a:lnTo>
                    <a:pt x="2" y="0"/>
                  </a:lnTo>
                  <a:lnTo>
                    <a:pt x="2" y="0"/>
                  </a:lnTo>
                  <a:lnTo>
                    <a:pt x="2" y="0"/>
                  </a:lnTo>
                  <a:lnTo>
                    <a:pt x="2" y="0"/>
                  </a:lnTo>
                  <a:lnTo>
                    <a:pt x="2" y="0"/>
                  </a:lnTo>
                  <a:lnTo>
                    <a:pt x="2"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05" name="Oval 1270">
              <a:extLst>
                <a:ext uri="{FF2B5EF4-FFF2-40B4-BE49-F238E27FC236}">
                  <a16:creationId xmlns:a16="http://schemas.microsoft.com/office/drawing/2014/main" id="{102202C9-2CCA-4CD4-852E-E9AC50A831C8}"/>
                </a:ext>
              </a:extLst>
            </p:cNvPr>
            <p:cNvSpPr>
              <a:spLocks noChangeArrowheads="1"/>
            </p:cNvSpPr>
            <p:nvPr/>
          </p:nvSpPr>
          <p:spPr bwMode="auto">
            <a:xfrm>
              <a:off x="6185706" y="2571274"/>
              <a:ext cx="1336" cy="1336"/>
            </a:xfrm>
            <a:prstGeom prst="ellipse">
              <a:avLst/>
            </a:pr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06" name="Freeform 1271">
              <a:extLst>
                <a:ext uri="{FF2B5EF4-FFF2-40B4-BE49-F238E27FC236}">
                  <a16:creationId xmlns:a16="http://schemas.microsoft.com/office/drawing/2014/main" id="{25E0F08A-10A1-4D4E-93BF-DBE6ABFD3A01}"/>
                </a:ext>
              </a:extLst>
            </p:cNvPr>
            <p:cNvSpPr>
              <a:spLocks/>
            </p:cNvSpPr>
            <p:nvPr/>
          </p:nvSpPr>
          <p:spPr bwMode="auto">
            <a:xfrm>
              <a:off x="6231113" y="2569938"/>
              <a:ext cx="2671" cy="4007"/>
            </a:xfrm>
            <a:custGeom>
              <a:avLst/>
              <a:gdLst>
                <a:gd name="T0" fmla="*/ 1 w 2"/>
                <a:gd name="T1" fmla="*/ 1 h 3"/>
                <a:gd name="T2" fmla="*/ 1 w 2"/>
                <a:gd name="T3" fmla="*/ 1 h 3"/>
                <a:gd name="T4" fmla="*/ 2 w 2"/>
                <a:gd name="T5" fmla="*/ 1 h 3"/>
                <a:gd name="T6" fmla="*/ 2 w 2"/>
                <a:gd name="T7" fmla="*/ 1 h 3"/>
                <a:gd name="T8" fmla="*/ 2 w 2"/>
                <a:gd name="T9" fmla="*/ 1 h 3"/>
                <a:gd name="T10" fmla="*/ 2 w 2"/>
                <a:gd name="T11" fmla="*/ 1 h 3"/>
                <a:gd name="T12" fmla="*/ 2 w 2"/>
                <a:gd name="T13" fmla="*/ 3 h 3"/>
                <a:gd name="T14" fmla="*/ 2 w 2"/>
                <a:gd name="T15" fmla="*/ 3 h 3"/>
                <a:gd name="T16" fmla="*/ 2 w 2"/>
                <a:gd name="T17" fmla="*/ 3 h 3"/>
                <a:gd name="T18" fmla="*/ 1 w 2"/>
                <a:gd name="T19" fmla="*/ 3 h 3"/>
                <a:gd name="T20" fmla="*/ 0 w 2"/>
                <a:gd name="T21" fmla="*/ 3 h 3"/>
                <a:gd name="T22" fmla="*/ 0 w 2"/>
                <a:gd name="T23" fmla="*/ 3 h 3"/>
                <a:gd name="T24" fmla="*/ 0 w 2"/>
                <a:gd name="T25" fmla="*/ 3 h 3"/>
                <a:gd name="T26" fmla="*/ 0 w 2"/>
                <a:gd name="T27" fmla="*/ 3 h 3"/>
                <a:gd name="T28" fmla="*/ 0 w 2"/>
                <a:gd name="T29" fmla="*/ 1 h 3"/>
                <a:gd name="T30" fmla="*/ 0 w 2"/>
                <a:gd name="T31" fmla="*/ 1 h 3"/>
                <a:gd name="T32" fmla="*/ 0 w 2"/>
                <a:gd name="T33" fmla="*/ 1 h 3"/>
                <a:gd name="T34" fmla="*/ 0 w 2"/>
                <a:gd name="T35" fmla="*/ 1 h 3"/>
                <a:gd name="T36" fmla="*/ 0 w 2"/>
                <a:gd name="T37" fmla="*/ 1 h 3"/>
                <a:gd name="T38" fmla="*/ 0 w 2"/>
                <a:gd name="T39" fmla="*/ 1 h 3"/>
                <a:gd name="T40" fmla="*/ 0 w 2"/>
                <a:gd name="T41" fmla="*/ 1 h 3"/>
                <a:gd name="T42" fmla="*/ 0 w 2"/>
                <a:gd name="T43" fmla="*/ 1 h 3"/>
                <a:gd name="T44" fmla="*/ 0 w 2"/>
                <a:gd name="T45" fmla="*/ 1 h 3"/>
                <a:gd name="T46" fmla="*/ 0 w 2"/>
                <a:gd name="T47" fmla="*/ 1 h 3"/>
                <a:gd name="T48" fmla="*/ 0 w 2"/>
                <a:gd name="T49" fmla="*/ 1 h 3"/>
                <a:gd name="T50" fmla="*/ 0 w 2"/>
                <a:gd name="T51" fmla="*/ 1 h 3"/>
                <a:gd name="T52" fmla="*/ 0 w 2"/>
                <a:gd name="T53" fmla="*/ 1 h 3"/>
                <a:gd name="T54" fmla="*/ 0 w 2"/>
                <a:gd name="T55" fmla="*/ 1 h 3"/>
                <a:gd name="T56" fmla="*/ 1 w 2"/>
                <a:gd name="T57" fmla="*/ 1 h 3"/>
                <a:gd name="T58" fmla="*/ 1 w 2"/>
                <a:gd name="T59" fmla="*/ 1 h 3"/>
                <a:gd name="T60" fmla="*/ 1 w 2"/>
                <a:gd name="T61" fmla="*/ 1 h 3"/>
                <a:gd name="T62" fmla="*/ 1 w 2"/>
                <a:gd name="T63" fmla="*/ 1 h 3"/>
                <a:gd name="T64" fmla="*/ 1 w 2"/>
                <a:gd name="T65" fmla="*/ 1 h 3"/>
                <a:gd name="T66" fmla="*/ 1 w 2"/>
                <a:gd name="T67" fmla="*/ 1 h 3"/>
                <a:gd name="T68" fmla="*/ 1 w 2"/>
                <a:gd name="T69" fmla="*/ 1 h 3"/>
                <a:gd name="T70" fmla="*/ 1 w 2"/>
                <a:gd name="T71" fmla="*/ 1 h 3"/>
                <a:gd name="T72" fmla="*/ 1 w 2"/>
                <a:gd name="T73" fmla="*/ 1 h 3"/>
                <a:gd name="T74" fmla="*/ 1 w 2"/>
                <a:gd name="T75" fmla="*/ 1 h 3"/>
                <a:gd name="T76" fmla="*/ 1 w 2"/>
                <a:gd name="T77" fmla="*/ 1 h 3"/>
                <a:gd name="T78" fmla="*/ 1 w 2"/>
                <a:gd name="T79" fmla="*/ 1 h 3"/>
                <a:gd name="T80" fmla="*/ 1 w 2"/>
                <a:gd name="T81" fmla="*/ 0 h 3"/>
                <a:gd name="T82" fmla="*/ 1 w 2"/>
                <a:gd name="T83" fmla="*/ 1 h 3"/>
                <a:gd name="T84" fmla="*/ 1 w 2"/>
                <a:gd name="T8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 h="3">
                  <a:moveTo>
                    <a:pt x="1" y="1"/>
                  </a:moveTo>
                  <a:lnTo>
                    <a:pt x="1" y="1"/>
                  </a:lnTo>
                  <a:lnTo>
                    <a:pt x="2" y="1"/>
                  </a:lnTo>
                  <a:lnTo>
                    <a:pt x="2" y="1"/>
                  </a:lnTo>
                  <a:lnTo>
                    <a:pt x="2" y="1"/>
                  </a:lnTo>
                  <a:lnTo>
                    <a:pt x="2" y="1"/>
                  </a:lnTo>
                  <a:lnTo>
                    <a:pt x="2" y="3"/>
                  </a:lnTo>
                  <a:lnTo>
                    <a:pt x="2" y="3"/>
                  </a:lnTo>
                  <a:lnTo>
                    <a:pt x="2" y="3"/>
                  </a:lnTo>
                  <a:lnTo>
                    <a:pt x="1" y="3"/>
                  </a:lnTo>
                  <a:lnTo>
                    <a:pt x="0" y="3"/>
                  </a:lnTo>
                  <a:lnTo>
                    <a:pt x="0" y="3"/>
                  </a:lnTo>
                  <a:lnTo>
                    <a:pt x="0" y="3"/>
                  </a:lnTo>
                  <a:lnTo>
                    <a:pt x="0" y="3"/>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0"/>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07" name="Freeform 1272">
              <a:extLst>
                <a:ext uri="{FF2B5EF4-FFF2-40B4-BE49-F238E27FC236}">
                  <a16:creationId xmlns:a16="http://schemas.microsoft.com/office/drawing/2014/main" id="{BFD09693-9AF4-428A-A207-F65233295D70}"/>
                </a:ext>
              </a:extLst>
            </p:cNvPr>
            <p:cNvSpPr>
              <a:spLocks/>
            </p:cNvSpPr>
            <p:nvPr/>
          </p:nvSpPr>
          <p:spPr bwMode="auto">
            <a:xfrm>
              <a:off x="6236455" y="2569938"/>
              <a:ext cx="0" cy="1336"/>
            </a:xfrm>
            <a:custGeom>
              <a:avLst/>
              <a:gdLst>
                <a:gd name="T0" fmla="*/ 1 h 1"/>
                <a:gd name="T1" fmla="*/ 1 h 1"/>
                <a:gd name="T2" fmla="*/ 1 h 1"/>
                <a:gd name="T3" fmla="*/ 0 h 1"/>
                <a:gd name="T4" fmla="*/ 0 h 1"/>
                <a:gd name="T5" fmla="*/ 0 h 1"/>
                <a:gd name="T6" fmla="*/ 0 h 1"/>
                <a:gd name="T7" fmla="*/ 0 h 1"/>
                <a:gd name="T8" fmla="*/ 0 h 1"/>
                <a:gd name="T9" fmla="*/ 0 h 1"/>
                <a:gd name="T10" fmla="*/ 1 h 1"/>
                <a:gd name="T11"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1">
                  <a:moveTo>
                    <a:pt x="0" y="1"/>
                  </a:moveTo>
                  <a:lnTo>
                    <a:pt x="0" y="1"/>
                  </a:lnTo>
                  <a:lnTo>
                    <a:pt x="0" y="1"/>
                  </a:lnTo>
                  <a:lnTo>
                    <a:pt x="0" y="0"/>
                  </a:lnTo>
                  <a:lnTo>
                    <a:pt x="0" y="0"/>
                  </a:lnTo>
                  <a:lnTo>
                    <a:pt x="0" y="0"/>
                  </a:lnTo>
                  <a:lnTo>
                    <a:pt x="0" y="0"/>
                  </a:lnTo>
                  <a:lnTo>
                    <a:pt x="0" y="0"/>
                  </a:lnTo>
                  <a:lnTo>
                    <a:pt x="0" y="0"/>
                  </a:lnTo>
                  <a:lnTo>
                    <a:pt x="0" y="0"/>
                  </a:lnTo>
                  <a:lnTo>
                    <a:pt x="0" y="1"/>
                  </a:lnTo>
                  <a:lnTo>
                    <a:pt x="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08" name="Freeform 1273">
              <a:extLst>
                <a:ext uri="{FF2B5EF4-FFF2-40B4-BE49-F238E27FC236}">
                  <a16:creationId xmlns:a16="http://schemas.microsoft.com/office/drawing/2014/main" id="{E920FC1F-7F9C-496E-9556-E5987C5E518D}"/>
                </a:ext>
              </a:extLst>
            </p:cNvPr>
            <p:cNvSpPr>
              <a:spLocks/>
            </p:cNvSpPr>
            <p:nvPr/>
          </p:nvSpPr>
          <p:spPr bwMode="auto">
            <a:xfrm>
              <a:off x="6247139" y="2569938"/>
              <a:ext cx="2671" cy="4007"/>
            </a:xfrm>
            <a:custGeom>
              <a:avLst/>
              <a:gdLst>
                <a:gd name="T0" fmla="*/ 2 w 2"/>
                <a:gd name="T1" fmla="*/ 1 h 3"/>
                <a:gd name="T2" fmla="*/ 2 w 2"/>
                <a:gd name="T3" fmla="*/ 1 h 3"/>
                <a:gd name="T4" fmla="*/ 2 w 2"/>
                <a:gd name="T5" fmla="*/ 1 h 3"/>
                <a:gd name="T6" fmla="*/ 2 w 2"/>
                <a:gd name="T7" fmla="*/ 1 h 3"/>
                <a:gd name="T8" fmla="*/ 2 w 2"/>
                <a:gd name="T9" fmla="*/ 3 h 3"/>
                <a:gd name="T10" fmla="*/ 2 w 2"/>
                <a:gd name="T11" fmla="*/ 3 h 3"/>
                <a:gd name="T12" fmla="*/ 2 w 2"/>
                <a:gd name="T13" fmla="*/ 3 h 3"/>
                <a:gd name="T14" fmla="*/ 1 w 2"/>
                <a:gd name="T15" fmla="*/ 3 h 3"/>
                <a:gd name="T16" fmla="*/ 1 w 2"/>
                <a:gd name="T17" fmla="*/ 3 h 3"/>
                <a:gd name="T18" fmla="*/ 0 w 2"/>
                <a:gd name="T19" fmla="*/ 1 h 3"/>
                <a:gd name="T20" fmla="*/ 0 w 2"/>
                <a:gd name="T21" fmla="*/ 1 h 3"/>
                <a:gd name="T22" fmla="*/ 0 w 2"/>
                <a:gd name="T23" fmla="*/ 1 h 3"/>
                <a:gd name="T24" fmla="*/ 0 w 2"/>
                <a:gd name="T25" fmla="*/ 1 h 3"/>
                <a:gd name="T26" fmla="*/ 0 w 2"/>
                <a:gd name="T27" fmla="*/ 1 h 3"/>
                <a:gd name="T28" fmla="*/ 0 w 2"/>
                <a:gd name="T29" fmla="*/ 1 h 3"/>
                <a:gd name="T30" fmla="*/ 0 w 2"/>
                <a:gd name="T31" fmla="*/ 1 h 3"/>
                <a:gd name="T32" fmla="*/ 0 w 2"/>
                <a:gd name="T33" fmla="*/ 1 h 3"/>
                <a:gd name="T34" fmla="*/ 0 w 2"/>
                <a:gd name="T35" fmla="*/ 1 h 3"/>
                <a:gd name="T36" fmla="*/ 0 w 2"/>
                <a:gd name="T37" fmla="*/ 1 h 3"/>
                <a:gd name="T38" fmla="*/ 0 w 2"/>
                <a:gd name="T39" fmla="*/ 1 h 3"/>
                <a:gd name="T40" fmla="*/ 1 w 2"/>
                <a:gd name="T41" fmla="*/ 0 h 3"/>
                <a:gd name="T42" fmla="*/ 1 w 2"/>
                <a:gd name="T43" fmla="*/ 0 h 3"/>
                <a:gd name="T44" fmla="*/ 1 w 2"/>
                <a:gd name="T45" fmla="*/ 1 h 3"/>
                <a:gd name="T46" fmla="*/ 1 w 2"/>
                <a:gd name="T47" fmla="*/ 1 h 3"/>
                <a:gd name="T48" fmla="*/ 1 w 2"/>
                <a:gd name="T49" fmla="*/ 1 h 3"/>
                <a:gd name="T50" fmla="*/ 1 w 2"/>
                <a:gd name="T51" fmla="*/ 1 h 3"/>
                <a:gd name="T52" fmla="*/ 2 w 2"/>
                <a:gd name="T5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 h="3">
                  <a:moveTo>
                    <a:pt x="2" y="1"/>
                  </a:moveTo>
                  <a:lnTo>
                    <a:pt x="2" y="1"/>
                  </a:lnTo>
                  <a:lnTo>
                    <a:pt x="2" y="1"/>
                  </a:lnTo>
                  <a:lnTo>
                    <a:pt x="2" y="1"/>
                  </a:lnTo>
                  <a:lnTo>
                    <a:pt x="2" y="3"/>
                  </a:lnTo>
                  <a:lnTo>
                    <a:pt x="2" y="3"/>
                  </a:lnTo>
                  <a:lnTo>
                    <a:pt x="2" y="3"/>
                  </a:lnTo>
                  <a:lnTo>
                    <a:pt x="1" y="3"/>
                  </a:lnTo>
                  <a:lnTo>
                    <a:pt x="1" y="3"/>
                  </a:lnTo>
                  <a:lnTo>
                    <a:pt x="0" y="1"/>
                  </a:lnTo>
                  <a:lnTo>
                    <a:pt x="0" y="1"/>
                  </a:lnTo>
                  <a:lnTo>
                    <a:pt x="0" y="1"/>
                  </a:lnTo>
                  <a:lnTo>
                    <a:pt x="0" y="1"/>
                  </a:lnTo>
                  <a:lnTo>
                    <a:pt x="0" y="1"/>
                  </a:lnTo>
                  <a:lnTo>
                    <a:pt x="0" y="1"/>
                  </a:lnTo>
                  <a:lnTo>
                    <a:pt x="0" y="1"/>
                  </a:lnTo>
                  <a:lnTo>
                    <a:pt x="0" y="1"/>
                  </a:lnTo>
                  <a:lnTo>
                    <a:pt x="0" y="1"/>
                  </a:lnTo>
                  <a:lnTo>
                    <a:pt x="0" y="1"/>
                  </a:lnTo>
                  <a:lnTo>
                    <a:pt x="0" y="1"/>
                  </a:lnTo>
                  <a:lnTo>
                    <a:pt x="1" y="0"/>
                  </a:lnTo>
                  <a:lnTo>
                    <a:pt x="1" y="0"/>
                  </a:lnTo>
                  <a:lnTo>
                    <a:pt x="1" y="1"/>
                  </a:lnTo>
                  <a:lnTo>
                    <a:pt x="1" y="1"/>
                  </a:lnTo>
                  <a:lnTo>
                    <a:pt x="1" y="1"/>
                  </a:lnTo>
                  <a:lnTo>
                    <a:pt x="1" y="1"/>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09" name="Freeform 1274">
              <a:extLst>
                <a:ext uri="{FF2B5EF4-FFF2-40B4-BE49-F238E27FC236}">
                  <a16:creationId xmlns:a16="http://schemas.microsoft.com/office/drawing/2014/main" id="{F02B0980-4511-4B7E-87C3-0A866C9C957A}"/>
                </a:ext>
              </a:extLst>
            </p:cNvPr>
            <p:cNvSpPr>
              <a:spLocks/>
            </p:cNvSpPr>
            <p:nvPr/>
          </p:nvSpPr>
          <p:spPr bwMode="auto">
            <a:xfrm>
              <a:off x="6184371" y="2569938"/>
              <a:ext cx="0" cy="1336"/>
            </a:xfrm>
            <a:custGeom>
              <a:avLst/>
              <a:gdLst>
                <a:gd name="T0" fmla="*/ 0 h 1"/>
                <a:gd name="T1" fmla="*/ 0 h 1"/>
                <a:gd name="T2" fmla="*/ 0 h 1"/>
                <a:gd name="T3" fmla="*/ 0 h 1"/>
                <a:gd name="T4" fmla="*/ 0 h 1"/>
                <a:gd name="T5" fmla="*/ 0 h 1"/>
                <a:gd name="T6" fmla="*/ 0 h 1"/>
                <a:gd name="T7" fmla="*/ 0 h 1"/>
                <a:gd name="T8" fmla="*/ 1 h 1"/>
                <a:gd name="T9" fmla="*/ 1 h 1"/>
                <a:gd name="T10" fmla="*/ 1 h 1"/>
                <a:gd name="T11" fmla="*/ 0 h 1"/>
                <a:gd name="T12" fmla="*/ 0 h 1"/>
                <a:gd name="T13" fmla="*/ 0 h 1"/>
                <a:gd name="T14" fmla="*/ 0 h 1"/>
                <a:gd name="T15"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Lst>
              <a:rect l="0" t="0" r="r" b="b"/>
              <a:pathLst>
                <a:path h="1">
                  <a:moveTo>
                    <a:pt x="0" y="0"/>
                  </a:moveTo>
                  <a:lnTo>
                    <a:pt x="0" y="0"/>
                  </a:lnTo>
                  <a:lnTo>
                    <a:pt x="0" y="0"/>
                  </a:lnTo>
                  <a:lnTo>
                    <a:pt x="0" y="0"/>
                  </a:lnTo>
                  <a:lnTo>
                    <a:pt x="0" y="0"/>
                  </a:lnTo>
                  <a:lnTo>
                    <a:pt x="0" y="0"/>
                  </a:lnTo>
                  <a:lnTo>
                    <a:pt x="0" y="0"/>
                  </a:lnTo>
                  <a:lnTo>
                    <a:pt x="0" y="0"/>
                  </a:lnTo>
                  <a:lnTo>
                    <a:pt x="0" y="1"/>
                  </a:lnTo>
                  <a:lnTo>
                    <a:pt x="0" y="1"/>
                  </a:lnTo>
                  <a:lnTo>
                    <a:pt x="0" y="1"/>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10" name="Freeform 1275">
              <a:extLst>
                <a:ext uri="{FF2B5EF4-FFF2-40B4-BE49-F238E27FC236}">
                  <a16:creationId xmlns:a16="http://schemas.microsoft.com/office/drawing/2014/main" id="{01302283-2123-42EE-9BF6-DAB0C34465EB}"/>
                </a:ext>
              </a:extLst>
            </p:cNvPr>
            <p:cNvSpPr>
              <a:spLocks/>
            </p:cNvSpPr>
            <p:nvPr/>
          </p:nvSpPr>
          <p:spPr bwMode="auto">
            <a:xfrm>
              <a:off x="6221765" y="2569938"/>
              <a:ext cx="1336" cy="0"/>
            </a:xfrm>
            <a:custGeom>
              <a:avLst/>
              <a:gdLst>
                <a:gd name="T0" fmla="*/ 1 w 1"/>
                <a:gd name="T1" fmla="*/ 1 w 1"/>
                <a:gd name="T2" fmla="*/ 0 w 1"/>
                <a:gd name="T3" fmla="*/ 0 w 1"/>
                <a:gd name="T4" fmla="*/ 1 w 1"/>
                <a:gd name="T5" fmla="*/ 1 w 1"/>
                <a:gd name="T6" fmla="*/ 1 w 1"/>
              </a:gdLst>
              <a:ahLst/>
              <a:cxnLst>
                <a:cxn ang="0">
                  <a:pos x="T0" y="0"/>
                </a:cxn>
                <a:cxn ang="0">
                  <a:pos x="T1" y="0"/>
                </a:cxn>
                <a:cxn ang="0">
                  <a:pos x="T2" y="0"/>
                </a:cxn>
                <a:cxn ang="0">
                  <a:pos x="T3" y="0"/>
                </a:cxn>
                <a:cxn ang="0">
                  <a:pos x="T4" y="0"/>
                </a:cxn>
                <a:cxn ang="0">
                  <a:pos x="T5" y="0"/>
                </a:cxn>
                <a:cxn ang="0">
                  <a:pos x="T6" y="0"/>
                </a:cxn>
              </a:cxnLst>
              <a:rect l="0" t="0" r="r" b="b"/>
              <a:pathLst>
                <a:path w="1">
                  <a:moveTo>
                    <a:pt x="1" y="0"/>
                  </a:moveTo>
                  <a:lnTo>
                    <a:pt x="1" y="0"/>
                  </a:lnTo>
                  <a:lnTo>
                    <a:pt x="0" y="0"/>
                  </a:lnTo>
                  <a:lnTo>
                    <a:pt x="0"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11" name="Freeform 1276">
              <a:extLst>
                <a:ext uri="{FF2B5EF4-FFF2-40B4-BE49-F238E27FC236}">
                  <a16:creationId xmlns:a16="http://schemas.microsoft.com/office/drawing/2014/main" id="{D6CB1D7A-5017-4553-8D4E-647D5B42BA59}"/>
                </a:ext>
              </a:extLst>
            </p:cNvPr>
            <p:cNvSpPr>
              <a:spLocks/>
            </p:cNvSpPr>
            <p:nvPr/>
          </p:nvSpPr>
          <p:spPr bwMode="auto">
            <a:xfrm>
              <a:off x="6233784" y="2568603"/>
              <a:ext cx="2671" cy="1336"/>
            </a:xfrm>
            <a:custGeom>
              <a:avLst/>
              <a:gdLst>
                <a:gd name="T0" fmla="*/ 0 w 2"/>
                <a:gd name="T1" fmla="*/ 1 h 1"/>
                <a:gd name="T2" fmla="*/ 0 w 2"/>
                <a:gd name="T3" fmla="*/ 1 h 1"/>
                <a:gd name="T4" fmla="*/ 0 w 2"/>
                <a:gd name="T5" fmla="*/ 1 h 1"/>
                <a:gd name="T6" fmla="*/ 2 w 2"/>
                <a:gd name="T7" fmla="*/ 1 h 1"/>
                <a:gd name="T8" fmla="*/ 2 w 2"/>
                <a:gd name="T9" fmla="*/ 1 h 1"/>
                <a:gd name="T10" fmla="*/ 2 w 2"/>
                <a:gd name="T11" fmla="*/ 1 h 1"/>
                <a:gd name="T12" fmla="*/ 2 w 2"/>
                <a:gd name="T13" fmla="*/ 1 h 1"/>
                <a:gd name="T14" fmla="*/ 2 w 2"/>
                <a:gd name="T15" fmla="*/ 1 h 1"/>
                <a:gd name="T16" fmla="*/ 2 w 2"/>
                <a:gd name="T17" fmla="*/ 1 h 1"/>
                <a:gd name="T18" fmla="*/ 2 w 2"/>
                <a:gd name="T19" fmla="*/ 1 h 1"/>
                <a:gd name="T20" fmla="*/ 0 w 2"/>
                <a:gd name="T21" fmla="*/ 1 h 1"/>
                <a:gd name="T22" fmla="*/ 0 w 2"/>
                <a:gd name="T23" fmla="*/ 1 h 1"/>
                <a:gd name="T24" fmla="*/ 0 w 2"/>
                <a:gd name="T25" fmla="*/ 1 h 1"/>
                <a:gd name="T26" fmla="*/ 0 w 2"/>
                <a:gd name="T27" fmla="*/ 1 h 1"/>
                <a:gd name="T28" fmla="*/ 0 w 2"/>
                <a:gd name="T29" fmla="*/ 1 h 1"/>
                <a:gd name="T30" fmla="*/ 0 w 2"/>
                <a:gd name="T31" fmla="*/ 1 h 1"/>
                <a:gd name="T32" fmla="*/ 0 w 2"/>
                <a:gd name="T33" fmla="*/ 1 h 1"/>
                <a:gd name="T34" fmla="*/ 0 w 2"/>
                <a:gd name="T35" fmla="*/ 1 h 1"/>
                <a:gd name="T36" fmla="*/ 0 w 2"/>
                <a:gd name="T37" fmla="*/ 1 h 1"/>
                <a:gd name="T38" fmla="*/ 0 w 2"/>
                <a:gd name="T39" fmla="*/ 1 h 1"/>
                <a:gd name="T40" fmla="*/ 0 w 2"/>
                <a:gd name="T41" fmla="*/ 0 h 1"/>
                <a:gd name="T42" fmla="*/ 0 w 2"/>
                <a:gd name="T43" fmla="*/ 1 h 1"/>
                <a:gd name="T44" fmla="*/ 0 w 2"/>
                <a:gd name="T4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 h="1">
                  <a:moveTo>
                    <a:pt x="0" y="1"/>
                  </a:moveTo>
                  <a:lnTo>
                    <a:pt x="0" y="1"/>
                  </a:lnTo>
                  <a:lnTo>
                    <a:pt x="0" y="1"/>
                  </a:lnTo>
                  <a:lnTo>
                    <a:pt x="2" y="1"/>
                  </a:lnTo>
                  <a:lnTo>
                    <a:pt x="2" y="1"/>
                  </a:lnTo>
                  <a:lnTo>
                    <a:pt x="2" y="1"/>
                  </a:lnTo>
                  <a:lnTo>
                    <a:pt x="2" y="1"/>
                  </a:lnTo>
                  <a:lnTo>
                    <a:pt x="2" y="1"/>
                  </a:lnTo>
                  <a:lnTo>
                    <a:pt x="2" y="1"/>
                  </a:lnTo>
                  <a:lnTo>
                    <a:pt x="2" y="1"/>
                  </a:lnTo>
                  <a:lnTo>
                    <a:pt x="0" y="1"/>
                  </a:lnTo>
                  <a:lnTo>
                    <a:pt x="0" y="1"/>
                  </a:lnTo>
                  <a:lnTo>
                    <a:pt x="0" y="1"/>
                  </a:lnTo>
                  <a:lnTo>
                    <a:pt x="0" y="1"/>
                  </a:lnTo>
                  <a:lnTo>
                    <a:pt x="0" y="1"/>
                  </a:lnTo>
                  <a:lnTo>
                    <a:pt x="0" y="1"/>
                  </a:lnTo>
                  <a:lnTo>
                    <a:pt x="0" y="1"/>
                  </a:lnTo>
                  <a:lnTo>
                    <a:pt x="0" y="1"/>
                  </a:lnTo>
                  <a:lnTo>
                    <a:pt x="0" y="1"/>
                  </a:lnTo>
                  <a:lnTo>
                    <a:pt x="0" y="1"/>
                  </a:lnTo>
                  <a:lnTo>
                    <a:pt x="0" y="0"/>
                  </a:lnTo>
                  <a:lnTo>
                    <a:pt x="0" y="1"/>
                  </a:lnTo>
                  <a:lnTo>
                    <a:pt x="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12" name="Freeform 1277">
              <a:extLst>
                <a:ext uri="{FF2B5EF4-FFF2-40B4-BE49-F238E27FC236}">
                  <a16:creationId xmlns:a16="http://schemas.microsoft.com/office/drawing/2014/main" id="{EFE73FDC-BF16-47C0-8724-05E8A1304CB8}"/>
                </a:ext>
              </a:extLst>
            </p:cNvPr>
            <p:cNvSpPr>
              <a:spLocks/>
            </p:cNvSpPr>
            <p:nvPr/>
          </p:nvSpPr>
          <p:spPr bwMode="auto">
            <a:xfrm>
              <a:off x="6249810" y="2568603"/>
              <a:ext cx="0" cy="1336"/>
            </a:xfrm>
            <a:custGeom>
              <a:avLst/>
              <a:gdLst>
                <a:gd name="T0" fmla="*/ 1 h 1"/>
                <a:gd name="T1" fmla="*/ 1 h 1"/>
                <a:gd name="T2" fmla="*/ 1 h 1"/>
                <a:gd name="T3" fmla="*/ 1 h 1"/>
                <a:gd name="T4" fmla="*/ 0 h 1"/>
                <a:gd name="T5" fmla="*/ 0 h 1"/>
                <a:gd name="T6" fmla="*/ 0 h 1"/>
                <a:gd name="T7" fmla="*/ 0 h 1"/>
                <a:gd name="T8" fmla="*/ 0 h 1"/>
                <a:gd name="T9" fmla="*/ 0 h 1"/>
                <a:gd name="T10" fmla="*/ 1 h 1"/>
                <a:gd name="T11"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1">
                  <a:moveTo>
                    <a:pt x="0" y="1"/>
                  </a:moveTo>
                  <a:lnTo>
                    <a:pt x="0" y="1"/>
                  </a:lnTo>
                  <a:lnTo>
                    <a:pt x="0" y="1"/>
                  </a:lnTo>
                  <a:lnTo>
                    <a:pt x="0" y="1"/>
                  </a:lnTo>
                  <a:lnTo>
                    <a:pt x="0" y="0"/>
                  </a:lnTo>
                  <a:lnTo>
                    <a:pt x="0" y="0"/>
                  </a:lnTo>
                  <a:lnTo>
                    <a:pt x="0" y="0"/>
                  </a:lnTo>
                  <a:lnTo>
                    <a:pt x="0" y="0"/>
                  </a:lnTo>
                  <a:lnTo>
                    <a:pt x="0" y="0"/>
                  </a:lnTo>
                  <a:lnTo>
                    <a:pt x="0" y="0"/>
                  </a:lnTo>
                  <a:lnTo>
                    <a:pt x="0" y="1"/>
                  </a:lnTo>
                  <a:lnTo>
                    <a:pt x="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13" name="Freeform 1278">
              <a:extLst>
                <a:ext uri="{FF2B5EF4-FFF2-40B4-BE49-F238E27FC236}">
                  <a16:creationId xmlns:a16="http://schemas.microsoft.com/office/drawing/2014/main" id="{38B2114D-A524-430A-AC0F-B324825A0997}"/>
                </a:ext>
              </a:extLst>
            </p:cNvPr>
            <p:cNvSpPr>
              <a:spLocks/>
            </p:cNvSpPr>
            <p:nvPr/>
          </p:nvSpPr>
          <p:spPr bwMode="auto">
            <a:xfrm>
              <a:off x="6276519" y="2568603"/>
              <a:ext cx="5342" cy="5342"/>
            </a:xfrm>
            <a:custGeom>
              <a:avLst/>
              <a:gdLst>
                <a:gd name="T0" fmla="*/ 3 w 4"/>
                <a:gd name="T1" fmla="*/ 1 h 4"/>
                <a:gd name="T2" fmla="*/ 2 w 4"/>
                <a:gd name="T3" fmla="*/ 2 h 4"/>
                <a:gd name="T4" fmla="*/ 2 w 4"/>
                <a:gd name="T5" fmla="*/ 2 h 4"/>
                <a:gd name="T6" fmla="*/ 2 w 4"/>
                <a:gd name="T7" fmla="*/ 2 h 4"/>
                <a:gd name="T8" fmla="*/ 1 w 4"/>
                <a:gd name="T9" fmla="*/ 2 h 4"/>
                <a:gd name="T10" fmla="*/ 1 w 4"/>
                <a:gd name="T11" fmla="*/ 1 h 4"/>
                <a:gd name="T12" fmla="*/ 1 w 4"/>
                <a:gd name="T13" fmla="*/ 2 h 4"/>
                <a:gd name="T14" fmla="*/ 0 w 4"/>
                <a:gd name="T15" fmla="*/ 2 h 4"/>
                <a:gd name="T16" fmla="*/ 0 w 4"/>
                <a:gd name="T17" fmla="*/ 2 h 4"/>
                <a:gd name="T18" fmla="*/ 0 w 4"/>
                <a:gd name="T19" fmla="*/ 2 h 4"/>
                <a:gd name="T20" fmla="*/ 0 w 4"/>
                <a:gd name="T21" fmla="*/ 2 h 4"/>
                <a:gd name="T22" fmla="*/ 0 w 4"/>
                <a:gd name="T23" fmla="*/ 4 h 4"/>
                <a:gd name="T24" fmla="*/ 0 w 4"/>
                <a:gd name="T25" fmla="*/ 4 h 4"/>
                <a:gd name="T26" fmla="*/ 0 w 4"/>
                <a:gd name="T27" fmla="*/ 4 h 4"/>
                <a:gd name="T28" fmla="*/ 0 w 4"/>
                <a:gd name="T29" fmla="*/ 4 h 4"/>
                <a:gd name="T30" fmla="*/ 0 w 4"/>
                <a:gd name="T31" fmla="*/ 2 h 4"/>
                <a:gd name="T32" fmla="*/ 0 w 4"/>
                <a:gd name="T33" fmla="*/ 2 h 4"/>
                <a:gd name="T34" fmla="*/ 0 w 4"/>
                <a:gd name="T35" fmla="*/ 2 h 4"/>
                <a:gd name="T36" fmla="*/ 0 w 4"/>
                <a:gd name="T37" fmla="*/ 2 h 4"/>
                <a:gd name="T38" fmla="*/ 0 w 4"/>
                <a:gd name="T39" fmla="*/ 2 h 4"/>
                <a:gd name="T40" fmla="*/ 0 w 4"/>
                <a:gd name="T41" fmla="*/ 2 h 4"/>
                <a:gd name="T42" fmla="*/ 0 w 4"/>
                <a:gd name="T43" fmla="*/ 1 h 4"/>
                <a:gd name="T44" fmla="*/ 0 w 4"/>
                <a:gd name="T45" fmla="*/ 1 h 4"/>
                <a:gd name="T46" fmla="*/ 0 w 4"/>
                <a:gd name="T47" fmla="*/ 1 h 4"/>
                <a:gd name="T48" fmla="*/ 0 w 4"/>
                <a:gd name="T49" fmla="*/ 2 h 4"/>
                <a:gd name="T50" fmla="*/ 1 w 4"/>
                <a:gd name="T51" fmla="*/ 1 h 4"/>
                <a:gd name="T52" fmla="*/ 1 w 4"/>
                <a:gd name="T53" fmla="*/ 1 h 4"/>
                <a:gd name="T54" fmla="*/ 1 w 4"/>
                <a:gd name="T55" fmla="*/ 1 h 4"/>
                <a:gd name="T56" fmla="*/ 1 w 4"/>
                <a:gd name="T57" fmla="*/ 1 h 4"/>
                <a:gd name="T58" fmla="*/ 1 w 4"/>
                <a:gd name="T59" fmla="*/ 1 h 4"/>
                <a:gd name="T60" fmla="*/ 2 w 4"/>
                <a:gd name="T61" fmla="*/ 0 h 4"/>
                <a:gd name="T62" fmla="*/ 3 w 4"/>
                <a:gd name="T63" fmla="*/ 0 h 4"/>
                <a:gd name="T64" fmla="*/ 4 w 4"/>
                <a:gd name="T65" fmla="*/ 0 h 4"/>
                <a:gd name="T66" fmla="*/ 4 w 4"/>
                <a:gd name="T67" fmla="*/ 0 h 4"/>
                <a:gd name="T68" fmla="*/ 4 w 4"/>
                <a:gd name="T69" fmla="*/ 0 h 4"/>
                <a:gd name="T70" fmla="*/ 4 w 4"/>
                <a:gd name="T71" fmla="*/ 0 h 4"/>
                <a:gd name="T72" fmla="*/ 4 w 4"/>
                <a:gd name="T73" fmla="*/ 0 h 4"/>
                <a:gd name="T74" fmla="*/ 3 w 4"/>
                <a:gd name="T75" fmla="*/ 1 h 4"/>
                <a:gd name="T76" fmla="*/ 3 w 4"/>
                <a:gd name="T7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 h="4">
                  <a:moveTo>
                    <a:pt x="3" y="1"/>
                  </a:moveTo>
                  <a:lnTo>
                    <a:pt x="2" y="2"/>
                  </a:lnTo>
                  <a:lnTo>
                    <a:pt x="2" y="2"/>
                  </a:lnTo>
                  <a:lnTo>
                    <a:pt x="2" y="2"/>
                  </a:lnTo>
                  <a:lnTo>
                    <a:pt x="1" y="2"/>
                  </a:lnTo>
                  <a:lnTo>
                    <a:pt x="1" y="1"/>
                  </a:lnTo>
                  <a:lnTo>
                    <a:pt x="1" y="2"/>
                  </a:lnTo>
                  <a:lnTo>
                    <a:pt x="0" y="2"/>
                  </a:lnTo>
                  <a:lnTo>
                    <a:pt x="0" y="2"/>
                  </a:lnTo>
                  <a:lnTo>
                    <a:pt x="0" y="2"/>
                  </a:lnTo>
                  <a:lnTo>
                    <a:pt x="0" y="2"/>
                  </a:lnTo>
                  <a:lnTo>
                    <a:pt x="0" y="4"/>
                  </a:lnTo>
                  <a:lnTo>
                    <a:pt x="0" y="4"/>
                  </a:lnTo>
                  <a:lnTo>
                    <a:pt x="0" y="4"/>
                  </a:lnTo>
                  <a:lnTo>
                    <a:pt x="0" y="4"/>
                  </a:lnTo>
                  <a:lnTo>
                    <a:pt x="0" y="2"/>
                  </a:lnTo>
                  <a:lnTo>
                    <a:pt x="0" y="2"/>
                  </a:lnTo>
                  <a:lnTo>
                    <a:pt x="0" y="2"/>
                  </a:lnTo>
                  <a:lnTo>
                    <a:pt x="0" y="2"/>
                  </a:lnTo>
                  <a:lnTo>
                    <a:pt x="0" y="2"/>
                  </a:lnTo>
                  <a:lnTo>
                    <a:pt x="0" y="2"/>
                  </a:lnTo>
                  <a:lnTo>
                    <a:pt x="0" y="1"/>
                  </a:lnTo>
                  <a:lnTo>
                    <a:pt x="0" y="1"/>
                  </a:lnTo>
                  <a:lnTo>
                    <a:pt x="0" y="1"/>
                  </a:lnTo>
                  <a:lnTo>
                    <a:pt x="0" y="2"/>
                  </a:lnTo>
                  <a:lnTo>
                    <a:pt x="1" y="1"/>
                  </a:lnTo>
                  <a:lnTo>
                    <a:pt x="1" y="1"/>
                  </a:lnTo>
                  <a:lnTo>
                    <a:pt x="1" y="1"/>
                  </a:lnTo>
                  <a:lnTo>
                    <a:pt x="1" y="1"/>
                  </a:lnTo>
                  <a:lnTo>
                    <a:pt x="1" y="1"/>
                  </a:lnTo>
                  <a:lnTo>
                    <a:pt x="2" y="0"/>
                  </a:lnTo>
                  <a:lnTo>
                    <a:pt x="3" y="0"/>
                  </a:lnTo>
                  <a:lnTo>
                    <a:pt x="4" y="0"/>
                  </a:lnTo>
                  <a:lnTo>
                    <a:pt x="4" y="0"/>
                  </a:lnTo>
                  <a:lnTo>
                    <a:pt x="4" y="0"/>
                  </a:lnTo>
                  <a:lnTo>
                    <a:pt x="4" y="0"/>
                  </a:lnTo>
                  <a:lnTo>
                    <a:pt x="4" y="0"/>
                  </a:lnTo>
                  <a:lnTo>
                    <a:pt x="3" y="1"/>
                  </a:lnTo>
                  <a:lnTo>
                    <a:pt x="3"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14" name="Freeform 1279">
              <a:extLst>
                <a:ext uri="{FF2B5EF4-FFF2-40B4-BE49-F238E27FC236}">
                  <a16:creationId xmlns:a16="http://schemas.microsoft.com/office/drawing/2014/main" id="{EE074A39-031B-4043-89CC-C773838EE2E1}"/>
                </a:ext>
              </a:extLst>
            </p:cNvPr>
            <p:cNvSpPr>
              <a:spLocks/>
            </p:cNvSpPr>
            <p:nvPr/>
          </p:nvSpPr>
          <p:spPr bwMode="auto">
            <a:xfrm>
              <a:off x="6252481" y="2568603"/>
              <a:ext cx="2671" cy="0"/>
            </a:xfrm>
            <a:custGeom>
              <a:avLst/>
              <a:gdLst>
                <a:gd name="T0" fmla="*/ 2 w 2"/>
                <a:gd name="T1" fmla="*/ 0 w 2"/>
                <a:gd name="T2" fmla="*/ 0 w 2"/>
                <a:gd name="T3" fmla="*/ 0 w 2"/>
                <a:gd name="T4" fmla="*/ 0 w 2"/>
                <a:gd name="T5" fmla="*/ 0 w 2"/>
                <a:gd name="T6" fmla="*/ 0 w 2"/>
                <a:gd name="T7" fmla="*/ 0 w 2"/>
                <a:gd name="T8" fmla="*/ 0 w 2"/>
                <a:gd name="T9" fmla="*/ 2 w 2"/>
                <a:gd name="T10"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2">
                  <a:moveTo>
                    <a:pt x="2" y="0"/>
                  </a:moveTo>
                  <a:lnTo>
                    <a:pt x="0" y="0"/>
                  </a:lnTo>
                  <a:lnTo>
                    <a:pt x="0" y="0"/>
                  </a:lnTo>
                  <a:lnTo>
                    <a:pt x="0" y="0"/>
                  </a:lnTo>
                  <a:lnTo>
                    <a:pt x="0" y="0"/>
                  </a:lnTo>
                  <a:lnTo>
                    <a:pt x="0" y="0"/>
                  </a:lnTo>
                  <a:lnTo>
                    <a:pt x="0" y="0"/>
                  </a:lnTo>
                  <a:lnTo>
                    <a:pt x="0" y="0"/>
                  </a:lnTo>
                  <a:lnTo>
                    <a:pt x="0"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15" name="Freeform 1280">
              <a:extLst>
                <a:ext uri="{FF2B5EF4-FFF2-40B4-BE49-F238E27FC236}">
                  <a16:creationId xmlns:a16="http://schemas.microsoft.com/office/drawing/2014/main" id="{83DF287E-397F-44C2-AC0E-3A981DCED489}"/>
                </a:ext>
              </a:extLst>
            </p:cNvPr>
            <p:cNvSpPr>
              <a:spLocks/>
            </p:cNvSpPr>
            <p:nvPr/>
          </p:nvSpPr>
          <p:spPr bwMode="auto">
            <a:xfrm>
              <a:off x="6215087" y="2567267"/>
              <a:ext cx="0" cy="1336"/>
            </a:xfrm>
            <a:custGeom>
              <a:avLst/>
              <a:gdLst>
                <a:gd name="T0" fmla="*/ 1 h 1"/>
                <a:gd name="T1" fmla="*/ 1 h 1"/>
                <a:gd name="T2" fmla="*/ 1 h 1"/>
                <a:gd name="T3" fmla="*/ 1 h 1"/>
                <a:gd name="T4" fmla="*/ 1 h 1"/>
                <a:gd name="T5" fmla="*/ 1 h 1"/>
                <a:gd name="T6" fmla="*/ 0 h 1"/>
                <a:gd name="T7" fmla="*/ 0 h 1"/>
                <a:gd name="T8" fmla="*/ 0 h 1"/>
                <a:gd name="T9" fmla="*/ 0 h 1"/>
                <a:gd name="T10" fmla="*/ 1 h 1"/>
                <a:gd name="T11"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1">
                  <a:moveTo>
                    <a:pt x="0" y="1"/>
                  </a:moveTo>
                  <a:lnTo>
                    <a:pt x="0" y="1"/>
                  </a:lnTo>
                  <a:lnTo>
                    <a:pt x="0" y="1"/>
                  </a:lnTo>
                  <a:lnTo>
                    <a:pt x="0" y="1"/>
                  </a:lnTo>
                  <a:lnTo>
                    <a:pt x="0" y="1"/>
                  </a:lnTo>
                  <a:lnTo>
                    <a:pt x="0" y="1"/>
                  </a:lnTo>
                  <a:lnTo>
                    <a:pt x="0" y="0"/>
                  </a:lnTo>
                  <a:lnTo>
                    <a:pt x="0" y="0"/>
                  </a:lnTo>
                  <a:lnTo>
                    <a:pt x="0" y="0"/>
                  </a:lnTo>
                  <a:lnTo>
                    <a:pt x="0" y="0"/>
                  </a:lnTo>
                  <a:lnTo>
                    <a:pt x="0" y="1"/>
                  </a:lnTo>
                  <a:lnTo>
                    <a:pt x="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16" name="Freeform 1281">
              <a:extLst>
                <a:ext uri="{FF2B5EF4-FFF2-40B4-BE49-F238E27FC236}">
                  <a16:creationId xmlns:a16="http://schemas.microsoft.com/office/drawing/2014/main" id="{4D4E4A04-3364-43B4-A7EF-1FD3DA6C58D0}"/>
                </a:ext>
              </a:extLst>
            </p:cNvPr>
            <p:cNvSpPr>
              <a:spLocks/>
            </p:cNvSpPr>
            <p:nvPr/>
          </p:nvSpPr>
          <p:spPr bwMode="auto">
            <a:xfrm>
              <a:off x="6255152" y="2567267"/>
              <a:ext cx="5342" cy="4007"/>
            </a:xfrm>
            <a:custGeom>
              <a:avLst/>
              <a:gdLst>
                <a:gd name="T0" fmla="*/ 4 w 4"/>
                <a:gd name="T1" fmla="*/ 1 h 3"/>
                <a:gd name="T2" fmla="*/ 4 w 4"/>
                <a:gd name="T3" fmla="*/ 1 h 3"/>
                <a:gd name="T4" fmla="*/ 4 w 4"/>
                <a:gd name="T5" fmla="*/ 1 h 3"/>
                <a:gd name="T6" fmla="*/ 4 w 4"/>
                <a:gd name="T7" fmla="*/ 1 h 3"/>
                <a:gd name="T8" fmla="*/ 4 w 4"/>
                <a:gd name="T9" fmla="*/ 1 h 3"/>
                <a:gd name="T10" fmla="*/ 4 w 4"/>
                <a:gd name="T11" fmla="*/ 1 h 3"/>
                <a:gd name="T12" fmla="*/ 4 w 4"/>
                <a:gd name="T13" fmla="*/ 1 h 3"/>
                <a:gd name="T14" fmla="*/ 3 w 4"/>
                <a:gd name="T15" fmla="*/ 1 h 3"/>
                <a:gd name="T16" fmla="*/ 3 w 4"/>
                <a:gd name="T17" fmla="*/ 1 h 3"/>
                <a:gd name="T18" fmla="*/ 3 w 4"/>
                <a:gd name="T19" fmla="*/ 1 h 3"/>
                <a:gd name="T20" fmla="*/ 3 w 4"/>
                <a:gd name="T21" fmla="*/ 1 h 3"/>
                <a:gd name="T22" fmla="*/ 3 w 4"/>
                <a:gd name="T23" fmla="*/ 1 h 3"/>
                <a:gd name="T24" fmla="*/ 2 w 4"/>
                <a:gd name="T25" fmla="*/ 2 h 3"/>
                <a:gd name="T26" fmla="*/ 2 w 4"/>
                <a:gd name="T27" fmla="*/ 2 h 3"/>
                <a:gd name="T28" fmla="*/ 2 w 4"/>
                <a:gd name="T29" fmla="*/ 2 h 3"/>
                <a:gd name="T30" fmla="*/ 1 w 4"/>
                <a:gd name="T31" fmla="*/ 2 h 3"/>
                <a:gd name="T32" fmla="*/ 1 w 4"/>
                <a:gd name="T33" fmla="*/ 3 h 3"/>
                <a:gd name="T34" fmla="*/ 0 w 4"/>
                <a:gd name="T35" fmla="*/ 2 h 3"/>
                <a:gd name="T36" fmla="*/ 1 w 4"/>
                <a:gd name="T37" fmla="*/ 2 h 3"/>
                <a:gd name="T38" fmla="*/ 1 w 4"/>
                <a:gd name="T39" fmla="*/ 2 h 3"/>
                <a:gd name="T40" fmla="*/ 1 w 4"/>
                <a:gd name="T41" fmla="*/ 2 h 3"/>
                <a:gd name="T42" fmla="*/ 1 w 4"/>
                <a:gd name="T43" fmla="*/ 2 h 3"/>
                <a:gd name="T44" fmla="*/ 1 w 4"/>
                <a:gd name="T45" fmla="*/ 2 h 3"/>
                <a:gd name="T46" fmla="*/ 1 w 4"/>
                <a:gd name="T47" fmla="*/ 2 h 3"/>
                <a:gd name="T48" fmla="*/ 1 w 4"/>
                <a:gd name="T49" fmla="*/ 2 h 3"/>
                <a:gd name="T50" fmla="*/ 1 w 4"/>
                <a:gd name="T51" fmla="*/ 2 h 3"/>
                <a:gd name="T52" fmla="*/ 2 w 4"/>
                <a:gd name="T53" fmla="*/ 2 h 3"/>
                <a:gd name="T54" fmla="*/ 2 w 4"/>
                <a:gd name="T55" fmla="*/ 2 h 3"/>
                <a:gd name="T56" fmla="*/ 2 w 4"/>
                <a:gd name="T57" fmla="*/ 2 h 3"/>
                <a:gd name="T58" fmla="*/ 2 w 4"/>
                <a:gd name="T59" fmla="*/ 2 h 3"/>
                <a:gd name="T60" fmla="*/ 2 w 4"/>
                <a:gd name="T61" fmla="*/ 2 h 3"/>
                <a:gd name="T62" fmla="*/ 2 w 4"/>
                <a:gd name="T63" fmla="*/ 1 h 3"/>
                <a:gd name="T64" fmla="*/ 2 w 4"/>
                <a:gd name="T65" fmla="*/ 1 h 3"/>
                <a:gd name="T66" fmla="*/ 2 w 4"/>
                <a:gd name="T67" fmla="*/ 1 h 3"/>
                <a:gd name="T68" fmla="*/ 3 w 4"/>
                <a:gd name="T69" fmla="*/ 1 h 3"/>
                <a:gd name="T70" fmla="*/ 3 w 4"/>
                <a:gd name="T71" fmla="*/ 1 h 3"/>
                <a:gd name="T72" fmla="*/ 3 w 4"/>
                <a:gd name="T73" fmla="*/ 1 h 3"/>
                <a:gd name="T74" fmla="*/ 3 w 4"/>
                <a:gd name="T75" fmla="*/ 1 h 3"/>
                <a:gd name="T76" fmla="*/ 3 w 4"/>
                <a:gd name="T77" fmla="*/ 1 h 3"/>
                <a:gd name="T78" fmla="*/ 3 w 4"/>
                <a:gd name="T79" fmla="*/ 1 h 3"/>
                <a:gd name="T80" fmla="*/ 3 w 4"/>
                <a:gd name="T81" fmla="*/ 1 h 3"/>
                <a:gd name="T82" fmla="*/ 3 w 4"/>
                <a:gd name="T83" fmla="*/ 0 h 3"/>
                <a:gd name="T84" fmla="*/ 3 w 4"/>
                <a:gd name="T85" fmla="*/ 0 h 3"/>
                <a:gd name="T86" fmla="*/ 3 w 4"/>
                <a:gd name="T87" fmla="*/ 0 h 3"/>
                <a:gd name="T88" fmla="*/ 3 w 4"/>
                <a:gd name="T89" fmla="*/ 0 h 3"/>
                <a:gd name="T90" fmla="*/ 3 w 4"/>
                <a:gd name="T91" fmla="*/ 0 h 3"/>
                <a:gd name="T92" fmla="*/ 4 w 4"/>
                <a:gd name="T93" fmla="*/ 1 h 3"/>
                <a:gd name="T94" fmla="*/ 4 w 4"/>
                <a:gd name="T95" fmla="*/ 1 h 3"/>
                <a:gd name="T96" fmla="*/ 4 w 4"/>
                <a:gd name="T9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 h="3">
                  <a:moveTo>
                    <a:pt x="4" y="1"/>
                  </a:moveTo>
                  <a:lnTo>
                    <a:pt x="4" y="1"/>
                  </a:lnTo>
                  <a:lnTo>
                    <a:pt x="4" y="1"/>
                  </a:lnTo>
                  <a:lnTo>
                    <a:pt x="4" y="1"/>
                  </a:lnTo>
                  <a:lnTo>
                    <a:pt x="4" y="1"/>
                  </a:lnTo>
                  <a:lnTo>
                    <a:pt x="4" y="1"/>
                  </a:lnTo>
                  <a:lnTo>
                    <a:pt x="4" y="1"/>
                  </a:lnTo>
                  <a:lnTo>
                    <a:pt x="3" y="1"/>
                  </a:lnTo>
                  <a:lnTo>
                    <a:pt x="3" y="1"/>
                  </a:lnTo>
                  <a:lnTo>
                    <a:pt x="3" y="1"/>
                  </a:lnTo>
                  <a:lnTo>
                    <a:pt x="3" y="1"/>
                  </a:lnTo>
                  <a:lnTo>
                    <a:pt x="3" y="1"/>
                  </a:lnTo>
                  <a:lnTo>
                    <a:pt x="2" y="2"/>
                  </a:lnTo>
                  <a:lnTo>
                    <a:pt x="2" y="2"/>
                  </a:lnTo>
                  <a:lnTo>
                    <a:pt x="2" y="2"/>
                  </a:lnTo>
                  <a:lnTo>
                    <a:pt x="1" y="2"/>
                  </a:lnTo>
                  <a:lnTo>
                    <a:pt x="1" y="3"/>
                  </a:lnTo>
                  <a:lnTo>
                    <a:pt x="0" y="2"/>
                  </a:lnTo>
                  <a:lnTo>
                    <a:pt x="1" y="2"/>
                  </a:lnTo>
                  <a:lnTo>
                    <a:pt x="1" y="2"/>
                  </a:lnTo>
                  <a:lnTo>
                    <a:pt x="1" y="2"/>
                  </a:lnTo>
                  <a:lnTo>
                    <a:pt x="1" y="2"/>
                  </a:lnTo>
                  <a:lnTo>
                    <a:pt x="1" y="2"/>
                  </a:lnTo>
                  <a:lnTo>
                    <a:pt x="1" y="2"/>
                  </a:lnTo>
                  <a:lnTo>
                    <a:pt x="1" y="2"/>
                  </a:lnTo>
                  <a:lnTo>
                    <a:pt x="1" y="2"/>
                  </a:lnTo>
                  <a:lnTo>
                    <a:pt x="2" y="2"/>
                  </a:lnTo>
                  <a:lnTo>
                    <a:pt x="2" y="2"/>
                  </a:lnTo>
                  <a:lnTo>
                    <a:pt x="2" y="2"/>
                  </a:lnTo>
                  <a:lnTo>
                    <a:pt x="2" y="2"/>
                  </a:lnTo>
                  <a:lnTo>
                    <a:pt x="2" y="2"/>
                  </a:lnTo>
                  <a:lnTo>
                    <a:pt x="2" y="1"/>
                  </a:lnTo>
                  <a:lnTo>
                    <a:pt x="2" y="1"/>
                  </a:lnTo>
                  <a:lnTo>
                    <a:pt x="2" y="1"/>
                  </a:lnTo>
                  <a:lnTo>
                    <a:pt x="3" y="1"/>
                  </a:lnTo>
                  <a:lnTo>
                    <a:pt x="3" y="1"/>
                  </a:lnTo>
                  <a:lnTo>
                    <a:pt x="3" y="1"/>
                  </a:lnTo>
                  <a:lnTo>
                    <a:pt x="3" y="1"/>
                  </a:lnTo>
                  <a:lnTo>
                    <a:pt x="3" y="1"/>
                  </a:lnTo>
                  <a:lnTo>
                    <a:pt x="3" y="1"/>
                  </a:lnTo>
                  <a:lnTo>
                    <a:pt x="3" y="1"/>
                  </a:lnTo>
                  <a:lnTo>
                    <a:pt x="3" y="0"/>
                  </a:lnTo>
                  <a:lnTo>
                    <a:pt x="3" y="0"/>
                  </a:lnTo>
                  <a:lnTo>
                    <a:pt x="3" y="0"/>
                  </a:lnTo>
                  <a:lnTo>
                    <a:pt x="3" y="0"/>
                  </a:lnTo>
                  <a:lnTo>
                    <a:pt x="3" y="0"/>
                  </a:lnTo>
                  <a:lnTo>
                    <a:pt x="4" y="1"/>
                  </a:lnTo>
                  <a:lnTo>
                    <a:pt x="4" y="1"/>
                  </a:lnTo>
                  <a:lnTo>
                    <a:pt x="4"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17" name="Freeform 1282">
              <a:extLst>
                <a:ext uri="{FF2B5EF4-FFF2-40B4-BE49-F238E27FC236}">
                  <a16:creationId xmlns:a16="http://schemas.microsoft.com/office/drawing/2014/main" id="{B2D4A4FA-4FBD-4D50-AC87-BC8DDBA669DC}"/>
                </a:ext>
              </a:extLst>
            </p:cNvPr>
            <p:cNvSpPr>
              <a:spLocks/>
            </p:cNvSpPr>
            <p:nvPr/>
          </p:nvSpPr>
          <p:spPr bwMode="auto">
            <a:xfrm>
              <a:off x="6241797" y="2565932"/>
              <a:ext cx="1336" cy="1336"/>
            </a:xfrm>
            <a:custGeom>
              <a:avLst/>
              <a:gdLst>
                <a:gd name="T0" fmla="*/ 1 w 1"/>
                <a:gd name="T1" fmla="*/ 1 h 1"/>
                <a:gd name="T2" fmla="*/ 1 w 1"/>
                <a:gd name="T3" fmla="*/ 1 h 1"/>
                <a:gd name="T4" fmla="*/ 1 w 1"/>
                <a:gd name="T5" fmla="*/ 1 h 1"/>
                <a:gd name="T6" fmla="*/ 0 w 1"/>
                <a:gd name="T7" fmla="*/ 1 h 1"/>
                <a:gd name="T8" fmla="*/ 0 w 1"/>
                <a:gd name="T9" fmla="*/ 1 h 1"/>
                <a:gd name="T10" fmla="*/ 0 w 1"/>
                <a:gd name="T11" fmla="*/ 0 h 1"/>
                <a:gd name="T12" fmla="*/ 0 w 1"/>
                <a:gd name="T13" fmla="*/ 0 h 1"/>
                <a:gd name="T14" fmla="*/ 0 w 1"/>
                <a:gd name="T15" fmla="*/ 0 h 1"/>
                <a:gd name="T16" fmla="*/ 1 w 1"/>
                <a:gd name="T17" fmla="*/ 0 h 1"/>
                <a:gd name="T18" fmla="*/ 1 w 1"/>
                <a:gd name="T19" fmla="*/ 0 h 1"/>
                <a:gd name="T20" fmla="*/ 1 w 1"/>
                <a:gd name="T21" fmla="*/ 1 h 1"/>
                <a:gd name="T22" fmla="*/ 1 w 1"/>
                <a:gd name="T23" fmla="*/ 1 h 1"/>
                <a:gd name="T24" fmla="*/ 1 w 1"/>
                <a:gd name="T25" fmla="*/ 1 h 1"/>
                <a:gd name="T26" fmla="*/ 1 w 1"/>
                <a:gd name="T2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 h="1">
                  <a:moveTo>
                    <a:pt x="1" y="1"/>
                  </a:moveTo>
                  <a:lnTo>
                    <a:pt x="1" y="1"/>
                  </a:lnTo>
                  <a:lnTo>
                    <a:pt x="1" y="1"/>
                  </a:lnTo>
                  <a:lnTo>
                    <a:pt x="0" y="1"/>
                  </a:lnTo>
                  <a:lnTo>
                    <a:pt x="0" y="1"/>
                  </a:lnTo>
                  <a:lnTo>
                    <a:pt x="0" y="0"/>
                  </a:lnTo>
                  <a:lnTo>
                    <a:pt x="0" y="0"/>
                  </a:lnTo>
                  <a:lnTo>
                    <a:pt x="0" y="0"/>
                  </a:lnTo>
                  <a:lnTo>
                    <a:pt x="1" y="0"/>
                  </a:lnTo>
                  <a:lnTo>
                    <a:pt x="1" y="0"/>
                  </a:lnTo>
                  <a:lnTo>
                    <a:pt x="1" y="1"/>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18" name="Freeform 1283">
              <a:extLst>
                <a:ext uri="{FF2B5EF4-FFF2-40B4-BE49-F238E27FC236}">
                  <a16:creationId xmlns:a16="http://schemas.microsoft.com/office/drawing/2014/main" id="{7646378C-FDF3-4D54-80ED-0301D81087A3}"/>
                </a:ext>
              </a:extLst>
            </p:cNvPr>
            <p:cNvSpPr>
              <a:spLocks/>
            </p:cNvSpPr>
            <p:nvPr/>
          </p:nvSpPr>
          <p:spPr bwMode="auto">
            <a:xfrm>
              <a:off x="6236455" y="2565932"/>
              <a:ext cx="1336" cy="2671"/>
            </a:xfrm>
            <a:custGeom>
              <a:avLst/>
              <a:gdLst>
                <a:gd name="T0" fmla="*/ 0 w 1"/>
                <a:gd name="T1" fmla="*/ 0 h 2"/>
                <a:gd name="T2" fmla="*/ 0 w 1"/>
                <a:gd name="T3" fmla="*/ 0 h 2"/>
                <a:gd name="T4" fmla="*/ 0 w 1"/>
                <a:gd name="T5" fmla="*/ 0 h 2"/>
                <a:gd name="T6" fmla="*/ 0 w 1"/>
                <a:gd name="T7" fmla="*/ 0 h 2"/>
                <a:gd name="T8" fmla="*/ 1 w 1"/>
                <a:gd name="T9" fmla="*/ 0 h 2"/>
                <a:gd name="T10" fmla="*/ 1 w 1"/>
                <a:gd name="T11" fmla="*/ 0 h 2"/>
                <a:gd name="T12" fmla="*/ 1 w 1"/>
                <a:gd name="T13" fmla="*/ 1 h 2"/>
                <a:gd name="T14" fmla="*/ 1 w 1"/>
                <a:gd name="T15" fmla="*/ 1 h 2"/>
                <a:gd name="T16" fmla="*/ 1 w 1"/>
                <a:gd name="T17" fmla="*/ 1 h 2"/>
                <a:gd name="T18" fmla="*/ 1 w 1"/>
                <a:gd name="T19" fmla="*/ 1 h 2"/>
                <a:gd name="T20" fmla="*/ 1 w 1"/>
                <a:gd name="T21" fmla="*/ 1 h 2"/>
                <a:gd name="T22" fmla="*/ 1 w 1"/>
                <a:gd name="T23" fmla="*/ 1 h 2"/>
                <a:gd name="T24" fmla="*/ 1 w 1"/>
                <a:gd name="T25" fmla="*/ 2 h 2"/>
                <a:gd name="T26" fmla="*/ 1 w 1"/>
                <a:gd name="T27" fmla="*/ 1 h 2"/>
                <a:gd name="T28" fmla="*/ 0 w 1"/>
                <a:gd name="T29" fmla="*/ 1 h 2"/>
                <a:gd name="T30" fmla="*/ 0 w 1"/>
                <a:gd name="T31" fmla="*/ 1 h 2"/>
                <a:gd name="T32" fmla="*/ 0 w 1"/>
                <a:gd name="T33" fmla="*/ 0 h 2"/>
                <a:gd name="T34" fmla="*/ 0 w 1"/>
                <a:gd name="T35" fmla="*/ 0 h 2"/>
                <a:gd name="T36" fmla="*/ 0 w 1"/>
                <a:gd name="T37" fmla="*/ 0 h 2"/>
                <a:gd name="T38" fmla="*/ 0 w 1"/>
                <a:gd name="T39" fmla="*/ 0 h 2"/>
                <a:gd name="T40" fmla="*/ 0 w 1"/>
                <a:gd name="T41" fmla="*/ 0 h 2"/>
                <a:gd name="T42" fmla="*/ 0 w 1"/>
                <a:gd name="T43" fmla="*/ 0 h 2"/>
                <a:gd name="T44" fmla="*/ 0 w 1"/>
                <a:gd name="T45" fmla="*/ 0 h 2"/>
                <a:gd name="T46" fmla="*/ 0 w 1"/>
                <a:gd name="T47" fmla="*/ 0 h 2"/>
                <a:gd name="T48" fmla="*/ 0 w 1"/>
                <a:gd name="T49" fmla="*/ 0 h 2"/>
                <a:gd name="T50" fmla="*/ 0 w 1"/>
                <a:gd name="T51" fmla="*/ 0 h 2"/>
                <a:gd name="T52" fmla="*/ 0 w 1"/>
                <a:gd name="T53" fmla="*/ 0 h 2"/>
                <a:gd name="T54" fmla="*/ 0 w 1"/>
                <a:gd name="T55" fmla="*/ 0 h 2"/>
                <a:gd name="T56" fmla="*/ 0 w 1"/>
                <a:gd name="T5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 h="2">
                  <a:moveTo>
                    <a:pt x="0" y="0"/>
                  </a:moveTo>
                  <a:lnTo>
                    <a:pt x="0" y="0"/>
                  </a:lnTo>
                  <a:lnTo>
                    <a:pt x="0" y="0"/>
                  </a:lnTo>
                  <a:lnTo>
                    <a:pt x="0" y="0"/>
                  </a:lnTo>
                  <a:lnTo>
                    <a:pt x="1" y="0"/>
                  </a:lnTo>
                  <a:lnTo>
                    <a:pt x="1" y="0"/>
                  </a:lnTo>
                  <a:lnTo>
                    <a:pt x="1" y="1"/>
                  </a:lnTo>
                  <a:lnTo>
                    <a:pt x="1" y="1"/>
                  </a:lnTo>
                  <a:lnTo>
                    <a:pt x="1" y="1"/>
                  </a:lnTo>
                  <a:lnTo>
                    <a:pt x="1" y="1"/>
                  </a:lnTo>
                  <a:lnTo>
                    <a:pt x="1" y="1"/>
                  </a:lnTo>
                  <a:lnTo>
                    <a:pt x="1" y="1"/>
                  </a:lnTo>
                  <a:lnTo>
                    <a:pt x="1" y="2"/>
                  </a:lnTo>
                  <a:lnTo>
                    <a:pt x="1" y="1"/>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19" name="Freeform 1284">
              <a:extLst>
                <a:ext uri="{FF2B5EF4-FFF2-40B4-BE49-F238E27FC236}">
                  <a16:creationId xmlns:a16="http://schemas.microsoft.com/office/drawing/2014/main" id="{A2E12697-FF94-4242-A633-EDED3C14DD6B}"/>
                </a:ext>
              </a:extLst>
            </p:cNvPr>
            <p:cNvSpPr>
              <a:spLocks/>
            </p:cNvSpPr>
            <p:nvPr/>
          </p:nvSpPr>
          <p:spPr bwMode="auto">
            <a:xfrm>
              <a:off x="6275184" y="2564596"/>
              <a:ext cx="2671" cy="2671"/>
            </a:xfrm>
            <a:custGeom>
              <a:avLst/>
              <a:gdLst>
                <a:gd name="T0" fmla="*/ 1 w 2"/>
                <a:gd name="T1" fmla="*/ 1 h 2"/>
                <a:gd name="T2" fmla="*/ 1 w 2"/>
                <a:gd name="T3" fmla="*/ 1 h 2"/>
                <a:gd name="T4" fmla="*/ 1 w 2"/>
                <a:gd name="T5" fmla="*/ 1 h 2"/>
                <a:gd name="T6" fmla="*/ 1 w 2"/>
                <a:gd name="T7" fmla="*/ 1 h 2"/>
                <a:gd name="T8" fmla="*/ 1 w 2"/>
                <a:gd name="T9" fmla="*/ 1 h 2"/>
                <a:gd name="T10" fmla="*/ 1 w 2"/>
                <a:gd name="T11" fmla="*/ 1 h 2"/>
                <a:gd name="T12" fmla="*/ 2 w 2"/>
                <a:gd name="T13" fmla="*/ 1 h 2"/>
                <a:gd name="T14" fmla="*/ 2 w 2"/>
                <a:gd name="T15" fmla="*/ 1 h 2"/>
                <a:gd name="T16" fmla="*/ 2 w 2"/>
                <a:gd name="T17" fmla="*/ 1 h 2"/>
                <a:gd name="T18" fmla="*/ 2 w 2"/>
                <a:gd name="T19" fmla="*/ 1 h 2"/>
                <a:gd name="T20" fmla="*/ 2 w 2"/>
                <a:gd name="T21" fmla="*/ 2 h 2"/>
                <a:gd name="T22" fmla="*/ 2 w 2"/>
                <a:gd name="T23" fmla="*/ 2 h 2"/>
                <a:gd name="T24" fmla="*/ 2 w 2"/>
                <a:gd name="T25" fmla="*/ 2 h 2"/>
                <a:gd name="T26" fmla="*/ 2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1 w 2"/>
                <a:gd name="T41" fmla="*/ 2 h 2"/>
                <a:gd name="T42" fmla="*/ 1 w 2"/>
                <a:gd name="T43" fmla="*/ 2 h 2"/>
                <a:gd name="T44" fmla="*/ 1 w 2"/>
                <a:gd name="T45" fmla="*/ 2 h 2"/>
                <a:gd name="T46" fmla="*/ 1 w 2"/>
                <a:gd name="T47" fmla="*/ 2 h 2"/>
                <a:gd name="T48" fmla="*/ 1 w 2"/>
                <a:gd name="T49" fmla="*/ 2 h 2"/>
                <a:gd name="T50" fmla="*/ 1 w 2"/>
                <a:gd name="T51" fmla="*/ 2 h 2"/>
                <a:gd name="T52" fmla="*/ 1 w 2"/>
                <a:gd name="T53" fmla="*/ 2 h 2"/>
                <a:gd name="T54" fmla="*/ 1 w 2"/>
                <a:gd name="T55" fmla="*/ 2 h 2"/>
                <a:gd name="T56" fmla="*/ 1 w 2"/>
                <a:gd name="T57" fmla="*/ 2 h 2"/>
                <a:gd name="T58" fmla="*/ 1 w 2"/>
                <a:gd name="T59" fmla="*/ 2 h 2"/>
                <a:gd name="T60" fmla="*/ 1 w 2"/>
                <a:gd name="T61" fmla="*/ 2 h 2"/>
                <a:gd name="T62" fmla="*/ 0 w 2"/>
                <a:gd name="T63" fmla="*/ 2 h 2"/>
                <a:gd name="T64" fmla="*/ 0 w 2"/>
                <a:gd name="T65" fmla="*/ 2 h 2"/>
                <a:gd name="T66" fmla="*/ 0 w 2"/>
                <a:gd name="T67" fmla="*/ 2 h 2"/>
                <a:gd name="T68" fmla="*/ 0 w 2"/>
                <a:gd name="T69" fmla="*/ 2 h 2"/>
                <a:gd name="T70" fmla="*/ 1 w 2"/>
                <a:gd name="T71" fmla="*/ 2 h 2"/>
                <a:gd name="T72" fmla="*/ 0 w 2"/>
                <a:gd name="T73" fmla="*/ 2 h 2"/>
                <a:gd name="T74" fmla="*/ 0 w 2"/>
                <a:gd name="T75" fmla="*/ 1 h 2"/>
                <a:gd name="T76" fmla="*/ 1 w 2"/>
                <a:gd name="T77" fmla="*/ 1 h 2"/>
                <a:gd name="T78" fmla="*/ 1 w 2"/>
                <a:gd name="T79" fmla="*/ 1 h 2"/>
                <a:gd name="T80" fmla="*/ 1 w 2"/>
                <a:gd name="T81" fmla="*/ 1 h 2"/>
                <a:gd name="T82" fmla="*/ 1 w 2"/>
                <a:gd name="T83" fmla="*/ 1 h 2"/>
                <a:gd name="T84" fmla="*/ 1 w 2"/>
                <a:gd name="T85" fmla="*/ 1 h 2"/>
                <a:gd name="T86" fmla="*/ 1 w 2"/>
                <a:gd name="T87" fmla="*/ 1 h 2"/>
                <a:gd name="T88" fmla="*/ 1 w 2"/>
                <a:gd name="T89" fmla="*/ 1 h 2"/>
                <a:gd name="T90" fmla="*/ 0 w 2"/>
                <a:gd name="T91" fmla="*/ 1 h 2"/>
                <a:gd name="T92" fmla="*/ 0 w 2"/>
                <a:gd name="T93" fmla="*/ 1 h 2"/>
                <a:gd name="T94" fmla="*/ 0 w 2"/>
                <a:gd name="T95" fmla="*/ 1 h 2"/>
                <a:gd name="T96" fmla="*/ 0 w 2"/>
                <a:gd name="T97" fmla="*/ 1 h 2"/>
                <a:gd name="T98" fmla="*/ 0 w 2"/>
                <a:gd name="T99" fmla="*/ 1 h 2"/>
                <a:gd name="T100" fmla="*/ 0 w 2"/>
                <a:gd name="T101" fmla="*/ 1 h 2"/>
                <a:gd name="T102" fmla="*/ 0 w 2"/>
                <a:gd name="T103" fmla="*/ 0 h 2"/>
                <a:gd name="T104" fmla="*/ 0 w 2"/>
                <a:gd name="T105" fmla="*/ 0 h 2"/>
                <a:gd name="T106" fmla="*/ 0 w 2"/>
                <a:gd name="T107" fmla="*/ 0 h 2"/>
                <a:gd name="T108" fmla="*/ 0 w 2"/>
                <a:gd name="T109" fmla="*/ 0 h 2"/>
                <a:gd name="T110" fmla="*/ 0 w 2"/>
                <a:gd name="T111" fmla="*/ 0 h 2"/>
                <a:gd name="T112" fmla="*/ 1 w 2"/>
                <a:gd name="T113" fmla="*/ 1 h 2"/>
                <a:gd name="T114" fmla="*/ 1 w 2"/>
                <a:gd name="T115" fmla="*/ 1 h 2"/>
                <a:gd name="T116" fmla="*/ 1 w 2"/>
                <a:gd name="T11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 h="2">
                  <a:moveTo>
                    <a:pt x="1" y="1"/>
                  </a:moveTo>
                  <a:lnTo>
                    <a:pt x="1" y="1"/>
                  </a:lnTo>
                  <a:lnTo>
                    <a:pt x="1" y="1"/>
                  </a:lnTo>
                  <a:lnTo>
                    <a:pt x="1" y="1"/>
                  </a:lnTo>
                  <a:lnTo>
                    <a:pt x="1" y="1"/>
                  </a:lnTo>
                  <a:lnTo>
                    <a:pt x="1" y="1"/>
                  </a:lnTo>
                  <a:lnTo>
                    <a:pt x="2" y="1"/>
                  </a:lnTo>
                  <a:lnTo>
                    <a:pt x="2" y="1"/>
                  </a:lnTo>
                  <a:lnTo>
                    <a:pt x="2" y="1"/>
                  </a:lnTo>
                  <a:lnTo>
                    <a:pt x="2" y="1"/>
                  </a:lnTo>
                  <a:lnTo>
                    <a:pt x="2" y="2"/>
                  </a:lnTo>
                  <a:lnTo>
                    <a:pt x="2" y="2"/>
                  </a:lnTo>
                  <a:lnTo>
                    <a:pt x="2" y="2"/>
                  </a:lnTo>
                  <a:lnTo>
                    <a:pt x="2" y="2"/>
                  </a:lnTo>
                  <a:lnTo>
                    <a:pt x="2" y="2"/>
                  </a:lnTo>
                  <a:lnTo>
                    <a:pt x="2" y="2"/>
                  </a:lnTo>
                  <a:lnTo>
                    <a:pt x="2" y="2"/>
                  </a:lnTo>
                  <a:lnTo>
                    <a:pt x="2" y="2"/>
                  </a:lnTo>
                  <a:lnTo>
                    <a:pt x="2" y="2"/>
                  </a:lnTo>
                  <a:lnTo>
                    <a:pt x="2" y="2"/>
                  </a:lnTo>
                  <a:lnTo>
                    <a:pt x="1" y="2"/>
                  </a:lnTo>
                  <a:lnTo>
                    <a:pt x="1" y="2"/>
                  </a:lnTo>
                  <a:lnTo>
                    <a:pt x="1" y="2"/>
                  </a:lnTo>
                  <a:lnTo>
                    <a:pt x="1" y="2"/>
                  </a:lnTo>
                  <a:lnTo>
                    <a:pt x="1" y="2"/>
                  </a:lnTo>
                  <a:lnTo>
                    <a:pt x="1" y="2"/>
                  </a:lnTo>
                  <a:lnTo>
                    <a:pt x="1" y="2"/>
                  </a:lnTo>
                  <a:lnTo>
                    <a:pt x="1" y="2"/>
                  </a:lnTo>
                  <a:lnTo>
                    <a:pt x="1" y="2"/>
                  </a:lnTo>
                  <a:lnTo>
                    <a:pt x="1" y="2"/>
                  </a:lnTo>
                  <a:lnTo>
                    <a:pt x="1" y="2"/>
                  </a:lnTo>
                  <a:lnTo>
                    <a:pt x="0" y="2"/>
                  </a:lnTo>
                  <a:lnTo>
                    <a:pt x="0" y="2"/>
                  </a:lnTo>
                  <a:lnTo>
                    <a:pt x="0" y="2"/>
                  </a:lnTo>
                  <a:lnTo>
                    <a:pt x="0" y="2"/>
                  </a:lnTo>
                  <a:lnTo>
                    <a:pt x="1" y="2"/>
                  </a:lnTo>
                  <a:lnTo>
                    <a:pt x="0" y="2"/>
                  </a:lnTo>
                  <a:lnTo>
                    <a:pt x="0" y="1"/>
                  </a:lnTo>
                  <a:lnTo>
                    <a:pt x="1" y="1"/>
                  </a:ln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0"/>
                  </a:lnTo>
                  <a:lnTo>
                    <a:pt x="0" y="0"/>
                  </a:lnTo>
                  <a:lnTo>
                    <a:pt x="0" y="0"/>
                  </a:lnTo>
                  <a:lnTo>
                    <a:pt x="0" y="0"/>
                  </a:lnTo>
                  <a:lnTo>
                    <a:pt x="0" y="0"/>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20" name="Freeform 1285">
              <a:extLst>
                <a:ext uri="{FF2B5EF4-FFF2-40B4-BE49-F238E27FC236}">
                  <a16:creationId xmlns:a16="http://schemas.microsoft.com/office/drawing/2014/main" id="{3F9E961B-28F7-41FA-91E2-56024DEE6FBF}"/>
                </a:ext>
              </a:extLst>
            </p:cNvPr>
            <p:cNvSpPr>
              <a:spLocks/>
            </p:cNvSpPr>
            <p:nvPr/>
          </p:nvSpPr>
          <p:spPr bwMode="auto">
            <a:xfrm>
              <a:off x="6255152" y="2564596"/>
              <a:ext cx="1336" cy="0"/>
            </a:xfrm>
            <a:custGeom>
              <a:avLst/>
              <a:gdLst>
                <a:gd name="T0" fmla="*/ 1 w 1"/>
                <a:gd name="T1" fmla="*/ 1 w 1"/>
                <a:gd name="T2" fmla="*/ 1 w 1"/>
                <a:gd name="T3" fmla="*/ 1 w 1"/>
                <a:gd name="T4" fmla="*/ 1 w 1"/>
                <a:gd name="T5" fmla="*/ 1 w 1"/>
                <a:gd name="T6" fmla="*/ 1 w 1"/>
                <a:gd name="T7" fmla="*/ 1 w 1"/>
                <a:gd name="T8" fmla="*/ 1 w 1"/>
                <a:gd name="T9" fmla="*/ 1 w 1"/>
                <a:gd name="T10" fmla="*/ 1 w 1"/>
                <a:gd name="T11" fmla="*/ 0 w 1"/>
                <a:gd name="T12" fmla="*/ 1 w 1"/>
                <a:gd name="T13" fmla="*/ 1 w 1"/>
                <a:gd name="T14" fmla="*/ 1 w 1"/>
                <a:gd name="T15" fmla="*/ 1 w 1"/>
                <a:gd name="T16"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Lst>
              <a:rect l="0" t="0" r="r" b="b"/>
              <a:pathLst>
                <a:path w="1">
                  <a:moveTo>
                    <a:pt x="1" y="0"/>
                  </a:moveTo>
                  <a:lnTo>
                    <a:pt x="1" y="0"/>
                  </a:lnTo>
                  <a:lnTo>
                    <a:pt x="1" y="0"/>
                  </a:lnTo>
                  <a:lnTo>
                    <a:pt x="1" y="0"/>
                  </a:lnTo>
                  <a:lnTo>
                    <a:pt x="1" y="0"/>
                  </a:lnTo>
                  <a:lnTo>
                    <a:pt x="1" y="0"/>
                  </a:lnTo>
                  <a:lnTo>
                    <a:pt x="1" y="0"/>
                  </a:lnTo>
                  <a:lnTo>
                    <a:pt x="1" y="0"/>
                  </a:lnTo>
                  <a:lnTo>
                    <a:pt x="1" y="0"/>
                  </a:lnTo>
                  <a:lnTo>
                    <a:pt x="1" y="0"/>
                  </a:lnTo>
                  <a:lnTo>
                    <a:pt x="1" y="0"/>
                  </a:lnTo>
                  <a:lnTo>
                    <a:pt x="0"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21" name="Freeform 1286">
              <a:extLst>
                <a:ext uri="{FF2B5EF4-FFF2-40B4-BE49-F238E27FC236}">
                  <a16:creationId xmlns:a16="http://schemas.microsoft.com/office/drawing/2014/main" id="{AA150A9D-00AC-45C9-91AE-6E24309F405A}"/>
                </a:ext>
              </a:extLst>
            </p:cNvPr>
            <p:cNvSpPr>
              <a:spLocks/>
            </p:cNvSpPr>
            <p:nvPr/>
          </p:nvSpPr>
          <p:spPr bwMode="auto">
            <a:xfrm>
              <a:off x="6243133" y="2561925"/>
              <a:ext cx="4007" cy="5342"/>
            </a:xfrm>
            <a:custGeom>
              <a:avLst/>
              <a:gdLst>
                <a:gd name="T0" fmla="*/ 3 w 3"/>
                <a:gd name="T1" fmla="*/ 2 h 4"/>
                <a:gd name="T2" fmla="*/ 3 w 3"/>
                <a:gd name="T3" fmla="*/ 2 h 4"/>
                <a:gd name="T4" fmla="*/ 3 w 3"/>
                <a:gd name="T5" fmla="*/ 2 h 4"/>
                <a:gd name="T6" fmla="*/ 3 w 3"/>
                <a:gd name="T7" fmla="*/ 2 h 4"/>
                <a:gd name="T8" fmla="*/ 3 w 3"/>
                <a:gd name="T9" fmla="*/ 3 h 4"/>
                <a:gd name="T10" fmla="*/ 3 w 3"/>
                <a:gd name="T11" fmla="*/ 3 h 4"/>
                <a:gd name="T12" fmla="*/ 3 w 3"/>
                <a:gd name="T13" fmla="*/ 3 h 4"/>
                <a:gd name="T14" fmla="*/ 3 w 3"/>
                <a:gd name="T15" fmla="*/ 3 h 4"/>
                <a:gd name="T16" fmla="*/ 3 w 3"/>
                <a:gd name="T17" fmla="*/ 3 h 4"/>
                <a:gd name="T18" fmla="*/ 3 w 3"/>
                <a:gd name="T19" fmla="*/ 3 h 4"/>
                <a:gd name="T20" fmla="*/ 3 w 3"/>
                <a:gd name="T21" fmla="*/ 3 h 4"/>
                <a:gd name="T22" fmla="*/ 3 w 3"/>
                <a:gd name="T23" fmla="*/ 3 h 4"/>
                <a:gd name="T24" fmla="*/ 3 w 3"/>
                <a:gd name="T25" fmla="*/ 3 h 4"/>
                <a:gd name="T26" fmla="*/ 3 w 3"/>
                <a:gd name="T27" fmla="*/ 3 h 4"/>
                <a:gd name="T28" fmla="*/ 2 w 3"/>
                <a:gd name="T29" fmla="*/ 3 h 4"/>
                <a:gd name="T30" fmla="*/ 2 w 3"/>
                <a:gd name="T31" fmla="*/ 4 h 4"/>
                <a:gd name="T32" fmla="*/ 2 w 3"/>
                <a:gd name="T33" fmla="*/ 4 h 4"/>
                <a:gd name="T34" fmla="*/ 2 w 3"/>
                <a:gd name="T35" fmla="*/ 4 h 4"/>
                <a:gd name="T36" fmla="*/ 0 w 3"/>
                <a:gd name="T37" fmla="*/ 4 h 4"/>
                <a:gd name="T38" fmla="*/ 0 w 3"/>
                <a:gd name="T39" fmla="*/ 3 h 4"/>
                <a:gd name="T40" fmla="*/ 0 w 3"/>
                <a:gd name="T41" fmla="*/ 3 h 4"/>
                <a:gd name="T42" fmla="*/ 0 w 3"/>
                <a:gd name="T43" fmla="*/ 3 h 4"/>
                <a:gd name="T44" fmla="*/ 0 w 3"/>
                <a:gd name="T45" fmla="*/ 3 h 4"/>
                <a:gd name="T46" fmla="*/ 0 w 3"/>
                <a:gd name="T47" fmla="*/ 3 h 4"/>
                <a:gd name="T48" fmla="*/ 0 w 3"/>
                <a:gd name="T49" fmla="*/ 2 h 4"/>
                <a:gd name="T50" fmla="*/ 0 w 3"/>
                <a:gd name="T51" fmla="*/ 2 h 4"/>
                <a:gd name="T52" fmla="*/ 0 w 3"/>
                <a:gd name="T53" fmla="*/ 2 h 4"/>
                <a:gd name="T54" fmla="*/ 0 w 3"/>
                <a:gd name="T55" fmla="*/ 2 h 4"/>
                <a:gd name="T56" fmla="*/ 0 w 3"/>
                <a:gd name="T57" fmla="*/ 2 h 4"/>
                <a:gd name="T58" fmla="*/ 0 w 3"/>
                <a:gd name="T59" fmla="*/ 2 h 4"/>
                <a:gd name="T60" fmla="*/ 2 w 3"/>
                <a:gd name="T61" fmla="*/ 2 h 4"/>
                <a:gd name="T62" fmla="*/ 2 w 3"/>
                <a:gd name="T63" fmla="*/ 0 h 4"/>
                <a:gd name="T64" fmla="*/ 2 w 3"/>
                <a:gd name="T65" fmla="*/ 0 h 4"/>
                <a:gd name="T66" fmla="*/ 2 w 3"/>
                <a:gd name="T67" fmla="*/ 2 h 4"/>
                <a:gd name="T68" fmla="*/ 2 w 3"/>
                <a:gd name="T69" fmla="*/ 2 h 4"/>
                <a:gd name="T70" fmla="*/ 3 w 3"/>
                <a:gd name="T71" fmla="*/ 2 h 4"/>
                <a:gd name="T72" fmla="*/ 3 w 3"/>
                <a:gd name="T73" fmla="*/ 2 h 4"/>
                <a:gd name="T74" fmla="*/ 3 w 3"/>
                <a:gd name="T75" fmla="*/ 0 h 4"/>
                <a:gd name="T76" fmla="*/ 3 w 3"/>
                <a:gd name="T77" fmla="*/ 0 h 4"/>
                <a:gd name="T78" fmla="*/ 3 w 3"/>
                <a:gd name="T79" fmla="*/ 0 h 4"/>
                <a:gd name="T80" fmla="*/ 3 w 3"/>
                <a:gd name="T81" fmla="*/ 0 h 4"/>
                <a:gd name="T82" fmla="*/ 3 w 3"/>
                <a:gd name="T83" fmla="*/ 0 h 4"/>
                <a:gd name="T84" fmla="*/ 3 w 3"/>
                <a:gd name="T85" fmla="*/ 2 h 4"/>
                <a:gd name="T86" fmla="*/ 3 w 3"/>
                <a:gd name="T87" fmla="*/ 2 h 4"/>
                <a:gd name="T88" fmla="*/ 3 w 3"/>
                <a:gd name="T8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 h="4">
                  <a:moveTo>
                    <a:pt x="3" y="2"/>
                  </a:moveTo>
                  <a:lnTo>
                    <a:pt x="3" y="2"/>
                  </a:lnTo>
                  <a:lnTo>
                    <a:pt x="3" y="2"/>
                  </a:lnTo>
                  <a:lnTo>
                    <a:pt x="3" y="2"/>
                  </a:lnTo>
                  <a:lnTo>
                    <a:pt x="3" y="3"/>
                  </a:lnTo>
                  <a:lnTo>
                    <a:pt x="3" y="3"/>
                  </a:lnTo>
                  <a:lnTo>
                    <a:pt x="3" y="3"/>
                  </a:lnTo>
                  <a:lnTo>
                    <a:pt x="3" y="3"/>
                  </a:lnTo>
                  <a:lnTo>
                    <a:pt x="3" y="3"/>
                  </a:lnTo>
                  <a:lnTo>
                    <a:pt x="3" y="3"/>
                  </a:lnTo>
                  <a:lnTo>
                    <a:pt x="3" y="3"/>
                  </a:lnTo>
                  <a:lnTo>
                    <a:pt x="3" y="3"/>
                  </a:lnTo>
                  <a:lnTo>
                    <a:pt x="3" y="3"/>
                  </a:lnTo>
                  <a:lnTo>
                    <a:pt x="3" y="3"/>
                  </a:lnTo>
                  <a:lnTo>
                    <a:pt x="2" y="3"/>
                  </a:lnTo>
                  <a:lnTo>
                    <a:pt x="2" y="4"/>
                  </a:lnTo>
                  <a:lnTo>
                    <a:pt x="2" y="4"/>
                  </a:lnTo>
                  <a:lnTo>
                    <a:pt x="2" y="4"/>
                  </a:lnTo>
                  <a:lnTo>
                    <a:pt x="0" y="4"/>
                  </a:lnTo>
                  <a:lnTo>
                    <a:pt x="0" y="3"/>
                  </a:lnTo>
                  <a:lnTo>
                    <a:pt x="0" y="3"/>
                  </a:lnTo>
                  <a:lnTo>
                    <a:pt x="0" y="3"/>
                  </a:lnTo>
                  <a:lnTo>
                    <a:pt x="0" y="3"/>
                  </a:lnTo>
                  <a:lnTo>
                    <a:pt x="0" y="3"/>
                  </a:lnTo>
                  <a:lnTo>
                    <a:pt x="0" y="2"/>
                  </a:lnTo>
                  <a:lnTo>
                    <a:pt x="0" y="2"/>
                  </a:lnTo>
                  <a:lnTo>
                    <a:pt x="0" y="2"/>
                  </a:lnTo>
                  <a:lnTo>
                    <a:pt x="0" y="2"/>
                  </a:lnTo>
                  <a:lnTo>
                    <a:pt x="0" y="2"/>
                  </a:lnTo>
                  <a:lnTo>
                    <a:pt x="0" y="2"/>
                  </a:lnTo>
                  <a:lnTo>
                    <a:pt x="2" y="2"/>
                  </a:lnTo>
                  <a:lnTo>
                    <a:pt x="2" y="0"/>
                  </a:lnTo>
                  <a:lnTo>
                    <a:pt x="2" y="0"/>
                  </a:lnTo>
                  <a:lnTo>
                    <a:pt x="2" y="2"/>
                  </a:lnTo>
                  <a:lnTo>
                    <a:pt x="2" y="2"/>
                  </a:lnTo>
                  <a:lnTo>
                    <a:pt x="3" y="2"/>
                  </a:lnTo>
                  <a:lnTo>
                    <a:pt x="3" y="2"/>
                  </a:lnTo>
                  <a:lnTo>
                    <a:pt x="3" y="0"/>
                  </a:lnTo>
                  <a:lnTo>
                    <a:pt x="3" y="0"/>
                  </a:lnTo>
                  <a:lnTo>
                    <a:pt x="3" y="0"/>
                  </a:lnTo>
                  <a:lnTo>
                    <a:pt x="3" y="0"/>
                  </a:lnTo>
                  <a:lnTo>
                    <a:pt x="3" y="0"/>
                  </a:lnTo>
                  <a:lnTo>
                    <a:pt x="3" y="2"/>
                  </a:lnTo>
                  <a:lnTo>
                    <a:pt x="3" y="2"/>
                  </a:lnTo>
                  <a:lnTo>
                    <a:pt x="3"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22" name="Freeform 1287">
              <a:extLst>
                <a:ext uri="{FF2B5EF4-FFF2-40B4-BE49-F238E27FC236}">
                  <a16:creationId xmlns:a16="http://schemas.microsoft.com/office/drawing/2014/main" id="{4715F630-593C-422D-964F-68A138D9C939}"/>
                </a:ext>
              </a:extLst>
            </p:cNvPr>
            <p:cNvSpPr>
              <a:spLocks/>
            </p:cNvSpPr>
            <p:nvPr/>
          </p:nvSpPr>
          <p:spPr bwMode="auto">
            <a:xfrm>
              <a:off x="6271178" y="2561925"/>
              <a:ext cx="4007" cy="2671"/>
            </a:xfrm>
            <a:custGeom>
              <a:avLst/>
              <a:gdLst>
                <a:gd name="T0" fmla="*/ 2 w 3"/>
                <a:gd name="T1" fmla="*/ 0 h 2"/>
                <a:gd name="T2" fmla="*/ 2 w 3"/>
                <a:gd name="T3" fmla="*/ 0 h 2"/>
                <a:gd name="T4" fmla="*/ 2 w 3"/>
                <a:gd name="T5" fmla="*/ 0 h 2"/>
                <a:gd name="T6" fmla="*/ 2 w 3"/>
                <a:gd name="T7" fmla="*/ 0 h 2"/>
                <a:gd name="T8" fmla="*/ 2 w 3"/>
                <a:gd name="T9" fmla="*/ 0 h 2"/>
                <a:gd name="T10" fmla="*/ 2 w 3"/>
                <a:gd name="T11" fmla="*/ 0 h 2"/>
                <a:gd name="T12" fmla="*/ 2 w 3"/>
                <a:gd name="T13" fmla="*/ 0 h 2"/>
                <a:gd name="T14" fmla="*/ 2 w 3"/>
                <a:gd name="T15" fmla="*/ 0 h 2"/>
                <a:gd name="T16" fmla="*/ 2 w 3"/>
                <a:gd name="T17" fmla="*/ 0 h 2"/>
                <a:gd name="T18" fmla="*/ 2 w 3"/>
                <a:gd name="T19" fmla="*/ 0 h 2"/>
                <a:gd name="T20" fmla="*/ 2 w 3"/>
                <a:gd name="T21" fmla="*/ 0 h 2"/>
                <a:gd name="T22" fmla="*/ 3 w 3"/>
                <a:gd name="T23" fmla="*/ 0 h 2"/>
                <a:gd name="T24" fmla="*/ 3 w 3"/>
                <a:gd name="T25" fmla="*/ 0 h 2"/>
                <a:gd name="T26" fmla="*/ 3 w 3"/>
                <a:gd name="T27" fmla="*/ 2 h 2"/>
                <a:gd name="T28" fmla="*/ 3 w 3"/>
                <a:gd name="T29" fmla="*/ 2 h 2"/>
                <a:gd name="T30" fmla="*/ 3 w 3"/>
                <a:gd name="T31" fmla="*/ 2 h 2"/>
                <a:gd name="T32" fmla="*/ 3 w 3"/>
                <a:gd name="T33" fmla="*/ 2 h 2"/>
                <a:gd name="T34" fmla="*/ 3 w 3"/>
                <a:gd name="T35" fmla="*/ 2 h 2"/>
                <a:gd name="T36" fmla="*/ 3 w 3"/>
                <a:gd name="T37" fmla="*/ 2 h 2"/>
                <a:gd name="T38" fmla="*/ 3 w 3"/>
                <a:gd name="T39" fmla="*/ 2 h 2"/>
                <a:gd name="T40" fmla="*/ 3 w 3"/>
                <a:gd name="T41" fmla="*/ 2 h 2"/>
                <a:gd name="T42" fmla="*/ 3 w 3"/>
                <a:gd name="T43" fmla="*/ 2 h 2"/>
                <a:gd name="T44" fmla="*/ 2 w 3"/>
                <a:gd name="T45" fmla="*/ 2 h 2"/>
                <a:gd name="T46" fmla="*/ 2 w 3"/>
                <a:gd name="T47" fmla="*/ 2 h 2"/>
                <a:gd name="T48" fmla="*/ 2 w 3"/>
                <a:gd name="T49" fmla="*/ 2 h 2"/>
                <a:gd name="T50" fmla="*/ 2 w 3"/>
                <a:gd name="T51" fmla="*/ 2 h 2"/>
                <a:gd name="T52" fmla="*/ 2 w 3"/>
                <a:gd name="T53" fmla="*/ 2 h 2"/>
                <a:gd name="T54" fmla="*/ 2 w 3"/>
                <a:gd name="T55" fmla="*/ 2 h 2"/>
                <a:gd name="T56" fmla="*/ 2 w 3"/>
                <a:gd name="T57" fmla="*/ 2 h 2"/>
                <a:gd name="T58" fmla="*/ 2 w 3"/>
                <a:gd name="T59" fmla="*/ 2 h 2"/>
                <a:gd name="T60" fmla="*/ 2 w 3"/>
                <a:gd name="T61" fmla="*/ 2 h 2"/>
                <a:gd name="T62" fmla="*/ 2 w 3"/>
                <a:gd name="T63" fmla="*/ 2 h 2"/>
                <a:gd name="T64" fmla="*/ 2 w 3"/>
                <a:gd name="T65" fmla="*/ 0 h 2"/>
                <a:gd name="T66" fmla="*/ 2 w 3"/>
                <a:gd name="T67" fmla="*/ 0 h 2"/>
                <a:gd name="T68" fmla="*/ 2 w 3"/>
                <a:gd name="T69" fmla="*/ 0 h 2"/>
                <a:gd name="T70" fmla="*/ 2 w 3"/>
                <a:gd name="T71" fmla="*/ 0 h 2"/>
                <a:gd name="T72" fmla="*/ 2 w 3"/>
                <a:gd name="T73" fmla="*/ 0 h 2"/>
                <a:gd name="T74" fmla="*/ 0 w 3"/>
                <a:gd name="T75" fmla="*/ 0 h 2"/>
                <a:gd name="T76" fmla="*/ 2 w 3"/>
                <a:gd name="T77" fmla="*/ 0 h 2"/>
                <a:gd name="T78" fmla="*/ 2 w 3"/>
                <a:gd name="T79" fmla="*/ 0 h 2"/>
                <a:gd name="T80" fmla="*/ 2 w 3"/>
                <a:gd name="T81" fmla="*/ 0 h 2"/>
                <a:gd name="T82" fmla="*/ 2 w 3"/>
                <a:gd name="T83" fmla="*/ 0 h 2"/>
                <a:gd name="T84" fmla="*/ 2 w 3"/>
                <a:gd name="T85" fmla="*/ 0 h 2"/>
                <a:gd name="T86" fmla="*/ 2 w 3"/>
                <a:gd name="T8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 h="2">
                  <a:moveTo>
                    <a:pt x="2" y="0"/>
                  </a:moveTo>
                  <a:lnTo>
                    <a:pt x="2" y="0"/>
                  </a:lnTo>
                  <a:lnTo>
                    <a:pt x="2" y="0"/>
                  </a:lnTo>
                  <a:lnTo>
                    <a:pt x="2" y="0"/>
                  </a:lnTo>
                  <a:lnTo>
                    <a:pt x="2" y="0"/>
                  </a:lnTo>
                  <a:lnTo>
                    <a:pt x="2" y="0"/>
                  </a:lnTo>
                  <a:lnTo>
                    <a:pt x="2" y="0"/>
                  </a:lnTo>
                  <a:lnTo>
                    <a:pt x="2" y="0"/>
                  </a:lnTo>
                  <a:lnTo>
                    <a:pt x="2" y="0"/>
                  </a:lnTo>
                  <a:lnTo>
                    <a:pt x="2" y="0"/>
                  </a:lnTo>
                  <a:lnTo>
                    <a:pt x="2" y="0"/>
                  </a:lnTo>
                  <a:lnTo>
                    <a:pt x="3" y="0"/>
                  </a:lnTo>
                  <a:lnTo>
                    <a:pt x="3" y="0"/>
                  </a:lnTo>
                  <a:lnTo>
                    <a:pt x="3" y="2"/>
                  </a:lnTo>
                  <a:lnTo>
                    <a:pt x="3" y="2"/>
                  </a:lnTo>
                  <a:lnTo>
                    <a:pt x="3" y="2"/>
                  </a:lnTo>
                  <a:lnTo>
                    <a:pt x="3" y="2"/>
                  </a:lnTo>
                  <a:lnTo>
                    <a:pt x="3" y="2"/>
                  </a:lnTo>
                  <a:lnTo>
                    <a:pt x="3" y="2"/>
                  </a:lnTo>
                  <a:lnTo>
                    <a:pt x="3" y="2"/>
                  </a:lnTo>
                  <a:lnTo>
                    <a:pt x="3" y="2"/>
                  </a:lnTo>
                  <a:lnTo>
                    <a:pt x="3" y="2"/>
                  </a:lnTo>
                  <a:lnTo>
                    <a:pt x="2" y="2"/>
                  </a:lnTo>
                  <a:lnTo>
                    <a:pt x="2" y="2"/>
                  </a:lnTo>
                  <a:lnTo>
                    <a:pt x="2" y="2"/>
                  </a:lnTo>
                  <a:lnTo>
                    <a:pt x="2" y="2"/>
                  </a:lnTo>
                  <a:lnTo>
                    <a:pt x="2" y="2"/>
                  </a:lnTo>
                  <a:lnTo>
                    <a:pt x="2" y="2"/>
                  </a:lnTo>
                  <a:lnTo>
                    <a:pt x="2" y="2"/>
                  </a:lnTo>
                  <a:lnTo>
                    <a:pt x="2" y="2"/>
                  </a:lnTo>
                  <a:lnTo>
                    <a:pt x="2" y="2"/>
                  </a:lnTo>
                  <a:lnTo>
                    <a:pt x="2" y="2"/>
                  </a:lnTo>
                  <a:lnTo>
                    <a:pt x="2" y="0"/>
                  </a:lnTo>
                  <a:lnTo>
                    <a:pt x="2" y="0"/>
                  </a:lnTo>
                  <a:lnTo>
                    <a:pt x="2" y="0"/>
                  </a:lnTo>
                  <a:lnTo>
                    <a:pt x="2" y="0"/>
                  </a:lnTo>
                  <a:lnTo>
                    <a:pt x="2" y="0"/>
                  </a:lnTo>
                  <a:lnTo>
                    <a:pt x="0" y="0"/>
                  </a:lnTo>
                  <a:lnTo>
                    <a:pt x="2" y="0"/>
                  </a:lnTo>
                  <a:lnTo>
                    <a:pt x="2" y="0"/>
                  </a:lnTo>
                  <a:lnTo>
                    <a:pt x="2"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23" name="Freeform 1288">
              <a:extLst>
                <a:ext uri="{FF2B5EF4-FFF2-40B4-BE49-F238E27FC236}">
                  <a16:creationId xmlns:a16="http://schemas.microsoft.com/office/drawing/2014/main" id="{72A3DB69-D766-40D5-9A75-1E2A8D79E9B1}"/>
                </a:ext>
              </a:extLst>
            </p:cNvPr>
            <p:cNvSpPr>
              <a:spLocks/>
            </p:cNvSpPr>
            <p:nvPr/>
          </p:nvSpPr>
          <p:spPr bwMode="auto">
            <a:xfrm>
              <a:off x="6248475" y="2561925"/>
              <a:ext cx="2671" cy="6678"/>
            </a:xfrm>
            <a:custGeom>
              <a:avLst/>
              <a:gdLst>
                <a:gd name="T0" fmla="*/ 2 w 2"/>
                <a:gd name="T1" fmla="*/ 2 h 5"/>
                <a:gd name="T2" fmla="*/ 2 w 2"/>
                <a:gd name="T3" fmla="*/ 2 h 5"/>
                <a:gd name="T4" fmla="*/ 2 w 2"/>
                <a:gd name="T5" fmla="*/ 3 h 5"/>
                <a:gd name="T6" fmla="*/ 2 w 2"/>
                <a:gd name="T7" fmla="*/ 3 h 5"/>
                <a:gd name="T8" fmla="*/ 2 w 2"/>
                <a:gd name="T9" fmla="*/ 4 h 5"/>
                <a:gd name="T10" fmla="*/ 2 w 2"/>
                <a:gd name="T11" fmla="*/ 4 h 5"/>
                <a:gd name="T12" fmla="*/ 2 w 2"/>
                <a:gd name="T13" fmla="*/ 4 h 5"/>
                <a:gd name="T14" fmla="*/ 2 w 2"/>
                <a:gd name="T15" fmla="*/ 4 h 5"/>
                <a:gd name="T16" fmla="*/ 1 w 2"/>
                <a:gd name="T17" fmla="*/ 4 h 5"/>
                <a:gd name="T18" fmla="*/ 1 w 2"/>
                <a:gd name="T19" fmla="*/ 4 h 5"/>
                <a:gd name="T20" fmla="*/ 1 w 2"/>
                <a:gd name="T21" fmla="*/ 4 h 5"/>
                <a:gd name="T22" fmla="*/ 1 w 2"/>
                <a:gd name="T23" fmla="*/ 5 h 5"/>
                <a:gd name="T24" fmla="*/ 1 w 2"/>
                <a:gd name="T25" fmla="*/ 4 h 5"/>
                <a:gd name="T26" fmla="*/ 1 w 2"/>
                <a:gd name="T27" fmla="*/ 4 h 5"/>
                <a:gd name="T28" fmla="*/ 1 w 2"/>
                <a:gd name="T29" fmla="*/ 4 h 5"/>
                <a:gd name="T30" fmla="*/ 1 w 2"/>
                <a:gd name="T31" fmla="*/ 4 h 5"/>
                <a:gd name="T32" fmla="*/ 1 w 2"/>
                <a:gd name="T33" fmla="*/ 4 h 5"/>
                <a:gd name="T34" fmla="*/ 1 w 2"/>
                <a:gd name="T35" fmla="*/ 4 h 5"/>
                <a:gd name="T36" fmla="*/ 1 w 2"/>
                <a:gd name="T37" fmla="*/ 4 h 5"/>
                <a:gd name="T38" fmla="*/ 0 w 2"/>
                <a:gd name="T39" fmla="*/ 4 h 5"/>
                <a:gd name="T40" fmla="*/ 0 w 2"/>
                <a:gd name="T41" fmla="*/ 4 h 5"/>
                <a:gd name="T42" fmla="*/ 0 w 2"/>
                <a:gd name="T43" fmla="*/ 3 h 5"/>
                <a:gd name="T44" fmla="*/ 0 w 2"/>
                <a:gd name="T45" fmla="*/ 3 h 5"/>
                <a:gd name="T46" fmla="*/ 0 w 2"/>
                <a:gd name="T47" fmla="*/ 3 h 5"/>
                <a:gd name="T48" fmla="*/ 0 w 2"/>
                <a:gd name="T49" fmla="*/ 3 h 5"/>
                <a:gd name="T50" fmla="*/ 0 w 2"/>
                <a:gd name="T51" fmla="*/ 3 h 5"/>
                <a:gd name="T52" fmla="*/ 0 w 2"/>
                <a:gd name="T53" fmla="*/ 3 h 5"/>
                <a:gd name="T54" fmla="*/ 0 w 2"/>
                <a:gd name="T55" fmla="*/ 3 h 5"/>
                <a:gd name="T56" fmla="*/ 0 w 2"/>
                <a:gd name="T57" fmla="*/ 3 h 5"/>
                <a:gd name="T58" fmla="*/ 0 w 2"/>
                <a:gd name="T59" fmla="*/ 2 h 5"/>
                <a:gd name="T60" fmla="*/ 0 w 2"/>
                <a:gd name="T61" fmla="*/ 2 h 5"/>
                <a:gd name="T62" fmla="*/ 0 w 2"/>
                <a:gd name="T63" fmla="*/ 2 h 5"/>
                <a:gd name="T64" fmla="*/ 0 w 2"/>
                <a:gd name="T65" fmla="*/ 2 h 5"/>
                <a:gd name="T66" fmla="*/ 0 w 2"/>
                <a:gd name="T67" fmla="*/ 2 h 5"/>
                <a:gd name="T68" fmla="*/ 0 w 2"/>
                <a:gd name="T69" fmla="*/ 2 h 5"/>
                <a:gd name="T70" fmla="*/ 0 w 2"/>
                <a:gd name="T71" fmla="*/ 2 h 5"/>
                <a:gd name="T72" fmla="*/ 0 w 2"/>
                <a:gd name="T73" fmla="*/ 2 h 5"/>
                <a:gd name="T74" fmla="*/ 0 w 2"/>
                <a:gd name="T75" fmla="*/ 2 h 5"/>
                <a:gd name="T76" fmla="*/ 1 w 2"/>
                <a:gd name="T77" fmla="*/ 0 h 5"/>
                <a:gd name="T78" fmla="*/ 1 w 2"/>
                <a:gd name="T79" fmla="*/ 0 h 5"/>
                <a:gd name="T80" fmla="*/ 1 w 2"/>
                <a:gd name="T81" fmla="*/ 0 h 5"/>
                <a:gd name="T82" fmla="*/ 1 w 2"/>
                <a:gd name="T83" fmla="*/ 0 h 5"/>
                <a:gd name="T84" fmla="*/ 1 w 2"/>
                <a:gd name="T85" fmla="*/ 0 h 5"/>
                <a:gd name="T86" fmla="*/ 2 w 2"/>
                <a:gd name="T87" fmla="*/ 0 h 5"/>
                <a:gd name="T88" fmla="*/ 2 w 2"/>
                <a:gd name="T89" fmla="*/ 0 h 5"/>
                <a:gd name="T90" fmla="*/ 2 w 2"/>
                <a:gd name="T91" fmla="*/ 0 h 5"/>
                <a:gd name="T92" fmla="*/ 2 w 2"/>
                <a:gd name="T93" fmla="*/ 0 h 5"/>
                <a:gd name="T94" fmla="*/ 2 w 2"/>
                <a:gd name="T95" fmla="*/ 0 h 5"/>
                <a:gd name="T96" fmla="*/ 2 w 2"/>
                <a:gd name="T97" fmla="*/ 0 h 5"/>
                <a:gd name="T98" fmla="*/ 2 w 2"/>
                <a:gd name="T9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 h="5">
                  <a:moveTo>
                    <a:pt x="2" y="2"/>
                  </a:moveTo>
                  <a:lnTo>
                    <a:pt x="2" y="2"/>
                  </a:lnTo>
                  <a:lnTo>
                    <a:pt x="2" y="3"/>
                  </a:lnTo>
                  <a:lnTo>
                    <a:pt x="2" y="3"/>
                  </a:lnTo>
                  <a:lnTo>
                    <a:pt x="2" y="4"/>
                  </a:lnTo>
                  <a:lnTo>
                    <a:pt x="2" y="4"/>
                  </a:lnTo>
                  <a:lnTo>
                    <a:pt x="2" y="4"/>
                  </a:lnTo>
                  <a:lnTo>
                    <a:pt x="2" y="4"/>
                  </a:lnTo>
                  <a:lnTo>
                    <a:pt x="1" y="4"/>
                  </a:lnTo>
                  <a:lnTo>
                    <a:pt x="1" y="4"/>
                  </a:lnTo>
                  <a:lnTo>
                    <a:pt x="1" y="4"/>
                  </a:lnTo>
                  <a:lnTo>
                    <a:pt x="1" y="5"/>
                  </a:lnTo>
                  <a:lnTo>
                    <a:pt x="1" y="4"/>
                  </a:lnTo>
                  <a:lnTo>
                    <a:pt x="1" y="4"/>
                  </a:lnTo>
                  <a:lnTo>
                    <a:pt x="1" y="4"/>
                  </a:lnTo>
                  <a:lnTo>
                    <a:pt x="1" y="4"/>
                  </a:lnTo>
                  <a:lnTo>
                    <a:pt x="1" y="4"/>
                  </a:lnTo>
                  <a:lnTo>
                    <a:pt x="1" y="4"/>
                  </a:lnTo>
                  <a:lnTo>
                    <a:pt x="1" y="4"/>
                  </a:lnTo>
                  <a:lnTo>
                    <a:pt x="0" y="4"/>
                  </a:lnTo>
                  <a:lnTo>
                    <a:pt x="0" y="4"/>
                  </a:lnTo>
                  <a:lnTo>
                    <a:pt x="0" y="3"/>
                  </a:lnTo>
                  <a:lnTo>
                    <a:pt x="0" y="3"/>
                  </a:lnTo>
                  <a:lnTo>
                    <a:pt x="0" y="3"/>
                  </a:lnTo>
                  <a:lnTo>
                    <a:pt x="0" y="3"/>
                  </a:lnTo>
                  <a:lnTo>
                    <a:pt x="0" y="3"/>
                  </a:lnTo>
                  <a:lnTo>
                    <a:pt x="0" y="3"/>
                  </a:lnTo>
                  <a:lnTo>
                    <a:pt x="0" y="3"/>
                  </a:lnTo>
                  <a:lnTo>
                    <a:pt x="0" y="3"/>
                  </a:lnTo>
                  <a:lnTo>
                    <a:pt x="0" y="2"/>
                  </a:lnTo>
                  <a:lnTo>
                    <a:pt x="0" y="2"/>
                  </a:lnTo>
                  <a:lnTo>
                    <a:pt x="0" y="2"/>
                  </a:lnTo>
                  <a:lnTo>
                    <a:pt x="0" y="2"/>
                  </a:lnTo>
                  <a:lnTo>
                    <a:pt x="0" y="2"/>
                  </a:lnTo>
                  <a:lnTo>
                    <a:pt x="0" y="2"/>
                  </a:lnTo>
                  <a:lnTo>
                    <a:pt x="0" y="2"/>
                  </a:lnTo>
                  <a:lnTo>
                    <a:pt x="0" y="2"/>
                  </a:lnTo>
                  <a:lnTo>
                    <a:pt x="0" y="2"/>
                  </a:lnTo>
                  <a:lnTo>
                    <a:pt x="1" y="0"/>
                  </a:lnTo>
                  <a:lnTo>
                    <a:pt x="1" y="0"/>
                  </a:lnTo>
                  <a:lnTo>
                    <a:pt x="1" y="0"/>
                  </a:lnTo>
                  <a:lnTo>
                    <a:pt x="1" y="0"/>
                  </a:lnTo>
                  <a:lnTo>
                    <a:pt x="1" y="0"/>
                  </a:lnTo>
                  <a:lnTo>
                    <a:pt x="2" y="0"/>
                  </a:lnTo>
                  <a:lnTo>
                    <a:pt x="2" y="0"/>
                  </a:lnTo>
                  <a:lnTo>
                    <a:pt x="2" y="0"/>
                  </a:lnTo>
                  <a:lnTo>
                    <a:pt x="2" y="0"/>
                  </a:lnTo>
                  <a:lnTo>
                    <a:pt x="2" y="0"/>
                  </a:lnTo>
                  <a:lnTo>
                    <a:pt x="2" y="0"/>
                  </a:lnTo>
                  <a:lnTo>
                    <a:pt x="2"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24" name="Freeform 1289">
              <a:extLst>
                <a:ext uri="{FF2B5EF4-FFF2-40B4-BE49-F238E27FC236}">
                  <a16:creationId xmlns:a16="http://schemas.microsoft.com/office/drawing/2014/main" id="{44C59E50-DCFD-4212-A962-DD6C1731DB3F}"/>
                </a:ext>
              </a:extLst>
            </p:cNvPr>
            <p:cNvSpPr>
              <a:spLocks/>
            </p:cNvSpPr>
            <p:nvPr/>
          </p:nvSpPr>
          <p:spPr bwMode="auto">
            <a:xfrm>
              <a:off x="6231113" y="2561925"/>
              <a:ext cx="1336" cy="2671"/>
            </a:xfrm>
            <a:custGeom>
              <a:avLst/>
              <a:gdLst>
                <a:gd name="T0" fmla="*/ 1 w 1"/>
                <a:gd name="T1" fmla="*/ 0 h 2"/>
                <a:gd name="T2" fmla="*/ 1 w 1"/>
                <a:gd name="T3" fmla="*/ 0 h 2"/>
                <a:gd name="T4" fmla="*/ 1 w 1"/>
                <a:gd name="T5" fmla="*/ 0 h 2"/>
                <a:gd name="T6" fmla="*/ 1 w 1"/>
                <a:gd name="T7" fmla="*/ 0 h 2"/>
                <a:gd name="T8" fmla="*/ 1 w 1"/>
                <a:gd name="T9" fmla="*/ 0 h 2"/>
                <a:gd name="T10" fmla="*/ 1 w 1"/>
                <a:gd name="T11" fmla="*/ 0 h 2"/>
                <a:gd name="T12" fmla="*/ 1 w 1"/>
                <a:gd name="T13" fmla="*/ 0 h 2"/>
                <a:gd name="T14" fmla="*/ 1 w 1"/>
                <a:gd name="T15" fmla="*/ 0 h 2"/>
                <a:gd name="T16" fmla="*/ 1 w 1"/>
                <a:gd name="T17" fmla="*/ 0 h 2"/>
                <a:gd name="T18" fmla="*/ 1 w 1"/>
                <a:gd name="T19" fmla="*/ 0 h 2"/>
                <a:gd name="T20" fmla="*/ 1 w 1"/>
                <a:gd name="T21" fmla="*/ 2 h 2"/>
                <a:gd name="T22" fmla="*/ 1 w 1"/>
                <a:gd name="T23" fmla="*/ 0 h 2"/>
                <a:gd name="T24" fmla="*/ 1 w 1"/>
                <a:gd name="T25" fmla="*/ 0 h 2"/>
                <a:gd name="T26" fmla="*/ 1 w 1"/>
                <a:gd name="T27" fmla="*/ 2 h 2"/>
                <a:gd name="T28" fmla="*/ 1 w 1"/>
                <a:gd name="T29" fmla="*/ 2 h 2"/>
                <a:gd name="T30" fmla="*/ 1 w 1"/>
                <a:gd name="T31" fmla="*/ 2 h 2"/>
                <a:gd name="T32" fmla="*/ 1 w 1"/>
                <a:gd name="T33" fmla="*/ 2 h 2"/>
                <a:gd name="T34" fmla="*/ 1 w 1"/>
                <a:gd name="T35" fmla="*/ 2 h 2"/>
                <a:gd name="T36" fmla="*/ 1 w 1"/>
                <a:gd name="T37" fmla="*/ 2 h 2"/>
                <a:gd name="T38" fmla="*/ 1 w 1"/>
                <a:gd name="T39" fmla="*/ 2 h 2"/>
                <a:gd name="T40" fmla="*/ 1 w 1"/>
                <a:gd name="T41" fmla="*/ 2 h 2"/>
                <a:gd name="T42" fmla="*/ 1 w 1"/>
                <a:gd name="T43" fmla="*/ 2 h 2"/>
                <a:gd name="T44" fmla="*/ 1 w 1"/>
                <a:gd name="T45" fmla="*/ 2 h 2"/>
                <a:gd name="T46" fmla="*/ 1 w 1"/>
                <a:gd name="T47" fmla="*/ 2 h 2"/>
                <a:gd name="T48" fmla="*/ 1 w 1"/>
                <a:gd name="T49" fmla="*/ 2 h 2"/>
                <a:gd name="T50" fmla="*/ 1 w 1"/>
                <a:gd name="T51" fmla="*/ 2 h 2"/>
                <a:gd name="T52" fmla="*/ 1 w 1"/>
                <a:gd name="T53" fmla="*/ 2 h 2"/>
                <a:gd name="T54" fmla="*/ 1 w 1"/>
                <a:gd name="T55" fmla="*/ 2 h 2"/>
                <a:gd name="T56" fmla="*/ 1 w 1"/>
                <a:gd name="T57" fmla="*/ 2 h 2"/>
                <a:gd name="T58" fmla="*/ 1 w 1"/>
                <a:gd name="T59" fmla="*/ 2 h 2"/>
                <a:gd name="T60" fmla="*/ 1 w 1"/>
                <a:gd name="T61" fmla="*/ 2 h 2"/>
                <a:gd name="T62" fmla="*/ 1 w 1"/>
                <a:gd name="T63" fmla="*/ 2 h 2"/>
                <a:gd name="T64" fmla="*/ 1 w 1"/>
                <a:gd name="T65" fmla="*/ 2 h 2"/>
                <a:gd name="T66" fmla="*/ 0 w 1"/>
                <a:gd name="T67" fmla="*/ 2 h 2"/>
                <a:gd name="T68" fmla="*/ 0 w 1"/>
                <a:gd name="T69" fmla="*/ 2 h 2"/>
                <a:gd name="T70" fmla="*/ 0 w 1"/>
                <a:gd name="T71" fmla="*/ 2 h 2"/>
                <a:gd name="T72" fmla="*/ 0 w 1"/>
                <a:gd name="T73" fmla="*/ 2 h 2"/>
                <a:gd name="T74" fmla="*/ 0 w 1"/>
                <a:gd name="T75" fmla="*/ 2 h 2"/>
                <a:gd name="T76" fmla="*/ 0 w 1"/>
                <a:gd name="T77" fmla="*/ 2 h 2"/>
                <a:gd name="T78" fmla="*/ 0 w 1"/>
                <a:gd name="T79" fmla="*/ 0 h 2"/>
                <a:gd name="T80" fmla="*/ 0 w 1"/>
                <a:gd name="T81" fmla="*/ 0 h 2"/>
                <a:gd name="T82" fmla="*/ 0 w 1"/>
                <a:gd name="T83" fmla="*/ 0 h 2"/>
                <a:gd name="T84" fmla="*/ 0 w 1"/>
                <a:gd name="T85" fmla="*/ 0 h 2"/>
                <a:gd name="T86" fmla="*/ 0 w 1"/>
                <a:gd name="T87" fmla="*/ 0 h 2"/>
                <a:gd name="T88" fmla="*/ 0 w 1"/>
                <a:gd name="T89" fmla="*/ 0 h 2"/>
                <a:gd name="T90" fmla="*/ 0 w 1"/>
                <a:gd name="T91" fmla="*/ 0 h 2"/>
                <a:gd name="T92" fmla="*/ 0 w 1"/>
                <a:gd name="T93" fmla="*/ 0 h 2"/>
                <a:gd name="T94" fmla="*/ 0 w 1"/>
                <a:gd name="T95" fmla="*/ 0 h 2"/>
                <a:gd name="T96" fmla="*/ 1 w 1"/>
                <a:gd name="T97" fmla="*/ 0 h 2"/>
                <a:gd name="T98" fmla="*/ 1 w 1"/>
                <a:gd name="T9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 h="2">
                  <a:moveTo>
                    <a:pt x="1" y="0"/>
                  </a:moveTo>
                  <a:lnTo>
                    <a:pt x="1" y="0"/>
                  </a:lnTo>
                  <a:lnTo>
                    <a:pt x="1" y="0"/>
                  </a:lnTo>
                  <a:lnTo>
                    <a:pt x="1" y="0"/>
                  </a:lnTo>
                  <a:lnTo>
                    <a:pt x="1" y="0"/>
                  </a:lnTo>
                  <a:lnTo>
                    <a:pt x="1" y="0"/>
                  </a:lnTo>
                  <a:lnTo>
                    <a:pt x="1" y="0"/>
                  </a:lnTo>
                  <a:lnTo>
                    <a:pt x="1" y="0"/>
                  </a:lnTo>
                  <a:lnTo>
                    <a:pt x="1" y="0"/>
                  </a:lnTo>
                  <a:lnTo>
                    <a:pt x="1" y="0"/>
                  </a:lnTo>
                  <a:lnTo>
                    <a:pt x="1" y="2"/>
                  </a:lnTo>
                  <a:lnTo>
                    <a:pt x="1" y="0"/>
                  </a:lnTo>
                  <a:lnTo>
                    <a:pt x="1" y="0"/>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0" y="0"/>
                  </a:lnTo>
                  <a:lnTo>
                    <a:pt x="0" y="0"/>
                  </a:lnTo>
                  <a:lnTo>
                    <a:pt x="0"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25" name="Freeform 1290">
              <a:extLst>
                <a:ext uri="{FF2B5EF4-FFF2-40B4-BE49-F238E27FC236}">
                  <a16:creationId xmlns:a16="http://schemas.microsoft.com/office/drawing/2014/main" id="{A9A66895-BC7E-4AC2-8415-B171E584077D}"/>
                </a:ext>
              </a:extLst>
            </p:cNvPr>
            <p:cNvSpPr>
              <a:spLocks/>
            </p:cNvSpPr>
            <p:nvPr/>
          </p:nvSpPr>
          <p:spPr bwMode="auto">
            <a:xfrm>
              <a:off x="6208410" y="2559254"/>
              <a:ext cx="1336" cy="1336"/>
            </a:xfrm>
            <a:custGeom>
              <a:avLst/>
              <a:gdLst>
                <a:gd name="T0" fmla="*/ 1 w 1"/>
                <a:gd name="T1" fmla="*/ 1 h 1"/>
                <a:gd name="T2" fmla="*/ 1 w 1"/>
                <a:gd name="T3" fmla="*/ 1 h 1"/>
                <a:gd name="T4" fmla="*/ 1 w 1"/>
                <a:gd name="T5" fmla="*/ 1 h 1"/>
                <a:gd name="T6" fmla="*/ 0 w 1"/>
                <a:gd name="T7" fmla="*/ 1 h 1"/>
                <a:gd name="T8" fmla="*/ 0 w 1"/>
                <a:gd name="T9" fmla="*/ 1 h 1"/>
                <a:gd name="T10" fmla="*/ 0 w 1"/>
                <a:gd name="T11" fmla="*/ 1 h 1"/>
                <a:gd name="T12" fmla="*/ 0 w 1"/>
                <a:gd name="T13" fmla="*/ 1 h 1"/>
                <a:gd name="T14" fmla="*/ 0 w 1"/>
                <a:gd name="T15" fmla="*/ 1 h 1"/>
                <a:gd name="T16" fmla="*/ 0 w 1"/>
                <a:gd name="T17" fmla="*/ 1 h 1"/>
                <a:gd name="T18" fmla="*/ 1 w 1"/>
                <a:gd name="T19" fmla="*/ 0 h 1"/>
                <a:gd name="T20" fmla="*/ 1 w 1"/>
                <a:gd name="T21" fmla="*/ 1 h 1"/>
                <a:gd name="T22" fmla="*/ 1 w 1"/>
                <a:gd name="T23" fmla="*/ 1 h 1"/>
                <a:gd name="T24" fmla="*/ 1 w 1"/>
                <a:gd name="T25" fmla="*/ 1 h 1"/>
                <a:gd name="T26" fmla="*/ 1 w 1"/>
                <a:gd name="T27" fmla="*/ 1 h 1"/>
                <a:gd name="T28" fmla="*/ 1 w 1"/>
                <a:gd name="T29" fmla="*/ 1 h 1"/>
                <a:gd name="T30" fmla="*/ 1 w 1"/>
                <a:gd name="T3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 h="1">
                  <a:moveTo>
                    <a:pt x="1" y="1"/>
                  </a:moveTo>
                  <a:lnTo>
                    <a:pt x="1" y="1"/>
                  </a:lnTo>
                  <a:lnTo>
                    <a:pt x="1" y="1"/>
                  </a:lnTo>
                  <a:lnTo>
                    <a:pt x="0" y="1"/>
                  </a:lnTo>
                  <a:lnTo>
                    <a:pt x="0" y="1"/>
                  </a:lnTo>
                  <a:lnTo>
                    <a:pt x="0" y="1"/>
                  </a:lnTo>
                  <a:lnTo>
                    <a:pt x="0" y="1"/>
                  </a:lnTo>
                  <a:lnTo>
                    <a:pt x="0" y="1"/>
                  </a:lnTo>
                  <a:lnTo>
                    <a:pt x="0" y="1"/>
                  </a:lnTo>
                  <a:lnTo>
                    <a:pt x="1" y="0"/>
                  </a:lnTo>
                  <a:lnTo>
                    <a:pt x="1" y="1"/>
                  </a:lnTo>
                  <a:lnTo>
                    <a:pt x="1" y="1"/>
                  </a:lnTo>
                  <a:lnTo>
                    <a:pt x="1" y="1"/>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26" name="Freeform 1291">
              <a:extLst>
                <a:ext uri="{FF2B5EF4-FFF2-40B4-BE49-F238E27FC236}">
                  <a16:creationId xmlns:a16="http://schemas.microsoft.com/office/drawing/2014/main" id="{4E48B7B8-B613-4FE8-BC4D-77878DB8C04E}"/>
                </a:ext>
              </a:extLst>
            </p:cNvPr>
            <p:cNvSpPr>
              <a:spLocks/>
            </p:cNvSpPr>
            <p:nvPr/>
          </p:nvSpPr>
          <p:spPr bwMode="auto">
            <a:xfrm>
              <a:off x="6212416" y="2557919"/>
              <a:ext cx="5342" cy="1336"/>
            </a:xfrm>
            <a:custGeom>
              <a:avLst/>
              <a:gdLst>
                <a:gd name="T0" fmla="*/ 2 w 4"/>
                <a:gd name="T1" fmla="*/ 1 h 1"/>
                <a:gd name="T2" fmla="*/ 2 w 4"/>
                <a:gd name="T3" fmla="*/ 1 h 1"/>
                <a:gd name="T4" fmla="*/ 2 w 4"/>
                <a:gd name="T5" fmla="*/ 1 h 1"/>
                <a:gd name="T6" fmla="*/ 2 w 4"/>
                <a:gd name="T7" fmla="*/ 1 h 1"/>
                <a:gd name="T8" fmla="*/ 2 w 4"/>
                <a:gd name="T9" fmla="*/ 1 h 1"/>
                <a:gd name="T10" fmla="*/ 1 w 4"/>
                <a:gd name="T11" fmla="*/ 1 h 1"/>
                <a:gd name="T12" fmla="*/ 1 w 4"/>
                <a:gd name="T13" fmla="*/ 1 h 1"/>
                <a:gd name="T14" fmla="*/ 1 w 4"/>
                <a:gd name="T15" fmla="*/ 1 h 1"/>
                <a:gd name="T16" fmla="*/ 0 w 4"/>
                <a:gd name="T17" fmla="*/ 1 h 1"/>
                <a:gd name="T18" fmla="*/ 0 w 4"/>
                <a:gd name="T19" fmla="*/ 1 h 1"/>
                <a:gd name="T20" fmla="*/ 1 w 4"/>
                <a:gd name="T21" fmla="*/ 1 h 1"/>
                <a:gd name="T22" fmla="*/ 1 w 4"/>
                <a:gd name="T23" fmla="*/ 0 h 1"/>
                <a:gd name="T24" fmla="*/ 2 w 4"/>
                <a:gd name="T25" fmla="*/ 0 h 1"/>
                <a:gd name="T26" fmla="*/ 2 w 4"/>
                <a:gd name="T27" fmla="*/ 0 h 1"/>
                <a:gd name="T28" fmla="*/ 4 w 4"/>
                <a:gd name="T29" fmla="*/ 0 h 1"/>
                <a:gd name="T30" fmla="*/ 2 w 4"/>
                <a:gd name="T31" fmla="*/ 1 h 1"/>
                <a:gd name="T32" fmla="*/ 2 w 4"/>
                <a:gd name="T3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1">
                  <a:moveTo>
                    <a:pt x="2" y="1"/>
                  </a:moveTo>
                  <a:lnTo>
                    <a:pt x="2" y="1"/>
                  </a:lnTo>
                  <a:lnTo>
                    <a:pt x="2" y="1"/>
                  </a:lnTo>
                  <a:lnTo>
                    <a:pt x="2" y="1"/>
                  </a:lnTo>
                  <a:lnTo>
                    <a:pt x="2" y="1"/>
                  </a:lnTo>
                  <a:lnTo>
                    <a:pt x="1" y="1"/>
                  </a:lnTo>
                  <a:lnTo>
                    <a:pt x="1" y="1"/>
                  </a:lnTo>
                  <a:lnTo>
                    <a:pt x="1" y="1"/>
                  </a:lnTo>
                  <a:lnTo>
                    <a:pt x="0" y="1"/>
                  </a:lnTo>
                  <a:lnTo>
                    <a:pt x="0" y="1"/>
                  </a:lnTo>
                  <a:lnTo>
                    <a:pt x="1" y="1"/>
                  </a:lnTo>
                  <a:lnTo>
                    <a:pt x="1" y="0"/>
                  </a:lnTo>
                  <a:lnTo>
                    <a:pt x="2" y="0"/>
                  </a:lnTo>
                  <a:lnTo>
                    <a:pt x="2" y="0"/>
                  </a:lnTo>
                  <a:lnTo>
                    <a:pt x="4" y="0"/>
                  </a:lnTo>
                  <a:lnTo>
                    <a:pt x="2" y="1"/>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27" name="Freeform 1292">
              <a:extLst>
                <a:ext uri="{FF2B5EF4-FFF2-40B4-BE49-F238E27FC236}">
                  <a16:creationId xmlns:a16="http://schemas.microsoft.com/office/drawing/2014/main" id="{2E93A962-3832-455D-B8F2-4B59AA6491CA}"/>
                </a:ext>
              </a:extLst>
            </p:cNvPr>
            <p:cNvSpPr>
              <a:spLocks/>
            </p:cNvSpPr>
            <p:nvPr/>
          </p:nvSpPr>
          <p:spPr bwMode="auto">
            <a:xfrm>
              <a:off x="6268507" y="2557919"/>
              <a:ext cx="0" cy="2671"/>
            </a:xfrm>
            <a:custGeom>
              <a:avLst/>
              <a:gdLst>
                <a:gd name="T0" fmla="*/ 0 h 2"/>
                <a:gd name="T1" fmla="*/ 0 h 2"/>
                <a:gd name="T2" fmla="*/ 0 h 2"/>
                <a:gd name="T3" fmla="*/ 1 h 2"/>
                <a:gd name="T4" fmla="*/ 1 h 2"/>
                <a:gd name="T5" fmla="*/ 1 h 2"/>
                <a:gd name="T6" fmla="*/ 1 h 2"/>
                <a:gd name="T7" fmla="*/ 1 h 2"/>
                <a:gd name="T8" fmla="*/ 1 h 2"/>
                <a:gd name="T9" fmla="*/ 1 h 2"/>
                <a:gd name="T10" fmla="*/ 1 h 2"/>
                <a:gd name="T11" fmla="*/ 1 h 2"/>
                <a:gd name="T12" fmla="*/ 1 h 2"/>
                <a:gd name="T13" fmla="*/ 1 h 2"/>
                <a:gd name="T14" fmla="*/ 1 h 2"/>
                <a:gd name="T15" fmla="*/ 1 h 2"/>
                <a:gd name="T16" fmla="*/ 1 h 2"/>
                <a:gd name="T17" fmla="*/ 1 h 2"/>
                <a:gd name="T18" fmla="*/ 1 h 2"/>
                <a:gd name="T19" fmla="*/ 1 h 2"/>
                <a:gd name="T20" fmla="*/ 2 h 2"/>
                <a:gd name="T21" fmla="*/ 2 h 2"/>
                <a:gd name="T22" fmla="*/ 2 h 2"/>
                <a:gd name="T23" fmla="*/ 2 h 2"/>
                <a:gd name="T24" fmla="*/ 1 h 2"/>
                <a:gd name="T25" fmla="*/ 1 h 2"/>
                <a:gd name="T26" fmla="*/ 1 h 2"/>
                <a:gd name="T27" fmla="*/ 1 h 2"/>
                <a:gd name="T28" fmla="*/ 1 h 2"/>
                <a:gd name="T29" fmla="*/ 1 h 2"/>
                <a:gd name="T30" fmla="*/ 1 h 2"/>
                <a:gd name="T31" fmla="*/ 1 h 2"/>
                <a:gd name="T32" fmla="*/ 0 h 2"/>
                <a:gd name="T33" fmla="*/ 0 h 2"/>
                <a:gd name="T34" fmla="*/ 0 h 2"/>
                <a:gd name="T35"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Lst>
              <a:rect l="0" t="0" r="r" b="b"/>
              <a:pathLst>
                <a:path h="2">
                  <a:moveTo>
                    <a:pt x="0" y="0"/>
                  </a:moveTo>
                  <a:lnTo>
                    <a:pt x="0" y="0"/>
                  </a:lnTo>
                  <a:lnTo>
                    <a:pt x="0" y="0"/>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2"/>
                  </a:lnTo>
                  <a:lnTo>
                    <a:pt x="0" y="2"/>
                  </a:lnTo>
                  <a:lnTo>
                    <a:pt x="0" y="2"/>
                  </a:lnTo>
                  <a:lnTo>
                    <a:pt x="0" y="2"/>
                  </a:lnTo>
                  <a:lnTo>
                    <a:pt x="0" y="1"/>
                  </a:lnTo>
                  <a:lnTo>
                    <a:pt x="0" y="1"/>
                  </a:lnTo>
                  <a:lnTo>
                    <a:pt x="0" y="1"/>
                  </a:lnTo>
                  <a:lnTo>
                    <a:pt x="0" y="1"/>
                  </a:lnTo>
                  <a:lnTo>
                    <a:pt x="0" y="1"/>
                  </a:lnTo>
                  <a:lnTo>
                    <a:pt x="0" y="1"/>
                  </a:lnTo>
                  <a:lnTo>
                    <a:pt x="0" y="1"/>
                  </a:lnTo>
                  <a:lnTo>
                    <a:pt x="0" y="1"/>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28" name="Freeform 1293">
              <a:extLst>
                <a:ext uri="{FF2B5EF4-FFF2-40B4-BE49-F238E27FC236}">
                  <a16:creationId xmlns:a16="http://schemas.microsoft.com/office/drawing/2014/main" id="{147ACBDE-3E0C-437B-8950-C8224BAEC72B}"/>
                </a:ext>
              </a:extLst>
            </p:cNvPr>
            <p:cNvSpPr>
              <a:spLocks/>
            </p:cNvSpPr>
            <p:nvPr/>
          </p:nvSpPr>
          <p:spPr bwMode="auto">
            <a:xfrm>
              <a:off x="6229778" y="2556583"/>
              <a:ext cx="2671" cy="2671"/>
            </a:xfrm>
            <a:custGeom>
              <a:avLst/>
              <a:gdLst>
                <a:gd name="T0" fmla="*/ 1 w 2"/>
                <a:gd name="T1" fmla="*/ 1 h 2"/>
                <a:gd name="T2" fmla="*/ 2 w 2"/>
                <a:gd name="T3" fmla="*/ 1 h 2"/>
                <a:gd name="T4" fmla="*/ 2 w 2"/>
                <a:gd name="T5" fmla="*/ 1 h 2"/>
                <a:gd name="T6" fmla="*/ 1 w 2"/>
                <a:gd name="T7" fmla="*/ 1 h 2"/>
                <a:gd name="T8" fmla="*/ 1 w 2"/>
                <a:gd name="T9" fmla="*/ 1 h 2"/>
                <a:gd name="T10" fmla="*/ 1 w 2"/>
                <a:gd name="T11" fmla="*/ 1 h 2"/>
                <a:gd name="T12" fmla="*/ 1 w 2"/>
                <a:gd name="T13" fmla="*/ 2 h 2"/>
                <a:gd name="T14" fmla="*/ 1 w 2"/>
                <a:gd name="T15" fmla="*/ 2 h 2"/>
                <a:gd name="T16" fmla="*/ 1 w 2"/>
                <a:gd name="T17" fmla="*/ 2 h 2"/>
                <a:gd name="T18" fmla="*/ 1 w 2"/>
                <a:gd name="T19" fmla="*/ 2 h 2"/>
                <a:gd name="T20" fmla="*/ 0 w 2"/>
                <a:gd name="T21" fmla="*/ 2 h 2"/>
                <a:gd name="T22" fmla="*/ 0 w 2"/>
                <a:gd name="T23" fmla="*/ 2 h 2"/>
                <a:gd name="T24" fmla="*/ 1 w 2"/>
                <a:gd name="T25" fmla="*/ 2 h 2"/>
                <a:gd name="T26" fmla="*/ 1 w 2"/>
                <a:gd name="T27" fmla="*/ 1 h 2"/>
                <a:gd name="T28" fmla="*/ 1 w 2"/>
                <a:gd name="T29" fmla="*/ 1 h 2"/>
                <a:gd name="T30" fmla="*/ 1 w 2"/>
                <a:gd name="T31" fmla="*/ 1 h 2"/>
                <a:gd name="T32" fmla="*/ 1 w 2"/>
                <a:gd name="T33" fmla="*/ 1 h 2"/>
                <a:gd name="T34" fmla="*/ 1 w 2"/>
                <a:gd name="T35" fmla="*/ 1 h 2"/>
                <a:gd name="T36" fmla="*/ 1 w 2"/>
                <a:gd name="T37" fmla="*/ 1 h 2"/>
                <a:gd name="T38" fmla="*/ 1 w 2"/>
                <a:gd name="T39" fmla="*/ 1 h 2"/>
                <a:gd name="T40" fmla="*/ 1 w 2"/>
                <a:gd name="T41" fmla="*/ 1 h 2"/>
                <a:gd name="T42" fmla="*/ 0 w 2"/>
                <a:gd name="T43" fmla="*/ 1 h 2"/>
                <a:gd name="T44" fmla="*/ 0 w 2"/>
                <a:gd name="T45" fmla="*/ 1 h 2"/>
                <a:gd name="T46" fmla="*/ 0 w 2"/>
                <a:gd name="T47" fmla="*/ 0 h 2"/>
                <a:gd name="T48" fmla="*/ 1 w 2"/>
                <a:gd name="T49" fmla="*/ 0 h 2"/>
                <a:gd name="T50" fmla="*/ 1 w 2"/>
                <a:gd name="T51" fmla="*/ 0 h 2"/>
                <a:gd name="T52" fmla="*/ 1 w 2"/>
                <a:gd name="T53" fmla="*/ 0 h 2"/>
                <a:gd name="T54" fmla="*/ 1 w 2"/>
                <a:gd name="T55" fmla="*/ 0 h 2"/>
                <a:gd name="T56" fmla="*/ 1 w 2"/>
                <a:gd name="T57" fmla="*/ 0 h 2"/>
                <a:gd name="T58" fmla="*/ 1 w 2"/>
                <a:gd name="T59" fmla="*/ 0 h 2"/>
                <a:gd name="T60" fmla="*/ 1 w 2"/>
                <a:gd name="T61" fmla="*/ 0 h 2"/>
                <a:gd name="T62" fmla="*/ 1 w 2"/>
                <a:gd name="T63" fmla="*/ 0 h 2"/>
                <a:gd name="T64" fmla="*/ 1 w 2"/>
                <a:gd name="T6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
                  <a:moveTo>
                    <a:pt x="1" y="1"/>
                  </a:moveTo>
                  <a:lnTo>
                    <a:pt x="2" y="1"/>
                  </a:lnTo>
                  <a:lnTo>
                    <a:pt x="2" y="1"/>
                  </a:lnTo>
                  <a:lnTo>
                    <a:pt x="1" y="1"/>
                  </a:lnTo>
                  <a:lnTo>
                    <a:pt x="1" y="1"/>
                  </a:lnTo>
                  <a:lnTo>
                    <a:pt x="1" y="1"/>
                  </a:lnTo>
                  <a:lnTo>
                    <a:pt x="1" y="2"/>
                  </a:lnTo>
                  <a:lnTo>
                    <a:pt x="1" y="2"/>
                  </a:lnTo>
                  <a:lnTo>
                    <a:pt x="1" y="2"/>
                  </a:lnTo>
                  <a:lnTo>
                    <a:pt x="1" y="2"/>
                  </a:lnTo>
                  <a:lnTo>
                    <a:pt x="0" y="2"/>
                  </a:lnTo>
                  <a:lnTo>
                    <a:pt x="0" y="2"/>
                  </a:lnTo>
                  <a:lnTo>
                    <a:pt x="1" y="2"/>
                  </a:lnTo>
                  <a:lnTo>
                    <a:pt x="1" y="1"/>
                  </a:lnTo>
                  <a:lnTo>
                    <a:pt x="1" y="1"/>
                  </a:lnTo>
                  <a:lnTo>
                    <a:pt x="1" y="1"/>
                  </a:lnTo>
                  <a:lnTo>
                    <a:pt x="1" y="1"/>
                  </a:lnTo>
                  <a:lnTo>
                    <a:pt x="1" y="1"/>
                  </a:lnTo>
                  <a:lnTo>
                    <a:pt x="1" y="1"/>
                  </a:lnTo>
                  <a:lnTo>
                    <a:pt x="1" y="1"/>
                  </a:lnTo>
                  <a:lnTo>
                    <a:pt x="1" y="1"/>
                  </a:lnTo>
                  <a:lnTo>
                    <a:pt x="0" y="1"/>
                  </a:lnTo>
                  <a:lnTo>
                    <a:pt x="0" y="1"/>
                  </a:lnTo>
                  <a:lnTo>
                    <a:pt x="0" y="0"/>
                  </a:lnTo>
                  <a:lnTo>
                    <a:pt x="1" y="0"/>
                  </a:lnTo>
                  <a:lnTo>
                    <a:pt x="1" y="0"/>
                  </a:lnTo>
                  <a:lnTo>
                    <a:pt x="1" y="0"/>
                  </a:lnTo>
                  <a:lnTo>
                    <a:pt x="1" y="0"/>
                  </a:lnTo>
                  <a:lnTo>
                    <a:pt x="1" y="0"/>
                  </a:lnTo>
                  <a:lnTo>
                    <a:pt x="1" y="0"/>
                  </a:lnTo>
                  <a:lnTo>
                    <a:pt x="1" y="0"/>
                  </a:lnTo>
                  <a:lnTo>
                    <a:pt x="1" y="0"/>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29" name="Freeform 1294">
              <a:extLst>
                <a:ext uri="{FF2B5EF4-FFF2-40B4-BE49-F238E27FC236}">
                  <a16:creationId xmlns:a16="http://schemas.microsoft.com/office/drawing/2014/main" id="{D6486412-EBFD-4EB7-A172-67CFA615360C}"/>
                </a:ext>
              </a:extLst>
            </p:cNvPr>
            <p:cNvSpPr>
              <a:spLocks/>
            </p:cNvSpPr>
            <p:nvPr/>
          </p:nvSpPr>
          <p:spPr bwMode="auto">
            <a:xfrm>
              <a:off x="6247139" y="2556583"/>
              <a:ext cx="1336" cy="1336"/>
            </a:xfrm>
            <a:custGeom>
              <a:avLst/>
              <a:gdLst>
                <a:gd name="T0" fmla="*/ 0 w 1"/>
                <a:gd name="T1" fmla="*/ 0 h 1"/>
                <a:gd name="T2" fmla="*/ 0 w 1"/>
                <a:gd name="T3" fmla="*/ 0 h 1"/>
                <a:gd name="T4" fmla="*/ 1 w 1"/>
                <a:gd name="T5" fmla="*/ 0 h 1"/>
                <a:gd name="T6" fmla="*/ 1 w 1"/>
                <a:gd name="T7" fmla="*/ 0 h 1"/>
                <a:gd name="T8" fmla="*/ 1 w 1"/>
                <a:gd name="T9" fmla="*/ 0 h 1"/>
                <a:gd name="T10" fmla="*/ 1 w 1"/>
                <a:gd name="T11" fmla="*/ 0 h 1"/>
                <a:gd name="T12" fmla="*/ 1 w 1"/>
                <a:gd name="T13" fmla="*/ 0 h 1"/>
                <a:gd name="T14" fmla="*/ 1 w 1"/>
                <a:gd name="T15" fmla="*/ 0 h 1"/>
                <a:gd name="T16" fmla="*/ 1 w 1"/>
                <a:gd name="T17" fmla="*/ 0 h 1"/>
                <a:gd name="T18" fmla="*/ 1 w 1"/>
                <a:gd name="T19" fmla="*/ 0 h 1"/>
                <a:gd name="T20" fmla="*/ 1 w 1"/>
                <a:gd name="T21" fmla="*/ 0 h 1"/>
                <a:gd name="T22" fmla="*/ 1 w 1"/>
                <a:gd name="T23" fmla="*/ 0 h 1"/>
                <a:gd name="T24" fmla="*/ 1 w 1"/>
                <a:gd name="T25" fmla="*/ 0 h 1"/>
                <a:gd name="T26" fmla="*/ 1 w 1"/>
                <a:gd name="T27" fmla="*/ 0 h 1"/>
                <a:gd name="T28" fmla="*/ 1 w 1"/>
                <a:gd name="T29" fmla="*/ 0 h 1"/>
                <a:gd name="T30" fmla="*/ 1 w 1"/>
                <a:gd name="T31" fmla="*/ 0 h 1"/>
                <a:gd name="T32" fmla="*/ 1 w 1"/>
                <a:gd name="T33" fmla="*/ 1 h 1"/>
                <a:gd name="T34" fmla="*/ 1 w 1"/>
                <a:gd name="T35" fmla="*/ 1 h 1"/>
                <a:gd name="T36" fmla="*/ 1 w 1"/>
                <a:gd name="T37" fmla="*/ 1 h 1"/>
                <a:gd name="T38" fmla="*/ 0 w 1"/>
                <a:gd name="T39" fmla="*/ 1 h 1"/>
                <a:gd name="T40" fmla="*/ 0 w 1"/>
                <a:gd name="T41" fmla="*/ 1 h 1"/>
                <a:gd name="T42" fmla="*/ 0 w 1"/>
                <a:gd name="T43" fmla="*/ 1 h 1"/>
                <a:gd name="T44" fmla="*/ 0 w 1"/>
                <a:gd name="T45" fmla="*/ 1 h 1"/>
                <a:gd name="T46" fmla="*/ 0 w 1"/>
                <a:gd name="T47" fmla="*/ 1 h 1"/>
                <a:gd name="T48" fmla="*/ 0 w 1"/>
                <a:gd name="T49" fmla="*/ 1 h 1"/>
                <a:gd name="T50" fmla="*/ 0 w 1"/>
                <a:gd name="T51" fmla="*/ 0 h 1"/>
                <a:gd name="T52" fmla="*/ 0 w 1"/>
                <a:gd name="T53" fmla="*/ 0 h 1"/>
                <a:gd name="T54" fmla="*/ 0 w 1"/>
                <a:gd name="T55" fmla="*/ 0 h 1"/>
                <a:gd name="T56" fmla="*/ 0 w 1"/>
                <a:gd name="T57" fmla="*/ 0 h 1"/>
                <a:gd name="T58" fmla="*/ 0 w 1"/>
                <a:gd name="T59" fmla="*/ 0 h 1"/>
                <a:gd name="T60" fmla="*/ 0 w 1"/>
                <a:gd name="T61" fmla="*/ 0 h 1"/>
                <a:gd name="T62" fmla="*/ 0 w 1"/>
                <a:gd name="T63" fmla="*/ 0 h 1"/>
                <a:gd name="T64" fmla="*/ 0 w 1"/>
                <a:gd name="T65" fmla="*/ 0 h 1"/>
                <a:gd name="T66" fmla="*/ 0 w 1"/>
                <a:gd name="T67" fmla="*/ 0 h 1"/>
                <a:gd name="T68" fmla="*/ 0 w 1"/>
                <a:gd name="T6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 h="1">
                  <a:moveTo>
                    <a:pt x="0" y="0"/>
                  </a:moveTo>
                  <a:lnTo>
                    <a:pt x="0"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1"/>
                  </a:lnTo>
                  <a:lnTo>
                    <a:pt x="1" y="1"/>
                  </a:lnTo>
                  <a:lnTo>
                    <a:pt x="1" y="1"/>
                  </a:lnTo>
                  <a:lnTo>
                    <a:pt x="0" y="1"/>
                  </a:lnTo>
                  <a:lnTo>
                    <a:pt x="0" y="1"/>
                  </a:lnTo>
                  <a:lnTo>
                    <a:pt x="0" y="1"/>
                  </a:lnTo>
                  <a:lnTo>
                    <a:pt x="0" y="1"/>
                  </a:lnTo>
                  <a:lnTo>
                    <a:pt x="0" y="1"/>
                  </a:lnTo>
                  <a:lnTo>
                    <a:pt x="0" y="1"/>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30" name="Freeform 1295">
              <a:extLst>
                <a:ext uri="{FF2B5EF4-FFF2-40B4-BE49-F238E27FC236}">
                  <a16:creationId xmlns:a16="http://schemas.microsoft.com/office/drawing/2014/main" id="{8AD34D0F-FD0F-466C-8877-B97271FF0A65}"/>
                </a:ext>
              </a:extLst>
            </p:cNvPr>
            <p:cNvSpPr>
              <a:spLocks/>
            </p:cNvSpPr>
            <p:nvPr/>
          </p:nvSpPr>
          <p:spPr bwMode="auto">
            <a:xfrm>
              <a:off x="6239126" y="2555248"/>
              <a:ext cx="1336" cy="2671"/>
            </a:xfrm>
            <a:custGeom>
              <a:avLst/>
              <a:gdLst>
                <a:gd name="T0" fmla="*/ 1 w 1"/>
                <a:gd name="T1" fmla="*/ 2 h 2"/>
                <a:gd name="T2" fmla="*/ 1 w 1"/>
                <a:gd name="T3" fmla="*/ 2 h 2"/>
                <a:gd name="T4" fmla="*/ 0 w 1"/>
                <a:gd name="T5" fmla="*/ 2 h 2"/>
                <a:gd name="T6" fmla="*/ 0 w 1"/>
                <a:gd name="T7" fmla="*/ 2 h 2"/>
                <a:gd name="T8" fmla="*/ 0 w 1"/>
                <a:gd name="T9" fmla="*/ 2 h 2"/>
                <a:gd name="T10" fmla="*/ 0 w 1"/>
                <a:gd name="T11" fmla="*/ 2 h 2"/>
                <a:gd name="T12" fmla="*/ 0 w 1"/>
                <a:gd name="T13" fmla="*/ 2 h 2"/>
                <a:gd name="T14" fmla="*/ 0 w 1"/>
                <a:gd name="T15" fmla="*/ 2 h 2"/>
                <a:gd name="T16" fmla="*/ 0 w 1"/>
                <a:gd name="T17" fmla="*/ 2 h 2"/>
                <a:gd name="T18" fmla="*/ 0 w 1"/>
                <a:gd name="T19" fmla="*/ 2 h 2"/>
                <a:gd name="T20" fmla="*/ 0 w 1"/>
                <a:gd name="T21" fmla="*/ 2 h 2"/>
                <a:gd name="T22" fmla="*/ 0 w 1"/>
                <a:gd name="T23" fmla="*/ 2 h 2"/>
                <a:gd name="T24" fmla="*/ 0 w 1"/>
                <a:gd name="T25" fmla="*/ 2 h 2"/>
                <a:gd name="T26" fmla="*/ 0 w 1"/>
                <a:gd name="T27" fmla="*/ 2 h 2"/>
                <a:gd name="T28" fmla="*/ 0 w 1"/>
                <a:gd name="T29" fmla="*/ 2 h 2"/>
                <a:gd name="T30" fmla="*/ 0 w 1"/>
                <a:gd name="T31" fmla="*/ 2 h 2"/>
                <a:gd name="T32" fmla="*/ 0 w 1"/>
                <a:gd name="T33" fmla="*/ 2 h 2"/>
                <a:gd name="T34" fmla="*/ 0 w 1"/>
                <a:gd name="T35" fmla="*/ 2 h 2"/>
                <a:gd name="T36" fmla="*/ 0 w 1"/>
                <a:gd name="T37" fmla="*/ 1 h 2"/>
                <a:gd name="T38" fmla="*/ 0 w 1"/>
                <a:gd name="T39" fmla="*/ 1 h 2"/>
                <a:gd name="T40" fmla="*/ 0 w 1"/>
                <a:gd name="T41" fmla="*/ 1 h 2"/>
                <a:gd name="T42" fmla="*/ 0 w 1"/>
                <a:gd name="T43" fmla="*/ 1 h 2"/>
                <a:gd name="T44" fmla="*/ 0 w 1"/>
                <a:gd name="T45" fmla="*/ 0 h 2"/>
                <a:gd name="T46" fmla="*/ 0 w 1"/>
                <a:gd name="T47" fmla="*/ 0 h 2"/>
                <a:gd name="T48" fmla="*/ 0 w 1"/>
                <a:gd name="T49" fmla="*/ 1 h 2"/>
                <a:gd name="T50" fmla="*/ 1 w 1"/>
                <a:gd name="T51" fmla="*/ 1 h 2"/>
                <a:gd name="T52" fmla="*/ 1 w 1"/>
                <a:gd name="T53" fmla="*/ 1 h 2"/>
                <a:gd name="T54" fmla="*/ 1 w 1"/>
                <a:gd name="T55" fmla="*/ 1 h 2"/>
                <a:gd name="T56" fmla="*/ 1 w 1"/>
                <a:gd name="T57" fmla="*/ 1 h 2"/>
                <a:gd name="T58" fmla="*/ 1 w 1"/>
                <a:gd name="T59" fmla="*/ 1 h 2"/>
                <a:gd name="T60" fmla="*/ 1 w 1"/>
                <a:gd name="T61" fmla="*/ 1 h 2"/>
                <a:gd name="T62" fmla="*/ 1 w 1"/>
                <a:gd name="T63" fmla="*/ 2 h 2"/>
                <a:gd name="T64" fmla="*/ 1 w 1"/>
                <a:gd name="T65" fmla="*/ 2 h 2"/>
                <a:gd name="T66" fmla="*/ 1 w 1"/>
                <a:gd name="T67" fmla="*/ 2 h 2"/>
                <a:gd name="T68" fmla="*/ 1 w 1"/>
                <a:gd name="T69" fmla="*/ 2 h 2"/>
                <a:gd name="T70" fmla="*/ 1 w 1"/>
                <a:gd name="T71" fmla="*/ 2 h 2"/>
                <a:gd name="T72" fmla="*/ 1 w 1"/>
                <a:gd name="T73" fmla="*/ 2 h 2"/>
                <a:gd name="T74" fmla="*/ 1 w 1"/>
                <a:gd name="T7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 h="2">
                  <a:moveTo>
                    <a:pt x="1" y="2"/>
                  </a:moveTo>
                  <a:lnTo>
                    <a:pt x="1"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1"/>
                  </a:lnTo>
                  <a:lnTo>
                    <a:pt x="0" y="1"/>
                  </a:lnTo>
                  <a:lnTo>
                    <a:pt x="0" y="1"/>
                  </a:lnTo>
                  <a:lnTo>
                    <a:pt x="0" y="1"/>
                  </a:lnTo>
                  <a:lnTo>
                    <a:pt x="0" y="0"/>
                  </a:lnTo>
                  <a:lnTo>
                    <a:pt x="0" y="0"/>
                  </a:lnTo>
                  <a:lnTo>
                    <a:pt x="0" y="1"/>
                  </a:lnTo>
                  <a:lnTo>
                    <a:pt x="1" y="1"/>
                  </a:lnTo>
                  <a:lnTo>
                    <a:pt x="1" y="1"/>
                  </a:lnTo>
                  <a:lnTo>
                    <a:pt x="1" y="1"/>
                  </a:lnTo>
                  <a:lnTo>
                    <a:pt x="1" y="1"/>
                  </a:lnTo>
                  <a:lnTo>
                    <a:pt x="1" y="1"/>
                  </a:lnTo>
                  <a:lnTo>
                    <a:pt x="1" y="1"/>
                  </a:lnTo>
                  <a:lnTo>
                    <a:pt x="1" y="2"/>
                  </a:lnTo>
                  <a:lnTo>
                    <a:pt x="1" y="2"/>
                  </a:lnTo>
                  <a:lnTo>
                    <a:pt x="1" y="2"/>
                  </a:lnTo>
                  <a:lnTo>
                    <a:pt x="1" y="2"/>
                  </a:lnTo>
                  <a:lnTo>
                    <a:pt x="1" y="2"/>
                  </a:lnTo>
                  <a:lnTo>
                    <a:pt x="1" y="2"/>
                  </a:lnTo>
                  <a:lnTo>
                    <a:pt x="1"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31" name="Freeform 1296">
              <a:extLst>
                <a:ext uri="{FF2B5EF4-FFF2-40B4-BE49-F238E27FC236}">
                  <a16:creationId xmlns:a16="http://schemas.microsoft.com/office/drawing/2014/main" id="{EC64DD54-A993-4F73-AFF9-859831906C6A}"/>
                </a:ext>
              </a:extLst>
            </p:cNvPr>
            <p:cNvSpPr>
              <a:spLocks/>
            </p:cNvSpPr>
            <p:nvPr/>
          </p:nvSpPr>
          <p:spPr bwMode="auto">
            <a:xfrm>
              <a:off x="6213752" y="2555248"/>
              <a:ext cx="1336" cy="1336"/>
            </a:xfrm>
            <a:custGeom>
              <a:avLst/>
              <a:gdLst>
                <a:gd name="T0" fmla="*/ 1 w 1"/>
                <a:gd name="T1" fmla="*/ 0 h 1"/>
                <a:gd name="T2" fmla="*/ 0 w 1"/>
                <a:gd name="T3" fmla="*/ 1 h 1"/>
                <a:gd name="T4" fmla="*/ 0 w 1"/>
                <a:gd name="T5" fmla="*/ 0 h 1"/>
                <a:gd name="T6" fmla="*/ 0 w 1"/>
                <a:gd name="T7" fmla="*/ 0 h 1"/>
                <a:gd name="T8" fmla="*/ 0 w 1"/>
                <a:gd name="T9" fmla="*/ 0 h 1"/>
                <a:gd name="T10" fmla="*/ 0 w 1"/>
                <a:gd name="T11" fmla="*/ 0 h 1"/>
                <a:gd name="T12" fmla="*/ 0 w 1"/>
                <a:gd name="T13" fmla="*/ 0 h 1"/>
                <a:gd name="T14" fmla="*/ 0 w 1"/>
                <a:gd name="T15" fmla="*/ 0 h 1"/>
                <a:gd name="T16" fmla="*/ 0 w 1"/>
                <a:gd name="T17" fmla="*/ 0 h 1"/>
                <a:gd name="T18" fmla="*/ 0 w 1"/>
                <a:gd name="T19" fmla="*/ 0 h 1"/>
                <a:gd name="T20" fmla="*/ 0 w 1"/>
                <a:gd name="T21" fmla="*/ 0 h 1"/>
                <a:gd name="T22" fmla="*/ 0 w 1"/>
                <a:gd name="T23" fmla="*/ 0 h 1"/>
                <a:gd name="T24" fmla="*/ 0 w 1"/>
                <a:gd name="T25" fmla="*/ 0 h 1"/>
                <a:gd name="T26" fmla="*/ 0 w 1"/>
                <a:gd name="T27" fmla="*/ 0 h 1"/>
                <a:gd name="T28" fmla="*/ 1 w 1"/>
                <a:gd name="T29" fmla="*/ 0 h 1"/>
                <a:gd name="T30" fmla="*/ 1 w 1"/>
                <a:gd name="T31" fmla="*/ 0 h 1"/>
                <a:gd name="T32" fmla="*/ 1 w 1"/>
                <a:gd name="T33" fmla="*/ 0 h 1"/>
                <a:gd name="T34" fmla="*/ 1 w 1"/>
                <a:gd name="T3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 h="1">
                  <a:moveTo>
                    <a:pt x="1" y="0"/>
                  </a:move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32" name="Oval 1297">
              <a:extLst>
                <a:ext uri="{FF2B5EF4-FFF2-40B4-BE49-F238E27FC236}">
                  <a16:creationId xmlns:a16="http://schemas.microsoft.com/office/drawing/2014/main" id="{5472B4F5-2622-457B-81FF-A3819FEF71B0}"/>
                </a:ext>
              </a:extLst>
            </p:cNvPr>
            <p:cNvSpPr>
              <a:spLocks noChangeArrowheads="1"/>
            </p:cNvSpPr>
            <p:nvPr/>
          </p:nvSpPr>
          <p:spPr bwMode="auto">
            <a:xfrm>
              <a:off x="6233784" y="2552577"/>
              <a:ext cx="2671" cy="1336"/>
            </a:xfrm>
            <a:prstGeom prst="ellipse">
              <a:avLst/>
            </a:pr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33" name="Freeform 1298">
              <a:extLst>
                <a:ext uri="{FF2B5EF4-FFF2-40B4-BE49-F238E27FC236}">
                  <a16:creationId xmlns:a16="http://schemas.microsoft.com/office/drawing/2014/main" id="{B10ECC93-9019-4AB4-BB30-865EA82E22F5}"/>
                </a:ext>
              </a:extLst>
            </p:cNvPr>
            <p:cNvSpPr>
              <a:spLocks/>
            </p:cNvSpPr>
            <p:nvPr/>
          </p:nvSpPr>
          <p:spPr bwMode="auto">
            <a:xfrm>
              <a:off x="6240462" y="2551241"/>
              <a:ext cx="5342" cy="4007"/>
            </a:xfrm>
            <a:custGeom>
              <a:avLst/>
              <a:gdLst>
                <a:gd name="T0" fmla="*/ 1 w 4"/>
                <a:gd name="T1" fmla="*/ 1 h 3"/>
                <a:gd name="T2" fmla="*/ 1 w 4"/>
                <a:gd name="T3" fmla="*/ 1 h 3"/>
                <a:gd name="T4" fmla="*/ 1 w 4"/>
                <a:gd name="T5" fmla="*/ 1 h 3"/>
                <a:gd name="T6" fmla="*/ 1 w 4"/>
                <a:gd name="T7" fmla="*/ 1 h 3"/>
                <a:gd name="T8" fmla="*/ 2 w 4"/>
                <a:gd name="T9" fmla="*/ 1 h 3"/>
                <a:gd name="T10" fmla="*/ 2 w 4"/>
                <a:gd name="T11" fmla="*/ 1 h 3"/>
                <a:gd name="T12" fmla="*/ 2 w 4"/>
                <a:gd name="T13" fmla="*/ 1 h 3"/>
                <a:gd name="T14" fmla="*/ 2 w 4"/>
                <a:gd name="T15" fmla="*/ 1 h 3"/>
                <a:gd name="T16" fmla="*/ 4 w 4"/>
                <a:gd name="T17" fmla="*/ 1 h 3"/>
                <a:gd name="T18" fmla="*/ 4 w 4"/>
                <a:gd name="T19" fmla="*/ 1 h 3"/>
                <a:gd name="T20" fmla="*/ 4 w 4"/>
                <a:gd name="T21" fmla="*/ 1 h 3"/>
                <a:gd name="T22" fmla="*/ 4 w 4"/>
                <a:gd name="T23" fmla="*/ 1 h 3"/>
                <a:gd name="T24" fmla="*/ 4 w 4"/>
                <a:gd name="T25" fmla="*/ 1 h 3"/>
                <a:gd name="T26" fmla="*/ 4 w 4"/>
                <a:gd name="T27" fmla="*/ 1 h 3"/>
                <a:gd name="T28" fmla="*/ 4 w 4"/>
                <a:gd name="T29" fmla="*/ 1 h 3"/>
                <a:gd name="T30" fmla="*/ 4 w 4"/>
                <a:gd name="T31" fmla="*/ 3 h 3"/>
                <a:gd name="T32" fmla="*/ 4 w 4"/>
                <a:gd name="T33" fmla="*/ 3 h 3"/>
                <a:gd name="T34" fmla="*/ 4 w 4"/>
                <a:gd name="T35" fmla="*/ 3 h 3"/>
                <a:gd name="T36" fmla="*/ 2 w 4"/>
                <a:gd name="T37" fmla="*/ 3 h 3"/>
                <a:gd name="T38" fmla="*/ 2 w 4"/>
                <a:gd name="T39" fmla="*/ 3 h 3"/>
                <a:gd name="T40" fmla="*/ 2 w 4"/>
                <a:gd name="T41" fmla="*/ 3 h 3"/>
                <a:gd name="T42" fmla="*/ 1 w 4"/>
                <a:gd name="T43" fmla="*/ 3 h 3"/>
                <a:gd name="T44" fmla="*/ 1 w 4"/>
                <a:gd name="T45" fmla="*/ 3 h 3"/>
                <a:gd name="T46" fmla="*/ 1 w 4"/>
                <a:gd name="T47" fmla="*/ 3 h 3"/>
                <a:gd name="T48" fmla="*/ 1 w 4"/>
                <a:gd name="T49" fmla="*/ 1 h 3"/>
                <a:gd name="T50" fmla="*/ 1 w 4"/>
                <a:gd name="T51" fmla="*/ 1 h 3"/>
                <a:gd name="T52" fmla="*/ 0 w 4"/>
                <a:gd name="T53" fmla="*/ 1 h 3"/>
                <a:gd name="T54" fmla="*/ 0 w 4"/>
                <a:gd name="T55" fmla="*/ 1 h 3"/>
                <a:gd name="T56" fmla="*/ 0 w 4"/>
                <a:gd name="T57" fmla="*/ 1 h 3"/>
                <a:gd name="T58" fmla="*/ 0 w 4"/>
                <a:gd name="T59" fmla="*/ 1 h 3"/>
                <a:gd name="T60" fmla="*/ 0 w 4"/>
                <a:gd name="T61" fmla="*/ 0 h 3"/>
                <a:gd name="T62" fmla="*/ 0 w 4"/>
                <a:gd name="T63" fmla="*/ 0 h 3"/>
                <a:gd name="T64" fmla="*/ 0 w 4"/>
                <a:gd name="T65" fmla="*/ 0 h 3"/>
                <a:gd name="T66" fmla="*/ 1 w 4"/>
                <a:gd name="T67" fmla="*/ 0 h 3"/>
                <a:gd name="T68" fmla="*/ 1 w 4"/>
                <a:gd name="T69" fmla="*/ 0 h 3"/>
                <a:gd name="T70" fmla="*/ 1 w 4"/>
                <a:gd name="T71" fmla="*/ 0 h 3"/>
                <a:gd name="T72" fmla="*/ 1 w 4"/>
                <a:gd name="T73" fmla="*/ 0 h 3"/>
                <a:gd name="T74" fmla="*/ 1 w 4"/>
                <a:gd name="T75" fmla="*/ 0 h 3"/>
                <a:gd name="T76" fmla="*/ 1 w 4"/>
                <a:gd name="T77" fmla="*/ 0 h 3"/>
                <a:gd name="T78" fmla="*/ 1 w 4"/>
                <a:gd name="T79" fmla="*/ 1 h 3"/>
                <a:gd name="T80" fmla="*/ 1 w 4"/>
                <a:gd name="T81" fmla="*/ 1 h 3"/>
                <a:gd name="T82" fmla="*/ 1 w 4"/>
                <a:gd name="T8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 h="3">
                  <a:moveTo>
                    <a:pt x="1" y="1"/>
                  </a:moveTo>
                  <a:lnTo>
                    <a:pt x="1" y="1"/>
                  </a:lnTo>
                  <a:lnTo>
                    <a:pt x="1" y="1"/>
                  </a:lnTo>
                  <a:lnTo>
                    <a:pt x="1" y="1"/>
                  </a:lnTo>
                  <a:lnTo>
                    <a:pt x="2" y="1"/>
                  </a:lnTo>
                  <a:lnTo>
                    <a:pt x="2" y="1"/>
                  </a:lnTo>
                  <a:lnTo>
                    <a:pt x="2" y="1"/>
                  </a:lnTo>
                  <a:lnTo>
                    <a:pt x="2" y="1"/>
                  </a:lnTo>
                  <a:lnTo>
                    <a:pt x="4" y="1"/>
                  </a:lnTo>
                  <a:lnTo>
                    <a:pt x="4" y="1"/>
                  </a:lnTo>
                  <a:lnTo>
                    <a:pt x="4" y="1"/>
                  </a:lnTo>
                  <a:lnTo>
                    <a:pt x="4" y="1"/>
                  </a:lnTo>
                  <a:lnTo>
                    <a:pt x="4" y="1"/>
                  </a:lnTo>
                  <a:lnTo>
                    <a:pt x="4" y="1"/>
                  </a:lnTo>
                  <a:lnTo>
                    <a:pt x="4" y="1"/>
                  </a:lnTo>
                  <a:lnTo>
                    <a:pt x="4" y="3"/>
                  </a:lnTo>
                  <a:lnTo>
                    <a:pt x="4" y="3"/>
                  </a:lnTo>
                  <a:lnTo>
                    <a:pt x="4" y="3"/>
                  </a:lnTo>
                  <a:lnTo>
                    <a:pt x="2" y="3"/>
                  </a:lnTo>
                  <a:lnTo>
                    <a:pt x="2" y="3"/>
                  </a:lnTo>
                  <a:lnTo>
                    <a:pt x="2" y="3"/>
                  </a:lnTo>
                  <a:lnTo>
                    <a:pt x="1" y="3"/>
                  </a:lnTo>
                  <a:lnTo>
                    <a:pt x="1" y="3"/>
                  </a:lnTo>
                  <a:lnTo>
                    <a:pt x="1" y="3"/>
                  </a:lnTo>
                  <a:lnTo>
                    <a:pt x="1" y="1"/>
                  </a:lnTo>
                  <a:lnTo>
                    <a:pt x="1" y="1"/>
                  </a:lnTo>
                  <a:lnTo>
                    <a:pt x="0" y="1"/>
                  </a:lnTo>
                  <a:lnTo>
                    <a:pt x="0" y="1"/>
                  </a:lnTo>
                  <a:lnTo>
                    <a:pt x="0" y="1"/>
                  </a:lnTo>
                  <a:lnTo>
                    <a:pt x="0" y="1"/>
                  </a:lnTo>
                  <a:lnTo>
                    <a:pt x="0" y="0"/>
                  </a:lnTo>
                  <a:lnTo>
                    <a:pt x="0" y="0"/>
                  </a:lnTo>
                  <a:lnTo>
                    <a:pt x="0" y="0"/>
                  </a:lnTo>
                  <a:lnTo>
                    <a:pt x="1" y="0"/>
                  </a:lnTo>
                  <a:lnTo>
                    <a:pt x="1" y="0"/>
                  </a:lnTo>
                  <a:lnTo>
                    <a:pt x="1" y="0"/>
                  </a:lnTo>
                  <a:lnTo>
                    <a:pt x="1" y="0"/>
                  </a:lnTo>
                  <a:lnTo>
                    <a:pt x="1" y="0"/>
                  </a:lnTo>
                  <a:lnTo>
                    <a:pt x="1" y="0"/>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34" name="Freeform 1299">
              <a:extLst>
                <a:ext uri="{FF2B5EF4-FFF2-40B4-BE49-F238E27FC236}">
                  <a16:creationId xmlns:a16="http://schemas.microsoft.com/office/drawing/2014/main" id="{8C9236BB-8C09-4429-9F83-DE89E5052AB7}"/>
                </a:ext>
              </a:extLst>
            </p:cNvPr>
            <p:cNvSpPr>
              <a:spLocks/>
            </p:cNvSpPr>
            <p:nvPr/>
          </p:nvSpPr>
          <p:spPr bwMode="auto">
            <a:xfrm>
              <a:off x="6228442" y="2551241"/>
              <a:ext cx="1336" cy="4007"/>
            </a:xfrm>
            <a:custGeom>
              <a:avLst/>
              <a:gdLst>
                <a:gd name="T0" fmla="*/ 1 w 1"/>
                <a:gd name="T1" fmla="*/ 0 h 3"/>
                <a:gd name="T2" fmla="*/ 1 w 1"/>
                <a:gd name="T3" fmla="*/ 1 h 3"/>
                <a:gd name="T4" fmla="*/ 1 w 1"/>
                <a:gd name="T5" fmla="*/ 1 h 3"/>
                <a:gd name="T6" fmla="*/ 1 w 1"/>
                <a:gd name="T7" fmla="*/ 1 h 3"/>
                <a:gd name="T8" fmla="*/ 1 w 1"/>
                <a:gd name="T9" fmla="*/ 3 h 3"/>
                <a:gd name="T10" fmla="*/ 1 w 1"/>
                <a:gd name="T11" fmla="*/ 3 h 3"/>
                <a:gd name="T12" fmla="*/ 0 w 1"/>
                <a:gd name="T13" fmla="*/ 3 h 3"/>
                <a:gd name="T14" fmla="*/ 0 w 1"/>
                <a:gd name="T15" fmla="*/ 3 h 3"/>
                <a:gd name="T16" fmla="*/ 0 w 1"/>
                <a:gd name="T17" fmla="*/ 3 h 3"/>
                <a:gd name="T18" fmla="*/ 0 w 1"/>
                <a:gd name="T19" fmla="*/ 1 h 3"/>
                <a:gd name="T20" fmla="*/ 0 w 1"/>
                <a:gd name="T21" fmla="*/ 1 h 3"/>
                <a:gd name="T22" fmla="*/ 0 w 1"/>
                <a:gd name="T23" fmla="*/ 1 h 3"/>
                <a:gd name="T24" fmla="*/ 0 w 1"/>
                <a:gd name="T25" fmla="*/ 1 h 3"/>
                <a:gd name="T26" fmla="*/ 0 w 1"/>
                <a:gd name="T27" fmla="*/ 0 h 3"/>
                <a:gd name="T28" fmla="*/ 0 w 1"/>
                <a:gd name="T29" fmla="*/ 0 h 3"/>
                <a:gd name="T30" fmla="*/ 1 w 1"/>
                <a:gd name="T31" fmla="*/ 0 h 3"/>
                <a:gd name="T32" fmla="*/ 1 w 1"/>
                <a:gd name="T33" fmla="*/ 0 h 3"/>
                <a:gd name="T34" fmla="*/ 0 w 1"/>
                <a:gd name="T35" fmla="*/ 0 h 3"/>
                <a:gd name="T36" fmla="*/ 0 w 1"/>
                <a:gd name="T37" fmla="*/ 0 h 3"/>
                <a:gd name="T38" fmla="*/ 0 w 1"/>
                <a:gd name="T39" fmla="*/ 0 h 3"/>
                <a:gd name="T40" fmla="*/ 1 w 1"/>
                <a:gd name="T41" fmla="*/ 0 h 3"/>
                <a:gd name="T42" fmla="*/ 1 w 1"/>
                <a:gd name="T43" fmla="*/ 0 h 3"/>
                <a:gd name="T44" fmla="*/ 1 w 1"/>
                <a:gd name="T45" fmla="*/ 0 h 3"/>
                <a:gd name="T46" fmla="*/ 1 w 1"/>
                <a:gd name="T47" fmla="*/ 0 h 3"/>
                <a:gd name="T48" fmla="*/ 1 w 1"/>
                <a:gd name="T49" fmla="*/ 0 h 3"/>
                <a:gd name="T50" fmla="*/ 1 w 1"/>
                <a:gd name="T51" fmla="*/ 0 h 3"/>
                <a:gd name="T52" fmla="*/ 1 w 1"/>
                <a:gd name="T53" fmla="*/ 0 h 3"/>
                <a:gd name="T54" fmla="*/ 1 w 1"/>
                <a:gd name="T55" fmla="*/ 0 h 3"/>
                <a:gd name="T56" fmla="*/ 1 w 1"/>
                <a:gd name="T5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 h="3">
                  <a:moveTo>
                    <a:pt x="1" y="0"/>
                  </a:moveTo>
                  <a:lnTo>
                    <a:pt x="1" y="1"/>
                  </a:lnTo>
                  <a:lnTo>
                    <a:pt x="1" y="1"/>
                  </a:lnTo>
                  <a:lnTo>
                    <a:pt x="1" y="1"/>
                  </a:lnTo>
                  <a:lnTo>
                    <a:pt x="1" y="3"/>
                  </a:lnTo>
                  <a:lnTo>
                    <a:pt x="1" y="3"/>
                  </a:lnTo>
                  <a:lnTo>
                    <a:pt x="0" y="3"/>
                  </a:lnTo>
                  <a:lnTo>
                    <a:pt x="0" y="3"/>
                  </a:lnTo>
                  <a:lnTo>
                    <a:pt x="0" y="3"/>
                  </a:lnTo>
                  <a:lnTo>
                    <a:pt x="0" y="1"/>
                  </a:lnTo>
                  <a:lnTo>
                    <a:pt x="0" y="1"/>
                  </a:lnTo>
                  <a:lnTo>
                    <a:pt x="0" y="1"/>
                  </a:lnTo>
                  <a:lnTo>
                    <a:pt x="0" y="1"/>
                  </a:lnTo>
                  <a:lnTo>
                    <a:pt x="0" y="0"/>
                  </a:lnTo>
                  <a:lnTo>
                    <a:pt x="0" y="0"/>
                  </a:lnTo>
                  <a:lnTo>
                    <a:pt x="1" y="0"/>
                  </a:lnTo>
                  <a:lnTo>
                    <a:pt x="1" y="0"/>
                  </a:lnTo>
                  <a:lnTo>
                    <a:pt x="0" y="0"/>
                  </a:lnTo>
                  <a:lnTo>
                    <a:pt x="0" y="0"/>
                  </a:lnTo>
                  <a:lnTo>
                    <a:pt x="0" y="0"/>
                  </a:lnTo>
                  <a:lnTo>
                    <a:pt x="1" y="0"/>
                  </a:lnTo>
                  <a:lnTo>
                    <a:pt x="1" y="0"/>
                  </a:lnTo>
                  <a:lnTo>
                    <a:pt x="1"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35" name="Freeform 1300">
              <a:extLst>
                <a:ext uri="{FF2B5EF4-FFF2-40B4-BE49-F238E27FC236}">
                  <a16:creationId xmlns:a16="http://schemas.microsoft.com/office/drawing/2014/main" id="{43B0D9E2-F613-436E-B318-5A47C85E2BFF}"/>
                </a:ext>
              </a:extLst>
            </p:cNvPr>
            <p:cNvSpPr>
              <a:spLocks/>
            </p:cNvSpPr>
            <p:nvPr/>
          </p:nvSpPr>
          <p:spPr bwMode="auto">
            <a:xfrm>
              <a:off x="6257823" y="2551241"/>
              <a:ext cx="6678" cy="4007"/>
            </a:xfrm>
            <a:custGeom>
              <a:avLst/>
              <a:gdLst>
                <a:gd name="T0" fmla="*/ 5 w 5"/>
                <a:gd name="T1" fmla="*/ 1 h 3"/>
                <a:gd name="T2" fmla="*/ 3 w 5"/>
                <a:gd name="T3" fmla="*/ 3 h 3"/>
                <a:gd name="T4" fmla="*/ 3 w 5"/>
                <a:gd name="T5" fmla="*/ 3 h 3"/>
                <a:gd name="T6" fmla="*/ 2 w 5"/>
                <a:gd name="T7" fmla="*/ 3 h 3"/>
                <a:gd name="T8" fmla="*/ 2 w 5"/>
                <a:gd name="T9" fmla="*/ 3 h 3"/>
                <a:gd name="T10" fmla="*/ 1 w 5"/>
                <a:gd name="T11" fmla="*/ 3 h 3"/>
                <a:gd name="T12" fmla="*/ 1 w 5"/>
                <a:gd name="T13" fmla="*/ 3 h 3"/>
                <a:gd name="T14" fmla="*/ 1 w 5"/>
                <a:gd name="T15" fmla="*/ 3 h 3"/>
                <a:gd name="T16" fmla="*/ 1 w 5"/>
                <a:gd name="T17" fmla="*/ 3 h 3"/>
                <a:gd name="T18" fmla="*/ 1 w 5"/>
                <a:gd name="T19" fmla="*/ 3 h 3"/>
                <a:gd name="T20" fmla="*/ 1 w 5"/>
                <a:gd name="T21" fmla="*/ 3 h 3"/>
                <a:gd name="T22" fmla="*/ 1 w 5"/>
                <a:gd name="T23" fmla="*/ 3 h 3"/>
                <a:gd name="T24" fmla="*/ 0 w 5"/>
                <a:gd name="T25" fmla="*/ 3 h 3"/>
                <a:gd name="T26" fmla="*/ 0 w 5"/>
                <a:gd name="T27" fmla="*/ 3 h 3"/>
                <a:gd name="T28" fmla="*/ 0 w 5"/>
                <a:gd name="T29" fmla="*/ 3 h 3"/>
                <a:gd name="T30" fmla="*/ 0 w 5"/>
                <a:gd name="T31" fmla="*/ 3 h 3"/>
                <a:gd name="T32" fmla="*/ 0 w 5"/>
                <a:gd name="T33" fmla="*/ 3 h 3"/>
                <a:gd name="T34" fmla="*/ 1 w 5"/>
                <a:gd name="T35" fmla="*/ 1 h 3"/>
                <a:gd name="T36" fmla="*/ 1 w 5"/>
                <a:gd name="T37" fmla="*/ 1 h 3"/>
                <a:gd name="T38" fmla="*/ 1 w 5"/>
                <a:gd name="T39" fmla="*/ 1 h 3"/>
                <a:gd name="T40" fmla="*/ 1 w 5"/>
                <a:gd name="T41" fmla="*/ 1 h 3"/>
                <a:gd name="T42" fmla="*/ 1 w 5"/>
                <a:gd name="T43" fmla="*/ 1 h 3"/>
                <a:gd name="T44" fmla="*/ 1 w 5"/>
                <a:gd name="T45" fmla="*/ 1 h 3"/>
                <a:gd name="T46" fmla="*/ 2 w 5"/>
                <a:gd name="T47" fmla="*/ 1 h 3"/>
                <a:gd name="T48" fmla="*/ 2 w 5"/>
                <a:gd name="T49" fmla="*/ 1 h 3"/>
                <a:gd name="T50" fmla="*/ 2 w 5"/>
                <a:gd name="T51" fmla="*/ 1 h 3"/>
                <a:gd name="T52" fmla="*/ 3 w 5"/>
                <a:gd name="T53" fmla="*/ 1 h 3"/>
                <a:gd name="T54" fmla="*/ 3 w 5"/>
                <a:gd name="T55" fmla="*/ 1 h 3"/>
                <a:gd name="T56" fmla="*/ 3 w 5"/>
                <a:gd name="T57" fmla="*/ 0 h 3"/>
                <a:gd name="T58" fmla="*/ 5 w 5"/>
                <a:gd name="T59" fmla="*/ 0 h 3"/>
                <a:gd name="T60" fmla="*/ 5 w 5"/>
                <a:gd name="T61" fmla="*/ 0 h 3"/>
                <a:gd name="T62" fmla="*/ 5 w 5"/>
                <a:gd name="T63" fmla="*/ 0 h 3"/>
                <a:gd name="T64" fmla="*/ 5 w 5"/>
                <a:gd name="T6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 h="3">
                  <a:moveTo>
                    <a:pt x="5" y="1"/>
                  </a:moveTo>
                  <a:lnTo>
                    <a:pt x="3" y="3"/>
                  </a:lnTo>
                  <a:lnTo>
                    <a:pt x="3" y="3"/>
                  </a:lnTo>
                  <a:lnTo>
                    <a:pt x="2" y="3"/>
                  </a:lnTo>
                  <a:lnTo>
                    <a:pt x="2" y="3"/>
                  </a:lnTo>
                  <a:lnTo>
                    <a:pt x="1" y="3"/>
                  </a:lnTo>
                  <a:lnTo>
                    <a:pt x="1" y="3"/>
                  </a:lnTo>
                  <a:lnTo>
                    <a:pt x="1" y="3"/>
                  </a:lnTo>
                  <a:lnTo>
                    <a:pt x="1" y="3"/>
                  </a:lnTo>
                  <a:lnTo>
                    <a:pt x="1" y="3"/>
                  </a:lnTo>
                  <a:lnTo>
                    <a:pt x="1" y="3"/>
                  </a:lnTo>
                  <a:lnTo>
                    <a:pt x="1" y="3"/>
                  </a:lnTo>
                  <a:lnTo>
                    <a:pt x="0" y="3"/>
                  </a:lnTo>
                  <a:lnTo>
                    <a:pt x="0" y="3"/>
                  </a:lnTo>
                  <a:lnTo>
                    <a:pt x="0" y="3"/>
                  </a:lnTo>
                  <a:lnTo>
                    <a:pt x="0" y="3"/>
                  </a:lnTo>
                  <a:lnTo>
                    <a:pt x="0" y="3"/>
                  </a:lnTo>
                  <a:lnTo>
                    <a:pt x="1" y="1"/>
                  </a:lnTo>
                  <a:lnTo>
                    <a:pt x="1" y="1"/>
                  </a:lnTo>
                  <a:lnTo>
                    <a:pt x="1" y="1"/>
                  </a:lnTo>
                  <a:lnTo>
                    <a:pt x="1" y="1"/>
                  </a:lnTo>
                  <a:lnTo>
                    <a:pt x="1" y="1"/>
                  </a:lnTo>
                  <a:lnTo>
                    <a:pt x="1" y="1"/>
                  </a:lnTo>
                  <a:lnTo>
                    <a:pt x="2" y="1"/>
                  </a:lnTo>
                  <a:lnTo>
                    <a:pt x="2" y="1"/>
                  </a:lnTo>
                  <a:lnTo>
                    <a:pt x="2" y="1"/>
                  </a:lnTo>
                  <a:lnTo>
                    <a:pt x="3" y="1"/>
                  </a:lnTo>
                  <a:lnTo>
                    <a:pt x="3" y="1"/>
                  </a:lnTo>
                  <a:lnTo>
                    <a:pt x="3" y="0"/>
                  </a:lnTo>
                  <a:lnTo>
                    <a:pt x="5" y="0"/>
                  </a:lnTo>
                  <a:lnTo>
                    <a:pt x="5" y="0"/>
                  </a:lnTo>
                  <a:lnTo>
                    <a:pt x="5" y="0"/>
                  </a:lnTo>
                  <a:lnTo>
                    <a:pt x="5"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36" name="Freeform 1301">
              <a:extLst>
                <a:ext uri="{FF2B5EF4-FFF2-40B4-BE49-F238E27FC236}">
                  <a16:creationId xmlns:a16="http://schemas.microsoft.com/office/drawing/2014/main" id="{178F6177-3C0B-478B-9DF4-9F367B3305B3}"/>
                </a:ext>
              </a:extLst>
            </p:cNvPr>
            <p:cNvSpPr>
              <a:spLocks/>
            </p:cNvSpPr>
            <p:nvPr/>
          </p:nvSpPr>
          <p:spPr bwMode="auto">
            <a:xfrm>
              <a:off x="6212416" y="2549906"/>
              <a:ext cx="2671" cy="1336"/>
            </a:xfrm>
            <a:custGeom>
              <a:avLst/>
              <a:gdLst>
                <a:gd name="T0" fmla="*/ 1 w 2"/>
                <a:gd name="T1" fmla="*/ 1 h 1"/>
                <a:gd name="T2" fmla="*/ 1 w 2"/>
                <a:gd name="T3" fmla="*/ 1 h 1"/>
                <a:gd name="T4" fmla="*/ 1 w 2"/>
                <a:gd name="T5" fmla="*/ 1 h 1"/>
                <a:gd name="T6" fmla="*/ 1 w 2"/>
                <a:gd name="T7" fmla="*/ 1 h 1"/>
                <a:gd name="T8" fmla="*/ 1 w 2"/>
                <a:gd name="T9" fmla="*/ 1 h 1"/>
                <a:gd name="T10" fmla="*/ 1 w 2"/>
                <a:gd name="T11" fmla="*/ 1 h 1"/>
                <a:gd name="T12" fmla="*/ 1 w 2"/>
                <a:gd name="T13" fmla="*/ 1 h 1"/>
                <a:gd name="T14" fmla="*/ 1 w 2"/>
                <a:gd name="T15" fmla="*/ 1 h 1"/>
                <a:gd name="T16" fmla="*/ 1 w 2"/>
                <a:gd name="T17" fmla="*/ 1 h 1"/>
                <a:gd name="T18" fmla="*/ 1 w 2"/>
                <a:gd name="T19" fmla="*/ 1 h 1"/>
                <a:gd name="T20" fmla="*/ 0 w 2"/>
                <a:gd name="T21" fmla="*/ 0 h 1"/>
                <a:gd name="T22" fmla="*/ 0 w 2"/>
                <a:gd name="T23" fmla="*/ 0 h 1"/>
                <a:gd name="T24" fmla="*/ 0 w 2"/>
                <a:gd name="T25" fmla="*/ 0 h 1"/>
                <a:gd name="T26" fmla="*/ 0 w 2"/>
                <a:gd name="T27" fmla="*/ 0 h 1"/>
                <a:gd name="T28" fmla="*/ 2 w 2"/>
                <a:gd name="T29" fmla="*/ 0 h 1"/>
                <a:gd name="T30" fmla="*/ 2 w 2"/>
                <a:gd name="T31" fmla="*/ 0 h 1"/>
                <a:gd name="T32" fmla="*/ 2 w 2"/>
                <a:gd name="T33" fmla="*/ 0 h 1"/>
                <a:gd name="T34" fmla="*/ 2 w 2"/>
                <a:gd name="T35" fmla="*/ 0 h 1"/>
                <a:gd name="T36" fmla="*/ 2 w 2"/>
                <a:gd name="T37" fmla="*/ 0 h 1"/>
                <a:gd name="T38" fmla="*/ 2 w 2"/>
                <a:gd name="T39" fmla="*/ 1 h 1"/>
                <a:gd name="T40" fmla="*/ 2 w 2"/>
                <a:gd name="T41" fmla="*/ 1 h 1"/>
                <a:gd name="T42" fmla="*/ 2 w 2"/>
                <a:gd name="T43" fmla="*/ 1 h 1"/>
                <a:gd name="T44" fmla="*/ 2 w 2"/>
                <a:gd name="T45" fmla="*/ 1 h 1"/>
                <a:gd name="T46" fmla="*/ 1 w 2"/>
                <a:gd name="T47" fmla="*/ 1 h 1"/>
                <a:gd name="T48" fmla="*/ 1 w 2"/>
                <a:gd name="T4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 h="1">
                  <a:moveTo>
                    <a:pt x="1" y="1"/>
                  </a:moveTo>
                  <a:lnTo>
                    <a:pt x="1" y="1"/>
                  </a:lnTo>
                  <a:lnTo>
                    <a:pt x="1" y="1"/>
                  </a:lnTo>
                  <a:lnTo>
                    <a:pt x="1" y="1"/>
                  </a:lnTo>
                  <a:lnTo>
                    <a:pt x="1" y="1"/>
                  </a:lnTo>
                  <a:lnTo>
                    <a:pt x="1" y="1"/>
                  </a:lnTo>
                  <a:lnTo>
                    <a:pt x="1" y="1"/>
                  </a:lnTo>
                  <a:lnTo>
                    <a:pt x="1" y="1"/>
                  </a:lnTo>
                  <a:lnTo>
                    <a:pt x="1" y="1"/>
                  </a:lnTo>
                  <a:lnTo>
                    <a:pt x="1" y="1"/>
                  </a:lnTo>
                  <a:lnTo>
                    <a:pt x="0" y="0"/>
                  </a:lnTo>
                  <a:lnTo>
                    <a:pt x="0" y="0"/>
                  </a:lnTo>
                  <a:lnTo>
                    <a:pt x="0" y="0"/>
                  </a:lnTo>
                  <a:lnTo>
                    <a:pt x="0" y="0"/>
                  </a:lnTo>
                  <a:lnTo>
                    <a:pt x="2" y="0"/>
                  </a:lnTo>
                  <a:lnTo>
                    <a:pt x="2" y="0"/>
                  </a:lnTo>
                  <a:lnTo>
                    <a:pt x="2" y="0"/>
                  </a:lnTo>
                  <a:lnTo>
                    <a:pt x="2" y="0"/>
                  </a:lnTo>
                  <a:lnTo>
                    <a:pt x="2" y="0"/>
                  </a:lnTo>
                  <a:lnTo>
                    <a:pt x="2" y="1"/>
                  </a:lnTo>
                  <a:lnTo>
                    <a:pt x="2" y="1"/>
                  </a:lnTo>
                  <a:lnTo>
                    <a:pt x="2" y="1"/>
                  </a:lnTo>
                  <a:lnTo>
                    <a:pt x="2"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37" name="Freeform 1302">
              <a:extLst>
                <a:ext uri="{FF2B5EF4-FFF2-40B4-BE49-F238E27FC236}">
                  <a16:creationId xmlns:a16="http://schemas.microsoft.com/office/drawing/2014/main" id="{4BE8E27F-0C64-45CD-935B-6F1176EDC674}"/>
                </a:ext>
              </a:extLst>
            </p:cNvPr>
            <p:cNvSpPr>
              <a:spLocks/>
            </p:cNvSpPr>
            <p:nvPr/>
          </p:nvSpPr>
          <p:spPr bwMode="auto">
            <a:xfrm>
              <a:off x="6268507" y="2548570"/>
              <a:ext cx="8013" cy="4007"/>
            </a:xfrm>
            <a:custGeom>
              <a:avLst/>
              <a:gdLst>
                <a:gd name="T0" fmla="*/ 5 w 6"/>
                <a:gd name="T1" fmla="*/ 1 h 3"/>
                <a:gd name="T2" fmla="*/ 5 w 6"/>
                <a:gd name="T3" fmla="*/ 1 h 3"/>
                <a:gd name="T4" fmla="*/ 5 w 6"/>
                <a:gd name="T5" fmla="*/ 1 h 3"/>
                <a:gd name="T6" fmla="*/ 5 w 6"/>
                <a:gd name="T7" fmla="*/ 1 h 3"/>
                <a:gd name="T8" fmla="*/ 5 w 6"/>
                <a:gd name="T9" fmla="*/ 1 h 3"/>
                <a:gd name="T10" fmla="*/ 5 w 6"/>
                <a:gd name="T11" fmla="*/ 1 h 3"/>
                <a:gd name="T12" fmla="*/ 6 w 6"/>
                <a:gd name="T13" fmla="*/ 1 h 3"/>
                <a:gd name="T14" fmla="*/ 6 w 6"/>
                <a:gd name="T15" fmla="*/ 1 h 3"/>
                <a:gd name="T16" fmla="*/ 6 w 6"/>
                <a:gd name="T17" fmla="*/ 1 h 3"/>
                <a:gd name="T18" fmla="*/ 6 w 6"/>
                <a:gd name="T19" fmla="*/ 1 h 3"/>
                <a:gd name="T20" fmla="*/ 6 w 6"/>
                <a:gd name="T21" fmla="*/ 2 h 3"/>
                <a:gd name="T22" fmla="*/ 6 w 6"/>
                <a:gd name="T23" fmla="*/ 2 h 3"/>
                <a:gd name="T24" fmla="*/ 4 w 6"/>
                <a:gd name="T25" fmla="*/ 2 h 3"/>
                <a:gd name="T26" fmla="*/ 4 w 6"/>
                <a:gd name="T27" fmla="*/ 2 h 3"/>
                <a:gd name="T28" fmla="*/ 4 w 6"/>
                <a:gd name="T29" fmla="*/ 3 h 3"/>
                <a:gd name="T30" fmla="*/ 4 w 6"/>
                <a:gd name="T31" fmla="*/ 3 h 3"/>
                <a:gd name="T32" fmla="*/ 2 w 6"/>
                <a:gd name="T33" fmla="*/ 3 h 3"/>
                <a:gd name="T34" fmla="*/ 2 w 6"/>
                <a:gd name="T35" fmla="*/ 3 h 3"/>
                <a:gd name="T36" fmla="*/ 2 w 6"/>
                <a:gd name="T37" fmla="*/ 2 h 3"/>
                <a:gd name="T38" fmla="*/ 2 w 6"/>
                <a:gd name="T39" fmla="*/ 2 h 3"/>
                <a:gd name="T40" fmla="*/ 1 w 6"/>
                <a:gd name="T41" fmla="*/ 2 h 3"/>
                <a:gd name="T42" fmla="*/ 1 w 6"/>
                <a:gd name="T43" fmla="*/ 2 h 3"/>
                <a:gd name="T44" fmla="*/ 0 w 6"/>
                <a:gd name="T45" fmla="*/ 2 h 3"/>
                <a:gd name="T46" fmla="*/ 0 w 6"/>
                <a:gd name="T47" fmla="*/ 2 h 3"/>
                <a:gd name="T48" fmla="*/ 0 w 6"/>
                <a:gd name="T49" fmla="*/ 2 h 3"/>
                <a:gd name="T50" fmla="*/ 0 w 6"/>
                <a:gd name="T51" fmla="*/ 2 h 3"/>
                <a:gd name="T52" fmla="*/ 0 w 6"/>
                <a:gd name="T53" fmla="*/ 2 h 3"/>
                <a:gd name="T54" fmla="*/ 0 w 6"/>
                <a:gd name="T55" fmla="*/ 2 h 3"/>
                <a:gd name="T56" fmla="*/ 0 w 6"/>
                <a:gd name="T57" fmla="*/ 1 h 3"/>
                <a:gd name="T58" fmla="*/ 0 w 6"/>
                <a:gd name="T59" fmla="*/ 1 h 3"/>
                <a:gd name="T60" fmla="*/ 0 w 6"/>
                <a:gd name="T61" fmla="*/ 1 h 3"/>
                <a:gd name="T62" fmla="*/ 0 w 6"/>
                <a:gd name="T63" fmla="*/ 1 h 3"/>
                <a:gd name="T64" fmla="*/ 2 w 6"/>
                <a:gd name="T65" fmla="*/ 0 h 3"/>
                <a:gd name="T66" fmla="*/ 4 w 6"/>
                <a:gd name="T67" fmla="*/ 1 h 3"/>
                <a:gd name="T68" fmla="*/ 4 w 6"/>
                <a:gd name="T6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 h="3">
                  <a:moveTo>
                    <a:pt x="5" y="1"/>
                  </a:moveTo>
                  <a:lnTo>
                    <a:pt x="5" y="1"/>
                  </a:lnTo>
                  <a:lnTo>
                    <a:pt x="5" y="1"/>
                  </a:lnTo>
                  <a:lnTo>
                    <a:pt x="5" y="1"/>
                  </a:lnTo>
                  <a:lnTo>
                    <a:pt x="5" y="1"/>
                  </a:lnTo>
                  <a:lnTo>
                    <a:pt x="5" y="1"/>
                  </a:lnTo>
                  <a:lnTo>
                    <a:pt x="5" y="1"/>
                  </a:lnTo>
                  <a:lnTo>
                    <a:pt x="5" y="1"/>
                  </a:lnTo>
                  <a:lnTo>
                    <a:pt x="5" y="1"/>
                  </a:lnTo>
                  <a:lnTo>
                    <a:pt x="5" y="1"/>
                  </a:lnTo>
                  <a:lnTo>
                    <a:pt x="5" y="1"/>
                  </a:lnTo>
                  <a:lnTo>
                    <a:pt x="5" y="1"/>
                  </a:lnTo>
                  <a:lnTo>
                    <a:pt x="6" y="1"/>
                  </a:lnTo>
                  <a:lnTo>
                    <a:pt x="6" y="1"/>
                  </a:lnTo>
                  <a:lnTo>
                    <a:pt x="6" y="1"/>
                  </a:lnTo>
                  <a:lnTo>
                    <a:pt x="6" y="1"/>
                  </a:lnTo>
                  <a:lnTo>
                    <a:pt x="6" y="1"/>
                  </a:lnTo>
                  <a:lnTo>
                    <a:pt x="6" y="1"/>
                  </a:lnTo>
                  <a:lnTo>
                    <a:pt x="6" y="2"/>
                  </a:lnTo>
                  <a:lnTo>
                    <a:pt x="6" y="1"/>
                  </a:lnTo>
                  <a:lnTo>
                    <a:pt x="6" y="2"/>
                  </a:lnTo>
                  <a:lnTo>
                    <a:pt x="6" y="2"/>
                  </a:lnTo>
                  <a:lnTo>
                    <a:pt x="6" y="2"/>
                  </a:lnTo>
                  <a:lnTo>
                    <a:pt x="6" y="2"/>
                  </a:lnTo>
                  <a:lnTo>
                    <a:pt x="5" y="2"/>
                  </a:lnTo>
                  <a:lnTo>
                    <a:pt x="4" y="2"/>
                  </a:lnTo>
                  <a:lnTo>
                    <a:pt x="4" y="2"/>
                  </a:lnTo>
                  <a:lnTo>
                    <a:pt x="4" y="2"/>
                  </a:lnTo>
                  <a:lnTo>
                    <a:pt x="4" y="2"/>
                  </a:lnTo>
                  <a:lnTo>
                    <a:pt x="4" y="3"/>
                  </a:lnTo>
                  <a:lnTo>
                    <a:pt x="4" y="3"/>
                  </a:lnTo>
                  <a:lnTo>
                    <a:pt x="4" y="3"/>
                  </a:lnTo>
                  <a:lnTo>
                    <a:pt x="4" y="3"/>
                  </a:lnTo>
                  <a:lnTo>
                    <a:pt x="2" y="3"/>
                  </a:lnTo>
                  <a:lnTo>
                    <a:pt x="2" y="3"/>
                  </a:lnTo>
                  <a:lnTo>
                    <a:pt x="2" y="3"/>
                  </a:lnTo>
                  <a:lnTo>
                    <a:pt x="2" y="2"/>
                  </a:lnTo>
                  <a:lnTo>
                    <a:pt x="2" y="2"/>
                  </a:lnTo>
                  <a:lnTo>
                    <a:pt x="2" y="2"/>
                  </a:lnTo>
                  <a:lnTo>
                    <a:pt x="2" y="2"/>
                  </a:lnTo>
                  <a:lnTo>
                    <a:pt x="1" y="2"/>
                  </a:lnTo>
                  <a:lnTo>
                    <a:pt x="1" y="2"/>
                  </a:lnTo>
                  <a:lnTo>
                    <a:pt x="1" y="2"/>
                  </a:lnTo>
                  <a:lnTo>
                    <a:pt x="1" y="2"/>
                  </a:lnTo>
                  <a:lnTo>
                    <a:pt x="1" y="2"/>
                  </a:lnTo>
                  <a:lnTo>
                    <a:pt x="0" y="2"/>
                  </a:lnTo>
                  <a:lnTo>
                    <a:pt x="0" y="2"/>
                  </a:lnTo>
                  <a:lnTo>
                    <a:pt x="0" y="2"/>
                  </a:lnTo>
                  <a:lnTo>
                    <a:pt x="0" y="2"/>
                  </a:lnTo>
                  <a:lnTo>
                    <a:pt x="0" y="2"/>
                  </a:lnTo>
                  <a:lnTo>
                    <a:pt x="0" y="2"/>
                  </a:lnTo>
                  <a:lnTo>
                    <a:pt x="0" y="2"/>
                  </a:lnTo>
                  <a:lnTo>
                    <a:pt x="0" y="2"/>
                  </a:lnTo>
                  <a:lnTo>
                    <a:pt x="0" y="2"/>
                  </a:lnTo>
                  <a:lnTo>
                    <a:pt x="0" y="2"/>
                  </a:lnTo>
                  <a:lnTo>
                    <a:pt x="0" y="2"/>
                  </a:lnTo>
                  <a:lnTo>
                    <a:pt x="0" y="1"/>
                  </a:lnTo>
                  <a:lnTo>
                    <a:pt x="0" y="1"/>
                  </a:lnTo>
                  <a:lnTo>
                    <a:pt x="0" y="1"/>
                  </a:lnTo>
                  <a:lnTo>
                    <a:pt x="0" y="1"/>
                  </a:lnTo>
                  <a:lnTo>
                    <a:pt x="0" y="1"/>
                  </a:lnTo>
                  <a:lnTo>
                    <a:pt x="0" y="1"/>
                  </a:lnTo>
                  <a:lnTo>
                    <a:pt x="0" y="1"/>
                  </a:lnTo>
                  <a:lnTo>
                    <a:pt x="0" y="1"/>
                  </a:lnTo>
                  <a:lnTo>
                    <a:pt x="2" y="0"/>
                  </a:lnTo>
                  <a:lnTo>
                    <a:pt x="2" y="0"/>
                  </a:lnTo>
                  <a:lnTo>
                    <a:pt x="2" y="0"/>
                  </a:lnTo>
                  <a:lnTo>
                    <a:pt x="4" y="1"/>
                  </a:lnTo>
                  <a:lnTo>
                    <a:pt x="4" y="1"/>
                  </a:lnTo>
                  <a:lnTo>
                    <a:pt x="4" y="1"/>
                  </a:lnTo>
                  <a:lnTo>
                    <a:pt x="5"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38" name="Freeform 1303">
              <a:extLst>
                <a:ext uri="{FF2B5EF4-FFF2-40B4-BE49-F238E27FC236}">
                  <a16:creationId xmlns:a16="http://schemas.microsoft.com/office/drawing/2014/main" id="{CA7352D6-1AA8-498C-B5D3-69D055996E43}"/>
                </a:ext>
              </a:extLst>
            </p:cNvPr>
            <p:cNvSpPr>
              <a:spLocks/>
            </p:cNvSpPr>
            <p:nvPr/>
          </p:nvSpPr>
          <p:spPr bwMode="auto">
            <a:xfrm>
              <a:off x="6164338" y="2547235"/>
              <a:ext cx="6678" cy="5342"/>
            </a:xfrm>
            <a:custGeom>
              <a:avLst/>
              <a:gdLst>
                <a:gd name="T0" fmla="*/ 1 w 5"/>
                <a:gd name="T1" fmla="*/ 1 h 4"/>
                <a:gd name="T2" fmla="*/ 2 w 5"/>
                <a:gd name="T3" fmla="*/ 1 h 4"/>
                <a:gd name="T4" fmla="*/ 2 w 5"/>
                <a:gd name="T5" fmla="*/ 1 h 4"/>
                <a:gd name="T6" fmla="*/ 2 w 5"/>
                <a:gd name="T7" fmla="*/ 1 h 4"/>
                <a:gd name="T8" fmla="*/ 4 w 5"/>
                <a:gd name="T9" fmla="*/ 1 h 4"/>
                <a:gd name="T10" fmla="*/ 4 w 5"/>
                <a:gd name="T11" fmla="*/ 2 h 4"/>
                <a:gd name="T12" fmla="*/ 4 w 5"/>
                <a:gd name="T13" fmla="*/ 2 h 4"/>
                <a:gd name="T14" fmla="*/ 5 w 5"/>
                <a:gd name="T15" fmla="*/ 3 h 4"/>
                <a:gd name="T16" fmla="*/ 5 w 5"/>
                <a:gd name="T17" fmla="*/ 3 h 4"/>
                <a:gd name="T18" fmla="*/ 5 w 5"/>
                <a:gd name="T19" fmla="*/ 3 h 4"/>
                <a:gd name="T20" fmla="*/ 5 w 5"/>
                <a:gd name="T21" fmla="*/ 3 h 4"/>
                <a:gd name="T22" fmla="*/ 4 w 5"/>
                <a:gd name="T23" fmla="*/ 3 h 4"/>
                <a:gd name="T24" fmla="*/ 4 w 5"/>
                <a:gd name="T25" fmla="*/ 2 h 4"/>
                <a:gd name="T26" fmla="*/ 4 w 5"/>
                <a:gd name="T27" fmla="*/ 3 h 4"/>
                <a:gd name="T28" fmla="*/ 4 w 5"/>
                <a:gd name="T29" fmla="*/ 3 h 4"/>
                <a:gd name="T30" fmla="*/ 4 w 5"/>
                <a:gd name="T31" fmla="*/ 3 h 4"/>
                <a:gd name="T32" fmla="*/ 4 w 5"/>
                <a:gd name="T33" fmla="*/ 3 h 4"/>
                <a:gd name="T34" fmla="*/ 4 w 5"/>
                <a:gd name="T35" fmla="*/ 3 h 4"/>
                <a:gd name="T36" fmla="*/ 4 w 5"/>
                <a:gd name="T37" fmla="*/ 3 h 4"/>
                <a:gd name="T38" fmla="*/ 4 w 5"/>
                <a:gd name="T39" fmla="*/ 3 h 4"/>
                <a:gd name="T40" fmla="*/ 4 w 5"/>
                <a:gd name="T41" fmla="*/ 3 h 4"/>
                <a:gd name="T42" fmla="*/ 4 w 5"/>
                <a:gd name="T43" fmla="*/ 3 h 4"/>
                <a:gd name="T44" fmla="*/ 4 w 5"/>
                <a:gd name="T45" fmla="*/ 4 h 4"/>
                <a:gd name="T46" fmla="*/ 4 w 5"/>
                <a:gd name="T47" fmla="*/ 4 h 4"/>
                <a:gd name="T48" fmla="*/ 2 w 5"/>
                <a:gd name="T49" fmla="*/ 4 h 4"/>
                <a:gd name="T50" fmla="*/ 2 w 5"/>
                <a:gd name="T51" fmla="*/ 4 h 4"/>
                <a:gd name="T52" fmla="*/ 2 w 5"/>
                <a:gd name="T53" fmla="*/ 3 h 4"/>
                <a:gd name="T54" fmla="*/ 1 w 5"/>
                <a:gd name="T55" fmla="*/ 3 h 4"/>
                <a:gd name="T56" fmla="*/ 1 w 5"/>
                <a:gd name="T57" fmla="*/ 2 h 4"/>
                <a:gd name="T58" fmla="*/ 1 w 5"/>
                <a:gd name="T59" fmla="*/ 2 h 4"/>
                <a:gd name="T60" fmla="*/ 1 w 5"/>
                <a:gd name="T61" fmla="*/ 2 h 4"/>
                <a:gd name="T62" fmla="*/ 0 w 5"/>
                <a:gd name="T63" fmla="*/ 1 h 4"/>
                <a:gd name="T64" fmla="*/ 0 w 5"/>
                <a:gd name="T65" fmla="*/ 1 h 4"/>
                <a:gd name="T66" fmla="*/ 0 w 5"/>
                <a:gd name="T67" fmla="*/ 1 h 4"/>
                <a:gd name="T68" fmla="*/ 0 w 5"/>
                <a:gd name="T69" fmla="*/ 1 h 4"/>
                <a:gd name="T70" fmla="*/ 0 w 5"/>
                <a:gd name="T71" fmla="*/ 1 h 4"/>
                <a:gd name="T72" fmla="*/ 0 w 5"/>
                <a:gd name="T73" fmla="*/ 1 h 4"/>
                <a:gd name="T74" fmla="*/ 0 w 5"/>
                <a:gd name="T75" fmla="*/ 0 h 4"/>
                <a:gd name="T76" fmla="*/ 1 w 5"/>
                <a:gd name="T77" fmla="*/ 0 h 4"/>
                <a:gd name="T78" fmla="*/ 1 w 5"/>
                <a:gd name="T79" fmla="*/ 0 h 4"/>
                <a:gd name="T80" fmla="*/ 1 w 5"/>
                <a:gd name="T81" fmla="*/ 0 h 4"/>
                <a:gd name="T82" fmla="*/ 1 w 5"/>
                <a:gd name="T83" fmla="*/ 0 h 4"/>
                <a:gd name="T84" fmla="*/ 1 w 5"/>
                <a:gd name="T85" fmla="*/ 0 h 4"/>
                <a:gd name="T86" fmla="*/ 1 w 5"/>
                <a:gd name="T87" fmla="*/ 0 h 4"/>
                <a:gd name="T88" fmla="*/ 1 w 5"/>
                <a:gd name="T89" fmla="*/ 0 h 4"/>
                <a:gd name="T90" fmla="*/ 1 w 5"/>
                <a:gd name="T91" fmla="*/ 1 h 4"/>
                <a:gd name="T92" fmla="*/ 1 w 5"/>
                <a:gd name="T9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 h="4">
                  <a:moveTo>
                    <a:pt x="1" y="1"/>
                  </a:moveTo>
                  <a:lnTo>
                    <a:pt x="2" y="1"/>
                  </a:lnTo>
                  <a:lnTo>
                    <a:pt x="2" y="1"/>
                  </a:lnTo>
                  <a:lnTo>
                    <a:pt x="2" y="1"/>
                  </a:lnTo>
                  <a:lnTo>
                    <a:pt x="4" y="1"/>
                  </a:lnTo>
                  <a:lnTo>
                    <a:pt x="4" y="2"/>
                  </a:lnTo>
                  <a:lnTo>
                    <a:pt x="4" y="2"/>
                  </a:lnTo>
                  <a:lnTo>
                    <a:pt x="5" y="3"/>
                  </a:lnTo>
                  <a:lnTo>
                    <a:pt x="5" y="3"/>
                  </a:lnTo>
                  <a:lnTo>
                    <a:pt x="5" y="3"/>
                  </a:lnTo>
                  <a:lnTo>
                    <a:pt x="5" y="3"/>
                  </a:lnTo>
                  <a:lnTo>
                    <a:pt x="4" y="3"/>
                  </a:lnTo>
                  <a:lnTo>
                    <a:pt x="4" y="2"/>
                  </a:lnTo>
                  <a:lnTo>
                    <a:pt x="4" y="3"/>
                  </a:lnTo>
                  <a:lnTo>
                    <a:pt x="4" y="3"/>
                  </a:lnTo>
                  <a:lnTo>
                    <a:pt x="4" y="3"/>
                  </a:lnTo>
                  <a:lnTo>
                    <a:pt x="4" y="3"/>
                  </a:lnTo>
                  <a:lnTo>
                    <a:pt x="4" y="3"/>
                  </a:lnTo>
                  <a:lnTo>
                    <a:pt x="4" y="3"/>
                  </a:lnTo>
                  <a:lnTo>
                    <a:pt x="4" y="3"/>
                  </a:lnTo>
                  <a:lnTo>
                    <a:pt x="4" y="3"/>
                  </a:lnTo>
                  <a:lnTo>
                    <a:pt x="4" y="3"/>
                  </a:lnTo>
                  <a:lnTo>
                    <a:pt x="4" y="4"/>
                  </a:lnTo>
                  <a:lnTo>
                    <a:pt x="4" y="4"/>
                  </a:lnTo>
                  <a:lnTo>
                    <a:pt x="2" y="4"/>
                  </a:lnTo>
                  <a:lnTo>
                    <a:pt x="2" y="4"/>
                  </a:lnTo>
                  <a:lnTo>
                    <a:pt x="2" y="3"/>
                  </a:lnTo>
                  <a:lnTo>
                    <a:pt x="1" y="3"/>
                  </a:lnTo>
                  <a:lnTo>
                    <a:pt x="1" y="2"/>
                  </a:lnTo>
                  <a:lnTo>
                    <a:pt x="1" y="2"/>
                  </a:lnTo>
                  <a:lnTo>
                    <a:pt x="1" y="2"/>
                  </a:lnTo>
                  <a:lnTo>
                    <a:pt x="0" y="1"/>
                  </a:lnTo>
                  <a:lnTo>
                    <a:pt x="0" y="1"/>
                  </a:lnTo>
                  <a:lnTo>
                    <a:pt x="0" y="1"/>
                  </a:lnTo>
                  <a:lnTo>
                    <a:pt x="0" y="1"/>
                  </a:lnTo>
                  <a:lnTo>
                    <a:pt x="0" y="1"/>
                  </a:lnTo>
                  <a:lnTo>
                    <a:pt x="0" y="1"/>
                  </a:lnTo>
                  <a:lnTo>
                    <a:pt x="0" y="0"/>
                  </a:lnTo>
                  <a:lnTo>
                    <a:pt x="1" y="0"/>
                  </a:lnTo>
                  <a:lnTo>
                    <a:pt x="1" y="0"/>
                  </a:lnTo>
                  <a:lnTo>
                    <a:pt x="1" y="0"/>
                  </a:lnTo>
                  <a:lnTo>
                    <a:pt x="1" y="0"/>
                  </a:lnTo>
                  <a:lnTo>
                    <a:pt x="1" y="0"/>
                  </a:lnTo>
                  <a:lnTo>
                    <a:pt x="1" y="0"/>
                  </a:lnTo>
                  <a:lnTo>
                    <a:pt x="1" y="0"/>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39" name="Freeform 1304">
              <a:extLst>
                <a:ext uri="{FF2B5EF4-FFF2-40B4-BE49-F238E27FC236}">
                  <a16:creationId xmlns:a16="http://schemas.microsoft.com/office/drawing/2014/main" id="{EA9E2AAD-A8AB-421E-9872-FB2628632447}"/>
                </a:ext>
              </a:extLst>
            </p:cNvPr>
            <p:cNvSpPr>
              <a:spLocks/>
            </p:cNvSpPr>
            <p:nvPr/>
          </p:nvSpPr>
          <p:spPr bwMode="auto">
            <a:xfrm>
              <a:off x="6233784" y="2545899"/>
              <a:ext cx="6678" cy="5342"/>
            </a:xfrm>
            <a:custGeom>
              <a:avLst/>
              <a:gdLst>
                <a:gd name="T0" fmla="*/ 3 w 5"/>
                <a:gd name="T1" fmla="*/ 1 h 4"/>
                <a:gd name="T2" fmla="*/ 4 w 5"/>
                <a:gd name="T3" fmla="*/ 1 h 4"/>
                <a:gd name="T4" fmla="*/ 4 w 5"/>
                <a:gd name="T5" fmla="*/ 2 h 4"/>
                <a:gd name="T6" fmla="*/ 5 w 5"/>
                <a:gd name="T7" fmla="*/ 2 h 4"/>
                <a:gd name="T8" fmla="*/ 5 w 5"/>
                <a:gd name="T9" fmla="*/ 2 h 4"/>
                <a:gd name="T10" fmla="*/ 4 w 5"/>
                <a:gd name="T11" fmla="*/ 3 h 4"/>
                <a:gd name="T12" fmla="*/ 4 w 5"/>
                <a:gd name="T13" fmla="*/ 3 h 4"/>
                <a:gd name="T14" fmla="*/ 5 w 5"/>
                <a:gd name="T15" fmla="*/ 3 h 4"/>
                <a:gd name="T16" fmla="*/ 5 w 5"/>
                <a:gd name="T17" fmla="*/ 3 h 4"/>
                <a:gd name="T18" fmla="*/ 5 w 5"/>
                <a:gd name="T19" fmla="*/ 4 h 4"/>
                <a:gd name="T20" fmla="*/ 5 w 5"/>
                <a:gd name="T21" fmla="*/ 4 h 4"/>
                <a:gd name="T22" fmla="*/ 5 w 5"/>
                <a:gd name="T23" fmla="*/ 4 h 4"/>
                <a:gd name="T24" fmla="*/ 4 w 5"/>
                <a:gd name="T25" fmla="*/ 4 h 4"/>
                <a:gd name="T26" fmla="*/ 4 w 5"/>
                <a:gd name="T27" fmla="*/ 3 h 4"/>
                <a:gd name="T28" fmla="*/ 4 w 5"/>
                <a:gd name="T29" fmla="*/ 3 h 4"/>
                <a:gd name="T30" fmla="*/ 3 w 5"/>
                <a:gd name="T31" fmla="*/ 3 h 4"/>
                <a:gd name="T32" fmla="*/ 3 w 5"/>
                <a:gd name="T33" fmla="*/ 2 h 4"/>
                <a:gd name="T34" fmla="*/ 3 w 5"/>
                <a:gd name="T35" fmla="*/ 2 h 4"/>
                <a:gd name="T36" fmla="*/ 2 w 5"/>
                <a:gd name="T37" fmla="*/ 2 h 4"/>
                <a:gd name="T38" fmla="*/ 2 w 5"/>
                <a:gd name="T39" fmla="*/ 1 h 4"/>
                <a:gd name="T40" fmla="*/ 2 w 5"/>
                <a:gd name="T41" fmla="*/ 1 h 4"/>
                <a:gd name="T42" fmla="*/ 2 w 5"/>
                <a:gd name="T43" fmla="*/ 1 h 4"/>
                <a:gd name="T44" fmla="*/ 0 w 5"/>
                <a:gd name="T45" fmla="*/ 1 h 4"/>
                <a:gd name="T46" fmla="*/ 0 w 5"/>
                <a:gd name="T47" fmla="*/ 1 h 4"/>
                <a:gd name="T48" fmla="*/ 0 w 5"/>
                <a:gd name="T49" fmla="*/ 1 h 4"/>
                <a:gd name="T50" fmla="*/ 0 w 5"/>
                <a:gd name="T51" fmla="*/ 0 h 4"/>
                <a:gd name="T52" fmla="*/ 0 w 5"/>
                <a:gd name="T53" fmla="*/ 0 h 4"/>
                <a:gd name="T54" fmla="*/ 2 w 5"/>
                <a:gd name="T55" fmla="*/ 0 h 4"/>
                <a:gd name="T56" fmla="*/ 2 w 5"/>
                <a:gd name="T57" fmla="*/ 0 h 4"/>
                <a:gd name="T58" fmla="*/ 2 w 5"/>
                <a:gd name="T59" fmla="*/ 0 h 4"/>
                <a:gd name="T60" fmla="*/ 3 w 5"/>
                <a:gd name="T61" fmla="*/ 0 h 4"/>
                <a:gd name="T62" fmla="*/ 3 w 5"/>
                <a:gd name="T63" fmla="*/ 0 h 4"/>
                <a:gd name="T64" fmla="*/ 3 w 5"/>
                <a:gd name="T65" fmla="*/ 1 h 4"/>
                <a:gd name="T66" fmla="*/ 3 w 5"/>
                <a:gd name="T6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 h="4">
                  <a:moveTo>
                    <a:pt x="3" y="1"/>
                  </a:moveTo>
                  <a:lnTo>
                    <a:pt x="3" y="1"/>
                  </a:lnTo>
                  <a:lnTo>
                    <a:pt x="4" y="1"/>
                  </a:lnTo>
                  <a:lnTo>
                    <a:pt x="4" y="1"/>
                  </a:lnTo>
                  <a:lnTo>
                    <a:pt x="4" y="2"/>
                  </a:lnTo>
                  <a:lnTo>
                    <a:pt x="4" y="2"/>
                  </a:lnTo>
                  <a:lnTo>
                    <a:pt x="5" y="2"/>
                  </a:lnTo>
                  <a:lnTo>
                    <a:pt x="5" y="2"/>
                  </a:lnTo>
                  <a:lnTo>
                    <a:pt x="5" y="2"/>
                  </a:lnTo>
                  <a:lnTo>
                    <a:pt x="5" y="2"/>
                  </a:lnTo>
                  <a:lnTo>
                    <a:pt x="5" y="3"/>
                  </a:lnTo>
                  <a:lnTo>
                    <a:pt x="4" y="3"/>
                  </a:lnTo>
                  <a:lnTo>
                    <a:pt x="4" y="3"/>
                  </a:lnTo>
                  <a:lnTo>
                    <a:pt x="4" y="3"/>
                  </a:lnTo>
                  <a:lnTo>
                    <a:pt x="4" y="3"/>
                  </a:lnTo>
                  <a:lnTo>
                    <a:pt x="5" y="3"/>
                  </a:lnTo>
                  <a:lnTo>
                    <a:pt x="5" y="3"/>
                  </a:lnTo>
                  <a:lnTo>
                    <a:pt x="5" y="3"/>
                  </a:lnTo>
                  <a:lnTo>
                    <a:pt x="5" y="3"/>
                  </a:lnTo>
                  <a:lnTo>
                    <a:pt x="5" y="4"/>
                  </a:lnTo>
                  <a:lnTo>
                    <a:pt x="4" y="4"/>
                  </a:lnTo>
                  <a:lnTo>
                    <a:pt x="5" y="4"/>
                  </a:lnTo>
                  <a:lnTo>
                    <a:pt x="5" y="4"/>
                  </a:lnTo>
                  <a:lnTo>
                    <a:pt x="5" y="4"/>
                  </a:lnTo>
                  <a:lnTo>
                    <a:pt x="4" y="4"/>
                  </a:lnTo>
                  <a:lnTo>
                    <a:pt x="4" y="4"/>
                  </a:lnTo>
                  <a:lnTo>
                    <a:pt x="4" y="4"/>
                  </a:lnTo>
                  <a:lnTo>
                    <a:pt x="4" y="3"/>
                  </a:lnTo>
                  <a:lnTo>
                    <a:pt x="4" y="3"/>
                  </a:lnTo>
                  <a:lnTo>
                    <a:pt x="4" y="3"/>
                  </a:lnTo>
                  <a:lnTo>
                    <a:pt x="3" y="3"/>
                  </a:lnTo>
                  <a:lnTo>
                    <a:pt x="3" y="3"/>
                  </a:lnTo>
                  <a:lnTo>
                    <a:pt x="3" y="3"/>
                  </a:lnTo>
                  <a:lnTo>
                    <a:pt x="3" y="2"/>
                  </a:lnTo>
                  <a:lnTo>
                    <a:pt x="3" y="2"/>
                  </a:lnTo>
                  <a:lnTo>
                    <a:pt x="3" y="2"/>
                  </a:lnTo>
                  <a:lnTo>
                    <a:pt x="2" y="2"/>
                  </a:lnTo>
                  <a:lnTo>
                    <a:pt x="2" y="2"/>
                  </a:lnTo>
                  <a:lnTo>
                    <a:pt x="2" y="2"/>
                  </a:lnTo>
                  <a:lnTo>
                    <a:pt x="2" y="1"/>
                  </a:lnTo>
                  <a:lnTo>
                    <a:pt x="2" y="1"/>
                  </a:lnTo>
                  <a:lnTo>
                    <a:pt x="2" y="1"/>
                  </a:lnTo>
                  <a:lnTo>
                    <a:pt x="2" y="2"/>
                  </a:lnTo>
                  <a:lnTo>
                    <a:pt x="2" y="1"/>
                  </a:lnTo>
                  <a:lnTo>
                    <a:pt x="2" y="1"/>
                  </a:lnTo>
                  <a:lnTo>
                    <a:pt x="0" y="1"/>
                  </a:lnTo>
                  <a:lnTo>
                    <a:pt x="0" y="1"/>
                  </a:lnTo>
                  <a:lnTo>
                    <a:pt x="0" y="1"/>
                  </a:lnTo>
                  <a:lnTo>
                    <a:pt x="0" y="1"/>
                  </a:lnTo>
                  <a:lnTo>
                    <a:pt x="0" y="1"/>
                  </a:lnTo>
                  <a:lnTo>
                    <a:pt x="0" y="1"/>
                  </a:lnTo>
                  <a:lnTo>
                    <a:pt x="0" y="0"/>
                  </a:lnTo>
                  <a:lnTo>
                    <a:pt x="0" y="0"/>
                  </a:lnTo>
                  <a:lnTo>
                    <a:pt x="0" y="0"/>
                  </a:lnTo>
                  <a:lnTo>
                    <a:pt x="2" y="0"/>
                  </a:lnTo>
                  <a:lnTo>
                    <a:pt x="2" y="0"/>
                  </a:lnTo>
                  <a:lnTo>
                    <a:pt x="2" y="0"/>
                  </a:lnTo>
                  <a:lnTo>
                    <a:pt x="2" y="0"/>
                  </a:lnTo>
                  <a:lnTo>
                    <a:pt x="2" y="0"/>
                  </a:lnTo>
                  <a:lnTo>
                    <a:pt x="2" y="0"/>
                  </a:lnTo>
                  <a:lnTo>
                    <a:pt x="3" y="0"/>
                  </a:lnTo>
                  <a:lnTo>
                    <a:pt x="3" y="0"/>
                  </a:lnTo>
                  <a:lnTo>
                    <a:pt x="3" y="0"/>
                  </a:lnTo>
                  <a:lnTo>
                    <a:pt x="3" y="0"/>
                  </a:lnTo>
                  <a:lnTo>
                    <a:pt x="3" y="1"/>
                  </a:lnTo>
                  <a:lnTo>
                    <a:pt x="3" y="1"/>
                  </a:lnTo>
                  <a:lnTo>
                    <a:pt x="3" y="1"/>
                  </a:lnTo>
                  <a:lnTo>
                    <a:pt x="3" y="1"/>
                  </a:lnTo>
                  <a:lnTo>
                    <a:pt x="3"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40" name="Freeform 1305">
              <a:extLst>
                <a:ext uri="{FF2B5EF4-FFF2-40B4-BE49-F238E27FC236}">
                  <a16:creationId xmlns:a16="http://schemas.microsoft.com/office/drawing/2014/main" id="{C53A9727-F1E3-4AFF-8A14-272EB99B844F}"/>
                </a:ext>
              </a:extLst>
            </p:cNvPr>
            <p:cNvSpPr>
              <a:spLocks/>
            </p:cNvSpPr>
            <p:nvPr/>
          </p:nvSpPr>
          <p:spPr bwMode="auto">
            <a:xfrm>
              <a:off x="6212416" y="2545899"/>
              <a:ext cx="2671" cy="1336"/>
            </a:xfrm>
            <a:custGeom>
              <a:avLst/>
              <a:gdLst>
                <a:gd name="T0" fmla="*/ 1 w 2"/>
                <a:gd name="T1" fmla="*/ 0 h 1"/>
                <a:gd name="T2" fmla="*/ 1 w 2"/>
                <a:gd name="T3" fmla="*/ 0 h 1"/>
                <a:gd name="T4" fmla="*/ 1 w 2"/>
                <a:gd name="T5" fmla="*/ 0 h 1"/>
                <a:gd name="T6" fmla="*/ 1 w 2"/>
                <a:gd name="T7" fmla="*/ 0 h 1"/>
                <a:gd name="T8" fmla="*/ 1 w 2"/>
                <a:gd name="T9" fmla="*/ 0 h 1"/>
                <a:gd name="T10" fmla="*/ 1 w 2"/>
                <a:gd name="T11" fmla="*/ 0 h 1"/>
                <a:gd name="T12" fmla="*/ 1 w 2"/>
                <a:gd name="T13" fmla="*/ 1 h 1"/>
                <a:gd name="T14" fmla="*/ 2 w 2"/>
                <a:gd name="T15" fmla="*/ 1 h 1"/>
                <a:gd name="T16" fmla="*/ 1 w 2"/>
                <a:gd name="T17" fmla="*/ 1 h 1"/>
                <a:gd name="T18" fmla="*/ 1 w 2"/>
                <a:gd name="T19" fmla="*/ 1 h 1"/>
                <a:gd name="T20" fmla="*/ 1 w 2"/>
                <a:gd name="T21" fmla="*/ 1 h 1"/>
                <a:gd name="T22" fmla="*/ 1 w 2"/>
                <a:gd name="T23" fmla="*/ 1 h 1"/>
                <a:gd name="T24" fmla="*/ 1 w 2"/>
                <a:gd name="T25" fmla="*/ 1 h 1"/>
                <a:gd name="T26" fmla="*/ 1 w 2"/>
                <a:gd name="T27" fmla="*/ 1 h 1"/>
                <a:gd name="T28" fmla="*/ 1 w 2"/>
                <a:gd name="T29" fmla="*/ 1 h 1"/>
                <a:gd name="T30" fmla="*/ 1 w 2"/>
                <a:gd name="T31" fmla="*/ 1 h 1"/>
                <a:gd name="T32" fmla="*/ 1 w 2"/>
                <a:gd name="T33" fmla="*/ 1 h 1"/>
                <a:gd name="T34" fmla="*/ 0 w 2"/>
                <a:gd name="T35" fmla="*/ 1 h 1"/>
                <a:gd name="T36" fmla="*/ 0 w 2"/>
                <a:gd name="T37" fmla="*/ 1 h 1"/>
                <a:gd name="T38" fmla="*/ 0 w 2"/>
                <a:gd name="T39" fmla="*/ 1 h 1"/>
                <a:gd name="T40" fmla="*/ 0 w 2"/>
                <a:gd name="T41" fmla="*/ 1 h 1"/>
                <a:gd name="T42" fmla="*/ 0 w 2"/>
                <a:gd name="T43" fmla="*/ 1 h 1"/>
                <a:gd name="T44" fmla="*/ 0 w 2"/>
                <a:gd name="T45" fmla="*/ 1 h 1"/>
                <a:gd name="T46" fmla="*/ 0 w 2"/>
                <a:gd name="T47" fmla="*/ 1 h 1"/>
                <a:gd name="T48" fmla="*/ 0 w 2"/>
                <a:gd name="T49" fmla="*/ 1 h 1"/>
                <a:gd name="T50" fmla="*/ 1 w 2"/>
                <a:gd name="T51" fmla="*/ 1 h 1"/>
                <a:gd name="T52" fmla="*/ 1 w 2"/>
                <a:gd name="T53" fmla="*/ 1 h 1"/>
                <a:gd name="T54" fmla="*/ 1 w 2"/>
                <a:gd name="T55" fmla="*/ 0 h 1"/>
                <a:gd name="T56" fmla="*/ 1 w 2"/>
                <a:gd name="T57" fmla="*/ 0 h 1"/>
                <a:gd name="T58" fmla="*/ 1 w 2"/>
                <a:gd name="T59" fmla="*/ 0 h 1"/>
                <a:gd name="T60" fmla="*/ 1 w 2"/>
                <a:gd name="T61" fmla="*/ 0 h 1"/>
                <a:gd name="T62" fmla="*/ 1 w 2"/>
                <a:gd name="T63" fmla="*/ 0 h 1"/>
                <a:gd name="T64" fmla="*/ 0 w 2"/>
                <a:gd name="T65" fmla="*/ 1 h 1"/>
                <a:gd name="T66" fmla="*/ 0 w 2"/>
                <a:gd name="T67" fmla="*/ 0 h 1"/>
                <a:gd name="T68" fmla="*/ 0 w 2"/>
                <a:gd name="T69" fmla="*/ 0 h 1"/>
                <a:gd name="T70" fmla="*/ 0 w 2"/>
                <a:gd name="T71" fmla="*/ 0 h 1"/>
                <a:gd name="T72" fmla="*/ 0 w 2"/>
                <a:gd name="T73" fmla="*/ 0 h 1"/>
                <a:gd name="T74" fmla="*/ 0 w 2"/>
                <a:gd name="T75" fmla="*/ 0 h 1"/>
                <a:gd name="T76" fmla="*/ 0 w 2"/>
                <a:gd name="T77" fmla="*/ 0 h 1"/>
                <a:gd name="T78" fmla="*/ 0 w 2"/>
                <a:gd name="T79" fmla="*/ 0 h 1"/>
                <a:gd name="T80" fmla="*/ 0 w 2"/>
                <a:gd name="T81" fmla="*/ 0 h 1"/>
                <a:gd name="T82" fmla="*/ 0 w 2"/>
                <a:gd name="T83" fmla="*/ 0 h 1"/>
                <a:gd name="T84" fmla="*/ 1 w 2"/>
                <a:gd name="T85" fmla="*/ 0 h 1"/>
                <a:gd name="T86" fmla="*/ 1 w 2"/>
                <a:gd name="T87" fmla="*/ 0 h 1"/>
                <a:gd name="T88" fmla="*/ 1 w 2"/>
                <a:gd name="T89" fmla="*/ 0 h 1"/>
                <a:gd name="T90" fmla="*/ 1 w 2"/>
                <a:gd name="T91" fmla="*/ 0 h 1"/>
                <a:gd name="T92" fmla="*/ 1 w 2"/>
                <a:gd name="T93" fmla="*/ 0 h 1"/>
                <a:gd name="T94" fmla="*/ 1 w 2"/>
                <a:gd name="T95" fmla="*/ 0 h 1"/>
                <a:gd name="T96" fmla="*/ 1 w 2"/>
                <a:gd name="T97" fmla="*/ 0 h 1"/>
                <a:gd name="T98" fmla="*/ 1 w 2"/>
                <a:gd name="T99" fmla="*/ 0 h 1"/>
                <a:gd name="T100" fmla="*/ 1 w 2"/>
                <a:gd name="T101" fmla="*/ 0 h 1"/>
                <a:gd name="T102" fmla="*/ 1 w 2"/>
                <a:gd name="T103" fmla="*/ 0 h 1"/>
                <a:gd name="T104" fmla="*/ 1 w 2"/>
                <a:gd name="T105" fmla="*/ 0 h 1"/>
                <a:gd name="T106" fmla="*/ 1 w 2"/>
                <a:gd name="T10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 h="1">
                  <a:moveTo>
                    <a:pt x="1" y="0"/>
                  </a:moveTo>
                  <a:lnTo>
                    <a:pt x="1" y="0"/>
                  </a:lnTo>
                  <a:lnTo>
                    <a:pt x="1" y="0"/>
                  </a:lnTo>
                  <a:lnTo>
                    <a:pt x="1" y="0"/>
                  </a:lnTo>
                  <a:lnTo>
                    <a:pt x="1" y="0"/>
                  </a:lnTo>
                  <a:lnTo>
                    <a:pt x="1" y="0"/>
                  </a:lnTo>
                  <a:lnTo>
                    <a:pt x="1" y="1"/>
                  </a:lnTo>
                  <a:lnTo>
                    <a:pt x="2" y="1"/>
                  </a:lnTo>
                  <a:lnTo>
                    <a:pt x="1" y="1"/>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1" y="1"/>
                  </a:lnTo>
                  <a:lnTo>
                    <a:pt x="1" y="1"/>
                  </a:lnTo>
                  <a:lnTo>
                    <a:pt x="1" y="0"/>
                  </a:lnTo>
                  <a:lnTo>
                    <a:pt x="1" y="0"/>
                  </a:lnTo>
                  <a:lnTo>
                    <a:pt x="1" y="0"/>
                  </a:lnTo>
                  <a:lnTo>
                    <a:pt x="1" y="0"/>
                  </a:lnTo>
                  <a:lnTo>
                    <a:pt x="1" y="0"/>
                  </a:lnTo>
                  <a:lnTo>
                    <a:pt x="0" y="1"/>
                  </a:lnTo>
                  <a:lnTo>
                    <a:pt x="0" y="0"/>
                  </a:lnTo>
                  <a:lnTo>
                    <a:pt x="0" y="0"/>
                  </a:lnTo>
                  <a:lnTo>
                    <a:pt x="0" y="0"/>
                  </a:lnTo>
                  <a:lnTo>
                    <a:pt x="0" y="0"/>
                  </a:lnTo>
                  <a:lnTo>
                    <a:pt x="0" y="0"/>
                  </a:lnTo>
                  <a:lnTo>
                    <a:pt x="0" y="0"/>
                  </a:lnTo>
                  <a:lnTo>
                    <a:pt x="0" y="0"/>
                  </a:lnTo>
                  <a:lnTo>
                    <a:pt x="0" y="0"/>
                  </a:lnTo>
                  <a:lnTo>
                    <a:pt x="0" y="0"/>
                  </a:lnTo>
                  <a:lnTo>
                    <a:pt x="1" y="0"/>
                  </a:lnTo>
                  <a:lnTo>
                    <a:pt x="1" y="0"/>
                  </a:lnTo>
                  <a:lnTo>
                    <a:pt x="1" y="0"/>
                  </a:lnTo>
                  <a:lnTo>
                    <a:pt x="1" y="0"/>
                  </a:lnTo>
                  <a:lnTo>
                    <a:pt x="1" y="0"/>
                  </a:lnTo>
                  <a:lnTo>
                    <a:pt x="1"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41" name="Freeform 1306">
              <a:extLst>
                <a:ext uri="{FF2B5EF4-FFF2-40B4-BE49-F238E27FC236}">
                  <a16:creationId xmlns:a16="http://schemas.microsoft.com/office/drawing/2014/main" id="{E12920F7-37D1-45C8-83D9-691F85CBF6FC}"/>
                </a:ext>
              </a:extLst>
            </p:cNvPr>
            <p:cNvSpPr>
              <a:spLocks/>
            </p:cNvSpPr>
            <p:nvPr/>
          </p:nvSpPr>
          <p:spPr bwMode="auto">
            <a:xfrm>
              <a:off x="6157661" y="2533880"/>
              <a:ext cx="9349" cy="9349"/>
            </a:xfrm>
            <a:custGeom>
              <a:avLst/>
              <a:gdLst>
                <a:gd name="T0" fmla="*/ 4 w 7"/>
                <a:gd name="T1" fmla="*/ 3 h 7"/>
                <a:gd name="T2" fmla="*/ 4 w 7"/>
                <a:gd name="T3" fmla="*/ 3 h 7"/>
                <a:gd name="T4" fmla="*/ 4 w 7"/>
                <a:gd name="T5" fmla="*/ 4 h 7"/>
                <a:gd name="T6" fmla="*/ 4 w 7"/>
                <a:gd name="T7" fmla="*/ 4 h 7"/>
                <a:gd name="T8" fmla="*/ 5 w 7"/>
                <a:gd name="T9" fmla="*/ 4 h 7"/>
                <a:gd name="T10" fmla="*/ 5 w 7"/>
                <a:gd name="T11" fmla="*/ 4 h 7"/>
                <a:gd name="T12" fmla="*/ 5 w 7"/>
                <a:gd name="T13" fmla="*/ 4 h 7"/>
                <a:gd name="T14" fmla="*/ 5 w 7"/>
                <a:gd name="T15" fmla="*/ 4 h 7"/>
                <a:gd name="T16" fmla="*/ 5 w 7"/>
                <a:gd name="T17" fmla="*/ 4 h 7"/>
                <a:gd name="T18" fmla="*/ 5 w 7"/>
                <a:gd name="T19" fmla="*/ 5 h 7"/>
                <a:gd name="T20" fmla="*/ 6 w 7"/>
                <a:gd name="T21" fmla="*/ 6 h 7"/>
                <a:gd name="T22" fmla="*/ 7 w 7"/>
                <a:gd name="T23" fmla="*/ 6 h 7"/>
                <a:gd name="T24" fmla="*/ 7 w 7"/>
                <a:gd name="T25" fmla="*/ 7 h 7"/>
                <a:gd name="T26" fmla="*/ 7 w 7"/>
                <a:gd name="T27" fmla="*/ 7 h 7"/>
                <a:gd name="T28" fmla="*/ 6 w 7"/>
                <a:gd name="T29" fmla="*/ 7 h 7"/>
                <a:gd name="T30" fmla="*/ 6 w 7"/>
                <a:gd name="T31" fmla="*/ 7 h 7"/>
                <a:gd name="T32" fmla="*/ 6 w 7"/>
                <a:gd name="T33" fmla="*/ 7 h 7"/>
                <a:gd name="T34" fmla="*/ 5 w 7"/>
                <a:gd name="T35" fmla="*/ 6 h 7"/>
                <a:gd name="T36" fmla="*/ 4 w 7"/>
                <a:gd name="T37" fmla="*/ 6 h 7"/>
                <a:gd name="T38" fmla="*/ 4 w 7"/>
                <a:gd name="T39" fmla="*/ 6 h 7"/>
                <a:gd name="T40" fmla="*/ 3 w 7"/>
                <a:gd name="T41" fmla="*/ 6 h 7"/>
                <a:gd name="T42" fmla="*/ 3 w 7"/>
                <a:gd name="T43" fmla="*/ 6 h 7"/>
                <a:gd name="T44" fmla="*/ 3 w 7"/>
                <a:gd name="T45" fmla="*/ 5 h 7"/>
                <a:gd name="T46" fmla="*/ 3 w 7"/>
                <a:gd name="T47" fmla="*/ 5 h 7"/>
                <a:gd name="T48" fmla="*/ 3 w 7"/>
                <a:gd name="T49" fmla="*/ 6 h 7"/>
                <a:gd name="T50" fmla="*/ 3 w 7"/>
                <a:gd name="T51" fmla="*/ 5 h 7"/>
                <a:gd name="T52" fmla="*/ 3 w 7"/>
                <a:gd name="T53" fmla="*/ 4 h 7"/>
                <a:gd name="T54" fmla="*/ 2 w 7"/>
                <a:gd name="T55" fmla="*/ 4 h 7"/>
                <a:gd name="T56" fmla="*/ 2 w 7"/>
                <a:gd name="T57" fmla="*/ 5 h 7"/>
                <a:gd name="T58" fmla="*/ 2 w 7"/>
                <a:gd name="T59" fmla="*/ 5 h 7"/>
                <a:gd name="T60" fmla="*/ 2 w 7"/>
                <a:gd name="T61" fmla="*/ 6 h 7"/>
                <a:gd name="T62" fmla="*/ 2 w 7"/>
                <a:gd name="T63" fmla="*/ 6 h 7"/>
                <a:gd name="T64" fmla="*/ 2 w 7"/>
                <a:gd name="T65" fmla="*/ 6 h 7"/>
                <a:gd name="T66" fmla="*/ 0 w 7"/>
                <a:gd name="T67" fmla="*/ 5 h 7"/>
                <a:gd name="T68" fmla="*/ 2 w 7"/>
                <a:gd name="T69" fmla="*/ 5 h 7"/>
                <a:gd name="T70" fmla="*/ 2 w 7"/>
                <a:gd name="T71" fmla="*/ 5 h 7"/>
                <a:gd name="T72" fmla="*/ 2 w 7"/>
                <a:gd name="T73" fmla="*/ 4 h 7"/>
                <a:gd name="T74" fmla="*/ 2 w 7"/>
                <a:gd name="T75" fmla="*/ 4 h 7"/>
                <a:gd name="T76" fmla="*/ 2 w 7"/>
                <a:gd name="T77" fmla="*/ 4 h 7"/>
                <a:gd name="T78" fmla="*/ 2 w 7"/>
                <a:gd name="T79" fmla="*/ 3 h 7"/>
                <a:gd name="T80" fmla="*/ 2 w 7"/>
                <a:gd name="T81" fmla="*/ 3 h 7"/>
                <a:gd name="T82" fmla="*/ 2 w 7"/>
                <a:gd name="T83" fmla="*/ 3 h 7"/>
                <a:gd name="T84" fmla="*/ 2 w 7"/>
                <a:gd name="T85" fmla="*/ 3 h 7"/>
                <a:gd name="T86" fmla="*/ 3 w 7"/>
                <a:gd name="T87" fmla="*/ 3 h 7"/>
                <a:gd name="T88" fmla="*/ 3 w 7"/>
                <a:gd name="T89" fmla="*/ 4 h 7"/>
                <a:gd name="T90" fmla="*/ 3 w 7"/>
                <a:gd name="T91" fmla="*/ 4 h 7"/>
                <a:gd name="T92" fmla="*/ 3 w 7"/>
                <a:gd name="T93" fmla="*/ 3 h 7"/>
                <a:gd name="T94" fmla="*/ 3 w 7"/>
                <a:gd name="T95" fmla="*/ 3 h 7"/>
                <a:gd name="T96" fmla="*/ 4 w 7"/>
                <a:gd name="T97" fmla="*/ 3 h 7"/>
                <a:gd name="T98" fmla="*/ 3 w 7"/>
                <a:gd name="T99" fmla="*/ 2 h 7"/>
                <a:gd name="T100" fmla="*/ 3 w 7"/>
                <a:gd name="T101" fmla="*/ 2 h 7"/>
                <a:gd name="T102" fmla="*/ 3 w 7"/>
                <a:gd name="T103" fmla="*/ 2 h 7"/>
                <a:gd name="T104" fmla="*/ 4 w 7"/>
                <a:gd name="T10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 h="7">
                  <a:moveTo>
                    <a:pt x="4" y="0"/>
                  </a:moveTo>
                  <a:lnTo>
                    <a:pt x="4" y="3"/>
                  </a:lnTo>
                  <a:lnTo>
                    <a:pt x="4" y="3"/>
                  </a:lnTo>
                  <a:lnTo>
                    <a:pt x="4" y="3"/>
                  </a:lnTo>
                  <a:lnTo>
                    <a:pt x="4" y="4"/>
                  </a:lnTo>
                  <a:lnTo>
                    <a:pt x="4" y="4"/>
                  </a:lnTo>
                  <a:lnTo>
                    <a:pt x="4" y="4"/>
                  </a:lnTo>
                  <a:lnTo>
                    <a:pt x="4" y="4"/>
                  </a:lnTo>
                  <a:lnTo>
                    <a:pt x="5" y="4"/>
                  </a:lnTo>
                  <a:lnTo>
                    <a:pt x="5" y="4"/>
                  </a:lnTo>
                  <a:lnTo>
                    <a:pt x="5" y="4"/>
                  </a:lnTo>
                  <a:lnTo>
                    <a:pt x="5" y="4"/>
                  </a:lnTo>
                  <a:lnTo>
                    <a:pt x="5" y="4"/>
                  </a:lnTo>
                  <a:lnTo>
                    <a:pt x="5" y="4"/>
                  </a:lnTo>
                  <a:lnTo>
                    <a:pt x="5" y="4"/>
                  </a:lnTo>
                  <a:lnTo>
                    <a:pt x="5" y="4"/>
                  </a:lnTo>
                  <a:lnTo>
                    <a:pt x="5" y="4"/>
                  </a:lnTo>
                  <a:lnTo>
                    <a:pt x="5" y="4"/>
                  </a:lnTo>
                  <a:lnTo>
                    <a:pt x="5" y="5"/>
                  </a:lnTo>
                  <a:lnTo>
                    <a:pt x="5" y="5"/>
                  </a:lnTo>
                  <a:lnTo>
                    <a:pt x="6" y="5"/>
                  </a:lnTo>
                  <a:lnTo>
                    <a:pt x="6" y="6"/>
                  </a:lnTo>
                  <a:lnTo>
                    <a:pt x="7" y="6"/>
                  </a:lnTo>
                  <a:lnTo>
                    <a:pt x="7" y="6"/>
                  </a:lnTo>
                  <a:lnTo>
                    <a:pt x="7" y="7"/>
                  </a:lnTo>
                  <a:lnTo>
                    <a:pt x="7" y="7"/>
                  </a:lnTo>
                  <a:lnTo>
                    <a:pt x="7" y="7"/>
                  </a:lnTo>
                  <a:lnTo>
                    <a:pt x="7" y="7"/>
                  </a:lnTo>
                  <a:lnTo>
                    <a:pt x="6" y="7"/>
                  </a:lnTo>
                  <a:lnTo>
                    <a:pt x="6" y="7"/>
                  </a:lnTo>
                  <a:lnTo>
                    <a:pt x="6" y="7"/>
                  </a:lnTo>
                  <a:lnTo>
                    <a:pt x="6" y="7"/>
                  </a:lnTo>
                  <a:lnTo>
                    <a:pt x="6" y="7"/>
                  </a:lnTo>
                  <a:lnTo>
                    <a:pt x="6" y="7"/>
                  </a:lnTo>
                  <a:lnTo>
                    <a:pt x="5" y="7"/>
                  </a:lnTo>
                  <a:lnTo>
                    <a:pt x="5" y="6"/>
                  </a:lnTo>
                  <a:lnTo>
                    <a:pt x="5" y="6"/>
                  </a:lnTo>
                  <a:lnTo>
                    <a:pt x="4" y="6"/>
                  </a:lnTo>
                  <a:lnTo>
                    <a:pt x="4" y="7"/>
                  </a:lnTo>
                  <a:lnTo>
                    <a:pt x="4" y="6"/>
                  </a:lnTo>
                  <a:lnTo>
                    <a:pt x="3" y="6"/>
                  </a:lnTo>
                  <a:lnTo>
                    <a:pt x="3" y="6"/>
                  </a:lnTo>
                  <a:lnTo>
                    <a:pt x="3" y="6"/>
                  </a:lnTo>
                  <a:lnTo>
                    <a:pt x="3" y="6"/>
                  </a:lnTo>
                  <a:lnTo>
                    <a:pt x="3" y="6"/>
                  </a:lnTo>
                  <a:lnTo>
                    <a:pt x="3" y="5"/>
                  </a:lnTo>
                  <a:lnTo>
                    <a:pt x="3" y="5"/>
                  </a:lnTo>
                  <a:lnTo>
                    <a:pt x="3" y="5"/>
                  </a:lnTo>
                  <a:lnTo>
                    <a:pt x="3" y="5"/>
                  </a:lnTo>
                  <a:lnTo>
                    <a:pt x="3" y="6"/>
                  </a:lnTo>
                  <a:lnTo>
                    <a:pt x="3" y="5"/>
                  </a:lnTo>
                  <a:lnTo>
                    <a:pt x="3" y="5"/>
                  </a:lnTo>
                  <a:lnTo>
                    <a:pt x="3" y="5"/>
                  </a:lnTo>
                  <a:lnTo>
                    <a:pt x="3" y="4"/>
                  </a:lnTo>
                  <a:lnTo>
                    <a:pt x="3" y="4"/>
                  </a:lnTo>
                  <a:lnTo>
                    <a:pt x="2" y="4"/>
                  </a:lnTo>
                  <a:lnTo>
                    <a:pt x="2" y="4"/>
                  </a:lnTo>
                  <a:lnTo>
                    <a:pt x="2" y="5"/>
                  </a:lnTo>
                  <a:lnTo>
                    <a:pt x="2" y="5"/>
                  </a:lnTo>
                  <a:lnTo>
                    <a:pt x="2" y="5"/>
                  </a:lnTo>
                  <a:lnTo>
                    <a:pt x="2" y="6"/>
                  </a:lnTo>
                  <a:lnTo>
                    <a:pt x="2" y="6"/>
                  </a:lnTo>
                  <a:lnTo>
                    <a:pt x="2" y="6"/>
                  </a:lnTo>
                  <a:lnTo>
                    <a:pt x="2" y="6"/>
                  </a:lnTo>
                  <a:lnTo>
                    <a:pt x="2" y="6"/>
                  </a:lnTo>
                  <a:lnTo>
                    <a:pt x="2" y="6"/>
                  </a:lnTo>
                  <a:lnTo>
                    <a:pt x="0" y="5"/>
                  </a:lnTo>
                  <a:lnTo>
                    <a:pt x="0" y="5"/>
                  </a:lnTo>
                  <a:lnTo>
                    <a:pt x="0" y="5"/>
                  </a:lnTo>
                  <a:lnTo>
                    <a:pt x="2" y="5"/>
                  </a:lnTo>
                  <a:lnTo>
                    <a:pt x="2" y="5"/>
                  </a:lnTo>
                  <a:lnTo>
                    <a:pt x="2" y="5"/>
                  </a:lnTo>
                  <a:lnTo>
                    <a:pt x="0" y="5"/>
                  </a:lnTo>
                  <a:lnTo>
                    <a:pt x="2" y="4"/>
                  </a:lnTo>
                  <a:lnTo>
                    <a:pt x="2" y="4"/>
                  </a:lnTo>
                  <a:lnTo>
                    <a:pt x="2" y="4"/>
                  </a:lnTo>
                  <a:lnTo>
                    <a:pt x="2" y="4"/>
                  </a:lnTo>
                  <a:lnTo>
                    <a:pt x="2" y="4"/>
                  </a:lnTo>
                  <a:lnTo>
                    <a:pt x="2" y="3"/>
                  </a:lnTo>
                  <a:lnTo>
                    <a:pt x="2" y="3"/>
                  </a:lnTo>
                  <a:lnTo>
                    <a:pt x="2" y="3"/>
                  </a:lnTo>
                  <a:lnTo>
                    <a:pt x="2" y="3"/>
                  </a:lnTo>
                  <a:lnTo>
                    <a:pt x="2" y="3"/>
                  </a:lnTo>
                  <a:lnTo>
                    <a:pt x="2" y="3"/>
                  </a:lnTo>
                  <a:lnTo>
                    <a:pt x="2" y="3"/>
                  </a:lnTo>
                  <a:lnTo>
                    <a:pt x="2" y="3"/>
                  </a:lnTo>
                  <a:lnTo>
                    <a:pt x="3" y="4"/>
                  </a:lnTo>
                  <a:lnTo>
                    <a:pt x="3" y="3"/>
                  </a:lnTo>
                  <a:lnTo>
                    <a:pt x="3" y="3"/>
                  </a:lnTo>
                  <a:lnTo>
                    <a:pt x="3" y="4"/>
                  </a:lnTo>
                  <a:lnTo>
                    <a:pt x="3" y="4"/>
                  </a:lnTo>
                  <a:lnTo>
                    <a:pt x="3" y="4"/>
                  </a:lnTo>
                  <a:lnTo>
                    <a:pt x="3" y="3"/>
                  </a:lnTo>
                  <a:lnTo>
                    <a:pt x="3" y="3"/>
                  </a:lnTo>
                  <a:lnTo>
                    <a:pt x="3" y="3"/>
                  </a:lnTo>
                  <a:lnTo>
                    <a:pt x="3" y="3"/>
                  </a:lnTo>
                  <a:lnTo>
                    <a:pt x="3" y="3"/>
                  </a:lnTo>
                  <a:lnTo>
                    <a:pt x="4" y="3"/>
                  </a:lnTo>
                  <a:lnTo>
                    <a:pt x="3" y="2"/>
                  </a:lnTo>
                  <a:lnTo>
                    <a:pt x="3" y="2"/>
                  </a:lnTo>
                  <a:lnTo>
                    <a:pt x="3" y="2"/>
                  </a:lnTo>
                  <a:lnTo>
                    <a:pt x="3" y="2"/>
                  </a:lnTo>
                  <a:lnTo>
                    <a:pt x="3" y="2"/>
                  </a:lnTo>
                  <a:lnTo>
                    <a:pt x="3" y="2"/>
                  </a:lnTo>
                  <a:lnTo>
                    <a:pt x="3" y="0"/>
                  </a:lnTo>
                  <a:lnTo>
                    <a:pt x="4"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42" name="Freeform 1307">
              <a:extLst>
                <a:ext uri="{FF2B5EF4-FFF2-40B4-BE49-F238E27FC236}">
                  <a16:creationId xmlns:a16="http://schemas.microsoft.com/office/drawing/2014/main" id="{0174BBB8-597F-4BE3-904C-464C8A6032BA}"/>
                </a:ext>
              </a:extLst>
            </p:cNvPr>
            <p:cNvSpPr>
              <a:spLocks/>
            </p:cNvSpPr>
            <p:nvPr/>
          </p:nvSpPr>
          <p:spPr bwMode="auto">
            <a:xfrm>
              <a:off x="6163003" y="2533880"/>
              <a:ext cx="2671" cy="5342"/>
            </a:xfrm>
            <a:custGeom>
              <a:avLst/>
              <a:gdLst>
                <a:gd name="T0" fmla="*/ 1 w 2"/>
                <a:gd name="T1" fmla="*/ 0 h 4"/>
                <a:gd name="T2" fmla="*/ 1 w 2"/>
                <a:gd name="T3" fmla="*/ 2 h 4"/>
                <a:gd name="T4" fmla="*/ 1 w 2"/>
                <a:gd name="T5" fmla="*/ 2 h 4"/>
                <a:gd name="T6" fmla="*/ 1 w 2"/>
                <a:gd name="T7" fmla="*/ 2 h 4"/>
                <a:gd name="T8" fmla="*/ 1 w 2"/>
                <a:gd name="T9" fmla="*/ 2 h 4"/>
                <a:gd name="T10" fmla="*/ 1 w 2"/>
                <a:gd name="T11" fmla="*/ 2 h 4"/>
                <a:gd name="T12" fmla="*/ 1 w 2"/>
                <a:gd name="T13" fmla="*/ 2 h 4"/>
                <a:gd name="T14" fmla="*/ 1 w 2"/>
                <a:gd name="T15" fmla="*/ 2 h 4"/>
                <a:gd name="T16" fmla="*/ 1 w 2"/>
                <a:gd name="T17" fmla="*/ 2 h 4"/>
                <a:gd name="T18" fmla="*/ 1 w 2"/>
                <a:gd name="T19" fmla="*/ 3 h 4"/>
                <a:gd name="T20" fmla="*/ 1 w 2"/>
                <a:gd name="T21" fmla="*/ 3 h 4"/>
                <a:gd name="T22" fmla="*/ 1 w 2"/>
                <a:gd name="T23" fmla="*/ 3 h 4"/>
                <a:gd name="T24" fmla="*/ 1 w 2"/>
                <a:gd name="T25" fmla="*/ 3 h 4"/>
                <a:gd name="T26" fmla="*/ 1 w 2"/>
                <a:gd name="T27" fmla="*/ 3 h 4"/>
                <a:gd name="T28" fmla="*/ 1 w 2"/>
                <a:gd name="T29" fmla="*/ 3 h 4"/>
                <a:gd name="T30" fmla="*/ 1 w 2"/>
                <a:gd name="T31" fmla="*/ 3 h 4"/>
                <a:gd name="T32" fmla="*/ 1 w 2"/>
                <a:gd name="T33" fmla="*/ 3 h 4"/>
                <a:gd name="T34" fmla="*/ 1 w 2"/>
                <a:gd name="T35" fmla="*/ 3 h 4"/>
                <a:gd name="T36" fmla="*/ 2 w 2"/>
                <a:gd name="T37" fmla="*/ 3 h 4"/>
                <a:gd name="T38" fmla="*/ 2 w 2"/>
                <a:gd name="T39" fmla="*/ 3 h 4"/>
                <a:gd name="T40" fmla="*/ 2 w 2"/>
                <a:gd name="T41" fmla="*/ 3 h 4"/>
                <a:gd name="T42" fmla="*/ 2 w 2"/>
                <a:gd name="T43" fmla="*/ 3 h 4"/>
                <a:gd name="T44" fmla="*/ 2 w 2"/>
                <a:gd name="T45" fmla="*/ 3 h 4"/>
                <a:gd name="T46" fmla="*/ 2 w 2"/>
                <a:gd name="T47" fmla="*/ 3 h 4"/>
                <a:gd name="T48" fmla="*/ 2 w 2"/>
                <a:gd name="T49" fmla="*/ 3 h 4"/>
                <a:gd name="T50" fmla="*/ 2 w 2"/>
                <a:gd name="T51" fmla="*/ 3 h 4"/>
                <a:gd name="T52" fmla="*/ 2 w 2"/>
                <a:gd name="T53" fmla="*/ 4 h 4"/>
                <a:gd name="T54" fmla="*/ 2 w 2"/>
                <a:gd name="T55" fmla="*/ 4 h 4"/>
                <a:gd name="T56" fmla="*/ 2 w 2"/>
                <a:gd name="T57" fmla="*/ 4 h 4"/>
                <a:gd name="T58" fmla="*/ 1 w 2"/>
                <a:gd name="T59" fmla="*/ 4 h 4"/>
                <a:gd name="T60" fmla="*/ 1 w 2"/>
                <a:gd name="T61" fmla="*/ 3 h 4"/>
                <a:gd name="T62" fmla="*/ 1 w 2"/>
                <a:gd name="T63" fmla="*/ 3 h 4"/>
                <a:gd name="T64" fmla="*/ 1 w 2"/>
                <a:gd name="T65" fmla="*/ 3 h 4"/>
                <a:gd name="T66" fmla="*/ 1 w 2"/>
                <a:gd name="T67" fmla="*/ 3 h 4"/>
                <a:gd name="T68" fmla="*/ 1 w 2"/>
                <a:gd name="T69" fmla="*/ 2 h 4"/>
                <a:gd name="T70" fmla="*/ 1 w 2"/>
                <a:gd name="T71" fmla="*/ 2 h 4"/>
                <a:gd name="T72" fmla="*/ 1 w 2"/>
                <a:gd name="T73" fmla="*/ 2 h 4"/>
                <a:gd name="T74" fmla="*/ 0 w 2"/>
                <a:gd name="T75" fmla="*/ 2 h 4"/>
                <a:gd name="T76" fmla="*/ 0 w 2"/>
                <a:gd name="T77" fmla="*/ 2 h 4"/>
                <a:gd name="T78" fmla="*/ 0 w 2"/>
                <a:gd name="T79" fmla="*/ 2 h 4"/>
                <a:gd name="T80" fmla="*/ 0 w 2"/>
                <a:gd name="T81" fmla="*/ 2 h 4"/>
                <a:gd name="T82" fmla="*/ 0 w 2"/>
                <a:gd name="T83" fmla="*/ 0 h 4"/>
                <a:gd name="T84" fmla="*/ 0 w 2"/>
                <a:gd name="T85" fmla="*/ 0 h 4"/>
                <a:gd name="T86" fmla="*/ 1 w 2"/>
                <a:gd name="T87" fmla="*/ 0 h 4"/>
                <a:gd name="T88" fmla="*/ 1 w 2"/>
                <a:gd name="T89" fmla="*/ 0 h 4"/>
                <a:gd name="T90" fmla="*/ 1 w 2"/>
                <a:gd name="T91" fmla="*/ 0 h 4"/>
                <a:gd name="T92" fmla="*/ 1 w 2"/>
                <a:gd name="T9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 h="4">
                  <a:moveTo>
                    <a:pt x="1" y="0"/>
                  </a:moveTo>
                  <a:lnTo>
                    <a:pt x="1" y="2"/>
                  </a:lnTo>
                  <a:lnTo>
                    <a:pt x="1" y="2"/>
                  </a:lnTo>
                  <a:lnTo>
                    <a:pt x="1" y="2"/>
                  </a:lnTo>
                  <a:lnTo>
                    <a:pt x="1" y="2"/>
                  </a:lnTo>
                  <a:lnTo>
                    <a:pt x="1" y="2"/>
                  </a:lnTo>
                  <a:lnTo>
                    <a:pt x="1" y="2"/>
                  </a:lnTo>
                  <a:lnTo>
                    <a:pt x="1" y="2"/>
                  </a:lnTo>
                  <a:lnTo>
                    <a:pt x="1" y="2"/>
                  </a:lnTo>
                  <a:lnTo>
                    <a:pt x="1" y="3"/>
                  </a:lnTo>
                  <a:lnTo>
                    <a:pt x="1" y="3"/>
                  </a:lnTo>
                  <a:lnTo>
                    <a:pt x="1" y="3"/>
                  </a:lnTo>
                  <a:lnTo>
                    <a:pt x="1" y="3"/>
                  </a:lnTo>
                  <a:lnTo>
                    <a:pt x="1" y="3"/>
                  </a:lnTo>
                  <a:lnTo>
                    <a:pt x="1" y="3"/>
                  </a:lnTo>
                  <a:lnTo>
                    <a:pt x="1" y="3"/>
                  </a:lnTo>
                  <a:lnTo>
                    <a:pt x="1" y="3"/>
                  </a:lnTo>
                  <a:lnTo>
                    <a:pt x="1" y="3"/>
                  </a:lnTo>
                  <a:lnTo>
                    <a:pt x="2" y="3"/>
                  </a:lnTo>
                  <a:lnTo>
                    <a:pt x="2" y="3"/>
                  </a:lnTo>
                  <a:lnTo>
                    <a:pt x="2" y="3"/>
                  </a:lnTo>
                  <a:lnTo>
                    <a:pt x="2" y="3"/>
                  </a:lnTo>
                  <a:lnTo>
                    <a:pt x="2" y="3"/>
                  </a:lnTo>
                  <a:lnTo>
                    <a:pt x="2" y="3"/>
                  </a:lnTo>
                  <a:lnTo>
                    <a:pt x="2" y="3"/>
                  </a:lnTo>
                  <a:lnTo>
                    <a:pt x="2" y="3"/>
                  </a:lnTo>
                  <a:lnTo>
                    <a:pt x="2" y="4"/>
                  </a:lnTo>
                  <a:lnTo>
                    <a:pt x="2" y="4"/>
                  </a:lnTo>
                  <a:lnTo>
                    <a:pt x="2" y="4"/>
                  </a:lnTo>
                  <a:lnTo>
                    <a:pt x="1" y="4"/>
                  </a:lnTo>
                  <a:lnTo>
                    <a:pt x="1" y="3"/>
                  </a:lnTo>
                  <a:lnTo>
                    <a:pt x="1" y="3"/>
                  </a:lnTo>
                  <a:lnTo>
                    <a:pt x="1" y="3"/>
                  </a:lnTo>
                  <a:lnTo>
                    <a:pt x="1" y="3"/>
                  </a:lnTo>
                  <a:lnTo>
                    <a:pt x="1" y="2"/>
                  </a:lnTo>
                  <a:lnTo>
                    <a:pt x="1" y="2"/>
                  </a:lnTo>
                  <a:lnTo>
                    <a:pt x="1" y="2"/>
                  </a:lnTo>
                  <a:lnTo>
                    <a:pt x="0" y="2"/>
                  </a:lnTo>
                  <a:lnTo>
                    <a:pt x="0" y="2"/>
                  </a:lnTo>
                  <a:lnTo>
                    <a:pt x="0" y="2"/>
                  </a:lnTo>
                  <a:lnTo>
                    <a:pt x="0" y="2"/>
                  </a:lnTo>
                  <a:lnTo>
                    <a:pt x="0" y="0"/>
                  </a:lnTo>
                  <a:lnTo>
                    <a:pt x="0"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43" name="Freeform 1308">
              <a:extLst>
                <a:ext uri="{FF2B5EF4-FFF2-40B4-BE49-F238E27FC236}">
                  <a16:creationId xmlns:a16="http://schemas.microsoft.com/office/drawing/2014/main" id="{A84BEF5C-D34C-411A-B9F1-FD33586E467D}"/>
                </a:ext>
              </a:extLst>
            </p:cNvPr>
            <p:cNvSpPr>
              <a:spLocks/>
            </p:cNvSpPr>
            <p:nvPr/>
          </p:nvSpPr>
          <p:spPr bwMode="auto">
            <a:xfrm>
              <a:off x="6167009" y="2532545"/>
              <a:ext cx="2671" cy="0"/>
            </a:xfrm>
            <a:custGeom>
              <a:avLst/>
              <a:gdLst>
                <a:gd name="T0" fmla="*/ 0 w 2"/>
                <a:gd name="T1" fmla="*/ 0 w 2"/>
                <a:gd name="T2" fmla="*/ 0 w 2"/>
                <a:gd name="T3" fmla="*/ 2 w 2"/>
                <a:gd name="T4" fmla="*/ 2 w 2"/>
                <a:gd name="T5" fmla="*/ 0 w 2"/>
                <a:gd name="T6" fmla="*/ 0 w 2"/>
                <a:gd name="T7" fmla="*/ 0 w 2"/>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2">
                  <a:moveTo>
                    <a:pt x="0" y="0"/>
                  </a:moveTo>
                  <a:lnTo>
                    <a:pt x="0" y="0"/>
                  </a:lnTo>
                  <a:lnTo>
                    <a:pt x="0" y="0"/>
                  </a:lnTo>
                  <a:lnTo>
                    <a:pt x="2" y="0"/>
                  </a:lnTo>
                  <a:lnTo>
                    <a:pt x="2"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44" name="Freeform 1309">
              <a:extLst>
                <a:ext uri="{FF2B5EF4-FFF2-40B4-BE49-F238E27FC236}">
                  <a16:creationId xmlns:a16="http://schemas.microsoft.com/office/drawing/2014/main" id="{42443B27-0C58-4CD4-8DB1-8B8CA8404565}"/>
                </a:ext>
              </a:extLst>
            </p:cNvPr>
            <p:cNvSpPr>
              <a:spLocks/>
            </p:cNvSpPr>
            <p:nvPr/>
          </p:nvSpPr>
          <p:spPr bwMode="auto">
            <a:xfrm>
              <a:off x="6252481" y="2532545"/>
              <a:ext cx="6678" cy="9349"/>
            </a:xfrm>
            <a:custGeom>
              <a:avLst/>
              <a:gdLst>
                <a:gd name="T0" fmla="*/ 4 w 5"/>
                <a:gd name="T1" fmla="*/ 1 h 7"/>
                <a:gd name="T2" fmla="*/ 4 w 5"/>
                <a:gd name="T3" fmla="*/ 0 h 7"/>
                <a:gd name="T4" fmla="*/ 4 w 5"/>
                <a:gd name="T5" fmla="*/ 0 h 7"/>
                <a:gd name="T6" fmla="*/ 4 w 5"/>
                <a:gd name="T7" fmla="*/ 0 h 7"/>
                <a:gd name="T8" fmla="*/ 4 w 5"/>
                <a:gd name="T9" fmla="*/ 0 h 7"/>
                <a:gd name="T10" fmla="*/ 5 w 5"/>
                <a:gd name="T11" fmla="*/ 0 h 7"/>
                <a:gd name="T12" fmla="*/ 5 w 5"/>
                <a:gd name="T13" fmla="*/ 1 h 7"/>
                <a:gd name="T14" fmla="*/ 5 w 5"/>
                <a:gd name="T15" fmla="*/ 1 h 7"/>
                <a:gd name="T16" fmla="*/ 4 w 5"/>
                <a:gd name="T17" fmla="*/ 1 h 7"/>
                <a:gd name="T18" fmla="*/ 5 w 5"/>
                <a:gd name="T19" fmla="*/ 1 h 7"/>
                <a:gd name="T20" fmla="*/ 5 w 5"/>
                <a:gd name="T21" fmla="*/ 3 h 7"/>
                <a:gd name="T22" fmla="*/ 5 w 5"/>
                <a:gd name="T23" fmla="*/ 3 h 7"/>
                <a:gd name="T24" fmla="*/ 5 w 5"/>
                <a:gd name="T25" fmla="*/ 3 h 7"/>
                <a:gd name="T26" fmla="*/ 5 w 5"/>
                <a:gd name="T27" fmla="*/ 4 h 7"/>
                <a:gd name="T28" fmla="*/ 5 w 5"/>
                <a:gd name="T29" fmla="*/ 5 h 7"/>
                <a:gd name="T30" fmla="*/ 5 w 5"/>
                <a:gd name="T31" fmla="*/ 5 h 7"/>
                <a:gd name="T32" fmla="*/ 5 w 5"/>
                <a:gd name="T33" fmla="*/ 6 h 7"/>
                <a:gd name="T34" fmla="*/ 4 w 5"/>
                <a:gd name="T35" fmla="*/ 6 h 7"/>
                <a:gd name="T36" fmla="*/ 4 w 5"/>
                <a:gd name="T37" fmla="*/ 7 h 7"/>
                <a:gd name="T38" fmla="*/ 4 w 5"/>
                <a:gd name="T39" fmla="*/ 7 h 7"/>
                <a:gd name="T40" fmla="*/ 3 w 5"/>
                <a:gd name="T41" fmla="*/ 7 h 7"/>
                <a:gd name="T42" fmla="*/ 3 w 5"/>
                <a:gd name="T43" fmla="*/ 6 h 7"/>
                <a:gd name="T44" fmla="*/ 3 w 5"/>
                <a:gd name="T45" fmla="*/ 6 h 7"/>
                <a:gd name="T46" fmla="*/ 3 w 5"/>
                <a:gd name="T47" fmla="*/ 6 h 7"/>
                <a:gd name="T48" fmla="*/ 2 w 5"/>
                <a:gd name="T49" fmla="*/ 6 h 7"/>
                <a:gd name="T50" fmla="*/ 2 w 5"/>
                <a:gd name="T51" fmla="*/ 6 h 7"/>
                <a:gd name="T52" fmla="*/ 2 w 5"/>
                <a:gd name="T53" fmla="*/ 6 h 7"/>
                <a:gd name="T54" fmla="*/ 2 w 5"/>
                <a:gd name="T55" fmla="*/ 6 h 7"/>
                <a:gd name="T56" fmla="*/ 2 w 5"/>
                <a:gd name="T57" fmla="*/ 5 h 7"/>
                <a:gd name="T58" fmla="*/ 2 w 5"/>
                <a:gd name="T59" fmla="*/ 5 h 7"/>
                <a:gd name="T60" fmla="*/ 2 w 5"/>
                <a:gd name="T61" fmla="*/ 5 h 7"/>
                <a:gd name="T62" fmla="*/ 3 w 5"/>
                <a:gd name="T63" fmla="*/ 5 h 7"/>
                <a:gd name="T64" fmla="*/ 3 w 5"/>
                <a:gd name="T65" fmla="*/ 5 h 7"/>
                <a:gd name="T66" fmla="*/ 3 w 5"/>
                <a:gd name="T67" fmla="*/ 4 h 7"/>
                <a:gd name="T68" fmla="*/ 3 w 5"/>
                <a:gd name="T69" fmla="*/ 4 h 7"/>
                <a:gd name="T70" fmla="*/ 3 w 5"/>
                <a:gd name="T71" fmla="*/ 4 h 7"/>
                <a:gd name="T72" fmla="*/ 3 w 5"/>
                <a:gd name="T73" fmla="*/ 4 h 7"/>
                <a:gd name="T74" fmla="*/ 3 w 5"/>
                <a:gd name="T75" fmla="*/ 4 h 7"/>
                <a:gd name="T76" fmla="*/ 3 w 5"/>
                <a:gd name="T77" fmla="*/ 4 h 7"/>
                <a:gd name="T78" fmla="*/ 3 w 5"/>
                <a:gd name="T79" fmla="*/ 3 h 7"/>
                <a:gd name="T80" fmla="*/ 3 w 5"/>
                <a:gd name="T81" fmla="*/ 3 h 7"/>
                <a:gd name="T82" fmla="*/ 3 w 5"/>
                <a:gd name="T83" fmla="*/ 3 h 7"/>
                <a:gd name="T84" fmla="*/ 2 w 5"/>
                <a:gd name="T85" fmla="*/ 3 h 7"/>
                <a:gd name="T86" fmla="*/ 2 w 5"/>
                <a:gd name="T87" fmla="*/ 3 h 7"/>
                <a:gd name="T88" fmla="*/ 2 w 5"/>
                <a:gd name="T89" fmla="*/ 1 h 7"/>
                <a:gd name="T90" fmla="*/ 0 w 5"/>
                <a:gd name="T91" fmla="*/ 1 h 7"/>
                <a:gd name="T92" fmla="*/ 0 w 5"/>
                <a:gd name="T93" fmla="*/ 0 h 7"/>
                <a:gd name="T94" fmla="*/ 0 w 5"/>
                <a:gd name="T95" fmla="*/ 0 h 7"/>
                <a:gd name="T96" fmla="*/ 3 w 5"/>
                <a:gd name="T97" fmla="*/ 0 h 7"/>
                <a:gd name="T98" fmla="*/ 4 w 5"/>
                <a:gd name="T9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 h="7">
                  <a:moveTo>
                    <a:pt x="4" y="0"/>
                  </a:moveTo>
                  <a:lnTo>
                    <a:pt x="4" y="1"/>
                  </a:lnTo>
                  <a:lnTo>
                    <a:pt x="4" y="0"/>
                  </a:lnTo>
                  <a:lnTo>
                    <a:pt x="4" y="0"/>
                  </a:lnTo>
                  <a:lnTo>
                    <a:pt x="4" y="0"/>
                  </a:lnTo>
                  <a:lnTo>
                    <a:pt x="4" y="0"/>
                  </a:lnTo>
                  <a:lnTo>
                    <a:pt x="4" y="0"/>
                  </a:lnTo>
                  <a:lnTo>
                    <a:pt x="4" y="0"/>
                  </a:lnTo>
                  <a:lnTo>
                    <a:pt x="4" y="0"/>
                  </a:lnTo>
                  <a:lnTo>
                    <a:pt x="4" y="0"/>
                  </a:lnTo>
                  <a:lnTo>
                    <a:pt x="4" y="0"/>
                  </a:lnTo>
                  <a:lnTo>
                    <a:pt x="5" y="0"/>
                  </a:lnTo>
                  <a:lnTo>
                    <a:pt x="5" y="0"/>
                  </a:lnTo>
                  <a:lnTo>
                    <a:pt x="5" y="1"/>
                  </a:lnTo>
                  <a:lnTo>
                    <a:pt x="5" y="1"/>
                  </a:lnTo>
                  <a:lnTo>
                    <a:pt x="5" y="1"/>
                  </a:lnTo>
                  <a:lnTo>
                    <a:pt x="5" y="1"/>
                  </a:lnTo>
                  <a:lnTo>
                    <a:pt x="4" y="1"/>
                  </a:lnTo>
                  <a:lnTo>
                    <a:pt x="5" y="1"/>
                  </a:lnTo>
                  <a:lnTo>
                    <a:pt x="5" y="1"/>
                  </a:lnTo>
                  <a:lnTo>
                    <a:pt x="5" y="1"/>
                  </a:lnTo>
                  <a:lnTo>
                    <a:pt x="5" y="3"/>
                  </a:lnTo>
                  <a:lnTo>
                    <a:pt x="5" y="3"/>
                  </a:lnTo>
                  <a:lnTo>
                    <a:pt x="5" y="3"/>
                  </a:lnTo>
                  <a:lnTo>
                    <a:pt x="5" y="3"/>
                  </a:lnTo>
                  <a:lnTo>
                    <a:pt x="5" y="3"/>
                  </a:lnTo>
                  <a:lnTo>
                    <a:pt x="5" y="3"/>
                  </a:lnTo>
                  <a:lnTo>
                    <a:pt x="5" y="4"/>
                  </a:lnTo>
                  <a:lnTo>
                    <a:pt x="5" y="5"/>
                  </a:lnTo>
                  <a:lnTo>
                    <a:pt x="5" y="5"/>
                  </a:lnTo>
                  <a:lnTo>
                    <a:pt x="5" y="5"/>
                  </a:lnTo>
                  <a:lnTo>
                    <a:pt x="5" y="5"/>
                  </a:lnTo>
                  <a:lnTo>
                    <a:pt x="5" y="6"/>
                  </a:lnTo>
                  <a:lnTo>
                    <a:pt x="5" y="6"/>
                  </a:lnTo>
                  <a:lnTo>
                    <a:pt x="4" y="6"/>
                  </a:lnTo>
                  <a:lnTo>
                    <a:pt x="4" y="6"/>
                  </a:lnTo>
                  <a:lnTo>
                    <a:pt x="4" y="6"/>
                  </a:lnTo>
                  <a:lnTo>
                    <a:pt x="4" y="7"/>
                  </a:lnTo>
                  <a:lnTo>
                    <a:pt x="4" y="7"/>
                  </a:lnTo>
                  <a:lnTo>
                    <a:pt x="4" y="7"/>
                  </a:lnTo>
                  <a:lnTo>
                    <a:pt x="3" y="7"/>
                  </a:lnTo>
                  <a:lnTo>
                    <a:pt x="3" y="7"/>
                  </a:lnTo>
                  <a:lnTo>
                    <a:pt x="3" y="7"/>
                  </a:lnTo>
                  <a:lnTo>
                    <a:pt x="3" y="6"/>
                  </a:lnTo>
                  <a:lnTo>
                    <a:pt x="3" y="6"/>
                  </a:lnTo>
                  <a:lnTo>
                    <a:pt x="3" y="6"/>
                  </a:lnTo>
                  <a:lnTo>
                    <a:pt x="3" y="6"/>
                  </a:lnTo>
                  <a:lnTo>
                    <a:pt x="3" y="6"/>
                  </a:lnTo>
                  <a:lnTo>
                    <a:pt x="2" y="6"/>
                  </a:lnTo>
                  <a:lnTo>
                    <a:pt x="2" y="6"/>
                  </a:lnTo>
                  <a:lnTo>
                    <a:pt x="2" y="6"/>
                  </a:lnTo>
                  <a:lnTo>
                    <a:pt x="2" y="6"/>
                  </a:lnTo>
                  <a:lnTo>
                    <a:pt x="2" y="6"/>
                  </a:lnTo>
                  <a:lnTo>
                    <a:pt x="2" y="6"/>
                  </a:lnTo>
                  <a:lnTo>
                    <a:pt x="2" y="6"/>
                  </a:lnTo>
                  <a:lnTo>
                    <a:pt x="2" y="6"/>
                  </a:lnTo>
                  <a:lnTo>
                    <a:pt x="2" y="6"/>
                  </a:lnTo>
                  <a:lnTo>
                    <a:pt x="2" y="5"/>
                  </a:lnTo>
                  <a:lnTo>
                    <a:pt x="2" y="5"/>
                  </a:lnTo>
                  <a:lnTo>
                    <a:pt x="2" y="5"/>
                  </a:lnTo>
                  <a:lnTo>
                    <a:pt x="2" y="5"/>
                  </a:lnTo>
                  <a:lnTo>
                    <a:pt x="2" y="5"/>
                  </a:lnTo>
                  <a:lnTo>
                    <a:pt x="2" y="5"/>
                  </a:lnTo>
                  <a:lnTo>
                    <a:pt x="3" y="5"/>
                  </a:lnTo>
                  <a:lnTo>
                    <a:pt x="3" y="5"/>
                  </a:lnTo>
                  <a:lnTo>
                    <a:pt x="3" y="5"/>
                  </a:lnTo>
                  <a:lnTo>
                    <a:pt x="3" y="5"/>
                  </a:lnTo>
                  <a:lnTo>
                    <a:pt x="3" y="4"/>
                  </a:lnTo>
                  <a:lnTo>
                    <a:pt x="3" y="4"/>
                  </a:lnTo>
                  <a:lnTo>
                    <a:pt x="3" y="4"/>
                  </a:lnTo>
                  <a:lnTo>
                    <a:pt x="3" y="4"/>
                  </a:lnTo>
                  <a:lnTo>
                    <a:pt x="3" y="4"/>
                  </a:lnTo>
                  <a:lnTo>
                    <a:pt x="3" y="4"/>
                  </a:lnTo>
                  <a:lnTo>
                    <a:pt x="3" y="4"/>
                  </a:lnTo>
                  <a:lnTo>
                    <a:pt x="3" y="4"/>
                  </a:lnTo>
                  <a:lnTo>
                    <a:pt x="3" y="4"/>
                  </a:lnTo>
                  <a:lnTo>
                    <a:pt x="3" y="4"/>
                  </a:lnTo>
                  <a:lnTo>
                    <a:pt x="3" y="4"/>
                  </a:lnTo>
                  <a:lnTo>
                    <a:pt x="3" y="3"/>
                  </a:lnTo>
                  <a:lnTo>
                    <a:pt x="3" y="3"/>
                  </a:lnTo>
                  <a:lnTo>
                    <a:pt x="3" y="3"/>
                  </a:lnTo>
                  <a:lnTo>
                    <a:pt x="3" y="3"/>
                  </a:lnTo>
                  <a:lnTo>
                    <a:pt x="3" y="3"/>
                  </a:lnTo>
                  <a:lnTo>
                    <a:pt x="3" y="3"/>
                  </a:lnTo>
                  <a:lnTo>
                    <a:pt x="3" y="3"/>
                  </a:lnTo>
                  <a:lnTo>
                    <a:pt x="2" y="3"/>
                  </a:lnTo>
                  <a:lnTo>
                    <a:pt x="2" y="3"/>
                  </a:lnTo>
                  <a:lnTo>
                    <a:pt x="2" y="3"/>
                  </a:lnTo>
                  <a:lnTo>
                    <a:pt x="2" y="1"/>
                  </a:lnTo>
                  <a:lnTo>
                    <a:pt x="2" y="1"/>
                  </a:lnTo>
                  <a:lnTo>
                    <a:pt x="0" y="1"/>
                  </a:lnTo>
                  <a:lnTo>
                    <a:pt x="0" y="1"/>
                  </a:lnTo>
                  <a:lnTo>
                    <a:pt x="0" y="1"/>
                  </a:lnTo>
                  <a:lnTo>
                    <a:pt x="0" y="0"/>
                  </a:lnTo>
                  <a:lnTo>
                    <a:pt x="0" y="0"/>
                  </a:lnTo>
                  <a:lnTo>
                    <a:pt x="0" y="0"/>
                  </a:lnTo>
                  <a:lnTo>
                    <a:pt x="3" y="0"/>
                  </a:lnTo>
                  <a:lnTo>
                    <a:pt x="3" y="0"/>
                  </a:lnTo>
                  <a:lnTo>
                    <a:pt x="4" y="0"/>
                  </a:lnTo>
                  <a:lnTo>
                    <a:pt x="4"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45" name="Freeform 1310">
              <a:extLst>
                <a:ext uri="{FF2B5EF4-FFF2-40B4-BE49-F238E27FC236}">
                  <a16:creationId xmlns:a16="http://schemas.microsoft.com/office/drawing/2014/main" id="{91FA2B8A-DDD2-4047-9B2C-7D73E2E08D44}"/>
                </a:ext>
              </a:extLst>
            </p:cNvPr>
            <p:cNvSpPr>
              <a:spLocks/>
            </p:cNvSpPr>
            <p:nvPr/>
          </p:nvSpPr>
          <p:spPr bwMode="auto">
            <a:xfrm>
              <a:off x="6248475" y="2532545"/>
              <a:ext cx="1336" cy="1336"/>
            </a:xfrm>
            <a:custGeom>
              <a:avLst/>
              <a:gdLst>
                <a:gd name="T0" fmla="*/ 0 w 1"/>
                <a:gd name="T1" fmla="*/ 0 h 1"/>
                <a:gd name="T2" fmla="*/ 0 w 1"/>
                <a:gd name="T3" fmla="*/ 0 h 1"/>
                <a:gd name="T4" fmla="*/ 1 w 1"/>
                <a:gd name="T5" fmla="*/ 0 h 1"/>
                <a:gd name="T6" fmla="*/ 1 w 1"/>
                <a:gd name="T7" fmla="*/ 0 h 1"/>
                <a:gd name="T8" fmla="*/ 1 w 1"/>
                <a:gd name="T9" fmla="*/ 0 h 1"/>
                <a:gd name="T10" fmla="*/ 1 w 1"/>
                <a:gd name="T11" fmla="*/ 0 h 1"/>
                <a:gd name="T12" fmla="*/ 1 w 1"/>
                <a:gd name="T13" fmla="*/ 0 h 1"/>
                <a:gd name="T14" fmla="*/ 1 w 1"/>
                <a:gd name="T15" fmla="*/ 1 h 1"/>
                <a:gd name="T16" fmla="*/ 1 w 1"/>
                <a:gd name="T17" fmla="*/ 1 h 1"/>
                <a:gd name="T18" fmla="*/ 0 w 1"/>
                <a:gd name="T19" fmla="*/ 1 h 1"/>
                <a:gd name="T20" fmla="*/ 0 w 1"/>
                <a:gd name="T21" fmla="*/ 1 h 1"/>
                <a:gd name="T22" fmla="*/ 0 w 1"/>
                <a:gd name="T23" fmla="*/ 1 h 1"/>
                <a:gd name="T24" fmla="*/ 0 w 1"/>
                <a:gd name="T25" fmla="*/ 1 h 1"/>
                <a:gd name="T26" fmla="*/ 0 w 1"/>
                <a:gd name="T27" fmla="*/ 1 h 1"/>
                <a:gd name="T28" fmla="*/ 0 w 1"/>
                <a:gd name="T29" fmla="*/ 0 h 1"/>
                <a:gd name="T30" fmla="*/ 0 w 1"/>
                <a:gd name="T31" fmla="*/ 0 h 1"/>
                <a:gd name="T32" fmla="*/ 0 w 1"/>
                <a:gd name="T33" fmla="*/ 0 h 1"/>
                <a:gd name="T34" fmla="*/ 0 w 1"/>
                <a:gd name="T35" fmla="*/ 0 h 1"/>
                <a:gd name="T36" fmla="*/ 0 w 1"/>
                <a:gd name="T37" fmla="*/ 0 h 1"/>
                <a:gd name="T38" fmla="*/ 0 w 1"/>
                <a:gd name="T39" fmla="*/ 0 h 1"/>
                <a:gd name="T40" fmla="*/ 0 w 1"/>
                <a:gd name="T41" fmla="*/ 0 h 1"/>
                <a:gd name="T42" fmla="*/ 0 w 1"/>
                <a:gd name="T43" fmla="*/ 0 h 1"/>
                <a:gd name="T44" fmla="*/ 0 w 1"/>
                <a:gd name="T45" fmla="*/ 0 h 1"/>
                <a:gd name="T46" fmla="*/ 0 w 1"/>
                <a:gd name="T47" fmla="*/ 0 h 1"/>
                <a:gd name="T48" fmla="*/ 0 w 1"/>
                <a:gd name="T49" fmla="*/ 0 h 1"/>
                <a:gd name="T50" fmla="*/ 0 w 1"/>
                <a:gd name="T51" fmla="*/ 0 h 1"/>
                <a:gd name="T52" fmla="*/ 0 w 1"/>
                <a:gd name="T53" fmla="*/ 0 h 1"/>
                <a:gd name="T54" fmla="*/ 0 w 1"/>
                <a:gd name="T55" fmla="*/ 0 h 1"/>
                <a:gd name="T56" fmla="*/ 0 w 1"/>
                <a:gd name="T57" fmla="*/ 0 h 1"/>
                <a:gd name="T58" fmla="*/ 0 w 1"/>
                <a:gd name="T59" fmla="*/ 0 h 1"/>
                <a:gd name="T60" fmla="*/ 0 w 1"/>
                <a:gd name="T61" fmla="*/ 0 h 1"/>
                <a:gd name="T62" fmla="*/ 0 w 1"/>
                <a:gd name="T63" fmla="*/ 0 h 1"/>
                <a:gd name="T64" fmla="*/ 0 w 1"/>
                <a:gd name="T65" fmla="*/ 0 h 1"/>
                <a:gd name="T66" fmla="*/ 0 w 1"/>
                <a:gd name="T6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 h="1">
                  <a:moveTo>
                    <a:pt x="0" y="0"/>
                  </a:moveTo>
                  <a:lnTo>
                    <a:pt x="0" y="0"/>
                  </a:lnTo>
                  <a:lnTo>
                    <a:pt x="1" y="0"/>
                  </a:lnTo>
                  <a:lnTo>
                    <a:pt x="1" y="0"/>
                  </a:lnTo>
                  <a:lnTo>
                    <a:pt x="1" y="0"/>
                  </a:lnTo>
                  <a:lnTo>
                    <a:pt x="1" y="0"/>
                  </a:lnTo>
                  <a:lnTo>
                    <a:pt x="1" y="0"/>
                  </a:lnTo>
                  <a:lnTo>
                    <a:pt x="1" y="1"/>
                  </a:lnTo>
                  <a:lnTo>
                    <a:pt x="1" y="1"/>
                  </a:lnTo>
                  <a:lnTo>
                    <a:pt x="0" y="1"/>
                  </a:lnTo>
                  <a:lnTo>
                    <a:pt x="0" y="1"/>
                  </a:lnTo>
                  <a:lnTo>
                    <a:pt x="0" y="1"/>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46" name="Freeform 1311">
              <a:extLst>
                <a:ext uri="{FF2B5EF4-FFF2-40B4-BE49-F238E27FC236}">
                  <a16:creationId xmlns:a16="http://schemas.microsoft.com/office/drawing/2014/main" id="{C76B6364-705B-4215-A204-BF327FFB7425}"/>
                </a:ext>
              </a:extLst>
            </p:cNvPr>
            <p:cNvSpPr>
              <a:spLocks/>
            </p:cNvSpPr>
            <p:nvPr/>
          </p:nvSpPr>
          <p:spPr bwMode="auto">
            <a:xfrm>
              <a:off x="6167009" y="2531209"/>
              <a:ext cx="2671" cy="1336"/>
            </a:xfrm>
            <a:custGeom>
              <a:avLst/>
              <a:gdLst>
                <a:gd name="T0" fmla="*/ 0 w 2"/>
                <a:gd name="T1" fmla="*/ 1 h 1"/>
                <a:gd name="T2" fmla="*/ 0 w 2"/>
                <a:gd name="T3" fmla="*/ 1 h 1"/>
                <a:gd name="T4" fmla="*/ 0 w 2"/>
                <a:gd name="T5" fmla="*/ 1 h 1"/>
                <a:gd name="T6" fmla="*/ 0 w 2"/>
                <a:gd name="T7" fmla="*/ 1 h 1"/>
                <a:gd name="T8" fmla="*/ 0 w 2"/>
                <a:gd name="T9" fmla="*/ 0 h 1"/>
                <a:gd name="T10" fmla="*/ 0 w 2"/>
                <a:gd name="T11" fmla="*/ 0 h 1"/>
                <a:gd name="T12" fmla="*/ 0 w 2"/>
                <a:gd name="T13" fmla="*/ 0 h 1"/>
                <a:gd name="T14" fmla="*/ 2 w 2"/>
                <a:gd name="T15" fmla="*/ 0 h 1"/>
                <a:gd name="T16" fmla="*/ 2 w 2"/>
                <a:gd name="T17" fmla="*/ 0 h 1"/>
                <a:gd name="T18" fmla="*/ 2 w 2"/>
                <a:gd name="T19" fmla="*/ 0 h 1"/>
                <a:gd name="T20" fmla="*/ 2 w 2"/>
                <a:gd name="T21" fmla="*/ 0 h 1"/>
                <a:gd name="T22" fmla="*/ 2 w 2"/>
                <a:gd name="T23" fmla="*/ 1 h 1"/>
                <a:gd name="T24" fmla="*/ 0 w 2"/>
                <a:gd name="T25" fmla="*/ 1 h 1"/>
                <a:gd name="T26" fmla="*/ 0 w 2"/>
                <a:gd name="T27" fmla="*/ 1 h 1"/>
                <a:gd name="T28" fmla="*/ 0 w 2"/>
                <a:gd name="T29" fmla="*/ 1 h 1"/>
                <a:gd name="T30" fmla="*/ 0 w 2"/>
                <a:gd name="T31" fmla="*/ 1 h 1"/>
                <a:gd name="T32" fmla="*/ 0 w 2"/>
                <a:gd name="T3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 h="1">
                  <a:moveTo>
                    <a:pt x="0" y="1"/>
                  </a:moveTo>
                  <a:lnTo>
                    <a:pt x="0" y="1"/>
                  </a:lnTo>
                  <a:lnTo>
                    <a:pt x="0" y="1"/>
                  </a:lnTo>
                  <a:lnTo>
                    <a:pt x="0" y="1"/>
                  </a:lnTo>
                  <a:lnTo>
                    <a:pt x="0" y="0"/>
                  </a:lnTo>
                  <a:lnTo>
                    <a:pt x="0" y="0"/>
                  </a:lnTo>
                  <a:lnTo>
                    <a:pt x="0" y="0"/>
                  </a:lnTo>
                  <a:lnTo>
                    <a:pt x="2" y="0"/>
                  </a:lnTo>
                  <a:lnTo>
                    <a:pt x="2" y="0"/>
                  </a:lnTo>
                  <a:lnTo>
                    <a:pt x="2" y="0"/>
                  </a:lnTo>
                  <a:lnTo>
                    <a:pt x="2" y="0"/>
                  </a:lnTo>
                  <a:lnTo>
                    <a:pt x="2" y="1"/>
                  </a:lnTo>
                  <a:lnTo>
                    <a:pt x="0" y="1"/>
                  </a:lnTo>
                  <a:lnTo>
                    <a:pt x="0" y="1"/>
                  </a:lnTo>
                  <a:lnTo>
                    <a:pt x="0" y="1"/>
                  </a:lnTo>
                  <a:lnTo>
                    <a:pt x="0" y="1"/>
                  </a:lnTo>
                  <a:lnTo>
                    <a:pt x="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47" name="Freeform 1312">
              <a:extLst>
                <a:ext uri="{FF2B5EF4-FFF2-40B4-BE49-F238E27FC236}">
                  <a16:creationId xmlns:a16="http://schemas.microsoft.com/office/drawing/2014/main" id="{02FADA00-8FAF-44B5-AD2C-BF4CBC341497}"/>
                </a:ext>
              </a:extLst>
            </p:cNvPr>
            <p:cNvSpPr>
              <a:spLocks/>
            </p:cNvSpPr>
            <p:nvPr/>
          </p:nvSpPr>
          <p:spPr bwMode="auto">
            <a:xfrm>
              <a:off x="6164338" y="2531209"/>
              <a:ext cx="1336" cy="1336"/>
            </a:xfrm>
            <a:custGeom>
              <a:avLst/>
              <a:gdLst>
                <a:gd name="T0" fmla="*/ 1 w 1"/>
                <a:gd name="T1" fmla="*/ 0 h 1"/>
                <a:gd name="T2" fmla="*/ 1 w 1"/>
                <a:gd name="T3" fmla="*/ 0 h 1"/>
                <a:gd name="T4" fmla="*/ 1 w 1"/>
                <a:gd name="T5" fmla="*/ 0 h 1"/>
                <a:gd name="T6" fmla="*/ 1 w 1"/>
                <a:gd name="T7" fmla="*/ 0 h 1"/>
                <a:gd name="T8" fmla="*/ 1 w 1"/>
                <a:gd name="T9" fmla="*/ 0 h 1"/>
                <a:gd name="T10" fmla="*/ 1 w 1"/>
                <a:gd name="T11" fmla="*/ 0 h 1"/>
                <a:gd name="T12" fmla="*/ 1 w 1"/>
                <a:gd name="T13" fmla="*/ 0 h 1"/>
                <a:gd name="T14" fmla="*/ 1 w 1"/>
                <a:gd name="T15" fmla="*/ 0 h 1"/>
                <a:gd name="T16" fmla="*/ 1 w 1"/>
                <a:gd name="T17" fmla="*/ 0 h 1"/>
                <a:gd name="T18" fmla="*/ 1 w 1"/>
                <a:gd name="T19" fmla="*/ 0 h 1"/>
                <a:gd name="T20" fmla="*/ 1 w 1"/>
                <a:gd name="T21" fmla="*/ 0 h 1"/>
                <a:gd name="T22" fmla="*/ 1 w 1"/>
                <a:gd name="T23" fmla="*/ 0 h 1"/>
                <a:gd name="T24" fmla="*/ 1 w 1"/>
                <a:gd name="T25" fmla="*/ 0 h 1"/>
                <a:gd name="T26" fmla="*/ 1 w 1"/>
                <a:gd name="T27" fmla="*/ 1 h 1"/>
                <a:gd name="T28" fmla="*/ 1 w 1"/>
                <a:gd name="T29" fmla="*/ 1 h 1"/>
                <a:gd name="T30" fmla="*/ 1 w 1"/>
                <a:gd name="T31" fmla="*/ 1 h 1"/>
                <a:gd name="T32" fmla="*/ 1 w 1"/>
                <a:gd name="T33" fmla="*/ 1 h 1"/>
                <a:gd name="T34" fmla="*/ 1 w 1"/>
                <a:gd name="T35" fmla="*/ 1 h 1"/>
                <a:gd name="T36" fmla="*/ 1 w 1"/>
                <a:gd name="T37" fmla="*/ 1 h 1"/>
                <a:gd name="T38" fmla="*/ 1 w 1"/>
                <a:gd name="T39" fmla="*/ 0 h 1"/>
                <a:gd name="T40" fmla="*/ 0 w 1"/>
                <a:gd name="T41" fmla="*/ 0 h 1"/>
                <a:gd name="T42" fmla="*/ 0 w 1"/>
                <a:gd name="T43" fmla="*/ 0 h 1"/>
                <a:gd name="T44" fmla="*/ 1 w 1"/>
                <a:gd name="T45" fmla="*/ 0 h 1"/>
                <a:gd name="T46" fmla="*/ 1 w 1"/>
                <a:gd name="T47" fmla="*/ 0 h 1"/>
                <a:gd name="T48" fmla="*/ 1 w 1"/>
                <a:gd name="T4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 h="1">
                  <a:moveTo>
                    <a:pt x="1" y="0"/>
                  </a:move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1"/>
                  </a:lnTo>
                  <a:lnTo>
                    <a:pt x="1" y="1"/>
                  </a:lnTo>
                  <a:lnTo>
                    <a:pt x="1" y="1"/>
                  </a:lnTo>
                  <a:lnTo>
                    <a:pt x="1" y="1"/>
                  </a:lnTo>
                  <a:lnTo>
                    <a:pt x="1" y="1"/>
                  </a:lnTo>
                  <a:lnTo>
                    <a:pt x="1" y="1"/>
                  </a:lnTo>
                  <a:lnTo>
                    <a:pt x="1" y="0"/>
                  </a:lnTo>
                  <a:lnTo>
                    <a:pt x="0" y="0"/>
                  </a:lnTo>
                  <a:lnTo>
                    <a:pt x="0"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48" name="Freeform 1313">
              <a:extLst>
                <a:ext uri="{FF2B5EF4-FFF2-40B4-BE49-F238E27FC236}">
                  <a16:creationId xmlns:a16="http://schemas.microsoft.com/office/drawing/2014/main" id="{2AD03FA2-761E-42AB-BB58-C6B9A30052F1}"/>
                </a:ext>
              </a:extLst>
            </p:cNvPr>
            <p:cNvSpPr>
              <a:spLocks/>
            </p:cNvSpPr>
            <p:nvPr/>
          </p:nvSpPr>
          <p:spPr bwMode="auto">
            <a:xfrm>
              <a:off x="6161667" y="2527203"/>
              <a:ext cx="2671" cy="5342"/>
            </a:xfrm>
            <a:custGeom>
              <a:avLst/>
              <a:gdLst>
                <a:gd name="T0" fmla="*/ 2 w 2"/>
                <a:gd name="T1" fmla="*/ 3 h 4"/>
                <a:gd name="T2" fmla="*/ 2 w 2"/>
                <a:gd name="T3" fmla="*/ 3 h 4"/>
                <a:gd name="T4" fmla="*/ 2 w 2"/>
                <a:gd name="T5" fmla="*/ 3 h 4"/>
                <a:gd name="T6" fmla="*/ 2 w 2"/>
                <a:gd name="T7" fmla="*/ 2 h 4"/>
                <a:gd name="T8" fmla="*/ 2 w 2"/>
                <a:gd name="T9" fmla="*/ 2 h 4"/>
                <a:gd name="T10" fmla="*/ 2 w 2"/>
                <a:gd name="T11" fmla="*/ 3 h 4"/>
                <a:gd name="T12" fmla="*/ 2 w 2"/>
                <a:gd name="T13" fmla="*/ 3 h 4"/>
                <a:gd name="T14" fmla="*/ 2 w 2"/>
                <a:gd name="T15" fmla="*/ 3 h 4"/>
                <a:gd name="T16" fmla="*/ 2 w 2"/>
                <a:gd name="T17" fmla="*/ 3 h 4"/>
                <a:gd name="T18" fmla="*/ 2 w 2"/>
                <a:gd name="T19" fmla="*/ 3 h 4"/>
                <a:gd name="T20" fmla="*/ 2 w 2"/>
                <a:gd name="T21" fmla="*/ 3 h 4"/>
                <a:gd name="T22" fmla="*/ 2 w 2"/>
                <a:gd name="T23" fmla="*/ 3 h 4"/>
                <a:gd name="T24" fmla="*/ 2 w 2"/>
                <a:gd name="T25" fmla="*/ 4 h 4"/>
                <a:gd name="T26" fmla="*/ 2 w 2"/>
                <a:gd name="T27" fmla="*/ 3 h 4"/>
                <a:gd name="T28" fmla="*/ 2 w 2"/>
                <a:gd name="T29" fmla="*/ 3 h 4"/>
                <a:gd name="T30" fmla="*/ 2 w 2"/>
                <a:gd name="T31" fmla="*/ 4 h 4"/>
                <a:gd name="T32" fmla="*/ 2 w 2"/>
                <a:gd name="T33" fmla="*/ 4 h 4"/>
                <a:gd name="T34" fmla="*/ 2 w 2"/>
                <a:gd name="T35" fmla="*/ 4 h 4"/>
                <a:gd name="T36" fmla="*/ 2 w 2"/>
                <a:gd name="T37" fmla="*/ 4 h 4"/>
                <a:gd name="T38" fmla="*/ 2 w 2"/>
                <a:gd name="T39" fmla="*/ 4 h 4"/>
                <a:gd name="T40" fmla="*/ 1 w 2"/>
                <a:gd name="T41" fmla="*/ 4 h 4"/>
                <a:gd name="T42" fmla="*/ 1 w 2"/>
                <a:gd name="T43" fmla="*/ 4 h 4"/>
                <a:gd name="T44" fmla="*/ 1 w 2"/>
                <a:gd name="T45" fmla="*/ 4 h 4"/>
                <a:gd name="T46" fmla="*/ 1 w 2"/>
                <a:gd name="T47" fmla="*/ 4 h 4"/>
                <a:gd name="T48" fmla="*/ 1 w 2"/>
                <a:gd name="T49" fmla="*/ 4 h 4"/>
                <a:gd name="T50" fmla="*/ 1 w 2"/>
                <a:gd name="T51" fmla="*/ 4 h 4"/>
                <a:gd name="T52" fmla="*/ 1 w 2"/>
                <a:gd name="T53" fmla="*/ 4 h 4"/>
                <a:gd name="T54" fmla="*/ 1 w 2"/>
                <a:gd name="T55" fmla="*/ 4 h 4"/>
                <a:gd name="T56" fmla="*/ 1 w 2"/>
                <a:gd name="T57" fmla="*/ 4 h 4"/>
                <a:gd name="T58" fmla="*/ 1 w 2"/>
                <a:gd name="T59" fmla="*/ 3 h 4"/>
                <a:gd name="T60" fmla="*/ 1 w 2"/>
                <a:gd name="T61" fmla="*/ 4 h 4"/>
                <a:gd name="T62" fmla="*/ 1 w 2"/>
                <a:gd name="T63" fmla="*/ 4 h 4"/>
                <a:gd name="T64" fmla="*/ 1 w 2"/>
                <a:gd name="T65" fmla="*/ 4 h 4"/>
                <a:gd name="T66" fmla="*/ 0 w 2"/>
                <a:gd name="T67" fmla="*/ 4 h 4"/>
                <a:gd name="T68" fmla="*/ 0 w 2"/>
                <a:gd name="T69" fmla="*/ 4 h 4"/>
                <a:gd name="T70" fmla="*/ 0 w 2"/>
                <a:gd name="T71" fmla="*/ 4 h 4"/>
                <a:gd name="T72" fmla="*/ 0 w 2"/>
                <a:gd name="T73" fmla="*/ 3 h 4"/>
                <a:gd name="T74" fmla="*/ 1 w 2"/>
                <a:gd name="T75" fmla="*/ 2 h 4"/>
                <a:gd name="T76" fmla="*/ 1 w 2"/>
                <a:gd name="T77" fmla="*/ 2 h 4"/>
                <a:gd name="T78" fmla="*/ 1 w 2"/>
                <a:gd name="T79" fmla="*/ 1 h 4"/>
                <a:gd name="T80" fmla="*/ 1 w 2"/>
                <a:gd name="T81" fmla="*/ 1 h 4"/>
                <a:gd name="T82" fmla="*/ 1 w 2"/>
                <a:gd name="T83" fmla="*/ 1 h 4"/>
                <a:gd name="T84" fmla="*/ 1 w 2"/>
                <a:gd name="T85" fmla="*/ 1 h 4"/>
                <a:gd name="T86" fmla="*/ 1 w 2"/>
                <a:gd name="T87" fmla="*/ 1 h 4"/>
                <a:gd name="T88" fmla="*/ 1 w 2"/>
                <a:gd name="T89" fmla="*/ 1 h 4"/>
                <a:gd name="T90" fmla="*/ 2 w 2"/>
                <a:gd name="T91" fmla="*/ 0 h 4"/>
                <a:gd name="T92" fmla="*/ 2 w 2"/>
                <a:gd name="T93" fmla="*/ 0 h 4"/>
                <a:gd name="T94" fmla="*/ 2 w 2"/>
                <a:gd name="T95" fmla="*/ 1 h 4"/>
                <a:gd name="T96" fmla="*/ 2 w 2"/>
                <a:gd name="T97" fmla="*/ 1 h 4"/>
                <a:gd name="T98" fmla="*/ 2 w 2"/>
                <a:gd name="T99" fmla="*/ 1 h 4"/>
                <a:gd name="T100" fmla="*/ 2 w 2"/>
                <a:gd name="T101" fmla="*/ 1 h 4"/>
                <a:gd name="T102" fmla="*/ 2 w 2"/>
                <a:gd name="T103" fmla="*/ 1 h 4"/>
                <a:gd name="T104" fmla="*/ 2 w 2"/>
                <a:gd name="T105" fmla="*/ 1 h 4"/>
                <a:gd name="T106" fmla="*/ 2 w 2"/>
                <a:gd name="T107" fmla="*/ 1 h 4"/>
                <a:gd name="T108" fmla="*/ 2 w 2"/>
                <a:gd name="T109" fmla="*/ 2 h 4"/>
                <a:gd name="T110" fmla="*/ 2 w 2"/>
                <a:gd name="T111" fmla="*/ 2 h 4"/>
                <a:gd name="T112" fmla="*/ 2 w 2"/>
                <a:gd name="T113" fmla="*/ 2 h 4"/>
                <a:gd name="T114" fmla="*/ 2 w 2"/>
                <a:gd name="T115" fmla="*/ 2 h 4"/>
                <a:gd name="T116" fmla="*/ 2 w 2"/>
                <a:gd name="T117" fmla="*/ 2 h 4"/>
                <a:gd name="T118" fmla="*/ 2 w 2"/>
                <a:gd name="T119" fmla="*/ 2 h 4"/>
                <a:gd name="T120" fmla="*/ 2 w 2"/>
                <a:gd name="T121" fmla="*/ 2 h 4"/>
                <a:gd name="T122" fmla="*/ 2 w 2"/>
                <a:gd name="T123" fmla="*/ 3 h 4"/>
                <a:gd name="T124" fmla="*/ 2 w 2"/>
                <a:gd name="T125"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 h="4">
                  <a:moveTo>
                    <a:pt x="2" y="3"/>
                  </a:moveTo>
                  <a:lnTo>
                    <a:pt x="2" y="3"/>
                  </a:lnTo>
                  <a:lnTo>
                    <a:pt x="2" y="3"/>
                  </a:lnTo>
                  <a:lnTo>
                    <a:pt x="2" y="2"/>
                  </a:lnTo>
                  <a:lnTo>
                    <a:pt x="2" y="2"/>
                  </a:lnTo>
                  <a:lnTo>
                    <a:pt x="2" y="3"/>
                  </a:lnTo>
                  <a:lnTo>
                    <a:pt x="2" y="3"/>
                  </a:lnTo>
                  <a:lnTo>
                    <a:pt x="2" y="3"/>
                  </a:lnTo>
                  <a:lnTo>
                    <a:pt x="2" y="3"/>
                  </a:lnTo>
                  <a:lnTo>
                    <a:pt x="2" y="3"/>
                  </a:lnTo>
                  <a:lnTo>
                    <a:pt x="2" y="3"/>
                  </a:lnTo>
                  <a:lnTo>
                    <a:pt x="2" y="3"/>
                  </a:lnTo>
                  <a:lnTo>
                    <a:pt x="2" y="4"/>
                  </a:lnTo>
                  <a:lnTo>
                    <a:pt x="2" y="3"/>
                  </a:lnTo>
                  <a:lnTo>
                    <a:pt x="2" y="3"/>
                  </a:lnTo>
                  <a:lnTo>
                    <a:pt x="2" y="4"/>
                  </a:lnTo>
                  <a:lnTo>
                    <a:pt x="2" y="4"/>
                  </a:lnTo>
                  <a:lnTo>
                    <a:pt x="2" y="4"/>
                  </a:lnTo>
                  <a:lnTo>
                    <a:pt x="2" y="4"/>
                  </a:lnTo>
                  <a:lnTo>
                    <a:pt x="2" y="4"/>
                  </a:lnTo>
                  <a:lnTo>
                    <a:pt x="1" y="4"/>
                  </a:lnTo>
                  <a:lnTo>
                    <a:pt x="1" y="4"/>
                  </a:lnTo>
                  <a:lnTo>
                    <a:pt x="1" y="4"/>
                  </a:lnTo>
                  <a:lnTo>
                    <a:pt x="1" y="4"/>
                  </a:lnTo>
                  <a:lnTo>
                    <a:pt x="1" y="4"/>
                  </a:lnTo>
                  <a:lnTo>
                    <a:pt x="1" y="4"/>
                  </a:lnTo>
                  <a:lnTo>
                    <a:pt x="1" y="4"/>
                  </a:lnTo>
                  <a:lnTo>
                    <a:pt x="1" y="4"/>
                  </a:lnTo>
                  <a:lnTo>
                    <a:pt x="1" y="4"/>
                  </a:lnTo>
                  <a:lnTo>
                    <a:pt x="1" y="3"/>
                  </a:lnTo>
                  <a:lnTo>
                    <a:pt x="1" y="4"/>
                  </a:lnTo>
                  <a:lnTo>
                    <a:pt x="1" y="4"/>
                  </a:lnTo>
                  <a:lnTo>
                    <a:pt x="1" y="4"/>
                  </a:lnTo>
                  <a:lnTo>
                    <a:pt x="0" y="4"/>
                  </a:lnTo>
                  <a:lnTo>
                    <a:pt x="0" y="4"/>
                  </a:lnTo>
                  <a:lnTo>
                    <a:pt x="0" y="4"/>
                  </a:lnTo>
                  <a:lnTo>
                    <a:pt x="0" y="3"/>
                  </a:lnTo>
                  <a:lnTo>
                    <a:pt x="1" y="2"/>
                  </a:lnTo>
                  <a:lnTo>
                    <a:pt x="1" y="2"/>
                  </a:lnTo>
                  <a:lnTo>
                    <a:pt x="1" y="1"/>
                  </a:lnTo>
                  <a:lnTo>
                    <a:pt x="1" y="1"/>
                  </a:lnTo>
                  <a:lnTo>
                    <a:pt x="1" y="1"/>
                  </a:lnTo>
                  <a:lnTo>
                    <a:pt x="1" y="1"/>
                  </a:lnTo>
                  <a:lnTo>
                    <a:pt x="1" y="1"/>
                  </a:lnTo>
                  <a:lnTo>
                    <a:pt x="1" y="1"/>
                  </a:lnTo>
                  <a:lnTo>
                    <a:pt x="2" y="0"/>
                  </a:lnTo>
                  <a:lnTo>
                    <a:pt x="2" y="0"/>
                  </a:lnTo>
                  <a:lnTo>
                    <a:pt x="2" y="1"/>
                  </a:lnTo>
                  <a:lnTo>
                    <a:pt x="2" y="1"/>
                  </a:lnTo>
                  <a:lnTo>
                    <a:pt x="2" y="1"/>
                  </a:lnTo>
                  <a:lnTo>
                    <a:pt x="2" y="1"/>
                  </a:lnTo>
                  <a:lnTo>
                    <a:pt x="2" y="1"/>
                  </a:lnTo>
                  <a:lnTo>
                    <a:pt x="2" y="1"/>
                  </a:lnTo>
                  <a:lnTo>
                    <a:pt x="2" y="1"/>
                  </a:lnTo>
                  <a:lnTo>
                    <a:pt x="2" y="2"/>
                  </a:lnTo>
                  <a:lnTo>
                    <a:pt x="2" y="2"/>
                  </a:lnTo>
                  <a:lnTo>
                    <a:pt x="2" y="2"/>
                  </a:lnTo>
                  <a:lnTo>
                    <a:pt x="2" y="2"/>
                  </a:lnTo>
                  <a:lnTo>
                    <a:pt x="2" y="2"/>
                  </a:lnTo>
                  <a:lnTo>
                    <a:pt x="2" y="2"/>
                  </a:lnTo>
                  <a:lnTo>
                    <a:pt x="2" y="2"/>
                  </a:lnTo>
                  <a:lnTo>
                    <a:pt x="2" y="3"/>
                  </a:lnTo>
                  <a:lnTo>
                    <a:pt x="2" y="3"/>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49" name="Freeform 1314">
              <a:extLst>
                <a:ext uri="{FF2B5EF4-FFF2-40B4-BE49-F238E27FC236}">
                  <a16:creationId xmlns:a16="http://schemas.microsoft.com/office/drawing/2014/main" id="{E0FB52C5-FFE4-4088-9AD1-06C10CE67BEC}"/>
                </a:ext>
              </a:extLst>
            </p:cNvPr>
            <p:cNvSpPr>
              <a:spLocks/>
            </p:cNvSpPr>
            <p:nvPr/>
          </p:nvSpPr>
          <p:spPr bwMode="auto">
            <a:xfrm>
              <a:off x="6228442" y="2524532"/>
              <a:ext cx="4007" cy="5342"/>
            </a:xfrm>
            <a:custGeom>
              <a:avLst/>
              <a:gdLst>
                <a:gd name="T0" fmla="*/ 2 w 3"/>
                <a:gd name="T1" fmla="*/ 2 h 4"/>
                <a:gd name="T2" fmla="*/ 2 w 3"/>
                <a:gd name="T3" fmla="*/ 2 h 4"/>
                <a:gd name="T4" fmla="*/ 2 w 3"/>
                <a:gd name="T5" fmla="*/ 2 h 4"/>
                <a:gd name="T6" fmla="*/ 2 w 3"/>
                <a:gd name="T7" fmla="*/ 2 h 4"/>
                <a:gd name="T8" fmla="*/ 3 w 3"/>
                <a:gd name="T9" fmla="*/ 2 h 4"/>
                <a:gd name="T10" fmla="*/ 3 w 3"/>
                <a:gd name="T11" fmla="*/ 3 h 4"/>
                <a:gd name="T12" fmla="*/ 3 w 3"/>
                <a:gd name="T13" fmla="*/ 3 h 4"/>
                <a:gd name="T14" fmla="*/ 3 w 3"/>
                <a:gd name="T15" fmla="*/ 3 h 4"/>
                <a:gd name="T16" fmla="*/ 3 w 3"/>
                <a:gd name="T17" fmla="*/ 3 h 4"/>
                <a:gd name="T18" fmla="*/ 3 w 3"/>
                <a:gd name="T19" fmla="*/ 3 h 4"/>
                <a:gd name="T20" fmla="*/ 3 w 3"/>
                <a:gd name="T21" fmla="*/ 3 h 4"/>
                <a:gd name="T22" fmla="*/ 3 w 3"/>
                <a:gd name="T23" fmla="*/ 3 h 4"/>
                <a:gd name="T24" fmla="*/ 3 w 3"/>
                <a:gd name="T25" fmla="*/ 3 h 4"/>
                <a:gd name="T26" fmla="*/ 3 w 3"/>
                <a:gd name="T27" fmla="*/ 3 h 4"/>
                <a:gd name="T28" fmla="*/ 3 w 3"/>
                <a:gd name="T29" fmla="*/ 3 h 4"/>
                <a:gd name="T30" fmla="*/ 3 w 3"/>
                <a:gd name="T31" fmla="*/ 3 h 4"/>
                <a:gd name="T32" fmla="*/ 3 w 3"/>
                <a:gd name="T33" fmla="*/ 3 h 4"/>
                <a:gd name="T34" fmla="*/ 3 w 3"/>
                <a:gd name="T35" fmla="*/ 3 h 4"/>
                <a:gd name="T36" fmla="*/ 3 w 3"/>
                <a:gd name="T37" fmla="*/ 3 h 4"/>
                <a:gd name="T38" fmla="*/ 3 w 3"/>
                <a:gd name="T39" fmla="*/ 3 h 4"/>
                <a:gd name="T40" fmla="*/ 2 w 3"/>
                <a:gd name="T41" fmla="*/ 3 h 4"/>
                <a:gd name="T42" fmla="*/ 2 w 3"/>
                <a:gd name="T43" fmla="*/ 3 h 4"/>
                <a:gd name="T44" fmla="*/ 2 w 3"/>
                <a:gd name="T45" fmla="*/ 3 h 4"/>
                <a:gd name="T46" fmla="*/ 2 w 3"/>
                <a:gd name="T47" fmla="*/ 3 h 4"/>
                <a:gd name="T48" fmla="*/ 2 w 3"/>
                <a:gd name="T49" fmla="*/ 3 h 4"/>
                <a:gd name="T50" fmla="*/ 2 w 3"/>
                <a:gd name="T51" fmla="*/ 3 h 4"/>
                <a:gd name="T52" fmla="*/ 2 w 3"/>
                <a:gd name="T53" fmla="*/ 3 h 4"/>
                <a:gd name="T54" fmla="*/ 2 w 3"/>
                <a:gd name="T55" fmla="*/ 4 h 4"/>
                <a:gd name="T56" fmla="*/ 1 w 3"/>
                <a:gd name="T57" fmla="*/ 3 h 4"/>
                <a:gd name="T58" fmla="*/ 2 w 3"/>
                <a:gd name="T59" fmla="*/ 3 h 4"/>
                <a:gd name="T60" fmla="*/ 2 w 3"/>
                <a:gd name="T61" fmla="*/ 3 h 4"/>
                <a:gd name="T62" fmla="*/ 2 w 3"/>
                <a:gd name="T63" fmla="*/ 2 h 4"/>
                <a:gd name="T64" fmla="*/ 1 w 3"/>
                <a:gd name="T65" fmla="*/ 3 h 4"/>
                <a:gd name="T66" fmla="*/ 1 w 3"/>
                <a:gd name="T67" fmla="*/ 3 h 4"/>
                <a:gd name="T68" fmla="*/ 1 w 3"/>
                <a:gd name="T69" fmla="*/ 2 h 4"/>
                <a:gd name="T70" fmla="*/ 1 w 3"/>
                <a:gd name="T71" fmla="*/ 2 h 4"/>
                <a:gd name="T72" fmla="*/ 1 w 3"/>
                <a:gd name="T73" fmla="*/ 2 h 4"/>
                <a:gd name="T74" fmla="*/ 1 w 3"/>
                <a:gd name="T75" fmla="*/ 2 h 4"/>
                <a:gd name="T76" fmla="*/ 1 w 3"/>
                <a:gd name="T77" fmla="*/ 2 h 4"/>
                <a:gd name="T78" fmla="*/ 1 w 3"/>
                <a:gd name="T79" fmla="*/ 2 h 4"/>
                <a:gd name="T80" fmla="*/ 1 w 3"/>
                <a:gd name="T81" fmla="*/ 2 h 4"/>
                <a:gd name="T82" fmla="*/ 1 w 3"/>
                <a:gd name="T83" fmla="*/ 2 h 4"/>
                <a:gd name="T84" fmla="*/ 1 w 3"/>
                <a:gd name="T85" fmla="*/ 2 h 4"/>
                <a:gd name="T86" fmla="*/ 0 w 3"/>
                <a:gd name="T87" fmla="*/ 2 h 4"/>
                <a:gd name="T88" fmla="*/ 0 w 3"/>
                <a:gd name="T89" fmla="*/ 2 h 4"/>
                <a:gd name="T90" fmla="*/ 0 w 3"/>
                <a:gd name="T91" fmla="*/ 2 h 4"/>
                <a:gd name="T92" fmla="*/ 0 w 3"/>
                <a:gd name="T93" fmla="*/ 2 h 4"/>
                <a:gd name="T94" fmla="*/ 0 w 3"/>
                <a:gd name="T95" fmla="*/ 2 h 4"/>
                <a:gd name="T96" fmla="*/ 0 w 3"/>
                <a:gd name="T97" fmla="*/ 2 h 4"/>
                <a:gd name="T98" fmla="*/ 0 w 3"/>
                <a:gd name="T99" fmla="*/ 2 h 4"/>
                <a:gd name="T100" fmla="*/ 0 w 3"/>
                <a:gd name="T101" fmla="*/ 2 h 4"/>
                <a:gd name="T102" fmla="*/ 0 w 3"/>
                <a:gd name="T103" fmla="*/ 2 h 4"/>
                <a:gd name="T104" fmla="*/ 0 w 3"/>
                <a:gd name="T105" fmla="*/ 0 h 4"/>
                <a:gd name="T106" fmla="*/ 0 w 3"/>
                <a:gd name="T107" fmla="*/ 0 h 4"/>
                <a:gd name="T108" fmla="*/ 0 w 3"/>
                <a:gd name="T109" fmla="*/ 0 h 4"/>
                <a:gd name="T110" fmla="*/ 0 w 3"/>
                <a:gd name="T111" fmla="*/ 0 h 4"/>
                <a:gd name="T112" fmla="*/ 0 w 3"/>
                <a:gd name="T113" fmla="*/ 0 h 4"/>
                <a:gd name="T114" fmla="*/ 1 w 3"/>
                <a:gd name="T115" fmla="*/ 0 h 4"/>
                <a:gd name="T116" fmla="*/ 1 w 3"/>
                <a:gd name="T117" fmla="*/ 0 h 4"/>
                <a:gd name="T118" fmla="*/ 2 w 3"/>
                <a:gd name="T119" fmla="*/ 0 h 4"/>
                <a:gd name="T120" fmla="*/ 2 w 3"/>
                <a:gd name="T121" fmla="*/ 0 h 4"/>
                <a:gd name="T122" fmla="*/ 2 w 3"/>
                <a:gd name="T123" fmla="*/ 2 h 4"/>
                <a:gd name="T124" fmla="*/ 2 w 3"/>
                <a:gd name="T12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 h="4">
                  <a:moveTo>
                    <a:pt x="2" y="2"/>
                  </a:moveTo>
                  <a:lnTo>
                    <a:pt x="2" y="2"/>
                  </a:lnTo>
                  <a:lnTo>
                    <a:pt x="2" y="2"/>
                  </a:lnTo>
                  <a:lnTo>
                    <a:pt x="2" y="2"/>
                  </a:lnTo>
                  <a:lnTo>
                    <a:pt x="3" y="2"/>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3" y="3"/>
                  </a:lnTo>
                  <a:lnTo>
                    <a:pt x="2" y="3"/>
                  </a:lnTo>
                  <a:lnTo>
                    <a:pt x="2" y="3"/>
                  </a:lnTo>
                  <a:lnTo>
                    <a:pt x="2" y="3"/>
                  </a:lnTo>
                  <a:lnTo>
                    <a:pt x="2" y="3"/>
                  </a:lnTo>
                  <a:lnTo>
                    <a:pt x="2" y="3"/>
                  </a:lnTo>
                  <a:lnTo>
                    <a:pt x="2" y="3"/>
                  </a:lnTo>
                  <a:lnTo>
                    <a:pt x="2" y="3"/>
                  </a:lnTo>
                  <a:lnTo>
                    <a:pt x="2" y="4"/>
                  </a:lnTo>
                  <a:lnTo>
                    <a:pt x="1" y="3"/>
                  </a:lnTo>
                  <a:lnTo>
                    <a:pt x="2" y="3"/>
                  </a:lnTo>
                  <a:lnTo>
                    <a:pt x="2" y="3"/>
                  </a:lnTo>
                  <a:lnTo>
                    <a:pt x="2" y="2"/>
                  </a:lnTo>
                  <a:lnTo>
                    <a:pt x="1" y="3"/>
                  </a:lnTo>
                  <a:lnTo>
                    <a:pt x="1" y="3"/>
                  </a:lnTo>
                  <a:lnTo>
                    <a:pt x="1" y="2"/>
                  </a:lnTo>
                  <a:lnTo>
                    <a:pt x="1" y="2"/>
                  </a:lnTo>
                  <a:lnTo>
                    <a:pt x="1" y="2"/>
                  </a:lnTo>
                  <a:lnTo>
                    <a:pt x="1" y="2"/>
                  </a:lnTo>
                  <a:lnTo>
                    <a:pt x="1" y="2"/>
                  </a:lnTo>
                  <a:lnTo>
                    <a:pt x="1" y="2"/>
                  </a:lnTo>
                  <a:lnTo>
                    <a:pt x="1" y="2"/>
                  </a:lnTo>
                  <a:lnTo>
                    <a:pt x="1" y="2"/>
                  </a:lnTo>
                  <a:lnTo>
                    <a:pt x="1"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1" y="0"/>
                  </a:lnTo>
                  <a:lnTo>
                    <a:pt x="1" y="0"/>
                  </a:lnTo>
                  <a:lnTo>
                    <a:pt x="2" y="0"/>
                  </a:lnTo>
                  <a:lnTo>
                    <a:pt x="2" y="0"/>
                  </a:lnTo>
                  <a:lnTo>
                    <a:pt x="2" y="2"/>
                  </a:lnTo>
                  <a:lnTo>
                    <a:pt x="2"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50" name="Freeform 1315">
              <a:extLst>
                <a:ext uri="{FF2B5EF4-FFF2-40B4-BE49-F238E27FC236}">
                  <a16:creationId xmlns:a16="http://schemas.microsoft.com/office/drawing/2014/main" id="{AB6AECC2-7706-4FCF-BCE4-0B22A3D70B88}"/>
                </a:ext>
              </a:extLst>
            </p:cNvPr>
            <p:cNvSpPr>
              <a:spLocks/>
            </p:cNvSpPr>
            <p:nvPr/>
          </p:nvSpPr>
          <p:spPr bwMode="auto">
            <a:xfrm>
              <a:off x="6200397" y="2523197"/>
              <a:ext cx="32052" cy="22704"/>
            </a:xfrm>
            <a:custGeom>
              <a:avLst/>
              <a:gdLst>
                <a:gd name="T0" fmla="*/ 9 w 24"/>
                <a:gd name="T1" fmla="*/ 4 h 17"/>
                <a:gd name="T2" fmla="*/ 10 w 24"/>
                <a:gd name="T3" fmla="*/ 4 h 17"/>
                <a:gd name="T4" fmla="*/ 11 w 24"/>
                <a:gd name="T5" fmla="*/ 5 h 17"/>
                <a:gd name="T6" fmla="*/ 11 w 24"/>
                <a:gd name="T7" fmla="*/ 5 h 17"/>
                <a:gd name="T8" fmla="*/ 13 w 24"/>
                <a:gd name="T9" fmla="*/ 6 h 17"/>
                <a:gd name="T10" fmla="*/ 15 w 24"/>
                <a:gd name="T11" fmla="*/ 6 h 17"/>
                <a:gd name="T12" fmla="*/ 16 w 24"/>
                <a:gd name="T13" fmla="*/ 6 h 17"/>
                <a:gd name="T14" fmla="*/ 17 w 24"/>
                <a:gd name="T15" fmla="*/ 6 h 17"/>
                <a:gd name="T16" fmla="*/ 18 w 24"/>
                <a:gd name="T17" fmla="*/ 8 h 17"/>
                <a:gd name="T18" fmla="*/ 18 w 24"/>
                <a:gd name="T19" fmla="*/ 10 h 17"/>
                <a:gd name="T20" fmla="*/ 18 w 24"/>
                <a:gd name="T21" fmla="*/ 11 h 17"/>
                <a:gd name="T22" fmla="*/ 20 w 24"/>
                <a:gd name="T23" fmla="*/ 12 h 17"/>
                <a:gd name="T24" fmla="*/ 20 w 24"/>
                <a:gd name="T25" fmla="*/ 13 h 17"/>
                <a:gd name="T26" fmla="*/ 21 w 24"/>
                <a:gd name="T27" fmla="*/ 13 h 17"/>
                <a:gd name="T28" fmla="*/ 21 w 24"/>
                <a:gd name="T29" fmla="*/ 14 h 17"/>
                <a:gd name="T30" fmla="*/ 23 w 24"/>
                <a:gd name="T31" fmla="*/ 14 h 17"/>
                <a:gd name="T32" fmla="*/ 24 w 24"/>
                <a:gd name="T33" fmla="*/ 15 h 17"/>
                <a:gd name="T34" fmla="*/ 23 w 24"/>
                <a:gd name="T35" fmla="*/ 17 h 17"/>
                <a:gd name="T36" fmla="*/ 22 w 24"/>
                <a:gd name="T37" fmla="*/ 17 h 17"/>
                <a:gd name="T38" fmla="*/ 22 w 24"/>
                <a:gd name="T39" fmla="*/ 17 h 17"/>
                <a:gd name="T40" fmla="*/ 21 w 24"/>
                <a:gd name="T41" fmla="*/ 17 h 17"/>
                <a:gd name="T42" fmla="*/ 21 w 24"/>
                <a:gd name="T43" fmla="*/ 15 h 17"/>
                <a:gd name="T44" fmla="*/ 21 w 24"/>
                <a:gd name="T45" fmla="*/ 15 h 17"/>
                <a:gd name="T46" fmla="*/ 20 w 24"/>
                <a:gd name="T47" fmla="*/ 15 h 17"/>
                <a:gd name="T48" fmla="*/ 20 w 24"/>
                <a:gd name="T49" fmla="*/ 15 h 17"/>
                <a:gd name="T50" fmla="*/ 18 w 24"/>
                <a:gd name="T51" fmla="*/ 14 h 17"/>
                <a:gd name="T52" fmla="*/ 18 w 24"/>
                <a:gd name="T53" fmla="*/ 13 h 17"/>
                <a:gd name="T54" fmla="*/ 18 w 24"/>
                <a:gd name="T55" fmla="*/ 13 h 17"/>
                <a:gd name="T56" fmla="*/ 18 w 24"/>
                <a:gd name="T57" fmla="*/ 12 h 17"/>
                <a:gd name="T58" fmla="*/ 18 w 24"/>
                <a:gd name="T59" fmla="*/ 12 h 17"/>
                <a:gd name="T60" fmla="*/ 17 w 24"/>
                <a:gd name="T61" fmla="*/ 12 h 17"/>
                <a:gd name="T62" fmla="*/ 17 w 24"/>
                <a:gd name="T63" fmla="*/ 11 h 17"/>
                <a:gd name="T64" fmla="*/ 17 w 24"/>
                <a:gd name="T65" fmla="*/ 11 h 17"/>
                <a:gd name="T66" fmla="*/ 16 w 24"/>
                <a:gd name="T67" fmla="*/ 11 h 17"/>
                <a:gd name="T68" fmla="*/ 15 w 24"/>
                <a:gd name="T69" fmla="*/ 11 h 17"/>
                <a:gd name="T70" fmla="*/ 13 w 24"/>
                <a:gd name="T71" fmla="*/ 10 h 17"/>
                <a:gd name="T72" fmla="*/ 11 w 24"/>
                <a:gd name="T73" fmla="*/ 10 h 17"/>
                <a:gd name="T74" fmla="*/ 10 w 24"/>
                <a:gd name="T75" fmla="*/ 10 h 17"/>
                <a:gd name="T76" fmla="*/ 11 w 24"/>
                <a:gd name="T77" fmla="*/ 8 h 17"/>
                <a:gd name="T78" fmla="*/ 10 w 24"/>
                <a:gd name="T79" fmla="*/ 7 h 17"/>
                <a:gd name="T80" fmla="*/ 9 w 24"/>
                <a:gd name="T81" fmla="*/ 6 h 17"/>
                <a:gd name="T82" fmla="*/ 9 w 24"/>
                <a:gd name="T83" fmla="*/ 6 h 17"/>
                <a:gd name="T84" fmla="*/ 8 w 24"/>
                <a:gd name="T85" fmla="*/ 5 h 17"/>
                <a:gd name="T86" fmla="*/ 7 w 24"/>
                <a:gd name="T87" fmla="*/ 5 h 17"/>
                <a:gd name="T88" fmla="*/ 4 w 24"/>
                <a:gd name="T89" fmla="*/ 3 h 17"/>
                <a:gd name="T90" fmla="*/ 3 w 24"/>
                <a:gd name="T91" fmla="*/ 3 h 17"/>
                <a:gd name="T92" fmla="*/ 2 w 24"/>
                <a:gd name="T93" fmla="*/ 3 h 17"/>
                <a:gd name="T94" fmla="*/ 2 w 24"/>
                <a:gd name="T95" fmla="*/ 3 h 17"/>
                <a:gd name="T96" fmla="*/ 1 w 24"/>
                <a:gd name="T97" fmla="*/ 4 h 17"/>
                <a:gd name="T98" fmla="*/ 1 w 24"/>
                <a:gd name="T99" fmla="*/ 3 h 17"/>
                <a:gd name="T100" fmla="*/ 2 w 24"/>
                <a:gd name="T101" fmla="*/ 3 h 17"/>
                <a:gd name="T102" fmla="*/ 3 w 24"/>
                <a:gd name="T103" fmla="*/ 1 h 17"/>
                <a:gd name="T104" fmla="*/ 3 w 24"/>
                <a:gd name="T105" fmla="*/ 1 h 17"/>
                <a:gd name="T106" fmla="*/ 3 w 24"/>
                <a:gd name="T107" fmla="*/ 0 h 17"/>
                <a:gd name="T108" fmla="*/ 6 w 24"/>
                <a:gd name="T109" fmla="*/ 0 h 17"/>
                <a:gd name="T110" fmla="*/ 7 w 24"/>
                <a:gd name="T111" fmla="*/ 0 h 17"/>
                <a:gd name="T112" fmla="*/ 8 w 24"/>
                <a:gd name="T113"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 h="17">
                  <a:moveTo>
                    <a:pt x="8" y="3"/>
                  </a:moveTo>
                  <a:lnTo>
                    <a:pt x="8" y="3"/>
                  </a:lnTo>
                  <a:lnTo>
                    <a:pt x="8" y="3"/>
                  </a:lnTo>
                  <a:lnTo>
                    <a:pt x="8" y="3"/>
                  </a:lnTo>
                  <a:lnTo>
                    <a:pt x="9" y="4"/>
                  </a:lnTo>
                  <a:lnTo>
                    <a:pt x="9" y="4"/>
                  </a:lnTo>
                  <a:lnTo>
                    <a:pt x="10" y="4"/>
                  </a:lnTo>
                  <a:lnTo>
                    <a:pt x="10" y="4"/>
                  </a:lnTo>
                  <a:lnTo>
                    <a:pt x="10" y="4"/>
                  </a:lnTo>
                  <a:lnTo>
                    <a:pt x="10" y="4"/>
                  </a:lnTo>
                  <a:lnTo>
                    <a:pt x="10" y="4"/>
                  </a:lnTo>
                  <a:lnTo>
                    <a:pt x="10" y="4"/>
                  </a:lnTo>
                  <a:lnTo>
                    <a:pt x="10" y="4"/>
                  </a:lnTo>
                  <a:lnTo>
                    <a:pt x="10" y="5"/>
                  </a:lnTo>
                  <a:lnTo>
                    <a:pt x="11" y="5"/>
                  </a:lnTo>
                  <a:lnTo>
                    <a:pt x="11" y="5"/>
                  </a:lnTo>
                  <a:lnTo>
                    <a:pt x="11" y="5"/>
                  </a:lnTo>
                  <a:lnTo>
                    <a:pt x="11" y="5"/>
                  </a:lnTo>
                  <a:lnTo>
                    <a:pt x="11" y="5"/>
                  </a:lnTo>
                  <a:lnTo>
                    <a:pt x="11" y="5"/>
                  </a:lnTo>
                  <a:lnTo>
                    <a:pt x="13" y="5"/>
                  </a:lnTo>
                  <a:lnTo>
                    <a:pt x="13" y="5"/>
                  </a:lnTo>
                  <a:lnTo>
                    <a:pt x="13" y="5"/>
                  </a:lnTo>
                  <a:lnTo>
                    <a:pt x="13" y="5"/>
                  </a:lnTo>
                  <a:lnTo>
                    <a:pt x="13" y="6"/>
                  </a:lnTo>
                  <a:lnTo>
                    <a:pt x="14" y="6"/>
                  </a:lnTo>
                  <a:lnTo>
                    <a:pt x="15" y="6"/>
                  </a:lnTo>
                  <a:lnTo>
                    <a:pt x="15" y="6"/>
                  </a:lnTo>
                  <a:lnTo>
                    <a:pt x="15" y="6"/>
                  </a:lnTo>
                  <a:lnTo>
                    <a:pt x="15" y="6"/>
                  </a:lnTo>
                  <a:lnTo>
                    <a:pt x="15" y="6"/>
                  </a:lnTo>
                  <a:lnTo>
                    <a:pt x="16" y="6"/>
                  </a:lnTo>
                  <a:lnTo>
                    <a:pt x="16" y="6"/>
                  </a:lnTo>
                  <a:lnTo>
                    <a:pt x="16" y="6"/>
                  </a:lnTo>
                  <a:lnTo>
                    <a:pt x="16" y="6"/>
                  </a:lnTo>
                  <a:lnTo>
                    <a:pt x="17" y="6"/>
                  </a:lnTo>
                  <a:lnTo>
                    <a:pt x="17" y="6"/>
                  </a:lnTo>
                  <a:lnTo>
                    <a:pt x="17" y="6"/>
                  </a:lnTo>
                  <a:lnTo>
                    <a:pt x="17" y="6"/>
                  </a:lnTo>
                  <a:lnTo>
                    <a:pt x="17" y="6"/>
                  </a:lnTo>
                  <a:lnTo>
                    <a:pt x="17" y="6"/>
                  </a:lnTo>
                  <a:lnTo>
                    <a:pt x="17" y="7"/>
                  </a:lnTo>
                  <a:lnTo>
                    <a:pt x="17" y="7"/>
                  </a:lnTo>
                  <a:lnTo>
                    <a:pt x="18" y="8"/>
                  </a:lnTo>
                  <a:lnTo>
                    <a:pt x="18" y="8"/>
                  </a:lnTo>
                  <a:lnTo>
                    <a:pt x="18" y="8"/>
                  </a:lnTo>
                  <a:lnTo>
                    <a:pt x="18" y="8"/>
                  </a:lnTo>
                  <a:lnTo>
                    <a:pt x="18" y="10"/>
                  </a:lnTo>
                  <a:lnTo>
                    <a:pt x="18" y="10"/>
                  </a:lnTo>
                  <a:lnTo>
                    <a:pt x="18" y="10"/>
                  </a:lnTo>
                  <a:lnTo>
                    <a:pt x="18" y="10"/>
                  </a:lnTo>
                  <a:lnTo>
                    <a:pt x="18" y="10"/>
                  </a:lnTo>
                  <a:lnTo>
                    <a:pt x="18" y="11"/>
                  </a:lnTo>
                  <a:lnTo>
                    <a:pt x="18" y="11"/>
                  </a:lnTo>
                  <a:lnTo>
                    <a:pt x="18" y="11"/>
                  </a:lnTo>
                  <a:lnTo>
                    <a:pt x="18" y="11"/>
                  </a:lnTo>
                  <a:lnTo>
                    <a:pt x="20" y="12"/>
                  </a:lnTo>
                  <a:lnTo>
                    <a:pt x="20" y="12"/>
                  </a:lnTo>
                  <a:lnTo>
                    <a:pt x="20" y="12"/>
                  </a:lnTo>
                  <a:lnTo>
                    <a:pt x="20" y="12"/>
                  </a:lnTo>
                  <a:lnTo>
                    <a:pt x="20" y="12"/>
                  </a:lnTo>
                  <a:lnTo>
                    <a:pt x="20" y="12"/>
                  </a:lnTo>
                  <a:lnTo>
                    <a:pt x="20" y="12"/>
                  </a:lnTo>
                  <a:lnTo>
                    <a:pt x="20" y="12"/>
                  </a:lnTo>
                  <a:lnTo>
                    <a:pt x="20" y="13"/>
                  </a:lnTo>
                  <a:lnTo>
                    <a:pt x="20" y="13"/>
                  </a:lnTo>
                  <a:lnTo>
                    <a:pt x="20" y="13"/>
                  </a:lnTo>
                  <a:lnTo>
                    <a:pt x="20" y="13"/>
                  </a:lnTo>
                  <a:lnTo>
                    <a:pt x="20" y="13"/>
                  </a:lnTo>
                  <a:lnTo>
                    <a:pt x="21" y="13"/>
                  </a:lnTo>
                  <a:lnTo>
                    <a:pt x="21" y="13"/>
                  </a:lnTo>
                  <a:lnTo>
                    <a:pt x="21" y="14"/>
                  </a:lnTo>
                  <a:lnTo>
                    <a:pt x="21" y="14"/>
                  </a:lnTo>
                  <a:lnTo>
                    <a:pt x="21" y="14"/>
                  </a:lnTo>
                  <a:lnTo>
                    <a:pt x="21" y="14"/>
                  </a:lnTo>
                  <a:lnTo>
                    <a:pt x="22" y="14"/>
                  </a:lnTo>
                  <a:lnTo>
                    <a:pt x="22" y="14"/>
                  </a:lnTo>
                  <a:lnTo>
                    <a:pt x="22" y="14"/>
                  </a:lnTo>
                  <a:lnTo>
                    <a:pt x="23" y="14"/>
                  </a:lnTo>
                  <a:lnTo>
                    <a:pt x="23" y="14"/>
                  </a:lnTo>
                  <a:lnTo>
                    <a:pt x="24" y="14"/>
                  </a:lnTo>
                  <a:lnTo>
                    <a:pt x="24" y="14"/>
                  </a:lnTo>
                  <a:lnTo>
                    <a:pt x="24" y="15"/>
                  </a:lnTo>
                  <a:lnTo>
                    <a:pt x="24" y="15"/>
                  </a:lnTo>
                  <a:lnTo>
                    <a:pt x="24" y="15"/>
                  </a:lnTo>
                  <a:lnTo>
                    <a:pt x="24" y="17"/>
                  </a:lnTo>
                  <a:lnTo>
                    <a:pt x="24" y="17"/>
                  </a:lnTo>
                  <a:lnTo>
                    <a:pt x="24" y="17"/>
                  </a:lnTo>
                  <a:lnTo>
                    <a:pt x="23" y="17"/>
                  </a:lnTo>
                  <a:lnTo>
                    <a:pt x="23" y="17"/>
                  </a:lnTo>
                  <a:lnTo>
                    <a:pt x="23" y="17"/>
                  </a:lnTo>
                  <a:lnTo>
                    <a:pt x="23" y="17"/>
                  </a:lnTo>
                  <a:lnTo>
                    <a:pt x="23" y="17"/>
                  </a:lnTo>
                  <a:lnTo>
                    <a:pt x="23" y="17"/>
                  </a:lnTo>
                  <a:lnTo>
                    <a:pt x="22" y="17"/>
                  </a:lnTo>
                  <a:lnTo>
                    <a:pt x="22" y="17"/>
                  </a:lnTo>
                  <a:lnTo>
                    <a:pt x="22" y="17"/>
                  </a:lnTo>
                  <a:lnTo>
                    <a:pt x="22" y="17"/>
                  </a:lnTo>
                  <a:lnTo>
                    <a:pt x="22" y="17"/>
                  </a:lnTo>
                  <a:lnTo>
                    <a:pt x="22" y="17"/>
                  </a:lnTo>
                  <a:lnTo>
                    <a:pt x="22" y="17"/>
                  </a:lnTo>
                  <a:lnTo>
                    <a:pt x="22" y="17"/>
                  </a:lnTo>
                  <a:lnTo>
                    <a:pt x="22" y="17"/>
                  </a:lnTo>
                  <a:lnTo>
                    <a:pt x="21" y="17"/>
                  </a:lnTo>
                  <a:lnTo>
                    <a:pt x="21" y="17"/>
                  </a:lnTo>
                  <a:lnTo>
                    <a:pt x="21" y="17"/>
                  </a:lnTo>
                  <a:lnTo>
                    <a:pt x="21" y="17"/>
                  </a:lnTo>
                  <a:lnTo>
                    <a:pt x="21" y="17"/>
                  </a:lnTo>
                  <a:lnTo>
                    <a:pt x="21" y="15"/>
                  </a:lnTo>
                  <a:lnTo>
                    <a:pt x="21" y="15"/>
                  </a:lnTo>
                  <a:lnTo>
                    <a:pt x="21" y="15"/>
                  </a:lnTo>
                  <a:lnTo>
                    <a:pt x="21" y="15"/>
                  </a:lnTo>
                  <a:lnTo>
                    <a:pt x="21" y="15"/>
                  </a:lnTo>
                  <a:lnTo>
                    <a:pt x="21" y="15"/>
                  </a:lnTo>
                  <a:lnTo>
                    <a:pt x="21" y="15"/>
                  </a:lnTo>
                  <a:lnTo>
                    <a:pt x="20" y="15"/>
                  </a:lnTo>
                  <a:lnTo>
                    <a:pt x="20" y="15"/>
                  </a:lnTo>
                  <a:lnTo>
                    <a:pt x="20" y="15"/>
                  </a:lnTo>
                  <a:lnTo>
                    <a:pt x="20" y="15"/>
                  </a:lnTo>
                  <a:lnTo>
                    <a:pt x="20" y="15"/>
                  </a:lnTo>
                  <a:lnTo>
                    <a:pt x="20" y="15"/>
                  </a:lnTo>
                  <a:lnTo>
                    <a:pt x="20" y="15"/>
                  </a:lnTo>
                  <a:lnTo>
                    <a:pt x="20" y="15"/>
                  </a:lnTo>
                  <a:lnTo>
                    <a:pt x="20" y="15"/>
                  </a:lnTo>
                  <a:lnTo>
                    <a:pt x="20" y="15"/>
                  </a:lnTo>
                  <a:lnTo>
                    <a:pt x="20" y="14"/>
                  </a:lnTo>
                  <a:lnTo>
                    <a:pt x="20" y="14"/>
                  </a:lnTo>
                  <a:lnTo>
                    <a:pt x="18" y="14"/>
                  </a:lnTo>
                  <a:lnTo>
                    <a:pt x="18" y="14"/>
                  </a:lnTo>
                  <a:lnTo>
                    <a:pt x="18" y="14"/>
                  </a:lnTo>
                  <a:lnTo>
                    <a:pt x="20" y="14"/>
                  </a:lnTo>
                  <a:lnTo>
                    <a:pt x="20" y="14"/>
                  </a:lnTo>
                  <a:lnTo>
                    <a:pt x="20" y="13"/>
                  </a:lnTo>
                  <a:lnTo>
                    <a:pt x="18" y="13"/>
                  </a:lnTo>
                  <a:lnTo>
                    <a:pt x="18" y="13"/>
                  </a:lnTo>
                  <a:lnTo>
                    <a:pt x="18" y="13"/>
                  </a:lnTo>
                  <a:lnTo>
                    <a:pt x="18" y="13"/>
                  </a:lnTo>
                  <a:lnTo>
                    <a:pt x="18" y="13"/>
                  </a:lnTo>
                  <a:lnTo>
                    <a:pt x="18" y="13"/>
                  </a:lnTo>
                  <a:lnTo>
                    <a:pt x="18" y="13"/>
                  </a:lnTo>
                  <a:lnTo>
                    <a:pt x="18" y="13"/>
                  </a:lnTo>
                  <a:lnTo>
                    <a:pt x="18" y="12"/>
                  </a:lnTo>
                  <a:lnTo>
                    <a:pt x="18" y="12"/>
                  </a:lnTo>
                  <a:lnTo>
                    <a:pt x="18" y="12"/>
                  </a:lnTo>
                  <a:lnTo>
                    <a:pt x="18" y="12"/>
                  </a:lnTo>
                  <a:lnTo>
                    <a:pt x="18" y="12"/>
                  </a:lnTo>
                  <a:lnTo>
                    <a:pt x="18" y="12"/>
                  </a:lnTo>
                  <a:lnTo>
                    <a:pt x="18" y="12"/>
                  </a:lnTo>
                  <a:lnTo>
                    <a:pt x="18" y="12"/>
                  </a:lnTo>
                  <a:lnTo>
                    <a:pt x="18" y="12"/>
                  </a:lnTo>
                  <a:lnTo>
                    <a:pt x="17" y="12"/>
                  </a:lnTo>
                  <a:lnTo>
                    <a:pt x="17" y="12"/>
                  </a:lnTo>
                  <a:lnTo>
                    <a:pt x="17" y="12"/>
                  </a:lnTo>
                  <a:lnTo>
                    <a:pt x="17" y="12"/>
                  </a:lnTo>
                  <a:lnTo>
                    <a:pt x="17" y="12"/>
                  </a:lnTo>
                  <a:lnTo>
                    <a:pt x="17" y="12"/>
                  </a:lnTo>
                  <a:lnTo>
                    <a:pt x="17" y="12"/>
                  </a:lnTo>
                  <a:lnTo>
                    <a:pt x="17" y="12"/>
                  </a:lnTo>
                  <a:lnTo>
                    <a:pt x="17" y="12"/>
                  </a:lnTo>
                  <a:lnTo>
                    <a:pt x="17" y="11"/>
                  </a:lnTo>
                  <a:lnTo>
                    <a:pt x="17" y="11"/>
                  </a:lnTo>
                  <a:lnTo>
                    <a:pt x="16" y="11"/>
                  </a:lnTo>
                  <a:lnTo>
                    <a:pt x="17" y="11"/>
                  </a:lnTo>
                  <a:lnTo>
                    <a:pt x="17" y="11"/>
                  </a:lnTo>
                  <a:lnTo>
                    <a:pt x="17" y="11"/>
                  </a:lnTo>
                  <a:lnTo>
                    <a:pt x="17" y="11"/>
                  </a:lnTo>
                  <a:lnTo>
                    <a:pt x="17" y="11"/>
                  </a:lnTo>
                  <a:lnTo>
                    <a:pt x="17" y="11"/>
                  </a:lnTo>
                  <a:lnTo>
                    <a:pt x="17" y="11"/>
                  </a:lnTo>
                  <a:lnTo>
                    <a:pt x="16" y="11"/>
                  </a:lnTo>
                  <a:lnTo>
                    <a:pt x="16" y="10"/>
                  </a:lnTo>
                  <a:lnTo>
                    <a:pt x="16" y="11"/>
                  </a:lnTo>
                  <a:lnTo>
                    <a:pt x="16" y="10"/>
                  </a:lnTo>
                  <a:lnTo>
                    <a:pt x="15" y="11"/>
                  </a:lnTo>
                  <a:lnTo>
                    <a:pt x="15" y="11"/>
                  </a:lnTo>
                  <a:lnTo>
                    <a:pt x="14" y="10"/>
                  </a:lnTo>
                  <a:lnTo>
                    <a:pt x="14" y="10"/>
                  </a:lnTo>
                  <a:lnTo>
                    <a:pt x="14" y="10"/>
                  </a:lnTo>
                  <a:lnTo>
                    <a:pt x="14" y="10"/>
                  </a:lnTo>
                  <a:lnTo>
                    <a:pt x="13" y="10"/>
                  </a:lnTo>
                  <a:lnTo>
                    <a:pt x="13" y="10"/>
                  </a:lnTo>
                  <a:lnTo>
                    <a:pt x="13" y="10"/>
                  </a:lnTo>
                  <a:lnTo>
                    <a:pt x="11" y="10"/>
                  </a:lnTo>
                  <a:lnTo>
                    <a:pt x="11" y="10"/>
                  </a:lnTo>
                  <a:lnTo>
                    <a:pt x="11" y="10"/>
                  </a:lnTo>
                  <a:lnTo>
                    <a:pt x="11" y="10"/>
                  </a:lnTo>
                  <a:lnTo>
                    <a:pt x="11" y="10"/>
                  </a:lnTo>
                  <a:lnTo>
                    <a:pt x="11" y="10"/>
                  </a:lnTo>
                  <a:lnTo>
                    <a:pt x="10" y="10"/>
                  </a:lnTo>
                  <a:lnTo>
                    <a:pt x="10" y="10"/>
                  </a:lnTo>
                  <a:lnTo>
                    <a:pt x="10" y="10"/>
                  </a:lnTo>
                  <a:lnTo>
                    <a:pt x="11" y="8"/>
                  </a:lnTo>
                  <a:lnTo>
                    <a:pt x="11" y="8"/>
                  </a:lnTo>
                  <a:lnTo>
                    <a:pt x="11" y="8"/>
                  </a:lnTo>
                  <a:lnTo>
                    <a:pt x="11" y="8"/>
                  </a:lnTo>
                  <a:lnTo>
                    <a:pt x="11" y="8"/>
                  </a:lnTo>
                  <a:lnTo>
                    <a:pt x="11" y="8"/>
                  </a:lnTo>
                  <a:lnTo>
                    <a:pt x="10" y="7"/>
                  </a:lnTo>
                  <a:lnTo>
                    <a:pt x="10" y="7"/>
                  </a:lnTo>
                  <a:lnTo>
                    <a:pt x="10" y="7"/>
                  </a:lnTo>
                  <a:lnTo>
                    <a:pt x="10" y="7"/>
                  </a:lnTo>
                  <a:lnTo>
                    <a:pt x="9" y="7"/>
                  </a:lnTo>
                  <a:lnTo>
                    <a:pt x="9" y="7"/>
                  </a:lnTo>
                  <a:lnTo>
                    <a:pt x="9" y="7"/>
                  </a:lnTo>
                  <a:lnTo>
                    <a:pt x="9" y="6"/>
                  </a:lnTo>
                  <a:lnTo>
                    <a:pt x="9" y="6"/>
                  </a:lnTo>
                  <a:lnTo>
                    <a:pt x="9" y="6"/>
                  </a:lnTo>
                  <a:lnTo>
                    <a:pt x="9" y="6"/>
                  </a:lnTo>
                  <a:lnTo>
                    <a:pt x="9" y="6"/>
                  </a:lnTo>
                  <a:lnTo>
                    <a:pt x="9" y="6"/>
                  </a:lnTo>
                  <a:lnTo>
                    <a:pt x="9" y="6"/>
                  </a:lnTo>
                  <a:lnTo>
                    <a:pt x="8" y="6"/>
                  </a:lnTo>
                  <a:lnTo>
                    <a:pt x="8" y="6"/>
                  </a:lnTo>
                  <a:lnTo>
                    <a:pt x="8" y="6"/>
                  </a:lnTo>
                  <a:lnTo>
                    <a:pt x="8" y="5"/>
                  </a:lnTo>
                  <a:lnTo>
                    <a:pt x="8" y="5"/>
                  </a:lnTo>
                  <a:lnTo>
                    <a:pt x="7" y="5"/>
                  </a:lnTo>
                  <a:lnTo>
                    <a:pt x="7" y="5"/>
                  </a:lnTo>
                  <a:lnTo>
                    <a:pt x="7" y="5"/>
                  </a:lnTo>
                  <a:lnTo>
                    <a:pt x="7" y="5"/>
                  </a:lnTo>
                  <a:lnTo>
                    <a:pt x="7" y="5"/>
                  </a:lnTo>
                  <a:lnTo>
                    <a:pt x="7" y="4"/>
                  </a:lnTo>
                  <a:lnTo>
                    <a:pt x="6" y="4"/>
                  </a:lnTo>
                  <a:lnTo>
                    <a:pt x="4" y="3"/>
                  </a:lnTo>
                  <a:lnTo>
                    <a:pt x="4" y="3"/>
                  </a:lnTo>
                  <a:lnTo>
                    <a:pt x="4" y="3"/>
                  </a:lnTo>
                  <a:lnTo>
                    <a:pt x="4" y="3"/>
                  </a:lnTo>
                  <a:lnTo>
                    <a:pt x="3" y="3"/>
                  </a:lnTo>
                  <a:lnTo>
                    <a:pt x="3" y="3"/>
                  </a:lnTo>
                  <a:lnTo>
                    <a:pt x="3" y="3"/>
                  </a:lnTo>
                  <a:lnTo>
                    <a:pt x="3" y="3"/>
                  </a:lnTo>
                  <a:lnTo>
                    <a:pt x="3" y="3"/>
                  </a:lnTo>
                  <a:lnTo>
                    <a:pt x="2" y="3"/>
                  </a:lnTo>
                  <a:lnTo>
                    <a:pt x="2" y="3"/>
                  </a:lnTo>
                  <a:lnTo>
                    <a:pt x="2" y="3"/>
                  </a:lnTo>
                  <a:lnTo>
                    <a:pt x="2" y="3"/>
                  </a:lnTo>
                  <a:lnTo>
                    <a:pt x="2" y="3"/>
                  </a:lnTo>
                  <a:lnTo>
                    <a:pt x="2" y="3"/>
                  </a:lnTo>
                  <a:lnTo>
                    <a:pt x="2" y="3"/>
                  </a:lnTo>
                  <a:lnTo>
                    <a:pt x="2" y="3"/>
                  </a:lnTo>
                  <a:lnTo>
                    <a:pt x="2" y="3"/>
                  </a:lnTo>
                  <a:lnTo>
                    <a:pt x="2" y="3"/>
                  </a:lnTo>
                  <a:lnTo>
                    <a:pt x="2" y="3"/>
                  </a:lnTo>
                  <a:lnTo>
                    <a:pt x="2" y="4"/>
                  </a:lnTo>
                  <a:lnTo>
                    <a:pt x="1" y="4"/>
                  </a:lnTo>
                  <a:lnTo>
                    <a:pt x="0" y="4"/>
                  </a:lnTo>
                  <a:lnTo>
                    <a:pt x="0" y="4"/>
                  </a:lnTo>
                  <a:lnTo>
                    <a:pt x="0" y="3"/>
                  </a:lnTo>
                  <a:lnTo>
                    <a:pt x="0" y="3"/>
                  </a:lnTo>
                  <a:lnTo>
                    <a:pt x="1" y="3"/>
                  </a:lnTo>
                  <a:lnTo>
                    <a:pt x="1" y="3"/>
                  </a:lnTo>
                  <a:lnTo>
                    <a:pt x="1" y="3"/>
                  </a:lnTo>
                  <a:lnTo>
                    <a:pt x="1" y="3"/>
                  </a:lnTo>
                  <a:lnTo>
                    <a:pt x="1" y="3"/>
                  </a:lnTo>
                  <a:lnTo>
                    <a:pt x="2" y="3"/>
                  </a:lnTo>
                  <a:lnTo>
                    <a:pt x="2" y="3"/>
                  </a:lnTo>
                  <a:lnTo>
                    <a:pt x="2" y="1"/>
                  </a:lnTo>
                  <a:lnTo>
                    <a:pt x="3" y="1"/>
                  </a:lnTo>
                  <a:lnTo>
                    <a:pt x="3" y="1"/>
                  </a:lnTo>
                  <a:lnTo>
                    <a:pt x="3" y="1"/>
                  </a:lnTo>
                  <a:lnTo>
                    <a:pt x="3" y="1"/>
                  </a:lnTo>
                  <a:lnTo>
                    <a:pt x="3" y="1"/>
                  </a:lnTo>
                  <a:lnTo>
                    <a:pt x="3" y="1"/>
                  </a:lnTo>
                  <a:lnTo>
                    <a:pt x="3" y="1"/>
                  </a:lnTo>
                  <a:lnTo>
                    <a:pt x="3" y="1"/>
                  </a:lnTo>
                  <a:lnTo>
                    <a:pt x="3" y="1"/>
                  </a:lnTo>
                  <a:lnTo>
                    <a:pt x="3" y="1"/>
                  </a:lnTo>
                  <a:lnTo>
                    <a:pt x="3" y="1"/>
                  </a:lnTo>
                  <a:lnTo>
                    <a:pt x="3" y="0"/>
                  </a:lnTo>
                  <a:lnTo>
                    <a:pt x="3" y="0"/>
                  </a:lnTo>
                  <a:lnTo>
                    <a:pt x="4" y="0"/>
                  </a:lnTo>
                  <a:lnTo>
                    <a:pt x="4" y="0"/>
                  </a:lnTo>
                  <a:lnTo>
                    <a:pt x="6" y="0"/>
                  </a:lnTo>
                  <a:lnTo>
                    <a:pt x="6" y="0"/>
                  </a:lnTo>
                  <a:lnTo>
                    <a:pt x="6" y="0"/>
                  </a:lnTo>
                  <a:lnTo>
                    <a:pt x="6" y="0"/>
                  </a:lnTo>
                  <a:lnTo>
                    <a:pt x="7" y="0"/>
                  </a:lnTo>
                  <a:lnTo>
                    <a:pt x="7" y="0"/>
                  </a:lnTo>
                  <a:lnTo>
                    <a:pt x="7" y="0"/>
                  </a:lnTo>
                  <a:lnTo>
                    <a:pt x="7" y="0"/>
                  </a:lnTo>
                  <a:lnTo>
                    <a:pt x="7" y="0"/>
                  </a:lnTo>
                  <a:lnTo>
                    <a:pt x="7" y="0"/>
                  </a:lnTo>
                  <a:lnTo>
                    <a:pt x="7" y="1"/>
                  </a:lnTo>
                  <a:lnTo>
                    <a:pt x="7" y="1"/>
                  </a:lnTo>
                  <a:lnTo>
                    <a:pt x="8" y="1"/>
                  </a:lnTo>
                  <a:lnTo>
                    <a:pt x="8" y="1"/>
                  </a:lnTo>
                  <a:lnTo>
                    <a:pt x="8" y="1"/>
                  </a:lnTo>
                  <a:lnTo>
                    <a:pt x="8" y="3"/>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51" name="Freeform 1316">
              <a:extLst>
                <a:ext uri="{FF2B5EF4-FFF2-40B4-BE49-F238E27FC236}">
                  <a16:creationId xmlns:a16="http://schemas.microsoft.com/office/drawing/2014/main" id="{9F9C3CCE-5383-4016-A4B9-CD572948889A}"/>
                </a:ext>
              </a:extLst>
            </p:cNvPr>
            <p:cNvSpPr>
              <a:spLocks/>
            </p:cNvSpPr>
            <p:nvPr/>
          </p:nvSpPr>
          <p:spPr bwMode="auto">
            <a:xfrm>
              <a:off x="6209745" y="2519190"/>
              <a:ext cx="2671" cy="2671"/>
            </a:xfrm>
            <a:custGeom>
              <a:avLst/>
              <a:gdLst>
                <a:gd name="T0" fmla="*/ 2 w 2"/>
                <a:gd name="T1" fmla="*/ 1 h 2"/>
                <a:gd name="T2" fmla="*/ 1 w 2"/>
                <a:gd name="T3" fmla="*/ 1 h 2"/>
                <a:gd name="T4" fmla="*/ 1 w 2"/>
                <a:gd name="T5" fmla="*/ 1 h 2"/>
                <a:gd name="T6" fmla="*/ 1 w 2"/>
                <a:gd name="T7" fmla="*/ 1 h 2"/>
                <a:gd name="T8" fmla="*/ 1 w 2"/>
                <a:gd name="T9" fmla="*/ 2 h 2"/>
                <a:gd name="T10" fmla="*/ 1 w 2"/>
                <a:gd name="T11" fmla="*/ 2 h 2"/>
                <a:gd name="T12" fmla="*/ 1 w 2"/>
                <a:gd name="T13" fmla="*/ 1 h 2"/>
                <a:gd name="T14" fmla="*/ 1 w 2"/>
                <a:gd name="T15" fmla="*/ 1 h 2"/>
                <a:gd name="T16" fmla="*/ 1 w 2"/>
                <a:gd name="T17" fmla="*/ 1 h 2"/>
                <a:gd name="T18" fmla="*/ 0 w 2"/>
                <a:gd name="T19" fmla="*/ 1 h 2"/>
                <a:gd name="T20" fmla="*/ 0 w 2"/>
                <a:gd name="T21" fmla="*/ 1 h 2"/>
                <a:gd name="T22" fmla="*/ 0 w 2"/>
                <a:gd name="T23" fmla="*/ 1 h 2"/>
                <a:gd name="T24" fmla="*/ 0 w 2"/>
                <a:gd name="T25" fmla="*/ 1 h 2"/>
                <a:gd name="T26" fmla="*/ 0 w 2"/>
                <a:gd name="T27" fmla="*/ 1 h 2"/>
                <a:gd name="T28" fmla="*/ 1 w 2"/>
                <a:gd name="T29" fmla="*/ 1 h 2"/>
                <a:gd name="T30" fmla="*/ 1 w 2"/>
                <a:gd name="T31" fmla="*/ 1 h 2"/>
                <a:gd name="T32" fmla="*/ 1 w 2"/>
                <a:gd name="T33" fmla="*/ 1 h 2"/>
                <a:gd name="T34" fmla="*/ 1 w 2"/>
                <a:gd name="T35" fmla="*/ 1 h 2"/>
                <a:gd name="T36" fmla="*/ 1 w 2"/>
                <a:gd name="T37" fmla="*/ 1 h 2"/>
                <a:gd name="T38" fmla="*/ 1 w 2"/>
                <a:gd name="T39" fmla="*/ 0 h 2"/>
                <a:gd name="T40" fmla="*/ 1 w 2"/>
                <a:gd name="T41" fmla="*/ 1 h 2"/>
                <a:gd name="T42" fmla="*/ 1 w 2"/>
                <a:gd name="T43" fmla="*/ 1 h 2"/>
                <a:gd name="T44" fmla="*/ 2 w 2"/>
                <a:gd name="T4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 h="2">
                  <a:moveTo>
                    <a:pt x="2" y="1"/>
                  </a:moveTo>
                  <a:lnTo>
                    <a:pt x="1" y="1"/>
                  </a:lnTo>
                  <a:lnTo>
                    <a:pt x="1" y="1"/>
                  </a:lnTo>
                  <a:lnTo>
                    <a:pt x="1" y="1"/>
                  </a:lnTo>
                  <a:lnTo>
                    <a:pt x="1" y="2"/>
                  </a:lnTo>
                  <a:lnTo>
                    <a:pt x="1" y="2"/>
                  </a:lnTo>
                  <a:lnTo>
                    <a:pt x="1" y="1"/>
                  </a:lnTo>
                  <a:lnTo>
                    <a:pt x="1" y="1"/>
                  </a:lnTo>
                  <a:lnTo>
                    <a:pt x="1" y="1"/>
                  </a:lnTo>
                  <a:lnTo>
                    <a:pt x="0" y="1"/>
                  </a:lnTo>
                  <a:lnTo>
                    <a:pt x="0" y="1"/>
                  </a:lnTo>
                  <a:lnTo>
                    <a:pt x="0" y="1"/>
                  </a:lnTo>
                  <a:lnTo>
                    <a:pt x="0" y="1"/>
                  </a:lnTo>
                  <a:lnTo>
                    <a:pt x="0" y="1"/>
                  </a:lnTo>
                  <a:lnTo>
                    <a:pt x="1" y="1"/>
                  </a:lnTo>
                  <a:lnTo>
                    <a:pt x="1" y="1"/>
                  </a:lnTo>
                  <a:lnTo>
                    <a:pt x="1" y="1"/>
                  </a:lnTo>
                  <a:lnTo>
                    <a:pt x="1" y="1"/>
                  </a:lnTo>
                  <a:lnTo>
                    <a:pt x="1" y="1"/>
                  </a:lnTo>
                  <a:lnTo>
                    <a:pt x="1" y="0"/>
                  </a:lnTo>
                  <a:lnTo>
                    <a:pt x="1" y="1"/>
                  </a:lnTo>
                  <a:lnTo>
                    <a:pt x="1" y="1"/>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52" name="Freeform 1317">
              <a:extLst>
                <a:ext uri="{FF2B5EF4-FFF2-40B4-BE49-F238E27FC236}">
                  <a16:creationId xmlns:a16="http://schemas.microsoft.com/office/drawing/2014/main" id="{CC765E4F-5263-48C4-904F-6D25BF71E247}"/>
                </a:ext>
              </a:extLst>
            </p:cNvPr>
            <p:cNvSpPr>
              <a:spLocks/>
            </p:cNvSpPr>
            <p:nvPr/>
          </p:nvSpPr>
          <p:spPr bwMode="auto">
            <a:xfrm>
              <a:off x="6212416" y="2519190"/>
              <a:ext cx="5342" cy="2671"/>
            </a:xfrm>
            <a:custGeom>
              <a:avLst/>
              <a:gdLst>
                <a:gd name="T0" fmla="*/ 1 w 4"/>
                <a:gd name="T1" fmla="*/ 1 h 2"/>
                <a:gd name="T2" fmla="*/ 1 w 4"/>
                <a:gd name="T3" fmla="*/ 1 h 2"/>
                <a:gd name="T4" fmla="*/ 1 w 4"/>
                <a:gd name="T5" fmla="*/ 1 h 2"/>
                <a:gd name="T6" fmla="*/ 1 w 4"/>
                <a:gd name="T7" fmla="*/ 1 h 2"/>
                <a:gd name="T8" fmla="*/ 1 w 4"/>
                <a:gd name="T9" fmla="*/ 1 h 2"/>
                <a:gd name="T10" fmla="*/ 1 w 4"/>
                <a:gd name="T11" fmla="*/ 1 h 2"/>
                <a:gd name="T12" fmla="*/ 2 w 4"/>
                <a:gd name="T13" fmla="*/ 1 h 2"/>
                <a:gd name="T14" fmla="*/ 2 w 4"/>
                <a:gd name="T15" fmla="*/ 1 h 2"/>
                <a:gd name="T16" fmla="*/ 2 w 4"/>
                <a:gd name="T17" fmla="*/ 2 h 2"/>
                <a:gd name="T18" fmla="*/ 2 w 4"/>
                <a:gd name="T19" fmla="*/ 2 h 2"/>
                <a:gd name="T20" fmla="*/ 2 w 4"/>
                <a:gd name="T21" fmla="*/ 2 h 2"/>
                <a:gd name="T22" fmla="*/ 4 w 4"/>
                <a:gd name="T23" fmla="*/ 2 h 2"/>
                <a:gd name="T24" fmla="*/ 4 w 4"/>
                <a:gd name="T25" fmla="*/ 2 h 2"/>
                <a:gd name="T26" fmla="*/ 2 w 4"/>
                <a:gd name="T27" fmla="*/ 2 h 2"/>
                <a:gd name="T28" fmla="*/ 2 w 4"/>
                <a:gd name="T29" fmla="*/ 2 h 2"/>
                <a:gd name="T30" fmla="*/ 2 w 4"/>
                <a:gd name="T31" fmla="*/ 2 h 2"/>
                <a:gd name="T32" fmla="*/ 2 w 4"/>
                <a:gd name="T33" fmla="*/ 2 h 2"/>
                <a:gd name="T34" fmla="*/ 2 w 4"/>
                <a:gd name="T35" fmla="*/ 2 h 2"/>
                <a:gd name="T36" fmla="*/ 1 w 4"/>
                <a:gd name="T37" fmla="*/ 2 h 2"/>
                <a:gd name="T38" fmla="*/ 1 w 4"/>
                <a:gd name="T39" fmla="*/ 2 h 2"/>
                <a:gd name="T40" fmla="*/ 1 w 4"/>
                <a:gd name="T41" fmla="*/ 2 h 2"/>
                <a:gd name="T42" fmla="*/ 1 w 4"/>
                <a:gd name="T43" fmla="*/ 2 h 2"/>
                <a:gd name="T44" fmla="*/ 1 w 4"/>
                <a:gd name="T45" fmla="*/ 2 h 2"/>
                <a:gd name="T46" fmla="*/ 1 w 4"/>
                <a:gd name="T47" fmla="*/ 2 h 2"/>
                <a:gd name="T48" fmla="*/ 1 w 4"/>
                <a:gd name="T49" fmla="*/ 1 h 2"/>
                <a:gd name="T50" fmla="*/ 1 w 4"/>
                <a:gd name="T51" fmla="*/ 1 h 2"/>
                <a:gd name="T52" fmla="*/ 1 w 4"/>
                <a:gd name="T53" fmla="*/ 1 h 2"/>
                <a:gd name="T54" fmla="*/ 0 w 4"/>
                <a:gd name="T55" fmla="*/ 1 h 2"/>
                <a:gd name="T56" fmla="*/ 0 w 4"/>
                <a:gd name="T57" fmla="*/ 0 h 2"/>
                <a:gd name="T58" fmla="*/ 1 w 4"/>
                <a:gd name="T5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2">
                  <a:moveTo>
                    <a:pt x="1" y="1"/>
                  </a:moveTo>
                  <a:lnTo>
                    <a:pt x="1" y="1"/>
                  </a:lnTo>
                  <a:lnTo>
                    <a:pt x="1" y="1"/>
                  </a:lnTo>
                  <a:lnTo>
                    <a:pt x="1" y="1"/>
                  </a:lnTo>
                  <a:lnTo>
                    <a:pt x="1" y="1"/>
                  </a:lnTo>
                  <a:lnTo>
                    <a:pt x="1" y="1"/>
                  </a:lnTo>
                  <a:lnTo>
                    <a:pt x="2" y="1"/>
                  </a:lnTo>
                  <a:lnTo>
                    <a:pt x="2" y="1"/>
                  </a:lnTo>
                  <a:lnTo>
                    <a:pt x="2" y="2"/>
                  </a:lnTo>
                  <a:lnTo>
                    <a:pt x="2" y="2"/>
                  </a:lnTo>
                  <a:lnTo>
                    <a:pt x="2" y="2"/>
                  </a:lnTo>
                  <a:lnTo>
                    <a:pt x="4" y="2"/>
                  </a:lnTo>
                  <a:lnTo>
                    <a:pt x="4" y="2"/>
                  </a:lnTo>
                  <a:lnTo>
                    <a:pt x="2" y="2"/>
                  </a:lnTo>
                  <a:lnTo>
                    <a:pt x="2" y="2"/>
                  </a:lnTo>
                  <a:lnTo>
                    <a:pt x="2" y="2"/>
                  </a:lnTo>
                  <a:lnTo>
                    <a:pt x="2" y="2"/>
                  </a:lnTo>
                  <a:lnTo>
                    <a:pt x="2" y="2"/>
                  </a:lnTo>
                  <a:lnTo>
                    <a:pt x="1" y="2"/>
                  </a:lnTo>
                  <a:lnTo>
                    <a:pt x="1" y="2"/>
                  </a:lnTo>
                  <a:lnTo>
                    <a:pt x="1" y="2"/>
                  </a:lnTo>
                  <a:lnTo>
                    <a:pt x="1" y="2"/>
                  </a:lnTo>
                  <a:lnTo>
                    <a:pt x="1" y="2"/>
                  </a:lnTo>
                  <a:lnTo>
                    <a:pt x="1" y="2"/>
                  </a:lnTo>
                  <a:lnTo>
                    <a:pt x="1" y="1"/>
                  </a:lnTo>
                  <a:lnTo>
                    <a:pt x="1" y="1"/>
                  </a:lnTo>
                  <a:lnTo>
                    <a:pt x="1" y="1"/>
                  </a:lnTo>
                  <a:lnTo>
                    <a:pt x="0" y="1"/>
                  </a:lnTo>
                  <a:lnTo>
                    <a:pt x="0" y="0"/>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53" name="Freeform 1318">
              <a:extLst>
                <a:ext uri="{FF2B5EF4-FFF2-40B4-BE49-F238E27FC236}">
                  <a16:creationId xmlns:a16="http://schemas.microsoft.com/office/drawing/2014/main" id="{8F571041-8381-4370-8306-C32925120110}"/>
                </a:ext>
              </a:extLst>
            </p:cNvPr>
            <p:cNvSpPr>
              <a:spLocks/>
            </p:cNvSpPr>
            <p:nvPr/>
          </p:nvSpPr>
          <p:spPr bwMode="auto">
            <a:xfrm>
              <a:off x="6153655" y="2519190"/>
              <a:ext cx="1336" cy="1336"/>
            </a:xfrm>
            <a:custGeom>
              <a:avLst/>
              <a:gdLst>
                <a:gd name="T0" fmla="*/ 1 w 1"/>
                <a:gd name="T1" fmla="*/ 1 h 1"/>
                <a:gd name="T2" fmla="*/ 1 w 1"/>
                <a:gd name="T3" fmla="*/ 1 h 1"/>
                <a:gd name="T4" fmla="*/ 1 w 1"/>
                <a:gd name="T5" fmla="*/ 1 h 1"/>
                <a:gd name="T6" fmla="*/ 0 w 1"/>
                <a:gd name="T7" fmla="*/ 1 h 1"/>
                <a:gd name="T8" fmla="*/ 0 w 1"/>
                <a:gd name="T9" fmla="*/ 1 h 1"/>
                <a:gd name="T10" fmla="*/ 0 w 1"/>
                <a:gd name="T11" fmla="*/ 1 h 1"/>
                <a:gd name="T12" fmla="*/ 0 w 1"/>
                <a:gd name="T13" fmla="*/ 0 h 1"/>
                <a:gd name="T14" fmla="*/ 0 w 1"/>
                <a:gd name="T15" fmla="*/ 0 h 1"/>
                <a:gd name="T16" fmla="*/ 0 w 1"/>
                <a:gd name="T17" fmla="*/ 0 h 1"/>
                <a:gd name="T18" fmla="*/ 0 w 1"/>
                <a:gd name="T19" fmla="*/ 0 h 1"/>
                <a:gd name="T20" fmla="*/ 0 w 1"/>
                <a:gd name="T21" fmla="*/ 0 h 1"/>
                <a:gd name="T22" fmla="*/ 1 w 1"/>
                <a:gd name="T2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1">
                  <a:moveTo>
                    <a:pt x="1" y="1"/>
                  </a:moveTo>
                  <a:lnTo>
                    <a:pt x="1" y="1"/>
                  </a:lnTo>
                  <a:lnTo>
                    <a:pt x="1" y="1"/>
                  </a:lnTo>
                  <a:lnTo>
                    <a:pt x="0" y="1"/>
                  </a:lnTo>
                  <a:lnTo>
                    <a:pt x="0" y="1"/>
                  </a:lnTo>
                  <a:lnTo>
                    <a:pt x="0" y="1"/>
                  </a:lnTo>
                  <a:lnTo>
                    <a:pt x="0" y="0"/>
                  </a:lnTo>
                  <a:lnTo>
                    <a:pt x="0" y="0"/>
                  </a:lnTo>
                  <a:lnTo>
                    <a:pt x="0" y="0"/>
                  </a:lnTo>
                  <a:lnTo>
                    <a:pt x="0" y="0"/>
                  </a:lnTo>
                  <a:lnTo>
                    <a:pt x="0" y="0"/>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54" name="Freeform 1319">
              <a:extLst>
                <a:ext uri="{FF2B5EF4-FFF2-40B4-BE49-F238E27FC236}">
                  <a16:creationId xmlns:a16="http://schemas.microsoft.com/office/drawing/2014/main" id="{4A635DF8-8D9F-4610-A6EA-5D18F6E79E6E}"/>
                </a:ext>
              </a:extLst>
            </p:cNvPr>
            <p:cNvSpPr>
              <a:spLocks/>
            </p:cNvSpPr>
            <p:nvPr/>
          </p:nvSpPr>
          <p:spPr bwMode="auto">
            <a:xfrm>
              <a:off x="6217758" y="2517855"/>
              <a:ext cx="2671" cy="2671"/>
            </a:xfrm>
            <a:custGeom>
              <a:avLst/>
              <a:gdLst>
                <a:gd name="T0" fmla="*/ 1 w 2"/>
                <a:gd name="T1" fmla="*/ 2 h 2"/>
                <a:gd name="T2" fmla="*/ 0 w 2"/>
                <a:gd name="T3" fmla="*/ 2 h 2"/>
                <a:gd name="T4" fmla="*/ 0 w 2"/>
                <a:gd name="T5" fmla="*/ 2 h 2"/>
                <a:gd name="T6" fmla="*/ 0 w 2"/>
                <a:gd name="T7" fmla="*/ 2 h 2"/>
                <a:gd name="T8" fmla="*/ 0 w 2"/>
                <a:gd name="T9" fmla="*/ 2 h 2"/>
                <a:gd name="T10" fmla="*/ 1 w 2"/>
                <a:gd name="T11" fmla="*/ 2 h 2"/>
                <a:gd name="T12" fmla="*/ 1 w 2"/>
                <a:gd name="T13" fmla="*/ 1 h 2"/>
                <a:gd name="T14" fmla="*/ 1 w 2"/>
                <a:gd name="T15" fmla="*/ 1 h 2"/>
                <a:gd name="T16" fmla="*/ 1 w 2"/>
                <a:gd name="T17" fmla="*/ 0 h 2"/>
                <a:gd name="T18" fmla="*/ 1 w 2"/>
                <a:gd name="T19" fmla="*/ 0 h 2"/>
                <a:gd name="T20" fmla="*/ 1 w 2"/>
                <a:gd name="T21" fmla="*/ 1 h 2"/>
                <a:gd name="T22" fmla="*/ 1 w 2"/>
                <a:gd name="T23" fmla="*/ 1 h 2"/>
                <a:gd name="T24" fmla="*/ 1 w 2"/>
                <a:gd name="T25" fmla="*/ 1 h 2"/>
                <a:gd name="T26" fmla="*/ 2 w 2"/>
                <a:gd name="T27" fmla="*/ 1 h 2"/>
                <a:gd name="T28" fmla="*/ 1 w 2"/>
                <a:gd name="T29" fmla="*/ 1 h 2"/>
                <a:gd name="T30" fmla="*/ 1 w 2"/>
                <a:gd name="T31" fmla="*/ 1 h 2"/>
                <a:gd name="T32" fmla="*/ 1 w 2"/>
                <a:gd name="T33" fmla="*/ 1 h 2"/>
                <a:gd name="T34" fmla="*/ 1 w 2"/>
                <a:gd name="T35" fmla="*/ 2 h 2"/>
                <a:gd name="T36" fmla="*/ 1 w 2"/>
                <a:gd name="T3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2">
                  <a:moveTo>
                    <a:pt x="1" y="2"/>
                  </a:moveTo>
                  <a:lnTo>
                    <a:pt x="0" y="2"/>
                  </a:lnTo>
                  <a:lnTo>
                    <a:pt x="0" y="2"/>
                  </a:lnTo>
                  <a:lnTo>
                    <a:pt x="0" y="2"/>
                  </a:lnTo>
                  <a:lnTo>
                    <a:pt x="0" y="2"/>
                  </a:lnTo>
                  <a:lnTo>
                    <a:pt x="1" y="2"/>
                  </a:lnTo>
                  <a:lnTo>
                    <a:pt x="1" y="1"/>
                  </a:lnTo>
                  <a:lnTo>
                    <a:pt x="1" y="1"/>
                  </a:lnTo>
                  <a:lnTo>
                    <a:pt x="1" y="0"/>
                  </a:lnTo>
                  <a:lnTo>
                    <a:pt x="1" y="0"/>
                  </a:lnTo>
                  <a:lnTo>
                    <a:pt x="1" y="1"/>
                  </a:lnTo>
                  <a:lnTo>
                    <a:pt x="1" y="1"/>
                  </a:lnTo>
                  <a:lnTo>
                    <a:pt x="1" y="1"/>
                  </a:lnTo>
                  <a:lnTo>
                    <a:pt x="2" y="1"/>
                  </a:lnTo>
                  <a:lnTo>
                    <a:pt x="1" y="1"/>
                  </a:lnTo>
                  <a:lnTo>
                    <a:pt x="1" y="1"/>
                  </a:lnTo>
                  <a:lnTo>
                    <a:pt x="1" y="1"/>
                  </a:lnTo>
                  <a:lnTo>
                    <a:pt x="1" y="2"/>
                  </a:lnTo>
                  <a:lnTo>
                    <a:pt x="1"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55" name="Freeform 1320">
              <a:extLst>
                <a:ext uri="{FF2B5EF4-FFF2-40B4-BE49-F238E27FC236}">
                  <a16:creationId xmlns:a16="http://schemas.microsoft.com/office/drawing/2014/main" id="{2272E2C6-C139-47C9-9F38-56BAC4DF11D7}"/>
                </a:ext>
              </a:extLst>
            </p:cNvPr>
            <p:cNvSpPr>
              <a:spLocks/>
            </p:cNvSpPr>
            <p:nvPr/>
          </p:nvSpPr>
          <p:spPr bwMode="auto">
            <a:xfrm>
              <a:off x="6220429" y="2515184"/>
              <a:ext cx="1336" cy="2671"/>
            </a:xfrm>
            <a:custGeom>
              <a:avLst/>
              <a:gdLst>
                <a:gd name="T0" fmla="*/ 0 w 1"/>
                <a:gd name="T1" fmla="*/ 2 h 2"/>
                <a:gd name="T2" fmla="*/ 1 w 1"/>
                <a:gd name="T3" fmla="*/ 2 h 2"/>
                <a:gd name="T4" fmla="*/ 1 w 1"/>
                <a:gd name="T5" fmla="*/ 2 h 2"/>
                <a:gd name="T6" fmla="*/ 1 w 1"/>
                <a:gd name="T7" fmla="*/ 2 h 2"/>
                <a:gd name="T8" fmla="*/ 1 w 1"/>
                <a:gd name="T9" fmla="*/ 2 h 2"/>
                <a:gd name="T10" fmla="*/ 1 w 1"/>
                <a:gd name="T11" fmla="*/ 2 h 2"/>
                <a:gd name="T12" fmla="*/ 1 w 1"/>
                <a:gd name="T13" fmla="*/ 2 h 2"/>
                <a:gd name="T14" fmla="*/ 1 w 1"/>
                <a:gd name="T15" fmla="*/ 2 h 2"/>
                <a:gd name="T16" fmla="*/ 1 w 1"/>
                <a:gd name="T17" fmla="*/ 2 h 2"/>
                <a:gd name="T18" fmla="*/ 0 w 1"/>
                <a:gd name="T19" fmla="*/ 2 h 2"/>
                <a:gd name="T20" fmla="*/ 0 w 1"/>
                <a:gd name="T21" fmla="*/ 2 h 2"/>
                <a:gd name="T22" fmla="*/ 0 w 1"/>
                <a:gd name="T23" fmla="*/ 2 h 2"/>
                <a:gd name="T24" fmla="*/ 0 w 1"/>
                <a:gd name="T25" fmla="*/ 2 h 2"/>
                <a:gd name="T26" fmla="*/ 0 w 1"/>
                <a:gd name="T27" fmla="*/ 2 h 2"/>
                <a:gd name="T28" fmla="*/ 0 w 1"/>
                <a:gd name="T29" fmla="*/ 2 h 2"/>
                <a:gd name="T30" fmla="*/ 0 w 1"/>
                <a:gd name="T31" fmla="*/ 2 h 2"/>
                <a:gd name="T32" fmla="*/ 0 w 1"/>
                <a:gd name="T33" fmla="*/ 2 h 2"/>
                <a:gd name="T34" fmla="*/ 0 w 1"/>
                <a:gd name="T35" fmla="*/ 0 h 2"/>
                <a:gd name="T36" fmla="*/ 0 w 1"/>
                <a:gd name="T37" fmla="*/ 0 h 2"/>
                <a:gd name="T38" fmla="*/ 0 w 1"/>
                <a:gd name="T3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 h="2">
                  <a:moveTo>
                    <a:pt x="0" y="2"/>
                  </a:moveTo>
                  <a:lnTo>
                    <a:pt x="1" y="2"/>
                  </a:lnTo>
                  <a:lnTo>
                    <a:pt x="1" y="2"/>
                  </a:lnTo>
                  <a:lnTo>
                    <a:pt x="1" y="2"/>
                  </a:lnTo>
                  <a:lnTo>
                    <a:pt x="1" y="2"/>
                  </a:lnTo>
                  <a:lnTo>
                    <a:pt x="1" y="2"/>
                  </a:lnTo>
                  <a:lnTo>
                    <a:pt x="1" y="2"/>
                  </a:lnTo>
                  <a:lnTo>
                    <a:pt x="1" y="2"/>
                  </a:lnTo>
                  <a:lnTo>
                    <a:pt x="1" y="2"/>
                  </a:lnTo>
                  <a:lnTo>
                    <a:pt x="0" y="2"/>
                  </a:lnTo>
                  <a:lnTo>
                    <a:pt x="0" y="2"/>
                  </a:lnTo>
                  <a:lnTo>
                    <a:pt x="0" y="2"/>
                  </a:lnTo>
                  <a:lnTo>
                    <a:pt x="0" y="2"/>
                  </a:lnTo>
                  <a:lnTo>
                    <a:pt x="0" y="2"/>
                  </a:lnTo>
                  <a:lnTo>
                    <a:pt x="0" y="2"/>
                  </a:lnTo>
                  <a:lnTo>
                    <a:pt x="0" y="2"/>
                  </a:lnTo>
                  <a:lnTo>
                    <a:pt x="0" y="2"/>
                  </a:lnTo>
                  <a:lnTo>
                    <a:pt x="0" y="0"/>
                  </a:lnTo>
                  <a:lnTo>
                    <a:pt x="0" y="0"/>
                  </a:lnTo>
                  <a:lnTo>
                    <a:pt x="0"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56" name="Freeform 1321">
              <a:extLst>
                <a:ext uri="{FF2B5EF4-FFF2-40B4-BE49-F238E27FC236}">
                  <a16:creationId xmlns:a16="http://schemas.microsoft.com/office/drawing/2014/main" id="{41E62139-FCD7-4DFD-A2A9-4F45996ABF15}"/>
                </a:ext>
              </a:extLst>
            </p:cNvPr>
            <p:cNvSpPr>
              <a:spLocks/>
            </p:cNvSpPr>
            <p:nvPr/>
          </p:nvSpPr>
          <p:spPr bwMode="auto">
            <a:xfrm>
              <a:off x="6251146" y="2515184"/>
              <a:ext cx="14691" cy="9349"/>
            </a:xfrm>
            <a:custGeom>
              <a:avLst/>
              <a:gdLst>
                <a:gd name="T0" fmla="*/ 7 w 11"/>
                <a:gd name="T1" fmla="*/ 3 h 7"/>
                <a:gd name="T2" fmla="*/ 8 w 11"/>
                <a:gd name="T3" fmla="*/ 3 h 7"/>
                <a:gd name="T4" fmla="*/ 10 w 11"/>
                <a:gd name="T5" fmla="*/ 4 h 7"/>
                <a:gd name="T6" fmla="*/ 10 w 11"/>
                <a:gd name="T7" fmla="*/ 4 h 7"/>
                <a:gd name="T8" fmla="*/ 10 w 11"/>
                <a:gd name="T9" fmla="*/ 5 h 7"/>
                <a:gd name="T10" fmla="*/ 11 w 11"/>
                <a:gd name="T11" fmla="*/ 5 h 7"/>
                <a:gd name="T12" fmla="*/ 11 w 11"/>
                <a:gd name="T13" fmla="*/ 6 h 7"/>
                <a:gd name="T14" fmla="*/ 11 w 11"/>
                <a:gd name="T15" fmla="*/ 6 h 7"/>
                <a:gd name="T16" fmla="*/ 10 w 11"/>
                <a:gd name="T17" fmla="*/ 6 h 7"/>
                <a:gd name="T18" fmla="*/ 10 w 11"/>
                <a:gd name="T19" fmla="*/ 6 h 7"/>
                <a:gd name="T20" fmla="*/ 10 w 11"/>
                <a:gd name="T21" fmla="*/ 6 h 7"/>
                <a:gd name="T22" fmla="*/ 10 w 11"/>
                <a:gd name="T23" fmla="*/ 5 h 7"/>
                <a:gd name="T24" fmla="*/ 10 w 11"/>
                <a:gd name="T25" fmla="*/ 5 h 7"/>
                <a:gd name="T26" fmla="*/ 10 w 11"/>
                <a:gd name="T27" fmla="*/ 5 h 7"/>
                <a:gd name="T28" fmla="*/ 8 w 11"/>
                <a:gd name="T29" fmla="*/ 5 h 7"/>
                <a:gd name="T30" fmla="*/ 10 w 11"/>
                <a:gd name="T31" fmla="*/ 6 h 7"/>
                <a:gd name="T32" fmla="*/ 10 w 11"/>
                <a:gd name="T33" fmla="*/ 6 h 7"/>
                <a:gd name="T34" fmla="*/ 10 w 11"/>
                <a:gd name="T35" fmla="*/ 7 h 7"/>
                <a:gd name="T36" fmla="*/ 8 w 11"/>
                <a:gd name="T37" fmla="*/ 7 h 7"/>
                <a:gd name="T38" fmla="*/ 7 w 11"/>
                <a:gd name="T39" fmla="*/ 7 h 7"/>
                <a:gd name="T40" fmla="*/ 6 w 11"/>
                <a:gd name="T41" fmla="*/ 6 h 7"/>
                <a:gd name="T42" fmla="*/ 5 w 11"/>
                <a:gd name="T43" fmla="*/ 6 h 7"/>
                <a:gd name="T44" fmla="*/ 4 w 11"/>
                <a:gd name="T45" fmla="*/ 5 h 7"/>
                <a:gd name="T46" fmla="*/ 4 w 11"/>
                <a:gd name="T47" fmla="*/ 5 h 7"/>
                <a:gd name="T48" fmla="*/ 5 w 11"/>
                <a:gd name="T49" fmla="*/ 5 h 7"/>
                <a:gd name="T50" fmla="*/ 5 w 11"/>
                <a:gd name="T51" fmla="*/ 5 h 7"/>
                <a:gd name="T52" fmla="*/ 5 w 11"/>
                <a:gd name="T53" fmla="*/ 5 h 7"/>
                <a:gd name="T54" fmla="*/ 6 w 11"/>
                <a:gd name="T55" fmla="*/ 4 h 7"/>
                <a:gd name="T56" fmla="*/ 6 w 11"/>
                <a:gd name="T57" fmla="*/ 4 h 7"/>
                <a:gd name="T58" fmla="*/ 6 w 11"/>
                <a:gd name="T59" fmla="*/ 4 h 7"/>
                <a:gd name="T60" fmla="*/ 5 w 11"/>
                <a:gd name="T61" fmla="*/ 4 h 7"/>
                <a:gd name="T62" fmla="*/ 5 w 11"/>
                <a:gd name="T63" fmla="*/ 4 h 7"/>
                <a:gd name="T64" fmla="*/ 4 w 11"/>
                <a:gd name="T65" fmla="*/ 5 h 7"/>
                <a:gd name="T66" fmla="*/ 4 w 11"/>
                <a:gd name="T67" fmla="*/ 5 h 7"/>
                <a:gd name="T68" fmla="*/ 1 w 11"/>
                <a:gd name="T69" fmla="*/ 5 h 7"/>
                <a:gd name="T70" fmla="*/ 1 w 11"/>
                <a:gd name="T71" fmla="*/ 4 h 7"/>
                <a:gd name="T72" fmla="*/ 0 w 11"/>
                <a:gd name="T73" fmla="*/ 4 h 7"/>
                <a:gd name="T74" fmla="*/ 0 w 11"/>
                <a:gd name="T75" fmla="*/ 4 h 7"/>
                <a:gd name="T76" fmla="*/ 0 w 11"/>
                <a:gd name="T77" fmla="*/ 3 h 7"/>
                <a:gd name="T78" fmla="*/ 0 w 11"/>
                <a:gd name="T79" fmla="*/ 3 h 7"/>
                <a:gd name="T80" fmla="*/ 0 w 11"/>
                <a:gd name="T81" fmla="*/ 3 h 7"/>
                <a:gd name="T82" fmla="*/ 1 w 11"/>
                <a:gd name="T83" fmla="*/ 3 h 7"/>
                <a:gd name="T84" fmla="*/ 1 w 11"/>
                <a:gd name="T85" fmla="*/ 2 h 7"/>
                <a:gd name="T86" fmla="*/ 3 w 11"/>
                <a:gd name="T87" fmla="*/ 3 h 7"/>
                <a:gd name="T88" fmla="*/ 3 w 11"/>
                <a:gd name="T89" fmla="*/ 2 h 7"/>
                <a:gd name="T90" fmla="*/ 3 w 11"/>
                <a:gd name="T91" fmla="*/ 2 h 7"/>
                <a:gd name="T92" fmla="*/ 4 w 11"/>
                <a:gd name="T93" fmla="*/ 2 h 7"/>
                <a:gd name="T94" fmla="*/ 4 w 11"/>
                <a:gd name="T95" fmla="*/ 2 h 7"/>
                <a:gd name="T96" fmla="*/ 5 w 11"/>
                <a:gd name="T97" fmla="*/ 2 h 7"/>
                <a:gd name="T98" fmla="*/ 7 w 11"/>
                <a:gd name="T99" fmla="*/ 0 h 7"/>
                <a:gd name="T100" fmla="*/ 7 w 11"/>
                <a:gd name="T101"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 h="7">
                  <a:moveTo>
                    <a:pt x="7" y="2"/>
                  </a:moveTo>
                  <a:lnTo>
                    <a:pt x="7" y="3"/>
                  </a:lnTo>
                  <a:lnTo>
                    <a:pt x="7" y="3"/>
                  </a:lnTo>
                  <a:lnTo>
                    <a:pt x="8" y="3"/>
                  </a:lnTo>
                  <a:lnTo>
                    <a:pt x="8" y="3"/>
                  </a:lnTo>
                  <a:lnTo>
                    <a:pt x="8" y="3"/>
                  </a:lnTo>
                  <a:lnTo>
                    <a:pt x="8" y="3"/>
                  </a:lnTo>
                  <a:lnTo>
                    <a:pt x="10" y="4"/>
                  </a:lnTo>
                  <a:lnTo>
                    <a:pt x="10" y="4"/>
                  </a:lnTo>
                  <a:lnTo>
                    <a:pt x="10" y="4"/>
                  </a:lnTo>
                  <a:lnTo>
                    <a:pt x="10" y="4"/>
                  </a:lnTo>
                  <a:lnTo>
                    <a:pt x="10" y="4"/>
                  </a:lnTo>
                  <a:lnTo>
                    <a:pt x="10" y="4"/>
                  </a:lnTo>
                  <a:lnTo>
                    <a:pt x="10" y="5"/>
                  </a:lnTo>
                  <a:lnTo>
                    <a:pt x="10" y="5"/>
                  </a:lnTo>
                  <a:lnTo>
                    <a:pt x="10" y="5"/>
                  </a:lnTo>
                  <a:lnTo>
                    <a:pt x="10" y="5"/>
                  </a:lnTo>
                  <a:lnTo>
                    <a:pt x="11" y="5"/>
                  </a:lnTo>
                  <a:lnTo>
                    <a:pt x="11" y="5"/>
                  </a:lnTo>
                  <a:lnTo>
                    <a:pt x="11" y="5"/>
                  </a:lnTo>
                  <a:lnTo>
                    <a:pt x="11" y="6"/>
                  </a:lnTo>
                  <a:lnTo>
                    <a:pt x="11" y="6"/>
                  </a:lnTo>
                  <a:lnTo>
                    <a:pt x="11" y="6"/>
                  </a:lnTo>
                  <a:lnTo>
                    <a:pt x="11" y="6"/>
                  </a:lnTo>
                  <a:lnTo>
                    <a:pt x="11" y="6"/>
                  </a:lnTo>
                  <a:lnTo>
                    <a:pt x="11" y="6"/>
                  </a:lnTo>
                  <a:lnTo>
                    <a:pt x="10" y="6"/>
                  </a:lnTo>
                  <a:lnTo>
                    <a:pt x="10" y="6"/>
                  </a:lnTo>
                  <a:lnTo>
                    <a:pt x="10" y="6"/>
                  </a:lnTo>
                  <a:lnTo>
                    <a:pt x="10" y="6"/>
                  </a:lnTo>
                  <a:lnTo>
                    <a:pt x="10" y="6"/>
                  </a:lnTo>
                  <a:lnTo>
                    <a:pt x="10" y="6"/>
                  </a:lnTo>
                  <a:lnTo>
                    <a:pt x="10" y="6"/>
                  </a:lnTo>
                  <a:lnTo>
                    <a:pt x="10" y="6"/>
                  </a:lnTo>
                  <a:lnTo>
                    <a:pt x="10" y="6"/>
                  </a:lnTo>
                  <a:lnTo>
                    <a:pt x="10" y="5"/>
                  </a:lnTo>
                  <a:lnTo>
                    <a:pt x="10" y="5"/>
                  </a:lnTo>
                  <a:lnTo>
                    <a:pt x="10" y="5"/>
                  </a:lnTo>
                  <a:lnTo>
                    <a:pt x="10" y="5"/>
                  </a:lnTo>
                  <a:lnTo>
                    <a:pt x="10" y="5"/>
                  </a:lnTo>
                  <a:lnTo>
                    <a:pt x="10" y="5"/>
                  </a:lnTo>
                  <a:lnTo>
                    <a:pt x="10" y="5"/>
                  </a:lnTo>
                  <a:lnTo>
                    <a:pt x="8" y="5"/>
                  </a:lnTo>
                  <a:lnTo>
                    <a:pt x="8" y="5"/>
                  </a:lnTo>
                  <a:lnTo>
                    <a:pt x="8" y="5"/>
                  </a:lnTo>
                  <a:lnTo>
                    <a:pt x="10" y="6"/>
                  </a:lnTo>
                  <a:lnTo>
                    <a:pt x="10" y="6"/>
                  </a:lnTo>
                  <a:lnTo>
                    <a:pt x="10" y="6"/>
                  </a:lnTo>
                  <a:lnTo>
                    <a:pt x="10" y="6"/>
                  </a:lnTo>
                  <a:lnTo>
                    <a:pt x="10" y="6"/>
                  </a:lnTo>
                  <a:lnTo>
                    <a:pt x="10" y="6"/>
                  </a:lnTo>
                  <a:lnTo>
                    <a:pt x="10" y="6"/>
                  </a:lnTo>
                  <a:lnTo>
                    <a:pt x="10" y="7"/>
                  </a:lnTo>
                  <a:lnTo>
                    <a:pt x="10" y="7"/>
                  </a:lnTo>
                  <a:lnTo>
                    <a:pt x="10" y="7"/>
                  </a:lnTo>
                  <a:lnTo>
                    <a:pt x="8" y="7"/>
                  </a:lnTo>
                  <a:lnTo>
                    <a:pt x="8" y="7"/>
                  </a:lnTo>
                  <a:lnTo>
                    <a:pt x="8" y="7"/>
                  </a:lnTo>
                  <a:lnTo>
                    <a:pt x="7" y="7"/>
                  </a:lnTo>
                  <a:lnTo>
                    <a:pt x="7" y="7"/>
                  </a:lnTo>
                  <a:lnTo>
                    <a:pt x="7" y="6"/>
                  </a:lnTo>
                  <a:lnTo>
                    <a:pt x="6" y="6"/>
                  </a:lnTo>
                  <a:lnTo>
                    <a:pt x="6" y="6"/>
                  </a:lnTo>
                  <a:lnTo>
                    <a:pt x="5" y="6"/>
                  </a:lnTo>
                  <a:lnTo>
                    <a:pt x="5" y="6"/>
                  </a:lnTo>
                  <a:lnTo>
                    <a:pt x="5" y="6"/>
                  </a:lnTo>
                  <a:lnTo>
                    <a:pt x="5" y="5"/>
                  </a:lnTo>
                  <a:lnTo>
                    <a:pt x="4" y="5"/>
                  </a:lnTo>
                  <a:lnTo>
                    <a:pt x="4" y="5"/>
                  </a:lnTo>
                  <a:lnTo>
                    <a:pt x="4" y="5"/>
                  </a:lnTo>
                  <a:lnTo>
                    <a:pt x="4" y="5"/>
                  </a:lnTo>
                  <a:lnTo>
                    <a:pt x="4" y="5"/>
                  </a:lnTo>
                  <a:lnTo>
                    <a:pt x="4" y="5"/>
                  </a:lnTo>
                  <a:lnTo>
                    <a:pt x="5" y="5"/>
                  </a:lnTo>
                  <a:lnTo>
                    <a:pt x="5" y="5"/>
                  </a:lnTo>
                  <a:lnTo>
                    <a:pt x="5" y="5"/>
                  </a:lnTo>
                  <a:lnTo>
                    <a:pt x="5" y="5"/>
                  </a:lnTo>
                  <a:lnTo>
                    <a:pt x="5" y="5"/>
                  </a:lnTo>
                  <a:lnTo>
                    <a:pt x="5" y="5"/>
                  </a:lnTo>
                  <a:lnTo>
                    <a:pt x="5" y="5"/>
                  </a:lnTo>
                  <a:lnTo>
                    <a:pt x="5" y="5"/>
                  </a:lnTo>
                  <a:lnTo>
                    <a:pt x="6" y="5"/>
                  </a:lnTo>
                  <a:lnTo>
                    <a:pt x="6" y="5"/>
                  </a:lnTo>
                  <a:lnTo>
                    <a:pt x="6" y="4"/>
                  </a:lnTo>
                  <a:lnTo>
                    <a:pt x="6" y="4"/>
                  </a:lnTo>
                  <a:lnTo>
                    <a:pt x="6" y="4"/>
                  </a:lnTo>
                  <a:lnTo>
                    <a:pt x="6" y="4"/>
                  </a:lnTo>
                  <a:lnTo>
                    <a:pt x="6" y="4"/>
                  </a:lnTo>
                  <a:lnTo>
                    <a:pt x="6" y="4"/>
                  </a:lnTo>
                  <a:lnTo>
                    <a:pt x="6" y="4"/>
                  </a:lnTo>
                  <a:lnTo>
                    <a:pt x="6" y="4"/>
                  </a:lnTo>
                  <a:lnTo>
                    <a:pt x="6" y="4"/>
                  </a:lnTo>
                  <a:lnTo>
                    <a:pt x="5" y="4"/>
                  </a:lnTo>
                  <a:lnTo>
                    <a:pt x="5" y="4"/>
                  </a:lnTo>
                  <a:lnTo>
                    <a:pt x="5" y="4"/>
                  </a:lnTo>
                  <a:lnTo>
                    <a:pt x="5" y="4"/>
                  </a:lnTo>
                  <a:lnTo>
                    <a:pt x="5" y="4"/>
                  </a:lnTo>
                  <a:lnTo>
                    <a:pt x="5" y="4"/>
                  </a:lnTo>
                  <a:lnTo>
                    <a:pt x="4" y="5"/>
                  </a:lnTo>
                  <a:lnTo>
                    <a:pt x="4" y="5"/>
                  </a:lnTo>
                  <a:lnTo>
                    <a:pt x="4" y="5"/>
                  </a:lnTo>
                  <a:lnTo>
                    <a:pt x="4" y="5"/>
                  </a:lnTo>
                  <a:lnTo>
                    <a:pt x="3" y="5"/>
                  </a:lnTo>
                  <a:lnTo>
                    <a:pt x="3" y="5"/>
                  </a:lnTo>
                  <a:lnTo>
                    <a:pt x="1" y="5"/>
                  </a:lnTo>
                  <a:lnTo>
                    <a:pt x="1" y="5"/>
                  </a:lnTo>
                  <a:lnTo>
                    <a:pt x="1" y="4"/>
                  </a:lnTo>
                  <a:lnTo>
                    <a:pt x="1" y="4"/>
                  </a:lnTo>
                  <a:lnTo>
                    <a:pt x="1" y="4"/>
                  </a:lnTo>
                  <a:lnTo>
                    <a:pt x="0" y="4"/>
                  </a:lnTo>
                  <a:lnTo>
                    <a:pt x="0" y="4"/>
                  </a:lnTo>
                  <a:lnTo>
                    <a:pt x="0" y="4"/>
                  </a:lnTo>
                  <a:lnTo>
                    <a:pt x="0" y="4"/>
                  </a:lnTo>
                  <a:lnTo>
                    <a:pt x="0" y="4"/>
                  </a:lnTo>
                  <a:lnTo>
                    <a:pt x="0" y="3"/>
                  </a:lnTo>
                  <a:lnTo>
                    <a:pt x="0" y="3"/>
                  </a:lnTo>
                  <a:lnTo>
                    <a:pt x="0" y="3"/>
                  </a:lnTo>
                  <a:lnTo>
                    <a:pt x="0" y="3"/>
                  </a:lnTo>
                  <a:lnTo>
                    <a:pt x="0" y="3"/>
                  </a:lnTo>
                  <a:lnTo>
                    <a:pt x="0" y="3"/>
                  </a:lnTo>
                  <a:lnTo>
                    <a:pt x="0" y="3"/>
                  </a:lnTo>
                  <a:lnTo>
                    <a:pt x="0" y="3"/>
                  </a:lnTo>
                  <a:lnTo>
                    <a:pt x="0" y="3"/>
                  </a:lnTo>
                  <a:lnTo>
                    <a:pt x="0" y="3"/>
                  </a:lnTo>
                  <a:lnTo>
                    <a:pt x="1" y="3"/>
                  </a:lnTo>
                  <a:lnTo>
                    <a:pt x="1" y="3"/>
                  </a:lnTo>
                  <a:lnTo>
                    <a:pt x="1" y="3"/>
                  </a:lnTo>
                  <a:lnTo>
                    <a:pt x="1" y="2"/>
                  </a:lnTo>
                  <a:lnTo>
                    <a:pt x="1" y="2"/>
                  </a:lnTo>
                  <a:lnTo>
                    <a:pt x="1" y="2"/>
                  </a:lnTo>
                  <a:lnTo>
                    <a:pt x="1" y="3"/>
                  </a:lnTo>
                  <a:lnTo>
                    <a:pt x="3" y="3"/>
                  </a:lnTo>
                  <a:lnTo>
                    <a:pt x="3" y="2"/>
                  </a:lnTo>
                  <a:lnTo>
                    <a:pt x="3" y="3"/>
                  </a:lnTo>
                  <a:lnTo>
                    <a:pt x="3" y="2"/>
                  </a:lnTo>
                  <a:lnTo>
                    <a:pt x="3" y="2"/>
                  </a:lnTo>
                  <a:lnTo>
                    <a:pt x="3" y="2"/>
                  </a:lnTo>
                  <a:lnTo>
                    <a:pt x="3" y="2"/>
                  </a:lnTo>
                  <a:lnTo>
                    <a:pt x="4" y="2"/>
                  </a:lnTo>
                  <a:lnTo>
                    <a:pt x="4" y="2"/>
                  </a:lnTo>
                  <a:lnTo>
                    <a:pt x="4" y="2"/>
                  </a:lnTo>
                  <a:lnTo>
                    <a:pt x="4" y="2"/>
                  </a:lnTo>
                  <a:lnTo>
                    <a:pt x="4" y="2"/>
                  </a:lnTo>
                  <a:lnTo>
                    <a:pt x="4" y="2"/>
                  </a:lnTo>
                  <a:lnTo>
                    <a:pt x="5" y="2"/>
                  </a:lnTo>
                  <a:lnTo>
                    <a:pt x="5" y="2"/>
                  </a:lnTo>
                  <a:lnTo>
                    <a:pt x="5" y="2"/>
                  </a:lnTo>
                  <a:lnTo>
                    <a:pt x="5" y="0"/>
                  </a:lnTo>
                  <a:lnTo>
                    <a:pt x="7" y="0"/>
                  </a:lnTo>
                  <a:lnTo>
                    <a:pt x="7" y="0"/>
                  </a:lnTo>
                  <a:lnTo>
                    <a:pt x="7" y="2"/>
                  </a:lnTo>
                  <a:lnTo>
                    <a:pt x="7" y="2"/>
                  </a:lnTo>
                  <a:lnTo>
                    <a:pt x="7" y="2"/>
                  </a:lnTo>
                  <a:lnTo>
                    <a:pt x="8" y="2"/>
                  </a:lnTo>
                  <a:lnTo>
                    <a:pt x="7"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57" name="Freeform 1322">
              <a:extLst>
                <a:ext uri="{FF2B5EF4-FFF2-40B4-BE49-F238E27FC236}">
                  <a16:creationId xmlns:a16="http://schemas.microsoft.com/office/drawing/2014/main" id="{6329583B-B1D4-474F-9A69-C97D88ABF2EC}"/>
                </a:ext>
              </a:extLst>
            </p:cNvPr>
            <p:cNvSpPr>
              <a:spLocks/>
            </p:cNvSpPr>
            <p:nvPr/>
          </p:nvSpPr>
          <p:spPr bwMode="auto">
            <a:xfrm>
              <a:off x="6236455" y="2512513"/>
              <a:ext cx="1336" cy="1336"/>
            </a:xfrm>
            <a:custGeom>
              <a:avLst/>
              <a:gdLst>
                <a:gd name="T0" fmla="*/ 1 w 1"/>
                <a:gd name="T1" fmla="*/ 1 h 1"/>
                <a:gd name="T2" fmla="*/ 0 w 1"/>
                <a:gd name="T3" fmla="*/ 1 h 1"/>
                <a:gd name="T4" fmla="*/ 0 w 1"/>
                <a:gd name="T5" fmla="*/ 0 h 1"/>
                <a:gd name="T6" fmla="*/ 0 w 1"/>
                <a:gd name="T7" fmla="*/ 0 h 1"/>
                <a:gd name="T8" fmla="*/ 1 w 1"/>
                <a:gd name="T9" fmla="*/ 0 h 1"/>
                <a:gd name="T10" fmla="*/ 0 w 1"/>
                <a:gd name="T11" fmla="*/ 0 h 1"/>
                <a:gd name="T12" fmla="*/ 0 w 1"/>
                <a:gd name="T13" fmla="*/ 0 h 1"/>
                <a:gd name="T14" fmla="*/ 1 w 1"/>
                <a:gd name="T15" fmla="*/ 0 h 1"/>
                <a:gd name="T16" fmla="*/ 1 w 1"/>
                <a:gd name="T17" fmla="*/ 0 h 1"/>
                <a:gd name="T18" fmla="*/ 1 w 1"/>
                <a:gd name="T19" fmla="*/ 0 h 1"/>
                <a:gd name="T20" fmla="*/ 1 w 1"/>
                <a:gd name="T21" fmla="*/ 0 h 1"/>
                <a:gd name="T22" fmla="*/ 1 w 1"/>
                <a:gd name="T2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1">
                  <a:moveTo>
                    <a:pt x="1" y="1"/>
                  </a:moveTo>
                  <a:lnTo>
                    <a:pt x="0" y="1"/>
                  </a:lnTo>
                  <a:lnTo>
                    <a:pt x="0" y="0"/>
                  </a:lnTo>
                  <a:lnTo>
                    <a:pt x="0" y="0"/>
                  </a:lnTo>
                  <a:lnTo>
                    <a:pt x="1" y="0"/>
                  </a:lnTo>
                  <a:lnTo>
                    <a:pt x="0" y="0"/>
                  </a:lnTo>
                  <a:lnTo>
                    <a:pt x="0" y="0"/>
                  </a:lnTo>
                  <a:lnTo>
                    <a:pt x="1" y="0"/>
                  </a:lnTo>
                  <a:lnTo>
                    <a:pt x="1" y="0"/>
                  </a:lnTo>
                  <a:lnTo>
                    <a:pt x="1" y="0"/>
                  </a:lnTo>
                  <a:lnTo>
                    <a:pt x="1" y="0"/>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58" name="Freeform 1323">
              <a:extLst>
                <a:ext uri="{FF2B5EF4-FFF2-40B4-BE49-F238E27FC236}">
                  <a16:creationId xmlns:a16="http://schemas.microsoft.com/office/drawing/2014/main" id="{EDC5D664-31F5-404F-8833-D1CBF129ABA0}"/>
                </a:ext>
              </a:extLst>
            </p:cNvPr>
            <p:cNvSpPr>
              <a:spLocks/>
            </p:cNvSpPr>
            <p:nvPr/>
          </p:nvSpPr>
          <p:spPr bwMode="auto">
            <a:xfrm>
              <a:off x="6144307" y="2505835"/>
              <a:ext cx="9349" cy="9349"/>
            </a:xfrm>
            <a:custGeom>
              <a:avLst/>
              <a:gdLst>
                <a:gd name="T0" fmla="*/ 3 w 7"/>
                <a:gd name="T1" fmla="*/ 2 h 7"/>
                <a:gd name="T2" fmla="*/ 3 w 7"/>
                <a:gd name="T3" fmla="*/ 2 h 7"/>
                <a:gd name="T4" fmla="*/ 3 w 7"/>
                <a:gd name="T5" fmla="*/ 2 h 7"/>
                <a:gd name="T6" fmla="*/ 3 w 7"/>
                <a:gd name="T7" fmla="*/ 2 h 7"/>
                <a:gd name="T8" fmla="*/ 2 w 7"/>
                <a:gd name="T9" fmla="*/ 3 h 7"/>
                <a:gd name="T10" fmla="*/ 2 w 7"/>
                <a:gd name="T11" fmla="*/ 3 h 7"/>
                <a:gd name="T12" fmla="*/ 3 w 7"/>
                <a:gd name="T13" fmla="*/ 3 h 7"/>
                <a:gd name="T14" fmla="*/ 2 w 7"/>
                <a:gd name="T15" fmla="*/ 3 h 7"/>
                <a:gd name="T16" fmla="*/ 3 w 7"/>
                <a:gd name="T17" fmla="*/ 4 h 7"/>
                <a:gd name="T18" fmla="*/ 3 w 7"/>
                <a:gd name="T19" fmla="*/ 4 h 7"/>
                <a:gd name="T20" fmla="*/ 3 w 7"/>
                <a:gd name="T21" fmla="*/ 4 h 7"/>
                <a:gd name="T22" fmla="*/ 5 w 7"/>
                <a:gd name="T23" fmla="*/ 6 h 7"/>
                <a:gd name="T24" fmla="*/ 5 w 7"/>
                <a:gd name="T25" fmla="*/ 6 h 7"/>
                <a:gd name="T26" fmla="*/ 5 w 7"/>
                <a:gd name="T27" fmla="*/ 6 h 7"/>
                <a:gd name="T28" fmla="*/ 6 w 7"/>
                <a:gd name="T29" fmla="*/ 6 h 7"/>
                <a:gd name="T30" fmla="*/ 6 w 7"/>
                <a:gd name="T31" fmla="*/ 6 h 7"/>
                <a:gd name="T32" fmla="*/ 6 w 7"/>
                <a:gd name="T33" fmla="*/ 6 h 7"/>
                <a:gd name="T34" fmla="*/ 6 w 7"/>
                <a:gd name="T35" fmla="*/ 7 h 7"/>
                <a:gd name="T36" fmla="*/ 7 w 7"/>
                <a:gd name="T37" fmla="*/ 7 h 7"/>
                <a:gd name="T38" fmla="*/ 7 w 7"/>
                <a:gd name="T39" fmla="*/ 7 h 7"/>
                <a:gd name="T40" fmla="*/ 6 w 7"/>
                <a:gd name="T41" fmla="*/ 7 h 7"/>
                <a:gd name="T42" fmla="*/ 6 w 7"/>
                <a:gd name="T43" fmla="*/ 7 h 7"/>
                <a:gd name="T44" fmla="*/ 6 w 7"/>
                <a:gd name="T45" fmla="*/ 7 h 7"/>
                <a:gd name="T46" fmla="*/ 5 w 7"/>
                <a:gd name="T47" fmla="*/ 7 h 7"/>
                <a:gd name="T48" fmla="*/ 5 w 7"/>
                <a:gd name="T49" fmla="*/ 7 h 7"/>
                <a:gd name="T50" fmla="*/ 3 w 7"/>
                <a:gd name="T51" fmla="*/ 7 h 7"/>
                <a:gd name="T52" fmla="*/ 3 w 7"/>
                <a:gd name="T53" fmla="*/ 6 h 7"/>
                <a:gd name="T54" fmla="*/ 3 w 7"/>
                <a:gd name="T55" fmla="*/ 6 h 7"/>
                <a:gd name="T56" fmla="*/ 3 w 7"/>
                <a:gd name="T57" fmla="*/ 6 h 7"/>
                <a:gd name="T58" fmla="*/ 3 w 7"/>
                <a:gd name="T59" fmla="*/ 6 h 7"/>
                <a:gd name="T60" fmla="*/ 3 w 7"/>
                <a:gd name="T61" fmla="*/ 6 h 7"/>
                <a:gd name="T62" fmla="*/ 3 w 7"/>
                <a:gd name="T63" fmla="*/ 6 h 7"/>
                <a:gd name="T64" fmla="*/ 2 w 7"/>
                <a:gd name="T65" fmla="*/ 5 h 7"/>
                <a:gd name="T66" fmla="*/ 2 w 7"/>
                <a:gd name="T67" fmla="*/ 4 h 7"/>
                <a:gd name="T68" fmla="*/ 1 w 7"/>
                <a:gd name="T69" fmla="*/ 4 h 7"/>
                <a:gd name="T70" fmla="*/ 1 w 7"/>
                <a:gd name="T71" fmla="*/ 3 h 7"/>
                <a:gd name="T72" fmla="*/ 1 w 7"/>
                <a:gd name="T73" fmla="*/ 3 h 7"/>
                <a:gd name="T74" fmla="*/ 1 w 7"/>
                <a:gd name="T75" fmla="*/ 3 h 7"/>
                <a:gd name="T76" fmla="*/ 0 w 7"/>
                <a:gd name="T77" fmla="*/ 3 h 7"/>
                <a:gd name="T78" fmla="*/ 0 w 7"/>
                <a:gd name="T79" fmla="*/ 3 h 7"/>
                <a:gd name="T80" fmla="*/ 0 w 7"/>
                <a:gd name="T81" fmla="*/ 2 h 7"/>
                <a:gd name="T82" fmla="*/ 0 w 7"/>
                <a:gd name="T83" fmla="*/ 2 h 7"/>
                <a:gd name="T84" fmla="*/ 0 w 7"/>
                <a:gd name="T85" fmla="*/ 2 h 7"/>
                <a:gd name="T86" fmla="*/ 0 w 7"/>
                <a:gd name="T87" fmla="*/ 2 h 7"/>
                <a:gd name="T88" fmla="*/ 2 w 7"/>
                <a:gd name="T89" fmla="*/ 2 h 7"/>
                <a:gd name="T90" fmla="*/ 2 w 7"/>
                <a:gd name="T91" fmla="*/ 0 h 7"/>
                <a:gd name="T92" fmla="*/ 3 w 7"/>
                <a:gd name="T93" fmla="*/ 0 h 7"/>
                <a:gd name="T94" fmla="*/ 3 w 7"/>
                <a:gd name="T95" fmla="*/ 2 h 7"/>
                <a:gd name="T96" fmla="*/ 3 w 7"/>
                <a:gd name="T9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 h="7">
                  <a:moveTo>
                    <a:pt x="3" y="2"/>
                  </a:moveTo>
                  <a:lnTo>
                    <a:pt x="3" y="2"/>
                  </a:lnTo>
                  <a:lnTo>
                    <a:pt x="3" y="2"/>
                  </a:lnTo>
                  <a:lnTo>
                    <a:pt x="3" y="2"/>
                  </a:lnTo>
                  <a:lnTo>
                    <a:pt x="3" y="2"/>
                  </a:lnTo>
                  <a:lnTo>
                    <a:pt x="3" y="2"/>
                  </a:lnTo>
                  <a:lnTo>
                    <a:pt x="3" y="2"/>
                  </a:lnTo>
                  <a:lnTo>
                    <a:pt x="3" y="2"/>
                  </a:lnTo>
                  <a:lnTo>
                    <a:pt x="2" y="3"/>
                  </a:lnTo>
                  <a:lnTo>
                    <a:pt x="2" y="3"/>
                  </a:lnTo>
                  <a:lnTo>
                    <a:pt x="2" y="3"/>
                  </a:lnTo>
                  <a:lnTo>
                    <a:pt x="2" y="3"/>
                  </a:lnTo>
                  <a:lnTo>
                    <a:pt x="2" y="3"/>
                  </a:lnTo>
                  <a:lnTo>
                    <a:pt x="3" y="3"/>
                  </a:lnTo>
                  <a:lnTo>
                    <a:pt x="3" y="3"/>
                  </a:lnTo>
                  <a:lnTo>
                    <a:pt x="2" y="3"/>
                  </a:lnTo>
                  <a:lnTo>
                    <a:pt x="2" y="4"/>
                  </a:lnTo>
                  <a:lnTo>
                    <a:pt x="3" y="4"/>
                  </a:lnTo>
                  <a:lnTo>
                    <a:pt x="3" y="4"/>
                  </a:lnTo>
                  <a:lnTo>
                    <a:pt x="3" y="4"/>
                  </a:lnTo>
                  <a:lnTo>
                    <a:pt x="3" y="4"/>
                  </a:lnTo>
                  <a:lnTo>
                    <a:pt x="3" y="4"/>
                  </a:lnTo>
                  <a:lnTo>
                    <a:pt x="3" y="4"/>
                  </a:lnTo>
                  <a:lnTo>
                    <a:pt x="5" y="6"/>
                  </a:lnTo>
                  <a:lnTo>
                    <a:pt x="5" y="6"/>
                  </a:lnTo>
                  <a:lnTo>
                    <a:pt x="5" y="6"/>
                  </a:lnTo>
                  <a:lnTo>
                    <a:pt x="5" y="6"/>
                  </a:lnTo>
                  <a:lnTo>
                    <a:pt x="5" y="6"/>
                  </a:lnTo>
                  <a:lnTo>
                    <a:pt x="5" y="6"/>
                  </a:lnTo>
                  <a:lnTo>
                    <a:pt x="6" y="6"/>
                  </a:lnTo>
                  <a:lnTo>
                    <a:pt x="6" y="6"/>
                  </a:lnTo>
                  <a:lnTo>
                    <a:pt x="6" y="6"/>
                  </a:lnTo>
                  <a:lnTo>
                    <a:pt x="6" y="6"/>
                  </a:lnTo>
                  <a:lnTo>
                    <a:pt x="6" y="6"/>
                  </a:lnTo>
                  <a:lnTo>
                    <a:pt x="6" y="6"/>
                  </a:lnTo>
                  <a:lnTo>
                    <a:pt x="6" y="7"/>
                  </a:lnTo>
                  <a:lnTo>
                    <a:pt x="6" y="7"/>
                  </a:lnTo>
                  <a:lnTo>
                    <a:pt x="7" y="7"/>
                  </a:lnTo>
                  <a:lnTo>
                    <a:pt x="7" y="7"/>
                  </a:lnTo>
                  <a:lnTo>
                    <a:pt x="7" y="7"/>
                  </a:lnTo>
                  <a:lnTo>
                    <a:pt x="7" y="7"/>
                  </a:lnTo>
                  <a:lnTo>
                    <a:pt x="6" y="7"/>
                  </a:lnTo>
                  <a:lnTo>
                    <a:pt x="6" y="7"/>
                  </a:lnTo>
                  <a:lnTo>
                    <a:pt x="6" y="7"/>
                  </a:lnTo>
                  <a:lnTo>
                    <a:pt x="6" y="7"/>
                  </a:lnTo>
                  <a:lnTo>
                    <a:pt x="6" y="7"/>
                  </a:lnTo>
                  <a:lnTo>
                    <a:pt x="5" y="7"/>
                  </a:lnTo>
                  <a:lnTo>
                    <a:pt x="5" y="7"/>
                  </a:lnTo>
                  <a:lnTo>
                    <a:pt x="5" y="7"/>
                  </a:lnTo>
                  <a:lnTo>
                    <a:pt x="5" y="7"/>
                  </a:lnTo>
                  <a:lnTo>
                    <a:pt x="5" y="7"/>
                  </a:lnTo>
                  <a:lnTo>
                    <a:pt x="3" y="7"/>
                  </a:lnTo>
                  <a:lnTo>
                    <a:pt x="3" y="7"/>
                  </a:lnTo>
                  <a:lnTo>
                    <a:pt x="3" y="6"/>
                  </a:lnTo>
                  <a:lnTo>
                    <a:pt x="3" y="6"/>
                  </a:lnTo>
                  <a:lnTo>
                    <a:pt x="3" y="6"/>
                  </a:lnTo>
                  <a:lnTo>
                    <a:pt x="3" y="6"/>
                  </a:lnTo>
                  <a:lnTo>
                    <a:pt x="3" y="6"/>
                  </a:lnTo>
                  <a:lnTo>
                    <a:pt x="3" y="6"/>
                  </a:lnTo>
                  <a:lnTo>
                    <a:pt x="3" y="6"/>
                  </a:lnTo>
                  <a:lnTo>
                    <a:pt x="3" y="6"/>
                  </a:lnTo>
                  <a:lnTo>
                    <a:pt x="3" y="6"/>
                  </a:lnTo>
                  <a:lnTo>
                    <a:pt x="3" y="6"/>
                  </a:lnTo>
                  <a:lnTo>
                    <a:pt x="3" y="6"/>
                  </a:lnTo>
                  <a:lnTo>
                    <a:pt x="3" y="5"/>
                  </a:lnTo>
                  <a:lnTo>
                    <a:pt x="2" y="5"/>
                  </a:lnTo>
                  <a:lnTo>
                    <a:pt x="2" y="5"/>
                  </a:lnTo>
                  <a:lnTo>
                    <a:pt x="2" y="4"/>
                  </a:lnTo>
                  <a:lnTo>
                    <a:pt x="2" y="4"/>
                  </a:lnTo>
                  <a:lnTo>
                    <a:pt x="1" y="4"/>
                  </a:lnTo>
                  <a:lnTo>
                    <a:pt x="1" y="4"/>
                  </a:lnTo>
                  <a:lnTo>
                    <a:pt x="1" y="3"/>
                  </a:lnTo>
                  <a:lnTo>
                    <a:pt x="1" y="3"/>
                  </a:lnTo>
                  <a:lnTo>
                    <a:pt x="1" y="3"/>
                  </a:lnTo>
                  <a:lnTo>
                    <a:pt x="1" y="3"/>
                  </a:lnTo>
                  <a:lnTo>
                    <a:pt x="1" y="3"/>
                  </a:lnTo>
                  <a:lnTo>
                    <a:pt x="0" y="3"/>
                  </a:lnTo>
                  <a:lnTo>
                    <a:pt x="0" y="3"/>
                  </a:lnTo>
                  <a:lnTo>
                    <a:pt x="0" y="3"/>
                  </a:lnTo>
                  <a:lnTo>
                    <a:pt x="0" y="3"/>
                  </a:lnTo>
                  <a:lnTo>
                    <a:pt x="0" y="2"/>
                  </a:lnTo>
                  <a:lnTo>
                    <a:pt x="0" y="2"/>
                  </a:lnTo>
                  <a:lnTo>
                    <a:pt x="0" y="2"/>
                  </a:lnTo>
                  <a:lnTo>
                    <a:pt x="0" y="2"/>
                  </a:lnTo>
                  <a:lnTo>
                    <a:pt x="0" y="2"/>
                  </a:lnTo>
                  <a:lnTo>
                    <a:pt x="0" y="2"/>
                  </a:lnTo>
                  <a:lnTo>
                    <a:pt x="0" y="2"/>
                  </a:lnTo>
                  <a:lnTo>
                    <a:pt x="0" y="2"/>
                  </a:lnTo>
                  <a:lnTo>
                    <a:pt x="1" y="2"/>
                  </a:lnTo>
                  <a:lnTo>
                    <a:pt x="2" y="2"/>
                  </a:lnTo>
                  <a:lnTo>
                    <a:pt x="2" y="0"/>
                  </a:lnTo>
                  <a:lnTo>
                    <a:pt x="2" y="0"/>
                  </a:lnTo>
                  <a:lnTo>
                    <a:pt x="2" y="0"/>
                  </a:lnTo>
                  <a:lnTo>
                    <a:pt x="3" y="0"/>
                  </a:lnTo>
                  <a:lnTo>
                    <a:pt x="3" y="0"/>
                  </a:lnTo>
                  <a:lnTo>
                    <a:pt x="3" y="2"/>
                  </a:lnTo>
                  <a:lnTo>
                    <a:pt x="3" y="2"/>
                  </a:lnTo>
                  <a:lnTo>
                    <a:pt x="3"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59" name="Freeform 1324">
              <a:extLst>
                <a:ext uri="{FF2B5EF4-FFF2-40B4-BE49-F238E27FC236}">
                  <a16:creationId xmlns:a16="http://schemas.microsoft.com/office/drawing/2014/main" id="{F65BF9EF-0032-4153-B90D-33938BF94663}"/>
                </a:ext>
              </a:extLst>
            </p:cNvPr>
            <p:cNvSpPr>
              <a:spLocks/>
            </p:cNvSpPr>
            <p:nvPr/>
          </p:nvSpPr>
          <p:spPr bwMode="auto">
            <a:xfrm>
              <a:off x="6236455" y="2501829"/>
              <a:ext cx="6678" cy="6678"/>
            </a:xfrm>
            <a:custGeom>
              <a:avLst/>
              <a:gdLst>
                <a:gd name="T0" fmla="*/ 5 w 5"/>
                <a:gd name="T1" fmla="*/ 1 h 5"/>
                <a:gd name="T2" fmla="*/ 5 w 5"/>
                <a:gd name="T3" fmla="*/ 1 h 5"/>
                <a:gd name="T4" fmla="*/ 5 w 5"/>
                <a:gd name="T5" fmla="*/ 1 h 5"/>
                <a:gd name="T6" fmla="*/ 4 w 5"/>
                <a:gd name="T7" fmla="*/ 2 h 5"/>
                <a:gd name="T8" fmla="*/ 4 w 5"/>
                <a:gd name="T9" fmla="*/ 2 h 5"/>
                <a:gd name="T10" fmla="*/ 4 w 5"/>
                <a:gd name="T11" fmla="*/ 2 h 5"/>
                <a:gd name="T12" fmla="*/ 4 w 5"/>
                <a:gd name="T13" fmla="*/ 3 h 5"/>
                <a:gd name="T14" fmla="*/ 4 w 5"/>
                <a:gd name="T15" fmla="*/ 3 h 5"/>
                <a:gd name="T16" fmla="*/ 4 w 5"/>
                <a:gd name="T17" fmla="*/ 3 h 5"/>
                <a:gd name="T18" fmla="*/ 4 w 5"/>
                <a:gd name="T19" fmla="*/ 3 h 5"/>
                <a:gd name="T20" fmla="*/ 4 w 5"/>
                <a:gd name="T21" fmla="*/ 5 h 5"/>
                <a:gd name="T22" fmla="*/ 4 w 5"/>
                <a:gd name="T23" fmla="*/ 5 h 5"/>
                <a:gd name="T24" fmla="*/ 3 w 5"/>
                <a:gd name="T25" fmla="*/ 3 h 5"/>
                <a:gd name="T26" fmla="*/ 3 w 5"/>
                <a:gd name="T27" fmla="*/ 3 h 5"/>
                <a:gd name="T28" fmla="*/ 3 w 5"/>
                <a:gd name="T29" fmla="*/ 2 h 5"/>
                <a:gd name="T30" fmla="*/ 3 w 5"/>
                <a:gd name="T31" fmla="*/ 2 h 5"/>
                <a:gd name="T32" fmla="*/ 2 w 5"/>
                <a:gd name="T33" fmla="*/ 2 h 5"/>
                <a:gd name="T34" fmla="*/ 3 w 5"/>
                <a:gd name="T35" fmla="*/ 2 h 5"/>
                <a:gd name="T36" fmla="*/ 2 w 5"/>
                <a:gd name="T37" fmla="*/ 3 h 5"/>
                <a:gd name="T38" fmla="*/ 2 w 5"/>
                <a:gd name="T39" fmla="*/ 3 h 5"/>
                <a:gd name="T40" fmla="*/ 2 w 5"/>
                <a:gd name="T41" fmla="*/ 3 h 5"/>
                <a:gd name="T42" fmla="*/ 3 w 5"/>
                <a:gd name="T43" fmla="*/ 5 h 5"/>
                <a:gd name="T44" fmla="*/ 2 w 5"/>
                <a:gd name="T45" fmla="*/ 3 h 5"/>
                <a:gd name="T46" fmla="*/ 2 w 5"/>
                <a:gd name="T47" fmla="*/ 3 h 5"/>
                <a:gd name="T48" fmla="*/ 2 w 5"/>
                <a:gd name="T49" fmla="*/ 3 h 5"/>
                <a:gd name="T50" fmla="*/ 2 w 5"/>
                <a:gd name="T51" fmla="*/ 3 h 5"/>
                <a:gd name="T52" fmla="*/ 1 w 5"/>
                <a:gd name="T53" fmla="*/ 3 h 5"/>
                <a:gd name="T54" fmla="*/ 1 w 5"/>
                <a:gd name="T55" fmla="*/ 3 h 5"/>
                <a:gd name="T56" fmla="*/ 1 w 5"/>
                <a:gd name="T57" fmla="*/ 3 h 5"/>
                <a:gd name="T58" fmla="*/ 1 w 5"/>
                <a:gd name="T59" fmla="*/ 3 h 5"/>
                <a:gd name="T60" fmla="*/ 1 w 5"/>
                <a:gd name="T61" fmla="*/ 2 h 5"/>
                <a:gd name="T62" fmla="*/ 1 w 5"/>
                <a:gd name="T63" fmla="*/ 2 h 5"/>
                <a:gd name="T64" fmla="*/ 1 w 5"/>
                <a:gd name="T65" fmla="*/ 2 h 5"/>
                <a:gd name="T66" fmla="*/ 1 w 5"/>
                <a:gd name="T67" fmla="*/ 2 h 5"/>
                <a:gd name="T68" fmla="*/ 1 w 5"/>
                <a:gd name="T69" fmla="*/ 2 h 5"/>
                <a:gd name="T70" fmla="*/ 0 w 5"/>
                <a:gd name="T71" fmla="*/ 1 h 5"/>
                <a:gd name="T72" fmla="*/ 1 w 5"/>
                <a:gd name="T73" fmla="*/ 1 h 5"/>
                <a:gd name="T74" fmla="*/ 2 w 5"/>
                <a:gd name="T75" fmla="*/ 1 h 5"/>
                <a:gd name="T76" fmla="*/ 2 w 5"/>
                <a:gd name="T77" fmla="*/ 1 h 5"/>
                <a:gd name="T78" fmla="*/ 3 w 5"/>
                <a:gd name="T79" fmla="*/ 1 h 5"/>
                <a:gd name="T80" fmla="*/ 3 w 5"/>
                <a:gd name="T81" fmla="*/ 1 h 5"/>
                <a:gd name="T82" fmla="*/ 4 w 5"/>
                <a:gd name="T83" fmla="*/ 1 h 5"/>
                <a:gd name="T84" fmla="*/ 4 w 5"/>
                <a:gd name="T85" fmla="*/ 1 h 5"/>
                <a:gd name="T86" fmla="*/ 5 w 5"/>
                <a:gd name="T87" fmla="*/ 1 h 5"/>
                <a:gd name="T88" fmla="*/ 5 w 5"/>
                <a:gd name="T8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 h="5">
                  <a:moveTo>
                    <a:pt x="5" y="1"/>
                  </a:moveTo>
                  <a:lnTo>
                    <a:pt x="5" y="1"/>
                  </a:lnTo>
                  <a:lnTo>
                    <a:pt x="5" y="1"/>
                  </a:lnTo>
                  <a:lnTo>
                    <a:pt x="5" y="1"/>
                  </a:lnTo>
                  <a:lnTo>
                    <a:pt x="5" y="1"/>
                  </a:lnTo>
                  <a:lnTo>
                    <a:pt x="5" y="1"/>
                  </a:lnTo>
                  <a:lnTo>
                    <a:pt x="5" y="1"/>
                  </a:lnTo>
                  <a:lnTo>
                    <a:pt x="5" y="1"/>
                  </a:lnTo>
                  <a:lnTo>
                    <a:pt x="5" y="1"/>
                  </a:lnTo>
                  <a:lnTo>
                    <a:pt x="4" y="1"/>
                  </a:lnTo>
                  <a:lnTo>
                    <a:pt x="4" y="2"/>
                  </a:lnTo>
                  <a:lnTo>
                    <a:pt x="4" y="2"/>
                  </a:lnTo>
                  <a:lnTo>
                    <a:pt x="4" y="2"/>
                  </a:lnTo>
                  <a:lnTo>
                    <a:pt x="4" y="2"/>
                  </a:lnTo>
                  <a:lnTo>
                    <a:pt x="4" y="2"/>
                  </a:lnTo>
                  <a:lnTo>
                    <a:pt x="4" y="2"/>
                  </a:lnTo>
                  <a:lnTo>
                    <a:pt x="4" y="2"/>
                  </a:lnTo>
                  <a:lnTo>
                    <a:pt x="4" y="2"/>
                  </a:lnTo>
                  <a:lnTo>
                    <a:pt x="4" y="2"/>
                  </a:lnTo>
                  <a:lnTo>
                    <a:pt x="4" y="2"/>
                  </a:lnTo>
                  <a:lnTo>
                    <a:pt x="4" y="3"/>
                  </a:lnTo>
                  <a:lnTo>
                    <a:pt x="4" y="3"/>
                  </a:lnTo>
                  <a:lnTo>
                    <a:pt x="4" y="3"/>
                  </a:lnTo>
                  <a:lnTo>
                    <a:pt x="4" y="3"/>
                  </a:lnTo>
                  <a:lnTo>
                    <a:pt x="4" y="3"/>
                  </a:lnTo>
                  <a:lnTo>
                    <a:pt x="4" y="3"/>
                  </a:lnTo>
                  <a:lnTo>
                    <a:pt x="4" y="3"/>
                  </a:lnTo>
                  <a:lnTo>
                    <a:pt x="4" y="3"/>
                  </a:lnTo>
                  <a:lnTo>
                    <a:pt x="4" y="3"/>
                  </a:lnTo>
                  <a:lnTo>
                    <a:pt x="4" y="3"/>
                  </a:lnTo>
                  <a:lnTo>
                    <a:pt x="4" y="5"/>
                  </a:lnTo>
                  <a:lnTo>
                    <a:pt x="4" y="5"/>
                  </a:lnTo>
                  <a:lnTo>
                    <a:pt x="4" y="5"/>
                  </a:lnTo>
                  <a:lnTo>
                    <a:pt x="4" y="5"/>
                  </a:lnTo>
                  <a:lnTo>
                    <a:pt x="4" y="5"/>
                  </a:lnTo>
                  <a:lnTo>
                    <a:pt x="4" y="5"/>
                  </a:lnTo>
                  <a:lnTo>
                    <a:pt x="3" y="3"/>
                  </a:lnTo>
                  <a:lnTo>
                    <a:pt x="3" y="3"/>
                  </a:lnTo>
                  <a:lnTo>
                    <a:pt x="3" y="3"/>
                  </a:lnTo>
                  <a:lnTo>
                    <a:pt x="3" y="3"/>
                  </a:lnTo>
                  <a:lnTo>
                    <a:pt x="3" y="3"/>
                  </a:lnTo>
                  <a:lnTo>
                    <a:pt x="3" y="3"/>
                  </a:lnTo>
                  <a:lnTo>
                    <a:pt x="3" y="3"/>
                  </a:lnTo>
                  <a:lnTo>
                    <a:pt x="3" y="3"/>
                  </a:lnTo>
                  <a:lnTo>
                    <a:pt x="3" y="2"/>
                  </a:lnTo>
                  <a:lnTo>
                    <a:pt x="3" y="2"/>
                  </a:lnTo>
                  <a:lnTo>
                    <a:pt x="3" y="2"/>
                  </a:lnTo>
                  <a:lnTo>
                    <a:pt x="3" y="2"/>
                  </a:lnTo>
                  <a:lnTo>
                    <a:pt x="3" y="2"/>
                  </a:lnTo>
                  <a:lnTo>
                    <a:pt x="3" y="2"/>
                  </a:lnTo>
                  <a:lnTo>
                    <a:pt x="2" y="2"/>
                  </a:lnTo>
                  <a:lnTo>
                    <a:pt x="2" y="2"/>
                  </a:lnTo>
                  <a:lnTo>
                    <a:pt x="2" y="2"/>
                  </a:lnTo>
                  <a:lnTo>
                    <a:pt x="3" y="2"/>
                  </a:lnTo>
                  <a:lnTo>
                    <a:pt x="3" y="2"/>
                  </a:lnTo>
                  <a:lnTo>
                    <a:pt x="2" y="2"/>
                  </a:lnTo>
                  <a:lnTo>
                    <a:pt x="2" y="3"/>
                  </a:lnTo>
                  <a:lnTo>
                    <a:pt x="2" y="3"/>
                  </a:lnTo>
                  <a:lnTo>
                    <a:pt x="2" y="3"/>
                  </a:lnTo>
                  <a:lnTo>
                    <a:pt x="2" y="3"/>
                  </a:lnTo>
                  <a:lnTo>
                    <a:pt x="2" y="3"/>
                  </a:lnTo>
                  <a:lnTo>
                    <a:pt x="2" y="3"/>
                  </a:lnTo>
                  <a:lnTo>
                    <a:pt x="2" y="3"/>
                  </a:lnTo>
                  <a:lnTo>
                    <a:pt x="3" y="3"/>
                  </a:lnTo>
                  <a:lnTo>
                    <a:pt x="3" y="3"/>
                  </a:lnTo>
                  <a:lnTo>
                    <a:pt x="3" y="5"/>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1" y="3"/>
                  </a:lnTo>
                  <a:lnTo>
                    <a:pt x="1" y="3"/>
                  </a:lnTo>
                  <a:lnTo>
                    <a:pt x="1" y="3"/>
                  </a:lnTo>
                  <a:lnTo>
                    <a:pt x="1" y="3"/>
                  </a:lnTo>
                  <a:lnTo>
                    <a:pt x="1" y="3"/>
                  </a:lnTo>
                  <a:lnTo>
                    <a:pt x="1" y="3"/>
                  </a:lnTo>
                  <a:lnTo>
                    <a:pt x="1" y="3"/>
                  </a:lnTo>
                  <a:lnTo>
                    <a:pt x="1" y="3"/>
                  </a:lnTo>
                  <a:lnTo>
                    <a:pt x="1" y="3"/>
                  </a:lnTo>
                  <a:lnTo>
                    <a:pt x="1" y="3"/>
                  </a:lnTo>
                  <a:lnTo>
                    <a:pt x="1" y="3"/>
                  </a:lnTo>
                  <a:lnTo>
                    <a:pt x="1" y="3"/>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0" y="1"/>
                  </a:lnTo>
                  <a:lnTo>
                    <a:pt x="0" y="1"/>
                  </a:lnTo>
                  <a:lnTo>
                    <a:pt x="0" y="1"/>
                  </a:lnTo>
                  <a:lnTo>
                    <a:pt x="0" y="1"/>
                  </a:lnTo>
                  <a:lnTo>
                    <a:pt x="0" y="1"/>
                  </a:lnTo>
                  <a:lnTo>
                    <a:pt x="1" y="1"/>
                  </a:lnTo>
                  <a:lnTo>
                    <a:pt x="1" y="1"/>
                  </a:lnTo>
                  <a:lnTo>
                    <a:pt x="1" y="1"/>
                  </a:lnTo>
                  <a:lnTo>
                    <a:pt x="2" y="1"/>
                  </a:lnTo>
                  <a:lnTo>
                    <a:pt x="2" y="1"/>
                  </a:lnTo>
                  <a:lnTo>
                    <a:pt x="2" y="1"/>
                  </a:lnTo>
                  <a:lnTo>
                    <a:pt x="2" y="1"/>
                  </a:lnTo>
                  <a:lnTo>
                    <a:pt x="2" y="1"/>
                  </a:lnTo>
                  <a:lnTo>
                    <a:pt x="3" y="1"/>
                  </a:lnTo>
                  <a:lnTo>
                    <a:pt x="3" y="1"/>
                  </a:lnTo>
                  <a:lnTo>
                    <a:pt x="3" y="1"/>
                  </a:lnTo>
                  <a:lnTo>
                    <a:pt x="3" y="1"/>
                  </a:lnTo>
                  <a:lnTo>
                    <a:pt x="3" y="1"/>
                  </a:lnTo>
                  <a:lnTo>
                    <a:pt x="3" y="1"/>
                  </a:lnTo>
                  <a:lnTo>
                    <a:pt x="4" y="1"/>
                  </a:lnTo>
                  <a:lnTo>
                    <a:pt x="4" y="1"/>
                  </a:lnTo>
                  <a:lnTo>
                    <a:pt x="4" y="1"/>
                  </a:lnTo>
                  <a:lnTo>
                    <a:pt x="4" y="1"/>
                  </a:lnTo>
                  <a:lnTo>
                    <a:pt x="4" y="1"/>
                  </a:lnTo>
                  <a:lnTo>
                    <a:pt x="4" y="1"/>
                  </a:lnTo>
                  <a:lnTo>
                    <a:pt x="4" y="1"/>
                  </a:lnTo>
                  <a:lnTo>
                    <a:pt x="5" y="1"/>
                  </a:lnTo>
                  <a:lnTo>
                    <a:pt x="5" y="0"/>
                  </a:lnTo>
                  <a:lnTo>
                    <a:pt x="5" y="1"/>
                  </a:lnTo>
                  <a:lnTo>
                    <a:pt x="5"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60" name="Freeform 1325">
              <a:extLst>
                <a:ext uri="{FF2B5EF4-FFF2-40B4-BE49-F238E27FC236}">
                  <a16:creationId xmlns:a16="http://schemas.microsoft.com/office/drawing/2014/main" id="{EAAB3B34-8BC7-4B52-A676-804026B8BCC2}"/>
                </a:ext>
              </a:extLst>
            </p:cNvPr>
            <p:cNvSpPr>
              <a:spLocks/>
            </p:cNvSpPr>
            <p:nvPr/>
          </p:nvSpPr>
          <p:spPr bwMode="auto">
            <a:xfrm>
              <a:off x="6241797" y="2492480"/>
              <a:ext cx="5342" cy="1336"/>
            </a:xfrm>
            <a:custGeom>
              <a:avLst/>
              <a:gdLst>
                <a:gd name="T0" fmla="*/ 4 w 4"/>
                <a:gd name="T1" fmla="*/ 0 h 1"/>
                <a:gd name="T2" fmla="*/ 4 w 4"/>
                <a:gd name="T3" fmla="*/ 0 h 1"/>
                <a:gd name="T4" fmla="*/ 4 w 4"/>
                <a:gd name="T5" fmla="*/ 1 h 1"/>
                <a:gd name="T6" fmla="*/ 4 w 4"/>
                <a:gd name="T7" fmla="*/ 1 h 1"/>
                <a:gd name="T8" fmla="*/ 4 w 4"/>
                <a:gd name="T9" fmla="*/ 1 h 1"/>
                <a:gd name="T10" fmla="*/ 4 w 4"/>
                <a:gd name="T11" fmla="*/ 1 h 1"/>
                <a:gd name="T12" fmla="*/ 3 w 4"/>
                <a:gd name="T13" fmla="*/ 1 h 1"/>
                <a:gd name="T14" fmla="*/ 3 w 4"/>
                <a:gd name="T15" fmla="*/ 1 h 1"/>
                <a:gd name="T16" fmla="*/ 1 w 4"/>
                <a:gd name="T17" fmla="*/ 1 h 1"/>
                <a:gd name="T18" fmla="*/ 0 w 4"/>
                <a:gd name="T19" fmla="*/ 1 h 1"/>
                <a:gd name="T20" fmla="*/ 0 w 4"/>
                <a:gd name="T21" fmla="*/ 1 h 1"/>
                <a:gd name="T22" fmla="*/ 0 w 4"/>
                <a:gd name="T23" fmla="*/ 0 h 1"/>
                <a:gd name="T24" fmla="*/ 0 w 4"/>
                <a:gd name="T25" fmla="*/ 0 h 1"/>
                <a:gd name="T26" fmla="*/ 1 w 4"/>
                <a:gd name="T27" fmla="*/ 0 h 1"/>
                <a:gd name="T28" fmla="*/ 1 w 4"/>
                <a:gd name="T29" fmla="*/ 0 h 1"/>
                <a:gd name="T30" fmla="*/ 3 w 4"/>
                <a:gd name="T31" fmla="*/ 0 h 1"/>
                <a:gd name="T32" fmla="*/ 3 w 4"/>
                <a:gd name="T33" fmla="*/ 0 h 1"/>
                <a:gd name="T34" fmla="*/ 4 w 4"/>
                <a:gd name="T3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1">
                  <a:moveTo>
                    <a:pt x="4" y="0"/>
                  </a:moveTo>
                  <a:lnTo>
                    <a:pt x="4" y="0"/>
                  </a:lnTo>
                  <a:lnTo>
                    <a:pt x="4" y="1"/>
                  </a:lnTo>
                  <a:lnTo>
                    <a:pt x="4" y="1"/>
                  </a:lnTo>
                  <a:lnTo>
                    <a:pt x="4" y="1"/>
                  </a:lnTo>
                  <a:lnTo>
                    <a:pt x="4" y="1"/>
                  </a:lnTo>
                  <a:lnTo>
                    <a:pt x="3" y="1"/>
                  </a:lnTo>
                  <a:lnTo>
                    <a:pt x="3" y="1"/>
                  </a:lnTo>
                  <a:lnTo>
                    <a:pt x="1" y="1"/>
                  </a:lnTo>
                  <a:lnTo>
                    <a:pt x="0" y="1"/>
                  </a:lnTo>
                  <a:lnTo>
                    <a:pt x="0" y="1"/>
                  </a:lnTo>
                  <a:lnTo>
                    <a:pt x="0" y="0"/>
                  </a:lnTo>
                  <a:lnTo>
                    <a:pt x="0" y="0"/>
                  </a:lnTo>
                  <a:lnTo>
                    <a:pt x="1" y="0"/>
                  </a:lnTo>
                  <a:lnTo>
                    <a:pt x="1" y="0"/>
                  </a:lnTo>
                  <a:lnTo>
                    <a:pt x="3" y="0"/>
                  </a:lnTo>
                  <a:lnTo>
                    <a:pt x="3" y="0"/>
                  </a:lnTo>
                  <a:lnTo>
                    <a:pt x="4"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61" name="Freeform 1326">
              <a:extLst>
                <a:ext uri="{FF2B5EF4-FFF2-40B4-BE49-F238E27FC236}">
                  <a16:creationId xmlns:a16="http://schemas.microsoft.com/office/drawing/2014/main" id="{F46E339F-B2F9-41AB-BE48-C5701953EBA8}"/>
                </a:ext>
              </a:extLst>
            </p:cNvPr>
            <p:cNvSpPr>
              <a:spLocks/>
            </p:cNvSpPr>
            <p:nvPr/>
          </p:nvSpPr>
          <p:spPr bwMode="auto">
            <a:xfrm>
              <a:off x="6227107" y="2485803"/>
              <a:ext cx="4007" cy="5342"/>
            </a:xfrm>
            <a:custGeom>
              <a:avLst/>
              <a:gdLst>
                <a:gd name="T0" fmla="*/ 3 w 3"/>
                <a:gd name="T1" fmla="*/ 4 h 4"/>
                <a:gd name="T2" fmla="*/ 3 w 3"/>
                <a:gd name="T3" fmla="*/ 4 h 4"/>
                <a:gd name="T4" fmla="*/ 3 w 3"/>
                <a:gd name="T5" fmla="*/ 4 h 4"/>
                <a:gd name="T6" fmla="*/ 2 w 3"/>
                <a:gd name="T7" fmla="*/ 4 h 4"/>
                <a:gd name="T8" fmla="*/ 2 w 3"/>
                <a:gd name="T9" fmla="*/ 4 h 4"/>
                <a:gd name="T10" fmla="*/ 2 w 3"/>
                <a:gd name="T11" fmla="*/ 4 h 4"/>
                <a:gd name="T12" fmla="*/ 2 w 3"/>
                <a:gd name="T13" fmla="*/ 4 h 4"/>
                <a:gd name="T14" fmla="*/ 2 w 3"/>
                <a:gd name="T15" fmla="*/ 4 h 4"/>
                <a:gd name="T16" fmla="*/ 2 w 3"/>
                <a:gd name="T17" fmla="*/ 4 h 4"/>
                <a:gd name="T18" fmla="*/ 1 w 3"/>
                <a:gd name="T19" fmla="*/ 4 h 4"/>
                <a:gd name="T20" fmla="*/ 1 w 3"/>
                <a:gd name="T21" fmla="*/ 4 h 4"/>
                <a:gd name="T22" fmla="*/ 1 w 3"/>
                <a:gd name="T23" fmla="*/ 4 h 4"/>
                <a:gd name="T24" fmla="*/ 1 w 3"/>
                <a:gd name="T25" fmla="*/ 4 h 4"/>
                <a:gd name="T26" fmla="*/ 1 w 3"/>
                <a:gd name="T27" fmla="*/ 4 h 4"/>
                <a:gd name="T28" fmla="*/ 1 w 3"/>
                <a:gd name="T29" fmla="*/ 4 h 4"/>
                <a:gd name="T30" fmla="*/ 1 w 3"/>
                <a:gd name="T31" fmla="*/ 4 h 4"/>
                <a:gd name="T32" fmla="*/ 1 w 3"/>
                <a:gd name="T33" fmla="*/ 4 h 4"/>
                <a:gd name="T34" fmla="*/ 1 w 3"/>
                <a:gd name="T35" fmla="*/ 4 h 4"/>
                <a:gd name="T36" fmla="*/ 1 w 3"/>
                <a:gd name="T37" fmla="*/ 4 h 4"/>
                <a:gd name="T38" fmla="*/ 1 w 3"/>
                <a:gd name="T39" fmla="*/ 4 h 4"/>
                <a:gd name="T40" fmla="*/ 0 w 3"/>
                <a:gd name="T41" fmla="*/ 3 h 4"/>
                <a:gd name="T42" fmla="*/ 0 w 3"/>
                <a:gd name="T43" fmla="*/ 3 h 4"/>
                <a:gd name="T44" fmla="*/ 0 w 3"/>
                <a:gd name="T45" fmla="*/ 3 h 4"/>
                <a:gd name="T46" fmla="*/ 0 w 3"/>
                <a:gd name="T47" fmla="*/ 3 h 4"/>
                <a:gd name="T48" fmla="*/ 0 w 3"/>
                <a:gd name="T49" fmla="*/ 3 h 4"/>
                <a:gd name="T50" fmla="*/ 0 w 3"/>
                <a:gd name="T51" fmla="*/ 3 h 4"/>
                <a:gd name="T52" fmla="*/ 0 w 3"/>
                <a:gd name="T53" fmla="*/ 3 h 4"/>
                <a:gd name="T54" fmla="*/ 0 w 3"/>
                <a:gd name="T55" fmla="*/ 1 h 4"/>
                <a:gd name="T56" fmla="*/ 0 w 3"/>
                <a:gd name="T57" fmla="*/ 1 h 4"/>
                <a:gd name="T58" fmla="*/ 1 w 3"/>
                <a:gd name="T59" fmla="*/ 0 h 4"/>
                <a:gd name="T60" fmla="*/ 1 w 3"/>
                <a:gd name="T61" fmla="*/ 0 h 4"/>
                <a:gd name="T62" fmla="*/ 2 w 3"/>
                <a:gd name="T63" fmla="*/ 0 h 4"/>
                <a:gd name="T64" fmla="*/ 2 w 3"/>
                <a:gd name="T65" fmla="*/ 0 h 4"/>
                <a:gd name="T66" fmla="*/ 2 w 3"/>
                <a:gd name="T67" fmla="*/ 0 h 4"/>
                <a:gd name="T68" fmla="*/ 2 w 3"/>
                <a:gd name="T69" fmla="*/ 1 h 4"/>
                <a:gd name="T70" fmla="*/ 2 w 3"/>
                <a:gd name="T71" fmla="*/ 1 h 4"/>
                <a:gd name="T72" fmla="*/ 2 w 3"/>
                <a:gd name="T73" fmla="*/ 1 h 4"/>
                <a:gd name="T74" fmla="*/ 2 w 3"/>
                <a:gd name="T75" fmla="*/ 1 h 4"/>
                <a:gd name="T76" fmla="*/ 2 w 3"/>
                <a:gd name="T77" fmla="*/ 1 h 4"/>
                <a:gd name="T78" fmla="*/ 2 w 3"/>
                <a:gd name="T79" fmla="*/ 1 h 4"/>
                <a:gd name="T80" fmla="*/ 3 w 3"/>
                <a:gd name="T81" fmla="*/ 1 h 4"/>
                <a:gd name="T82" fmla="*/ 2 w 3"/>
                <a:gd name="T83" fmla="*/ 1 h 4"/>
                <a:gd name="T84" fmla="*/ 2 w 3"/>
                <a:gd name="T85" fmla="*/ 1 h 4"/>
                <a:gd name="T86" fmla="*/ 2 w 3"/>
                <a:gd name="T87" fmla="*/ 1 h 4"/>
                <a:gd name="T88" fmla="*/ 3 w 3"/>
                <a:gd name="T89" fmla="*/ 1 h 4"/>
                <a:gd name="T90" fmla="*/ 3 w 3"/>
                <a:gd name="T91" fmla="*/ 3 h 4"/>
                <a:gd name="T92" fmla="*/ 2 w 3"/>
                <a:gd name="T93" fmla="*/ 3 h 4"/>
                <a:gd name="T94" fmla="*/ 2 w 3"/>
                <a:gd name="T95" fmla="*/ 3 h 4"/>
                <a:gd name="T96" fmla="*/ 3 w 3"/>
                <a:gd name="T97" fmla="*/ 3 h 4"/>
                <a:gd name="T98" fmla="*/ 3 w 3"/>
                <a:gd name="T99" fmla="*/ 3 h 4"/>
                <a:gd name="T100" fmla="*/ 3 w 3"/>
                <a:gd name="T10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 h="4">
                  <a:moveTo>
                    <a:pt x="3" y="4"/>
                  </a:moveTo>
                  <a:lnTo>
                    <a:pt x="3" y="4"/>
                  </a:lnTo>
                  <a:lnTo>
                    <a:pt x="3" y="4"/>
                  </a:lnTo>
                  <a:lnTo>
                    <a:pt x="2" y="4"/>
                  </a:lnTo>
                  <a:lnTo>
                    <a:pt x="2" y="4"/>
                  </a:lnTo>
                  <a:lnTo>
                    <a:pt x="2" y="4"/>
                  </a:lnTo>
                  <a:lnTo>
                    <a:pt x="2" y="4"/>
                  </a:lnTo>
                  <a:lnTo>
                    <a:pt x="2" y="4"/>
                  </a:lnTo>
                  <a:lnTo>
                    <a:pt x="2" y="4"/>
                  </a:lnTo>
                  <a:lnTo>
                    <a:pt x="1" y="4"/>
                  </a:lnTo>
                  <a:lnTo>
                    <a:pt x="1" y="4"/>
                  </a:lnTo>
                  <a:lnTo>
                    <a:pt x="1" y="4"/>
                  </a:lnTo>
                  <a:lnTo>
                    <a:pt x="1" y="4"/>
                  </a:lnTo>
                  <a:lnTo>
                    <a:pt x="1" y="4"/>
                  </a:lnTo>
                  <a:lnTo>
                    <a:pt x="1" y="4"/>
                  </a:lnTo>
                  <a:lnTo>
                    <a:pt x="1" y="4"/>
                  </a:lnTo>
                  <a:lnTo>
                    <a:pt x="1" y="4"/>
                  </a:lnTo>
                  <a:lnTo>
                    <a:pt x="1" y="4"/>
                  </a:lnTo>
                  <a:lnTo>
                    <a:pt x="1" y="4"/>
                  </a:lnTo>
                  <a:lnTo>
                    <a:pt x="1" y="4"/>
                  </a:lnTo>
                  <a:lnTo>
                    <a:pt x="0" y="3"/>
                  </a:lnTo>
                  <a:lnTo>
                    <a:pt x="0" y="3"/>
                  </a:lnTo>
                  <a:lnTo>
                    <a:pt x="0" y="3"/>
                  </a:lnTo>
                  <a:lnTo>
                    <a:pt x="0" y="3"/>
                  </a:lnTo>
                  <a:lnTo>
                    <a:pt x="0" y="3"/>
                  </a:lnTo>
                  <a:lnTo>
                    <a:pt x="0" y="3"/>
                  </a:lnTo>
                  <a:lnTo>
                    <a:pt x="0" y="3"/>
                  </a:lnTo>
                  <a:lnTo>
                    <a:pt x="0" y="1"/>
                  </a:lnTo>
                  <a:lnTo>
                    <a:pt x="0" y="1"/>
                  </a:lnTo>
                  <a:lnTo>
                    <a:pt x="1" y="0"/>
                  </a:lnTo>
                  <a:lnTo>
                    <a:pt x="1" y="0"/>
                  </a:lnTo>
                  <a:lnTo>
                    <a:pt x="2" y="0"/>
                  </a:lnTo>
                  <a:lnTo>
                    <a:pt x="2" y="0"/>
                  </a:lnTo>
                  <a:lnTo>
                    <a:pt x="2" y="0"/>
                  </a:lnTo>
                  <a:lnTo>
                    <a:pt x="2" y="1"/>
                  </a:lnTo>
                  <a:lnTo>
                    <a:pt x="2" y="1"/>
                  </a:lnTo>
                  <a:lnTo>
                    <a:pt x="2" y="1"/>
                  </a:lnTo>
                  <a:lnTo>
                    <a:pt x="2" y="1"/>
                  </a:lnTo>
                  <a:lnTo>
                    <a:pt x="2" y="1"/>
                  </a:lnTo>
                  <a:lnTo>
                    <a:pt x="2" y="1"/>
                  </a:lnTo>
                  <a:lnTo>
                    <a:pt x="3" y="1"/>
                  </a:lnTo>
                  <a:lnTo>
                    <a:pt x="2" y="1"/>
                  </a:lnTo>
                  <a:lnTo>
                    <a:pt x="2" y="1"/>
                  </a:lnTo>
                  <a:lnTo>
                    <a:pt x="2" y="1"/>
                  </a:lnTo>
                  <a:lnTo>
                    <a:pt x="3" y="1"/>
                  </a:lnTo>
                  <a:lnTo>
                    <a:pt x="3" y="3"/>
                  </a:lnTo>
                  <a:lnTo>
                    <a:pt x="2" y="3"/>
                  </a:lnTo>
                  <a:lnTo>
                    <a:pt x="2" y="3"/>
                  </a:lnTo>
                  <a:lnTo>
                    <a:pt x="3" y="3"/>
                  </a:lnTo>
                  <a:lnTo>
                    <a:pt x="3" y="3"/>
                  </a:lnTo>
                  <a:lnTo>
                    <a:pt x="3" y="4"/>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62" name="Freeform 1327">
              <a:extLst>
                <a:ext uri="{FF2B5EF4-FFF2-40B4-BE49-F238E27FC236}">
                  <a16:creationId xmlns:a16="http://schemas.microsoft.com/office/drawing/2014/main" id="{828446C3-6B9F-49A0-8032-55638D020460}"/>
                </a:ext>
              </a:extLst>
            </p:cNvPr>
            <p:cNvSpPr>
              <a:spLocks/>
            </p:cNvSpPr>
            <p:nvPr/>
          </p:nvSpPr>
          <p:spPr bwMode="auto">
            <a:xfrm>
              <a:off x="6150984" y="2465770"/>
              <a:ext cx="109510" cy="113517"/>
            </a:xfrm>
            <a:custGeom>
              <a:avLst/>
              <a:gdLst>
                <a:gd name="T0" fmla="*/ 19 w 82"/>
                <a:gd name="T1" fmla="*/ 14 h 85"/>
                <a:gd name="T2" fmla="*/ 28 w 82"/>
                <a:gd name="T3" fmla="*/ 9 h 85"/>
                <a:gd name="T4" fmla="*/ 34 w 82"/>
                <a:gd name="T5" fmla="*/ 7 h 85"/>
                <a:gd name="T6" fmla="*/ 47 w 82"/>
                <a:gd name="T7" fmla="*/ 5 h 85"/>
                <a:gd name="T8" fmla="*/ 55 w 82"/>
                <a:gd name="T9" fmla="*/ 4 h 85"/>
                <a:gd name="T10" fmla="*/ 67 w 82"/>
                <a:gd name="T11" fmla="*/ 8 h 85"/>
                <a:gd name="T12" fmla="*/ 75 w 82"/>
                <a:gd name="T13" fmla="*/ 5 h 85"/>
                <a:gd name="T14" fmla="*/ 80 w 82"/>
                <a:gd name="T15" fmla="*/ 1 h 85"/>
                <a:gd name="T16" fmla="*/ 79 w 82"/>
                <a:gd name="T17" fmla="*/ 9 h 85"/>
                <a:gd name="T18" fmla="*/ 76 w 82"/>
                <a:gd name="T19" fmla="*/ 16 h 85"/>
                <a:gd name="T20" fmla="*/ 65 w 82"/>
                <a:gd name="T21" fmla="*/ 13 h 85"/>
                <a:gd name="T22" fmla="*/ 57 w 82"/>
                <a:gd name="T23" fmla="*/ 14 h 85"/>
                <a:gd name="T24" fmla="*/ 46 w 82"/>
                <a:gd name="T25" fmla="*/ 18 h 85"/>
                <a:gd name="T26" fmla="*/ 51 w 82"/>
                <a:gd name="T27" fmla="*/ 22 h 85"/>
                <a:gd name="T28" fmla="*/ 48 w 82"/>
                <a:gd name="T29" fmla="*/ 22 h 85"/>
                <a:gd name="T30" fmla="*/ 50 w 82"/>
                <a:gd name="T31" fmla="*/ 28 h 85"/>
                <a:gd name="T32" fmla="*/ 43 w 82"/>
                <a:gd name="T33" fmla="*/ 25 h 85"/>
                <a:gd name="T34" fmla="*/ 41 w 82"/>
                <a:gd name="T35" fmla="*/ 26 h 85"/>
                <a:gd name="T36" fmla="*/ 37 w 82"/>
                <a:gd name="T37" fmla="*/ 19 h 85"/>
                <a:gd name="T38" fmla="*/ 32 w 82"/>
                <a:gd name="T39" fmla="*/ 22 h 85"/>
                <a:gd name="T40" fmla="*/ 36 w 82"/>
                <a:gd name="T41" fmla="*/ 32 h 85"/>
                <a:gd name="T42" fmla="*/ 43 w 82"/>
                <a:gd name="T43" fmla="*/ 41 h 85"/>
                <a:gd name="T44" fmla="*/ 38 w 82"/>
                <a:gd name="T45" fmla="*/ 37 h 85"/>
                <a:gd name="T46" fmla="*/ 39 w 82"/>
                <a:gd name="T47" fmla="*/ 43 h 85"/>
                <a:gd name="T48" fmla="*/ 33 w 82"/>
                <a:gd name="T49" fmla="*/ 47 h 85"/>
                <a:gd name="T50" fmla="*/ 40 w 82"/>
                <a:gd name="T51" fmla="*/ 48 h 85"/>
                <a:gd name="T52" fmla="*/ 47 w 82"/>
                <a:gd name="T53" fmla="*/ 51 h 85"/>
                <a:gd name="T54" fmla="*/ 54 w 82"/>
                <a:gd name="T55" fmla="*/ 60 h 85"/>
                <a:gd name="T56" fmla="*/ 54 w 82"/>
                <a:gd name="T57" fmla="*/ 65 h 85"/>
                <a:gd name="T58" fmla="*/ 48 w 82"/>
                <a:gd name="T59" fmla="*/ 61 h 85"/>
                <a:gd name="T60" fmla="*/ 41 w 82"/>
                <a:gd name="T61" fmla="*/ 61 h 85"/>
                <a:gd name="T62" fmla="*/ 44 w 82"/>
                <a:gd name="T63" fmla="*/ 65 h 85"/>
                <a:gd name="T64" fmla="*/ 48 w 82"/>
                <a:gd name="T65" fmla="*/ 68 h 85"/>
                <a:gd name="T66" fmla="*/ 43 w 82"/>
                <a:gd name="T67" fmla="*/ 69 h 85"/>
                <a:gd name="T68" fmla="*/ 40 w 82"/>
                <a:gd name="T69" fmla="*/ 71 h 85"/>
                <a:gd name="T70" fmla="*/ 43 w 82"/>
                <a:gd name="T71" fmla="*/ 79 h 85"/>
                <a:gd name="T72" fmla="*/ 41 w 82"/>
                <a:gd name="T73" fmla="*/ 81 h 85"/>
                <a:gd name="T74" fmla="*/ 36 w 82"/>
                <a:gd name="T75" fmla="*/ 82 h 85"/>
                <a:gd name="T76" fmla="*/ 34 w 82"/>
                <a:gd name="T77" fmla="*/ 81 h 85"/>
                <a:gd name="T78" fmla="*/ 29 w 82"/>
                <a:gd name="T79" fmla="*/ 78 h 85"/>
                <a:gd name="T80" fmla="*/ 24 w 82"/>
                <a:gd name="T81" fmla="*/ 70 h 85"/>
                <a:gd name="T82" fmla="*/ 17 w 82"/>
                <a:gd name="T83" fmla="*/ 62 h 85"/>
                <a:gd name="T84" fmla="*/ 22 w 82"/>
                <a:gd name="T85" fmla="*/ 57 h 85"/>
                <a:gd name="T86" fmla="*/ 31 w 82"/>
                <a:gd name="T87" fmla="*/ 57 h 85"/>
                <a:gd name="T88" fmla="*/ 39 w 82"/>
                <a:gd name="T89" fmla="*/ 58 h 85"/>
                <a:gd name="T90" fmla="*/ 40 w 82"/>
                <a:gd name="T91" fmla="*/ 56 h 85"/>
                <a:gd name="T92" fmla="*/ 36 w 82"/>
                <a:gd name="T93" fmla="*/ 55 h 85"/>
                <a:gd name="T94" fmla="*/ 28 w 82"/>
                <a:gd name="T95" fmla="*/ 54 h 85"/>
                <a:gd name="T96" fmla="*/ 21 w 82"/>
                <a:gd name="T97" fmla="*/ 54 h 85"/>
                <a:gd name="T98" fmla="*/ 16 w 82"/>
                <a:gd name="T99" fmla="*/ 54 h 85"/>
                <a:gd name="T100" fmla="*/ 12 w 82"/>
                <a:gd name="T101" fmla="*/ 47 h 85"/>
                <a:gd name="T102" fmla="*/ 10 w 82"/>
                <a:gd name="T103" fmla="*/ 44 h 85"/>
                <a:gd name="T104" fmla="*/ 16 w 82"/>
                <a:gd name="T105" fmla="*/ 43 h 85"/>
                <a:gd name="T106" fmla="*/ 11 w 82"/>
                <a:gd name="T107" fmla="*/ 42 h 85"/>
                <a:gd name="T108" fmla="*/ 5 w 82"/>
                <a:gd name="T109" fmla="*/ 39 h 85"/>
                <a:gd name="T110" fmla="*/ 2 w 82"/>
                <a:gd name="T111" fmla="*/ 34 h 85"/>
                <a:gd name="T112" fmla="*/ 5 w 82"/>
                <a:gd name="T113" fmla="*/ 27 h 85"/>
                <a:gd name="T114" fmla="*/ 11 w 82"/>
                <a:gd name="T115" fmla="*/ 20 h 85"/>
                <a:gd name="T116" fmla="*/ 11 w 82"/>
                <a:gd name="T117" fmla="*/ 1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85">
                  <a:moveTo>
                    <a:pt x="11" y="14"/>
                  </a:moveTo>
                  <a:lnTo>
                    <a:pt x="11" y="15"/>
                  </a:lnTo>
                  <a:lnTo>
                    <a:pt x="11" y="14"/>
                  </a:lnTo>
                  <a:lnTo>
                    <a:pt x="11" y="15"/>
                  </a:lnTo>
                  <a:lnTo>
                    <a:pt x="12" y="15"/>
                  </a:lnTo>
                  <a:lnTo>
                    <a:pt x="12" y="14"/>
                  </a:lnTo>
                  <a:lnTo>
                    <a:pt x="14" y="14"/>
                  </a:lnTo>
                  <a:lnTo>
                    <a:pt x="15" y="14"/>
                  </a:lnTo>
                  <a:lnTo>
                    <a:pt x="16" y="14"/>
                  </a:lnTo>
                  <a:lnTo>
                    <a:pt x="17" y="14"/>
                  </a:lnTo>
                  <a:lnTo>
                    <a:pt x="18" y="14"/>
                  </a:lnTo>
                  <a:lnTo>
                    <a:pt x="19" y="14"/>
                  </a:lnTo>
                  <a:lnTo>
                    <a:pt x="19" y="13"/>
                  </a:lnTo>
                  <a:lnTo>
                    <a:pt x="21" y="13"/>
                  </a:lnTo>
                  <a:lnTo>
                    <a:pt x="22" y="12"/>
                  </a:lnTo>
                  <a:lnTo>
                    <a:pt x="22" y="11"/>
                  </a:lnTo>
                  <a:lnTo>
                    <a:pt x="23" y="11"/>
                  </a:lnTo>
                  <a:lnTo>
                    <a:pt x="24" y="11"/>
                  </a:lnTo>
                  <a:lnTo>
                    <a:pt x="24" y="9"/>
                  </a:lnTo>
                  <a:lnTo>
                    <a:pt x="24" y="11"/>
                  </a:lnTo>
                  <a:lnTo>
                    <a:pt x="25" y="11"/>
                  </a:lnTo>
                  <a:lnTo>
                    <a:pt x="25" y="9"/>
                  </a:lnTo>
                  <a:lnTo>
                    <a:pt x="26" y="9"/>
                  </a:lnTo>
                  <a:lnTo>
                    <a:pt x="28" y="9"/>
                  </a:lnTo>
                  <a:lnTo>
                    <a:pt x="28" y="11"/>
                  </a:lnTo>
                  <a:lnTo>
                    <a:pt x="29" y="11"/>
                  </a:lnTo>
                  <a:lnTo>
                    <a:pt x="30" y="11"/>
                  </a:lnTo>
                  <a:lnTo>
                    <a:pt x="31" y="11"/>
                  </a:lnTo>
                  <a:lnTo>
                    <a:pt x="31" y="9"/>
                  </a:lnTo>
                  <a:lnTo>
                    <a:pt x="32" y="9"/>
                  </a:lnTo>
                  <a:lnTo>
                    <a:pt x="32" y="11"/>
                  </a:lnTo>
                  <a:lnTo>
                    <a:pt x="32" y="9"/>
                  </a:lnTo>
                  <a:lnTo>
                    <a:pt x="32" y="8"/>
                  </a:lnTo>
                  <a:lnTo>
                    <a:pt x="32" y="7"/>
                  </a:lnTo>
                  <a:lnTo>
                    <a:pt x="33" y="7"/>
                  </a:lnTo>
                  <a:lnTo>
                    <a:pt x="34" y="7"/>
                  </a:lnTo>
                  <a:lnTo>
                    <a:pt x="37" y="7"/>
                  </a:lnTo>
                  <a:lnTo>
                    <a:pt x="38" y="7"/>
                  </a:lnTo>
                  <a:lnTo>
                    <a:pt x="38" y="6"/>
                  </a:lnTo>
                  <a:lnTo>
                    <a:pt x="39" y="6"/>
                  </a:lnTo>
                  <a:lnTo>
                    <a:pt x="40" y="6"/>
                  </a:lnTo>
                  <a:lnTo>
                    <a:pt x="41" y="6"/>
                  </a:lnTo>
                  <a:lnTo>
                    <a:pt x="43" y="6"/>
                  </a:lnTo>
                  <a:lnTo>
                    <a:pt x="44" y="6"/>
                  </a:lnTo>
                  <a:lnTo>
                    <a:pt x="45" y="6"/>
                  </a:lnTo>
                  <a:lnTo>
                    <a:pt x="46" y="6"/>
                  </a:lnTo>
                  <a:lnTo>
                    <a:pt x="46" y="5"/>
                  </a:lnTo>
                  <a:lnTo>
                    <a:pt x="47" y="5"/>
                  </a:lnTo>
                  <a:lnTo>
                    <a:pt x="47" y="6"/>
                  </a:lnTo>
                  <a:lnTo>
                    <a:pt x="48" y="6"/>
                  </a:lnTo>
                  <a:lnTo>
                    <a:pt x="48" y="5"/>
                  </a:lnTo>
                  <a:lnTo>
                    <a:pt x="48" y="4"/>
                  </a:lnTo>
                  <a:lnTo>
                    <a:pt x="50" y="4"/>
                  </a:lnTo>
                  <a:lnTo>
                    <a:pt x="51" y="4"/>
                  </a:lnTo>
                  <a:lnTo>
                    <a:pt x="51" y="5"/>
                  </a:lnTo>
                  <a:lnTo>
                    <a:pt x="51" y="4"/>
                  </a:lnTo>
                  <a:lnTo>
                    <a:pt x="52" y="4"/>
                  </a:lnTo>
                  <a:lnTo>
                    <a:pt x="53" y="4"/>
                  </a:lnTo>
                  <a:lnTo>
                    <a:pt x="54" y="4"/>
                  </a:lnTo>
                  <a:lnTo>
                    <a:pt x="55" y="4"/>
                  </a:lnTo>
                  <a:lnTo>
                    <a:pt x="55" y="5"/>
                  </a:lnTo>
                  <a:lnTo>
                    <a:pt x="55" y="6"/>
                  </a:lnTo>
                  <a:lnTo>
                    <a:pt x="57" y="6"/>
                  </a:lnTo>
                  <a:lnTo>
                    <a:pt x="58" y="6"/>
                  </a:lnTo>
                  <a:lnTo>
                    <a:pt x="58" y="7"/>
                  </a:lnTo>
                  <a:lnTo>
                    <a:pt x="59" y="7"/>
                  </a:lnTo>
                  <a:lnTo>
                    <a:pt x="59" y="6"/>
                  </a:lnTo>
                  <a:lnTo>
                    <a:pt x="60" y="6"/>
                  </a:lnTo>
                  <a:lnTo>
                    <a:pt x="62" y="7"/>
                  </a:lnTo>
                  <a:lnTo>
                    <a:pt x="64" y="7"/>
                  </a:lnTo>
                  <a:lnTo>
                    <a:pt x="65" y="8"/>
                  </a:lnTo>
                  <a:lnTo>
                    <a:pt x="67" y="8"/>
                  </a:lnTo>
                  <a:lnTo>
                    <a:pt x="68" y="8"/>
                  </a:lnTo>
                  <a:lnTo>
                    <a:pt x="68" y="7"/>
                  </a:lnTo>
                  <a:lnTo>
                    <a:pt x="69" y="7"/>
                  </a:lnTo>
                  <a:lnTo>
                    <a:pt x="71" y="7"/>
                  </a:lnTo>
                  <a:lnTo>
                    <a:pt x="72" y="7"/>
                  </a:lnTo>
                  <a:lnTo>
                    <a:pt x="73" y="7"/>
                  </a:lnTo>
                  <a:lnTo>
                    <a:pt x="74" y="7"/>
                  </a:lnTo>
                  <a:lnTo>
                    <a:pt x="75" y="7"/>
                  </a:lnTo>
                  <a:lnTo>
                    <a:pt x="75" y="6"/>
                  </a:lnTo>
                  <a:lnTo>
                    <a:pt x="76" y="6"/>
                  </a:lnTo>
                  <a:lnTo>
                    <a:pt x="76" y="5"/>
                  </a:lnTo>
                  <a:lnTo>
                    <a:pt x="75" y="5"/>
                  </a:lnTo>
                  <a:lnTo>
                    <a:pt x="76" y="5"/>
                  </a:lnTo>
                  <a:lnTo>
                    <a:pt x="76" y="4"/>
                  </a:lnTo>
                  <a:lnTo>
                    <a:pt x="75" y="4"/>
                  </a:lnTo>
                  <a:lnTo>
                    <a:pt x="75" y="2"/>
                  </a:lnTo>
                  <a:lnTo>
                    <a:pt x="74" y="2"/>
                  </a:lnTo>
                  <a:lnTo>
                    <a:pt x="74" y="1"/>
                  </a:lnTo>
                  <a:lnTo>
                    <a:pt x="75" y="1"/>
                  </a:lnTo>
                  <a:lnTo>
                    <a:pt x="76" y="0"/>
                  </a:lnTo>
                  <a:lnTo>
                    <a:pt x="76" y="1"/>
                  </a:lnTo>
                  <a:lnTo>
                    <a:pt x="78" y="1"/>
                  </a:lnTo>
                  <a:lnTo>
                    <a:pt x="79" y="1"/>
                  </a:lnTo>
                  <a:lnTo>
                    <a:pt x="80" y="1"/>
                  </a:lnTo>
                  <a:lnTo>
                    <a:pt x="80" y="2"/>
                  </a:lnTo>
                  <a:lnTo>
                    <a:pt x="81" y="2"/>
                  </a:lnTo>
                  <a:lnTo>
                    <a:pt x="81" y="4"/>
                  </a:lnTo>
                  <a:lnTo>
                    <a:pt x="81" y="5"/>
                  </a:lnTo>
                  <a:lnTo>
                    <a:pt x="82" y="5"/>
                  </a:lnTo>
                  <a:lnTo>
                    <a:pt x="82" y="6"/>
                  </a:lnTo>
                  <a:lnTo>
                    <a:pt x="82" y="7"/>
                  </a:lnTo>
                  <a:lnTo>
                    <a:pt x="81" y="7"/>
                  </a:lnTo>
                  <a:lnTo>
                    <a:pt x="80" y="7"/>
                  </a:lnTo>
                  <a:lnTo>
                    <a:pt x="80" y="8"/>
                  </a:lnTo>
                  <a:lnTo>
                    <a:pt x="79" y="8"/>
                  </a:lnTo>
                  <a:lnTo>
                    <a:pt x="79" y="9"/>
                  </a:lnTo>
                  <a:lnTo>
                    <a:pt x="79" y="11"/>
                  </a:lnTo>
                  <a:lnTo>
                    <a:pt x="79" y="12"/>
                  </a:lnTo>
                  <a:lnTo>
                    <a:pt x="80" y="12"/>
                  </a:lnTo>
                  <a:lnTo>
                    <a:pt x="79" y="12"/>
                  </a:lnTo>
                  <a:lnTo>
                    <a:pt x="79" y="13"/>
                  </a:lnTo>
                  <a:lnTo>
                    <a:pt x="79" y="14"/>
                  </a:lnTo>
                  <a:lnTo>
                    <a:pt x="79" y="13"/>
                  </a:lnTo>
                  <a:lnTo>
                    <a:pt x="78" y="13"/>
                  </a:lnTo>
                  <a:lnTo>
                    <a:pt x="78" y="14"/>
                  </a:lnTo>
                  <a:lnTo>
                    <a:pt x="78" y="15"/>
                  </a:lnTo>
                  <a:lnTo>
                    <a:pt x="76" y="15"/>
                  </a:lnTo>
                  <a:lnTo>
                    <a:pt x="76" y="16"/>
                  </a:lnTo>
                  <a:lnTo>
                    <a:pt x="75" y="16"/>
                  </a:lnTo>
                  <a:lnTo>
                    <a:pt x="75" y="15"/>
                  </a:lnTo>
                  <a:lnTo>
                    <a:pt x="74" y="14"/>
                  </a:lnTo>
                  <a:lnTo>
                    <a:pt x="73" y="14"/>
                  </a:lnTo>
                  <a:lnTo>
                    <a:pt x="72" y="14"/>
                  </a:lnTo>
                  <a:lnTo>
                    <a:pt x="71" y="14"/>
                  </a:lnTo>
                  <a:lnTo>
                    <a:pt x="69" y="14"/>
                  </a:lnTo>
                  <a:lnTo>
                    <a:pt x="68" y="14"/>
                  </a:lnTo>
                  <a:lnTo>
                    <a:pt x="67" y="14"/>
                  </a:lnTo>
                  <a:lnTo>
                    <a:pt x="67" y="13"/>
                  </a:lnTo>
                  <a:lnTo>
                    <a:pt x="66" y="13"/>
                  </a:lnTo>
                  <a:lnTo>
                    <a:pt x="65" y="13"/>
                  </a:lnTo>
                  <a:lnTo>
                    <a:pt x="64" y="13"/>
                  </a:lnTo>
                  <a:lnTo>
                    <a:pt x="64" y="12"/>
                  </a:lnTo>
                  <a:lnTo>
                    <a:pt x="62" y="12"/>
                  </a:lnTo>
                  <a:lnTo>
                    <a:pt x="62" y="13"/>
                  </a:lnTo>
                  <a:lnTo>
                    <a:pt x="61" y="13"/>
                  </a:lnTo>
                  <a:lnTo>
                    <a:pt x="62" y="13"/>
                  </a:lnTo>
                  <a:lnTo>
                    <a:pt x="61" y="13"/>
                  </a:lnTo>
                  <a:lnTo>
                    <a:pt x="60" y="13"/>
                  </a:lnTo>
                  <a:lnTo>
                    <a:pt x="60" y="14"/>
                  </a:lnTo>
                  <a:lnTo>
                    <a:pt x="59" y="14"/>
                  </a:lnTo>
                  <a:lnTo>
                    <a:pt x="58" y="14"/>
                  </a:lnTo>
                  <a:lnTo>
                    <a:pt x="57" y="14"/>
                  </a:lnTo>
                  <a:lnTo>
                    <a:pt x="57" y="13"/>
                  </a:lnTo>
                  <a:lnTo>
                    <a:pt x="55" y="13"/>
                  </a:lnTo>
                  <a:lnTo>
                    <a:pt x="54" y="13"/>
                  </a:lnTo>
                  <a:lnTo>
                    <a:pt x="54" y="14"/>
                  </a:lnTo>
                  <a:lnTo>
                    <a:pt x="53" y="14"/>
                  </a:lnTo>
                  <a:lnTo>
                    <a:pt x="53" y="15"/>
                  </a:lnTo>
                  <a:lnTo>
                    <a:pt x="52" y="15"/>
                  </a:lnTo>
                  <a:lnTo>
                    <a:pt x="51" y="16"/>
                  </a:lnTo>
                  <a:lnTo>
                    <a:pt x="50" y="16"/>
                  </a:lnTo>
                  <a:lnTo>
                    <a:pt x="47" y="15"/>
                  </a:lnTo>
                  <a:lnTo>
                    <a:pt x="46" y="16"/>
                  </a:lnTo>
                  <a:lnTo>
                    <a:pt x="46" y="18"/>
                  </a:lnTo>
                  <a:lnTo>
                    <a:pt x="47" y="18"/>
                  </a:lnTo>
                  <a:lnTo>
                    <a:pt x="47" y="19"/>
                  </a:lnTo>
                  <a:lnTo>
                    <a:pt x="48" y="19"/>
                  </a:lnTo>
                  <a:lnTo>
                    <a:pt x="48" y="20"/>
                  </a:lnTo>
                  <a:lnTo>
                    <a:pt x="47" y="20"/>
                  </a:lnTo>
                  <a:lnTo>
                    <a:pt x="47" y="21"/>
                  </a:lnTo>
                  <a:lnTo>
                    <a:pt x="48" y="21"/>
                  </a:lnTo>
                  <a:lnTo>
                    <a:pt x="48" y="22"/>
                  </a:lnTo>
                  <a:lnTo>
                    <a:pt x="50" y="22"/>
                  </a:lnTo>
                  <a:lnTo>
                    <a:pt x="50" y="21"/>
                  </a:lnTo>
                  <a:lnTo>
                    <a:pt x="51" y="21"/>
                  </a:lnTo>
                  <a:lnTo>
                    <a:pt x="51" y="22"/>
                  </a:lnTo>
                  <a:lnTo>
                    <a:pt x="52" y="22"/>
                  </a:lnTo>
                  <a:lnTo>
                    <a:pt x="53" y="22"/>
                  </a:lnTo>
                  <a:lnTo>
                    <a:pt x="53" y="23"/>
                  </a:lnTo>
                  <a:lnTo>
                    <a:pt x="54" y="25"/>
                  </a:lnTo>
                  <a:lnTo>
                    <a:pt x="55" y="25"/>
                  </a:lnTo>
                  <a:lnTo>
                    <a:pt x="55" y="26"/>
                  </a:lnTo>
                  <a:lnTo>
                    <a:pt x="54" y="26"/>
                  </a:lnTo>
                  <a:lnTo>
                    <a:pt x="53" y="25"/>
                  </a:lnTo>
                  <a:lnTo>
                    <a:pt x="52" y="23"/>
                  </a:lnTo>
                  <a:lnTo>
                    <a:pt x="51" y="23"/>
                  </a:lnTo>
                  <a:lnTo>
                    <a:pt x="50" y="22"/>
                  </a:lnTo>
                  <a:lnTo>
                    <a:pt x="48" y="22"/>
                  </a:lnTo>
                  <a:lnTo>
                    <a:pt x="47" y="22"/>
                  </a:lnTo>
                  <a:lnTo>
                    <a:pt x="46" y="22"/>
                  </a:lnTo>
                  <a:lnTo>
                    <a:pt x="46" y="23"/>
                  </a:lnTo>
                  <a:lnTo>
                    <a:pt x="47" y="25"/>
                  </a:lnTo>
                  <a:lnTo>
                    <a:pt x="48" y="26"/>
                  </a:lnTo>
                  <a:lnTo>
                    <a:pt x="48" y="25"/>
                  </a:lnTo>
                  <a:lnTo>
                    <a:pt x="50" y="26"/>
                  </a:lnTo>
                  <a:lnTo>
                    <a:pt x="51" y="26"/>
                  </a:lnTo>
                  <a:lnTo>
                    <a:pt x="50" y="27"/>
                  </a:lnTo>
                  <a:lnTo>
                    <a:pt x="51" y="27"/>
                  </a:lnTo>
                  <a:lnTo>
                    <a:pt x="51" y="28"/>
                  </a:lnTo>
                  <a:lnTo>
                    <a:pt x="50" y="28"/>
                  </a:lnTo>
                  <a:lnTo>
                    <a:pt x="48" y="28"/>
                  </a:lnTo>
                  <a:lnTo>
                    <a:pt x="48" y="27"/>
                  </a:lnTo>
                  <a:lnTo>
                    <a:pt x="48" y="28"/>
                  </a:lnTo>
                  <a:lnTo>
                    <a:pt x="47" y="27"/>
                  </a:lnTo>
                  <a:lnTo>
                    <a:pt x="47" y="26"/>
                  </a:lnTo>
                  <a:lnTo>
                    <a:pt x="46" y="25"/>
                  </a:lnTo>
                  <a:lnTo>
                    <a:pt x="45" y="25"/>
                  </a:lnTo>
                  <a:lnTo>
                    <a:pt x="44" y="25"/>
                  </a:lnTo>
                  <a:lnTo>
                    <a:pt x="44" y="23"/>
                  </a:lnTo>
                  <a:lnTo>
                    <a:pt x="43" y="23"/>
                  </a:lnTo>
                  <a:lnTo>
                    <a:pt x="41" y="25"/>
                  </a:lnTo>
                  <a:lnTo>
                    <a:pt x="43" y="25"/>
                  </a:lnTo>
                  <a:lnTo>
                    <a:pt x="43" y="26"/>
                  </a:lnTo>
                  <a:lnTo>
                    <a:pt x="44" y="27"/>
                  </a:lnTo>
                  <a:lnTo>
                    <a:pt x="45" y="28"/>
                  </a:lnTo>
                  <a:lnTo>
                    <a:pt x="46" y="28"/>
                  </a:lnTo>
                  <a:lnTo>
                    <a:pt x="46" y="29"/>
                  </a:lnTo>
                  <a:lnTo>
                    <a:pt x="47" y="29"/>
                  </a:lnTo>
                  <a:lnTo>
                    <a:pt x="46" y="29"/>
                  </a:lnTo>
                  <a:lnTo>
                    <a:pt x="44" y="28"/>
                  </a:lnTo>
                  <a:lnTo>
                    <a:pt x="43" y="28"/>
                  </a:lnTo>
                  <a:lnTo>
                    <a:pt x="43" y="27"/>
                  </a:lnTo>
                  <a:lnTo>
                    <a:pt x="41" y="27"/>
                  </a:lnTo>
                  <a:lnTo>
                    <a:pt x="41" y="26"/>
                  </a:lnTo>
                  <a:lnTo>
                    <a:pt x="41" y="25"/>
                  </a:lnTo>
                  <a:lnTo>
                    <a:pt x="40" y="23"/>
                  </a:lnTo>
                  <a:lnTo>
                    <a:pt x="39" y="23"/>
                  </a:lnTo>
                  <a:lnTo>
                    <a:pt x="38" y="23"/>
                  </a:lnTo>
                  <a:lnTo>
                    <a:pt x="38" y="22"/>
                  </a:lnTo>
                  <a:lnTo>
                    <a:pt x="37" y="22"/>
                  </a:lnTo>
                  <a:lnTo>
                    <a:pt x="36" y="22"/>
                  </a:lnTo>
                  <a:lnTo>
                    <a:pt x="36" y="21"/>
                  </a:lnTo>
                  <a:lnTo>
                    <a:pt x="34" y="20"/>
                  </a:lnTo>
                  <a:lnTo>
                    <a:pt x="36" y="20"/>
                  </a:lnTo>
                  <a:lnTo>
                    <a:pt x="37" y="20"/>
                  </a:lnTo>
                  <a:lnTo>
                    <a:pt x="37" y="19"/>
                  </a:lnTo>
                  <a:lnTo>
                    <a:pt x="36" y="19"/>
                  </a:lnTo>
                  <a:lnTo>
                    <a:pt x="36" y="18"/>
                  </a:lnTo>
                  <a:lnTo>
                    <a:pt x="34" y="18"/>
                  </a:lnTo>
                  <a:lnTo>
                    <a:pt x="36" y="18"/>
                  </a:lnTo>
                  <a:lnTo>
                    <a:pt x="34" y="19"/>
                  </a:lnTo>
                  <a:lnTo>
                    <a:pt x="33" y="19"/>
                  </a:lnTo>
                  <a:lnTo>
                    <a:pt x="33" y="20"/>
                  </a:lnTo>
                  <a:lnTo>
                    <a:pt x="32" y="20"/>
                  </a:lnTo>
                  <a:lnTo>
                    <a:pt x="33" y="20"/>
                  </a:lnTo>
                  <a:lnTo>
                    <a:pt x="32" y="20"/>
                  </a:lnTo>
                  <a:lnTo>
                    <a:pt x="32" y="21"/>
                  </a:lnTo>
                  <a:lnTo>
                    <a:pt x="32" y="22"/>
                  </a:lnTo>
                  <a:lnTo>
                    <a:pt x="33" y="22"/>
                  </a:lnTo>
                  <a:lnTo>
                    <a:pt x="32" y="23"/>
                  </a:lnTo>
                  <a:lnTo>
                    <a:pt x="32" y="25"/>
                  </a:lnTo>
                  <a:lnTo>
                    <a:pt x="32" y="26"/>
                  </a:lnTo>
                  <a:lnTo>
                    <a:pt x="32" y="27"/>
                  </a:lnTo>
                  <a:lnTo>
                    <a:pt x="32" y="28"/>
                  </a:lnTo>
                  <a:lnTo>
                    <a:pt x="33" y="28"/>
                  </a:lnTo>
                  <a:lnTo>
                    <a:pt x="34" y="28"/>
                  </a:lnTo>
                  <a:lnTo>
                    <a:pt x="34" y="29"/>
                  </a:lnTo>
                  <a:lnTo>
                    <a:pt x="34" y="30"/>
                  </a:lnTo>
                  <a:lnTo>
                    <a:pt x="36" y="30"/>
                  </a:lnTo>
                  <a:lnTo>
                    <a:pt x="36" y="32"/>
                  </a:lnTo>
                  <a:lnTo>
                    <a:pt x="37" y="32"/>
                  </a:lnTo>
                  <a:lnTo>
                    <a:pt x="37" y="33"/>
                  </a:lnTo>
                  <a:lnTo>
                    <a:pt x="38" y="34"/>
                  </a:lnTo>
                  <a:lnTo>
                    <a:pt x="38" y="35"/>
                  </a:lnTo>
                  <a:lnTo>
                    <a:pt x="39" y="35"/>
                  </a:lnTo>
                  <a:lnTo>
                    <a:pt x="40" y="36"/>
                  </a:lnTo>
                  <a:lnTo>
                    <a:pt x="41" y="37"/>
                  </a:lnTo>
                  <a:lnTo>
                    <a:pt x="41" y="39"/>
                  </a:lnTo>
                  <a:lnTo>
                    <a:pt x="43" y="39"/>
                  </a:lnTo>
                  <a:lnTo>
                    <a:pt x="43" y="40"/>
                  </a:lnTo>
                  <a:lnTo>
                    <a:pt x="44" y="41"/>
                  </a:lnTo>
                  <a:lnTo>
                    <a:pt x="43" y="41"/>
                  </a:lnTo>
                  <a:lnTo>
                    <a:pt x="41" y="42"/>
                  </a:lnTo>
                  <a:lnTo>
                    <a:pt x="40" y="42"/>
                  </a:lnTo>
                  <a:lnTo>
                    <a:pt x="40" y="41"/>
                  </a:lnTo>
                  <a:lnTo>
                    <a:pt x="40" y="42"/>
                  </a:lnTo>
                  <a:lnTo>
                    <a:pt x="41" y="42"/>
                  </a:lnTo>
                  <a:lnTo>
                    <a:pt x="41" y="41"/>
                  </a:lnTo>
                  <a:lnTo>
                    <a:pt x="41" y="40"/>
                  </a:lnTo>
                  <a:lnTo>
                    <a:pt x="40" y="40"/>
                  </a:lnTo>
                  <a:lnTo>
                    <a:pt x="40" y="39"/>
                  </a:lnTo>
                  <a:lnTo>
                    <a:pt x="39" y="39"/>
                  </a:lnTo>
                  <a:lnTo>
                    <a:pt x="38" y="39"/>
                  </a:lnTo>
                  <a:lnTo>
                    <a:pt x="38" y="37"/>
                  </a:lnTo>
                  <a:lnTo>
                    <a:pt x="38" y="39"/>
                  </a:lnTo>
                  <a:lnTo>
                    <a:pt x="37" y="39"/>
                  </a:lnTo>
                  <a:lnTo>
                    <a:pt x="37" y="40"/>
                  </a:lnTo>
                  <a:lnTo>
                    <a:pt x="37" y="41"/>
                  </a:lnTo>
                  <a:lnTo>
                    <a:pt x="38" y="41"/>
                  </a:lnTo>
                  <a:lnTo>
                    <a:pt x="37" y="41"/>
                  </a:lnTo>
                  <a:lnTo>
                    <a:pt x="38" y="41"/>
                  </a:lnTo>
                  <a:lnTo>
                    <a:pt x="38" y="42"/>
                  </a:lnTo>
                  <a:lnTo>
                    <a:pt x="39" y="42"/>
                  </a:lnTo>
                  <a:lnTo>
                    <a:pt x="39" y="43"/>
                  </a:lnTo>
                  <a:lnTo>
                    <a:pt x="40" y="43"/>
                  </a:lnTo>
                  <a:lnTo>
                    <a:pt x="39" y="43"/>
                  </a:lnTo>
                  <a:lnTo>
                    <a:pt x="39" y="44"/>
                  </a:lnTo>
                  <a:lnTo>
                    <a:pt x="38" y="44"/>
                  </a:lnTo>
                  <a:lnTo>
                    <a:pt x="39" y="44"/>
                  </a:lnTo>
                  <a:lnTo>
                    <a:pt x="38" y="44"/>
                  </a:lnTo>
                  <a:lnTo>
                    <a:pt x="37" y="44"/>
                  </a:lnTo>
                  <a:lnTo>
                    <a:pt x="37" y="46"/>
                  </a:lnTo>
                  <a:lnTo>
                    <a:pt x="36" y="46"/>
                  </a:lnTo>
                  <a:lnTo>
                    <a:pt x="34" y="46"/>
                  </a:lnTo>
                  <a:lnTo>
                    <a:pt x="33" y="46"/>
                  </a:lnTo>
                  <a:lnTo>
                    <a:pt x="34" y="46"/>
                  </a:lnTo>
                  <a:lnTo>
                    <a:pt x="33" y="46"/>
                  </a:lnTo>
                  <a:lnTo>
                    <a:pt x="33" y="47"/>
                  </a:lnTo>
                  <a:lnTo>
                    <a:pt x="34" y="47"/>
                  </a:lnTo>
                  <a:lnTo>
                    <a:pt x="34" y="46"/>
                  </a:lnTo>
                  <a:lnTo>
                    <a:pt x="34" y="47"/>
                  </a:lnTo>
                  <a:lnTo>
                    <a:pt x="36" y="46"/>
                  </a:lnTo>
                  <a:lnTo>
                    <a:pt x="36" y="47"/>
                  </a:lnTo>
                  <a:lnTo>
                    <a:pt x="37" y="47"/>
                  </a:lnTo>
                  <a:lnTo>
                    <a:pt x="38" y="47"/>
                  </a:lnTo>
                  <a:lnTo>
                    <a:pt x="38" y="48"/>
                  </a:lnTo>
                  <a:lnTo>
                    <a:pt x="38" y="47"/>
                  </a:lnTo>
                  <a:lnTo>
                    <a:pt x="39" y="47"/>
                  </a:lnTo>
                  <a:lnTo>
                    <a:pt x="39" y="48"/>
                  </a:lnTo>
                  <a:lnTo>
                    <a:pt x="40" y="48"/>
                  </a:lnTo>
                  <a:lnTo>
                    <a:pt x="41" y="49"/>
                  </a:lnTo>
                  <a:lnTo>
                    <a:pt x="43" y="49"/>
                  </a:lnTo>
                  <a:lnTo>
                    <a:pt x="41" y="49"/>
                  </a:lnTo>
                  <a:lnTo>
                    <a:pt x="43" y="49"/>
                  </a:lnTo>
                  <a:lnTo>
                    <a:pt x="44" y="49"/>
                  </a:lnTo>
                  <a:lnTo>
                    <a:pt x="44" y="50"/>
                  </a:lnTo>
                  <a:lnTo>
                    <a:pt x="44" y="51"/>
                  </a:lnTo>
                  <a:lnTo>
                    <a:pt x="45" y="51"/>
                  </a:lnTo>
                  <a:lnTo>
                    <a:pt x="44" y="51"/>
                  </a:lnTo>
                  <a:lnTo>
                    <a:pt x="45" y="51"/>
                  </a:lnTo>
                  <a:lnTo>
                    <a:pt x="46" y="51"/>
                  </a:lnTo>
                  <a:lnTo>
                    <a:pt x="47" y="51"/>
                  </a:lnTo>
                  <a:lnTo>
                    <a:pt x="47" y="53"/>
                  </a:lnTo>
                  <a:lnTo>
                    <a:pt x="48" y="53"/>
                  </a:lnTo>
                  <a:lnTo>
                    <a:pt x="48" y="54"/>
                  </a:lnTo>
                  <a:lnTo>
                    <a:pt x="50" y="54"/>
                  </a:lnTo>
                  <a:lnTo>
                    <a:pt x="51" y="54"/>
                  </a:lnTo>
                  <a:lnTo>
                    <a:pt x="52" y="55"/>
                  </a:lnTo>
                  <a:lnTo>
                    <a:pt x="53" y="55"/>
                  </a:lnTo>
                  <a:lnTo>
                    <a:pt x="54" y="56"/>
                  </a:lnTo>
                  <a:lnTo>
                    <a:pt x="54" y="57"/>
                  </a:lnTo>
                  <a:lnTo>
                    <a:pt x="53" y="57"/>
                  </a:lnTo>
                  <a:lnTo>
                    <a:pt x="53" y="58"/>
                  </a:lnTo>
                  <a:lnTo>
                    <a:pt x="54" y="60"/>
                  </a:lnTo>
                  <a:lnTo>
                    <a:pt x="54" y="61"/>
                  </a:lnTo>
                  <a:lnTo>
                    <a:pt x="54" y="62"/>
                  </a:lnTo>
                  <a:lnTo>
                    <a:pt x="55" y="62"/>
                  </a:lnTo>
                  <a:lnTo>
                    <a:pt x="55" y="63"/>
                  </a:lnTo>
                  <a:lnTo>
                    <a:pt x="54" y="63"/>
                  </a:lnTo>
                  <a:lnTo>
                    <a:pt x="55" y="64"/>
                  </a:lnTo>
                  <a:lnTo>
                    <a:pt x="54" y="64"/>
                  </a:lnTo>
                  <a:lnTo>
                    <a:pt x="55" y="64"/>
                  </a:lnTo>
                  <a:lnTo>
                    <a:pt x="54" y="64"/>
                  </a:lnTo>
                  <a:lnTo>
                    <a:pt x="55" y="64"/>
                  </a:lnTo>
                  <a:lnTo>
                    <a:pt x="54" y="64"/>
                  </a:lnTo>
                  <a:lnTo>
                    <a:pt x="54" y="65"/>
                  </a:lnTo>
                  <a:lnTo>
                    <a:pt x="54" y="64"/>
                  </a:lnTo>
                  <a:lnTo>
                    <a:pt x="53" y="64"/>
                  </a:lnTo>
                  <a:lnTo>
                    <a:pt x="53" y="63"/>
                  </a:lnTo>
                  <a:lnTo>
                    <a:pt x="52" y="63"/>
                  </a:lnTo>
                  <a:lnTo>
                    <a:pt x="52" y="62"/>
                  </a:lnTo>
                  <a:lnTo>
                    <a:pt x="51" y="62"/>
                  </a:lnTo>
                  <a:lnTo>
                    <a:pt x="51" y="63"/>
                  </a:lnTo>
                  <a:lnTo>
                    <a:pt x="51" y="62"/>
                  </a:lnTo>
                  <a:lnTo>
                    <a:pt x="50" y="61"/>
                  </a:lnTo>
                  <a:lnTo>
                    <a:pt x="48" y="61"/>
                  </a:lnTo>
                  <a:lnTo>
                    <a:pt x="50" y="61"/>
                  </a:lnTo>
                  <a:lnTo>
                    <a:pt x="48" y="61"/>
                  </a:lnTo>
                  <a:lnTo>
                    <a:pt x="48" y="60"/>
                  </a:lnTo>
                  <a:lnTo>
                    <a:pt x="47" y="60"/>
                  </a:lnTo>
                  <a:lnTo>
                    <a:pt x="48" y="60"/>
                  </a:lnTo>
                  <a:lnTo>
                    <a:pt x="48" y="58"/>
                  </a:lnTo>
                  <a:lnTo>
                    <a:pt x="47" y="58"/>
                  </a:lnTo>
                  <a:lnTo>
                    <a:pt x="47" y="60"/>
                  </a:lnTo>
                  <a:lnTo>
                    <a:pt x="46" y="60"/>
                  </a:lnTo>
                  <a:lnTo>
                    <a:pt x="45" y="60"/>
                  </a:lnTo>
                  <a:lnTo>
                    <a:pt x="44" y="60"/>
                  </a:lnTo>
                  <a:lnTo>
                    <a:pt x="43" y="60"/>
                  </a:lnTo>
                  <a:lnTo>
                    <a:pt x="43" y="61"/>
                  </a:lnTo>
                  <a:lnTo>
                    <a:pt x="41" y="61"/>
                  </a:lnTo>
                  <a:lnTo>
                    <a:pt x="40" y="61"/>
                  </a:lnTo>
                  <a:lnTo>
                    <a:pt x="40" y="62"/>
                  </a:lnTo>
                  <a:lnTo>
                    <a:pt x="41" y="62"/>
                  </a:lnTo>
                  <a:lnTo>
                    <a:pt x="43" y="62"/>
                  </a:lnTo>
                  <a:lnTo>
                    <a:pt x="44" y="62"/>
                  </a:lnTo>
                  <a:lnTo>
                    <a:pt x="44" y="63"/>
                  </a:lnTo>
                  <a:lnTo>
                    <a:pt x="43" y="63"/>
                  </a:lnTo>
                  <a:lnTo>
                    <a:pt x="43" y="64"/>
                  </a:lnTo>
                  <a:lnTo>
                    <a:pt x="44" y="64"/>
                  </a:lnTo>
                  <a:lnTo>
                    <a:pt x="43" y="64"/>
                  </a:lnTo>
                  <a:lnTo>
                    <a:pt x="44" y="64"/>
                  </a:lnTo>
                  <a:lnTo>
                    <a:pt x="44" y="65"/>
                  </a:lnTo>
                  <a:lnTo>
                    <a:pt x="44" y="67"/>
                  </a:lnTo>
                  <a:lnTo>
                    <a:pt x="44" y="65"/>
                  </a:lnTo>
                  <a:lnTo>
                    <a:pt x="45" y="67"/>
                  </a:lnTo>
                  <a:lnTo>
                    <a:pt x="46" y="67"/>
                  </a:lnTo>
                  <a:lnTo>
                    <a:pt x="46" y="65"/>
                  </a:lnTo>
                  <a:lnTo>
                    <a:pt x="45" y="65"/>
                  </a:lnTo>
                  <a:lnTo>
                    <a:pt x="46" y="65"/>
                  </a:lnTo>
                  <a:lnTo>
                    <a:pt x="46" y="67"/>
                  </a:lnTo>
                  <a:lnTo>
                    <a:pt x="47" y="67"/>
                  </a:lnTo>
                  <a:lnTo>
                    <a:pt x="46" y="67"/>
                  </a:lnTo>
                  <a:lnTo>
                    <a:pt x="47" y="68"/>
                  </a:lnTo>
                  <a:lnTo>
                    <a:pt x="48" y="68"/>
                  </a:lnTo>
                  <a:lnTo>
                    <a:pt x="48" y="69"/>
                  </a:lnTo>
                  <a:lnTo>
                    <a:pt x="47" y="69"/>
                  </a:lnTo>
                  <a:lnTo>
                    <a:pt x="46" y="69"/>
                  </a:lnTo>
                  <a:lnTo>
                    <a:pt x="45" y="69"/>
                  </a:lnTo>
                  <a:lnTo>
                    <a:pt x="45" y="70"/>
                  </a:lnTo>
                  <a:lnTo>
                    <a:pt x="44" y="70"/>
                  </a:lnTo>
                  <a:lnTo>
                    <a:pt x="43" y="70"/>
                  </a:lnTo>
                  <a:lnTo>
                    <a:pt x="44" y="70"/>
                  </a:lnTo>
                  <a:lnTo>
                    <a:pt x="43" y="70"/>
                  </a:lnTo>
                  <a:lnTo>
                    <a:pt x="43" y="69"/>
                  </a:lnTo>
                  <a:lnTo>
                    <a:pt x="44" y="69"/>
                  </a:lnTo>
                  <a:lnTo>
                    <a:pt x="43" y="69"/>
                  </a:lnTo>
                  <a:lnTo>
                    <a:pt x="43" y="68"/>
                  </a:lnTo>
                  <a:lnTo>
                    <a:pt x="41" y="68"/>
                  </a:lnTo>
                  <a:lnTo>
                    <a:pt x="43" y="68"/>
                  </a:lnTo>
                  <a:lnTo>
                    <a:pt x="41" y="68"/>
                  </a:lnTo>
                  <a:lnTo>
                    <a:pt x="40" y="67"/>
                  </a:lnTo>
                  <a:lnTo>
                    <a:pt x="39" y="67"/>
                  </a:lnTo>
                  <a:lnTo>
                    <a:pt x="38" y="65"/>
                  </a:lnTo>
                  <a:lnTo>
                    <a:pt x="38" y="67"/>
                  </a:lnTo>
                  <a:lnTo>
                    <a:pt x="38" y="68"/>
                  </a:lnTo>
                  <a:lnTo>
                    <a:pt x="38" y="69"/>
                  </a:lnTo>
                  <a:lnTo>
                    <a:pt x="39" y="70"/>
                  </a:lnTo>
                  <a:lnTo>
                    <a:pt x="40" y="71"/>
                  </a:lnTo>
                  <a:lnTo>
                    <a:pt x="40" y="72"/>
                  </a:lnTo>
                  <a:lnTo>
                    <a:pt x="40" y="74"/>
                  </a:lnTo>
                  <a:lnTo>
                    <a:pt x="41" y="74"/>
                  </a:lnTo>
                  <a:lnTo>
                    <a:pt x="41" y="75"/>
                  </a:lnTo>
                  <a:lnTo>
                    <a:pt x="43" y="75"/>
                  </a:lnTo>
                  <a:lnTo>
                    <a:pt x="43" y="76"/>
                  </a:lnTo>
                  <a:lnTo>
                    <a:pt x="41" y="76"/>
                  </a:lnTo>
                  <a:lnTo>
                    <a:pt x="43" y="76"/>
                  </a:lnTo>
                  <a:lnTo>
                    <a:pt x="43" y="77"/>
                  </a:lnTo>
                  <a:lnTo>
                    <a:pt x="44" y="78"/>
                  </a:lnTo>
                  <a:lnTo>
                    <a:pt x="44" y="79"/>
                  </a:lnTo>
                  <a:lnTo>
                    <a:pt x="43" y="79"/>
                  </a:lnTo>
                  <a:lnTo>
                    <a:pt x="43" y="81"/>
                  </a:lnTo>
                  <a:lnTo>
                    <a:pt x="43" y="82"/>
                  </a:lnTo>
                  <a:lnTo>
                    <a:pt x="44" y="82"/>
                  </a:lnTo>
                  <a:lnTo>
                    <a:pt x="45" y="82"/>
                  </a:lnTo>
                  <a:lnTo>
                    <a:pt x="45" y="83"/>
                  </a:lnTo>
                  <a:lnTo>
                    <a:pt x="45" y="84"/>
                  </a:lnTo>
                  <a:lnTo>
                    <a:pt x="44" y="84"/>
                  </a:lnTo>
                  <a:lnTo>
                    <a:pt x="44" y="83"/>
                  </a:lnTo>
                  <a:lnTo>
                    <a:pt x="43" y="83"/>
                  </a:lnTo>
                  <a:lnTo>
                    <a:pt x="41" y="82"/>
                  </a:lnTo>
                  <a:lnTo>
                    <a:pt x="40" y="81"/>
                  </a:lnTo>
                  <a:lnTo>
                    <a:pt x="41" y="81"/>
                  </a:lnTo>
                  <a:lnTo>
                    <a:pt x="40" y="81"/>
                  </a:lnTo>
                  <a:lnTo>
                    <a:pt x="40" y="79"/>
                  </a:lnTo>
                  <a:lnTo>
                    <a:pt x="39" y="78"/>
                  </a:lnTo>
                  <a:lnTo>
                    <a:pt x="38" y="78"/>
                  </a:lnTo>
                  <a:lnTo>
                    <a:pt x="37" y="78"/>
                  </a:lnTo>
                  <a:lnTo>
                    <a:pt x="37" y="79"/>
                  </a:lnTo>
                  <a:lnTo>
                    <a:pt x="36" y="81"/>
                  </a:lnTo>
                  <a:lnTo>
                    <a:pt x="37" y="81"/>
                  </a:lnTo>
                  <a:lnTo>
                    <a:pt x="36" y="81"/>
                  </a:lnTo>
                  <a:lnTo>
                    <a:pt x="37" y="81"/>
                  </a:lnTo>
                  <a:lnTo>
                    <a:pt x="37" y="82"/>
                  </a:lnTo>
                  <a:lnTo>
                    <a:pt x="36" y="82"/>
                  </a:lnTo>
                  <a:lnTo>
                    <a:pt x="36" y="81"/>
                  </a:lnTo>
                  <a:lnTo>
                    <a:pt x="36" y="82"/>
                  </a:lnTo>
                  <a:lnTo>
                    <a:pt x="36" y="83"/>
                  </a:lnTo>
                  <a:lnTo>
                    <a:pt x="37" y="84"/>
                  </a:lnTo>
                  <a:lnTo>
                    <a:pt x="36" y="84"/>
                  </a:lnTo>
                  <a:lnTo>
                    <a:pt x="37" y="84"/>
                  </a:lnTo>
                  <a:lnTo>
                    <a:pt x="36" y="84"/>
                  </a:lnTo>
                  <a:lnTo>
                    <a:pt x="36" y="85"/>
                  </a:lnTo>
                  <a:lnTo>
                    <a:pt x="36" y="84"/>
                  </a:lnTo>
                  <a:lnTo>
                    <a:pt x="34" y="83"/>
                  </a:lnTo>
                  <a:lnTo>
                    <a:pt x="34" y="82"/>
                  </a:lnTo>
                  <a:lnTo>
                    <a:pt x="34" y="81"/>
                  </a:lnTo>
                  <a:lnTo>
                    <a:pt x="34" y="79"/>
                  </a:lnTo>
                  <a:lnTo>
                    <a:pt x="33" y="79"/>
                  </a:lnTo>
                  <a:lnTo>
                    <a:pt x="33" y="78"/>
                  </a:lnTo>
                  <a:lnTo>
                    <a:pt x="32" y="77"/>
                  </a:lnTo>
                  <a:lnTo>
                    <a:pt x="31" y="77"/>
                  </a:lnTo>
                  <a:lnTo>
                    <a:pt x="31" y="76"/>
                  </a:lnTo>
                  <a:lnTo>
                    <a:pt x="31" y="75"/>
                  </a:lnTo>
                  <a:lnTo>
                    <a:pt x="30" y="75"/>
                  </a:lnTo>
                  <a:lnTo>
                    <a:pt x="29" y="75"/>
                  </a:lnTo>
                  <a:lnTo>
                    <a:pt x="29" y="76"/>
                  </a:lnTo>
                  <a:lnTo>
                    <a:pt x="29" y="77"/>
                  </a:lnTo>
                  <a:lnTo>
                    <a:pt x="29" y="78"/>
                  </a:lnTo>
                  <a:lnTo>
                    <a:pt x="29" y="79"/>
                  </a:lnTo>
                  <a:lnTo>
                    <a:pt x="28" y="79"/>
                  </a:lnTo>
                  <a:lnTo>
                    <a:pt x="26" y="78"/>
                  </a:lnTo>
                  <a:lnTo>
                    <a:pt x="25" y="78"/>
                  </a:lnTo>
                  <a:lnTo>
                    <a:pt x="25" y="77"/>
                  </a:lnTo>
                  <a:lnTo>
                    <a:pt x="25" y="76"/>
                  </a:lnTo>
                  <a:lnTo>
                    <a:pt x="24" y="75"/>
                  </a:lnTo>
                  <a:lnTo>
                    <a:pt x="23" y="74"/>
                  </a:lnTo>
                  <a:lnTo>
                    <a:pt x="23" y="72"/>
                  </a:lnTo>
                  <a:lnTo>
                    <a:pt x="23" y="71"/>
                  </a:lnTo>
                  <a:lnTo>
                    <a:pt x="24" y="71"/>
                  </a:lnTo>
                  <a:lnTo>
                    <a:pt x="24" y="70"/>
                  </a:lnTo>
                  <a:lnTo>
                    <a:pt x="24" y="69"/>
                  </a:lnTo>
                  <a:lnTo>
                    <a:pt x="23" y="68"/>
                  </a:lnTo>
                  <a:lnTo>
                    <a:pt x="23" y="67"/>
                  </a:lnTo>
                  <a:lnTo>
                    <a:pt x="22" y="65"/>
                  </a:lnTo>
                  <a:lnTo>
                    <a:pt x="21" y="65"/>
                  </a:lnTo>
                  <a:lnTo>
                    <a:pt x="19" y="64"/>
                  </a:lnTo>
                  <a:lnTo>
                    <a:pt x="19" y="65"/>
                  </a:lnTo>
                  <a:lnTo>
                    <a:pt x="19" y="64"/>
                  </a:lnTo>
                  <a:lnTo>
                    <a:pt x="19" y="63"/>
                  </a:lnTo>
                  <a:lnTo>
                    <a:pt x="18" y="63"/>
                  </a:lnTo>
                  <a:lnTo>
                    <a:pt x="18" y="62"/>
                  </a:lnTo>
                  <a:lnTo>
                    <a:pt x="17" y="62"/>
                  </a:lnTo>
                  <a:lnTo>
                    <a:pt x="16" y="62"/>
                  </a:lnTo>
                  <a:lnTo>
                    <a:pt x="17" y="61"/>
                  </a:lnTo>
                  <a:lnTo>
                    <a:pt x="18" y="60"/>
                  </a:lnTo>
                  <a:lnTo>
                    <a:pt x="19" y="60"/>
                  </a:lnTo>
                  <a:lnTo>
                    <a:pt x="19" y="58"/>
                  </a:lnTo>
                  <a:lnTo>
                    <a:pt x="18" y="58"/>
                  </a:lnTo>
                  <a:lnTo>
                    <a:pt x="18" y="60"/>
                  </a:lnTo>
                  <a:lnTo>
                    <a:pt x="19" y="58"/>
                  </a:lnTo>
                  <a:lnTo>
                    <a:pt x="19" y="57"/>
                  </a:lnTo>
                  <a:lnTo>
                    <a:pt x="19" y="56"/>
                  </a:lnTo>
                  <a:lnTo>
                    <a:pt x="21" y="56"/>
                  </a:lnTo>
                  <a:lnTo>
                    <a:pt x="22" y="57"/>
                  </a:lnTo>
                  <a:lnTo>
                    <a:pt x="23" y="57"/>
                  </a:lnTo>
                  <a:lnTo>
                    <a:pt x="23" y="56"/>
                  </a:lnTo>
                  <a:lnTo>
                    <a:pt x="24" y="56"/>
                  </a:lnTo>
                  <a:lnTo>
                    <a:pt x="24" y="55"/>
                  </a:lnTo>
                  <a:lnTo>
                    <a:pt x="25" y="54"/>
                  </a:lnTo>
                  <a:lnTo>
                    <a:pt x="26" y="54"/>
                  </a:lnTo>
                  <a:lnTo>
                    <a:pt x="28" y="55"/>
                  </a:lnTo>
                  <a:lnTo>
                    <a:pt x="29" y="55"/>
                  </a:lnTo>
                  <a:lnTo>
                    <a:pt x="29" y="56"/>
                  </a:lnTo>
                  <a:lnTo>
                    <a:pt x="30" y="56"/>
                  </a:lnTo>
                  <a:lnTo>
                    <a:pt x="31" y="56"/>
                  </a:lnTo>
                  <a:lnTo>
                    <a:pt x="31" y="57"/>
                  </a:lnTo>
                  <a:lnTo>
                    <a:pt x="32" y="56"/>
                  </a:lnTo>
                  <a:lnTo>
                    <a:pt x="32" y="57"/>
                  </a:lnTo>
                  <a:lnTo>
                    <a:pt x="33" y="57"/>
                  </a:lnTo>
                  <a:lnTo>
                    <a:pt x="34" y="57"/>
                  </a:lnTo>
                  <a:lnTo>
                    <a:pt x="36" y="58"/>
                  </a:lnTo>
                  <a:lnTo>
                    <a:pt x="37" y="58"/>
                  </a:lnTo>
                  <a:lnTo>
                    <a:pt x="38" y="60"/>
                  </a:lnTo>
                  <a:lnTo>
                    <a:pt x="39" y="61"/>
                  </a:lnTo>
                  <a:lnTo>
                    <a:pt x="40" y="61"/>
                  </a:lnTo>
                  <a:lnTo>
                    <a:pt x="40" y="60"/>
                  </a:lnTo>
                  <a:lnTo>
                    <a:pt x="39" y="60"/>
                  </a:lnTo>
                  <a:lnTo>
                    <a:pt x="39" y="58"/>
                  </a:lnTo>
                  <a:lnTo>
                    <a:pt x="40" y="58"/>
                  </a:lnTo>
                  <a:lnTo>
                    <a:pt x="41" y="58"/>
                  </a:lnTo>
                  <a:lnTo>
                    <a:pt x="43" y="58"/>
                  </a:lnTo>
                  <a:lnTo>
                    <a:pt x="44" y="57"/>
                  </a:lnTo>
                  <a:lnTo>
                    <a:pt x="43" y="57"/>
                  </a:lnTo>
                  <a:lnTo>
                    <a:pt x="44" y="57"/>
                  </a:lnTo>
                  <a:lnTo>
                    <a:pt x="43" y="57"/>
                  </a:lnTo>
                  <a:lnTo>
                    <a:pt x="43" y="56"/>
                  </a:lnTo>
                  <a:lnTo>
                    <a:pt x="41" y="56"/>
                  </a:lnTo>
                  <a:lnTo>
                    <a:pt x="40" y="56"/>
                  </a:lnTo>
                  <a:lnTo>
                    <a:pt x="41" y="56"/>
                  </a:lnTo>
                  <a:lnTo>
                    <a:pt x="40" y="56"/>
                  </a:lnTo>
                  <a:lnTo>
                    <a:pt x="39" y="56"/>
                  </a:lnTo>
                  <a:lnTo>
                    <a:pt x="40" y="56"/>
                  </a:lnTo>
                  <a:lnTo>
                    <a:pt x="39" y="56"/>
                  </a:lnTo>
                  <a:lnTo>
                    <a:pt x="38" y="56"/>
                  </a:lnTo>
                  <a:lnTo>
                    <a:pt x="37" y="56"/>
                  </a:lnTo>
                  <a:lnTo>
                    <a:pt x="37" y="55"/>
                  </a:lnTo>
                  <a:lnTo>
                    <a:pt x="38" y="55"/>
                  </a:lnTo>
                  <a:lnTo>
                    <a:pt x="37" y="55"/>
                  </a:lnTo>
                  <a:lnTo>
                    <a:pt x="36" y="55"/>
                  </a:lnTo>
                  <a:lnTo>
                    <a:pt x="36" y="54"/>
                  </a:lnTo>
                  <a:lnTo>
                    <a:pt x="34" y="54"/>
                  </a:lnTo>
                  <a:lnTo>
                    <a:pt x="36" y="55"/>
                  </a:lnTo>
                  <a:lnTo>
                    <a:pt x="34" y="55"/>
                  </a:lnTo>
                  <a:lnTo>
                    <a:pt x="34" y="54"/>
                  </a:lnTo>
                  <a:lnTo>
                    <a:pt x="33" y="53"/>
                  </a:lnTo>
                  <a:lnTo>
                    <a:pt x="32" y="53"/>
                  </a:lnTo>
                  <a:lnTo>
                    <a:pt x="32" y="54"/>
                  </a:lnTo>
                  <a:lnTo>
                    <a:pt x="31" y="54"/>
                  </a:lnTo>
                  <a:lnTo>
                    <a:pt x="30" y="54"/>
                  </a:lnTo>
                  <a:lnTo>
                    <a:pt x="30" y="55"/>
                  </a:lnTo>
                  <a:lnTo>
                    <a:pt x="30" y="54"/>
                  </a:lnTo>
                  <a:lnTo>
                    <a:pt x="29" y="54"/>
                  </a:lnTo>
                  <a:lnTo>
                    <a:pt x="28" y="53"/>
                  </a:lnTo>
                  <a:lnTo>
                    <a:pt x="28" y="54"/>
                  </a:lnTo>
                  <a:lnTo>
                    <a:pt x="28" y="53"/>
                  </a:lnTo>
                  <a:lnTo>
                    <a:pt x="26" y="53"/>
                  </a:lnTo>
                  <a:lnTo>
                    <a:pt x="25" y="54"/>
                  </a:lnTo>
                  <a:lnTo>
                    <a:pt x="25" y="53"/>
                  </a:lnTo>
                  <a:lnTo>
                    <a:pt x="25" y="54"/>
                  </a:lnTo>
                  <a:lnTo>
                    <a:pt x="24" y="54"/>
                  </a:lnTo>
                  <a:lnTo>
                    <a:pt x="23" y="54"/>
                  </a:lnTo>
                  <a:lnTo>
                    <a:pt x="22" y="54"/>
                  </a:lnTo>
                  <a:lnTo>
                    <a:pt x="22" y="55"/>
                  </a:lnTo>
                  <a:lnTo>
                    <a:pt x="21" y="55"/>
                  </a:lnTo>
                  <a:lnTo>
                    <a:pt x="19" y="54"/>
                  </a:lnTo>
                  <a:lnTo>
                    <a:pt x="21" y="54"/>
                  </a:lnTo>
                  <a:lnTo>
                    <a:pt x="21" y="55"/>
                  </a:lnTo>
                  <a:lnTo>
                    <a:pt x="21" y="54"/>
                  </a:lnTo>
                  <a:lnTo>
                    <a:pt x="19" y="54"/>
                  </a:lnTo>
                  <a:lnTo>
                    <a:pt x="19" y="53"/>
                  </a:lnTo>
                  <a:lnTo>
                    <a:pt x="18" y="53"/>
                  </a:lnTo>
                  <a:lnTo>
                    <a:pt x="18" y="51"/>
                  </a:lnTo>
                  <a:lnTo>
                    <a:pt x="18" y="53"/>
                  </a:lnTo>
                  <a:lnTo>
                    <a:pt x="18" y="54"/>
                  </a:lnTo>
                  <a:lnTo>
                    <a:pt x="17" y="54"/>
                  </a:lnTo>
                  <a:lnTo>
                    <a:pt x="17" y="55"/>
                  </a:lnTo>
                  <a:lnTo>
                    <a:pt x="16" y="55"/>
                  </a:lnTo>
                  <a:lnTo>
                    <a:pt x="16" y="54"/>
                  </a:lnTo>
                  <a:lnTo>
                    <a:pt x="16" y="53"/>
                  </a:lnTo>
                  <a:lnTo>
                    <a:pt x="15" y="53"/>
                  </a:lnTo>
                  <a:lnTo>
                    <a:pt x="16" y="53"/>
                  </a:lnTo>
                  <a:lnTo>
                    <a:pt x="16" y="51"/>
                  </a:lnTo>
                  <a:lnTo>
                    <a:pt x="15" y="51"/>
                  </a:lnTo>
                  <a:lnTo>
                    <a:pt x="16" y="51"/>
                  </a:lnTo>
                  <a:lnTo>
                    <a:pt x="15" y="51"/>
                  </a:lnTo>
                  <a:lnTo>
                    <a:pt x="15" y="50"/>
                  </a:lnTo>
                  <a:lnTo>
                    <a:pt x="14" y="49"/>
                  </a:lnTo>
                  <a:lnTo>
                    <a:pt x="12" y="49"/>
                  </a:lnTo>
                  <a:lnTo>
                    <a:pt x="12" y="48"/>
                  </a:lnTo>
                  <a:lnTo>
                    <a:pt x="12" y="47"/>
                  </a:lnTo>
                  <a:lnTo>
                    <a:pt x="11" y="47"/>
                  </a:lnTo>
                  <a:lnTo>
                    <a:pt x="11" y="48"/>
                  </a:lnTo>
                  <a:lnTo>
                    <a:pt x="11" y="47"/>
                  </a:lnTo>
                  <a:lnTo>
                    <a:pt x="11" y="48"/>
                  </a:lnTo>
                  <a:lnTo>
                    <a:pt x="11" y="47"/>
                  </a:lnTo>
                  <a:lnTo>
                    <a:pt x="11" y="48"/>
                  </a:lnTo>
                  <a:lnTo>
                    <a:pt x="11" y="47"/>
                  </a:lnTo>
                  <a:lnTo>
                    <a:pt x="10" y="47"/>
                  </a:lnTo>
                  <a:lnTo>
                    <a:pt x="10" y="46"/>
                  </a:lnTo>
                  <a:lnTo>
                    <a:pt x="11" y="46"/>
                  </a:lnTo>
                  <a:lnTo>
                    <a:pt x="10" y="46"/>
                  </a:lnTo>
                  <a:lnTo>
                    <a:pt x="10" y="44"/>
                  </a:lnTo>
                  <a:lnTo>
                    <a:pt x="11" y="44"/>
                  </a:lnTo>
                  <a:lnTo>
                    <a:pt x="12" y="44"/>
                  </a:lnTo>
                  <a:lnTo>
                    <a:pt x="11" y="44"/>
                  </a:lnTo>
                  <a:lnTo>
                    <a:pt x="12" y="44"/>
                  </a:lnTo>
                  <a:lnTo>
                    <a:pt x="11" y="44"/>
                  </a:lnTo>
                  <a:lnTo>
                    <a:pt x="12" y="44"/>
                  </a:lnTo>
                  <a:lnTo>
                    <a:pt x="14" y="44"/>
                  </a:lnTo>
                  <a:lnTo>
                    <a:pt x="14" y="46"/>
                  </a:lnTo>
                  <a:lnTo>
                    <a:pt x="15" y="46"/>
                  </a:lnTo>
                  <a:lnTo>
                    <a:pt x="16" y="46"/>
                  </a:lnTo>
                  <a:lnTo>
                    <a:pt x="16" y="44"/>
                  </a:lnTo>
                  <a:lnTo>
                    <a:pt x="16" y="43"/>
                  </a:lnTo>
                  <a:lnTo>
                    <a:pt x="15" y="43"/>
                  </a:lnTo>
                  <a:lnTo>
                    <a:pt x="14" y="43"/>
                  </a:lnTo>
                  <a:lnTo>
                    <a:pt x="15" y="43"/>
                  </a:lnTo>
                  <a:lnTo>
                    <a:pt x="14" y="43"/>
                  </a:lnTo>
                  <a:lnTo>
                    <a:pt x="12" y="43"/>
                  </a:lnTo>
                  <a:lnTo>
                    <a:pt x="12" y="42"/>
                  </a:lnTo>
                  <a:lnTo>
                    <a:pt x="11" y="43"/>
                  </a:lnTo>
                  <a:lnTo>
                    <a:pt x="12" y="43"/>
                  </a:lnTo>
                  <a:lnTo>
                    <a:pt x="11" y="43"/>
                  </a:lnTo>
                  <a:lnTo>
                    <a:pt x="11" y="42"/>
                  </a:lnTo>
                  <a:lnTo>
                    <a:pt x="11" y="43"/>
                  </a:lnTo>
                  <a:lnTo>
                    <a:pt x="11" y="42"/>
                  </a:lnTo>
                  <a:lnTo>
                    <a:pt x="10" y="42"/>
                  </a:lnTo>
                  <a:lnTo>
                    <a:pt x="10" y="43"/>
                  </a:lnTo>
                  <a:lnTo>
                    <a:pt x="11" y="44"/>
                  </a:lnTo>
                  <a:lnTo>
                    <a:pt x="10" y="44"/>
                  </a:lnTo>
                  <a:lnTo>
                    <a:pt x="10" y="43"/>
                  </a:lnTo>
                  <a:lnTo>
                    <a:pt x="9" y="42"/>
                  </a:lnTo>
                  <a:lnTo>
                    <a:pt x="8" y="42"/>
                  </a:lnTo>
                  <a:lnTo>
                    <a:pt x="7" y="41"/>
                  </a:lnTo>
                  <a:lnTo>
                    <a:pt x="7" y="40"/>
                  </a:lnTo>
                  <a:lnTo>
                    <a:pt x="5" y="39"/>
                  </a:lnTo>
                  <a:lnTo>
                    <a:pt x="5" y="40"/>
                  </a:lnTo>
                  <a:lnTo>
                    <a:pt x="5" y="39"/>
                  </a:lnTo>
                  <a:lnTo>
                    <a:pt x="4" y="39"/>
                  </a:lnTo>
                  <a:lnTo>
                    <a:pt x="4" y="37"/>
                  </a:lnTo>
                  <a:lnTo>
                    <a:pt x="3" y="37"/>
                  </a:lnTo>
                  <a:lnTo>
                    <a:pt x="3" y="36"/>
                  </a:lnTo>
                  <a:lnTo>
                    <a:pt x="3" y="35"/>
                  </a:lnTo>
                  <a:lnTo>
                    <a:pt x="2" y="35"/>
                  </a:lnTo>
                  <a:lnTo>
                    <a:pt x="2" y="34"/>
                  </a:lnTo>
                  <a:lnTo>
                    <a:pt x="1" y="33"/>
                  </a:lnTo>
                  <a:lnTo>
                    <a:pt x="0" y="33"/>
                  </a:lnTo>
                  <a:lnTo>
                    <a:pt x="1" y="33"/>
                  </a:lnTo>
                  <a:lnTo>
                    <a:pt x="2" y="33"/>
                  </a:lnTo>
                  <a:lnTo>
                    <a:pt x="2" y="34"/>
                  </a:lnTo>
                  <a:lnTo>
                    <a:pt x="2" y="33"/>
                  </a:lnTo>
                  <a:lnTo>
                    <a:pt x="3" y="33"/>
                  </a:lnTo>
                  <a:lnTo>
                    <a:pt x="3" y="32"/>
                  </a:lnTo>
                  <a:lnTo>
                    <a:pt x="3" y="30"/>
                  </a:lnTo>
                  <a:lnTo>
                    <a:pt x="4" y="32"/>
                  </a:lnTo>
                  <a:lnTo>
                    <a:pt x="4" y="30"/>
                  </a:lnTo>
                  <a:lnTo>
                    <a:pt x="4" y="29"/>
                  </a:lnTo>
                  <a:lnTo>
                    <a:pt x="3" y="29"/>
                  </a:lnTo>
                  <a:lnTo>
                    <a:pt x="3" y="28"/>
                  </a:lnTo>
                  <a:lnTo>
                    <a:pt x="4" y="28"/>
                  </a:lnTo>
                  <a:lnTo>
                    <a:pt x="4" y="27"/>
                  </a:lnTo>
                  <a:lnTo>
                    <a:pt x="5" y="27"/>
                  </a:lnTo>
                  <a:lnTo>
                    <a:pt x="7" y="27"/>
                  </a:lnTo>
                  <a:lnTo>
                    <a:pt x="8" y="27"/>
                  </a:lnTo>
                  <a:lnTo>
                    <a:pt x="8" y="26"/>
                  </a:lnTo>
                  <a:lnTo>
                    <a:pt x="8" y="25"/>
                  </a:lnTo>
                  <a:lnTo>
                    <a:pt x="8" y="23"/>
                  </a:lnTo>
                  <a:lnTo>
                    <a:pt x="9" y="23"/>
                  </a:lnTo>
                  <a:lnTo>
                    <a:pt x="9" y="22"/>
                  </a:lnTo>
                  <a:lnTo>
                    <a:pt x="9" y="21"/>
                  </a:lnTo>
                  <a:lnTo>
                    <a:pt x="10" y="20"/>
                  </a:lnTo>
                  <a:lnTo>
                    <a:pt x="10" y="21"/>
                  </a:lnTo>
                  <a:lnTo>
                    <a:pt x="10" y="20"/>
                  </a:lnTo>
                  <a:lnTo>
                    <a:pt x="11" y="20"/>
                  </a:lnTo>
                  <a:lnTo>
                    <a:pt x="11" y="19"/>
                  </a:lnTo>
                  <a:lnTo>
                    <a:pt x="11" y="18"/>
                  </a:lnTo>
                  <a:lnTo>
                    <a:pt x="12" y="16"/>
                  </a:lnTo>
                  <a:lnTo>
                    <a:pt x="12" y="15"/>
                  </a:lnTo>
                  <a:lnTo>
                    <a:pt x="11" y="15"/>
                  </a:lnTo>
                  <a:lnTo>
                    <a:pt x="12" y="16"/>
                  </a:lnTo>
                  <a:lnTo>
                    <a:pt x="11" y="16"/>
                  </a:lnTo>
                  <a:lnTo>
                    <a:pt x="11" y="18"/>
                  </a:lnTo>
                  <a:lnTo>
                    <a:pt x="11" y="16"/>
                  </a:lnTo>
                  <a:lnTo>
                    <a:pt x="10" y="16"/>
                  </a:lnTo>
                  <a:lnTo>
                    <a:pt x="10" y="15"/>
                  </a:lnTo>
                  <a:lnTo>
                    <a:pt x="11" y="15"/>
                  </a:lnTo>
                  <a:lnTo>
                    <a:pt x="11" y="14"/>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63" name="Freeform 1328">
              <a:extLst>
                <a:ext uri="{FF2B5EF4-FFF2-40B4-BE49-F238E27FC236}">
                  <a16:creationId xmlns:a16="http://schemas.microsoft.com/office/drawing/2014/main" id="{807F965C-DADF-43EA-80C7-81EE2BDC93BA}"/>
                </a:ext>
              </a:extLst>
            </p:cNvPr>
            <p:cNvSpPr>
              <a:spLocks/>
            </p:cNvSpPr>
            <p:nvPr/>
          </p:nvSpPr>
          <p:spPr bwMode="auto">
            <a:xfrm>
              <a:off x="6090887" y="2444402"/>
              <a:ext cx="2671" cy="1336"/>
            </a:xfrm>
            <a:custGeom>
              <a:avLst/>
              <a:gdLst>
                <a:gd name="T0" fmla="*/ 2 w 2"/>
                <a:gd name="T1" fmla="*/ 1 h 1"/>
                <a:gd name="T2" fmla="*/ 2 w 2"/>
                <a:gd name="T3" fmla="*/ 1 h 1"/>
                <a:gd name="T4" fmla="*/ 2 w 2"/>
                <a:gd name="T5" fmla="*/ 1 h 1"/>
                <a:gd name="T6" fmla="*/ 2 w 2"/>
                <a:gd name="T7" fmla="*/ 1 h 1"/>
                <a:gd name="T8" fmla="*/ 2 w 2"/>
                <a:gd name="T9" fmla="*/ 1 h 1"/>
                <a:gd name="T10" fmla="*/ 2 w 2"/>
                <a:gd name="T11" fmla="*/ 1 h 1"/>
                <a:gd name="T12" fmla="*/ 0 w 2"/>
                <a:gd name="T13" fmla="*/ 1 h 1"/>
                <a:gd name="T14" fmla="*/ 0 w 2"/>
                <a:gd name="T15" fmla="*/ 1 h 1"/>
                <a:gd name="T16" fmla="*/ 0 w 2"/>
                <a:gd name="T17" fmla="*/ 1 h 1"/>
                <a:gd name="T18" fmla="*/ 0 w 2"/>
                <a:gd name="T19" fmla="*/ 1 h 1"/>
                <a:gd name="T20" fmla="*/ 0 w 2"/>
                <a:gd name="T21" fmla="*/ 1 h 1"/>
                <a:gd name="T22" fmla="*/ 0 w 2"/>
                <a:gd name="T23" fmla="*/ 1 h 1"/>
                <a:gd name="T24" fmla="*/ 0 w 2"/>
                <a:gd name="T25" fmla="*/ 1 h 1"/>
                <a:gd name="T26" fmla="*/ 0 w 2"/>
                <a:gd name="T27" fmla="*/ 1 h 1"/>
                <a:gd name="T28" fmla="*/ 0 w 2"/>
                <a:gd name="T29" fmla="*/ 1 h 1"/>
                <a:gd name="T30" fmla="*/ 0 w 2"/>
                <a:gd name="T31" fmla="*/ 1 h 1"/>
                <a:gd name="T32" fmla="*/ 0 w 2"/>
                <a:gd name="T33" fmla="*/ 1 h 1"/>
                <a:gd name="T34" fmla="*/ 0 w 2"/>
                <a:gd name="T35" fmla="*/ 1 h 1"/>
                <a:gd name="T36" fmla="*/ 0 w 2"/>
                <a:gd name="T37" fmla="*/ 0 h 1"/>
                <a:gd name="T38" fmla="*/ 0 w 2"/>
                <a:gd name="T39" fmla="*/ 0 h 1"/>
                <a:gd name="T40" fmla="*/ 2 w 2"/>
                <a:gd name="T41" fmla="*/ 1 h 1"/>
                <a:gd name="T42" fmla="*/ 2 w 2"/>
                <a:gd name="T4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 h="1">
                  <a:moveTo>
                    <a:pt x="2" y="1"/>
                  </a:moveTo>
                  <a:lnTo>
                    <a:pt x="2" y="1"/>
                  </a:lnTo>
                  <a:lnTo>
                    <a:pt x="2" y="1"/>
                  </a:lnTo>
                  <a:lnTo>
                    <a:pt x="2" y="1"/>
                  </a:lnTo>
                  <a:lnTo>
                    <a:pt x="2" y="1"/>
                  </a:lnTo>
                  <a:lnTo>
                    <a:pt x="2"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0"/>
                  </a:lnTo>
                  <a:lnTo>
                    <a:pt x="0" y="0"/>
                  </a:lnTo>
                  <a:lnTo>
                    <a:pt x="2" y="1"/>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64" name="Freeform 1329">
              <a:extLst>
                <a:ext uri="{FF2B5EF4-FFF2-40B4-BE49-F238E27FC236}">
                  <a16:creationId xmlns:a16="http://schemas.microsoft.com/office/drawing/2014/main" id="{940E122E-6306-4F78-90B1-73D57D169D5A}"/>
                </a:ext>
              </a:extLst>
            </p:cNvPr>
            <p:cNvSpPr>
              <a:spLocks/>
            </p:cNvSpPr>
            <p:nvPr/>
          </p:nvSpPr>
          <p:spPr bwMode="auto">
            <a:xfrm>
              <a:off x="6098900" y="2444402"/>
              <a:ext cx="8013" cy="2671"/>
            </a:xfrm>
            <a:custGeom>
              <a:avLst/>
              <a:gdLst>
                <a:gd name="T0" fmla="*/ 1 w 6"/>
                <a:gd name="T1" fmla="*/ 0 h 2"/>
                <a:gd name="T2" fmla="*/ 1 w 6"/>
                <a:gd name="T3" fmla="*/ 0 h 2"/>
                <a:gd name="T4" fmla="*/ 1 w 6"/>
                <a:gd name="T5" fmla="*/ 0 h 2"/>
                <a:gd name="T6" fmla="*/ 1 w 6"/>
                <a:gd name="T7" fmla="*/ 0 h 2"/>
                <a:gd name="T8" fmla="*/ 1 w 6"/>
                <a:gd name="T9" fmla="*/ 0 h 2"/>
                <a:gd name="T10" fmla="*/ 1 w 6"/>
                <a:gd name="T11" fmla="*/ 0 h 2"/>
                <a:gd name="T12" fmla="*/ 1 w 6"/>
                <a:gd name="T13" fmla="*/ 0 h 2"/>
                <a:gd name="T14" fmla="*/ 3 w 6"/>
                <a:gd name="T15" fmla="*/ 0 h 2"/>
                <a:gd name="T16" fmla="*/ 3 w 6"/>
                <a:gd name="T17" fmla="*/ 0 h 2"/>
                <a:gd name="T18" fmla="*/ 4 w 6"/>
                <a:gd name="T19" fmla="*/ 1 h 2"/>
                <a:gd name="T20" fmla="*/ 4 w 6"/>
                <a:gd name="T21" fmla="*/ 1 h 2"/>
                <a:gd name="T22" fmla="*/ 4 w 6"/>
                <a:gd name="T23" fmla="*/ 1 h 2"/>
                <a:gd name="T24" fmla="*/ 4 w 6"/>
                <a:gd name="T25" fmla="*/ 1 h 2"/>
                <a:gd name="T26" fmla="*/ 4 w 6"/>
                <a:gd name="T27" fmla="*/ 1 h 2"/>
                <a:gd name="T28" fmla="*/ 4 w 6"/>
                <a:gd name="T29" fmla="*/ 1 h 2"/>
                <a:gd name="T30" fmla="*/ 5 w 6"/>
                <a:gd name="T31" fmla="*/ 1 h 2"/>
                <a:gd name="T32" fmla="*/ 5 w 6"/>
                <a:gd name="T33" fmla="*/ 1 h 2"/>
                <a:gd name="T34" fmla="*/ 5 w 6"/>
                <a:gd name="T35" fmla="*/ 1 h 2"/>
                <a:gd name="T36" fmla="*/ 6 w 6"/>
                <a:gd name="T37" fmla="*/ 1 h 2"/>
                <a:gd name="T38" fmla="*/ 6 w 6"/>
                <a:gd name="T39" fmla="*/ 2 h 2"/>
                <a:gd name="T40" fmla="*/ 1 w 6"/>
                <a:gd name="T41" fmla="*/ 1 h 2"/>
                <a:gd name="T42" fmla="*/ 1 w 6"/>
                <a:gd name="T43" fmla="*/ 1 h 2"/>
                <a:gd name="T44" fmla="*/ 1 w 6"/>
                <a:gd name="T45" fmla="*/ 1 h 2"/>
                <a:gd name="T46" fmla="*/ 0 w 6"/>
                <a:gd name="T47" fmla="*/ 0 h 2"/>
                <a:gd name="T48" fmla="*/ 0 w 6"/>
                <a:gd name="T49" fmla="*/ 0 h 2"/>
                <a:gd name="T50" fmla="*/ 0 w 6"/>
                <a:gd name="T51" fmla="*/ 0 h 2"/>
                <a:gd name="T52" fmla="*/ 1 w 6"/>
                <a:gd name="T53" fmla="*/ 0 h 2"/>
                <a:gd name="T54" fmla="*/ 1 w 6"/>
                <a:gd name="T55" fmla="*/ 0 h 2"/>
                <a:gd name="T56" fmla="*/ 1 w 6"/>
                <a:gd name="T57" fmla="*/ 0 h 2"/>
                <a:gd name="T58" fmla="*/ 1 w 6"/>
                <a:gd name="T5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 h="2">
                  <a:moveTo>
                    <a:pt x="1" y="0"/>
                  </a:moveTo>
                  <a:lnTo>
                    <a:pt x="1" y="0"/>
                  </a:lnTo>
                  <a:lnTo>
                    <a:pt x="1" y="0"/>
                  </a:lnTo>
                  <a:lnTo>
                    <a:pt x="1" y="0"/>
                  </a:lnTo>
                  <a:lnTo>
                    <a:pt x="1" y="0"/>
                  </a:lnTo>
                  <a:lnTo>
                    <a:pt x="1" y="0"/>
                  </a:lnTo>
                  <a:lnTo>
                    <a:pt x="1" y="0"/>
                  </a:lnTo>
                  <a:lnTo>
                    <a:pt x="3" y="0"/>
                  </a:lnTo>
                  <a:lnTo>
                    <a:pt x="3" y="0"/>
                  </a:lnTo>
                  <a:lnTo>
                    <a:pt x="4" y="1"/>
                  </a:lnTo>
                  <a:lnTo>
                    <a:pt x="4" y="1"/>
                  </a:lnTo>
                  <a:lnTo>
                    <a:pt x="4" y="1"/>
                  </a:lnTo>
                  <a:lnTo>
                    <a:pt x="4" y="1"/>
                  </a:lnTo>
                  <a:lnTo>
                    <a:pt x="4" y="1"/>
                  </a:lnTo>
                  <a:lnTo>
                    <a:pt x="4" y="1"/>
                  </a:lnTo>
                  <a:lnTo>
                    <a:pt x="5" y="1"/>
                  </a:lnTo>
                  <a:lnTo>
                    <a:pt x="5" y="1"/>
                  </a:lnTo>
                  <a:lnTo>
                    <a:pt x="5" y="1"/>
                  </a:lnTo>
                  <a:lnTo>
                    <a:pt x="6" y="1"/>
                  </a:lnTo>
                  <a:lnTo>
                    <a:pt x="6" y="2"/>
                  </a:lnTo>
                  <a:lnTo>
                    <a:pt x="1" y="1"/>
                  </a:lnTo>
                  <a:lnTo>
                    <a:pt x="1" y="1"/>
                  </a:lnTo>
                  <a:lnTo>
                    <a:pt x="1" y="1"/>
                  </a:lnTo>
                  <a:lnTo>
                    <a:pt x="0" y="0"/>
                  </a:lnTo>
                  <a:lnTo>
                    <a:pt x="0" y="0"/>
                  </a:lnTo>
                  <a:lnTo>
                    <a:pt x="0"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65" name="Freeform 1330">
              <a:extLst>
                <a:ext uri="{FF2B5EF4-FFF2-40B4-BE49-F238E27FC236}">
                  <a16:creationId xmlns:a16="http://schemas.microsoft.com/office/drawing/2014/main" id="{9182F8E3-F35B-4772-8A15-8FED4330E098}"/>
                </a:ext>
              </a:extLst>
            </p:cNvPr>
            <p:cNvSpPr>
              <a:spLocks/>
            </p:cNvSpPr>
            <p:nvPr/>
          </p:nvSpPr>
          <p:spPr bwMode="auto">
            <a:xfrm>
              <a:off x="6088216" y="2440396"/>
              <a:ext cx="9349" cy="2671"/>
            </a:xfrm>
            <a:custGeom>
              <a:avLst/>
              <a:gdLst>
                <a:gd name="T0" fmla="*/ 1 w 7"/>
                <a:gd name="T1" fmla="*/ 0 h 2"/>
                <a:gd name="T2" fmla="*/ 2 w 7"/>
                <a:gd name="T3" fmla="*/ 0 h 2"/>
                <a:gd name="T4" fmla="*/ 2 w 7"/>
                <a:gd name="T5" fmla="*/ 0 h 2"/>
                <a:gd name="T6" fmla="*/ 2 w 7"/>
                <a:gd name="T7" fmla="*/ 0 h 2"/>
                <a:gd name="T8" fmla="*/ 4 w 7"/>
                <a:gd name="T9" fmla="*/ 0 h 2"/>
                <a:gd name="T10" fmla="*/ 5 w 7"/>
                <a:gd name="T11" fmla="*/ 0 h 2"/>
                <a:gd name="T12" fmla="*/ 6 w 7"/>
                <a:gd name="T13" fmla="*/ 0 h 2"/>
                <a:gd name="T14" fmla="*/ 6 w 7"/>
                <a:gd name="T15" fmla="*/ 0 h 2"/>
                <a:gd name="T16" fmla="*/ 6 w 7"/>
                <a:gd name="T17" fmla="*/ 0 h 2"/>
                <a:gd name="T18" fmla="*/ 6 w 7"/>
                <a:gd name="T19" fmla="*/ 0 h 2"/>
                <a:gd name="T20" fmla="*/ 7 w 7"/>
                <a:gd name="T21" fmla="*/ 2 h 2"/>
                <a:gd name="T22" fmla="*/ 7 w 7"/>
                <a:gd name="T23" fmla="*/ 2 h 2"/>
                <a:gd name="T24" fmla="*/ 7 w 7"/>
                <a:gd name="T25" fmla="*/ 2 h 2"/>
                <a:gd name="T26" fmla="*/ 6 w 7"/>
                <a:gd name="T27" fmla="*/ 2 h 2"/>
                <a:gd name="T28" fmla="*/ 6 w 7"/>
                <a:gd name="T29" fmla="*/ 2 h 2"/>
                <a:gd name="T30" fmla="*/ 5 w 7"/>
                <a:gd name="T31" fmla="*/ 2 h 2"/>
                <a:gd name="T32" fmla="*/ 4 w 7"/>
                <a:gd name="T33" fmla="*/ 2 h 2"/>
                <a:gd name="T34" fmla="*/ 4 w 7"/>
                <a:gd name="T35" fmla="*/ 2 h 2"/>
                <a:gd name="T36" fmla="*/ 2 w 7"/>
                <a:gd name="T37" fmla="*/ 2 h 2"/>
                <a:gd name="T38" fmla="*/ 1 w 7"/>
                <a:gd name="T39" fmla="*/ 2 h 2"/>
                <a:gd name="T40" fmla="*/ 0 w 7"/>
                <a:gd name="T41" fmla="*/ 2 h 2"/>
                <a:gd name="T42" fmla="*/ 0 w 7"/>
                <a:gd name="T43" fmla="*/ 2 h 2"/>
                <a:gd name="T44" fmla="*/ 0 w 7"/>
                <a:gd name="T45" fmla="*/ 2 h 2"/>
                <a:gd name="T46" fmla="*/ 0 w 7"/>
                <a:gd name="T47" fmla="*/ 2 h 2"/>
                <a:gd name="T48" fmla="*/ 0 w 7"/>
                <a:gd name="T49" fmla="*/ 0 h 2"/>
                <a:gd name="T50" fmla="*/ 0 w 7"/>
                <a:gd name="T51" fmla="*/ 0 h 2"/>
                <a:gd name="T52" fmla="*/ 0 w 7"/>
                <a:gd name="T53" fmla="*/ 0 h 2"/>
                <a:gd name="T54" fmla="*/ 0 w 7"/>
                <a:gd name="T55" fmla="*/ 0 h 2"/>
                <a:gd name="T56" fmla="*/ 0 w 7"/>
                <a:gd name="T57" fmla="*/ 0 h 2"/>
                <a:gd name="T58" fmla="*/ 0 w 7"/>
                <a:gd name="T59" fmla="*/ 0 h 2"/>
                <a:gd name="T60" fmla="*/ 0 w 7"/>
                <a:gd name="T61" fmla="*/ 0 h 2"/>
                <a:gd name="T62" fmla="*/ 0 w 7"/>
                <a:gd name="T63" fmla="*/ 0 h 2"/>
                <a:gd name="T64" fmla="*/ 0 w 7"/>
                <a:gd name="T65" fmla="*/ 0 h 2"/>
                <a:gd name="T66" fmla="*/ 1 w 7"/>
                <a:gd name="T67" fmla="*/ 0 h 2"/>
                <a:gd name="T68" fmla="*/ 1 w 7"/>
                <a:gd name="T69" fmla="*/ 0 h 2"/>
                <a:gd name="T70" fmla="*/ 1 w 7"/>
                <a:gd name="T7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 h="2">
                  <a:moveTo>
                    <a:pt x="1" y="0"/>
                  </a:moveTo>
                  <a:lnTo>
                    <a:pt x="2" y="0"/>
                  </a:lnTo>
                  <a:lnTo>
                    <a:pt x="2" y="0"/>
                  </a:lnTo>
                  <a:lnTo>
                    <a:pt x="2" y="0"/>
                  </a:lnTo>
                  <a:lnTo>
                    <a:pt x="4" y="0"/>
                  </a:lnTo>
                  <a:lnTo>
                    <a:pt x="5" y="0"/>
                  </a:lnTo>
                  <a:lnTo>
                    <a:pt x="6" y="0"/>
                  </a:lnTo>
                  <a:lnTo>
                    <a:pt x="6" y="0"/>
                  </a:lnTo>
                  <a:lnTo>
                    <a:pt x="6" y="0"/>
                  </a:lnTo>
                  <a:lnTo>
                    <a:pt x="6" y="0"/>
                  </a:lnTo>
                  <a:lnTo>
                    <a:pt x="7" y="2"/>
                  </a:lnTo>
                  <a:lnTo>
                    <a:pt x="7" y="2"/>
                  </a:lnTo>
                  <a:lnTo>
                    <a:pt x="7" y="2"/>
                  </a:lnTo>
                  <a:lnTo>
                    <a:pt x="6" y="2"/>
                  </a:lnTo>
                  <a:lnTo>
                    <a:pt x="6" y="2"/>
                  </a:lnTo>
                  <a:lnTo>
                    <a:pt x="5" y="2"/>
                  </a:lnTo>
                  <a:lnTo>
                    <a:pt x="4" y="2"/>
                  </a:lnTo>
                  <a:lnTo>
                    <a:pt x="4" y="2"/>
                  </a:lnTo>
                  <a:lnTo>
                    <a:pt x="2" y="2"/>
                  </a:lnTo>
                  <a:lnTo>
                    <a:pt x="1" y="2"/>
                  </a:lnTo>
                  <a:lnTo>
                    <a:pt x="0" y="2"/>
                  </a:lnTo>
                  <a:lnTo>
                    <a:pt x="0" y="2"/>
                  </a:lnTo>
                  <a:lnTo>
                    <a:pt x="0" y="2"/>
                  </a:lnTo>
                  <a:lnTo>
                    <a:pt x="0" y="2"/>
                  </a:lnTo>
                  <a:lnTo>
                    <a:pt x="0" y="0"/>
                  </a:lnTo>
                  <a:lnTo>
                    <a:pt x="0" y="0"/>
                  </a:lnTo>
                  <a:lnTo>
                    <a:pt x="0" y="0"/>
                  </a:lnTo>
                  <a:lnTo>
                    <a:pt x="0" y="0"/>
                  </a:lnTo>
                  <a:lnTo>
                    <a:pt x="0" y="0"/>
                  </a:lnTo>
                  <a:lnTo>
                    <a:pt x="0" y="0"/>
                  </a:lnTo>
                  <a:lnTo>
                    <a:pt x="0" y="0"/>
                  </a:lnTo>
                  <a:lnTo>
                    <a:pt x="0" y="0"/>
                  </a:lnTo>
                  <a:lnTo>
                    <a:pt x="0"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66" name="Freeform 1331">
              <a:extLst>
                <a:ext uri="{FF2B5EF4-FFF2-40B4-BE49-F238E27FC236}">
                  <a16:creationId xmlns:a16="http://schemas.microsoft.com/office/drawing/2014/main" id="{9CAD424D-0610-4B00-82B3-9A65ADE8259D}"/>
                </a:ext>
              </a:extLst>
            </p:cNvPr>
            <p:cNvSpPr>
              <a:spLocks/>
            </p:cNvSpPr>
            <p:nvPr/>
          </p:nvSpPr>
          <p:spPr bwMode="auto">
            <a:xfrm>
              <a:off x="6094893" y="2439060"/>
              <a:ext cx="24039" cy="13355"/>
            </a:xfrm>
            <a:custGeom>
              <a:avLst/>
              <a:gdLst>
                <a:gd name="T0" fmla="*/ 1 w 18"/>
                <a:gd name="T1" fmla="*/ 0 h 10"/>
                <a:gd name="T2" fmla="*/ 4 w 18"/>
                <a:gd name="T3" fmla="*/ 1 h 10"/>
                <a:gd name="T4" fmla="*/ 6 w 18"/>
                <a:gd name="T5" fmla="*/ 1 h 10"/>
                <a:gd name="T6" fmla="*/ 6 w 18"/>
                <a:gd name="T7" fmla="*/ 3 h 10"/>
                <a:gd name="T8" fmla="*/ 6 w 18"/>
                <a:gd name="T9" fmla="*/ 3 h 10"/>
                <a:gd name="T10" fmla="*/ 6 w 18"/>
                <a:gd name="T11" fmla="*/ 3 h 10"/>
                <a:gd name="T12" fmla="*/ 6 w 18"/>
                <a:gd name="T13" fmla="*/ 3 h 10"/>
                <a:gd name="T14" fmla="*/ 7 w 18"/>
                <a:gd name="T15" fmla="*/ 3 h 10"/>
                <a:gd name="T16" fmla="*/ 7 w 18"/>
                <a:gd name="T17" fmla="*/ 3 h 10"/>
                <a:gd name="T18" fmla="*/ 8 w 18"/>
                <a:gd name="T19" fmla="*/ 3 h 10"/>
                <a:gd name="T20" fmla="*/ 9 w 18"/>
                <a:gd name="T21" fmla="*/ 4 h 10"/>
                <a:gd name="T22" fmla="*/ 8 w 18"/>
                <a:gd name="T23" fmla="*/ 3 h 10"/>
                <a:gd name="T24" fmla="*/ 8 w 18"/>
                <a:gd name="T25" fmla="*/ 3 h 10"/>
                <a:gd name="T26" fmla="*/ 8 w 18"/>
                <a:gd name="T27" fmla="*/ 3 h 10"/>
                <a:gd name="T28" fmla="*/ 9 w 18"/>
                <a:gd name="T29" fmla="*/ 3 h 10"/>
                <a:gd name="T30" fmla="*/ 9 w 18"/>
                <a:gd name="T31" fmla="*/ 3 h 10"/>
                <a:gd name="T32" fmla="*/ 10 w 18"/>
                <a:gd name="T33" fmla="*/ 3 h 10"/>
                <a:gd name="T34" fmla="*/ 10 w 18"/>
                <a:gd name="T35" fmla="*/ 4 h 10"/>
                <a:gd name="T36" fmla="*/ 11 w 18"/>
                <a:gd name="T37" fmla="*/ 5 h 10"/>
                <a:gd name="T38" fmla="*/ 15 w 18"/>
                <a:gd name="T39" fmla="*/ 7 h 10"/>
                <a:gd name="T40" fmla="*/ 17 w 18"/>
                <a:gd name="T41" fmla="*/ 7 h 10"/>
                <a:gd name="T42" fmla="*/ 17 w 18"/>
                <a:gd name="T43" fmla="*/ 7 h 10"/>
                <a:gd name="T44" fmla="*/ 18 w 18"/>
                <a:gd name="T45" fmla="*/ 7 h 10"/>
                <a:gd name="T46" fmla="*/ 18 w 18"/>
                <a:gd name="T47" fmla="*/ 8 h 10"/>
                <a:gd name="T48" fmla="*/ 18 w 18"/>
                <a:gd name="T49" fmla="*/ 10 h 10"/>
                <a:gd name="T50" fmla="*/ 18 w 18"/>
                <a:gd name="T51" fmla="*/ 10 h 10"/>
                <a:gd name="T52" fmla="*/ 18 w 18"/>
                <a:gd name="T53" fmla="*/ 10 h 10"/>
                <a:gd name="T54" fmla="*/ 18 w 18"/>
                <a:gd name="T55" fmla="*/ 10 h 10"/>
                <a:gd name="T56" fmla="*/ 15 w 18"/>
                <a:gd name="T57" fmla="*/ 7 h 10"/>
                <a:gd name="T58" fmla="*/ 15 w 18"/>
                <a:gd name="T59" fmla="*/ 7 h 10"/>
                <a:gd name="T60" fmla="*/ 14 w 18"/>
                <a:gd name="T61" fmla="*/ 6 h 10"/>
                <a:gd name="T62" fmla="*/ 14 w 18"/>
                <a:gd name="T63" fmla="*/ 6 h 10"/>
                <a:gd name="T64" fmla="*/ 14 w 18"/>
                <a:gd name="T65" fmla="*/ 6 h 10"/>
                <a:gd name="T66" fmla="*/ 12 w 18"/>
                <a:gd name="T67" fmla="*/ 6 h 10"/>
                <a:gd name="T68" fmla="*/ 11 w 18"/>
                <a:gd name="T69" fmla="*/ 5 h 10"/>
                <a:gd name="T70" fmla="*/ 10 w 18"/>
                <a:gd name="T71" fmla="*/ 4 h 10"/>
                <a:gd name="T72" fmla="*/ 10 w 18"/>
                <a:gd name="T73" fmla="*/ 4 h 10"/>
                <a:gd name="T74" fmla="*/ 9 w 18"/>
                <a:gd name="T75" fmla="*/ 4 h 10"/>
                <a:gd name="T76" fmla="*/ 9 w 18"/>
                <a:gd name="T77" fmla="*/ 4 h 10"/>
                <a:gd name="T78" fmla="*/ 9 w 18"/>
                <a:gd name="T79" fmla="*/ 4 h 10"/>
                <a:gd name="T80" fmla="*/ 9 w 18"/>
                <a:gd name="T81" fmla="*/ 4 h 10"/>
                <a:gd name="T82" fmla="*/ 9 w 18"/>
                <a:gd name="T83" fmla="*/ 5 h 10"/>
                <a:gd name="T84" fmla="*/ 9 w 18"/>
                <a:gd name="T85" fmla="*/ 4 h 10"/>
                <a:gd name="T86" fmla="*/ 8 w 18"/>
                <a:gd name="T87" fmla="*/ 4 h 10"/>
                <a:gd name="T88" fmla="*/ 6 w 18"/>
                <a:gd name="T89" fmla="*/ 4 h 10"/>
                <a:gd name="T90" fmla="*/ 4 w 18"/>
                <a:gd name="T91" fmla="*/ 3 h 10"/>
                <a:gd name="T92" fmla="*/ 2 w 18"/>
                <a:gd name="T93" fmla="*/ 1 h 10"/>
                <a:gd name="T94" fmla="*/ 2 w 18"/>
                <a:gd name="T95" fmla="*/ 1 h 10"/>
                <a:gd name="T96" fmla="*/ 0 w 18"/>
                <a:gd name="T97" fmla="*/ 1 h 10"/>
                <a:gd name="T98" fmla="*/ 0 w 18"/>
                <a:gd name="T99" fmla="*/ 0 h 10"/>
                <a:gd name="T100" fmla="*/ 0 w 18"/>
                <a:gd name="T101" fmla="*/ 0 h 10"/>
                <a:gd name="T102" fmla="*/ 0 w 18"/>
                <a:gd name="T10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 h="10">
                  <a:moveTo>
                    <a:pt x="0" y="0"/>
                  </a:moveTo>
                  <a:lnTo>
                    <a:pt x="0" y="0"/>
                  </a:lnTo>
                  <a:lnTo>
                    <a:pt x="1" y="0"/>
                  </a:lnTo>
                  <a:lnTo>
                    <a:pt x="2" y="0"/>
                  </a:lnTo>
                  <a:lnTo>
                    <a:pt x="4" y="1"/>
                  </a:lnTo>
                  <a:lnTo>
                    <a:pt x="4" y="1"/>
                  </a:lnTo>
                  <a:lnTo>
                    <a:pt x="6" y="1"/>
                  </a:lnTo>
                  <a:lnTo>
                    <a:pt x="6" y="1"/>
                  </a:lnTo>
                  <a:lnTo>
                    <a:pt x="6" y="1"/>
                  </a:lnTo>
                  <a:lnTo>
                    <a:pt x="6" y="3"/>
                  </a:lnTo>
                  <a:lnTo>
                    <a:pt x="6" y="3"/>
                  </a:lnTo>
                  <a:lnTo>
                    <a:pt x="6" y="3"/>
                  </a:lnTo>
                  <a:lnTo>
                    <a:pt x="6" y="3"/>
                  </a:lnTo>
                  <a:lnTo>
                    <a:pt x="6" y="3"/>
                  </a:lnTo>
                  <a:lnTo>
                    <a:pt x="6" y="3"/>
                  </a:lnTo>
                  <a:lnTo>
                    <a:pt x="6" y="3"/>
                  </a:lnTo>
                  <a:lnTo>
                    <a:pt x="6" y="3"/>
                  </a:lnTo>
                  <a:lnTo>
                    <a:pt x="6" y="3"/>
                  </a:lnTo>
                  <a:lnTo>
                    <a:pt x="6" y="3"/>
                  </a:lnTo>
                  <a:lnTo>
                    <a:pt x="6" y="3"/>
                  </a:lnTo>
                  <a:lnTo>
                    <a:pt x="6" y="3"/>
                  </a:lnTo>
                  <a:lnTo>
                    <a:pt x="7" y="3"/>
                  </a:lnTo>
                  <a:lnTo>
                    <a:pt x="7" y="3"/>
                  </a:lnTo>
                  <a:lnTo>
                    <a:pt x="7" y="3"/>
                  </a:lnTo>
                  <a:lnTo>
                    <a:pt x="7" y="3"/>
                  </a:lnTo>
                  <a:lnTo>
                    <a:pt x="7" y="3"/>
                  </a:lnTo>
                  <a:lnTo>
                    <a:pt x="7" y="3"/>
                  </a:lnTo>
                  <a:lnTo>
                    <a:pt x="8" y="3"/>
                  </a:lnTo>
                  <a:lnTo>
                    <a:pt x="8" y="3"/>
                  </a:lnTo>
                  <a:lnTo>
                    <a:pt x="8" y="3"/>
                  </a:lnTo>
                  <a:lnTo>
                    <a:pt x="8" y="3"/>
                  </a:lnTo>
                  <a:lnTo>
                    <a:pt x="9" y="4"/>
                  </a:lnTo>
                  <a:lnTo>
                    <a:pt x="9" y="4"/>
                  </a:lnTo>
                  <a:lnTo>
                    <a:pt x="8" y="3"/>
                  </a:lnTo>
                  <a:lnTo>
                    <a:pt x="8" y="3"/>
                  </a:lnTo>
                  <a:lnTo>
                    <a:pt x="8" y="3"/>
                  </a:lnTo>
                  <a:lnTo>
                    <a:pt x="8" y="3"/>
                  </a:lnTo>
                  <a:lnTo>
                    <a:pt x="8" y="3"/>
                  </a:lnTo>
                  <a:lnTo>
                    <a:pt x="8" y="3"/>
                  </a:lnTo>
                  <a:lnTo>
                    <a:pt x="8" y="3"/>
                  </a:lnTo>
                  <a:lnTo>
                    <a:pt x="8" y="3"/>
                  </a:lnTo>
                  <a:lnTo>
                    <a:pt x="8" y="3"/>
                  </a:lnTo>
                  <a:lnTo>
                    <a:pt x="9" y="3"/>
                  </a:lnTo>
                  <a:lnTo>
                    <a:pt x="9" y="3"/>
                  </a:lnTo>
                  <a:lnTo>
                    <a:pt x="9" y="3"/>
                  </a:lnTo>
                  <a:lnTo>
                    <a:pt x="9" y="3"/>
                  </a:lnTo>
                  <a:lnTo>
                    <a:pt x="9" y="3"/>
                  </a:lnTo>
                  <a:lnTo>
                    <a:pt x="9" y="3"/>
                  </a:lnTo>
                  <a:lnTo>
                    <a:pt x="10" y="3"/>
                  </a:lnTo>
                  <a:lnTo>
                    <a:pt x="10" y="3"/>
                  </a:lnTo>
                  <a:lnTo>
                    <a:pt x="10" y="3"/>
                  </a:lnTo>
                  <a:lnTo>
                    <a:pt x="10" y="4"/>
                  </a:lnTo>
                  <a:lnTo>
                    <a:pt x="10" y="4"/>
                  </a:lnTo>
                  <a:lnTo>
                    <a:pt x="10" y="4"/>
                  </a:lnTo>
                  <a:lnTo>
                    <a:pt x="11" y="4"/>
                  </a:lnTo>
                  <a:lnTo>
                    <a:pt x="11" y="4"/>
                  </a:lnTo>
                  <a:lnTo>
                    <a:pt x="11" y="5"/>
                  </a:lnTo>
                  <a:lnTo>
                    <a:pt x="12" y="5"/>
                  </a:lnTo>
                  <a:lnTo>
                    <a:pt x="12" y="5"/>
                  </a:lnTo>
                  <a:lnTo>
                    <a:pt x="15" y="7"/>
                  </a:lnTo>
                  <a:lnTo>
                    <a:pt x="16" y="7"/>
                  </a:lnTo>
                  <a:lnTo>
                    <a:pt x="16" y="7"/>
                  </a:lnTo>
                  <a:lnTo>
                    <a:pt x="17" y="7"/>
                  </a:lnTo>
                  <a:lnTo>
                    <a:pt x="17" y="7"/>
                  </a:lnTo>
                  <a:lnTo>
                    <a:pt x="17" y="7"/>
                  </a:lnTo>
                  <a:lnTo>
                    <a:pt x="17" y="7"/>
                  </a:lnTo>
                  <a:lnTo>
                    <a:pt x="17" y="7"/>
                  </a:lnTo>
                  <a:lnTo>
                    <a:pt x="17" y="7"/>
                  </a:lnTo>
                  <a:lnTo>
                    <a:pt x="18" y="7"/>
                  </a:lnTo>
                  <a:lnTo>
                    <a:pt x="18" y="7"/>
                  </a:lnTo>
                  <a:lnTo>
                    <a:pt x="18" y="8"/>
                  </a:lnTo>
                  <a:lnTo>
                    <a:pt x="18" y="8"/>
                  </a:lnTo>
                  <a:lnTo>
                    <a:pt x="18" y="8"/>
                  </a:lnTo>
                  <a:lnTo>
                    <a:pt x="18" y="10"/>
                  </a:lnTo>
                  <a:lnTo>
                    <a:pt x="18" y="10"/>
                  </a:lnTo>
                  <a:lnTo>
                    <a:pt x="18" y="10"/>
                  </a:lnTo>
                  <a:lnTo>
                    <a:pt x="18" y="10"/>
                  </a:lnTo>
                  <a:lnTo>
                    <a:pt x="18" y="10"/>
                  </a:lnTo>
                  <a:lnTo>
                    <a:pt x="18" y="10"/>
                  </a:lnTo>
                  <a:lnTo>
                    <a:pt x="18" y="10"/>
                  </a:lnTo>
                  <a:lnTo>
                    <a:pt x="18" y="10"/>
                  </a:lnTo>
                  <a:lnTo>
                    <a:pt x="18" y="10"/>
                  </a:lnTo>
                  <a:lnTo>
                    <a:pt x="18" y="10"/>
                  </a:lnTo>
                  <a:lnTo>
                    <a:pt x="18" y="10"/>
                  </a:lnTo>
                  <a:lnTo>
                    <a:pt x="18" y="10"/>
                  </a:lnTo>
                  <a:lnTo>
                    <a:pt x="16" y="7"/>
                  </a:lnTo>
                  <a:lnTo>
                    <a:pt x="15" y="7"/>
                  </a:lnTo>
                  <a:lnTo>
                    <a:pt x="15" y="7"/>
                  </a:lnTo>
                  <a:lnTo>
                    <a:pt x="15" y="7"/>
                  </a:lnTo>
                  <a:lnTo>
                    <a:pt x="15" y="7"/>
                  </a:lnTo>
                  <a:lnTo>
                    <a:pt x="15" y="7"/>
                  </a:lnTo>
                  <a:lnTo>
                    <a:pt x="15" y="7"/>
                  </a:lnTo>
                  <a:lnTo>
                    <a:pt x="14" y="6"/>
                  </a:lnTo>
                  <a:lnTo>
                    <a:pt x="14" y="6"/>
                  </a:lnTo>
                  <a:lnTo>
                    <a:pt x="14" y="6"/>
                  </a:lnTo>
                  <a:lnTo>
                    <a:pt x="14" y="6"/>
                  </a:lnTo>
                  <a:lnTo>
                    <a:pt x="14" y="6"/>
                  </a:lnTo>
                  <a:lnTo>
                    <a:pt x="12" y="6"/>
                  </a:lnTo>
                  <a:lnTo>
                    <a:pt x="14" y="6"/>
                  </a:lnTo>
                  <a:lnTo>
                    <a:pt x="12" y="6"/>
                  </a:lnTo>
                  <a:lnTo>
                    <a:pt x="12" y="6"/>
                  </a:lnTo>
                  <a:lnTo>
                    <a:pt x="12" y="6"/>
                  </a:lnTo>
                  <a:lnTo>
                    <a:pt x="12" y="6"/>
                  </a:lnTo>
                  <a:lnTo>
                    <a:pt x="12" y="6"/>
                  </a:lnTo>
                  <a:lnTo>
                    <a:pt x="11" y="5"/>
                  </a:lnTo>
                  <a:lnTo>
                    <a:pt x="11" y="5"/>
                  </a:lnTo>
                  <a:lnTo>
                    <a:pt x="10" y="5"/>
                  </a:lnTo>
                  <a:lnTo>
                    <a:pt x="10" y="4"/>
                  </a:lnTo>
                  <a:lnTo>
                    <a:pt x="10" y="4"/>
                  </a:lnTo>
                  <a:lnTo>
                    <a:pt x="10" y="4"/>
                  </a:lnTo>
                  <a:lnTo>
                    <a:pt x="10" y="4"/>
                  </a:lnTo>
                  <a:lnTo>
                    <a:pt x="9" y="4"/>
                  </a:lnTo>
                  <a:lnTo>
                    <a:pt x="9" y="4"/>
                  </a:lnTo>
                  <a:lnTo>
                    <a:pt x="9" y="4"/>
                  </a:lnTo>
                  <a:lnTo>
                    <a:pt x="9" y="4"/>
                  </a:lnTo>
                  <a:lnTo>
                    <a:pt x="9" y="4"/>
                  </a:lnTo>
                  <a:lnTo>
                    <a:pt x="9" y="4"/>
                  </a:lnTo>
                  <a:lnTo>
                    <a:pt x="9" y="4"/>
                  </a:lnTo>
                  <a:lnTo>
                    <a:pt x="9" y="4"/>
                  </a:lnTo>
                  <a:lnTo>
                    <a:pt x="9" y="4"/>
                  </a:lnTo>
                  <a:lnTo>
                    <a:pt x="9" y="4"/>
                  </a:lnTo>
                  <a:lnTo>
                    <a:pt x="9" y="4"/>
                  </a:lnTo>
                  <a:lnTo>
                    <a:pt x="9" y="4"/>
                  </a:lnTo>
                  <a:lnTo>
                    <a:pt x="9" y="5"/>
                  </a:lnTo>
                  <a:lnTo>
                    <a:pt x="9" y="5"/>
                  </a:lnTo>
                  <a:lnTo>
                    <a:pt x="9" y="5"/>
                  </a:lnTo>
                  <a:lnTo>
                    <a:pt x="9" y="5"/>
                  </a:lnTo>
                  <a:lnTo>
                    <a:pt x="9" y="5"/>
                  </a:lnTo>
                  <a:lnTo>
                    <a:pt x="9" y="4"/>
                  </a:lnTo>
                  <a:lnTo>
                    <a:pt x="9" y="4"/>
                  </a:lnTo>
                  <a:lnTo>
                    <a:pt x="9" y="4"/>
                  </a:lnTo>
                  <a:lnTo>
                    <a:pt x="8" y="4"/>
                  </a:lnTo>
                  <a:lnTo>
                    <a:pt x="8" y="4"/>
                  </a:lnTo>
                  <a:lnTo>
                    <a:pt x="7" y="4"/>
                  </a:lnTo>
                  <a:lnTo>
                    <a:pt x="6" y="4"/>
                  </a:lnTo>
                  <a:lnTo>
                    <a:pt x="4" y="3"/>
                  </a:lnTo>
                  <a:lnTo>
                    <a:pt x="4" y="3"/>
                  </a:lnTo>
                  <a:lnTo>
                    <a:pt x="4" y="3"/>
                  </a:lnTo>
                  <a:lnTo>
                    <a:pt x="3" y="3"/>
                  </a:lnTo>
                  <a:lnTo>
                    <a:pt x="3" y="1"/>
                  </a:lnTo>
                  <a:lnTo>
                    <a:pt x="2" y="1"/>
                  </a:lnTo>
                  <a:lnTo>
                    <a:pt x="2" y="1"/>
                  </a:lnTo>
                  <a:lnTo>
                    <a:pt x="2" y="1"/>
                  </a:lnTo>
                  <a:lnTo>
                    <a:pt x="2" y="1"/>
                  </a:lnTo>
                  <a:lnTo>
                    <a:pt x="1" y="1"/>
                  </a:lnTo>
                  <a:lnTo>
                    <a:pt x="0" y="1"/>
                  </a:lnTo>
                  <a:lnTo>
                    <a:pt x="0" y="1"/>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67" name="Freeform 1332">
              <a:extLst>
                <a:ext uri="{FF2B5EF4-FFF2-40B4-BE49-F238E27FC236}">
                  <a16:creationId xmlns:a16="http://schemas.microsoft.com/office/drawing/2014/main" id="{E0F87397-FE76-4CC1-86D9-11194866FBF1}"/>
                </a:ext>
              </a:extLst>
            </p:cNvPr>
            <p:cNvSpPr>
              <a:spLocks/>
            </p:cNvSpPr>
            <p:nvPr/>
          </p:nvSpPr>
          <p:spPr bwMode="auto">
            <a:xfrm>
              <a:off x="6077532" y="2437725"/>
              <a:ext cx="2671" cy="1336"/>
            </a:xfrm>
            <a:custGeom>
              <a:avLst/>
              <a:gdLst>
                <a:gd name="T0" fmla="*/ 2 w 2"/>
                <a:gd name="T1" fmla="*/ 1 h 1"/>
                <a:gd name="T2" fmla="*/ 2 w 2"/>
                <a:gd name="T3" fmla="*/ 1 h 1"/>
                <a:gd name="T4" fmla="*/ 2 w 2"/>
                <a:gd name="T5" fmla="*/ 0 h 1"/>
                <a:gd name="T6" fmla="*/ 2 w 2"/>
                <a:gd name="T7" fmla="*/ 0 h 1"/>
                <a:gd name="T8" fmla="*/ 2 w 2"/>
                <a:gd name="T9" fmla="*/ 1 h 1"/>
                <a:gd name="T10" fmla="*/ 2 w 2"/>
                <a:gd name="T11" fmla="*/ 1 h 1"/>
                <a:gd name="T12" fmla="*/ 2 w 2"/>
                <a:gd name="T13" fmla="*/ 0 h 1"/>
                <a:gd name="T14" fmla="*/ 2 w 2"/>
                <a:gd name="T15" fmla="*/ 1 h 1"/>
                <a:gd name="T16" fmla="*/ 2 w 2"/>
                <a:gd name="T17" fmla="*/ 1 h 1"/>
                <a:gd name="T18" fmla="*/ 2 w 2"/>
                <a:gd name="T19" fmla="*/ 1 h 1"/>
                <a:gd name="T20" fmla="*/ 2 w 2"/>
                <a:gd name="T21" fmla="*/ 1 h 1"/>
                <a:gd name="T22" fmla="*/ 2 w 2"/>
                <a:gd name="T23" fmla="*/ 1 h 1"/>
                <a:gd name="T24" fmla="*/ 2 w 2"/>
                <a:gd name="T25" fmla="*/ 1 h 1"/>
                <a:gd name="T26" fmla="*/ 2 w 2"/>
                <a:gd name="T27" fmla="*/ 1 h 1"/>
                <a:gd name="T28" fmla="*/ 1 w 2"/>
                <a:gd name="T29" fmla="*/ 1 h 1"/>
                <a:gd name="T30" fmla="*/ 1 w 2"/>
                <a:gd name="T31" fmla="*/ 1 h 1"/>
                <a:gd name="T32" fmla="*/ 0 w 2"/>
                <a:gd name="T33" fmla="*/ 1 h 1"/>
                <a:gd name="T34" fmla="*/ 1 w 2"/>
                <a:gd name="T35" fmla="*/ 1 h 1"/>
                <a:gd name="T36" fmla="*/ 1 w 2"/>
                <a:gd name="T37" fmla="*/ 1 h 1"/>
                <a:gd name="T38" fmla="*/ 0 w 2"/>
                <a:gd name="T39" fmla="*/ 1 h 1"/>
                <a:gd name="T40" fmla="*/ 0 w 2"/>
                <a:gd name="T41" fmla="*/ 1 h 1"/>
                <a:gd name="T42" fmla="*/ 0 w 2"/>
                <a:gd name="T43" fmla="*/ 1 h 1"/>
                <a:gd name="T44" fmla="*/ 0 w 2"/>
                <a:gd name="T45" fmla="*/ 1 h 1"/>
                <a:gd name="T46" fmla="*/ 0 w 2"/>
                <a:gd name="T47" fmla="*/ 1 h 1"/>
                <a:gd name="T48" fmla="*/ 0 w 2"/>
                <a:gd name="T49" fmla="*/ 1 h 1"/>
                <a:gd name="T50" fmla="*/ 0 w 2"/>
                <a:gd name="T51" fmla="*/ 1 h 1"/>
                <a:gd name="T52" fmla="*/ 0 w 2"/>
                <a:gd name="T53" fmla="*/ 1 h 1"/>
                <a:gd name="T54" fmla="*/ 1 w 2"/>
                <a:gd name="T55" fmla="*/ 0 h 1"/>
                <a:gd name="T56" fmla="*/ 1 w 2"/>
                <a:gd name="T57" fmla="*/ 0 h 1"/>
                <a:gd name="T58" fmla="*/ 1 w 2"/>
                <a:gd name="T59" fmla="*/ 0 h 1"/>
                <a:gd name="T60" fmla="*/ 2 w 2"/>
                <a:gd name="T61" fmla="*/ 0 h 1"/>
                <a:gd name="T62" fmla="*/ 2 w 2"/>
                <a:gd name="T6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 h="1">
                  <a:moveTo>
                    <a:pt x="2" y="1"/>
                  </a:moveTo>
                  <a:lnTo>
                    <a:pt x="2" y="1"/>
                  </a:lnTo>
                  <a:lnTo>
                    <a:pt x="2" y="0"/>
                  </a:lnTo>
                  <a:lnTo>
                    <a:pt x="2" y="0"/>
                  </a:lnTo>
                  <a:lnTo>
                    <a:pt x="2" y="1"/>
                  </a:lnTo>
                  <a:lnTo>
                    <a:pt x="2" y="1"/>
                  </a:lnTo>
                  <a:lnTo>
                    <a:pt x="2" y="0"/>
                  </a:lnTo>
                  <a:lnTo>
                    <a:pt x="2" y="1"/>
                  </a:lnTo>
                  <a:lnTo>
                    <a:pt x="2" y="1"/>
                  </a:lnTo>
                  <a:lnTo>
                    <a:pt x="2" y="1"/>
                  </a:lnTo>
                  <a:lnTo>
                    <a:pt x="2" y="1"/>
                  </a:lnTo>
                  <a:lnTo>
                    <a:pt x="2" y="1"/>
                  </a:lnTo>
                  <a:lnTo>
                    <a:pt x="2" y="1"/>
                  </a:lnTo>
                  <a:lnTo>
                    <a:pt x="2" y="1"/>
                  </a:lnTo>
                  <a:lnTo>
                    <a:pt x="1" y="1"/>
                  </a:lnTo>
                  <a:lnTo>
                    <a:pt x="1" y="1"/>
                  </a:lnTo>
                  <a:lnTo>
                    <a:pt x="0" y="1"/>
                  </a:lnTo>
                  <a:lnTo>
                    <a:pt x="1" y="1"/>
                  </a:lnTo>
                  <a:lnTo>
                    <a:pt x="1" y="1"/>
                  </a:lnTo>
                  <a:lnTo>
                    <a:pt x="0" y="1"/>
                  </a:lnTo>
                  <a:lnTo>
                    <a:pt x="0" y="1"/>
                  </a:lnTo>
                  <a:lnTo>
                    <a:pt x="0" y="1"/>
                  </a:lnTo>
                  <a:lnTo>
                    <a:pt x="0" y="1"/>
                  </a:lnTo>
                  <a:lnTo>
                    <a:pt x="0" y="1"/>
                  </a:lnTo>
                  <a:lnTo>
                    <a:pt x="0" y="1"/>
                  </a:lnTo>
                  <a:lnTo>
                    <a:pt x="0" y="1"/>
                  </a:lnTo>
                  <a:lnTo>
                    <a:pt x="0" y="1"/>
                  </a:lnTo>
                  <a:lnTo>
                    <a:pt x="1" y="0"/>
                  </a:lnTo>
                  <a:lnTo>
                    <a:pt x="1" y="0"/>
                  </a:lnTo>
                  <a:lnTo>
                    <a:pt x="1" y="0"/>
                  </a:lnTo>
                  <a:lnTo>
                    <a:pt x="2" y="0"/>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68" name="Freeform 1333">
              <a:extLst>
                <a:ext uri="{FF2B5EF4-FFF2-40B4-BE49-F238E27FC236}">
                  <a16:creationId xmlns:a16="http://schemas.microsoft.com/office/drawing/2014/main" id="{D56F6505-FF75-46E6-8865-E998D9523A91}"/>
                </a:ext>
              </a:extLst>
            </p:cNvPr>
            <p:cNvSpPr>
              <a:spLocks/>
            </p:cNvSpPr>
            <p:nvPr/>
          </p:nvSpPr>
          <p:spPr bwMode="auto">
            <a:xfrm>
              <a:off x="6084209" y="2435054"/>
              <a:ext cx="13355" cy="2671"/>
            </a:xfrm>
            <a:custGeom>
              <a:avLst/>
              <a:gdLst>
                <a:gd name="T0" fmla="*/ 2 w 10"/>
                <a:gd name="T1" fmla="*/ 0 h 2"/>
                <a:gd name="T2" fmla="*/ 2 w 10"/>
                <a:gd name="T3" fmla="*/ 1 h 2"/>
                <a:gd name="T4" fmla="*/ 2 w 10"/>
                <a:gd name="T5" fmla="*/ 1 h 2"/>
                <a:gd name="T6" fmla="*/ 2 w 10"/>
                <a:gd name="T7" fmla="*/ 1 h 2"/>
                <a:gd name="T8" fmla="*/ 2 w 10"/>
                <a:gd name="T9" fmla="*/ 1 h 2"/>
                <a:gd name="T10" fmla="*/ 2 w 10"/>
                <a:gd name="T11" fmla="*/ 1 h 2"/>
                <a:gd name="T12" fmla="*/ 2 w 10"/>
                <a:gd name="T13" fmla="*/ 1 h 2"/>
                <a:gd name="T14" fmla="*/ 3 w 10"/>
                <a:gd name="T15" fmla="*/ 1 h 2"/>
                <a:gd name="T16" fmla="*/ 3 w 10"/>
                <a:gd name="T17" fmla="*/ 1 h 2"/>
                <a:gd name="T18" fmla="*/ 3 w 10"/>
                <a:gd name="T19" fmla="*/ 1 h 2"/>
                <a:gd name="T20" fmla="*/ 3 w 10"/>
                <a:gd name="T21" fmla="*/ 1 h 2"/>
                <a:gd name="T22" fmla="*/ 3 w 10"/>
                <a:gd name="T23" fmla="*/ 1 h 2"/>
                <a:gd name="T24" fmla="*/ 3 w 10"/>
                <a:gd name="T25" fmla="*/ 1 h 2"/>
                <a:gd name="T26" fmla="*/ 3 w 10"/>
                <a:gd name="T27" fmla="*/ 1 h 2"/>
                <a:gd name="T28" fmla="*/ 3 w 10"/>
                <a:gd name="T29" fmla="*/ 1 h 2"/>
                <a:gd name="T30" fmla="*/ 3 w 10"/>
                <a:gd name="T31" fmla="*/ 1 h 2"/>
                <a:gd name="T32" fmla="*/ 3 w 10"/>
                <a:gd name="T33" fmla="*/ 1 h 2"/>
                <a:gd name="T34" fmla="*/ 3 w 10"/>
                <a:gd name="T35" fmla="*/ 1 h 2"/>
                <a:gd name="T36" fmla="*/ 4 w 10"/>
                <a:gd name="T37" fmla="*/ 1 h 2"/>
                <a:gd name="T38" fmla="*/ 5 w 10"/>
                <a:gd name="T39" fmla="*/ 1 h 2"/>
                <a:gd name="T40" fmla="*/ 5 w 10"/>
                <a:gd name="T41" fmla="*/ 1 h 2"/>
                <a:gd name="T42" fmla="*/ 5 w 10"/>
                <a:gd name="T43" fmla="*/ 1 h 2"/>
                <a:gd name="T44" fmla="*/ 5 w 10"/>
                <a:gd name="T45" fmla="*/ 1 h 2"/>
                <a:gd name="T46" fmla="*/ 7 w 10"/>
                <a:gd name="T47" fmla="*/ 2 h 2"/>
                <a:gd name="T48" fmla="*/ 8 w 10"/>
                <a:gd name="T49" fmla="*/ 2 h 2"/>
                <a:gd name="T50" fmla="*/ 9 w 10"/>
                <a:gd name="T51" fmla="*/ 2 h 2"/>
                <a:gd name="T52" fmla="*/ 9 w 10"/>
                <a:gd name="T53" fmla="*/ 2 h 2"/>
                <a:gd name="T54" fmla="*/ 10 w 10"/>
                <a:gd name="T55" fmla="*/ 2 h 2"/>
                <a:gd name="T56" fmla="*/ 7 w 10"/>
                <a:gd name="T57" fmla="*/ 2 h 2"/>
                <a:gd name="T58" fmla="*/ 3 w 10"/>
                <a:gd name="T59" fmla="*/ 2 h 2"/>
                <a:gd name="T60" fmla="*/ 3 w 10"/>
                <a:gd name="T61" fmla="*/ 2 h 2"/>
                <a:gd name="T62" fmla="*/ 2 w 10"/>
                <a:gd name="T63" fmla="*/ 2 h 2"/>
                <a:gd name="T64" fmla="*/ 1 w 10"/>
                <a:gd name="T65" fmla="*/ 1 h 2"/>
                <a:gd name="T66" fmla="*/ 0 w 10"/>
                <a:gd name="T67" fmla="*/ 1 h 2"/>
                <a:gd name="T68" fmla="*/ 0 w 10"/>
                <a:gd name="T69" fmla="*/ 1 h 2"/>
                <a:gd name="T70" fmla="*/ 0 w 10"/>
                <a:gd name="T71" fmla="*/ 1 h 2"/>
                <a:gd name="T72" fmla="*/ 0 w 10"/>
                <a:gd name="T73" fmla="*/ 1 h 2"/>
                <a:gd name="T74" fmla="*/ 0 w 10"/>
                <a:gd name="T75" fmla="*/ 1 h 2"/>
                <a:gd name="T76" fmla="*/ 0 w 10"/>
                <a:gd name="T77" fmla="*/ 1 h 2"/>
                <a:gd name="T78" fmla="*/ 0 w 10"/>
                <a:gd name="T79" fmla="*/ 1 h 2"/>
                <a:gd name="T80" fmla="*/ 0 w 10"/>
                <a:gd name="T81" fmla="*/ 1 h 2"/>
                <a:gd name="T82" fmla="*/ 0 w 10"/>
                <a:gd name="T83" fmla="*/ 1 h 2"/>
                <a:gd name="T84" fmla="*/ 0 w 10"/>
                <a:gd name="T85" fmla="*/ 1 h 2"/>
                <a:gd name="T86" fmla="*/ 0 w 10"/>
                <a:gd name="T87" fmla="*/ 1 h 2"/>
                <a:gd name="T88" fmla="*/ 0 w 10"/>
                <a:gd name="T89" fmla="*/ 1 h 2"/>
                <a:gd name="T90" fmla="*/ 0 w 10"/>
                <a:gd name="T91" fmla="*/ 1 h 2"/>
                <a:gd name="T92" fmla="*/ 0 w 10"/>
                <a:gd name="T93" fmla="*/ 1 h 2"/>
                <a:gd name="T94" fmla="*/ 1 w 10"/>
                <a:gd name="T95" fmla="*/ 1 h 2"/>
                <a:gd name="T96" fmla="*/ 1 w 10"/>
                <a:gd name="T97" fmla="*/ 1 h 2"/>
                <a:gd name="T98" fmla="*/ 2 w 10"/>
                <a:gd name="T99" fmla="*/ 1 h 2"/>
                <a:gd name="T100" fmla="*/ 2 w 10"/>
                <a:gd name="T101" fmla="*/ 1 h 2"/>
                <a:gd name="T102" fmla="*/ 2 w 10"/>
                <a:gd name="T103" fmla="*/ 1 h 2"/>
                <a:gd name="T104" fmla="*/ 1 w 10"/>
                <a:gd name="T105" fmla="*/ 1 h 2"/>
                <a:gd name="T106" fmla="*/ 1 w 10"/>
                <a:gd name="T107" fmla="*/ 0 h 2"/>
                <a:gd name="T108" fmla="*/ 1 w 10"/>
                <a:gd name="T109" fmla="*/ 0 h 2"/>
                <a:gd name="T110" fmla="*/ 2 w 10"/>
                <a:gd name="T11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 h="2">
                  <a:moveTo>
                    <a:pt x="2" y="0"/>
                  </a:moveTo>
                  <a:lnTo>
                    <a:pt x="2" y="1"/>
                  </a:lnTo>
                  <a:lnTo>
                    <a:pt x="2" y="1"/>
                  </a:lnTo>
                  <a:lnTo>
                    <a:pt x="2" y="1"/>
                  </a:lnTo>
                  <a:lnTo>
                    <a:pt x="2" y="1"/>
                  </a:lnTo>
                  <a:lnTo>
                    <a:pt x="2" y="1"/>
                  </a:lnTo>
                  <a:lnTo>
                    <a:pt x="2" y="1"/>
                  </a:lnTo>
                  <a:lnTo>
                    <a:pt x="3" y="1"/>
                  </a:lnTo>
                  <a:lnTo>
                    <a:pt x="3" y="1"/>
                  </a:lnTo>
                  <a:lnTo>
                    <a:pt x="3" y="1"/>
                  </a:lnTo>
                  <a:lnTo>
                    <a:pt x="3" y="1"/>
                  </a:lnTo>
                  <a:lnTo>
                    <a:pt x="3" y="1"/>
                  </a:lnTo>
                  <a:lnTo>
                    <a:pt x="3" y="1"/>
                  </a:lnTo>
                  <a:lnTo>
                    <a:pt x="3" y="1"/>
                  </a:lnTo>
                  <a:lnTo>
                    <a:pt x="3" y="1"/>
                  </a:lnTo>
                  <a:lnTo>
                    <a:pt x="3" y="1"/>
                  </a:lnTo>
                  <a:lnTo>
                    <a:pt x="3" y="1"/>
                  </a:lnTo>
                  <a:lnTo>
                    <a:pt x="3" y="1"/>
                  </a:lnTo>
                  <a:lnTo>
                    <a:pt x="4" y="1"/>
                  </a:lnTo>
                  <a:lnTo>
                    <a:pt x="5" y="1"/>
                  </a:lnTo>
                  <a:lnTo>
                    <a:pt x="5" y="1"/>
                  </a:lnTo>
                  <a:lnTo>
                    <a:pt x="5" y="1"/>
                  </a:lnTo>
                  <a:lnTo>
                    <a:pt x="5" y="1"/>
                  </a:lnTo>
                  <a:lnTo>
                    <a:pt x="7" y="2"/>
                  </a:lnTo>
                  <a:lnTo>
                    <a:pt x="8" y="2"/>
                  </a:lnTo>
                  <a:lnTo>
                    <a:pt x="9" y="2"/>
                  </a:lnTo>
                  <a:lnTo>
                    <a:pt x="9" y="2"/>
                  </a:lnTo>
                  <a:lnTo>
                    <a:pt x="10" y="2"/>
                  </a:lnTo>
                  <a:lnTo>
                    <a:pt x="7" y="2"/>
                  </a:lnTo>
                  <a:lnTo>
                    <a:pt x="3" y="2"/>
                  </a:lnTo>
                  <a:lnTo>
                    <a:pt x="3" y="2"/>
                  </a:lnTo>
                  <a:lnTo>
                    <a:pt x="2" y="2"/>
                  </a:lnTo>
                  <a:lnTo>
                    <a:pt x="1"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1" y="1"/>
                  </a:lnTo>
                  <a:lnTo>
                    <a:pt x="1" y="1"/>
                  </a:lnTo>
                  <a:lnTo>
                    <a:pt x="2" y="1"/>
                  </a:lnTo>
                  <a:lnTo>
                    <a:pt x="2" y="1"/>
                  </a:lnTo>
                  <a:lnTo>
                    <a:pt x="2" y="1"/>
                  </a:lnTo>
                  <a:lnTo>
                    <a:pt x="1" y="1"/>
                  </a:lnTo>
                  <a:lnTo>
                    <a:pt x="1" y="0"/>
                  </a:lnTo>
                  <a:lnTo>
                    <a:pt x="1"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69" name="Freeform 1334">
              <a:extLst>
                <a:ext uri="{FF2B5EF4-FFF2-40B4-BE49-F238E27FC236}">
                  <a16:creationId xmlns:a16="http://schemas.microsoft.com/office/drawing/2014/main" id="{A301AFAA-E8F8-46F3-9988-434E13337D48}"/>
                </a:ext>
              </a:extLst>
            </p:cNvPr>
            <p:cNvSpPr>
              <a:spLocks/>
            </p:cNvSpPr>
            <p:nvPr/>
          </p:nvSpPr>
          <p:spPr bwMode="auto">
            <a:xfrm>
              <a:off x="6084209" y="2431047"/>
              <a:ext cx="6678" cy="4007"/>
            </a:xfrm>
            <a:custGeom>
              <a:avLst/>
              <a:gdLst>
                <a:gd name="T0" fmla="*/ 4 w 5"/>
                <a:gd name="T1" fmla="*/ 2 h 3"/>
                <a:gd name="T2" fmla="*/ 4 w 5"/>
                <a:gd name="T3" fmla="*/ 2 h 3"/>
                <a:gd name="T4" fmla="*/ 4 w 5"/>
                <a:gd name="T5" fmla="*/ 2 h 3"/>
                <a:gd name="T6" fmla="*/ 4 w 5"/>
                <a:gd name="T7" fmla="*/ 2 h 3"/>
                <a:gd name="T8" fmla="*/ 4 w 5"/>
                <a:gd name="T9" fmla="*/ 2 h 3"/>
                <a:gd name="T10" fmla="*/ 5 w 5"/>
                <a:gd name="T11" fmla="*/ 2 h 3"/>
                <a:gd name="T12" fmla="*/ 5 w 5"/>
                <a:gd name="T13" fmla="*/ 2 h 3"/>
                <a:gd name="T14" fmla="*/ 5 w 5"/>
                <a:gd name="T15" fmla="*/ 2 h 3"/>
                <a:gd name="T16" fmla="*/ 5 w 5"/>
                <a:gd name="T17" fmla="*/ 2 h 3"/>
                <a:gd name="T18" fmla="*/ 5 w 5"/>
                <a:gd name="T19" fmla="*/ 2 h 3"/>
                <a:gd name="T20" fmla="*/ 5 w 5"/>
                <a:gd name="T21" fmla="*/ 3 h 3"/>
                <a:gd name="T22" fmla="*/ 5 w 5"/>
                <a:gd name="T23" fmla="*/ 3 h 3"/>
                <a:gd name="T24" fmla="*/ 5 w 5"/>
                <a:gd name="T25" fmla="*/ 3 h 3"/>
                <a:gd name="T26" fmla="*/ 5 w 5"/>
                <a:gd name="T27" fmla="*/ 3 h 3"/>
                <a:gd name="T28" fmla="*/ 4 w 5"/>
                <a:gd name="T29" fmla="*/ 3 h 3"/>
                <a:gd name="T30" fmla="*/ 2 w 5"/>
                <a:gd name="T31" fmla="*/ 3 h 3"/>
                <a:gd name="T32" fmla="*/ 2 w 5"/>
                <a:gd name="T33" fmla="*/ 3 h 3"/>
                <a:gd name="T34" fmla="*/ 1 w 5"/>
                <a:gd name="T35" fmla="*/ 3 h 3"/>
                <a:gd name="T36" fmla="*/ 0 w 5"/>
                <a:gd name="T37" fmla="*/ 2 h 3"/>
                <a:gd name="T38" fmla="*/ 0 w 5"/>
                <a:gd name="T39" fmla="*/ 2 h 3"/>
                <a:gd name="T40" fmla="*/ 0 w 5"/>
                <a:gd name="T41" fmla="*/ 2 h 3"/>
                <a:gd name="T42" fmla="*/ 0 w 5"/>
                <a:gd name="T43" fmla="*/ 2 h 3"/>
                <a:gd name="T44" fmla="*/ 0 w 5"/>
                <a:gd name="T45" fmla="*/ 2 h 3"/>
                <a:gd name="T46" fmla="*/ 0 w 5"/>
                <a:gd name="T47" fmla="*/ 2 h 3"/>
                <a:gd name="T48" fmla="*/ 0 w 5"/>
                <a:gd name="T49" fmla="*/ 2 h 3"/>
                <a:gd name="T50" fmla="*/ 0 w 5"/>
                <a:gd name="T51" fmla="*/ 2 h 3"/>
                <a:gd name="T52" fmla="*/ 0 w 5"/>
                <a:gd name="T53" fmla="*/ 2 h 3"/>
                <a:gd name="T54" fmla="*/ 0 w 5"/>
                <a:gd name="T55" fmla="*/ 2 h 3"/>
                <a:gd name="T56" fmla="*/ 0 w 5"/>
                <a:gd name="T57" fmla="*/ 2 h 3"/>
                <a:gd name="T58" fmla="*/ 0 w 5"/>
                <a:gd name="T59" fmla="*/ 2 h 3"/>
                <a:gd name="T60" fmla="*/ 0 w 5"/>
                <a:gd name="T61" fmla="*/ 2 h 3"/>
                <a:gd name="T62" fmla="*/ 0 w 5"/>
                <a:gd name="T63" fmla="*/ 2 h 3"/>
                <a:gd name="T64" fmla="*/ 0 w 5"/>
                <a:gd name="T65" fmla="*/ 0 h 3"/>
                <a:gd name="T66" fmla="*/ 0 w 5"/>
                <a:gd name="T67" fmla="*/ 0 h 3"/>
                <a:gd name="T68" fmla="*/ 0 w 5"/>
                <a:gd name="T69" fmla="*/ 0 h 3"/>
                <a:gd name="T70" fmla="*/ 1 w 5"/>
                <a:gd name="T71" fmla="*/ 0 h 3"/>
                <a:gd name="T72" fmla="*/ 3 w 5"/>
                <a:gd name="T73" fmla="*/ 0 h 3"/>
                <a:gd name="T74" fmla="*/ 4 w 5"/>
                <a:gd name="T75" fmla="*/ 2 h 3"/>
                <a:gd name="T76" fmla="*/ 4 w 5"/>
                <a:gd name="T77" fmla="*/ 2 h 3"/>
                <a:gd name="T78" fmla="*/ 4 w 5"/>
                <a:gd name="T79" fmla="*/ 2 h 3"/>
                <a:gd name="T80" fmla="*/ 4 w 5"/>
                <a:gd name="T8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 h="3">
                  <a:moveTo>
                    <a:pt x="4" y="2"/>
                  </a:moveTo>
                  <a:lnTo>
                    <a:pt x="4" y="2"/>
                  </a:lnTo>
                  <a:lnTo>
                    <a:pt x="4" y="2"/>
                  </a:lnTo>
                  <a:lnTo>
                    <a:pt x="4" y="2"/>
                  </a:lnTo>
                  <a:lnTo>
                    <a:pt x="4" y="2"/>
                  </a:lnTo>
                  <a:lnTo>
                    <a:pt x="5" y="2"/>
                  </a:lnTo>
                  <a:lnTo>
                    <a:pt x="5" y="2"/>
                  </a:lnTo>
                  <a:lnTo>
                    <a:pt x="5" y="2"/>
                  </a:lnTo>
                  <a:lnTo>
                    <a:pt x="5" y="2"/>
                  </a:lnTo>
                  <a:lnTo>
                    <a:pt x="5" y="2"/>
                  </a:lnTo>
                  <a:lnTo>
                    <a:pt x="5" y="3"/>
                  </a:lnTo>
                  <a:lnTo>
                    <a:pt x="5" y="3"/>
                  </a:lnTo>
                  <a:lnTo>
                    <a:pt x="5" y="3"/>
                  </a:lnTo>
                  <a:lnTo>
                    <a:pt x="5" y="3"/>
                  </a:lnTo>
                  <a:lnTo>
                    <a:pt x="4" y="3"/>
                  </a:lnTo>
                  <a:lnTo>
                    <a:pt x="2" y="3"/>
                  </a:lnTo>
                  <a:lnTo>
                    <a:pt x="2" y="3"/>
                  </a:lnTo>
                  <a:lnTo>
                    <a:pt x="1" y="3"/>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1" y="0"/>
                  </a:lnTo>
                  <a:lnTo>
                    <a:pt x="3" y="0"/>
                  </a:lnTo>
                  <a:lnTo>
                    <a:pt x="4" y="2"/>
                  </a:lnTo>
                  <a:lnTo>
                    <a:pt x="4" y="2"/>
                  </a:lnTo>
                  <a:lnTo>
                    <a:pt x="4" y="2"/>
                  </a:lnTo>
                  <a:lnTo>
                    <a:pt x="4"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70" name="Freeform 1335">
              <a:extLst>
                <a:ext uri="{FF2B5EF4-FFF2-40B4-BE49-F238E27FC236}">
                  <a16:creationId xmlns:a16="http://schemas.microsoft.com/office/drawing/2014/main" id="{356909BF-A15D-42DD-AFE1-444AD4EE3D2B}"/>
                </a:ext>
              </a:extLst>
            </p:cNvPr>
            <p:cNvSpPr>
              <a:spLocks/>
            </p:cNvSpPr>
            <p:nvPr/>
          </p:nvSpPr>
          <p:spPr bwMode="auto">
            <a:xfrm>
              <a:off x="6078867" y="2431047"/>
              <a:ext cx="5342" cy="2671"/>
            </a:xfrm>
            <a:custGeom>
              <a:avLst/>
              <a:gdLst>
                <a:gd name="T0" fmla="*/ 2 w 4"/>
                <a:gd name="T1" fmla="*/ 0 h 2"/>
                <a:gd name="T2" fmla="*/ 2 w 4"/>
                <a:gd name="T3" fmla="*/ 0 h 2"/>
                <a:gd name="T4" fmla="*/ 2 w 4"/>
                <a:gd name="T5" fmla="*/ 0 h 2"/>
                <a:gd name="T6" fmla="*/ 2 w 4"/>
                <a:gd name="T7" fmla="*/ 0 h 2"/>
                <a:gd name="T8" fmla="*/ 2 w 4"/>
                <a:gd name="T9" fmla="*/ 2 h 2"/>
                <a:gd name="T10" fmla="*/ 4 w 4"/>
                <a:gd name="T11" fmla="*/ 2 h 2"/>
                <a:gd name="T12" fmla="*/ 2 w 4"/>
                <a:gd name="T13" fmla="*/ 2 h 2"/>
                <a:gd name="T14" fmla="*/ 2 w 4"/>
                <a:gd name="T15" fmla="*/ 2 h 2"/>
                <a:gd name="T16" fmla="*/ 1 w 4"/>
                <a:gd name="T17" fmla="*/ 2 h 2"/>
                <a:gd name="T18" fmla="*/ 1 w 4"/>
                <a:gd name="T19" fmla="*/ 0 h 2"/>
                <a:gd name="T20" fmla="*/ 1 w 4"/>
                <a:gd name="T21" fmla="*/ 0 h 2"/>
                <a:gd name="T22" fmla="*/ 1 w 4"/>
                <a:gd name="T23" fmla="*/ 0 h 2"/>
                <a:gd name="T24" fmla="*/ 1 w 4"/>
                <a:gd name="T25" fmla="*/ 0 h 2"/>
                <a:gd name="T26" fmla="*/ 1 w 4"/>
                <a:gd name="T27" fmla="*/ 0 h 2"/>
                <a:gd name="T28" fmla="*/ 1 w 4"/>
                <a:gd name="T29" fmla="*/ 0 h 2"/>
                <a:gd name="T30" fmla="*/ 0 w 4"/>
                <a:gd name="T31" fmla="*/ 0 h 2"/>
                <a:gd name="T32" fmla="*/ 0 w 4"/>
                <a:gd name="T33" fmla="*/ 0 h 2"/>
                <a:gd name="T34" fmla="*/ 1 w 4"/>
                <a:gd name="T35" fmla="*/ 0 h 2"/>
                <a:gd name="T36" fmla="*/ 1 w 4"/>
                <a:gd name="T37" fmla="*/ 0 h 2"/>
                <a:gd name="T38" fmla="*/ 1 w 4"/>
                <a:gd name="T39" fmla="*/ 0 h 2"/>
                <a:gd name="T40" fmla="*/ 2 w 4"/>
                <a:gd name="T4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2">
                  <a:moveTo>
                    <a:pt x="2" y="0"/>
                  </a:moveTo>
                  <a:lnTo>
                    <a:pt x="2" y="0"/>
                  </a:lnTo>
                  <a:lnTo>
                    <a:pt x="2" y="0"/>
                  </a:lnTo>
                  <a:lnTo>
                    <a:pt x="2" y="0"/>
                  </a:lnTo>
                  <a:lnTo>
                    <a:pt x="2" y="2"/>
                  </a:lnTo>
                  <a:lnTo>
                    <a:pt x="4" y="2"/>
                  </a:lnTo>
                  <a:lnTo>
                    <a:pt x="2" y="2"/>
                  </a:lnTo>
                  <a:lnTo>
                    <a:pt x="2" y="2"/>
                  </a:lnTo>
                  <a:lnTo>
                    <a:pt x="1" y="2"/>
                  </a:lnTo>
                  <a:lnTo>
                    <a:pt x="1" y="0"/>
                  </a:lnTo>
                  <a:lnTo>
                    <a:pt x="1" y="0"/>
                  </a:lnTo>
                  <a:lnTo>
                    <a:pt x="1" y="0"/>
                  </a:lnTo>
                  <a:lnTo>
                    <a:pt x="1" y="0"/>
                  </a:lnTo>
                  <a:lnTo>
                    <a:pt x="1" y="0"/>
                  </a:lnTo>
                  <a:lnTo>
                    <a:pt x="1" y="0"/>
                  </a:lnTo>
                  <a:lnTo>
                    <a:pt x="0" y="0"/>
                  </a:lnTo>
                  <a:lnTo>
                    <a:pt x="0" y="0"/>
                  </a:lnTo>
                  <a:lnTo>
                    <a:pt x="1" y="0"/>
                  </a:lnTo>
                  <a:lnTo>
                    <a:pt x="1" y="0"/>
                  </a:lnTo>
                  <a:lnTo>
                    <a:pt x="1"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71" name="Freeform 1336">
              <a:extLst>
                <a:ext uri="{FF2B5EF4-FFF2-40B4-BE49-F238E27FC236}">
                  <a16:creationId xmlns:a16="http://schemas.microsoft.com/office/drawing/2014/main" id="{9C79F9CA-9B1F-4D86-9D2D-A5848F1A7851}"/>
                </a:ext>
              </a:extLst>
            </p:cNvPr>
            <p:cNvSpPr>
              <a:spLocks/>
            </p:cNvSpPr>
            <p:nvPr/>
          </p:nvSpPr>
          <p:spPr bwMode="auto">
            <a:xfrm>
              <a:off x="6078867" y="2429712"/>
              <a:ext cx="2671" cy="0"/>
            </a:xfrm>
            <a:custGeom>
              <a:avLst/>
              <a:gdLst>
                <a:gd name="T0" fmla="*/ 2 w 2"/>
                <a:gd name="T1" fmla="*/ 2 w 2"/>
                <a:gd name="T2" fmla="*/ 2 w 2"/>
                <a:gd name="T3" fmla="*/ 2 w 2"/>
                <a:gd name="T4" fmla="*/ 1 w 2"/>
                <a:gd name="T5" fmla="*/ 1 w 2"/>
                <a:gd name="T6" fmla="*/ 1 w 2"/>
                <a:gd name="T7" fmla="*/ 1 w 2"/>
                <a:gd name="T8" fmla="*/ 1 w 2"/>
                <a:gd name="T9" fmla="*/ 1 w 2"/>
                <a:gd name="T10" fmla="*/ 0 w 2"/>
                <a:gd name="T11" fmla="*/ 0 w 2"/>
                <a:gd name="T12" fmla="*/ 1 w 2"/>
                <a:gd name="T13" fmla="*/ 1 w 2"/>
                <a:gd name="T14" fmla="*/ 1 w 2"/>
                <a:gd name="T15" fmla="*/ 1 w 2"/>
                <a:gd name="T16" fmla="*/ 1 w 2"/>
                <a:gd name="T17" fmla="*/ 1 w 2"/>
                <a:gd name="T18" fmla="*/ 1 w 2"/>
                <a:gd name="T19" fmla="*/ 2 w 2"/>
                <a:gd name="T20"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Lst>
              <a:rect l="0" t="0" r="r" b="b"/>
              <a:pathLst>
                <a:path w="2">
                  <a:moveTo>
                    <a:pt x="2" y="0"/>
                  </a:moveTo>
                  <a:lnTo>
                    <a:pt x="2" y="0"/>
                  </a:lnTo>
                  <a:lnTo>
                    <a:pt x="2" y="0"/>
                  </a:lnTo>
                  <a:lnTo>
                    <a:pt x="2" y="0"/>
                  </a:lnTo>
                  <a:lnTo>
                    <a:pt x="1" y="0"/>
                  </a:lnTo>
                  <a:lnTo>
                    <a:pt x="1" y="0"/>
                  </a:lnTo>
                  <a:lnTo>
                    <a:pt x="1" y="0"/>
                  </a:lnTo>
                  <a:lnTo>
                    <a:pt x="1" y="0"/>
                  </a:lnTo>
                  <a:lnTo>
                    <a:pt x="1" y="0"/>
                  </a:lnTo>
                  <a:lnTo>
                    <a:pt x="1" y="0"/>
                  </a:lnTo>
                  <a:lnTo>
                    <a:pt x="0" y="0"/>
                  </a:lnTo>
                  <a:lnTo>
                    <a:pt x="0" y="0"/>
                  </a:lnTo>
                  <a:lnTo>
                    <a:pt x="1" y="0"/>
                  </a:lnTo>
                  <a:lnTo>
                    <a:pt x="1" y="0"/>
                  </a:lnTo>
                  <a:lnTo>
                    <a:pt x="1" y="0"/>
                  </a:lnTo>
                  <a:lnTo>
                    <a:pt x="1" y="0"/>
                  </a:lnTo>
                  <a:lnTo>
                    <a:pt x="1" y="0"/>
                  </a:lnTo>
                  <a:lnTo>
                    <a:pt x="1" y="0"/>
                  </a:lnTo>
                  <a:lnTo>
                    <a:pt x="1"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72" name="Freeform 1337">
              <a:extLst>
                <a:ext uri="{FF2B5EF4-FFF2-40B4-BE49-F238E27FC236}">
                  <a16:creationId xmlns:a16="http://schemas.microsoft.com/office/drawing/2014/main" id="{285D0D07-6BF1-4D91-923F-544F0E23B120}"/>
                </a:ext>
              </a:extLst>
            </p:cNvPr>
            <p:cNvSpPr>
              <a:spLocks/>
            </p:cNvSpPr>
            <p:nvPr/>
          </p:nvSpPr>
          <p:spPr bwMode="auto">
            <a:xfrm>
              <a:off x="6069519" y="2425705"/>
              <a:ext cx="1336" cy="1336"/>
            </a:xfrm>
            <a:custGeom>
              <a:avLst/>
              <a:gdLst>
                <a:gd name="T0" fmla="*/ 1 w 1"/>
                <a:gd name="T1" fmla="*/ 1 h 1"/>
                <a:gd name="T2" fmla="*/ 1 w 1"/>
                <a:gd name="T3" fmla="*/ 1 h 1"/>
                <a:gd name="T4" fmla="*/ 1 w 1"/>
                <a:gd name="T5" fmla="*/ 1 h 1"/>
                <a:gd name="T6" fmla="*/ 1 w 1"/>
                <a:gd name="T7" fmla="*/ 1 h 1"/>
                <a:gd name="T8" fmla="*/ 0 w 1"/>
                <a:gd name="T9" fmla="*/ 1 h 1"/>
                <a:gd name="T10" fmla="*/ 0 w 1"/>
                <a:gd name="T11" fmla="*/ 1 h 1"/>
                <a:gd name="T12" fmla="*/ 0 w 1"/>
                <a:gd name="T13" fmla="*/ 1 h 1"/>
                <a:gd name="T14" fmla="*/ 0 w 1"/>
                <a:gd name="T15" fmla="*/ 0 h 1"/>
                <a:gd name="T16" fmla="*/ 0 w 1"/>
                <a:gd name="T17" fmla="*/ 0 h 1"/>
                <a:gd name="T18" fmla="*/ 0 w 1"/>
                <a:gd name="T19" fmla="*/ 0 h 1"/>
                <a:gd name="T20" fmla="*/ 0 w 1"/>
                <a:gd name="T21" fmla="*/ 1 h 1"/>
                <a:gd name="T22" fmla="*/ 0 w 1"/>
                <a:gd name="T23" fmla="*/ 1 h 1"/>
                <a:gd name="T24" fmla="*/ 0 w 1"/>
                <a:gd name="T25" fmla="*/ 1 h 1"/>
                <a:gd name="T26" fmla="*/ 1 w 1"/>
                <a:gd name="T2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 h="1">
                  <a:moveTo>
                    <a:pt x="1" y="1"/>
                  </a:moveTo>
                  <a:lnTo>
                    <a:pt x="1" y="1"/>
                  </a:lnTo>
                  <a:lnTo>
                    <a:pt x="1" y="1"/>
                  </a:lnTo>
                  <a:lnTo>
                    <a:pt x="1" y="1"/>
                  </a:lnTo>
                  <a:lnTo>
                    <a:pt x="0" y="1"/>
                  </a:lnTo>
                  <a:lnTo>
                    <a:pt x="0" y="1"/>
                  </a:lnTo>
                  <a:lnTo>
                    <a:pt x="0" y="1"/>
                  </a:lnTo>
                  <a:lnTo>
                    <a:pt x="0" y="0"/>
                  </a:lnTo>
                  <a:lnTo>
                    <a:pt x="0" y="0"/>
                  </a:lnTo>
                  <a:lnTo>
                    <a:pt x="0" y="0"/>
                  </a:lnTo>
                  <a:lnTo>
                    <a:pt x="0" y="1"/>
                  </a:lnTo>
                  <a:lnTo>
                    <a:pt x="0" y="1"/>
                  </a:lnTo>
                  <a:lnTo>
                    <a:pt x="0"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73" name="Freeform 1338">
              <a:extLst>
                <a:ext uri="{FF2B5EF4-FFF2-40B4-BE49-F238E27FC236}">
                  <a16:creationId xmlns:a16="http://schemas.microsoft.com/office/drawing/2014/main" id="{975F71F4-3502-4541-8A8E-51C4B980F64E}"/>
                </a:ext>
              </a:extLst>
            </p:cNvPr>
            <p:cNvSpPr>
              <a:spLocks/>
            </p:cNvSpPr>
            <p:nvPr/>
          </p:nvSpPr>
          <p:spPr bwMode="auto">
            <a:xfrm>
              <a:off x="6061506" y="2421699"/>
              <a:ext cx="4007" cy="2671"/>
            </a:xfrm>
            <a:custGeom>
              <a:avLst/>
              <a:gdLst>
                <a:gd name="T0" fmla="*/ 3 w 3"/>
                <a:gd name="T1" fmla="*/ 2 h 2"/>
                <a:gd name="T2" fmla="*/ 3 w 3"/>
                <a:gd name="T3" fmla="*/ 2 h 2"/>
                <a:gd name="T4" fmla="*/ 3 w 3"/>
                <a:gd name="T5" fmla="*/ 2 h 2"/>
                <a:gd name="T6" fmla="*/ 3 w 3"/>
                <a:gd name="T7" fmla="*/ 2 h 2"/>
                <a:gd name="T8" fmla="*/ 1 w 3"/>
                <a:gd name="T9" fmla="*/ 2 h 2"/>
                <a:gd name="T10" fmla="*/ 1 w 3"/>
                <a:gd name="T11" fmla="*/ 0 h 2"/>
                <a:gd name="T12" fmla="*/ 1 w 3"/>
                <a:gd name="T13" fmla="*/ 0 h 2"/>
                <a:gd name="T14" fmla="*/ 1 w 3"/>
                <a:gd name="T15" fmla="*/ 0 h 2"/>
                <a:gd name="T16" fmla="*/ 1 w 3"/>
                <a:gd name="T17" fmla="*/ 0 h 2"/>
                <a:gd name="T18" fmla="*/ 0 w 3"/>
                <a:gd name="T19" fmla="*/ 0 h 2"/>
                <a:gd name="T20" fmla="*/ 1 w 3"/>
                <a:gd name="T21" fmla="*/ 0 h 2"/>
                <a:gd name="T22" fmla="*/ 1 w 3"/>
                <a:gd name="T23" fmla="*/ 0 h 2"/>
                <a:gd name="T24" fmla="*/ 1 w 3"/>
                <a:gd name="T25" fmla="*/ 0 h 2"/>
                <a:gd name="T26" fmla="*/ 3 w 3"/>
                <a:gd name="T27" fmla="*/ 2 h 2"/>
                <a:gd name="T28" fmla="*/ 3 w 3"/>
                <a:gd name="T29" fmla="*/ 2 h 2"/>
                <a:gd name="T30" fmla="*/ 3 w 3"/>
                <a:gd name="T3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2">
                  <a:moveTo>
                    <a:pt x="3" y="2"/>
                  </a:moveTo>
                  <a:lnTo>
                    <a:pt x="3" y="2"/>
                  </a:lnTo>
                  <a:lnTo>
                    <a:pt x="3" y="2"/>
                  </a:lnTo>
                  <a:lnTo>
                    <a:pt x="3" y="2"/>
                  </a:lnTo>
                  <a:lnTo>
                    <a:pt x="1" y="2"/>
                  </a:lnTo>
                  <a:lnTo>
                    <a:pt x="1" y="0"/>
                  </a:lnTo>
                  <a:lnTo>
                    <a:pt x="1" y="0"/>
                  </a:lnTo>
                  <a:lnTo>
                    <a:pt x="1" y="0"/>
                  </a:lnTo>
                  <a:lnTo>
                    <a:pt x="1" y="0"/>
                  </a:lnTo>
                  <a:lnTo>
                    <a:pt x="0" y="0"/>
                  </a:lnTo>
                  <a:lnTo>
                    <a:pt x="1" y="0"/>
                  </a:lnTo>
                  <a:lnTo>
                    <a:pt x="1" y="0"/>
                  </a:lnTo>
                  <a:lnTo>
                    <a:pt x="1" y="0"/>
                  </a:lnTo>
                  <a:lnTo>
                    <a:pt x="3" y="2"/>
                  </a:lnTo>
                  <a:lnTo>
                    <a:pt x="3" y="2"/>
                  </a:lnTo>
                  <a:lnTo>
                    <a:pt x="3"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74" name="Freeform 1339">
              <a:extLst>
                <a:ext uri="{FF2B5EF4-FFF2-40B4-BE49-F238E27FC236}">
                  <a16:creationId xmlns:a16="http://schemas.microsoft.com/office/drawing/2014/main" id="{DD88C800-88B2-49A7-8ED1-87E18F1135C4}"/>
                </a:ext>
              </a:extLst>
            </p:cNvPr>
            <p:cNvSpPr>
              <a:spLocks/>
            </p:cNvSpPr>
            <p:nvPr/>
          </p:nvSpPr>
          <p:spPr bwMode="auto">
            <a:xfrm>
              <a:off x="6062841" y="2419028"/>
              <a:ext cx="4007" cy="2671"/>
            </a:xfrm>
            <a:custGeom>
              <a:avLst/>
              <a:gdLst>
                <a:gd name="T0" fmla="*/ 3 w 3"/>
                <a:gd name="T1" fmla="*/ 2 h 2"/>
                <a:gd name="T2" fmla="*/ 3 w 3"/>
                <a:gd name="T3" fmla="*/ 2 h 2"/>
                <a:gd name="T4" fmla="*/ 3 w 3"/>
                <a:gd name="T5" fmla="*/ 2 h 2"/>
                <a:gd name="T6" fmla="*/ 3 w 3"/>
                <a:gd name="T7" fmla="*/ 2 h 2"/>
                <a:gd name="T8" fmla="*/ 3 w 3"/>
                <a:gd name="T9" fmla="*/ 2 h 2"/>
                <a:gd name="T10" fmla="*/ 2 w 3"/>
                <a:gd name="T11" fmla="*/ 2 h 2"/>
                <a:gd name="T12" fmla="*/ 2 w 3"/>
                <a:gd name="T13" fmla="*/ 2 h 2"/>
                <a:gd name="T14" fmla="*/ 2 w 3"/>
                <a:gd name="T15" fmla="*/ 1 h 2"/>
                <a:gd name="T16" fmla="*/ 2 w 3"/>
                <a:gd name="T17" fmla="*/ 1 h 2"/>
                <a:gd name="T18" fmla="*/ 2 w 3"/>
                <a:gd name="T19" fmla="*/ 1 h 2"/>
                <a:gd name="T20" fmla="*/ 2 w 3"/>
                <a:gd name="T21" fmla="*/ 1 h 2"/>
                <a:gd name="T22" fmla="*/ 2 w 3"/>
                <a:gd name="T23" fmla="*/ 1 h 2"/>
                <a:gd name="T24" fmla="*/ 2 w 3"/>
                <a:gd name="T25" fmla="*/ 1 h 2"/>
                <a:gd name="T26" fmla="*/ 2 w 3"/>
                <a:gd name="T27" fmla="*/ 1 h 2"/>
                <a:gd name="T28" fmla="*/ 2 w 3"/>
                <a:gd name="T29" fmla="*/ 1 h 2"/>
                <a:gd name="T30" fmla="*/ 2 w 3"/>
                <a:gd name="T31" fmla="*/ 1 h 2"/>
                <a:gd name="T32" fmla="*/ 0 w 3"/>
                <a:gd name="T33" fmla="*/ 1 h 2"/>
                <a:gd name="T34" fmla="*/ 0 w 3"/>
                <a:gd name="T35" fmla="*/ 1 h 2"/>
                <a:gd name="T36" fmla="*/ 0 w 3"/>
                <a:gd name="T37" fmla="*/ 1 h 2"/>
                <a:gd name="T38" fmla="*/ 0 w 3"/>
                <a:gd name="T39" fmla="*/ 0 h 2"/>
                <a:gd name="T40" fmla="*/ 0 w 3"/>
                <a:gd name="T41" fmla="*/ 0 h 2"/>
                <a:gd name="T42" fmla="*/ 0 w 3"/>
                <a:gd name="T43" fmla="*/ 0 h 2"/>
                <a:gd name="T44" fmla="*/ 0 w 3"/>
                <a:gd name="T45" fmla="*/ 0 h 2"/>
                <a:gd name="T46" fmla="*/ 0 w 3"/>
                <a:gd name="T47" fmla="*/ 0 h 2"/>
                <a:gd name="T48" fmla="*/ 2 w 3"/>
                <a:gd name="T49" fmla="*/ 0 h 2"/>
                <a:gd name="T50" fmla="*/ 2 w 3"/>
                <a:gd name="T51" fmla="*/ 1 h 2"/>
                <a:gd name="T52" fmla="*/ 2 w 3"/>
                <a:gd name="T53" fmla="*/ 1 h 2"/>
                <a:gd name="T54" fmla="*/ 2 w 3"/>
                <a:gd name="T55" fmla="*/ 1 h 2"/>
                <a:gd name="T56" fmla="*/ 2 w 3"/>
                <a:gd name="T57" fmla="*/ 1 h 2"/>
                <a:gd name="T58" fmla="*/ 2 w 3"/>
                <a:gd name="T59" fmla="*/ 1 h 2"/>
                <a:gd name="T60" fmla="*/ 2 w 3"/>
                <a:gd name="T61" fmla="*/ 1 h 2"/>
                <a:gd name="T62" fmla="*/ 2 w 3"/>
                <a:gd name="T63" fmla="*/ 1 h 2"/>
                <a:gd name="T64" fmla="*/ 2 w 3"/>
                <a:gd name="T65" fmla="*/ 1 h 2"/>
                <a:gd name="T66" fmla="*/ 3 w 3"/>
                <a:gd name="T67" fmla="*/ 1 h 2"/>
                <a:gd name="T68" fmla="*/ 3 w 3"/>
                <a:gd name="T69" fmla="*/ 1 h 2"/>
                <a:gd name="T70" fmla="*/ 3 w 3"/>
                <a:gd name="T7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 h="2">
                  <a:moveTo>
                    <a:pt x="3" y="2"/>
                  </a:moveTo>
                  <a:lnTo>
                    <a:pt x="3" y="2"/>
                  </a:lnTo>
                  <a:lnTo>
                    <a:pt x="3" y="2"/>
                  </a:lnTo>
                  <a:lnTo>
                    <a:pt x="3" y="2"/>
                  </a:lnTo>
                  <a:lnTo>
                    <a:pt x="3" y="2"/>
                  </a:lnTo>
                  <a:lnTo>
                    <a:pt x="2" y="2"/>
                  </a:lnTo>
                  <a:lnTo>
                    <a:pt x="2" y="2"/>
                  </a:lnTo>
                  <a:lnTo>
                    <a:pt x="2" y="1"/>
                  </a:lnTo>
                  <a:lnTo>
                    <a:pt x="2" y="1"/>
                  </a:lnTo>
                  <a:lnTo>
                    <a:pt x="2" y="1"/>
                  </a:lnTo>
                  <a:lnTo>
                    <a:pt x="2" y="1"/>
                  </a:lnTo>
                  <a:lnTo>
                    <a:pt x="2" y="1"/>
                  </a:lnTo>
                  <a:lnTo>
                    <a:pt x="2" y="1"/>
                  </a:lnTo>
                  <a:lnTo>
                    <a:pt x="2" y="1"/>
                  </a:lnTo>
                  <a:lnTo>
                    <a:pt x="2" y="1"/>
                  </a:lnTo>
                  <a:lnTo>
                    <a:pt x="2" y="1"/>
                  </a:lnTo>
                  <a:lnTo>
                    <a:pt x="0" y="1"/>
                  </a:lnTo>
                  <a:lnTo>
                    <a:pt x="0" y="1"/>
                  </a:lnTo>
                  <a:lnTo>
                    <a:pt x="0" y="1"/>
                  </a:lnTo>
                  <a:lnTo>
                    <a:pt x="0" y="0"/>
                  </a:lnTo>
                  <a:lnTo>
                    <a:pt x="0" y="0"/>
                  </a:lnTo>
                  <a:lnTo>
                    <a:pt x="0" y="0"/>
                  </a:lnTo>
                  <a:lnTo>
                    <a:pt x="0" y="0"/>
                  </a:lnTo>
                  <a:lnTo>
                    <a:pt x="0" y="0"/>
                  </a:lnTo>
                  <a:lnTo>
                    <a:pt x="2" y="0"/>
                  </a:lnTo>
                  <a:lnTo>
                    <a:pt x="2" y="1"/>
                  </a:lnTo>
                  <a:lnTo>
                    <a:pt x="2" y="1"/>
                  </a:lnTo>
                  <a:lnTo>
                    <a:pt x="2" y="1"/>
                  </a:lnTo>
                  <a:lnTo>
                    <a:pt x="2" y="1"/>
                  </a:lnTo>
                  <a:lnTo>
                    <a:pt x="2" y="1"/>
                  </a:lnTo>
                  <a:lnTo>
                    <a:pt x="2" y="1"/>
                  </a:lnTo>
                  <a:lnTo>
                    <a:pt x="2" y="1"/>
                  </a:lnTo>
                  <a:lnTo>
                    <a:pt x="2" y="1"/>
                  </a:lnTo>
                  <a:lnTo>
                    <a:pt x="3" y="1"/>
                  </a:lnTo>
                  <a:lnTo>
                    <a:pt x="3" y="1"/>
                  </a:lnTo>
                  <a:lnTo>
                    <a:pt x="3"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75" name="Freeform 1340">
              <a:extLst>
                <a:ext uri="{FF2B5EF4-FFF2-40B4-BE49-F238E27FC236}">
                  <a16:creationId xmlns:a16="http://schemas.microsoft.com/office/drawing/2014/main" id="{354C40A4-0EF5-4DED-8B3C-0D80E37E92CC}"/>
                </a:ext>
              </a:extLst>
            </p:cNvPr>
            <p:cNvSpPr>
              <a:spLocks/>
            </p:cNvSpPr>
            <p:nvPr/>
          </p:nvSpPr>
          <p:spPr bwMode="auto">
            <a:xfrm>
              <a:off x="6058835" y="2416357"/>
              <a:ext cx="4007" cy="2671"/>
            </a:xfrm>
            <a:custGeom>
              <a:avLst/>
              <a:gdLst>
                <a:gd name="T0" fmla="*/ 2 w 3"/>
                <a:gd name="T1" fmla="*/ 1 h 2"/>
                <a:gd name="T2" fmla="*/ 3 w 3"/>
                <a:gd name="T3" fmla="*/ 2 h 2"/>
                <a:gd name="T4" fmla="*/ 3 w 3"/>
                <a:gd name="T5" fmla="*/ 2 h 2"/>
                <a:gd name="T6" fmla="*/ 2 w 3"/>
                <a:gd name="T7" fmla="*/ 2 h 2"/>
                <a:gd name="T8" fmla="*/ 2 w 3"/>
                <a:gd name="T9" fmla="*/ 2 h 2"/>
                <a:gd name="T10" fmla="*/ 2 w 3"/>
                <a:gd name="T11" fmla="*/ 1 h 2"/>
                <a:gd name="T12" fmla="*/ 2 w 3"/>
                <a:gd name="T13" fmla="*/ 2 h 2"/>
                <a:gd name="T14" fmla="*/ 2 w 3"/>
                <a:gd name="T15" fmla="*/ 2 h 2"/>
                <a:gd name="T16" fmla="*/ 2 w 3"/>
                <a:gd name="T17" fmla="*/ 1 h 2"/>
                <a:gd name="T18" fmla="*/ 2 w 3"/>
                <a:gd name="T19" fmla="*/ 1 h 2"/>
                <a:gd name="T20" fmla="*/ 2 w 3"/>
                <a:gd name="T21" fmla="*/ 1 h 2"/>
                <a:gd name="T22" fmla="*/ 2 w 3"/>
                <a:gd name="T23" fmla="*/ 1 h 2"/>
                <a:gd name="T24" fmla="*/ 2 w 3"/>
                <a:gd name="T25" fmla="*/ 2 h 2"/>
                <a:gd name="T26" fmla="*/ 2 w 3"/>
                <a:gd name="T27" fmla="*/ 1 h 2"/>
                <a:gd name="T28" fmla="*/ 1 w 3"/>
                <a:gd name="T29" fmla="*/ 1 h 2"/>
                <a:gd name="T30" fmla="*/ 1 w 3"/>
                <a:gd name="T31" fmla="*/ 1 h 2"/>
                <a:gd name="T32" fmla="*/ 1 w 3"/>
                <a:gd name="T33" fmla="*/ 0 h 2"/>
                <a:gd name="T34" fmla="*/ 0 w 3"/>
                <a:gd name="T35" fmla="*/ 0 h 2"/>
                <a:gd name="T36" fmla="*/ 1 w 3"/>
                <a:gd name="T37" fmla="*/ 0 h 2"/>
                <a:gd name="T38" fmla="*/ 1 w 3"/>
                <a:gd name="T39" fmla="*/ 0 h 2"/>
                <a:gd name="T40" fmla="*/ 1 w 3"/>
                <a:gd name="T41" fmla="*/ 0 h 2"/>
                <a:gd name="T42" fmla="*/ 1 w 3"/>
                <a:gd name="T43" fmla="*/ 0 h 2"/>
                <a:gd name="T44" fmla="*/ 1 w 3"/>
                <a:gd name="T45" fmla="*/ 0 h 2"/>
                <a:gd name="T46" fmla="*/ 0 w 3"/>
                <a:gd name="T47" fmla="*/ 0 h 2"/>
                <a:gd name="T48" fmla="*/ 2 w 3"/>
                <a:gd name="T4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 h="2">
                  <a:moveTo>
                    <a:pt x="2" y="1"/>
                  </a:moveTo>
                  <a:lnTo>
                    <a:pt x="3" y="2"/>
                  </a:lnTo>
                  <a:lnTo>
                    <a:pt x="3" y="2"/>
                  </a:lnTo>
                  <a:lnTo>
                    <a:pt x="2" y="2"/>
                  </a:lnTo>
                  <a:lnTo>
                    <a:pt x="2" y="2"/>
                  </a:lnTo>
                  <a:lnTo>
                    <a:pt x="2" y="1"/>
                  </a:lnTo>
                  <a:lnTo>
                    <a:pt x="2" y="2"/>
                  </a:lnTo>
                  <a:lnTo>
                    <a:pt x="2" y="2"/>
                  </a:lnTo>
                  <a:lnTo>
                    <a:pt x="2" y="1"/>
                  </a:lnTo>
                  <a:lnTo>
                    <a:pt x="2" y="1"/>
                  </a:lnTo>
                  <a:lnTo>
                    <a:pt x="2" y="1"/>
                  </a:lnTo>
                  <a:lnTo>
                    <a:pt x="2" y="1"/>
                  </a:lnTo>
                  <a:lnTo>
                    <a:pt x="2" y="2"/>
                  </a:lnTo>
                  <a:lnTo>
                    <a:pt x="2" y="1"/>
                  </a:lnTo>
                  <a:lnTo>
                    <a:pt x="1" y="1"/>
                  </a:lnTo>
                  <a:lnTo>
                    <a:pt x="1" y="1"/>
                  </a:lnTo>
                  <a:lnTo>
                    <a:pt x="1" y="0"/>
                  </a:lnTo>
                  <a:lnTo>
                    <a:pt x="0" y="0"/>
                  </a:lnTo>
                  <a:lnTo>
                    <a:pt x="1" y="0"/>
                  </a:lnTo>
                  <a:lnTo>
                    <a:pt x="1" y="0"/>
                  </a:lnTo>
                  <a:lnTo>
                    <a:pt x="1" y="0"/>
                  </a:lnTo>
                  <a:lnTo>
                    <a:pt x="1" y="0"/>
                  </a:lnTo>
                  <a:lnTo>
                    <a:pt x="1" y="0"/>
                  </a:lnTo>
                  <a:lnTo>
                    <a:pt x="0" y="0"/>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76" name="Freeform 1341">
              <a:extLst>
                <a:ext uri="{FF2B5EF4-FFF2-40B4-BE49-F238E27FC236}">
                  <a16:creationId xmlns:a16="http://schemas.microsoft.com/office/drawing/2014/main" id="{54F1CDBF-D05A-433A-BC7F-8D9AF2718D15}"/>
                </a:ext>
              </a:extLst>
            </p:cNvPr>
            <p:cNvSpPr>
              <a:spLocks/>
            </p:cNvSpPr>
            <p:nvPr/>
          </p:nvSpPr>
          <p:spPr bwMode="auto">
            <a:xfrm>
              <a:off x="6056164" y="2416357"/>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77" name="Freeform 1342">
              <a:extLst>
                <a:ext uri="{FF2B5EF4-FFF2-40B4-BE49-F238E27FC236}">
                  <a16:creationId xmlns:a16="http://schemas.microsoft.com/office/drawing/2014/main" id="{4B8E04A1-F06D-4274-846D-F189F719F6C4}"/>
                </a:ext>
              </a:extLst>
            </p:cNvPr>
            <p:cNvSpPr>
              <a:spLocks/>
            </p:cNvSpPr>
            <p:nvPr/>
          </p:nvSpPr>
          <p:spPr bwMode="auto">
            <a:xfrm>
              <a:off x="6056164" y="2416357"/>
              <a:ext cx="5342" cy="5342"/>
            </a:xfrm>
            <a:custGeom>
              <a:avLst/>
              <a:gdLst>
                <a:gd name="T0" fmla="*/ 2 w 4"/>
                <a:gd name="T1" fmla="*/ 1 h 4"/>
                <a:gd name="T2" fmla="*/ 2 w 4"/>
                <a:gd name="T3" fmla="*/ 1 h 4"/>
                <a:gd name="T4" fmla="*/ 2 w 4"/>
                <a:gd name="T5" fmla="*/ 1 h 4"/>
                <a:gd name="T6" fmla="*/ 2 w 4"/>
                <a:gd name="T7" fmla="*/ 1 h 4"/>
                <a:gd name="T8" fmla="*/ 2 w 4"/>
                <a:gd name="T9" fmla="*/ 1 h 4"/>
                <a:gd name="T10" fmla="*/ 2 w 4"/>
                <a:gd name="T11" fmla="*/ 1 h 4"/>
                <a:gd name="T12" fmla="*/ 2 w 4"/>
                <a:gd name="T13" fmla="*/ 1 h 4"/>
                <a:gd name="T14" fmla="*/ 2 w 4"/>
                <a:gd name="T15" fmla="*/ 1 h 4"/>
                <a:gd name="T16" fmla="*/ 2 w 4"/>
                <a:gd name="T17" fmla="*/ 1 h 4"/>
                <a:gd name="T18" fmla="*/ 2 w 4"/>
                <a:gd name="T19" fmla="*/ 2 h 4"/>
                <a:gd name="T20" fmla="*/ 2 w 4"/>
                <a:gd name="T21" fmla="*/ 2 h 4"/>
                <a:gd name="T22" fmla="*/ 3 w 4"/>
                <a:gd name="T23" fmla="*/ 2 h 4"/>
                <a:gd name="T24" fmla="*/ 3 w 4"/>
                <a:gd name="T25" fmla="*/ 2 h 4"/>
                <a:gd name="T26" fmla="*/ 3 w 4"/>
                <a:gd name="T27" fmla="*/ 2 h 4"/>
                <a:gd name="T28" fmla="*/ 3 w 4"/>
                <a:gd name="T29" fmla="*/ 2 h 4"/>
                <a:gd name="T30" fmla="*/ 3 w 4"/>
                <a:gd name="T31" fmla="*/ 3 h 4"/>
                <a:gd name="T32" fmla="*/ 4 w 4"/>
                <a:gd name="T33" fmla="*/ 3 h 4"/>
                <a:gd name="T34" fmla="*/ 4 w 4"/>
                <a:gd name="T35" fmla="*/ 3 h 4"/>
                <a:gd name="T36" fmla="*/ 4 w 4"/>
                <a:gd name="T37" fmla="*/ 4 h 4"/>
                <a:gd name="T38" fmla="*/ 4 w 4"/>
                <a:gd name="T39" fmla="*/ 3 h 4"/>
                <a:gd name="T40" fmla="*/ 3 w 4"/>
                <a:gd name="T41" fmla="*/ 3 h 4"/>
                <a:gd name="T42" fmla="*/ 3 w 4"/>
                <a:gd name="T43" fmla="*/ 3 h 4"/>
                <a:gd name="T44" fmla="*/ 3 w 4"/>
                <a:gd name="T45" fmla="*/ 3 h 4"/>
                <a:gd name="T46" fmla="*/ 4 w 4"/>
                <a:gd name="T47" fmla="*/ 3 h 4"/>
                <a:gd name="T48" fmla="*/ 4 w 4"/>
                <a:gd name="T49" fmla="*/ 4 h 4"/>
                <a:gd name="T50" fmla="*/ 4 w 4"/>
                <a:gd name="T51" fmla="*/ 4 h 4"/>
                <a:gd name="T52" fmla="*/ 4 w 4"/>
                <a:gd name="T53" fmla="*/ 4 h 4"/>
                <a:gd name="T54" fmla="*/ 4 w 4"/>
                <a:gd name="T55" fmla="*/ 4 h 4"/>
                <a:gd name="T56" fmla="*/ 4 w 4"/>
                <a:gd name="T57" fmla="*/ 4 h 4"/>
                <a:gd name="T58" fmla="*/ 4 w 4"/>
                <a:gd name="T59" fmla="*/ 4 h 4"/>
                <a:gd name="T60" fmla="*/ 4 w 4"/>
                <a:gd name="T61" fmla="*/ 4 h 4"/>
                <a:gd name="T62" fmla="*/ 4 w 4"/>
                <a:gd name="T63" fmla="*/ 4 h 4"/>
                <a:gd name="T64" fmla="*/ 4 w 4"/>
                <a:gd name="T65" fmla="*/ 4 h 4"/>
                <a:gd name="T66" fmla="*/ 4 w 4"/>
                <a:gd name="T67" fmla="*/ 4 h 4"/>
                <a:gd name="T68" fmla="*/ 3 w 4"/>
                <a:gd name="T69" fmla="*/ 3 h 4"/>
                <a:gd name="T70" fmla="*/ 3 w 4"/>
                <a:gd name="T71" fmla="*/ 3 h 4"/>
                <a:gd name="T72" fmla="*/ 3 w 4"/>
                <a:gd name="T73" fmla="*/ 3 h 4"/>
                <a:gd name="T74" fmla="*/ 3 w 4"/>
                <a:gd name="T75" fmla="*/ 3 h 4"/>
                <a:gd name="T76" fmla="*/ 2 w 4"/>
                <a:gd name="T77" fmla="*/ 2 h 4"/>
                <a:gd name="T78" fmla="*/ 2 w 4"/>
                <a:gd name="T79" fmla="*/ 1 h 4"/>
                <a:gd name="T80" fmla="*/ 2 w 4"/>
                <a:gd name="T81" fmla="*/ 1 h 4"/>
                <a:gd name="T82" fmla="*/ 1 w 4"/>
                <a:gd name="T83" fmla="*/ 1 h 4"/>
                <a:gd name="T84" fmla="*/ 0 w 4"/>
                <a:gd name="T85" fmla="*/ 0 h 4"/>
                <a:gd name="T86" fmla="*/ 0 w 4"/>
                <a:gd name="T87" fmla="*/ 0 h 4"/>
                <a:gd name="T88" fmla="*/ 0 w 4"/>
                <a:gd name="T89" fmla="*/ 0 h 4"/>
                <a:gd name="T90" fmla="*/ 0 w 4"/>
                <a:gd name="T91" fmla="*/ 0 h 4"/>
                <a:gd name="T92" fmla="*/ 0 w 4"/>
                <a:gd name="T93" fmla="*/ 0 h 4"/>
                <a:gd name="T94" fmla="*/ 0 w 4"/>
                <a:gd name="T95" fmla="*/ 0 h 4"/>
                <a:gd name="T96" fmla="*/ 0 w 4"/>
                <a:gd name="T97" fmla="*/ 0 h 4"/>
                <a:gd name="T98" fmla="*/ 0 w 4"/>
                <a:gd name="T99" fmla="*/ 0 h 4"/>
                <a:gd name="T100" fmla="*/ 1 w 4"/>
                <a:gd name="T101" fmla="*/ 0 h 4"/>
                <a:gd name="T102" fmla="*/ 1 w 4"/>
                <a:gd name="T103" fmla="*/ 1 h 4"/>
                <a:gd name="T104" fmla="*/ 1 w 4"/>
                <a:gd name="T105" fmla="*/ 1 h 4"/>
                <a:gd name="T106" fmla="*/ 1 w 4"/>
                <a:gd name="T107" fmla="*/ 1 h 4"/>
                <a:gd name="T108" fmla="*/ 1 w 4"/>
                <a:gd name="T109" fmla="*/ 1 h 4"/>
                <a:gd name="T110" fmla="*/ 2 w 4"/>
                <a:gd name="T111" fmla="*/ 1 h 4"/>
                <a:gd name="T112" fmla="*/ 2 w 4"/>
                <a:gd name="T11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 h="4">
                  <a:moveTo>
                    <a:pt x="2" y="1"/>
                  </a:moveTo>
                  <a:lnTo>
                    <a:pt x="2" y="1"/>
                  </a:lnTo>
                  <a:lnTo>
                    <a:pt x="2" y="1"/>
                  </a:lnTo>
                  <a:lnTo>
                    <a:pt x="2" y="1"/>
                  </a:lnTo>
                  <a:lnTo>
                    <a:pt x="2" y="1"/>
                  </a:lnTo>
                  <a:lnTo>
                    <a:pt x="2" y="1"/>
                  </a:lnTo>
                  <a:lnTo>
                    <a:pt x="2" y="1"/>
                  </a:lnTo>
                  <a:lnTo>
                    <a:pt x="2" y="1"/>
                  </a:lnTo>
                  <a:lnTo>
                    <a:pt x="2" y="1"/>
                  </a:lnTo>
                  <a:lnTo>
                    <a:pt x="2" y="2"/>
                  </a:lnTo>
                  <a:lnTo>
                    <a:pt x="2" y="2"/>
                  </a:lnTo>
                  <a:lnTo>
                    <a:pt x="3" y="2"/>
                  </a:lnTo>
                  <a:lnTo>
                    <a:pt x="3" y="2"/>
                  </a:lnTo>
                  <a:lnTo>
                    <a:pt x="3" y="2"/>
                  </a:lnTo>
                  <a:lnTo>
                    <a:pt x="3" y="2"/>
                  </a:lnTo>
                  <a:lnTo>
                    <a:pt x="3" y="3"/>
                  </a:lnTo>
                  <a:lnTo>
                    <a:pt x="4" y="3"/>
                  </a:lnTo>
                  <a:lnTo>
                    <a:pt x="4" y="3"/>
                  </a:lnTo>
                  <a:lnTo>
                    <a:pt x="4" y="4"/>
                  </a:lnTo>
                  <a:lnTo>
                    <a:pt x="4" y="3"/>
                  </a:lnTo>
                  <a:lnTo>
                    <a:pt x="3" y="3"/>
                  </a:lnTo>
                  <a:lnTo>
                    <a:pt x="3" y="3"/>
                  </a:lnTo>
                  <a:lnTo>
                    <a:pt x="3" y="3"/>
                  </a:lnTo>
                  <a:lnTo>
                    <a:pt x="4" y="3"/>
                  </a:lnTo>
                  <a:lnTo>
                    <a:pt x="4" y="4"/>
                  </a:lnTo>
                  <a:lnTo>
                    <a:pt x="4" y="4"/>
                  </a:lnTo>
                  <a:lnTo>
                    <a:pt x="4" y="4"/>
                  </a:lnTo>
                  <a:lnTo>
                    <a:pt x="4" y="4"/>
                  </a:lnTo>
                  <a:lnTo>
                    <a:pt x="4" y="4"/>
                  </a:lnTo>
                  <a:lnTo>
                    <a:pt x="4" y="4"/>
                  </a:lnTo>
                  <a:lnTo>
                    <a:pt x="4" y="4"/>
                  </a:lnTo>
                  <a:lnTo>
                    <a:pt x="4" y="4"/>
                  </a:lnTo>
                  <a:lnTo>
                    <a:pt x="4" y="4"/>
                  </a:lnTo>
                  <a:lnTo>
                    <a:pt x="4" y="4"/>
                  </a:lnTo>
                  <a:lnTo>
                    <a:pt x="3" y="3"/>
                  </a:lnTo>
                  <a:lnTo>
                    <a:pt x="3" y="3"/>
                  </a:lnTo>
                  <a:lnTo>
                    <a:pt x="3" y="3"/>
                  </a:lnTo>
                  <a:lnTo>
                    <a:pt x="3" y="3"/>
                  </a:lnTo>
                  <a:lnTo>
                    <a:pt x="2" y="2"/>
                  </a:lnTo>
                  <a:lnTo>
                    <a:pt x="2" y="1"/>
                  </a:lnTo>
                  <a:lnTo>
                    <a:pt x="2" y="1"/>
                  </a:lnTo>
                  <a:lnTo>
                    <a:pt x="1" y="1"/>
                  </a:lnTo>
                  <a:lnTo>
                    <a:pt x="0" y="0"/>
                  </a:lnTo>
                  <a:lnTo>
                    <a:pt x="0" y="0"/>
                  </a:lnTo>
                  <a:lnTo>
                    <a:pt x="0" y="0"/>
                  </a:lnTo>
                  <a:lnTo>
                    <a:pt x="0" y="0"/>
                  </a:lnTo>
                  <a:lnTo>
                    <a:pt x="0" y="0"/>
                  </a:lnTo>
                  <a:lnTo>
                    <a:pt x="0" y="0"/>
                  </a:lnTo>
                  <a:lnTo>
                    <a:pt x="0" y="0"/>
                  </a:lnTo>
                  <a:lnTo>
                    <a:pt x="0" y="0"/>
                  </a:lnTo>
                  <a:lnTo>
                    <a:pt x="1" y="0"/>
                  </a:lnTo>
                  <a:lnTo>
                    <a:pt x="1" y="1"/>
                  </a:lnTo>
                  <a:lnTo>
                    <a:pt x="1" y="1"/>
                  </a:lnTo>
                  <a:lnTo>
                    <a:pt x="1" y="1"/>
                  </a:lnTo>
                  <a:lnTo>
                    <a:pt x="1" y="1"/>
                  </a:lnTo>
                  <a:lnTo>
                    <a:pt x="2" y="1"/>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78" name="Freeform 1343">
              <a:extLst>
                <a:ext uri="{FF2B5EF4-FFF2-40B4-BE49-F238E27FC236}">
                  <a16:creationId xmlns:a16="http://schemas.microsoft.com/office/drawing/2014/main" id="{4F1F34F2-EBD5-4E98-8519-59D9CC7CA7DB}"/>
                </a:ext>
              </a:extLst>
            </p:cNvPr>
            <p:cNvSpPr>
              <a:spLocks/>
            </p:cNvSpPr>
            <p:nvPr/>
          </p:nvSpPr>
          <p:spPr bwMode="auto">
            <a:xfrm>
              <a:off x="6053493" y="2412351"/>
              <a:ext cx="0" cy="2671"/>
            </a:xfrm>
            <a:custGeom>
              <a:avLst/>
              <a:gdLst>
                <a:gd name="T0" fmla="*/ 2 h 2"/>
                <a:gd name="T1" fmla="*/ 2 h 2"/>
                <a:gd name="T2" fmla="*/ 2 h 2"/>
                <a:gd name="T3" fmla="*/ 2 h 2"/>
                <a:gd name="T4" fmla="*/ 0 h 2"/>
                <a:gd name="T5" fmla="*/ 0 h 2"/>
                <a:gd name="T6" fmla="*/ 0 h 2"/>
                <a:gd name="T7" fmla="*/ 0 h 2"/>
                <a:gd name="T8" fmla="*/ 0 h 2"/>
                <a:gd name="T9" fmla="*/ 0 h 2"/>
                <a:gd name="T10" fmla="*/ 2 h 2"/>
                <a:gd name="T11" fmla="*/ 2 h 2"/>
                <a:gd name="T12" fmla="*/ 2 h 2"/>
                <a:gd name="T13"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Lst>
              <a:rect l="0" t="0" r="r" b="b"/>
              <a:pathLst>
                <a:path h="2">
                  <a:moveTo>
                    <a:pt x="0" y="2"/>
                  </a:moveTo>
                  <a:lnTo>
                    <a:pt x="0" y="2"/>
                  </a:lnTo>
                  <a:lnTo>
                    <a:pt x="0" y="2"/>
                  </a:lnTo>
                  <a:lnTo>
                    <a:pt x="0" y="2"/>
                  </a:lnTo>
                  <a:lnTo>
                    <a:pt x="0" y="0"/>
                  </a:lnTo>
                  <a:lnTo>
                    <a:pt x="0" y="0"/>
                  </a:lnTo>
                  <a:lnTo>
                    <a:pt x="0" y="0"/>
                  </a:lnTo>
                  <a:lnTo>
                    <a:pt x="0" y="0"/>
                  </a:lnTo>
                  <a:lnTo>
                    <a:pt x="0" y="0"/>
                  </a:lnTo>
                  <a:lnTo>
                    <a:pt x="0" y="0"/>
                  </a:lnTo>
                  <a:lnTo>
                    <a:pt x="0" y="2"/>
                  </a:lnTo>
                  <a:lnTo>
                    <a:pt x="0" y="2"/>
                  </a:lnTo>
                  <a:lnTo>
                    <a:pt x="0" y="2"/>
                  </a:lnTo>
                  <a:lnTo>
                    <a:pt x="0"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79" name="Freeform 1344">
              <a:extLst>
                <a:ext uri="{FF2B5EF4-FFF2-40B4-BE49-F238E27FC236}">
                  <a16:creationId xmlns:a16="http://schemas.microsoft.com/office/drawing/2014/main" id="{BF0081C7-657E-4893-BCE4-025BEDF16D03}"/>
                </a:ext>
              </a:extLst>
            </p:cNvPr>
            <p:cNvSpPr>
              <a:spLocks/>
            </p:cNvSpPr>
            <p:nvPr/>
          </p:nvSpPr>
          <p:spPr bwMode="auto">
            <a:xfrm>
              <a:off x="6050822" y="2412351"/>
              <a:ext cx="1336" cy="0"/>
            </a:xfrm>
            <a:custGeom>
              <a:avLst/>
              <a:gdLst>
                <a:gd name="T0" fmla="*/ 1 w 1"/>
                <a:gd name="T1" fmla="*/ 1 w 1"/>
                <a:gd name="T2" fmla="*/ 1 w 1"/>
                <a:gd name="T3" fmla="*/ 0 w 1"/>
                <a:gd name="T4" fmla="*/ 0 w 1"/>
                <a:gd name="T5" fmla="*/ 0 w 1"/>
                <a:gd name="T6" fmla="*/ 1 w 1"/>
                <a:gd name="T7" fmla="*/ 1 w 1"/>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1">
                  <a:moveTo>
                    <a:pt x="1" y="0"/>
                  </a:moveTo>
                  <a:lnTo>
                    <a:pt x="1" y="0"/>
                  </a:lnTo>
                  <a:lnTo>
                    <a:pt x="1" y="0"/>
                  </a:lnTo>
                  <a:lnTo>
                    <a:pt x="0" y="0"/>
                  </a:lnTo>
                  <a:lnTo>
                    <a:pt x="0" y="0"/>
                  </a:lnTo>
                  <a:lnTo>
                    <a:pt x="0"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80" name="Freeform 1345">
              <a:extLst>
                <a:ext uri="{FF2B5EF4-FFF2-40B4-BE49-F238E27FC236}">
                  <a16:creationId xmlns:a16="http://schemas.microsoft.com/office/drawing/2014/main" id="{F8F66ECD-7212-409E-AF35-2ED09E72EE42}"/>
                </a:ext>
              </a:extLst>
            </p:cNvPr>
            <p:cNvSpPr>
              <a:spLocks/>
            </p:cNvSpPr>
            <p:nvPr/>
          </p:nvSpPr>
          <p:spPr bwMode="auto">
            <a:xfrm>
              <a:off x="6053493" y="2411016"/>
              <a:ext cx="2671" cy="1336"/>
            </a:xfrm>
            <a:custGeom>
              <a:avLst/>
              <a:gdLst>
                <a:gd name="T0" fmla="*/ 2 w 2"/>
                <a:gd name="T1" fmla="*/ 0 h 1"/>
                <a:gd name="T2" fmla="*/ 0 w 2"/>
                <a:gd name="T3" fmla="*/ 1 h 1"/>
                <a:gd name="T4" fmla="*/ 0 w 2"/>
                <a:gd name="T5" fmla="*/ 1 h 1"/>
                <a:gd name="T6" fmla="*/ 0 w 2"/>
                <a:gd name="T7" fmla="*/ 0 h 1"/>
                <a:gd name="T8" fmla="*/ 0 w 2"/>
                <a:gd name="T9" fmla="*/ 0 h 1"/>
                <a:gd name="T10" fmla="*/ 0 w 2"/>
                <a:gd name="T11" fmla="*/ 0 h 1"/>
                <a:gd name="T12" fmla="*/ 0 w 2"/>
                <a:gd name="T13" fmla="*/ 0 h 1"/>
                <a:gd name="T14" fmla="*/ 0 w 2"/>
                <a:gd name="T15" fmla="*/ 0 h 1"/>
                <a:gd name="T16" fmla="*/ 0 w 2"/>
                <a:gd name="T17" fmla="*/ 0 h 1"/>
                <a:gd name="T18" fmla="*/ 0 w 2"/>
                <a:gd name="T19" fmla="*/ 0 h 1"/>
                <a:gd name="T20" fmla="*/ 0 w 2"/>
                <a:gd name="T21" fmla="*/ 0 h 1"/>
                <a:gd name="T22" fmla="*/ 0 w 2"/>
                <a:gd name="T23" fmla="*/ 0 h 1"/>
                <a:gd name="T24" fmla="*/ 0 w 2"/>
                <a:gd name="T25" fmla="*/ 0 h 1"/>
                <a:gd name="T26" fmla="*/ 0 w 2"/>
                <a:gd name="T27" fmla="*/ 0 h 1"/>
                <a:gd name="T28" fmla="*/ 0 w 2"/>
                <a:gd name="T29" fmla="*/ 0 h 1"/>
                <a:gd name="T30" fmla="*/ 0 w 2"/>
                <a:gd name="T31" fmla="*/ 0 h 1"/>
                <a:gd name="T32" fmla="*/ 0 w 2"/>
                <a:gd name="T33" fmla="*/ 0 h 1"/>
                <a:gd name="T34" fmla="*/ 0 w 2"/>
                <a:gd name="T35" fmla="*/ 0 h 1"/>
                <a:gd name="T36" fmla="*/ 2 w 2"/>
                <a:gd name="T3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 h="1">
                  <a:moveTo>
                    <a:pt x="2" y="0"/>
                  </a:move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81" name="Freeform 1346">
              <a:extLst>
                <a:ext uri="{FF2B5EF4-FFF2-40B4-BE49-F238E27FC236}">
                  <a16:creationId xmlns:a16="http://schemas.microsoft.com/office/drawing/2014/main" id="{4F66B891-FEDE-4A4B-B339-1DB8A73AA470}"/>
                </a:ext>
              </a:extLst>
            </p:cNvPr>
            <p:cNvSpPr>
              <a:spLocks/>
            </p:cNvSpPr>
            <p:nvPr/>
          </p:nvSpPr>
          <p:spPr bwMode="auto">
            <a:xfrm>
              <a:off x="6044145" y="2405674"/>
              <a:ext cx="0" cy="1336"/>
            </a:xfrm>
            <a:custGeom>
              <a:avLst/>
              <a:gdLst>
                <a:gd name="T0" fmla="*/ 1 h 1"/>
                <a:gd name="T1" fmla="*/ 1 h 1"/>
                <a:gd name="T2" fmla="*/ 1 h 1"/>
                <a:gd name="T3" fmla="*/ 1 h 1"/>
                <a:gd name="T4" fmla="*/ 1 h 1"/>
                <a:gd name="T5" fmla="*/ 1 h 1"/>
                <a:gd name="T6" fmla="*/ 1 h 1"/>
                <a:gd name="T7" fmla="*/ 0 h 1"/>
                <a:gd name="T8" fmla="*/ 0 h 1"/>
                <a:gd name="T9" fmla="*/ 0 h 1"/>
                <a:gd name="T10" fmla="*/ 0 h 1"/>
                <a:gd name="T11" fmla="*/ 0 h 1"/>
                <a:gd name="T12" fmla="*/ 0 h 1"/>
                <a:gd name="T13" fmla="*/ 0 h 1"/>
                <a:gd name="T14" fmla="*/ 0 h 1"/>
                <a:gd name="T15" fmla="*/ 0 h 1"/>
                <a:gd name="T16" fmla="*/ 0 h 1"/>
                <a:gd name="T17" fmla="*/ 1 h 1"/>
                <a:gd name="T18" fmla="*/ 1 h 1"/>
                <a:gd name="T19" fmla="*/ 1 h 1"/>
                <a:gd name="T20" fmla="*/ 1 h 1"/>
                <a:gd name="T21"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Lst>
              <a:rect l="0" t="0" r="r" b="b"/>
              <a:pathLst>
                <a:path h="1">
                  <a:moveTo>
                    <a:pt x="0" y="1"/>
                  </a:moveTo>
                  <a:lnTo>
                    <a:pt x="0" y="1"/>
                  </a:lnTo>
                  <a:lnTo>
                    <a:pt x="0" y="1"/>
                  </a:lnTo>
                  <a:lnTo>
                    <a:pt x="0" y="1"/>
                  </a:lnTo>
                  <a:lnTo>
                    <a:pt x="0" y="1"/>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1"/>
                  </a:lnTo>
                  <a:lnTo>
                    <a:pt x="0" y="1"/>
                  </a:lnTo>
                  <a:lnTo>
                    <a:pt x="0" y="1"/>
                  </a:lnTo>
                  <a:lnTo>
                    <a:pt x="0" y="1"/>
                  </a:lnTo>
                  <a:lnTo>
                    <a:pt x="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82" name="Freeform 1347">
              <a:extLst>
                <a:ext uri="{FF2B5EF4-FFF2-40B4-BE49-F238E27FC236}">
                  <a16:creationId xmlns:a16="http://schemas.microsoft.com/office/drawing/2014/main" id="{A4231AA8-FBDF-46B9-BDD6-C7621976F049}"/>
                </a:ext>
              </a:extLst>
            </p:cNvPr>
            <p:cNvSpPr>
              <a:spLocks/>
            </p:cNvSpPr>
            <p:nvPr/>
          </p:nvSpPr>
          <p:spPr bwMode="auto">
            <a:xfrm>
              <a:off x="6052157" y="2405674"/>
              <a:ext cx="9349" cy="6678"/>
            </a:xfrm>
            <a:custGeom>
              <a:avLst/>
              <a:gdLst>
                <a:gd name="T0" fmla="*/ 3 w 7"/>
                <a:gd name="T1" fmla="*/ 1 h 5"/>
                <a:gd name="T2" fmla="*/ 3 w 7"/>
                <a:gd name="T3" fmla="*/ 1 h 5"/>
                <a:gd name="T4" fmla="*/ 4 w 7"/>
                <a:gd name="T5" fmla="*/ 1 h 5"/>
                <a:gd name="T6" fmla="*/ 4 w 7"/>
                <a:gd name="T7" fmla="*/ 2 h 5"/>
                <a:gd name="T8" fmla="*/ 5 w 7"/>
                <a:gd name="T9" fmla="*/ 2 h 5"/>
                <a:gd name="T10" fmla="*/ 5 w 7"/>
                <a:gd name="T11" fmla="*/ 3 h 5"/>
                <a:gd name="T12" fmla="*/ 5 w 7"/>
                <a:gd name="T13" fmla="*/ 2 h 5"/>
                <a:gd name="T14" fmla="*/ 5 w 7"/>
                <a:gd name="T15" fmla="*/ 2 h 5"/>
                <a:gd name="T16" fmla="*/ 4 w 7"/>
                <a:gd name="T17" fmla="*/ 2 h 5"/>
                <a:gd name="T18" fmla="*/ 4 w 7"/>
                <a:gd name="T19" fmla="*/ 2 h 5"/>
                <a:gd name="T20" fmla="*/ 3 w 7"/>
                <a:gd name="T21" fmla="*/ 2 h 5"/>
                <a:gd name="T22" fmla="*/ 4 w 7"/>
                <a:gd name="T23" fmla="*/ 2 h 5"/>
                <a:gd name="T24" fmla="*/ 6 w 7"/>
                <a:gd name="T25" fmla="*/ 4 h 5"/>
                <a:gd name="T26" fmla="*/ 5 w 7"/>
                <a:gd name="T27" fmla="*/ 3 h 5"/>
                <a:gd name="T28" fmla="*/ 5 w 7"/>
                <a:gd name="T29" fmla="*/ 3 h 5"/>
                <a:gd name="T30" fmla="*/ 6 w 7"/>
                <a:gd name="T31" fmla="*/ 4 h 5"/>
                <a:gd name="T32" fmla="*/ 7 w 7"/>
                <a:gd name="T33" fmla="*/ 4 h 5"/>
                <a:gd name="T34" fmla="*/ 7 w 7"/>
                <a:gd name="T35" fmla="*/ 5 h 5"/>
                <a:gd name="T36" fmla="*/ 7 w 7"/>
                <a:gd name="T37" fmla="*/ 5 h 5"/>
                <a:gd name="T38" fmla="*/ 6 w 7"/>
                <a:gd name="T39" fmla="*/ 4 h 5"/>
                <a:gd name="T40" fmla="*/ 7 w 7"/>
                <a:gd name="T41" fmla="*/ 4 h 5"/>
                <a:gd name="T42" fmla="*/ 7 w 7"/>
                <a:gd name="T43" fmla="*/ 5 h 5"/>
                <a:gd name="T44" fmla="*/ 7 w 7"/>
                <a:gd name="T45" fmla="*/ 5 h 5"/>
                <a:gd name="T46" fmla="*/ 7 w 7"/>
                <a:gd name="T47" fmla="*/ 5 h 5"/>
                <a:gd name="T48" fmla="*/ 7 w 7"/>
                <a:gd name="T49" fmla="*/ 5 h 5"/>
                <a:gd name="T50" fmla="*/ 6 w 7"/>
                <a:gd name="T51" fmla="*/ 5 h 5"/>
                <a:gd name="T52" fmla="*/ 6 w 7"/>
                <a:gd name="T53" fmla="*/ 5 h 5"/>
                <a:gd name="T54" fmla="*/ 6 w 7"/>
                <a:gd name="T55" fmla="*/ 5 h 5"/>
                <a:gd name="T56" fmla="*/ 6 w 7"/>
                <a:gd name="T57" fmla="*/ 5 h 5"/>
                <a:gd name="T58" fmla="*/ 6 w 7"/>
                <a:gd name="T59" fmla="*/ 5 h 5"/>
                <a:gd name="T60" fmla="*/ 6 w 7"/>
                <a:gd name="T61" fmla="*/ 5 h 5"/>
                <a:gd name="T62" fmla="*/ 6 w 7"/>
                <a:gd name="T63" fmla="*/ 4 h 5"/>
                <a:gd name="T64" fmla="*/ 5 w 7"/>
                <a:gd name="T65" fmla="*/ 4 h 5"/>
                <a:gd name="T66" fmla="*/ 6 w 7"/>
                <a:gd name="T67" fmla="*/ 4 h 5"/>
                <a:gd name="T68" fmla="*/ 6 w 7"/>
                <a:gd name="T69" fmla="*/ 4 h 5"/>
                <a:gd name="T70" fmla="*/ 5 w 7"/>
                <a:gd name="T71" fmla="*/ 4 h 5"/>
                <a:gd name="T72" fmla="*/ 5 w 7"/>
                <a:gd name="T73" fmla="*/ 4 h 5"/>
                <a:gd name="T74" fmla="*/ 5 w 7"/>
                <a:gd name="T75" fmla="*/ 4 h 5"/>
                <a:gd name="T76" fmla="*/ 4 w 7"/>
                <a:gd name="T77" fmla="*/ 3 h 5"/>
                <a:gd name="T78" fmla="*/ 3 w 7"/>
                <a:gd name="T79" fmla="*/ 3 h 5"/>
                <a:gd name="T80" fmla="*/ 3 w 7"/>
                <a:gd name="T81" fmla="*/ 2 h 5"/>
                <a:gd name="T82" fmla="*/ 4 w 7"/>
                <a:gd name="T83" fmla="*/ 2 h 5"/>
                <a:gd name="T84" fmla="*/ 3 w 7"/>
                <a:gd name="T85" fmla="*/ 2 h 5"/>
                <a:gd name="T86" fmla="*/ 3 w 7"/>
                <a:gd name="T87" fmla="*/ 2 h 5"/>
                <a:gd name="T88" fmla="*/ 0 w 7"/>
                <a:gd name="T89" fmla="*/ 0 h 5"/>
                <a:gd name="T90" fmla="*/ 0 w 7"/>
                <a:gd name="T91" fmla="*/ 0 h 5"/>
                <a:gd name="T92" fmla="*/ 1 w 7"/>
                <a:gd name="T9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 h="5">
                  <a:moveTo>
                    <a:pt x="3" y="1"/>
                  </a:moveTo>
                  <a:lnTo>
                    <a:pt x="3" y="1"/>
                  </a:lnTo>
                  <a:lnTo>
                    <a:pt x="3" y="1"/>
                  </a:lnTo>
                  <a:lnTo>
                    <a:pt x="3" y="1"/>
                  </a:lnTo>
                  <a:lnTo>
                    <a:pt x="4" y="1"/>
                  </a:lnTo>
                  <a:lnTo>
                    <a:pt x="4" y="1"/>
                  </a:lnTo>
                  <a:lnTo>
                    <a:pt x="4" y="2"/>
                  </a:lnTo>
                  <a:lnTo>
                    <a:pt x="4" y="2"/>
                  </a:lnTo>
                  <a:lnTo>
                    <a:pt x="5" y="2"/>
                  </a:lnTo>
                  <a:lnTo>
                    <a:pt x="5" y="2"/>
                  </a:lnTo>
                  <a:lnTo>
                    <a:pt x="5" y="2"/>
                  </a:lnTo>
                  <a:lnTo>
                    <a:pt x="5" y="3"/>
                  </a:lnTo>
                  <a:lnTo>
                    <a:pt x="5" y="3"/>
                  </a:lnTo>
                  <a:lnTo>
                    <a:pt x="5" y="2"/>
                  </a:lnTo>
                  <a:lnTo>
                    <a:pt x="4" y="2"/>
                  </a:lnTo>
                  <a:lnTo>
                    <a:pt x="5" y="2"/>
                  </a:lnTo>
                  <a:lnTo>
                    <a:pt x="5" y="2"/>
                  </a:lnTo>
                  <a:lnTo>
                    <a:pt x="4" y="2"/>
                  </a:lnTo>
                  <a:lnTo>
                    <a:pt x="4" y="2"/>
                  </a:lnTo>
                  <a:lnTo>
                    <a:pt x="4" y="2"/>
                  </a:lnTo>
                  <a:lnTo>
                    <a:pt x="4" y="2"/>
                  </a:lnTo>
                  <a:lnTo>
                    <a:pt x="3" y="2"/>
                  </a:lnTo>
                  <a:lnTo>
                    <a:pt x="3" y="2"/>
                  </a:lnTo>
                  <a:lnTo>
                    <a:pt x="4" y="2"/>
                  </a:lnTo>
                  <a:lnTo>
                    <a:pt x="5" y="3"/>
                  </a:lnTo>
                  <a:lnTo>
                    <a:pt x="6" y="4"/>
                  </a:lnTo>
                  <a:lnTo>
                    <a:pt x="5" y="3"/>
                  </a:lnTo>
                  <a:lnTo>
                    <a:pt x="5" y="3"/>
                  </a:lnTo>
                  <a:lnTo>
                    <a:pt x="5" y="3"/>
                  </a:lnTo>
                  <a:lnTo>
                    <a:pt x="5" y="3"/>
                  </a:lnTo>
                  <a:lnTo>
                    <a:pt x="5" y="3"/>
                  </a:lnTo>
                  <a:lnTo>
                    <a:pt x="6" y="4"/>
                  </a:lnTo>
                  <a:lnTo>
                    <a:pt x="7" y="4"/>
                  </a:lnTo>
                  <a:lnTo>
                    <a:pt x="7" y="4"/>
                  </a:lnTo>
                  <a:lnTo>
                    <a:pt x="7" y="4"/>
                  </a:lnTo>
                  <a:lnTo>
                    <a:pt x="7" y="5"/>
                  </a:lnTo>
                  <a:lnTo>
                    <a:pt x="7" y="5"/>
                  </a:lnTo>
                  <a:lnTo>
                    <a:pt x="7" y="5"/>
                  </a:lnTo>
                  <a:lnTo>
                    <a:pt x="7" y="4"/>
                  </a:lnTo>
                  <a:lnTo>
                    <a:pt x="6" y="4"/>
                  </a:lnTo>
                  <a:lnTo>
                    <a:pt x="6" y="4"/>
                  </a:lnTo>
                  <a:lnTo>
                    <a:pt x="7" y="4"/>
                  </a:lnTo>
                  <a:lnTo>
                    <a:pt x="7" y="4"/>
                  </a:lnTo>
                  <a:lnTo>
                    <a:pt x="7" y="5"/>
                  </a:lnTo>
                  <a:lnTo>
                    <a:pt x="7" y="5"/>
                  </a:lnTo>
                  <a:lnTo>
                    <a:pt x="7" y="5"/>
                  </a:lnTo>
                  <a:lnTo>
                    <a:pt x="7" y="5"/>
                  </a:lnTo>
                  <a:lnTo>
                    <a:pt x="7" y="5"/>
                  </a:lnTo>
                  <a:lnTo>
                    <a:pt x="7" y="5"/>
                  </a:lnTo>
                  <a:lnTo>
                    <a:pt x="7" y="5"/>
                  </a:lnTo>
                  <a:lnTo>
                    <a:pt x="7" y="5"/>
                  </a:lnTo>
                  <a:lnTo>
                    <a:pt x="6" y="5"/>
                  </a:lnTo>
                  <a:lnTo>
                    <a:pt x="6" y="5"/>
                  </a:lnTo>
                  <a:lnTo>
                    <a:pt x="6" y="5"/>
                  </a:lnTo>
                  <a:lnTo>
                    <a:pt x="6" y="5"/>
                  </a:lnTo>
                  <a:lnTo>
                    <a:pt x="6" y="5"/>
                  </a:lnTo>
                  <a:lnTo>
                    <a:pt x="6" y="5"/>
                  </a:lnTo>
                  <a:lnTo>
                    <a:pt x="6" y="5"/>
                  </a:lnTo>
                  <a:lnTo>
                    <a:pt x="6" y="5"/>
                  </a:lnTo>
                  <a:lnTo>
                    <a:pt x="6" y="5"/>
                  </a:lnTo>
                  <a:lnTo>
                    <a:pt x="6" y="5"/>
                  </a:lnTo>
                  <a:lnTo>
                    <a:pt x="6" y="5"/>
                  </a:lnTo>
                  <a:lnTo>
                    <a:pt x="6" y="4"/>
                  </a:lnTo>
                  <a:lnTo>
                    <a:pt x="6" y="4"/>
                  </a:lnTo>
                  <a:lnTo>
                    <a:pt x="6" y="4"/>
                  </a:lnTo>
                  <a:lnTo>
                    <a:pt x="5" y="4"/>
                  </a:lnTo>
                  <a:lnTo>
                    <a:pt x="6" y="4"/>
                  </a:lnTo>
                  <a:lnTo>
                    <a:pt x="6" y="4"/>
                  </a:lnTo>
                  <a:lnTo>
                    <a:pt x="6" y="4"/>
                  </a:lnTo>
                  <a:lnTo>
                    <a:pt x="6" y="4"/>
                  </a:lnTo>
                  <a:lnTo>
                    <a:pt x="5" y="4"/>
                  </a:lnTo>
                  <a:lnTo>
                    <a:pt x="5" y="4"/>
                  </a:lnTo>
                  <a:lnTo>
                    <a:pt x="5" y="4"/>
                  </a:lnTo>
                  <a:lnTo>
                    <a:pt x="5" y="4"/>
                  </a:lnTo>
                  <a:lnTo>
                    <a:pt x="5" y="4"/>
                  </a:lnTo>
                  <a:lnTo>
                    <a:pt x="5" y="4"/>
                  </a:lnTo>
                  <a:lnTo>
                    <a:pt x="5" y="3"/>
                  </a:lnTo>
                  <a:lnTo>
                    <a:pt x="4" y="3"/>
                  </a:lnTo>
                  <a:lnTo>
                    <a:pt x="4" y="3"/>
                  </a:lnTo>
                  <a:lnTo>
                    <a:pt x="3" y="3"/>
                  </a:lnTo>
                  <a:lnTo>
                    <a:pt x="3" y="3"/>
                  </a:lnTo>
                  <a:lnTo>
                    <a:pt x="3" y="2"/>
                  </a:lnTo>
                  <a:lnTo>
                    <a:pt x="3" y="2"/>
                  </a:lnTo>
                  <a:lnTo>
                    <a:pt x="4" y="2"/>
                  </a:lnTo>
                  <a:lnTo>
                    <a:pt x="3" y="2"/>
                  </a:lnTo>
                  <a:lnTo>
                    <a:pt x="3" y="2"/>
                  </a:lnTo>
                  <a:lnTo>
                    <a:pt x="3" y="2"/>
                  </a:lnTo>
                  <a:lnTo>
                    <a:pt x="3" y="2"/>
                  </a:lnTo>
                  <a:lnTo>
                    <a:pt x="1" y="0"/>
                  </a:lnTo>
                  <a:lnTo>
                    <a:pt x="0" y="0"/>
                  </a:lnTo>
                  <a:lnTo>
                    <a:pt x="0" y="0"/>
                  </a:lnTo>
                  <a:lnTo>
                    <a:pt x="0" y="0"/>
                  </a:lnTo>
                  <a:lnTo>
                    <a:pt x="0" y="0"/>
                  </a:lnTo>
                  <a:lnTo>
                    <a:pt x="1" y="0"/>
                  </a:lnTo>
                  <a:lnTo>
                    <a:pt x="3"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83" name="Freeform 1348">
              <a:extLst>
                <a:ext uri="{FF2B5EF4-FFF2-40B4-BE49-F238E27FC236}">
                  <a16:creationId xmlns:a16="http://schemas.microsoft.com/office/drawing/2014/main" id="{47A1EB61-BC2C-4FB6-82E0-51B83DD64208}"/>
                </a:ext>
              </a:extLst>
            </p:cNvPr>
            <p:cNvSpPr>
              <a:spLocks/>
            </p:cNvSpPr>
            <p:nvPr/>
          </p:nvSpPr>
          <p:spPr bwMode="auto">
            <a:xfrm>
              <a:off x="6046816" y="2405674"/>
              <a:ext cx="2671" cy="4007"/>
            </a:xfrm>
            <a:custGeom>
              <a:avLst/>
              <a:gdLst>
                <a:gd name="T0" fmla="*/ 1 w 2"/>
                <a:gd name="T1" fmla="*/ 1 h 3"/>
                <a:gd name="T2" fmla="*/ 1 w 2"/>
                <a:gd name="T3" fmla="*/ 2 h 3"/>
                <a:gd name="T4" fmla="*/ 2 w 2"/>
                <a:gd name="T5" fmla="*/ 2 h 3"/>
                <a:gd name="T6" fmla="*/ 2 w 2"/>
                <a:gd name="T7" fmla="*/ 3 h 3"/>
                <a:gd name="T8" fmla="*/ 2 w 2"/>
                <a:gd name="T9" fmla="*/ 3 h 3"/>
                <a:gd name="T10" fmla="*/ 2 w 2"/>
                <a:gd name="T11" fmla="*/ 2 h 3"/>
                <a:gd name="T12" fmla="*/ 1 w 2"/>
                <a:gd name="T13" fmla="*/ 2 h 3"/>
                <a:gd name="T14" fmla="*/ 1 w 2"/>
                <a:gd name="T15" fmla="*/ 2 h 3"/>
                <a:gd name="T16" fmla="*/ 1 w 2"/>
                <a:gd name="T17" fmla="*/ 2 h 3"/>
                <a:gd name="T18" fmla="*/ 2 w 2"/>
                <a:gd name="T19" fmla="*/ 2 h 3"/>
                <a:gd name="T20" fmla="*/ 2 w 2"/>
                <a:gd name="T21" fmla="*/ 2 h 3"/>
                <a:gd name="T22" fmla="*/ 1 w 2"/>
                <a:gd name="T23" fmla="*/ 2 h 3"/>
                <a:gd name="T24" fmla="*/ 1 w 2"/>
                <a:gd name="T25" fmla="*/ 1 h 3"/>
                <a:gd name="T26" fmla="*/ 1 w 2"/>
                <a:gd name="T27" fmla="*/ 1 h 3"/>
                <a:gd name="T28" fmla="*/ 1 w 2"/>
                <a:gd name="T29" fmla="*/ 2 h 3"/>
                <a:gd name="T30" fmla="*/ 1 w 2"/>
                <a:gd name="T31" fmla="*/ 2 h 3"/>
                <a:gd name="T32" fmla="*/ 1 w 2"/>
                <a:gd name="T33" fmla="*/ 2 h 3"/>
                <a:gd name="T34" fmla="*/ 0 w 2"/>
                <a:gd name="T35" fmla="*/ 1 h 3"/>
                <a:gd name="T36" fmla="*/ 0 w 2"/>
                <a:gd name="T37" fmla="*/ 1 h 3"/>
                <a:gd name="T38" fmla="*/ 1 w 2"/>
                <a:gd name="T39" fmla="*/ 1 h 3"/>
                <a:gd name="T40" fmla="*/ 1 w 2"/>
                <a:gd name="T41" fmla="*/ 1 h 3"/>
                <a:gd name="T42" fmla="*/ 1 w 2"/>
                <a:gd name="T43" fmla="*/ 1 h 3"/>
                <a:gd name="T44" fmla="*/ 0 w 2"/>
                <a:gd name="T45" fmla="*/ 1 h 3"/>
                <a:gd name="T46" fmla="*/ 1 w 2"/>
                <a:gd name="T47" fmla="*/ 1 h 3"/>
                <a:gd name="T48" fmla="*/ 1 w 2"/>
                <a:gd name="T49" fmla="*/ 1 h 3"/>
                <a:gd name="T50" fmla="*/ 0 w 2"/>
                <a:gd name="T51" fmla="*/ 0 h 3"/>
                <a:gd name="T52" fmla="*/ 0 w 2"/>
                <a:gd name="T53" fmla="*/ 0 h 3"/>
                <a:gd name="T54" fmla="*/ 0 w 2"/>
                <a:gd name="T55" fmla="*/ 0 h 3"/>
                <a:gd name="T56" fmla="*/ 0 w 2"/>
                <a:gd name="T57" fmla="*/ 0 h 3"/>
                <a:gd name="T58" fmla="*/ 0 w 2"/>
                <a:gd name="T59" fmla="*/ 0 h 3"/>
                <a:gd name="T60" fmla="*/ 1 w 2"/>
                <a:gd name="T61" fmla="*/ 0 h 3"/>
                <a:gd name="T62" fmla="*/ 1 w 2"/>
                <a:gd name="T63" fmla="*/ 0 h 3"/>
                <a:gd name="T64" fmla="*/ 1 w 2"/>
                <a:gd name="T65" fmla="*/ 0 h 3"/>
                <a:gd name="T66" fmla="*/ 1 w 2"/>
                <a:gd name="T67" fmla="*/ 0 h 3"/>
                <a:gd name="T68" fmla="*/ 1 w 2"/>
                <a:gd name="T69" fmla="*/ 1 h 3"/>
                <a:gd name="T70" fmla="*/ 1 w 2"/>
                <a:gd name="T71" fmla="*/ 1 h 3"/>
                <a:gd name="T72" fmla="*/ 1 w 2"/>
                <a:gd name="T7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 h="3">
                  <a:moveTo>
                    <a:pt x="1" y="1"/>
                  </a:moveTo>
                  <a:lnTo>
                    <a:pt x="1" y="2"/>
                  </a:lnTo>
                  <a:lnTo>
                    <a:pt x="2" y="2"/>
                  </a:lnTo>
                  <a:lnTo>
                    <a:pt x="2" y="3"/>
                  </a:lnTo>
                  <a:lnTo>
                    <a:pt x="2" y="3"/>
                  </a:lnTo>
                  <a:lnTo>
                    <a:pt x="2" y="2"/>
                  </a:lnTo>
                  <a:lnTo>
                    <a:pt x="1" y="2"/>
                  </a:lnTo>
                  <a:lnTo>
                    <a:pt x="1" y="2"/>
                  </a:lnTo>
                  <a:lnTo>
                    <a:pt x="1" y="2"/>
                  </a:lnTo>
                  <a:lnTo>
                    <a:pt x="2" y="2"/>
                  </a:lnTo>
                  <a:lnTo>
                    <a:pt x="2" y="2"/>
                  </a:lnTo>
                  <a:lnTo>
                    <a:pt x="1" y="2"/>
                  </a:lnTo>
                  <a:lnTo>
                    <a:pt x="1" y="1"/>
                  </a:lnTo>
                  <a:lnTo>
                    <a:pt x="1" y="1"/>
                  </a:lnTo>
                  <a:lnTo>
                    <a:pt x="1" y="2"/>
                  </a:lnTo>
                  <a:lnTo>
                    <a:pt x="1" y="2"/>
                  </a:lnTo>
                  <a:lnTo>
                    <a:pt x="1" y="2"/>
                  </a:lnTo>
                  <a:lnTo>
                    <a:pt x="0" y="1"/>
                  </a:lnTo>
                  <a:lnTo>
                    <a:pt x="0" y="1"/>
                  </a:lnTo>
                  <a:lnTo>
                    <a:pt x="1" y="1"/>
                  </a:lnTo>
                  <a:lnTo>
                    <a:pt x="1" y="1"/>
                  </a:lnTo>
                  <a:lnTo>
                    <a:pt x="1" y="1"/>
                  </a:lnTo>
                  <a:lnTo>
                    <a:pt x="0" y="1"/>
                  </a:lnTo>
                  <a:lnTo>
                    <a:pt x="1" y="1"/>
                  </a:lnTo>
                  <a:lnTo>
                    <a:pt x="1" y="1"/>
                  </a:lnTo>
                  <a:lnTo>
                    <a:pt x="0" y="0"/>
                  </a:lnTo>
                  <a:lnTo>
                    <a:pt x="0" y="0"/>
                  </a:lnTo>
                  <a:lnTo>
                    <a:pt x="0" y="0"/>
                  </a:lnTo>
                  <a:lnTo>
                    <a:pt x="0" y="0"/>
                  </a:lnTo>
                  <a:lnTo>
                    <a:pt x="0" y="0"/>
                  </a:lnTo>
                  <a:lnTo>
                    <a:pt x="1" y="0"/>
                  </a:lnTo>
                  <a:lnTo>
                    <a:pt x="1" y="0"/>
                  </a:lnTo>
                  <a:lnTo>
                    <a:pt x="1" y="0"/>
                  </a:lnTo>
                  <a:lnTo>
                    <a:pt x="1" y="0"/>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84" name="Freeform 1349">
              <a:extLst>
                <a:ext uri="{FF2B5EF4-FFF2-40B4-BE49-F238E27FC236}">
                  <a16:creationId xmlns:a16="http://schemas.microsoft.com/office/drawing/2014/main" id="{E7BB0AF6-B88B-4774-9CD0-E5D675419ABB}"/>
                </a:ext>
              </a:extLst>
            </p:cNvPr>
            <p:cNvSpPr>
              <a:spLocks/>
            </p:cNvSpPr>
            <p:nvPr/>
          </p:nvSpPr>
          <p:spPr bwMode="auto">
            <a:xfrm>
              <a:off x="6050822" y="2401667"/>
              <a:ext cx="5342" cy="4007"/>
            </a:xfrm>
            <a:custGeom>
              <a:avLst/>
              <a:gdLst>
                <a:gd name="T0" fmla="*/ 1 w 4"/>
                <a:gd name="T1" fmla="*/ 0 h 3"/>
                <a:gd name="T2" fmla="*/ 1 w 4"/>
                <a:gd name="T3" fmla="*/ 0 h 3"/>
                <a:gd name="T4" fmla="*/ 1 w 4"/>
                <a:gd name="T5" fmla="*/ 0 h 3"/>
                <a:gd name="T6" fmla="*/ 1 w 4"/>
                <a:gd name="T7" fmla="*/ 0 h 3"/>
                <a:gd name="T8" fmla="*/ 1 w 4"/>
                <a:gd name="T9" fmla="*/ 0 h 3"/>
                <a:gd name="T10" fmla="*/ 2 w 4"/>
                <a:gd name="T11" fmla="*/ 1 h 3"/>
                <a:gd name="T12" fmla="*/ 2 w 4"/>
                <a:gd name="T13" fmla="*/ 1 h 3"/>
                <a:gd name="T14" fmla="*/ 2 w 4"/>
                <a:gd name="T15" fmla="*/ 1 h 3"/>
                <a:gd name="T16" fmla="*/ 4 w 4"/>
                <a:gd name="T17" fmla="*/ 1 h 3"/>
                <a:gd name="T18" fmla="*/ 4 w 4"/>
                <a:gd name="T19" fmla="*/ 3 h 3"/>
                <a:gd name="T20" fmla="*/ 4 w 4"/>
                <a:gd name="T21" fmla="*/ 3 h 3"/>
                <a:gd name="T22" fmla="*/ 2 w 4"/>
                <a:gd name="T23" fmla="*/ 3 h 3"/>
                <a:gd name="T24" fmla="*/ 2 w 4"/>
                <a:gd name="T25" fmla="*/ 1 h 3"/>
                <a:gd name="T26" fmla="*/ 1 w 4"/>
                <a:gd name="T27" fmla="*/ 1 h 3"/>
                <a:gd name="T28" fmla="*/ 1 w 4"/>
                <a:gd name="T29" fmla="*/ 1 h 3"/>
                <a:gd name="T30" fmla="*/ 1 w 4"/>
                <a:gd name="T31" fmla="*/ 1 h 3"/>
                <a:gd name="T32" fmla="*/ 1 w 4"/>
                <a:gd name="T33" fmla="*/ 1 h 3"/>
                <a:gd name="T34" fmla="*/ 1 w 4"/>
                <a:gd name="T35" fmla="*/ 1 h 3"/>
                <a:gd name="T36" fmla="*/ 1 w 4"/>
                <a:gd name="T37" fmla="*/ 1 h 3"/>
                <a:gd name="T38" fmla="*/ 1 w 4"/>
                <a:gd name="T39" fmla="*/ 1 h 3"/>
                <a:gd name="T40" fmla="*/ 1 w 4"/>
                <a:gd name="T41" fmla="*/ 1 h 3"/>
                <a:gd name="T42" fmla="*/ 0 w 4"/>
                <a:gd name="T43" fmla="*/ 0 h 3"/>
                <a:gd name="T44" fmla="*/ 1 w 4"/>
                <a:gd name="T45" fmla="*/ 0 h 3"/>
                <a:gd name="T46" fmla="*/ 1 w 4"/>
                <a:gd name="T47" fmla="*/ 0 h 3"/>
                <a:gd name="T48" fmla="*/ 1 w 4"/>
                <a:gd name="T49" fmla="*/ 0 h 3"/>
                <a:gd name="T50" fmla="*/ 1 w 4"/>
                <a:gd name="T51" fmla="*/ 1 h 3"/>
                <a:gd name="T52" fmla="*/ 1 w 4"/>
                <a:gd name="T53" fmla="*/ 0 h 3"/>
                <a:gd name="T54" fmla="*/ 1 w 4"/>
                <a:gd name="T55" fmla="*/ 0 h 3"/>
                <a:gd name="T56" fmla="*/ 1 w 4"/>
                <a:gd name="T57" fmla="*/ 0 h 3"/>
                <a:gd name="T58" fmla="*/ 1 w 4"/>
                <a:gd name="T59" fmla="*/ 0 h 3"/>
                <a:gd name="T60" fmla="*/ 1 w 4"/>
                <a:gd name="T61" fmla="*/ 0 h 3"/>
                <a:gd name="T62" fmla="*/ 1 w 4"/>
                <a:gd name="T63" fmla="*/ 0 h 3"/>
                <a:gd name="T64" fmla="*/ 1 w 4"/>
                <a:gd name="T65" fmla="*/ 0 h 3"/>
                <a:gd name="T66" fmla="*/ 1 w 4"/>
                <a:gd name="T67" fmla="*/ 0 h 3"/>
                <a:gd name="T68" fmla="*/ 1 w 4"/>
                <a:gd name="T69" fmla="*/ 0 h 3"/>
                <a:gd name="T70" fmla="*/ 1 w 4"/>
                <a:gd name="T71" fmla="*/ 0 h 3"/>
                <a:gd name="T72" fmla="*/ 1 w 4"/>
                <a:gd name="T73" fmla="*/ 0 h 3"/>
                <a:gd name="T74" fmla="*/ 1 w 4"/>
                <a:gd name="T75" fmla="*/ 0 h 3"/>
                <a:gd name="T76" fmla="*/ 1 w 4"/>
                <a:gd name="T77" fmla="*/ 0 h 3"/>
                <a:gd name="T78" fmla="*/ 1 w 4"/>
                <a:gd name="T79" fmla="*/ 0 h 3"/>
                <a:gd name="T80" fmla="*/ 1 w 4"/>
                <a:gd name="T81" fmla="*/ 0 h 3"/>
                <a:gd name="T82" fmla="*/ 1 w 4"/>
                <a:gd name="T83" fmla="*/ 0 h 3"/>
                <a:gd name="T84" fmla="*/ 1 w 4"/>
                <a:gd name="T85" fmla="*/ 0 h 3"/>
                <a:gd name="T86" fmla="*/ 1 w 4"/>
                <a:gd name="T87" fmla="*/ 0 h 3"/>
                <a:gd name="T88" fmla="*/ 1 w 4"/>
                <a:gd name="T8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 h="3">
                  <a:moveTo>
                    <a:pt x="1" y="0"/>
                  </a:moveTo>
                  <a:lnTo>
                    <a:pt x="1" y="0"/>
                  </a:lnTo>
                  <a:lnTo>
                    <a:pt x="1" y="0"/>
                  </a:lnTo>
                  <a:lnTo>
                    <a:pt x="1" y="0"/>
                  </a:lnTo>
                  <a:lnTo>
                    <a:pt x="1" y="0"/>
                  </a:lnTo>
                  <a:lnTo>
                    <a:pt x="2" y="1"/>
                  </a:lnTo>
                  <a:lnTo>
                    <a:pt x="2" y="1"/>
                  </a:lnTo>
                  <a:lnTo>
                    <a:pt x="2" y="1"/>
                  </a:lnTo>
                  <a:lnTo>
                    <a:pt x="4" y="1"/>
                  </a:lnTo>
                  <a:lnTo>
                    <a:pt x="4" y="3"/>
                  </a:lnTo>
                  <a:lnTo>
                    <a:pt x="4" y="3"/>
                  </a:lnTo>
                  <a:lnTo>
                    <a:pt x="2" y="3"/>
                  </a:lnTo>
                  <a:lnTo>
                    <a:pt x="2" y="1"/>
                  </a:lnTo>
                  <a:lnTo>
                    <a:pt x="1" y="1"/>
                  </a:lnTo>
                  <a:lnTo>
                    <a:pt x="1" y="1"/>
                  </a:lnTo>
                  <a:lnTo>
                    <a:pt x="1" y="1"/>
                  </a:lnTo>
                  <a:lnTo>
                    <a:pt x="1" y="1"/>
                  </a:lnTo>
                  <a:lnTo>
                    <a:pt x="1" y="1"/>
                  </a:lnTo>
                  <a:lnTo>
                    <a:pt x="1" y="1"/>
                  </a:lnTo>
                  <a:lnTo>
                    <a:pt x="1" y="1"/>
                  </a:lnTo>
                  <a:lnTo>
                    <a:pt x="1" y="1"/>
                  </a:lnTo>
                  <a:lnTo>
                    <a:pt x="0" y="0"/>
                  </a:lnTo>
                  <a:lnTo>
                    <a:pt x="1" y="0"/>
                  </a:lnTo>
                  <a:lnTo>
                    <a:pt x="1" y="0"/>
                  </a:lnTo>
                  <a:lnTo>
                    <a:pt x="1" y="0"/>
                  </a:lnTo>
                  <a:lnTo>
                    <a:pt x="1" y="1"/>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85" name="Freeform 1350">
              <a:extLst>
                <a:ext uri="{FF2B5EF4-FFF2-40B4-BE49-F238E27FC236}">
                  <a16:creationId xmlns:a16="http://schemas.microsoft.com/office/drawing/2014/main" id="{8AB0BAC6-E18D-4C49-ADE7-3A13FD161AE0}"/>
                </a:ext>
              </a:extLst>
            </p:cNvPr>
            <p:cNvSpPr>
              <a:spLocks/>
            </p:cNvSpPr>
            <p:nvPr/>
          </p:nvSpPr>
          <p:spPr bwMode="auto">
            <a:xfrm>
              <a:off x="6044145" y="2393654"/>
              <a:ext cx="5342" cy="13355"/>
            </a:xfrm>
            <a:custGeom>
              <a:avLst/>
              <a:gdLst>
                <a:gd name="T0" fmla="*/ 3 w 4"/>
                <a:gd name="T1" fmla="*/ 5 h 10"/>
                <a:gd name="T2" fmla="*/ 3 w 4"/>
                <a:gd name="T3" fmla="*/ 5 h 10"/>
                <a:gd name="T4" fmla="*/ 3 w 4"/>
                <a:gd name="T5" fmla="*/ 5 h 10"/>
                <a:gd name="T6" fmla="*/ 3 w 4"/>
                <a:gd name="T7" fmla="*/ 6 h 10"/>
                <a:gd name="T8" fmla="*/ 3 w 4"/>
                <a:gd name="T9" fmla="*/ 6 h 10"/>
                <a:gd name="T10" fmla="*/ 3 w 4"/>
                <a:gd name="T11" fmla="*/ 7 h 10"/>
                <a:gd name="T12" fmla="*/ 3 w 4"/>
                <a:gd name="T13" fmla="*/ 7 h 10"/>
                <a:gd name="T14" fmla="*/ 3 w 4"/>
                <a:gd name="T15" fmla="*/ 7 h 10"/>
                <a:gd name="T16" fmla="*/ 4 w 4"/>
                <a:gd name="T17" fmla="*/ 9 h 10"/>
                <a:gd name="T18" fmla="*/ 4 w 4"/>
                <a:gd name="T19" fmla="*/ 9 h 10"/>
                <a:gd name="T20" fmla="*/ 4 w 4"/>
                <a:gd name="T21" fmla="*/ 10 h 10"/>
                <a:gd name="T22" fmla="*/ 4 w 4"/>
                <a:gd name="T23" fmla="*/ 9 h 10"/>
                <a:gd name="T24" fmla="*/ 4 w 4"/>
                <a:gd name="T25" fmla="*/ 10 h 10"/>
                <a:gd name="T26" fmla="*/ 4 w 4"/>
                <a:gd name="T27" fmla="*/ 10 h 10"/>
                <a:gd name="T28" fmla="*/ 4 w 4"/>
                <a:gd name="T29" fmla="*/ 10 h 10"/>
                <a:gd name="T30" fmla="*/ 3 w 4"/>
                <a:gd name="T31" fmla="*/ 9 h 10"/>
                <a:gd name="T32" fmla="*/ 3 w 4"/>
                <a:gd name="T33" fmla="*/ 7 h 10"/>
                <a:gd name="T34" fmla="*/ 3 w 4"/>
                <a:gd name="T35" fmla="*/ 7 h 10"/>
                <a:gd name="T36" fmla="*/ 2 w 4"/>
                <a:gd name="T37" fmla="*/ 7 h 10"/>
                <a:gd name="T38" fmla="*/ 2 w 4"/>
                <a:gd name="T39" fmla="*/ 7 h 10"/>
                <a:gd name="T40" fmla="*/ 2 w 4"/>
                <a:gd name="T41" fmla="*/ 6 h 10"/>
                <a:gd name="T42" fmla="*/ 2 w 4"/>
                <a:gd name="T43" fmla="*/ 6 h 10"/>
                <a:gd name="T44" fmla="*/ 2 w 4"/>
                <a:gd name="T45" fmla="*/ 5 h 10"/>
                <a:gd name="T46" fmla="*/ 0 w 4"/>
                <a:gd name="T47" fmla="*/ 5 h 10"/>
                <a:gd name="T48" fmla="*/ 0 w 4"/>
                <a:gd name="T49" fmla="*/ 5 h 10"/>
                <a:gd name="T50" fmla="*/ 0 w 4"/>
                <a:gd name="T51" fmla="*/ 5 h 10"/>
                <a:gd name="T52" fmla="*/ 2 w 4"/>
                <a:gd name="T53" fmla="*/ 5 h 10"/>
                <a:gd name="T54" fmla="*/ 2 w 4"/>
                <a:gd name="T55" fmla="*/ 5 h 10"/>
                <a:gd name="T56" fmla="*/ 2 w 4"/>
                <a:gd name="T57" fmla="*/ 5 h 10"/>
                <a:gd name="T58" fmla="*/ 2 w 4"/>
                <a:gd name="T59" fmla="*/ 5 h 10"/>
                <a:gd name="T60" fmla="*/ 2 w 4"/>
                <a:gd name="T61" fmla="*/ 4 h 10"/>
                <a:gd name="T62" fmla="*/ 3 w 4"/>
                <a:gd name="T63" fmla="*/ 4 h 10"/>
                <a:gd name="T64" fmla="*/ 2 w 4"/>
                <a:gd name="T65" fmla="*/ 4 h 10"/>
                <a:gd name="T66" fmla="*/ 2 w 4"/>
                <a:gd name="T67" fmla="*/ 3 h 10"/>
                <a:gd name="T68" fmla="*/ 0 w 4"/>
                <a:gd name="T69" fmla="*/ 2 h 10"/>
                <a:gd name="T70" fmla="*/ 0 w 4"/>
                <a:gd name="T71" fmla="*/ 2 h 10"/>
                <a:gd name="T72" fmla="*/ 0 w 4"/>
                <a:gd name="T73" fmla="*/ 2 h 10"/>
                <a:gd name="T74" fmla="*/ 2 w 4"/>
                <a:gd name="T75" fmla="*/ 0 h 10"/>
                <a:gd name="T76" fmla="*/ 2 w 4"/>
                <a:gd name="T77" fmla="*/ 2 h 10"/>
                <a:gd name="T78" fmla="*/ 2 w 4"/>
                <a:gd name="T79" fmla="*/ 3 h 10"/>
                <a:gd name="T80" fmla="*/ 2 w 4"/>
                <a:gd name="T81" fmla="*/ 3 h 10"/>
                <a:gd name="T82" fmla="*/ 3 w 4"/>
                <a:gd name="T83" fmla="*/ 4 h 10"/>
                <a:gd name="T84" fmla="*/ 3 w 4"/>
                <a:gd name="T85" fmla="*/ 4 h 10"/>
                <a:gd name="T86" fmla="*/ 3 w 4"/>
                <a:gd name="T8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 h="10">
                  <a:moveTo>
                    <a:pt x="3" y="4"/>
                  </a:moveTo>
                  <a:lnTo>
                    <a:pt x="3" y="5"/>
                  </a:lnTo>
                  <a:lnTo>
                    <a:pt x="3" y="5"/>
                  </a:lnTo>
                  <a:lnTo>
                    <a:pt x="3" y="5"/>
                  </a:lnTo>
                  <a:lnTo>
                    <a:pt x="3" y="5"/>
                  </a:lnTo>
                  <a:lnTo>
                    <a:pt x="3" y="5"/>
                  </a:lnTo>
                  <a:lnTo>
                    <a:pt x="3" y="6"/>
                  </a:lnTo>
                  <a:lnTo>
                    <a:pt x="3" y="6"/>
                  </a:lnTo>
                  <a:lnTo>
                    <a:pt x="3" y="6"/>
                  </a:lnTo>
                  <a:lnTo>
                    <a:pt x="3" y="6"/>
                  </a:lnTo>
                  <a:lnTo>
                    <a:pt x="3" y="7"/>
                  </a:lnTo>
                  <a:lnTo>
                    <a:pt x="3" y="7"/>
                  </a:lnTo>
                  <a:lnTo>
                    <a:pt x="3" y="7"/>
                  </a:lnTo>
                  <a:lnTo>
                    <a:pt x="3" y="7"/>
                  </a:lnTo>
                  <a:lnTo>
                    <a:pt x="3" y="7"/>
                  </a:lnTo>
                  <a:lnTo>
                    <a:pt x="3" y="7"/>
                  </a:lnTo>
                  <a:lnTo>
                    <a:pt x="4" y="9"/>
                  </a:lnTo>
                  <a:lnTo>
                    <a:pt x="4" y="9"/>
                  </a:lnTo>
                  <a:lnTo>
                    <a:pt x="4" y="9"/>
                  </a:lnTo>
                  <a:lnTo>
                    <a:pt x="4" y="9"/>
                  </a:lnTo>
                  <a:lnTo>
                    <a:pt x="4" y="9"/>
                  </a:lnTo>
                  <a:lnTo>
                    <a:pt x="4" y="10"/>
                  </a:lnTo>
                  <a:lnTo>
                    <a:pt x="4" y="10"/>
                  </a:lnTo>
                  <a:lnTo>
                    <a:pt x="4" y="9"/>
                  </a:lnTo>
                  <a:lnTo>
                    <a:pt x="4" y="10"/>
                  </a:lnTo>
                  <a:lnTo>
                    <a:pt x="4" y="10"/>
                  </a:lnTo>
                  <a:lnTo>
                    <a:pt x="4" y="10"/>
                  </a:lnTo>
                  <a:lnTo>
                    <a:pt x="4" y="10"/>
                  </a:lnTo>
                  <a:lnTo>
                    <a:pt x="4" y="10"/>
                  </a:lnTo>
                  <a:lnTo>
                    <a:pt x="4" y="10"/>
                  </a:lnTo>
                  <a:lnTo>
                    <a:pt x="3" y="9"/>
                  </a:lnTo>
                  <a:lnTo>
                    <a:pt x="3" y="9"/>
                  </a:lnTo>
                  <a:lnTo>
                    <a:pt x="3" y="7"/>
                  </a:lnTo>
                  <a:lnTo>
                    <a:pt x="3" y="7"/>
                  </a:lnTo>
                  <a:lnTo>
                    <a:pt x="3" y="7"/>
                  </a:lnTo>
                  <a:lnTo>
                    <a:pt x="3" y="7"/>
                  </a:lnTo>
                  <a:lnTo>
                    <a:pt x="3" y="7"/>
                  </a:lnTo>
                  <a:lnTo>
                    <a:pt x="2" y="7"/>
                  </a:lnTo>
                  <a:lnTo>
                    <a:pt x="2" y="7"/>
                  </a:lnTo>
                  <a:lnTo>
                    <a:pt x="2" y="7"/>
                  </a:lnTo>
                  <a:lnTo>
                    <a:pt x="2" y="6"/>
                  </a:lnTo>
                  <a:lnTo>
                    <a:pt x="2" y="6"/>
                  </a:lnTo>
                  <a:lnTo>
                    <a:pt x="2" y="6"/>
                  </a:lnTo>
                  <a:lnTo>
                    <a:pt x="2" y="6"/>
                  </a:lnTo>
                  <a:lnTo>
                    <a:pt x="2" y="6"/>
                  </a:lnTo>
                  <a:lnTo>
                    <a:pt x="2" y="5"/>
                  </a:lnTo>
                  <a:lnTo>
                    <a:pt x="0" y="5"/>
                  </a:lnTo>
                  <a:lnTo>
                    <a:pt x="0" y="5"/>
                  </a:lnTo>
                  <a:lnTo>
                    <a:pt x="0" y="5"/>
                  </a:lnTo>
                  <a:lnTo>
                    <a:pt x="0" y="5"/>
                  </a:lnTo>
                  <a:lnTo>
                    <a:pt x="0" y="5"/>
                  </a:lnTo>
                  <a:lnTo>
                    <a:pt x="0" y="5"/>
                  </a:lnTo>
                  <a:lnTo>
                    <a:pt x="2" y="5"/>
                  </a:lnTo>
                  <a:lnTo>
                    <a:pt x="2" y="5"/>
                  </a:lnTo>
                  <a:lnTo>
                    <a:pt x="2" y="5"/>
                  </a:lnTo>
                  <a:lnTo>
                    <a:pt x="2" y="5"/>
                  </a:lnTo>
                  <a:lnTo>
                    <a:pt x="2" y="5"/>
                  </a:lnTo>
                  <a:lnTo>
                    <a:pt x="2" y="5"/>
                  </a:lnTo>
                  <a:lnTo>
                    <a:pt x="2" y="5"/>
                  </a:lnTo>
                  <a:lnTo>
                    <a:pt x="2" y="5"/>
                  </a:lnTo>
                  <a:lnTo>
                    <a:pt x="2" y="5"/>
                  </a:lnTo>
                  <a:lnTo>
                    <a:pt x="2" y="4"/>
                  </a:lnTo>
                  <a:lnTo>
                    <a:pt x="2" y="4"/>
                  </a:lnTo>
                  <a:lnTo>
                    <a:pt x="3" y="4"/>
                  </a:lnTo>
                  <a:lnTo>
                    <a:pt x="3" y="4"/>
                  </a:lnTo>
                  <a:lnTo>
                    <a:pt x="2" y="4"/>
                  </a:lnTo>
                  <a:lnTo>
                    <a:pt x="2" y="4"/>
                  </a:lnTo>
                  <a:lnTo>
                    <a:pt x="2" y="3"/>
                  </a:lnTo>
                  <a:lnTo>
                    <a:pt x="2" y="3"/>
                  </a:lnTo>
                  <a:lnTo>
                    <a:pt x="0" y="2"/>
                  </a:lnTo>
                  <a:lnTo>
                    <a:pt x="0" y="2"/>
                  </a:lnTo>
                  <a:lnTo>
                    <a:pt x="0" y="2"/>
                  </a:lnTo>
                  <a:lnTo>
                    <a:pt x="0" y="2"/>
                  </a:lnTo>
                  <a:lnTo>
                    <a:pt x="0" y="2"/>
                  </a:lnTo>
                  <a:lnTo>
                    <a:pt x="0" y="0"/>
                  </a:lnTo>
                  <a:lnTo>
                    <a:pt x="2" y="0"/>
                  </a:lnTo>
                  <a:lnTo>
                    <a:pt x="2" y="2"/>
                  </a:lnTo>
                  <a:lnTo>
                    <a:pt x="2" y="2"/>
                  </a:lnTo>
                  <a:lnTo>
                    <a:pt x="2" y="2"/>
                  </a:lnTo>
                  <a:lnTo>
                    <a:pt x="2" y="3"/>
                  </a:lnTo>
                  <a:lnTo>
                    <a:pt x="2" y="3"/>
                  </a:lnTo>
                  <a:lnTo>
                    <a:pt x="2" y="3"/>
                  </a:lnTo>
                  <a:lnTo>
                    <a:pt x="3" y="4"/>
                  </a:lnTo>
                  <a:lnTo>
                    <a:pt x="3" y="4"/>
                  </a:lnTo>
                  <a:lnTo>
                    <a:pt x="3" y="4"/>
                  </a:lnTo>
                  <a:lnTo>
                    <a:pt x="3" y="4"/>
                  </a:lnTo>
                  <a:lnTo>
                    <a:pt x="3" y="4"/>
                  </a:lnTo>
                  <a:lnTo>
                    <a:pt x="3" y="4"/>
                  </a:lnTo>
                  <a:lnTo>
                    <a:pt x="3" y="4"/>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86" name="Freeform 1351">
              <a:extLst>
                <a:ext uri="{FF2B5EF4-FFF2-40B4-BE49-F238E27FC236}">
                  <a16:creationId xmlns:a16="http://schemas.microsoft.com/office/drawing/2014/main" id="{C519C509-6E16-46EB-9F59-06FC9114E610}"/>
                </a:ext>
              </a:extLst>
            </p:cNvPr>
            <p:cNvSpPr>
              <a:spLocks/>
            </p:cNvSpPr>
            <p:nvPr/>
          </p:nvSpPr>
          <p:spPr bwMode="auto">
            <a:xfrm>
              <a:off x="6048151" y="2392319"/>
              <a:ext cx="5342" cy="8013"/>
            </a:xfrm>
            <a:custGeom>
              <a:avLst/>
              <a:gdLst>
                <a:gd name="T0" fmla="*/ 1 w 4"/>
                <a:gd name="T1" fmla="*/ 1 h 6"/>
                <a:gd name="T2" fmla="*/ 1 w 4"/>
                <a:gd name="T3" fmla="*/ 1 h 6"/>
                <a:gd name="T4" fmla="*/ 1 w 4"/>
                <a:gd name="T5" fmla="*/ 1 h 6"/>
                <a:gd name="T6" fmla="*/ 1 w 4"/>
                <a:gd name="T7" fmla="*/ 1 h 6"/>
                <a:gd name="T8" fmla="*/ 2 w 4"/>
                <a:gd name="T9" fmla="*/ 1 h 6"/>
                <a:gd name="T10" fmla="*/ 2 w 4"/>
                <a:gd name="T11" fmla="*/ 3 h 6"/>
                <a:gd name="T12" fmla="*/ 2 w 4"/>
                <a:gd name="T13" fmla="*/ 3 h 6"/>
                <a:gd name="T14" fmla="*/ 2 w 4"/>
                <a:gd name="T15" fmla="*/ 3 h 6"/>
                <a:gd name="T16" fmla="*/ 2 w 4"/>
                <a:gd name="T17" fmla="*/ 4 h 6"/>
                <a:gd name="T18" fmla="*/ 3 w 4"/>
                <a:gd name="T19" fmla="*/ 4 h 6"/>
                <a:gd name="T20" fmla="*/ 4 w 4"/>
                <a:gd name="T21" fmla="*/ 5 h 6"/>
                <a:gd name="T22" fmla="*/ 4 w 4"/>
                <a:gd name="T23" fmla="*/ 5 h 6"/>
                <a:gd name="T24" fmla="*/ 4 w 4"/>
                <a:gd name="T25" fmla="*/ 5 h 6"/>
                <a:gd name="T26" fmla="*/ 3 w 4"/>
                <a:gd name="T27" fmla="*/ 5 h 6"/>
                <a:gd name="T28" fmla="*/ 3 w 4"/>
                <a:gd name="T29" fmla="*/ 5 h 6"/>
                <a:gd name="T30" fmla="*/ 3 w 4"/>
                <a:gd name="T31" fmla="*/ 5 h 6"/>
                <a:gd name="T32" fmla="*/ 3 w 4"/>
                <a:gd name="T33" fmla="*/ 6 h 6"/>
                <a:gd name="T34" fmla="*/ 2 w 4"/>
                <a:gd name="T35" fmla="*/ 5 h 6"/>
                <a:gd name="T36" fmla="*/ 2 w 4"/>
                <a:gd name="T37" fmla="*/ 5 h 6"/>
                <a:gd name="T38" fmla="*/ 2 w 4"/>
                <a:gd name="T39" fmla="*/ 4 h 6"/>
                <a:gd name="T40" fmla="*/ 2 w 4"/>
                <a:gd name="T41" fmla="*/ 4 h 6"/>
                <a:gd name="T42" fmla="*/ 2 w 4"/>
                <a:gd name="T43" fmla="*/ 4 h 6"/>
                <a:gd name="T44" fmla="*/ 1 w 4"/>
                <a:gd name="T45" fmla="*/ 4 h 6"/>
                <a:gd name="T46" fmla="*/ 0 w 4"/>
                <a:gd name="T47" fmla="*/ 4 h 6"/>
                <a:gd name="T48" fmla="*/ 0 w 4"/>
                <a:gd name="T49" fmla="*/ 4 h 6"/>
                <a:gd name="T50" fmla="*/ 0 w 4"/>
                <a:gd name="T51" fmla="*/ 3 h 6"/>
                <a:gd name="T52" fmla="*/ 0 w 4"/>
                <a:gd name="T53" fmla="*/ 3 h 6"/>
                <a:gd name="T54" fmla="*/ 0 w 4"/>
                <a:gd name="T55" fmla="*/ 3 h 6"/>
                <a:gd name="T56" fmla="*/ 0 w 4"/>
                <a:gd name="T57" fmla="*/ 3 h 6"/>
                <a:gd name="T58" fmla="*/ 1 w 4"/>
                <a:gd name="T59" fmla="*/ 3 h 6"/>
                <a:gd name="T60" fmla="*/ 1 w 4"/>
                <a:gd name="T61" fmla="*/ 3 h 6"/>
                <a:gd name="T62" fmla="*/ 1 w 4"/>
                <a:gd name="T63" fmla="*/ 1 h 6"/>
                <a:gd name="T64" fmla="*/ 1 w 4"/>
                <a:gd name="T65" fmla="*/ 1 h 6"/>
                <a:gd name="T66" fmla="*/ 1 w 4"/>
                <a:gd name="T67" fmla="*/ 1 h 6"/>
                <a:gd name="T68" fmla="*/ 1 w 4"/>
                <a:gd name="T69" fmla="*/ 1 h 6"/>
                <a:gd name="T70" fmla="*/ 1 w 4"/>
                <a:gd name="T71" fmla="*/ 1 h 6"/>
                <a:gd name="T72" fmla="*/ 1 w 4"/>
                <a:gd name="T7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 h="6">
                  <a:moveTo>
                    <a:pt x="1" y="0"/>
                  </a:moveTo>
                  <a:lnTo>
                    <a:pt x="1" y="1"/>
                  </a:lnTo>
                  <a:lnTo>
                    <a:pt x="1" y="1"/>
                  </a:lnTo>
                  <a:lnTo>
                    <a:pt x="1" y="1"/>
                  </a:lnTo>
                  <a:lnTo>
                    <a:pt x="1" y="1"/>
                  </a:lnTo>
                  <a:lnTo>
                    <a:pt x="1" y="1"/>
                  </a:lnTo>
                  <a:lnTo>
                    <a:pt x="1" y="1"/>
                  </a:lnTo>
                  <a:lnTo>
                    <a:pt x="1" y="1"/>
                  </a:lnTo>
                  <a:lnTo>
                    <a:pt x="2" y="1"/>
                  </a:lnTo>
                  <a:lnTo>
                    <a:pt x="2" y="1"/>
                  </a:lnTo>
                  <a:lnTo>
                    <a:pt x="1" y="3"/>
                  </a:lnTo>
                  <a:lnTo>
                    <a:pt x="2" y="3"/>
                  </a:lnTo>
                  <a:lnTo>
                    <a:pt x="2" y="3"/>
                  </a:lnTo>
                  <a:lnTo>
                    <a:pt x="2" y="3"/>
                  </a:lnTo>
                  <a:lnTo>
                    <a:pt x="2" y="3"/>
                  </a:lnTo>
                  <a:lnTo>
                    <a:pt x="2" y="3"/>
                  </a:lnTo>
                  <a:lnTo>
                    <a:pt x="2" y="4"/>
                  </a:lnTo>
                  <a:lnTo>
                    <a:pt x="2" y="4"/>
                  </a:lnTo>
                  <a:lnTo>
                    <a:pt x="3" y="4"/>
                  </a:lnTo>
                  <a:lnTo>
                    <a:pt x="3" y="4"/>
                  </a:lnTo>
                  <a:lnTo>
                    <a:pt x="3" y="4"/>
                  </a:lnTo>
                  <a:lnTo>
                    <a:pt x="4" y="5"/>
                  </a:lnTo>
                  <a:lnTo>
                    <a:pt x="4" y="5"/>
                  </a:lnTo>
                  <a:lnTo>
                    <a:pt x="4" y="5"/>
                  </a:lnTo>
                  <a:lnTo>
                    <a:pt x="4" y="5"/>
                  </a:lnTo>
                  <a:lnTo>
                    <a:pt x="4" y="5"/>
                  </a:lnTo>
                  <a:lnTo>
                    <a:pt x="3" y="5"/>
                  </a:lnTo>
                  <a:lnTo>
                    <a:pt x="3" y="5"/>
                  </a:lnTo>
                  <a:lnTo>
                    <a:pt x="3" y="5"/>
                  </a:lnTo>
                  <a:lnTo>
                    <a:pt x="3" y="5"/>
                  </a:lnTo>
                  <a:lnTo>
                    <a:pt x="3" y="5"/>
                  </a:lnTo>
                  <a:lnTo>
                    <a:pt x="3" y="5"/>
                  </a:lnTo>
                  <a:lnTo>
                    <a:pt x="3" y="6"/>
                  </a:lnTo>
                  <a:lnTo>
                    <a:pt x="3" y="6"/>
                  </a:lnTo>
                  <a:lnTo>
                    <a:pt x="3" y="5"/>
                  </a:lnTo>
                  <a:lnTo>
                    <a:pt x="2" y="5"/>
                  </a:lnTo>
                  <a:lnTo>
                    <a:pt x="2" y="5"/>
                  </a:lnTo>
                  <a:lnTo>
                    <a:pt x="2" y="5"/>
                  </a:lnTo>
                  <a:lnTo>
                    <a:pt x="2" y="5"/>
                  </a:lnTo>
                  <a:lnTo>
                    <a:pt x="2" y="4"/>
                  </a:lnTo>
                  <a:lnTo>
                    <a:pt x="2" y="4"/>
                  </a:lnTo>
                  <a:lnTo>
                    <a:pt x="2" y="4"/>
                  </a:lnTo>
                  <a:lnTo>
                    <a:pt x="2" y="4"/>
                  </a:lnTo>
                  <a:lnTo>
                    <a:pt x="2" y="4"/>
                  </a:lnTo>
                  <a:lnTo>
                    <a:pt x="1" y="4"/>
                  </a:lnTo>
                  <a:lnTo>
                    <a:pt x="1" y="4"/>
                  </a:lnTo>
                  <a:lnTo>
                    <a:pt x="0" y="4"/>
                  </a:lnTo>
                  <a:lnTo>
                    <a:pt x="0" y="4"/>
                  </a:lnTo>
                  <a:lnTo>
                    <a:pt x="0" y="4"/>
                  </a:lnTo>
                  <a:lnTo>
                    <a:pt x="0" y="4"/>
                  </a:lnTo>
                  <a:lnTo>
                    <a:pt x="0" y="4"/>
                  </a:lnTo>
                  <a:lnTo>
                    <a:pt x="0" y="3"/>
                  </a:lnTo>
                  <a:lnTo>
                    <a:pt x="0" y="3"/>
                  </a:lnTo>
                  <a:lnTo>
                    <a:pt x="0" y="3"/>
                  </a:lnTo>
                  <a:lnTo>
                    <a:pt x="0" y="3"/>
                  </a:lnTo>
                  <a:lnTo>
                    <a:pt x="0" y="3"/>
                  </a:lnTo>
                  <a:lnTo>
                    <a:pt x="0" y="3"/>
                  </a:lnTo>
                  <a:lnTo>
                    <a:pt x="0" y="3"/>
                  </a:lnTo>
                  <a:lnTo>
                    <a:pt x="1" y="3"/>
                  </a:lnTo>
                  <a:lnTo>
                    <a:pt x="1" y="3"/>
                  </a:lnTo>
                  <a:lnTo>
                    <a:pt x="1" y="3"/>
                  </a:lnTo>
                  <a:lnTo>
                    <a:pt x="1" y="3"/>
                  </a:lnTo>
                  <a:lnTo>
                    <a:pt x="1" y="3"/>
                  </a:lnTo>
                  <a:lnTo>
                    <a:pt x="1" y="1"/>
                  </a:lnTo>
                  <a:lnTo>
                    <a:pt x="1" y="1"/>
                  </a:lnTo>
                  <a:lnTo>
                    <a:pt x="1" y="1"/>
                  </a:lnTo>
                  <a:lnTo>
                    <a:pt x="1" y="1"/>
                  </a:lnTo>
                  <a:lnTo>
                    <a:pt x="1" y="1"/>
                  </a:lnTo>
                  <a:lnTo>
                    <a:pt x="1" y="1"/>
                  </a:lnTo>
                  <a:lnTo>
                    <a:pt x="1" y="1"/>
                  </a:lnTo>
                  <a:lnTo>
                    <a:pt x="1" y="1"/>
                  </a:lnTo>
                  <a:lnTo>
                    <a:pt x="1" y="1"/>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87" name="Freeform 1352">
              <a:extLst>
                <a:ext uri="{FF2B5EF4-FFF2-40B4-BE49-F238E27FC236}">
                  <a16:creationId xmlns:a16="http://schemas.microsoft.com/office/drawing/2014/main" id="{9A8D31BA-A371-4AE5-A00F-7CA7BFD5BF4D}"/>
                </a:ext>
              </a:extLst>
            </p:cNvPr>
            <p:cNvSpPr>
              <a:spLocks/>
            </p:cNvSpPr>
            <p:nvPr/>
          </p:nvSpPr>
          <p:spPr bwMode="auto">
            <a:xfrm>
              <a:off x="6030790" y="2365609"/>
              <a:ext cx="98826" cy="74787"/>
            </a:xfrm>
            <a:custGeom>
              <a:avLst/>
              <a:gdLst>
                <a:gd name="T0" fmla="*/ 40 w 74"/>
                <a:gd name="T1" fmla="*/ 3 h 56"/>
                <a:gd name="T2" fmla="*/ 42 w 74"/>
                <a:gd name="T3" fmla="*/ 5 h 56"/>
                <a:gd name="T4" fmla="*/ 47 w 74"/>
                <a:gd name="T5" fmla="*/ 9 h 56"/>
                <a:gd name="T6" fmla="*/ 50 w 74"/>
                <a:gd name="T7" fmla="*/ 10 h 56"/>
                <a:gd name="T8" fmla="*/ 55 w 74"/>
                <a:gd name="T9" fmla="*/ 12 h 56"/>
                <a:gd name="T10" fmla="*/ 58 w 74"/>
                <a:gd name="T11" fmla="*/ 12 h 56"/>
                <a:gd name="T12" fmla="*/ 63 w 74"/>
                <a:gd name="T13" fmla="*/ 12 h 56"/>
                <a:gd name="T14" fmla="*/ 66 w 74"/>
                <a:gd name="T15" fmla="*/ 11 h 56"/>
                <a:gd name="T16" fmla="*/ 67 w 74"/>
                <a:gd name="T17" fmla="*/ 14 h 56"/>
                <a:gd name="T18" fmla="*/ 69 w 74"/>
                <a:gd name="T19" fmla="*/ 16 h 56"/>
                <a:gd name="T20" fmla="*/ 69 w 74"/>
                <a:gd name="T21" fmla="*/ 19 h 56"/>
                <a:gd name="T22" fmla="*/ 73 w 74"/>
                <a:gd name="T23" fmla="*/ 23 h 56"/>
                <a:gd name="T24" fmla="*/ 71 w 74"/>
                <a:gd name="T25" fmla="*/ 23 h 56"/>
                <a:gd name="T26" fmla="*/ 70 w 74"/>
                <a:gd name="T27" fmla="*/ 26 h 56"/>
                <a:gd name="T28" fmla="*/ 66 w 74"/>
                <a:gd name="T29" fmla="*/ 25 h 56"/>
                <a:gd name="T30" fmla="*/ 63 w 74"/>
                <a:gd name="T31" fmla="*/ 24 h 56"/>
                <a:gd name="T32" fmla="*/ 57 w 74"/>
                <a:gd name="T33" fmla="*/ 23 h 56"/>
                <a:gd name="T34" fmla="*/ 50 w 74"/>
                <a:gd name="T35" fmla="*/ 23 h 56"/>
                <a:gd name="T36" fmla="*/ 48 w 74"/>
                <a:gd name="T37" fmla="*/ 23 h 56"/>
                <a:gd name="T38" fmla="*/ 43 w 74"/>
                <a:gd name="T39" fmla="*/ 21 h 56"/>
                <a:gd name="T40" fmla="*/ 37 w 74"/>
                <a:gd name="T41" fmla="*/ 23 h 56"/>
                <a:gd name="T42" fmla="*/ 34 w 74"/>
                <a:gd name="T43" fmla="*/ 23 h 56"/>
                <a:gd name="T44" fmla="*/ 29 w 74"/>
                <a:gd name="T45" fmla="*/ 23 h 56"/>
                <a:gd name="T46" fmla="*/ 30 w 74"/>
                <a:gd name="T47" fmla="*/ 28 h 56"/>
                <a:gd name="T48" fmla="*/ 33 w 74"/>
                <a:gd name="T49" fmla="*/ 31 h 56"/>
                <a:gd name="T50" fmla="*/ 35 w 74"/>
                <a:gd name="T51" fmla="*/ 34 h 56"/>
                <a:gd name="T52" fmla="*/ 37 w 74"/>
                <a:gd name="T53" fmla="*/ 38 h 56"/>
                <a:gd name="T54" fmla="*/ 41 w 74"/>
                <a:gd name="T55" fmla="*/ 41 h 56"/>
                <a:gd name="T56" fmla="*/ 48 w 74"/>
                <a:gd name="T57" fmla="*/ 47 h 56"/>
                <a:gd name="T58" fmla="*/ 51 w 74"/>
                <a:gd name="T59" fmla="*/ 52 h 56"/>
                <a:gd name="T60" fmla="*/ 55 w 74"/>
                <a:gd name="T61" fmla="*/ 56 h 56"/>
                <a:gd name="T62" fmla="*/ 51 w 74"/>
                <a:gd name="T63" fmla="*/ 54 h 56"/>
                <a:gd name="T64" fmla="*/ 43 w 74"/>
                <a:gd name="T65" fmla="*/ 49 h 56"/>
                <a:gd name="T66" fmla="*/ 40 w 74"/>
                <a:gd name="T67" fmla="*/ 47 h 56"/>
                <a:gd name="T68" fmla="*/ 34 w 74"/>
                <a:gd name="T69" fmla="*/ 48 h 56"/>
                <a:gd name="T70" fmla="*/ 34 w 74"/>
                <a:gd name="T71" fmla="*/ 46 h 56"/>
                <a:gd name="T72" fmla="*/ 31 w 74"/>
                <a:gd name="T73" fmla="*/ 44 h 56"/>
                <a:gd name="T74" fmla="*/ 28 w 74"/>
                <a:gd name="T75" fmla="*/ 42 h 56"/>
                <a:gd name="T76" fmla="*/ 23 w 74"/>
                <a:gd name="T77" fmla="*/ 39 h 56"/>
                <a:gd name="T78" fmla="*/ 23 w 74"/>
                <a:gd name="T79" fmla="*/ 37 h 56"/>
                <a:gd name="T80" fmla="*/ 26 w 74"/>
                <a:gd name="T81" fmla="*/ 37 h 56"/>
                <a:gd name="T82" fmla="*/ 22 w 74"/>
                <a:gd name="T83" fmla="*/ 32 h 56"/>
                <a:gd name="T84" fmla="*/ 19 w 74"/>
                <a:gd name="T85" fmla="*/ 27 h 56"/>
                <a:gd name="T86" fmla="*/ 15 w 74"/>
                <a:gd name="T87" fmla="*/ 21 h 56"/>
                <a:gd name="T88" fmla="*/ 10 w 74"/>
                <a:gd name="T89" fmla="*/ 20 h 56"/>
                <a:gd name="T90" fmla="*/ 8 w 74"/>
                <a:gd name="T91" fmla="*/ 25 h 56"/>
                <a:gd name="T92" fmla="*/ 7 w 74"/>
                <a:gd name="T93" fmla="*/ 26 h 56"/>
                <a:gd name="T94" fmla="*/ 5 w 74"/>
                <a:gd name="T95" fmla="*/ 26 h 56"/>
                <a:gd name="T96" fmla="*/ 3 w 74"/>
                <a:gd name="T97" fmla="*/ 25 h 56"/>
                <a:gd name="T98" fmla="*/ 2 w 74"/>
                <a:gd name="T99" fmla="*/ 21 h 56"/>
                <a:gd name="T100" fmla="*/ 1 w 74"/>
                <a:gd name="T101" fmla="*/ 20 h 56"/>
                <a:gd name="T102" fmla="*/ 1 w 74"/>
                <a:gd name="T103" fmla="*/ 17 h 56"/>
                <a:gd name="T104" fmla="*/ 6 w 74"/>
                <a:gd name="T105" fmla="*/ 17 h 56"/>
                <a:gd name="T106" fmla="*/ 13 w 74"/>
                <a:gd name="T107" fmla="*/ 17 h 56"/>
                <a:gd name="T108" fmla="*/ 15 w 74"/>
                <a:gd name="T109" fmla="*/ 17 h 56"/>
                <a:gd name="T110" fmla="*/ 20 w 74"/>
                <a:gd name="T111" fmla="*/ 17 h 56"/>
                <a:gd name="T112" fmla="*/ 22 w 74"/>
                <a:gd name="T113" fmla="*/ 16 h 56"/>
                <a:gd name="T114" fmla="*/ 24 w 74"/>
                <a:gd name="T115" fmla="*/ 12 h 56"/>
                <a:gd name="T116" fmla="*/ 27 w 74"/>
                <a:gd name="T117" fmla="*/ 7 h 56"/>
                <a:gd name="T118" fmla="*/ 29 w 74"/>
                <a:gd name="T119" fmla="*/ 5 h 56"/>
                <a:gd name="T120" fmla="*/ 31 w 74"/>
                <a:gd name="T121" fmla="*/ 3 h 56"/>
                <a:gd name="T122" fmla="*/ 34 w 74"/>
                <a:gd name="T12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4" h="56">
                  <a:moveTo>
                    <a:pt x="35" y="0"/>
                  </a:moveTo>
                  <a:lnTo>
                    <a:pt x="36" y="2"/>
                  </a:lnTo>
                  <a:lnTo>
                    <a:pt x="37" y="2"/>
                  </a:lnTo>
                  <a:lnTo>
                    <a:pt x="38" y="2"/>
                  </a:lnTo>
                  <a:lnTo>
                    <a:pt x="38" y="3"/>
                  </a:lnTo>
                  <a:lnTo>
                    <a:pt x="40" y="3"/>
                  </a:lnTo>
                  <a:lnTo>
                    <a:pt x="41" y="3"/>
                  </a:lnTo>
                  <a:lnTo>
                    <a:pt x="41" y="4"/>
                  </a:lnTo>
                  <a:lnTo>
                    <a:pt x="41" y="3"/>
                  </a:lnTo>
                  <a:lnTo>
                    <a:pt x="41" y="4"/>
                  </a:lnTo>
                  <a:lnTo>
                    <a:pt x="42" y="4"/>
                  </a:lnTo>
                  <a:lnTo>
                    <a:pt x="42" y="5"/>
                  </a:lnTo>
                  <a:lnTo>
                    <a:pt x="43" y="6"/>
                  </a:lnTo>
                  <a:lnTo>
                    <a:pt x="44" y="6"/>
                  </a:lnTo>
                  <a:lnTo>
                    <a:pt x="44" y="7"/>
                  </a:lnTo>
                  <a:lnTo>
                    <a:pt x="45" y="7"/>
                  </a:lnTo>
                  <a:lnTo>
                    <a:pt x="47" y="7"/>
                  </a:lnTo>
                  <a:lnTo>
                    <a:pt x="47" y="9"/>
                  </a:lnTo>
                  <a:lnTo>
                    <a:pt x="48" y="9"/>
                  </a:lnTo>
                  <a:lnTo>
                    <a:pt x="48" y="10"/>
                  </a:lnTo>
                  <a:lnTo>
                    <a:pt x="47" y="10"/>
                  </a:lnTo>
                  <a:lnTo>
                    <a:pt x="48" y="10"/>
                  </a:lnTo>
                  <a:lnTo>
                    <a:pt x="49" y="10"/>
                  </a:lnTo>
                  <a:lnTo>
                    <a:pt x="50" y="10"/>
                  </a:lnTo>
                  <a:lnTo>
                    <a:pt x="51" y="10"/>
                  </a:lnTo>
                  <a:lnTo>
                    <a:pt x="51" y="11"/>
                  </a:lnTo>
                  <a:lnTo>
                    <a:pt x="51" y="12"/>
                  </a:lnTo>
                  <a:lnTo>
                    <a:pt x="52" y="12"/>
                  </a:lnTo>
                  <a:lnTo>
                    <a:pt x="54" y="12"/>
                  </a:lnTo>
                  <a:lnTo>
                    <a:pt x="55" y="12"/>
                  </a:lnTo>
                  <a:lnTo>
                    <a:pt x="55" y="13"/>
                  </a:lnTo>
                  <a:lnTo>
                    <a:pt x="55" y="12"/>
                  </a:lnTo>
                  <a:lnTo>
                    <a:pt x="56" y="12"/>
                  </a:lnTo>
                  <a:lnTo>
                    <a:pt x="57" y="13"/>
                  </a:lnTo>
                  <a:lnTo>
                    <a:pt x="57" y="12"/>
                  </a:lnTo>
                  <a:lnTo>
                    <a:pt x="58" y="12"/>
                  </a:lnTo>
                  <a:lnTo>
                    <a:pt x="59" y="12"/>
                  </a:lnTo>
                  <a:lnTo>
                    <a:pt x="59" y="13"/>
                  </a:lnTo>
                  <a:lnTo>
                    <a:pt x="60" y="13"/>
                  </a:lnTo>
                  <a:lnTo>
                    <a:pt x="62" y="13"/>
                  </a:lnTo>
                  <a:lnTo>
                    <a:pt x="62" y="12"/>
                  </a:lnTo>
                  <a:lnTo>
                    <a:pt x="63" y="12"/>
                  </a:lnTo>
                  <a:lnTo>
                    <a:pt x="64" y="11"/>
                  </a:lnTo>
                  <a:lnTo>
                    <a:pt x="65" y="11"/>
                  </a:lnTo>
                  <a:lnTo>
                    <a:pt x="66" y="11"/>
                  </a:lnTo>
                  <a:lnTo>
                    <a:pt x="67" y="10"/>
                  </a:lnTo>
                  <a:lnTo>
                    <a:pt x="67" y="11"/>
                  </a:lnTo>
                  <a:lnTo>
                    <a:pt x="66" y="11"/>
                  </a:lnTo>
                  <a:lnTo>
                    <a:pt x="67" y="11"/>
                  </a:lnTo>
                  <a:lnTo>
                    <a:pt x="66" y="11"/>
                  </a:lnTo>
                  <a:lnTo>
                    <a:pt x="66" y="12"/>
                  </a:lnTo>
                  <a:lnTo>
                    <a:pt x="67" y="12"/>
                  </a:lnTo>
                  <a:lnTo>
                    <a:pt x="67" y="13"/>
                  </a:lnTo>
                  <a:lnTo>
                    <a:pt x="67" y="14"/>
                  </a:lnTo>
                  <a:lnTo>
                    <a:pt x="69" y="14"/>
                  </a:lnTo>
                  <a:lnTo>
                    <a:pt x="67" y="14"/>
                  </a:lnTo>
                  <a:lnTo>
                    <a:pt x="67" y="16"/>
                  </a:lnTo>
                  <a:lnTo>
                    <a:pt x="67" y="17"/>
                  </a:lnTo>
                  <a:lnTo>
                    <a:pt x="69" y="17"/>
                  </a:lnTo>
                  <a:lnTo>
                    <a:pt x="69" y="16"/>
                  </a:lnTo>
                  <a:lnTo>
                    <a:pt x="70" y="16"/>
                  </a:lnTo>
                  <a:lnTo>
                    <a:pt x="70" y="17"/>
                  </a:lnTo>
                  <a:lnTo>
                    <a:pt x="69" y="17"/>
                  </a:lnTo>
                  <a:lnTo>
                    <a:pt x="69" y="18"/>
                  </a:lnTo>
                  <a:lnTo>
                    <a:pt x="70" y="18"/>
                  </a:lnTo>
                  <a:lnTo>
                    <a:pt x="69" y="19"/>
                  </a:lnTo>
                  <a:lnTo>
                    <a:pt x="70" y="19"/>
                  </a:lnTo>
                  <a:lnTo>
                    <a:pt x="71" y="20"/>
                  </a:lnTo>
                  <a:lnTo>
                    <a:pt x="73" y="20"/>
                  </a:lnTo>
                  <a:lnTo>
                    <a:pt x="74" y="21"/>
                  </a:lnTo>
                  <a:lnTo>
                    <a:pt x="74" y="23"/>
                  </a:lnTo>
                  <a:lnTo>
                    <a:pt x="73" y="23"/>
                  </a:lnTo>
                  <a:lnTo>
                    <a:pt x="73" y="21"/>
                  </a:lnTo>
                  <a:lnTo>
                    <a:pt x="73" y="23"/>
                  </a:lnTo>
                  <a:lnTo>
                    <a:pt x="72" y="23"/>
                  </a:lnTo>
                  <a:lnTo>
                    <a:pt x="72" y="21"/>
                  </a:lnTo>
                  <a:lnTo>
                    <a:pt x="71" y="21"/>
                  </a:lnTo>
                  <a:lnTo>
                    <a:pt x="71" y="23"/>
                  </a:lnTo>
                  <a:lnTo>
                    <a:pt x="70" y="23"/>
                  </a:lnTo>
                  <a:lnTo>
                    <a:pt x="71" y="23"/>
                  </a:lnTo>
                  <a:lnTo>
                    <a:pt x="71" y="24"/>
                  </a:lnTo>
                  <a:lnTo>
                    <a:pt x="71" y="25"/>
                  </a:lnTo>
                  <a:lnTo>
                    <a:pt x="71" y="26"/>
                  </a:lnTo>
                  <a:lnTo>
                    <a:pt x="70" y="26"/>
                  </a:lnTo>
                  <a:lnTo>
                    <a:pt x="70" y="27"/>
                  </a:lnTo>
                  <a:lnTo>
                    <a:pt x="69" y="27"/>
                  </a:lnTo>
                  <a:lnTo>
                    <a:pt x="67" y="26"/>
                  </a:lnTo>
                  <a:lnTo>
                    <a:pt x="66" y="26"/>
                  </a:lnTo>
                  <a:lnTo>
                    <a:pt x="67" y="25"/>
                  </a:lnTo>
                  <a:lnTo>
                    <a:pt x="66" y="25"/>
                  </a:lnTo>
                  <a:lnTo>
                    <a:pt x="66" y="24"/>
                  </a:lnTo>
                  <a:lnTo>
                    <a:pt x="65" y="24"/>
                  </a:lnTo>
                  <a:lnTo>
                    <a:pt x="65" y="23"/>
                  </a:lnTo>
                  <a:lnTo>
                    <a:pt x="64" y="23"/>
                  </a:lnTo>
                  <a:lnTo>
                    <a:pt x="64" y="24"/>
                  </a:lnTo>
                  <a:lnTo>
                    <a:pt x="63" y="24"/>
                  </a:lnTo>
                  <a:lnTo>
                    <a:pt x="63" y="23"/>
                  </a:lnTo>
                  <a:lnTo>
                    <a:pt x="62" y="23"/>
                  </a:lnTo>
                  <a:lnTo>
                    <a:pt x="60" y="23"/>
                  </a:lnTo>
                  <a:lnTo>
                    <a:pt x="59" y="23"/>
                  </a:lnTo>
                  <a:lnTo>
                    <a:pt x="58" y="23"/>
                  </a:lnTo>
                  <a:lnTo>
                    <a:pt x="57" y="23"/>
                  </a:lnTo>
                  <a:lnTo>
                    <a:pt x="56" y="24"/>
                  </a:lnTo>
                  <a:lnTo>
                    <a:pt x="55" y="24"/>
                  </a:lnTo>
                  <a:lnTo>
                    <a:pt x="54" y="23"/>
                  </a:lnTo>
                  <a:lnTo>
                    <a:pt x="52" y="23"/>
                  </a:lnTo>
                  <a:lnTo>
                    <a:pt x="51" y="23"/>
                  </a:lnTo>
                  <a:lnTo>
                    <a:pt x="50" y="23"/>
                  </a:lnTo>
                  <a:lnTo>
                    <a:pt x="51" y="23"/>
                  </a:lnTo>
                  <a:lnTo>
                    <a:pt x="50" y="23"/>
                  </a:lnTo>
                  <a:lnTo>
                    <a:pt x="49" y="23"/>
                  </a:lnTo>
                  <a:lnTo>
                    <a:pt x="49" y="21"/>
                  </a:lnTo>
                  <a:lnTo>
                    <a:pt x="48" y="21"/>
                  </a:lnTo>
                  <a:lnTo>
                    <a:pt x="48" y="23"/>
                  </a:lnTo>
                  <a:lnTo>
                    <a:pt x="47" y="23"/>
                  </a:lnTo>
                  <a:lnTo>
                    <a:pt x="45" y="21"/>
                  </a:lnTo>
                  <a:lnTo>
                    <a:pt x="44" y="21"/>
                  </a:lnTo>
                  <a:lnTo>
                    <a:pt x="44" y="20"/>
                  </a:lnTo>
                  <a:lnTo>
                    <a:pt x="44" y="21"/>
                  </a:lnTo>
                  <a:lnTo>
                    <a:pt x="43" y="21"/>
                  </a:lnTo>
                  <a:lnTo>
                    <a:pt x="43" y="20"/>
                  </a:lnTo>
                  <a:lnTo>
                    <a:pt x="43" y="21"/>
                  </a:lnTo>
                  <a:lnTo>
                    <a:pt x="42" y="21"/>
                  </a:lnTo>
                  <a:lnTo>
                    <a:pt x="40" y="21"/>
                  </a:lnTo>
                  <a:lnTo>
                    <a:pt x="38" y="21"/>
                  </a:lnTo>
                  <a:lnTo>
                    <a:pt x="37" y="23"/>
                  </a:lnTo>
                  <a:lnTo>
                    <a:pt x="37" y="24"/>
                  </a:lnTo>
                  <a:lnTo>
                    <a:pt x="36" y="24"/>
                  </a:lnTo>
                  <a:lnTo>
                    <a:pt x="36" y="25"/>
                  </a:lnTo>
                  <a:lnTo>
                    <a:pt x="35" y="25"/>
                  </a:lnTo>
                  <a:lnTo>
                    <a:pt x="35" y="24"/>
                  </a:lnTo>
                  <a:lnTo>
                    <a:pt x="34" y="23"/>
                  </a:lnTo>
                  <a:lnTo>
                    <a:pt x="33" y="23"/>
                  </a:lnTo>
                  <a:lnTo>
                    <a:pt x="33" y="21"/>
                  </a:lnTo>
                  <a:lnTo>
                    <a:pt x="31" y="21"/>
                  </a:lnTo>
                  <a:lnTo>
                    <a:pt x="30" y="21"/>
                  </a:lnTo>
                  <a:lnTo>
                    <a:pt x="29" y="21"/>
                  </a:lnTo>
                  <a:lnTo>
                    <a:pt x="29" y="23"/>
                  </a:lnTo>
                  <a:lnTo>
                    <a:pt x="29" y="24"/>
                  </a:lnTo>
                  <a:lnTo>
                    <a:pt x="29" y="25"/>
                  </a:lnTo>
                  <a:lnTo>
                    <a:pt x="29" y="26"/>
                  </a:lnTo>
                  <a:lnTo>
                    <a:pt x="29" y="27"/>
                  </a:lnTo>
                  <a:lnTo>
                    <a:pt x="29" y="28"/>
                  </a:lnTo>
                  <a:lnTo>
                    <a:pt x="30" y="28"/>
                  </a:lnTo>
                  <a:lnTo>
                    <a:pt x="30" y="30"/>
                  </a:lnTo>
                  <a:lnTo>
                    <a:pt x="31" y="30"/>
                  </a:lnTo>
                  <a:lnTo>
                    <a:pt x="31" y="28"/>
                  </a:lnTo>
                  <a:lnTo>
                    <a:pt x="31" y="30"/>
                  </a:lnTo>
                  <a:lnTo>
                    <a:pt x="33" y="30"/>
                  </a:lnTo>
                  <a:lnTo>
                    <a:pt x="33" y="31"/>
                  </a:lnTo>
                  <a:lnTo>
                    <a:pt x="34" y="31"/>
                  </a:lnTo>
                  <a:lnTo>
                    <a:pt x="33" y="31"/>
                  </a:lnTo>
                  <a:lnTo>
                    <a:pt x="33" y="32"/>
                  </a:lnTo>
                  <a:lnTo>
                    <a:pt x="34" y="32"/>
                  </a:lnTo>
                  <a:lnTo>
                    <a:pt x="35" y="33"/>
                  </a:lnTo>
                  <a:lnTo>
                    <a:pt x="35" y="34"/>
                  </a:lnTo>
                  <a:lnTo>
                    <a:pt x="36" y="34"/>
                  </a:lnTo>
                  <a:lnTo>
                    <a:pt x="36" y="35"/>
                  </a:lnTo>
                  <a:lnTo>
                    <a:pt x="35" y="35"/>
                  </a:lnTo>
                  <a:lnTo>
                    <a:pt x="36" y="37"/>
                  </a:lnTo>
                  <a:lnTo>
                    <a:pt x="36" y="38"/>
                  </a:lnTo>
                  <a:lnTo>
                    <a:pt x="37" y="38"/>
                  </a:lnTo>
                  <a:lnTo>
                    <a:pt x="37" y="39"/>
                  </a:lnTo>
                  <a:lnTo>
                    <a:pt x="38" y="39"/>
                  </a:lnTo>
                  <a:lnTo>
                    <a:pt x="38" y="40"/>
                  </a:lnTo>
                  <a:lnTo>
                    <a:pt x="40" y="40"/>
                  </a:lnTo>
                  <a:lnTo>
                    <a:pt x="40" y="41"/>
                  </a:lnTo>
                  <a:lnTo>
                    <a:pt x="41" y="41"/>
                  </a:lnTo>
                  <a:lnTo>
                    <a:pt x="42" y="42"/>
                  </a:lnTo>
                  <a:lnTo>
                    <a:pt x="42" y="44"/>
                  </a:lnTo>
                  <a:lnTo>
                    <a:pt x="43" y="44"/>
                  </a:lnTo>
                  <a:lnTo>
                    <a:pt x="44" y="45"/>
                  </a:lnTo>
                  <a:lnTo>
                    <a:pt x="47" y="47"/>
                  </a:lnTo>
                  <a:lnTo>
                    <a:pt x="48" y="47"/>
                  </a:lnTo>
                  <a:lnTo>
                    <a:pt x="48" y="48"/>
                  </a:lnTo>
                  <a:lnTo>
                    <a:pt x="49" y="48"/>
                  </a:lnTo>
                  <a:lnTo>
                    <a:pt x="50" y="48"/>
                  </a:lnTo>
                  <a:lnTo>
                    <a:pt x="50" y="49"/>
                  </a:lnTo>
                  <a:lnTo>
                    <a:pt x="50" y="51"/>
                  </a:lnTo>
                  <a:lnTo>
                    <a:pt x="51" y="52"/>
                  </a:lnTo>
                  <a:lnTo>
                    <a:pt x="52" y="53"/>
                  </a:lnTo>
                  <a:lnTo>
                    <a:pt x="52" y="54"/>
                  </a:lnTo>
                  <a:lnTo>
                    <a:pt x="55" y="54"/>
                  </a:lnTo>
                  <a:lnTo>
                    <a:pt x="55" y="55"/>
                  </a:lnTo>
                  <a:lnTo>
                    <a:pt x="56" y="56"/>
                  </a:lnTo>
                  <a:lnTo>
                    <a:pt x="55" y="56"/>
                  </a:lnTo>
                  <a:lnTo>
                    <a:pt x="54" y="56"/>
                  </a:lnTo>
                  <a:lnTo>
                    <a:pt x="54" y="55"/>
                  </a:lnTo>
                  <a:lnTo>
                    <a:pt x="52" y="55"/>
                  </a:lnTo>
                  <a:lnTo>
                    <a:pt x="54" y="55"/>
                  </a:lnTo>
                  <a:lnTo>
                    <a:pt x="52" y="55"/>
                  </a:lnTo>
                  <a:lnTo>
                    <a:pt x="51" y="54"/>
                  </a:lnTo>
                  <a:lnTo>
                    <a:pt x="49" y="53"/>
                  </a:lnTo>
                  <a:lnTo>
                    <a:pt x="48" y="53"/>
                  </a:lnTo>
                  <a:lnTo>
                    <a:pt x="48" y="52"/>
                  </a:lnTo>
                  <a:lnTo>
                    <a:pt x="45" y="51"/>
                  </a:lnTo>
                  <a:lnTo>
                    <a:pt x="45" y="49"/>
                  </a:lnTo>
                  <a:lnTo>
                    <a:pt x="43" y="49"/>
                  </a:lnTo>
                  <a:lnTo>
                    <a:pt x="42" y="49"/>
                  </a:lnTo>
                  <a:lnTo>
                    <a:pt x="41" y="48"/>
                  </a:lnTo>
                  <a:lnTo>
                    <a:pt x="40" y="48"/>
                  </a:lnTo>
                  <a:lnTo>
                    <a:pt x="38" y="48"/>
                  </a:lnTo>
                  <a:lnTo>
                    <a:pt x="40" y="48"/>
                  </a:lnTo>
                  <a:lnTo>
                    <a:pt x="40" y="47"/>
                  </a:lnTo>
                  <a:lnTo>
                    <a:pt x="38" y="47"/>
                  </a:lnTo>
                  <a:lnTo>
                    <a:pt x="37" y="47"/>
                  </a:lnTo>
                  <a:lnTo>
                    <a:pt x="35" y="48"/>
                  </a:lnTo>
                  <a:lnTo>
                    <a:pt x="36" y="48"/>
                  </a:lnTo>
                  <a:lnTo>
                    <a:pt x="35" y="48"/>
                  </a:lnTo>
                  <a:lnTo>
                    <a:pt x="34" y="48"/>
                  </a:lnTo>
                  <a:lnTo>
                    <a:pt x="34" y="47"/>
                  </a:lnTo>
                  <a:lnTo>
                    <a:pt x="33" y="47"/>
                  </a:lnTo>
                  <a:lnTo>
                    <a:pt x="34" y="47"/>
                  </a:lnTo>
                  <a:lnTo>
                    <a:pt x="33" y="47"/>
                  </a:lnTo>
                  <a:lnTo>
                    <a:pt x="33" y="46"/>
                  </a:lnTo>
                  <a:lnTo>
                    <a:pt x="34" y="46"/>
                  </a:lnTo>
                  <a:lnTo>
                    <a:pt x="33" y="46"/>
                  </a:lnTo>
                  <a:lnTo>
                    <a:pt x="34" y="46"/>
                  </a:lnTo>
                  <a:lnTo>
                    <a:pt x="33" y="46"/>
                  </a:lnTo>
                  <a:lnTo>
                    <a:pt x="33" y="45"/>
                  </a:lnTo>
                  <a:lnTo>
                    <a:pt x="31" y="45"/>
                  </a:lnTo>
                  <a:lnTo>
                    <a:pt x="31" y="44"/>
                  </a:lnTo>
                  <a:lnTo>
                    <a:pt x="30" y="44"/>
                  </a:lnTo>
                  <a:lnTo>
                    <a:pt x="29" y="44"/>
                  </a:lnTo>
                  <a:lnTo>
                    <a:pt x="29" y="42"/>
                  </a:lnTo>
                  <a:lnTo>
                    <a:pt x="29" y="44"/>
                  </a:lnTo>
                  <a:lnTo>
                    <a:pt x="29" y="42"/>
                  </a:lnTo>
                  <a:lnTo>
                    <a:pt x="28" y="42"/>
                  </a:lnTo>
                  <a:lnTo>
                    <a:pt x="28" y="41"/>
                  </a:lnTo>
                  <a:lnTo>
                    <a:pt x="27" y="41"/>
                  </a:lnTo>
                  <a:lnTo>
                    <a:pt x="26" y="40"/>
                  </a:lnTo>
                  <a:lnTo>
                    <a:pt x="24" y="40"/>
                  </a:lnTo>
                  <a:lnTo>
                    <a:pt x="24" y="39"/>
                  </a:lnTo>
                  <a:lnTo>
                    <a:pt x="23" y="39"/>
                  </a:lnTo>
                  <a:lnTo>
                    <a:pt x="23" y="38"/>
                  </a:lnTo>
                  <a:lnTo>
                    <a:pt x="22" y="38"/>
                  </a:lnTo>
                  <a:lnTo>
                    <a:pt x="22" y="37"/>
                  </a:lnTo>
                  <a:lnTo>
                    <a:pt x="22" y="35"/>
                  </a:lnTo>
                  <a:lnTo>
                    <a:pt x="22" y="37"/>
                  </a:lnTo>
                  <a:lnTo>
                    <a:pt x="23" y="37"/>
                  </a:lnTo>
                  <a:lnTo>
                    <a:pt x="23" y="35"/>
                  </a:lnTo>
                  <a:lnTo>
                    <a:pt x="24" y="37"/>
                  </a:lnTo>
                  <a:lnTo>
                    <a:pt x="24" y="35"/>
                  </a:lnTo>
                  <a:lnTo>
                    <a:pt x="23" y="35"/>
                  </a:lnTo>
                  <a:lnTo>
                    <a:pt x="24" y="35"/>
                  </a:lnTo>
                  <a:lnTo>
                    <a:pt x="26" y="37"/>
                  </a:lnTo>
                  <a:lnTo>
                    <a:pt x="27" y="37"/>
                  </a:lnTo>
                  <a:lnTo>
                    <a:pt x="27" y="35"/>
                  </a:lnTo>
                  <a:lnTo>
                    <a:pt x="26" y="35"/>
                  </a:lnTo>
                  <a:lnTo>
                    <a:pt x="24" y="34"/>
                  </a:lnTo>
                  <a:lnTo>
                    <a:pt x="22" y="33"/>
                  </a:lnTo>
                  <a:lnTo>
                    <a:pt x="22" y="32"/>
                  </a:lnTo>
                  <a:lnTo>
                    <a:pt x="21" y="32"/>
                  </a:lnTo>
                  <a:lnTo>
                    <a:pt x="20" y="32"/>
                  </a:lnTo>
                  <a:lnTo>
                    <a:pt x="20" y="31"/>
                  </a:lnTo>
                  <a:lnTo>
                    <a:pt x="19" y="30"/>
                  </a:lnTo>
                  <a:lnTo>
                    <a:pt x="19" y="28"/>
                  </a:lnTo>
                  <a:lnTo>
                    <a:pt x="19" y="27"/>
                  </a:lnTo>
                  <a:lnTo>
                    <a:pt x="19" y="26"/>
                  </a:lnTo>
                  <a:lnTo>
                    <a:pt x="19" y="25"/>
                  </a:lnTo>
                  <a:lnTo>
                    <a:pt x="17" y="24"/>
                  </a:lnTo>
                  <a:lnTo>
                    <a:pt x="17" y="23"/>
                  </a:lnTo>
                  <a:lnTo>
                    <a:pt x="16" y="23"/>
                  </a:lnTo>
                  <a:lnTo>
                    <a:pt x="15" y="21"/>
                  </a:lnTo>
                  <a:lnTo>
                    <a:pt x="14" y="21"/>
                  </a:lnTo>
                  <a:lnTo>
                    <a:pt x="14" y="20"/>
                  </a:lnTo>
                  <a:lnTo>
                    <a:pt x="13" y="20"/>
                  </a:lnTo>
                  <a:lnTo>
                    <a:pt x="12" y="19"/>
                  </a:lnTo>
                  <a:lnTo>
                    <a:pt x="10" y="19"/>
                  </a:lnTo>
                  <a:lnTo>
                    <a:pt x="10" y="20"/>
                  </a:lnTo>
                  <a:lnTo>
                    <a:pt x="10" y="21"/>
                  </a:lnTo>
                  <a:lnTo>
                    <a:pt x="10" y="23"/>
                  </a:lnTo>
                  <a:lnTo>
                    <a:pt x="9" y="23"/>
                  </a:lnTo>
                  <a:lnTo>
                    <a:pt x="9" y="24"/>
                  </a:lnTo>
                  <a:lnTo>
                    <a:pt x="9" y="25"/>
                  </a:lnTo>
                  <a:lnTo>
                    <a:pt x="8" y="25"/>
                  </a:lnTo>
                  <a:lnTo>
                    <a:pt x="8" y="24"/>
                  </a:lnTo>
                  <a:lnTo>
                    <a:pt x="8" y="25"/>
                  </a:lnTo>
                  <a:lnTo>
                    <a:pt x="8" y="26"/>
                  </a:lnTo>
                  <a:lnTo>
                    <a:pt x="7" y="26"/>
                  </a:lnTo>
                  <a:lnTo>
                    <a:pt x="8" y="26"/>
                  </a:lnTo>
                  <a:lnTo>
                    <a:pt x="7" y="26"/>
                  </a:lnTo>
                  <a:lnTo>
                    <a:pt x="7" y="27"/>
                  </a:lnTo>
                  <a:lnTo>
                    <a:pt x="6" y="27"/>
                  </a:lnTo>
                  <a:lnTo>
                    <a:pt x="6" y="28"/>
                  </a:lnTo>
                  <a:lnTo>
                    <a:pt x="6" y="27"/>
                  </a:lnTo>
                  <a:lnTo>
                    <a:pt x="5" y="27"/>
                  </a:lnTo>
                  <a:lnTo>
                    <a:pt x="5" y="26"/>
                  </a:lnTo>
                  <a:lnTo>
                    <a:pt x="5" y="27"/>
                  </a:lnTo>
                  <a:lnTo>
                    <a:pt x="5" y="26"/>
                  </a:lnTo>
                  <a:lnTo>
                    <a:pt x="6" y="26"/>
                  </a:lnTo>
                  <a:lnTo>
                    <a:pt x="5" y="26"/>
                  </a:lnTo>
                  <a:lnTo>
                    <a:pt x="5" y="25"/>
                  </a:lnTo>
                  <a:lnTo>
                    <a:pt x="3" y="25"/>
                  </a:lnTo>
                  <a:lnTo>
                    <a:pt x="3" y="24"/>
                  </a:lnTo>
                  <a:lnTo>
                    <a:pt x="2" y="24"/>
                  </a:lnTo>
                  <a:lnTo>
                    <a:pt x="2" y="23"/>
                  </a:lnTo>
                  <a:lnTo>
                    <a:pt x="3" y="23"/>
                  </a:lnTo>
                  <a:lnTo>
                    <a:pt x="2" y="23"/>
                  </a:lnTo>
                  <a:lnTo>
                    <a:pt x="2" y="21"/>
                  </a:lnTo>
                  <a:lnTo>
                    <a:pt x="1" y="21"/>
                  </a:lnTo>
                  <a:lnTo>
                    <a:pt x="2" y="21"/>
                  </a:lnTo>
                  <a:lnTo>
                    <a:pt x="2" y="20"/>
                  </a:lnTo>
                  <a:lnTo>
                    <a:pt x="1" y="20"/>
                  </a:lnTo>
                  <a:lnTo>
                    <a:pt x="2" y="20"/>
                  </a:lnTo>
                  <a:lnTo>
                    <a:pt x="1" y="20"/>
                  </a:lnTo>
                  <a:lnTo>
                    <a:pt x="2" y="20"/>
                  </a:lnTo>
                  <a:lnTo>
                    <a:pt x="2" y="19"/>
                  </a:lnTo>
                  <a:lnTo>
                    <a:pt x="1" y="19"/>
                  </a:lnTo>
                  <a:lnTo>
                    <a:pt x="1" y="18"/>
                  </a:lnTo>
                  <a:lnTo>
                    <a:pt x="0" y="17"/>
                  </a:lnTo>
                  <a:lnTo>
                    <a:pt x="1" y="17"/>
                  </a:lnTo>
                  <a:lnTo>
                    <a:pt x="2" y="18"/>
                  </a:lnTo>
                  <a:lnTo>
                    <a:pt x="3" y="18"/>
                  </a:lnTo>
                  <a:lnTo>
                    <a:pt x="5" y="18"/>
                  </a:lnTo>
                  <a:lnTo>
                    <a:pt x="6" y="18"/>
                  </a:lnTo>
                  <a:lnTo>
                    <a:pt x="7" y="17"/>
                  </a:lnTo>
                  <a:lnTo>
                    <a:pt x="6" y="17"/>
                  </a:lnTo>
                  <a:lnTo>
                    <a:pt x="7" y="17"/>
                  </a:lnTo>
                  <a:lnTo>
                    <a:pt x="8" y="17"/>
                  </a:lnTo>
                  <a:lnTo>
                    <a:pt x="9" y="17"/>
                  </a:lnTo>
                  <a:lnTo>
                    <a:pt x="10" y="17"/>
                  </a:lnTo>
                  <a:lnTo>
                    <a:pt x="12" y="17"/>
                  </a:lnTo>
                  <a:lnTo>
                    <a:pt x="13" y="17"/>
                  </a:lnTo>
                  <a:lnTo>
                    <a:pt x="13" y="16"/>
                  </a:lnTo>
                  <a:lnTo>
                    <a:pt x="13" y="14"/>
                  </a:lnTo>
                  <a:lnTo>
                    <a:pt x="14" y="14"/>
                  </a:lnTo>
                  <a:lnTo>
                    <a:pt x="14" y="16"/>
                  </a:lnTo>
                  <a:lnTo>
                    <a:pt x="15" y="16"/>
                  </a:lnTo>
                  <a:lnTo>
                    <a:pt x="15" y="17"/>
                  </a:lnTo>
                  <a:lnTo>
                    <a:pt x="16" y="17"/>
                  </a:lnTo>
                  <a:lnTo>
                    <a:pt x="16" y="18"/>
                  </a:lnTo>
                  <a:lnTo>
                    <a:pt x="17" y="18"/>
                  </a:lnTo>
                  <a:lnTo>
                    <a:pt x="17" y="17"/>
                  </a:lnTo>
                  <a:lnTo>
                    <a:pt x="19" y="17"/>
                  </a:lnTo>
                  <a:lnTo>
                    <a:pt x="20" y="17"/>
                  </a:lnTo>
                  <a:lnTo>
                    <a:pt x="21" y="18"/>
                  </a:lnTo>
                  <a:lnTo>
                    <a:pt x="22" y="18"/>
                  </a:lnTo>
                  <a:lnTo>
                    <a:pt x="23" y="18"/>
                  </a:lnTo>
                  <a:lnTo>
                    <a:pt x="23" y="17"/>
                  </a:lnTo>
                  <a:lnTo>
                    <a:pt x="22" y="17"/>
                  </a:lnTo>
                  <a:lnTo>
                    <a:pt x="22" y="16"/>
                  </a:lnTo>
                  <a:lnTo>
                    <a:pt x="22" y="14"/>
                  </a:lnTo>
                  <a:lnTo>
                    <a:pt x="23" y="14"/>
                  </a:lnTo>
                  <a:lnTo>
                    <a:pt x="22" y="14"/>
                  </a:lnTo>
                  <a:lnTo>
                    <a:pt x="22" y="13"/>
                  </a:lnTo>
                  <a:lnTo>
                    <a:pt x="23" y="13"/>
                  </a:lnTo>
                  <a:lnTo>
                    <a:pt x="24" y="12"/>
                  </a:lnTo>
                  <a:lnTo>
                    <a:pt x="26" y="12"/>
                  </a:lnTo>
                  <a:lnTo>
                    <a:pt x="27" y="12"/>
                  </a:lnTo>
                  <a:lnTo>
                    <a:pt x="27" y="11"/>
                  </a:lnTo>
                  <a:lnTo>
                    <a:pt x="27" y="10"/>
                  </a:lnTo>
                  <a:lnTo>
                    <a:pt x="27" y="9"/>
                  </a:lnTo>
                  <a:lnTo>
                    <a:pt x="27" y="7"/>
                  </a:lnTo>
                  <a:lnTo>
                    <a:pt x="26" y="7"/>
                  </a:lnTo>
                  <a:lnTo>
                    <a:pt x="26" y="6"/>
                  </a:lnTo>
                  <a:lnTo>
                    <a:pt x="27" y="6"/>
                  </a:lnTo>
                  <a:lnTo>
                    <a:pt x="28" y="6"/>
                  </a:lnTo>
                  <a:lnTo>
                    <a:pt x="28" y="5"/>
                  </a:lnTo>
                  <a:lnTo>
                    <a:pt x="29" y="5"/>
                  </a:lnTo>
                  <a:lnTo>
                    <a:pt x="30" y="5"/>
                  </a:lnTo>
                  <a:lnTo>
                    <a:pt x="30" y="4"/>
                  </a:lnTo>
                  <a:lnTo>
                    <a:pt x="31" y="4"/>
                  </a:lnTo>
                  <a:lnTo>
                    <a:pt x="31" y="3"/>
                  </a:lnTo>
                  <a:lnTo>
                    <a:pt x="31" y="4"/>
                  </a:lnTo>
                  <a:lnTo>
                    <a:pt x="31" y="3"/>
                  </a:lnTo>
                  <a:lnTo>
                    <a:pt x="33" y="3"/>
                  </a:lnTo>
                  <a:lnTo>
                    <a:pt x="33" y="4"/>
                  </a:lnTo>
                  <a:lnTo>
                    <a:pt x="34" y="4"/>
                  </a:lnTo>
                  <a:lnTo>
                    <a:pt x="34" y="3"/>
                  </a:lnTo>
                  <a:lnTo>
                    <a:pt x="34" y="2"/>
                  </a:lnTo>
                  <a:lnTo>
                    <a:pt x="34" y="0"/>
                  </a:lnTo>
                  <a:lnTo>
                    <a:pt x="35"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88" name="Freeform 1353">
              <a:extLst>
                <a:ext uri="{FF2B5EF4-FFF2-40B4-BE49-F238E27FC236}">
                  <a16:creationId xmlns:a16="http://schemas.microsoft.com/office/drawing/2014/main" id="{D43E75E0-FD9B-4DB6-87AF-C14F14284F16}"/>
                </a:ext>
              </a:extLst>
            </p:cNvPr>
            <p:cNvSpPr>
              <a:spLocks/>
            </p:cNvSpPr>
            <p:nvPr/>
          </p:nvSpPr>
          <p:spPr bwMode="auto">
            <a:xfrm>
              <a:off x="5648840" y="2261441"/>
              <a:ext cx="1336" cy="1336"/>
            </a:xfrm>
            <a:custGeom>
              <a:avLst/>
              <a:gdLst>
                <a:gd name="T0" fmla="*/ 1 w 1"/>
                <a:gd name="T1" fmla="*/ 0 h 1"/>
                <a:gd name="T2" fmla="*/ 1 w 1"/>
                <a:gd name="T3" fmla="*/ 0 h 1"/>
                <a:gd name="T4" fmla="*/ 1 w 1"/>
                <a:gd name="T5" fmla="*/ 0 h 1"/>
                <a:gd name="T6" fmla="*/ 1 w 1"/>
                <a:gd name="T7" fmla="*/ 0 h 1"/>
                <a:gd name="T8" fmla="*/ 1 w 1"/>
                <a:gd name="T9" fmla="*/ 0 h 1"/>
                <a:gd name="T10" fmla="*/ 1 w 1"/>
                <a:gd name="T11" fmla="*/ 0 h 1"/>
                <a:gd name="T12" fmla="*/ 0 w 1"/>
                <a:gd name="T13" fmla="*/ 1 h 1"/>
                <a:gd name="T14" fmla="*/ 0 w 1"/>
                <a:gd name="T15" fmla="*/ 0 h 1"/>
                <a:gd name="T16" fmla="*/ 0 w 1"/>
                <a:gd name="T17" fmla="*/ 0 h 1"/>
                <a:gd name="T18" fmla="*/ 0 w 1"/>
                <a:gd name="T19" fmla="*/ 0 h 1"/>
                <a:gd name="T20" fmla="*/ 0 w 1"/>
                <a:gd name="T21" fmla="*/ 0 h 1"/>
                <a:gd name="T22" fmla="*/ 0 w 1"/>
                <a:gd name="T23" fmla="*/ 0 h 1"/>
                <a:gd name="T24" fmla="*/ 0 w 1"/>
                <a:gd name="T25" fmla="*/ 0 h 1"/>
                <a:gd name="T26" fmla="*/ 1 w 1"/>
                <a:gd name="T2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 h="1">
                  <a:moveTo>
                    <a:pt x="1" y="0"/>
                  </a:moveTo>
                  <a:lnTo>
                    <a:pt x="1" y="0"/>
                  </a:lnTo>
                  <a:lnTo>
                    <a:pt x="1" y="0"/>
                  </a:lnTo>
                  <a:lnTo>
                    <a:pt x="1" y="0"/>
                  </a:lnTo>
                  <a:lnTo>
                    <a:pt x="1" y="0"/>
                  </a:lnTo>
                  <a:lnTo>
                    <a:pt x="1" y="0"/>
                  </a:lnTo>
                  <a:lnTo>
                    <a:pt x="0" y="1"/>
                  </a:lnTo>
                  <a:lnTo>
                    <a:pt x="0" y="0"/>
                  </a:lnTo>
                  <a:lnTo>
                    <a:pt x="0" y="0"/>
                  </a:lnTo>
                  <a:lnTo>
                    <a:pt x="0" y="0"/>
                  </a:lnTo>
                  <a:lnTo>
                    <a:pt x="0" y="0"/>
                  </a:lnTo>
                  <a:lnTo>
                    <a:pt x="0" y="0"/>
                  </a:lnTo>
                  <a:lnTo>
                    <a:pt x="0"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89" name="Freeform 1354">
              <a:extLst>
                <a:ext uri="{FF2B5EF4-FFF2-40B4-BE49-F238E27FC236}">
                  <a16:creationId xmlns:a16="http://schemas.microsoft.com/office/drawing/2014/main" id="{09A7494A-13BD-4693-B409-CF9ADB870792}"/>
                </a:ext>
              </a:extLst>
            </p:cNvPr>
            <p:cNvSpPr>
              <a:spLocks/>
            </p:cNvSpPr>
            <p:nvPr/>
          </p:nvSpPr>
          <p:spPr bwMode="auto">
            <a:xfrm>
              <a:off x="5640827" y="2256099"/>
              <a:ext cx="1336" cy="1336"/>
            </a:xfrm>
            <a:custGeom>
              <a:avLst/>
              <a:gdLst>
                <a:gd name="T0" fmla="*/ 1 w 1"/>
                <a:gd name="T1" fmla="*/ 0 h 1"/>
                <a:gd name="T2" fmla="*/ 1 w 1"/>
                <a:gd name="T3" fmla="*/ 0 h 1"/>
                <a:gd name="T4" fmla="*/ 1 w 1"/>
                <a:gd name="T5" fmla="*/ 0 h 1"/>
                <a:gd name="T6" fmla="*/ 1 w 1"/>
                <a:gd name="T7" fmla="*/ 0 h 1"/>
                <a:gd name="T8" fmla="*/ 1 w 1"/>
                <a:gd name="T9" fmla="*/ 1 h 1"/>
                <a:gd name="T10" fmla="*/ 1 w 1"/>
                <a:gd name="T11" fmla="*/ 1 h 1"/>
                <a:gd name="T12" fmla="*/ 1 w 1"/>
                <a:gd name="T13" fmla="*/ 1 h 1"/>
                <a:gd name="T14" fmla="*/ 0 w 1"/>
                <a:gd name="T15" fmla="*/ 1 h 1"/>
                <a:gd name="T16" fmla="*/ 0 w 1"/>
                <a:gd name="T17" fmla="*/ 1 h 1"/>
                <a:gd name="T18" fmla="*/ 0 w 1"/>
                <a:gd name="T19" fmla="*/ 1 h 1"/>
                <a:gd name="T20" fmla="*/ 0 w 1"/>
                <a:gd name="T21" fmla="*/ 1 h 1"/>
                <a:gd name="T22" fmla="*/ 0 w 1"/>
                <a:gd name="T23" fmla="*/ 1 h 1"/>
                <a:gd name="T24" fmla="*/ 0 w 1"/>
                <a:gd name="T25" fmla="*/ 1 h 1"/>
                <a:gd name="T26" fmla="*/ 1 w 1"/>
                <a:gd name="T27" fmla="*/ 0 h 1"/>
                <a:gd name="T28" fmla="*/ 1 w 1"/>
                <a:gd name="T29" fmla="*/ 0 h 1"/>
                <a:gd name="T30" fmla="*/ 1 w 1"/>
                <a:gd name="T31" fmla="*/ 0 h 1"/>
                <a:gd name="T32" fmla="*/ 1 w 1"/>
                <a:gd name="T3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 h="1">
                  <a:moveTo>
                    <a:pt x="1" y="0"/>
                  </a:moveTo>
                  <a:lnTo>
                    <a:pt x="1" y="0"/>
                  </a:lnTo>
                  <a:lnTo>
                    <a:pt x="1" y="0"/>
                  </a:lnTo>
                  <a:lnTo>
                    <a:pt x="1" y="0"/>
                  </a:lnTo>
                  <a:lnTo>
                    <a:pt x="1" y="1"/>
                  </a:lnTo>
                  <a:lnTo>
                    <a:pt x="1" y="1"/>
                  </a:lnTo>
                  <a:lnTo>
                    <a:pt x="1" y="1"/>
                  </a:lnTo>
                  <a:lnTo>
                    <a:pt x="0" y="1"/>
                  </a:lnTo>
                  <a:lnTo>
                    <a:pt x="0" y="1"/>
                  </a:lnTo>
                  <a:lnTo>
                    <a:pt x="0" y="1"/>
                  </a:lnTo>
                  <a:lnTo>
                    <a:pt x="0" y="1"/>
                  </a:lnTo>
                  <a:lnTo>
                    <a:pt x="0" y="1"/>
                  </a:lnTo>
                  <a:lnTo>
                    <a:pt x="0" y="1"/>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90" name="Freeform 1355">
              <a:extLst>
                <a:ext uri="{FF2B5EF4-FFF2-40B4-BE49-F238E27FC236}">
                  <a16:creationId xmlns:a16="http://schemas.microsoft.com/office/drawing/2014/main" id="{403EC44E-BB5B-46F3-9780-55C0B93EC389}"/>
                </a:ext>
              </a:extLst>
            </p:cNvPr>
            <p:cNvSpPr>
              <a:spLocks/>
            </p:cNvSpPr>
            <p:nvPr/>
          </p:nvSpPr>
          <p:spPr bwMode="auto">
            <a:xfrm>
              <a:off x="5651511" y="2232060"/>
              <a:ext cx="2671" cy="0"/>
            </a:xfrm>
            <a:custGeom>
              <a:avLst/>
              <a:gdLst>
                <a:gd name="T0" fmla="*/ 1 w 2"/>
                <a:gd name="T1" fmla="*/ 1 w 2"/>
                <a:gd name="T2" fmla="*/ 1 w 2"/>
                <a:gd name="T3" fmla="*/ 1 w 2"/>
                <a:gd name="T4" fmla="*/ 2 w 2"/>
                <a:gd name="T5" fmla="*/ 2 w 2"/>
                <a:gd name="T6" fmla="*/ 1 w 2"/>
                <a:gd name="T7" fmla="*/ 1 w 2"/>
                <a:gd name="T8" fmla="*/ 2 w 2"/>
                <a:gd name="T9" fmla="*/ 2 w 2"/>
                <a:gd name="T10" fmla="*/ 2 w 2"/>
                <a:gd name="T11" fmla="*/ 2 w 2"/>
                <a:gd name="T12" fmla="*/ 2 w 2"/>
                <a:gd name="T13" fmla="*/ 0 w 2"/>
                <a:gd name="T14" fmla="*/ 0 w 2"/>
                <a:gd name="T15" fmla="*/ 0 w 2"/>
                <a:gd name="T16" fmla="*/ 0 w 2"/>
                <a:gd name="T17" fmla="*/ 1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Lst>
              <a:rect l="0" t="0" r="r" b="b"/>
              <a:pathLst>
                <a:path w="2">
                  <a:moveTo>
                    <a:pt x="1" y="0"/>
                  </a:moveTo>
                  <a:lnTo>
                    <a:pt x="1" y="0"/>
                  </a:lnTo>
                  <a:lnTo>
                    <a:pt x="1" y="0"/>
                  </a:lnTo>
                  <a:lnTo>
                    <a:pt x="1" y="0"/>
                  </a:lnTo>
                  <a:lnTo>
                    <a:pt x="2" y="0"/>
                  </a:lnTo>
                  <a:lnTo>
                    <a:pt x="2" y="0"/>
                  </a:lnTo>
                  <a:lnTo>
                    <a:pt x="1" y="0"/>
                  </a:lnTo>
                  <a:lnTo>
                    <a:pt x="1" y="0"/>
                  </a:lnTo>
                  <a:lnTo>
                    <a:pt x="2" y="0"/>
                  </a:lnTo>
                  <a:lnTo>
                    <a:pt x="2" y="0"/>
                  </a:lnTo>
                  <a:lnTo>
                    <a:pt x="2" y="0"/>
                  </a:lnTo>
                  <a:lnTo>
                    <a:pt x="2" y="0"/>
                  </a:lnTo>
                  <a:lnTo>
                    <a:pt x="2" y="0"/>
                  </a:lnTo>
                  <a:lnTo>
                    <a:pt x="0" y="0"/>
                  </a:lnTo>
                  <a:lnTo>
                    <a:pt x="0" y="0"/>
                  </a:lnTo>
                  <a:lnTo>
                    <a:pt x="0" y="0"/>
                  </a:lnTo>
                  <a:lnTo>
                    <a:pt x="0"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91" name="Freeform 1356">
              <a:extLst>
                <a:ext uri="{FF2B5EF4-FFF2-40B4-BE49-F238E27FC236}">
                  <a16:creationId xmlns:a16="http://schemas.microsoft.com/office/drawing/2014/main" id="{8F558C5A-55FA-4364-8479-92F7744EDDAE}"/>
                </a:ext>
              </a:extLst>
            </p:cNvPr>
            <p:cNvSpPr>
              <a:spLocks/>
            </p:cNvSpPr>
            <p:nvPr/>
          </p:nvSpPr>
          <p:spPr bwMode="auto">
            <a:xfrm>
              <a:off x="5652847" y="2229389"/>
              <a:ext cx="1336" cy="1336"/>
            </a:xfrm>
            <a:custGeom>
              <a:avLst/>
              <a:gdLst>
                <a:gd name="T0" fmla="*/ 1 w 1"/>
                <a:gd name="T1" fmla="*/ 0 h 1"/>
                <a:gd name="T2" fmla="*/ 0 w 1"/>
                <a:gd name="T3" fmla="*/ 1 h 1"/>
                <a:gd name="T4" fmla="*/ 0 w 1"/>
                <a:gd name="T5" fmla="*/ 0 h 1"/>
                <a:gd name="T6" fmla="*/ 0 w 1"/>
                <a:gd name="T7" fmla="*/ 0 h 1"/>
                <a:gd name="T8" fmla="*/ 0 w 1"/>
                <a:gd name="T9" fmla="*/ 0 h 1"/>
                <a:gd name="T10" fmla="*/ 0 w 1"/>
                <a:gd name="T11" fmla="*/ 0 h 1"/>
                <a:gd name="T12" fmla="*/ 0 w 1"/>
                <a:gd name="T13" fmla="*/ 0 h 1"/>
                <a:gd name="T14" fmla="*/ 0 w 1"/>
                <a:gd name="T15" fmla="*/ 0 h 1"/>
                <a:gd name="T16" fmla="*/ 0 w 1"/>
                <a:gd name="T17" fmla="*/ 0 h 1"/>
                <a:gd name="T18" fmla="*/ 1 w 1"/>
                <a:gd name="T19" fmla="*/ 0 h 1"/>
                <a:gd name="T20" fmla="*/ 1 w 1"/>
                <a:gd name="T21" fmla="*/ 0 h 1"/>
                <a:gd name="T22" fmla="*/ 1 w 1"/>
                <a:gd name="T23" fmla="*/ 0 h 1"/>
                <a:gd name="T24" fmla="*/ 1 w 1"/>
                <a:gd name="T2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1">
                  <a:moveTo>
                    <a:pt x="1" y="0"/>
                  </a:moveTo>
                  <a:lnTo>
                    <a:pt x="0" y="1"/>
                  </a:lnTo>
                  <a:lnTo>
                    <a:pt x="0" y="0"/>
                  </a:lnTo>
                  <a:lnTo>
                    <a:pt x="0" y="0"/>
                  </a:lnTo>
                  <a:lnTo>
                    <a:pt x="0" y="0"/>
                  </a:lnTo>
                  <a:lnTo>
                    <a:pt x="0" y="0"/>
                  </a:lnTo>
                  <a:lnTo>
                    <a:pt x="0" y="0"/>
                  </a:lnTo>
                  <a:lnTo>
                    <a:pt x="0" y="0"/>
                  </a:lnTo>
                  <a:lnTo>
                    <a:pt x="0"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92" name="Freeform 1357">
              <a:extLst>
                <a:ext uri="{FF2B5EF4-FFF2-40B4-BE49-F238E27FC236}">
                  <a16:creationId xmlns:a16="http://schemas.microsoft.com/office/drawing/2014/main" id="{6E6EB040-C6B8-44A2-A7C3-1C1904DB1165}"/>
                </a:ext>
              </a:extLst>
            </p:cNvPr>
            <p:cNvSpPr>
              <a:spLocks/>
            </p:cNvSpPr>
            <p:nvPr/>
          </p:nvSpPr>
          <p:spPr bwMode="auto">
            <a:xfrm>
              <a:off x="5644834" y="2213363"/>
              <a:ext cx="6678" cy="2671"/>
            </a:xfrm>
            <a:custGeom>
              <a:avLst/>
              <a:gdLst>
                <a:gd name="T0" fmla="*/ 4 w 5"/>
                <a:gd name="T1" fmla="*/ 0 h 2"/>
                <a:gd name="T2" fmla="*/ 5 w 5"/>
                <a:gd name="T3" fmla="*/ 1 h 2"/>
                <a:gd name="T4" fmla="*/ 4 w 5"/>
                <a:gd name="T5" fmla="*/ 1 h 2"/>
                <a:gd name="T6" fmla="*/ 4 w 5"/>
                <a:gd name="T7" fmla="*/ 1 h 2"/>
                <a:gd name="T8" fmla="*/ 4 w 5"/>
                <a:gd name="T9" fmla="*/ 1 h 2"/>
                <a:gd name="T10" fmla="*/ 4 w 5"/>
                <a:gd name="T11" fmla="*/ 1 h 2"/>
                <a:gd name="T12" fmla="*/ 4 w 5"/>
                <a:gd name="T13" fmla="*/ 1 h 2"/>
                <a:gd name="T14" fmla="*/ 4 w 5"/>
                <a:gd name="T15" fmla="*/ 1 h 2"/>
                <a:gd name="T16" fmla="*/ 4 w 5"/>
                <a:gd name="T17" fmla="*/ 1 h 2"/>
                <a:gd name="T18" fmla="*/ 4 w 5"/>
                <a:gd name="T19" fmla="*/ 1 h 2"/>
                <a:gd name="T20" fmla="*/ 5 w 5"/>
                <a:gd name="T21" fmla="*/ 1 h 2"/>
                <a:gd name="T22" fmla="*/ 5 w 5"/>
                <a:gd name="T23" fmla="*/ 1 h 2"/>
                <a:gd name="T24" fmla="*/ 5 w 5"/>
                <a:gd name="T25" fmla="*/ 1 h 2"/>
                <a:gd name="T26" fmla="*/ 5 w 5"/>
                <a:gd name="T27" fmla="*/ 1 h 2"/>
                <a:gd name="T28" fmla="*/ 4 w 5"/>
                <a:gd name="T29" fmla="*/ 2 h 2"/>
                <a:gd name="T30" fmla="*/ 4 w 5"/>
                <a:gd name="T31" fmla="*/ 2 h 2"/>
                <a:gd name="T32" fmla="*/ 4 w 5"/>
                <a:gd name="T33" fmla="*/ 2 h 2"/>
                <a:gd name="T34" fmla="*/ 4 w 5"/>
                <a:gd name="T35" fmla="*/ 2 h 2"/>
                <a:gd name="T36" fmla="*/ 4 w 5"/>
                <a:gd name="T37" fmla="*/ 2 h 2"/>
                <a:gd name="T38" fmla="*/ 4 w 5"/>
                <a:gd name="T39" fmla="*/ 2 h 2"/>
                <a:gd name="T40" fmla="*/ 4 w 5"/>
                <a:gd name="T41" fmla="*/ 2 h 2"/>
                <a:gd name="T42" fmla="*/ 3 w 5"/>
                <a:gd name="T43" fmla="*/ 2 h 2"/>
                <a:gd name="T44" fmla="*/ 3 w 5"/>
                <a:gd name="T45" fmla="*/ 2 h 2"/>
                <a:gd name="T46" fmla="*/ 3 w 5"/>
                <a:gd name="T47" fmla="*/ 2 h 2"/>
                <a:gd name="T48" fmla="*/ 3 w 5"/>
                <a:gd name="T49" fmla="*/ 2 h 2"/>
                <a:gd name="T50" fmla="*/ 3 w 5"/>
                <a:gd name="T51" fmla="*/ 1 h 2"/>
                <a:gd name="T52" fmla="*/ 3 w 5"/>
                <a:gd name="T53" fmla="*/ 1 h 2"/>
                <a:gd name="T54" fmla="*/ 3 w 5"/>
                <a:gd name="T55" fmla="*/ 1 h 2"/>
                <a:gd name="T56" fmla="*/ 3 w 5"/>
                <a:gd name="T57" fmla="*/ 1 h 2"/>
                <a:gd name="T58" fmla="*/ 3 w 5"/>
                <a:gd name="T59" fmla="*/ 1 h 2"/>
                <a:gd name="T60" fmla="*/ 2 w 5"/>
                <a:gd name="T61" fmla="*/ 1 h 2"/>
                <a:gd name="T62" fmla="*/ 2 w 5"/>
                <a:gd name="T63" fmla="*/ 1 h 2"/>
                <a:gd name="T64" fmla="*/ 0 w 5"/>
                <a:gd name="T65" fmla="*/ 1 h 2"/>
                <a:gd name="T66" fmla="*/ 0 w 5"/>
                <a:gd name="T67" fmla="*/ 1 h 2"/>
                <a:gd name="T68" fmla="*/ 0 w 5"/>
                <a:gd name="T69" fmla="*/ 1 h 2"/>
                <a:gd name="T70" fmla="*/ 0 w 5"/>
                <a:gd name="T71" fmla="*/ 1 h 2"/>
                <a:gd name="T72" fmla="*/ 2 w 5"/>
                <a:gd name="T73" fmla="*/ 1 h 2"/>
                <a:gd name="T74" fmla="*/ 2 w 5"/>
                <a:gd name="T75" fmla="*/ 1 h 2"/>
                <a:gd name="T76" fmla="*/ 2 w 5"/>
                <a:gd name="T77" fmla="*/ 0 h 2"/>
                <a:gd name="T78" fmla="*/ 2 w 5"/>
                <a:gd name="T79" fmla="*/ 0 h 2"/>
                <a:gd name="T80" fmla="*/ 2 w 5"/>
                <a:gd name="T81" fmla="*/ 0 h 2"/>
                <a:gd name="T82" fmla="*/ 2 w 5"/>
                <a:gd name="T83" fmla="*/ 0 h 2"/>
                <a:gd name="T84" fmla="*/ 2 w 5"/>
                <a:gd name="T85" fmla="*/ 0 h 2"/>
                <a:gd name="T86" fmla="*/ 3 w 5"/>
                <a:gd name="T87" fmla="*/ 1 h 2"/>
                <a:gd name="T88" fmla="*/ 3 w 5"/>
                <a:gd name="T89" fmla="*/ 1 h 2"/>
                <a:gd name="T90" fmla="*/ 3 w 5"/>
                <a:gd name="T91" fmla="*/ 0 h 2"/>
                <a:gd name="T92" fmla="*/ 3 w 5"/>
                <a:gd name="T93" fmla="*/ 0 h 2"/>
                <a:gd name="T94" fmla="*/ 4 w 5"/>
                <a:gd name="T95" fmla="*/ 0 h 2"/>
                <a:gd name="T96" fmla="*/ 4 w 5"/>
                <a:gd name="T9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 h="2">
                  <a:moveTo>
                    <a:pt x="4" y="0"/>
                  </a:moveTo>
                  <a:lnTo>
                    <a:pt x="5" y="1"/>
                  </a:lnTo>
                  <a:lnTo>
                    <a:pt x="4" y="1"/>
                  </a:lnTo>
                  <a:lnTo>
                    <a:pt x="4" y="1"/>
                  </a:lnTo>
                  <a:lnTo>
                    <a:pt x="4" y="1"/>
                  </a:lnTo>
                  <a:lnTo>
                    <a:pt x="4" y="1"/>
                  </a:lnTo>
                  <a:lnTo>
                    <a:pt x="4" y="1"/>
                  </a:lnTo>
                  <a:lnTo>
                    <a:pt x="4" y="1"/>
                  </a:lnTo>
                  <a:lnTo>
                    <a:pt x="4" y="1"/>
                  </a:lnTo>
                  <a:lnTo>
                    <a:pt x="4" y="1"/>
                  </a:lnTo>
                  <a:lnTo>
                    <a:pt x="5" y="1"/>
                  </a:lnTo>
                  <a:lnTo>
                    <a:pt x="5" y="1"/>
                  </a:lnTo>
                  <a:lnTo>
                    <a:pt x="5" y="1"/>
                  </a:lnTo>
                  <a:lnTo>
                    <a:pt x="5" y="1"/>
                  </a:lnTo>
                  <a:lnTo>
                    <a:pt x="4" y="2"/>
                  </a:lnTo>
                  <a:lnTo>
                    <a:pt x="4" y="2"/>
                  </a:lnTo>
                  <a:lnTo>
                    <a:pt x="4" y="2"/>
                  </a:lnTo>
                  <a:lnTo>
                    <a:pt x="4" y="2"/>
                  </a:lnTo>
                  <a:lnTo>
                    <a:pt x="4" y="2"/>
                  </a:lnTo>
                  <a:lnTo>
                    <a:pt x="4" y="2"/>
                  </a:lnTo>
                  <a:lnTo>
                    <a:pt x="4" y="2"/>
                  </a:lnTo>
                  <a:lnTo>
                    <a:pt x="3" y="2"/>
                  </a:lnTo>
                  <a:lnTo>
                    <a:pt x="3" y="2"/>
                  </a:lnTo>
                  <a:lnTo>
                    <a:pt x="3" y="2"/>
                  </a:lnTo>
                  <a:lnTo>
                    <a:pt x="3" y="2"/>
                  </a:lnTo>
                  <a:lnTo>
                    <a:pt x="3" y="1"/>
                  </a:lnTo>
                  <a:lnTo>
                    <a:pt x="3" y="1"/>
                  </a:lnTo>
                  <a:lnTo>
                    <a:pt x="3" y="1"/>
                  </a:lnTo>
                  <a:lnTo>
                    <a:pt x="3" y="1"/>
                  </a:lnTo>
                  <a:lnTo>
                    <a:pt x="3" y="1"/>
                  </a:lnTo>
                  <a:lnTo>
                    <a:pt x="2" y="1"/>
                  </a:lnTo>
                  <a:lnTo>
                    <a:pt x="2" y="1"/>
                  </a:lnTo>
                  <a:lnTo>
                    <a:pt x="0" y="1"/>
                  </a:lnTo>
                  <a:lnTo>
                    <a:pt x="0" y="1"/>
                  </a:lnTo>
                  <a:lnTo>
                    <a:pt x="0" y="1"/>
                  </a:lnTo>
                  <a:lnTo>
                    <a:pt x="0" y="1"/>
                  </a:lnTo>
                  <a:lnTo>
                    <a:pt x="2" y="1"/>
                  </a:lnTo>
                  <a:lnTo>
                    <a:pt x="2" y="1"/>
                  </a:lnTo>
                  <a:lnTo>
                    <a:pt x="2" y="0"/>
                  </a:lnTo>
                  <a:lnTo>
                    <a:pt x="2" y="0"/>
                  </a:lnTo>
                  <a:lnTo>
                    <a:pt x="2" y="0"/>
                  </a:lnTo>
                  <a:lnTo>
                    <a:pt x="2" y="0"/>
                  </a:lnTo>
                  <a:lnTo>
                    <a:pt x="2" y="0"/>
                  </a:lnTo>
                  <a:lnTo>
                    <a:pt x="3" y="1"/>
                  </a:lnTo>
                  <a:lnTo>
                    <a:pt x="3" y="1"/>
                  </a:lnTo>
                  <a:lnTo>
                    <a:pt x="3" y="0"/>
                  </a:lnTo>
                  <a:lnTo>
                    <a:pt x="3" y="0"/>
                  </a:lnTo>
                  <a:lnTo>
                    <a:pt x="4" y="0"/>
                  </a:lnTo>
                  <a:lnTo>
                    <a:pt x="4"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93" name="Freeform 1358">
              <a:extLst>
                <a:ext uri="{FF2B5EF4-FFF2-40B4-BE49-F238E27FC236}">
                  <a16:creationId xmlns:a16="http://schemas.microsoft.com/office/drawing/2014/main" id="{D374B7BD-5DB8-4ABF-81DD-957C85DC55B5}"/>
                </a:ext>
              </a:extLst>
            </p:cNvPr>
            <p:cNvSpPr>
              <a:spLocks/>
            </p:cNvSpPr>
            <p:nvPr/>
          </p:nvSpPr>
          <p:spPr bwMode="auto">
            <a:xfrm>
              <a:off x="5672879" y="2193331"/>
              <a:ext cx="2671" cy="1336"/>
            </a:xfrm>
            <a:custGeom>
              <a:avLst/>
              <a:gdLst>
                <a:gd name="T0" fmla="*/ 2 w 2"/>
                <a:gd name="T1" fmla="*/ 1 h 1"/>
                <a:gd name="T2" fmla="*/ 0 w 2"/>
                <a:gd name="T3" fmla="*/ 1 h 1"/>
                <a:gd name="T4" fmla="*/ 0 w 2"/>
                <a:gd name="T5" fmla="*/ 1 h 1"/>
                <a:gd name="T6" fmla="*/ 0 w 2"/>
                <a:gd name="T7" fmla="*/ 1 h 1"/>
                <a:gd name="T8" fmla="*/ 0 w 2"/>
                <a:gd name="T9" fmla="*/ 1 h 1"/>
                <a:gd name="T10" fmla="*/ 0 w 2"/>
                <a:gd name="T11" fmla="*/ 1 h 1"/>
                <a:gd name="T12" fmla="*/ 0 w 2"/>
                <a:gd name="T13" fmla="*/ 1 h 1"/>
                <a:gd name="T14" fmla="*/ 0 w 2"/>
                <a:gd name="T15" fmla="*/ 1 h 1"/>
                <a:gd name="T16" fmla="*/ 0 w 2"/>
                <a:gd name="T17" fmla="*/ 1 h 1"/>
                <a:gd name="T18" fmla="*/ 0 w 2"/>
                <a:gd name="T19" fmla="*/ 1 h 1"/>
                <a:gd name="T20" fmla="*/ 0 w 2"/>
                <a:gd name="T21" fmla="*/ 1 h 1"/>
                <a:gd name="T22" fmla="*/ 0 w 2"/>
                <a:gd name="T23" fmla="*/ 1 h 1"/>
                <a:gd name="T24" fmla="*/ 0 w 2"/>
                <a:gd name="T25" fmla="*/ 1 h 1"/>
                <a:gd name="T26" fmla="*/ 0 w 2"/>
                <a:gd name="T27" fmla="*/ 1 h 1"/>
                <a:gd name="T28" fmla="*/ 0 w 2"/>
                <a:gd name="T29" fmla="*/ 0 h 1"/>
                <a:gd name="T30" fmla="*/ 0 w 2"/>
                <a:gd name="T31" fmla="*/ 0 h 1"/>
                <a:gd name="T32" fmla="*/ 0 w 2"/>
                <a:gd name="T33" fmla="*/ 1 h 1"/>
                <a:gd name="T34" fmla="*/ 0 w 2"/>
                <a:gd name="T35" fmla="*/ 1 h 1"/>
                <a:gd name="T36" fmla="*/ 2 w 2"/>
                <a:gd name="T37" fmla="*/ 1 h 1"/>
                <a:gd name="T38" fmla="*/ 2 w 2"/>
                <a:gd name="T39" fmla="*/ 1 h 1"/>
                <a:gd name="T40" fmla="*/ 2 w 2"/>
                <a:gd name="T41" fmla="*/ 1 h 1"/>
                <a:gd name="T42" fmla="*/ 2 w 2"/>
                <a:gd name="T4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 h="1">
                  <a:moveTo>
                    <a:pt x="2" y="1"/>
                  </a:move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0"/>
                  </a:lnTo>
                  <a:lnTo>
                    <a:pt x="0" y="0"/>
                  </a:lnTo>
                  <a:lnTo>
                    <a:pt x="0" y="1"/>
                  </a:lnTo>
                  <a:lnTo>
                    <a:pt x="0" y="1"/>
                  </a:lnTo>
                  <a:lnTo>
                    <a:pt x="2" y="1"/>
                  </a:lnTo>
                  <a:lnTo>
                    <a:pt x="2" y="1"/>
                  </a:lnTo>
                  <a:lnTo>
                    <a:pt x="2" y="1"/>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94" name="Freeform 1359">
              <a:extLst>
                <a:ext uri="{FF2B5EF4-FFF2-40B4-BE49-F238E27FC236}">
                  <a16:creationId xmlns:a16="http://schemas.microsoft.com/office/drawing/2014/main" id="{6C9342CF-0659-4BB1-BDD7-42614EE55E0C}"/>
                </a:ext>
              </a:extLst>
            </p:cNvPr>
            <p:cNvSpPr>
              <a:spLocks/>
            </p:cNvSpPr>
            <p:nvPr/>
          </p:nvSpPr>
          <p:spPr bwMode="auto">
            <a:xfrm>
              <a:off x="5640827" y="2186654"/>
              <a:ext cx="70781" cy="80129"/>
            </a:xfrm>
            <a:custGeom>
              <a:avLst/>
              <a:gdLst>
                <a:gd name="T0" fmla="*/ 39 w 53"/>
                <a:gd name="T1" fmla="*/ 5 h 60"/>
                <a:gd name="T2" fmla="*/ 34 w 53"/>
                <a:gd name="T3" fmla="*/ 10 h 60"/>
                <a:gd name="T4" fmla="*/ 29 w 53"/>
                <a:gd name="T5" fmla="*/ 14 h 60"/>
                <a:gd name="T6" fmla="*/ 37 w 53"/>
                <a:gd name="T7" fmla="*/ 19 h 60"/>
                <a:gd name="T8" fmla="*/ 41 w 53"/>
                <a:gd name="T9" fmla="*/ 17 h 60"/>
                <a:gd name="T10" fmla="*/ 43 w 53"/>
                <a:gd name="T11" fmla="*/ 17 h 60"/>
                <a:gd name="T12" fmla="*/ 49 w 53"/>
                <a:gd name="T13" fmla="*/ 20 h 60"/>
                <a:gd name="T14" fmla="*/ 50 w 53"/>
                <a:gd name="T15" fmla="*/ 21 h 60"/>
                <a:gd name="T16" fmla="*/ 52 w 53"/>
                <a:gd name="T17" fmla="*/ 27 h 60"/>
                <a:gd name="T18" fmla="*/ 51 w 53"/>
                <a:gd name="T19" fmla="*/ 29 h 60"/>
                <a:gd name="T20" fmla="*/ 53 w 53"/>
                <a:gd name="T21" fmla="*/ 36 h 60"/>
                <a:gd name="T22" fmla="*/ 49 w 53"/>
                <a:gd name="T23" fmla="*/ 45 h 60"/>
                <a:gd name="T24" fmla="*/ 49 w 53"/>
                <a:gd name="T25" fmla="*/ 48 h 60"/>
                <a:gd name="T26" fmla="*/ 43 w 53"/>
                <a:gd name="T27" fmla="*/ 48 h 60"/>
                <a:gd name="T28" fmla="*/ 41 w 53"/>
                <a:gd name="T29" fmla="*/ 49 h 60"/>
                <a:gd name="T30" fmla="*/ 34 w 53"/>
                <a:gd name="T31" fmla="*/ 52 h 60"/>
                <a:gd name="T32" fmla="*/ 27 w 53"/>
                <a:gd name="T33" fmla="*/ 54 h 60"/>
                <a:gd name="T34" fmla="*/ 26 w 53"/>
                <a:gd name="T35" fmla="*/ 54 h 60"/>
                <a:gd name="T36" fmla="*/ 22 w 53"/>
                <a:gd name="T37" fmla="*/ 56 h 60"/>
                <a:gd name="T38" fmla="*/ 17 w 53"/>
                <a:gd name="T39" fmla="*/ 59 h 60"/>
                <a:gd name="T40" fmla="*/ 12 w 53"/>
                <a:gd name="T41" fmla="*/ 59 h 60"/>
                <a:gd name="T42" fmla="*/ 7 w 53"/>
                <a:gd name="T43" fmla="*/ 59 h 60"/>
                <a:gd name="T44" fmla="*/ 8 w 53"/>
                <a:gd name="T45" fmla="*/ 57 h 60"/>
                <a:gd name="T46" fmla="*/ 6 w 53"/>
                <a:gd name="T47" fmla="*/ 56 h 60"/>
                <a:gd name="T48" fmla="*/ 6 w 53"/>
                <a:gd name="T49" fmla="*/ 55 h 60"/>
                <a:gd name="T50" fmla="*/ 5 w 53"/>
                <a:gd name="T51" fmla="*/ 54 h 60"/>
                <a:gd name="T52" fmla="*/ 2 w 53"/>
                <a:gd name="T53" fmla="*/ 53 h 60"/>
                <a:gd name="T54" fmla="*/ 6 w 53"/>
                <a:gd name="T55" fmla="*/ 49 h 60"/>
                <a:gd name="T56" fmla="*/ 2 w 53"/>
                <a:gd name="T57" fmla="*/ 49 h 60"/>
                <a:gd name="T58" fmla="*/ 5 w 53"/>
                <a:gd name="T59" fmla="*/ 46 h 60"/>
                <a:gd name="T60" fmla="*/ 7 w 53"/>
                <a:gd name="T61" fmla="*/ 45 h 60"/>
                <a:gd name="T62" fmla="*/ 15 w 53"/>
                <a:gd name="T63" fmla="*/ 42 h 60"/>
                <a:gd name="T64" fmla="*/ 19 w 53"/>
                <a:gd name="T65" fmla="*/ 40 h 60"/>
                <a:gd name="T66" fmla="*/ 13 w 53"/>
                <a:gd name="T67" fmla="*/ 42 h 60"/>
                <a:gd name="T68" fmla="*/ 8 w 53"/>
                <a:gd name="T69" fmla="*/ 42 h 60"/>
                <a:gd name="T70" fmla="*/ 13 w 53"/>
                <a:gd name="T71" fmla="*/ 36 h 60"/>
                <a:gd name="T72" fmla="*/ 17 w 53"/>
                <a:gd name="T73" fmla="*/ 34 h 60"/>
                <a:gd name="T74" fmla="*/ 13 w 53"/>
                <a:gd name="T75" fmla="*/ 33 h 60"/>
                <a:gd name="T76" fmla="*/ 10 w 53"/>
                <a:gd name="T77" fmla="*/ 31 h 60"/>
                <a:gd name="T78" fmla="*/ 8 w 53"/>
                <a:gd name="T79" fmla="*/ 29 h 60"/>
                <a:gd name="T80" fmla="*/ 5 w 53"/>
                <a:gd name="T81" fmla="*/ 27 h 60"/>
                <a:gd name="T82" fmla="*/ 8 w 53"/>
                <a:gd name="T83" fmla="*/ 26 h 60"/>
                <a:gd name="T84" fmla="*/ 8 w 53"/>
                <a:gd name="T85" fmla="*/ 25 h 60"/>
                <a:gd name="T86" fmla="*/ 8 w 53"/>
                <a:gd name="T87" fmla="*/ 21 h 60"/>
                <a:gd name="T88" fmla="*/ 8 w 53"/>
                <a:gd name="T89" fmla="*/ 20 h 60"/>
                <a:gd name="T90" fmla="*/ 6 w 53"/>
                <a:gd name="T91" fmla="*/ 18 h 60"/>
                <a:gd name="T92" fmla="*/ 8 w 53"/>
                <a:gd name="T93" fmla="*/ 18 h 60"/>
                <a:gd name="T94" fmla="*/ 13 w 53"/>
                <a:gd name="T95" fmla="*/ 17 h 60"/>
                <a:gd name="T96" fmla="*/ 17 w 53"/>
                <a:gd name="T97" fmla="*/ 18 h 60"/>
                <a:gd name="T98" fmla="*/ 24 w 53"/>
                <a:gd name="T99" fmla="*/ 17 h 60"/>
                <a:gd name="T100" fmla="*/ 24 w 53"/>
                <a:gd name="T101" fmla="*/ 14 h 60"/>
                <a:gd name="T102" fmla="*/ 29 w 53"/>
                <a:gd name="T103" fmla="*/ 11 h 60"/>
                <a:gd name="T104" fmla="*/ 26 w 53"/>
                <a:gd name="T105" fmla="*/ 12 h 60"/>
                <a:gd name="T106" fmla="*/ 22 w 53"/>
                <a:gd name="T107" fmla="*/ 10 h 60"/>
                <a:gd name="T108" fmla="*/ 24 w 53"/>
                <a:gd name="T109" fmla="*/ 8 h 60"/>
                <a:gd name="T110" fmla="*/ 27 w 53"/>
                <a:gd name="T111" fmla="*/ 7 h 60"/>
                <a:gd name="T112" fmla="*/ 30 w 53"/>
                <a:gd name="T113" fmla="*/ 3 h 60"/>
                <a:gd name="T114" fmla="*/ 35 w 53"/>
                <a:gd name="T115" fmla="*/ 3 h 60"/>
                <a:gd name="T116" fmla="*/ 36 w 53"/>
                <a:gd name="T117" fmla="*/ 5 h 60"/>
                <a:gd name="T118" fmla="*/ 37 w 53"/>
                <a:gd name="T119" fmla="*/ 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3" h="60">
                  <a:moveTo>
                    <a:pt x="42" y="1"/>
                  </a:moveTo>
                  <a:lnTo>
                    <a:pt x="43" y="1"/>
                  </a:lnTo>
                  <a:lnTo>
                    <a:pt x="43" y="3"/>
                  </a:lnTo>
                  <a:lnTo>
                    <a:pt x="43" y="1"/>
                  </a:lnTo>
                  <a:lnTo>
                    <a:pt x="43" y="3"/>
                  </a:lnTo>
                  <a:lnTo>
                    <a:pt x="42" y="3"/>
                  </a:lnTo>
                  <a:lnTo>
                    <a:pt x="42" y="4"/>
                  </a:lnTo>
                  <a:lnTo>
                    <a:pt x="41" y="4"/>
                  </a:lnTo>
                  <a:lnTo>
                    <a:pt x="39" y="5"/>
                  </a:lnTo>
                  <a:lnTo>
                    <a:pt x="38" y="5"/>
                  </a:lnTo>
                  <a:lnTo>
                    <a:pt x="38" y="6"/>
                  </a:lnTo>
                  <a:lnTo>
                    <a:pt x="37" y="6"/>
                  </a:lnTo>
                  <a:lnTo>
                    <a:pt x="37" y="7"/>
                  </a:lnTo>
                  <a:lnTo>
                    <a:pt x="37" y="8"/>
                  </a:lnTo>
                  <a:lnTo>
                    <a:pt x="36" y="8"/>
                  </a:lnTo>
                  <a:lnTo>
                    <a:pt x="36" y="10"/>
                  </a:lnTo>
                  <a:lnTo>
                    <a:pt x="35" y="10"/>
                  </a:lnTo>
                  <a:lnTo>
                    <a:pt x="34" y="10"/>
                  </a:lnTo>
                  <a:lnTo>
                    <a:pt x="32" y="10"/>
                  </a:lnTo>
                  <a:lnTo>
                    <a:pt x="31" y="11"/>
                  </a:lnTo>
                  <a:lnTo>
                    <a:pt x="32" y="11"/>
                  </a:lnTo>
                  <a:lnTo>
                    <a:pt x="34" y="12"/>
                  </a:lnTo>
                  <a:lnTo>
                    <a:pt x="32" y="13"/>
                  </a:lnTo>
                  <a:lnTo>
                    <a:pt x="31" y="13"/>
                  </a:lnTo>
                  <a:lnTo>
                    <a:pt x="30" y="13"/>
                  </a:lnTo>
                  <a:lnTo>
                    <a:pt x="29" y="13"/>
                  </a:lnTo>
                  <a:lnTo>
                    <a:pt x="29" y="14"/>
                  </a:lnTo>
                  <a:lnTo>
                    <a:pt x="30" y="15"/>
                  </a:lnTo>
                  <a:lnTo>
                    <a:pt x="31" y="17"/>
                  </a:lnTo>
                  <a:lnTo>
                    <a:pt x="32" y="17"/>
                  </a:lnTo>
                  <a:lnTo>
                    <a:pt x="32" y="18"/>
                  </a:lnTo>
                  <a:lnTo>
                    <a:pt x="34" y="18"/>
                  </a:lnTo>
                  <a:lnTo>
                    <a:pt x="35" y="18"/>
                  </a:lnTo>
                  <a:lnTo>
                    <a:pt x="35" y="19"/>
                  </a:lnTo>
                  <a:lnTo>
                    <a:pt x="36" y="19"/>
                  </a:lnTo>
                  <a:lnTo>
                    <a:pt x="37" y="19"/>
                  </a:lnTo>
                  <a:lnTo>
                    <a:pt x="38" y="19"/>
                  </a:lnTo>
                  <a:lnTo>
                    <a:pt x="38" y="18"/>
                  </a:lnTo>
                  <a:lnTo>
                    <a:pt x="38" y="19"/>
                  </a:lnTo>
                  <a:lnTo>
                    <a:pt x="39" y="19"/>
                  </a:lnTo>
                  <a:lnTo>
                    <a:pt x="39" y="18"/>
                  </a:lnTo>
                  <a:lnTo>
                    <a:pt x="41" y="18"/>
                  </a:lnTo>
                  <a:lnTo>
                    <a:pt x="41" y="17"/>
                  </a:lnTo>
                  <a:lnTo>
                    <a:pt x="39" y="17"/>
                  </a:lnTo>
                  <a:lnTo>
                    <a:pt x="41" y="17"/>
                  </a:lnTo>
                  <a:lnTo>
                    <a:pt x="39" y="17"/>
                  </a:lnTo>
                  <a:lnTo>
                    <a:pt x="39" y="15"/>
                  </a:lnTo>
                  <a:lnTo>
                    <a:pt x="41" y="15"/>
                  </a:lnTo>
                  <a:lnTo>
                    <a:pt x="42" y="14"/>
                  </a:lnTo>
                  <a:lnTo>
                    <a:pt x="43" y="14"/>
                  </a:lnTo>
                  <a:lnTo>
                    <a:pt x="43" y="15"/>
                  </a:lnTo>
                  <a:lnTo>
                    <a:pt x="44" y="15"/>
                  </a:lnTo>
                  <a:lnTo>
                    <a:pt x="44" y="17"/>
                  </a:lnTo>
                  <a:lnTo>
                    <a:pt x="43" y="17"/>
                  </a:lnTo>
                  <a:lnTo>
                    <a:pt x="44" y="17"/>
                  </a:lnTo>
                  <a:lnTo>
                    <a:pt x="44" y="18"/>
                  </a:lnTo>
                  <a:lnTo>
                    <a:pt x="45" y="18"/>
                  </a:lnTo>
                  <a:lnTo>
                    <a:pt x="46" y="18"/>
                  </a:lnTo>
                  <a:lnTo>
                    <a:pt x="46" y="19"/>
                  </a:lnTo>
                  <a:lnTo>
                    <a:pt x="45" y="20"/>
                  </a:lnTo>
                  <a:lnTo>
                    <a:pt x="46" y="20"/>
                  </a:lnTo>
                  <a:lnTo>
                    <a:pt x="48" y="20"/>
                  </a:lnTo>
                  <a:lnTo>
                    <a:pt x="49" y="20"/>
                  </a:lnTo>
                  <a:lnTo>
                    <a:pt x="50" y="20"/>
                  </a:lnTo>
                  <a:lnTo>
                    <a:pt x="50" y="19"/>
                  </a:lnTo>
                  <a:lnTo>
                    <a:pt x="51" y="19"/>
                  </a:lnTo>
                  <a:lnTo>
                    <a:pt x="51" y="20"/>
                  </a:lnTo>
                  <a:lnTo>
                    <a:pt x="52" y="20"/>
                  </a:lnTo>
                  <a:lnTo>
                    <a:pt x="52" y="21"/>
                  </a:lnTo>
                  <a:lnTo>
                    <a:pt x="51" y="21"/>
                  </a:lnTo>
                  <a:lnTo>
                    <a:pt x="50" y="20"/>
                  </a:lnTo>
                  <a:lnTo>
                    <a:pt x="50" y="21"/>
                  </a:lnTo>
                  <a:lnTo>
                    <a:pt x="49" y="21"/>
                  </a:lnTo>
                  <a:lnTo>
                    <a:pt x="49" y="22"/>
                  </a:lnTo>
                  <a:lnTo>
                    <a:pt x="50" y="22"/>
                  </a:lnTo>
                  <a:lnTo>
                    <a:pt x="51" y="22"/>
                  </a:lnTo>
                  <a:lnTo>
                    <a:pt x="51" y="24"/>
                  </a:lnTo>
                  <a:lnTo>
                    <a:pt x="51" y="25"/>
                  </a:lnTo>
                  <a:lnTo>
                    <a:pt x="51" y="26"/>
                  </a:lnTo>
                  <a:lnTo>
                    <a:pt x="51" y="27"/>
                  </a:lnTo>
                  <a:lnTo>
                    <a:pt x="52" y="27"/>
                  </a:lnTo>
                  <a:lnTo>
                    <a:pt x="52" y="28"/>
                  </a:lnTo>
                  <a:lnTo>
                    <a:pt x="52" y="29"/>
                  </a:lnTo>
                  <a:lnTo>
                    <a:pt x="52" y="28"/>
                  </a:lnTo>
                  <a:lnTo>
                    <a:pt x="51" y="28"/>
                  </a:lnTo>
                  <a:lnTo>
                    <a:pt x="51" y="29"/>
                  </a:lnTo>
                  <a:lnTo>
                    <a:pt x="52" y="29"/>
                  </a:lnTo>
                  <a:lnTo>
                    <a:pt x="52" y="31"/>
                  </a:lnTo>
                  <a:lnTo>
                    <a:pt x="52" y="29"/>
                  </a:lnTo>
                  <a:lnTo>
                    <a:pt x="51" y="29"/>
                  </a:lnTo>
                  <a:lnTo>
                    <a:pt x="51" y="31"/>
                  </a:lnTo>
                  <a:lnTo>
                    <a:pt x="51" y="32"/>
                  </a:lnTo>
                  <a:lnTo>
                    <a:pt x="52" y="32"/>
                  </a:lnTo>
                  <a:lnTo>
                    <a:pt x="52" y="33"/>
                  </a:lnTo>
                  <a:lnTo>
                    <a:pt x="53" y="34"/>
                  </a:lnTo>
                  <a:lnTo>
                    <a:pt x="52" y="34"/>
                  </a:lnTo>
                  <a:lnTo>
                    <a:pt x="52" y="35"/>
                  </a:lnTo>
                  <a:lnTo>
                    <a:pt x="52" y="36"/>
                  </a:lnTo>
                  <a:lnTo>
                    <a:pt x="53" y="36"/>
                  </a:lnTo>
                  <a:lnTo>
                    <a:pt x="52" y="36"/>
                  </a:lnTo>
                  <a:lnTo>
                    <a:pt x="52" y="38"/>
                  </a:lnTo>
                  <a:lnTo>
                    <a:pt x="52" y="39"/>
                  </a:lnTo>
                  <a:lnTo>
                    <a:pt x="51" y="39"/>
                  </a:lnTo>
                  <a:lnTo>
                    <a:pt x="51" y="40"/>
                  </a:lnTo>
                  <a:lnTo>
                    <a:pt x="50" y="41"/>
                  </a:lnTo>
                  <a:lnTo>
                    <a:pt x="50" y="42"/>
                  </a:lnTo>
                  <a:lnTo>
                    <a:pt x="50" y="43"/>
                  </a:lnTo>
                  <a:lnTo>
                    <a:pt x="49" y="45"/>
                  </a:lnTo>
                  <a:lnTo>
                    <a:pt x="49" y="46"/>
                  </a:lnTo>
                  <a:lnTo>
                    <a:pt x="48" y="46"/>
                  </a:lnTo>
                  <a:lnTo>
                    <a:pt x="46" y="46"/>
                  </a:lnTo>
                  <a:lnTo>
                    <a:pt x="48" y="46"/>
                  </a:lnTo>
                  <a:lnTo>
                    <a:pt x="48" y="47"/>
                  </a:lnTo>
                  <a:lnTo>
                    <a:pt x="49" y="46"/>
                  </a:lnTo>
                  <a:lnTo>
                    <a:pt x="48" y="47"/>
                  </a:lnTo>
                  <a:lnTo>
                    <a:pt x="49" y="47"/>
                  </a:lnTo>
                  <a:lnTo>
                    <a:pt x="49" y="48"/>
                  </a:lnTo>
                  <a:lnTo>
                    <a:pt x="48" y="48"/>
                  </a:lnTo>
                  <a:lnTo>
                    <a:pt x="46" y="48"/>
                  </a:lnTo>
                  <a:lnTo>
                    <a:pt x="45" y="48"/>
                  </a:lnTo>
                  <a:lnTo>
                    <a:pt x="44" y="48"/>
                  </a:lnTo>
                  <a:lnTo>
                    <a:pt x="43" y="48"/>
                  </a:lnTo>
                  <a:lnTo>
                    <a:pt x="43" y="47"/>
                  </a:lnTo>
                  <a:lnTo>
                    <a:pt x="44" y="47"/>
                  </a:lnTo>
                  <a:lnTo>
                    <a:pt x="43" y="47"/>
                  </a:lnTo>
                  <a:lnTo>
                    <a:pt x="43" y="48"/>
                  </a:lnTo>
                  <a:lnTo>
                    <a:pt x="42" y="48"/>
                  </a:lnTo>
                  <a:lnTo>
                    <a:pt x="42" y="49"/>
                  </a:lnTo>
                  <a:lnTo>
                    <a:pt x="42" y="48"/>
                  </a:lnTo>
                  <a:lnTo>
                    <a:pt x="42" y="47"/>
                  </a:lnTo>
                  <a:lnTo>
                    <a:pt x="41" y="47"/>
                  </a:lnTo>
                  <a:lnTo>
                    <a:pt x="41" y="48"/>
                  </a:lnTo>
                  <a:lnTo>
                    <a:pt x="42" y="48"/>
                  </a:lnTo>
                  <a:lnTo>
                    <a:pt x="41" y="48"/>
                  </a:lnTo>
                  <a:lnTo>
                    <a:pt x="41" y="49"/>
                  </a:lnTo>
                  <a:lnTo>
                    <a:pt x="39" y="49"/>
                  </a:lnTo>
                  <a:lnTo>
                    <a:pt x="39" y="48"/>
                  </a:lnTo>
                  <a:lnTo>
                    <a:pt x="39" y="49"/>
                  </a:lnTo>
                  <a:lnTo>
                    <a:pt x="38" y="49"/>
                  </a:lnTo>
                  <a:lnTo>
                    <a:pt x="36" y="49"/>
                  </a:lnTo>
                  <a:lnTo>
                    <a:pt x="35" y="49"/>
                  </a:lnTo>
                  <a:lnTo>
                    <a:pt x="34" y="49"/>
                  </a:lnTo>
                  <a:lnTo>
                    <a:pt x="34" y="50"/>
                  </a:lnTo>
                  <a:lnTo>
                    <a:pt x="34" y="52"/>
                  </a:lnTo>
                  <a:lnTo>
                    <a:pt x="32" y="52"/>
                  </a:lnTo>
                  <a:lnTo>
                    <a:pt x="31" y="52"/>
                  </a:lnTo>
                  <a:lnTo>
                    <a:pt x="30" y="52"/>
                  </a:lnTo>
                  <a:lnTo>
                    <a:pt x="30" y="53"/>
                  </a:lnTo>
                  <a:lnTo>
                    <a:pt x="29" y="53"/>
                  </a:lnTo>
                  <a:lnTo>
                    <a:pt x="28" y="54"/>
                  </a:lnTo>
                  <a:lnTo>
                    <a:pt x="29" y="54"/>
                  </a:lnTo>
                  <a:lnTo>
                    <a:pt x="28" y="54"/>
                  </a:lnTo>
                  <a:lnTo>
                    <a:pt x="27" y="54"/>
                  </a:lnTo>
                  <a:lnTo>
                    <a:pt x="26" y="54"/>
                  </a:lnTo>
                  <a:lnTo>
                    <a:pt x="27" y="54"/>
                  </a:lnTo>
                  <a:lnTo>
                    <a:pt x="27" y="53"/>
                  </a:lnTo>
                  <a:lnTo>
                    <a:pt x="26" y="53"/>
                  </a:lnTo>
                  <a:lnTo>
                    <a:pt x="24" y="53"/>
                  </a:lnTo>
                  <a:lnTo>
                    <a:pt x="23" y="53"/>
                  </a:lnTo>
                  <a:lnTo>
                    <a:pt x="24" y="53"/>
                  </a:lnTo>
                  <a:lnTo>
                    <a:pt x="24" y="54"/>
                  </a:lnTo>
                  <a:lnTo>
                    <a:pt x="26" y="54"/>
                  </a:lnTo>
                  <a:lnTo>
                    <a:pt x="24" y="54"/>
                  </a:lnTo>
                  <a:lnTo>
                    <a:pt x="26" y="54"/>
                  </a:lnTo>
                  <a:lnTo>
                    <a:pt x="26" y="55"/>
                  </a:lnTo>
                  <a:lnTo>
                    <a:pt x="24" y="55"/>
                  </a:lnTo>
                  <a:lnTo>
                    <a:pt x="23" y="55"/>
                  </a:lnTo>
                  <a:lnTo>
                    <a:pt x="23" y="56"/>
                  </a:lnTo>
                  <a:lnTo>
                    <a:pt x="23" y="55"/>
                  </a:lnTo>
                  <a:lnTo>
                    <a:pt x="22" y="55"/>
                  </a:lnTo>
                  <a:lnTo>
                    <a:pt x="22" y="56"/>
                  </a:lnTo>
                  <a:lnTo>
                    <a:pt x="22" y="57"/>
                  </a:lnTo>
                  <a:lnTo>
                    <a:pt x="22" y="56"/>
                  </a:lnTo>
                  <a:lnTo>
                    <a:pt x="21" y="56"/>
                  </a:lnTo>
                  <a:lnTo>
                    <a:pt x="20" y="56"/>
                  </a:lnTo>
                  <a:lnTo>
                    <a:pt x="21" y="57"/>
                  </a:lnTo>
                  <a:lnTo>
                    <a:pt x="20" y="57"/>
                  </a:lnTo>
                  <a:lnTo>
                    <a:pt x="19" y="57"/>
                  </a:lnTo>
                  <a:lnTo>
                    <a:pt x="17" y="57"/>
                  </a:lnTo>
                  <a:lnTo>
                    <a:pt x="17" y="59"/>
                  </a:lnTo>
                  <a:lnTo>
                    <a:pt x="17" y="57"/>
                  </a:lnTo>
                  <a:lnTo>
                    <a:pt x="16" y="57"/>
                  </a:lnTo>
                  <a:lnTo>
                    <a:pt x="15" y="57"/>
                  </a:lnTo>
                  <a:lnTo>
                    <a:pt x="15" y="59"/>
                  </a:lnTo>
                  <a:lnTo>
                    <a:pt x="14" y="59"/>
                  </a:lnTo>
                  <a:lnTo>
                    <a:pt x="13" y="59"/>
                  </a:lnTo>
                  <a:lnTo>
                    <a:pt x="12" y="59"/>
                  </a:lnTo>
                  <a:lnTo>
                    <a:pt x="13" y="59"/>
                  </a:lnTo>
                  <a:lnTo>
                    <a:pt x="12" y="59"/>
                  </a:lnTo>
                  <a:lnTo>
                    <a:pt x="13" y="59"/>
                  </a:lnTo>
                  <a:lnTo>
                    <a:pt x="13" y="57"/>
                  </a:lnTo>
                  <a:lnTo>
                    <a:pt x="12" y="59"/>
                  </a:lnTo>
                  <a:lnTo>
                    <a:pt x="12" y="57"/>
                  </a:lnTo>
                  <a:lnTo>
                    <a:pt x="10" y="59"/>
                  </a:lnTo>
                  <a:lnTo>
                    <a:pt x="9" y="59"/>
                  </a:lnTo>
                  <a:lnTo>
                    <a:pt x="8" y="59"/>
                  </a:lnTo>
                  <a:lnTo>
                    <a:pt x="7" y="60"/>
                  </a:lnTo>
                  <a:lnTo>
                    <a:pt x="7" y="59"/>
                  </a:lnTo>
                  <a:lnTo>
                    <a:pt x="7" y="60"/>
                  </a:lnTo>
                  <a:lnTo>
                    <a:pt x="7" y="59"/>
                  </a:lnTo>
                  <a:lnTo>
                    <a:pt x="8" y="59"/>
                  </a:lnTo>
                  <a:lnTo>
                    <a:pt x="8" y="57"/>
                  </a:lnTo>
                  <a:lnTo>
                    <a:pt x="9" y="57"/>
                  </a:lnTo>
                  <a:lnTo>
                    <a:pt x="10" y="57"/>
                  </a:lnTo>
                  <a:lnTo>
                    <a:pt x="9" y="56"/>
                  </a:lnTo>
                  <a:lnTo>
                    <a:pt x="7" y="57"/>
                  </a:lnTo>
                  <a:lnTo>
                    <a:pt x="8" y="57"/>
                  </a:lnTo>
                  <a:lnTo>
                    <a:pt x="9" y="56"/>
                  </a:lnTo>
                  <a:lnTo>
                    <a:pt x="10" y="56"/>
                  </a:lnTo>
                  <a:lnTo>
                    <a:pt x="12" y="56"/>
                  </a:lnTo>
                  <a:lnTo>
                    <a:pt x="12" y="55"/>
                  </a:lnTo>
                  <a:lnTo>
                    <a:pt x="10" y="55"/>
                  </a:lnTo>
                  <a:lnTo>
                    <a:pt x="9" y="55"/>
                  </a:lnTo>
                  <a:lnTo>
                    <a:pt x="9" y="56"/>
                  </a:lnTo>
                  <a:lnTo>
                    <a:pt x="8" y="56"/>
                  </a:lnTo>
                  <a:lnTo>
                    <a:pt x="6" y="56"/>
                  </a:lnTo>
                  <a:lnTo>
                    <a:pt x="5" y="57"/>
                  </a:lnTo>
                  <a:lnTo>
                    <a:pt x="3" y="57"/>
                  </a:lnTo>
                  <a:lnTo>
                    <a:pt x="2" y="57"/>
                  </a:lnTo>
                  <a:lnTo>
                    <a:pt x="3" y="56"/>
                  </a:lnTo>
                  <a:lnTo>
                    <a:pt x="5" y="56"/>
                  </a:lnTo>
                  <a:lnTo>
                    <a:pt x="5" y="55"/>
                  </a:lnTo>
                  <a:lnTo>
                    <a:pt x="6" y="55"/>
                  </a:lnTo>
                  <a:lnTo>
                    <a:pt x="5" y="55"/>
                  </a:lnTo>
                  <a:lnTo>
                    <a:pt x="6" y="55"/>
                  </a:lnTo>
                  <a:lnTo>
                    <a:pt x="7" y="55"/>
                  </a:lnTo>
                  <a:lnTo>
                    <a:pt x="7" y="54"/>
                  </a:lnTo>
                  <a:lnTo>
                    <a:pt x="8" y="54"/>
                  </a:lnTo>
                  <a:lnTo>
                    <a:pt x="9" y="54"/>
                  </a:lnTo>
                  <a:lnTo>
                    <a:pt x="9" y="53"/>
                  </a:lnTo>
                  <a:lnTo>
                    <a:pt x="8" y="53"/>
                  </a:lnTo>
                  <a:lnTo>
                    <a:pt x="7" y="54"/>
                  </a:lnTo>
                  <a:lnTo>
                    <a:pt x="6" y="54"/>
                  </a:lnTo>
                  <a:lnTo>
                    <a:pt x="5" y="54"/>
                  </a:lnTo>
                  <a:lnTo>
                    <a:pt x="3" y="54"/>
                  </a:lnTo>
                  <a:lnTo>
                    <a:pt x="3" y="55"/>
                  </a:lnTo>
                  <a:lnTo>
                    <a:pt x="2" y="54"/>
                  </a:lnTo>
                  <a:lnTo>
                    <a:pt x="2" y="53"/>
                  </a:lnTo>
                  <a:lnTo>
                    <a:pt x="1" y="54"/>
                  </a:lnTo>
                  <a:lnTo>
                    <a:pt x="1" y="53"/>
                  </a:lnTo>
                  <a:lnTo>
                    <a:pt x="0" y="53"/>
                  </a:lnTo>
                  <a:lnTo>
                    <a:pt x="1" y="53"/>
                  </a:lnTo>
                  <a:lnTo>
                    <a:pt x="2" y="53"/>
                  </a:lnTo>
                  <a:lnTo>
                    <a:pt x="2" y="52"/>
                  </a:lnTo>
                  <a:lnTo>
                    <a:pt x="1" y="52"/>
                  </a:lnTo>
                  <a:lnTo>
                    <a:pt x="2" y="52"/>
                  </a:lnTo>
                  <a:lnTo>
                    <a:pt x="2" y="50"/>
                  </a:lnTo>
                  <a:lnTo>
                    <a:pt x="3" y="50"/>
                  </a:lnTo>
                  <a:lnTo>
                    <a:pt x="5" y="50"/>
                  </a:lnTo>
                  <a:lnTo>
                    <a:pt x="6" y="49"/>
                  </a:lnTo>
                  <a:lnTo>
                    <a:pt x="6" y="50"/>
                  </a:lnTo>
                  <a:lnTo>
                    <a:pt x="6" y="49"/>
                  </a:lnTo>
                  <a:lnTo>
                    <a:pt x="7" y="49"/>
                  </a:lnTo>
                  <a:lnTo>
                    <a:pt x="8" y="49"/>
                  </a:lnTo>
                  <a:lnTo>
                    <a:pt x="8" y="48"/>
                  </a:lnTo>
                  <a:lnTo>
                    <a:pt x="6" y="49"/>
                  </a:lnTo>
                  <a:lnTo>
                    <a:pt x="5" y="49"/>
                  </a:lnTo>
                  <a:lnTo>
                    <a:pt x="3" y="49"/>
                  </a:lnTo>
                  <a:lnTo>
                    <a:pt x="2" y="49"/>
                  </a:lnTo>
                  <a:lnTo>
                    <a:pt x="1" y="49"/>
                  </a:lnTo>
                  <a:lnTo>
                    <a:pt x="2" y="49"/>
                  </a:lnTo>
                  <a:lnTo>
                    <a:pt x="1" y="49"/>
                  </a:lnTo>
                  <a:lnTo>
                    <a:pt x="0" y="49"/>
                  </a:lnTo>
                  <a:lnTo>
                    <a:pt x="0" y="48"/>
                  </a:lnTo>
                  <a:lnTo>
                    <a:pt x="1" y="48"/>
                  </a:lnTo>
                  <a:lnTo>
                    <a:pt x="1" y="47"/>
                  </a:lnTo>
                  <a:lnTo>
                    <a:pt x="2" y="47"/>
                  </a:lnTo>
                  <a:lnTo>
                    <a:pt x="3" y="47"/>
                  </a:lnTo>
                  <a:lnTo>
                    <a:pt x="5" y="47"/>
                  </a:lnTo>
                  <a:lnTo>
                    <a:pt x="5" y="46"/>
                  </a:lnTo>
                  <a:lnTo>
                    <a:pt x="5" y="47"/>
                  </a:lnTo>
                  <a:lnTo>
                    <a:pt x="6" y="47"/>
                  </a:lnTo>
                  <a:lnTo>
                    <a:pt x="7" y="47"/>
                  </a:lnTo>
                  <a:lnTo>
                    <a:pt x="8" y="47"/>
                  </a:lnTo>
                  <a:lnTo>
                    <a:pt x="7" y="47"/>
                  </a:lnTo>
                  <a:lnTo>
                    <a:pt x="7" y="46"/>
                  </a:lnTo>
                  <a:lnTo>
                    <a:pt x="7" y="45"/>
                  </a:lnTo>
                  <a:lnTo>
                    <a:pt x="6" y="45"/>
                  </a:lnTo>
                  <a:lnTo>
                    <a:pt x="7" y="45"/>
                  </a:lnTo>
                  <a:lnTo>
                    <a:pt x="8" y="45"/>
                  </a:lnTo>
                  <a:lnTo>
                    <a:pt x="8" y="43"/>
                  </a:lnTo>
                  <a:lnTo>
                    <a:pt x="9" y="43"/>
                  </a:lnTo>
                  <a:lnTo>
                    <a:pt x="9" y="42"/>
                  </a:lnTo>
                  <a:lnTo>
                    <a:pt x="10" y="42"/>
                  </a:lnTo>
                  <a:lnTo>
                    <a:pt x="12" y="42"/>
                  </a:lnTo>
                  <a:lnTo>
                    <a:pt x="13" y="42"/>
                  </a:lnTo>
                  <a:lnTo>
                    <a:pt x="14" y="42"/>
                  </a:lnTo>
                  <a:lnTo>
                    <a:pt x="15" y="42"/>
                  </a:lnTo>
                  <a:lnTo>
                    <a:pt x="16" y="41"/>
                  </a:lnTo>
                  <a:lnTo>
                    <a:pt x="17" y="41"/>
                  </a:lnTo>
                  <a:lnTo>
                    <a:pt x="20" y="41"/>
                  </a:lnTo>
                  <a:lnTo>
                    <a:pt x="21" y="41"/>
                  </a:lnTo>
                  <a:lnTo>
                    <a:pt x="20" y="41"/>
                  </a:lnTo>
                  <a:lnTo>
                    <a:pt x="19" y="40"/>
                  </a:lnTo>
                  <a:lnTo>
                    <a:pt x="19" y="41"/>
                  </a:lnTo>
                  <a:lnTo>
                    <a:pt x="17" y="40"/>
                  </a:lnTo>
                  <a:lnTo>
                    <a:pt x="19" y="40"/>
                  </a:lnTo>
                  <a:lnTo>
                    <a:pt x="17" y="40"/>
                  </a:lnTo>
                  <a:lnTo>
                    <a:pt x="19" y="39"/>
                  </a:lnTo>
                  <a:lnTo>
                    <a:pt x="17" y="39"/>
                  </a:lnTo>
                  <a:lnTo>
                    <a:pt x="17" y="40"/>
                  </a:lnTo>
                  <a:lnTo>
                    <a:pt x="16" y="40"/>
                  </a:lnTo>
                  <a:lnTo>
                    <a:pt x="15" y="41"/>
                  </a:lnTo>
                  <a:lnTo>
                    <a:pt x="14" y="42"/>
                  </a:lnTo>
                  <a:lnTo>
                    <a:pt x="14" y="41"/>
                  </a:lnTo>
                  <a:lnTo>
                    <a:pt x="13" y="42"/>
                  </a:lnTo>
                  <a:lnTo>
                    <a:pt x="12" y="41"/>
                  </a:lnTo>
                  <a:lnTo>
                    <a:pt x="10" y="41"/>
                  </a:lnTo>
                  <a:lnTo>
                    <a:pt x="12" y="41"/>
                  </a:lnTo>
                  <a:lnTo>
                    <a:pt x="10" y="41"/>
                  </a:lnTo>
                  <a:lnTo>
                    <a:pt x="9" y="42"/>
                  </a:lnTo>
                  <a:lnTo>
                    <a:pt x="8" y="42"/>
                  </a:lnTo>
                  <a:lnTo>
                    <a:pt x="6" y="42"/>
                  </a:lnTo>
                  <a:lnTo>
                    <a:pt x="7" y="42"/>
                  </a:lnTo>
                  <a:lnTo>
                    <a:pt x="8" y="42"/>
                  </a:lnTo>
                  <a:lnTo>
                    <a:pt x="10" y="40"/>
                  </a:lnTo>
                  <a:lnTo>
                    <a:pt x="12" y="40"/>
                  </a:lnTo>
                  <a:lnTo>
                    <a:pt x="12" y="39"/>
                  </a:lnTo>
                  <a:lnTo>
                    <a:pt x="13" y="39"/>
                  </a:lnTo>
                  <a:lnTo>
                    <a:pt x="13" y="38"/>
                  </a:lnTo>
                  <a:lnTo>
                    <a:pt x="14" y="36"/>
                  </a:lnTo>
                  <a:lnTo>
                    <a:pt x="13" y="36"/>
                  </a:lnTo>
                  <a:lnTo>
                    <a:pt x="12" y="36"/>
                  </a:lnTo>
                  <a:lnTo>
                    <a:pt x="13" y="36"/>
                  </a:lnTo>
                  <a:lnTo>
                    <a:pt x="13" y="35"/>
                  </a:lnTo>
                  <a:lnTo>
                    <a:pt x="14" y="34"/>
                  </a:lnTo>
                  <a:lnTo>
                    <a:pt x="15" y="34"/>
                  </a:lnTo>
                  <a:lnTo>
                    <a:pt x="16" y="34"/>
                  </a:lnTo>
                  <a:lnTo>
                    <a:pt x="17" y="34"/>
                  </a:lnTo>
                  <a:lnTo>
                    <a:pt x="16" y="34"/>
                  </a:lnTo>
                  <a:lnTo>
                    <a:pt x="16" y="33"/>
                  </a:lnTo>
                  <a:lnTo>
                    <a:pt x="17" y="33"/>
                  </a:lnTo>
                  <a:lnTo>
                    <a:pt x="17" y="34"/>
                  </a:lnTo>
                  <a:lnTo>
                    <a:pt x="17" y="33"/>
                  </a:lnTo>
                  <a:lnTo>
                    <a:pt x="19" y="33"/>
                  </a:lnTo>
                  <a:lnTo>
                    <a:pt x="19" y="34"/>
                  </a:lnTo>
                  <a:lnTo>
                    <a:pt x="19" y="33"/>
                  </a:lnTo>
                  <a:lnTo>
                    <a:pt x="17" y="33"/>
                  </a:lnTo>
                  <a:lnTo>
                    <a:pt x="19" y="32"/>
                  </a:lnTo>
                  <a:lnTo>
                    <a:pt x="17" y="32"/>
                  </a:lnTo>
                  <a:lnTo>
                    <a:pt x="13" y="32"/>
                  </a:lnTo>
                  <a:lnTo>
                    <a:pt x="13" y="33"/>
                  </a:lnTo>
                  <a:lnTo>
                    <a:pt x="12" y="33"/>
                  </a:lnTo>
                  <a:lnTo>
                    <a:pt x="12" y="32"/>
                  </a:lnTo>
                  <a:lnTo>
                    <a:pt x="10" y="32"/>
                  </a:lnTo>
                  <a:lnTo>
                    <a:pt x="10" y="31"/>
                  </a:lnTo>
                  <a:lnTo>
                    <a:pt x="12" y="31"/>
                  </a:lnTo>
                  <a:lnTo>
                    <a:pt x="10" y="31"/>
                  </a:lnTo>
                  <a:lnTo>
                    <a:pt x="12" y="31"/>
                  </a:lnTo>
                  <a:lnTo>
                    <a:pt x="12" y="29"/>
                  </a:lnTo>
                  <a:lnTo>
                    <a:pt x="10" y="31"/>
                  </a:lnTo>
                  <a:lnTo>
                    <a:pt x="10" y="29"/>
                  </a:lnTo>
                  <a:lnTo>
                    <a:pt x="10" y="31"/>
                  </a:lnTo>
                  <a:lnTo>
                    <a:pt x="9" y="31"/>
                  </a:lnTo>
                  <a:lnTo>
                    <a:pt x="8" y="32"/>
                  </a:lnTo>
                  <a:lnTo>
                    <a:pt x="8" y="31"/>
                  </a:lnTo>
                  <a:lnTo>
                    <a:pt x="7" y="31"/>
                  </a:lnTo>
                  <a:lnTo>
                    <a:pt x="8" y="31"/>
                  </a:lnTo>
                  <a:lnTo>
                    <a:pt x="9" y="29"/>
                  </a:lnTo>
                  <a:lnTo>
                    <a:pt x="8" y="29"/>
                  </a:lnTo>
                  <a:lnTo>
                    <a:pt x="7" y="29"/>
                  </a:lnTo>
                  <a:lnTo>
                    <a:pt x="7" y="31"/>
                  </a:lnTo>
                  <a:lnTo>
                    <a:pt x="6" y="31"/>
                  </a:lnTo>
                  <a:lnTo>
                    <a:pt x="6" y="29"/>
                  </a:lnTo>
                  <a:lnTo>
                    <a:pt x="5" y="29"/>
                  </a:lnTo>
                  <a:lnTo>
                    <a:pt x="6" y="29"/>
                  </a:lnTo>
                  <a:lnTo>
                    <a:pt x="6" y="28"/>
                  </a:lnTo>
                  <a:lnTo>
                    <a:pt x="5" y="28"/>
                  </a:lnTo>
                  <a:lnTo>
                    <a:pt x="5" y="27"/>
                  </a:lnTo>
                  <a:lnTo>
                    <a:pt x="5" y="28"/>
                  </a:lnTo>
                  <a:lnTo>
                    <a:pt x="3" y="27"/>
                  </a:lnTo>
                  <a:lnTo>
                    <a:pt x="5" y="27"/>
                  </a:lnTo>
                  <a:lnTo>
                    <a:pt x="6" y="27"/>
                  </a:lnTo>
                  <a:lnTo>
                    <a:pt x="7" y="27"/>
                  </a:lnTo>
                  <a:lnTo>
                    <a:pt x="6" y="27"/>
                  </a:lnTo>
                  <a:lnTo>
                    <a:pt x="7" y="27"/>
                  </a:lnTo>
                  <a:lnTo>
                    <a:pt x="8" y="27"/>
                  </a:lnTo>
                  <a:lnTo>
                    <a:pt x="8" y="26"/>
                  </a:lnTo>
                  <a:lnTo>
                    <a:pt x="8" y="27"/>
                  </a:lnTo>
                  <a:lnTo>
                    <a:pt x="9" y="27"/>
                  </a:lnTo>
                  <a:lnTo>
                    <a:pt x="10" y="27"/>
                  </a:lnTo>
                  <a:lnTo>
                    <a:pt x="9" y="27"/>
                  </a:lnTo>
                  <a:lnTo>
                    <a:pt x="8" y="27"/>
                  </a:lnTo>
                  <a:lnTo>
                    <a:pt x="8" y="26"/>
                  </a:lnTo>
                  <a:lnTo>
                    <a:pt x="7" y="26"/>
                  </a:lnTo>
                  <a:lnTo>
                    <a:pt x="7" y="25"/>
                  </a:lnTo>
                  <a:lnTo>
                    <a:pt x="8" y="25"/>
                  </a:lnTo>
                  <a:lnTo>
                    <a:pt x="8" y="24"/>
                  </a:lnTo>
                  <a:lnTo>
                    <a:pt x="9" y="24"/>
                  </a:lnTo>
                  <a:lnTo>
                    <a:pt x="12" y="24"/>
                  </a:lnTo>
                  <a:lnTo>
                    <a:pt x="12" y="22"/>
                  </a:lnTo>
                  <a:lnTo>
                    <a:pt x="9" y="22"/>
                  </a:lnTo>
                  <a:lnTo>
                    <a:pt x="8" y="22"/>
                  </a:lnTo>
                  <a:lnTo>
                    <a:pt x="7" y="22"/>
                  </a:lnTo>
                  <a:lnTo>
                    <a:pt x="8" y="22"/>
                  </a:lnTo>
                  <a:lnTo>
                    <a:pt x="8" y="21"/>
                  </a:lnTo>
                  <a:lnTo>
                    <a:pt x="9" y="21"/>
                  </a:lnTo>
                  <a:lnTo>
                    <a:pt x="9" y="22"/>
                  </a:lnTo>
                  <a:lnTo>
                    <a:pt x="9" y="21"/>
                  </a:lnTo>
                  <a:lnTo>
                    <a:pt x="8" y="21"/>
                  </a:lnTo>
                  <a:lnTo>
                    <a:pt x="8" y="20"/>
                  </a:lnTo>
                  <a:lnTo>
                    <a:pt x="8" y="19"/>
                  </a:lnTo>
                  <a:lnTo>
                    <a:pt x="9" y="19"/>
                  </a:lnTo>
                  <a:lnTo>
                    <a:pt x="8" y="19"/>
                  </a:lnTo>
                  <a:lnTo>
                    <a:pt x="8" y="20"/>
                  </a:lnTo>
                  <a:lnTo>
                    <a:pt x="7" y="20"/>
                  </a:lnTo>
                  <a:lnTo>
                    <a:pt x="7" y="19"/>
                  </a:lnTo>
                  <a:lnTo>
                    <a:pt x="8" y="19"/>
                  </a:lnTo>
                  <a:lnTo>
                    <a:pt x="7" y="19"/>
                  </a:lnTo>
                  <a:lnTo>
                    <a:pt x="8" y="19"/>
                  </a:lnTo>
                  <a:lnTo>
                    <a:pt x="7" y="18"/>
                  </a:lnTo>
                  <a:lnTo>
                    <a:pt x="8" y="18"/>
                  </a:lnTo>
                  <a:lnTo>
                    <a:pt x="7" y="18"/>
                  </a:lnTo>
                  <a:lnTo>
                    <a:pt x="6" y="18"/>
                  </a:lnTo>
                  <a:lnTo>
                    <a:pt x="6" y="19"/>
                  </a:lnTo>
                  <a:lnTo>
                    <a:pt x="6" y="18"/>
                  </a:lnTo>
                  <a:lnTo>
                    <a:pt x="6" y="17"/>
                  </a:lnTo>
                  <a:lnTo>
                    <a:pt x="7" y="17"/>
                  </a:lnTo>
                  <a:lnTo>
                    <a:pt x="8" y="17"/>
                  </a:lnTo>
                  <a:lnTo>
                    <a:pt x="8" y="18"/>
                  </a:lnTo>
                  <a:lnTo>
                    <a:pt x="7" y="17"/>
                  </a:lnTo>
                  <a:lnTo>
                    <a:pt x="7" y="18"/>
                  </a:lnTo>
                  <a:lnTo>
                    <a:pt x="8" y="18"/>
                  </a:lnTo>
                  <a:lnTo>
                    <a:pt x="8" y="17"/>
                  </a:lnTo>
                  <a:lnTo>
                    <a:pt x="9" y="17"/>
                  </a:lnTo>
                  <a:lnTo>
                    <a:pt x="10" y="17"/>
                  </a:lnTo>
                  <a:lnTo>
                    <a:pt x="9" y="17"/>
                  </a:lnTo>
                  <a:lnTo>
                    <a:pt x="9" y="15"/>
                  </a:lnTo>
                  <a:lnTo>
                    <a:pt x="10" y="15"/>
                  </a:lnTo>
                  <a:lnTo>
                    <a:pt x="13" y="17"/>
                  </a:lnTo>
                  <a:lnTo>
                    <a:pt x="13" y="15"/>
                  </a:lnTo>
                  <a:lnTo>
                    <a:pt x="13" y="17"/>
                  </a:lnTo>
                  <a:lnTo>
                    <a:pt x="14" y="17"/>
                  </a:lnTo>
                  <a:lnTo>
                    <a:pt x="15" y="17"/>
                  </a:lnTo>
                  <a:lnTo>
                    <a:pt x="15" y="15"/>
                  </a:lnTo>
                  <a:lnTo>
                    <a:pt x="15" y="17"/>
                  </a:lnTo>
                  <a:lnTo>
                    <a:pt x="16" y="17"/>
                  </a:lnTo>
                  <a:lnTo>
                    <a:pt x="16" y="18"/>
                  </a:lnTo>
                  <a:lnTo>
                    <a:pt x="17" y="18"/>
                  </a:lnTo>
                  <a:lnTo>
                    <a:pt x="17" y="19"/>
                  </a:lnTo>
                  <a:lnTo>
                    <a:pt x="17" y="18"/>
                  </a:lnTo>
                  <a:lnTo>
                    <a:pt x="17" y="17"/>
                  </a:lnTo>
                  <a:lnTo>
                    <a:pt x="19" y="17"/>
                  </a:lnTo>
                  <a:lnTo>
                    <a:pt x="20" y="17"/>
                  </a:lnTo>
                  <a:lnTo>
                    <a:pt x="21" y="17"/>
                  </a:lnTo>
                  <a:lnTo>
                    <a:pt x="22" y="17"/>
                  </a:lnTo>
                  <a:lnTo>
                    <a:pt x="23" y="17"/>
                  </a:lnTo>
                  <a:lnTo>
                    <a:pt x="23" y="18"/>
                  </a:lnTo>
                  <a:lnTo>
                    <a:pt x="24" y="18"/>
                  </a:lnTo>
                  <a:lnTo>
                    <a:pt x="24" y="17"/>
                  </a:lnTo>
                  <a:lnTo>
                    <a:pt x="23" y="17"/>
                  </a:lnTo>
                  <a:lnTo>
                    <a:pt x="24" y="17"/>
                  </a:lnTo>
                  <a:lnTo>
                    <a:pt x="26" y="17"/>
                  </a:lnTo>
                  <a:lnTo>
                    <a:pt x="24" y="17"/>
                  </a:lnTo>
                  <a:lnTo>
                    <a:pt x="24" y="15"/>
                  </a:lnTo>
                  <a:lnTo>
                    <a:pt x="24" y="17"/>
                  </a:lnTo>
                  <a:lnTo>
                    <a:pt x="24" y="15"/>
                  </a:lnTo>
                  <a:lnTo>
                    <a:pt x="23" y="15"/>
                  </a:lnTo>
                  <a:lnTo>
                    <a:pt x="24" y="14"/>
                  </a:lnTo>
                  <a:lnTo>
                    <a:pt x="26" y="14"/>
                  </a:lnTo>
                  <a:lnTo>
                    <a:pt x="26" y="13"/>
                  </a:lnTo>
                  <a:lnTo>
                    <a:pt x="26" y="14"/>
                  </a:lnTo>
                  <a:lnTo>
                    <a:pt x="27" y="14"/>
                  </a:lnTo>
                  <a:lnTo>
                    <a:pt x="27" y="13"/>
                  </a:lnTo>
                  <a:lnTo>
                    <a:pt x="28" y="13"/>
                  </a:lnTo>
                  <a:lnTo>
                    <a:pt x="28" y="12"/>
                  </a:lnTo>
                  <a:lnTo>
                    <a:pt x="29" y="12"/>
                  </a:lnTo>
                  <a:lnTo>
                    <a:pt x="29" y="11"/>
                  </a:lnTo>
                  <a:lnTo>
                    <a:pt x="28" y="11"/>
                  </a:lnTo>
                  <a:lnTo>
                    <a:pt x="28" y="12"/>
                  </a:lnTo>
                  <a:lnTo>
                    <a:pt x="28" y="11"/>
                  </a:lnTo>
                  <a:lnTo>
                    <a:pt x="27" y="11"/>
                  </a:lnTo>
                  <a:lnTo>
                    <a:pt x="27" y="12"/>
                  </a:lnTo>
                  <a:lnTo>
                    <a:pt x="26" y="12"/>
                  </a:lnTo>
                  <a:lnTo>
                    <a:pt x="27" y="12"/>
                  </a:lnTo>
                  <a:lnTo>
                    <a:pt x="26" y="11"/>
                  </a:lnTo>
                  <a:lnTo>
                    <a:pt x="26" y="12"/>
                  </a:lnTo>
                  <a:lnTo>
                    <a:pt x="26" y="11"/>
                  </a:lnTo>
                  <a:lnTo>
                    <a:pt x="26" y="12"/>
                  </a:lnTo>
                  <a:lnTo>
                    <a:pt x="26" y="11"/>
                  </a:lnTo>
                  <a:lnTo>
                    <a:pt x="24" y="11"/>
                  </a:lnTo>
                  <a:lnTo>
                    <a:pt x="24" y="12"/>
                  </a:lnTo>
                  <a:lnTo>
                    <a:pt x="23" y="12"/>
                  </a:lnTo>
                  <a:lnTo>
                    <a:pt x="23" y="11"/>
                  </a:lnTo>
                  <a:lnTo>
                    <a:pt x="22" y="11"/>
                  </a:lnTo>
                  <a:lnTo>
                    <a:pt x="22" y="10"/>
                  </a:lnTo>
                  <a:lnTo>
                    <a:pt x="23" y="10"/>
                  </a:lnTo>
                  <a:lnTo>
                    <a:pt x="24" y="10"/>
                  </a:lnTo>
                  <a:lnTo>
                    <a:pt x="26" y="10"/>
                  </a:lnTo>
                  <a:lnTo>
                    <a:pt x="24" y="10"/>
                  </a:lnTo>
                  <a:lnTo>
                    <a:pt x="24" y="8"/>
                  </a:lnTo>
                  <a:lnTo>
                    <a:pt x="26" y="8"/>
                  </a:lnTo>
                  <a:lnTo>
                    <a:pt x="26" y="10"/>
                  </a:lnTo>
                  <a:lnTo>
                    <a:pt x="26" y="8"/>
                  </a:lnTo>
                  <a:lnTo>
                    <a:pt x="24" y="8"/>
                  </a:lnTo>
                  <a:lnTo>
                    <a:pt x="26" y="8"/>
                  </a:lnTo>
                  <a:lnTo>
                    <a:pt x="27" y="8"/>
                  </a:lnTo>
                  <a:lnTo>
                    <a:pt x="27" y="7"/>
                  </a:lnTo>
                  <a:lnTo>
                    <a:pt x="28" y="7"/>
                  </a:lnTo>
                  <a:lnTo>
                    <a:pt x="27" y="7"/>
                  </a:lnTo>
                  <a:lnTo>
                    <a:pt x="26" y="7"/>
                  </a:lnTo>
                  <a:lnTo>
                    <a:pt x="26" y="6"/>
                  </a:lnTo>
                  <a:lnTo>
                    <a:pt x="26" y="7"/>
                  </a:lnTo>
                  <a:lnTo>
                    <a:pt x="27" y="7"/>
                  </a:lnTo>
                  <a:lnTo>
                    <a:pt x="27" y="6"/>
                  </a:lnTo>
                  <a:lnTo>
                    <a:pt x="26" y="6"/>
                  </a:lnTo>
                  <a:lnTo>
                    <a:pt x="27" y="6"/>
                  </a:lnTo>
                  <a:lnTo>
                    <a:pt x="27" y="5"/>
                  </a:lnTo>
                  <a:lnTo>
                    <a:pt x="28" y="5"/>
                  </a:lnTo>
                  <a:lnTo>
                    <a:pt x="28" y="4"/>
                  </a:lnTo>
                  <a:lnTo>
                    <a:pt x="29" y="4"/>
                  </a:lnTo>
                  <a:lnTo>
                    <a:pt x="30" y="4"/>
                  </a:lnTo>
                  <a:lnTo>
                    <a:pt x="30" y="3"/>
                  </a:lnTo>
                  <a:lnTo>
                    <a:pt x="31" y="3"/>
                  </a:lnTo>
                  <a:lnTo>
                    <a:pt x="32" y="3"/>
                  </a:lnTo>
                  <a:lnTo>
                    <a:pt x="32" y="4"/>
                  </a:lnTo>
                  <a:lnTo>
                    <a:pt x="32" y="3"/>
                  </a:lnTo>
                  <a:lnTo>
                    <a:pt x="34" y="3"/>
                  </a:lnTo>
                  <a:lnTo>
                    <a:pt x="34" y="1"/>
                  </a:lnTo>
                  <a:lnTo>
                    <a:pt x="34" y="3"/>
                  </a:lnTo>
                  <a:lnTo>
                    <a:pt x="35" y="4"/>
                  </a:lnTo>
                  <a:lnTo>
                    <a:pt x="35" y="3"/>
                  </a:lnTo>
                  <a:lnTo>
                    <a:pt x="34" y="3"/>
                  </a:lnTo>
                  <a:lnTo>
                    <a:pt x="34" y="1"/>
                  </a:lnTo>
                  <a:lnTo>
                    <a:pt x="35" y="1"/>
                  </a:lnTo>
                  <a:lnTo>
                    <a:pt x="36" y="1"/>
                  </a:lnTo>
                  <a:lnTo>
                    <a:pt x="36" y="3"/>
                  </a:lnTo>
                  <a:lnTo>
                    <a:pt x="36" y="4"/>
                  </a:lnTo>
                  <a:lnTo>
                    <a:pt x="37" y="4"/>
                  </a:lnTo>
                  <a:lnTo>
                    <a:pt x="36" y="4"/>
                  </a:lnTo>
                  <a:lnTo>
                    <a:pt x="36" y="5"/>
                  </a:lnTo>
                  <a:lnTo>
                    <a:pt x="35" y="5"/>
                  </a:lnTo>
                  <a:lnTo>
                    <a:pt x="36" y="5"/>
                  </a:lnTo>
                  <a:lnTo>
                    <a:pt x="35" y="6"/>
                  </a:lnTo>
                  <a:lnTo>
                    <a:pt x="36" y="5"/>
                  </a:lnTo>
                  <a:lnTo>
                    <a:pt x="37" y="5"/>
                  </a:lnTo>
                  <a:lnTo>
                    <a:pt x="37" y="4"/>
                  </a:lnTo>
                  <a:lnTo>
                    <a:pt x="37" y="3"/>
                  </a:lnTo>
                  <a:lnTo>
                    <a:pt x="36" y="3"/>
                  </a:lnTo>
                  <a:lnTo>
                    <a:pt x="37" y="3"/>
                  </a:lnTo>
                  <a:lnTo>
                    <a:pt x="37" y="1"/>
                  </a:lnTo>
                  <a:lnTo>
                    <a:pt x="38" y="1"/>
                  </a:lnTo>
                  <a:lnTo>
                    <a:pt x="39" y="1"/>
                  </a:lnTo>
                  <a:lnTo>
                    <a:pt x="38" y="0"/>
                  </a:lnTo>
                  <a:lnTo>
                    <a:pt x="39" y="0"/>
                  </a:lnTo>
                  <a:lnTo>
                    <a:pt x="41" y="0"/>
                  </a:lnTo>
                  <a:lnTo>
                    <a:pt x="41" y="1"/>
                  </a:lnTo>
                  <a:lnTo>
                    <a:pt x="4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95" name="Freeform 1360">
              <a:extLst>
                <a:ext uri="{FF2B5EF4-FFF2-40B4-BE49-F238E27FC236}">
                  <a16:creationId xmlns:a16="http://schemas.microsoft.com/office/drawing/2014/main" id="{94D8A8BC-C588-4140-8FA4-940CB2424AD6}"/>
                </a:ext>
              </a:extLst>
            </p:cNvPr>
            <p:cNvSpPr>
              <a:spLocks/>
            </p:cNvSpPr>
            <p:nvPr/>
          </p:nvSpPr>
          <p:spPr bwMode="auto">
            <a:xfrm>
              <a:off x="5515291" y="2029066"/>
              <a:ext cx="0" cy="2671"/>
            </a:xfrm>
            <a:custGeom>
              <a:avLst/>
              <a:gdLst>
                <a:gd name="T0" fmla="*/ 2 h 2"/>
                <a:gd name="T1" fmla="*/ 2 h 2"/>
                <a:gd name="T2" fmla="*/ 2 h 2"/>
                <a:gd name="T3" fmla="*/ 2 h 2"/>
                <a:gd name="T4" fmla="*/ 2 h 2"/>
                <a:gd name="T5" fmla="*/ 0 h 2"/>
                <a:gd name="T6" fmla="*/ 0 h 2"/>
                <a:gd name="T7" fmla="*/ 0 h 2"/>
                <a:gd name="T8" fmla="*/ 0 h 2"/>
                <a:gd name="T9" fmla="*/ 0 h 2"/>
                <a:gd name="T10" fmla="*/ 0 h 2"/>
                <a:gd name="T11" fmla="*/ 0 h 2"/>
                <a:gd name="T12" fmla="*/ 2 h 2"/>
                <a:gd name="T13" fmla="*/ 2 h 2"/>
                <a:gd name="T14"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Lst>
              <a:rect l="0" t="0" r="r" b="b"/>
              <a:pathLst>
                <a:path h="2">
                  <a:moveTo>
                    <a:pt x="0" y="2"/>
                  </a:moveTo>
                  <a:lnTo>
                    <a:pt x="0" y="2"/>
                  </a:lnTo>
                  <a:lnTo>
                    <a:pt x="0" y="2"/>
                  </a:lnTo>
                  <a:lnTo>
                    <a:pt x="0" y="2"/>
                  </a:lnTo>
                  <a:lnTo>
                    <a:pt x="0" y="2"/>
                  </a:lnTo>
                  <a:lnTo>
                    <a:pt x="0" y="0"/>
                  </a:lnTo>
                  <a:lnTo>
                    <a:pt x="0" y="0"/>
                  </a:lnTo>
                  <a:lnTo>
                    <a:pt x="0" y="0"/>
                  </a:lnTo>
                  <a:lnTo>
                    <a:pt x="0" y="0"/>
                  </a:lnTo>
                  <a:lnTo>
                    <a:pt x="0" y="0"/>
                  </a:lnTo>
                  <a:lnTo>
                    <a:pt x="0" y="0"/>
                  </a:lnTo>
                  <a:lnTo>
                    <a:pt x="0" y="0"/>
                  </a:lnTo>
                  <a:lnTo>
                    <a:pt x="0" y="2"/>
                  </a:lnTo>
                  <a:lnTo>
                    <a:pt x="0" y="2"/>
                  </a:lnTo>
                  <a:lnTo>
                    <a:pt x="0"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96" name="Freeform 1361">
              <a:extLst>
                <a:ext uri="{FF2B5EF4-FFF2-40B4-BE49-F238E27FC236}">
                  <a16:creationId xmlns:a16="http://schemas.microsoft.com/office/drawing/2014/main" id="{DD21C2E5-5FAC-4E50-BA83-D634F25D51F6}"/>
                </a:ext>
              </a:extLst>
            </p:cNvPr>
            <p:cNvSpPr>
              <a:spLocks/>
            </p:cNvSpPr>
            <p:nvPr/>
          </p:nvSpPr>
          <p:spPr bwMode="auto">
            <a:xfrm>
              <a:off x="5550014" y="2025059"/>
              <a:ext cx="2671" cy="0"/>
            </a:xfrm>
            <a:custGeom>
              <a:avLst/>
              <a:gdLst>
                <a:gd name="T0" fmla="*/ 2 w 2"/>
                <a:gd name="T1" fmla="*/ 2 w 2"/>
                <a:gd name="T2" fmla="*/ 2 w 2"/>
                <a:gd name="T3" fmla="*/ 2 w 2"/>
                <a:gd name="T4" fmla="*/ 2 w 2"/>
                <a:gd name="T5" fmla="*/ 2 w 2"/>
                <a:gd name="T6" fmla="*/ 2 w 2"/>
                <a:gd name="T7" fmla="*/ 2 w 2"/>
                <a:gd name="T8" fmla="*/ 2 w 2"/>
                <a:gd name="T9" fmla="*/ 0 w 2"/>
                <a:gd name="T10" fmla="*/ 0 w 2"/>
                <a:gd name="T11" fmla="*/ 2 w 2"/>
                <a:gd name="T12" fmla="*/ 2 w 2"/>
                <a:gd name="T13" fmla="*/ 2 w 2"/>
                <a:gd name="T14" fmla="*/ 2 w 2"/>
                <a:gd name="T15" fmla="*/ 2 w 2"/>
                <a:gd name="T16"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Lst>
              <a:rect l="0" t="0" r="r" b="b"/>
              <a:pathLst>
                <a:path w="2">
                  <a:moveTo>
                    <a:pt x="2" y="0"/>
                  </a:moveTo>
                  <a:lnTo>
                    <a:pt x="2" y="0"/>
                  </a:lnTo>
                  <a:lnTo>
                    <a:pt x="2" y="0"/>
                  </a:lnTo>
                  <a:lnTo>
                    <a:pt x="2" y="0"/>
                  </a:lnTo>
                  <a:lnTo>
                    <a:pt x="2" y="0"/>
                  </a:lnTo>
                  <a:lnTo>
                    <a:pt x="2" y="0"/>
                  </a:lnTo>
                  <a:lnTo>
                    <a:pt x="2" y="0"/>
                  </a:lnTo>
                  <a:lnTo>
                    <a:pt x="2" y="0"/>
                  </a:lnTo>
                  <a:lnTo>
                    <a:pt x="2" y="0"/>
                  </a:lnTo>
                  <a:lnTo>
                    <a:pt x="0" y="0"/>
                  </a:lnTo>
                  <a:lnTo>
                    <a:pt x="0" y="0"/>
                  </a:lnTo>
                  <a:lnTo>
                    <a:pt x="2" y="0"/>
                  </a:lnTo>
                  <a:lnTo>
                    <a:pt x="2" y="0"/>
                  </a:lnTo>
                  <a:lnTo>
                    <a:pt x="2"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97" name="Freeform 1362">
              <a:extLst>
                <a:ext uri="{FF2B5EF4-FFF2-40B4-BE49-F238E27FC236}">
                  <a16:creationId xmlns:a16="http://schemas.microsoft.com/office/drawing/2014/main" id="{BF7AA642-07C8-4B93-9FEB-EB580966B1A1}"/>
                </a:ext>
              </a:extLst>
            </p:cNvPr>
            <p:cNvSpPr>
              <a:spLocks/>
            </p:cNvSpPr>
            <p:nvPr/>
          </p:nvSpPr>
          <p:spPr bwMode="auto">
            <a:xfrm>
              <a:off x="5548679" y="1980988"/>
              <a:ext cx="0" cy="1336"/>
            </a:xfrm>
            <a:custGeom>
              <a:avLst/>
              <a:gdLst>
                <a:gd name="T0" fmla="*/ 1 h 1"/>
                <a:gd name="T1" fmla="*/ 1 h 1"/>
                <a:gd name="T2" fmla="*/ 1 h 1"/>
                <a:gd name="T3" fmla="*/ 1 h 1"/>
                <a:gd name="T4" fmla="*/ 1 h 1"/>
                <a:gd name="T5" fmla="*/ 1 h 1"/>
                <a:gd name="T6" fmla="*/ 1 h 1"/>
                <a:gd name="T7" fmla="*/ 0 h 1"/>
                <a:gd name="T8" fmla="*/ 0 h 1"/>
                <a:gd name="T9" fmla="*/ 1 h 1"/>
                <a:gd name="T10" fmla="*/ 1 h 1"/>
                <a:gd name="T11" fmla="*/ 1 h 1"/>
                <a:gd name="T12" fmla="*/ 1 h 1"/>
                <a:gd name="T13"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Lst>
              <a:rect l="0" t="0" r="r" b="b"/>
              <a:pathLst>
                <a:path h="1">
                  <a:moveTo>
                    <a:pt x="0" y="1"/>
                  </a:moveTo>
                  <a:lnTo>
                    <a:pt x="0" y="1"/>
                  </a:lnTo>
                  <a:lnTo>
                    <a:pt x="0" y="1"/>
                  </a:lnTo>
                  <a:lnTo>
                    <a:pt x="0" y="1"/>
                  </a:lnTo>
                  <a:lnTo>
                    <a:pt x="0" y="1"/>
                  </a:lnTo>
                  <a:lnTo>
                    <a:pt x="0" y="1"/>
                  </a:lnTo>
                  <a:lnTo>
                    <a:pt x="0" y="1"/>
                  </a:lnTo>
                  <a:lnTo>
                    <a:pt x="0" y="0"/>
                  </a:lnTo>
                  <a:lnTo>
                    <a:pt x="0" y="0"/>
                  </a:lnTo>
                  <a:lnTo>
                    <a:pt x="0" y="1"/>
                  </a:lnTo>
                  <a:lnTo>
                    <a:pt x="0" y="1"/>
                  </a:lnTo>
                  <a:lnTo>
                    <a:pt x="0" y="1"/>
                  </a:lnTo>
                  <a:lnTo>
                    <a:pt x="0" y="1"/>
                  </a:lnTo>
                  <a:lnTo>
                    <a:pt x="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98" name="Freeform 1363">
              <a:extLst>
                <a:ext uri="{FF2B5EF4-FFF2-40B4-BE49-F238E27FC236}">
                  <a16:creationId xmlns:a16="http://schemas.microsoft.com/office/drawing/2014/main" id="{8327DCDE-CC27-4771-8E49-D9591DE45A8A}"/>
                </a:ext>
              </a:extLst>
            </p:cNvPr>
            <p:cNvSpPr>
              <a:spLocks/>
            </p:cNvSpPr>
            <p:nvPr/>
          </p:nvSpPr>
          <p:spPr bwMode="auto">
            <a:xfrm>
              <a:off x="5461872" y="1971640"/>
              <a:ext cx="153582" cy="60097"/>
            </a:xfrm>
            <a:custGeom>
              <a:avLst/>
              <a:gdLst>
                <a:gd name="T0" fmla="*/ 98 w 115"/>
                <a:gd name="T1" fmla="*/ 6 h 45"/>
                <a:gd name="T2" fmla="*/ 101 w 115"/>
                <a:gd name="T3" fmla="*/ 5 h 45"/>
                <a:gd name="T4" fmla="*/ 101 w 115"/>
                <a:gd name="T5" fmla="*/ 12 h 45"/>
                <a:gd name="T6" fmla="*/ 105 w 115"/>
                <a:gd name="T7" fmla="*/ 14 h 45"/>
                <a:gd name="T8" fmla="*/ 113 w 115"/>
                <a:gd name="T9" fmla="*/ 17 h 45"/>
                <a:gd name="T10" fmla="*/ 112 w 115"/>
                <a:gd name="T11" fmla="*/ 19 h 45"/>
                <a:gd name="T12" fmla="*/ 112 w 115"/>
                <a:gd name="T13" fmla="*/ 21 h 45"/>
                <a:gd name="T14" fmla="*/ 112 w 115"/>
                <a:gd name="T15" fmla="*/ 24 h 45"/>
                <a:gd name="T16" fmla="*/ 105 w 115"/>
                <a:gd name="T17" fmla="*/ 26 h 45"/>
                <a:gd name="T18" fmla="*/ 104 w 115"/>
                <a:gd name="T19" fmla="*/ 28 h 45"/>
                <a:gd name="T20" fmla="*/ 97 w 115"/>
                <a:gd name="T21" fmla="*/ 32 h 45"/>
                <a:gd name="T22" fmla="*/ 91 w 115"/>
                <a:gd name="T23" fmla="*/ 33 h 45"/>
                <a:gd name="T24" fmla="*/ 80 w 115"/>
                <a:gd name="T25" fmla="*/ 38 h 45"/>
                <a:gd name="T26" fmla="*/ 75 w 115"/>
                <a:gd name="T27" fmla="*/ 39 h 45"/>
                <a:gd name="T28" fmla="*/ 68 w 115"/>
                <a:gd name="T29" fmla="*/ 40 h 45"/>
                <a:gd name="T30" fmla="*/ 62 w 115"/>
                <a:gd name="T31" fmla="*/ 43 h 45"/>
                <a:gd name="T32" fmla="*/ 52 w 115"/>
                <a:gd name="T33" fmla="*/ 43 h 45"/>
                <a:gd name="T34" fmla="*/ 40 w 115"/>
                <a:gd name="T35" fmla="*/ 41 h 45"/>
                <a:gd name="T36" fmla="*/ 37 w 115"/>
                <a:gd name="T37" fmla="*/ 40 h 45"/>
                <a:gd name="T38" fmla="*/ 33 w 115"/>
                <a:gd name="T39" fmla="*/ 38 h 45"/>
                <a:gd name="T40" fmla="*/ 19 w 115"/>
                <a:gd name="T41" fmla="*/ 39 h 45"/>
                <a:gd name="T42" fmla="*/ 18 w 115"/>
                <a:gd name="T43" fmla="*/ 36 h 45"/>
                <a:gd name="T44" fmla="*/ 25 w 115"/>
                <a:gd name="T45" fmla="*/ 34 h 45"/>
                <a:gd name="T46" fmla="*/ 29 w 115"/>
                <a:gd name="T47" fmla="*/ 31 h 45"/>
                <a:gd name="T48" fmla="*/ 25 w 115"/>
                <a:gd name="T49" fmla="*/ 28 h 45"/>
                <a:gd name="T50" fmla="*/ 28 w 115"/>
                <a:gd name="T51" fmla="*/ 27 h 45"/>
                <a:gd name="T52" fmla="*/ 21 w 115"/>
                <a:gd name="T53" fmla="*/ 27 h 45"/>
                <a:gd name="T54" fmla="*/ 16 w 115"/>
                <a:gd name="T55" fmla="*/ 25 h 45"/>
                <a:gd name="T56" fmla="*/ 2 w 115"/>
                <a:gd name="T57" fmla="*/ 24 h 45"/>
                <a:gd name="T58" fmla="*/ 14 w 115"/>
                <a:gd name="T59" fmla="*/ 22 h 45"/>
                <a:gd name="T60" fmla="*/ 22 w 115"/>
                <a:gd name="T61" fmla="*/ 21 h 45"/>
                <a:gd name="T62" fmla="*/ 21 w 115"/>
                <a:gd name="T63" fmla="*/ 19 h 45"/>
                <a:gd name="T64" fmla="*/ 26 w 115"/>
                <a:gd name="T65" fmla="*/ 15 h 45"/>
                <a:gd name="T66" fmla="*/ 21 w 115"/>
                <a:gd name="T67" fmla="*/ 14 h 45"/>
                <a:gd name="T68" fmla="*/ 18 w 115"/>
                <a:gd name="T69" fmla="*/ 13 h 45"/>
                <a:gd name="T70" fmla="*/ 8 w 115"/>
                <a:gd name="T71" fmla="*/ 15 h 45"/>
                <a:gd name="T72" fmla="*/ 5 w 115"/>
                <a:gd name="T73" fmla="*/ 14 h 45"/>
                <a:gd name="T74" fmla="*/ 9 w 115"/>
                <a:gd name="T75" fmla="*/ 13 h 45"/>
                <a:gd name="T76" fmla="*/ 7 w 115"/>
                <a:gd name="T77" fmla="*/ 10 h 45"/>
                <a:gd name="T78" fmla="*/ 8 w 115"/>
                <a:gd name="T79" fmla="*/ 7 h 45"/>
                <a:gd name="T80" fmla="*/ 12 w 115"/>
                <a:gd name="T81" fmla="*/ 6 h 45"/>
                <a:gd name="T82" fmla="*/ 19 w 115"/>
                <a:gd name="T83" fmla="*/ 8 h 45"/>
                <a:gd name="T84" fmla="*/ 20 w 115"/>
                <a:gd name="T85" fmla="*/ 10 h 45"/>
                <a:gd name="T86" fmla="*/ 21 w 115"/>
                <a:gd name="T87" fmla="*/ 6 h 45"/>
                <a:gd name="T88" fmla="*/ 21 w 115"/>
                <a:gd name="T89" fmla="*/ 4 h 45"/>
                <a:gd name="T90" fmla="*/ 19 w 115"/>
                <a:gd name="T91" fmla="*/ 1 h 45"/>
                <a:gd name="T92" fmla="*/ 25 w 115"/>
                <a:gd name="T93" fmla="*/ 1 h 45"/>
                <a:gd name="T94" fmla="*/ 29 w 115"/>
                <a:gd name="T95" fmla="*/ 5 h 45"/>
                <a:gd name="T96" fmla="*/ 35 w 115"/>
                <a:gd name="T97" fmla="*/ 8 h 45"/>
                <a:gd name="T98" fmla="*/ 30 w 115"/>
                <a:gd name="T99" fmla="*/ 12 h 45"/>
                <a:gd name="T100" fmla="*/ 35 w 115"/>
                <a:gd name="T101" fmla="*/ 18 h 45"/>
                <a:gd name="T102" fmla="*/ 37 w 115"/>
                <a:gd name="T103" fmla="*/ 14 h 45"/>
                <a:gd name="T104" fmla="*/ 43 w 115"/>
                <a:gd name="T105" fmla="*/ 14 h 45"/>
                <a:gd name="T106" fmla="*/ 48 w 115"/>
                <a:gd name="T107" fmla="*/ 6 h 45"/>
                <a:gd name="T108" fmla="*/ 55 w 115"/>
                <a:gd name="T109" fmla="*/ 10 h 45"/>
                <a:gd name="T110" fmla="*/ 63 w 115"/>
                <a:gd name="T111" fmla="*/ 6 h 45"/>
                <a:gd name="T112" fmla="*/ 69 w 115"/>
                <a:gd name="T113" fmla="*/ 12 h 45"/>
                <a:gd name="T114" fmla="*/ 71 w 115"/>
                <a:gd name="T115" fmla="*/ 6 h 45"/>
                <a:gd name="T116" fmla="*/ 77 w 115"/>
                <a:gd name="T117" fmla="*/ 6 h 45"/>
                <a:gd name="T118" fmla="*/ 84 w 115"/>
                <a:gd name="T119" fmla="*/ 6 h 45"/>
                <a:gd name="T120" fmla="*/ 91 w 115"/>
                <a:gd name="T121" fmla="*/ 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45">
                  <a:moveTo>
                    <a:pt x="91" y="0"/>
                  </a:moveTo>
                  <a:lnTo>
                    <a:pt x="92" y="1"/>
                  </a:lnTo>
                  <a:lnTo>
                    <a:pt x="92" y="3"/>
                  </a:lnTo>
                  <a:lnTo>
                    <a:pt x="93" y="3"/>
                  </a:lnTo>
                  <a:lnTo>
                    <a:pt x="94" y="3"/>
                  </a:lnTo>
                  <a:lnTo>
                    <a:pt x="94" y="4"/>
                  </a:lnTo>
                  <a:lnTo>
                    <a:pt x="93" y="4"/>
                  </a:lnTo>
                  <a:lnTo>
                    <a:pt x="93" y="5"/>
                  </a:lnTo>
                  <a:lnTo>
                    <a:pt x="93" y="4"/>
                  </a:lnTo>
                  <a:lnTo>
                    <a:pt x="94" y="5"/>
                  </a:lnTo>
                  <a:lnTo>
                    <a:pt x="96" y="5"/>
                  </a:lnTo>
                  <a:lnTo>
                    <a:pt x="97" y="5"/>
                  </a:lnTo>
                  <a:lnTo>
                    <a:pt x="97" y="6"/>
                  </a:lnTo>
                  <a:lnTo>
                    <a:pt x="98" y="6"/>
                  </a:lnTo>
                  <a:lnTo>
                    <a:pt x="98" y="5"/>
                  </a:lnTo>
                  <a:lnTo>
                    <a:pt x="99" y="5"/>
                  </a:lnTo>
                  <a:lnTo>
                    <a:pt x="100" y="4"/>
                  </a:lnTo>
                  <a:lnTo>
                    <a:pt x="101" y="4"/>
                  </a:lnTo>
                  <a:lnTo>
                    <a:pt x="101" y="3"/>
                  </a:lnTo>
                  <a:lnTo>
                    <a:pt x="102" y="3"/>
                  </a:lnTo>
                  <a:lnTo>
                    <a:pt x="104" y="3"/>
                  </a:lnTo>
                  <a:lnTo>
                    <a:pt x="106" y="3"/>
                  </a:lnTo>
                  <a:lnTo>
                    <a:pt x="104" y="4"/>
                  </a:lnTo>
                  <a:lnTo>
                    <a:pt x="102" y="4"/>
                  </a:lnTo>
                  <a:lnTo>
                    <a:pt x="101" y="4"/>
                  </a:lnTo>
                  <a:lnTo>
                    <a:pt x="101" y="5"/>
                  </a:lnTo>
                  <a:lnTo>
                    <a:pt x="102" y="5"/>
                  </a:lnTo>
                  <a:lnTo>
                    <a:pt x="101" y="5"/>
                  </a:lnTo>
                  <a:lnTo>
                    <a:pt x="101" y="6"/>
                  </a:lnTo>
                  <a:lnTo>
                    <a:pt x="100" y="6"/>
                  </a:lnTo>
                  <a:lnTo>
                    <a:pt x="99" y="6"/>
                  </a:lnTo>
                  <a:lnTo>
                    <a:pt x="99" y="7"/>
                  </a:lnTo>
                  <a:lnTo>
                    <a:pt x="100" y="7"/>
                  </a:lnTo>
                  <a:lnTo>
                    <a:pt x="101" y="7"/>
                  </a:lnTo>
                  <a:lnTo>
                    <a:pt x="102" y="7"/>
                  </a:lnTo>
                  <a:lnTo>
                    <a:pt x="104" y="7"/>
                  </a:lnTo>
                  <a:lnTo>
                    <a:pt x="105" y="7"/>
                  </a:lnTo>
                  <a:lnTo>
                    <a:pt x="105" y="8"/>
                  </a:lnTo>
                  <a:lnTo>
                    <a:pt x="105" y="10"/>
                  </a:lnTo>
                  <a:lnTo>
                    <a:pt x="104" y="11"/>
                  </a:lnTo>
                  <a:lnTo>
                    <a:pt x="102" y="11"/>
                  </a:lnTo>
                  <a:lnTo>
                    <a:pt x="101" y="12"/>
                  </a:lnTo>
                  <a:lnTo>
                    <a:pt x="102" y="12"/>
                  </a:lnTo>
                  <a:lnTo>
                    <a:pt x="102" y="11"/>
                  </a:lnTo>
                  <a:lnTo>
                    <a:pt x="102" y="12"/>
                  </a:lnTo>
                  <a:lnTo>
                    <a:pt x="104" y="12"/>
                  </a:lnTo>
                  <a:lnTo>
                    <a:pt x="106" y="11"/>
                  </a:lnTo>
                  <a:lnTo>
                    <a:pt x="107" y="11"/>
                  </a:lnTo>
                  <a:lnTo>
                    <a:pt x="107" y="12"/>
                  </a:lnTo>
                  <a:lnTo>
                    <a:pt x="108" y="13"/>
                  </a:lnTo>
                  <a:lnTo>
                    <a:pt x="107" y="13"/>
                  </a:lnTo>
                  <a:lnTo>
                    <a:pt x="106" y="13"/>
                  </a:lnTo>
                  <a:lnTo>
                    <a:pt x="106" y="14"/>
                  </a:lnTo>
                  <a:lnTo>
                    <a:pt x="105" y="14"/>
                  </a:lnTo>
                  <a:lnTo>
                    <a:pt x="105" y="15"/>
                  </a:lnTo>
                  <a:lnTo>
                    <a:pt x="105" y="14"/>
                  </a:lnTo>
                  <a:lnTo>
                    <a:pt x="106" y="14"/>
                  </a:lnTo>
                  <a:lnTo>
                    <a:pt x="107" y="13"/>
                  </a:lnTo>
                  <a:lnTo>
                    <a:pt x="108" y="13"/>
                  </a:lnTo>
                  <a:lnTo>
                    <a:pt x="111" y="13"/>
                  </a:lnTo>
                  <a:lnTo>
                    <a:pt x="112" y="13"/>
                  </a:lnTo>
                  <a:lnTo>
                    <a:pt x="112" y="14"/>
                  </a:lnTo>
                  <a:lnTo>
                    <a:pt x="113" y="14"/>
                  </a:lnTo>
                  <a:lnTo>
                    <a:pt x="114" y="14"/>
                  </a:lnTo>
                  <a:lnTo>
                    <a:pt x="115" y="15"/>
                  </a:lnTo>
                  <a:lnTo>
                    <a:pt x="114" y="15"/>
                  </a:lnTo>
                  <a:lnTo>
                    <a:pt x="114" y="17"/>
                  </a:lnTo>
                  <a:lnTo>
                    <a:pt x="113" y="17"/>
                  </a:lnTo>
                  <a:lnTo>
                    <a:pt x="112" y="17"/>
                  </a:lnTo>
                  <a:lnTo>
                    <a:pt x="113" y="17"/>
                  </a:lnTo>
                  <a:lnTo>
                    <a:pt x="113" y="18"/>
                  </a:lnTo>
                  <a:lnTo>
                    <a:pt x="112" y="18"/>
                  </a:lnTo>
                  <a:lnTo>
                    <a:pt x="111" y="18"/>
                  </a:lnTo>
                  <a:lnTo>
                    <a:pt x="112" y="18"/>
                  </a:lnTo>
                  <a:lnTo>
                    <a:pt x="113" y="18"/>
                  </a:lnTo>
                  <a:lnTo>
                    <a:pt x="114" y="18"/>
                  </a:lnTo>
                  <a:lnTo>
                    <a:pt x="115" y="18"/>
                  </a:lnTo>
                  <a:lnTo>
                    <a:pt x="115" y="19"/>
                  </a:lnTo>
                  <a:lnTo>
                    <a:pt x="114" y="19"/>
                  </a:lnTo>
                  <a:lnTo>
                    <a:pt x="113" y="19"/>
                  </a:lnTo>
                  <a:lnTo>
                    <a:pt x="111" y="19"/>
                  </a:lnTo>
                  <a:lnTo>
                    <a:pt x="109" y="19"/>
                  </a:lnTo>
                  <a:lnTo>
                    <a:pt x="111" y="19"/>
                  </a:lnTo>
                  <a:lnTo>
                    <a:pt x="112" y="19"/>
                  </a:lnTo>
                  <a:lnTo>
                    <a:pt x="113" y="19"/>
                  </a:lnTo>
                  <a:lnTo>
                    <a:pt x="114" y="19"/>
                  </a:lnTo>
                  <a:lnTo>
                    <a:pt x="114" y="20"/>
                  </a:lnTo>
                  <a:lnTo>
                    <a:pt x="113" y="20"/>
                  </a:lnTo>
                  <a:lnTo>
                    <a:pt x="114" y="20"/>
                  </a:lnTo>
                  <a:lnTo>
                    <a:pt x="113" y="20"/>
                  </a:lnTo>
                  <a:lnTo>
                    <a:pt x="114" y="20"/>
                  </a:lnTo>
                  <a:lnTo>
                    <a:pt x="115" y="20"/>
                  </a:lnTo>
                  <a:lnTo>
                    <a:pt x="115" y="21"/>
                  </a:lnTo>
                  <a:lnTo>
                    <a:pt x="114" y="21"/>
                  </a:lnTo>
                  <a:lnTo>
                    <a:pt x="114" y="22"/>
                  </a:lnTo>
                  <a:lnTo>
                    <a:pt x="113" y="22"/>
                  </a:lnTo>
                  <a:lnTo>
                    <a:pt x="112" y="22"/>
                  </a:lnTo>
                  <a:lnTo>
                    <a:pt x="112" y="21"/>
                  </a:lnTo>
                  <a:lnTo>
                    <a:pt x="111" y="21"/>
                  </a:lnTo>
                  <a:lnTo>
                    <a:pt x="109" y="21"/>
                  </a:lnTo>
                  <a:lnTo>
                    <a:pt x="107" y="21"/>
                  </a:lnTo>
                  <a:lnTo>
                    <a:pt x="111" y="21"/>
                  </a:lnTo>
                  <a:lnTo>
                    <a:pt x="111" y="22"/>
                  </a:lnTo>
                  <a:lnTo>
                    <a:pt x="112" y="22"/>
                  </a:lnTo>
                  <a:lnTo>
                    <a:pt x="113" y="22"/>
                  </a:lnTo>
                  <a:lnTo>
                    <a:pt x="113" y="24"/>
                  </a:lnTo>
                  <a:lnTo>
                    <a:pt x="112" y="24"/>
                  </a:lnTo>
                  <a:lnTo>
                    <a:pt x="111" y="22"/>
                  </a:lnTo>
                  <a:lnTo>
                    <a:pt x="109" y="24"/>
                  </a:lnTo>
                  <a:lnTo>
                    <a:pt x="109" y="22"/>
                  </a:lnTo>
                  <a:lnTo>
                    <a:pt x="109" y="24"/>
                  </a:lnTo>
                  <a:lnTo>
                    <a:pt x="112" y="24"/>
                  </a:lnTo>
                  <a:lnTo>
                    <a:pt x="112" y="25"/>
                  </a:lnTo>
                  <a:lnTo>
                    <a:pt x="111" y="24"/>
                  </a:lnTo>
                  <a:lnTo>
                    <a:pt x="109" y="25"/>
                  </a:lnTo>
                  <a:lnTo>
                    <a:pt x="111" y="25"/>
                  </a:lnTo>
                  <a:lnTo>
                    <a:pt x="112" y="25"/>
                  </a:lnTo>
                  <a:lnTo>
                    <a:pt x="111" y="25"/>
                  </a:lnTo>
                  <a:lnTo>
                    <a:pt x="109" y="25"/>
                  </a:lnTo>
                  <a:lnTo>
                    <a:pt x="109" y="26"/>
                  </a:lnTo>
                  <a:lnTo>
                    <a:pt x="108" y="26"/>
                  </a:lnTo>
                  <a:lnTo>
                    <a:pt x="106" y="26"/>
                  </a:lnTo>
                  <a:lnTo>
                    <a:pt x="105" y="25"/>
                  </a:lnTo>
                  <a:lnTo>
                    <a:pt x="104" y="25"/>
                  </a:lnTo>
                  <a:lnTo>
                    <a:pt x="105" y="25"/>
                  </a:lnTo>
                  <a:lnTo>
                    <a:pt x="105" y="26"/>
                  </a:lnTo>
                  <a:lnTo>
                    <a:pt x="106" y="26"/>
                  </a:lnTo>
                  <a:lnTo>
                    <a:pt x="106" y="27"/>
                  </a:lnTo>
                  <a:lnTo>
                    <a:pt x="105" y="26"/>
                  </a:lnTo>
                  <a:lnTo>
                    <a:pt x="104" y="27"/>
                  </a:lnTo>
                  <a:lnTo>
                    <a:pt x="105" y="27"/>
                  </a:lnTo>
                  <a:lnTo>
                    <a:pt x="104" y="27"/>
                  </a:lnTo>
                  <a:lnTo>
                    <a:pt x="102" y="28"/>
                  </a:lnTo>
                  <a:lnTo>
                    <a:pt x="104" y="28"/>
                  </a:lnTo>
                  <a:lnTo>
                    <a:pt x="105" y="28"/>
                  </a:lnTo>
                  <a:lnTo>
                    <a:pt x="105" y="27"/>
                  </a:lnTo>
                  <a:lnTo>
                    <a:pt x="106" y="27"/>
                  </a:lnTo>
                  <a:lnTo>
                    <a:pt x="105" y="27"/>
                  </a:lnTo>
                  <a:lnTo>
                    <a:pt x="105" y="28"/>
                  </a:lnTo>
                  <a:lnTo>
                    <a:pt x="104" y="28"/>
                  </a:lnTo>
                  <a:lnTo>
                    <a:pt x="104" y="29"/>
                  </a:lnTo>
                  <a:lnTo>
                    <a:pt x="104" y="31"/>
                  </a:lnTo>
                  <a:lnTo>
                    <a:pt x="102" y="31"/>
                  </a:lnTo>
                  <a:lnTo>
                    <a:pt x="101" y="31"/>
                  </a:lnTo>
                  <a:lnTo>
                    <a:pt x="102" y="31"/>
                  </a:lnTo>
                  <a:lnTo>
                    <a:pt x="101" y="29"/>
                  </a:lnTo>
                  <a:lnTo>
                    <a:pt x="101" y="31"/>
                  </a:lnTo>
                  <a:lnTo>
                    <a:pt x="100" y="31"/>
                  </a:lnTo>
                  <a:lnTo>
                    <a:pt x="99" y="31"/>
                  </a:lnTo>
                  <a:lnTo>
                    <a:pt x="99" y="32"/>
                  </a:lnTo>
                  <a:lnTo>
                    <a:pt x="99" y="31"/>
                  </a:lnTo>
                  <a:lnTo>
                    <a:pt x="99" y="32"/>
                  </a:lnTo>
                  <a:lnTo>
                    <a:pt x="98" y="32"/>
                  </a:lnTo>
                  <a:lnTo>
                    <a:pt x="97" y="32"/>
                  </a:lnTo>
                  <a:lnTo>
                    <a:pt x="96" y="32"/>
                  </a:lnTo>
                  <a:lnTo>
                    <a:pt x="97" y="32"/>
                  </a:lnTo>
                  <a:lnTo>
                    <a:pt x="96" y="32"/>
                  </a:lnTo>
                  <a:lnTo>
                    <a:pt x="94" y="32"/>
                  </a:lnTo>
                  <a:lnTo>
                    <a:pt x="96" y="32"/>
                  </a:lnTo>
                  <a:lnTo>
                    <a:pt x="94" y="32"/>
                  </a:lnTo>
                  <a:lnTo>
                    <a:pt x="94" y="31"/>
                  </a:lnTo>
                  <a:lnTo>
                    <a:pt x="93" y="31"/>
                  </a:lnTo>
                  <a:lnTo>
                    <a:pt x="94" y="31"/>
                  </a:lnTo>
                  <a:lnTo>
                    <a:pt x="94" y="32"/>
                  </a:lnTo>
                  <a:lnTo>
                    <a:pt x="93" y="32"/>
                  </a:lnTo>
                  <a:lnTo>
                    <a:pt x="93" y="33"/>
                  </a:lnTo>
                  <a:lnTo>
                    <a:pt x="92" y="33"/>
                  </a:lnTo>
                  <a:lnTo>
                    <a:pt x="91" y="33"/>
                  </a:lnTo>
                  <a:lnTo>
                    <a:pt x="90" y="33"/>
                  </a:lnTo>
                  <a:lnTo>
                    <a:pt x="91" y="33"/>
                  </a:lnTo>
                  <a:lnTo>
                    <a:pt x="90" y="33"/>
                  </a:lnTo>
                  <a:lnTo>
                    <a:pt x="87" y="34"/>
                  </a:lnTo>
                  <a:lnTo>
                    <a:pt x="86" y="34"/>
                  </a:lnTo>
                  <a:lnTo>
                    <a:pt x="86" y="35"/>
                  </a:lnTo>
                  <a:lnTo>
                    <a:pt x="85" y="35"/>
                  </a:lnTo>
                  <a:lnTo>
                    <a:pt x="84" y="35"/>
                  </a:lnTo>
                  <a:lnTo>
                    <a:pt x="84" y="36"/>
                  </a:lnTo>
                  <a:lnTo>
                    <a:pt x="83" y="36"/>
                  </a:lnTo>
                  <a:lnTo>
                    <a:pt x="84" y="36"/>
                  </a:lnTo>
                  <a:lnTo>
                    <a:pt x="83" y="36"/>
                  </a:lnTo>
                  <a:lnTo>
                    <a:pt x="82" y="38"/>
                  </a:lnTo>
                  <a:lnTo>
                    <a:pt x="80" y="38"/>
                  </a:lnTo>
                  <a:lnTo>
                    <a:pt x="78" y="38"/>
                  </a:lnTo>
                  <a:lnTo>
                    <a:pt x="78" y="39"/>
                  </a:lnTo>
                  <a:lnTo>
                    <a:pt x="77" y="38"/>
                  </a:lnTo>
                  <a:lnTo>
                    <a:pt x="77" y="39"/>
                  </a:lnTo>
                  <a:lnTo>
                    <a:pt x="77" y="38"/>
                  </a:lnTo>
                  <a:lnTo>
                    <a:pt x="77" y="39"/>
                  </a:lnTo>
                  <a:lnTo>
                    <a:pt x="76" y="39"/>
                  </a:lnTo>
                  <a:lnTo>
                    <a:pt x="77" y="39"/>
                  </a:lnTo>
                  <a:lnTo>
                    <a:pt x="76" y="39"/>
                  </a:lnTo>
                  <a:lnTo>
                    <a:pt x="77" y="39"/>
                  </a:lnTo>
                  <a:lnTo>
                    <a:pt x="77" y="38"/>
                  </a:lnTo>
                  <a:lnTo>
                    <a:pt x="76" y="38"/>
                  </a:lnTo>
                  <a:lnTo>
                    <a:pt x="76" y="39"/>
                  </a:lnTo>
                  <a:lnTo>
                    <a:pt x="75" y="39"/>
                  </a:lnTo>
                  <a:lnTo>
                    <a:pt x="73" y="39"/>
                  </a:lnTo>
                  <a:lnTo>
                    <a:pt x="72" y="39"/>
                  </a:lnTo>
                  <a:lnTo>
                    <a:pt x="71" y="40"/>
                  </a:lnTo>
                  <a:lnTo>
                    <a:pt x="70" y="40"/>
                  </a:lnTo>
                  <a:lnTo>
                    <a:pt x="70" y="39"/>
                  </a:lnTo>
                  <a:lnTo>
                    <a:pt x="70" y="40"/>
                  </a:lnTo>
                  <a:lnTo>
                    <a:pt x="69" y="39"/>
                  </a:lnTo>
                  <a:lnTo>
                    <a:pt x="69" y="40"/>
                  </a:lnTo>
                  <a:lnTo>
                    <a:pt x="70" y="40"/>
                  </a:lnTo>
                  <a:lnTo>
                    <a:pt x="68" y="40"/>
                  </a:lnTo>
                  <a:lnTo>
                    <a:pt x="69" y="40"/>
                  </a:lnTo>
                  <a:lnTo>
                    <a:pt x="69" y="39"/>
                  </a:lnTo>
                  <a:lnTo>
                    <a:pt x="68" y="39"/>
                  </a:lnTo>
                  <a:lnTo>
                    <a:pt x="68" y="40"/>
                  </a:lnTo>
                  <a:lnTo>
                    <a:pt x="66" y="40"/>
                  </a:lnTo>
                  <a:lnTo>
                    <a:pt x="68" y="40"/>
                  </a:lnTo>
                  <a:lnTo>
                    <a:pt x="66" y="40"/>
                  </a:lnTo>
                  <a:lnTo>
                    <a:pt x="65" y="41"/>
                  </a:lnTo>
                  <a:lnTo>
                    <a:pt x="65" y="40"/>
                  </a:lnTo>
                  <a:lnTo>
                    <a:pt x="65" y="41"/>
                  </a:lnTo>
                  <a:lnTo>
                    <a:pt x="66" y="41"/>
                  </a:lnTo>
                  <a:lnTo>
                    <a:pt x="65" y="41"/>
                  </a:lnTo>
                  <a:lnTo>
                    <a:pt x="66" y="41"/>
                  </a:lnTo>
                  <a:lnTo>
                    <a:pt x="66" y="42"/>
                  </a:lnTo>
                  <a:lnTo>
                    <a:pt x="65" y="42"/>
                  </a:lnTo>
                  <a:lnTo>
                    <a:pt x="64" y="43"/>
                  </a:lnTo>
                  <a:lnTo>
                    <a:pt x="63" y="43"/>
                  </a:lnTo>
                  <a:lnTo>
                    <a:pt x="62" y="43"/>
                  </a:lnTo>
                  <a:lnTo>
                    <a:pt x="63" y="43"/>
                  </a:lnTo>
                  <a:lnTo>
                    <a:pt x="63" y="42"/>
                  </a:lnTo>
                  <a:lnTo>
                    <a:pt x="62" y="42"/>
                  </a:lnTo>
                  <a:lnTo>
                    <a:pt x="61" y="42"/>
                  </a:lnTo>
                  <a:lnTo>
                    <a:pt x="62" y="42"/>
                  </a:lnTo>
                  <a:lnTo>
                    <a:pt x="61" y="42"/>
                  </a:lnTo>
                  <a:lnTo>
                    <a:pt x="62" y="43"/>
                  </a:lnTo>
                  <a:lnTo>
                    <a:pt x="63" y="43"/>
                  </a:lnTo>
                  <a:lnTo>
                    <a:pt x="61" y="43"/>
                  </a:lnTo>
                  <a:lnTo>
                    <a:pt x="58" y="45"/>
                  </a:lnTo>
                  <a:lnTo>
                    <a:pt x="56" y="45"/>
                  </a:lnTo>
                  <a:lnTo>
                    <a:pt x="54" y="45"/>
                  </a:lnTo>
                  <a:lnTo>
                    <a:pt x="52" y="45"/>
                  </a:lnTo>
                  <a:lnTo>
                    <a:pt x="52" y="43"/>
                  </a:lnTo>
                  <a:lnTo>
                    <a:pt x="52" y="45"/>
                  </a:lnTo>
                  <a:lnTo>
                    <a:pt x="50" y="43"/>
                  </a:lnTo>
                  <a:lnTo>
                    <a:pt x="49" y="43"/>
                  </a:lnTo>
                  <a:lnTo>
                    <a:pt x="48" y="43"/>
                  </a:lnTo>
                  <a:lnTo>
                    <a:pt x="47" y="42"/>
                  </a:lnTo>
                  <a:lnTo>
                    <a:pt x="45" y="42"/>
                  </a:lnTo>
                  <a:lnTo>
                    <a:pt x="44" y="42"/>
                  </a:lnTo>
                  <a:lnTo>
                    <a:pt x="45" y="42"/>
                  </a:lnTo>
                  <a:lnTo>
                    <a:pt x="43" y="42"/>
                  </a:lnTo>
                  <a:lnTo>
                    <a:pt x="42" y="42"/>
                  </a:lnTo>
                  <a:lnTo>
                    <a:pt x="41" y="42"/>
                  </a:lnTo>
                  <a:lnTo>
                    <a:pt x="40" y="41"/>
                  </a:lnTo>
                  <a:lnTo>
                    <a:pt x="38" y="41"/>
                  </a:lnTo>
                  <a:lnTo>
                    <a:pt x="40" y="41"/>
                  </a:lnTo>
                  <a:lnTo>
                    <a:pt x="38" y="41"/>
                  </a:lnTo>
                  <a:lnTo>
                    <a:pt x="38" y="40"/>
                  </a:lnTo>
                  <a:lnTo>
                    <a:pt x="38" y="41"/>
                  </a:lnTo>
                  <a:lnTo>
                    <a:pt x="37" y="40"/>
                  </a:lnTo>
                  <a:lnTo>
                    <a:pt x="38" y="39"/>
                  </a:lnTo>
                  <a:lnTo>
                    <a:pt x="40" y="40"/>
                  </a:lnTo>
                  <a:lnTo>
                    <a:pt x="40" y="39"/>
                  </a:lnTo>
                  <a:lnTo>
                    <a:pt x="38" y="39"/>
                  </a:lnTo>
                  <a:lnTo>
                    <a:pt x="40" y="39"/>
                  </a:lnTo>
                  <a:lnTo>
                    <a:pt x="38" y="39"/>
                  </a:lnTo>
                  <a:lnTo>
                    <a:pt x="40" y="39"/>
                  </a:lnTo>
                  <a:lnTo>
                    <a:pt x="38" y="39"/>
                  </a:lnTo>
                  <a:lnTo>
                    <a:pt x="37" y="39"/>
                  </a:lnTo>
                  <a:lnTo>
                    <a:pt x="37" y="40"/>
                  </a:lnTo>
                  <a:lnTo>
                    <a:pt x="36" y="40"/>
                  </a:lnTo>
                  <a:lnTo>
                    <a:pt x="35" y="39"/>
                  </a:lnTo>
                  <a:lnTo>
                    <a:pt x="36" y="39"/>
                  </a:lnTo>
                  <a:lnTo>
                    <a:pt x="36" y="40"/>
                  </a:lnTo>
                  <a:lnTo>
                    <a:pt x="36" y="39"/>
                  </a:lnTo>
                  <a:lnTo>
                    <a:pt x="37" y="39"/>
                  </a:lnTo>
                  <a:lnTo>
                    <a:pt x="36" y="39"/>
                  </a:lnTo>
                  <a:lnTo>
                    <a:pt x="37" y="39"/>
                  </a:lnTo>
                  <a:lnTo>
                    <a:pt x="36" y="39"/>
                  </a:lnTo>
                  <a:lnTo>
                    <a:pt x="36" y="38"/>
                  </a:lnTo>
                  <a:lnTo>
                    <a:pt x="36" y="39"/>
                  </a:lnTo>
                  <a:lnTo>
                    <a:pt x="35" y="39"/>
                  </a:lnTo>
                  <a:lnTo>
                    <a:pt x="34" y="39"/>
                  </a:lnTo>
                  <a:lnTo>
                    <a:pt x="33" y="38"/>
                  </a:lnTo>
                  <a:lnTo>
                    <a:pt x="32" y="38"/>
                  </a:lnTo>
                  <a:lnTo>
                    <a:pt x="32" y="36"/>
                  </a:lnTo>
                  <a:lnTo>
                    <a:pt x="33" y="36"/>
                  </a:lnTo>
                  <a:lnTo>
                    <a:pt x="32" y="36"/>
                  </a:lnTo>
                  <a:lnTo>
                    <a:pt x="30" y="36"/>
                  </a:lnTo>
                  <a:lnTo>
                    <a:pt x="30" y="38"/>
                  </a:lnTo>
                  <a:lnTo>
                    <a:pt x="29" y="38"/>
                  </a:lnTo>
                  <a:lnTo>
                    <a:pt x="26" y="39"/>
                  </a:lnTo>
                  <a:lnTo>
                    <a:pt x="26" y="38"/>
                  </a:lnTo>
                  <a:lnTo>
                    <a:pt x="25" y="38"/>
                  </a:lnTo>
                  <a:lnTo>
                    <a:pt x="22" y="39"/>
                  </a:lnTo>
                  <a:lnTo>
                    <a:pt x="21" y="39"/>
                  </a:lnTo>
                  <a:lnTo>
                    <a:pt x="19" y="38"/>
                  </a:lnTo>
                  <a:lnTo>
                    <a:pt x="19" y="39"/>
                  </a:lnTo>
                  <a:lnTo>
                    <a:pt x="18" y="39"/>
                  </a:lnTo>
                  <a:lnTo>
                    <a:pt x="18" y="38"/>
                  </a:lnTo>
                  <a:lnTo>
                    <a:pt x="18" y="39"/>
                  </a:lnTo>
                  <a:lnTo>
                    <a:pt x="16" y="39"/>
                  </a:lnTo>
                  <a:lnTo>
                    <a:pt x="15" y="39"/>
                  </a:lnTo>
                  <a:lnTo>
                    <a:pt x="14" y="39"/>
                  </a:lnTo>
                  <a:lnTo>
                    <a:pt x="15" y="38"/>
                  </a:lnTo>
                  <a:lnTo>
                    <a:pt x="14" y="38"/>
                  </a:lnTo>
                  <a:lnTo>
                    <a:pt x="15" y="38"/>
                  </a:lnTo>
                  <a:lnTo>
                    <a:pt x="15" y="36"/>
                  </a:lnTo>
                  <a:lnTo>
                    <a:pt x="15" y="35"/>
                  </a:lnTo>
                  <a:lnTo>
                    <a:pt x="16" y="35"/>
                  </a:lnTo>
                  <a:lnTo>
                    <a:pt x="16" y="36"/>
                  </a:lnTo>
                  <a:lnTo>
                    <a:pt x="18" y="36"/>
                  </a:lnTo>
                  <a:lnTo>
                    <a:pt x="19" y="36"/>
                  </a:lnTo>
                  <a:lnTo>
                    <a:pt x="19" y="35"/>
                  </a:lnTo>
                  <a:lnTo>
                    <a:pt x="20" y="35"/>
                  </a:lnTo>
                  <a:lnTo>
                    <a:pt x="21" y="35"/>
                  </a:lnTo>
                  <a:lnTo>
                    <a:pt x="22" y="35"/>
                  </a:lnTo>
                  <a:lnTo>
                    <a:pt x="23" y="35"/>
                  </a:lnTo>
                  <a:lnTo>
                    <a:pt x="23" y="34"/>
                  </a:lnTo>
                  <a:lnTo>
                    <a:pt x="22" y="34"/>
                  </a:lnTo>
                  <a:lnTo>
                    <a:pt x="23" y="34"/>
                  </a:lnTo>
                  <a:lnTo>
                    <a:pt x="22" y="34"/>
                  </a:lnTo>
                  <a:lnTo>
                    <a:pt x="23" y="34"/>
                  </a:lnTo>
                  <a:lnTo>
                    <a:pt x="25" y="34"/>
                  </a:lnTo>
                  <a:lnTo>
                    <a:pt x="26" y="34"/>
                  </a:lnTo>
                  <a:lnTo>
                    <a:pt x="25" y="34"/>
                  </a:lnTo>
                  <a:lnTo>
                    <a:pt x="26" y="34"/>
                  </a:lnTo>
                  <a:lnTo>
                    <a:pt x="25" y="34"/>
                  </a:lnTo>
                  <a:lnTo>
                    <a:pt x="26" y="34"/>
                  </a:lnTo>
                  <a:lnTo>
                    <a:pt x="27" y="33"/>
                  </a:lnTo>
                  <a:lnTo>
                    <a:pt x="26" y="33"/>
                  </a:lnTo>
                  <a:lnTo>
                    <a:pt x="25" y="33"/>
                  </a:lnTo>
                  <a:lnTo>
                    <a:pt x="25" y="32"/>
                  </a:lnTo>
                  <a:lnTo>
                    <a:pt x="26" y="32"/>
                  </a:lnTo>
                  <a:lnTo>
                    <a:pt x="26" y="31"/>
                  </a:lnTo>
                  <a:lnTo>
                    <a:pt x="27" y="31"/>
                  </a:lnTo>
                  <a:lnTo>
                    <a:pt x="28" y="31"/>
                  </a:lnTo>
                  <a:lnTo>
                    <a:pt x="29" y="31"/>
                  </a:lnTo>
                  <a:lnTo>
                    <a:pt x="30" y="31"/>
                  </a:lnTo>
                  <a:lnTo>
                    <a:pt x="29" y="31"/>
                  </a:lnTo>
                  <a:lnTo>
                    <a:pt x="28" y="31"/>
                  </a:lnTo>
                  <a:lnTo>
                    <a:pt x="27" y="31"/>
                  </a:lnTo>
                  <a:lnTo>
                    <a:pt x="26" y="31"/>
                  </a:lnTo>
                  <a:lnTo>
                    <a:pt x="26" y="32"/>
                  </a:lnTo>
                  <a:lnTo>
                    <a:pt x="25" y="32"/>
                  </a:lnTo>
                  <a:lnTo>
                    <a:pt x="23" y="32"/>
                  </a:lnTo>
                  <a:lnTo>
                    <a:pt x="22" y="32"/>
                  </a:lnTo>
                  <a:lnTo>
                    <a:pt x="23" y="32"/>
                  </a:lnTo>
                  <a:lnTo>
                    <a:pt x="23" y="31"/>
                  </a:lnTo>
                  <a:lnTo>
                    <a:pt x="25" y="31"/>
                  </a:lnTo>
                  <a:lnTo>
                    <a:pt x="23" y="31"/>
                  </a:lnTo>
                  <a:lnTo>
                    <a:pt x="23" y="29"/>
                  </a:lnTo>
                  <a:lnTo>
                    <a:pt x="25" y="29"/>
                  </a:lnTo>
                  <a:lnTo>
                    <a:pt x="25" y="28"/>
                  </a:lnTo>
                  <a:lnTo>
                    <a:pt x="26" y="28"/>
                  </a:lnTo>
                  <a:lnTo>
                    <a:pt x="27" y="28"/>
                  </a:lnTo>
                  <a:lnTo>
                    <a:pt x="26" y="28"/>
                  </a:lnTo>
                  <a:lnTo>
                    <a:pt x="27" y="28"/>
                  </a:lnTo>
                  <a:lnTo>
                    <a:pt x="27" y="27"/>
                  </a:lnTo>
                  <a:lnTo>
                    <a:pt x="28" y="27"/>
                  </a:lnTo>
                  <a:lnTo>
                    <a:pt x="28" y="28"/>
                  </a:lnTo>
                  <a:lnTo>
                    <a:pt x="29" y="28"/>
                  </a:lnTo>
                  <a:lnTo>
                    <a:pt x="28" y="28"/>
                  </a:lnTo>
                  <a:lnTo>
                    <a:pt x="28" y="27"/>
                  </a:lnTo>
                  <a:lnTo>
                    <a:pt x="29" y="27"/>
                  </a:lnTo>
                  <a:lnTo>
                    <a:pt x="28" y="27"/>
                  </a:lnTo>
                  <a:lnTo>
                    <a:pt x="29" y="27"/>
                  </a:lnTo>
                  <a:lnTo>
                    <a:pt x="28" y="27"/>
                  </a:lnTo>
                  <a:lnTo>
                    <a:pt x="27" y="27"/>
                  </a:lnTo>
                  <a:lnTo>
                    <a:pt x="28" y="27"/>
                  </a:lnTo>
                  <a:lnTo>
                    <a:pt x="27" y="27"/>
                  </a:lnTo>
                  <a:lnTo>
                    <a:pt x="27" y="28"/>
                  </a:lnTo>
                  <a:lnTo>
                    <a:pt x="26" y="28"/>
                  </a:lnTo>
                  <a:lnTo>
                    <a:pt x="25" y="28"/>
                  </a:lnTo>
                  <a:lnTo>
                    <a:pt x="23" y="28"/>
                  </a:lnTo>
                  <a:lnTo>
                    <a:pt x="23" y="29"/>
                  </a:lnTo>
                  <a:lnTo>
                    <a:pt x="22" y="29"/>
                  </a:lnTo>
                  <a:lnTo>
                    <a:pt x="21" y="29"/>
                  </a:lnTo>
                  <a:lnTo>
                    <a:pt x="21" y="28"/>
                  </a:lnTo>
                  <a:lnTo>
                    <a:pt x="20" y="28"/>
                  </a:lnTo>
                  <a:lnTo>
                    <a:pt x="20" y="27"/>
                  </a:lnTo>
                  <a:lnTo>
                    <a:pt x="21" y="27"/>
                  </a:lnTo>
                  <a:lnTo>
                    <a:pt x="20" y="27"/>
                  </a:lnTo>
                  <a:lnTo>
                    <a:pt x="21" y="27"/>
                  </a:lnTo>
                  <a:lnTo>
                    <a:pt x="21" y="26"/>
                  </a:lnTo>
                  <a:lnTo>
                    <a:pt x="22" y="26"/>
                  </a:lnTo>
                  <a:lnTo>
                    <a:pt x="21" y="26"/>
                  </a:lnTo>
                  <a:lnTo>
                    <a:pt x="20" y="26"/>
                  </a:lnTo>
                  <a:lnTo>
                    <a:pt x="21" y="26"/>
                  </a:lnTo>
                  <a:lnTo>
                    <a:pt x="21" y="25"/>
                  </a:lnTo>
                  <a:lnTo>
                    <a:pt x="20" y="25"/>
                  </a:lnTo>
                  <a:lnTo>
                    <a:pt x="19" y="25"/>
                  </a:lnTo>
                  <a:lnTo>
                    <a:pt x="18" y="25"/>
                  </a:lnTo>
                  <a:lnTo>
                    <a:pt x="16" y="25"/>
                  </a:lnTo>
                  <a:lnTo>
                    <a:pt x="18" y="25"/>
                  </a:lnTo>
                  <a:lnTo>
                    <a:pt x="16" y="25"/>
                  </a:lnTo>
                  <a:lnTo>
                    <a:pt x="15" y="25"/>
                  </a:lnTo>
                  <a:lnTo>
                    <a:pt x="13" y="25"/>
                  </a:lnTo>
                  <a:lnTo>
                    <a:pt x="12" y="25"/>
                  </a:lnTo>
                  <a:lnTo>
                    <a:pt x="11" y="25"/>
                  </a:lnTo>
                  <a:lnTo>
                    <a:pt x="9" y="25"/>
                  </a:lnTo>
                  <a:lnTo>
                    <a:pt x="8" y="25"/>
                  </a:lnTo>
                  <a:lnTo>
                    <a:pt x="7" y="25"/>
                  </a:lnTo>
                  <a:lnTo>
                    <a:pt x="7" y="26"/>
                  </a:lnTo>
                  <a:lnTo>
                    <a:pt x="6" y="26"/>
                  </a:lnTo>
                  <a:lnTo>
                    <a:pt x="5" y="26"/>
                  </a:lnTo>
                  <a:lnTo>
                    <a:pt x="4" y="26"/>
                  </a:lnTo>
                  <a:lnTo>
                    <a:pt x="4" y="25"/>
                  </a:lnTo>
                  <a:lnTo>
                    <a:pt x="4" y="24"/>
                  </a:lnTo>
                  <a:lnTo>
                    <a:pt x="2" y="24"/>
                  </a:lnTo>
                  <a:lnTo>
                    <a:pt x="4" y="24"/>
                  </a:lnTo>
                  <a:lnTo>
                    <a:pt x="5" y="22"/>
                  </a:lnTo>
                  <a:lnTo>
                    <a:pt x="6" y="22"/>
                  </a:lnTo>
                  <a:lnTo>
                    <a:pt x="6" y="24"/>
                  </a:lnTo>
                  <a:lnTo>
                    <a:pt x="7" y="24"/>
                  </a:lnTo>
                  <a:lnTo>
                    <a:pt x="8" y="24"/>
                  </a:lnTo>
                  <a:lnTo>
                    <a:pt x="9" y="22"/>
                  </a:lnTo>
                  <a:lnTo>
                    <a:pt x="11" y="22"/>
                  </a:lnTo>
                  <a:lnTo>
                    <a:pt x="11" y="24"/>
                  </a:lnTo>
                  <a:lnTo>
                    <a:pt x="12" y="22"/>
                  </a:lnTo>
                  <a:lnTo>
                    <a:pt x="12" y="21"/>
                  </a:lnTo>
                  <a:lnTo>
                    <a:pt x="13" y="21"/>
                  </a:lnTo>
                  <a:lnTo>
                    <a:pt x="14" y="21"/>
                  </a:lnTo>
                  <a:lnTo>
                    <a:pt x="14" y="22"/>
                  </a:lnTo>
                  <a:lnTo>
                    <a:pt x="13" y="22"/>
                  </a:lnTo>
                  <a:lnTo>
                    <a:pt x="13" y="24"/>
                  </a:lnTo>
                  <a:lnTo>
                    <a:pt x="13" y="22"/>
                  </a:lnTo>
                  <a:lnTo>
                    <a:pt x="14" y="22"/>
                  </a:lnTo>
                  <a:lnTo>
                    <a:pt x="14" y="21"/>
                  </a:lnTo>
                  <a:lnTo>
                    <a:pt x="15" y="22"/>
                  </a:lnTo>
                  <a:lnTo>
                    <a:pt x="16" y="21"/>
                  </a:lnTo>
                  <a:lnTo>
                    <a:pt x="18" y="21"/>
                  </a:lnTo>
                  <a:lnTo>
                    <a:pt x="18" y="22"/>
                  </a:lnTo>
                  <a:lnTo>
                    <a:pt x="19" y="22"/>
                  </a:lnTo>
                  <a:lnTo>
                    <a:pt x="19" y="21"/>
                  </a:lnTo>
                  <a:lnTo>
                    <a:pt x="20" y="21"/>
                  </a:lnTo>
                  <a:lnTo>
                    <a:pt x="21" y="21"/>
                  </a:lnTo>
                  <a:lnTo>
                    <a:pt x="22" y="21"/>
                  </a:lnTo>
                  <a:lnTo>
                    <a:pt x="23" y="21"/>
                  </a:lnTo>
                  <a:lnTo>
                    <a:pt x="25" y="21"/>
                  </a:lnTo>
                  <a:lnTo>
                    <a:pt x="26" y="21"/>
                  </a:lnTo>
                  <a:lnTo>
                    <a:pt x="27" y="21"/>
                  </a:lnTo>
                  <a:lnTo>
                    <a:pt x="28" y="20"/>
                  </a:lnTo>
                  <a:lnTo>
                    <a:pt x="28" y="19"/>
                  </a:lnTo>
                  <a:lnTo>
                    <a:pt x="27" y="19"/>
                  </a:lnTo>
                  <a:lnTo>
                    <a:pt x="26" y="20"/>
                  </a:lnTo>
                  <a:lnTo>
                    <a:pt x="25" y="20"/>
                  </a:lnTo>
                  <a:lnTo>
                    <a:pt x="22" y="20"/>
                  </a:lnTo>
                  <a:lnTo>
                    <a:pt x="21" y="20"/>
                  </a:lnTo>
                  <a:lnTo>
                    <a:pt x="20" y="20"/>
                  </a:lnTo>
                  <a:lnTo>
                    <a:pt x="20" y="19"/>
                  </a:lnTo>
                  <a:lnTo>
                    <a:pt x="21" y="19"/>
                  </a:lnTo>
                  <a:lnTo>
                    <a:pt x="20" y="19"/>
                  </a:lnTo>
                  <a:lnTo>
                    <a:pt x="21" y="19"/>
                  </a:lnTo>
                  <a:lnTo>
                    <a:pt x="21" y="18"/>
                  </a:lnTo>
                  <a:lnTo>
                    <a:pt x="22" y="18"/>
                  </a:lnTo>
                  <a:lnTo>
                    <a:pt x="23" y="18"/>
                  </a:lnTo>
                  <a:lnTo>
                    <a:pt x="25" y="17"/>
                  </a:lnTo>
                  <a:lnTo>
                    <a:pt x="26" y="17"/>
                  </a:lnTo>
                  <a:lnTo>
                    <a:pt x="27" y="17"/>
                  </a:lnTo>
                  <a:lnTo>
                    <a:pt x="29" y="15"/>
                  </a:lnTo>
                  <a:lnTo>
                    <a:pt x="28" y="15"/>
                  </a:lnTo>
                  <a:lnTo>
                    <a:pt x="27" y="15"/>
                  </a:lnTo>
                  <a:lnTo>
                    <a:pt x="26" y="15"/>
                  </a:lnTo>
                  <a:lnTo>
                    <a:pt x="26" y="14"/>
                  </a:lnTo>
                  <a:lnTo>
                    <a:pt x="26" y="15"/>
                  </a:lnTo>
                  <a:lnTo>
                    <a:pt x="25" y="15"/>
                  </a:lnTo>
                  <a:lnTo>
                    <a:pt x="23" y="15"/>
                  </a:lnTo>
                  <a:lnTo>
                    <a:pt x="22" y="15"/>
                  </a:lnTo>
                  <a:lnTo>
                    <a:pt x="22" y="14"/>
                  </a:lnTo>
                  <a:lnTo>
                    <a:pt x="23" y="14"/>
                  </a:lnTo>
                  <a:lnTo>
                    <a:pt x="25" y="14"/>
                  </a:lnTo>
                  <a:lnTo>
                    <a:pt x="26" y="14"/>
                  </a:lnTo>
                  <a:lnTo>
                    <a:pt x="25" y="14"/>
                  </a:lnTo>
                  <a:lnTo>
                    <a:pt x="23" y="14"/>
                  </a:lnTo>
                  <a:lnTo>
                    <a:pt x="22" y="14"/>
                  </a:lnTo>
                  <a:lnTo>
                    <a:pt x="23" y="14"/>
                  </a:lnTo>
                  <a:lnTo>
                    <a:pt x="22" y="14"/>
                  </a:lnTo>
                  <a:lnTo>
                    <a:pt x="21" y="15"/>
                  </a:lnTo>
                  <a:lnTo>
                    <a:pt x="21" y="14"/>
                  </a:lnTo>
                  <a:lnTo>
                    <a:pt x="21" y="13"/>
                  </a:lnTo>
                  <a:lnTo>
                    <a:pt x="21" y="14"/>
                  </a:lnTo>
                  <a:lnTo>
                    <a:pt x="20" y="14"/>
                  </a:lnTo>
                  <a:lnTo>
                    <a:pt x="19" y="14"/>
                  </a:lnTo>
                  <a:lnTo>
                    <a:pt x="19" y="13"/>
                  </a:lnTo>
                  <a:lnTo>
                    <a:pt x="20" y="13"/>
                  </a:lnTo>
                  <a:lnTo>
                    <a:pt x="19" y="13"/>
                  </a:lnTo>
                  <a:lnTo>
                    <a:pt x="19" y="14"/>
                  </a:lnTo>
                  <a:lnTo>
                    <a:pt x="19" y="15"/>
                  </a:lnTo>
                  <a:lnTo>
                    <a:pt x="18" y="15"/>
                  </a:lnTo>
                  <a:lnTo>
                    <a:pt x="19" y="14"/>
                  </a:lnTo>
                  <a:lnTo>
                    <a:pt x="18" y="14"/>
                  </a:lnTo>
                  <a:lnTo>
                    <a:pt x="19" y="14"/>
                  </a:lnTo>
                  <a:lnTo>
                    <a:pt x="18" y="13"/>
                  </a:lnTo>
                  <a:lnTo>
                    <a:pt x="18" y="14"/>
                  </a:lnTo>
                  <a:lnTo>
                    <a:pt x="16" y="14"/>
                  </a:lnTo>
                  <a:lnTo>
                    <a:pt x="16" y="13"/>
                  </a:lnTo>
                  <a:lnTo>
                    <a:pt x="16" y="14"/>
                  </a:lnTo>
                  <a:lnTo>
                    <a:pt x="15" y="14"/>
                  </a:lnTo>
                  <a:lnTo>
                    <a:pt x="14" y="14"/>
                  </a:lnTo>
                  <a:lnTo>
                    <a:pt x="14" y="15"/>
                  </a:lnTo>
                  <a:lnTo>
                    <a:pt x="13" y="15"/>
                  </a:lnTo>
                  <a:lnTo>
                    <a:pt x="12" y="15"/>
                  </a:lnTo>
                  <a:lnTo>
                    <a:pt x="12" y="14"/>
                  </a:lnTo>
                  <a:lnTo>
                    <a:pt x="12" y="15"/>
                  </a:lnTo>
                  <a:lnTo>
                    <a:pt x="11" y="15"/>
                  </a:lnTo>
                  <a:lnTo>
                    <a:pt x="9" y="15"/>
                  </a:lnTo>
                  <a:lnTo>
                    <a:pt x="8" y="15"/>
                  </a:lnTo>
                  <a:lnTo>
                    <a:pt x="8" y="17"/>
                  </a:lnTo>
                  <a:lnTo>
                    <a:pt x="6" y="17"/>
                  </a:lnTo>
                  <a:lnTo>
                    <a:pt x="5" y="17"/>
                  </a:lnTo>
                  <a:lnTo>
                    <a:pt x="5" y="15"/>
                  </a:lnTo>
                  <a:lnTo>
                    <a:pt x="6" y="15"/>
                  </a:lnTo>
                  <a:lnTo>
                    <a:pt x="5" y="15"/>
                  </a:lnTo>
                  <a:lnTo>
                    <a:pt x="4" y="15"/>
                  </a:lnTo>
                  <a:lnTo>
                    <a:pt x="0" y="15"/>
                  </a:lnTo>
                  <a:lnTo>
                    <a:pt x="0" y="14"/>
                  </a:lnTo>
                  <a:lnTo>
                    <a:pt x="1" y="14"/>
                  </a:lnTo>
                  <a:lnTo>
                    <a:pt x="1" y="13"/>
                  </a:lnTo>
                  <a:lnTo>
                    <a:pt x="2" y="13"/>
                  </a:lnTo>
                  <a:lnTo>
                    <a:pt x="4" y="13"/>
                  </a:lnTo>
                  <a:lnTo>
                    <a:pt x="5" y="14"/>
                  </a:lnTo>
                  <a:lnTo>
                    <a:pt x="6" y="14"/>
                  </a:lnTo>
                  <a:lnTo>
                    <a:pt x="7" y="14"/>
                  </a:lnTo>
                  <a:lnTo>
                    <a:pt x="6" y="14"/>
                  </a:lnTo>
                  <a:lnTo>
                    <a:pt x="6" y="13"/>
                  </a:lnTo>
                  <a:lnTo>
                    <a:pt x="5" y="13"/>
                  </a:lnTo>
                  <a:lnTo>
                    <a:pt x="6" y="13"/>
                  </a:lnTo>
                  <a:lnTo>
                    <a:pt x="7" y="13"/>
                  </a:lnTo>
                  <a:lnTo>
                    <a:pt x="6" y="13"/>
                  </a:lnTo>
                  <a:lnTo>
                    <a:pt x="5" y="12"/>
                  </a:lnTo>
                  <a:lnTo>
                    <a:pt x="5" y="11"/>
                  </a:lnTo>
                  <a:lnTo>
                    <a:pt x="6" y="11"/>
                  </a:lnTo>
                  <a:lnTo>
                    <a:pt x="9" y="12"/>
                  </a:lnTo>
                  <a:lnTo>
                    <a:pt x="11" y="13"/>
                  </a:lnTo>
                  <a:lnTo>
                    <a:pt x="9" y="13"/>
                  </a:lnTo>
                  <a:lnTo>
                    <a:pt x="11" y="13"/>
                  </a:lnTo>
                  <a:lnTo>
                    <a:pt x="12" y="13"/>
                  </a:lnTo>
                  <a:lnTo>
                    <a:pt x="13" y="13"/>
                  </a:lnTo>
                  <a:lnTo>
                    <a:pt x="12" y="13"/>
                  </a:lnTo>
                  <a:lnTo>
                    <a:pt x="11" y="12"/>
                  </a:lnTo>
                  <a:lnTo>
                    <a:pt x="12" y="12"/>
                  </a:lnTo>
                  <a:lnTo>
                    <a:pt x="13" y="12"/>
                  </a:lnTo>
                  <a:lnTo>
                    <a:pt x="14" y="12"/>
                  </a:lnTo>
                  <a:lnTo>
                    <a:pt x="14" y="11"/>
                  </a:lnTo>
                  <a:lnTo>
                    <a:pt x="13" y="12"/>
                  </a:lnTo>
                  <a:lnTo>
                    <a:pt x="11" y="12"/>
                  </a:lnTo>
                  <a:lnTo>
                    <a:pt x="9" y="11"/>
                  </a:lnTo>
                  <a:lnTo>
                    <a:pt x="8" y="11"/>
                  </a:lnTo>
                  <a:lnTo>
                    <a:pt x="7" y="10"/>
                  </a:lnTo>
                  <a:lnTo>
                    <a:pt x="8" y="10"/>
                  </a:lnTo>
                  <a:lnTo>
                    <a:pt x="9" y="10"/>
                  </a:lnTo>
                  <a:lnTo>
                    <a:pt x="11" y="10"/>
                  </a:lnTo>
                  <a:lnTo>
                    <a:pt x="12" y="10"/>
                  </a:lnTo>
                  <a:lnTo>
                    <a:pt x="13" y="10"/>
                  </a:lnTo>
                  <a:lnTo>
                    <a:pt x="14" y="11"/>
                  </a:lnTo>
                  <a:lnTo>
                    <a:pt x="14" y="10"/>
                  </a:lnTo>
                  <a:lnTo>
                    <a:pt x="13" y="10"/>
                  </a:lnTo>
                  <a:lnTo>
                    <a:pt x="12" y="10"/>
                  </a:lnTo>
                  <a:lnTo>
                    <a:pt x="11" y="10"/>
                  </a:lnTo>
                  <a:lnTo>
                    <a:pt x="11" y="8"/>
                  </a:lnTo>
                  <a:lnTo>
                    <a:pt x="9" y="8"/>
                  </a:lnTo>
                  <a:lnTo>
                    <a:pt x="8" y="8"/>
                  </a:lnTo>
                  <a:lnTo>
                    <a:pt x="8" y="7"/>
                  </a:lnTo>
                  <a:lnTo>
                    <a:pt x="9" y="7"/>
                  </a:lnTo>
                  <a:lnTo>
                    <a:pt x="12" y="7"/>
                  </a:lnTo>
                  <a:lnTo>
                    <a:pt x="12" y="8"/>
                  </a:lnTo>
                  <a:lnTo>
                    <a:pt x="13" y="7"/>
                  </a:lnTo>
                  <a:lnTo>
                    <a:pt x="13" y="8"/>
                  </a:lnTo>
                  <a:lnTo>
                    <a:pt x="13" y="7"/>
                  </a:lnTo>
                  <a:lnTo>
                    <a:pt x="12" y="7"/>
                  </a:lnTo>
                  <a:lnTo>
                    <a:pt x="11" y="7"/>
                  </a:lnTo>
                  <a:lnTo>
                    <a:pt x="11" y="6"/>
                  </a:lnTo>
                  <a:lnTo>
                    <a:pt x="12" y="6"/>
                  </a:lnTo>
                  <a:lnTo>
                    <a:pt x="13" y="6"/>
                  </a:lnTo>
                  <a:lnTo>
                    <a:pt x="13" y="7"/>
                  </a:lnTo>
                  <a:lnTo>
                    <a:pt x="13" y="6"/>
                  </a:lnTo>
                  <a:lnTo>
                    <a:pt x="12" y="6"/>
                  </a:lnTo>
                  <a:lnTo>
                    <a:pt x="13" y="6"/>
                  </a:lnTo>
                  <a:lnTo>
                    <a:pt x="13" y="5"/>
                  </a:lnTo>
                  <a:lnTo>
                    <a:pt x="14" y="6"/>
                  </a:lnTo>
                  <a:lnTo>
                    <a:pt x="15" y="6"/>
                  </a:lnTo>
                  <a:lnTo>
                    <a:pt x="16" y="6"/>
                  </a:lnTo>
                  <a:lnTo>
                    <a:pt x="16" y="7"/>
                  </a:lnTo>
                  <a:lnTo>
                    <a:pt x="16" y="6"/>
                  </a:lnTo>
                  <a:lnTo>
                    <a:pt x="18" y="6"/>
                  </a:lnTo>
                  <a:lnTo>
                    <a:pt x="18" y="7"/>
                  </a:lnTo>
                  <a:lnTo>
                    <a:pt x="18" y="8"/>
                  </a:lnTo>
                  <a:lnTo>
                    <a:pt x="16" y="8"/>
                  </a:lnTo>
                  <a:lnTo>
                    <a:pt x="18" y="8"/>
                  </a:lnTo>
                  <a:lnTo>
                    <a:pt x="18" y="7"/>
                  </a:lnTo>
                  <a:lnTo>
                    <a:pt x="19" y="8"/>
                  </a:lnTo>
                  <a:lnTo>
                    <a:pt x="18" y="8"/>
                  </a:lnTo>
                  <a:lnTo>
                    <a:pt x="19" y="8"/>
                  </a:lnTo>
                  <a:lnTo>
                    <a:pt x="19" y="7"/>
                  </a:lnTo>
                  <a:lnTo>
                    <a:pt x="19" y="8"/>
                  </a:lnTo>
                  <a:lnTo>
                    <a:pt x="18" y="8"/>
                  </a:lnTo>
                  <a:lnTo>
                    <a:pt x="19" y="8"/>
                  </a:lnTo>
                  <a:lnTo>
                    <a:pt x="19" y="10"/>
                  </a:lnTo>
                  <a:lnTo>
                    <a:pt x="19" y="8"/>
                  </a:lnTo>
                  <a:lnTo>
                    <a:pt x="20" y="8"/>
                  </a:lnTo>
                  <a:lnTo>
                    <a:pt x="20" y="7"/>
                  </a:lnTo>
                  <a:lnTo>
                    <a:pt x="21" y="7"/>
                  </a:lnTo>
                  <a:lnTo>
                    <a:pt x="21" y="8"/>
                  </a:lnTo>
                  <a:lnTo>
                    <a:pt x="21" y="10"/>
                  </a:lnTo>
                  <a:lnTo>
                    <a:pt x="20" y="10"/>
                  </a:lnTo>
                  <a:lnTo>
                    <a:pt x="20" y="11"/>
                  </a:lnTo>
                  <a:lnTo>
                    <a:pt x="21" y="11"/>
                  </a:lnTo>
                  <a:lnTo>
                    <a:pt x="21" y="10"/>
                  </a:lnTo>
                  <a:lnTo>
                    <a:pt x="22" y="8"/>
                  </a:lnTo>
                  <a:lnTo>
                    <a:pt x="22" y="10"/>
                  </a:lnTo>
                  <a:lnTo>
                    <a:pt x="23" y="10"/>
                  </a:lnTo>
                  <a:lnTo>
                    <a:pt x="22" y="10"/>
                  </a:lnTo>
                  <a:lnTo>
                    <a:pt x="22" y="11"/>
                  </a:lnTo>
                  <a:lnTo>
                    <a:pt x="23" y="10"/>
                  </a:lnTo>
                  <a:lnTo>
                    <a:pt x="23" y="8"/>
                  </a:lnTo>
                  <a:lnTo>
                    <a:pt x="22" y="7"/>
                  </a:lnTo>
                  <a:lnTo>
                    <a:pt x="23" y="7"/>
                  </a:lnTo>
                  <a:lnTo>
                    <a:pt x="22" y="7"/>
                  </a:lnTo>
                  <a:lnTo>
                    <a:pt x="21" y="6"/>
                  </a:lnTo>
                  <a:lnTo>
                    <a:pt x="19" y="6"/>
                  </a:lnTo>
                  <a:lnTo>
                    <a:pt x="18" y="5"/>
                  </a:lnTo>
                  <a:lnTo>
                    <a:pt x="19" y="5"/>
                  </a:lnTo>
                  <a:lnTo>
                    <a:pt x="20" y="5"/>
                  </a:lnTo>
                  <a:lnTo>
                    <a:pt x="21" y="5"/>
                  </a:lnTo>
                  <a:lnTo>
                    <a:pt x="22" y="5"/>
                  </a:lnTo>
                  <a:lnTo>
                    <a:pt x="23" y="5"/>
                  </a:lnTo>
                  <a:lnTo>
                    <a:pt x="25" y="5"/>
                  </a:lnTo>
                  <a:lnTo>
                    <a:pt x="23" y="5"/>
                  </a:lnTo>
                  <a:lnTo>
                    <a:pt x="22" y="5"/>
                  </a:lnTo>
                  <a:lnTo>
                    <a:pt x="22" y="4"/>
                  </a:lnTo>
                  <a:lnTo>
                    <a:pt x="23" y="4"/>
                  </a:lnTo>
                  <a:lnTo>
                    <a:pt x="22" y="4"/>
                  </a:lnTo>
                  <a:lnTo>
                    <a:pt x="21" y="4"/>
                  </a:lnTo>
                  <a:lnTo>
                    <a:pt x="21" y="3"/>
                  </a:lnTo>
                  <a:lnTo>
                    <a:pt x="22" y="3"/>
                  </a:lnTo>
                  <a:lnTo>
                    <a:pt x="21" y="4"/>
                  </a:lnTo>
                  <a:lnTo>
                    <a:pt x="20" y="4"/>
                  </a:lnTo>
                  <a:lnTo>
                    <a:pt x="20" y="3"/>
                  </a:lnTo>
                  <a:lnTo>
                    <a:pt x="20" y="4"/>
                  </a:lnTo>
                  <a:lnTo>
                    <a:pt x="19" y="4"/>
                  </a:lnTo>
                  <a:lnTo>
                    <a:pt x="16" y="4"/>
                  </a:lnTo>
                  <a:lnTo>
                    <a:pt x="16" y="3"/>
                  </a:lnTo>
                  <a:lnTo>
                    <a:pt x="18" y="4"/>
                  </a:lnTo>
                  <a:lnTo>
                    <a:pt x="18" y="3"/>
                  </a:lnTo>
                  <a:lnTo>
                    <a:pt x="16" y="3"/>
                  </a:lnTo>
                  <a:lnTo>
                    <a:pt x="18" y="3"/>
                  </a:lnTo>
                  <a:lnTo>
                    <a:pt x="19" y="1"/>
                  </a:lnTo>
                  <a:lnTo>
                    <a:pt x="19" y="3"/>
                  </a:lnTo>
                  <a:lnTo>
                    <a:pt x="20" y="3"/>
                  </a:lnTo>
                  <a:lnTo>
                    <a:pt x="20" y="1"/>
                  </a:lnTo>
                  <a:lnTo>
                    <a:pt x="19" y="1"/>
                  </a:lnTo>
                  <a:lnTo>
                    <a:pt x="20" y="1"/>
                  </a:lnTo>
                  <a:lnTo>
                    <a:pt x="21" y="3"/>
                  </a:lnTo>
                  <a:lnTo>
                    <a:pt x="22" y="3"/>
                  </a:lnTo>
                  <a:lnTo>
                    <a:pt x="22" y="1"/>
                  </a:lnTo>
                  <a:lnTo>
                    <a:pt x="23" y="1"/>
                  </a:lnTo>
                  <a:lnTo>
                    <a:pt x="23" y="3"/>
                  </a:lnTo>
                  <a:lnTo>
                    <a:pt x="25" y="3"/>
                  </a:lnTo>
                  <a:lnTo>
                    <a:pt x="25" y="1"/>
                  </a:lnTo>
                  <a:lnTo>
                    <a:pt x="23" y="1"/>
                  </a:lnTo>
                  <a:lnTo>
                    <a:pt x="25" y="1"/>
                  </a:lnTo>
                  <a:lnTo>
                    <a:pt x="25" y="3"/>
                  </a:lnTo>
                  <a:lnTo>
                    <a:pt x="26" y="3"/>
                  </a:lnTo>
                  <a:lnTo>
                    <a:pt x="26" y="4"/>
                  </a:lnTo>
                  <a:lnTo>
                    <a:pt x="27" y="4"/>
                  </a:lnTo>
                  <a:lnTo>
                    <a:pt x="26" y="4"/>
                  </a:lnTo>
                  <a:lnTo>
                    <a:pt x="26" y="5"/>
                  </a:lnTo>
                  <a:lnTo>
                    <a:pt x="27" y="4"/>
                  </a:lnTo>
                  <a:lnTo>
                    <a:pt x="27" y="5"/>
                  </a:lnTo>
                  <a:lnTo>
                    <a:pt x="27" y="4"/>
                  </a:lnTo>
                  <a:lnTo>
                    <a:pt x="27" y="5"/>
                  </a:lnTo>
                  <a:lnTo>
                    <a:pt x="28" y="5"/>
                  </a:lnTo>
                  <a:lnTo>
                    <a:pt x="29" y="5"/>
                  </a:lnTo>
                  <a:lnTo>
                    <a:pt x="28" y="5"/>
                  </a:lnTo>
                  <a:lnTo>
                    <a:pt x="29" y="5"/>
                  </a:lnTo>
                  <a:lnTo>
                    <a:pt x="30" y="5"/>
                  </a:lnTo>
                  <a:lnTo>
                    <a:pt x="30" y="6"/>
                  </a:lnTo>
                  <a:lnTo>
                    <a:pt x="30" y="7"/>
                  </a:lnTo>
                  <a:lnTo>
                    <a:pt x="32" y="7"/>
                  </a:lnTo>
                  <a:lnTo>
                    <a:pt x="33" y="7"/>
                  </a:lnTo>
                  <a:lnTo>
                    <a:pt x="33" y="8"/>
                  </a:lnTo>
                  <a:lnTo>
                    <a:pt x="34" y="7"/>
                  </a:lnTo>
                  <a:lnTo>
                    <a:pt x="35" y="8"/>
                  </a:lnTo>
                  <a:lnTo>
                    <a:pt x="33" y="8"/>
                  </a:lnTo>
                  <a:lnTo>
                    <a:pt x="32" y="8"/>
                  </a:lnTo>
                  <a:lnTo>
                    <a:pt x="33" y="8"/>
                  </a:lnTo>
                  <a:lnTo>
                    <a:pt x="34" y="8"/>
                  </a:lnTo>
                  <a:lnTo>
                    <a:pt x="34" y="10"/>
                  </a:lnTo>
                  <a:lnTo>
                    <a:pt x="35" y="8"/>
                  </a:lnTo>
                  <a:lnTo>
                    <a:pt x="35" y="10"/>
                  </a:lnTo>
                  <a:lnTo>
                    <a:pt x="34" y="10"/>
                  </a:lnTo>
                  <a:lnTo>
                    <a:pt x="35" y="10"/>
                  </a:lnTo>
                  <a:lnTo>
                    <a:pt x="34" y="11"/>
                  </a:lnTo>
                  <a:lnTo>
                    <a:pt x="33" y="11"/>
                  </a:lnTo>
                  <a:lnTo>
                    <a:pt x="33" y="12"/>
                  </a:lnTo>
                  <a:lnTo>
                    <a:pt x="34" y="12"/>
                  </a:lnTo>
                  <a:lnTo>
                    <a:pt x="33" y="12"/>
                  </a:lnTo>
                  <a:lnTo>
                    <a:pt x="32" y="12"/>
                  </a:lnTo>
                  <a:lnTo>
                    <a:pt x="30" y="12"/>
                  </a:lnTo>
                  <a:lnTo>
                    <a:pt x="30" y="11"/>
                  </a:lnTo>
                  <a:lnTo>
                    <a:pt x="29" y="11"/>
                  </a:lnTo>
                  <a:lnTo>
                    <a:pt x="29" y="12"/>
                  </a:lnTo>
                  <a:lnTo>
                    <a:pt x="30" y="12"/>
                  </a:lnTo>
                  <a:lnTo>
                    <a:pt x="30" y="13"/>
                  </a:lnTo>
                  <a:lnTo>
                    <a:pt x="33" y="13"/>
                  </a:lnTo>
                  <a:lnTo>
                    <a:pt x="33" y="14"/>
                  </a:lnTo>
                  <a:lnTo>
                    <a:pt x="32" y="14"/>
                  </a:lnTo>
                  <a:lnTo>
                    <a:pt x="33" y="14"/>
                  </a:lnTo>
                  <a:lnTo>
                    <a:pt x="34" y="13"/>
                  </a:lnTo>
                  <a:lnTo>
                    <a:pt x="34" y="14"/>
                  </a:lnTo>
                  <a:lnTo>
                    <a:pt x="33" y="15"/>
                  </a:lnTo>
                  <a:lnTo>
                    <a:pt x="32" y="15"/>
                  </a:lnTo>
                  <a:lnTo>
                    <a:pt x="33" y="15"/>
                  </a:lnTo>
                  <a:lnTo>
                    <a:pt x="34" y="15"/>
                  </a:lnTo>
                  <a:lnTo>
                    <a:pt x="35" y="15"/>
                  </a:lnTo>
                  <a:lnTo>
                    <a:pt x="35" y="17"/>
                  </a:lnTo>
                  <a:lnTo>
                    <a:pt x="35" y="18"/>
                  </a:lnTo>
                  <a:lnTo>
                    <a:pt x="34" y="18"/>
                  </a:lnTo>
                  <a:lnTo>
                    <a:pt x="35" y="19"/>
                  </a:lnTo>
                  <a:lnTo>
                    <a:pt x="35" y="20"/>
                  </a:lnTo>
                  <a:lnTo>
                    <a:pt x="35" y="19"/>
                  </a:lnTo>
                  <a:lnTo>
                    <a:pt x="35" y="18"/>
                  </a:lnTo>
                  <a:lnTo>
                    <a:pt x="36" y="18"/>
                  </a:lnTo>
                  <a:lnTo>
                    <a:pt x="36" y="17"/>
                  </a:lnTo>
                  <a:lnTo>
                    <a:pt x="36" y="15"/>
                  </a:lnTo>
                  <a:lnTo>
                    <a:pt x="36" y="17"/>
                  </a:lnTo>
                  <a:lnTo>
                    <a:pt x="37" y="17"/>
                  </a:lnTo>
                  <a:lnTo>
                    <a:pt x="37" y="18"/>
                  </a:lnTo>
                  <a:lnTo>
                    <a:pt x="37" y="17"/>
                  </a:lnTo>
                  <a:lnTo>
                    <a:pt x="37" y="15"/>
                  </a:lnTo>
                  <a:lnTo>
                    <a:pt x="37" y="14"/>
                  </a:lnTo>
                  <a:lnTo>
                    <a:pt x="38" y="13"/>
                  </a:lnTo>
                  <a:lnTo>
                    <a:pt x="40" y="13"/>
                  </a:lnTo>
                  <a:lnTo>
                    <a:pt x="41" y="13"/>
                  </a:lnTo>
                  <a:lnTo>
                    <a:pt x="41" y="12"/>
                  </a:lnTo>
                  <a:lnTo>
                    <a:pt x="41" y="13"/>
                  </a:lnTo>
                  <a:lnTo>
                    <a:pt x="41" y="14"/>
                  </a:lnTo>
                  <a:lnTo>
                    <a:pt x="42" y="14"/>
                  </a:lnTo>
                  <a:lnTo>
                    <a:pt x="41" y="14"/>
                  </a:lnTo>
                  <a:lnTo>
                    <a:pt x="42" y="14"/>
                  </a:lnTo>
                  <a:lnTo>
                    <a:pt x="42" y="15"/>
                  </a:lnTo>
                  <a:lnTo>
                    <a:pt x="43" y="15"/>
                  </a:lnTo>
                  <a:lnTo>
                    <a:pt x="43" y="14"/>
                  </a:lnTo>
                  <a:lnTo>
                    <a:pt x="42" y="14"/>
                  </a:lnTo>
                  <a:lnTo>
                    <a:pt x="43" y="14"/>
                  </a:lnTo>
                  <a:lnTo>
                    <a:pt x="44" y="13"/>
                  </a:lnTo>
                  <a:lnTo>
                    <a:pt x="45" y="13"/>
                  </a:lnTo>
                  <a:lnTo>
                    <a:pt x="44" y="13"/>
                  </a:lnTo>
                  <a:lnTo>
                    <a:pt x="44" y="12"/>
                  </a:lnTo>
                  <a:lnTo>
                    <a:pt x="45" y="12"/>
                  </a:lnTo>
                  <a:lnTo>
                    <a:pt x="45" y="11"/>
                  </a:lnTo>
                  <a:lnTo>
                    <a:pt x="44" y="11"/>
                  </a:lnTo>
                  <a:lnTo>
                    <a:pt x="44" y="10"/>
                  </a:lnTo>
                  <a:lnTo>
                    <a:pt x="44" y="8"/>
                  </a:lnTo>
                  <a:lnTo>
                    <a:pt x="44" y="7"/>
                  </a:lnTo>
                  <a:lnTo>
                    <a:pt x="45" y="7"/>
                  </a:lnTo>
                  <a:lnTo>
                    <a:pt x="47" y="7"/>
                  </a:lnTo>
                  <a:lnTo>
                    <a:pt x="47" y="6"/>
                  </a:lnTo>
                  <a:lnTo>
                    <a:pt x="48" y="6"/>
                  </a:lnTo>
                  <a:lnTo>
                    <a:pt x="48" y="7"/>
                  </a:lnTo>
                  <a:lnTo>
                    <a:pt x="49" y="7"/>
                  </a:lnTo>
                  <a:lnTo>
                    <a:pt x="48" y="7"/>
                  </a:lnTo>
                  <a:lnTo>
                    <a:pt x="49" y="7"/>
                  </a:lnTo>
                  <a:lnTo>
                    <a:pt x="49" y="8"/>
                  </a:lnTo>
                  <a:lnTo>
                    <a:pt x="49" y="10"/>
                  </a:lnTo>
                  <a:lnTo>
                    <a:pt x="50" y="10"/>
                  </a:lnTo>
                  <a:lnTo>
                    <a:pt x="51" y="10"/>
                  </a:lnTo>
                  <a:lnTo>
                    <a:pt x="51" y="11"/>
                  </a:lnTo>
                  <a:lnTo>
                    <a:pt x="51" y="12"/>
                  </a:lnTo>
                  <a:lnTo>
                    <a:pt x="52" y="12"/>
                  </a:lnTo>
                  <a:lnTo>
                    <a:pt x="54" y="12"/>
                  </a:lnTo>
                  <a:lnTo>
                    <a:pt x="55" y="11"/>
                  </a:lnTo>
                  <a:lnTo>
                    <a:pt x="55" y="10"/>
                  </a:lnTo>
                  <a:lnTo>
                    <a:pt x="54" y="10"/>
                  </a:lnTo>
                  <a:lnTo>
                    <a:pt x="54" y="8"/>
                  </a:lnTo>
                  <a:lnTo>
                    <a:pt x="55" y="8"/>
                  </a:lnTo>
                  <a:lnTo>
                    <a:pt x="55" y="7"/>
                  </a:lnTo>
                  <a:lnTo>
                    <a:pt x="56" y="7"/>
                  </a:lnTo>
                  <a:lnTo>
                    <a:pt x="57" y="7"/>
                  </a:lnTo>
                  <a:lnTo>
                    <a:pt x="58" y="7"/>
                  </a:lnTo>
                  <a:lnTo>
                    <a:pt x="58" y="6"/>
                  </a:lnTo>
                  <a:lnTo>
                    <a:pt x="59" y="6"/>
                  </a:lnTo>
                  <a:lnTo>
                    <a:pt x="61" y="6"/>
                  </a:lnTo>
                  <a:lnTo>
                    <a:pt x="61" y="5"/>
                  </a:lnTo>
                  <a:lnTo>
                    <a:pt x="62" y="5"/>
                  </a:lnTo>
                  <a:lnTo>
                    <a:pt x="62" y="6"/>
                  </a:lnTo>
                  <a:lnTo>
                    <a:pt x="63" y="6"/>
                  </a:lnTo>
                  <a:lnTo>
                    <a:pt x="63" y="7"/>
                  </a:lnTo>
                  <a:lnTo>
                    <a:pt x="64" y="7"/>
                  </a:lnTo>
                  <a:lnTo>
                    <a:pt x="64" y="8"/>
                  </a:lnTo>
                  <a:lnTo>
                    <a:pt x="65" y="8"/>
                  </a:lnTo>
                  <a:lnTo>
                    <a:pt x="66" y="8"/>
                  </a:lnTo>
                  <a:lnTo>
                    <a:pt x="66" y="10"/>
                  </a:lnTo>
                  <a:lnTo>
                    <a:pt x="68" y="10"/>
                  </a:lnTo>
                  <a:lnTo>
                    <a:pt x="68" y="11"/>
                  </a:lnTo>
                  <a:lnTo>
                    <a:pt x="66" y="11"/>
                  </a:lnTo>
                  <a:lnTo>
                    <a:pt x="68" y="11"/>
                  </a:lnTo>
                  <a:lnTo>
                    <a:pt x="68" y="12"/>
                  </a:lnTo>
                  <a:lnTo>
                    <a:pt x="68" y="13"/>
                  </a:lnTo>
                  <a:lnTo>
                    <a:pt x="69" y="13"/>
                  </a:lnTo>
                  <a:lnTo>
                    <a:pt x="69" y="12"/>
                  </a:lnTo>
                  <a:lnTo>
                    <a:pt x="68" y="12"/>
                  </a:lnTo>
                  <a:lnTo>
                    <a:pt x="68" y="11"/>
                  </a:lnTo>
                  <a:lnTo>
                    <a:pt x="69" y="11"/>
                  </a:lnTo>
                  <a:lnTo>
                    <a:pt x="69" y="10"/>
                  </a:lnTo>
                  <a:lnTo>
                    <a:pt x="68" y="10"/>
                  </a:lnTo>
                  <a:lnTo>
                    <a:pt x="66" y="8"/>
                  </a:lnTo>
                  <a:lnTo>
                    <a:pt x="68" y="8"/>
                  </a:lnTo>
                  <a:lnTo>
                    <a:pt x="66" y="8"/>
                  </a:lnTo>
                  <a:lnTo>
                    <a:pt x="66" y="7"/>
                  </a:lnTo>
                  <a:lnTo>
                    <a:pt x="66" y="6"/>
                  </a:lnTo>
                  <a:lnTo>
                    <a:pt x="68" y="6"/>
                  </a:lnTo>
                  <a:lnTo>
                    <a:pt x="69" y="6"/>
                  </a:lnTo>
                  <a:lnTo>
                    <a:pt x="70" y="6"/>
                  </a:lnTo>
                  <a:lnTo>
                    <a:pt x="71" y="6"/>
                  </a:lnTo>
                  <a:lnTo>
                    <a:pt x="72" y="7"/>
                  </a:lnTo>
                  <a:lnTo>
                    <a:pt x="73" y="8"/>
                  </a:lnTo>
                  <a:lnTo>
                    <a:pt x="73" y="10"/>
                  </a:lnTo>
                  <a:lnTo>
                    <a:pt x="75" y="10"/>
                  </a:lnTo>
                  <a:lnTo>
                    <a:pt x="75" y="8"/>
                  </a:lnTo>
                  <a:lnTo>
                    <a:pt x="73" y="8"/>
                  </a:lnTo>
                  <a:lnTo>
                    <a:pt x="75" y="8"/>
                  </a:lnTo>
                  <a:lnTo>
                    <a:pt x="73" y="8"/>
                  </a:lnTo>
                  <a:lnTo>
                    <a:pt x="76" y="8"/>
                  </a:lnTo>
                  <a:lnTo>
                    <a:pt x="76" y="7"/>
                  </a:lnTo>
                  <a:lnTo>
                    <a:pt x="77" y="7"/>
                  </a:lnTo>
                  <a:lnTo>
                    <a:pt x="77" y="6"/>
                  </a:lnTo>
                  <a:lnTo>
                    <a:pt x="78" y="6"/>
                  </a:lnTo>
                  <a:lnTo>
                    <a:pt x="77" y="6"/>
                  </a:lnTo>
                  <a:lnTo>
                    <a:pt x="78" y="6"/>
                  </a:lnTo>
                  <a:lnTo>
                    <a:pt x="78" y="5"/>
                  </a:lnTo>
                  <a:lnTo>
                    <a:pt x="79" y="5"/>
                  </a:lnTo>
                  <a:lnTo>
                    <a:pt x="80" y="5"/>
                  </a:lnTo>
                  <a:lnTo>
                    <a:pt x="80" y="6"/>
                  </a:lnTo>
                  <a:lnTo>
                    <a:pt x="82" y="6"/>
                  </a:lnTo>
                  <a:lnTo>
                    <a:pt x="83" y="6"/>
                  </a:lnTo>
                  <a:lnTo>
                    <a:pt x="84" y="6"/>
                  </a:lnTo>
                  <a:lnTo>
                    <a:pt x="84" y="7"/>
                  </a:lnTo>
                  <a:lnTo>
                    <a:pt x="84" y="6"/>
                  </a:lnTo>
                  <a:lnTo>
                    <a:pt x="85" y="6"/>
                  </a:lnTo>
                  <a:lnTo>
                    <a:pt x="85" y="5"/>
                  </a:lnTo>
                  <a:lnTo>
                    <a:pt x="85" y="6"/>
                  </a:lnTo>
                  <a:lnTo>
                    <a:pt x="84" y="6"/>
                  </a:lnTo>
                  <a:lnTo>
                    <a:pt x="85" y="6"/>
                  </a:lnTo>
                  <a:lnTo>
                    <a:pt x="86" y="6"/>
                  </a:lnTo>
                  <a:lnTo>
                    <a:pt x="86" y="5"/>
                  </a:lnTo>
                  <a:lnTo>
                    <a:pt x="86" y="4"/>
                  </a:lnTo>
                  <a:lnTo>
                    <a:pt x="86" y="3"/>
                  </a:lnTo>
                  <a:lnTo>
                    <a:pt x="85" y="1"/>
                  </a:lnTo>
                  <a:lnTo>
                    <a:pt x="86" y="1"/>
                  </a:lnTo>
                  <a:lnTo>
                    <a:pt x="87" y="1"/>
                  </a:lnTo>
                  <a:lnTo>
                    <a:pt x="89" y="1"/>
                  </a:lnTo>
                  <a:lnTo>
                    <a:pt x="87" y="1"/>
                  </a:lnTo>
                  <a:lnTo>
                    <a:pt x="89" y="1"/>
                  </a:lnTo>
                  <a:lnTo>
                    <a:pt x="90" y="1"/>
                  </a:lnTo>
                  <a:lnTo>
                    <a:pt x="90" y="0"/>
                  </a:lnTo>
                  <a:lnTo>
                    <a:pt x="91" y="1"/>
                  </a:lnTo>
                  <a:lnTo>
                    <a:pt x="9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599" name="Freeform 1364">
              <a:extLst>
                <a:ext uri="{FF2B5EF4-FFF2-40B4-BE49-F238E27FC236}">
                  <a16:creationId xmlns:a16="http://schemas.microsoft.com/office/drawing/2014/main" id="{A8D315D4-5AA6-4D71-A4FA-18C67257C441}"/>
                </a:ext>
              </a:extLst>
            </p:cNvPr>
            <p:cNvSpPr>
              <a:spLocks/>
            </p:cNvSpPr>
            <p:nvPr/>
          </p:nvSpPr>
          <p:spPr bwMode="auto">
            <a:xfrm>
              <a:off x="5555356" y="1971640"/>
              <a:ext cx="1336" cy="0"/>
            </a:xfrm>
            <a:custGeom>
              <a:avLst/>
              <a:gdLst>
                <a:gd name="T0" fmla="*/ 1 w 1"/>
                <a:gd name="T1" fmla="*/ 1 w 1"/>
                <a:gd name="T2" fmla="*/ 0 w 1"/>
                <a:gd name="T3" fmla="*/ 0 w 1"/>
                <a:gd name="T4" fmla="*/ 1 w 1"/>
                <a:gd name="T5" fmla="*/ 1 w 1"/>
                <a:gd name="T6" fmla="*/ 1 w 1"/>
                <a:gd name="T7" fmla="*/ 1 w 1"/>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1">
                  <a:moveTo>
                    <a:pt x="1" y="0"/>
                  </a:moveTo>
                  <a:lnTo>
                    <a:pt x="1" y="0"/>
                  </a:lnTo>
                  <a:lnTo>
                    <a:pt x="0" y="0"/>
                  </a:lnTo>
                  <a:lnTo>
                    <a:pt x="0"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00" name="Freeform 1365">
              <a:extLst>
                <a:ext uri="{FF2B5EF4-FFF2-40B4-BE49-F238E27FC236}">
                  <a16:creationId xmlns:a16="http://schemas.microsoft.com/office/drawing/2014/main" id="{744E7931-EAED-4AC8-905D-29199B24F1C3}"/>
                </a:ext>
              </a:extLst>
            </p:cNvPr>
            <p:cNvSpPr>
              <a:spLocks/>
            </p:cNvSpPr>
            <p:nvPr/>
          </p:nvSpPr>
          <p:spPr bwMode="auto">
            <a:xfrm>
              <a:off x="6025448" y="2596648"/>
              <a:ext cx="2671" cy="1336"/>
            </a:xfrm>
            <a:custGeom>
              <a:avLst/>
              <a:gdLst>
                <a:gd name="T0" fmla="*/ 2 w 2"/>
                <a:gd name="T1" fmla="*/ 1 h 1"/>
                <a:gd name="T2" fmla="*/ 2 w 2"/>
                <a:gd name="T3" fmla="*/ 1 h 1"/>
                <a:gd name="T4" fmla="*/ 2 w 2"/>
                <a:gd name="T5" fmla="*/ 1 h 1"/>
                <a:gd name="T6" fmla="*/ 2 w 2"/>
                <a:gd name="T7" fmla="*/ 1 h 1"/>
                <a:gd name="T8" fmla="*/ 2 w 2"/>
                <a:gd name="T9" fmla="*/ 1 h 1"/>
                <a:gd name="T10" fmla="*/ 0 w 2"/>
                <a:gd name="T11" fmla="*/ 1 h 1"/>
                <a:gd name="T12" fmla="*/ 0 w 2"/>
                <a:gd name="T13" fmla="*/ 1 h 1"/>
                <a:gd name="T14" fmla="*/ 0 w 2"/>
                <a:gd name="T15" fmla="*/ 0 h 1"/>
                <a:gd name="T16" fmla="*/ 0 w 2"/>
                <a:gd name="T17" fmla="*/ 0 h 1"/>
                <a:gd name="T18" fmla="*/ 0 w 2"/>
                <a:gd name="T19" fmla="*/ 0 h 1"/>
                <a:gd name="T20" fmla="*/ 0 w 2"/>
                <a:gd name="T21" fmla="*/ 0 h 1"/>
                <a:gd name="T22" fmla="*/ 2 w 2"/>
                <a:gd name="T23" fmla="*/ 0 h 1"/>
                <a:gd name="T24" fmla="*/ 2 w 2"/>
                <a:gd name="T25" fmla="*/ 1 h 1"/>
                <a:gd name="T26" fmla="*/ 2 w 2"/>
                <a:gd name="T27" fmla="*/ 1 h 1"/>
                <a:gd name="T28" fmla="*/ 2 w 2"/>
                <a:gd name="T29" fmla="*/ 1 h 1"/>
                <a:gd name="T30" fmla="*/ 2 w 2"/>
                <a:gd name="T31" fmla="*/ 1 h 1"/>
                <a:gd name="T32" fmla="*/ 2 w 2"/>
                <a:gd name="T33" fmla="*/ 1 h 1"/>
                <a:gd name="T34" fmla="*/ 2 w 2"/>
                <a:gd name="T3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 h="1">
                  <a:moveTo>
                    <a:pt x="2" y="1"/>
                  </a:moveTo>
                  <a:lnTo>
                    <a:pt x="2" y="1"/>
                  </a:lnTo>
                  <a:lnTo>
                    <a:pt x="2" y="1"/>
                  </a:lnTo>
                  <a:lnTo>
                    <a:pt x="2" y="1"/>
                  </a:lnTo>
                  <a:lnTo>
                    <a:pt x="2" y="1"/>
                  </a:lnTo>
                  <a:lnTo>
                    <a:pt x="0" y="1"/>
                  </a:lnTo>
                  <a:lnTo>
                    <a:pt x="0" y="1"/>
                  </a:lnTo>
                  <a:lnTo>
                    <a:pt x="0" y="0"/>
                  </a:lnTo>
                  <a:lnTo>
                    <a:pt x="0" y="0"/>
                  </a:lnTo>
                  <a:lnTo>
                    <a:pt x="0" y="0"/>
                  </a:lnTo>
                  <a:lnTo>
                    <a:pt x="0" y="0"/>
                  </a:lnTo>
                  <a:lnTo>
                    <a:pt x="2" y="0"/>
                  </a:lnTo>
                  <a:lnTo>
                    <a:pt x="2" y="1"/>
                  </a:lnTo>
                  <a:lnTo>
                    <a:pt x="2" y="1"/>
                  </a:lnTo>
                  <a:lnTo>
                    <a:pt x="2" y="1"/>
                  </a:lnTo>
                  <a:lnTo>
                    <a:pt x="2" y="1"/>
                  </a:lnTo>
                  <a:lnTo>
                    <a:pt x="2" y="1"/>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01" name="Freeform 1366">
              <a:extLst>
                <a:ext uri="{FF2B5EF4-FFF2-40B4-BE49-F238E27FC236}">
                  <a16:creationId xmlns:a16="http://schemas.microsoft.com/office/drawing/2014/main" id="{709F83E6-A26D-49AE-A668-FCC2B2DD3460}"/>
                </a:ext>
              </a:extLst>
            </p:cNvPr>
            <p:cNvSpPr>
              <a:spLocks/>
            </p:cNvSpPr>
            <p:nvPr/>
          </p:nvSpPr>
          <p:spPr bwMode="auto">
            <a:xfrm>
              <a:off x="6030790" y="2589971"/>
              <a:ext cx="1336" cy="0"/>
            </a:xfrm>
            <a:custGeom>
              <a:avLst/>
              <a:gdLst>
                <a:gd name="T0" fmla="*/ 1 w 1"/>
                <a:gd name="T1" fmla="*/ 1 w 1"/>
                <a:gd name="T2" fmla="*/ 0 w 1"/>
                <a:gd name="T3" fmla="*/ 0 w 1"/>
                <a:gd name="T4" fmla="*/ 0 w 1"/>
                <a:gd name="T5" fmla="*/ 0 w 1"/>
                <a:gd name="T6" fmla="*/ 1 w 1"/>
                <a:gd name="T7" fmla="*/ 1 w 1"/>
                <a:gd name="T8" fmla="*/ 1 w 1"/>
                <a:gd name="T9" fmla="*/ 1 w 1"/>
                <a:gd name="T10"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
                  <a:moveTo>
                    <a:pt x="1" y="0"/>
                  </a:moveTo>
                  <a:lnTo>
                    <a:pt x="1" y="0"/>
                  </a:lnTo>
                  <a:lnTo>
                    <a:pt x="0" y="0"/>
                  </a:lnTo>
                  <a:lnTo>
                    <a:pt x="0" y="0"/>
                  </a:lnTo>
                  <a:lnTo>
                    <a:pt x="0" y="0"/>
                  </a:lnTo>
                  <a:lnTo>
                    <a:pt x="0"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02" name="Freeform 1367">
              <a:extLst>
                <a:ext uri="{FF2B5EF4-FFF2-40B4-BE49-F238E27FC236}">
                  <a16:creationId xmlns:a16="http://schemas.microsoft.com/office/drawing/2014/main" id="{4FCB2361-EB16-4BBB-A211-B919EB939537}"/>
                </a:ext>
              </a:extLst>
            </p:cNvPr>
            <p:cNvSpPr>
              <a:spLocks/>
            </p:cNvSpPr>
            <p:nvPr/>
          </p:nvSpPr>
          <p:spPr bwMode="auto">
            <a:xfrm>
              <a:off x="6013429" y="2569938"/>
              <a:ext cx="4007" cy="1336"/>
            </a:xfrm>
            <a:custGeom>
              <a:avLst/>
              <a:gdLst>
                <a:gd name="T0" fmla="*/ 1 w 3"/>
                <a:gd name="T1" fmla="*/ 0 h 1"/>
                <a:gd name="T2" fmla="*/ 1 w 3"/>
                <a:gd name="T3" fmla="*/ 0 h 1"/>
                <a:gd name="T4" fmla="*/ 1 w 3"/>
                <a:gd name="T5" fmla="*/ 0 h 1"/>
                <a:gd name="T6" fmla="*/ 1 w 3"/>
                <a:gd name="T7" fmla="*/ 0 h 1"/>
                <a:gd name="T8" fmla="*/ 3 w 3"/>
                <a:gd name="T9" fmla="*/ 0 h 1"/>
                <a:gd name="T10" fmla="*/ 3 w 3"/>
                <a:gd name="T11" fmla="*/ 0 h 1"/>
                <a:gd name="T12" fmla="*/ 3 w 3"/>
                <a:gd name="T13" fmla="*/ 1 h 1"/>
                <a:gd name="T14" fmla="*/ 3 w 3"/>
                <a:gd name="T15" fmla="*/ 1 h 1"/>
                <a:gd name="T16" fmla="*/ 1 w 3"/>
                <a:gd name="T17" fmla="*/ 1 h 1"/>
                <a:gd name="T18" fmla="*/ 1 w 3"/>
                <a:gd name="T19" fmla="*/ 1 h 1"/>
                <a:gd name="T20" fmla="*/ 1 w 3"/>
                <a:gd name="T21" fmla="*/ 0 h 1"/>
                <a:gd name="T22" fmla="*/ 1 w 3"/>
                <a:gd name="T23" fmla="*/ 0 h 1"/>
                <a:gd name="T24" fmla="*/ 0 w 3"/>
                <a:gd name="T25" fmla="*/ 0 h 1"/>
                <a:gd name="T26" fmla="*/ 0 w 3"/>
                <a:gd name="T27" fmla="*/ 0 h 1"/>
                <a:gd name="T28" fmla="*/ 1 w 3"/>
                <a:gd name="T29" fmla="*/ 0 h 1"/>
                <a:gd name="T30" fmla="*/ 1 w 3"/>
                <a:gd name="T31" fmla="*/ 0 h 1"/>
                <a:gd name="T32" fmla="*/ 1 w 3"/>
                <a:gd name="T33" fmla="*/ 0 h 1"/>
                <a:gd name="T34" fmla="*/ 1 w 3"/>
                <a:gd name="T35" fmla="*/ 0 h 1"/>
                <a:gd name="T36" fmla="*/ 1 w 3"/>
                <a:gd name="T37" fmla="*/ 0 h 1"/>
                <a:gd name="T38" fmla="*/ 1 w 3"/>
                <a:gd name="T39" fmla="*/ 0 h 1"/>
                <a:gd name="T40" fmla="*/ 1 w 3"/>
                <a:gd name="T41" fmla="*/ 0 h 1"/>
                <a:gd name="T42" fmla="*/ 1 w 3"/>
                <a:gd name="T4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 h="1">
                  <a:moveTo>
                    <a:pt x="1" y="0"/>
                  </a:moveTo>
                  <a:lnTo>
                    <a:pt x="1" y="0"/>
                  </a:lnTo>
                  <a:lnTo>
                    <a:pt x="1" y="0"/>
                  </a:lnTo>
                  <a:lnTo>
                    <a:pt x="1" y="0"/>
                  </a:lnTo>
                  <a:lnTo>
                    <a:pt x="3" y="0"/>
                  </a:lnTo>
                  <a:lnTo>
                    <a:pt x="3" y="0"/>
                  </a:lnTo>
                  <a:lnTo>
                    <a:pt x="3" y="1"/>
                  </a:lnTo>
                  <a:lnTo>
                    <a:pt x="3" y="1"/>
                  </a:lnTo>
                  <a:lnTo>
                    <a:pt x="1" y="1"/>
                  </a:lnTo>
                  <a:lnTo>
                    <a:pt x="1" y="1"/>
                  </a:lnTo>
                  <a:lnTo>
                    <a:pt x="1" y="0"/>
                  </a:lnTo>
                  <a:lnTo>
                    <a:pt x="1" y="0"/>
                  </a:lnTo>
                  <a:lnTo>
                    <a:pt x="0" y="0"/>
                  </a:lnTo>
                  <a:lnTo>
                    <a:pt x="0" y="0"/>
                  </a:lnTo>
                  <a:lnTo>
                    <a:pt x="1" y="0"/>
                  </a:lnTo>
                  <a:lnTo>
                    <a:pt x="1"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03" name="Freeform 1368">
              <a:extLst>
                <a:ext uri="{FF2B5EF4-FFF2-40B4-BE49-F238E27FC236}">
                  <a16:creationId xmlns:a16="http://schemas.microsoft.com/office/drawing/2014/main" id="{5C64B253-638C-4C75-992F-0C4399A8E2C2}"/>
                </a:ext>
              </a:extLst>
            </p:cNvPr>
            <p:cNvSpPr>
              <a:spLocks/>
            </p:cNvSpPr>
            <p:nvPr/>
          </p:nvSpPr>
          <p:spPr bwMode="auto">
            <a:xfrm>
              <a:off x="6020106" y="2547235"/>
              <a:ext cx="1336" cy="0"/>
            </a:xfrm>
            <a:custGeom>
              <a:avLst/>
              <a:gdLst>
                <a:gd name="T0" fmla="*/ 0 w 1"/>
                <a:gd name="T1" fmla="*/ 0 w 1"/>
                <a:gd name="T2" fmla="*/ 1 w 1"/>
                <a:gd name="T3" fmla="*/ 1 w 1"/>
                <a:gd name="T4" fmla="*/ 1 w 1"/>
                <a:gd name="T5" fmla="*/ 0 w 1"/>
                <a:gd name="T6" fmla="*/ 0 w 1"/>
                <a:gd name="T7" fmla="*/ 0 w 1"/>
                <a:gd name="T8" fmla="*/ 0 w 1"/>
                <a:gd name="T9" fmla="*/ 0 w 1"/>
                <a:gd name="T10" fmla="*/ 0 w 1"/>
                <a:gd name="T11" fmla="*/ 0 w 1"/>
                <a:gd name="T12" fmla="*/ 0 w 1"/>
                <a:gd name="T13" fmla="*/ 0 w 1"/>
                <a:gd name="T14" fmla="*/ 0 w 1"/>
                <a:gd name="T15" fmla="*/ 0 w 1"/>
                <a:gd name="T16"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Lst>
              <a:rect l="0" t="0" r="r" b="b"/>
              <a:pathLst>
                <a:path w="1">
                  <a:moveTo>
                    <a:pt x="0" y="0"/>
                  </a:moveTo>
                  <a:lnTo>
                    <a:pt x="0" y="0"/>
                  </a:lnTo>
                  <a:lnTo>
                    <a:pt x="1" y="0"/>
                  </a:lnTo>
                  <a:lnTo>
                    <a:pt x="1" y="0"/>
                  </a:lnTo>
                  <a:lnTo>
                    <a:pt x="1"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04" name="Freeform 1369">
              <a:extLst>
                <a:ext uri="{FF2B5EF4-FFF2-40B4-BE49-F238E27FC236}">
                  <a16:creationId xmlns:a16="http://schemas.microsoft.com/office/drawing/2014/main" id="{9533552C-CFA2-483B-B83F-FEF913CB9B26}"/>
                </a:ext>
              </a:extLst>
            </p:cNvPr>
            <p:cNvSpPr>
              <a:spLocks/>
            </p:cNvSpPr>
            <p:nvPr/>
          </p:nvSpPr>
          <p:spPr bwMode="auto">
            <a:xfrm>
              <a:off x="6014764" y="2545899"/>
              <a:ext cx="2671" cy="1336"/>
            </a:xfrm>
            <a:custGeom>
              <a:avLst/>
              <a:gdLst>
                <a:gd name="T0" fmla="*/ 2 w 2"/>
                <a:gd name="T1" fmla="*/ 0 h 1"/>
                <a:gd name="T2" fmla="*/ 2 w 2"/>
                <a:gd name="T3" fmla="*/ 1 h 1"/>
                <a:gd name="T4" fmla="*/ 0 w 2"/>
                <a:gd name="T5" fmla="*/ 1 h 1"/>
                <a:gd name="T6" fmla="*/ 0 w 2"/>
                <a:gd name="T7" fmla="*/ 0 h 1"/>
                <a:gd name="T8" fmla="*/ 0 w 2"/>
                <a:gd name="T9" fmla="*/ 0 h 1"/>
                <a:gd name="T10" fmla="*/ 0 w 2"/>
                <a:gd name="T11" fmla="*/ 0 h 1"/>
                <a:gd name="T12" fmla="*/ 0 w 2"/>
                <a:gd name="T13" fmla="*/ 0 h 1"/>
                <a:gd name="T14" fmla="*/ 0 w 2"/>
                <a:gd name="T15" fmla="*/ 0 h 1"/>
                <a:gd name="T16" fmla="*/ 0 w 2"/>
                <a:gd name="T17" fmla="*/ 0 h 1"/>
                <a:gd name="T18" fmla="*/ 0 w 2"/>
                <a:gd name="T19" fmla="*/ 0 h 1"/>
                <a:gd name="T20" fmla="*/ 2 w 2"/>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1">
                  <a:moveTo>
                    <a:pt x="2" y="0"/>
                  </a:moveTo>
                  <a:lnTo>
                    <a:pt x="2" y="1"/>
                  </a:lnTo>
                  <a:lnTo>
                    <a:pt x="0" y="1"/>
                  </a:lnTo>
                  <a:lnTo>
                    <a:pt x="0" y="0"/>
                  </a:lnTo>
                  <a:lnTo>
                    <a:pt x="0" y="0"/>
                  </a:lnTo>
                  <a:lnTo>
                    <a:pt x="0" y="0"/>
                  </a:lnTo>
                  <a:lnTo>
                    <a:pt x="0" y="0"/>
                  </a:lnTo>
                  <a:lnTo>
                    <a:pt x="0" y="0"/>
                  </a:lnTo>
                  <a:lnTo>
                    <a:pt x="0" y="0"/>
                  </a:lnTo>
                  <a:lnTo>
                    <a:pt x="0"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05" name="Freeform 1370">
              <a:extLst>
                <a:ext uri="{FF2B5EF4-FFF2-40B4-BE49-F238E27FC236}">
                  <a16:creationId xmlns:a16="http://schemas.microsoft.com/office/drawing/2014/main" id="{9EF31097-FA2E-4F16-9170-783BC4544EBE}"/>
                </a:ext>
              </a:extLst>
            </p:cNvPr>
            <p:cNvSpPr>
              <a:spLocks/>
            </p:cNvSpPr>
            <p:nvPr/>
          </p:nvSpPr>
          <p:spPr bwMode="auto">
            <a:xfrm>
              <a:off x="6022777" y="2539222"/>
              <a:ext cx="54755" cy="34723"/>
            </a:xfrm>
            <a:custGeom>
              <a:avLst/>
              <a:gdLst>
                <a:gd name="T0" fmla="*/ 40 w 41"/>
                <a:gd name="T1" fmla="*/ 1 h 26"/>
                <a:gd name="T2" fmla="*/ 37 w 41"/>
                <a:gd name="T3" fmla="*/ 7 h 26"/>
                <a:gd name="T4" fmla="*/ 36 w 41"/>
                <a:gd name="T5" fmla="*/ 8 h 26"/>
                <a:gd name="T6" fmla="*/ 36 w 41"/>
                <a:gd name="T7" fmla="*/ 10 h 26"/>
                <a:gd name="T8" fmla="*/ 34 w 41"/>
                <a:gd name="T9" fmla="*/ 13 h 26"/>
                <a:gd name="T10" fmla="*/ 36 w 41"/>
                <a:gd name="T11" fmla="*/ 15 h 26"/>
                <a:gd name="T12" fmla="*/ 36 w 41"/>
                <a:gd name="T13" fmla="*/ 16 h 26"/>
                <a:gd name="T14" fmla="*/ 36 w 41"/>
                <a:gd name="T15" fmla="*/ 16 h 26"/>
                <a:gd name="T16" fmla="*/ 36 w 41"/>
                <a:gd name="T17" fmla="*/ 17 h 26"/>
                <a:gd name="T18" fmla="*/ 37 w 41"/>
                <a:gd name="T19" fmla="*/ 19 h 26"/>
                <a:gd name="T20" fmla="*/ 37 w 41"/>
                <a:gd name="T21" fmla="*/ 20 h 26"/>
                <a:gd name="T22" fmla="*/ 37 w 41"/>
                <a:gd name="T23" fmla="*/ 20 h 26"/>
                <a:gd name="T24" fmla="*/ 37 w 41"/>
                <a:gd name="T25" fmla="*/ 21 h 26"/>
                <a:gd name="T26" fmla="*/ 36 w 41"/>
                <a:gd name="T27" fmla="*/ 21 h 26"/>
                <a:gd name="T28" fmla="*/ 35 w 41"/>
                <a:gd name="T29" fmla="*/ 23 h 26"/>
                <a:gd name="T30" fmla="*/ 35 w 41"/>
                <a:gd name="T31" fmla="*/ 26 h 26"/>
                <a:gd name="T32" fmla="*/ 34 w 41"/>
                <a:gd name="T33" fmla="*/ 24 h 26"/>
                <a:gd name="T34" fmla="*/ 33 w 41"/>
                <a:gd name="T35" fmla="*/ 24 h 26"/>
                <a:gd name="T36" fmla="*/ 30 w 41"/>
                <a:gd name="T37" fmla="*/ 24 h 26"/>
                <a:gd name="T38" fmla="*/ 28 w 41"/>
                <a:gd name="T39" fmla="*/ 23 h 26"/>
                <a:gd name="T40" fmla="*/ 23 w 41"/>
                <a:gd name="T41" fmla="*/ 19 h 26"/>
                <a:gd name="T42" fmla="*/ 20 w 41"/>
                <a:gd name="T43" fmla="*/ 19 h 26"/>
                <a:gd name="T44" fmla="*/ 16 w 41"/>
                <a:gd name="T45" fmla="*/ 17 h 26"/>
                <a:gd name="T46" fmla="*/ 13 w 41"/>
                <a:gd name="T47" fmla="*/ 15 h 26"/>
                <a:gd name="T48" fmla="*/ 11 w 41"/>
                <a:gd name="T49" fmla="*/ 14 h 26"/>
                <a:gd name="T50" fmla="*/ 9 w 41"/>
                <a:gd name="T51" fmla="*/ 13 h 26"/>
                <a:gd name="T52" fmla="*/ 7 w 41"/>
                <a:gd name="T53" fmla="*/ 13 h 26"/>
                <a:gd name="T54" fmla="*/ 6 w 41"/>
                <a:gd name="T55" fmla="*/ 12 h 26"/>
                <a:gd name="T56" fmla="*/ 1 w 41"/>
                <a:gd name="T57" fmla="*/ 10 h 26"/>
                <a:gd name="T58" fmla="*/ 0 w 41"/>
                <a:gd name="T59" fmla="*/ 9 h 26"/>
                <a:gd name="T60" fmla="*/ 0 w 41"/>
                <a:gd name="T61" fmla="*/ 8 h 26"/>
                <a:gd name="T62" fmla="*/ 0 w 41"/>
                <a:gd name="T63" fmla="*/ 7 h 26"/>
                <a:gd name="T64" fmla="*/ 0 w 41"/>
                <a:gd name="T65" fmla="*/ 6 h 26"/>
                <a:gd name="T66" fmla="*/ 0 w 41"/>
                <a:gd name="T67" fmla="*/ 5 h 26"/>
                <a:gd name="T68" fmla="*/ 1 w 41"/>
                <a:gd name="T69" fmla="*/ 3 h 26"/>
                <a:gd name="T70" fmla="*/ 2 w 41"/>
                <a:gd name="T71" fmla="*/ 2 h 26"/>
                <a:gd name="T72" fmla="*/ 4 w 41"/>
                <a:gd name="T73" fmla="*/ 2 h 26"/>
                <a:gd name="T74" fmla="*/ 4 w 41"/>
                <a:gd name="T75" fmla="*/ 2 h 26"/>
                <a:gd name="T76" fmla="*/ 6 w 41"/>
                <a:gd name="T77" fmla="*/ 3 h 26"/>
                <a:gd name="T78" fmla="*/ 7 w 41"/>
                <a:gd name="T79" fmla="*/ 3 h 26"/>
                <a:gd name="T80" fmla="*/ 8 w 41"/>
                <a:gd name="T81" fmla="*/ 2 h 26"/>
                <a:gd name="T82" fmla="*/ 9 w 41"/>
                <a:gd name="T83" fmla="*/ 1 h 26"/>
                <a:gd name="T84" fmla="*/ 11 w 41"/>
                <a:gd name="T85" fmla="*/ 1 h 26"/>
                <a:gd name="T86" fmla="*/ 11 w 41"/>
                <a:gd name="T87" fmla="*/ 1 h 26"/>
                <a:gd name="T88" fmla="*/ 12 w 41"/>
                <a:gd name="T89" fmla="*/ 2 h 26"/>
                <a:gd name="T90" fmla="*/ 14 w 41"/>
                <a:gd name="T91" fmla="*/ 3 h 26"/>
                <a:gd name="T92" fmla="*/ 16 w 41"/>
                <a:gd name="T93" fmla="*/ 5 h 26"/>
                <a:gd name="T94" fmla="*/ 18 w 41"/>
                <a:gd name="T95" fmla="*/ 5 h 26"/>
                <a:gd name="T96" fmla="*/ 20 w 41"/>
                <a:gd name="T97" fmla="*/ 3 h 26"/>
                <a:gd name="T98" fmla="*/ 23 w 41"/>
                <a:gd name="T99" fmla="*/ 5 h 26"/>
                <a:gd name="T100" fmla="*/ 28 w 41"/>
                <a:gd name="T101" fmla="*/ 3 h 26"/>
                <a:gd name="T102" fmla="*/ 30 w 41"/>
                <a:gd name="T103" fmla="*/ 2 h 26"/>
                <a:gd name="T104" fmla="*/ 32 w 41"/>
                <a:gd name="T105" fmla="*/ 1 h 26"/>
                <a:gd name="T106" fmla="*/ 33 w 41"/>
                <a:gd name="T107" fmla="*/ 2 h 26"/>
                <a:gd name="T108" fmla="*/ 34 w 41"/>
                <a:gd name="T109" fmla="*/ 2 h 26"/>
                <a:gd name="T110" fmla="*/ 36 w 41"/>
                <a:gd name="T111" fmla="*/ 0 h 26"/>
                <a:gd name="T112" fmla="*/ 36 w 41"/>
                <a:gd name="T113" fmla="*/ 1 h 26"/>
                <a:gd name="T114" fmla="*/ 39 w 41"/>
                <a:gd name="T115" fmla="*/ 1 h 26"/>
                <a:gd name="T116" fmla="*/ 41 w 41"/>
                <a:gd name="T11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 h="26">
                  <a:moveTo>
                    <a:pt x="41" y="0"/>
                  </a:moveTo>
                  <a:lnTo>
                    <a:pt x="41" y="0"/>
                  </a:lnTo>
                  <a:lnTo>
                    <a:pt x="41" y="0"/>
                  </a:lnTo>
                  <a:lnTo>
                    <a:pt x="40" y="1"/>
                  </a:lnTo>
                  <a:lnTo>
                    <a:pt x="40" y="1"/>
                  </a:lnTo>
                  <a:lnTo>
                    <a:pt x="40" y="1"/>
                  </a:lnTo>
                  <a:lnTo>
                    <a:pt x="40" y="1"/>
                  </a:lnTo>
                  <a:lnTo>
                    <a:pt x="40" y="1"/>
                  </a:lnTo>
                  <a:lnTo>
                    <a:pt x="40" y="2"/>
                  </a:lnTo>
                  <a:lnTo>
                    <a:pt x="40" y="3"/>
                  </a:lnTo>
                  <a:lnTo>
                    <a:pt x="37" y="5"/>
                  </a:lnTo>
                  <a:lnTo>
                    <a:pt x="37" y="7"/>
                  </a:lnTo>
                  <a:lnTo>
                    <a:pt x="36" y="7"/>
                  </a:lnTo>
                  <a:lnTo>
                    <a:pt x="36" y="7"/>
                  </a:lnTo>
                  <a:lnTo>
                    <a:pt x="36" y="8"/>
                  </a:lnTo>
                  <a:lnTo>
                    <a:pt x="36" y="8"/>
                  </a:lnTo>
                  <a:lnTo>
                    <a:pt x="36" y="8"/>
                  </a:lnTo>
                  <a:lnTo>
                    <a:pt x="36" y="8"/>
                  </a:lnTo>
                  <a:lnTo>
                    <a:pt x="36" y="9"/>
                  </a:lnTo>
                  <a:lnTo>
                    <a:pt x="36" y="9"/>
                  </a:lnTo>
                  <a:lnTo>
                    <a:pt x="36" y="9"/>
                  </a:lnTo>
                  <a:lnTo>
                    <a:pt x="36" y="9"/>
                  </a:lnTo>
                  <a:lnTo>
                    <a:pt x="36" y="9"/>
                  </a:lnTo>
                  <a:lnTo>
                    <a:pt x="36" y="10"/>
                  </a:lnTo>
                  <a:lnTo>
                    <a:pt x="35" y="10"/>
                  </a:lnTo>
                  <a:lnTo>
                    <a:pt x="35" y="10"/>
                  </a:lnTo>
                  <a:lnTo>
                    <a:pt x="35" y="12"/>
                  </a:lnTo>
                  <a:lnTo>
                    <a:pt x="35" y="12"/>
                  </a:lnTo>
                  <a:lnTo>
                    <a:pt x="35" y="13"/>
                  </a:lnTo>
                  <a:lnTo>
                    <a:pt x="34" y="13"/>
                  </a:lnTo>
                  <a:lnTo>
                    <a:pt x="34" y="13"/>
                  </a:lnTo>
                  <a:lnTo>
                    <a:pt x="35" y="15"/>
                  </a:lnTo>
                  <a:lnTo>
                    <a:pt x="35" y="15"/>
                  </a:lnTo>
                  <a:lnTo>
                    <a:pt x="35" y="15"/>
                  </a:lnTo>
                  <a:lnTo>
                    <a:pt x="35" y="15"/>
                  </a:lnTo>
                  <a:lnTo>
                    <a:pt x="36" y="15"/>
                  </a:lnTo>
                  <a:lnTo>
                    <a:pt x="36" y="16"/>
                  </a:lnTo>
                  <a:lnTo>
                    <a:pt x="36" y="16"/>
                  </a:lnTo>
                  <a:lnTo>
                    <a:pt x="36" y="16"/>
                  </a:lnTo>
                  <a:lnTo>
                    <a:pt x="37" y="16"/>
                  </a:lnTo>
                  <a:lnTo>
                    <a:pt x="36" y="16"/>
                  </a:lnTo>
                  <a:lnTo>
                    <a:pt x="36" y="16"/>
                  </a:lnTo>
                  <a:lnTo>
                    <a:pt x="36" y="16"/>
                  </a:lnTo>
                  <a:lnTo>
                    <a:pt x="36" y="16"/>
                  </a:lnTo>
                  <a:lnTo>
                    <a:pt x="36" y="16"/>
                  </a:lnTo>
                  <a:lnTo>
                    <a:pt x="36" y="16"/>
                  </a:lnTo>
                  <a:lnTo>
                    <a:pt x="36" y="16"/>
                  </a:lnTo>
                  <a:lnTo>
                    <a:pt x="36" y="16"/>
                  </a:lnTo>
                  <a:lnTo>
                    <a:pt x="36" y="16"/>
                  </a:lnTo>
                  <a:lnTo>
                    <a:pt x="36" y="17"/>
                  </a:lnTo>
                  <a:lnTo>
                    <a:pt x="36" y="17"/>
                  </a:lnTo>
                  <a:lnTo>
                    <a:pt x="36" y="17"/>
                  </a:lnTo>
                  <a:lnTo>
                    <a:pt x="36" y="17"/>
                  </a:lnTo>
                  <a:lnTo>
                    <a:pt x="36" y="17"/>
                  </a:lnTo>
                  <a:lnTo>
                    <a:pt x="36" y="17"/>
                  </a:lnTo>
                  <a:lnTo>
                    <a:pt x="36" y="17"/>
                  </a:lnTo>
                  <a:lnTo>
                    <a:pt x="36" y="19"/>
                  </a:lnTo>
                  <a:lnTo>
                    <a:pt x="37" y="19"/>
                  </a:lnTo>
                  <a:lnTo>
                    <a:pt x="37" y="19"/>
                  </a:lnTo>
                  <a:lnTo>
                    <a:pt x="37" y="19"/>
                  </a:lnTo>
                  <a:lnTo>
                    <a:pt x="37" y="19"/>
                  </a:lnTo>
                  <a:lnTo>
                    <a:pt x="37" y="19"/>
                  </a:lnTo>
                  <a:lnTo>
                    <a:pt x="37" y="20"/>
                  </a:lnTo>
                  <a:lnTo>
                    <a:pt x="37" y="19"/>
                  </a:lnTo>
                  <a:lnTo>
                    <a:pt x="37" y="20"/>
                  </a:lnTo>
                  <a:lnTo>
                    <a:pt x="37" y="20"/>
                  </a:lnTo>
                  <a:lnTo>
                    <a:pt x="37" y="20"/>
                  </a:lnTo>
                  <a:lnTo>
                    <a:pt x="37" y="20"/>
                  </a:lnTo>
                  <a:lnTo>
                    <a:pt x="37" y="20"/>
                  </a:lnTo>
                  <a:lnTo>
                    <a:pt x="37" y="20"/>
                  </a:lnTo>
                  <a:lnTo>
                    <a:pt x="39" y="20"/>
                  </a:lnTo>
                  <a:lnTo>
                    <a:pt x="37" y="20"/>
                  </a:lnTo>
                  <a:lnTo>
                    <a:pt x="37" y="20"/>
                  </a:lnTo>
                  <a:lnTo>
                    <a:pt x="37" y="20"/>
                  </a:lnTo>
                  <a:lnTo>
                    <a:pt x="37" y="20"/>
                  </a:lnTo>
                  <a:lnTo>
                    <a:pt x="37" y="20"/>
                  </a:lnTo>
                  <a:lnTo>
                    <a:pt x="37" y="20"/>
                  </a:lnTo>
                  <a:lnTo>
                    <a:pt x="37" y="21"/>
                  </a:lnTo>
                  <a:lnTo>
                    <a:pt x="37" y="21"/>
                  </a:lnTo>
                  <a:lnTo>
                    <a:pt x="37" y="21"/>
                  </a:lnTo>
                  <a:lnTo>
                    <a:pt x="37" y="21"/>
                  </a:lnTo>
                  <a:lnTo>
                    <a:pt x="37" y="21"/>
                  </a:lnTo>
                  <a:lnTo>
                    <a:pt x="36" y="21"/>
                  </a:lnTo>
                  <a:lnTo>
                    <a:pt x="36" y="21"/>
                  </a:lnTo>
                  <a:lnTo>
                    <a:pt x="36" y="21"/>
                  </a:lnTo>
                  <a:lnTo>
                    <a:pt x="36" y="21"/>
                  </a:lnTo>
                  <a:lnTo>
                    <a:pt x="36" y="21"/>
                  </a:lnTo>
                  <a:lnTo>
                    <a:pt x="35" y="23"/>
                  </a:lnTo>
                  <a:lnTo>
                    <a:pt x="35" y="23"/>
                  </a:lnTo>
                  <a:lnTo>
                    <a:pt x="35" y="23"/>
                  </a:lnTo>
                  <a:lnTo>
                    <a:pt x="35" y="23"/>
                  </a:lnTo>
                  <a:lnTo>
                    <a:pt x="35" y="24"/>
                  </a:lnTo>
                  <a:lnTo>
                    <a:pt x="36" y="26"/>
                  </a:lnTo>
                  <a:lnTo>
                    <a:pt x="36" y="26"/>
                  </a:lnTo>
                  <a:lnTo>
                    <a:pt x="35" y="26"/>
                  </a:lnTo>
                  <a:lnTo>
                    <a:pt x="35" y="26"/>
                  </a:lnTo>
                  <a:lnTo>
                    <a:pt x="35" y="26"/>
                  </a:lnTo>
                  <a:lnTo>
                    <a:pt x="35" y="26"/>
                  </a:lnTo>
                  <a:lnTo>
                    <a:pt x="35" y="26"/>
                  </a:lnTo>
                  <a:lnTo>
                    <a:pt x="34" y="26"/>
                  </a:lnTo>
                  <a:lnTo>
                    <a:pt x="34" y="24"/>
                  </a:lnTo>
                  <a:lnTo>
                    <a:pt x="34" y="24"/>
                  </a:lnTo>
                  <a:lnTo>
                    <a:pt x="34" y="24"/>
                  </a:lnTo>
                  <a:lnTo>
                    <a:pt x="34" y="26"/>
                  </a:lnTo>
                  <a:lnTo>
                    <a:pt x="34" y="26"/>
                  </a:lnTo>
                  <a:lnTo>
                    <a:pt x="34" y="24"/>
                  </a:lnTo>
                  <a:lnTo>
                    <a:pt x="33" y="24"/>
                  </a:lnTo>
                  <a:lnTo>
                    <a:pt x="33" y="24"/>
                  </a:lnTo>
                  <a:lnTo>
                    <a:pt x="32" y="24"/>
                  </a:lnTo>
                  <a:lnTo>
                    <a:pt x="32" y="24"/>
                  </a:lnTo>
                  <a:lnTo>
                    <a:pt x="32" y="24"/>
                  </a:lnTo>
                  <a:lnTo>
                    <a:pt x="32" y="24"/>
                  </a:lnTo>
                  <a:lnTo>
                    <a:pt x="30" y="24"/>
                  </a:lnTo>
                  <a:lnTo>
                    <a:pt x="30" y="24"/>
                  </a:lnTo>
                  <a:lnTo>
                    <a:pt x="29" y="24"/>
                  </a:lnTo>
                  <a:lnTo>
                    <a:pt x="29" y="24"/>
                  </a:lnTo>
                  <a:lnTo>
                    <a:pt x="29" y="24"/>
                  </a:lnTo>
                  <a:lnTo>
                    <a:pt x="29" y="23"/>
                  </a:lnTo>
                  <a:lnTo>
                    <a:pt x="28" y="23"/>
                  </a:lnTo>
                  <a:lnTo>
                    <a:pt x="28" y="23"/>
                  </a:lnTo>
                  <a:lnTo>
                    <a:pt x="27" y="23"/>
                  </a:lnTo>
                  <a:lnTo>
                    <a:pt x="27" y="23"/>
                  </a:lnTo>
                  <a:lnTo>
                    <a:pt x="26" y="21"/>
                  </a:lnTo>
                  <a:lnTo>
                    <a:pt x="26" y="21"/>
                  </a:lnTo>
                  <a:lnTo>
                    <a:pt x="25" y="20"/>
                  </a:lnTo>
                  <a:lnTo>
                    <a:pt x="23" y="19"/>
                  </a:lnTo>
                  <a:lnTo>
                    <a:pt x="22" y="19"/>
                  </a:lnTo>
                  <a:lnTo>
                    <a:pt x="22" y="19"/>
                  </a:lnTo>
                  <a:lnTo>
                    <a:pt x="20" y="19"/>
                  </a:lnTo>
                  <a:lnTo>
                    <a:pt x="20" y="19"/>
                  </a:lnTo>
                  <a:lnTo>
                    <a:pt x="20" y="19"/>
                  </a:lnTo>
                  <a:lnTo>
                    <a:pt x="20" y="19"/>
                  </a:lnTo>
                  <a:lnTo>
                    <a:pt x="19" y="19"/>
                  </a:lnTo>
                  <a:lnTo>
                    <a:pt x="19" y="19"/>
                  </a:lnTo>
                  <a:lnTo>
                    <a:pt x="18" y="17"/>
                  </a:lnTo>
                  <a:lnTo>
                    <a:pt x="18" y="17"/>
                  </a:lnTo>
                  <a:lnTo>
                    <a:pt x="16" y="17"/>
                  </a:lnTo>
                  <a:lnTo>
                    <a:pt x="16" y="17"/>
                  </a:lnTo>
                  <a:lnTo>
                    <a:pt x="15" y="16"/>
                  </a:lnTo>
                  <a:lnTo>
                    <a:pt x="15" y="16"/>
                  </a:lnTo>
                  <a:lnTo>
                    <a:pt x="14" y="16"/>
                  </a:lnTo>
                  <a:lnTo>
                    <a:pt x="14" y="15"/>
                  </a:lnTo>
                  <a:lnTo>
                    <a:pt x="13" y="15"/>
                  </a:lnTo>
                  <a:lnTo>
                    <a:pt x="13" y="15"/>
                  </a:lnTo>
                  <a:lnTo>
                    <a:pt x="12" y="15"/>
                  </a:lnTo>
                  <a:lnTo>
                    <a:pt x="12" y="14"/>
                  </a:lnTo>
                  <a:lnTo>
                    <a:pt x="12" y="14"/>
                  </a:lnTo>
                  <a:lnTo>
                    <a:pt x="12" y="14"/>
                  </a:lnTo>
                  <a:lnTo>
                    <a:pt x="11" y="14"/>
                  </a:lnTo>
                  <a:lnTo>
                    <a:pt x="11" y="14"/>
                  </a:lnTo>
                  <a:lnTo>
                    <a:pt x="11" y="14"/>
                  </a:lnTo>
                  <a:lnTo>
                    <a:pt x="11" y="14"/>
                  </a:lnTo>
                  <a:lnTo>
                    <a:pt x="11" y="13"/>
                  </a:lnTo>
                  <a:lnTo>
                    <a:pt x="11" y="13"/>
                  </a:lnTo>
                  <a:lnTo>
                    <a:pt x="9" y="13"/>
                  </a:lnTo>
                  <a:lnTo>
                    <a:pt x="9" y="13"/>
                  </a:lnTo>
                  <a:lnTo>
                    <a:pt x="9" y="13"/>
                  </a:lnTo>
                  <a:lnTo>
                    <a:pt x="9" y="13"/>
                  </a:lnTo>
                  <a:lnTo>
                    <a:pt x="9" y="13"/>
                  </a:lnTo>
                  <a:lnTo>
                    <a:pt x="8" y="13"/>
                  </a:lnTo>
                  <a:lnTo>
                    <a:pt x="8" y="13"/>
                  </a:lnTo>
                  <a:lnTo>
                    <a:pt x="7" y="13"/>
                  </a:lnTo>
                  <a:lnTo>
                    <a:pt x="7" y="13"/>
                  </a:lnTo>
                  <a:lnTo>
                    <a:pt x="7" y="13"/>
                  </a:lnTo>
                  <a:lnTo>
                    <a:pt x="7" y="12"/>
                  </a:lnTo>
                  <a:lnTo>
                    <a:pt x="7" y="12"/>
                  </a:lnTo>
                  <a:lnTo>
                    <a:pt x="7" y="12"/>
                  </a:lnTo>
                  <a:lnTo>
                    <a:pt x="6" y="12"/>
                  </a:lnTo>
                  <a:lnTo>
                    <a:pt x="6" y="12"/>
                  </a:lnTo>
                  <a:lnTo>
                    <a:pt x="5" y="12"/>
                  </a:lnTo>
                  <a:lnTo>
                    <a:pt x="4" y="12"/>
                  </a:lnTo>
                  <a:lnTo>
                    <a:pt x="2" y="12"/>
                  </a:lnTo>
                  <a:lnTo>
                    <a:pt x="2" y="12"/>
                  </a:lnTo>
                  <a:lnTo>
                    <a:pt x="1" y="10"/>
                  </a:lnTo>
                  <a:lnTo>
                    <a:pt x="1" y="10"/>
                  </a:lnTo>
                  <a:lnTo>
                    <a:pt x="1" y="10"/>
                  </a:lnTo>
                  <a:lnTo>
                    <a:pt x="1" y="9"/>
                  </a:lnTo>
                  <a:lnTo>
                    <a:pt x="0" y="9"/>
                  </a:lnTo>
                  <a:lnTo>
                    <a:pt x="0" y="9"/>
                  </a:lnTo>
                  <a:lnTo>
                    <a:pt x="0" y="9"/>
                  </a:lnTo>
                  <a:lnTo>
                    <a:pt x="0" y="9"/>
                  </a:lnTo>
                  <a:lnTo>
                    <a:pt x="0" y="8"/>
                  </a:lnTo>
                  <a:lnTo>
                    <a:pt x="0" y="8"/>
                  </a:lnTo>
                  <a:lnTo>
                    <a:pt x="0" y="8"/>
                  </a:lnTo>
                  <a:lnTo>
                    <a:pt x="0" y="8"/>
                  </a:lnTo>
                  <a:lnTo>
                    <a:pt x="0" y="8"/>
                  </a:lnTo>
                  <a:lnTo>
                    <a:pt x="0" y="8"/>
                  </a:lnTo>
                  <a:lnTo>
                    <a:pt x="0" y="7"/>
                  </a:lnTo>
                  <a:lnTo>
                    <a:pt x="0" y="7"/>
                  </a:lnTo>
                  <a:lnTo>
                    <a:pt x="0" y="7"/>
                  </a:lnTo>
                  <a:lnTo>
                    <a:pt x="0" y="7"/>
                  </a:lnTo>
                  <a:lnTo>
                    <a:pt x="0" y="7"/>
                  </a:lnTo>
                  <a:lnTo>
                    <a:pt x="0" y="7"/>
                  </a:lnTo>
                  <a:lnTo>
                    <a:pt x="0" y="7"/>
                  </a:lnTo>
                  <a:lnTo>
                    <a:pt x="0" y="7"/>
                  </a:lnTo>
                  <a:lnTo>
                    <a:pt x="0" y="7"/>
                  </a:lnTo>
                  <a:lnTo>
                    <a:pt x="0" y="6"/>
                  </a:lnTo>
                  <a:lnTo>
                    <a:pt x="0" y="6"/>
                  </a:lnTo>
                  <a:lnTo>
                    <a:pt x="0" y="6"/>
                  </a:lnTo>
                  <a:lnTo>
                    <a:pt x="0" y="6"/>
                  </a:lnTo>
                  <a:lnTo>
                    <a:pt x="0" y="6"/>
                  </a:lnTo>
                  <a:lnTo>
                    <a:pt x="0" y="6"/>
                  </a:lnTo>
                  <a:lnTo>
                    <a:pt x="0" y="6"/>
                  </a:lnTo>
                  <a:lnTo>
                    <a:pt x="0" y="5"/>
                  </a:lnTo>
                  <a:lnTo>
                    <a:pt x="0" y="5"/>
                  </a:lnTo>
                  <a:lnTo>
                    <a:pt x="0" y="5"/>
                  </a:lnTo>
                  <a:lnTo>
                    <a:pt x="0" y="5"/>
                  </a:lnTo>
                  <a:lnTo>
                    <a:pt x="0" y="5"/>
                  </a:lnTo>
                  <a:lnTo>
                    <a:pt x="0" y="3"/>
                  </a:lnTo>
                  <a:lnTo>
                    <a:pt x="1" y="3"/>
                  </a:lnTo>
                  <a:lnTo>
                    <a:pt x="1" y="3"/>
                  </a:lnTo>
                  <a:lnTo>
                    <a:pt x="1" y="3"/>
                  </a:lnTo>
                  <a:lnTo>
                    <a:pt x="2" y="3"/>
                  </a:lnTo>
                  <a:lnTo>
                    <a:pt x="2" y="3"/>
                  </a:lnTo>
                  <a:lnTo>
                    <a:pt x="2" y="2"/>
                  </a:lnTo>
                  <a:lnTo>
                    <a:pt x="2" y="2"/>
                  </a:lnTo>
                  <a:lnTo>
                    <a:pt x="2" y="2"/>
                  </a:lnTo>
                  <a:lnTo>
                    <a:pt x="2" y="2"/>
                  </a:lnTo>
                  <a:lnTo>
                    <a:pt x="2" y="2"/>
                  </a:lnTo>
                  <a:lnTo>
                    <a:pt x="4" y="2"/>
                  </a:lnTo>
                  <a:lnTo>
                    <a:pt x="4" y="2"/>
                  </a:lnTo>
                  <a:lnTo>
                    <a:pt x="4" y="2"/>
                  </a:lnTo>
                  <a:lnTo>
                    <a:pt x="4" y="1"/>
                  </a:lnTo>
                  <a:lnTo>
                    <a:pt x="4" y="1"/>
                  </a:lnTo>
                  <a:lnTo>
                    <a:pt x="4" y="1"/>
                  </a:lnTo>
                  <a:lnTo>
                    <a:pt x="4" y="1"/>
                  </a:lnTo>
                  <a:lnTo>
                    <a:pt x="4" y="2"/>
                  </a:lnTo>
                  <a:lnTo>
                    <a:pt x="4" y="2"/>
                  </a:lnTo>
                  <a:lnTo>
                    <a:pt x="5" y="3"/>
                  </a:lnTo>
                  <a:lnTo>
                    <a:pt x="5" y="3"/>
                  </a:lnTo>
                  <a:lnTo>
                    <a:pt x="5" y="3"/>
                  </a:lnTo>
                  <a:lnTo>
                    <a:pt x="5" y="3"/>
                  </a:lnTo>
                  <a:lnTo>
                    <a:pt x="5" y="3"/>
                  </a:lnTo>
                  <a:lnTo>
                    <a:pt x="6" y="3"/>
                  </a:lnTo>
                  <a:lnTo>
                    <a:pt x="6" y="3"/>
                  </a:lnTo>
                  <a:lnTo>
                    <a:pt x="7" y="3"/>
                  </a:lnTo>
                  <a:lnTo>
                    <a:pt x="7" y="3"/>
                  </a:lnTo>
                  <a:lnTo>
                    <a:pt x="7" y="3"/>
                  </a:lnTo>
                  <a:lnTo>
                    <a:pt x="7" y="3"/>
                  </a:lnTo>
                  <a:lnTo>
                    <a:pt x="7" y="3"/>
                  </a:lnTo>
                  <a:lnTo>
                    <a:pt x="7" y="2"/>
                  </a:lnTo>
                  <a:lnTo>
                    <a:pt x="7" y="2"/>
                  </a:lnTo>
                  <a:lnTo>
                    <a:pt x="7" y="2"/>
                  </a:lnTo>
                  <a:lnTo>
                    <a:pt x="7" y="2"/>
                  </a:lnTo>
                  <a:lnTo>
                    <a:pt x="8" y="2"/>
                  </a:lnTo>
                  <a:lnTo>
                    <a:pt x="8" y="2"/>
                  </a:lnTo>
                  <a:lnTo>
                    <a:pt x="8" y="1"/>
                  </a:lnTo>
                  <a:lnTo>
                    <a:pt x="8" y="1"/>
                  </a:lnTo>
                  <a:lnTo>
                    <a:pt x="8" y="1"/>
                  </a:lnTo>
                  <a:lnTo>
                    <a:pt x="8" y="1"/>
                  </a:lnTo>
                  <a:lnTo>
                    <a:pt x="8" y="1"/>
                  </a:lnTo>
                  <a:lnTo>
                    <a:pt x="9" y="1"/>
                  </a:lnTo>
                  <a:lnTo>
                    <a:pt x="9" y="1"/>
                  </a:lnTo>
                  <a:lnTo>
                    <a:pt x="9" y="1"/>
                  </a:lnTo>
                  <a:lnTo>
                    <a:pt x="9" y="1"/>
                  </a:lnTo>
                  <a:lnTo>
                    <a:pt x="9" y="1"/>
                  </a:lnTo>
                  <a:lnTo>
                    <a:pt x="11" y="1"/>
                  </a:lnTo>
                  <a:lnTo>
                    <a:pt x="11" y="1"/>
                  </a:lnTo>
                  <a:lnTo>
                    <a:pt x="11" y="1"/>
                  </a:lnTo>
                  <a:lnTo>
                    <a:pt x="11" y="1"/>
                  </a:lnTo>
                  <a:lnTo>
                    <a:pt x="11" y="1"/>
                  </a:lnTo>
                  <a:lnTo>
                    <a:pt x="11" y="1"/>
                  </a:lnTo>
                  <a:lnTo>
                    <a:pt x="11" y="1"/>
                  </a:lnTo>
                  <a:lnTo>
                    <a:pt x="11" y="1"/>
                  </a:lnTo>
                  <a:lnTo>
                    <a:pt x="11" y="1"/>
                  </a:lnTo>
                  <a:lnTo>
                    <a:pt x="12" y="1"/>
                  </a:lnTo>
                  <a:lnTo>
                    <a:pt x="12" y="2"/>
                  </a:lnTo>
                  <a:lnTo>
                    <a:pt x="12" y="2"/>
                  </a:lnTo>
                  <a:lnTo>
                    <a:pt x="12" y="2"/>
                  </a:lnTo>
                  <a:lnTo>
                    <a:pt x="12" y="2"/>
                  </a:lnTo>
                  <a:lnTo>
                    <a:pt x="13" y="2"/>
                  </a:lnTo>
                  <a:lnTo>
                    <a:pt x="14" y="3"/>
                  </a:lnTo>
                  <a:lnTo>
                    <a:pt x="14" y="3"/>
                  </a:lnTo>
                  <a:lnTo>
                    <a:pt x="14" y="3"/>
                  </a:lnTo>
                  <a:lnTo>
                    <a:pt x="14" y="3"/>
                  </a:lnTo>
                  <a:lnTo>
                    <a:pt x="14" y="3"/>
                  </a:lnTo>
                  <a:lnTo>
                    <a:pt x="14" y="3"/>
                  </a:lnTo>
                  <a:lnTo>
                    <a:pt x="15" y="5"/>
                  </a:lnTo>
                  <a:lnTo>
                    <a:pt x="15" y="5"/>
                  </a:lnTo>
                  <a:lnTo>
                    <a:pt x="16" y="5"/>
                  </a:lnTo>
                  <a:lnTo>
                    <a:pt x="16" y="5"/>
                  </a:lnTo>
                  <a:lnTo>
                    <a:pt x="16" y="5"/>
                  </a:lnTo>
                  <a:lnTo>
                    <a:pt x="16" y="5"/>
                  </a:lnTo>
                  <a:lnTo>
                    <a:pt x="16" y="5"/>
                  </a:lnTo>
                  <a:lnTo>
                    <a:pt x="16" y="5"/>
                  </a:lnTo>
                  <a:lnTo>
                    <a:pt x="18" y="5"/>
                  </a:lnTo>
                  <a:lnTo>
                    <a:pt x="18" y="5"/>
                  </a:lnTo>
                  <a:lnTo>
                    <a:pt x="18" y="5"/>
                  </a:lnTo>
                  <a:lnTo>
                    <a:pt x="19" y="5"/>
                  </a:lnTo>
                  <a:lnTo>
                    <a:pt x="19" y="5"/>
                  </a:lnTo>
                  <a:lnTo>
                    <a:pt x="19" y="5"/>
                  </a:lnTo>
                  <a:lnTo>
                    <a:pt x="19" y="3"/>
                  </a:lnTo>
                  <a:lnTo>
                    <a:pt x="20" y="3"/>
                  </a:lnTo>
                  <a:lnTo>
                    <a:pt x="20" y="3"/>
                  </a:lnTo>
                  <a:lnTo>
                    <a:pt x="21" y="3"/>
                  </a:lnTo>
                  <a:lnTo>
                    <a:pt x="21" y="5"/>
                  </a:lnTo>
                  <a:lnTo>
                    <a:pt x="21" y="5"/>
                  </a:lnTo>
                  <a:lnTo>
                    <a:pt x="21" y="5"/>
                  </a:lnTo>
                  <a:lnTo>
                    <a:pt x="22" y="3"/>
                  </a:lnTo>
                  <a:lnTo>
                    <a:pt x="23" y="5"/>
                  </a:lnTo>
                  <a:lnTo>
                    <a:pt x="25" y="5"/>
                  </a:lnTo>
                  <a:lnTo>
                    <a:pt x="25" y="3"/>
                  </a:lnTo>
                  <a:lnTo>
                    <a:pt x="26" y="3"/>
                  </a:lnTo>
                  <a:lnTo>
                    <a:pt x="26" y="3"/>
                  </a:lnTo>
                  <a:lnTo>
                    <a:pt x="27" y="3"/>
                  </a:lnTo>
                  <a:lnTo>
                    <a:pt x="28" y="3"/>
                  </a:lnTo>
                  <a:lnTo>
                    <a:pt x="28" y="3"/>
                  </a:lnTo>
                  <a:lnTo>
                    <a:pt x="29" y="2"/>
                  </a:lnTo>
                  <a:lnTo>
                    <a:pt x="29" y="2"/>
                  </a:lnTo>
                  <a:lnTo>
                    <a:pt x="29" y="2"/>
                  </a:lnTo>
                  <a:lnTo>
                    <a:pt x="29" y="2"/>
                  </a:lnTo>
                  <a:lnTo>
                    <a:pt x="30" y="2"/>
                  </a:lnTo>
                  <a:lnTo>
                    <a:pt x="32" y="2"/>
                  </a:lnTo>
                  <a:lnTo>
                    <a:pt x="32" y="1"/>
                  </a:lnTo>
                  <a:lnTo>
                    <a:pt x="32" y="1"/>
                  </a:lnTo>
                  <a:lnTo>
                    <a:pt x="32" y="1"/>
                  </a:lnTo>
                  <a:lnTo>
                    <a:pt x="32" y="1"/>
                  </a:lnTo>
                  <a:lnTo>
                    <a:pt x="32" y="1"/>
                  </a:lnTo>
                  <a:lnTo>
                    <a:pt x="33" y="2"/>
                  </a:lnTo>
                  <a:lnTo>
                    <a:pt x="33" y="2"/>
                  </a:lnTo>
                  <a:lnTo>
                    <a:pt x="33" y="2"/>
                  </a:lnTo>
                  <a:lnTo>
                    <a:pt x="33" y="2"/>
                  </a:lnTo>
                  <a:lnTo>
                    <a:pt x="33" y="2"/>
                  </a:lnTo>
                  <a:lnTo>
                    <a:pt x="33" y="2"/>
                  </a:lnTo>
                  <a:lnTo>
                    <a:pt x="34" y="2"/>
                  </a:lnTo>
                  <a:lnTo>
                    <a:pt x="34" y="2"/>
                  </a:lnTo>
                  <a:lnTo>
                    <a:pt x="34" y="2"/>
                  </a:lnTo>
                  <a:lnTo>
                    <a:pt x="34" y="2"/>
                  </a:lnTo>
                  <a:lnTo>
                    <a:pt x="34" y="2"/>
                  </a:lnTo>
                  <a:lnTo>
                    <a:pt x="34" y="2"/>
                  </a:lnTo>
                  <a:lnTo>
                    <a:pt x="35" y="2"/>
                  </a:lnTo>
                  <a:lnTo>
                    <a:pt x="35" y="1"/>
                  </a:lnTo>
                  <a:lnTo>
                    <a:pt x="36" y="1"/>
                  </a:lnTo>
                  <a:lnTo>
                    <a:pt x="36" y="1"/>
                  </a:lnTo>
                  <a:lnTo>
                    <a:pt x="36" y="0"/>
                  </a:lnTo>
                  <a:lnTo>
                    <a:pt x="36" y="0"/>
                  </a:lnTo>
                  <a:lnTo>
                    <a:pt x="36" y="0"/>
                  </a:lnTo>
                  <a:lnTo>
                    <a:pt x="36" y="0"/>
                  </a:lnTo>
                  <a:lnTo>
                    <a:pt x="36" y="0"/>
                  </a:lnTo>
                  <a:lnTo>
                    <a:pt x="36" y="0"/>
                  </a:lnTo>
                  <a:lnTo>
                    <a:pt x="36" y="1"/>
                  </a:lnTo>
                  <a:lnTo>
                    <a:pt x="36" y="1"/>
                  </a:lnTo>
                  <a:lnTo>
                    <a:pt x="36" y="1"/>
                  </a:lnTo>
                  <a:lnTo>
                    <a:pt x="36" y="1"/>
                  </a:lnTo>
                  <a:lnTo>
                    <a:pt x="36" y="1"/>
                  </a:lnTo>
                  <a:lnTo>
                    <a:pt x="36" y="1"/>
                  </a:lnTo>
                  <a:lnTo>
                    <a:pt x="37" y="1"/>
                  </a:lnTo>
                  <a:lnTo>
                    <a:pt x="39" y="1"/>
                  </a:lnTo>
                  <a:lnTo>
                    <a:pt x="39" y="0"/>
                  </a:lnTo>
                  <a:lnTo>
                    <a:pt x="39" y="0"/>
                  </a:lnTo>
                  <a:lnTo>
                    <a:pt x="40" y="0"/>
                  </a:lnTo>
                  <a:lnTo>
                    <a:pt x="40" y="0"/>
                  </a:lnTo>
                  <a:lnTo>
                    <a:pt x="40" y="0"/>
                  </a:lnTo>
                  <a:lnTo>
                    <a:pt x="41" y="0"/>
                  </a:lnTo>
                  <a:lnTo>
                    <a:pt x="41" y="0"/>
                  </a:lnTo>
                  <a:lnTo>
                    <a:pt x="41" y="0"/>
                  </a:lnTo>
                  <a:lnTo>
                    <a:pt x="4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06" name="Freeform 1371">
              <a:extLst>
                <a:ext uri="{FF2B5EF4-FFF2-40B4-BE49-F238E27FC236}">
                  <a16:creationId xmlns:a16="http://schemas.microsoft.com/office/drawing/2014/main" id="{0E258859-83E4-4DC5-B106-A994A36C6890}"/>
                </a:ext>
              </a:extLst>
            </p:cNvPr>
            <p:cNvSpPr>
              <a:spLocks/>
            </p:cNvSpPr>
            <p:nvPr/>
          </p:nvSpPr>
          <p:spPr bwMode="auto">
            <a:xfrm>
              <a:off x="6065512" y="2536551"/>
              <a:ext cx="1336" cy="1336"/>
            </a:xfrm>
            <a:custGeom>
              <a:avLst/>
              <a:gdLst>
                <a:gd name="T0" fmla="*/ 1 w 1"/>
                <a:gd name="T1" fmla="*/ 1 h 1"/>
                <a:gd name="T2" fmla="*/ 1 w 1"/>
                <a:gd name="T3" fmla="*/ 1 h 1"/>
                <a:gd name="T4" fmla="*/ 0 w 1"/>
                <a:gd name="T5" fmla="*/ 1 h 1"/>
                <a:gd name="T6" fmla="*/ 0 w 1"/>
                <a:gd name="T7" fmla="*/ 1 h 1"/>
                <a:gd name="T8" fmla="*/ 0 w 1"/>
                <a:gd name="T9" fmla="*/ 0 h 1"/>
                <a:gd name="T10" fmla="*/ 0 w 1"/>
                <a:gd name="T11" fmla="*/ 0 h 1"/>
                <a:gd name="T12" fmla="*/ 0 w 1"/>
                <a:gd name="T13" fmla="*/ 0 h 1"/>
                <a:gd name="T14" fmla="*/ 0 w 1"/>
                <a:gd name="T15" fmla="*/ 0 h 1"/>
                <a:gd name="T16" fmla="*/ 1 w 1"/>
                <a:gd name="T17" fmla="*/ 0 h 1"/>
                <a:gd name="T18" fmla="*/ 1 w 1"/>
                <a:gd name="T19" fmla="*/ 0 h 1"/>
                <a:gd name="T20" fmla="*/ 1 w 1"/>
                <a:gd name="T21" fmla="*/ 1 h 1"/>
                <a:gd name="T22" fmla="*/ 1 w 1"/>
                <a:gd name="T23" fmla="*/ 1 h 1"/>
                <a:gd name="T24" fmla="*/ 1 w 1"/>
                <a:gd name="T2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1">
                  <a:moveTo>
                    <a:pt x="1" y="1"/>
                  </a:moveTo>
                  <a:lnTo>
                    <a:pt x="1" y="1"/>
                  </a:lnTo>
                  <a:lnTo>
                    <a:pt x="0" y="1"/>
                  </a:lnTo>
                  <a:lnTo>
                    <a:pt x="0" y="1"/>
                  </a:lnTo>
                  <a:lnTo>
                    <a:pt x="0" y="0"/>
                  </a:lnTo>
                  <a:lnTo>
                    <a:pt x="0" y="0"/>
                  </a:lnTo>
                  <a:lnTo>
                    <a:pt x="0" y="0"/>
                  </a:lnTo>
                  <a:lnTo>
                    <a:pt x="0" y="0"/>
                  </a:lnTo>
                  <a:lnTo>
                    <a:pt x="1" y="0"/>
                  </a:lnTo>
                  <a:lnTo>
                    <a:pt x="1" y="0"/>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07" name="Freeform 1372">
              <a:extLst>
                <a:ext uri="{FF2B5EF4-FFF2-40B4-BE49-F238E27FC236}">
                  <a16:creationId xmlns:a16="http://schemas.microsoft.com/office/drawing/2014/main" id="{93E5233B-4474-45A8-A0DF-88C1DBBB544F}"/>
                </a:ext>
              </a:extLst>
            </p:cNvPr>
            <p:cNvSpPr>
              <a:spLocks/>
            </p:cNvSpPr>
            <p:nvPr/>
          </p:nvSpPr>
          <p:spPr bwMode="auto">
            <a:xfrm>
              <a:off x="6065512" y="2533880"/>
              <a:ext cx="0" cy="2671"/>
            </a:xfrm>
            <a:custGeom>
              <a:avLst/>
              <a:gdLst>
                <a:gd name="T0" fmla="*/ 2 h 2"/>
                <a:gd name="T1" fmla="*/ 2 h 2"/>
                <a:gd name="T2" fmla="*/ 2 h 2"/>
                <a:gd name="T3" fmla="*/ 2 h 2"/>
                <a:gd name="T4" fmla="*/ 0 h 2"/>
                <a:gd name="T5" fmla="*/ 0 h 2"/>
                <a:gd name="T6" fmla="*/ 0 h 2"/>
                <a:gd name="T7" fmla="*/ 0 h 2"/>
                <a:gd name="T8" fmla="*/ 0 h 2"/>
                <a:gd name="T9" fmla="*/ 0 h 2"/>
                <a:gd name="T10" fmla="*/ 0 h 2"/>
                <a:gd name="T11" fmla="*/ 0 h 2"/>
                <a:gd name="T12" fmla="*/ 0 h 2"/>
                <a:gd name="T13" fmla="*/ 0 h 2"/>
                <a:gd name="T14" fmla="*/ 0 h 2"/>
                <a:gd name="T15" fmla="*/ 0 h 2"/>
                <a:gd name="T16" fmla="*/ 0 h 2"/>
                <a:gd name="T17" fmla="*/ 2 h 2"/>
                <a:gd name="T18" fmla="*/ 2 h 2"/>
                <a:gd name="T19" fmla="*/ 2 h 2"/>
                <a:gd name="T20" fmla="*/ 2 h 2"/>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Lst>
              <a:rect l="0" t="0" r="r" b="b"/>
              <a:pathLst>
                <a:path h="2">
                  <a:moveTo>
                    <a:pt x="0" y="2"/>
                  </a:moveTo>
                  <a:lnTo>
                    <a:pt x="0" y="2"/>
                  </a:lnTo>
                  <a:lnTo>
                    <a:pt x="0" y="2"/>
                  </a:lnTo>
                  <a:lnTo>
                    <a:pt x="0" y="2"/>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0" y="2"/>
                  </a:lnTo>
                  <a:lnTo>
                    <a:pt x="0"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08" name="Freeform 1373">
              <a:extLst>
                <a:ext uri="{FF2B5EF4-FFF2-40B4-BE49-F238E27FC236}">
                  <a16:creationId xmlns:a16="http://schemas.microsoft.com/office/drawing/2014/main" id="{9D012C1E-FE6D-4659-8412-C236EA4E1609}"/>
                </a:ext>
              </a:extLst>
            </p:cNvPr>
            <p:cNvSpPr>
              <a:spLocks/>
            </p:cNvSpPr>
            <p:nvPr/>
          </p:nvSpPr>
          <p:spPr bwMode="auto">
            <a:xfrm>
              <a:off x="6053493" y="2532545"/>
              <a:ext cx="2671" cy="1336"/>
            </a:xfrm>
            <a:custGeom>
              <a:avLst/>
              <a:gdLst>
                <a:gd name="T0" fmla="*/ 2 w 2"/>
                <a:gd name="T1" fmla="*/ 1 h 1"/>
                <a:gd name="T2" fmla="*/ 0 w 2"/>
                <a:gd name="T3" fmla="*/ 1 h 1"/>
                <a:gd name="T4" fmla="*/ 0 w 2"/>
                <a:gd name="T5" fmla="*/ 0 h 1"/>
                <a:gd name="T6" fmla="*/ 0 w 2"/>
                <a:gd name="T7" fmla="*/ 0 h 1"/>
                <a:gd name="T8" fmla="*/ 2 w 2"/>
                <a:gd name="T9" fmla="*/ 1 h 1"/>
              </a:gdLst>
              <a:ahLst/>
              <a:cxnLst>
                <a:cxn ang="0">
                  <a:pos x="T0" y="T1"/>
                </a:cxn>
                <a:cxn ang="0">
                  <a:pos x="T2" y="T3"/>
                </a:cxn>
                <a:cxn ang="0">
                  <a:pos x="T4" y="T5"/>
                </a:cxn>
                <a:cxn ang="0">
                  <a:pos x="T6" y="T7"/>
                </a:cxn>
                <a:cxn ang="0">
                  <a:pos x="T8" y="T9"/>
                </a:cxn>
              </a:cxnLst>
              <a:rect l="0" t="0" r="r" b="b"/>
              <a:pathLst>
                <a:path w="2" h="1">
                  <a:moveTo>
                    <a:pt x="2" y="1"/>
                  </a:moveTo>
                  <a:lnTo>
                    <a:pt x="0" y="1"/>
                  </a:lnTo>
                  <a:lnTo>
                    <a:pt x="0" y="0"/>
                  </a:lnTo>
                  <a:lnTo>
                    <a:pt x="0" y="0"/>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09" name="Freeform 1374">
              <a:extLst>
                <a:ext uri="{FF2B5EF4-FFF2-40B4-BE49-F238E27FC236}">
                  <a16:creationId xmlns:a16="http://schemas.microsoft.com/office/drawing/2014/main" id="{21126AE8-A08A-482A-A9B1-D8195AFD63FA}"/>
                </a:ext>
              </a:extLst>
            </p:cNvPr>
            <p:cNvSpPr>
              <a:spLocks/>
            </p:cNvSpPr>
            <p:nvPr/>
          </p:nvSpPr>
          <p:spPr bwMode="auto">
            <a:xfrm>
              <a:off x="6061506" y="2532545"/>
              <a:ext cx="1336" cy="1336"/>
            </a:xfrm>
            <a:custGeom>
              <a:avLst/>
              <a:gdLst>
                <a:gd name="T0" fmla="*/ 1 w 1"/>
                <a:gd name="T1" fmla="*/ 0 h 1"/>
                <a:gd name="T2" fmla="*/ 1 w 1"/>
                <a:gd name="T3" fmla="*/ 1 h 1"/>
                <a:gd name="T4" fmla="*/ 1 w 1"/>
                <a:gd name="T5" fmla="*/ 0 h 1"/>
                <a:gd name="T6" fmla="*/ 0 w 1"/>
                <a:gd name="T7" fmla="*/ 0 h 1"/>
                <a:gd name="T8" fmla="*/ 1 w 1"/>
                <a:gd name="T9" fmla="*/ 0 h 1"/>
                <a:gd name="T10" fmla="*/ 1 w 1"/>
                <a:gd name="T11" fmla="*/ 0 h 1"/>
                <a:gd name="T12" fmla="*/ 1 w 1"/>
                <a:gd name="T13" fmla="*/ 0 h 1"/>
                <a:gd name="T14" fmla="*/ 1 w 1"/>
                <a:gd name="T15" fmla="*/ 0 h 1"/>
                <a:gd name="T16" fmla="*/ 1 w 1"/>
                <a:gd name="T17" fmla="*/ 0 h 1"/>
                <a:gd name="T18" fmla="*/ 1 w 1"/>
                <a:gd name="T19" fmla="*/ 0 h 1"/>
                <a:gd name="T20" fmla="*/ 1 w 1"/>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1">
                  <a:moveTo>
                    <a:pt x="1" y="0"/>
                  </a:moveTo>
                  <a:lnTo>
                    <a:pt x="1" y="1"/>
                  </a:lnTo>
                  <a:lnTo>
                    <a:pt x="1" y="0"/>
                  </a:lnTo>
                  <a:lnTo>
                    <a:pt x="0" y="0"/>
                  </a:lnTo>
                  <a:lnTo>
                    <a:pt x="1"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10" name="Freeform 1375">
              <a:extLst>
                <a:ext uri="{FF2B5EF4-FFF2-40B4-BE49-F238E27FC236}">
                  <a16:creationId xmlns:a16="http://schemas.microsoft.com/office/drawing/2014/main" id="{A63A0E5A-A713-470A-8EE4-BAB74B34D142}"/>
                </a:ext>
              </a:extLst>
            </p:cNvPr>
            <p:cNvSpPr>
              <a:spLocks/>
            </p:cNvSpPr>
            <p:nvPr/>
          </p:nvSpPr>
          <p:spPr bwMode="auto">
            <a:xfrm>
              <a:off x="6058835" y="253254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11" name="Freeform 1376">
              <a:extLst>
                <a:ext uri="{FF2B5EF4-FFF2-40B4-BE49-F238E27FC236}">
                  <a16:creationId xmlns:a16="http://schemas.microsoft.com/office/drawing/2014/main" id="{E2958060-690B-4EC7-9223-1D7E50569551}"/>
                </a:ext>
              </a:extLst>
            </p:cNvPr>
            <p:cNvSpPr>
              <a:spLocks/>
            </p:cNvSpPr>
            <p:nvPr/>
          </p:nvSpPr>
          <p:spPr bwMode="auto">
            <a:xfrm>
              <a:off x="6033461" y="2529874"/>
              <a:ext cx="0" cy="1336"/>
            </a:xfrm>
            <a:custGeom>
              <a:avLst/>
              <a:gdLst>
                <a:gd name="T0" fmla="*/ 1 h 1"/>
                <a:gd name="T1" fmla="*/ 1 h 1"/>
                <a:gd name="T2" fmla="*/ 0 h 1"/>
                <a:gd name="T3" fmla="*/ 0 h 1"/>
                <a:gd name="T4" fmla="*/ 0 h 1"/>
                <a:gd name="T5" fmla="*/ 0 h 1"/>
                <a:gd name="T6" fmla="*/ 0 h 1"/>
                <a:gd name="T7" fmla="*/ 0 h 1"/>
                <a:gd name="T8" fmla="*/ 0 h 1"/>
                <a:gd name="T9"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1">
                  <a:moveTo>
                    <a:pt x="0" y="1"/>
                  </a:moveTo>
                  <a:lnTo>
                    <a:pt x="0" y="1"/>
                  </a:lnTo>
                  <a:lnTo>
                    <a:pt x="0" y="0"/>
                  </a:lnTo>
                  <a:lnTo>
                    <a:pt x="0" y="0"/>
                  </a:lnTo>
                  <a:lnTo>
                    <a:pt x="0" y="0"/>
                  </a:lnTo>
                  <a:lnTo>
                    <a:pt x="0" y="0"/>
                  </a:lnTo>
                  <a:lnTo>
                    <a:pt x="0" y="0"/>
                  </a:lnTo>
                  <a:lnTo>
                    <a:pt x="0" y="0"/>
                  </a:lnTo>
                  <a:lnTo>
                    <a:pt x="0" y="0"/>
                  </a:lnTo>
                  <a:lnTo>
                    <a:pt x="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12" name="Freeform 1377">
              <a:extLst>
                <a:ext uri="{FF2B5EF4-FFF2-40B4-BE49-F238E27FC236}">
                  <a16:creationId xmlns:a16="http://schemas.microsoft.com/office/drawing/2014/main" id="{45236E53-1318-40D0-B723-371D0BF41A25}"/>
                </a:ext>
              </a:extLst>
            </p:cNvPr>
            <p:cNvSpPr>
              <a:spLocks/>
            </p:cNvSpPr>
            <p:nvPr/>
          </p:nvSpPr>
          <p:spPr bwMode="auto">
            <a:xfrm>
              <a:off x="6069519" y="25285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13" name="Freeform 1378">
              <a:extLst>
                <a:ext uri="{FF2B5EF4-FFF2-40B4-BE49-F238E27FC236}">
                  <a16:creationId xmlns:a16="http://schemas.microsoft.com/office/drawing/2014/main" id="{6E4A648F-20A1-46DE-A375-DB55C281706D}"/>
                </a:ext>
              </a:extLst>
            </p:cNvPr>
            <p:cNvSpPr>
              <a:spLocks/>
            </p:cNvSpPr>
            <p:nvPr/>
          </p:nvSpPr>
          <p:spPr bwMode="auto">
            <a:xfrm>
              <a:off x="5949325" y="2521861"/>
              <a:ext cx="4007" cy="2671"/>
            </a:xfrm>
            <a:custGeom>
              <a:avLst/>
              <a:gdLst>
                <a:gd name="T0" fmla="*/ 2 w 3"/>
                <a:gd name="T1" fmla="*/ 0 h 2"/>
                <a:gd name="T2" fmla="*/ 2 w 3"/>
                <a:gd name="T3" fmla="*/ 0 h 2"/>
                <a:gd name="T4" fmla="*/ 2 w 3"/>
                <a:gd name="T5" fmla="*/ 0 h 2"/>
                <a:gd name="T6" fmla="*/ 2 w 3"/>
                <a:gd name="T7" fmla="*/ 0 h 2"/>
                <a:gd name="T8" fmla="*/ 3 w 3"/>
                <a:gd name="T9" fmla="*/ 0 h 2"/>
                <a:gd name="T10" fmla="*/ 3 w 3"/>
                <a:gd name="T11" fmla="*/ 0 h 2"/>
                <a:gd name="T12" fmla="*/ 3 w 3"/>
                <a:gd name="T13" fmla="*/ 0 h 2"/>
                <a:gd name="T14" fmla="*/ 3 w 3"/>
                <a:gd name="T15" fmla="*/ 0 h 2"/>
                <a:gd name="T16" fmla="*/ 3 w 3"/>
                <a:gd name="T17" fmla="*/ 0 h 2"/>
                <a:gd name="T18" fmla="*/ 3 w 3"/>
                <a:gd name="T19" fmla="*/ 0 h 2"/>
                <a:gd name="T20" fmla="*/ 3 w 3"/>
                <a:gd name="T21" fmla="*/ 0 h 2"/>
                <a:gd name="T22" fmla="*/ 3 w 3"/>
                <a:gd name="T23" fmla="*/ 0 h 2"/>
                <a:gd name="T24" fmla="*/ 3 w 3"/>
                <a:gd name="T25" fmla="*/ 1 h 2"/>
                <a:gd name="T26" fmla="*/ 3 w 3"/>
                <a:gd name="T27" fmla="*/ 1 h 2"/>
                <a:gd name="T28" fmla="*/ 3 w 3"/>
                <a:gd name="T29" fmla="*/ 1 h 2"/>
                <a:gd name="T30" fmla="*/ 3 w 3"/>
                <a:gd name="T31" fmla="*/ 1 h 2"/>
                <a:gd name="T32" fmla="*/ 3 w 3"/>
                <a:gd name="T33" fmla="*/ 1 h 2"/>
                <a:gd name="T34" fmla="*/ 2 w 3"/>
                <a:gd name="T35" fmla="*/ 2 h 2"/>
                <a:gd name="T36" fmla="*/ 2 w 3"/>
                <a:gd name="T37" fmla="*/ 2 h 2"/>
                <a:gd name="T38" fmla="*/ 2 w 3"/>
                <a:gd name="T39" fmla="*/ 2 h 2"/>
                <a:gd name="T40" fmla="*/ 2 w 3"/>
                <a:gd name="T41" fmla="*/ 2 h 2"/>
                <a:gd name="T42" fmla="*/ 2 w 3"/>
                <a:gd name="T43" fmla="*/ 2 h 2"/>
                <a:gd name="T44" fmla="*/ 2 w 3"/>
                <a:gd name="T45" fmla="*/ 2 h 2"/>
                <a:gd name="T46" fmla="*/ 2 w 3"/>
                <a:gd name="T47" fmla="*/ 2 h 2"/>
                <a:gd name="T48" fmla="*/ 2 w 3"/>
                <a:gd name="T49" fmla="*/ 1 h 2"/>
                <a:gd name="T50" fmla="*/ 0 w 3"/>
                <a:gd name="T51" fmla="*/ 1 h 2"/>
                <a:gd name="T52" fmla="*/ 0 w 3"/>
                <a:gd name="T53" fmla="*/ 0 h 2"/>
                <a:gd name="T54" fmla="*/ 0 w 3"/>
                <a:gd name="T55" fmla="*/ 0 h 2"/>
                <a:gd name="T56" fmla="*/ 0 w 3"/>
                <a:gd name="T57" fmla="*/ 0 h 2"/>
                <a:gd name="T58" fmla="*/ 0 w 3"/>
                <a:gd name="T59" fmla="*/ 0 h 2"/>
                <a:gd name="T60" fmla="*/ 2 w 3"/>
                <a:gd name="T6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 h="2">
                  <a:moveTo>
                    <a:pt x="2" y="0"/>
                  </a:moveTo>
                  <a:lnTo>
                    <a:pt x="2" y="0"/>
                  </a:lnTo>
                  <a:lnTo>
                    <a:pt x="2" y="0"/>
                  </a:lnTo>
                  <a:lnTo>
                    <a:pt x="2" y="0"/>
                  </a:lnTo>
                  <a:lnTo>
                    <a:pt x="3" y="0"/>
                  </a:lnTo>
                  <a:lnTo>
                    <a:pt x="3" y="0"/>
                  </a:lnTo>
                  <a:lnTo>
                    <a:pt x="3" y="0"/>
                  </a:lnTo>
                  <a:lnTo>
                    <a:pt x="3" y="0"/>
                  </a:lnTo>
                  <a:lnTo>
                    <a:pt x="3" y="0"/>
                  </a:lnTo>
                  <a:lnTo>
                    <a:pt x="3" y="0"/>
                  </a:lnTo>
                  <a:lnTo>
                    <a:pt x="3" y="0"/>
                  </a:lnTo>
                  <a:lnTo>
                    <a:pt x="3" y="0"/>
                  </a:lnTo>
                  <a:lnTo>
                    <a:pt x="3" y="1"/>
                  </a:lnTo>
                  <a:lnTo>
                    <a:pt x="3" y="1"/>
                  </a:lnTo>
                  <a:lnTo>
                    <a:pt x="3" y="1"/>
                  </a:lnTo>
                  <a:lnTo>
                    <a:pt x="3" y="1"/>
                  </a:lnTo>
                  <a:lnTo>
                    <a:pt x="3" y="1"/>
                  </a:lnTo>
                  <a:lnTo>
                    <a:pt x="2" y="2"/>
                  </a:lnTo>
                  <a:lnTo>
                    <a:pt x="2" y="2"/>
                  </a:lnTo>
                  <a:lnTo>
                    <a:pt x="2" y="2"/>
                  </a:lnTo>
                  <a:lnTo>
                    <a:pt x="2" y="2"/>
                  </a:lnTo>
                  <a:lnTo>
                    <a:pt x="2" y="2"/>
                  </a:lnTo>
                  <a:lnTo>
                    <a:pt x="2" y="2"/>
                  </a:lnTo>
                  <a:lnTo>
                    <a:pt x="2" y="2"/>
                  </a:lnTo>
                  <a:lnTo>
                    <a:pt x="2" y="1"/>
                  </a:lnTo>
                  <a:lnTo>
                    <a:pt x="0" y="1"/>
                  </a:lnTo>
                  <a:lnTo>
                    <a:pt x="0" y="0"/>
                  </a:lnTo>
                  <a:lnTo>
                    <a:pt x="0" y="0"/>
                  </a:lnTo>
                  <a:lnTo>
                    <a:pt x="0" y="0"/>
                  </a:lnTo>
                  <a:lnTo>
                    <a:pt x="0"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14" name="Freeform 1379">
              <a:extLst>
                <a:ext uri="{FF2B5EF4-FFF2-40B4-BE49-F238E27FC236}">
                  <a16:creationId xmlns:a16="http://schemas.microsoft.com/office/drawing/2014/main" id="{EE059591-A277-491A-9778-EC15F6AF66C4}"/>
                </a:ext>
              </a:extLst>
            </p:cNvPr>
            <p:cNvSpPr>
              <a:spLocks/>
            </p:cNvSpPr>
            <p:nvPr/>
          </p:nvSpPr>
          <p:spPr bwMode="auto">
            <a:xfrm>
              <a:off x="5947989" y="2520526"/>
              <a:ext cx="1336" cy="1336"/>
            </a:xfrm>
            <a:custGeom>
              <a:avLst/>
              <a:gdLst>
                <a:gd name="T0" fmla="*/ 1 w 1"/>
                <a:gd name="T1" fmla="*/ 1 h 1"/>
                <a:gd name="T2" fmla="*/ 1 w 1"/>
                <a:gd name="T3" fmla="*/ 1 h 1"/>
                <a:gd name="T4" fmla="*/ 1 w 1"/>
                <a:gd name="T5" fmla="*/ 1 h 1"/>
                <a:gd name="T6" fmla="*/ 0 w 1"/>
                <a:gd name="T7" fmla="*/ 1 h 1"/>
                <a:gd name="T8" fmla="*/ 0 w 1"/>
                <a:gd name="T9" fmla="*/ 1 h 1"/>
                <a:gd name="T10" fmla="*/ 0 w 1"/>
                <a:gd name="T11" fmla="*/ 1 h 1"/>
                <a:gd name="T12" fmla="*/ 0 w 1"/>
                <a:gd name="T13" fmla="*/ 0 h 1"/>
                <a:gd name="T14" fmla="*/ 0 w 1"/>
                <a:gd name="T15" fmla="*/ 0 h 1"/>
                <a:gd name="T16" fmla="*/ 0 w 1"/>
                <a:gd name="T17" fmla="*/ 0 h 1"/>
                <a:gd name="T18" fmla="*/ 0 w 1"/>
                <a:gd name="T19" fmla="*/ 0 h 1"/>
                <a:gd name="T20" fmla="*/ 1 w 1"/>
                <a:gd name="T21" fmla="*/ 0 h 1"/>
                <a:gd name="T22" fmla="*/ 1 w 1"/>
                <a:gd name="T23" fmla="*/ 0 h 1"/>
                <a:gd name="T24" fmla="*/ 1 w 1"/>
                <a:gd name="T25" fmla="*/ 0 h 1"/>
                <a:gd name="T26" fmla="*/ 1 w 1"/>
                <a:gd name="T27" fmla="*/ 1 h 1"/>
                <a:gd name="T28" fmla="*/ 1 w 1"/>
                <a:gd name="T2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 h="1">
                  <a:moveTo>
                    <a:pt x="1" y="1"/>
                  </a:moveTo>
                  <a:lnTo>
                    <a:pt x="1" y="1"/>
                  </a:lnTo>
                  <a:lnTo>
                    <a:pt x="1" y="1"/>
                  </a:lnTo>
                  <a:lnTo>
                    <a:pt x="0" y="1"/>
                  </a:lnTo>
                  <a:lnTo>
                    <a:pt x="0" y="1"/>
                  </a:lnTo>
                  <a:lnTo>
                    <a:pt x="0" y="1"/>
                  </a:lnTo>
                  <a:lnTo>
                    <a:pt x="0" y="0"/>
                  </a:lnTo>
                  <a:lnTo>
                    <a:pt x="0" y="0"/>
                  </a:lnTo>
                  <a:lnTo>
                    <a:pt x="0" y="0"/>
                  </a:lnTo>
                  <a:lnTo>
                    <a:pt x="0" y="0"/>
                  </a:lnTo>
                  <a:lnTo>
                    <a:pt x="1" y="0"/>
                  </a:lnTo>
                  <a:lnTo>
                    <a:pt x="1" y="0"/>
                  </a:lnTo>
                  <a:lnTo>
                    <a:pt x="1" y="0"/>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15" name="Freeform 1380">
              <a:extLst>
                <a:ext uri="{FF2B5EF4-FFF2-40B4-BE49-F238E27FC236}">
                  <a16:creationId xmlns:a16="http://schemas.microsoft.com/office/drawing/2014/main" id="{3CB5B68D-CC11-46C3-A6F7-73DDD79F4D0F}"/>
                </a:ext>
              </a:extLst>
            </p:cNvPr>
            <p:cNvSpPr>
              <a:spLocks/>
            </p:cNvSpPr>
            <p:nvPr/>
          </p:nvSpPr>
          <p:spPr bwMode="auto">
            <a:xfrm>
              <a:off x="6042809" y="2487138"/>
              <a:ext cx="1336" cy="2671"/>
            </a:xfrm>
            <a:custGeom>
              <a:avLst/>
              <a:gdLst>
                <a:gd name="T0" fmla="*/ 1 w 1"/>
                <a:gd name="T1" fmla="*/ 0 h 2"/>
                <a:gd name="T2" fmla="*/ 1 w 1"/>
                <a:gd name="T3" fmla="*/ 0 h 2"/>
                <a:gd name="T4" fmla="*/ 1 w 1"/>
                <a:gd name="T5" fmla="*/ 0 h 2"/>
                <a:gd name="T6" fmla="*/ 1 w 1"/>
                <a:gd name="T7" fmla="*/ 0 h 2"/>
                <a:gd name="T8" fmla="*/ 1 w 1"/>
                <a:gd name="T9" fmla="*/ 0 h 2"/>
                <a:gd name="T10" fmla="*/ 1 w 1"/>
                <a:gd name="T11" fmla="*/ 2 h 2"/>
                <a:gd name="T12" fmla="*/ 1 w 1"/>
                <a:gd name="T13" fmla="*/ 0 h 2"/>
                <a:gd name="T14" fmla="*/ 0 w 1"/>
                <a:gd name="T15" fmla="*/ 0 h 2"/>
                <a:gd name="T16" fmla="*/ 0 w 1"/>
                <a:gd name="T17" fmla="*/ 0 h 2"/>
                <a:gd name="T18" fmla="*/ 0 w 1"/>
                <a:gd name="T19" fmla="*/ 0 h 2"/>
                <a:gd name="T20" fmla="*/ 0 w 1"/>
                <a:gd name="T21" fmla="*/ 0 h 2"/>
                <a:gd name="T22" fmla="*/ 0 w 1"/>
                <a:gd name="T23" fmla="*/ 0 h 2"/>
                <a:gd name="T24" fmla="*/ 0 w 1"/>
                <a:gd name="T25" fmla="*/ 0 h 2"/>
                <a:gd name="T26" fmla="*/ 0 w 1"/>
                <a:gd name="T27" fmla="*/ 0 h 2"/>
                <a:gd name="T28" fmla="*/ 1 w 1"/>
                <a:gd name="T29" fmla="*/ 0 h 2"/>
                <a:gd name="T30" fmla="*/ 1 w 1"/>
                <a:gd name="T31" fmla="*/ 0 h 2"/>
                <a:gd name="T32" fmla="*/ 1 w 1"/>
                <a:gd name="T33" fmla="*/ 0 h 2"/>
                <a:gd name="T34" fmla="*/ 1 w 1"/>
                <a:gd name="T35" fmla="*/ 0 h 2"/>
                <a:gd name="T36" fmla="*/ 1 w 1"/>
                <a:gd name="T37" fmla="*/ 0 h 2"/>
                <a:gd name="T38" fmla="*/ 1 w 1"/>
                <a:gd name="T39" fmla="*/ 0 h 2"/>
                <a:gd name="T40" fmla="*/ 1 w 1"/>
                <a:gd name="T4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 h="2">
                  <a:moveTo>
                    <a:pt x="1" y="0"/>
                  </a:moveTo>
                  <a:lnTo>
                    <a:pt x="1" y="0"/>
                  </a:lnTo>
                  <a:lnTo>
                    <a:pt x="1" y="0"/>
                  </a:lnTo>
                  <a:lnTo>
                    <a:pt x="1" y="0"/>
                  </a:lnTo>
                  <a:lnTo>
                    <a:pt x="1" y="0"/>
                  </a:lnTo>
                  <a:lnTo>
                    <a:pt x="1" y="2"/>
                  </a:lnTo>
                  <a:lnTo>
                    <a:pt x="1" y="0"/>
                  </a:lnTo>
                  <a:lnTo>
                    <a:pt x="0" y="0"/>
                  </a:lnTo>
                  <a:lnTo>
                    <a:pt x="0" y="0"/>
                  </a:lnTo>
                  <a:lnTo>
                    <a:pt x="0" y="0"/>
                  </a:lnTo>
                  <a:lnTo>
                    <a:pt x="0" y="0"/>
                  </a:lnTo>
                  <a:lnTo>
                    <a:pt x="0" y="0"/>
                  </a:lnTo>
                  <a:lnTo>
                    <a:pt x="0" y="0"/>
                  </a:lnTo>
                  <a:lnTo>
                    <a:pt x="0" y="0"/>
                  </a:lnTo>
                  <a:lnTo>
                    <a:pt x="1"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16" name="Freeform 1381">
              <a:extLst>
                <a:ext uri="{FF2B5EF4-FFF2-40B4-BE49-F238E27FC236}">
                  <a16:creationId xmlns:a16="http://schemas.microsoft.com/office/drawing/2014/main" id="{10A75608-7F57-4EE7-BFC4-C935B6C6F67D}"/>
                </a:ext>
              </a:extLst>
            </p:cNvPr>
            <p:cNvSpPr>
              <a:spLocks/>
            </p:cNvSpPr>
            <p:nvPr/>
          </p:nvSpPr>
          <p:spPr bwMode="auto">
            <a:xfrm>
              <a:off x="6034797" y="2485803"/>
              <a:ext cx="2671" cy="0"/>
            </a:xfrm>
            <a:custGeom>
              <a:avLst/>
              <a:gdLst>
                <a:gd name="T0" fmla="*/ 0 w 2"/>
                <a:gd name="T1" fmla="*/ 0 w 2"/>
                <a:gd name="T2" fmla="*/ 0 w 2"/>
                <a:gd name="T3" fmla="*/ 0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0" y="0"/>
                  </a:lnTo>
                  <a:lnTo>
                    <a:pt x="2"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17" name="Freeform 1382">
              <a:extLst>
                <a:ext uri="{FF2B5EF4-FFF2-40B4-BE49-F238E27FC236}">
                  <a16:creationId xmlns:a16="http://schemas.microsoft.com/office/drawing/2014/main" id="{609291C3-9642-4165-AFFC-7EA68DFB1EFC}"/>
                </a:ext>
              </a:extLst>
            </p:cNvPr>
            <p:cNvSpPr>
              <a:spLocks/>
            </p:cNvSpPr>
            <p:nvPr/>
          </p:nvSpPr>
          <p:spPr bwMode="auto">
            <a:xfrm>
              <a:off x="5946654" y="2480461"/>
              <a:ext cx="1336" cy="1336"/>
            </a:xfrm>
            <a:custGeom>
              <a:avLst/>
              <a:gdLst>
                <a:gd name="T0" fmla="*/ 1 w 1"/>
                <a:gd name="T1" fmla="*/ 0 h 1"/>
                <a:gd name="T2" fmla="*/ 1 w 1"/>
                <a:gd name="T3" fmla="*/ 0 h 1"/>
                <a:gd name="T4" fmla="*/ 1 w 1"/>
                <a:gd name="T5" fmla="*/ 0 h 1"/>
                <a:gd name="T6" fmla="*/ 1 w 1"/>
                <a:gd name="T7" fmla="*/ 0 h 1"/>
                <a:gd name="T8" fmla="*/ 1 w 1"/>
                <a:gd name="T9" fmla="*/ 1 h 1"/>
                <a:gd name="T10" fmla="*/ 1 w 1"/>
                <a:gd name="T11" fmla="*/ 1 h 1"/>
                <a:gd name="T12" fmla="*/ 0 w 1"/>
                <a:gd name="T13" fmla="*/ 1 h 1"/>
                <a:gd name="T14" fmla="*/ 0 w 1"/>
                <a:gd name="T15" fmla="*/ 1 h 1"/>
                <a:gd name="T16" fmla="*/ 0 w 1"/>
                <a:gd name="T17" fmla="*/ 1 h 1"/>
                <a:gd name="T18" fmla="*/ 0 w 1"/>
                <a:gd name="T19" fmla="*/ 1 h 1"/>
                <a:gd name="T20" fmla="*/ 0 w 1"/>
                <a:gd name="T21" fmla="*/ 1 h 1"/>
                <a:gd name="T22" fmla="*/ 0 w 1"/>
                <a:gd name="T23" fmla="*/ 1 h 1"/>
                <a:gd name="T24" fmla="*/ 0 w 1"/>
                <a:gd name="T25" fmla="*/ 1 h 1"/>
                <a:gd name="T26" fmla="*/ 0 w 1"/>
                <a:gd name="T27" fmla="*/ 1 h 1"/>
                <a:gd name="T28" fmla="*/ 0 w 1"/>
                <a:gd name="T29" fmla="*/ 1 h 1"/>
                <a:gd name="T30" fmla="*/ 0 w 1"/>
                <a:gd name="T31" fmla="*/ 1 h 1"/>
                <a:gd name="T32" fmla="*/ 1 w 1"/>
                <a:gd name="T33" fmla="*/ 1 h 1"/>
                <a:gd name="T34" fmla="*/ 1 w 1"/>
                <a:gd name="T35" fmla="*/ 0 h 1"/>
                <a:gd name="T36" fmla="*/ 1 w 1"/>
                <a:gd name="T37" fmla="*/ 0 h 1"/>
                <a:gd name="T38" fmla="*/ 1 w 1"/>
                <a:gd name="T39" fmla="*/ 0 h 1"/>
                <a:gd name="T40" fmla="*/ 1 w 1"/>
                <a:gd name="T41" fmla="*/ 0 h 1"/>
                <a:gd name="T42" fmla="*/ 1 w 1"/>
                <a:gd name="T43" fmla="*/ 0 h 1"/>
                <a:gd name="T44" fmla="*/ 1 w 1"/>
                <a:gd name="T45" fmla="*/ 0 h 1"/>
                <a:gd name="T46" fmla="*/ 1 w 1"/>
                <a:gd name="T47" fmla="*/ 0 h 1"/>
                <a:gd name="T48" fmla="*/ 1 w 1"/>
                <a:gd name="T49" fmla="*/ 0 h 1"/>
                <a:gd name="T50" fmla="*/ 1 w 1"/>
                <a:gd name="T51" fmla="*/ 0 h 1"/>
                <a:gd name="T52" fmla="*/ 1 w 1"/>
                <a:gd name="T53" fmla="*/ 0 h 1"/>
                <a:gd name="T54" fmla="*/ 1 w 1"/>
                <a:gd name="T55" fmla="*/ 0 h 1"/>
                <a:gd name="T56" fmla="*/ 1 w 1"/>
                <a:gd name="T57" fmla="*/ 0 h 1"/>
                <a:gd name="T58" fmla="*/ 1 w 1"/>
                <a:gd name="T5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 h="1">
                  <a:moveTo>
                    <a:pt x="1" y="0"/>
                  </a:moveTo>
                  <a:lnTo>
                    <a:pt x="1" y="0"/>
                  </a:lnTo>
                  <a:lnTo>
                    <a:pt x="1" y="0"/>
                  </a:lnTo>
                  <a:lnTo>
                    <a:pt x="1" y="0"/>
                  </a:lnTo>
                  <a:lnTo>
                    <a:pt x="1" y="1"/>
                  </a:lnTo>
                  <a:lnTo>
                    <a:pt x="1" y="1"/>
                  </a:lnTo>
                  <a:lnTo>
                    <a:pt x="0" y="1"/>
                  </a:lnTo>
                  <a:lnTo>
                    <a:pt x="0" y="1"/>
                  </a:lnTo>
                  <a:lnTo>
                    <a:pt x="0" y="1"/>
                  </a:lnTo>
                  <a:lnTo>
                    <a:pt x="0" y="1"/>
                  </a:lnTo>
                  <a:lnTo>
                    <a:pt x="0" y="1"/>
                  </a:lnTo>
                  <a:lnTo>
                    <a:pt x="0" y="1"/>
                  </a:lnTo>
                  <a:lnTo>
                    <a:pt x="0" y="1"/>
                  </a:lnTo>
                  <a:lnTo>
                    <a:pt x="0" y="1"/>
                  </a:lnTo>
                  <a:lnTo>
                    <a:pt x="0" y="1"/>
                  </a:lnTo>
                  <a:lnTo>
                    <a:pt x="0" y="1"/>
                  </a:lnTo>
                  <a:lnTo>
                    <a:pt x="1" y="1"/>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18" name="Freeform 1383">
              <a:extLst>
                <a:ext uri="{FF2B5EF4-FFF2-40B4-BE49-F238E27FC236}">
                  <a16:creationId xmlns:a16="http://schemas.microsoft.com/office/drawing/2014/main" id="{F3563E47-EF1C-47C3-8297-BC5B711579A6}"/>
                </a:ext>
              </a:extLst>
            </p:cNvPr>
            <p:cNvSpPr>
              <a:spLocks/>
            </p:cNvSpPr>
            <p:nvPr/>
          </p:nvSpPr>
          <p:spPr bwMode="auto">
            <a:xfrm>
              <a:off x="5966686" y="2476454"/>
              <a:ext cx="1336" cy="1336"/>
            </a:xfrm>
            <a:custGeom>
              <a:avLst/>
              <a:gdLst>
                <a:gd name="T0" fmla="*/ 1 w 1"/>
                <a:gd name="T1" fmla="*/ 1 h 1"/>
                <a:gd name="T2" fmla="*/ 1 w 1"/>
                <a:gd name="T3" fmla="*/ 1 h 1"/>
                <a:gd name="T4" fmla="*/ 1 w 1"/>
                <a:gd name="T5" fmla="*/ 1 h 1"/>
                <a:gd name="T6" fmla="*/ 1 w 1"/>
                <a:gd name="T7" fmla="*/ 1 h 1"/>
                <a:gd name="T8" fmla="*/ 1 w 1"/>
                <a:gd name="T9" fmla="*/ 1 h 1"/>
                <a:gd name="T10" fmla="*/ 1 w 1"/>
                <a:gd name="T11" fmla="*/ 1 h 1"/>
                <a:gd name="T12" fmla="*/ 1 w 1"/>
                <a:gd name="T13" fmla="*/ 1 h 1"/>
                <a:gd name="T14" fmla="*/ 0 w 1"/>
                <a:gd name="T15" fmla="*/ 1 h 1"/>
                <a:gd name="T16" fmla="*/ 0 w 1"/>
                <a:gd name="T17" fmla="*/ 1 h 1"/>
                <a:gd name="T18" fmla="*/ 0 w 1"/>
                <a:gd name="T19" fmla="*/ 1 h 1"/>
                <a:gd name="T20" fmla="*/ 0 w 1"/>
                <a:gd name="T21" fmla="*/ 1 h 1"/>
                <a:gd name="T22" fmla="*/ 0 w 1"/>
                <a:gd name="T23" fmla="*/ 0 h 1"/>
                <a:gd name="T24" fmla="*/ 1 w 1"/>
                <a:gd name="T25" fmla="*/ 0 h 1"/>
                <a:gd name="T26" fmla="*/ 1 w 1"/>
                <a:gd name="T27" fmla="*/ 0 h 1"/>
                <a:gd name="T28" fmla="*/ 1 w 1"/>
                <a:gd name="T29" fmla="*/ 0 h 1"/>
                <a:gd name="T30" fmla="*/ 1 w 1"/>
                <a:gd name="T31" fmla="*/ 0 h 1"/>
                <a:gd name="T32" fmla="*/ 1 w 1"/>
                <a:gd name="T33" fmla="*/ 0 h 1"/>
                <a:gd name="T34" fmla="*/ 1 w 1"/>
                <a:gd name="T35" fmla="*/ 0 h 1"/>
                <a:gd name="T36" fmla="*/ 1 w 1"/>
                <a:gd name="T37" fmla="*/ 0 h 1"/>
                <a:gd name="T38" fmla="*/ 1 w 1"/>
                <a:gd name="T3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 h="1">
                  <a:moveTo>
                    <a:pt x="1" y="1"/>
                  </a:moveTo>
                  <a:lnTo>
                    <a:pt x="1" y="1"/>
                  </a:lnTo>
                  <a:lnTo>
                    <a:pt x="1" y="1"/>
                  </a:lnTo>
                  <a:lnTo>
                    <a:pt x="1" y="1"/>
                  </a:lnTo>
                  <a:lnTo>
                    <a:pt x="1" y="1"/>
                  </a:lnTo>
                  <a:lnTo>
                    <a:pt x="1" y="1"/>
                  </a:lnTo>
                  <a:lnTo>
                    <a:pt x="1" y="1"/>
                  </a:lnTo>
                  <a:lnTo>
                    <a:pt x="0" y="1"/>
                  </a:lnTo>
                  <a:lnTo>
                    <a:pt x="0" y="1"/>
                  </a:lnTo>
                  <a:lnTo>
                    <a:pt x="0" y="1"/>
                  </a:lnTo>
                  <a:lnTo>
                    <a:pt x="0" y="1"/>
                  </a:lnTo>
                  <a:lnTo>
                    <a:pt x="0" y="0"/>
                  </a:lnTo>
                  <a:lnTo>
                    <a:pt x="1" y="0"/>
                  </a:lnTo>
                  <a:lnTo>
                    <a:pt x="1" y="0"/>
                  </a:lnTo>
                  <a:lnTo>
                    <a:pt x="1" y="0"/>
                  </a:lnTo>
                  <a:lnTo>
                    <a:pt x="1" y="0"/>
                  </a:lnTo>
                  <a:lnTo>
                    <a:pt x="1" y="0"/>
                  </a:lnTo>
                  <a:lnTo>
                    <a:pt x="1" y="0"/>
                  </a:lnTo>
                  <a:lnTo>
                    <a:pt x="1" y="0"/>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19" name="Freeform 1384">
              <a:extLst>
                <a:ext uri="{FF2B5EF4-FFF2-40B4-BE49-F238E27FC236}">
                  <a16:creationId xmlns:a16="http://schemas.microsoft.com/office/drawing/2014/main" id="{2FE52FE1-866A-48F5-878D-17AD35BFEAA5}"/>
                </a:ext>
              </a:extLst>
            </p:cNvPr>
            <p:cNvSpPr>
              <a:spLocks/>
            </p:cNvSpPr>
            <p:nvPr/>
          </p:nvSpPr>
          <p:spPr bwMode="auto">
            <a:xfrm>
              <a:off x="5966686" y="2476454"/>
              <a:ext cx="0" cy="1336"/>
            </a:xfrm>
            <a:custGeom>
              <a:avLst/>
              <a:gdLst>
                <a:gd name="T0" fmla="*/ 0 h 1"/>
                <a:gd name="T1" fmla="*/ 1 h 1"/>
                <a:gd name="T2" fmla="*/ 1 h 1"/>
                <a:gd name="T3" fmla="*/ 0 h 1"/>
                <a:gd name="T4" fmla="*/ 0 h 1"/>
                <a:gd name="T5" fmla="*/ 0 h 1"/>
                <a:gd name="T6" fmla="*/ 0 h 1"/>
                <a:gd name="T7" fmla="*/ 0 h 1"/>
                <a:gd name="T8" fmla="*/ 0 h 1"/>
                <a:gd name="T9" fmla="*/ 0 h 1"/>
                <a:gd name="T10" fmla="*/ 0 h 1"/>
                <a:gd name="T11" fmla="*/ 0 h 1"/>
                <a:gd name="T12" fmla="*/ 0 h 1"/>
                <a:gd name="T13" fmla="*/ 0 h 1"/>
                <a:gd name="T14" fmla="*/ 0 h 1"/>
                <a:gd name="T15" fmla="*/ 0 h 1"/>
                <a:gd name="T16" fmla="*/ 0 h 1"/>
                <a:gd name="T17" fmla="*/ 0 h 1"/>
                <a:gd name="T18" fmla="*/ 0 h 1"/>
                <a:gd name="T19" fmla="*/ 0 h 1"/>
                <a:gd name="T20"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Lst>
              <a:rect l="0" t="0" r="r" b="b"/>
              <a:pathLst>
                <a:path h="1">
                  <a:moveTo>
                    <a:pt x="0" y="0"/>
                  </a:move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20" name="Freeform 1385">
              <a:extLst>
                <a:ext uri="{FF2B5EF4-FFF2-40B4-BE49-F238E27FC236}">
                  <a16:creationId xmlns:a16="http://schemas.microsoft.com/office/drawing/2014/main" id="{09AB43E1-A0BF-4242-8493-B4FD384B88A2}"/>
                </a:ext>
              </a:extLst>
            </p:cNvPr>
            <p:cNvSpPr>
              <a:spLocks/>
            </p:cNvSpPr>
            <p:nvPr/>
          </p:nvSpPr>
          <p:spPr bwMode="auto">
            <a:xfrm>
              <a:off x="5945318" y="2476454"/>
              <a:ext cx="29381" cy="50749"/>
            </a:xfrm>
            <a:custGeom>
              <a:avLst/>
              <a:gdLst>
                <a:gd name="T0" fmla="*/ 15 w 22"/>
                <a:gd name="T1" fmla="*/ 1 h 38"/>
                <a:gd name="T2" fmla="*/ 16 w 22"/>
                <a:gd name="T3" fmla="*/ 1 h 38"/>
                <a:gd name="T4" fmla="*/ 17 w 22"/>
                <a:gd name="T5" fmla="*/ 1 h 38"/>
                <a:gd name="T6" fmla="*/ 17 w 22"/>
                <a:gd name="T7" fmla="*/ 3 h 38"/>
                <a:gd name="T8" fmla="*/ 19 w 22"/>
                <a:gd name="T9" fmla="*/ 4 h 38"/>
                <a:gd name="T10" fmla="*/ 20 w 22"/>
                <a:gd name="T11" fmla="*/ 4 h 38"/>
                <a:gd name="T12" fmla="*/ 19 w 22"/>
                <a:gd name="T13" fmla="*/ 4 h 38"/>
                <a:gd name="T14" fmla="*/ 17 w 22"/>
                <a:gd name="T15" fmla="*/ 6 h 38"/>
                <a:gd name="T16" fmla="*/ 19 w 22"/>
                <a:gd name="T17" fmla="*/ 5 h 38"/>
                <a:gd name="T18" fmla="*/ 19 w 22"/>
                <a:gd name="T19" fmla="*/ 6 h 38"/>
                <a:gd name="T20" fmla="*/ 20 w 22"/>
                <a:gd name="T21" fmla="*/ 7 h 38"/>
                <a:gd name="T22" fmla="*/ 21 w 22"/>
                <a:gd name="T23" fmla="*/ 11 h 38"/>
                <a:gd name="T24" fmla="*/ 22 w 22"/>
                <a:gd name="T25" fmla="*/ 13 h 38"/>
                <a:gd name="T26" fmla="*/ 20 w 22"/>
                <a:gd name="T27" fmla="*/ 17 h 38"/>
                <a:gd name="T28" fmla="*/ 21 w 22"/>
                <a:gd name="T29" fmla="*/ 19 h 38"/>
                <a:gd name="T30" fmla="*/ 21 w 22"/>
                <a:gd name="T31" fmla="*/ 22 h 38"/>
                <a:gd name="T32" fmla="*/ 21 w 22"/>
                <a:gd name="T33" fmla="*/ 26 h 38"/>
                <a:gd name="T34" fmla="*/ 21 w 22"/>
                <a:gd name="T35" fmla="*/ 28 h 38"/>
                <a:gd name="T36" fmla="*/ 21 w 22"/>
                <a:gd name="T37" fmla="*/ 31 h 38"/>
                <a:gd name="T38" fmla="*/ 20 w 22"/>
                <a:gd name="T39" fmla="*/ 33 h 38"/>
                <a:gd name="T40" fmla="*/ 17 w 22"/>
                <a:gd name="T41" fmla="*/ 34 h 38"/>
                <a:gd name="T42" fmla="*/ 16 w 22"/>
                <a:gd name="T43" fmla="*/ 32 h 38"/>
                <a:gd name="T44" fmla="*/ 14 w 22"/>
                <a:gd name="T45" fmla="*/ 33 h 38"/>
                <a:gd name="T46" fmla="*/ 13 w 22"/>
                <a:gd name="T47" fmla="*/ 34 h 38"/>
                <a:gd name="T48" fmla="*/ 13 w 22"/>
                <a:gd name="T49" fmla="*/ 35 h 38"/>
                <a:gd name="T50" fmla="*/ 10 w 22"/>
                <a:gd name="T51" fmla="*/ 38 h 38"/>
                <a:gd name="T52" fmla="*/ 8 w 22"/>
                <a:gd name="T53" fmla="*/ 36 h 38"/>
                <a:gd name="T54" fmla="*/ 7 w 22"/>
                <a:gd name="T55" fmla="*/ 36 h 38"/>
                <a:gd name="T56" fmla="*/ 6 w 22"/>
                <a:gd name="T57" fmla="*/ 34 h 38"/>
                <a:gd name="T58" fmla="*/ 5 w 22"/>
                <a:gd name="T59" fmla="*/ 32 h 38"/>
                <a:gd name="T60" fmla="*/ 5 w 22"/>
                <a:gd name="T61" fmla="*/ 28 h 38"/>
                <a:gd name="T62" fmla="*/ 5 w 22"/>
                <a:gd name="T63" fmla="*/ 25 h 38"/>
                <a:gd name="T64" fmla="*/ 7 w 22"/>
                <a:gd name="T65" fmla="*/ 25 h 38"/>
                <a:gd name="T66" fmla="*/ 6 w 22"/>
                <a:gd name="T67" fmla="*/ 22 h 38"/>
                <a:gd name="T68" fmla="*/ 5 w 22"/>
                <a:gd name="T69" fmla="*/ 22 h 38"/>
                <a:gd name="T70" fmla="*/ 3 w 22"/>
                <a:gd name="T71" fmla="*/ 19 h 38"/>
                <a:gd name="T72" fmla="*/ 5 w 22"/>
                <a:gd name="T73" fmla="*/ 18 h 38"/>
                <a:gd name="T74" fmla="*/ 5 w 22"/>
                <a:gd name="T75" fmla="*/ 14 h 38"/>
                <a:gd name="T76" fmla="*/ 3 w 22"/>
                <a:gd name="T77" fmla="*/ 12 h 38"/>
                <a:gd name="T78" fmla="*/ 1 w 22"/>
                <a:gd name="T79" fmla="*/ 11 h 38"/>
                <a:gd name="T80" fmla="*/ 1 w 22"/>
                <a:gd name="T81" fmla="*/ 10 h 38"/>
                <a:gd name="T82" fmla="*/ 1 w 22"/>
                <a:gd name="T83" fmla="*/ 6 h 38"/>
                <a:gd name="T84" fmla="*/ 2 w 22"/>
                <a:gd name="T85" fmla="*/ 6 h 38"/>
                <a:gd name="T86" fmla="*/ 6 w 22"/>
                <a:gd name="T87" fmla="*/ 7 h 38"/>
                <a:gd name="T88" fmla="*/ 8 w 22"/>
                <a:gd name="T89" fmla="*/ 5 h 38"/>
                <a:gd name="T90" fmla="*/ 9 w 22"/>
                <a:gd name="T91" fmla="*/ 4 h 38"/>
                <a:gd name="T92" fmla="*/ 12 w 22"/>
                <a:gd name="T93" fmla="*/ 3 h 38"/>
                <a:gd name="T94" fmla="*/ 13 w 22"/>
                <a:gd name="T9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 h="38">
                  <a:moveTo>
                    <a:pt x="14" y="0"/>
                  </a:moveTo>
                  <a:lnTo>
                    <a:pt x="15" y="0"/>
                  </a:lnTo>
                  <a:lnTo>
                    <a:pt x="15" y="1"/>
                  </a:lnTo>
                  <a:lnTo>
                    <a:pt x="15" y="0"/>
                  </a:lnTo>
                  <a:lnTo>
                    <a:pt x="15" y="1"/>
                  </a:lnTo>
                  <a:lnTo>
                    <a:pt x="16" y="1"/>
                  </a:lnTo>
                  <a:lnTo>
                    <a:pt x="16" y="3"/>
                  </a:lnTo>
                  <a:lnTo>
                    <a:pt x="17" y="3"/>
                  </a:lnTo>
                  <a:lnTo>
                    <a:pt x="17" y="1"/>
                  </a:lnTo>
                  <a:lnTo>
                    <a:pt x="17" y="3"/>
                  </a:lnTo>
                  <a:lnTo>
                    <a:pt x="17" y="1"/>
                  </a:lnTo>
                  <a:lnTo>
                    <a:pt x="17" y="3"/>
                  </a:lnTo>
                  <a:lnTo>
                    <a:pt x="19" y="3"/>
                  </a:lnTo>
                  <a:lnTo>
                    <a:pt x="17" y="4"/>
                  </a:lnTo>
                  <a:lnTo>
                    <a:pt x="19" y="4"/>
                  </a:lnTo>
                  <a:lnTo>
                    <a:pt x="17" y="4"/>
                  </a:lnTo>
                  <a:lnTo>
                    <a:pt x="19" y="4"/>
                  </a:lnTo>
                  <a:lnTo>
                    <a:pt x="20" y="4"/>
                  </a:lnTo>
                  <a:lnTo>
                    <a:pt x="20" y="5"/>
                  </a:lnTo>
                  <a:lnTo>
                    <a:pt x="20" y="4"/>
                  </a:lnTo>
                  <a:lnTo>
                    <a:pt x="19" y="4"/>
                  </a:lnTo>
                  <a:lnTo>
                    <a:pt x="19" y="5"/>
                  </a:lnTo>
                  <a:lnTo>
                    <a:pt x="17" y="5"/>
                  </a:lnTo>
                  <a:lnTo>
                    <a:pt x="17" y="6"/>
                  </a:lnTo>
                  <a:lnTo>
                    <a:pt x="19" y="5"/>
                  </a:lnTo>
                  <a:lnTo>
                    <a:pt x="19" y="6"/>
                  </a:lnTo>
                  <a:lnTo>
                    <a:pt x="19" y="5"/>
                  </a:lnTo>
                  <a:lnTo>
                    <a:pt x="20" y="5"/>
                  </a:lnTo>
                  <a:lnTo>
                    <a:pt x="20" y="6"/>
                  </a:lnTo>
                  <a:lnTo>
                    <a:pt x="19" y="6"/>
                  </a:lnTo>
                  <a:lnTo>
                    <a:pt x="20" y="6"/>
                  </a:lnTo>
                  <a:lnTo>
                    <a:pt x="21" y="6"/>
                  </a:lnTo>
                  <a:lnTo>
                    <a:pt x="20" y="7"/>
                  </a:lnTo>
                  <a:lnTo>
                    <a:pt x="21" y="8"/>
                  </a:lnTo>
                  <a:lnTo>
                    <a:pt x="21" y="10"/>
                  </a:lnTo>
                  <a:lnTo>
                    <a:pt x="21" y="11"/>
                  </a:lnTo>
                  <a:lnTo>
                    <a:pt x="22" y="11"/>
                  </a:lnTo>
                  <a:lnTo>
                    <a:pt x="22" y="12"/>
                  </a:lnTo>
                  <a:lnTo>
                    <a:pt x="22" y="13"/>
                  </a:lnTo>
                  <a:lnTo>
                    <a:pt x="21" y="14"/>
                  </a:lnTo>
                  <a:lnTo>
                    <a:pt x="20" y="15"/>
                  </a:lnTo>
                  <a:lnTo>
                    <a:pt x="20" y="17"/>
                  </a:lnTo>
                  <a:lnTo>
                    <a:pt x="20" y="18"/>
                  </a:lnTo>
                  <a:lnTo>
                    <a:pt x="21" y="18"/>
                  </a:lnTo>
                  <a:lnTo>
                    <a:pt x="21" y="19"/>
                  </a:lnTo>
                  <a:lnTo>
                    <a:pt x="21" y="20"/>
                  </a:lnTo>
                  <a:lnTo>
                    <a:pt x="21" y="21"/>
                  </a:lnTo>
                  <a:lnTo>
                    <a:pt x="21" y="22"/>
                  </a:lnTo>
                  <a:lnTo>
                    <a:pt x="21" y="24"/>
                  </a:lnTo>
                  <a:lnTo>
                    <a:pt x="21" y="25"/>
                  </a:lnTo>
                  <a:lnTo>
                    <a:pt x="21" y="26"/>
                  </a:lnTo>
                  <a:lnTo>
                    <a:pt x="21" y="27"/>
                  </a:lnTo>
                  <a:lnTo>
                    <a:pt x="20" y="28"/>
                  </a:lnTo>
                  <a:lnTo>
                    <a:pt x="21" y="28"/>
                  </a:lnTo>
                  <a:lnTo>
                    <a:pt x="20" y="29"/>
                  </a:lnTo>
                  <a:lnTo>
                    <a:pt x="20" y="31"/>
                  </a:lnTo>
                  <a:lnTo>
                    <a:pt x="21" y="31"/>
                  </a:lnTo>
                  <a:lnTo>
                    <a:pt x="20" y="31"/>
                  </a:lnTo>
                  <a:lnTo>
                    <a:pt x="20" y="32"/>
                  </a:lnTo>
                  <a:lnTo>
                    <a:pt x="20" y="33"/>
                  </a:lnTo>
                  <a:lnTo>
                    <a:pt x="20" y="34"/>
                  </a:lnTo>
                  <a:lnTo>
                    <a:pt x="19" y="34"/>
                  </a:lnTo>
                  <a:lnTo>
                    <a:pt x="17" y="34"/>
                  </a:lnTo>
                  <a:lnTo>
                    <a:pt x="17" y="33"/>
                  </a:lnTo>
                  <a:lnTo>
                    <a:pt x="16" y="33"/>
                  </a:lnTo>
                  <a:lnTo>
                    <a:pt x="16" y="32"/>
                  </a:lnTo>
                  <a:lnTo>
                    <a:pt x="15" y="32"/>
                  </a:lnTo>
                  <a:lnTo>
                    <a:pt x="15" y="33"/>
                  </a:lnTo>
                  <a:lnTo>
                    <a:pt x="14" y="33"/>
                  </a:lnTo>
                  <a:lnTo>
                    <a:pt x="13" y="32"/>
                  </a:lnTo>
                  <a:lnTo>
                    <a:pt x="13" y="33"/>
                  </a:lnTo>
                  <a:lnTo>
                    <a:pt x="13" y="34"/>
                  </a:lnTo>
                  <a:lnTo>
                    <a:pt x="13" y="35"/>
                  </a:lnTo>
                  <a:lnTo>
                    <a:pt x="13" y="36"/>
                  </a:lnTo>
                  <a:lnTo>
                    <a:pt x="13" y="35"/>
                  </a:lnTo>
                  <a:lnTo>
                    <a:pt x="13" y="36"/>
                  </a:lnTo>
                  <a:lnTo>
                    <a:pt x="12" y="38"/>
                  </a:lnTo>
                  <a:lnTo>
                    <a:pt x="10" y="38"/>
                  </a:lnTo>
                  <a:lnTo>
                    <a:pt x="9" y="38"/>
                  </a:lnTo>
                  <a:lnTo>
                    <a:pt x="9" y="36"/>
                  </a:lnTo>
                  <a:lnTo>
                    <a:pt x="8" y="36"/>
                  </a:lnTo>
                  <a:lnTo>
                    <a:pt x="8" y="38"/>
                  </a:lnTo>
                  <a:lnTo>
                    <a:pt x="7" y="38"/>
                  </a:lnTo>
                  <a:lnTo>
                    <a:pt x="7" y="36"/>
                  </a:lnTo>
                  <a:lnTo>
                    <a:pt x="7" y="35"/>
                  </a:lnTo>
                  <a:lnTo>
                    <a:pt x="6" y="35"/>
                  </a:lnTo>
                  <a:lnTo>
                    <a:pt x="6" y="34"/>
                  </a:lnTo>
                  <a:lnTo>
                    <a:pt x="5" y="34"/>
                  </a:lnTo>
                  <a:lnTo>
                    <a:pt x="5" y="33"/>
                  </a:lnTo>
                  <a:lnTo>
                    <a:pt x="5" y="32"/>
                  </a:lnTo>
                  <a:lnTo>
                    <a:pt x="5" y="31"/>
                  </a:lnTo>
                  <a:lnTo>
                    <a:pt x="5" y="29"/>
                  </a:lnTo>
                  <a:lnTo>
                    <a:pt x="5" y="28"/>
                  </a:lnTo>
                  <a:lnTo>
                    <a:pt x="5" y="27"/>
                  </a:lnTo>
                  <a:lnTo>
                    <a:pt x="5" y="26"/>
                  </a:lnTo>
                  <a:lnTo>
                    <a:pt x="5" y="25"/>
                  </a:lnTo>
                  <a:lnTo>
                    <a:pt x="5" y="24"/>
                  </a:lnTo>
                  <a:lnTo>
                    <a:pt x="6" y="25"/>
                  </a:lnTo>
                  <a:lnTo>
                    <a:pt x="7" y="25"/>
                  </a:lnTo>
                  <a:lnTo>
                    <a:pt x="6" y="25"/>
                  </a:lnTo>
                  <a:lnTo>
                    <a:pt x="6" y="24"/>
                  </a:lnTo>
                  <a:lnTo>
                    <a:pt x="6" y="22"/>
                  </a:lnTo>
                  <a:lnTo>
                    <a:pt x="6" y="21"/>
                  </a:lnTo>
                  <a:lnTo>
                    <a:pt x="5" y="21"/>
                  </a:lnTo>
                  <a:lnTo>
                    <a:pt x="5" y="22"/>
                  </a:lnTo>
                  <a:lnTo>
                    <a:pt x="5" y="21"/>
                  </a:lnTo>
                  <a:lnTo>
                    <a:pt x="5" y="20"/>
                  </a:lnTo>
                  <a:lnTo>
                    <a:pt x="3" y="19"/>
                  </a:lnTo>
                  <a:lnTo>
                    <a:pt x="5" y="19"/>
                  </a:lnTo>
                  <a:lnTo>
                    <a:pt x="6" y="18"/>
                  </a:lnTo>
                  <a:lnTo>
                    <a:pt x="5" y="18"/>
                  </a:lnTo>
                  <a:lnTo>
                    <a:pt x="5" y="17"/>
                  </a:lnTo>
                  <a:lnTo>
                    <a:pt x="5" y="15"/>
                  </a:lnTo>
                  <a:lnTo>
                    <a:pt x="5" y="14"/>
                  </a:lnTo>
                  <a:lnTo>
                    <a:pt x="3" y="14"/>
                  </a:lnTo>
                  <a:lnTo>
                    <a:pt x="3" y="13"/>
                  </a:lnTo>
                  <a:lnTo>
                    <a:pt x="3" y="12"/>
                  </a:lnTo>
                  <a:lnTo>
                    <a:pt x="2" y="12"/>
                  </a:lnTo>
                  <a:lnTo>
                    <a:pt x="2" y="11"/>
                  </a:lnTo>
                  <a:lnTo>
                    <a:pt x="1" y="11"/>
                  </a:lnTo>
                  <a:lnTo>
                    <a:pt x="0" y="11"/>
                  </a:lnTo>
                  <a:lnTo>
                    <a:pt x="0" y="10"/>
                  </a:lnTo>
                  <a:lnTo>
                    <a:pt x="1" y="10"/>
                  </a:lnTo>
                  <a:lnTo>
                    <a:pt x="1" y="8"/>
                  </a:lnTo>
                  <a:lnTo>
                    <a:pt x="0" y="8"/>
                  </a:lnTo>
                  <a:lnTo>
                    <a:pt x="1" y="6"/>
                  </a:lnTo>
                  <a:lnTo>
                    <a:pt x="1" y="5"/>
                  </a:lnTo>
                  <a:lnTo>
                    <a:pt x="1" y="6"/>
                  </a:lnTo>
                  <a:lnTo>
                    <a:pt x="2" y="6"/>
                  </a:lnTo>
                  <a:lnTo>
                    <a:pt x="3" y="7"/>
                  </a:lnTo>
                  <a:lnTo>
                    <a:pt x="5" y="7"/>
                  </a:lnTo>
                  <a:lnTo>
                    <a:pt x="6" y="7"/>
                  </a:lnTo>
                  <a:lnTo>
                    <a:pt x="6" y="6"/>
                  </a:lnTo>
                  <a:lnTo>
                    <a:pt x="7" y="6"/>
                  </a:lnTo>
                  <a:lnTo>
                    <a:pt x="8" y="5"/>
                  </a:lnTo>
                  <a:lnTo>
                    <a:pt x="8" y="6"/>
                  </a:lnTo>
                  <a:lnTo>
                    <a:pt x="9" y="5"/>
                  </a:lnTo>
                  <a:lnTo>
                    <a:pt x="9" y="4"/>
                  </a:lnTo>
                  <a:lnTo>
                    <a:pt x="10" y="4"/>
                  </a:lnTo>
                  <a:lnTo>
                    <a:pt x="10" y="3"/>
                  </a:lnTo>
                  <a:lnTo>
                    <a:pt x="12" y="3"/>
                  </a:lnTo>
                  <a:lnTo>
                    <a:pt x="13" y="3"/>
                  </a:lnTo>
                  <a:lnTo>
                    <a:pt x="13" y="1"/>
                  </a:lnTo>
                  <a:lnTo>
                    <a:pt x="13" y="0"/>
                  </a:lnTo>
                  <a:lnTo>
                    <a:pt x="14"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21" name="Freeform 1386">
              <a:extLst>
                <a:ext uri="{FF2B5EF4-FFF2-40B4-BE49-F238E27FC236}">
                  <a16:creationId xmlns:a16="http://schemas.microsoft.com/office/drawing/2014/main" id="{440DCEEE-D6A3-478B-B5E4-6D6A589232C2}"/>
                </a:ext>
              </a:extLst>
            </p:cNvPr>
            <p:cNvSpPr>
              <a:spLocks/>
            </p:cNvSpPr>
            <p:nvPr/>
          </p:nvSpPr>
          <p:spPr bwMode="auto">
            <a:xfrm>
              <a:off x="5981377" y="2453751"/>
              <a:ext cx="0" cy="1336"/>
            </a:xfrm>
            <a:custGeom>
              <a:avLst/>
              <a:gdLst>
                <a:gd name="T0" fmla="*/ 0 h 1"/>
                <a:gd name="T1" fmla="*/ 1 h 1"/>
                <a:gd name="T2" fmla="*/ 1 h 1"/>
                <a:gd name="T3" fmla="*/ 0 h 1"/>
                <a:gd name="T4" fmla="*/ 0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lnTo>
                    <a:pt x="0" y="1"/>
                  </a:lnTo>
                  <a:lnTo>
                    <a:pt x="0" y="1"/>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22" name="Freeform 1387">
              <a:extLst>
                <a:ext uri="{FF2B5EF4-FFF2-40B4-BE49-F238E27FC236}">
                  <a16:creationId xmlns:a16="http://schemas.microsoft.com/office/drawing/2014/main" id="{CA239E07-1F06-4FA9-92E0-449A1BAE1E65}"/>
                </a:ext>
              </a:extLst>
            </p:cNvPr>
            <p:cNvSpPr>
              <a:spLocks/>
            </p:cNvSpPr>
            <p:nvPr/>
          </p:nvSpPr>
          <p:spPr bwMode="auto">
            <a:xfrm>
              <a:off x="5990725" y="2453751"/>
              <a:ext cx="1336" cy="1336"/>
            </a:xfrm>
            <a:custGeom>
              <a:avLst/>
              <a:gdLst>
                <a:gd name="T0" fmla="*/ 1 w 1"/>
                <a:gd name="T1" fmla="*/ 1 h 1"/>
                <a:gd name="T2" fmla="*/ 1 w 1"/>
                <a:gd name="T3" fmla="*/ 1 h 1"/>
                <a:gd name="T4" fmla="*/ 1 w 1"/>
                <a:gd name="T5" fmla="*/ 1 h 1"/>
                <a:gd name="T6" fmla="*/ 0 w 1"/>
                <a:gd name="T7" fmla="*/ 0 h 1"/>
                <a:gd name="T8" fmla="*/ 0 w 1"/>
                <a:gd name="T9" fmla="*/ 0 h 1"/>
                <a:gd name="T10" fmla="*/ 0 w 1"/>
                <a:gd name="T11" fmla="*/ 0 h 1"/>
                <a:gd name="T12" fmla="*/ 0 w 1"/>
                <a:gd name="T13" fmla="*/ 0 h 1"/>
                <a:gd name="T14" fmla="*/ 0 w 1"/>
                <a:gd name="T15" fmla="*/ 0 h 1"/>
                <a:gd name="T16" fmla="*/ 1 w 1"/>
                <a:gd name="T17" fmla="*/ 0 h 1"/>
                <a:gd name="T18" fmla="*/ 1 w 1"/>
                <a:gd name="T19" fmla="*/ 0 h 1"/>
                <a:gd name="T20" fmla="*/ 1 w 1"/>
                <a:gd name="T21" fmla="*/ 0 h 1"/>
                <a:gd name="T22" fmla="*/ 1 w 1"/>
                <a:gd name="T23" fmla="*/ 0 h 1"/>
                <a:gd name="T24" fmla="*/ 1 w 1"/>
                <a:gd name="T2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1">
                  <a:moveTo>
                    <a:pt x="1" y="1"/>
                  </a:moveTo>
                  <a:lnTo>
                    <a:pt x="1" y="1"/>
                  </a:lnTo>
                  <a:lnTo>
                    <a:pt x="1" y="1"/>
                  </a:lnTo>
                  <a:lnTo>
                    <a:pt x="0" y="0"/>
                  </a:lnTo>
                  <a:lnTo>
                    <a:pt x="0" y="0"/>
                  </a:lnTo>
                  <a:lnTo>
                    <a:pt x="0" y="0"/>
                  </a:lnTo>
                  <a:lnTo>
                    <a:pt x="0" y="0"/>
                  </a:lnTo>
                  <a:lnTo>
                    <a:pt x="0" y="0"/>
                  </a:lnTo>
                  <a:lnTo>
                    <a:pt x="1" y="0"/>
                  </a:lnTo>
                  <a:lnTo>
                    <a:pt x="1" y="0"/>
                  </a:lnTo>
                  <a:lnTo>
                    <a:pt x="1" y="0"/>
                  </a:lnTo>
                  <a:lnTo>
                    <a:pt x="1" y="0"/>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23" name="Freeform 1388">
              <a:extLst>
                <a:ext uri="{FF2B5EF4-FFF2-40B4-BE49-F238E27FC236}">
                  <a16:creationId xmlns:a16="http://schemas.microsoft.com/office/drawing/2014/main" id="{44835D63-71D8-48F6-94D0-4FC9105F5B5A}"/>
                </a:ext>
              </a:extLst>
            </p:cNvPr>
            <p:cNvSpPr>
              <a:spLocks/>
            </p:cNvSpPr>
            <p:nvPr/>
          </p:nvSpPr>
          <p:spPr bwMode="auto">
            <a:xfrm>
              <a:off x="5976035" y="2448409"/>
              <a:ext cx="1336" cy="0"/>
            </a:xfrm>
            <a:custGeom>
              <a:avLst/>
              <a:gdLst>
                <a:gd name="T0" fmla="*/ 1 w 1"/>
                <a:gd name="T1" fmla="*/ 1 w 1"/>
                <a:gd name="T2" fmla="*/ 1 w 1"/>
                <a:gd name="T3" fmla="*/ 0 w 1"/>
                <a:gd name="T4" fmla="*/ 0 w 1"/>
                <a:gd name="T5" fmla="*/ 0 w 1"/>
                <a:gd name="T6" fmla="*/ 0 w 1"/>
                <a:gd name="T7" fmla="*/ 1 w 1"/>
                <a:gd name="T8" fmla="*/ 1 w 1"/>
                <a:gd name="T9" fmla="*/ 1 w 1"/>
                <a:gd name="T10" fmla="*/ 1 w 1"/>
                <a:gd name="T11" fmla="*/ 1 w 1"/>
                <a:gd name="T12" fmla="*/ 1 w 1"/>
                <a:gd name="T13" fmla="*/ 1 w 1"/>
                <a:gd name="T14" fmla="*/ 1 w 1"/>
                <a:gd name="T15"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Lst>
              <a:rect l="0" t="0" r="r" b="b"/>
              <a:pathLst>
                <a:path w="1">
                  <a:moveTo>
                    <a:pt x="1" y="0"/>
                  </a:moveTo>
                  <a:lnTo>
                    <a:pt x="1" y="0"/>
                  </a:lnTo>
                  <a:lnTo>
                    <a:pt x="1" y="0"/>
                  </a:lnTo>
                  <a:lnTo>
                    <a:pt x="0" y="0"/>
                  </a:lnTo>
                  <a:lnTo>
                    <a:pt x="0" y="0"/>
                  </a:lnTo>
                  <a:lnTo>
                    <a:pt x="0" y="0"/>
                  </a:lnTo>
                  <a:lnTo>
                    <a:pt x="0" y="0"/>
                  </a:lnTo>
                  <a:lnTo>
                    <a:pt x="1" y="0"/>
                  </a:lnTo>
                  <a:lnTo>
                    <a:pt x="1" y="0"/>
                  </a:lnTo>
                  <a:lnTo>
                    <a:pt x="1"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24" name="Freeform 1389">
              <a:extLst>
                <a:ext uri="{FF2B5EF4-FFF2-40B4-BE49-F238E27FC236}">
                  <a16:creationId xmlns:a16="http://schemas.microsoft.com/office/drawing/2014/main" id="{DD2DF15A-59BE-44EE-B8A5-C9150743B735}"/>
                </a:ext>
              </a:extLst>
            </p:cNvPr>
            <p:cNvSpPr>
              <a:spLocks/>
            </p:cNvSpPr>
            <p:nvPr/>
          </p:nvSpPr>
          <p:spPr bwMode="auto">
            <a:xfrm>
              <a:off x="5977370" y="2443067"/>
              <a:ext cx="5342" cy="2671"/>
            </a:xfrm>
            <a:custGeom>
              <a:avLst/>
              <a:gdLst>
                <a:gd name="T0" fmla="*/ 4 w 4"/>
                <a:gd name="T1" fmla="*/ 1 h 2"/>
                <a:gd name="T2" fmla="*/ 4 w 4"/>
                <a:gd name="T3" fmla="*/ 2 h 2"/>
                <a:gd name="T4" fmla="*/ 4 w 4"/>
                <a:gd name="T5" fmla="*/ 2 h 2"/>
                <a:gd name="T6" fmla="*/ 4 w 4"/>
                <a:gd name="T7" fmla="*/ 2 h 2"/>
                <a:gd name="T8" fmla="*/ 4 w 4"/>
                <a:gd name="T9" fmla="*/ 2 h 2"/>
                <a:gd name="T10" fmla="*/ 4 w 4"/>
                <a:gd name="T11" fmla="*/ 2 h 2"/>
                <a:gd name="T12" fmla="*/ 4 w 4"/>
                <a:gd name="T13" fmla="*/ 2 h 2"/>
                <a:gd name="T14" fmla="*/ 4 w 4"/>
                <a:gd name="T15" fmla="*/ 2 h 2"/>
                <a:gd name="T16" fmla="*/ 3 w 4"/>
                <a:gd name="T17" fmla="*/ 2 h 2"/>
                <a:gd name="T18" fmla="*/ 3 w 4"/>
                <a:gd name="T19" fmla="*/ 2 h 2"/>
                <a:gd name="T20" fmla="*/ 3 w 4"/>
                <a:gd name="T21" fmla="*/ 2 h 2"/>
                <a:gd name="T22" fmla="*/ 2 w 4"/>
                <a:gd name="T23" fmla="*/ 2 h 2"/>
                <a:gd name="T24" fmla="*/ 2 w 4"/>
                <a:gd name="T25" fmla="*/ 2 h 2"/>
                <a:gd name="T26" fmla="*/ 0 w 4"/>
                <a:gd name="T27" fmla="*/ 2 h 2"/>
                <a:gd name="T28" fmla="*/ 0 w 4"/>
                <a:gd name="T29" fmla="*/ 2 h 2"/>
                <a:gd name="T30" fmla="*/ 0 w 4"/>
                <a:gd name="T31" fmla="*/ 1 h 2"/>
                <a:gd name="T32" fmla="*/ 0 w 4"/>
                <a:gd name="T33" fmla="*/ 1 h 2"/>
                <a:gd name="T34" fmla="*/ 2 w 4"/>
                <a:gd name="T35" fmla="*/ 1 h 2"/>
                <a:gd name="T36" fmla="*/ 2 w 4"/>
                <a:gd name="T37" fmla="*/ 1 h 2"/>
                <a:gd name="T38" fmla="*/ 2 w 4"/>
                <a:gd name="T39" fmla="*/ 1 h 2"/>
                <a:gd name="T40" fmla="*/ 2 w 4"/>
                <a:gd name="T41" fmla="*/ 1 h 2"/>
                <a:gd name="T42" fmla="*/ 2 w 4"/>
                <a:gd name="T43" fmla="*/ 1 h 2"/>
                <a:gd name="T44" fmla="*/ 3 w 4"/>
                <a:gd name="T45" fmla="*/ 1 h 2"/>
                <a:gd name="T46" fmla="*/ 3 w 4"/>
                <a:gd name="T47" fmla="*/ 1 h 2"/>
                <a:gd name="T48" fmla="*/ 3 w 4"/>
                <a:gd name="T49" fmla="*/ 1 h 2"/>
                <a:gd name="T50" fmla="*/ 3 w 4"/>
                <a:gd name="T51" fmla="*/ 1 h 2"/>
                <a:gd name="T52" fmla="*/ 3 w 4"/>
                <a:gd name="T53" fmla="*/ 1 h 2"/>
                <a:gd name="T54" fmla="*/ 4 w 4"/>
                <a:gd name="T55" fmla="*/ 1 h 2"/>
                <a:gd name="T56" fmla="*/ 4 w 4"/>
                <a:gd name="T57" fmla="*/ 0 h 2"/>
                <a:gd name="T58" fmla="*/ 4 w 4"/>
                <a:gd name="T59" fmla="*/ 0 h 2"/>
                <a:gd name="T60" fmla="*/ 4 w 4"/>
                <a:gd name="T61" fmla="*/ 0 h 2"/>
                <a:gd name="T62" fmla="*/ 4 w 4"/>
                <a:gd name="T63" fmla="*/ 1 h 2"/>
                <a:gd name="T64" fmla="*/ 4 w 4"/>
                <a:gd name="T6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2">
                  <a:moveTo>
                    <a:pt x="4" y="1"/>
                  </a:moveTo>
                  <a:lnTo>
                    <a:pt x="4" y="1"/>
                  </a:lnTo>
                  <a:lnTo>
                    <a:pt x="4" y="1"/>
                  </a:lnTo>
                  <a:lnTo>
                    <a:pt x="4" y="2"/>
                  </a:lnTo>
                  <a:lnTo>
                    <a:pt x="4" y="2"/>
                  </a:lnTo>
                  <a:lnTo>
                    <a:pt x="4" y="2"/>
                  </a:lnTo>
                  <a:lnTo>
                    <a:pt x="4" y="2"/>
                  </a:lnTo>
                  <a:lnTo>
                    <a:pt x="4" y="2"/>
                  </a:lnTo>
                  <a:lnTo>
                    <a:pt x="4" y="2"/>
                  </a:lnTo>
                  <a:lnTo>
                    <a:pt x="4" y="2"/>
                  </a:lnTo>
                  <a:lnTo>
                    <a:pt x="4" y="2"/>
                  </a:lnTo>
                  <a:lnTo>
                    <a:pt x="4" y="2"/>
                  </a:lnTo>
                  <a:lnTo>
                    <a:pt x="4" y="2"/>
                  </a:lnTo>
                  <a:lnTo>
                    <a:pt x="4" y="2"/>
                  </a:lnTo>
                  <a:lnTo>
                    <a:pt x="4" y="2"/>
                  </a:lnTo>
                  <a:lnTo>
                    <a:pt x="4" y="2"/>
                  </a:lnTo>
                  <a:lnTo>
                    <a:pt x="4" y="2"/>
                  </a:lnTo>
                  <a:lnTo>
                    <a:pt x="3" y="2"/>
                  </a:lnTo>
                  <a:lnTo>
                    <a:pt x="3" y="2"/>
                  </a:lnTo>
                  <a:lnTo>
                    <a:pt x="3" y="2"/>
                  </a:lnTo>
                  <a:lnTo>
                    <a:pt x="3" y="2"/>
                  </a:lnTo>
                  <a:lnTo>
                    <a:pt x="3" y="2"/>
                  </a:lnTo>
                  <a:lnTo>
                    <a:pt x="3" y="2"/>
                  </a:lnTo>
                  <a:lnTo>
                    <a:pt x="2" y="2"/>
                  </a:lnTo>
                  <a:lnTo>
                    <a:pt x="2" y="2"/>
                  </a:lnTo>
                  <a:lnTo>
                    <a:pt x="2" y="2"/>
                  </a:lnTo>
                  <a:lnTo>
                    <a:pt x="2" y="2"/>
                  </a:lnTo>
                  <a:lnTo>
                    <a:pt x="0" y="2"/>
                  </a:lnTo>
                  <a:lnTo>
                    <a:pt x="0" y="2"/>
                  </a:lnTo>
                  <a:lnTo>
                    <a:pt x="0" y="2"/>
                  </a:lnTo>
                  <a:lnTo>
                    <a:pt x="0" y="1"/>
                  </a:lnTo>
                  <a:lnTo>
                    <a:pt x="0" y="1"/>
                  </a:lnTo>
                  <a:lnTo>
                    <a:pt x="0" y="1"/>
                  </a:lnTo>
                  <a:lnTo>
                    <a:pt x="0" y="1"/>
                  </a:lnTo>
                  <a:lnTo>
                    <a:pt x="2" y="1"/>
                  </a:lnTo>
                  <a:lnTo>
                    <a:pt x="2" y="1"/>
                  </a:lnTo>
                  <a:lnTo>
                    <a:pt x="2" y="1"/>
                  </a:lnTo>
                  <a:lnTo>
                    <a:pt x="2" y="1"/>
                  </a:lnTo>
                  <a:lnTo>
                    <a:pt x="2" y="1"/>
                  </a:lnTo>
                  <a:lnTo>
                    <a:pt x="2" y="1"/>
                  </a:lnTo>
                  <a:lnTo>
                    <a:pt x="2" y="1"/>
                  </a:lnTo>
                  <a:lnTo>
                    <a:pt x="2" y="1"/>
                  </a:lnTo>
                  <a:lnTo>
                    <a:pt x="2" y="1"/>
                  </a:lnTo>
                  <a:lnTo>
                    <a:pt x="2" y="1"/>
                  </a:lnTo>
                  <a:lnTo>
                    <a:pt x="3" y="1"/>
                  </a:lnTo>
                  <a:lnTo>
                    <a:pt x="3" y="1"/>
                  </a:lnTo>
                  <a:lnTo>
                    <a:pt x="3" y="1"/>
                  </a:lnTo>
                  <a:lnTo>
                    <a:pt x="3" y="1"/>
                  </a:lnTo>
                  <a:lnTo>
                    <a:pt x="3" y="1"/>
                  </a:lnTo>
                  <a:lnTo>
                    <a:pt x="3" y="1"/>
                  </a:lnTo>
                  <a:lnTo>
                    <a:pt x="3" y="1"/>
                  </a:lnTo>
                  <a:lnTo>
                    <a:pt x="3" y="1"/>
                  </a:lnTo>
                  <a:lnTo>
                    <a:pt x="3" y="1"/>
                  </a:lnTo>
                  <a:lnTo>
                    <a:pt x="3" y="1"/>
                  </a:lnTo>
                  <a:lnTo>
                    <a:pt x="4" y="1"/>
                  </a:lnTo>
                  <a:lnTo>
                    <a:pt x="4" y="1"/>
                  </a:lnTo>
                  <a:lnTo>
                    <a:pt x="4" y="1"/>
                  </a:lnTo>
                  <a:lnTo>
                    <a:pt x="4" y="0"/>
                  </a:lnTo>
                  <a:lnTo>
                    <a:pt x="4" y="0"/>
                  </a:lnTo>
                  <a:lnTo>
                    <a:pt x="4" y="0"/>
                  </a:lnTo>
                  <a:lnTo>
                    <a:pt x="4" y="0"/>
                  </a:lnTo>
                  <a:lnTo>
                    <a:pt x="4" y="0"/>
                  </a:lnTo>
                  <a:lnTo>
                    <a:pt x="4" y="0"/>
                  </a:lnTo>
                  <a:lnTo>
                    <a:pt x="4" y="1"/>
                  </a:lnTo>
                  <a:lnTo>
                    <a:pt x="4" y="1"/>
                  </a:lnTo>
                  <a:lnTo>
                    <a:pt x="4" y="1"/>
                  </a:lnTo>
                  <a:lnTo>
                    <a:pt x="4"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25" name="Freeform 1390">
              <a:extLst>
                <a:ext uri="{FF2B5EF4-FFF2-40B4-BE49-F238E27FC236}">
                  <a16:creationId xmlns:a16="http://schemas.microsoft.com/office/drawing/2014/main" id="{51345DCC-14D8-4B3E-BF7C-9EFECDC23E72}"/>
                </a:ext>
              </a:extLst>
            </p:cNvPr>
            <p:cNvSpPr>
              <a:spLocks/>
            </p:cNvSpPr>
            <p:nvPr/>
          </p:nvSpPr>
          <p:spPr bwMode="auto">
            <a:xfrm>
              <a:off x="5972028" y="2439060"/>
              <a:ext cx="1336" cy="0"/>
            </a:xfrm>
            <a:custGeom>
              <a:avLst/>
              <a:gdLst>
                <a:gd name="T0" fmla="*/ 1 w 1"/>
                <a:gd name="T1" fmla="*/ 0 w 1"/>
                <a:gd name="T2" fmla="*/ 0 w 1"/>
                <a:gd name="T3" fmla="*/ 0 w 1"/>
                <a:gd name="T4" fmla="*/ 1 w 1"/>
                <a:gd name="T5" fmla="*/ 1 w 1"/>
                <a:gd name="T6" fmla="*/ 1 w 1"/>
                <a:gd name="T7" fmla="*/ 1 w 1"/>
                <a:gd name="T8" fmla="*/ 1 w 1"/>
                <a:gd name="T9" fmla="*/ 1 w 1"/>
                <a:gd name="T10" fmla="*/ 1 w 1"/>
                <a:gd name="T11"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1">
                  <a:moveTo>
                    <a:pt x="1" y="0"/>
                  </a:moveTo>
                  <a:lnTo>
                    <a:pt x="0" y="0"/>
                  </a:lnTo>
                  <a:lnTo>
                    <a:pt x="0" y="0"/>
                  </a:lnTo>
                  <a:lnTo>
                    <a:pt x="0" y="0"/>
                  </a:lnTo>
                  <a:lnTo>
                    <a:pt x="1" y="0"/>
                  </a:lnTo>
                  <a:lnTo>
                    <a:pt x="1"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26" name="Freeform 1391">
              <a:extLst>
                <a:ext uri="{FF2B5EF4-FFF2-40B4-BE49-F238E27FC236}">
                  <a16:creationId xmlns:a16="http://schemas.microsoft.com/office/drawing/2014/main" id="{6B2BCA9F-5F58-4BF2-B4A7-7B045033EB00}"/>
                </a:ext>
              </a:extLst>
            </p:cNvPr>
            <p:cNvSpPr>
              <a:spLocks/>
            </p:cNvSpPr>
            <p:nvPr/>
          </p:nvSpPr>
          <p:spPr bwMode="auto">
            <a:xfrm>
              <a:off x="6012093" y="2389648"/>
              <a:ext cx="1336" cy="1336"/>
            </a:xfrm>
            <a:custGeom>
              <a:avLst/>
              <a:gdLst>
                <a:gd name="T0" fmla="*/ 1 w 1"/>
                <a:gd name="T1" fmla="*/ 0 h 1"/>
                <a:gd name="T2" fmla="*/ 1 w 1"/>
                <a:gd name="T3" fmla="*/ 0 h 1"/>
                <a:gd name="T4" fmla="*/ 1 w 1"/>
                <a:gd name="T5" fmla="*/ 0 h 1"/>
                <a:gd name="T6" fmla="*/ 1 w 1"/>
                <a:gd name="T7" fmla="*/ 0 h 1"/>
                <a:gd name="T8" fmla="*/ 0 w 1"/>
                <a:gd name="T9" fmla="*/ 0 h 1"/>
                <a:gd name="T10" fmla="*/ 0 w 1"/>
                <a:gd name="T11" fmla="*/ 1 h 1"/>
                <a:gd name="T12" fmla="*/ 0 w 1"/>
                <a:gd name="T13" fmla="*/ 1 h 1"/>
                <a:gd name="T14" fmla="*/ 0 w 1"/>
                <a:gd name="T15" fmla="*/ 1 h 1"/>
                <a:gd name="T16" fmla="*/ 0 w 1"/>
                <a:gd name="T17" fmla="*/ 0 h 1"/>
                <a:gd name="T18" fmla="*/ 0 w 1"/>
                <a:gd name="T19" fmla="*/ 0 h 1"/>
                <a:gd name="T20" fmla="*/ 1 w 1"/>
                <a:gd name="T21" fmla="*/ 0 h 1"/>
                <a:gd name="T22" fmla="*/ 1 w 1"/>
                <a:gd name="T2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1">
                  <a:moveTo>
                    <a:pt x="1" y="0"/>
                  </a:moveTo>
                  <a:lnTo>
                    <a:pt x="1" y="0"/>
                  </a:lnTo>
                  <a:lnTo>
                    <a:pt x="1" y="0"/>
                  </a:lnTo>
                  <a:lnTo>
                    <a:pt x="1" y="0"/>
                  </a:lnTo>
                  <a:lnTo>
                    <a:pt x="0" y="0"/>
                  </a:lnTo>
                  <a:lnTo>
                    <a:pt x="0" y="1"/>
                  </a:lnTo>
                  <a:lnTo>
                    <a:pt x="0" y="1"/>
                  </a:lnTo>
                  <a:lnTo>
                    <a:pt x="0" y="1"/>
                  </a:lnTo>
                  <a:lnTo>
                    <a:pt x="0" y="0"/>
                  </a:lnTo>
                  <a:lnTo>
                    <a:pt x="0"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27" name="Freeform 1392">
              <a:extLst>
                <a:ext uri="{FF2B5EF4-FFF2-40B4-BE49-F238E27FC236}">
                  <a16:creationId xmlns:a16="http://schemas.microsoft.com/office/drawing/2014/main" id="{7B4F722A-B0D7-46A1-B020-70F7B266A89B}"/>
                </a:ext>
              </a:extLst>
            </p:cNvPr>
            <p:cNvSpPr>
              <a:spLocks/>
            </p:cNvSpPr>
            <p:nvPr/>
          </p:nvSpPr>
          <p:spPr bwMode="auto">
            <a:xfrm>
              <a:off x="6012093" y="238964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28" name="Freeform 1393">
              <a:extLst>
                <a:ext uri="{FF2B5EF4-FFF2-40B4-BE49-F238E27FC236}">
                  <a16:creationId xmlns:a16="http://schemas.microsoft.com/office/drawing/2014/main" id="{AC92F446-AE24-4A24-9E2A-55C04D3BDEFF}"/>
                </a:ext>
              </a:extLst>
            </p:cNvPr>
            <p:cNvSpPr>
              <a:spLocks noEditPoints="1"/>
            </p:cNvSpPr>
            <p:nvPr/>
          </p:nvSpPr>
          <p:spPr bwMode="auto">
            <a:xfrm>
              <a:off x="5917274" y="2354925"/>
              <a:ext cx="207001" cy="192310"/>
            </a:xfrm>
            <a:custGeom>
              <a:avLst/>
              <a:gdLst>
                <a:gd name="T0" fmla="*/ 75 w 155"/>
                <a:gd name="T1" fmla="*/ 7 h 144"/>
                <a:gd name="T2" fmla="*/ 87 w 155"/>
                <a:gd name="T3" fmla="*/ 10 h 144"/>
                <a:gd name="T4" fmla="*/ 85 w 155"/>
                <a:gd name="T5" fmla="*/ 14 h 144"/>
                <a:gd name="T6" fmla="*/ 88 w 155"/>
                <a:gd name="T7" fmla="*/ 21 h 144"/>
                <a:gd name="T8" fmla="*/ 85 w 155"/>
                <a:gd name="T9" fmla="*/ 21 h 144"/>
                <a:gd name="T10" fmla="*/ 80 w 155"/>
                <a:gd name="T11" fmla="*/ 22 h 144"/>
                <a:gd name="T12" fmla="*/ 73 w 155"/>
                <a:gd name="T13" fmla="*/ 24 h 144"/>
                <a:gd name="T14" fmla="*/ 69 w 155"/>
                <a:gd name="T15" fmla="*/ 28 h 144"/>
                <a:gd name="T16" fmla="*/ 73 w 155"/>
                <a:gd name="T17" fmla="*/ 33 h 144"/>
                <a:gd name="T18" fmla="*/ 71 w 155"/>
                <a:gd name="T19" fmla="*/ 36 h 144"/>
                <a:gd name="T20" fmla="*/ 76 w 155"/>
                <a:gd name="T21" fmla="*/ 47 h 144"/>
                <a:gd name="T22" fmla="*/ 91 w 155"/>
                <a:gd name="T23" fmla="*/ 60 h 144"/>
                <a:gd name="T24" fmla="*/ 99 w 155"/>
                <a:gd name="T25" fmla="*/ 73 h 144"/>
                <a:gd name="T26" fmla="*/ 107 w 155"/>
                <a:gd name="T27" fmla="*/ 80 h 144"/>
                <a:gd name="T28" fmla="*/ 123 w 155"/>
                <a:gd name="T29" fmla="*/ 81 h 144"/>
                <a:gd name="T30" fmla="*/ 122 w 155"/>
                <a:gd name="T31" fmla="*/ 89 h 144"/>
                <a:gd name="T32" fmla="*/ 141 w 155"/>
                <a:gd name="T33" fmla="*/ 98 h 144"/>
                <a:gd name="T34" fmla="*/ 152 w 155"/>
                <a:gd name="T35" fmla="*/ 104 h 144"/>
                <a:gd name="T36" fmla="*/ 151 w 155"/>
                <a:gd name="T37" fmla="*/ 113 h 144"/>
                <a:gd name="T38" fmla="*/ 142 w 155"/>
                <a:gd name="T39" fmla="*/ 106 h 144"/>
                <a:gd name="T40" fmla="*/ 136 w 155"/>
                <a:gd name="T41" fmla="*/ 103 h 144"/>
                <a:gd name="T42" fmla="*/ 130 w 155"/>
                <a:gd name="T43" fmla="*/ 111 h 144"/>
                <a:gd name="T44" fmla="*/ 134 w 155"/>
                <a:gd name="T45" fmla="*/ 118 h 144"/>
                <a:gd name="T46" fmla="*/ 140 w 155"/>
                <a:gd name="T47" fmla="*/ 126 h 144"/>
                <a:gd name="T48" fmla="*/ 133 w 155"/>
                <a:gd name="T49" fmla="*/ 129 h 144"/>
                <a:gd name="T50" fmla="*/ 128 w 155"/>
                <a:gd name="T51" fmla="*/ 138 h 144"/>
                <a:gd name="T52" fmla="*/ 120 w 155"/>
                <a:gd name="T53" fmla="*/ 140 h 144"/>
                <a:gd name="T54" fmla="*/ 125 w 155"/>
                <a:gd name="T55" fmla="*/ 131 h 144"/>
                <a:gd name="T56" fmla="*/ 122 w 155"/>
                <a:gd name="T57" fmla="*/ 118 h 144"/>
                <a:gd name="T58" fmla="*/ 116 w 155"/>
                <a:gd name="T59" fmla="*/ 110 h 144"/>
                <a:gd name="T60" fmla="*/ 109 w 155"/>
                <a:gd name="T61" fmla="*/ 108 h 144"/>
                <a:gd name="T62" fmla="*/ 105 w 155"/>
                <a:gd name="T63" fmla="*/ 101 h 144"/>
                <a:gd name="T64" fmla="*/ 99 w 155"/>
                <a:gd name="T65" fmla="*/ 98 h 144"/>
                <a:gd name="T66" fmla="*/ 91 w 155"/>
                <a:gd name="T67" fmla="*/ 92 h 144"/>
                <a:gd name="T68" fmla="*/ 79 w 155"/>
                <a:gd name="T69" fmla="*/ 88 h 144"/>
                <a:gd name="T70" fmla="*/ 70 w 155"/>
                <a:gd name="T71" fmla="*/ 80 h 144"/>
                <a:gd name="T72" fmla="*/ 63 w 155"/>
                <a:gd name="T73" fmla="*/ 74 h 144"/>
                <a:gd name="T74" fmla="*/ 59 w 155"/>
                <a:gd name="T75" fmla="*/ 71 h 144"/>
                <a:gd name="T76" fmla="*/ 50 w 155"/>
                <a:gd name="T77" fmla="*/ 64 h 144"/>
                <a:gd name="T78" fmla="*/ 47 w 155"/>
                <a:gd name="T79" fmla="*/ 50 h 144"/>
                <a:gd name="T80" fmla="*/ 40 w 155"/>
                <a:gd name="T81" fmla="*/ 47 h 144"/>
                <a:gd name="T82" fmla="*/ 31 w 155"/>
                <a:gd name="T83" fmla="*/ 42 h 144"/>
                <a:gd name="T84" fmla="*/ 23 w 155"/>
                <a:gd name="T85" fmla="*/ 45 h 144"/>
                <a:gd name="T86" fmla="*/ 15 w 155"/>
                <a:gd name="T87" fmla="*/ 52 h 144"/>
                <a:gd name="T88" fmla="*/ 9 w 155"/>
                <a:gd name="T89" fmla="*/ 47 h 144"/>
                <a:gd name="T90" fmla="*/ 4 w 155"/>
                <a:gd name="T91" fmla="*/ 40 h 144"/>
                <a:gd name="T92" fmla="*/ 2 w 155"/>
                <a:gd name="T93" fmla="*/ 34 h 144"/>
                <a:gd name="T94" fmla="*/ 4 w 155"/>
                <a:gd name="T95" fmla="*/ 29 h 144"/>
                <a:gd name="T96" fmla="*/ 2 w 155"/>
                <a:gd name="T97" fmla="*/ 22 h 144"/>
                <a:gd name="T98" fmla="*/ 8 w 155"/>
                <a:gd name="T99" fmla="*/ 19 h 144"/>
                <a:gd name="T100" fmla="*/ 16 w 155"/>
                <a:gd name="T101" fmla="*/ 15 h 144"/>
                <a:gd name="T102" fmla="*/ 22 w 155"/>
                <a:gd name="T103" fmla="*/ 12 h 144"/>
                <a:gd name="T104" fmla="*/ 28 w 155"/>
                <a:gd name="T105" fmla="*/ 19 h 144"/>
                <a:gd name="T106" fmla="*/ 31 w 155"/>
                <a:gd name="T107" fmla="*/ 13 h 144"/>
                <a:gd name="T108" fmla="*/ 37 w 155"/>
                <a:gd name="T109" fmla="*/ 13 h 144"/>
                <a:gd name="T110" fmla="*/ 42 w 155"/>
                <a:gd name="T111" fmla="*/ 11 h 144"/>
                <a:gd name="T112" fmla="*/ 45 w 155"/>
                <a:gd name="T113" fmla="*/ 6 h 144"/>
                <a:gd name="T114" fmla="*/ 54 w 155"/>
                <a:gd name="T115" fmla="*/ 5 h 144"/>
                <a:gd name="T116" fmla="*/ 63 w 155"/>
                <a:gd name="T117" fmla="*/ 1 h 144"/>
                <a:gd name="T118" fmla="*/ 75 w 155"/>
                <a:gd name="T119" fmla="*/ 4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5" h="144">
                  <a:moveTo>
                    <a:pt x="66" y="3"/>
                  </a:moveTo>
                  <a:lnTo>
                    <a:pt x="68" y="3"/>
                  </a:lnTo>
                  <a:lnTo>
                    <a:pt x="68" y="4"/>
                  </a:lnTo>
                  <a:lnTo>
                    <a:pt x="69" y="4"/>
                  </a:lnTo>
                  <a:lnTo>
                    <a:pt x="69" y="5"/>
                  </a:lnTo>
                  <a:lnTo>
                    <a:pt x="70" y="5"/>
                  </a:lnTo>
                  <a:lnTo>
                    <a:pt x="70" y="6"/>
                  </a:lnTo>
                  <a:lnTo>
                    <a:pt x="71" y="6"/>
                  </a:lnTo>
                  <a:lnTo>
                    <a:pt x="72" y="7"/>
                  </a:lnTo>
                  <a:lnTo>
                    <a:pt x="73" y="7"/>
                  </a:lnTo>
                  <a:lnTo>
                    <a:pt x="75" y="7"/>
                  </a:lnTo>
                  <a:lnTo>
                    <a:pt x="76" y="7"/>
                  </a:lnTo>
                  <a:lnTo>
                    <a:pt x="79" y="8"/>
                  </a:lnTo>
                  <a:lnTo>
                    <a:pt x="80" y="8"/>
                  </a:lnTo>
                  <a:lnTo>
                    <a:pt x="81" y="8"/>
                  </a:lnTo>
                  <a:lnTo>
                    <a:pt x="83" y="8"/>
                  </a:lnTo>
                  <a:lnTo>
                    <a:pt x="84" y="8"/>
                  </a:lnTo>
                  <a:lnTo>
                    <a:pt x="85" y="8"/>
                  </a:lnTo>
                  <a:lnTo>
                    <a:pt x="86" y="10"/>
                  </a:lnTo>
                  <a:lnTo>
                    <a:pt x="87" y="10"/>
                  </a:lnTo>
                  <a:lnTo>
                    <a:pt x="86" y="10"/>
                  </a:lnTo>
                  <a:lnTo>
                    <a:pt x="87" y="10"/>
                  </a:lnTo>
                  <a:lnTo>
                    <a:pt x="86" y="10"/>
                  </a:lnTo>
                  <a:lnTo>
                    <a:pt x="86" y="11"/>
                  </a:lnTo>
                  <a:lnTo>
                    <a:pt x="85" y="11"/>
                  </a:lnTo>
                  <a:lnTo>
                    <a:pt x="84" y="12"/>
                  </a:lnTo>
                  <a:lnTo>
                    <a:pt x="83" y="12"/>
                  </a:lnTo>
                  <a:lnTo>
                    <a:pt x="83" y="13"/>
                  </a:lnTo>
                  <a:lnTo>
                    <a:pt x="84" y="13"/>
                  </a:lnTo>
                  <a:lnTo>
                    <a:pt x="84" y="14"/>
                  </a:lnTo>
                  <a:lnTo>
                    <a:pt x="84" y="13"/>
                  </a:lnTo>
                  <a:lnTo>
                    <a:pt x="84" y="14"/>
                  </a:lnTo>
                  <a:lnTo>
                    <a:pt x="85" y="14"/>
                  </a:lnTo>
                  <a:lnTo>
                    <a:pt x="86" y="14"/>
                  </a:lnTo>
                  <a:lnTo>
                    <a:pt x="86" y="15"/>
                  </a:lnTo>
                  <a:lnTo>
                    <a:pt x="85" y="15"/>
                  </a:lnTo>
                  <a:lnTo>
                    <a:pt x="85" y="17"/>
                  </a:lnTo>
                  <a:lnTo>
                    <a:pt x="85" y="18"/>
                  </a:lnTo>
                  <a:lnTo>
                    <a:pt x="86" y="18"/>
                  </a:lnTo>
                  <a:lnTo>
                    <a:pt x="86" y="19"/>
                  </a:lnTo>
                  <a:lnTo>
                    <a:pt x="86" y="20"/>
                  </a:lnTo>
                  <a:lnTo>
                    <a:pt x="87" y="20"/>
                  </a:lnTo>
                  <a:lnTo>
                    <a:pt x="87" y="21"/>
                  </a:lnTo>
                  <a:lnTo>
                    <a:pt x="88" y="21"/>
                  </a:lnTo>
                  <a:lnTo>
                    <a:pt x="90" y="22"/>
                  </a:lnTo>
                  <a:lnTo>
                    <a:pt x="90" y="24"/>
                  </a:lnTo>
                  <a:lnTo>
                    <a:pt x="88" y="24"/>
                  </a:lnTo>
                  <a:lnTo>
                    <a:pt x="90" y="24"/>
                  </a:lnTo>
                  <a:lnTo>
                    <a:pt x="88" y="24"/>
                  </a:lnTo>
                  <a:lnTo>
                    <a:pt x="88" y="22"/>
                  </a:lnTo>
                  <a:lnTo>
                    <a:pt x="88" y="21"/>
                  </a:lnTo>
                  <a:lnTo>
                    <a:pt x="87" y="21"/>
                  </a:lnTo>
                  <a:lnTo>
                    <a:pt x="86" y="20"/>
                  </a:lnTo>
                  <a:lnTo>
                    <a:pt x="85" y="20"/>
                  </a:lnTo>
                  <a:lnTo>
                    <a:pt x="85" y="21"/>
                  </a:lnTo>
                  <a:lnTo>
                    <a:pt x="86" y="21"/>
                  </a:lnTo>
                  <a:lnTo>
                    <a:pt x="85" y="21"/>
                  </a:lnTo>
                  <a:lnTo>
                    <a:pt x="85" y="22"/>
                  </a:lnTo>
                  <a:lnTo>
                    <a:pt x="84" y="22"/>
                  </a:lnTo>
                  <a:lnTo>
                    <a:pt x="84" y="21"/>
                  </a:lnTo>
                  <a:lnTo>
                    <a:pt x="83" y="21"/>
                  </a:lnTo>
                  <a:lnTo>
                    <a:pt x="81" y="21"/>
                  </a:lnTo>
                  <a:lnTo>
                    <a:pt x="81" y="20"/>
                  </a:lnTo>
                  <a:lnTo>
                    <a:pt x="81" y="21"/>
                  </a:lnTo>
                  <a:lnTo>
                    <a:pt x="80" y="21"/>
                  </a:lnTo>
                  <a:lnTo>
                    <a:pt x="80" y="22"/>
                  </a:lnTo>
                  <a:lnTo>
                    <a:pt x="80" y="21"/>
                  </a:lnTo>
                  <a:lnTo>
                    <a:pt x="80" y="22"/>
                  </a:lnTo>
                  <a:lnTo>
                    <a:pt x="79" y="22"/>
                  </a:lnTo>
                  <a:lnTo>
                    <a:pt x="78" y="22"/>
                  </a:lnTo>
                  <a:lnTo>
                    <a:pt x="77" y="24"/>
                  </a:lnTo>
                  <a:lnTo>
                    <a:pt x="75" y="25"/>
                  </a:lnTo>
                  <a:lnTo>
                    <a:pt x="73" y="26"/>
                  </a:lnTo>
                  <a:lnTo>
                    <a:pt x="72" y="26"/>
                  </a:lnTo>
                  <a:lnTo>
                    <a:pt x="72" y="25"/>
                  </a:lnTo>
                  <a:lnTo>
                    <a:pt x="73" y="25"/>
                  </a:lnTo>
                  <a:lnTo>
                    <a:pt x="73" y="24"/>
                  </a:lnTo>
                  <a:lnTo>
                    <a:pt x="73" y="25"/>
                  </a:lnTo>
                  <a:lnTo>
                    <a:pt x="73" y="24"/>
                  </a:lnTo>
                  <a:lnTo>
                    <a:pt x="72" y="24"/>
                  </a:lnTo>
                  <a:lnTo>
                    <a:pt x="72" y="25"/>
                  </a:lnTo>
                  <a:lnTo>
                    <a:pt x="71" y="25"/>
                  </a:lnTo>
                  <a:lnTo>
                    <a:pt x="72" y="25"/>
                  </a:lnTo>
                  <a:lnTo>
                    <a:pt x="71" y="25"/>
                  </a:lnTo>
                  <a:lnTo>
                    <a:pt x="70" y="26"/>
                  </a:lnTo>
                  <a:lnTo>
                    <a:pt x="70" y="27"/>
                  </a:lnTo>
                  <a:lnTo>
                    <a:pt x="70" y="28"/>
                  </a:lnTo>
                  <a:lnTo>
                    <a:pt x="69" y="28"/>
                  </a:lnTo>
                  <a:lnTo>
                    <a:pt x="70" y="28"/>
                  </a:lnTo>
                  <a:lnTo>
                    <a:pt x="70" y="29"/>
                  </a:lnTo>
                  <a:lnTo>
                    <a:pt x="71" y="29"/>
                  </a:lnTo>
                  <a:lnTo>
                    <a:pt x="71" y="31"/>
                  </a:lnTo>
                  <a:lnTo>
                    <a:pt x="71" y="32"/>
                  </a:lnTo>
                  <a:lnTo>
                    <a:pt x="72" y="32"/>
                  </a:lnTo>
                  <a:lnTo>
                    <a:pt x="71" y="32"/>
                  </a:lnTo>
                  <a:lnTo>
                    <a:pt x="72" y="33"/>
                  </a:lnTo>
                  <a:lnTo>
                    <a:pt x="72" y="32"/>
                  </a:lnTo>
                  <a:lnTo>
                    <a:pt x="72" y="33"/>
                  </a:lnTo>
                  <a:lnTo>
                    <a:pt x="73" y="33"/>
                  </a:lnTo>
                  <a:lnTo>
                    <a:pt x="73" y="34"/>
                  </a:lnTo>
                  <a:lnTo>
                    <a:pt x="73" y="35"/>
                  </a:lnTo>
                  <a:lnTo>
                    <a:pt x="72" y="35"/>
                  </a:lnTo>
                  <a:lnTo>
                    <a:pt x="72" y="34"/>
                  </a:lnTo>
                  <a:lnTo>
                    <a:pt x="73" y="34"/>
                  </a:lnTo>
                  <a:lnTo>
                    <a:pt x="72" y="34"/>
                  </a:lnTo>
                  <a:lnTo>
                    <a:pt x="72" y="35"/>
                  </a:lnTo>
                  <a:lnTo>
                    <a:pt x="72" y="36"/>
                  </a:lnTo>
                  <a:lnTo>
                    <a:pt x="72" y="35"/>
                  </a:lnTo>
                  <a:lnTo>
                    <a:pt x="71" y="35"/>
                  </a:lnTo>
                  <a:lnTo>
                    <a:pt x="71" y="36"/>
                  </a:lnTo>
                  <a:lnTo>
                    <a:pt x="71" y="38"/>
                  </a:lnTo>
                  <a:lnTo>
                    <a:pt x="71" y="39"/>
                  </a:lnTo>
                  <a:lnTo>
                    <a:pt x="71" y="40"/>
                  </a:lnTo>
                  <a:lnTo>
                    <a:pt x="71" y="41"/>
                  </a:lnTo>
                  <a:lnTo>
                    <a:pt x="72" y="42"/>
                  </a:lnTo>
                  <a:lnTo>
                    <a:pt x="72" y="43"/>
                  </a:lnTo>
                  <a:lnTo>
                    <a:pt x="72" y="45"/>
                  </a:lnTo>
                  <a:lnTo>
                    <a:pt x="73" y="46"/>
                  </a:lnTo>
                  <a:lnTo>
                    <a:pt x="75" y="46"/>
                  </a:lnTo>
                  <a:lnTo>
                    <a:pt x="75" y="47"/>
                  </a:lnTo>
                  <a:lnTo>
                    <a:pt x="76" y="47"/>
                  </a:lnTo>
                  <a:lnTo>
                    <a:pt x="76" y="48"/>
                  </a:lnTo>
                  <a:lnTo>
                    <a:pt x="77" y="48"/>
                  </a:lnTo>
                  <a:lnTo>
                    <a:pt x="78" y="49"/>
                  </a:lnTo>
                  <a:lnTo>
                    <a:pt x="79" y="49"/>
                  </a:lnTo>
                  <a:lnTo>
                    <a:pt x="80" y="49"/>
                  </a:lnTo>
                  <a:lnTo>
                    <a:pt x="80" y="50"/>
                  </a:lnTo>
                  <a:lnTo>
                    <a:pt x="84" y="53"/>
                  </a:lnTo>
                  <a:lnTo>
                    <a:pt x="86" y="54"/>
                  </a:lnTo>
                  <a:lnTo>
                    <a:pt x="87" y="54"/>
                  </a:lnTo>
                  <a:lnTo>
                    <a:pt x="88" y="55"/>
                  </a:lnTo>
                  <a:lnTo>
                    <a:pt x="91" y="60"/>
                  </a:lnTo>
                  <a:lnTo>
                    <a:pt x="91" y="61"/>
                  </a:lnTo>
                  <a:lnTo>
                    <a:pt x="92" y="61"/>
                  </a:lnTo>
                  <a:lnTo>
                    <a:pt x="92" y="62"/>
                  </a:lnTo>
                  <a:lnTo>
                    <a:pt x="92" y="63"/>
                  </a:lnTo>
                  <a:lnTo>
                    <a:pt x="93" y="66"/>
                  </a:lnTo>
                  <a:lnTo>
                    <a:pt x="94" y="67"/>
                  </a:lnTo>
                  <a:lnTo>
                    <a:pt x="94" y="68"/>
                  </a:lnTo>
                  <a:lnTo>
                    <a:pt x="94" y="69"/>
                  </a:lnTo>
                  <a:lnTo>
                    <a:pt x="95" y="70"/>
                  </a:lnTo>
                  <a:lnTo>
                    <a:pt x="98" y="73"/>
                  </a:lnTo>
                  <a:lnTo>
                    <a:pt x="99" y="73"/>
                  </a:lnTo>
                  <a:lnTo>
                    <a:pt x="99" y="74"/>
                  </a:lnTo>
                  <a:lnTo>
                    <a:pt x="100" y="74"/>
                  </a:lnTo>
                  <a:lnTo>
                    <a:pt x="100" y="75"/>
                  </a:lnTo>
                  <a:lnTo>
                    <a:pt x="102" y="76"/>
                  </a:lnTo>
                  <a:lnTo>
                    <a:pt x="104" y="76"/>
                  </a:lnTo>
                  <a:lnTo>
                    <a:pt x="104" y="77"/>
                  </a:lnTo>
                  <a:lnTo>
                    <a:pt x="105" y="77"/>
                  </a:lnTo>
                  <a:lnTo>
                    <a:pt x="105" y="78"/>
                  </a:lnTo>
                  <a:lnTo>
                    <a:pt x="106" y="78"/>
                  </a:lnTo>
                  <a:lnTo>
                    <a:pt x="106" y="80"/>
                  </a:lnTo>
                  <a:lnTo>
                    <a:pt x="107" y="80"/>
                  </a:lnTo>
                  <a:lnTo>
                    <a:pt x="108" y="80"/>
                  </a:lnTo>
                  <a:lnTo>
                    <a:pt x="109" y="81"/>
                  </a:lnTo>
                  <a:lnTo>
                    <a:pt x="111" y="81"/>
                  </a:lnTo>
                  <a:lnTo>
                    <a:pt x="112" y="81"/>
                  </a:lnTo>
                  <a:lnTo>
                    <a:pt x="113" y="81"/>
                  </a:lnTo>
                  <a:lnTo>
                    <a:pt x="114" y="81"/>
                  </a:lnTo>
                  <a:lnTo>
                    <a:pt x="115" y="81"/>
                  </a:lnTo>
                  <a:lnTo>
                    <a:pt x="118" y="81"/>
                  </a:lnTo>
                  <a:lnTo>
                    <a:pt x="121" y="81"/>
                  </a:lnTo>
                  <a:lnTo>
                    <a:pt x="122" y="81"/>
                  </a:lnTo>
                  <a:lnTo>
                    <a:pt x="123" y="81"/>
                  </a:lnTo>
                  <a:lnTo>
                    <a:pt x="123" y="82"/>
                  </a:lnTo>
                  <a:lnTo>
                    <a:pt x="123" y="83"/>
                  </a:lnTo>
                  <a:lnTo>
                    <a:pt x="122" y="83"/>
                  </a:lnTo>
                  <a:lnTo>
                    <a:pt x="122" y="84"/>
                  </a:lnTo>
                  <a:lnTo>
                    <a:pt x="121" y="84"/>
                  </a:lnTo>
                  <a:lnTo>
                    <a:pt x="120" y="85"/>
                  </a:lnTo>
                  <a:lnTo>
                    <a:pt x="120" y="87"/>
                  </a:lnTo>
                  <a:lnTo>
                    <a:pt x="120" y="88"/>
                  </a:lnTo>
                  <a:lnTo>
                    <a:pt x="121" y="88"/>
                  </a:lnTo>
                  <a:lnTo>
                    <a:pt x="121" y="89"/>
                  </a:lnTo>
                  <a:lnTo>
                    <a:pt x="122" y="89"/>
                  </a:lnTo>
                  <a:lnTo>
                    <a:pt x="126" y="90"/>
                  </a:lnTo>
                  <a:lnTo>
                    <a:pt x="127" y="91"/>
                  </a:lnTo>
                  <a:lnTo>
                    <a:pt x="128" y="91"/>
                  </a:lnTo>
                  <a:lnTo>
                    <a:pt x="129" y="92"/>
                  </a:lnTo>
                  <a:lnTo>
                    <a:pt x="133" y="92"/>
                  </a:lnTo>
                  <a:lnTo>
                    <a:pt x="133" y="94"/>
                  </a:lnTo>
                  <a:lnTo>
                    <a:pt x="135" y="94"/>
                  </a:lnTo>
                  <a:lnTo>
                    <a:pt x="137" y="95"/>
                  </a:lnTo>
                  <a:lnTo>
                    <a:pt x="139" y="96"/>
                  </a:lnTo>
                  <a:lnTo>
                    <a:pt x="140" y="97"/>
                  </a:lnTo>
                  <a:lnTo>
                    <a:pt x="141" y="98"/>
                  </a:lnTo>
                  <a:lnTo>
                    <a:pt x="142" y="98"/>
                  </a:lnTo>
                  <a:lnTo>
                    <a:pt x="143" y="98"/>
                  </a:lnTo>
                  <a:lnTo>
                    <a:pt x="144" y="99"/>
                  </a:lnTo>
                  <a:lnTo>
                    <a:pt x="145" y="101"/>
                  </a:lnTo>
                  <a:lnTo>
                    <a:pt x="147" y="101"/>
                  </a:lnTo>
                  <a:lnTo>
                    <a:pt x="148" y="101"/>
                  </a:lnTo>
                  <a:lnTo>
                    <a:pt x="148" y="102"/>
                  </a:lnTo>
                  <a:lnTo>
                    <a:pt x="149" y="103"/>
                  </a:lnTo>
                  <a:lnTo>
                    <a:pt x="150" y="104"/>
                  </a:lnTo>
                  <a:lnTo>
                    <a:pt x="151" y="104"/>
                  </a:lnTo>
                  <a:lnTo>
                    <a:pt x="152" y="104"/>
                  </a:lnTo>
                  <a:lnTo>
                    <a:pt x="152" y="105"/>
                  </a:lnTo>
                  <a:lnTo>
                    <a:pt x="154" y="106"/>
                  </a:lnTo>
                  <a:lnTo>
                    <a:pt x="155" y="109"/>
                  </a:lnTo>
                  <a:lnTo>
                    <a:pt x="155" y="110"/>
                  </a:lnTo>
                  <a:lnTo>
                    <a:pt x="154" y="111"/>
                  </a:lnTo>
                  <a:lnTo>
                    <a:pt x="154" y="112"/>
                  </a:lnTo>
                  <a:lnTo>
                    <a:pt x="154" y="113"/>
                  </a:lnTo>
                  <a:lnTo>
                    <a:pt x="154" y="115"/>
                  </a:lnTo>
                  <a:lnTo>
                    <a:pt x="152" y="115"/>
                  </a:lnTo>
                  <a:lnTo>
                    <a:pt x="152" y="113"/>
                  </a:lnTo>
                  <a:lnTo>
                    <a:pt x="151" y="113"/>
                  </a:lnTo>
                  <a:lnTo>
                    <a:pt x="150" y="112"/>
                  </a:lnTo>
                  <a:lnTo>
                    <a:pt x="149" y="112"/>
                  </a:lnTo>
                  <a:lnTo>
                    <a:pt x="149" y="111"/>
                  </a:lnTo>
                  <a:lnTo>
                    <a:pt x="149" y="110"/>
                  </a:lnTo>
                  <a:lnTo>
                    <a:pt x="148" y="110"/>
                  </a:lnTo>
                  <a:lnTo>
                    <a:pt x="149" y="110"/>
                  </a:lnTo>
                  <a:lnTo>
                    <a:pt x="148" y="109"/>
                  </a:lnTo>
                  <a:lnTo>
                    <a:pt x="148" y="108"/>
                  </a:lnTo>
                  <a:lnTo>
                    <a:pt x="147" y="108"/>
                  </a:lnTo>
                  <a:lnTo>
                    <a:pt x="147" y="106"/>
                  </a:lnTo>
                  <a:lnTo>
                    <a:pt x="142" y="106"/>
                  </a:lnTo>
                  <a:lnTo>
                    <a:pt x="141" y="105"/>
                  </a:lnTo>
                  <a:lnTo>
                    <a:pt x="140" y="105"/>
                  </a:lnTo>
                  <a:lnTo>
                    <a:pt x="139" y="105"/>
                  </a:lnTo>
                  <a:lnTo>
                    <a:pt x="139" y="104"/>
                  </a:lnTo>
                  <a:lnTo>
                    <a:pt x="137" y="104"/>
                  </a:lnTo>
                  <a:lnTo>
                    <a:pt x="139" y="104"/>
                  </a:lnTo>
                  <a:lnTo>
                    <a:pt x="139" y="103"/>
                  </a:lnTo>
                  <a:lnTo>
                    <a:pt x="140" y="103"/>
                  </a:lnTo>
                  <a:lnTo>
                    <a:pt x="139" y="103"/>
                  </a:lnTo>
                  <a:lnTo>
                    <a:pt x="137" y="103"/>
                  </a:lnTo>
                  <a:lnTo>
                    <a:pt x="136" y="103"/>
                  </a:lnTo>
                  <a:lnTo>
                    <a:pt x="135" y="103"/>
                  </a:lnTo>
                  <a:lnTo>
                    <a:pt x="134" y="104"/>
                  </a:lnTo>
                  <a:lnTo>
                    <a:pt x="134" y="105"/>
                  </a:lnTo>
                  <a:lnTo>
                    <a:pt x="133" y="106"/>
                  </a:lnTo>
                  <a:lnTo>
                    <a:pt x="132" y="108"/>
                  </a:lnTo>
                  <a:lnTo>
                    <a:pt x="132" y="109"/>
                  </a:lnTo>
                  <a:lnTo>
                    <a:pt x="130" y="109"/>
                  </a:lnTo>
                  <a:lnTo>
                    <a:pt x="130" y="110"/>
                  </a:lnTo>
                  <a:lnTo>
                    <a:pt x="130" y="111"/>
                  </a:lnTo>
                  <a:lnTo>
                    <a:pt x="132" y="111"/>
                  </a:lnTo>
                  <a:lnTo>
                    <a:pt x="130" y="111"/>
                  </a:lnTo>
                  <a:lnTo>
                    <a:pt x="130" y="112"/>
                  </a:lnTo>
                  <a:lnTo>
                    <a:pt x="129" y="113"/>
                  </a:lnTo>
                  <a:lnTo>
                    <a:pt x="129" y="115"/>
                  </a:lnTo>
                  <a:lnTo>
                    <a:pt x="130" y="116"/>
                  </a:lnTo>
                  <a:lnTo>
                    <a:pt x="129" y="116"/>
                  </a:lnTo>
                  <a:lnTo>
                    <a:pt x="130" y="116"/>
                  </a:lnTo>
                  <a:lnTo>
                    <a:pt x="130" y="117"/>
                  </a:lnTo>
                  <a:lnTo>
                    <a:pt x="132" y="117"/>
                  </a:lnTo>
                  <a:lnTo>
                    <a:pt x="133" y="117"/>
                  </a:lnTo>
                  <a:lnTo>
                    <a:pt x="134" y="117"/>
                  </a:lnTo>
                  <a:lnTo>
                    <a:pt x="134" y="118"/>
                  </a:lnTo>
                  <a:lnTo>
                    <a:pt x="135" y="118"/>
                  </a:lnTo>
                  <a:lnTo>
                    <a:pt x="136" y="119"/>
                  </a:lnTo>
                  <a:lnTo>
                    <a:pt x="137" y="119"/>
                  </a:lnTo>
                  <a:lnTo>
                    <a:pt x="137" y="120"/>
                  </a:lnTo>
                  <a:lnTo>
                    <a:pt x="139" y="120"/>
                  </a:lnTo>
                  <a:lnTo>
                    <a:pt x="139" y="122"/>
                  </a:lnTo>
                  <a:lnTo>
                    <a:pt x="139" y="123"/>
                  </a:lnTo>
                  <a:lnTo>
                    <a:pt x="139" y="124"/>
                  </a:lnTo>
                  <a:lnTo>
                    <a:pt x="139" y="125"/>
                  </a:lnTo>
                  <a:lnTo>
                    <a:pt x="139" y="126"/>
                  </a:lnTo>
                  <a:lnTo>
                    <a:pt x="140" y="126"/>
                  </a:lnTo>
                  <a:lnTo>
                    <a:pt x="139" y="126"/>
                  </a:lnTo>
                  <a:lnTo>
                    <a:pt x="139" y="127"/>
                  </a:lnTo>
                  <a:lnTo>
                    <a:pt x="139" y="129"/>
                  </a:lnTo>
                  <a:lnTo>
                    <a:pt x="139" y="127"/>
                  </a:lnTo>
                  <a:lnTo>
                    <a:pt x="137" y="127"/>
                  </a:lnTo>
                  <a:lnTo>
                    <a:pt x="137" y="129"/>
                  </a:lnTo>
                  <a:lnTo>
                    <a:pt x="137" y="127"/>
                  </a:lnTo>
                  <a:lnTo>
                    <a:pt x="136" y="127"/>
                  </a:lnTo>
                  <a:lnTo>
                    <a:pt x="135" y="127"/>
                  </a:lnTo>
                  <a:lnTo>
                    <a:pt x="134" y="129"/>
                  </a:lnTo>
                  <a:lnTo>
                    <a:pt x="133" y="129"/>
                  </a:lnTo>
                  <a:lnTo>
                    <a:pt x="133" y="130"/>
                  </a:lnTo>
                  <a:lnTo>
                    <a:pt x="132" y="130"/>
                  </a:lnTo>
                  <a:lnTo>
                    <a:pt x="132" y="131"/>
                  </a:lnTo>
                  <a:lnTo>
                    <a:pt x="132" y="132"/>
                  </a:lnTo>
                  <a:lnTo>
                    <a:pt x="132" y="133"/>
                  </a:lnTo>
                  <a:lnTo>
                    <a:pt x="132" y="134"/>
                  </a:lnTo>
                  <a:lnTo>
                    <a:pt x="132" y="136"/>
                  </a:lnTo>
                  <a:lnTo>
                    <a:pt x="132" y="137"/>
                  </a:lnTo>
                  <a:lnTo>
                    <a:pt x="130" y="137"/>
                  </a:lnTo>
                  <a:lnTo>
                    <a:pt x="129" y="138"/>
                  </a:lnTo>
                  <a:lnTo>
                    <a:pt x="128" y="138"/>
                  </a:lnTo>
                  <a:lnTo>
                    <a:pt x="127" y="140"/>
                  </a:lnTo>
                  <a:lnTo>
                    <a:pt x="127" y="143"/>
                  </a:lnTo>
                  <a:lnTo>
                    <a:pt x="126" y="143"/>
                  </a:lnTo>
                  <a:lnTo>
                    <a:pt x="126" y="144"/>
                  </a:lnTo>
                  <a:lnTo>
                    <a:pt x="125" y="144"/>
                  </a:lnTo>
                  <a:lnTo>
                    <a:pt x="122" y="144"/>
                  </a:lnTo>
                  <a:lnTo>
                    <a:pt x="121" y="144"/>
                  </a:lnTo>
                  <a:lnTo>
                    <a:pt x="121" y="143"/>
                  </a:lnTo>
                  <a:lnTo>
                    <a:pt x="120" y="143"/>
                  </a:lnTo>
                  <a:lnTo>
                    <a:pt x="120" y="141"/>
                  </a:lnTo>
                  <a:lnTo>
                    <a:pt x="120" y="140"/>
                  </a:lnTo>
                  <a:lnTo>
                    <a:pt x="120" y="139"/>
                  </a:lnTo>
                  <a:lnTo>
                    <a:pt x="120" y="138"/>
                  </a:lnTo>
                  <a:lnTo>
                    <a:pt x="122" y="138"/>
                  </a:lnTo>
                  <a:lnTo>
                    <a:pt x="122" y="137"/>
                  </a:lnTo>
                  <a:lnTo>
                    <a:pt x="123" y="134"/>
                  </a:lnTo>
                  <a:lnTo>
                    <a:pt x="123" y="133"/>
                  </a:lnTo>
                  <a:lnTo>
                    <a:pt x="122" y="133"/>
                  </a:lnTo>
                  <a:lnTo>
                    <a:pt x="122" y="132"/>
                  </a:lnTo>
                  <a:lnTo>
                    <a:pt x="123" y="132"/>
                  </a:lnTo>
                  <a:lnTo>
                    <a:pt x="123" y="131"/>
                  </a:lnTo>
                  <a:lnTo>
                    <a:pt x="125" y="131"/>
                  </a:lnTo>
                  <a:lnTo>
                    <a:pt x="126" y="131"/>
                  </a:lnTo>
                  <a:lnTo>
                    <a:pt x="127" y="131"/>
                  </a:lnTo>
                  <a:lnTo>
                    <a:pt x="127" y="130"/>
                  </a:lnTo>
                  <a:lnTo>
                    <a:pt x="127" y="129"/>
                  </a:lnTo>
                  <a:lnTo>
                    <a:pt x="127" y="127"/>
                  </a:lnTo>
                  <a:lnTo>
                    <a:pt x="126" y="127"/>
                  </a:lnTo>
                  <a:lnTo>
                    <a:pt x="125" y="125"/>
                  </a:lnTo>
                  <a:lnTo>
                    <a:pt x="125" y="122"/>
                  </a:lnTo>
                  <a:lnTo>
                    <a:pt x="123" y="122"/>
                  </a:lnTo>
                  <a:lnTo>
                    <a:pt x="123" y="119"/>
                  </a:lnTo>
                  <a:lnTo>
                    <a:pt x="122" y="118"/>
                  </a:lnTo>
                  <a:lnTo>
                    <a:pt x="121" y="118"/>
                  </a:lnTo>
                  <a:lnTo>
                    <a:pt x="121" y="117"/>
                  </a:lnTo>
                  <a:lnTo>
                    <a:pt x="121" y="116"/>
                  </a:lnTo>
                  <a:lnTo>
                    <a:pt x="120" y="115"/>
                  </a:lnTo>
                  <a:lnTo>
                    <a:pt x="120" y="113"/>
                  </a:lnTo>
                  <a:lnTo>
                    <a:pt x="120" y="112"/>
                  </a:lnTo>
                  <a:lnTo>
                    <a:pt x="120" y="111"/>
                  </a:lnTo>
                  <a:lnTo>
                    <a:pt x="119" y="111"/>
                  </a:lnTo>
                  <a:lnTo>
                    <a:pt x="119" y="110"/>
                  </a:lnTo>
                  <a:lnTo>
                    <a:pt x="118" y="110"/>
                  </a:lnTo>
                  <a:lnTo>
                    <a:pt x="116" y="110"/>
                  </a:lnTo>
                  <a:lnTo>
                    <a:pt x="115" y="111"/>
                  </a:lnTo>
                  <a:lnTo>
                    <a:pt x="114" y="111"/>
                  </a:lnTo>
                  <a:lnTo>
                    <a:pt x="114" y="110"/>
                  </a:lnTo>
                  <a:lnTo>
                    <a:pt x="113" y="110"/>
                  </a:lnTo>
                  <a:lnTo>
                    <a:pt x="114" y="110"/>
                  </a:lnTo>
                  <a:lnTo>
                    <a:pt x="113" y="110"/>
                  </a:lnTo>
                  <a:lnTo>
                    <a:pt x="113" y="109"/>
                  </a:lnTo>
                  <a:lnTo>
                    <a:pt x="112" y="109"/>
                  </a:lnTo>
                  <a:lnTo>
                    <a:pt x="111" y="109"/>
                  </a:lnTo>
                  <a:lnTo>
                    <a:pt x="111" y="108"/>
                  </a:lnTo>
                  <a:lnTo>
                    <a:pt x="109" y="108"/>
                  </a:lnTo>
                  <a:lnTo>
                    <a:pt x="108" y="108"/>
                  </a:lnTo>
                  <a:lnTo>
                    <a:pt x="108" y="106"/>
                  </a:lnTo>
                  <a:lnTo>
                    <a:pt x="109" y="106"/>
                  </a:lnTo>
                  <a:lnTo>
                    <a:pt x="108" y="105"/>
                  </a:lnTo>
                  <a:lnTo>
                    <a:pt x="109" y="105"/>
                  </a:lnTo>
                  <a:lnTo>
                    <a:pt x="109" y="104"/>
                  </a:lnTo>
                  <a:lnTo>
                    <a:pt x="108" y="102"/>
                  </a:lnTo>
                  <a:lnTo>
                    <a:pt x="107" y="102"/>
                  </a:lnTo>
                  <a:lnTo>
                    <a:pt x="107" y="101"/>
                  </a:lnTo>
                  <a:lnTo>
                    <a:pt x="106" y="101"/>
                  </a:lnTo>
                  <a:lnTo>
                    <a:pt x="105" y="101"/>
                  </a:lnTo>
                  <a:lnTo>
                    <a:pt x="104" y="102"/>
                  </a:lnTo>
                  <a:lnTo>
                    <a:pt x="102" y="101"/>
                  </a:lnTo>
                  <a:lnTo>
                    <a:pt x="102" y="102"/>
                  </a:lnTo>
                  <a:lnTo>
                    <a:pt x="101" y="102"/>
                  </a:lnTo>
                  <a:lnTo>
                    <a:pt x="101" y="101"/>
                  </a:lnTo>
                  <a:lnTo>
                    <a:pt x="102" y="101"/>
                  </a:lnTo>
                  <a:lnTo>
                    <a:pt x="102" y="99"/>
                  </a:lnTo>
                  <a:lnTo>
                    <a:pt x="101" y="99"/>
                  </a:lnTo>
                  <a:lnTo>
                    <a:pt x="101" y="98"/>
                  </a:lnTo>
                  <a:lnTo>
                    <a:pt x="100" y="98"/>
                  </a:lnTo>
                  <a:lnTo>
                    <a:pt x="99" y="98"/>
                  </a:lnTo>
                  <a:lnTo>
                    <a:pt x="98" y="98"/>
                  </a:lnTo>
                  <a:lnTo>
                    <a:pt x="97" y="98"/>
                  </a:lnTo>
                  <a:lnTo>
                    <a:pt x="97" y="97"/>
                  </a:lnTo>
                  <a:lnTo>
                    <a:pt x="97" y="96"/>
                  </a:lnTo>
                  <a:lnTo>
                    <a:pt x="95" y="95"/>
                  </a:lnTo>
                  <a:lnTo>
                    <a:pt x="94" y="94"/>
                  </a:lnTo>
                  <a:lnTo>
                    <a:pt x="94" y="92"/>
                  </a:lnTo>
                  <a:lnTo>
                    <a:pt x="93" y="92"/>
                  </a:lnTo>
                  <a:lnTo>
                    <a:pt x="92" y="91"/>
                  </a:lnTo>
                  <a:lnTo>
                    <a:pt x="91" y="91"/>
                  </a:lnTo>
                  <a:lnTo>
                    <a:pt x="91" y="92"/>
                  </a:lnTo>
                  <a:lnTo>
                    <a:pt x="90" y="92"/>
                  </a:lnTo>
                  <a:lnTo>
                    <a:pt x="90" y="91"/>
                  </a:lnTo>
                  <a:lnTo>
                    <a:pt x="87" y="90"/>
                  </a:lnTo>
                  <a:lnTo>
                    <a:pt x="86" y="91"/>
                  </a:lnTo>
                  <a:lnTo>
                    <a:pt x="85" y="91"/>
                  </a:lnTo>
                  <a:lnTo>
                    <a:pt x="84" y="91"/>
                  </a:lnTo>
                  <a:lnTo>
                    <a:pt x="83" y="90"/>
                  </a:lnTo>
                  <a:lnTo>
                    <a:pt x="83" y="89"/>
                  </a:lnTo>
                  <a:lnTo>
                    <a:pt x="81" y="89"/>
                  </a:lnTo>
                  <a:lnTo>
                    <a:pt x="80" y="89"/>
                  </a:lnTo>
                  <a:lnTo>
                    <a:pt x="79" y="88"/>
                  </a:lnTo>
                  <a:lnTo>
                    <a:pt x="78" y="88"/>
                  </a:lnTo>
                  <a:lnTo>
                    <a:pt x="77" y="87"/>
                  </a:lnTo>
                  <a:lnTo>
                    <a:pt x="76" y="85"/>
                  </a:lnTo>
                  <a:lnTo>
                    <a:pt x="75" y="84"/>
                  </a:lnTo>
                  <a:lnTo>
                    <a:pt x="73" y="84"/>
                  </a:lnTo>
                  <a:lnTo>
                    <a:pt x="73" y="83"/>
                  </a:lnTo>
                  <a:lnTo>
                    <a:pt x="72" y="83"/>
                  </a:lnTo>
                  <a:lnTo>
                    <a:pt x="72" y="82"/>
                  </a:lnTo>
                  <a:lnTo>
                    <a:pt x="72" y="81"/>
                  </a:lnTo>
                  <a:lnTo>
                    <a:pt x="71" y="80"/>
                  </a:lnTo>
                  <a:lnTo>
                    <a:pt x="70" y="80"/>
                  </a:lnTo>
                  <a:lnTo>
                    <a:pt x="69" y="80"/>
                  </a:lnTo>
                  <a:lnTo>
                    <a:pt x="69" y="78"/>
                  </a:lnTo>
                  <a:lnTo>
                    <a:pt x="68" y="78"/>
                  </a:lnTo>
                  <a:lnTo>
                    <a:pt x="68" y="80"/>
                  </a:lnTo>
                  <a:lnTo>
                    <a:pt x="68" y="78"/>
                  </a:lnTo>
                  <a:lnTo>
                    <a:pt x="66" y="78"/>
                  </a:lnTo>
                  <a:lnTo>
                    <a:pt x="66" y="77"/>
                  </a:lnTo>
                  <a:lnTo>
                    <a:pt x="65" y="76"/>
                  </a:lnTo>
                  <a:lnTo>
                    <a:pt x="65" y="75"/>
                  </a:lnTo>
                  <a:lnTo>
                    <a:pt x="64" y="74"/>
                  </a:lnTo>
                  <a:lnTo>
                    <a:pt x="63" y="74"/>
                  </a:lnTo>
                  <a:lnTo>
                    <a:pt x="62" y="74"/>
                  </a:lnTo>
                  <a:lnTo>
                    <a:pt x="62" y="73"/>
                  </a:lnTo>
                  <a:lnTo>
                    <a:pt x="62" y="74"/>
                  </a:lnTo>
                  <a:lnTo>
                    <a:pt x="61" y="74"/>
                  </a:lnTo>
                  <a:lnTo>
                    <a:pt x="61" y="73"/>
                  </a:lnTo>
                  <a:lnTo>
                    <a:pt x="59" y="73"/>
                  </a:lnTo>
                  <a:lnTo>
                    <a:pt x="59" y="74"/>
                  </a:lnTo>
                  <a:lnTo>
                    <a:pt x="58" y="74"/>
                  </a:lnTo>
                  <a:lnTo>
                    <a:pt x="58" y="73"/>
                  </a:lnTo>
                  <a:lnTo>
                    <a:pt x="59" y="73"/>
                  </a:lnTo>
                  <a:lnTo>
                    <a:pt x="59" y="71"/>
                  </a:lnTo>
                  <a:lnTo>
                    <a:pt x="58" y="71"/>
                  </a:lnTo>
                  <a:lnTo>
                    <a:pt x="58" y="70"/>
                  </a:lnTo>
                  <a:lnTo>
                    <a:pt x="57" y="70"/>
                  </a:lnTo>
                  <a:lnTo>
                    <a:pt x="57" y="69"/>
                  </a:lnTo>
                  <a:lnTo>
                    <a:pt x="56" y="68"/>
                  </a:lnTo>
                  <a:lnTo>
                    <a:pt x="55" y="68"/>
                  </a:lnTo>
                  <a:lnTo>
                    <a:pt x="54" y="67"/>
                  </a:lnTo>
                  <a:lnTo>
                    <a:pt x="54" y="66"/>
                  </a:lnTo>
                  <a:lnTo>
                    <a:pt x="52" y="64"/>
                  </a:lnTo>
                  <a:lnTo>
                    <a:pt x="51" y="64"/>
                  </a:lnTo>
                  <a:lnTo>
                    <a:pt x="50" y="64"/>
                  </a:lnTo>
                  <a:lnTo>
                    <a:pt x="50" y="66"/>
                  </a:lnTo>
                  <a:lnTo>
                    <a:pt x="50" y="64"/>
                  </a:lnTo>
                  <a:lnTo>
                    <a:pt x="50" y="63"/>
                  </a:lnTo>
                  <a:lnTo>
                    <a:pt x="50" y="62"/>
                  </a:lnTo>
                  <a:lnTo>
                    <a:pt x="50" y="61"/>
                  </a:lnTo>
                  <a:lnTo>
                    <a:pt x="50" y="60"/>
                  </a:lnTo>
                  <a:lnTo>
                    <a:pt x="49" y="57"/>
                  </a:lnTo>
                  <a:lnTo>
                    <a:pt x="48" y="56"/>
                  </a:lnTo>
                  <a:lnTo>
                    <a:pt x="47" y="55"/>
                  </a:lnTo>
                  <a:lnTo>
                    <a:pt x="47" y="52"/>
                  </a:lnTo>
                  <a:lnTo>
                    <a:pt x="47" y="50"/>
                  </a:lnTo>
                  <a:lnTo>
                    <a:pt x="45" y="49"/>
                  </a:lnTo>
                  <a:lnTo>
                    <a:pt x="44" y="48"/>
                  </a:lnTo>
                  <a:lnTo>
                    <a:pt x="43" y="48"/>
                  </a:lnTo>
                  <a:lnTo>
                    <a:pt x="43" y="47"/>
                  </a:lnTo>
                  <a:lnTo>
                    <a:pt x="43" y="48"/>
                  </a:lnTo>
                  <a:lnTo>
                    <a:pt x="42" y="48"/>
                  </a:lnTo>
                  <a:lnTo>
                    <a:pt x="42" y="47"/>
                  </a:lnTo>
                  <a:lnTo>
                    <a:pt x="41" y="47"/>
                  </a:lnTo>
                  <a:lnTo>
                    <a:pt x="41" y="48"/>
                  </a:lnTo>
                  <a:lnTo>
                    <a:pt x="41" y="47"/>
                  </a:lnTo>
                  <a:lnTo>
                    <a:pt x="40" y="47"/>
                  </a:lnTo>
                  <a:lnTo>
                    <a:pt x="38" y="46"/>
                  </a:lnTo>
                  <a:lnTo>
                    <a:pt x="37" y="46"/>
                  </a:lnTo>
                  <a:lnTo>
                    <a:pt x="37" y="45"/>
                  </a:lnTo>
                  <a:lnTo>
                    <a:pt x="36" y="45"/>
                  </a:lnTo>
                  <a:lnTo>
                    <a:pt x="35" y="45"/>
                  </a:lnTo>
                  <a:lnTo>
                    <a:pt x="35" y="43"/>
                  </a:lnTo>
                  <a:lnTo>
                    <a:pt x="34" y="43"/>
                  </a:lnTo>
                  <a:lnTo>
                    <a:pt x="33" y="42"/>
                  </a:lnTo>
                  <a:lnTo>
                    <a:pt x="33" y="43"/>
                  </a:lnTo>
                  <a:lnTo>
                    <a:pt x="31" y="43"/>
                  </a:lnTo>
                  <a:lnTo>
                    <a:pt x="31" y="42"/>
                  </a:lnTo>
                  <a:lnTo>
                    <a:pt x="30" y="42"/>
                  </a:lnTo>
                  <a:lnTo>
                    <a:pt x="29" y="42"/>
                  </a:lnTo>
                  <a:lnTo>
                    <a:pt x="28" y="42"/>
                  </a:lnTo>
                  <a:lnTo>
                    <a:pt x="28" y="41"/>
                  </a:lnTo>
                  <a:lnTo>
                    <a:pt x="27" y="41"/>
                  </a:lnTo>
                  <a:lnTo>
                    <a:pt x="27" y="42"/>
                  </a:lnTo>
                  <a:lnTo>
                    <a:pt x="26" y="42"/>
                  </a:lnTo>
                  <a:lnTo>
                    <a:pt x="24" y="42"/>
                  </a:lnTo>
                  <a:lnTo>
                    <a:pt x="24" y="43"/>
                  </a:lnTo>
                  <a:lnTo>
                    <a:pt x="23" y="43"/>
                  </a:lnTo>
                  <a:lnTo>
                    <a:pt x="23" y="45"/>
                  </a:lnTo>
                  <a:lnTo>
                    <a:pt x="23" y="46"/>
                  </a:lnTo>
                  <a:lnTo>
                    <a:pt x="22" y="46"/>
                  </a:lnTo>
                  <a:lnTo>
                    <a:pt x="21" y="46"/>
                  </a:lnTo>
                  <a:lnTo>
                    <a:pt x="21" y="47"/>
                  </a:lnTo>
                  <a:lnTo>
                    <a:pt x="21" y="48"/>
                  </a:lnTo>
                  <a:lnTo>
                    <a:pt x="20" y="48"/>
                  </a:lnTo>
                  <a:lnTo>
                    <a:pt x="20" y="49"/>
                  </a:lnTo>
                  <a:lnTo>
                    <a:pt x="19" y="49"/>
                  </a:lnTo>
                  <a:lnTo>
                    <a:pt x="19" y="50"/>
                  </a:lnTo>
                  <a:lnTo>
                    <a:pt x="17" y="50"/>
                  </a:lnTo>
                  <a:lnTo>
                    <a:pt x="15" y="52"/>
                  </a:lnTo>
                  <a:lnTo>
                    <a:pt x="14" y="52"/>
                  </a:lnTo>
                  <a:lnTo>
                    <a:pt x="13" y="52"/>
                  </a:lnTo>
                  <a:lnTo>
                    <a:pt x="12" y="52"/>
                  </a:lnTo>
                  <a:lnTo>
                    <a:pt x="12" y="50"/>
                  </a:lnTo>
                  <a:lnTo>
                    <a:pt x="12" y="49"/>
                  </a:lnTo>
                  <a:lnTo>
                    <a:pt x="13" y="48"/>
                  </a:lnTo>
                  <a:lnTo>
                    <a:pt x="14" y="48"/>
                  </a:lnTo>
                  <a:lnTo>
                    <a:pt x="14" y="47"/>
                  </a:lnTo>
                  <a:lnTo>
                    <a:pt x="13" y="46"/>
                  </a:lnTo>
                  <a:lnTo>
                    <a:pt x="12" y="46"/>
                  </a:lnTo>
                  <a:lnTo>
                    <a:pt x="9" y="47"/>
                  </a:lnTo>
                  <a:lnTo>
                    <a:pt x="9" y="46"/>
                  </a:lnTo>
                  <a:lnTo>
                    <a:pt x="8" y="46"/>
                  </a:lnTo>
                  <a:lnTo>
                    <a:pt x="7" y="45"/>
                  </a:lnTo>
                  <a:lnTo>
                    <a:pt x="6" y="45"/>
                  </a:lnTo>
                  <a:lnTo>
                    <a:pt x="5" y="45"/>
                  </a:lnTo>
                  <a:lnTo>
                    <a:pt x="5" y="43"/>
                  </a:lnTo>
                  <a:lnTo>
                    <a:pt x="4" y="43"/>
                  </a:lnTo>
                  <a:lnTo>
                    <a:pt x="4" y="42"/>
                  </a:lnTo>
                  <a:lnTo>
                    <a:pt x="4" y="41"/>
                  </a:lnTo>
                  <a:lnTo>
                    <a:pt x="2" y="40"/>
                  </a:lnTo>
                  <a:lnTo>
                    <a:pt x="4" y="40"/>
                  </a:lnTo>
                  <a:lnTo>
                    <a:pt x="4" y="39"/>
                  </a:lnTo>
                  <a:lnTo>
                    <a:pt x="5" y="39"/>
                  </a:lnTo>
                  <a:lnTo>
                    <a:pt x="4" y="39"/>
                  </a:lnTo>
                  <a:lnTo>
                    <a:pt x="4" y="38"/>
                  </a:lnTo>
                  <a:lnTo>
                    <a:pt x="5" y="38"/>
                  </a:lnTo>
                  <a:lnTo>
                    <a:pt x="6" y="38"/>
                  </a:lnTo>
                  <a:lnTo>
                    <a:pt x="5" y="36"/>
                  </a:lnTo>
                  <a:lnTo>
                    <a:pt x="5" y="35"/>
                  </a:lnTo>
                  <a:lnTo>
                    <a:pt x="4" y="35"/>
                  </a:lnTo>
                  <a:lnTo>
                    <a:pt x="2" y="35"/>
                  </a:lnTo>
                  <a:lnTo>
                    <a:pt x="2" y="34"/>
                  </a:lnTo>
                  <a:lnTo>
                    <a:pt x="1" y="34"/>
                  </a:lnTo>
                  <a:lnTo>
                    <a:pt x="1" y="33"/>
                  </a:lnTo>
                  <a:lnTo>
                    <a:pt x="1" y="32"/>
                  </a:lnTo>
                  <a:lnTo>
                    <a:pt x="0" y="32"/>
                  </a:lnTo>
                  <a:lnTo>
                    <a:pt x="0" y="31"/>
                  </a:lnTo>
                  <a:lnTo>
                    <a:pt x="1" y="31"/>
                  </a:lnTo>
                  <a:lnTo>
                    <a:pt x="2" y="31"/>
                  </a:lnTo>
                  <a:lnTo>
                    <a:pt x="4" y="31"/>
                  </a:lnTo>
                  <a:lnTo>
                    <a:pt x="2" y="31"/>
                  </a:lnTo>
                  <a:lnTo>
                    <a:pt x="4" y="31"/>
                  </a:lnTo>
                  <a:lnTo>
                    <a:pt x="4" y="29"/>
                  </a:lnTo>
                  <a:lnTo>
                    <a:pt x="5" y="29"/>
                  </a:lnTo>
                  <a:lnTo>
                    <a:pt x="6" y="29"/>
                  </a:lnTo>
                  <a:lnTo>
                    <a:pt x="6" y="28"/>
                  </a:lnTo>
                  <a:lnTo>
                    <a:pt x="6" y="27"/>
                  </a:lnTo>
                  <a:lnTo>
                    <a:pt x="7" y="26"/>
                  </a:lnTo>
                  <a:lnTo>
                    <a:pt x="6" y="26"/>
                  </a:lnTo>
                  <a:lnTo>
                    <a:pt x="5" y="25"/>
                  </a:lnTo>
                  <a:lnTo>
                    <a:pt x="4" y="25"/>
                  </a:lnTo>
                  <a:lnTo>
                    <a:pt x="4" y="24"/>
                  </a:lnTo>
                  <a:lnTo>
                    <a:pt x="4" y="22"/>
                  </a:lnTo>
                  <a:lnTo>
                    <a:pt x="2" y="22"/>
                  </a:lnTo>
                  <a:lnTo>
                    <a:pt x="1" y="21"/>
                  </a:lnTo>
                  <a:lnTo>
                    <a:pt x="1" y="20"/>
                  </a:lnTo>
                  <a:lnTo>
                    <a:pt x="2" y="20"/>
                  </a:lnTo>
                  <a:lnTo>
                    <a:pt x="4" y="20"/>
                  </a:lnTo>
                  <a:lnTo>
                    <a:pt x="4" y="19"/>
                  </a:lnTo>
                  <a:lnTo>
                    <a:pt x="5" y="19"/>
                  </a:lnTo>
                  <a:lnTo>
                    <a:pt x="5" y="18"/>
                  </a:lnTo>
                  <a:lnTo>
                    <a:pt x="5" y="19"/>
                  </a:lnTo>
                  <a:lnTo>
                    <a:pt x="6" y="19"/>
                  </a:lnTo>
                  <a:lnTo>
                    <a:pt x="7" y="19"/>
                  </a:lnTo>
                  <a:lnTo>
                    <a:pt x="8" y="19"/>
                  </a:lnTo>
                  <a:lnTo>
                    <a:pt x="9" y="19"/>
                  </a:lnTo>
                  <a:lnTo>
                    <a:pt x="9" y="18"/>
                  </a:lnTo>
                  <a:lnTo>
                    <a:pt x="11" y="18"/>
                  </a:lnTo>
                  <a:lnTo>
                    <a:pt x="12" y="18"/>
                  </a:lnTo>
                  <a:lnTo>
                    <a:pt x="13" y="18"/>
                  </a:lnTo>
                  <a:lnTo>
                    <a:pt x="14" y="19"/>
                  </a:lnTo>
                  <a:lnTo>
                    <a:pt x="15" y="19"/>
                  </a:lnTo>
                  <a:lnTo>
                    <a:pt x="15" y="18"/>
                  </a:lnTo>
                  <a:lnTo>
                    <a:pt x="16" y="18"/>
                  </a:lnTo>
                  <a:lnTo>
                    <a:pt x="16" y="17"/>
                  </a:lnTo>
                  <a:lnTo>
                    <a:pt x="16" y="15"/>
                  </a:lnTo>
                  <a:lnTo>
                    <a:pt x="17" y="15"/>
                  </a:lnTo>
                  <a:lnTo>
                    <a:pt x="19" y="14"/>
                  </a:lnTo>
                  <a:lnTo>
                    <a:pt x="17" y="14"/>
                  </a:lnTo>
                  <a:lnTo>
                    <a:pt x="17" y="13"/>
                  </a:lnTo>
                  <a:lnTo>
                    <a:pt x="19" y="12"/>
                  </a:lnTo>
                  <a:lnTo>
                    <a:pt x="20" y="12"/>
                  </a:lnTo>
                  <a:lnTo>
                    <a:pt x="20" y="11"/>
                  </a:lnTo>
                  <a:lnTo>
                    <a:pt x="21" y="11"/>
                  </a:lnTo>
                  <a:lnTo>
                    <a:pt x="21" y="10"/>
                  </a:lnTo>
                  <a:lnTo>
                    <a:pt x="22" y="11"/>
                  </a:lnTo>
                  <a:lnTo>
                    <a:pt x="22" y="12"/>
                  </a:lnTo>
                  <a:lnTo>
                    <a:pt x="22" y="13"/>
                  </a:lnTo>
                  <a:lnTo>
                    <a:pt x="22" y="14"/>
                  </a:lnTo>
                  <a:lnTo>
                    <a:pt x="23" y="14"/>
                  </a:lnTo>
                  <a:lnTo>
                    <a:pt x="24" y="15"/>
                  </a:lnTo>
                  <a:lnTo>
                    <a:pt x="26" y="15"/>
                  </a:lnTo>
                  <a:lnTo>
                    <a:pt x="27" y="15"/>
                  </a:lnTo>
                  <a:lnTo>
                    <a:pt x="27" y="17"/>
                  </a:lnTo>
                  <a:lnTo>
                    <a:pt x="26" y="18"/>
                  </a:lnTo>
                  <a:lnTo>
                    <a:pt x="27" y="18"/>
                  </a:lnTo>
                  <a:lnTo>
                    <a:pt x="28" y="18"/>
                  </a:lnTo>
                  <a:lnTo>
                    <a:pt x="28" y="19"/>
                  </a:lnTo>
                  <a:lnTo>
                    <a:pt x="28" y="20"/>
                  </a:lnTo>
                  <a:lnTo>
                    <a:pt x="29" y="20"/>
                  </a:lnTo>
                  <a:lnTo>
                    <a:pt x="29" y="19"/>
                  </a:lnTo>
                  <a:lnTo>
                    <a:pt x="30" y="19"/>
                  </a:lnTo>
                  <a:lnTo>
                    <a:pt x="29" y="19"/>
                  </a:lnTo>
                  <a:lnTo>
                    <a:pt x="29" y="18"/>
                  </a:lnTo>
                  <a:lnTo>
                    <a:pt x="29" y="17"/>
                  </a:lnTo>
                  <a:lnTo>
                    <a:pt x="30" y="17"/>
                  </a:lnTo>
                  <a:lnTo>
                    <a:pt x="30" y="15"/>
                  </a:lnTo>
                  <a:lnTo>
                    <a:pt x="31" y="14"/>
                  </a:lnTo>
                  <a:lnTo>
                    <a:pt x="31" y="13"/>
                  </a:lnTo>
                  <a:lnTo>
                    <a:pt x="33" y="12"/>
                  </a:lnTo>
                  <a:lnTo>
                    <a:pt x="31" y="11"/>
                  </a:lnTo>
                  <a:lnTo>
                    <a:pt x="31" y="10"/>
                  </a:lnTo>
                  <a:lnTo>
                    <a:pt x="33" y="10"/>
                  </a:lnTo>
                  <a:lnTo>
                    <a:pt x="34" y="10"/>
                  </a:lnTo>
                  <a:lnTo>
                    <a:pt x="34" y="11"/>
                  </a:lnTo>
                  <a:lnTo>
                    <a:pt x="34" y="12"/>
                  </a:lnTo>
                  <a:lnTo>
                    <a:pt x="35" y="12"/>
                  </a:lnTo>
                  <a:lnTo>
                    <a:pt x="35" y="13"/>
                  </a:lnTo>
                  <a:lnTo>
                    <a:pt x="36" y="13"/>
                  </a:lnTo>
                  <a:lnTo>
                    <a:pt x="37" y="13"/>
                  </a:lnTo>
                  <a:lnTo>
                    <a:pt x="37" y="12"/>
                  </a:lnTo>
                  <a:lnTo>
                    <a:pt x="38" y="12"/>
                  </a:lnTo>
                  <a:lnTo>
                    <a:pt x="40" y="12"/>
                  </a:lnTo>
                  <a:lnTo>
                    <a:pt x="41" y="12"/>
                  </a:lnTo>
                  <a:lnTo>
                    <a:pt x="41" y="13"/>
                  </a:lnTo>
                  <a:lnTo>
                    <a:pt x="42" y="13"/>
                  </a:lnTo>
                  <a:lnTo>
                    <a:pt x="42" y="14"/>
                  </a:lnTo>
                  <a:lnTo>
                    <a:pt x="43" y="13"/>
                  </a:lnTo>
                  <a:lnTo>
                    <a:pt x="42" y="12"/>
                  </a:lnTo>
                  <a:lnTo>
                    <a:pt x="43" y="11"/>
                  </a:lnTo>
                  <a:lnTo>
                    <a:pt x="42" y="11"/>
                  </a:lnTo>
                  <a:lnTo>
                    <a:pt x="42" y="10"/>
                  </a:lnTo>
                  <a:lnTo>
                    <a:pt x="42" y="8"/>
                  </a:lnTo>
                  <a:lnTo>
                    <a:pt x="42" y="7"/>
                  </a:lnTo>
                  <a:lnTo>
                    <a:pt x="43" y="7"/>
                  </a:lnTo>
                  <a:lnTo>
                    <a:pt x="44" y="7"/>
                  </a:lnTo>
                  <a:lnTo>
                    <a:pt x="44" y="8"/>
                  </a:lnTo>
                  <a:lnTo>
                    <a:pt x="45" y="8"/>
                  </a:lnTo>
                  <a:lnTo>
                    <a:pt x="47" y="8"/>
                  </a:lnTo>
                  <a:lnTo>
                    <a:pt x="47" y="7"/>
                  </a:lnTo>
                  <a:lnTo>
                    <a:pt x="45" y="7"/>
                  </a:lnTo>
                  <a:lnTo>
                    <a:pt x="45" y="6"/>
                  </a:lnTo>
                  <a:lnTo>
                    <a:pt x="47" y="5"/>
                  </a:lnTo>
                  <a:lnTo>
                    <a:pt x="45" y="5"/>
                  </a:lnTo>
                  <a:lnTo>
                    <a:pt x="47" y="5"/>
                  </a:lnTo>
                  <a:lnTo>
                    <a:pt x="47" y="4"/>
                  </a:lnTo>
                  <a:lnTo>
                    <a:pt x="48" y="4"/>
                  </a:lnTo>
                  <a:lnTo>
                    <a:pt x="49" y="4"/>
                  </a:lnTo>
                  <a:lnTo>
                    <a:pt x="50" y="4"/>
                  </a:lnTo>
                  <a:lnTo>
                    <a:pt x="50" y="5"/>
                  </a:lnTo>
                  <a:lnTo>
                    <a:pt x="51" y="5"/>
                  </a:lnTo>
                  <a:lnTo>
                    <a:pt x="52" y="5"/>
                  </a:lnTo>
                  <a:lnTo>
                    <a:pt x="54" y="5"/>
                  </a:lnTo>
                  <a:lnTo>
                    <a:pt x="54" y="4"/>
                  </a:lnTo>
                  <a:lnTo>
                    <a:pt x="55" y="3"/>
                  </a:lnTo>
                  <a:lnTo>
                    <a:pt x="56" y="1"/>
                  </a:lnTo>
                  <a:lnTo>
                    <a:pt x="57" y="1"/>
                  </a:lnTo>
                  <a:lnTo>
                    <a:pt x="58" y="3"/>
                  </a:lnTo>
                  <a:lnTo>
                    <a:pt x="58" y="1"/>
                  </a:lnTo>
                  <a:lnTo>
                    <a:pt x="59" y="1"/>
                  </a:lnTo>
                  <a:lnTo>
                    <a:pt x="61" y="1"/>
                  </a:lnTo>
                  <a:lnTo>
                    <a:pt x="62" y="1"/>
                  </a:lnTo>
                  <a:lnTo>
                    <a:pt x="62" y="3"/>
                  </a:lnTo>
                  <a:lnTo>
                    <a:pt x="63" y="1"/>
                  </a:lnTo>
                  <a:lnTo>
                    <a:pt x="64" y="1"/>
                  </a:lnTo>
                  <a:lnTo>
                    <a:pt x="65" y="1"/>
                  </a:lnTo>
                  <a:lnTo>
                    <a:pt x="66" y="0"/>
                  </a:lnTo>
                  <a:lnTo>
                    <a:pt x="68" y="0"/>
                  </a:lnTo>
                  <a:lnTo>
                    <a:pt x="68" y="1"/>
                  </a:lnTo>
                  <a:lnTo>
                    <a:pt x="66" y="1"/>
                  </a:lnTo>
                  <a:lnTo>
                    <a:pt x="66" y="3"/>
                  </a:lnTo>
                  <a:close/>
                  <a:moveTo>
                    <a:pt x="73" y="49"/>
                  </a:moveTo>
                  <a:lnTo>
                    <a:pt x="73" y="50"/>
                  </a:lnTo>
                  <a:lnTo>
                    <a:pt x="75" y="50"/>
                  </a:lnTo>
                  <a:lnTo>
                    <a:pt x="75" y="49"/>
                  </a:lnTo>
                  <a:lnTo>
                    <a:pt x="75" y="48"/>
                  </a:lnTo>
                  <a:lnTo>
                    <a:pt x="73" y="48"/>
                  </a:lnTo>
                  <a:lnTo>
                    <a:pt x="73" y="49"/>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29" name="Freeform 1394">
              <a:extLst>
                <a:ext uri="{FF2B5EF4-FFF2-40B4-BE49-F238E27FC236}">
                  <a16:creationId xmlns:a16="http://schemas.microsoft.com/office/drawing/2014/main" id="{EC8F7A34-5C69-4075-B4B7-3A3EFE459C88}"/>
                </a:ext>
              </a:extLst>
            </p:cNvPr>
            <p:cNvSpPr>
              <a:spLocks/>
            </p:cNvSpPr>
            <p:nvPr/>
          </p:nvSpPr>
          <p:spPr bwMode="auto">
            <a:xfrm>
              <a:off x="6132287" y="2178641"/>
              <a:ext cx="1336" cy="9349"/>
            </a:xfrm>
            <a:custGeom>
              <a:avLst/>
              <a:gdLst>
                <a:gd name="T0" fmla="*/ 0 w 1"/>
                <a:gd name="T1" fmla="*/ 7 h 7"/>
                <a:gd name="T2" fmla="*/ 0 w 1"/>
                <a:gd name="T3" fmla="*/ 7 h 7"/>
                <a:gd name="T4" fmla="*/ 0 w 1"/>
                <a:gd name="T5" fmla="*/ 7 h 7"/>
                <a:gd name="T6" fmla="*/ 0 w 1"/>
                <a:gd name="T7" fmla="*/ 7 h 7"/>
                <a:gd name="T8" fmla="*/ 0 w 1"/>
                <a:gd name="T9" fmla="*/ 7 h 7"/>
                <a:gd name="T10" fmla="*/ 0 w 1"/>
                <a:gd name="T11" fmla="*/ 6 h 7"/>
                <a:gd name="T12" fmla="*/ 1 w 1"/>
                <a:gd name="T13" fmla="*/ 5 h 7"/>
                <a:gd name="T14" fmla="*/ 1 w 1"/>
                <a:gd name="T15" fmla="*/ 4 h 7"/>
                <a:gd name="T16" fmla="*/ 1 w 1"/>
                <a:gd name="T17" fmla="*/ 3 h 7"/>
                <a:gd name="T18" fmla="*/ 1 w 1"/>
                <a:gd name="T19" fmla="*/ 3 h 7"/>
                <a:gd name="T20" fmla="*/ 1 w 1"/>
                <a:gd name="T21" fmla="*/ 3 h 7"/>
                <a:gd name="T22" fmla="*/ 1 w 1"/>
                <a:gd name="T23" fmla="*/ 3 h 7"/>
                <a:gd name="T24" fmla="*/ 1 w 1"/>
                <a:gd name="T25" fmla="*/ 3 h 7"/>
                <a:gd name="T26" fmla="*/ 1 w 1"/>
                <a:gd name="T27" fmla="*/ 2 h 7"/>
                <a:gd name="T28" fmla="*/ 1 w 1"/>
                <a:gd name="T29" fmla="*/ 0 h 7"/>
                <a:gd name="T30" fmla="*/ 1 w 1"/>
                <a:gd name="T31" fmla="*/ 2 h 7"/>
                <a:gd name="T32" fmla="*/ 1 w 1"/>
                <a:gd name="T33" fmla="*/ 2 h 7"/>
                <a:gd name="T34" fmla="*/ 1 w 1"/>
                <a:gd name="T35" fmla="*/ 3 h 7"/>
                <a:gd name="T36" fmla="*/ 1 w 1"/>
                <a:gd name="T37" fmla="*/ 4 h 7"/>
                <a:gd name="T38" fmla="*/ 1 w 1"/>
                <a:gd name="T39" fmla="*/ 4 h 7"/>
                <a:gd name="T40" fmla="*/ 1 w 1"/>
                <a:gd name="T41" fmla="*/ 4 h 7"/>
                <a:gd name="T42" fmla="*/ 1 w 1"/>
                <a:gd name="T43" fmla="*/ 4 h 7"/>
                <a:gd name="T44" fmla="*/ 1 w 1"/>
                <a:gd name="T45" fmla="*/ 5 h 7"/>
                <a:gd name="T46" fmla="*/ 1 w 1"/>
                <a:gd name="T47" fmla="*/ 5 h 7"/>
                <a:gd name="T48" fmla="*/ 1 w 1"/>
                <a:gd name="T49" fmla="*/ 5 h 7"/>
                <a:gd name="T50" fmla="*/ 1 w 1"/>
                <a:gd name="T51" fmla="*/ 5 h 7"/>
                <a:gd name="T52" fmla="*/ 1 w 1"/>
                <a:gd name="T53" fmla="*/ 5 h 7"/>
                <a:gd name="T54" fmla="*/ 1 w 1"/>
                <a:gd name="T55" fmla="*/ 5 h 7"/>
                <a:gd name="T56" fmla="*/ 1 w 1"/>
                <a:gd name="T57" fmla="*/ 6 h 7"/>
                <a:gd name="T58" fmla="*/ 1 w 1"/>
                <a:gd name="T59" fmla="*/ 6 h 7"/>
                <a:gd name="T60" fmla="*/ 1 w 1"/>
                <a:gd name="T61" fmla="*/ 6 h 7"/>
                <a:gd name="T62" fmla="*/ 1 w 1"/>
                <a:gd name="T63" fmla="*/ 6 h 7"/>
                <a:gd name="T64" fmla="*/ 0 w 1"/>
                <a:gd name="T6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 h="7">
                  <a:moveTo>
                    <a:pt x="0" y="7"/>
                  </a:moveTo>
                  <a:lnTo>
                    <a:pt x="0" y="7"/>
                  </a:lnTo>
                  <a:lnTo>
                    <a:pt x="0" y="7"/>
                  </a:lnTo>
                  <a:lnTo>
                    <a:pt x="0" y="7"/>
                  </a:lnTo>
                  <a:lnTo>
                    <a:pt x="0" y="7"/>
                  </a:lnTo>
                  <a:lnTo>
                    <a:pt x="0" y="6"/>
                  </a:lnTo>
                  <a:lnTo>
                    <a:pt x="1" y="5"/>
                  </a:lnTo>
                  <a:lnTo>
                    <a:pt x="1" y="4"/>
                  </a:lnTo>
                  <a:lnTo>
                    <a:pt x="1" y="3"/>
                  </a:lnTo>
                  <a:lnTo>
                    <a:pt x="1" y="3"/>
                  </a:lnTo>
                  <a:lnTo>
                    <a:pt x="1" y="3"/>
                  </a:lnTo>
                  <a:lnTo>
                    <a:pt x="1" y="3"/>
                  </a:lnTo>
                  <a:lnTo>
                    <a:pt x="1" y="3"/>
                  </a:lnTo>
                  <a:lnTo>
                    <a:pt x="1" y="2"/>
                  </a:lnTo>
                  <a:lnTo>
                    <a:pt x="1" y="0"/>
                  </a:lnTo>
                  <a:lnTo>
                    <a:pt x="1" y="2"/>
                  </a:lnTo>
                  <a:lnTo>
                    <a:pt x="1" y="2"/>
                  </a:lnTo>
                  <a:lnTo>
                    <a:pt x="1" y="3"/>
                  </a:lnTo>
                  <a:lnTo>
                    <a:pt x="1" y="4"/>
                  </a:lnTo>
                  <a:lnTo>
                    <a:pt x="1" y="4"/>
                  </a:lnTo>
                  <a:lnTo>
                    <a:pt x="1" y="4"/>
                  </a:lnTo>
                  <a:lnTo>
                    <a:pt x="1" y="4"/>
                  </a:lnTo>
                  <a:lnTo>
                    <a:pt x="1" y="5"/>
                  </a:lnTo>
                  <a:lnTo>
                    <a:pt x="1" y="5"/>
                  </a:lnTo>
                  <a:lnTo>
                    <a:pt x="1" y="5"/>
                  </a:lnTo>
                  <a:lnTo>
                    <a:pt x="1" y="5"/>
                  </a:lnTo>
                  <a:lnTo>
                    <a:pt x="1" y="5"/>
                  </a:lnTo>
                  <a:lnTo>
                    <a:pt x="1" y="5"/>
                  </a:lnTo>
                  <a:lnTo>
                    <a:pt x="1" y="6"/>
                  </a:lnTo>
                  <a:lnTo>
                    <a:pt x="1" y="6"/>
                  </a:lnTo>
                  <a:lnTo>
                    <a:pt x="1" y="6"/>
                  </a:lnTo>
                  <a:lnTo>
                    <a:pt x="1" y="6"/>
                  </a:lnTo>
                  <a:lnTo>
                    <a:pt x="0" y="7"/>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30" name="Freeform 1395">
              <a:extLst>
                <a:ext uri="{FF2B5EF4-FFF2-40B4-BE49-F238E27FC236}">
                  <a16:creationId xmlns:a16="http://schemas.microsoft.com/office/drawing/2014/main" id="{0796B3D9-EEC9-4456-9293-67C08A81D685}"/>
                </a:ext>
              </a:extLst>
            </p:cNvPr>
            <p:cNvSpPr>
              <a:spLocks/>
            </p:cNvSpPr>
            <p:nvPr/>
          </p:nvSpPr>
          <p:spPr bwMode="auto">
            <a:xfrm>
              <a:off x="6132287" y="2165286"/>
              <a:ext cx="89478" cy="50749"/>
            </a:xfrm>
            <a:custGeom>
              <a:avLst/>
              <a:gdLst>
                <a:gd name="T0" fmla="*/ 45 w 67"/>
                <a:gd name="T1" fmla="*/ 3 h 38"/>
                <a:gd name="T2" fmla="*/ 50 w 67"/>
                <a:gd name="T3" fmla="*/ 5 h 38"/>
                <a:gd name="T4" fmla="*/ 52 w 67"/>
                <a:gd name="T5" fmla="*/ 6 h 38"/>
                <a:gd name="T6" fmla="*/ 55 w 67"/>
                <a:gd name="T7" fmla="*/ 7 h 38"/>
                <a:gd name="T8" fmla="*/ 58 w 67"/>
                <a:gd name="T9" fmla="*/ 8 h 38"/>
                <a:gd name="T10" fmla="*/ 61 w 67"/>
                <a:gd name="T11" fmla="*/ 12 h 38"/>
                <a:gd name="T12" fmla="*/ 65 w 67"/>
                <a:gd name="T13" fmla="*/ 12 h 38"/>
                <a:gd name="T14" fmla="*/ 64 w 67"/>
                <a:gd name="T15" fmla="*/ 14 h 38"/>
                <a:gd name="T16" fmla="*/ 64 w 67"/>
                <a:gd name="T17" fmla="*/ 17 h 38"/>
                <a:gd name="T18" fmla="*/ 67 w 67"/>
                <a:gd name="T19" fmla="*/ 19 h 38"/>
                <a:gd name="T20" fmla="*/ 64 w 67"/>
                <a:gd name="T21" fmla="*/ 20 h 38"/>
                <a:gd name="T22" fmla="*/ 61 w 67"/>
                <a:gd name="T23" fmla="*/ 21 h 38"/>
                <a:gd name="T24" fmla="*/ 59 w 67"/>
                <a:gd name="T25" fmla="*/ 22 h 38"/>
                <a:gd name="T26" fmla="*/ 57 w 67"/>
                <a:gd name="T27" fmla="*/ 23 h 38"/>
                <a:gd name="T28" fmla="*/ 57 w 67"/>
                <a:gd name="T29" fmla="*/ 27 h 38"/>
                <a:gd name="T30" fmla="*/ 55 w 67"/>
                <a:gd name="T31" fmla="*/ 29 h 38"/>
                <a:gd name="T32" fmla="*/ 55 w 67"/>
                <a:gd name="T33" fmla="*/ 33 h 38"/>
                <a:gd name="T34" fmla="*/ 57 w 67"/>
                <a:gd name="T35" fmla="*/ 33 h 38"/>
                <a:gd name="T36" fmla="*/ 58 w 67"/>
                <a:gd name="T37" fmla="*/ 34 h 38"/>
                <a:gd name="T38" fmla="*/ 55 w 67"/>
                <a:gd name="T39" fmla="*/ 35 h 38"/>
                <a:gd name="T40" fmla="*/ 53 w 67"/>
                <a:gd name="T41" fmla="*/ 33 h 38"/>
                <a:gd name="T42" fmla="*/ 51 w 67"/>
                <a:gd name="T43" fmla="*/ 35 h 38"/>
                <a:gd name="T44" fmla="*/ 47 w 67"/>
                <a:gd name="T45" fmla="*/ 35 h 38"/>
                <a:gd name="T46" fmla="*/ 46 w 67"/>
                <a:gd name="T47" fmla="*/ 37 h 38"/>
                <a:gd name="T48" fmla="*/ 43 w 67"/>
                <a:gd name="T49" fmla="*/ 38 h 38"/>
                <a:gd name="T50" fmla="*/ 39 w 67"/>
                <a:gd name="T51" fmla="*/ 37 h 38"/>
                <a:gd name="T52" fmla="*/ 36 w 67"/>
                <a:gd name="T53" fmla="*/ 38 h 38"/>
                <a:gd name="T54" fmla="*/ 35 w 67"/>
                <a:gd name="T55" fmla="*/ 38 h 38"/>
                <a:gd name="T56" fmla="*/ 32 w 67"/>
                <a:gd name="T57" fmla="*/ 36 h 38"/>
                <a:gd name="T58" fmla="*/ 31 w 67"/>
                <a:gd name="T59" fmla="*/ 34 h 38"/>
                <a:gd name="T60" fmla="*/ 28 w 67"/>
                <a:gd name="T61" fmla="*/ 33 h 38"/>
                <a:gd name="T62" fmla="*/ 25 w 67"/>
                <a:gd name="T63" fmla="*/ 31 h 38"/>
                <a:gd name="T64" fmla="*/ 23 w 67"/>
                <a:gd name="T65" fmla="*/ 30 h 38"/>
                <a:gd name="T66" fmla="*/ 22 w 67"/>
                <a:gd name="T67" fmla="*/ 29 h 38"/>
                <a:gd name="T68" fmla="*/ 22 w 67"/>
                <a:gd name="T69" fmla="*/ 26 h 38"/>
                <a:gd name="T70" fmla="*/ 23 w 67"/>
                <a:gd name="T71" fmla="*/ 23 h 38"/>
                <a:gd name="T72" fmla="*/ 21 w 67"/>
                <a:gd name="T73" fmla="*/ 22 h 38"/>
                <a:gd name="T74" fmla="*/ 18 w 67"/>
                <a:gd name="T75" fmla="*/ 21 h 38"/>
                <a:gd name="T76" fmla="*/ 15 w 67"/>
                <a:gd name="T77" fmla="*/ 21 h 38"/>
                <a:gd name="T78" fmla="*/ 12 w 67"/>
                <a:gd name="T79" fmla="*/ 20 h 38"/>
                <a:gd name="T80" fmla="*/ 11 w 67"/>
                <a:gd name="T81" fmla="*/ 20 h 38"/>
                <a:gd name="T82" fmla="*/ 8 w 67"/>
                <a:gd name="T83" fmla="*/ 19 h 38"/>
                <a:gd name="T84" fmla="*/ 5 w 67"/>
                <a:gd name="T85" fmla="*/ 17 h 38"/>
                <a:gd name="T86" fmla="*/ 3 w 67"/>
                <a:gd name="T87" fmla="*/ 17 h 38"/>
                <a:gd name="T88" fmla="*/ 3 w 67"/>
                <a:gd name="T89" fmla="*/ 15 h 38"/>
                <a:gd name="T90" fmla="*/ 2 w 67"/>
                <a:gd name="T91" fmla="*/ 13 h 38"/>
                <a:gd name="T92" fmla="*/ 0 w 67"/>
                <a:gd name="T93" fmla="*/ 10 h 38"/>
                <a:gd name="T94" fmla="*/ 0 w 67"/>
                <a:gd name="T95" fmla="*/ 6 h 38"/>
                <a:gd name="T96" fmla="*/ 2 w 67"/>
                <a:gd name="T97" fmla="*/ 3 h 38"/>
                <a:gd name="T98" fmla="*/ 5 w 67"/>
                <a:gd name="T99" fmla="*/ 2 h 38"/>
                <a:gd name="T100" fmla="*/ 11 w 67"/>
                <a:gd name="T101" fmla="*/ 1 h 38"/>
                <a:gd name="T102" fmla="*/ 16 w 67"/>
                <a:gd name="T103" fmla="*/ 1 h 38"/>
                <a:gd name="T104" fmla="*/ 21 w 67"/>
                <a:gd name="T105" fmla="*/ 1 h 38"/>
                <a:gd name="T106" fmla="*/ 23 w 67"/>
                <a:gd name="T107" fmla="*/ 1 h 38"/>
                <a:gd name="T108" fmla="*/ 26 w 67"/>
                <a:gd name="T109" fmla="*/ 2 h 38"/>
                <a:gd name="T110" fmla="*/ 29 w 67"/>
                <a:gd name="T111" fmla="*/ 1 h 38"/>
                <a:gd name="T112" fmla="*/ 32 w 67"/>
                <a:gd name="T113" fmla="*/ 2 h 38"/>
                <a:gd name="T114" fmla="*/ 36 w 67"/>
                <a:gd name="T115" fmla="*/ 2 h 38"/>
                <a:gd name="T116" fmla="*/ 39 w 67"/>
                <a:gd name="T117" fmla="*/ 2 h 38"/>
                <a:gd name="T118" fmla="*/ 43 w 67"/>
                <a:gd name="T119"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7" h="38">
                  <a:moveTo>
                    <a:pt x="43" y="1"/>
                  </a:moveTo>
                  <a:lnTo>
                    <a:pt x="44" y="2"/>
                  </a:lnTo>
                  <a:lnTo>
                    <a:pt x="45" y="3"/>
                  </a:lnTo>
                  <a:lnTo>
                    <a:pt x="46" y="5"/>
                  </a:lnTo>
                  <a:lnTo>
                    <a:pt x="48" y="5"/>
                  </a:lnTo>
                  <a:lnTo>
                    <a:pt x="50" y="5"/>
                  </a:lnTo>
                  <a:lnTo>
                    <a:pt x="51" y="5"/>
                  </a:lnTo>
                  <a:lnTo>
                    <a:pt x="52" y="5"/>
                  </a:lnTo>
                  <a:lnTo>
                    <a:pt x="52" y="6"/>
                  </a:lnTo>
                  <a:lnTo>
                    <a:pt x="53" y="6"/>
                  </a:lnTo>
                  <a:lnTo>
                    <a:pt x="54" y="6"/>
                  </a:lnTo>
                  <a:lnTo>
                    <a:pt x="55" y="7"/>
                  </a:lnTo>
                  <a:lnTo>
                    <a:pt x="57" y="7"/>
                  </a:lnTo>
                  <a:lnTo>
                    <a:pt x="57" y="8"/>
                  </a:lnTo>
                  <a:lnTo>
                    <a:pt x="58" y="8"/>
                  </a:lnTo>
                  <a:lnTo>
                    <a:pt x="59" y="9"/>
                  </a:lnTo>
                  <a:lnTo>
                    <a:pt x="60" y="10"/>
                  </a:lnTo>
                  <a:lnTo>
                    <a:pt x="61" y="12"/>
                  </a:lnTo>
                  <a:lnTo>
                    <a:pt x="62" y="12"/>
                  </a:lnTo>
                  <a:lnTo>
                    <a:pt x="64" y="12"/>
                  </a:lnTo>
                  <a:lnTo>
                    <a:pt x="65" y="12"/>
                  </a:lnTo>
                  <a:lnTo>
                    <a:pt x="65" y="13"/>
                  </a:lnTo>
                  <a:lnTo>
                    <a:pt x="65" y="14"/>
                  </a:lnTo>
                  <a:lnTo>
                    <a:pt x="64" y="14"/>
                  </a:lnTo>
                  <a:lnTo>
                    <a:pt x="64" y="15"/>
                  </a:lnTo>
                  <a:lnTo>
                    <a:pt x="64" y="16"/>
                  </a:lnTo>
                  <a:lnTo>
                    <a:pt x="64" y="17"/>
                  </a:lnTo>
                  <a:lnTo>
                    <a:pt x="65" y="17"/>
                  </a:lnTo>
                  <a:lnTo>
                    <a:pt x="67" y="17"/>
                  </a:lnTo>
                  <a:lnTo>
                    <a:pt x="67" y="19"/>
                  </a:lnTo>
                  <a:lnTo>
                    <a:pt x="66" y="19"/>
                  </a:lnTo>
                  <a:lnTo>
                    <a:pt x="66" y="20"/>
                  </a:lnTo>
                  <a:lnTo>
                    <a:pt x="64" y="20"/>
                  </a:lnTo>
                  <a:lnTo>
                    <a:pt x="62" y="20"/>
                  </a:lnTo>
                  <a:lnTo>
                    <a:pt x="61" y="20"/>
                  </a:lnTo>
                  <a:lnTo>
                    <a:pt x="61" y="21"/>
                  </a:lnTo>
                  <a:lnTo>
                    <a:pt x="61" y="22"/>
                  </a:lnTo>
                  <a:lnTo>
                    <a:pt x="60" y="22"/>
                  </a:lnTo>
                  <a:lnTo>
                    <a:pt x="59" y="22"/>
                  </a:lnTo>
                  <a:lnTo>
                    <a:pt x="58" y="22"/>
                  </a:lnTo>
                  <a:lnTo>
                    <a:pt x="58" y="23"/>
                  </a:lnTo>
                  <a:lnTo>
                    <a:pt x="57" y="23"/>
                  </a:lnTo>
                  <a:lnTo>
                    <a:pt x="57" y="24"/>
                  </a:lnTo>
                  <a:lnTo>
                    <a:pt x="57" y="26"/>
                  </a:lnTo>
                  <a:lnTo>
                    <a:pt x="57" y="27"/>
                  </a:lnTo>
                  <a:lnTo>
                    <a:pt x="57" y="28"/>
                  </a:lnTo>
                  <a:lnTo>
                    <a:pt x="57" y="29"/>
                  </a:lnTo>
                  <a:lnTo>
                    <a:pt x="55" y="29"/>
                  </a:lnTo>
                  <a:lnTo>
                    <a:pt x="55" y="30"/>
                  </a:lnTo>
                  <a:lnTo>
                    <a:pt x="55" y="31"/>
                  </a:lnTo>
                  <a:lnTo>
                    <a:pt x="55" y="33"/>
                  </a:lnTo>
                  <a:lnTo>
                    <a:pt x="57" y="33"/>
                  </a:lnTo>
                  <a:lnTo>
                    <a:pt x="57" y="31"/>
                  </a:lnTo>
                  <a:lnTo>
                    <a:pt x="57" y="33"/>
                  </a:lnTo>
                  <a:lnTo>
                    <a:pt x="58" y="33"/>
                  </a:lnTo>
                  <a:lnTo>
                    <a:pt x="59" y="34"/>
                  </a:lnTo>
                  <a:lnTo>
                    <a:pt x="58" y="34"/>
                  </a:lnTo>
                  <a:lnTo>
                    <a:pt x="58" y="35"/>
                  </a:lnTo>
                  <a:lnTo>
                    <a:pt x="57" y="35"/>
                  </a:lnTo>
                  <a:lnTo>
                    <a:pt x="55" y="35"/>
                  </a:lnTo>
                  <a:lnTo>
                    <a:pt x="55" y="34"/>
                  </a:lnTo>
                  <a:lnTo>
                    <a:pt x="54" y="33"/>
                  </a:lnTo>
                  <a:lnTo>
                    <a:pt x="53" y="33"/>
                  </a:lnTo>
                  <a:lnTo>
                    <a:pt x="52" y="33"/>
                  </a:lnTo>
                  <a:lnTo>
                    <a:pt x="51" y="34"/>
                  </a:lnTo>
                  <a:lnTo>
                    <a:pt x="51" y="35"/>
                  </a:lnTo>
                  <a:lnTo>
                    <a:pt x="50" y="35"/>
                  </a:lnTo>
                  <a:lnTo>
                    <a:pt x="48" y="35"/>
                  </a:lnTo>
                  <a:lnTo>
                    <a:pt x="47" y="35"/>
                  </a:lnTo>
                  <a:lnTo>
                    <a:pt x="47" y="36"/>
                  </a:lnTo>
                  <a:lnTo>
                    <a:pt x="47" y="37"/>
                  </a:lnTo>
                  <a:lnTo>
                    <a:pt x="46" y="37"/>
                  </a:lnTo>
                  <a:lnTo>
                    <a:pt x="45" y="37"/>
                  </a:lnTo>
                  <a:lnTo>
                    <a:pt x="44" y="37"/>
                  </a:lnTo>
                  <a:lnTo>
                    <a:pt x="43" y="38"/>
                  </a:lnTo>
                  <a:lnTo>
                    <a:pt x="42" y="38"/>
                  </a:lnTo>
                  <a:lnTo>
                    <a:pt x="40" y="37"/>
                  </a:lnTo>
                  <a:lnTo>
                    <a:pt x="39" y="37"/>
                  </a:lnTo>
                  <a:lnTo>
                    <a:pt x="38" y="37"/>
                  </a:lnTo>
                  <a:lnTo>
                    <a:pt x="37" y="37"/>
                  </a:lnTo>
                  <a:lnTo>
                    <a:pt x="36" y="38"/>
                  </a:lnTo>
                  <a:lnTo>
                    <a:pt x="36" y="37"/>
                  </a:lnTo>
                  <a:lnTo>
                    <a:pt x="36" y="38"/>
                  </a:lnTo>
                  <a:lnTo>
                    <a:pt x="35" y="38"/>
                  </a:lnTo>
                  <a:lnTo>
                    <a:pt x="33" y="38"/>
                  </a:lnTo>
                  <a:lnTo>
                    <a:pt x="32" y="37"/>
                  </a:lnTo>
                  <a:lnTo>
                    <a:pt x="32" y="36"/>
                  </a:lnTo>
                  <a:lnTo>
                    <a:pt x="32" y="35"/>
                  </a:lnTo>
                  <a:lnTo>
                    <a:pt x="31" y="35"/>
                  </a:lnTo>
                  <a:lnTo>
                    <a:pt x="31" y="34"/>
                  </a:lnTo>
                  <a:lnTo>
                    <a:pt x="30" y="34"/>
                  </a:lnTo>
                  <a:lnTo>
                    <a:pt x="29" y="33"/>
                  </a:lnTo>
                  <a:lnTo>
                    <a:pt x="28" y="33"/>
                  </a:lnTo>
                  <a:lnTo>
                    <a:pt x="26" y="33"/>
                  </a:lnTo>
                  <a:lnTo>
                    <a:pt x="26" y="31"/>
                  </a:lnTo>
                  <a:lnTo>
                    <a:pt x="25" y="31"/>
                  </a:lnTo>
                  <a:lnTo>
                    <a:pt x="24" y="31"/>
                  </a:lnTo>
                  <a:lnTo>
                    <a:pt x="24" y="30"/>
                  </a:lnTo>
                  <a:lnTo>
                    <a:pt x="23" y="30"/>
                  </a:lnTo>
                  <a:lnTo>
                    <a:pt x="23" y="31"/>
                  </a:lnTo>
                  <a:lnTo>
                    <a:pt x="22" y="30"/>
                  </a:lnTo>
                  <a:lnTo>
                    <a:pt x="22" y="29"/>
                  </a:lnTo>
                  <a:lnTo>
                    <a:pt x="22" y="28"/>
                  </a:lnTo>
                  <a:lnTo>
                    <a:pt x="22" y="27"/>
                  </a:lnTo>
                  <a:lnTo>
                    <a:pt x="22" y="26"/>
                  </a:lnTo>
                  <a:lnTo>
                    <a:pt x="23" y="26"/>
                  </a:lnTo>
                  <a:lnTo>
                    <a:pt x="23" y="24"/>
                  </a:lnTo>
                  <a:lnTo>
                    <a:pt x="23" y="23"/>
                  </a:lnTo>
                  <a:lnTo>
                    <a:pt x="22" y="23"/>
                  </a:lnTo>
                  <a:lnTo>
                    <a:pt x="21" y="23"/>
                  </a:lnTo>
                  <a:lnTo>
                    <a:pt x="21" y="22"/>
                  </a:lnTo>
                  <a:lnTo>
                    <a:pt x="19" y="22"/>
                  </a:lnTo>
                  <a:lnTo>
                    <a:pt x="19" y="21"/>
                  </a:lnTo>
                  <a:lnTo>
                    <a:pt x="18" y="21"/>
                  </a:lnTo>
                  <a:lnTo>
                    <a:pt x="17" y="21"/>
                  </a:lnTo>
                  <a:lnTo>
                    <a:pt x="16" y="21"/>
                  </a:lnTo>
                  <a:lnTo>
                    <a:pt x="15" y="21"/>
                  </a:lnTo>
                  <a:lnTo>
                    <a:pt x="14" y="21"/>
                  </a:lnTo>
                  <a:lnTo>
                    <a:pt x="12" y="21"/>
                  </a:lnTo>
                  <a:lnTo>
                    <a:pt x="12" y="20"/>
                  </a:lnTo>
                  <a:lnTo>
                    <a:pt x="12" y="21"/>
                  </a:lnTo>
                  <a:lnTo>
                    <a:pt x="11" y="21"/>
                  </a:lnTo>
                  <a:lnTo>
                    <a:pt x="11" y="20"/>
                  </a:lnTo>
                  <a:lnTo>
                    <a:pt x="10" y="20"/>
                  </a:lnTo>
                  <a:lnTo>
                    <a:pt x="9" y="20"/>
                  </a:lnTo>
                  <a:lnTo>
                    <a:pt x="8" y="19"/>
                  </a:lnTo>
                  <a:lnTo>
                    <a:pt x="7" y="19"/>
                  </a:lnTo>
                  <a:lnTo>
                    <a:pt x="5" y="19"/>
                  </a:lnTo>
                  <a:lnTo>
                    <a:pt x="5" y="17"/>
                  </a:lnTo>
                  <a:lnTo>
                    <a:pt x="4" y="17"/>
                  </a:lnTo>
                  <a:lnTo>
                    <a:pt x="3" y="19"/>
                  </a:lnTo>
                  <a:lnTo>
                    <a:pt x="3" y="17"/>
                  </a:lnTo>
                  <a:lnTo>
                    <a:pt x="3" y="16"/>
                  </a:lnTo>
                  <a:lnTo>
                    <a:pt x="2" y="16"/>
                  </a:lnTo>
                  <a:lnTo>
                    <a:pt x="3" y="15"/>
                  </a:lnTo>
                  <a:lnTo>
                    <a:pt x="2" y="15"/>
                  </a:lnTo>
                  <a:lnTo>
                    <a:pt x="2" y="14"/>
                  </a:lnTo>
                  <a:lnTo>
                    <a:pt x="2" y="13"/>
                  </a:lnTo>
                  <a:lnTo>
                    <a:pt x="1" y="12"/>
                  </a:lnTo>
                  <a:lnTo>
                    <a:pt x="1" y="10"/>
                  </a:lnTo>
                  <a:lnTo>
                    <a:pt x="0" y="10"/>
                  </a:lnTo>
                  <a:lnTo>
                    <a:pt x="0" y="9"/>
                  </a:lnTo>
                  <a:lnTo>
                    <a:pt x="0" y="8"/>
                  </a:lnTo>
                  <a:lnTo>
                    <a:pt x="0" y="6"/>
                  </a:lnTo>
                  <a:lnTo>
                    <a:pt x="1" y="6"/>
                  </a:lnTo>
                  <a:lnTo>
                    <a:pt x="1" y="5"/>
                  </a:lnTo>
                  <a:lnTo>
                    <a:pt x="2" y="3"/>
                  </a:lnTo>
                  <a:lnTo>
                    <a:pt x="3" y="3"/>
                  </a:lnTo>
                  <a:lnTo>
                    <a:pt x="4" y="2"/>
                  </a:lnTo>
                  <a:lnTo>
                    <a:pt x="5" y="2"/>
                  </a:lnTo>
                  <a:lnTo>
                    <a:pt x="9" y="1"/>
                  </a:lnTo>
                  <a:lnTo>
                    <a:pt x="10" y="1"/>
                  </a:lnTo>
                  <a:lnTo>
                    <a:pt x="11" y="1"/>
                  </a:lnTo>
                  <a:lnTo>
                    <a:pt x="12" y="1"/>
                  </a:lnTo>
                  <a:lnTo>
                    <a:pt x="15" y="1"/>
                  </a:lnTo>
                  <a:lnTo>
                    <a:pt x="16" y="1"/>
                  </a:lnTo>
                  <a:lnTo>
                    <a:pt x="17" y="1"/>
                  </a:lnTo>
                  <a:lnTo>
                    <a:pt x="19" y="1"/>
                  </a:lnTo>
                  <a:lnTo>
                    <a:pt x="21" y="1"/>
                  </a:lnTo>
                  <a:lnTo>
                    <a:pt x="22" y="2"/>
                  </a:lnTo>
                  <a:lnTo>
                    <a:pt x="23" y="2"/>
                  </a:lnTo>
                  <a:lnTo>
                    <a:pt x="23" y="1"/>
                  </a:lnTo>
                  <a:lnTo>
                    <a:pt x="24" y="1"/>
                  </a:lnTo>
                  <a:lnTo>
                    <a:pt x="25" y="1"/>
                  </a:lnTo>
                  <a:lnTo>
                    <a:pt x="26" y="2"/>
                  </a:lnTo>
                  <a:lnTo>
                    <a:pt x="28" y="2"/>
                  </a:lnTo>
                  <a:lnTo>
                    <a:pt x="28" y="1"/>
                  </a:lnTo>
                  <a:lnTo>
                    <a:pt x="29" y="1"/>
                  </a:lnTo>
                  <a:lnTo>
                    <a:pt x="30" y="2"/>
                  </a:lnTo>
                  <a:lnTo>
                    <a:pt x="31" y="2"/>
                  </a:lnTo>
                  <a:lnTo>
                    <a:pt x="32" y="2"/>
                  </a:lnTo>
                  <a:lnTo>
                    <a:pt x="33" y="2"/>
                  </a:lnTo>
                  <a:lnTo>
                    <a:pt x="35" y="3"/>
                  </a:lnTo>
                  <a:lnTo>
                    <a:pt x="36" y="2"/>
                  </a:lnTo>
                  <a:lnTo>
                    <a:pt x="37" y="2"/>
                  </a:lnTo>
                  <a:lnTo>
                    <a:pt x="38" y="3"/>
                  </a:lnTo>
                  <a:lnTo>
                    <a:pt x="39" y="2"/>
                  </a:lnTo>
                  <a:lnTo>
                    <a:pt x="40" y="1"/>
                  </a:lnTo>
                  <a:lnTo>
                    <a:pt x="42" y="1"/>
                  </a:lnTo>
                  <a:lnTo>
                    <a:pt x="43" y="1"/>
                  </a:lnTo>
                  <a:lnTo>
                    <a:pt x="43" y="0"/>
                  </a:lnTo>
                  <a:lnTo>
                    <a:pt x="43"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31" name="Rectangle 1396">
              <a:extLst>
                <a:ext uri="{FF2B5EF4-FFF2-40B4-BE49-F238E27FC236}">
                  <a16:creationId xmlns:a16="http://schemas.microsoft.com/office/drawing/2014/main" id="{987CFA31-843A-4AC2-93D2-B25C42FC0B6B}"/>
                </a:ext>
              </a:extLst>
            </p:cNvPr>
            <p:cNvSpPr>
              <a:spLocks noChangeArrowheads="1"/>
            </p:cNvSpPr>
            <p:nvPr/>
          </p:nvSpPr>
          <p:spPr bwMode="auto">
            <a:xfrm>
              <a:off x="6164338" y="2484467"/>
              <a:ext cx="1336" cy="1336"/>
            </a:xfrm>
            <a:prstGeom prst="rect">
              <a:avLst/>
            </a:prstGeom>
            <a:solidFill>
              <a:srgbClr val="D2D2D2"/>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it-IT" dirty="0"/>
            </a:p>
          </p:txBody>
        </p:sp>
        <p:sp>
          <p:nvSpPr>
            <p:cNvPr id="632" name="Freeform 1397">
              <a:extLst>
                <a:ext uri="{FF2B5EF4-FFF2-40B4-BE49-F238E27FC236}">
                  <a16:creationId xmlns:a16="http://schemas.microsoft.com/office/drawing/2014/main" id="{18AA8CF5-FE2F-4819-A938-9B3E746061C0}"/>
                </a:ext>
              </a:extLst>
            </p:cNvPr>
            <p:cNvSpPr>
              <a:spLocks/>
            </p:cNvSpPr>
            <p:nvPr/>
          </p:nvSpPr>
          <p:spPr bwMode="auto">
            <a:xfrm>
              <a:off x="6154990" y="2453751"/>
              <a:ext cx="44072" cy="30717"/>
            </a:xfrm>
            <a:custGeom>
              <a:avLst/>
              <a:gdLst>
                <a:gd name="T0" fmla="*/ 26 w 33"/>
                <a:gd name="T1" fmla="*/ 3 h 23"/>
                <a:gd name="T2" fmla="*/ 28 w 33"/>
                <a:gd name="T3" fmla="*/ 4 h 23"/>
                <a:gd name="T4" fmla="*/ 29 w 33"/>
                <a:gd name="T5" fmla="*/ 6 h 23"/>
                <a:gd name="T6" fmla="*/ 29 w 33"/>
                <a:gd name="T7" fmla="*/ 6 h 23"/>
                <a:gd name="T8" fmla="*/ 30 w 33"/>
                <a:gd name="T9" fmla="*/ 7 h 23"/>
                <a:gd name="T10" fmla="*/ 30 w 33"/>
                <a:gd name="T11" fmla="*/ 8 h 23"/>
                <a:gd name="T12" fmla="*/ 31 w 33"/>
                <a:gd name="T13" fmla="*/ 9 h 23"/>
                <a:gd name="T14" fmla="*/ 31 w 33"/>
                <a:gd name="T15" fmla="*/ 11 h 23"/>
                <a:gd name="T16" fmla="*/ 31 w 33"/>
                <a:gd name="T17" fmla="*/ 13 h 23"/>
                <a:gd name="T18" fmla="*/ 31 w 33"/>
                <a:gd name="T19" fmla="*/ 14 h 23"/>
                <a:gd name="T20" fmla="*/ 31 w 33"/>
                <a:gd name="T21" fmla="*/ 15 h 23"/>
                <a:gd name="T22" fmla="*/ 29 w 33"/>
                <a:gd name="T23" fmla="*/ 16 h 23"/>
                <a:gd name="T24" fmla="*/ 29 w 33"/>
                <a:gd name="T25" fmla="*/ 20 h 23"/>
                <a:gd name="T26" fmla="*/ 28 w 33"/>
                <a:gd name="T27" fmla="*/ 18 h 23"/>
                <a:gd name="T28" fmla="*/ 28 w 33"/>
                <a:gd name="T29" fmla="*/ 20 h 23"/>
                <a:gd name="T30" fmla="*/ 26 w 33"/>
                <a:gd name="T31" fmla="*/ 20 h 23"/>
                <a:gd name="T32" fmla="*/ 25 w 33"/>
                <a:gd name="T33" fmla="*/ 20 h 23"/>
                <a:gd name="T34" fmla="*/ 23 w 33"/>
                <a:gd name="T35" fmla="*/ 18 h 23"/>
                <a:gd name="T36" fmla="*/ 22 w 33"/>
                <a:gd name="T37" fmla="*/ 20 h 23"/>
                <a:gd name="T38" fmla="*/ 21 w 33"/>
                <a:gd name="T39" fmla="*/ 18 h 23"/>
                <a:gd name="T40" fmla="*/ 19 w 33"/>
                <a:gd name="T41" fmla="*/ 20 h 23"/>
                <a:gd name="T42" fmla="*/ 19 w 33"/>
                <a:gd name="T43" fmla="*/ 21 h 23"/>
                <a:gd name="T44" fmla="*/ 18 w 33"/>
                <a:gd name="T45" fmla="*/ 22 h 23"/>
                <a:gd name="T46" fmla="*/ 16 w 33"/>
                <a:gd name="T47" fmla="*/ 23 h 23"/>
                <a:gd name="T48" fmla="*/ 15 w 33"/>
                <a:gd name="T49" fmla="*/ 23 h 23"/>
                <a:gd name="T50" fmla="*/ 13 w 33"/>
                <a:gd name="T51" fmla="*/ 23 h 23"/>
                <a:gd name="T52" fmla="*/ 11 w 33"/>
                <a:gd name="T53" fmla="*/ 23 h 23"/>
                <a:gd name="T54" fmla="*/ 8 w 33"/>
                <a:gd name="T55" fmla="*/ 22 h 23"/>
                <a:gd name="T56" fmla="*/ 8 w 33"/>
                <a:gd name="T57" fmla="*/ 21 h 23"/>
                <a:gd name="T58" fmla="*/ 7 w 33"/>
                <a:gd name="T59" fmla="*/ 21 h 23"/>
                <a:gd name="T60" fmla="*/ 7 w 33"/>
                <a:gd name="T61" fmla="*/ 22 h 23"/>
                <a:gd name="T62" fmla="*/ 7 w 33"/>
                <a:gd name="T63" fmla="*/ 23 h 23"/>
                <a:gd name="T64" fmla="*/ 5 w 33"/>
                <a:gd name="T65" fmla="*/ 23 h 23"/>
                <a:gd name="T66" fmla="*/ 5 w 33"/>
                <a:gd name="T67" fmla="*/ 22 h 23"/>
                <a:gd name="T68" fmla="*/ 5 w 33"/>
                <a:gd name="T69" fmla="*/ 20 h 23"/>
                <a:gd name="T70" fmla="*/ 5 w 33"/>
                <a:gd name="T71" fmla="*/ 18 h 23"/>
                <a:gd name="T72" fmla="*/ 2 w 33"/>
                <a:gd name="T73" fmla="*/ 20 h 23"/>
                <a:gd name="T74" fmla="*/ 2 w 33"/>
                <a:gd name="T75" fmla="*/ 18 h 23"/>
                <a:gd name="T76" fmla="*/ 0 w 33"/>
                <a:gd name="T77" fmla="*/ 16 h 23"/>
                <a:gd name="T78" fmla="*/ 1 w 33"/>
                <a:gd name="T79" fmla="*/ 15 h 23"/>
                <a:gd name="T80" fmla="*/ 0 w 33"/>
                <a:gd name="T81" fmla="*/ 14 h 23"/>
                <a:gd name="T82" fmla="*/ 0 w 33"/>
                <a:gd name="T83" fmla="*/ 13 h 23"/>
                <a:gd name="T84" fmla="*/ 1 w 33"/>
                <a:gd name="T85" fmla="*/ 13 h 23"/>
                <a:gd name="T86" fmla="*/ 0 w 33"/>
                <a:gd name="T87" fmla="*/ 9 h 23"/>
                <a:gd name="T88" fmla="*/ 0 w 33"/>
                <a:gd name="T89" fmla="*/ 8 h 23"/>
                <a:gd name="T90" fmla="*/ 2 w 33"/>
                <a:gd name="T91" fmla="*/ 8 h 23"/>
                <a:gd name="T92" fmla="*/ 4 w 33"/>
                <a:gd name="T93" fmla="*/ 7 h 23"/>
                <a:gd name="T94" fmla="*/ 4 w 33"/>
                <a:gd name="T95" fmla="*/ 4 h 23"/>
                <a:gd name="T96" fmla="*/ 6 w 33"/>
                <a:gd name="T97" fmla="*/ 3 h 23"/>
                <a:gd name="T98" fmla="*/ 8 w 33"/>
                <a:gd name="T99" fmla="*/ 3 h 23"/>
                <a:gd name="T100" fmla="*/ 9 w 33"/>
                <a:gd name="T101" fmla="*/ 4 h 23"/>
                <a:gd name="T102" fmla="*/ 9 w 33"/>
                <a:gd name="T103" fmla="*/ 3 h 23"/>
                <a:gd name="T104" fmla="*/ 12 w 33"/>
                <a:gd name="T105" fmla="*/ 2 h 23"/>
                <a:gd name="T106" fmla="*/ 12 w 33"/>
                <a:gd name="T107" fmla="*/ 2 h 23"/>
                <a:gd name="T108" fmla="*/ 13 w 33"/>
                <a:gd name="T109" fmla="*/ 2 h 23"/>
                <a:gd name="T110" fmla="*/ 15 w 33"/>
                <a:gd name="T111" fmla="*/ 1 h 23"/>
                <a:gd name="T112" fmla="*/ 18 w 33"/>
                <a:gd name="T113" fmla="*/ 0 h 23"/>
                <a:gd name="T114" fmla="*/ 22 w 33"/>
                <a:gd name="T115" fmla="*/ 0 h 23"/>
                <a:gd name="T116" fmla="*/ 22 w 33"/>
                <a:gd name="T117"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 h="23">
                  <a:moveTo>
                    <a:pt x="23" y="1"/>
                  </a:moveTo>
                  <a:lnTo>
                    <a:pt x="25" y="2"/>
                  </a:lnTo>
                  <a:lnTo>
                    <a:pt x="25" y="2"/>
                  </a:lnTo>
                  <a:lnTo>
                    <a:pt x="25" y="3"/>
                  </a:lnTo>
                  <a:lnTo>
                    <a:pt x="26" y="3"/>
                  </a:lnTo>
                  <a:lnTo>
                    <a:pt x="26" y="3"/>
                  </a:lnTo>
                  <a:lnTo>
                    <a:pt x="26" y="3"/>
                  </a:lnTo>
                  <a:lnTo>
                    <a:pt x="27" y="4"/>
                  </a:lnTo>
                  <a:lnTo>
                    <a:pt x="27" y="4"/>
                  </a:lnTo>
                  <a:lnTo>
                    <a:pt x="28" y="4"/>
                  </a:lnTo>
                  <a:lnTo>
                    <a:pt x="28" y="4"/>
                  </a:lnTo>
                  <a:lnTo>
                    <a:pt x="28" y="4"/>
                  </a:lnTo>
                  <a:lnTo>
                    <a:pt x="28" y="4"/>
                  </a:lnTo>
                  <a:lnTo>
                    <a:pt x="28" y="4"/>
                  </a:lnTo>
                  <a:lnTo>
                    <a:pt x="28" y="4"/>
                  </a:lnTo>
                  <a:lnTo>
                    <a:pt x="29" y="4"/>
                  </a:lnTo>
                  <a:lnTo>
                    <a:pt x="29" y="4"/>
                  </a:lnTo>
                  <a:lnTo>
                    <a:pt x="29" y="4"/>
                  </a:lnTo>
                  <a:lnTo>
                    <a:pt x="29" y="6"/>
                  </a:lnTo>
                  <a:lnTo>
                    <a:pt x="29" y="6"/>
                  </a:lnTo>
                  <a:lnTo>
                    <a:pt x="29" y="6"/>
                  </a:lnTo>
                  <a:lnTo>
                    <a:pt x="29" y="6"/>
                  </a:lnTo>
                  <a:lnTo>
                    <a:pt x="29" y="6"/>
                  </a:lnTo>
                  <a:lnTo>
                    <a:pt x="29" y="6"/>
                  </a:lnTo>
                  <a:lnTo>
                    <a:pt x="29" y="6"/>
                  </a:lnTo>
                  <a:lnTo>
                    <a:pt x="29" y="6"/>
                  </a:lnTo>
                  <a:lnTo>
                    <a:pt x="29" y="6"/>
                  </a:lnTo>
                  <a:lnTo>
                    <a:pt x="29" y="6"/>
                  </a:lnTo>
                  <a:lnTo>
                    <a:pt x="30" y="6"/>
                  </a:lnTo>
                  <a:lnTo>
                    <a:pt x="30" y="6"/>
                  </a:lnTo>
                  <a:lnTo>
                    <a:pt x="30" y="6"/>
                  </a:lnTo>
                  <a:lnTo>
                    <a:pt x="30" y="6"/>
                  </a:lnTo>
                  <a:lnTo>
                    <a:pt x="30" y="7"/>
                  </a:lnTo>
                  <a:lnTo>
                    <a:pt x="30" y="7"/>
                  </a:lnTo>
                  <a:lnTo>
                    <a:pt x="30" y="7"/>
                  </a:lnTo>
                  <a:lnTo>
                    <a:pt x="30" y="7"/>
                  </a:lnTo>
                  <a:lnTo>
                    <a:pt x="30" y="8"/>
                  </a:lnTo>
                  <a:lnTo>
                    <a:pt x="30" y="8"/>
                  </a:lnTo>
                  <a:lnTo>
                    <a:pt x="30" y="8"/>
                  </a:lnTo>
                  <a:lnTo>
                    <a:pt x="30" y="8"/>
                  </a:lnTo>
                  <a:lnTo>
                    <a:pt x="30" y="8"/>
                  </a:lnTo>
                  <a:lnTo>
                    <a:pt x="30" y="8"/>
                  </a:lnTo>
                  <a:lnTo>
                    <a:pt x="30" y="8"/>
                  </a:lnTo>
                  <a:lnTo>
                    <a:pt x="31" y="8"/>
                  </a:lnTo>
                  <a:lnTo>
                    <a:pt x="31" y="9"/>
                  </a:lnTo>
                  <a:lnTo>
                    <a:pt x="31" y="9"/>
                  </a:lnTo>
                  <a:lnTo>
                    <a:pt x="31" y="9"/>
                  </a:lnTo>
                  <a:lnTo>
                    <a:pt x="31" y="9"/>
                  </a:lnTo>
                  <a:lnTo>
                    <a:pt x="31" y="9"/>
                  </a:lnTo>
                  <a:lnTo>
                    <a:pt x="33" y="9"/>
                  </a:lnTo>
                  <a:lnTo>
                    <a:pt x="33" y="10"/>
                  </a:lnTo>
                  <a:lnTo>
                    <a:pt x="33" y="10"/>
                  </a:lnTo>
                  <a:lnTo>
                    <a:pt x="31" y="10"/>
                  </a:lnTo>
                  <a:lnTo>
                    <a:pt x="31" y="10"/>
                  </a:lnTo>
                  <a:lnTo>
                    <a:pt x="31" y="11"/>
                  </a:lnTo>
                  <a:lnTo>
                    <a:pt x="31" y="11"/>
                  </a:lnTo>
                  <a:lnTo>
                    <a:pt x="31" y="11"/>
                  </a:lnTo>
                  <a:lnTo>
                    <a:pt x="31" y="11"/>
                  </a:lnTo>
                  <a:lnTo>
                    <a:pt x="31" y="11"/>
                  </a:lnTo>
                  <a:lnTo>
                    <a:pt x="31" y="11"/>
                  </a:lnTo>
                  <a:lnTo>
                    <a:pt x="31" y="11"/>
                  </a:lnTo>
                  <a:lnTo>
                    <a:pt x="31" y="11"/>
                  </a:lnTo>
                  <a:lnTo>
                    <a:pt x="31" y="13"/>
                  </a:lnTo>
                  <a:lnTo>
                    <a:pt x="31" y="13"/>
                  </a:lnTo>
                  <a:lnTo>
                    <a:pt x="31" y="13"/>
                  </a:lnTo>
                  <a:lnTo>
                    <a:pt x="31" y="13"/>
                  </a:lnTo>
                  <a:lnTo>
                    <a:pt x="31" y="13"/>
                  </a:lnTo>
                  <a:lnTo>
                    <a:pt x="31" y="13"/>
                  </a:lnTo>
                  <a:lnTo>
                    <a:pt x="31" y="13"/>
                  </a:lnTo>
                  <a:lnTo>
                    <a:pt x="31" y="14"/>
                  </a:lnTo>
                  <a:lnTo>
                    <a:pt x="31" y="14"/>
                  </a:lnTo>
                  <a:lnTo>
                    <a:pt x="31" y="15"/>
                  </a:lnTo>
                  <a:lnTo>
                    <a:pt x="31" y="15"/>
                  </a:lnTo>
                  <a:lnTo>
                    <a:pt x="31" y="15"/>
                  </a:lnTo>
                  <a:lnTo>
                    <a:pt x="31" y="15"/>
                  </a:lnTo>
                  <a:lnTo>
                    <a:pt x="31" y="15"/>
                  </a:lnTo>
                  <a:lnTo>
                    <a:pt x="31" y="15"/>
                  </a:lnTo>
                  <a:lnTo>
                    <a:pt x="31" y="15"/>
                  </a:lnTo>
                  <a:lnTo>
                    <a:pt x="31" y="16"/>
                  </a:lnTo>
                  <a:lnTo>
                    <a:pt x="31" y="16"/>
                  </a:lnTo>
                  <a:lnTo>
                    <a:pt x="30" y="16"/>
                  </a:lnTo>
                  <a:lnTo>
                    <a:pt x="30" y="16"/>
                  </a:lnTo>
                  <a:lnTo>
                    <a:pt x="30" y="16"/>
                  </a:lnTo>
                  <a:lnTo>
                    <a:pt x="29" y="16"/>
                  </a:lnTo>
                  <a:lnTo>
                    <a:pt x="29" y="16"/>
                  </a:lnTo>
                  <a:lnTo>
                    <a:pt x="29" y="17"/>
                  </a:lnTo>
                  <a:lnTo>
                    <a:pt x="29" y="17"/>
                  </a:lnTo>
                  <a:lnTo>
                    <a:pt x="29" y="18"/>
                  </a:lnTo>
                  <a:lnTo>
                    <a:pt x="29" y="18"/>
                  </a:lnTo>
                  <a:lnTo>
                    <a:pt x="29" y="18"/>
                  </a:lnTo>
                  <a:lnTo>
                    <a:pt x="29" y="20"/>
                  </a:lnTo>
                  <a:lnTo>
                    <a:pt x="29" y="18"/>
                  </a:lnTo>
                  <a:lnTo>
                    <a:pt x="29" y="18"/>
                  </a:lnTo>
                  <a:lnTo>
                    <a:pt x="29" y="18"/>
                  </a:lnTo>
                  <a:lnTo>
                    <a:pt x="29" y="18"/>
                  </a:lnTo>
                  <a:lnTo>
                    <a:pt x="29" y="18"/>
                  </a:lnTo>
                  <a:lnTo>
                    <a:pt x="29" y="18"/>
                  </a:lnTo>
                  <a:lnTo>
                    <a:pt x="28" y="18"/>
                  </a:lnTo>
                  <a:lnTo>
                    <a:pt x="28" y="18"/>
                  </a:lnTo>
                  <a:lnTo>
                    <a:pt x="28" y="18"/>
                  </a:lnTo>
                  <a:lnTo>
                    <a:pt x="28" y="18"/>
                  </a:lnTo>
                  <a:lnTo>
                    <a:pt x="28" y="18"/>
                  </a:lnTo>
                  <a:lnTo>
                    <a:pt x="28" y="20"/>
                  </a:lnTo>
                  <a:lnTo>
                    <a:pt x="28" y="20"/>
                  </a:lnTo>
                  <a:lnTo>
                    <a:pt x="28" y="20"/>
                  </a:lnTo>
                  <a:lnTo>
                    <a:pt x="28" y="20"/>
                  </a:lnTo>
                  <a:lnTo>
                    <a:pt x="27" y="20"/>
                  </a:lnTo>
                  <a:lnTo>
                    <a:pt x="27" y="20"/>
                  </a:lnTo>
                  <a:lnTo>
                    <a:pt x="27" y="20"/>
                  </a:lnTo>
                  <a:lnTo>
                    <a:pt x="27" y="20"/>
                  </a:lnTo>
                  <a:lnTo>
                    <a:pt x="27" y="20"/>
                  </a:lnTo>
                  <a:lnTo>
                    <a:pt x="26" y="20"/>
                  </a:lnTo>
                  <a:lnTo>
                    <a:pt x="26" y="20"/>
                  </a:lnTo>
                  <a:lnTo>
                    <a:pt x="26" y="20"/>
                  </a:lnTo>
                  <a:lnTo>
                    <a:pt x="26" y="20"/>
                  </a:lnTo>
                  <a:lnTo>
                    <a:pt x="26" y="20"/>
                  </a:lnTo>
                  <a:lnTo>
                    <a:pt x="25" y="20"/>
                  </a:lnTo>
                  <a:lnTo>
                    <a:pt x="25" y="20"/>
                  </a:lnTo>
                  <a:lnTo>
                    <a:pt x="25" y="20"/>
                  </a:lnTo>
                  <a:lnTo>
                    <a:pt x="25" y="20"/>
                  </a:lnTo>
                  <a:lnTo>
                    <a:pt x="25" y="20"/>
                  </a:lnTo>
                  <a:lnTo>
                    <a:pt x="25" y="20"/>
                  </a:lnTo>
                  <a:lnTo>
                    <a:pt x="25" y="18"/>
                  </a:lnTo>
                  <a:lnTo>
                    <a:pt x="25" y="18"/>
                  </a:lnTo>
                  <a:lnTo>
                    <a:pt x="25" y="18"/>
                  </a:lnTo>
                  <a:lnTo>
                    <a:pt x="23" y="18"/>
                  </a:lnTo>
                  <a:lnTo>
                    <a:pt x="23" y="18"/>
                  </a:lnTo>
                  <a:lnTo>
                    <a:pt x="23" y="18"/>
                  </a:lnTo>
                  <a:lnTo>
                    <a:pt x="23" y="18"/>
                  </a:lnTo>
                  <a:lnTo>
                    <a:pt x="22" y="18"/>
                  </a:lnTo>
                  <a:lnTo>
                    <a:pt x="22" y="18"/>
                  </a:lnTo>
                  <a:lnTo>
                    <a:pt x="22" y="20"/>
                  </a:lnTo>
                  <a:lnTo>
                    <a:pt x="22" y="20"/>
                  </a:lnTo>
                  <a:lnTo>
                    <a:pt x="21" y="20"/>
                  </a:lnTo>
                  <a:lnTo>
                    <a:pt x="21" y="20"/>
                  </a:lnTo>
                  <a:lnTo>
                    <a:pt x="21" y="20"/>
                  </a:lnTo>
                  <a:lnTo>
                    <a:pt x="21" y="18"/>
                  </a:lnTo>
                  <a:lnTo>
                    <a:pt x="21" y="18"/>
                  </a:lnTo>
                  <a:lnTo>
                    <a:pt x="21" y="18"/>
                  </a:lnTo>
                  <a:lnTo>
                    <a:pt x="21" y="18"/>
                  </a:lnTo>
                  <a:lnTo>
                    <a:pt x="21" y="18"/>
                  </a:lnTo>
                  <a:lnTo>
                    <a:pt x="21" y="20"/>
                  </a:lnTo>
                  <a:lnTo>
                    <a:pt x="20" y="20"/>
                  </a:lnTo>
                  <a:lnTo>
                    <a:pt x="20" y="20"/>
                  </a:lnTo>
                  <a:lnTo>
                    <a:pt x="20" y="20"/>
                  </a:lnTo>
                  <a:lnTo>
                    <a:pt x="19" y="20"/>
                  </a:lnTo>
                  <a:lnTo>
                    <a:pt x="19" y="20"/>
                  </a:lnTo>
                  <a:lnTo>
                    <a:pt x="19" y="20"/>
                  </a:lnTo>
                  <a:lnTo>
                    <a:pt x="19" y="21"/>
                  </a:lnTo>
                  <a:lnTo>
                    <a:pt x="19" y="21"/>
                  </a:lnTo>
                  <a:lnTo>
                    <a:pt x="19" y="21"/>
                  </a:lnTo>
                  <a:lnTo>
                    <a:pt x="19" y="21"/>
                  </a:lnTo>
                  <a:lnTo>
                    <a:pt x="19" y="21"/>
                  </a:lnTo>
                  <a:lnTo>
                    <a:pt x="19" y="21"/>
                  </a:lnTo>
                  <a:lnTo>
                    <a:pt x="19" y="21"/>
                  </a:lnTo>
                  <a:lnTo>
                    <a:pt x="19" y="21"/>
                  </a:lnTo>
                  <a:lnTo>
                    <a:pt x="19" y="21"/>
                  </a:lnTo>
                  <a:lnTo>
                    <a:pt x="18" y="22"/>
                  </a:lnTo>
                  <a:lnTo>
                    <a:pt x="18" y="22"/>
                  </a:lnTo>
                  <a:lnTo>
                    <a:pt x="18" y="22"/>
                  </a:lnTo>
                  <a:lnTo>
                    <a:pt x="18" y="22"/>
                  </a:lnTo>
                  <a:lnTo>
                    <a:pt x="18" y="22"/>
                  </a:lnTo>
                  <a:lnTo>
                    <a:pt x="18" y="22"/>
                  </a:lnTo>
                  <a:lnTo>
                    <a:pt x="18" y="22"/>
                  </a:lnTo>
                  <a:lnTo>
                    <a:pt x="18" y="22"/>
                  </a:lnTo>
                  <a:lnTo>
                    <a:pt x="16" y="22"/>
                  </a:lnTo>
                  <a:lnTo>
                    <a:pt x="16" y="22"/>
                  </a:lnTo>
                  <a:lnTo>
                    <a:pt x="16" y="23"/>
                  </a:lnTo>
                  <a:lnTo>
                    <a:pt x="16" y="23"/>
                  </a:lnTo>
                  <a:lnTo>
                    <a:pt x="16" y="23"/>
                  </a:lnTo>
                  <a:lnTo>
                    <a:pt x="16" y="23"/>
                  </a:lnTo>
                  <a:lnTo>
                    <a:pt x="16" y="23"/>
                  </a:lnTo>
                  <a:lnTo>
                    <a:pt x="16" y="23"/>
                  </a:lnTo>
                  <a:lnTo>
                    <a:pt x="15" y="23"/>
                  </a:lnTo>
                  <a:lnTo>
                    <a:pt x="15" y="23"/>
                  </a:lnTo>
                  <a:lnTo>
                    <a:pt x="15" y="23"/>
                  </a:lnTo>
                  <a:lnTo>
                    <a:pt x="15" y="23"/>
                  </a:lnTo>
                  <a:lnTo>
                    <a:pt x="14" y="23"/>
                  </a:lnTo>
                  <a:lnTo>
                    <a:pt x="14" y="23"/>
                  </a:lnTo>
                  <a:lnTo>
                    <a:pt x="13" y="23"/>
                  </a:lnTo>
                  <a:lnTo>
                    <a:pt x="13" y="23"/>
                  </a:lnTo>
                  <a:lnTo>
                    <a:pt x="13" y="23"/>
                  </a:lnTo>
                  <a:lnTo>
                    <a:pt x="12" y="23"/>
                  </a:lnTo>
                  <a:lnTo>
                    <a:pt x="12" y="23"/>
                  </a:lnTo>
                  <a:lnTo>
                    <a:pt x="12" y="23"/>
                  </a:lnTo>
                  <a:lnTo>
                    <a:pt x="12" y="23"/>
                  </a:lnTo>
                  <a:lnTo>
                    <a:pt x="11" y="23"/>
                  </a:lnTo>
                  <a:lnTo>
                    <a:pt x="11" y="23"/>
                  </a:lnTo>
                  <a:lnTo>
                    <a:pt x="11" y="23"/>
                  </a:lnTo>
                  <a:lnTo>
                    <a:pt x="9" y="23"/>
                  </a:lnTo>
                  <a:lnTo>
                    <a:pt x="9" y="23"/>
                  </a:lnTo>
                  <a:lnTo>
                    <a:pt x="9" y="23"/>
                  </a:lnTo>
                  <a:lnTo>
                    <a:pt x="9" y="22"/>
                  </a:lnTo>
                  <a:lnTo>
                    <a:pt x="8" y="22"/>
                  </a:lnTo>
                  <a:lnTo>
                    <a:pt x="8" y="22"/>
                  </a:lnTo>
                  <a:lnTo>
                    <a:pt x="8" y="22"/>
                  </a:lnTo>
                  <a:lnTo>
                    <a:pt x="8" y="22"/>
                  </a:lnTo>
                  <a:lnTo>
                    <a:pt x="8" y="22"/>
                  </a:lnTo>
                  <a:lnTo>
                    <a:pt x="8" y="21"/>
                  </a:lnTo>
                  <a:lnTo>
                    <a:pt x="8" y="21"/>
                  </a:lnTo>
                  <a:lnTo>
                    <a:pt x="8" y="21"/>
                  </a:lnTo>
                  <a:lnTo>
                    <a:pt x="8" y="21"/>
                  </a:lnTo>
                  <a:lnTo>
                    <a:pt x="8" y="21"/>
                  </a:lnTo>
                  <a:lnTo>
                    <a:pt x="8" y="21"/>
                  </a:lnTo>
                  <a:lnTo>
                    <a:pt x="8" y="21"/>
                  </a:lnTo>
                  <a:lnTo>
                    <a:pt x="8" y="21"/>
                  </a:lnTo>
                  <a:lnTo>
                    <a:pt x="8" y="21"/>
                  </a:lnTo>
                  <a:lnTo>
                    <a:pt x="7" y="21"/>
                  </a:lnTo>
                  <a:lnTo>
                    <a:pt x="7" y="21"/>
                  </a:lnTo>
                  <a:lnTo>
                    <a:pt x="7" y="21"/>
                  </a:lnTo>
                  <a:lnTo>
                    <a:pt x="7" y="22"/>
                  </a:lnTo>
                  <a:lnTo>
                    <a:pt x="7" y="22"/>
                  </a:lnTo>
                  <a:lnTo>
                    <a:pt x="7" y="22"/>
                  </a:lnTo>
                  <a:lnTo>
                    <a:pt x="7" y="22"/>
                  </a:lnTo>
                  <a:lnTo>
                    <a:pt x="7" y="22"/>
                  </a:lnTo>
                  <a:lnTo>
                    <a:pt x="7" y="22"/>
                  </a:lnTo>
                  <a:lnTo>
                    <a:pt x="7" y="22"/>
                  </a:lnTo>
                  <a:lnTo>
                    <a:pt x="7" y="22"/>
                  </a:lnTo>
                  <a:lnTo>
                    <a:pt x="7" y="23"/>
                  </a:lnTo>
                  <a:lnTo>
                    <a:pt x="7" y="23"/>
                  </a:lnTo>
                  <a:lnTo>
                    <a:pt x="7" y="23"/>
                  </a:lnTo>
                  <a:lnTo>
                    <a:pt x="7" y="23"/>
                  </a:lnTo>
                  <a:lnTo>
                    <a:pt x="7" y="23"/>
                  </a:lnTo>
                  <a:lnTo>
                    <a:pt x="7" y="23"/>
                  </a:lnTo>
                  <a:lnTo>
                    <a:pt x="7" y="23"/>
                  </a:lnTo>
                  <a:lnTo>
                    <a:pt x="7" y="23"/>
                  </a:lnTo>
                  <a:lnTo>
                    <a:pt x="6" y="22"/>
                  </a:lnTo>
                  <a:lnTo>
                    <a:pt x="6" y="22"/>
                  </a:lnTo>
                  <a:lnTo>
                    <a:pt x="6" y="22"/>
                  </a:lnTo>
                  <a:lnTo>
                    <a:pt x="6" y="22"/>
                  </a:lnTo>
                  <a:lnTo>
                    <a:pt x="5" y="23"/>
                  </a:lnTo>
                  <a:lnTo>
                    <a:pt x="5" y="23"/>
                  </a:lnTo>
                  <a:lnTo>
                    <a:pt x="5" y="23"/>
                  </a:lnTo>
                  <a:lnTo>
                    <a:pt x="5" y="23"/>
                  </a:lnTo>
                  <a:lnTo>
                    <a:pt x="5" y="23"/>
                  </a:lnTo>
                  <a:lnTo>
                    <a:pt x="5" y="23"/>
                  </a:lnTo>
                  <a:lnTo>
                    <a:pt x="5" y="22"/>
                  </a:lnTo>
                  <a:lnTo>
                    <a:pt x="5" y="22"/>
                  </a:lnTo>
                  <a:lnTo>
                    <a:pt x="5" y="22"/>
                  </a:lnTo>
                  <a:lnTo>
                    <a:pt x="5" y="22"/>
                  </a:lnTo>
                  <a:lnTo>
                    <a:pt x="5" y="22"/>
                  </a:lnTo>
                  <a:lnTo>
                    <a:pt x="5" y="22"/>
                  </a:lnTo>
                  <a:lnTo>
                    <a:pt x="5" y="21"/>
                  </a:lnTo>
                  <a:lnTo>
                    <a:pt x="5" y="21"/>
                  </a:lnTo>
                  <a:lnTo>
                    <a:pt x="5" y="20"/>
                  </a:lnTo>
                  <a:lnTo>
                    <a:pt x="5" y="20"/>
                  </a:lnTo>
                  <a:lnTo>
                    <a:pt x="5" y="20"/>
                  </a:lnTo>
                  <a:lnTo>
                    <a:pt x="5" y="20"/>
                  </a:lnTo>
                  <a:lnTo>
                    <a:pt x="5" y="20"/>
                  </a:lnTo>
                  <a:lnTo>
                    <a:pt x="5" y="20"/>
                  </a:lnTo>
                  <a:lnTo>
                    <a:pt x="5" y="20"/>
                  </a:lnTo>
                  <a:lnTo>
                    <a:pt x="5" y="18"/>
                  </a:lnTo>
                  <a:lnTo>
                    <a:pt x="5" y="18"/>
                  </a:lnTo>
                  <a:lnTo>
                    <a:pt x="4" y="18"/>
                  </a:lnTo>
                  <a:lnTo>
                    <a:pt x="4" y="18"/>
                  </a:lnTo>
                  <a:lnTo>
                    <a:pt x="4" y="18"/>
                  </a:lnTo>
                  <a:lnTo>
                    <a:pt x="4" y="18"/>
                  </a:lnTo>
                  <a:lnTo>
                    <a:pt x="2" y="20"/>
                  </a:lnTo>
                  <a:lnTo>
                    <a:pt x="2" y="20"/>
                  </a:lnTo>
                  <a:lnTo>
                    <a:pt x="2" y="20"/>
                  </a:lnTo>
                  <a:lnTo>
                    <a:pt x="2" y="20"/>
                  </a:lnTo>
                  <a:lnTo>
                    <a:pt x="2" y="20"/>
                  </a:lnTo>
                  <a:lnTo>
                    <a:pt x="2" y="20"/>
                  </a:lnTo>
                  <a:lnTo>
                    <a:pt x="2" y="20"/>
                  </a:lnTo>
                  <a:lnTo>
                    <a:pt x="2" y="20"/>
                  </a:lnTo>
                  <a:lnTo>
                    <a:pt x="2" y="18"/>
                  </a:lnTo>
                  <a:lnTo>
                    <a:pt x="1" y="18"/>
                  </a:lnTo>
                  <a:lnTo>
                    <a:pt x="1" y="18"/>
                  </a:lnTo>
                  <a:lnTo>
                    <a:pt x="1" y="17"/>
                  </a:lnTo>
                  <a:lnTo>
                    <a:pt x="1" y="17"/>
                  </a:lnTo>
                  <a:lnTo>
                    <a:pt x="0" y="16"/>
                  </a:lnTo>
                  <a:lnTo>
                    <a:pt x="0" y="16"/>
                  </a:lnTo>
                  <a:lnTo>
                    <a:pt x="0" y="16"/>
                  </a:lnTo>
                  <a:lnTo>
                    <a:pt x="1" y="16"/>
                  </a:lnTo>
                  <a:lnTo>
                    <a:pt x="1" y="16"/>
                  </a:lnTo>
                  <a:lnTo>
                    <a:pt x="1" y="16"/>
                  </a:lnTo>
                  <a:lnTo>
                    <a:pt x="1" y="15"/>
                  </a:lnTo>
                  <a:lnTo>
                    <a:pt x="1" y="15"/>
                  </a:lnTo>
                  <a:lnTo>
                    <a:pt x="1" y="15"/>
                  </a:lnTo>
                  <a:lnTo>
                    <a:pt x="1" y="15"/>
                  </a:lnTo>
                  <a:lnTo>
                    <a:pt x="1" y="15"/>
                  </a:lnTo>
                  <a:lnTo>
                    <a:pt x="1" y="15"/>
                  </a:lnTo>
                  <a:lnTo>
                    <a:pt x="1" y="15"/>
                  </a:lnTo>
                  <a:lnTo>
                    <a:pt x="1" y="15"/>
                  </a:lnTo>
                  <a:lnTo>
                    <a:pt x="0" y="15"/>
                  </a:lnTo>
                  <a:lnTo>
                    <a:pt x="0" y="14"/>
                  </a:lnTo>
                  <a:lnTo>
                    <a:pt x="0" y="14"/>
                  </a:lnTo>
                  <a:lnTo>
                    <a:pt x="0" y="14"/>
                  </a:lnTo>
                  <a:lnTo>
                    <a:pt x="0" y="14"/>
                  </a:lnTo>
                  <a:lnTo>
                    <a:pt x="0" y="14"/>
                  </a:lnTo>
                  <a:lnTo>
                    <a:pt x="0" y="14"/>
                  </a:lnTo>
                  <a:lnTo>
                    <a:pt x="0" y="14"/>
                  </a:lnTo>
                  <a:lnTo>
                    <a:pt x="0" y="14"/>
                  </a:lnTo>
                  <a:lnTo>
                    <a:pt x="0" y="13"/>
                  </a:lnTo>
                  <a:lnTo>
                    <a:pt x="0" y="13"/>
                  </a:lnTo>
                  <a:lnTo>
                    <a:pt x="0" y="13"/>
                  </a:lnTo>
                  <a:lnTo>
                    <a:pt x="0" y="13"/>
                  </a:lnTo>
                  <a:lnTo>
                    <a:pt x="1" y="13"/>
                  </a:lnTo>
                  <a:lnTo>
                    <a:pt x="1" y="13"/>
                  </a:lnTo>
                  <a:lnTo>
                    <a:pt x="1" y="13"/>
                  </a:lnTo>
                  <a:lnTo>
                    <a:pt x="1" y="13"/>
                  </a:lnTo>
                  <a:lnTo>
                    <a:pt x="1" y="11"/>
                  </a:lnTo>
                  <a:lnTo>
                    <a:pt x="0" y="11"/>
                  </a:lnTo>
                  <a:lnTo>
                    <a:pt x="0" y="11"/>
                  </a:lnTo>
                  <a:lnTo>
                    <a:pt x="0" y="10"/>
                  </a:lnTo>
                  <a:lnTo>
                    <a:pt x="0" y="9"/>
                  </a:lnTo>
                  <a:lnTo>
                    <a:pt x="0" y="9"/>
                  </a:lnTo>
                  <a:lnTo>
                    <a:pt x="0" y="9"/>
                  </a:lnTo>
                  <a:lnTo>
                    <a:pt x="1" y="9"/>
                  </a:lnTo>
                  <a:lnTo>
                    <a:pt x="1" y="9"/>
                  </a:lnTo>
                  <a:lnTo>
                    <a:pt x="1" y="9"/>
                  </a:lnTo>
                  <a:lnTo>
                    <a:pt x="1" y="8"/>
                  </a:lnTo>
                  <a:lnTo>
                    <a:pt x="0" y="8"/>
                  </a:lnTo>
                  <a:lnTo>
                    <a:pt x="0" y="8"/>
                  </a:lnTo>
                  <a:lnTo>
                    <a:pt x="0" y="8"/>
                  </a:lnTo>
                  <a:lnTo>
                    <a:pt x="1" y="8"/>
                  </a:lnTo>
                  <a:lnTo>
                    <a:pt x="1" y="8"/>
                  </a:lnTo>
                  <a:lnTo>
                    <a:pt x="1" y="8"/>
                  </a:lnTo>
                  <a:lnTo>
                    <a:pt x="1" y="8"/>
                  </a:lnTo>
                  <a:lnTo>
                    <a:pt x="1" y="8"/>
                  </a:lnTo>
                  <a:lnTo>
                    <a:pt x="2" y="8"/>
                  </a:lnTo>
                  <a:lnTo>
                    <a:pt x="2" y="8"/>
                  </a:lnTo>
                  <a:lnTo>
                    <a:pt x="2" y="8"/>
                  </a:lnTo>
                  <a:lnTo>
                    <a:pt x="2" y="8"/>
                  </a:lnTo>
                  <a:lnTo>
                    <a:pt x="2" y="8"/>
                  </a:lnTo>
                  <a:lnTo>
                    <a:pt x="2" y="8"/>
                  </a:lnTo>
                  <a:lnTo>
                    <a:pt x="2" y="8"/>
                  </a:lnTo>
                  <a:lnTo>
                    <a:pt x="2" y="8"/>
                  </a:lnTo>
                  <a:lnTo>
                    <a:pt x="4" y="7"/>
                  </a:lnTo>
                  <a:lnTo>
                    <a:pt x="4" y="7"/>
                  </a:lnTo>
                  <a:lnTo>
                    <a:pt x="4" y="7"/>
                  </a:lnTo>
                  <a:lnTo>
                    <a:pt x="4" y="7"/>
                  </a:lnTo>
                  <a:lnTo>
                    <a:pt x="4" y="7"/>
                  </a:lnTo>
                  <a:lnTo>
                    <a:pt x="4" y="6"/>
                  </a:lnTo>
                  <a:lnTo>
                    <a:pt x="4" y="6"/>
                  </a:lnTo>
                  <a:lnTo>
                    <a:pt x="4" y="4"/>
                  </a:lnTo>
                  <a:lnTo>
                    <a:pt x="4" y="4"/>
                  </a:lnTo>
                  <a:lnTo>
                    <a:pt x="4" y="4"/>
                  </a:lnTo>
                  <a:lnTo>
                    <a:pt x="4" y="4"/>
                  </a:lnTo>
                  <a:lnTo>
                    <a:pt x="5" y="3"/>
                  </a:lnTo>
                  <a:lnTo>
                    <a:pt x="6" y="3"/>
                  </a:lnTo>
                  <a:lnTo>
                    <a:pt x="6" y="3"/>
                  </a:lnTo>
                  <a:lnTo>
                    <a:pt x="6" y="3"/>
                  </a:lnTo>
                  <a:lnTo>
                    <a:pt x="7" y="3"/>
                  </a:lnTo>
                  <a:lnTo>
                    <a:pt x="7" y="2"/>
                  </a:lnTo>
                  <a:lnTo>
                    <a:pt x="7" y="2"/>
                  </a:lnTo>
                  <a:lnTo>
                    <a:pt x="7" y="2"/>
                  </a:lnTo>
                  <a:lnTo>
                    <a:pt x="7" y="2"/>
                  </a:lnTo>
                  <a:lnTo>
                    <a:pt x="7" y="2"/>
                  </a:lnTo>
                  <a:lnTo>
                    <a:pt x="8" y="3"/>
                  </a:lnTo>
                  <a:lnTo>
                    <a:pt x="8" y="3"/>
                  </a:lnTo>
                  <a:lnTo>
                    <a:pt x="9" y="3"/>
                  </a:lnTo>
                  <a:lnTo>
                    <a:pt x="9" y="4"/>
                  </a:lnTo>
                  <a:lnTo>
                    <a:pt x="9" y="4"/>
                  </a:lnTo>
                  <a:lnTo>
                    <a:pt x="9" y="4"/>
                  </a:lnTo>
                  <a:lnTo>
                    <a:pt x="9" y="4"/>
                  </a:lnTo>
                  <a:lnTo>
                    <a:pt x="9" y="4"/>
                  </a:lnTo>
                  <a:lnTo>
                    <a:pt x="9" y="4"/>
                  </a:lnTo>
                  <a:lnTo>
                    <a:pt x="9" y="4"/>
                  </a:lnTo>
                  <a:lnTo>
                    <a:pt x="9" y="4"/>
                  </a:lnTo>
                  <a:lnTo>
                    <a:pt x="9" y="3"/>
                  </a:lnTo>
                  <a:lnTo>
                    <a:pt x="9" y="3"/>
                  </a:lnTo>
                  <a:lnTo>
                    <a:pt x="9" y="3"/>
                  </a:lnTo>
                  <a:lnTo>
                    <a:pt x="9" y="3"/>
                  </a:lnTo>
                  <a:lnTo>
                    <a:pt x="9" y="3"/>
                  </a:lnTo>
                  <a:lnTo>
                    <a:pt x="11" y="2"/>
                  </a:lnTo>
                  <a:lnTo>
                    <a:pt x="11" y="2"/>
                  </a:lnTo>
                  <a:lnTo>
                    <a:pt x="11" y="2"/>
                  </a:lnTo>
                  <a:lnTo>
                    <a:pt x="11" y="2"/>
                  </a:lnTo>
                  <a:lnTo>
                    <a:pt x="12" y="2"/>
                  </a:lnTo>
                  <a:lnTo>
                    <a:pt x="12" y="2"/>
                  </a:lnTo>
                  <a:lnTo>
                    <a:pt x="12" y="2"/>
                  </a:lnTo>
                  <a:lnTo>
                    <a:pt x="12" y="2"/>
                  </a:lnTo>
                  <a:lnTo>
                    <a:pt x="12" y="2"/>
                  </a:lnTo>
                  <a:lnTo>
                    <a:pt x="12" y="2"/>
                  </a:lnTo>
                  <a:lnTo>
                    <a:pt x="12" y="2"/>
                  </a:lnTo>
                  <a:lnTo>
                    <a:pt x="12" y="2"/>
                  </a:lnTo>
                  <a:lnTo>
                    <a:pt x="12" y="2"/>
                  </a:lnTo>
                  <a:lnTo>
                    <a:pt x="12" y="2"/>
                  </a:lnTo>
                  <a:lnTo>
                    <a:pt x="12" y="2"/>
                  </a:lnTo>
                  <a:lnTo>
                    <a:pt x="12" y="2"/>
                  </a:lnTo>
                  <a:lnTo>
                    <a:pt x="13" y="2"/>
                  </a:lnTo>
                  <a:lnTo>
                    <a:pt x="13" y="2"/>
                  </a:lnTo>
                  <a:lnTo>
                    <a:pt x="13" y="2"/>
                  </a:lnTo>
                  <a:lnTo>
                    <a:pt x="13" y="2"/>
                  </a:lnTo>
                  <a:lnTo>
                    <a:pt x="14" y="2"/>
                  </a:lnTo>
                  <a:lnTo>
                    <a:pt x="14" y="2"/>
                  </a:lnTo>
                  <a:lnTo>
                    <a:pt x="14" y="2"/>
                  </a:lnTo>
                  <a:lnTo>
                    <a:pt x="14" y="2"/>
                  </a:lnTo>
                  <a:lnTo>
                    <a:pt x="15" y="2"/>
                  </a:lnTo>
                  <a:lnTo>
                    <a:pt x="15" y="2"/>
                  </a:lnTo>
                  <a:lnTo>
                    <a:pt x="15" y="1"/>
                  </a:lnTo>
                  <a:lnTo>
                    <a:pt x="16" y="1"/>
                  </a:lnTo>
                  <a:lnTo>
                    <a:pt x="16" y="1"/>
                  </a:lnTo>
                  <a:lnTo>
                    <a:pt x="18" y="1"/>
                  </a:lnTo>
                  <a:lnTo>
                    <a:pt x="18" y="1"/>
                  </a:lnTo>
                  <a:lnTo>
                    <a:pt x="18" y="1"/>
                  </a:lnTo>
                  <a:lnTo>
                    <a:pt x="18" y="0"/>
                  </a:lnTo>
                  <a:lnTo>
                    <a:pt x="18" y="0"/>
                  </a:lnTo>
                  <a:lnTo>
                    <a:pt x="19" y="1"/>
                  </a:lnTo>
                  <a:lnTo>
                    <a:pt x="19" y="1"/>
                  </a:lnTo>
                  <a:lnTo>
                    <a:pt x="19" y="1"/>
                  </a:lnTo>
                  <a:lnTo>
                    <a:pt x="20" y="1"/>
                  </a:lnTo>
                  <a:lnTo>
                    <a:pt x="20" y="1"/>
                  </a:lnTo>
                  <a:lnTo>
                    <a:pt x="21" y="0"/>
                  </a:lnTo>
                  <a:lnTo>
                    <a:pt x="22" y="0"/>
                  </a:lnTo>
                  <a:lnTo>
                    <a:pt x="22" y="0"/>
                  </a:lnTo>
                  <a:lnTo>
                    <a:pt x="22" y="0"/>
                  </a:lnTo>
                  <a:lnTo>
                    <a:pt x="22" y="0"/>
                  </a:lnTo>
                  <a:lnTo>
                    <a:pt x="22" y="0"/>
                  </a:lnTo>
                  <a:lnTo>
                    <a:pt x="22" y="1"/>
                  </a:lnTo>
                  <a:lnTo>
                    <a:pt x="22" y="1"/>
                  </a:lnTo>
                  <a:lnTo>
                    <a:pt x="22" y="1"/>
                  </a:lnTo>
                  <a:lnTo>
                    <a:pt x="23"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33" name="Freeform 1398">
              <a:extLst>
                <a:ext uri="{FF2B5EF4-FFF2-40B4-BE49-F238E27FC236}">
                  <a16:creationId xmlns:a16="http://schemas.microsoft.com/office/drawing/2014/main" id="{11957696-5897-4DD2-B636-B7947957A57A}"/>
                </a:ext>
              </a:extLst>
            </p:cNvPr>
            <p:cNvSpPr>
              <a:spLocks/>
            </p:cNvSpPr>
            <p:nvPr/>
          </p:nvSpPr>
          <p:spPr bwMode="auto">
            <a:xfrm>
              <a:off x="6057499" y="2587300"/>
              <a:ext cx="4007" cy="5342"/>
            </a:xfrm>
            <a:custGeom>
              <a:avLst/>
              <a:gdLst>
                <a:gd name="T0" fmla="*/ 3 w 3"/>
                <a:gd name="T1" fmla="*/ 2 h 4"/>
                <a:gd name="T2" fmla="*/ 3 w 3"/>
                <a:gd name="T3" fmla="*/ 2 h 4"/>
                <a:gd name="T4" fmla="*/ 3 w 3"/>
                <a:gd name="T5" fmla="*/ 2 h 4"/>
                <a:gd name="T6" fmla="*/ 2 w 3"/>
                <a:gd name="T7" fmla="*/ 2 h 4"/>
                <a:gd name="T8" fmla="*/ 2 w 3"/>
                <a:gd name="T9" fmla="*/ 2 h 4"/>
                <a:gd name="T10" fmla="*/ 2 w 3"/>
                <a:gd name="T11" fmla="*/ 4 h 4"/>
                <a:gd name="T12" fmla="*/ 2 w 3"/>
                <a:gd name="T13" fmla="*/ 4 h 4"/>
                <a:gd name="T14" fmla="*/ 2 w 3"/>
                <a:gd name="T15" fmla="*/ 4 h 4"/>
                <a:gd name="T16" fmla="*/ 2 w 3"/>
                <a:gd name="T17" fmla="*/ 2 h 4"/>
                <a:gd name="T18" fmla="*/ 1 w 3"/>
                <a:gd name="T19" fmla="*/ 2 h 4"/>
                <a:gd name="T20" fmla="*/ 1 w 3"/>
                <a:gd name="T21" fmla="*/ 2 h 4"/>
                <a:gd name="T22" fmla="*/ 0 w 3"/>
                <a:gd name="T23" fmla="*/ 2 h 4"/>
                <a:gd name="T24" fmla="*/ 0 w 3"/>
                <a:gd name="T25" fmla="*/ 2 h 4"/>
                <a:gd name="T26" fmla="*/ 0 w 3"/>
                <a:gd name="T27" fmla="*/ 2 h 4"/>
                <a:gd name="T28" fmla="*/ 0 w 3"/>
                <a:gd name="T29" fmla="*/ 2 h 4"/>
                <a:gd name="T30" fmla="*/ 0 w 3"/>
                <a:gd name="T31" fmla="*/ 1 h 4"/>
                <a:gd name="T32" fmla="*/ 0 w 3"/>
                <a:gd name="T33" fmla="*/ 1 h 4"/>
                <a:gd name="T34" fmla="*/ 0 w 3"/>
                <a:gd name="T35" fmla="*/ 0 h 4"/>
                <a:gd name="T36" fmla="*/ 0 w 3"/>
                <a:gd name="T37" fmla="*/ 0 h 4"/>
                <a:gd name="T38" fmla="*/ 0 w 3"/>
                <a:gd name="T39" fmla="*/ 0 h 4"/>
                <a:gd name="T40" fmla="*/ 0 w 3"/>
                <a:gd name="T41" fmla="*/ 0 h 4"/>
                <a:gd name="T42" fmla="*/ 0 w 3"/>
                <a:gd name="T43" fmla="*/ 0 h 4"/>
                <a:gd name="T44" fmla="*/ 1 w 3"/>
                <a:gd name="T45" fmla="*/ 0 h 4"/>
                <a:gd name="T46" fmla="*/ 1 w 3"/>
                <a:gd name="T47" fmla="*/ 0 h 4"/>
                <a:gd name="T48" fmla="*/ 0 w 3"/>
                <a:gd name="T49" fmla="*/ 0 h 4"/>
                <a:gd name="T50" fmla="*/ 0 w 3"/>
                <a:gd name="T51" fmla="*/ 0 h 4"/>
                <a:gd name="T52" fmla="*/ 0 w 3"/>
                <a:gd name="T53" fmla="*/ 0 h 4"/>
                <a:gd name="T54" fmla="*/ 1 w 3"/>
                <a:gd name="T55" fmla="*/ 0 h 4"/>
                <a:gd name="T56" fmla="*/ 1 w 3"/>
                <a:gd name="T57" fmla="*/ 0 h 4"/>
                <a:gd name="T58" fmla="*/ 2 w 3"/>
                <a:gd name="T59" fmla="*/ 1 h 4"/>
                <a:gd name="T60" fmla="*/ 2 w 3"/>
                <a:gd name="T61" fmla="*/ 1 h 4"/>
                <a:gd name="T62" fmla="*/ 2 w 3"/>
                <a:gd name="T63" fmla="*/ 1 h 4"/>
                <a:gd name="T64" fmla="*/ 2 w 3"/>
                <a:gd name="T65" fmla="*/ 1 h 4"/>
                <a:gd name="T66" fmla="*/ 2 w 3"/>
                <a:gd name="T67" fmla="*/ 1 h 4"/>
                <a:gd name="T68" fmla="*/ 2 w 3"/>
                <a:gd name="T69" fmla="*/ 1 h 4"/>
                <a:gd name="T70" fmla="*/ 3 w 3"/>
                <a:gd name="T71" fmla="*/ 1 h 4"/>
                <a:gd name="T72" fmla="*/ 3 w 3"/>
                <a:gd name="T73" fmla="*/ 2 h 4"/>
                <a:gd name="T74" fmla="*/ 3 w 3"/>
                <a:gd name="T7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 h="4">
                  <a:moveTo>
                    <a:pt x="3" y="2"/>
                  </a:moveTo>
                  <a:lnTo>
                    <a:pt x="3" y="2"/>
                  </a:lnTo>
                  <a:lnTo>
                    <a:pt x="3" y="2"/>
                  </a:lnTo>
                  <a:lnTo>
                    <a:pt x="2" y="2"/>
                  </a:lnTo>
                  <a:lnTo>
                    <a:pt x="2" y="2"/>
                  </a:lnTo>
                  <a:lnTo>
                    <a:pt x="2" y="4"/>
                  </a:lnTo>
                  <a:lnTo>
                    <a:pt x="2" y="4"/>
                  </a:lnTo>
                  <a:lnTo>
                    <a:pt x="2" y="4"/>
                  </a:lnTo>
                  <a:lnTo>
                    <a:pt x="2" y="2"/>
                  </a:lnTo>
                  <a:lnTo>
                    <a:pt x="1" y="2"/>
                  </a:lnTo>
                  <a:lnTo>
                    <a:pt x="1" y="2"/>
                  </a:lnTo>
                  <a:lnTo>
                    <a:pt x="0" y="2"/>
                  </a:lnTo>
                  <a:lnTo>
                    <a:pt x="0" y="2"/>
                  </a:lnTo>
                  <a:lnTo>
                    <a:pt x="0" y="2"/>
                  </a:lnTo>
                  <a:lnTo>
                    <a:pt x="0" y="2"/>
                  </a:lnTo>
                  <a:lnTo>
                    <a:pt x="0" y="1"/>
                  </a:lnTo>
                  <a:lnTo>
                    <a:pt x="0" y="1"/>
                  </a:lnTo>
                  <a:lnTo>
                    <a:pt x="0" y="0"/>
                  </a:lnTo>
                  <a:lnTo>
                    <a:pt x="0" y="0"/>
                  </a:lnTo>
                  <a:lnTo>
                    <a:pt x="0" y="0"/>
                  </a:lnTo>
                  <a:lnTo>
                    <a:pt x="0" y="0"/>
                  </a:lnTo>
                  <a:lnTo>
                    <a:pt x="0" y="0"/>
                  </a:lnTo>
                  <a:lnTo>
                    <a:pt x="1" y="0"/>
                  </a:lnTo>
                  <a:lnTo>
                    <a:pt x="1" y="0"/>
                  </a:lnTo>
                  <a:lnTo>
                    <a:pt x="0" y="0"/>
                  </a:lnTo>
                  <a:lnTo>
                    <a:pt x="0" y="0"/>
                  </a:lnTo>
                  <a:lnTo>
                    <a:pt x="0" y="0"/>
                  </a:lnTo>
                  <a:lnTo>
                    <a:pt x="1" y="0"/>
                  </a:lnTo>
                  <a:lnTo>
                    <a:pt x="1" y="0"/>
                  </a:lnTo>
                  <a:lnTo>
                    <a:pt x="2" y="1"/>
                  </a:lnTo>
                  <a:lnTo>
                    <a:pt x="2" y="1"/>
                  </a:lnTo>
                  <a:lnTo>
                    <a:pt x="2" y="1"/>
                  </a:lnTo>
                  <a:lnTo>
                    <a:pt x="2" y="1"/>
                  </a:lnTo>
                  <a:lnTo>
                    <a:pt x="2" y="1"/>
                  </a:lnTo>
                  <a:lnTo>
                    <a:pt x="2" y="1"/>
                  </a:lnTo>
                  <a:lnTo>
                    <a:pt x="3" y="1"/>
                  </a:lnTo>
                  <a:lnTo>
                    <a:pt x="3" y="2"/>
                  </a:lnTo>
                  <a:lnTo>
                    <a:pt x="3"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34" name="Freeform 1399">
              <a:extLst>
                <a:ext uri="{FF2B5EF4-FFF2-40B4-BE49-F238E27FC236}">
                  <a16:creationId xmlns:a16="http://schemas.microsoft.com/office/drawing/2014/main" id="{FDA7FCAC-6ADE-412E-8D2C-0DB367301A9A}"/>
                </a:ext>
              </a:extLst>
            </p:cNvPr>
            <p:cNvSpPr>
              <a:spLocks/>
            </p:cNvSpPr>
            <p:nvPr/>
          </p:nvSpPr>
          <p:spPr bwMode="auto">
            <a:xfrm>
              <a:off x="6053493" y="2585964"/>
              <a:ext cx="4007" cy="1336"/>
            </a:xfrm>
            <a:custGeom>
              <a:avLst/>
              <a:gdLst>
                <a:gd name="T0" fmla="*/ 2 w 3"/>
                <a:gd name="T1" fmla="*/ 1 h 1"/>
                <a:gd name="T2" fmla="*/ 2 w 3"/>
                <a:gd name="T3" fmla="*/ 1 h 1"/>
                <a:gd name="T4" fmla="*/ 2 w 3"/>
                <a:gd name="T5" fmla="*/ 1 h 1"/>
                <a:gd name="T6" fmla="*/ 2 w 3"/>
                <a:gd name="T7" fmla="*/ 1 h 1"/>
                <a:gd name="T8" fmla="*/ 2 w 3"/>
                <a:gd name="T9" fmla="*/ 1 h 1"/>
                <a:gd name="T10" fmla="*/ 0 w 3"/>
                <a:gd name="T11" fmla="*/ 0 h 1"/>
                <a:gd name="T12" fmla="*/ 0 w 3"/>
                <a:gd name="T13" fmla="*/ 0 h 1"/>
                <a:gd name="T14" fmla="*/ 0 w 3"/>
                <a:gd name="T15" fmla="*/ 0 h 1"/>
                <a:gd name="T16" fmla="*/ 0 w 3"/>
                <a:gd name="T17" fmla="*/ 0 h 1"/>
                <a:gd name="T18" fmla="*/ 0 w 3"/>
                <a:gd name="T19" fmla="*/ 0 h 1"/>
                <a:gd name="T20" fmla="*/ 2 w 3"/>
                <a:gd name="T21" fmla="*/ 0 h 1"/>
                <a:gd name="T22" fmla="*/ 2 w 3"/>
                <a:gd name="T23" fmla="*/ 0 h 1"/>
                <a:gd name="T24" fmla="*/ 3 w 3"/>
                <a:gd name="T25" fmla="*/ 0 h 1"/>
                <a:gd name="T26" fmla="*/ 3 w 3"/>
                <a:gd name="T27" fmla="*/ 0 h 1"/>
                <a:gd name="T28" fmla="*/ 3 w 3"/>
                <a:gd name="T29" fmla="*/ 1 h 1"/>
                <a:gd name="T30" fmla="*/ 3 w 3"/>
                <a:gd name="T31" fmla="*/ 1 h 1"/>
                <a:gd name="T32" fmla="*/ 2 w 3"/>
                <a:gd name="T3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 h="1">
                  <a:moveTo>
                    <a:pt x="2" y="1"/>
                  </a:moveTo>
                  <a:lnTo>
                    <a:pt x="2" y="1"/>
                  </a:lnTo>
                  <a:lnTo>
                    <a:pt x="2" y="1"/>
                  </a:lnTo>
                  <a:lnTo>
                    <a:pt x="2" y="1"/>
                  </a:lnTo>
                  <a:lnTo>
                    <a:pt x="2" y="1"/>
                  </a:lnTo>
                  <a:lnTo>
                    <a:pt x="0" y="0"/>
                  </a:lnTo>
                  <a:lnTo>
                    <a:pt x="0" y="0"/>
                  </a:lnTo>
                  <a:lnTo>
                    <a:pt x="0" y="0"/>
                  </a:lnTo>
                  <a:lnTo>
                    <a:pt x="0" y="0"/>
                  </a:lnTo>
                  <a:lnTo>
                    <a:pt x="0" y="0"/>
                  </a:lnTo>
                  <a:lnTo>
                    <a:pt x="2" y="0"/>
                  </a:lnTo>
                  <a:lnTo>
                    <a:pt x="2" y="0"/>
                  </a:lnTo>
                  <a:lnTo>
                    <a:pt x="3" y="0"/>
                  </a:lnTo>
                  <a:lnTo>
                    <a:pt x="3" y="0"/>
                  </a:lnTo>
                  <a:lnTo>
                    <a:pt x="3" y="1"/>
                  </a:lnTo>
                  <a:lnTo>
                    <a:pt x="3" y="1"/>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35" name="Freeform 1400">
              <a:extLst>
                <a:ext uri="{FF2B5EF4-FFF2-40B4-BE49-F238E27FC236}">
                  <a16:creationId xmlns:a16="http://schemas.microsoft.com/office/drawing/2014/main" id="{A1A3AD44-378D-4AAE-A49C-C51CBF5B3B40}"/>
                </a:ext>
              </a:extLst>
            </p:cNvPr>
            <p:cNvSpPr>
              <a:spLocks/>
            </p:cNvSpPr>
            <p:nvPr/>
          </p:nvSpPr>
          <p:spPr bwMode="auto">
            <a:xfrm>
              <a:off x="5859847" y="2266783"/>
              <a:ext cx="13355" cy="4007"/>
            </a:xfrm>
            <a:custGeom>
              <a:avLst/>
              <a:gdLst>
                <a:gd name="T0" fmla="*/ 5 w 10"/>
                <a:gd name="T1" fmla="*/ 1 h 3"/>
                <a:gd name="T2" fmla="*/ 6 w 10"/>
                <a:gd name="T3" fmla="*/ 1 h 3"/>
                <a:gd name="T4" fmla="*/ 8 w 10"/>
                <a:gd name="T5" fmla="*/ 1 h 3"/>
                <a:gd name="T6" fmla="*/ 8 w 10"/>
                <a:gd name="T7" fmla="*/ 0 h 3"/>
                <a:gd name="T8" fmla="*/ 8 w 10"/>
                <a:gd name="T9" fmla="*/ 0 h 3"/>
                <a:gd name="T10" fmla="*/ 8 w 10"/>
                <a:gd name="T11" fmla="*/ 0 h 3"/>
                <a:gd name="T12" fmla="*/ 9 w 10"/>
                <a:gd name="T13" fmla="*/ 1 h 3"/>
                <a:gd name="T14" fmla="*/ 9 w 10"/>
                <a:gd name="T15" fmla="*/ 1 h 3"/>
                <a:gd name="T16" fmla="*/ 9 w 10"/>
                <a:gd name="T17" fmla="*/ 1 h 3"/>
                <a:gd name="T18" fmla="*/ 10 w 10"/>
                <a:gd name="T19" fmla="*/ 1 h 3"/>
                <a:gd name="T20" fmla="*/ 10 w 10"/>
                <a:gd name="T21" fmla="*/ 1 h 3"/>
                <a:gd name="T22" fmla="*/ 10 w 10"/>
                <a:gd name="T23" fmla="*/ 1 h 3"/>
                <a:gd name="T24" fmla="*/ 10 w 10"/>
                <a:gd name="T25" fmla="*/ 1 h 3"/>
                <a:gd name="T26" fmla="*/ 10 w 10"/>
                <a:gd name="T27" fmla="*/ 2 h 3"/>
                <a:gd name="T28" fmla="*/ 8 w 10"/>
                <a:gd name="T29" fmla="*/ 2 h 3"/>
                <a:gd name="T30" fmla="*/ 7 w 10"/>
                <a:gd name="T31" fmla="*/ 3 h 3"/>
                <a:gd name="T32" fmla="*/ 6 w 10"/>
                <a:gd name="T33" fmla="*/ 3 h 3"/>
                <a:gd name="T34" fmla="*/ 6 w 10"/>
                <a:gd name="T35" fmla="*/ 2 h 3"/>
                <a:gd name="T36" fmla="*/ 6 w 10"/>
                <a:gd name="T37" fmla="*/ 2 h 3"/>
                <a:gd name="T38" fmla="*/ 3 w 10"/>
                <a:gd name="T39" fmla="*/ 2 h 3"/>
                <a:gd name="T40" fmla="*/ 3 w 10"/>
                <a:gd name="T41" fmla="*/ 2 h 3"/>
                <a:gd name="T42" fmla="*/ 2 w 10"/>
                <a:gd name="T43" fmla="*/ 2 h 3"/>
                <a:gd name="T44" fmla="*/ 2 w 10"/>
                <a:gd name="T45" fmla="*/ 2 h 3"/>
                <a:gd name="T46" fmla="*/ 2 w 10"/>
                <a:gd name="T47" fmla="*/ 2 h 3"/>
                <a:gd name="T48" fmla="*/ 1 w 10"/>
                <a:gd name="T49" fmla="*/ 2 h 3"/>
                <a:gd name="T50" fmla="*/ 1 w 10"/>
                <a:gd name="T51" fmla="*/ 2 h 3"/>
                <a:gd name="T52" fmla="*/ 0 w 10"/>
                <a:gd name="T53" fmla="*/ 2 h 3"/>
                <a:gd name="T54" fmla="*/ 0 w 10"/>
                <a:gd name="T55" fmla="*/ 1 h 3"/>
                <a:gd name="T56" fmla="*/ 0 w 10"/>
                <a:gd name="T57" fmla="*/ 1 h 3"/>
                <a:gd name="T58" fmla="*/ 2 w 10"/>
                <a:gd name="T59" fmla="*/ 0 h 3"/>
                <a:gd name="T60" fmla="*/ 2 w 10"/>
                <a:gd name="T61" fmla="*/ 0 h 3"/>
                <a:gd name="T62" fmla="*/ 5 w 10"/>
                <a:gd name="T6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 h="3">
                  <a:moveTo>
                    <a:pt x="5" y="1"/>
                  </a:moveTo>
                  <a:lnTo>
                    <a:pt x="5" y="1"/>
                  </a:lnTo>
                  <a:lnTo>
                    <a:pt x="6" y="1"/>
                  </a:lnTo>
                  <a:lnTo>
                    <a:pt x="6" y="1"/>
                  </a:lnTo>
                  <a:lnTo>
                    <a:pt x="7" y="1"/>
                  </a:lnTo>
                  <a:lnTo>
                    <a:pt x="8" y="1"/>
                  </a:lnTo>
                  <a:lnTo>
                    <a:pt x="8" y="1"/>
                  </a:lnTo>
                  <a:lnTo>
                    <a:pt x="8" y="0"/>
                  </a:lnTo>
                  <a:lnTo>
                    <a:pt x="8" y="0"/>
                  </a:lnTo>
                  <a:lnTo>
                    <a:pt x="8" y="0"/>
                  </a:lnTo>
                  <a:lnTo>
                    <a:pt x="8" y="0"/>
                  </a:lnTo>
                  <a:lnTo>
                    <a:pt x="8" y="0"/>
                  </a:lnTo>
                  <a:lnTo>
                    <a:pt x="8" y="0"/>
                  </a:lnTo>
                  <a:lnTo>
                    <a:pt x="9" y="1"/>
                  </a:lnTo>
                  <a:lnTo>
                    <a:pt x="9" y="1"/>
                  </a:lnTo>
                  <a:lnTo>
                    <a:pt x="9" y="1"/>
                  </a:lnTo>
                  <a:lnTo>
                    <a:pt x="9" y="1"/>
                  </a:lnTo>
                  <a:lnTo>
                    <a:pt x="9" y="1"/>
                  </a:lnTo>
                  <a:lnTo>
                    <a:pt x="9" y="1"/>
                  </a:lnTo>
                  <a:lnTo>
                    <a:pt x="10" y="1"/>
                  </a:lnTo>
                  <a:lnTo>
                    <a:pt x="10" y="1"/>
                  </a:lnTo>
                  <a:lnTo>
                    <a:pt x="10" y="1"/>
                  </a:lnTo>
                  <a:lnTo>
                    <a:pt x="10" y="1"/>
                  </a:lnTo>
                  <a:lnTo>
                    <a:pt x="10" y="1"/>
                  </a:lnTo>
                  <a:lnTo>
                    <a:pt x="10" y="1"/>
                  </a:lnTo>
                  <a:lnTo>
                    <a:pt x="10" y="1"/>
                  </a:lnTo>
                  <a:lnTo>
                    <a:pt x="10" y="1"/>
                  </a:lnTo>
                  <a:lnTo>
                    <a:pt x="10" y="2"/>
                  </a:lnTo>
                  <a:lnTo>
                    <a:pt x="9" y="2"/>
                  </a:lnTo>
                  <a:lnTo>
                    <a:pt x="8" y="2"/>
                  </a:lnTo>
                  <a:lnTo>
                    <a:pt x="8" y="3"/>
                  </a:lnTo>
                  <a:lnTo>
                    <a:pt x="7" y="3"/>
                  </a:lnTo>
                  <a:lnTo>
                    <a:pt x="6" y="3"/>
                  </a:lnTo>
                  <a:lnTo>
                    <a:pt x="6" y="3"/>
                  </a:lnTo>
                  <a:lnTo>
                    <a:pt x="6" y="3"/>
                  </a:lnTo>
                  <a:lnTo>
                    <a:pt x="6" y="2"/>
                  </a:lnTo>
                  <a:lnTo>
                    <a:pt x="6" y="2"/>
                  </a:lnTo>
                  <a:lnTo>
                    <a:pt x="6" y="2"/>
                  </a:lnTo>
                  <a:lnTo>
                    <a:pt x="6" y="2"/>
                  </a:lnTo>
                  <a:lnTo>
                    <a:pt x="3" y="2"/>
                  </a:lnTo>
                  <a:lnTo>
                    <a:pt x="3" y="2"/>
                  </a:lnTo>
                  <a:lnTo>
                    <a:pt x="3" y="2"/>
                  </a:lnTo>
                  <a:lnTo>
                    <a:pt x="2" y="2"/>
                  </a:lnTo>
                  <a:lnTo>
                    <a:pt x="2" y="2"/>
                  </a:lnTo>
                  <a:lnTo>
                    <a:pt x="2" y="2"/>
                  </a:lnTo>
                  <a:lnTo>
                    <a:pt x="2" y="2"/>
                  </a:lnTo>
                  <a:lnTo>
                    <a:pt x="2" y="2"/>
                  </a:lnTo>
                  <a:lnTo>
                    <a:pt x="2" y="2"/>
                  </a:lnTo>
                  <a:lnTo>
                    <a:pt x="2" y="2"/>
                  </a:lnTo>
                  <a:lnTo>
                    <a:pt x="1" y="2"/>
                  </a:lnTo>
                  <a:lnTo>
                    <a:pt x="1" y="2"/>
                  </a:lnTo>
                  <a:lnTo>
                    <a:pt x="1" y="2"/>
                  </a:lnTo>
                  <a:lnTo>
                    <a:pt x="1" y="2"/>
                  </a:lnTo>
                  <a:lnTo>
                    <a:pt x="0" y="2"/>
                  </a:lnTo>
                  <a:lnTo>
                    <a:pt x="0" y="2"/>
                  </a:lnTo>
                  <a:lnTo>
                    <a:pt x="0" y="1"/>
                  </a:lnTo>
                  <a:lnTo>
                    <a:pt x="0" y="1"/>
                  </a:lnTo>
                  <a:lnTo>
                    <a:pt x="0" y="1"/>
                  </a:lnTo>
                  <a:lnTo>
                    <a:pt x="0" y="1"/>
                  </a:lnTo>
                  <a:lnTo>
                    <a:pt x="2" y="0"/>
                  </a:lnTo>
                  <a:lnTo>
                    <a:pt x="2" y="0"/>
                  </a:lnTo>
                  <a:lnTo>
                    <a:pt x="2" y="0"/>
                  </a:lnTo>
                  <a:lnTo>
                    <a:pt x="3" y="0"/>
                  </a:lnTo>
                  <a:lnTo>
                    <a:pt x="5" y="1"/>
                  </a:lnTo>
                  <a:lnTo>
                    <a:pt x="5"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36" name="Freeform 1401">
              <a:extLst>
                <a:ext uri="{FF2B5EF4-FFF2-40B4-BE49-F238E27FC236}">
                  <a16:creationId xmlns:a16="http://schemas.microsoft.com/office/drawing/2014/main" id="{CE472212-34B3-4FD4-9CDB-5C227896A008}"/>
                </a:ext>
              </a:extLst>
            </p:cNvPr>
            <p:cNvSpPr>
              <a:spLocks/>
            </p:cNvSpPr>
            <p:nvPr/>
          </p:nvSpPr>
          <p:spPr bwMode="auto">
            <a:xfrm>
              <a:off x="5866525" y="2260105"/>
              <a:ext cx="5342" cy="1336"/>
            </a:xfrm>
            <a:custGeom>
              <a:avLst/>
              <a:gdLst>
                <a:gd name="T0" fmla="*/ 3 w 4"/>
                <a:gd name="T1" fmla="*/ 0 h 1"/>
                <a:gd name="T2" fmla="*/ 3 w 4"/>
                <a:gd name="T3" fmla="*/ 0 h 1"/>
                <a:gd name="T4" fmla="*/ 3 w 4"/>
                <a:gd name="T5" fmla="*/ 0 h 1"/>
                <a:gd name="T6" fmla="*/ 3 w 4"/>
                <a:gd name="T7" fmla="*/ 1 h 1"/>
                <a:gd name="T8" fmla="*/ 4 w 4"/>
                <a:gd name="T9" fmla="*/ 1 h 1"/>
                <a:gd name="T10" fmla="*/ 4 w 4"/>
                <a:gd name="T11" fmla="*/ 1 h 1"/>
                <a:gd name="T12" fmla="*/ 4 w 4"/>
                <a:gd name="T13" fmla="*/ 1 h 1"/>
                <a:gd name="T14" fmla="*/ 4 w 4"/>
                <a:gd name="T15" fmla="*/ 1 h 1"/>
                <a:gd name="T16" fmla="*/ 4 w 4"/>
                <a:gd name="T17" fmla="*/ 1 h 1"/>
                <a:gd name="T18" fmla="*/ 3 w 4"/>
                <a:gd name="T19" fmla="*/ 1 h 1"/>
                <a:gd name="T20" fmla="*/ 3 w 4"/>
                <a:gd name="T21" fmla="*/ 1 h 1"/>
                <a:gd name="T22" fmla="*/ 2 w 4"/>
                <a:gd name="T23" fmla="*/ 1 h 1"/>
                <a:gd name="T24" fmla="*/ 2 w 4"/>
                <a:gd name="T25" fmla="*/ 1 h 1"/>
                <a:gd name="T26" fmla="*/ 2 w 4"/>
                <a:gd name="T27" fmla="*/ 1 h 1"/>
                <a:gd name="T28" fmla="*/ 2 w 4"/>
                <a:gd name="T29" fmla="*/ 1 h 1"/>
                <a:gd name="T30" fmla="*/ 2 w 4"/>
                <a:gd name="T31" fmla="*/ 1 h 1"/>
                <a:gd name="T32" fmla="*/ 2 w 4"/>
                <a:gd name="T33" fmla="*/ 1 h 1"/>
                <a:gd name="T34" fmla="*/ 1 w 4"/>
                <a:gd name="T35" fmla="*/ 1 h 1"/>
                <a:gd name="T36" fmla="*/ 1 w 4"/>
                <a:gd name="T37" fmla="*/ 1 h 1"/>
                <a:gd name="T38" fmla="*/ 1 w 4"/>
                <a:gd name="T39" fmla="*/ 0 h 1"/>
                <a:gd name="T40" fmla="*/ 1 w 4"/>
                <a:gd name="T41" fmla="*/ 0 h 1"/>
                <a:gd name="T42" fmla="*/ 1 w 4"/>
                <a:gd name="T43" fmla="*/ 0 h 1"/>
                <a:gd name="T44" fmla="*/ 1 w 4"/>
                <a:gd name="T45" fmla="*/ 1 h 1"/>
                <a:gd name="T46" fmla="*/ 0 w 4"/>
                <a:gd name="T47" fmla="*/ 1 h 1"/>
                <a:gd name="T48" fmla="*/ 0 w 4"/>
                <a:gd name="T49" fmla="*/ 1 h 1"/>
                <a:gd name="T50" fmla="*/ 0 w 4"/>
                <a:gd name="T51" fmla="*/ 1 h 1"/>
                <a:gd name="T52" fmla="*/ 0 w 4"/>
                <a:gd name="T53" fmla="*/ 0 h 1"/>
                <a:gd name="T54" fmla="*/ 0 w 4"/>
                <a:gd name="T55" fmla="*/ 0 h 1"/>
                <a:gd name="T56" fmla="*/ 0 w 4"/>
                <a:gd name="T57" fmla="*/ 0 h 1"/>
                <a:gd name="T58" fmla="*/ 1 w 4"/>
                <a:gd name="T59" fmla="*/ 0 h 1"/>
                <a:gd name="T60" fmla="*/ 1 w 4"/>
                <a:gd name="T61" fmla="*/ 0 h 1"/>
                <a:gd name="T62" fmla="*/ 1 w 4"/>
                <a:gd name="T63" fmla="*/ 0 h 1"/>
                <a:gd name="T64" fmla="*/ 1 w 4"/>
                <a:gd name="T65" fmla="*/ 0 h 1"/>
                <a:gd name="T66" fmla="*/ 2 w 4"/>
                <a:gd name="T67" fmla="*/ 0 h 1"/>
                <a:gd name="T68" fmla="*/ 2 w 4"/>
                <a:gd name="T69" fmla="*/ 0 h 1"/>
                <a:gd name="T70" fmla="*/ 3 w 4"/>
                <a:gd name="T71" fmla="*/ 0 h 1"/>
                <a:gd name="T72" fmla="*/ 3 w 4"/>
                <a:gd name="T7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 h="1">
                  <a:moveTo>
                    <a:pt x="3" y="0"/>
                  </a:moveTo>
                  <a:lnTo>
                    <a:pt x="3" y="0"/>
                  </a:lnTo>
                  <a:lnTo>
                    <a:pt x="3" y="0"/>
                  </a:lnTo>
                  <a:lnTo>
                    <a:pt x="3" y="1"/>
                  </a:lnTo>
                  <a:lnTo>
                    <a:pt x="4" y="1"/>
                  </a:lnTo>
                  <a:lnTo>
                    <a:pt x="4" y="1"/>
                  </a:lnTo>
                  <a:lnTo>
                    <a:pt x="4" y="1"/>
                  </a:lnTo>
                  <a:lnTo>
                    <a:pt x="4" y="1"/>
                  </a:lnTo>
                  <a:lnTo>
                    <a:pt x="4" y="1"/>
                  </a:lnTo>
                  <a:lnTo>
                    <a:pt x="3" y="1"/>
                  </a:lnTo>
                  <a:lnTo>
                    <a:pt x="3" y="1"/>
                  </a:lnTo>
                  <a:lnTo>
                    <a:pt x="2" y="1"/>
                  </a:lnTo>
                  <a:lnTo>
                    <a:pt x="2" y="1"/>
                  </a:lnTo>
                  <a:lnTo>
                    <a:pt x="2" y="1"/>
                  </a:lnTo>
                  <a:lnTo>
                    <a:pt x="2" y="1"/>
                  </a:lnTo>
                  <a:lnTo>
                    <a:pt x="2" y="1"/>
                  </a:lnTo>
                  <a:lnTo>
                    <a:pt x="2" y="1"/>
                  </a:lnTo>
                  <a:lnTo>
                    <a:pt x="1" y="1"/>
                  </a:lnTo>
                  <a:lnTo>
                    <a:pt x="1" y="1"/>
                  </a:lnTo>
                  <a:lnTo>
                    <a:pt x="1" y="0"/>
                  </a:lnTo>
                  <a:lnTo>
                    <a:pt x="1" y="0"/>
                  </a:lnTo>
                  <a:lnTo>
                    <a:pt x="1" y="0"/>
                  </a:lnTo>
                  <a:lnTo>
                    <a:pt x="1" y="1"/>
                  </a:lnTo>
                  <a:lnTo>
                    <a:pt x="0" y="1"/>
                  </a:lnTo>
                  <a:lnTo>
                    <a:pt x="0" y="1"/>
                  </a:lnTo>
                  <a:lnTo>
                    <a:pt x="0" y="1"/>
                  </a:lnTo>
                  <a:lnTo>
                    <a:pt x="0" y="0"/>
                  </a:lnTo>
                  <a:lnTo>
                    <a:pt x="0" y="0"/>
                  </a:lnTo>
                  <a:lnTo>
                    <a:pt x="0" y="0"/>
                  </a:lnTo>
                  <a:lnTo>
                    <a:pt x="1" y="0"/>
                  </a:lnTo>
                  <a:lnTo>
                    <a:pt x="1" y="0"/>
                  </a:lnTo>
                  <a:lnTo>
                    <a:pt x="1" y="0"/>
                  </a:lnTo>
                  <a:lnTo>
                    <a:pt x="1" y="0"/>
                  </a:lnTo>
                  <a:lnTo>
                    <a:pt x="2" y="0"/>
                  </a:lnTo>
                  <a:lnTo>
                    <a:pt x="2" y="0"/>
                  </a:lnTo>
                  <a:lnTo>
                    <a:pt x="3" y="0"/>
                  </a:lnTo>
                  <a:lnTo>
                    <a:pt x="3"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37" name="Freeform 1402">
              <a:extLst>
                <a:ext uri="{FF2B5EF4-FFF2-40B4-BE49-F238E27FC236}">
                  <a16:creationId xmlns:a16="http://schemas.microsoft.com/office/drawing/2014/main" id="{2253B6F1-1777-4C59-BDBC-FE021D81A4DE}"/>
                </a:ext>
              </a:extLst>
            </p:cNvPr>
            <p:cNvSpPr>
              <a:spLocks/>
            </p:cNvSpPr>
            <p:nvPr/>
          </p:nvSpPr>
          <p:spPr bwMode="auto">
            <a:xfrm>
              <a:off x="5887893" y="2242744"/>
              <a:ext cx="12020" cy="6678"/>
            </a:xfrm>
            <a:custGeom>
              <a:avLst/>
              <a:gdLst>
                <a:gd name="T0" fmla="*/ 8 w 9"/>
                <a:gd name="T1" fmla="*/ 0 h 5"/>
                <a:gd name="T2" fmla="*/ 9 w 9"/>
                <a:gd name="T3" fmla="*/ 1 h 5"/>
                <a:gd name="T4" fmla="*/ 9 w 9"/>
                <a:gd name="T5" fmla="*/ 1 h 5"/>
                <a:gd name="T6" fmla="*/ 8 w 9"/>
                <a:gd name="T7" fmla="*/ 1 h 5"/>
                <a:gd name="T8" fmla="*/ 8 w 9"/>
                <a:gd name="T9" fmla="*/ 1 h 5"/>
                <a:gd name="T10" fmla="*/ 8 w 9"/>
                <a:gd name="T11" fmla="*/ 3 h 5"/>
                <a:gd name="T12" fmla="*/ 8 w 9"/>
                <a:gd name="T13" fmla="*/ 3 h 5"/>
                <a:gd name="T14" fmla="*/ 8 w 9"/>
                <a:gd name="T15" fmla="*/ 3 h 5"/>
                <a:gd name="T16" fmla="*/ 7 w 9"/>
                <a:gd name="T17" fmla="*/ 3 h 5"/>
                <a:gd name="T18" fmla="*/ 7 w 9"/>
                <a:gd name="T19" fmla="*/ 3 h 5"/>
                <a:gd name="T20" fmla="*/ 7 w 9"/>
                <a:gd name="T21" fmla="*/ 3 h 5"/>
                <a:gd name="T22" fmla="*/ 6 w 9"/>
                <a:gd name="T23" fmla="*/ 3 h 5"/>
                <a:gd name="T24" fmla="*/ 6 w 9"/>
                <a:gd name="T25" fmla="*/ 4 h 5"/>
                <a:gd name="T26" fmla="*/ 6 w 9"/>
                <a:gd name="T27" fmla="*/ 4 h 5"/>
                <a:gd name="T28" fmla="*/ 6 w 9"/>
                <a:gd name="T29" fmla="*/ 4 h 5"/>
                <a:gd name="T30" fmla="*/ 6 w 9"/>
                <a:gd name="T31" fmla="*/ 4 h 5"/>
                <a:gd name="T32" fmla="*/ 5 w 9"/>
                <a:gd name="T33" fmla="*/ 4 h 5"/>
                <a:gd name="T34" fmla="*/ 6 w 9"/>
                <a:gd name="T35" fmla="*/ 4 h 5"/>
                <a:gd name="T36" fmla="*/ 6 w 9"/>
                <a:gd name="T37" fmla="*/ 5 h 5"/>
                <a:gd name="T38" fmla="*/ 5 w 9"/>
                <a:gd name="T39" fmla="*/ 5 h 5"/>
                <a:gd name="T40" fmla="*/ 5 w 9"/>
                <a:gd name="T41" fmla="*/ 5 h 5"/>
                <a:gd name="T42" fmla="*/ 3 w 9"/>
                <a:gd name="T43" fmla="*/ 5 h 5"/>
                <a:gd name="T44" fmla="*/ 3 w 9"/>
                <a:gd name="T45" fmla="*/ 5 h 5"/>
                <a:gd name="T46" fmla="*/ 2 w 9"/>
                <a:gd name="T47" fmla="*/ 4 h 5"/>
                <a:gd name="T48" fmla="*/ 2 w 9"/>
                <a:gd name="T49" fmla="*/ 4 h 5"/>
                <a:gd name="T50" fmla="*/ 1 w 9"/>
                <a:gd name="T51" fmla="*/ 4 h 5"/>
                <a:gd name="T52" fmla="*/ 1 w 9"/>
                <a:gd name="T53" fmla="*/ 4 h 5"/>
                <a:gd name="T54" fmla="*/ 1 w 9"/>
                <a:gd name="T55" fmla="*/ 4 h 5"/>
                <a:gd name="T56" fmla="*/ 0 w 9"/>
                <a:gd name="T57" fmla="*/ 4 h 5"/>
                <a:gd name="T58" fmla="*/ 0 w 9"/>
                <a:gd name="T59" fmla="*/ 4 h 5"/>
                <a:gd name="T60" fmla="*/ 0 w 9"/>
                <a:gd name="T61" fmla="*/ 4 h 5"/>
                <a:gd name="T62" fmla="*/ 0 w 9"/>
                <a:gd name="T63" fmla="*/ 3 h 5"/>
                <a:gd name="T64" fmla="*/ 0 w 9"/>
                <a:gd name="T65" fmla="*/ 3 h 5"/>
                <a:gd name="T66" fmla="*/ 1 w 9"/>
                <a:gd name="T67" fmla="*/ 3 h 5"/>
                <a:gd name="T68" fmla="*/ 1 w 9"/>
                <a:gd name="T69" fmla="*/ 3 h 5"/>
                <a:gd name="T70" fmla="*/ 2 w 9"/>
                <a:gd name="T71" fmla="*/ 3 h 5"/>
                <a:gd name="T72" fmla="*/ 3 w 9"/>
                <a:gd name="T73" fmla="*/ 1 h 5"/>
                <a:gd name="T74" fmla="*/ 3 w 9"/>
                <a:gd name="T75" fmla="*/ 1 h 5"/>
                <a:gd name="T76" fmla="*/ 3 w 9"/>
                <a:gd name="T77" fmla="*/ 1 h 5"/>
                <a:gd name="T78" fmla="*/ 3 w 9"/>
                <a:gd name="T79" fmla="*/ 1 h 5"/>
                <a:gd name="T80" fmla="*/ 5 w 9"/>
                <a:gd name="T81" fmla="*/ 0 h 5"/>
                <a:gd name="T82" fmla="*/ 5 w 9"/>
                <a:gd name="T83" fmla="*/ 0 h 5"/>
                <a:gd name="T84" fmla="*/ 5 w 9"/>
                <a:gd name="T85" fmla="*/ 0 h 5"/>
                <a:gd name="T86" fmla="*/ 5 w 9"/>
                <a:gd name="T87" fmla="*/ 0 h 5"/>
                <a:gd name="T88" fmla="*/ 6 w 9"/>
                <a:gd name="T89" fmla="*/ 0 h 5"/>
                <a:gd name="T90" fmla="*/ 6 w 9"/>
                <a:gd name="T91" fmla="*/ 0 h 5"/>
                <a:gd name="T92" fmla="*/ 6 w 9"/>
                <a:gd name="T93" fmla="*/ 0 h 5"/>
                <a:gd name="T94" fmla="*/ 6 w 9"/>
                <a:gd name="T95" fmla="*/ 0 h 5"/>
                <a:gd name="T96" fmla="*/ 7 w 9"/>
                <a:gd name="T97" fmla="*/ 0 h 5"/>
                <a:gd name="T98" fmla="*/ 8 w 9"/>
                <a:gd name="T9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 h="5">
                  <a:moveTo>
                    <a:pt x="8" y="0"/>
                  </a:moveTo>
                  <a:lnTo>
                    <a:pt x="9" y="1"/>
                  </a:lnTo>
                  <a:lnTo>
                    <a:pt x="9" y="1"/>
                  </a:lnTo>
                  <a:lnTo>
                    <a:pt x="8" y="1"/>
                  </a:lnTo>
                  <a:lnTo>
                    <a:pt x="8" y="1"/>
                  </a:lnTo>
                  <a:lnTo>
                    <a:pt x="8" y="3"/>
                  </a:lnTo>
                  <a:lnTo>
                    <a:pt x="8" y="3"/>
                  </a:lnTo>
                  <a:lnTo>
                    <a:pt x="8" y="3"/>
                  </a:lnTo>
                  <a:lnTo>
                    <a:pt x="7" y="3"/>
                  </a:lnTo>
                  <a:lnTo>
                    <a:pt x="7" y="3"/>
                  </a:lnTo>
                  <a:lnTo>
                    <a:pt x="7" y="3"/>
                  </a:lnTo>
                  <a:lnTo>
                    <a:pt x="6" y="3"/>
                  </a:lnTo>
                  <a:lnTo>
                    <a:pt x="6" y="4"/>
                  </a:lnTo>
                  <a:lnTo>
                    <a:pt x="6" y="4"/>
                  </a:lnTo>
                  <a:lnTo>
                    <a:pt x="6" y="4"/>
                  </a:lnTo>
                  <a:lnTo>
                    <a:pt x="6" y="4"/>
                  </a:lnTo>
                  <a:lnTo>
                    <a:pt x="5" y="4"/>
                  </a:lnTo>
                  <a:lnTo>
                    <a:pt x="6" y="4"/>
                  </a:lnTo>
                  <a:lnTo>
                    <a:pt x="6" y="5"/>
                  </a:lnTo>
                  <a:lnTo>
                    <a:pt x="5" y="5"/>
                  </a:lnTo>
                  <a:lnTo>
                    <a:pt x="5" y="5"/>
                  </a:lnTo>
                  <a:lnTo>
                    <a:pt x="3" y="5"/>
                  </a:lnTo>
                  <a:lnTo>
                    <a:pt x="3" y="5"/>
                  </a:lnTo>
                  <a:lnTo>
                    <a:pt x="2" y="4"/>
                  </a:lnTo>
                  <a:lnTo>
                    <a:pt x="2" y="4"/>
                  </a:lnTo>
                  <a:lnTo>
                    <a:pt x="1" y="4"/>
                  </a:lnTo>
                  <a:lnTo>
                    <a:pt x="1" y="4"/>
                  </a:lnTo>
                  <a:lnTo>
                    <a:pt x="1" y="4"/>
                  </a:lnTo>
                  <a:lnTo>
                    <a:pt x="0" y="4"/>
                  </a:lnTo>
                  <a:lnTo>
                    <a:pt x="0" y="4"/>
                  </a:lnTo>
                  <a:lnTo>
                    <a:pt x="0" y="4"/>
                  </a:lnTo>
                  <a:lnTo>
                    <a:pt x="0" y="3"/>
                  </a:lnTo>
                  <a:lnTo>
                    <a:pt x="0" y="3"/>
                  </a:lnTo>
                  <a:lnTo>
                    <a:pt x="1" y="3"/>
                  </a:lnTo>
                  <a:lnTo>
                    <a:pt x="1" y="3"/>
                  </a:lnTo>
                  <a:lnTo>
                    <a:pt x="2" y="3"/>
                  </a:lnTo>
                  <a:lnTo>
                    <a:pt x="3" y="1"/>
                  </a:lnTo>
                  <a:lnTo>
                    <a:pt x="3" y="1"/>
                  </a:lnTo>
                  <a:lnTo>
                    <a:pt x="3" y="1"/>
                  </a:lnTo>
                  <a:lnTo>
                    <a:pt x="3" y="1"/>
                  </a:lnTo>
                  <a:lnTo>
                    <a:pt x="5" y="0"/>
                  </a:lnTo>
                  <a:lnTo>
                    <a:pt x="5" y="0"/>
                  </a:lnTo>
                  <a:lnTo>
                    <a:pt x="5" y="0"/>
                  </a:lnTo>
                  <a:lnTo>
                    <a:pt x="5" y="0"/>
                  </a:lnTo>
                  <a:lnTo>
                    <a:pt x="6" y="0"/>
                  </a:lnTo>
                  <a:lnTo>
                    <a:pt x="6" y="0"/>
                  </a:lnTo>
                  <a:lnTo>
                    <a:pt x="6" y="0"/>
                  </a:lnTo>
                  <a:lnTo>
                    <a:pt x="6" y="0"/>
                  </a:lnTo>
                  <a:lnTo>
                    <a:pt x="7" y="0"/>
                  </a:lnTo>
                  <a:lnTo>
                    <a:pt x="8"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38" name="Freeform 1403">
              <a:extLst>
                <a:ext uri="{FF2B5EF4-FFF2-40B4-BE49-F238E27FC236}">
                  <a16:creationId xmlns:a16="http://schemas.microsoft.com/office/drawing/2014/main" id="{D2DE968C-79F3-4444-AE4D-7EBDF1BD7E7C}"/>
                </a:ext>
              </a:extLst>
            </p:cNvPr>
            <p:cNvSpPr>
              <a:spLocks/>
            </p:cNvSpPr>
            <p:nvPr/>
          </p:nvSpPr>
          <p:spPr bwMode="auto">
            <a:xfrm>
              <a:off x="5881215" y="2230724"/>
              <a:ext cx="4007" cy="4007"/>
            </a:xfrm>
            <a:custGeom>
              <a:avLst/>
              <a:gdLst>
                <a:gd name="T0" fmla="*/ 3 w 3"/>
                <a:gd name="T1" fmla="*/ 1 h 3"/>
                <a:gd name="T2" fmla="*/ 3 w 3"/>
                <a:gd name="T3" fmla="*/ 1 h 3"/>
                <a:gd name="T4" fmla="*/ 3 w 3"/>
                <a:gd name="T5" fmla="*/ 1 h 3"/>
                <a:gd name="T6" fmla="*/ 3 w 3"/>
                <a:gd name="T7" fmla="*/ 1 h 3"/>
                <a:gd name="T8" fmla="*/ 3 w 3"/>
                <a:gd name="T9" fmla="*/ 2 h 3"/>
                <a:gd name="T10" fmla="*/ 1 w 3"/>
                <a:gd name="T11" fmla="*/ 2 h 3"/>
                <a:gd name="T12" fmla="*/ 1 w 3"/>
                <a:gd name="T13" fmla="*/ 2 h 3"/>
                <a:gd name="T14" fmla="*/ 1 w 3"/>
                <a:gd name="T15" fmla="*/ 2 h 3"/>
                <a:gd name="T16" fmla="*/ 0 w 3"/>
                <a:gd name="T17" fmla="*/ 3 h 3"/>
                <a:gd name="T18" fmla="*/ 0 w 3"/>
                <a:gd name="T19" fmla="*/ 2 h 3"/>
                <a:gd name="T20" fmla="*/ 0 w 3"/>
                <a:gd name="T21" fmla="*/ 2 h 3"/>
                <a:gd name="T22" fmla="*/ 0 w 3"/>
                <a:gd name="T23" fmla="*/ 2 h 3"/>
                <a:gd name="T24" fmla="*/ 0 w 3"/>
                <a:gd name="T25" fmla="*/ 1 h 3"/>
                <a:gd name="T26" fmla="*/ 0 w 3"/>
                <a:gd name="T27" fmla="*/ 1 h 3"/>
                <a:gd name="T28" fmla="*/ 1 w 3"/>
                <a:gd name="T29" fmla="*/ 1 h 3"/>
                <a:gd name="T30" fmla="*/ 1 w 3"/>
                <a:gd name="T31" fmla="*/ 0 h 3"/>
                <a:gd name="T32" fmla="*/ 1 w 3"/>
                <a:gd name="T33" fmla="*/ 0 h 3"/>
                <a:gd name="T34" fmla="*/ 1 w 3"/>
                <a:gd name="T35" fmla="*/ 0 h 3"/>
                <a:gd name="T36" fmla="*/ 1 w 3"/>
                <a:gd name="T37" fmla="*/ 0 h 3"/>
                <a:gd name="T38" fmla="*/ 1 w 3"/>
                <a:gd name="T39" fmla="*/ 0 h 3"/>
                <a:gd name="T40" fmla="*/ 1 w 3"/>
                <a:gd name="T41" fmla="*/ 0 h 3"/>
                <a:gd name="T42" fmla="*/ 1 w 3"/>
                <a:gd name="T43" fmla="*/ 0 h 3"/>
                <a:gd name="T44" fmla="*/ 3 w 3"/>
                <a:gd name="T45" fmla="*/ 1 h 3"/>
                <a:gd name="T46" fmla="*/ 3 w 3"/>
                <a:gd name="T47" fmla="*/ 1 h 3"/>
                <a:gd name="T48" fmla="*/ 3 w 3"/>
                <a:gd name="T49" fmla="*/ 1 h 3"/>
                <a:gd name="T50" fmla="*/ 3 w 3"/>
                <a:gd name="T5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 h="3">
                  <a:moveTo>
                    <a:pt x="3" y="1"/>
                  </a:moveTo>
                  <a:lnTo>
                    <a:pt x="3" y="1"/>
                  </a:lnTo>
                  <a:lnTo>
                    <a:pt x="3" y="1"/>
                  </a:lnTo>
                  <a:lnTo>
                    <a:pt x="3" y="1"/>
                  </a:lnTo>
                  <a:lnTo>
                    <a:pt x="3" y="2"/>
                  </a:lnTo>
                  <a:lnTo>
                    <a:pt x="1" y="2"/>
                  </a:lnTo>
                  <a:lnTo>
                    <a:pt x="1" y="2"/>
                  </a:lnTo>
                  <a:lnTo>
                    <a:pt x="1" y="2"/>
                  </a:lnTo>
                  <a:lnTo>
                    <a:pt x="0" y="3"/>
                  </a:lnTo>
                  <a:lnTo>
                    <a:pt x="0" y="2"/>
                  </a:lnTo>
                  <a:lnTo>
                    <a:pt x="0" y="2"/>
                  </a:lnTo>
                  <a:lnTo>
                    <a:pt x="0" y="2"/>
                  </a:lnTo>
                  <a:lnTo>
                    <a:pt x="0" y="1"/>
                  </a:lnTo>
                  <a:lnTo>
                    <a:pt x="0" y="1"/>
                  </a:lnTo>
                  <a:lnTo>
                    <a:pt x="1" y="1"/>
                  </a:lnTo>
                  <a:lnTo>
                    <a:pt x="1" y="0"/>
                  </a:lnTo>
                  <a:lnTo>
                    <a:pt x="1" y="0"/>
                  </a:lnTo>
                  <a:lnTo>
                    <a:pt x="1" y="0"/>
                  </a:lnTo>
                  <a:lnTo>
                    <a:pt x="1" y="0"/>
                  </a:lnTo>
                  <a:lnTo>
                    <a:pt x="1" y="0"/>
                  </a:lnTo>
                  <a:lnTo>
                    <a:pt x="1" y="0"/>
                  </a:lnTo>
                  <a:lnTo>
                    <a:pt x="1" y="0"/>
                  </a:lnTo>
                  <a:lnTo>
                    <a:pt x="3" y="1"/>
                  </a:lnTo>
                  <a:lnTo>
                    <a:pt x="3" y="1"/>
                  </a:lnTo>
                  <a:lnTo>
                    <a:pt x="3" y="1"/>
                  </a:lnTo>
                  <a:lnTo>
                    <a:pt x="3"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39" name="Freeform 1404">
              <a:extLst>
                <a:ext uri="{FF2B5EF4-FFF2-40B4-BE49-F238E27FC236}">
                  <a16:creationId xmlns:a16="http://schemas.microsoft.com/office/drawing/2014/main" id="{EAEF0800-1977-4805-A736-06B69E8CCAAC}"/>
                </a:ext>
              </a:extLst>
            </p:cNvPr>
            <p:cNvSpPr>
              <a:spLocks/>
            </p:cNvSpPr>
            <p:nvPr/>
          </p:nvSpPr>
          <p:spPr bwMode="auto">
            <a:xfrm>
              <a:off x="5882551" y="2228053"/>
              <a:ext cx="5342" cy="2671"/>
            </a:xfrm>
            <a:custGeom>
              <a:avLst/>
              <a:gdLst>
                <a:gd name="T0" fmla="*/ 2 w 4"/>
                <a:gd name="T1" fmla="*/ 2 h 2"/>
                <a:gd name="T2" fmla="*/ 2 w 4"/>
                <a:gd name="T3" fmla="*/ 2 h 2"/>
                <a:gd name="T4" fmla="*/ 0 w 4"/>
                <a:gd name="T5" fmla="*/ 2 h 2"/>
                <a:gd name="T6" fmla="*/ 2 w 4"/>
                <a:gd name="T7" fmla="*/ 1 h 2"/>
                <a:gd name="T8" fmla="*/ 2 w 4"/>
                <a:gd name="T9" fmla="*/ 1 h 2"/>
                <a:gd name="T10" fmla="*/ 3 w 4"/>
                <a:gd name="T11" fmla="*/ 0 h 2"/>
                <a:gd name="T12" fmla="*/ 4 w 4"/>
                <a:gd name="T13" fmla="*/ 0 h 2"/>
                <a:gd name="T14" fmla="*/ 4 w 4"/>
                <a:gd name="T15" fmla="*/ 1 h 2"/>
                <a:gd name="T16" fmla="*/ 3 w 4"/>
                <a:gd name="T17" fmla="*/ 1 h 2"/>
                <a:gd name="T18" fmla="*/ 3 w 4"/>
                <a:gd name="T19" fmla="*/ 1 h 2"/>
                <a:gd name="T20" fmla="*/ 3 w 4"/>
                <a:gd name="T21" fmla="*/ 1 h 2"/>
                <a:gd name="T22" fmla="*/ 2 w 4"/>
                <a:gd name="T23" fmla="*/ 1 h 2"/>
                <a:gd name="T24" fmla="*/ 2 w 4"/>
                <a:gd name="T2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2">
                  <a:moveTo>
                    <a:pt x="2" y="2"/>
                  </a:moveTo>
                  <a:lnTo>
                    <a:pt x="2" y="2"/>
                  </a:lnTo>
                  <a:lnTo>
                    <a:pt x="0" y="2"/>
                  </a:lnTo>
                  <a:lnTo>
                    <a:pt x="2" y="1"/>
                  </a:lnTo>
                  <a:lnTo>
                    <a:pt x="2" y="1"/>
                  </a:lnTo>
                  <a:lnTo>
                    <a:pt x="3" y="0"/>
                  </a:lnTo>
                  <a:lnTo>
                    <a:pt x="4" y="0"/>
                  </a:lnTo>
                  <a:lnTo>
                    <a:pt x="4" y="1"/>
                  </a:lnTo>
                  <a:lnTo>
                    <a:pt x="3" y="1"/>
                  </a:lnTo>
                  <a:lnTo>
                    <a:pt x="3" y="1"/>
                  </a:lnTo>
                  <a:lnTo>
                    <a:pt x="3" y="1"/>
                  </a:lnTo>
                  <a:lnTo>
                    <a:pt x="2" y="1"/>
                  </a:lnTo>
                  <a:lnTo>
                    <a:pt x="2"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40" name="Freeform 1405">
              <a:extLst>
                <a:ext uri="{FF2B5EF4-FFF2-40B4-BE49-F238E27FC236}">
                  <a16:creationId xmlns:a16="http://schemas.microsoft.com/office/drawing/2014/main" id="{FD85E01F-4051-4E58-92F4-4D82DE32EB63}"/>
                </a:ext>
              </a:extLst>
            </p:cNvPr>
            <p:cNvSpPr>
              <a:spLocks/>
            </p:cNvSpPr>
            <p:nvPr/>
          </p:nvSpPr>
          <p:spPr bwMode="auto">
            <a:xfrm>
              <a:off x="5887893" y="2225382"/>
              <a:ext cx="6678" cy="2671"/>
            </a:xfrm>
            <a:custGeom>
              <a:avLst/>
              <a:gdLst>
                <a:gd name="T0" fmla="*/ 3 w 5"/>
                <a:gd name="T1" fmla="*/ 0 h 2"/>
                <a:gd name="T2" fmla="*/ 2 w 5"/>
                <a:gd name="T3" fmla="*/ 0 h 2"/>
                <a:gd name="T4" fmla="*/ 2 w 5"/>
                <a:gd name="T5" fmla="*/ 0 h 2"/>
                <a:gd name="T6" fmla="*/ 1 w 5"/>
                <a:gd name="T7" fmla="*/ 2 h 2"/>
                <a:gd name="T8" fmla="*/ 0 w 5"/>
                <a:gd name="T9" fmla="*/ 2 h 2"/>
                <a:gd name="T10" fmla="*/ 0 w 5"/>
                <a:gd name="T11" fmla="*/ 2 h 2"/>
                <a:gd name="T12" fmla="*/ 0 w 5"/>
                <a:gd name="T13" fmla="*/ 2 h 2"/>
                <a:gd name="T14" fmla="*/ 1 w 5"/>
                <a:gd name="T15" fmla="*/ 0 h 2"/>
                <a:gd name="T16" fmla="*/ 1 w 5"/>
                <a:gd name="T17" fmla="*/ 0 h 2"/>
                <a:gd name="T18" fmla="*/ 1 w 5"/>
                <a:gd name="T19" fmla="*/ 0 h 2"/>
                <a:gd name="T20" fmla="*/ 3 w 5"/>
                <a:gd name="T21" fmla="*/ 0 h 2"/>
                <a:gd name="T22" fmla="*/ 3 w 5"/>
                <a:gd name="T23" fmla="*/ 0 h 2"/>
                <a:gd name="T24" fmla="*/ 3 w 5"/>
                <a:gd name="T25" fmla="*/ 0 h 2"/>
                <a:gd name="T26" fmla="*/ 5 w 5"/>
                <a:gd name="T27" fmla="*/ 0 h 2"/>
                <a:gd name="T28" fmla="*/ 5 w 5"/>
                <a:gd name="T29" fmla="*/ 0 h 2"/>
                <a:gd name="T30" fmla="*/ 5 w 5"/>
                <a:gd name="T31" fmla="*/ 0 h 2"/>
                <a:gd name="T32" fmla="*/ 3 w 5"/>
                <a:gd name="T33" fmla="*/ 0 h 2"/>
                <a:gd name="T34" fmla="*/ 3 w 5"/>
                <a:gd name="T35" fmla="*/ 0 h 2"/>
                <a:gd name="T36" fmla="*/ 3 w 5"/>
                <a:gd name="T37" fmla="*/ 0 h 2"/>
                <a:gd name="T38" fmla="*/ 3 w 5"/>
                <a:gd name="T39" fmla="*/ 0 h 2"/>
                <a:gd name="T40" fmla="*/ 3 w 5"/>
                <a:gd name="T41" fmla="*/ 0 h 2"/>
                <a:gd name="T42" fmla="*/ 3 w 5"/>
                <a:gd name="T4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2">
                  <a:moveTo>
                    <a:pt x="3" y="0"/>
                  </a:moveTo>
                  <a:lnTo>
                    <a:pt x="2" y="0"/>
                  </a:lnTo>
                  <a:lnTo>
                    <a:pt x="2" y="0"/>
                  </a:lnTo>
                  <a:lnTo>
                    <a:pt x="1" y="2"/>
                  </a:lnTo>
                  <a:lnTo>
                    <a:pt x="0" y="2"/>
                  </a:lnTo>
                  <a:lnTo>
                    <a:pt x="0" y="2"/>
                  </a:lnTo>
                  <a:lnTo>
                    <a:pt x="0" y="2"/>
                  </a:lnTo>
                  <a:lnTo>
                    <a:pt x="1" y="0"/>
                  </a:lnTo>
                  <a:lnTo>
                    <a:pt x="1" y="0"/>
                  </a:lnTo>
                  <a:lnTo>
                    <a:pt x="1" y="0"/>
                  </a:lnTo>
                  <a:lnTo>
                    <a:pt x="3" y="0"/>
                  </a:lnTo>
                  <a:lnTo>
                    <a:pt x="3" y="0"/>
                  </a:lnTo>
                  <a:lnTo>
                    <a:pt x="3" y="0"/>
                  </a:lnTo>
                  <a:lnTo>
                    <a:pt x="5" y="0"/>
                  </a:lnTo>
                  <a:lnTo>
                    <a:pt x="5" y="0"/>
                  </a:lnTo>
                  <a:lnTo>
                    <a:pt x="5" y="0"/>
                  </a:lnTo>
                  <a:lnTo>
                    <a:pt x="3" y="0"/>
                  </a:lnTo>
                  <a:lnTo>
                    <a:pt x="3" y="0"/>
                  </a:lnTo>
                  <a:lnTo>
                    <a:pt x="3" y="0"/>
                  </a:lnTo>
                  <a:lnTo>
                    <a:pt x="3" y="0"/>
                  </a:lnTo>
                  <a:lnTo>
                    <a:pt x="3" y="0"/>
                  </a:lnTo>
                  <a:lnTo>
                    <a:pt x="3"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41" name="Freeform 1406">
              <a:extLst>
                <a:ext uri="{FF2B5EF4-FFF2-40B4-BE49-F238E27FC236}">
                  <a16:creationId xmlns:a16="http://schemas.microsoft.com/office/drawing/2014/main" id="{EDD8F260-A5FF-44D5-B4DD-A3B18702D3AE}"/>
                </a:ext>
              </a:extLst>
            </p:cNvPr>
            <p:cNvSpPr>
              <a:spLocks noEditPoints="1"/>
            </p:cNvSpPr>
            <p:nvPr/>
          </p:nvSpPr>
          <p:spPr bwMode="auto">
            <a:xfrm>
              <a:off x="5861183" y="2225382"/>
              <a:ext cx="58761" cy="54755"/>
            </a:xfrm>
            <a:custGeom>
              <a:avLst/>
              <a:gdLst>
                <a:gd name="T0" fmla="*/ 42 w 44"/>
                <a:gd name="T1" fmla="*/ 3 h 41"/>
                <a:gd name="T2" fmla="*/ 43 w 44"/>
                <a:gd name="T3" fmla="*/ 2 h 41"/>
                <a:gd name="T4" fmla="*/ 44 w 44"/>
                <a:gd name="T5" fmla="*/ 5 h 41"/>
                <a:gd name="T6" fmla="*/ 43 w 44"/>
                <a:gd name="T7" fmla="*/ 10 h 41"/>
                <a:gd name="T8" fmla="*/ 40 w 44"/>
                <a:gd name="T9" fmla="*/ 12 h 41"/>
                <a:gd name="T10" fmla="*/ 39 w 44"/>
                <a:gd name="T11" fmla="*/ 13 h 41"/>
                <a:gd name="T12" fmla="*/ 42 w 44"/>
                <a:gd name="T13" fmla="*/ 16 h 41"/>
                <a:gd name="T14" fmla="*/ 42 w 44"/>
                <a:gd name="T15" fmla="*/ 19 h 41"/>
                <a:gd name="T16" fmla="*/ 40 w 44"/>
                <a:gd name="T17" fmla="*/ 21 h 41"/>
                <a:gd name="T18" fmla="*/ 40 w 44"/>
                <a:gd name="T19" fmla="*/ 23 h 41"/>
                <a:gd name="T20" fmla="*/ 36 w 44"/>
                <a:gd name="T21" fmla="*/ 24 h 41"/>
                <a:gd name="T22" fmla="*/ 33 w 44"/>
                <a:gd name="T23" fmla="*/ 24 h 41"/>
                <a:gd name="T24" fmla="*/ 33 w 44"/>
                <a:gd name="T25" fmla="*/ 24 h 41"/>
                <a:gd name="T26" fmla="*/ 30 w 44"/>
                <a:gd name="T27" fmla="*/ 26 h 41"/>
                <a:gd name="T28" fmla="*/ 33 w 44"/>
                <a:gd name="T29" fmla="*/ 28 h 41"/>
                <a:gd name="T30" fmla="*/ 33 w 44"/>
                <a:gd name="T31" fmla="*/ 32 h 41"/>
                <a:gd name="T32" fmla="*/ 33 w 44"/>
                <a:gd name="T33" fmla="*/ 34 h 41"/>
                <a:gd name="T34" fmla="*/ 30 w 44"/>
                <a:gd name="T35" fmla="*/ 37 h 41"/>
                <a:gd name="T36" fmla="*/ 32 w 44"/>
                <a:gd name="T37" fmla="*/ 38 h 41"/>
                <a:gd name="T38" fmla="*/ 30 w 44"/>
                <a:gd name="T39" fmla="*/ 41 h 41"/>
                <a:gd name="T40" fmla="*/ 28 w 44"/>
                <a:gd name="T41" fmla="*/ 40 h 41"/>
                <a:gd name="T42" fmla="*/ 28 w 44"/>
                <a:gd name="T43" fmla="*/ 38 h 41"/>
                <a:gd name="T44" fmla="*/ 29 w 44"/>
                <a:gd name="T45" fmla="*/ 34 h 41"/>
                <a:gd name="T46" fmla="*/ 26 w 44"/>
                <a:gd name="T47" fmla="*/ 34 h 41"/>
                <a:gd name="T48" fmla="*/ 22 w 44"/>
                <a:gd name="T49" fmla="*/ 33 h 41"/>
                <a:gd name="T50" fmla="*/ 20 w 44"/>
                <a:gd name="T51" fmla="*/ 30 h 41"/>
                <a:gd name="T52" fmla="*/ 16 w 44"/>
                <a:gd name="T53" fmla="*/ 31 h 41"/>
                <a:gd name="T54" fmla="*/ 14 w 44"/>
                <a:gd name="T55" fmla="*/ 31 h 41"/>
                <a:gd name="T56" fmla="*/ 12 w 44"/>
                <a:gd name="T57" fmla="*/ 31 h 41"/>
                <a:gd name="T58" fmla="*/ 9 w 44"/>
                <a:gd name="T59" fmla="*/ 31 h 41"/>
                <a:gd name="T60" fmla="*/ 5 w 44"/>
                <a:gd name="T61" fmla="*/ 31 h 41"/>
                <a:gd name="T62" fmla="*/ 1 w 44"/>
                <a:gd name="T63" fmla="*/ 30 h 41"/>
                <a:gd name="T64" fmla="*/ 5 w 44"/>
                <a:gd name="T65" fmla="*/ 28 h 41"/>
                <a:gd name="T66" fmla="*/ 8 w 44"/>
                <a:gd name="T67" fmla="*/ 30 h 41"/>
                <a:gd name="T68" fmla="*/ 11 w 44"/>
                <a:gd name="T69" fmla="*/ 30 h 41"/>
                <a:gd name="T70" fmla="*/ 7 w 44"/>
                <a:gd name="T71" fmla="*/ 28 h 41"/>
                <a:gd name="T72" fmla="*/ 8 w 44"/>
                <a:gd name="T73" fmla="*/ 27 h 41"/>
                <a:gd name="T74" fmla="*/ 7 w 44"/>
                <a:gd name="T75" fmla="*/ 26 h 41"/>
                <a:gd name="T76" fmla="*/ 6 w 44"/>
                <a:gd name="T77" fmla="*/ 25 h 41"/>
                <a:gd name="T78" fmla="*/ 8 w 44"/>
                <a:gd name="T79" fmla="*/ 25 h 41"/>
                <a:gd name="T80" fmla="*/ 8 w 44"/>
                <a:gd name="T81" fmla="*/ 23 h 41"/>
                <a:gd name="T82" fmla="*/ 13 w 44"/>
                <a:gd name="T83" fmla="*/ 17 h 41"/>
                <a:gd name="T84" fmla="*/ 14 w 44"/>
                <a:gd name="T85" fmla="*/ 10 h 41"/>
                <a:gd name="T86" fmla="*/ 16 w 44"/>
                <a:gd name="T87" fmla="*/ 9 h 41"/>
                <a:gd name="T88" fmla="*/ 21 w 44"/>
                <a:gd name="T89" fmla="*/ 6 h 41"/>
                <a:gd name="T90" fmla="*/ 23 w 44"/>
                <a:gd name="T91" fmla="*/ 4 h 41"/>
                <a:gd name="T92" fmla="*/ 26 w 44"/>
                <a:gd name="T93" fmla="*/ 2 h 41"/>
                <a:gd name="T94" fmla="*/ 29 w 44"/>
                <a:gd name="T95" fmla="*/ 0 h 41"/>
                <a:gd name="T96" fmla="*/ 36 w 44"/>
                <a:gd name="T97" fmla="*/ 0 h 41"/>
                <a:gd name="T98" fmla="*/ 20 w 44"/>
                <a:gd name="T99" fmla="*/ 9 h 41"/>
                <a:gd name="T100" fmla="*/ 22 w 44"/>
                <a:gd name="T101" fmla="*/ 11 h 41"/>
                <a:gd name="T102" fmla="*/ 19 w 44"/>
                <a:gd name="T103" fmla="*/ 13 h 41"/>
                <a:gd name="T104" fmla="*/ 19 w 44"/>
                <a:gd name="T105" fmla="*/ 16 h 41"/>
                <a:gd name="T106" fmla="*/ 19 w 44"/>
                <a:gd name="T107" fmla="*/ 16 h 41"/>
                <a:gd name="T108" fmla="*/ 22 w 44"/>
                <a:gd name="T109" fmla="*/ 17 h 41"/>
                <a:gd name="T110" fmla="*/ 26 w 44"/>
                <a:gd name="T111" fmla="*/ 17 h 41"/>
                <a:gd name="T112" fmla="*/ 29 w 44"/>
                <a:gd name="T113" fmla="*/ 14 h 41"/>
                <a:gd name="T114" fmla="*/ 26 w 44"/>
                <a:gd name="T115" fmla="*/ 12 h 41"/>
                <a:gd name="T116" fmla="*/ 26 w 44"/>
                <a:gd name="T117" fmla="*/ 9 h 41"/>
                <a:gd name="T118" fmla="*/ 23 w 44"/>
                <a:gd name="T119" fmla="*/ 9 h 41"/>
                <a:gd name="T120" fmla="*/ 23 w 44"/>
                <a:gd name="T121" fmla="*/ 6 h 41"/>
                <a:gd name="T122" fmla="*/ 19 w 44"/>
                <a:gd name="T123" fmla="*/ 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 h="41">
                  <a:moveTo>
                    <a:pt x="40" y="0"/>
                  </a:moveTo>
                  <a:lnTo>
                    <a:pt x="41" y="2"/>
                  </a:lnTo>
                  <a:lnTo>
                    <a:pt x="42" y="2"/>
                  </a:lnTo>
                  <a:lnTo>
                    <a:pt x="42" y="3"/>
                  </a:lnTo>
                  <a:lnTo>
                    <a:pt x="42" y="2"/>
                  </a:lnTo>
                  <a:lnTo>
                    <a:pt x="42" y="3"/>
                  </a:lnTo>
                  <a:lnTo>
                    <a:pt x="43" y="3"/>
                  </a:lnTo>
                  <a:lnTo>
                    <a:pt x="43" y="2"/>
                  </a:lnTo>
                  <a:lnTo>
                    <a:pt x="43" y="3"/>
                  </a:lnTo>
                  <a:lnTo>
                    <a:pt x="44" y="3"/>
                  </a:lnTo>
                  <a:lnTo>
                    <a:pt x="44" y="4"/>
                  </a:lnTo>
                  <a:lnTo>
                    <a:pt x="44" y="5"/>
                  </a:lnTo>
                  <a:lnTo>
                    <a:pt x="44" y="6"/>
                  </a:lnTo>
                  <a:lnTo>
                    <a:pt x="44" y="7"/>
                  </a:lnTo>
                  <a:lnTo>
                    <a:pt x="43" y="9"/>
                  </a:lnTo>
                  <a:lnTo>
                    <a:pt x="43" y="10"/>
                  </a:lnTo>
                  <a:lnTo>
                    <a:pt x="43" y="12"/>
                  </a:lnTo>
                  <a:lnTo>
                    <a:pt x="42" y="12"/>
                  </a:lnTo>
                  <a:lnTo>
                    <a:pt x="41" y="12"/>
                  </a:lnTo>
                  <a:lnTo>
                    <a:pt x="40" y="12"/>
                  </a:lnTo>
                  <a:lnTo>
                    <a:pt x="39" y="12"/>
                  </a:lnTo>
                  <a:lnTo>
                    <a:pt x="39" y="13"/>
                  </a:lnTo>
                  <a:lnTo>
                    <a:pt x="40" y="13"/>
                  </a:lnTo>
                  <a:lnTo>
                    <a:pt x="39" y="13"/>
                  </a:lnTo>
                  <a:lnTo>
                    <a:pt x="39" y="14"/>
                  </a:lnTo>
                  <a:lnTo>
                    <a:pt x="40" y="16"/>
                  </a:lnTo>
                  <a:lnTo>
                    <a:pt x="41" y="16"/>
                  </a:lnTo>
                  <a:lnTo>
                    <a:pt x="42" y="16"/>
                  </a:lnTo>
                  <a:lnTo>
                    <a:pt x="43" y="16"/>
                  </a:lnTo>
                  <a:lnTo>
                    <a:pt x="43" y="17"/>
                  </a:lnTo>
                  <a:lnTo>
                    <a:pt x="43" y="18"/>
                  </a:lnTo>
                  <a:lnTo>
                    <a:pt x="42" y="19"/>
                  </a:lnTo>
                  <a:lnTo>
                    <a:pt x="41" y="19"/>
                  </a:lnTo>
                  <a:lnTo>
                    <a:pt x="41" y="20"/>
                  </a:lnTo>
                  <a:lnTo>
                    <a:pt x="40" y="20"/>
                  </a:lnTo>
                  <a:lnTo>
                    <a:pt x="40" y="21"/>
                  </a:lnTo>
                  <a:lnTo>
                    <a:pt x="39" y="21"/>
                  </a:lnTo>
                  <a:lnTo>
                    <a:pt x="40" y="21"/>
                  </a:lnTo>
                  <a:lnTo>
                    <a:pt x="41" y="23"/>
                  </a:lnTo>
                  <a:lnTo>
                    <a:pt x="40" y="23"/>
                  </a:lnTo>
                  <a:lnTo>
                    <a:pt x="40" y="24"/>
                  </a:lnTo>
                  <a:lnTo>
                    <a:pt x="39" y="24"/>
                  </a:lnTo>
                  <a:lnTo>
                    <a:pt x="37" y="24"/>
                  </a:lnTo>
                  <a:lnTo>
                    <a:pt x="36" y="24"/>
                  </a:lnTo>
                  <a:lnTo>
                    <a:pt x="35" y="24"/>
                  </a:lnTo>
                  <a:lnTo>
                    <a:pt x="35" y="25"/>
                  </a:lnTo>
                  <a:lnTo>
                    <a:pt x="34" y="24"/>
                  </a:lnTo>
                  <a:lnTo>
                    <a:pt x="33" y="24"/>
                  </a:lnTo>
                  <a:lnTo>
                    <a:pt x="32" y="24"/>
                  </a:lnTo>
                  <a:lnTo>
                    <a:pt x="33" y="24"/>
                  </a:lnTo>
                  <a:lnTo>
                    <a:pt x="33" y="25"/>
                  </a:lnTo>
                  <a:lnTo>
                    <a:pt x="33" y="24"/>
                  </a:lnTo>
                  <a:lnTo>
                    <a:pt x="32" y="24"/>
                  </a:lnTo>
                  <a:lnTo>
                    <a:pt x="32" y="25"/>
                  </a:lnTo>
                  <a:lnTo>
                    <a:pt x="30" y="25"/>
                  </a:lnTo>
                  <a:lnTo>
                    <a:pt x="30" y="26"/>
                  </a:lnTo>
                  <a:lnTo>
                    <a:pt x="32" y="26"/>
                  </a:lnTo>
                  <a:lnTo>
                    <a:pt x="32" y="27"/>
                  </a:lnTo>
                  <a:lnTo>
                    <a:pt x="32" y="28"/>
                  </a:lnTo>
                  <a:lnTo>
                    <a:pt x="33" y="28"/>
                  </a:lnTo>
                  <a:lnTo>
                    <a:pt x="34" y="30"/>
                  </a:lnTo>
                  <a:lnTo>
                    <a:pt x="34" y="31"/>
                  </a:lnTo>
                  <a:lnTo>
                    <a:pt x="34" y="32"/>
                  </a:lnTo>
                  <a:lnTo>
                    <a:pt x="33" y="32"/>
                  </a:lnTo>
                  <a:lnTo>
                    <a:pt x="33" y="33"/>
                  </a:lnTo>
                  <a:lnTo>
                    <a:pt x="32" y="33"/>
                  </a:lnTo>
                  <a:lnTo>
                    <a:pt x="32" y="34"/>
                  </a:lnTo>
                  <a:lnTo>
                    <a:pt x="33" y="34"/>
                  </a:lnTo>
                  <a:lnTo>
                    <a:pt x="33" y="35"/>
                  </a:lnTo>
                  <a:lnTo>
                    <a:pt x="32" y="35"/>
                  </a:lnTo>
                  <a:lnTo>
                    <a:pt x="32" y="37"/>
                  </a:lnTo>
                  <a:lnTo>
                    <a:pt x="30" y="37"/>
                  </a:lnTo>
                  <a:lnTo>
                    <a:pt x="29" y="37"/>
                  </a:lnTo>
                  <a:lnTo>
                    <a:pt x="29" y="38"/>
                  </a:lnTo>
                  <a:lnTo>
                    <a:pt x="30" y="38"/>
                  </a:lnTo>
                  <a:lnTo>
                    <a:pt x="32" y="38"/>
                  </a:lnTo>
                  <a:lnTo>
                    <a:pt x="32" y="39"/>
                  </a:lnTo>
                  <a:lnTo>
                    <a:pt x="32" y="40"/>
                  </a:lnTo>
                  <a:lnTo>
                    <a:pt x="32" y="41"/>
                  </a:lnTo>
                  <a:lnTo>
                    <a:pt x="30" y="41"/>
                  </a:lnTo>
                  <a:lnTo>
                    <a:pt x="29" y="41"/>
                  </a:lnTo>
                  <a:lnTo>
                    <a:pt x="28" y="40"/>
                  </a:lnTo>
                  <a:lnTo>
                    <a:pt x="28" y="41"/>
                  </a:lnTo>
                  <a:lnTo>
                    <a:pt x="28" y="40"/>
                  </a:lnTo>
                  <a:lnTo>
                    <a:pt x="27" y="40"/>
                  </a:lnTo>
                  <a:lnTo>
                    <a:pt x="27" y="39"/>
                  </a:lnTo>
                  <a:lnTo>
                    <a:pt x="28" y="39"/>
                  </a:lnTo>
                  <a:lnTo>
                    <a:pt x="28" y="38"/>
                  </a:lnTo>
                  <a:lnTo>
                    <a:pt x="28" y="37"/>
                  </a:lnTo>
                  <a:lnTo>
                    <a:pt x="29" y="37"/>
                  </a:lnTo>
                  <a:lnTo>
                    <a:pt x="29" y="35"/>
                  </a:lnTo>
                  <a:lnTo>
                    <a:pt x="29" y="34"/>
                  </a:lnTo>
                  <a:lnTo>
                    <a:pt x="28" y="35"/>
                  </a:lnTo>
                  <a:lnTo>
                    <a:pt x="28" y="34"/>
                  </a:lnTo>
                  <a:lnTo>
                    <a:pt x="27" y="34"/>
                  </a:lnTo>
                  <a:lnTo>
                    <a:pt x="26" y="34"/>
                  </a:lnTo>
                  <a:lnTo>
                    <a:pt x="26" y="33"/>
                  </a:lnTo>
                  <a:lnTo>
                    <a:pt x="25" y="33"/>
                  </a:lnTo>
                  <a:lnTo>
                    <a:pt x="23" y="33"/>
                  </a:lnTo>
                  <a:lnTo>
                    <a:pt x="22" y="33"/>
                  </a:lnTo>
                  <a:lnTo>
                    <a:pt x="21" y="32"/>
                  </a:lnTo>
                  <a:lnTo>
                    <a:pt x="20" y="32"/>
                  </a:lnTo>
                  <a:lnTo>
                    <a:pt x="20" y="31"/>
                  </a:lnTo>
                  <a:lnTo>
                    <a:pt x="20" y="30"/>
                  </a:lnTo>
                  <a:lnTo>
                    <a:pt x="19" y="30"/>
                  </a:lnTo>
                  <a:lnTo>
                    <a:pt x="19" y="31"/>
                  </a:lnTo>
                  <a:lnTo>
                    <a:pt x="18" y="31"/>
                  </a:lnTo>
                  <a:lnTo>
                    <a:pt x="16" y="31"/>
                  </a:lnTo>
                  <a:lnTo>
                    <a:pt x="16" y="30"/>
                  </a:lnTo>
                  <a:lnTo>
                    <a:pt x="15" y="30"/>
                  </a:lnTo>
                  <a:lnTo>
                    <a:pt x="15" y="31"/>
                  </a:lnTo>
                  <a:lnTo>
                    <a:pt x="14" y="31"/>
                  </a:lnTo>
                  <a:lnTo>
                    <a:pt x="13" y="31"/>
                  </a:lnTo>
                  <a:lnTo>
                    <a:pt x="13" y="30"/>
                  </a:lnTo>
                  <a:lnTo>
                    <a:pt x="12" y="30"/>
                  </a:lnTo>
                  <a:lnTo>
                    <a:pt x="12" y="31"/>
                  </a:lnTo>
                  <a:lnTo>
                    <a:pt x="12" y="32"/>
                  </a:lnTo>
                  <a:lnTo>
                    <a:pt x="11" y="32"/>
                  </a:lnTo>
                  <a:lnTo>
                    <a:pt x="11" y="31"/>
                  </a:lnTo>
                  <a:lnTo>
                    <a:pt x="9" y="31"/>
                  </a:lnTo>
                  <a:lnTo>
                    <a:pt x="8" y="31"/>
                  </a:lnTo>
                  <a:lnTo>
                    <a:pt x="7" y="31"/>
                  </a:lnTo>
                  <a:lnTo>
                    <a:pt x="6" y="31"/>
                  </a:lnTo>
                  <a:lnTo>
                    <a:pt x="5" y="31"/>
                  </a:lnTo>
                  <a:lnTo>
                    <a:pt x="4" y="31"/>
                  </a:lnTo>
                  <a:lnTo>
                    <a:pt x="2" y="31"/>
                  </a:lnTo>
                  <a:lnTo>
                    <a:pt x="1" y="31"/>
                  </a:lnTo>
                  <a:lnTo>
                    <a:pt x="1" y="30"/>
                  </a:lnTo>
                  <a:lnTo>
                    <a:pt x="0" y="30"/>
                  </a:lnTo>
                  <a:lnTo>
                    <a:pt x="0" y="28"/>
                  </a:lnTo>
                  <a:lnTo>
                    <a:pt x="1" y="28"/>
                  </a:lnTo>
                  <a:lnTo>
                    <a:pt x="5" y="28"/>
                  </a:lnTo>
                  <a:lnTo>
                    <a:pt x="6" y="28"/>
                  </a:lnTo>
                  <a:lnTo>
                    <a:pt x="7" y="28"/>
                  </a:lnTo>
                  <a:lnTo>
                    <a:pt x="7" y="30"/>
                  </a:lnTo>
                  <a:lnTo>
                    <a:pt x="8" y="30"/>
                  </a:lnTo>
                  <a:lnTo>
                    <a:pt x="8" y="31"/>
                  </a:lnTo>
                  <a:lnTo>
                    <a:pt x="9" y="31"/>
                  </a:lnTo>
                  <a:lnTo>
                    <a:pt x="11" y="31"/>
                  </a:lnTo>
                  <a:lnTo>
                    <a:pt x="11" y="30"/>
                  </a:lnTo>
                  <a:lnTo>
                    <a:pt x="9" y="30"/>
                  </a:lnTo>
                  <a:lnTo>
                    <a:pt x="8" y="30"/>
                  </a:lnTo>
                  <a:lnTo>
                    <a:pt x="8" y="28"/>
                  </a:lnTo>
                  <a:lnTo>
                    <a:pt x="7" y="28"/>
                  </a:lnTo>
                  <a:lnTo>
                    <a:pt x="8" y="28"/>
                  </a:lnTo>
                  <a:lnTo>
                    <a:pt x="9" y="28"/>
                  </a:lnTo>
                  <a:lnTo>
                    <a:pt x="9" y="27"/>
                  </a:lnTo>
                  <a:lnTo>
                    <a:pt x="8" y="27"/>
                  </a:lnTo>
                  <a:lnTo>
                    <a:pt x="9" y="27"/>
                  </a:lnTo>
                  <a:lnTo>
                    <a:pt x="9" y="26"/>
                  </a:lnTo>
                  <a:lnTo>
                    <a:pt x="8" y="26"/>
                  </a:lnTo>
                  <a:lnTo>
                    <a:pt x="7" y="26"/>
                  </a:lnTo>
                  <a:lnTo>
                    <a:pt x="7" y="25"/>
                  </a:lnTo>
                  <a:lnTo>
                    <a:pt x="6" y="25"/>
                  </a:lnTo>
                  <a:lnTo>
                    <a:pt x="5" y="25"/>
                  </a:lnTo>
                  <a:lnTo>
                    <a:pt x="6" y="25"/>
                  </a:lnTo>
                  <a:lnTo>
                    <a:pt x="6" y="24"/>
                  </a:lnTo>
                  <a:lnTo>
                    <a:pt x="7" y="24"/>
                  </a:lnTo>
                  <a:lnTo>
                    <a:pt x="7" y="25"/>
                  </a:lnTo>
                  <a:lnTo>
                    <a:pt x="8" y="25"/>
                  </a:lnTo>
                  <a:lnTo>
                    <a:pt x="8" y="24"/>
                  </a:lnTo>
                  <a:lnTo>
                    <a:pt x="7" y="24"/>
                  </a:lnTo>
                  <a:lnTo>
                    <a:pt x="7" y="23"/>
                  </a:lnTo>
                  <a:lnTo>
                    <a:pt x="8" y="23"/>
                  </a:lnTo>
                  <a:lnTo>
                    <a:pt x="8" y="21"/>
                  </a:lnTo>
                  <a:lnTo>
                    <a:pt x="11" y="20"/>
                  </a:lnTo>
                  <a:lnTo>
                    <a:pt x="12" y="19"/>
                  </a:lnTo>
                  <a:lnTo>
                    <a:pt x="13" y="17"/>
                  </a:lnTo>
                  <a:lnTo>
                    <a:pt x="13" y="16"/>
                  </a:lnTo>
                  <a:lnTo>
                    <a:pt x="14" y="14"/>
                  </a:lnTo>
                  <a:lnTo>
                    <a:pt x="14" y="11"/>
                  </a:lnTo>
                  <a:lnTo>
                    <a:pt x="14" y="10"/>
                  </a:lnTo>
                  <a:lnTo>
                    <a:pt x="15" y="9"/>
                  </a:lnTo>
                  <a:lnTo>
                    <a:pt x="15" y="7"/>
                  </a:lnTo>
                  <a:lnTo>
                    <a:pt x="16" y="7"/>
                  </a:lnTo>
                  <a:lnTo>
                    <a:pt x="16" y="9"/>
                  </a:lnTo>
                  <a:lnTo>
                    <a:pt x="18" y="9"/>
                  </a:lnTo>
                  <a:lnTo>
                    <a:pt x="18" y="7"/>
                  </a:lnTo>
                  <a:lnTo>
                    <a:pt x="19" y="7"/>
                  </a:lnTo>
                  <a:lnTo>
                    <a:pt x="21" y="6"/>
                  </a:lnTo>
                  <a:lnTo>
                    <a:pt x="22" y="6"/>
                  </a:lnTo>
                  <a:lnTo>
                    <a:pt x="22" y="5"/>
                  </a:lnTo>
                  <a:lnTo>
                    <a:pt x="23" y="5"/>
                  </a:lnTo>
                  <a:lnTo>
                    <a:pt x="23" y="4"/>
                  </a:lnTo>
                  <a:lnTo>
                    <a:pt x="23" y="3"/>
                  </a:lnTo>
                  <a:lnTo>
                    <a:pt x="25" y="3"/>
                  </a:lnTo>
                  <a:lnTo>
                    <a:pt x="26" y="3"/>
                  </a:lnTo>
                  <a:lnTo>
                    <a:pt x="26" y="2"/>
                  </a:lnTo>
                  <a:lnTo>
                    <a:pt x="27" y="2"/>
                  </a:lnTo>
                  <a:lnTo>
                    <a:pt x="28" y="2"/>
                  </a:lnTo>
                  <a:lnTo>
                    <a:pt x="29" y="2"/>
                  </a:lnTo>
                  <a:lnTo>
                    <a:pt x="29" y="0"/>
                  </a:lnTo>
                  <a:lnTo>
                    <a:pt x="30" y="0"/>
                  </a:lnTo>
                  <a:lnTo>
                    <a:pt x="33" y="0"/>
                  </a:lnTo>
                  <a:lnTo>
                    <a:pt x="34" y="0"/>
                  </a:lnTo>
                  <a:lnTo>
                    <a:pt x="36" y="0"/>
                  </a:lnTo>
                  <a:lnTo>
                    <a:pt x="39" y="0"/>
                  </a:lnTo>
                  <a:lnTo>
                    <a:pt x="40" y="0"/>
                  </a:lnTo>
                  <a:close/>
                  <a:moveTo>
                    <a:pt x="19" y="7"/>
                  </a:moveTo>
                  <a:lnTo>
                    <a:pt x="20" y="9"/>
                  </a:lnTo>
                  <a:lnTo>
                    <a:pt x="20" y="10"/>
                  </a:lnTo>
                  <a:lnTo>
                    <a:pt x="20" y="11"/>
                  </a:lnTo>
                  <a:lnTo>
                    <a:pt x="21" y="11"/>
                  </a:lnTo>
                  <a:lnTo>
                    <a:pt x="22" y="11"/>
                  </a:lnTo>
                  <a:lnTo>
                    <a:pt x="21" y="12"/>
                  </a:lnTo>
                  <a:lnTo>
                    <a:pt x="20" y="12"/>
                  </a:lnTo>
                  <a:lnTo>
                    <a:pt x="19" y="12"/>
                  </a:lnTo>
                  <a:lnTo>
                    <a:pt x="19" y="13"/>
                  </a:lnTo>
                  <a:lnTo>
                    <a:pt x="20" y="14"/>
                  </a:lnTo>
                  <a:lnTo>
                    <a:pt x="19" y="14"/>
                  </a:lnTo>
                  <a:lnTo>
                    <a:pt x="20" y="16"/>
                  </a:lnTo>
                  <a:lnTo>
                    <a:pt x="19" y="16"/>
                  </a:lnTo>
                  <a:lnTo>
                    <a:pt x="19" y="17"/>
                  </a:lnTo>
                  <a:lnTo>
                    <a:pt x="19" y="16"/>
                  </a:lnTo>
                  <a:lnTo>
                    <a:pt x="19" y="17"/>
                  </a:lnTo>
                  <a:lnTo>
                    <a:pt x="19" y="16"/>
                  </a:lnTo>
                  <a:lnTo>
                    <a:pt x="19" y="17"/>
                  </a:lnTo>
                  <a:lnTo>
                    <a:pt x="20" y="17"/>
                  </a:lnTo>
                  <a:lnTo>
                    <a:pt x="21" y="17"/>
                  </a:lnTo>
                  <a:lnTo>
                    <a:pt x="22" y="17"/>
                  </a:lnTo>
                  <a:lnTo>
                    <a:pt x="23" y="18"/>
                  </a:lnTo>
                  <a:lnTo>
                    <a:pt x="25" y="18"/>
                  </a:lnTo>
                  <a:lnTo>
                    <a:pt x="26" y="18"/>
                  </a:lnTo>
                  <a:lnTo>
                    <a:pt x="26" y="17"/>
                  </a:lnTo>
                  <a:lnTo>
                    <a:pt x="27" y="17"/>
                  </a:lnTo>
                  <a:lnTo>
                    <a:pt x="27" y="16"/>
                  </a:lnTo>
                  <a:lnTo>
                    <a:pt x="28" y="16"/>
                  </a:lnTo>
                  <a:lnTo>
                    <a:pt x="29" y="14"/>
                  </a:lnTo>
                  <a:lnTo>
                    <a:pt x="29" y="13"/>
                  </a:lnTo>
                  <a:lnTo>
                    <a:pt x="28" y="13"/>
                  </a:lnTo>
                  <a:lnTo>
                    <a:pt x="27" y="13"/>
                  </a:lnTo>
                  <a:lnTo>
                    <a:pt x="26" y="12"/>
                  </a:lnTo>
                  <a:lnTo>
                    <a:pt x="26" y="11"/>
                  </a:lnTo>
                  <a:lnTo>
                    <a:pt x="26" y="10"/>
                  </a:lnTo>
                  <a:lnTo>
                    <a:pt x="27" y="10"/>
                  </a:lnTo>
                  <a:lnTo>
                    <a:pt x="26" y="9"/>
                  </a:lnTo>
                  <a:lnTo>
                    <a:pt x="26" y="10"/>
                  </a:lnTo>
                  <a:lnTo>
                    <a:pt x="25" y="10"/>
                  </a:lnTo>
                  <a:lnTo>
                    <a:pt x="25" y="9"/>
                  </a:lnTo>
                  <a:lnTo>
                    <a:pt x="23" y="9"/>
                  </a:lnTo>
                  <a:lnTo>
                    <a:pt x="22" y="9"/>
                  </a:lnTo>
                  <a:lnTo>
                    <a:pt x="23" y="9"/>
                  </a:lnTo>
                  <a:lnTo>
                    <a:pt x="23" y="7"/>
                  </a:lnTo>
                  <a:lnTo>
                    <a:pt x="23" y="6"/>
                  </a:lnTo>
                  <a:lnTo>
                    <a:pt x="22" y="5"/>
                  </a:lnTo>
                  <a:lnTo>
                    <a:pt x="22" y="6"/>
                  </a:lnTo>
                  <a:lnTo>
                    <a:pt x="20" y="7"/>
                  </a:lnTo>
                  <a:lnTo>
                    <a:pt x="19" y="7"/>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42" name="Freeform 1407">
              <a:extLst>
                <a:ext uri="{FF2B5EF4-FFF2-40B4-BE49-F238E27FC236}">
                  <a16:creationId xmlns:a16="http://schemas.microsoft.com/office/drawing/2014/main" id="{CC5A97C0-5298-44FA-A998-07BD85120759}"/>
                </a:ext>
              </a:extLst>
            </p:cNvPr>
            <p:cNvSpPr>
              <a:spLocks/>
            </p:cNvSpPr>
            <p:nvPr/>
          </p:nvSpPr>
          <p:spPr bwMode="auto">
            <a:xfrm>
              <a:off x="5895906" y="2224047"/>
              <a:ext cx="4007" cy="1336"/>
            </a:xfrm>
            <a:custGeom>
              <a:avLst/>
              <a:gdLst>
                <a:gd name="T0" fmla="*/ 3 w 3"/>
                <a:gd name="T1" fmla="*/ 0 h 1"/>
                <a:gd name="T2" fmla="*/ 3 w 3"/>
                <a:gd name="T3" fmla="*/ 1 h 1"/>
                <a:gd name="T4" fmla="*/ 2 w 3"/>
                <a:gd name="T5" fmla="*/ 1 h 1"/>
                <a:gd name="T6" fmla="*/ 1 w 3"/>
                <a:gd name="T7" fmla="*/ 1 h 1"/>
                <a:gd name="T8" fmla="*/ 1 w 3"/>
                <a:gd name="T9" fmla="*/ 1 h 1"/>
                <a:gd name="T10" fmla="*/ 0 w 3"/>
                <a:gd name="T11" fmla="*/ 1 h 1"/>
                <a:gd name="T12" fmla="*/ 0 w 3"/>
                <a:gd name="T13" fmla="*/ 1 h 1"/>
                <a:gd name="T14" fmla="*/ 0 w 3"/>
                <a:gd name="T15" fmla="*/ 1 h 1"/>
                <a:gd name="T16" fmla="*/ 0 w 3"/>
                <a:gd name="T17" fmla="*/ 0 h 1"/>
                <a:gd name="T18" fmla="*/ 0 w 3"/>
                <a:gd name="T19" fmla="*/ 0 h 1"/>
                <a:gd name="T20" fmla="*/ 0 w 3"/>
                <a:gd name="T21" fmla="*/ 0 h 1"/>
                <a:gd name="T22" fmla="*/ 3 w 3"/>
                <a:gd name="T2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1">
                  <a:moveTo>
                    <a:pt x="3" y="0"/>
                  </a:moveTo>
                  <a:lnTo>
                    <a:pt x="3" y="1"/>
                  </a:lnTo>
                  <a:lnTo>
                    <a:pt x="2" y="1"/>
                  </a:lnTo>
                  <a:lnTo>
                    <a:pt x="1" y="1"/>
                  </a:lnTo>
                  <a:lnTo>
                    <a:pt x="1" y="1"/>
                  </a:lnTo>
                  <a:lnTo>
                    <a:pt x="0" y="1"/>
                  </a:lnTo>
                  <a:lnTo>
                    <a:pt x="0" y="1"/>
                  </a:lnTo>
                  <a:lnTo>
                    <a:pt x="0" y="1"/>
                  </a:lnTo>
                  <a:lnTo>
                    <a:pt x="0" y="0"/>
                  </a:lnTo>
                  <a:lnTo>
                    <a:pt x="0" y="0"/>
                  </a:lnTo>
                  <a:lnTo>
                    <a:pt x="0" y="0"/>
                  </a:lnTo>
                  <a:lnTo>
                    <a:pt x="3"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43" name="Freeform 1408">
              <a:extLst>
                <a:ext uri="{FF2B5EF4-FFF2-40B4-BE49-F238E27FC236}">
                  <a16:creationId xmlns:a16="http://schemas.microsoft.com/office/drawing/2014/main" id="{B9D95084-6C43-4C58-8979-37E8C7B55232}"/>
                </a:ext>
              </a:extLst>
            </p:cNvPr>
            <p:cNvSpPr>
              <a:spLocks/>
            </p:cNvSpPr>
            <p:nvPr/>
          </p:nvSpPr>
          <p:spPr bwMode="auto">
            <a:xfrm>
              <a:off x="5903919" y="2224047"/>
              <a:ext cx="2671" cy="1336"/>
            </a:xfrm>
            <a:custGeom>
              <a:avLst/>
              <a:gdLst>
                <a:gd name="T0" fmla="*/ 0 w 2"/>
                <a:gd name="T1" fmla="*/ 0 h 1"/>
                <a:gd name="T2" fmla="*/ 0 w 2"/>
                <a:gd name="T3" fmla="*/ 1 h 1"/>
                <a:gd name="T4" fmla="*/ 0 w 2"/>
                <a:gd name="T5" fmla="*/ 1 h 1"/>
                <a:gd name="T6" fmla="*/ 0 w 2"/>
                <a:gd name="T7" fmla="*/ 1 h 1"/>
                <a:gd name="T8" fmla="*/ 0 w 2"/>
                <a:gd name="T9" fmla="*/ 0 h 1"/>
                <a:gd name="T10" fmla="*/ 0 w 2"/>
                <a:gd name="T11" fmla="*/ 0 h 1"/>
                <a:gd name="T12" fmla="*/ 0 w 2"/>
                <a:gd name="T13" fmla="*/ 0 h 1"/>
                <a:gd name="T14" fmla="*/ 0 w 2"/>
                <a:gd name="T15" fmla="*/ 0 h 1"/>
                <a:gd name="T16" fmla="*/ 1 w 2"/>
                <a:gd name="T17" fmla="*/ 0 h 1"/>
                <a:gd name="T18" fmla="*/ 2 w 2"/>
                <a:gd name="T19" fmla="*/ 0 h 1"/>
                <a:gd name="T20" fmla="*/ 2 w 2"/>
                <a:gd name="T21" fmla="*/ 0 h 1"/>
                <a:gd name="T22" fmla="*/ 2 w 2"/>
                <a:gd name="T23" fmla="*/ 0 h 1"/>
                <a:gd name="T24" fmla="*/ 2 w 2"/>
                <a:gd name="T25" fmla="*/ 0 h 1"/>
                <a:gd name="T26" fmla="*/ 0 w 2"/>
                <a:gd name="T2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1">
                  <a:moveTo>
                    <a:pt x="0" y="0"/>
                  </a:moveTo>
                  <a:lnTo>
                    <a:pt x="0" y="1"/>
                  </a:lnTo>
                  <a:lnTo>
                    <a:pt x="0" y="1"/>
                  </a:lnTo>
                  <a:lnTo>
                    <a:pt x="0" y="1"/>
                  </a:lnTo>
                  <a:lnTo>
                    <a:pt x="0" y="0"/>
                  </a:lnTo>
                  <a:lnTo>
                    <a:pt x="0" y="0"/>
                  </a:lnTo>
                  <a:lnTo>
                    <a:pt x="0" y="0"/>
                  </a:lnTo>
                  <a:lnTo>
                    <a:pt x="0" y="0"/>
                  </a:lnTo>
                  <a:lnTo>
                    <a:pt x="1" y="0"/>
                  </a:lnTo>
                  <a:lnTo>
                    <a:pt x="2" y="0"/>
                  </a:lnTo>
                  <a:lnTo>
                    <a:pt x="2" y="0"/>
                  </a:lnTo>
                  <a:lnTo>
                    <a:pt x="2" y="0"/>
                  </a:lnTo>
                  <a:lnTo>
                    <a:pt x="2"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44" name="Freeform 1409">
              <a:extLst>
                <a:ext uri="{FF2B5EF4-FFF2-40B4-BE49-F238E27FC236}">
                  <a16:creationId xmlns:a16="http://schemas.microsoft.com/office/drawing/2014/main" id="{1C26357B-1BE6-4063-B1E3-EB933C0037FE}"/>
                </a:ext>
              </a:extLst>
            </p:cNvPr>
            <p:cNvSpPr>
              <a:spLocks/>
            </p:cNvSpPr>
            <p:nvPr/>
          </p:nvSpPr>
          <p:spPr bwMode="auto">
            <a:xfrm>
              <a:off x="5907925" y="2222711"/>
              <a:ext cx="1336" cy="1336"/>
            </a:xfrm>
            <a:custGeom>
              <a:avLst/>
              <a:gdLst>
                <a:gd name="T0" fmla="*/ 0 w 1"/>
                <a:gd name="T1" fmla="*/ 0 h 1"/>
                <a:gd name="T2" fmla="*/ 1 w 1"/>
                <a:gd name="T3" fmla="*/ 0 h 1"/>
                <a:gd name="T4" fmla="*/ 1 w 1"/>
                <a:gd name="T5" fmla="*/ 0 h 1"/>
                <a:gd name="T6" fmla="*/ 1 w 1"/>
                <a:gd name="T7" fmla="*/ 0 h 1"/>
                <a:gd name="T8" fmla="*/ 1 w 1"/>
                <a:gd name="T9" fmla="*/ 1 h 1"/>
                <a:gd name="T10" fmla="*/ 1 w 1"/>
                <a:gd name="T11" fmla="*/ 1 h 1"/>
                <a:gd name="T12" fmla="*/ 0 w 1"/>
                <a:gd name="T13" fmla="*/ 0 h 1"/>
                <a:gd name="T14" fmla="*/ 0 w 1"/>
                <a:gd name="T15" fmla="*/ 0 h 1"/>
                <a:gd name="T16" fmla="*/ 0 w 1"/>
                <a:gd name="T17" fmla="*/ 0 h 1"/>
                <a:gd name="T18" fmla="*/ 0 w 1"/>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
                  <a:moveTo>
                    <a:pt x="0" y="0"/>
                  </a:moveTo>
                  <a:lnTo>
                    <a:pt x="1" y="0"/>
                  </a:lnTo>
                  <a:lnTo>
                    <a:pt x="1" y="0"/>
                  </a:lnTo>
                  <a:lnTo>
                    <a:pt x="1" y="0"/>
                  </a:lnTo>
                  <a:lnTo>
                    <a:pt x="1" y="1"/>
                  </a:lnTo>
                  <a:lnTo>
                    <a:pt x="1" y="1"/>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45" name="Freeform 1410">
              <a:extLst>
                <a:ext uri="{FF2B5EF4-FFF2-40B4-BE49-F238E27FC236}">
                  <a16:creationId xmlns:a16="http://schemas.microsoft.com/office/drawing/2014/main" id="{C7964908-9794-4FDC-A19E-03EB6DD2A901}"/>
                </a:ext>
              </a:extLst>
            </p:cNvPr>
            <p:cNvSpPr>
              <a:spLocks/>
            </p:cNvSpPr>
            <p:nvPr/>
          </p:nvSpPr>
          <p:spPr bwMode="auto">
            <a:xfrm>
              <a:off x="5972028" y="2113201"/>
              <a:ext cx="1336" cy="2671"/>
            </a:xfrm>
            <a:custGeom>
              <a:avLst/>
              <a:gdLst>
                <a:gd name="T0" fmla="*/ 0 w 1"/>
                <a:gd name="T1" fmla="*/ 0 h 2"/>
                <a:gd name="T2" fmla="*/ 0 w 1"/>
                <a:gd name="T3" fmla="*/ 0 h 2"/>
                <a:gd name="T4" fmla="*/ 1 w 1"/>
                <a:gd name="T5" fmla="*/ 0 h 2"/>
                <a:gd name="T6" fmla="*/ 1 w 1"/>
                <a:gd name="T7" fmla="*/ 0 h 2"/>
                <a:gd name="T8" fmla="*/ 1 w 1"/>
                <a:gd name="T9" fmla="*/ 0 h 2"/>
                <a:gd name="T10" fmla="*/ 1 w 1"/>
                <a:gd name="T11" fmla="*/ 0 h 2"/>
                <a:gd name="T12" fmla="*/ 1 w 1"/>
                <a:gd name="T13" fmla="*/ 0 h 2"/>
                <a:gd name="T14" fmla="*/ 1 w 1"/>
                <a:gd name="T15" fmla="*/ 0 h 2"/>
                <a:gd name="T16" fmla="*/ 1 w 1"/>
                <a:gd name="T17" fmla="*/ 0 h 2"/>
                <a:gd name="T18" fmla="*/ 1 w 1"/>
                <a:gd name="T19" fmla="*/ 0 h 2"/>
                <a:gd name="T20" fmla="*/ 1 w 1"/>
                <a:gd name="T21" fmla="*/ 0 h 2"/>
                <a:gd name="T22" fmla="*/ 1 w 1"/>
                <a:gd name="T23" fmla="*/ 2 h 2"/>
                <a:gd name="T24" fmla="*/ 1 w 1"/>
                <a:gd name="T25" fmla="*/ 2 h 2"/>
                <a:gd name="T26" fmla="*/ 0 w 1"/>
                <a:gd name="T27" fmla="*/ 2 h 2"/>
                <a:gd name="T28" fmla="*/ 0 w 1"/>
                <a:gd name="T29" fmla="*/ 2 h 2"/>
                <a:gd name="T30" fmla="*/ 0 w 1"/>
                <a:gd name="T31" fmla="*/ 2 h 2"/>
                <a:gd name="T32" fmla="*/ 0 w 1"/>
                <a:gd name="T33" fmla="*/ 2 h 2"/>
                <a:gd name="T34" fmla="*/ 0 w 1"/>
                <a:gd name="T35" fmla="*/ 2 h 2"/>
                <a:gd name="T36" fmla="*/ 0 w 1"/>
                <a:gd name="T37" fmla="*/ 2 h 2"/>
                <a:gd name="T38" fmla="*/ 0 w 1"/>
                <a:gd name="T39" fmla="*/ 2 h 2"/>
                <a:gd name="T40" fmla="*/ 0 w 1"/>
                <a:gd name="T41" fmla="*/ 2 h 2"/>
                <a:gd name="T42" fmla="*/ 0 w 1"/>
                <a:gd name="T43" fmla="*/ 0 h 2"/>
                <a:gd name="T44" fmla="*/ 0 w 1"/>
                <a:gd name="T45" fmla="*/ 0 h 2"/>
                <a:gd name="T46" fmla="*/ 0 w 1"/>
                <a:gd name="T47" fmla="*/ 0 h 2"/>
                <a:gd name="T48" fmla="*/ 0 w 1"/>
                <a:gd name="T49" fmla="*/ 0 h 2"/>
                <a:gd name="T50" fmla="*/ 0 w 1"/>
                <a:gd name="T51" fmla="*/ 0 h 2"/>
                <a:gd name="T52" fmla="*/ 0 w 1"/>
                <a:gd name="T53" fmla="*/ 0 h 2"/>
                <a:gd name="T54" fmla="*/ 0 w 1"/>
                <a:gd name="T55" fmla="*/ 0 h 2"/>
                <a:gd name="T56" fmla="*/ 0 w 1"/>
                <a:gd name="T5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 h="2">
                  <a:moveTo>
                    <a:pt x="0" y="0"/>
                  </a:moveTo>
                  <a:lnTo>
                    <a:pt x="0" y="0"/>
                  </a:lnTo>
                  <a:lnTo>
                    <a:pt x="1" y="0"/>
                  </a:lnTo>
                  <a:lnTo>
                    <a:pt x="1" y="0"/>
                  </a:lnTo>
                  <a:lnTo>
                    <a:pt x="1" y="0"/>
                  </a:lnTo>
                  <a:lnTo>
                    <a:pt x="1" y="0"/>
                  </a:lnTo>
                  <a:lnTo>
                    <a:pt x="1" y="0"/>
                  </a:lnTo>
                  <a:lnTo>
                    <a:pt x="1" y="0"/>
                  </a:lnTo>
                  <a:lnTo>
                    <a:pt x="1" y="0"/>
                  </a:lnTo>
                  <a:lnTo>
                    <a:pt x="1" y="0"/>
                  </a:lnTo>
                  <a:lnTo>
                    <a:pt x="1" y="0"/>
                  </a:lnTo>
                  <a:lnTo>
                    <a:pt x="1" y="2"/>
                  </a:lnTo>
                  <a:lnTo>
                    <a:pt x="1"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46" name="Freeform 1411">
              <a:extLst>
                <a:ext uri="{FF2B5EF4-FFF2-40B4-BE49-F238E27FC236}">
                  <a16:creationId xmlns:a16="http://schemas.microsoft.com/office/drawing/2014/main" id="{80F640FB-9C18-4BE3-AB77-6C45DE37262D}"/>
                </a:ext>
              </a:extLst>
            </p:cNvPr>
            <p:cNvSpPr>
              <a:spLocks/>
            </p:cNvSpPr>
            <p:nvPr/>
          </p:nvSpPr>
          <p:spPr bwMode="auto">
            <a:xfrm>
              <a:off x="5968022" y="2113201"/>
              <a:ext cx="2671" cy="0"/>
            </a:xfrm>
            <a:custGeom>
              <a:avLst/>
              <a:gdLst>
                <a:gd name="T0" fmla="*/ 2 w 2"/>
                <a:gd name="T1" fmla="*/ 2 w 2"/>
                <a:gd name="T2" fmla="*/ 2 w 2"/>
                <a:gd name="T3" fmla="*/ 2 w 2"/>
                <a:gd name="T4" fmla="*/ 2 w 2"/>
                <a:gd name="T5" fmla="*/ 2 w 2"/>
                <a:gd name="T6" fmla="*/ 2 w 2"/>
                <a:gd name="T7" fmla="*/ 2 w 2"/>
                <a:gd name="T8" fmla="*/ 2 w 2"/>
                <a:gd name="T9" fmla="*/ 2 w 2"/>
                <a:gd name="T10" fmla="*/ 2 w 2"/>
                <a:gd name="T11" fmla="*/ 2 w 2"/>
                <a:gd name="T12" fmla="*/ 2 w 2"/>
                <a:gd name="T13" fmla="*/ 2 w 2"/>
                <a:gd name="T14" fmla="*/ 0 w 2"/>
                <a:gd name="T15" fmla="*/ 0 w 2"/>
                <a:gd name="T16" fmla="*/ 0 w 2"/>
                <a:gd name="T17" fmla="*/ 0 w 2"/>
                <a:gd name="T18" fmla="*/ 0 w 2"/>
                <a:gd name="T19" fmla="*/ 2 w 2"/>
                <a:gd name="T20" fmla="*/ 2 w 2"/>
                <a:gd name="T21" fmla="*/ 2 w 2"/>
                <a:gd name="T22" fmla="*/ 2 w 2"/>
                <a:gd name="T23" fmla="*/ 2 w 2"/>
                <a:gd name="T24"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Lst>
              <a:rect l="0" t="0" r="r" b="b"/>
              <a:pathLst>
                <a:path w="2">
                  <a:moveTo>
                    <a:pt x="2" y="0"/>
                  </a:move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0" y="0"/>
                  </a:lnTo>
                  <a:lnTo>
                    <a:pt x="0" y="0"/>
                  </a:lnTo>
                  <a:lnTo>
                    <a:pt x="0" y="0"/>
                  </a:lnTo>
                  <a:lnTo>
                    <a:pt x="0" y="0"/>
                  </a:lnTo>
                  <a:lnTo>
                    <a:pt x="0" y="0"/>
                  </a:lnTo>
                  <a:lnTo>
                    <a:pt x="2" y="0"/>
                  </a:lnTo>
                  <a:lnTo>
                    <a:pt x="2" y="0"/>
                  </a:lnTo>
                  <a:lnTo>
                    <a:pt x="2"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47" name="Freeform 1412">
              <a:extLst>
                <a:ext uri="{FF2B5EF4-FFF2-40B4-BE49-F238E27FC236}">
                  <a16:creationId xmlns:a16="http://schemas.microsoft.com/office/drawing/2014/main" id="{6DF8E198-715B-4333-BDD5-EABD788F597F}"/>
                </a:ext>
              </a:extLst>
            </p:cNvPr>
            <p:cNvSpPr>
              <a:spLocks/>
            </p:cNvSpPr>
            <p:nvPr/>
          </p:nvSpPr>
          <p:spPr bwMode="auto">
            <a:xfrm>
              <a:off x="5890564" y="2111866"/>
              <a:ext cx="4007" cy="1336"/>
            </a:xfrm>
            <a:custGeom>
              <a:avLst/>
              <a:gdLst>
                <a:gd name="T0" fmla="*/ 0 w 3"/>
                <a:gd name="T1" fmla="*/ 0 h 1"/>
                <a:gd name="T2" fmla="*/ 0 w 3"/>
                <a:gd name="T3" fmla="*/ 0 h 1"/>
                <a:gd name="T4" fmla="*/ 0 w 3"/>
                <a:gd name="T5" fmla="*/ 0 h 1"/>
                <a:gd name="T6" fmla="*/ 0 w 3"/>
                <a:gd name="T7" fmla="*/ 0 h 1"/>
                <a:gd name="T8" fmla="*/ 1 w 3"/>
                <a:gd name="T9" fmla="*/ 1 h 1"/>
                <a:gd name="T10" fmla="*/ 1 w 3"/>
                <a:gd name="T11" fmla="*/ 1 h 1"/>
                <a:gd name="T12" fmla="*/ 1 w 3"/>
                <a:gd name="T13" fmla="*/ 0 h 1"/>
                <a:gd name="T14" fmla="*/ 1 w 3"/>
                <a:gd name="T15" fmla="*/ 0 h 1"/>
                <a:gd name="T16" fmla="*/ 1 w 3"/>
                <a:gd name="T17" fmla="*/ 1 h 1"/>
                <a:gd name="T18" fmla="*/ 3 w 3"/>
                <a:gd name="T19" fmla="*/ 1 h 1"/>
                <a:gd name="T20" fmla="*/ 3 w 3"/>
                <a:gd name="T21" fmla="*/ 1 h 1"/>
                <a:gd name="T22" fmla="*/ 3 w 3"/>
                <a:gd name="T23" fmla="*/ 1 h 1"/>
                <a:gd name="T24" fmla="*/ 1 w 3"/>
                <a:gd name="T25" fmla="*/ 1 h 1"/>
                <a:gd name="T26" fmla="*/ 0 w 3"/>
                <a:gd name="T27" fmla="*/ 1 h 1"/>
                <a:gd name="T28" fmla="*/ 0 w 3"/>
                <a:gd name="T29" fmla="*/ 1 h 1"/>
                <a:gd name="T30" fmla="*/ 0 w 3"/>
                <a:gd name="T31" fmla="*/ 0 h 1"/>
                <a:gd name="T32" fmla="*/ 0 w 3"/>
                <a:gd name="T33" fmla="*/ 0 h 1"/>
                <a:gd name="T34" fmla="*/ 0 w 3"/>
                <a:gd name="T35" fmla="*/ 0 h 1"/>
                <a:gd name="T36" fmla="*/ 0 w 3"/>
                <a:gd name="T3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 h="1">
                  <a:moveTo>
                    <a:pt x="0" y="0"/>
                  </a:moveTo>
                  <a:lnTo>
                    <a:pt x="0" y="0"/>
                  </a:lnTo>
                  <a:lnTo>
                    <a:pt x="0" y="0"/>
                  </a:lnTo>
                  <a:lnTo>
                    <a:pt x="0" y="0"/>
                  </a:lnTo>
                  <a:lnTo>
                    <a:pt x="1" y="1"/>
                  </a:lnTo>
                  <a:lnTo>
                    <a:pt x="1" y="1"/>
                  </a:lnTo>
                  <a:lnTo>
                    <a:pt x="1" y="0"/>
                  </a:lnTo>
                  <a:lnTo>
                    <a:pt x="1" y="0"/>
                  </a:lnTo>
                  <a:lnTo>
                    <a:pt x="1" y="1"/>
                  </a:lnTo>
                  <a:lnTo>
                    <a:pt x="3" y="1"/>
                  </a:lnTo>
                  <a:lnTo>
                    <a:pt x="3" y="1"/>
                  </a:lnTo>
                  <a:lnTo>
                    <a:pt x="3" y="1"/>
                  </a:lnTo>
                  <a:lnTo>
                    <a:pt x="1" y="1"/>
                  </a:lnTo>
                  <a:lnTo>
                    <a:pt x="0" y="1"/>
                  </a:lnTo>
                  <a:lnTo>
                    <a:pt x="0" y="1"/>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48" name="Freeform 1413">
              <a:extLst>
                <a:ext uri="{FF2B5EF4-FFF2-40B4-BE49-F238E27FC236}">
                  <a16:creationId xmlns:a16="http://schemas.microsoft.com/office/drawing/2014/main" id="{55C86917-AC16-47CD-8949-76A268A2653C}"/>
                </a:ext>
              </a:extLst>
            </p:cNvPr>
            <p:cNvSpPr>
              <a:spLocks/>
            </p:cNvSpPr>
            <p:nvPr/>
          </p:nvSpPr>
          <p:spPr bwMode="auto">
            <a:xfrm>
              <a:off x="5887893" y="2110530"/>
              <a:ext cx="1336" cy="1336"/>
            </a:xfrm>
            <a:custGeom>
              <a:avLst/>
              <a:gdLst>
                <a:gd name="T0" fmla="*/ 0 w 1"/>
                <a:gd name="T1" fmla="*/ 1 h 1"/>
                <a:gd name="T2" fmla="*/ 0 w 1"/>
                <a:gd name="T3" fmla="*/ 1 h 1"/>
                <a:gd name="T4" fmla="*/ 0 w 1"/>
                <a:gd name="T5" fmla="*/ 1 h 1"/>
                <a:gd name="T6" fmla="*/ 0 w 1"/>
                <a:gd name="T7" fmla="*/ 1 h 1"/>
                <a:gd name="T8" fmla="*/ 0 w 1"/>
                <a:gd name="T9" fmla="*/ 1 h 1"/>
                <a:gd name="T10" fmla="*/ 0 w 1"/>
                <a:gd name="T11" fmla="*/ 1 h 1"/>
                <a:gd name="T12" fmla="*/ 0 w 1"/>
                <a:gd name="T13" fmla="*/ 1 h 1"/>
                <a:gd name="T14" fmla="*/ 0 w 1"/>
                <a:gd name="T15" fmla="*/ 1 h 1"/>
                <a:gd name="T16" fmla="*/ 0 w 1"/>
                <a:gd name="T17" fmla="*/ 1 h 1"/>
                <a:gd name="T18" fmla="*/ 0 w 1"/>
                <a:gd name="T19" fmla="*/ 1 h 1"/>
                <a:gd name="T20" fmla="*/ 0 w 1"/>
                <a:gd name="T21" fmla="*/ 0 h 1"/>
                <a:gd name="T22" fmla="*/ 0 w 1"/>
                <a:gd name="T23" fmla="*/ 0 h 1"/>
                <a:gd name="T24" fmla="*/ 0 w 1"/>
                <a:gd name="T25" fmla="*/ 0 h 1"/>
                <a:gd name="T26" fmla="*/ 0 w 1"/>
                <a:gd name="T27" fmla="*/ 0 h 1"/>
                <a:gd name="T28" fmla="*/ 0 w 1"/>
                <a:gd name="T29" fmla="*/ 0 h 1"/>
                <a:gd name="T30" fmla="*/ 0 w 1"/>
                <a:gd name="T31" fmla="*/ 0 h 1"/>
                <a:gd name="T32" fmla="*/ 0 w 1"/>
                <a:gd name="T33" fmla="*/ 0 h 1"/>
                <a:gd name="T34" fmla="*/ 0 w 1"/>
                <a:gd name="T35" fmla="*/ 0 h 1"/>
                <a:gd name="T36" fmla="*/ 0 w 1"/>
                <a:gd name="T37" fmla="*/ 0 h 1"/>
                <a:gd name="T38" fmla="*/ 0 w 1"/>
                <a:gd name="T39" fmla="*/ 0 h 1"/>
                <a:gd name="T40" fmla="*/ 0 w 1"/>
                <a:gd name="T41" fmla="*/ 0 h 1"/>
                <a:gd name="T42" fmla="*/ 0 w 1"/>
                <a:gd name="T43" fmla="*/ 0 h 1"/>
                <a:gd name="T44" fmla="*/ 1 w 1"/>
                <a:gd name="T45" fmla="*/ 0 h 1"/>
                <a:gd name="T46" fmla="*/ 1 w 1"/>
                <a:gd name="T47" fmla="*/ 1 h 1"/>
                <a:gd name="T48" fmla="*/ 0 w 1"/>
                <a:gd name="T49" fmla="*/ 1 h 1"/>
                <a:gd name="T50" fmla="*/ 0 w 1"/>
                <a:gd name="T5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 h="1">
                  <a:moveTo>
                    <a:pt x="0" y="1"/>
                  </a:moveTo>
                  <a:lnTo>
                    <a:pt x="0" y="1"/>
                  </a:lnTo>
                  <a:lnTo>
                    <a:pt x="0" y="1"/>
                  </a:lnTo>
                  <a:lnTo>
                    <a:pt x="0" y="1"/>
                  </a:lnTo>
                  <a:lnTo>
                    <a:pt x="0" y="1"/>
                  </a:lnTo>
                  <a:lnTo>
                    <a:pt x="0" y="1"/>
                  </a:lnTo>
                  <a:lnTo>
                    <a:pt x="0" y="1"/>
                  </a:lnTo>
                  <a:lnTo>
                    <a:pt x="0" y="1"/>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1" y="0"/>
                  </a:lnTo>
                  <a:lnTo>
                    <a:pt x="1" y="1"/>
                  </a:lnTo>
                  <a:lnTo>
                    <a:pt x="0" y="1"/>
                  </a:lnTo>
                  <a:lnTo>
                    <a:pt x="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49" name="Freeform 1414">
              <a:extLst>
                <a:ext uri="{FF2B5EF4-FFF2-40B4-BE49-F238E27FC236}">
                  <a16:creationId xmlns:a16="http://schemas.microsoft.com/office/drawing/2014/main" id="{33282CED-4306-47A1-A41B-B3FAEBBD178D}"/>
                </a:ext>
              </a:extLst>
            </p:cNvPr>
            <p:cNvSpPr>
              <a:spLocks/>
            </p:cNvSpPr>
            <p:nvPr/>
          </p:nvSpPr>
          <p:spPr bwMode="auto">
            <a:xfrm>
              <a:off x="5895906" y="2109195"/>
              <a:ext cx="2671" cy="1336"/>
            </a:xfrm>
            <a:custGeom>
              <a:avLst/>
              <a:gdLst>
                <a:gd name="T0" fmla="*/ 1 w 2"/>
                <a:gd name="T1" fmla="*/ 1 h 1"/>
                <a:gd name="T2" fmla="*/ 0 w 2"/>
                <a:gd name="T3" fmla="*/ 1 h 1"/>
                <a:gd name="T4" fmla="*/ 0 w 2"/>
                <a:gd name="T5" fmla="*/ 1 h 1"/>
                <a:gd name="T6" fmla="*/ 0 w 2"/>
                <a:gd name="T7" fmla="*/ 1 h 1"/>
                <a:gd name="T8" fmla="*/ 0 w 2"/>
                <a:gd name="T9" fmla="*/ 0 h 1"/>
                <a:gd name="T10" fmla="*/ 0 w 2"/>
                <a:gd name="T11" fmla="*/ 0 h 1"/>
                <a:gd name="T12" fmla="*/ 1 w 2"/>
                <a:gd name="T13" fmla="*/ 0 h 1"/>
                <a:gd name="T14" fmla="*/ 1 w 2"/>
                <a:gd name="T15" fmla="*/ 0 h 1"/>
                <a:gd name="T16" fmla="*/ 2 w 2"/>
                <a:gd name="T17" fmla="*/ 1 h 1"/>
                <a:gd name="T18" fmla="*/ 2 w 2"/>
                <a:gd name="T19" fmla="*/ 1 h 1"/>
                <a:gd name="T20" fmla="*/ 1 w 2"/>
                <a:gd name="T21" fmla="*/ 1 h 1"/>
                <a:gd name="T22" fmla="*/ 1 w 2"/>
                <a:gd name="T2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1">
                  <a:moveTo>
                    <a:pt x="1" y="1"/>
                  </a:moveTo>
                  <a:lnTo>
                    <a:pt x="0" y="1"/>
                  </a:lnTo>
                  <a:lnTo>
                    <a:pt x="0" y="1"/>
                  </a:lnTo>
                  <a:lnTo>
                    <a:pt x="0" y="1"/>
                  </a:lnTo>
                  <a:lnTo>
                    <a:pt x="0" y="0"/>
                  </a:lnTo>
                  <a:lnTo>
                    <a:pt x="0" y="0"/>
                  </a:lnTo>
                  <a:lnTo>
                    <a:pt x="1" y="0"/>
                  </a:lnTo>
                  <a:lnTo>
                    <a:pt x="1" y="0"/>
                  </a:lnTo>
                  <a:lnTo>
                    <a:pt x="2" y="1"/>
                  </a:lnTo>
                  <a:lnTo>
                    <a:pt x="2"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50" name="Freeform 1415">
              <a:extLst>
                <a:ext uri="{FF2B5EF4-FFF2-40B4-BE49-F238E27FC236}">
                  <a16:creationId xmlns:a16="http://schemas.microsoft.com/office/drawing/2014/main" id="{7D059E09-8060-4745-BAEE-BAFE1B2DB5C7}"/>
                </a:ext>
              </a:extLst>
            </p:cNvPr>
            <p:cNvSpPr>
              <a:spLocks/>
            </p:cNvSpPr>
            <p:nvPr/>
          </p:nvSpPr>
          <p:spPr bwMode="auto">
            <a:xfrm>
              <a:off x="5885222" y="2107859"/>
              <a:ext cx="1336" cy="4007"/>
            </a:xfrm>
            <a:custGeom>
              <a:avLst/>
              <a:gdLst>
                <a:gd name="T0" fmla="*/ 1 w 1"/>
                <a:gd name="T1" fmla="*/ 1 h 3"/>
                <a:gd name="T2" fmla="*/ 1 w 1"/>
                <a:gd name="T3" fmla="*/ 2 h 3"/>
                <a:gd name="T4" fmla="*/ 1 w 1"/>
                <a:gd name="T5" fmla="*/ 2 h 3"/>
                <a:gd name="T6" fmla="*/ 1 w 1"/>
                <a:gd name="T7" fmla="*/ 2 h 3"/>
                <a:gd name="T8" fmla="*/ 1 w 1"/>
                <a:gd name="T9" fmla="*/ 2 h 3"/>
                <a:gd name="T10" fmla="*/ 1 w 1"/>
                <a:gd name="T11" fmla="*/ 2 h 3"/>
                <a:gd name="T12" fmla="*/ 1 w 1"/>
                <a:gd name="T13" fmla="*/ 3 h 3"/>
                <a:gd name="T14" fmla="*/ 1 w 1"/>
                <a:gd name="T15" fmla="*/ 3 h 3"/>
                <a:gd name="T16" fmla="*/ 0 w 1"/>
                <a:gd name="T17" fmla="*/ 3 h 3"/>
                <a:gd name="T18" fmla="*/ 0 w 1"/>
                <a:gd name="T19" fmla="*/ 3 h 3"/>
                <a:gd name="T20" fmla="*/ 0 w 1"/>
                <a:gd name="T21" fmla="*/ 3 h 3"/>
                <a:gd name="T22" fmla="*/ 0 w 1"/>
                <a:gd name="T23" fmla="*/ 3 h 3"/>
                <a:gd name="T24" fmla="*/ 0 w 1"/>
                <a:gd name="T25" fmla="*/ 3 h 3"/>
                <a:gd name="T26" fmla="*/ 0 w 1"/>
                <a:gd name="T27" fmla="*/ 2 h 3"/>
                <a:gd name="T28" fmla="*/ 0 w 1"/>
                <a:gd name="T29" fmla="*/ 2 h 3"/>
                <a:gd name="T30" fmla="*/ 0 w 1"/>
                <a:gd name="T31" fmla="*/ 2 h 3"/>
                <a:gd name="T32" fmla="*/ 0 w 1"/>
                <a:gd name="T33" fmla="*/ 2 h 3"/>
                <a:gd name="T34" fmla="*/ 0 w 1"/>
                <a:gd name="T35" fmla="*/ 2 h 3"/>
                <a:gd name="T36" fmla="*/ 0 w 1"/>
                <a:gd name="T37" fmla="*/ 1 h 3"/>
                <a:gd name="T38" fmla="*/ 0 w 1"/>
                <a:gd name="T39" fmla="*/ 1 h 3"/>
                <a:gd name="T40" fmla="*/ 0 w 1"/>
                <a:gd name="T41" fmla="*/ 1 h 3"/>
                <a:gd name="T42" fmla="*/ 0 w 1"/>
                <a:gd name="T43" fmla="*/ 1 h 3"/>
                <a:gd name="T44" fmla="*/ 0 w 1"/>
                <a:gd name="T45" fmla="*/ 1 h 3"/>
                <a:gd name="T46" fmla="*/ 0 w 1"/>
                <a:gd name="T47" fmla="*/ 1 h 3"/>
                <a:gd name="T48" fmla="*/ 0 w 1"/>
                <a:gd name="T49" fmla="*/ 1 h 3"/>
                <a:gd name="T50" fmla="*/ 0 w 1"/>
                <a:gd name="T51" fmla="*/ 0 h 3"/>
                <a:gd name="T52" fmla="*/ 0 w 1"/>
                <a:gd name="T53" fmla="*/ 0 h 3"/>
                <a:gd name="T54" fmla="*/ 0 w 1"/>
                <a:gd name="T55" fmla="*/ 0 h 3"/>
                <a:gd name="T56" fmla="*/ 0 w 1"/>
                <a:gd name="T57" fmla="*/ 0 h 3"/>
                <a:gd name="T58" fmla="*/ 0 w 1"/>
                <a:gd name="T59" fmla="*/ 0 h 3"/>
                <a:gd name="T60" fmla="*/ 0 w 1"/>
                <a:gd name="T61" fmla="*/ 0 h 3"/>
                <a:gd name="T62" fmla="*/ 0 w 1"/>
                <a:gd name="T63" fmla="*/ 1 h 3"/>
                <a:gd name="T64" fmla="*/ 0 w 1"/>
                <a:gd name="T65" fmla="*/ 1 h 3"/>
                <a:gd name="T66" fmla="*/ 1 w 1"/>
                <a:gd name="T67" fmla="*/ 1 h 3"/>
                <a:gd name="T68" fmla="*/ 1 w 1"/>
                <a:gd name="T69" fmla="*/ 1 h 3"/>
                <a:gd name="T70" fmla="*/ 1 w 1"/>
                <a:gd name="T71" fmla="*/ 1 h 3"/>
                <a:gd name="T72" fmla="*/ 1 w 1"/>
                <a:gd name="T73" fmla="*/ 1 h 3"/>
                <a:gd name="T74" fmla="*/ 1 w 1"/>
                <a:gd name="T75" fmla="*/ 1 h 3"/>
                <a:gd name="T76" fmla="*/ 1 w 1"/>
                <a:gd name="T77" fmla="*/ 1 h 3"/>
                <a:gd name="T78" fmla="*/ 1 w 1"/>
                <a:gd name="T79"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 h="3">
                  <a:moveTo>
                    <a:pt x="1" y="1"/>
                  </a:moveTo>
                  <a:lnTo>
                    <a:pt x="1" y="2"/>
                  </a:lnTo>
                  <a:lnTo>
                    <a:pt x="1" y="2"/>
                  </a:lnTo>
                  <a:lnTo>
                    <a:pt x="1" y="2"/>
                  </a:lnTo>
                  <a:lnTo>
                    <a:pt x="1" y="2"/>
                  </a:lnTo>
                  <a:lnTo>
                    <a:pt x="1" y="2"/>
                  </a:lnTo>
                  <a:lnTo>
                    <a:pt x="1" y="3"/>
                  </a:lnTo>
                  <a:lnTo>
                    <a:pt x="1" y="3"/>
                  </a:lnTo>
                  <a:lnTo>
                    <a:pt x="0" y="3"/>
                  </a:lnTo>
                  <a:lnTo>
                    <a:pt x="0" y="3"/>
                  </a:lnTo>
                  <a:lnTo>
                    <a:pt x="0" y="3"/>
                  </a:lnTo>
                  <a:lnTo>
                    <a:pt x="0" y="3"/>
                  </a:lnTo>
                  <a:lnTo>
                    <a:pt x="0" y="3"/>
                  </a:lnTo>
                  <a:lnTo>
                    <a:pt x="0" y="2"/>
                  </a:lnTo>
                  <a:lnTo>
                    <a:pt x="0" y="2"/>
                  </a:lnTo>
                  <a:lnTo>
                    <a:pt x="0" y="2"/>
                  </a:lnTo>
                  <a:lnTo>
                    <a:pt x="0" y="2"/>
                  </a:lnTo>
                  <a:lnTo>
                    <a:pt x="0" y="2"/>
                  </a:lnTo>
                  <a:lnTo>
                    <a:pt x="0" y="1"/>
                  </a:lnTo>
                  <a:lnTo>
                    <a:pt x="0" y="1"/>
                  </a:lnTo>
                  <a:lnTo>
                    <a:pt x="0" y="1"/>
                  </a:lnTo>
                  <a:lnTo>
                    <a:pt x="0" y="1"/>
                  </a:lnTo>
                  <a:lnTo>
                    <a:pt x="0" y="1"/>
                  </a:lnTo>
                  <a:lnTo>
                    <a:pt x="0" y="1"/>
                  </a:lnTo>
                  <a:lnTo>
                    <a:pt x="0" y="1"/>
                  </a:lnTo>
                  <a:lnTo>
                    <a:pt x="0" y="0"/>
                  </a:lnTo>
                  <a:lnTo>
                    <a:pt x="0" y="0"/>
                  </a:lnTo>
                  <a:lnTo>
                    <a:pt x="0" y="0"/>
                  </a:lnTo>
                  <a:lnTo>
                    <a:pt x="0" y="0"/>
                  </a:lnTo>
                  <a:lnTo>
                    <a:pt x="0" y="0"/>
                  </a:lnTo>
                  <a:lnTo>
                    <a:pt x="0" y="0"/>
                  </a:lnTo>
                  <a:lnTo>
                    <a:pt x="0" y="1"/>
                  </a:lnTo>
                  <a:lnTo>
                    <a:pt x="0" y="1"/>
                  </a:lnTo>
                  <a:lnTo>
                    <a:pt x="1" y="1"/>
                  </a:lnTo>
                  <a:lnTo>
                    <a:pt x="1" y="1"/>
                  </a:lnTo>
                  <a:lnTo>
                    <a:pt x="1" y="1"/>
                  </a:lnTo>
                  <a:lnTo>
                    <a:pt x="1" y="1"/>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51" name="Freeform 1416">
              <a:extLst>
                <a:ext uri="{FF2B5EF4-FFF2-40B4-BE49-F238E27FC236}">
                  <a16:creationId xmlns:a16="http://schemas.microsoft.com/office/drawing/2014/main" id="{91E981AB-0D99-4273-82B0-A0CF505A006D}"/>
                </a:ext>
              </a:extLst>
            </p:cNvPr>
            <p:cNvSpPr>
              <a:spLocks/>
            </p:cNvSpPr>
            <p:nvPr/>
          </p:nvSpPr>
          <p:spPr bwMode="auto">
            <a:xfrm>
              <a:off x="5881215" y="2098511"/>
              <a:ext cx="5342" cy="5342"/>
            </a:xfrm>
            <a:custGeom>
              <a:avLst/>
              <a:gdLst>
                <a:gd name="T0" fmla="*/ 3 w 4"/>
                <a:gd name="T1" fmla="*/ 1 h 4"/>
                <a:gd name="T2" fmla="*/ 3 w 4"/>
                <a:gd name="T3" fmla="*/ 1 h 4"/>
                <a:gd name="T4" fmla="*/ 3 w 4"/>
                <a:gd name="T5" fmla="*/ 1 h 4"/>
                <a:gd name="T6" fmla="*/ 3 w 4"/>
                <a:gd name="T7" fmla="*/ 1 h 4"/>
                <a:gd name="T8" fmla="*/ 4 w 4"/>
                <a:gd name="T9" fmla="*/ 2 h 4"/>
                <a:gd name="T10" fmla="*/ 4 w 4"/>
                <a:gd name="T11" fmla="*/ 2 h 4"/>
                <a:gd name="T12" fmla="*/ 4 w 4"/>
                <a:gd name="T13" fmla="*/ 2 h 4"/>
                <a:gd name="T14" fmla="*/ 3 w 4"/>
                <a:gd name="T15" fmla="*/ 3 h 4"/>
                <a:gd name="T16" fmla="*/ 3 w 4"/>
                <a:gd name="T17" fmla="*/ 2 h 4"/>
                <a:gd name="T18" fmla="*/ 4 w 4"/>
                <a:gd name="T19" fmla="*/ 2 h 4"/>
                <a:gd name="T20" fmla="*/ 4 w 4"/>
                <a:gd name="T21" fmla="*/ 2 h 4"/>
                <a:gd name="T22" fmla="*/ 3 w 4"/>
                <a:gd name="T23" fmla="*/ 2 h 4"/>
                <a:gd name="T24" fmla="*/ 3 w 4"/>
                <a:gd name="T25" fmla="*/ 2 h 4"/>
                <a:gd name="T26" fmla="*/ 3 w 4"/>
                <a:gd name="T27" fmla="*/ 2 h 4"/>
                <a:gd name="T28" fmla="*/ 3 w 4"/>
                <a:gd name="T29" fmla="*/ 2 h 4"/>
                <a:gd name="T30" fmla="*/ 3 w 4"/>
                <a:gd name="T31" fmla="*/ 2 h 4"/>
                <a:gd name="T32" fmla="*/ 3 w 4"/>
                <a:gd name="T33" fmla="*/ 2 h 4"/>
                <a:gd name="T34" fmla="*/ 3 w 4"/>
                <a:gd name="T35" fmla="*/ 2 h 4"/>
                <a:gd name="T36" fmla="*/ 1 w 4"/>
                <a:gd name="T37" fmla="*/ 3 h 4"/>
                <a:gd name="T38" fmla="*/ 1 w 4"/>
                <a:gd name="T39" fmla="*/ 3 h 4"/>
                <a:gd name="T40" fmla="*/ 3 w 4"/>
                <a:gd name="T41" fmla="*/ 3 h 4"/>
                <a:gd name="T42" fmla="*/ 3 w 4"/>
                <a:gd name="T43" fmla="*/ 3 h 4"/>
                <a:gd name="T44" fmla="*/ 3 w 4"/>
                <a:gd name="T45" fmla="*/ 3 h 4"/>
                <a:gd name="T46" fmla="*/ 3 w 4"/>
                <a:gd name="T47" fmla="*/ 3 h 4"/>
                <a:gd name="T48" fmla="*/ 3 w 4"/>
                <a:gd name="T49" fmla="*/ 3 h 4"/>
                <a:gd name="T50" fmla="*/ 3 w 4"/>
                <a:gd name="T51" fmla="*/ 4 h 4"/>
                <a:gd name="T52" fmla="*/ 1 w 4"/>
                <a:gd name="T53" fmla="*/ 4 h 4"/>
                <a:gd name="T54" fmla="*/ 1 w 4"/>
                <a:gd name="T55" fmla="*/ 4 h 4"/>
                <a:gd name="T56" fmla="*/ 1 w 4"/>
                <a:gd name="T57" fmla="*/ 3 h 4"/>
                <a:gd name="T58" fmla="*/ 1 w 4"/>
                <a:gd name="T59" fmla="*/ 3 h 4"/>
                <a:gd name="T60" fmla="*/ 1 w 4"/>
                <a:gd name="T61" fmla="*/ 2 h 4"/>
                <a:gd name="T62" fmla="*/ 3 w 4"/>
                <a:gd name="T63" fmla="*/ 2 h 4"/>
                <a:gd name="T64" fmla="*/ 1 w 4"/>
                <a:gd name="T65" fmla="*/ 2 h 4"/>
                <a:gd name="T66" fmla="*/ 1 w 4"/>
                <a:gd name="T67" fmla="*/ 1 h 4"/>
                <a:gd name="T68" fmla="*/ 0 w 4"/>
                <a:gd name="T69" fmla="*/ 1 h 4"/>
                <a:gd name="T70" fmla="*/ 0 w 4"/>
                <a:gd name="T71" fmla="*/ 1 h 4"/>
                <a:gd name="T72" fmla="*/ 1 w 4"/>
                <a:gd name="T73" fmla="*/ 1 h 4"/>
                <a:gd name="T74" fmla="*/ 1 w 4"/>
                <a:gd name="T75" fmla="*/ 1 h 4"/>
                <a:gd name="T76" fmla="*/ 1 w 4"/>
                <a:gd name="T77" fmla="*/ 1 h 4"/>
                <a:gd name="T78" fmla="*/ 1 w 4"/>
                <a:gd name="T79" fmla="*/ 1 h 4"/>
                <a:gd name="T80" fmla="*/ 1 w 4"/>
                <a:gd name="T81" fmla="*/ 1 h 4"/>
                <a:gd name="T82" fmla="*/ 1 w 4"/>
                <a:gd name="T83" fmla="*/ 0 h 4"/>
                <a:gd name="T84" fmla="*/ 1 w 4"/>
                <a:gd name="T85" fmla="*/ 0 h 4"/>
                <a:gd name="T86" fmla="*/ 1 w 4"/>
                <a:gd name="T87" fmla="*/ 0 h 4"/>
                <a:gd name="T88" fmla="*/ 3 w 4"/>
                <a:gd name="T89" fmla="*/ 1 h 4"/>
                <a:gd name="T90" fmla="*/ 3 w 4"/>
                <a:gd name="T9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 h="4">
                  <a:moveTo>
                    <a:pt x="3" y="1"/>
                  </a:moveTo>
                  <a:lnTo>
                    <a:pt x="3" y="1"/>
                  </a:lnTo>
                  <a:lnTo>
                    <a:pt x="3" y="1"/>
                  </a:lnTo>
                  <a:lnTo>
                    <a:pt x="3" y="1"/>
                  </a:lnTo>
                  <a:lnTo>
                    <a:pt x="3" y="1"/>
                  </a:lnTo>
                  <a:lnTo>
                    <a:pt x="3" y="1"/>
                  </a:lnTo>
                  <a:lnTo>
                    <a:pt x="3" y="1"/>
                  </a:lnTo>
                  <a:lnTo>
                    <a:pt x="3" y="1"/>
                  </a:lnTo>
                  <a:lnTo>
                    <a:pt x="4" y="1"/>
                  </a:lnTo>
                  <a:lnTo>
                    <a:pt x="4" y="2"/>
                  </a:lnTo>
                  <a:lnTo>
                    <a:pt x="4" y="2"/>
                  </a:lnTo>
                  <a:lnTo>
                    <a:pt x="4" y="2"/>
                  </a:lnTo>
                  <a:lnTo>
                    <a:pt x="4" y="2"/>
                  </a:lnTo>
                  <a:lnTo>
                    <a:pt x="4" y="2"/>
                  </a:lnTo>
                  <a:lnTo>
                    <a:pt x="4" y="3"/>
                  </a:lnTo>
                  <a:lnTo>
                    <a:pt x="3" y="3"/>
                  </a:lnTo>
                  <a:lnTo>
                    <a:pt x="3" y="2"/>
                  </a:lnTo>
                  <a:lnTo>
                    <a:pt x="3" y="2"/>
                  </a:lnTo>
                  <a:lnTo>
                    <a:pt x="4" y="2"/>
                  </a:lnTo>
                  <a:lnTo>
                    <a:pt x="4" y="2"/>
                  </a:lnTo>
                  <a:lnTo>
                    <a:pt x="4" y="2"/>
                  </a:lnTo>
                  <a:lnTo>
                    <a:pt x="4" y="2"/>
                  </a:lnTo>
                  <a:lnTo>
                    <a:pt x="3" y="2"/>
                  </a:lnTo>
                  <a:lnTo>
                    <a:pt x="3" y="2"/>
                  </a:lnTo>
                  <a:lnTo>
                    <a:pt x="3" y="2"/>
                  </a:lnTo>
                  <a:lnTo>
                    <a:pt x="3" y="2"/>
                  </a:lnTo>
                  <a:lnTo>
                    <a:pt x="3" y="2"/>
                  </a:lnTo>
                  <a:lnTo>
                    <a:pt x="3" y="2"/>
                  </a:lnTo>
                  <a:lnTo>
                    <a:pt x="3" y="2"/>
                  </a:lnTo>
                  <a:lnTo>
                    <a:pt x="3" y="2"/>
                  </a:lnTo>
                  <a:lnTo>
                    <a:pt x="3" y="2"/>
                  </a:lnTo>
                  <a:lnTo>
                    <a:pt x="3" y="2"/>
                  </a:lnTo>
                  <a:lnTo>
                    <a:pt x="3" y="2"/>
                  </a:lnTo>
                  <a:lnTo>
                    <a:pt x="3" y="2"/>
                  </a:lnTo>
                  <a:lnTo>
                    <a:pt x="3" y="2"/>
                  </a:lnTo>
                  <a:lnTo>
                    <a:pt x="3" y="2"/>
                  </a:lnTo>
                  <a:lnTo>
                    <a:pt x="1" y="3"/>
                  </a:lnTo>
                  <a:lnTo>
                    <a:pt x="1" y="3"/>
                  </a:lnTo>
                  <a:lnTo>
                    <a:pt x="1" y="3"/>
                  </a:lnTo>
                  <a:lnTo>
                    <a:pt x="1" y="3"/>
                  </a:lnTo>
                  <a:lnTo>
                    <a:pt x="3" y="3"/>
                  </a:lnTo>
                  <a:lnTo>
                    <a:pt x="3" y="3"/>
                  </a:lnTo>
                  <a:lnTo>
                    <a:pt x="3" y="3"/>
                  </a:lnTo>
                  <a:lnTo>
                    <a:pt x="3" y="3"/>
                  </a:lnTo>
                  <a:lnTo>
                    <a:pt x="3" y="3"/>
                  </a:lnTo>
                  <a:lnTo>
                    <a:pt x="3" y="3"/>
                  </a:lnTo>
                  <a:lnTo>
                    <a:pt x="3" y="3"/>
                  </a:lnTo>
                  <a:lnTo>
                    <a:pt x="3" y="3"/>
                  </a:lnTo>
                  <a:lnTo>
                    <a:pt x="3" y="3"/>
                  </a:lnTo>
                  <a:lnTo>
                    <a:pt x="3" y="3"/>
                  </a:lnTo>
                  <a:lnTo>
                    <a:pt x="3" y="4"/>
                  </a:lnTo>
                  <a:lnTo>
                    <a:pt x="3" y="4"/>
                  </a:lnTo>
                  <a:lnTo>
                    <a:pt x="1" y="4"/>
                  </a:lnTo>
                  <a:lnTo>
                    <a:pt x="1" y="4"/>
                  </a:lnTo>
                  <a:lnTo>
                    <a:pt x="1" y="4"/>
                  </a:lnTo>
                  <a:lnTo>
                    <a:pt x="1" y="4"/>
                  </a:lnTo>
                  <a:lnTo>
                    <a:pt x="1" y="3"/>
                  </a:lnTo>
                  <a:lnTo>
                    <a:pt x="1" y="3"/>
                  </a:lnTo>
                  <a:lnTo>
                    <a:pt x="1" y="3"/>
                  </a:lnTo>
                  <a:lnTo>
                    <a:pt x="1" y="3"/>
                  </a:lnTo>
                  <a:lnTo>
                    <a:pt x="1" y="2"/>
                  </a:lnTo>
                  <a:lnTo>
                    <a:pt x="1" y="2"/>
                  </a:lnTo>
                  <a:lnTo>
                    <a:pt x="1" y="2"/>
                  </a:lnTo>
                  <a:lnTo>
                    <a:pt x="3" y="2"/>
                  </a:lnTo>
                  <a:lnTo>
                    <a:pt x="1" y="2"/>
                  </a:lnTo>
                  <a:lnTo>
                    <a:pt x="1" y="2"/>
                  </a:lnTo>
                  <a:lnTo>
                    <a:pt x="1" y="1"/>
                  </a:lnTo>
                  <a:lnTo>
                    <a:pt x="1" y="1"/>
                  </a:lnTo>
                  <a:lnTo>
                    <a:pt x="1" y="2"/>
                  </a:lnTo>
                  <a:lnTo>
                    <a:pt x="0" y="1"/>
                  </a:lnTo>
                  <a:lnTo>
                    <a:pt x="0" y="1"/>
                  </a:lnTo>
                  <a:lnTo>
                    <a:pt x="0" y="1"/>
                  </a:lnTo>
                  <a:lnTo>
                    <a:pt x="1" y="1"/>
                  </a:lnTo>
                  <a:lnTo>
                    <a:pt x="1" y="1"/>
                  </a:lnTo>
                  <a:lnTo>
                    <a:pt x="1" y="1"/>
                  </a:lnTo>
                  <a:lnTo>
                    <a:pt x="1" y="1"/>
                  </a:lnTo>
                  <a:lnTo>
                    <a:pt x="1" y="1"/>
                  </a:lnTo>
                  <a:lnTo>
                    <a:pt x="1" y="1"/>
                  </a:lnTo>
                  <a:lnTo>
                    <a:pt x="1" y="1"/>
                  </a:lnTo>
                  <a:lnTo>
                    <a:pt x="1" y="1"/>
                  </a:lnTo>
                  <a:lnTo>
                    <a:pt x="1" y="1"/>
                  </a:lnTo>
                  <a:lnTo>
                    <a:pt x="1" y="1"/>
                  </a:lnTo>
                  <a:lnTo>
                    <a:pt x="1" y="1"/>
                  </a:lnTo>
                  <a:lnTo>
                    <a:pt x="1" y="0"/>
                  </a:lnTo>
                  <a:lnTo>
                    <a:pt x="1" y="0"/>
                  </a:lnTo>
                  <a:lnTo>
                    <a:pt x="1" y="0"/>
                  </a:lnTo>
                  <a:lnTo>
                    <a:pt x="1" y="0"/>
                  </a:lnTo>
                  <a:lnTo>
                    <a:pt x="1" y="0"/>
                  </a:lnTo>
                  <a:lnTo>
                    <a:pt x="1" y="0"/>
                  </a:lnTo>
                  <a:lnTo>
                    <a:pt x="3" y="1"/>
                  </a:lnTo>
                  <a:lnTo>
                    <a:pt x="3" y="1"/>
                  </a:lnTo>
                  <a:lnTo>
                    <a:pt x="3"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52" name="Freeform 1417">
              <a:extLst>
                <a:ext uri="{FF2B5EF4-FFF2-40B4-BE49-F238E27FC236}">
                  <a16:creationId xmlns:a16="http://schemas.microsoft.com/office/drawing/2014/main" id="{5A6369D6-EB9E-4EB4-8537-AE6B9859ACD7}"/>
                </a:ext>
              </a:extLst>
            </p:cNvPr>
            <p:cNvSpPr>
              <a:spLocks/>
            </p:cNvSpPr>
            <p:nvPr/>
          </p:nvSpPr>
          <p:spPr bwMode="auto">
            <a:xfrm>
              <a:off x="5885222" y="2097175"/>
              <a:ext cx="4007" cy="4007"/>
            </a:xfrm>
            <a:custGeom>
              <a:avLst/>
              <a:gdLst>
                <a:gd name="T0" fmla="*/ 3 w 3"/>
                <a:gd name="T1" fmla="*/ 2 h 3"/>
                <a:gd name="T2" fmla="*/ 2 w 3"/>
                <a:gd name="T3" fmla="*/ 2 h 3"/>
                <a:gd name="T4" fmla="*/ 2 w 3"/>
                <a:gd name="T5" fmla="*/ 3 h 3"/>
                <a:gd name="T6" fmla="*/ 1 w 3"/>
                <a:gd name="T7" fmla="*/ 3 h 3"/>
                <a:gd name="T8" fmla="*/ 1 w 3"/>
                <a:gd name="T9" fmla="*/ 2 h 3"/>
                <a:gd name="T10" fmla="*/ 1 w 3"/>
                <a:gd name="T11" fmla="*/ 2 h 3"/>
                <a:gd name="T12" fmla="*/ 1 w 3"/>
                <a:gd name="T13" fmla="*/ 2 h 3"/>
                <a:gd name="T14" fmla="*/ 1 w 3"/>
                <a:gd name="T15" fmla="*/ 2 h 3"/>
                <a:gd name="T16" fmla="*/ 2 w 3"/>
                <a:gd name="T17" fmla="*/ 2 h 3"/>
                <a:gd name="T18" fmla="*/ 2 w 3"/>
                <a:gd name="T19" fmla="*/ 2 h 3"/>
                <a:gd name="T20" fmla="*/ 2 w 3"/>
                <a:gd name="T21" fmla="*/ 2 h 3"/>
                <a:gd name="T22" fmla="*/ 1 w 3"/>
                <a:gd name="T23" fmla="*/ 2 h 3"/>
                <a:gd name="T24" fmla="*/ 1 w 3"/>
                <a:gd name="T25" fmla="*/ 2 h 3"/>
                <a:gd name="T26" fmla="*/ 1 w 3"/>
                <a:gd name="T27" fmla="*/ 2 h 3"/>
                <a:gd name="T28" fmla="*/ 1 w 3"/>
                <a:gd name="T29" fmla="*/ 2 h 3"/>
                <a:gd name="T30" fmla="*/ 1 w 3"/>
                <a:gd name="T31" fmla="*/ 2 h 3"/>
                <a:gd name="T32" fmla="*/ 1 w 3"/>
                <a:gd name="T33" fmla="*/ 2 h 3"/>
                <a:gd name="T34" fmla="*/ 1 w 3"/>
                <a:gd name="T35" fmla="*/ 2 h 3"/>
                <a:gd name="T36" fmla="*/ 1 w 3"/>
                <a:gd name="T37" fmla="*/ 2 h 3"/>
                <a:gd name="T38" fmla="*/ 1 w 3"/>
                <a:gd name="T39" fmla="*/ 2 h 3"/>
                <a:gd name="T40" fmla="*/ 1 w 3"/>
                <a:gd name="T41" fmla="*/ 2 h 3"/>
                <a:gd name="T42" fmla="*/ 0 w 3"/>
                <a:gd name="T43" fmla="*/ 1 h 3"/>
                <a:gd name="T44" fmla="*/ 0 w 3"/>
                <a:gd name="T45" fmla="*/ 1 h 3"/>
                <a:gd name="T46" fmla="*/ 0 w 3"/>
                <a:gd name="T47" fmla="*/ 1 h 3"/>
                <a:gd name="T48" fmla="*/ 0 w 3"/>
                <a:gd name="T49" fmla="*/ 1 h 3"/>
                <a:gd name="T50" fmla="*/ 0 w 3"/>
                <a:gd name="T51" fmla="*/ 1 h 3"/>
                <a:gd name="T52" fmla="*/ 0 w 3"/>
                <a:gd name="T53" fmla="*/ 1 h 3"/>
                <a:gd name="T54" fmla="*/ 0 w 3"/>
                <a:gd name="T55" fmla="*/ 1 h 3"/>
                <a:gd name="T56" fmla="*/ 0 w 3"/>
                <a:gd name="T57" fmla="*/ 0 h 3"/>
                <a:gd name="T58" fmla="*/ 1 w 3"/>
                <a:gd name="T59" fmla="*/ 0 h 3"/>
                <a:gd name="T60" fmla="*/ 0 w 3"/>
                <a:gd name="T61" fmla="*/ 0 h 3"/>
                <a:gd name="T62" fmla="*/ 0 w 3"/>
                <a:gd name="T63" fmla="*/ 0 h 3"/>
                <a:gd name="T64" fmla="*/ 0 w 3"/>
                <a:gd name="T65" fmla="*/ 0 h 3"/>
                <a:gd name="T66" fmla="*/ 0 w 3"/>
                <a:gd name="T67" fmla="*/ 0 h 3"/>
                <a:gd name="T68" fmla="*/ 1 w 3"/>
                <a:gd name="T69" fmla="*/ 0 h 3"/>
                <a:gd name="T70" fmla="*/ 1 w 3"/>
                <a:gd name="T71" fmla="*/ 0 h 3"/>
                <a:gd name="T72" fmla="*/ 1 w 3"/>
                <a:gd name="T73" fmla="*/ 0 h 3"/>
                <a:gd name="T74" fmla="*/ 1 w 3"/>
                <a:gd name="T75" fmla="*/ 0 h 3"/>
                <a:gd name="T76" fmla="*/ 1 w 3"/>
                <a:gd name="T77" fmla="*/ 0 h 3"/>
                <a:gd name="T78" fmla="*/ 1 w 3"/>
                <a:gd name="T79" fmla="*/ 0 h 3"/>
                <a:gd name="T80" fmla="*/ 2 w 3"/>
                <a:gd name="T81" fmla="*/ 0 h 3"/>
                <a:gd name="T82" fmla="*/ 2 w 3"/>
                <a:gd name="T83" fmla="*/ 1 h 3"/>
                <a:gd name="T84" fmla="*/ 2 w 3"/>
                <a:gd name="T85" fmla="*/ 1 h 3"/>
                <a:gd name="T86" fmla="*/ 2 w 3"/>
                <a:gd name="T87" fmla="*/ 1 h 3"/>
                <a:gd name="T88" fmla="*/ 2 w 3"/>
                <a:gd name="T89" fmla="*/ 1 h 3"/>
                <a:gd name="T90" fmla="*/ 2 w 3"/>
                <a:gd name="T91" fmla="*/ 2 h 3"/>
                <a:gd name="T92" fmla="*/ 3 w 3"/>
                <a:gd name="T93"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 h="3">
                  <a:moveTo>
                    <a:pt x="3" y="2"/>
                  </a:moveTo>
                  <a:lnTo>
                    <a:pt x="2" y="2"/>
                  </a:lnTo>
                  <a:lnTo>
                    <a:pt x="2" y="3"/>
                  </a:lnTo>
                  <a:lnTo>
                    <a:pt x="1" y="3"/>
                  </a:lnTo>
                  <a:lnTo>
                    <a:pt x="1" y="2"/>
                  </a:lnTo>
                  <a:lnTo>
                    <a:pt x="1" y="2"/>
                  </a:lnTo>
                  <a:lnTo>
                    <a:pt x="1" y="2"/>
                  </a:lnTo>
                  <a:lnTo>
                    <a:pt x="1" y="2"/>
                  </a:lnTo>
                  <a:lnTo>
                    <a:pt x="2" y="2"/>
                  </a:lnTo>
                  <a:lnTo>
                    <a:pt x="2" y="2"/>
                  </a:lnTo>
                  <a:lnTo>
                    <a:pt x="2" y="2"/>
                  </a:lnTo>
                  <a:lnTo>
                    <a:pt x="1" y="2"/>
                  </a:lnTo>
                  <a:lnTo>
                    <a:pt x="1" y="2"/>
                  </a:lnTo>
                  <a:lnTo>
                    <a:pt x="1" y="2"/>
                  </a:lnTo>
                  <a:lnTo>
                    <a:pt x="1" y="2"/>
                  </a:lnTo>
                  <a:lnTo>
                    <a:pt x="1" y="2"/>
                  </a:lnTo>
                  <a:lnTo>
                    <a:pt x="1" y="2"/>
                  </a:lnTo>
                  <a:lnTo>
                    <a:pt x="1" y="2"/>
                  </a:lnTo>
                  <a:lnTo>
                    <a:pt x="1" y="2"/>
                  </a:lnTo>
                  <a:lnTo>
                    <a:pt x="1" y="2"/>
                  </a:lnTo>
                  <a:lnTo>
                    <a:pt x="1" y="2"/>
                  </a:lnTo>
                  <a:lnTo>
                    <a:pt x="0" y="1"/>
                  </a:lnTo>
                  <a:lnTo>
                    <a:pt x="0" y="1"/>
                  </a:lnTo>
                  <a:lnTo>
                    <a:pt x="0" y="1"/>
                  </a:lnTo>
                  <a:lnTo>
                    <a:pt x="0" y="1"/>
                  </a:lnTo>
                  <a:lnTo>
                    <a:pt x="0" y="1"/>
                  </a:lnTo>
                  <a:lnTo>
                    <a:pt x="0" y="1"/>
                  </a:lnTo>
                  <a:lnTo>
                    <a:pt x="0" y="1"/>
                  </a:lnTo>
                  <a:lnTo>
                    <a:pt x="0" y="0"/>
                  </a:lnTo>
                  <a:lnTo>
                    <a:pt x="1" y="0"/>
                  </a:lnTo>
                  <a:lnTo>
                    <a:pt x="0" y="0"/>
                  </a:lnTo>
                  <a:lnTo>
                    <a:pt x="0" y="0"/>
                  </a:lnTo>
                  <a:lnTo>
                    <a:pt x="0" y="0"/>
                  </a:lnTo>
                  <a:lnTo>
                    <a:pt x="0" y="0"/>
                  </a:lnTo>
                  <a:lnTo>
                    <a:pt x="1" y="0"/>
                  </a:lnTo>
                  <a:lnTo>
                    <a:pt x="1" y="0"/>
                  </a:lnTo>
                  <a:lnTo>
                    <a:pt x="1" y="0"/>
                  </a:lnTo>
                  <a:lnTo>
                    <a:pt x="1" y="0"/>
                  </a:lnTo>
                  <a:lnTo>
                    <a:pt x="1" y="0"/>
                  </a:lnTo>
                  <a:lnTo>
                    <a:pt x="1" y="0"/>
                  </a:lnTo>
                  <a:lnTo>
                    <a:pt x="2" y="0"/>
                  </a:lnTo>
                  <a:lnTo>
                    <a:pt x="2" y="1"/>
                  </a:lnTo>
                  <a:lnTo>
                    <a:pt x="2" y="1"/>
                  </a:lnTo>
                  <a:lnTo>
                    <a:pt x="2" y="1"/>
                  </a:lnTo>
                  <a:lnTo>
                    <a:pt x="2" y="1"/>
                  </a:lnTo>
                  <a:lnTo>
                    <a:pt x="2" y="2"/>
                  </a:lnTo>
                  <a:lnTo>
                    <a:pt x="3"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53" name="Freeform 1418">
              <a:extLst>
                <a:ext uri="{FF2B5EF4-FFF2-40B4-BE49-F238E27FC236}">
                  <a16:creationId xmlns:a16="http://schemas.microsoft.com/office/drawing/2014/main" id="{893C7581-ADF1-4BDD-871D-A674410A9F22}"/>
                </a:ext>
              </a:extLst>
            </p:cNvPr>
            <p:cNvSpPr>
              <a:spLocks/>
            </p:cNvSpPr>
            <p:nvPr/>
          </p:nvSpPr>
          <p:spPr bwMode="auto">
            <a:xfrm>
              <a:off x="5886557" y="2094504"/>
              <a:ext cx="4007" cy="4007"/>
            </a:xfrm>
            <a:custGeom>
              <a:avLst/>
              <a:gdLst>
                <a:gd name="T0" fmla="*/ 3 w 3"/>
                <a:gd name="T1" fmla="*/ 0 h 3"/>
                <a:gd name="T2" fmla="*/ 3 w 3"/>
                <a:gd name="T3" fmla="*/ 0 h 3"/>
                <a:gd name="T4" fmla="*/ 3 w 3"/>
                <a:gd name="T5" fmla="*/ 2 h 3"/>
                <a:gd name="T6" fmla="*/ 2 w 3"/>
                <a:gd name="T7" fmla="*/ 2 h 3"/>
                <a:gd name="T8" fmla="*/ 2 w 3"/>
                <a:gd name="T9" fmla="*/ 2 h 3"/>
                <a:gd name="T10" fmla="*/ 3 w 3"/>
                <a:gd name="T11" fmla="*/ 2 h 3"/>
                <a:gd name="T12" fmla="*/ 3 w 3"/>
                <a:gd name="T13" fmla="*/ 3 h 3"/>
                <a:gd name="T14" fmla="*/ 3 w 3"/>
                <a:gd name="T15" fmla="*/ 3 h 3"/>
                <a:gd name="T16" fmla="*/ 2 w 3"/>
                <a:gd name="T17" fmla="*/ 3 h 3"/>
                <a:gd name="T18" fmla="*/ 2 w 3"/>
                <a:gd name="T19" fmla="*/ 3 h 3"/>
                <a:gd name="T20" fmla="*/ 2 w 3"/>
                <a:gd name="T21" fmla="*/ 3 h 3"/>
                <a:gd name="T22" fmla="*/ 2 w 3"/>
                <a:gd name="T23" fmla="*/ 3 h 3"/>
                <a:gd name="T24" fmla="*/ 1 w 3"/>
                <a:gd name="T25" fmla="*/ 3 h 3"/>
                <a:gd name="T26" fmla="*/ 1 w 3"/>
                <a:gd name="T27" fmla="*/ 2 h 3"/>
                <a:gd name="T28" fmla="*/ 1 w 3"/>
                <a:gd name="T29" fmla="*/ 2 h 3"/>
                <a:gd name="T30" fmla="*/ 1 w 3"/>
                <a:gd name="T31" fmla="*/ 2 h 3"/>
                <a:gd name="T32" fmla="*/ 1 w 3"/>
                <a:gd name="T33" fmla="*/ 2 h 3"/>
                <a:gd name="T34" fmla="*/ 1 w 3"/>
                <a:gd name="T35" fmla="*/ 2 h 3"/>
                <a:gd name="T36" fmla="*/ 1 w 3"/>
                <a:gd name="T37" fmla="*/ 2 h 3"/>
                <a:gd name="T38" fmla="*/ 1 w 3"/>
                <a:gd name="T39" fmla="*/ 2 h 3"/>
                <a:gd name="T40" fmla="*/ 0 w 3"/>
                <a:gd name="T41" fmla="*/ 2 h 3"/>
                <a:gd name="T42" fmla="*/ 0 w 3"/>
                <a:gd name="T43" fmla="*/ 2 h 3"/>
                <a:gd name="T44" fmla="*/ 0 w 3"/>
                <a:gd name="T45" fmla="*/ 2 h 3"/>
                <a:gd name="T46" fmla="*/ 0 w 3"/>
                <a:gd name="T47" fmla="*/ 2 h 3"/>
                <a:gd name="T48" fmla="*/ 1 w 3"/>
                <a:gd name="T49" fmla="*/ 0 h 3"/>
                <a:gd name="T50" fmla="*/ 1 w 3"/>
                <a:gd name="T51" fmla="*/ 0 h 3"/>
                <a:gd name="T52" fmla="*/ 1 w 3"/>
                <a:gd name="T53" fmla="*/ 0 h 3"/>
                <a:gd name="T54" fmla="*/ 1 w 3"/>
                <a:gd name="T55" fmla="*/ 0 h 3"/>
                <a:gd name="T56" fmla="*/ 1 w 3"/>
                <a:gd name="T57" fmla="*/ 0 h 3"/>
                <a:gd name="T58" fmla="*/ 1 w 3"/>
                <a:gd name="T59" fmla="*/ 0 h 3"/>
                <a:gd name="T60" fmla="*/ 1 w 3"/>
                <a:gd name="T61" fmla="*/ 0 h 3"/>
                <a:gd name="T62" fmla="*/ 1 w 3"/>
                <a:gd name="T63" fmla="*/ 0 h 3"/>
                <a:gd name="T64" fmla="*/ 1 w 3"/>
                <a:gd name="T65" fmla="*/ 0 h 3"/>
                <a:gd name="T66" fmla="*/ 1 w 3"/>
                <a:gd name="T67" fmla="*/ 0 h 3"/>
                <a:gd name="T68" fmla="*/ 1 w 3"/>
                <a:gd name="T69" fmla="*/ 0 h 3"/>
                <a:gd name="T70" fmla="*/ 1 w 3"/>
                <a:gd name="T71" fmla="*/ 0 h 3"/>
                <a:gd name="T72" fmla="*/ 1 w 3"/>
                <a:gd name="T73" fmla="*/ 0 h 3"/>
                <a:gd name="T74" fmla="*/ 2 w 3"/>
                <a:gd name="T75" fmla="*/ 0 h 3"/>
                <a:gd name="T76" fmla="*/ 2 w 3"/>
                <a:gd name="T77" fmla="*/ 0 h 3"/>
                <a:gd name="T78" fmla="*/ 2 w 3"/>
                <a:gd name="T79" fmla="*/ 0 h 3"/>
                <a:gd name="T80" fmla="*/ 2 w 3"/>
                <a:gd name="T81" fmla="*/ 0 h 3"/>
                <a:gd name="T82" fmla="*/ 2 w 3"/>
                <a:gd name="T83" fmla="*/ 0 h 3"/>
                <a:gd name="T84" fmla="*/ 2 w 3"/>
                <a:gd name="T85" fmla="*/ 0 h 3"/>
                <a:gd name="T86" fmla="*/ 2 w 3"/>
                <a:gd name="T87" fmla="*/ 0 h 3"/>
                <a:gd name="T88" fmla="*/ 2 w 3"/>
                <a:gd name="T89" fmla="*/ 0 h 3"/>
                <a:gd name="T90" fmla="*/ 2 w 3"/>
                <a:gd name="T91" fmla="*/ 0 h 3"/>
                <a:gd name="T92" fmla="*/ 3 w 3"/>
                <a:gd name="T93" fmla="*/ 0 h 3"/>
                <a:gd name="T94" fmla="*/ 3 w 3"/>
                <a:gd name="T95" fmla="*/ 0 h 3"/>
                <a:gd name="T96" fmla="*/ 3 w 3"/>
                <a:gd name="T97" fmla="*/ 0 h 3"/>
                <a:gd name="T98" fmla="*/ 3 w 3"/>
                <a:gd name="T9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 h="3">
                  <a:moveTo>
                    <a:pt x="3" y="0"/>
                  </a:moveTo>
                  <a:lnTo>
                    <a:pt x="3" y="0"/>
                  </a:lnTo>
                  <a:lnTo>
                    <a:pt x="3" y="2"/>
                  </a:lnTo>
                  <a:lnTo>
                    <a:pt x="2" y="2"/>
                  </a:lnTo>
                  <a:lnTo>
                    <a:pt x="2" y="2"/>
                  </a:lnTo>
                  <a:lnTo>
                    <a:pt x="3" y="2"/>
                  </a:lnTo>
                  <a:lnTo>
                    <a:pt x="3" y="3"/>
                  </a:lnTo>
                  <a:lnTo>
                    <a:pt x="3" y="3"/>
                  </a:lnTo>
                  <a:lnTo>
                    <a:pt x="2" y="3"/>
                  </a:lnTo>
                  <a:lnTo>
                    <a:pt x="2" y="3"/>
                  </a:lnTo>
                  <a:lnTo>
                    <a:pt x="2" y="3"/>
                  </a:lnTo>
                  <a:lnTo>
                    <a:pt x="2" y="3"/>
                  </a:lnTo>
                  <a:lnTo>
                    <a:pt x="1" y="3"/>
                  </a:lnTo>
                  <a:lnTo>
                    <a:pt x="1" y="2"/>
                  </a:lnTo>
                  <a:lnTo>
                    <a:pt x="1" y="2"/>
                  </a:lnTo>
                  <a:lnTo>
                    <a:pt x="1" y="2"/>
                  </a:lnTo>
                  <a:lnTo>
                    <a:pt x="1" y="2"/>
                  </a:lnTo>
                  <a:lnTo>
                    <a:pt x="1" y="2"/>
                  </a:lnTo>
                  <a:lnTo>
                    <a:pt x="1" y="2"/>
                  </a:lnTo>
                  <a:lnTo>
                    <a:pt x="1" y="2"/>
                  </a:lnTo>
                  <a:lnTo>
                    <a:pt x="0" y="2"/>
                  </a:lnTo>
                  <a:lnTo>
                    <a:pt x="0" y="2"/>
                  </a:lnTo>
                  <a:lnTo>
                    <a:pt x="0" y="2"/>
                  </a:lnTo>
                  <a:lnTo>
                    <a:pt x="0" y="2"/>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2" y="0"/>
                  </a:lnTo>
                  <a:lnTo>
                    <a:pt x="2" y="0"/>
                  </a:lnTo>
                  <a:lnTo>
                    <a:pt x="2" y="0"/>
                  </a:lnTo>
                  <a:lnTo>
                    <a:pt x="2" y="0"/>
                  </a:lnTo>
                  <a:lnTo>
                    <a:pt x="2" y="0"/>
                  </a:lnTo>
                  <a:lnTo>
                    <a:pt x="2" y="0"/>
                  </a:lnTo>
                  <a:lnTo>
                    <a:pt x="2" y="0"/>
                  </a:lnTo>
                  <a:lnTo>
                    <a:pt x="2" y="0"/>
                  </a:lnTo>
                  <a:lnTo>
                    <a:pt x="2" y="0"/>
                  </a:lnTo>
                  <a:lnTo>
                    <a:pt x="3" y="0"/>
                  </a:lnTo>
                  <a:lnTo>
                    <a:pt x="3" y="0"/>
                  </a:lnTo>
                  <a:lnTo>
                    <a:pt x="3" y="0"/>
                  </a:lnTo>
                  <a:lnTo>
                    <a:pt x="3"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54" name="Freeform 1420">
              <a:extLst>
                <a:ext uri="{FF2B5EF4-FFF2-40B4-BE49-F238E27FC236}">
                  <a16:creationId xmlns:a16="http://schemas.microsoft.com/office/drawing/2014/main" id="{C62A6C99-9443-4003-8F03-0B5DC038717A}"/>
                </a:ext>
              </a:extLst>
            </p:cNvPr>
            <p:cNvSpPr>
              <a:spLocks/>
            </p:cNvSpPr>
            <p:nvPr/>
          </p:nvSpPr>
          <p:spPr bwMode="auto">
            <a:xfrm>
              <a:off x="5882550" y="2093169"/>
              <a:ext cx="2671" cy="4007"/>
            </a:xfrm>
            <a:custGeom>
              <a:avLst/>
              <a:gdLst>
                <a:gd name="T0" fmla="*/ 2 w 2"/>
                <a:gd name="T1" fmla="*/ 1 h 3"/>
                <a:gd name="T2" fmla="*/ 2 w 2"/>
                <a:gd name="T3" fmla="*/ 1 h 3"/>
                <a:gd name="T4" fmla="*/ 2 w 2"/>
                <a:gd name="T5" fmla="*/ 1 h 3"/>
                <a:gd name="T6" fmla="*/ 2 w 2"/>
                <a:gd name="T7" fmla="*/ 1 h 3"/>
                <a:gd name="T8" fmla="*/ 2 w 2"/>
                <a:gd name="T9" fmla="*/ 1 h 3"/>
                <a:gd name="T10" fmla="*/ 2 w 2"/>
                <a:gd name="T11" fmla="*/ 1 h 3"/>
                <a:gd name="T12" fmla="*/ 2 w 2"/>
                <a:gd name="T13" fmla="*/ 1 h 3"/>
                <a:gd name="T14" fmla="*/ 2 w 2"/>
                <a:gd name="T15" fmla="*/ 1 h 3"/>
                <a:gd name="T16" fmla="*/ 2 w 2"/>
                <a:gd name="T17" fmla="*/ 1 h 3"/>
                <a:gd name="T18" fmla="*/ 2 w 2"/>
                <a:gd name="T19" fmla="*/ 1 h 3"/>
                <a:gd name="T20" fmla="*/ 2 w 2"/>
                <a:gd name="T21" fmla="*/ 1 h 3"/>
                <a:gd name="T22" fmla="*/ 2 w 2"/>
                <a:gd name="T23" fmla="*/ 1 h 3"/>
                <a:gd name="T24" fmla="*/ 2 w 2"/>
                <a:gd name="T25" fmla="*/ 3 h 3"/>
                <a:gd name="T26" fmla="*/ 2 w 2"/>
                <a:gd name="T27" fmla="*/ 3 h 3"/>
                <a:gd name="T28" fmla="*/ 2 w 2"/>
                <a:gd name="T29" fmla="*/ 3 h 3"/>
                <a:gd name="T30" fmla="*/ 2 w 2"/>
                <a:gd name="T31" fmla="*/ 3 h 3"/>
                <a:gd name="T32" fmla="*/ 2 w 2"/>
                <a:gd name="T33" fmla="*/ 3 h 3"/>
                <a:gd name="T34" fmla="*/ 2 w 2"/>
                <a:gd name="T35" fmla="*/ 1 h 3"/>
                <a:gd name="T36" fmla="*/ 2 w 2"/>
                <a:gd name="T37" fmla="*/ 1 h 3"/>
                <a:gd name="T38" fmla="*/ 2 w 2"/>
                <a:gd name="T39" fmla="*/ 1 h 3"/>
                <a:gd name="T40" fmla="*/ 2 w 2"/>
                <a:gd name="T41" fmla="*/ 1 h 3"/>
                <a:gd name="T42" fmla="*/ 2 w 2"/>
                <a:gd name="T43" fmla="*/ 1 h 3"/>
                <a:gd name="T44" fmla="*/ 2 w 2"/>
                <a:gd name="T45" fmla="*/ 1 h 3"/>
                <a:gd name="T46" fmla="*/ 2 w 2"/>
                <a:gd name="T47" fmla="*/ 1 h 3"/>
                <a:gd name="T48" fmla="*/ 0 w 2"/>
                <a:gd name="T49" fmla="*/ 1 h 3"/>
                <a:gd name="T50" fmla="*/ 0 w 2"/>
                <a:gd name="T51" fmla="*/ 1 h 3"/>
                <a:gd name="T52" fmla="*/ 0 w 2"/>
                <a:gd name="T53" fmla="*/ 1 h 3"/>
                <a:gd name="T54" fmla="*/ 0 w 2"/>
                <a:gd name="T55" fmla="*/ 1 h 3"/>
                <a:gd name="T56" fmla="*/ 0 w 2"/>
                <a:gd name="T57" fmla="*/ 1 h 3"/>
                <a:gd name="T58" fmla="*/ 2 w 2"/>
                <a:gd name="T59" fmla="*/ 0 h 3"/>
                <a:gd name="T60" fmla="*/ 2 w 2"/>
                <a:gd name="T61" fmla="*/ 0 h 3"/>
                <a:gd name="T62" fmla="*/ 2 w 2"/>
                <a:gd name="T63" fmla="*/ 1 h 3"/>
                <a:gd name="T64" fmla="*/ 2 w 2"/>
                <a:gd name="T65" fmla="*/ 1 h 3"/>
                <a:gd name="T66" fmla="*/ 2 w 2"/>
                <a:gd name="T67" fmla="*/ 1 h 3"/>
                <a:gd name="T68" fmla="*/ 2 w 2"/>
                <a:gd name="T69" fmla="*/ 1 h 3"/>
                <a:gd name="T70" fmla="*/ 2 w 2"/>
                <a:gd name="T71" fmla="*/ 1 h 3"/>
                <a:gd name="T72" fmla="*/ 2 w 2"/>
                <a:gd name="T73" fmla="*/ 1 h 3"/>
                <a:gd name="T74" fmla="*/ 2 w 2"/>
                <a:gd name="T75" fmla="*/ 1 h 3"/>
                <a:gd name="T76" fmla="*/ 2 w 2"/>
                <a:gd name="T77" fmla="*/ 1 h 3"/>
                <a:gd name="T78" fmla="*/ 2 w 2"/>
                <a:gd name="T79" fmla="*/ 1 h 3"/>
                <a:gd name="T80" fmla="*/ 2 w 2"/>
                <a:gd name="T81" fmla="*/ 1 h 3"/>
                <a:gd name="T82" fmla="*/ 2 w 2"/>
                <a:gd name="T83" fmla="*/ 1 h 3"/>
                <a:gd name="T84" fmla="*/ 2 w 2"/>
                <a:gd name="T85" fmla="*/ 1 h 3"/>
                <a:gd name="T86" fmla="*/ 2 w 2"/>
                <a:gd name="T87" fmla="*/ 1 h 3"/>
                <a:gd name="T88" fmla="*/ 2 w 2"/>
                <a:gd name="T89" fmla="*/ 1 h 3"/>
                <a:gd name="T90" fmla="*/ 2 w 2"/>
                <a:gd name="T91" fmla="*/ 0 h 3"/>
                <a:gd name="T92" fmla="*/ 2 w 2"/>
                <a:gd name="T93" fmla="*/ 0 h 3"/>
                <a:gd name="T94" fmla="*/ 2 w 2"/>
                <a:gd name="T95" fmla="*/ 0 h 3"/>
                <a:gd name="T96" fmla="*/ 2 w 2"/>
                <a:gd name="T97" fmla="*/ 0 h 3"/>
                <a:gd name="T98" fmla="*/ 2 w 2"/>
                <a:gd name="T99" fmla="*/ 0 h 3"/>
                <a:gd name="T100" fmla="*/ 2 w 2"/>
                <a:gd name="T101" fmla="*/ 0 h 3"/>
                <a:gd name="T102" fmla="*/ 2 w 2"/>
                <a:gd name="T103" fmla="*/ 0 h 3"/>
                <a:gd name="T104" fmla="*/ 2 w 2"/>
                <a:gd name="T105" fmla="*/ 0 h 3"/>
                <a:gd name="T106" fmla="*/ 2 w 2"/>
                <a:gd name="T107" fmla="*/ 0 h 3"/>
                <a:gd name="T108" fmla="*/ 2 w 2"/>
                <a:gd name="T109" fmla="*/ 0 h 3"/>
                <a:gd name="T110" fmla="*/ 2 w 2"/>
                <a:gd name="T111" fmla="*/ 0 h 3"/>
                <a:gd name="T112" fmla="*/ 2 w 2"/>
                <a:gd name="T113" fmla="*/ 1 h 3"/>
                <a:gd name="T114" fmla="*/ 2 w 2"/>
                <a:gd name="T11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 h="3">
                  <a:moveTo>
                    <a:pt x="2" y="1"/>
                  </a:moveTo>
                  <a:lnTo>
                    <a:pt x="2" y="1"/>
                  </a:lnTo>
                  <a:lnTo>
                    <a:pt x="2" y="1"/>
                  </a:lnTo>
                  <a:lnTo>
                    <a:pt x="2" y="1"/>
                  </a:lnTo>
                  <a:lnTo>
                    <a:pt x="2" y="1"/>
                  </a:lnTo>
                  <a:lnTo>
                    <a:pt x="2" y="1"/>
                  </a:lnTo>
                  <a:lnTo>
                    <a:pt x="2" y="1"/>
                  </a:lnTo>
                  <a:lnTo>
                    <a:pt x="2" y="1"/>
                  </a:lnTo>
                  <a:lnTo>
                    <a:pt x="2" y="1"/>
                  </a:lnTo>
                  <a:lnTo>
                    <a:pt x="2" y="1"/>
                  </a:lnTo>
                  <a:lnTo>
                    <a:pt x="2" y="1"/>
                  </a:lnTo>
                  <a:lnTo>
                    <a:pt x="2" y="1"/>
                  </a:lnTo>
                  <a:lnTo>
                    <a:pt x="2" y="3"/>
                  </a:lnTo>
                  <a:lnTo>
                    <a:pt x="2" y="3"/>
                  </a:lnTo>
                  <a:lnTo>
                    <a:pt x="2" y="3"/>
                  </a:lnTo>
                  <a:lnTo>
                    <a:pt x="2" y="3"/>
                  </a:lnTo>
                  <a:lnTo>
                    <a:pt x="2" y="3"/>
                  </a:lnTo>
                  <a:lnTo>
                    <a:pt x="2" y="1"/>
                  </a:lnTo>
                  <a:lnTo>
                    <a:pt x="2" y="1"/>
                  </a:lnTo>
                  <a:lnTo>
                    <a:pt x="2" y="1"/>
                  </a:lnTo>
                  <a:lnTo>
                    <a:pt x="2" y="1"/>
                  </a:lnTo>
                  <a:lnTo>
                    <a:pt x="2" y="1"/>
                  </a:lnTo>
                  <a:lnTo>
                    <a:pt x="2" y="1"/>
                  </a:lnTo>
                  <a:lnTo>
                    <a:pt x="2" y="1"/>
                  </a:lnTo>
                  <a:lnTo>
                    <a:pt x="0" y="1"/>
                  </a:lnTo>
                  <a:lnTo>
                    <a:pt x="0" y="1"/>
                  </a:lnTo>
                  <a:lnTo>
                    <a:pt x="0" y="1"/>
                  </a:lnTo>
                  <a:lnTo>
                    <a:pt x="0" y="1"/>
                  </a:lnTo>
                  <a:lnTo>
                    <a:pt x="0" y="1"/>
                  </a:lnTo>
                  <a:lnTo>
                    <a:pt x="2" y="0"/>
                  </a:lnTo>
                  <a:lnTo>
                    <a:pt x="2" y="0"/>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0"/>
                  </a:lnTo>
                  <a:lnTo>
                    <a:pt x="2" y="0"/>
                  </a:lnTo>
                  <a:lnTo>
                    <a:pt x="2" y="0"/>
                  </a:lnTo>
                  <a:lnTo>
                    <a:pt x="2" y="0"/>
                  </a:lnTo>
                  <a:lnTo>
                    <a:pt x="2" y="0"/>
                  </a:lnTo>
                  <a:lnTo>
                    <a:pt x="2" y="0"/>
                  </a:lnTo>
                  <a:lnTo>
                    <a:pt x="2" y="0"/>
                  </a:lnTo>
                  <a:lnTo>
                    <a:pt x="2" y="0"/>
                  </a:lnTo>
                  <a:lnTo>
                    <a:pt x="2" y="0"/>
                  </a:lnTo>
                  <a:lnTo>
                    <a:pt x="2" y="0"/>
                  </a:lnTo>
                  <a:lnTo>
                    <a:pt x="2" y="0"/>
                  </a:lnTo>
                  <a:lnTo>
                    <a:pt x="2" y="1"/>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55" name="Freeform 1421">
              <a:extLst>
                <a:ext uri="{FF2B5EF4-FFF2-40B4-BE49-F238E27FC236}">
                  <a16:creationId xmlns:a16="http://schemas.microsoft.com/office/drawing/2014/main" id="{E876BBF5-4AB2-428F-82FF-8AE325F11D51}"/>
                </a:ext>
              </a:extLst>
            </p:cNvPr>
            <p:cNvSpPr>
              <a:spLocks/>
            </p:cNvSpPr>
            <p:nvPr/>
          </p:nvSpPr>
          <p:spPr bwMode="auto">
            <a:xfrm>
              <a:off x="5879879" y="2087827"/>
              <a:ext cx="2671" cy="4007"/>
            </a:xfrm>
            <a:custGeom>
              <a:avLst/>
              <a:gdLst>
                <a:gd name="T0" fmla="*/ 1 w 2"/>
                <a:gd name="T1" fmla="*/ 2 h 3"/>
                <a:gd name="T2" fmla="*/ 1 w 2"/>
                <a:gd name="T3" fmla="*/ 2 h 3"/>
                <a:gd name="T4" fmla="*/ 1 w 2"/>
                <a:gd name="T5" fmla="*/ 2 h 3"/>
                <a:gd name="T6" fmla="*/ 1 w 2"/>
                <a:gd name="T7" fmla="*/ 2 h 3"/>
                <a:gd name="T8" fmla="*/ 1 w 2"/>
                <a:gd name="T9" fmla="*/ 2 h 3"/>
                <a:gd name="T10" fmla="*/ 1 w 2"/>
                <a:gd name="T11" fmla="*/ 2 h 3"/>
                <a:gd name="T12" fmla="*/ 1 w 2"/>
                <a:gd name="T13" fmla="*/ 2 h 3"/>
                <a:gd name="T14" fmla="*/ 2 w 2"/>
                <a:gd name="T15" fmla="*/ 3 h 3"/>
                <a:gd name="T16" fmla="*/ 2 w 2"/>
                <a:gd name="T17" fmla="*/ 3 h 3"/>
                <a:gd name="T18" fmla="*/ 2 w 2"/>
                <a:gd name="T19" fmla="*/ 3 h 3"/>
                <a:gd name="T20" fmla="*/ 2 w 2"/>
                <a:gd name="T21" fmla="*/ 3 h 3"/>
                <a:gd name="T22" fmla="*/ 2 w 2"/>
                <a:gd name="T23" fmla="*/ 3 h 3"/>
                <a:gd name="T24" fmla="*/ 1 w 2"/>
                <a:gd name="T25" fmla="*/ 3 h 3"/>
                <a:gd name="T26" fmla="*/ 1 w 2"/>
                <a:gd name="T27" fmla="*/ 3 h 3"/>
                <a:gd name="T28" fmla="*/ 1 w 2"/>
                <a:gd name="T29" fmla="*/ 3 h 3"/>
                <a:gd name="T30" fmla="*/ 1 w 2"/>
                <a:gd name="T31" fmla="*/ 3 h 3"/>
                <a:gd name="T32" fmla="*/ 1 w 2"/>
                <a:gd name="T33" fmla="*/ 3 h 3"/>
                <a:gd name="T34" fmla="*/ 1 w 2"/>
                <a:gd name="T35" fmla="*/ 3 h 3"/>
                <a:gd name="T36" fmla="*/ 1 w 2"/>
                <a:gd name="T37" fmla="*/ 3 h 3"/>
                <a:gd name="T38" fmla="*/ 1 w 2"/>
                <a:gd name="T39" fmla="*/ 3 h 3"/>
                <a:gd name="T40" fmla="*/ 0 w 2"/>
                <a:gd name="T41" fmla="*/ 3 h 3"/>
                <a:gd name="T42" fmla="*/ 0 w 2"/>
                <a:gd name="T43" fmla="*/ 3 h 3"/>
                <a:gd name="T44" fmla="*/ 0 w 2"/>
                <a:gd name="T45" fmla="*/ 2 h 3"/>
                <a:gd name="T46" fmla="*/ 0 w 2"/>
                <a:gd name="T47" fmla="*/ 2 h 3"/>
                <a:gd name="T48" fmla="*/ 0 w 2"/>
                <a:gd name="T49" fmla="*/ 2 h 3"/>
                <a:gd name="T50" fmla="*/ 0 w 2"/>
                <a:gd name="T51" fmla="*/ 2 h 3"/>
                <a:gd name="T52" fmla="*/ 0 w 2"/>
                <a:gd name="T53" fmla="*/ 2 h 3"/>
                <a:gd name="T54" fmla="*/ 1 w 2"/>
                <a:gd name="T55" fmla="*/ 2 h 3"/>
                <a:gd name="T56" fmla="*/ 1 w 2"/>
                <a:gd name="T57" fmla="*/ 2 h 3"/>
                <a:gd name="T58" fmla="*/ 1 w 2"/>
                <a:gd name="T59" fmla="*/ 2 h 3"/>
                <a:gd name="T60" fmla="*/ 1 w 2"/>
                <a:gd name="T61" fmla="*/ 2 h 3"/>
                <a:gd name="T62" fmla="*/ 1 w 2"/>
                <a:gd name="T63" fmla="*/ 2 h 3"/>
                <a:gd name="T64" fmla="*/ 0 w 2"/>
                <a:gd name="T65" fmla="*/ 2 h 3"/>
                <a:gd name="T66" fmla="*/ 0 w 2"/>
                <a:gd name="T67" fmla="*/ 2 h 3"/>
                <a:gd name="T68" fmla="*/ 0 w 2"/>
                <a:gd name="T69" fmla="*/ 1 h 3"/>
                <a:gd name="T70" fmla="*/ 0 w 2"/>
                <a:gd name="T71" fmla="*/ 1 h 3"/>
                <a:gd name="T72" fmla="*/ 0 w 2"/>
                <a:gd name="T73" fmla="*/ 1 h 3"/>
                <a:gd name="T74" fmla="*/ 0 w 2"/>
                <a:gd name="T75" fmla="*/ 1 h 3"/>
                <a:gd name="T76" fmla="*/ 0 w 2"/>
                <a:gd name="T77" fmla="*/ 1 h 3"/>
                <a:gd name="T78" fmla="*/ 0 w 2"/>
                <a:gd name="T79" fmla="*/ 1 h 3"/>
                <a:gd name="T80" fmla="*/ 0 w 2"/>
                <a:gd name="T81" fmla="*/ 1 h 3"/>
                <a:gd name="T82" fmla="*/ 0 w 2"/>
                <a:gd name="T83" fmla="*/ 0 h 3"/>
                <a:gd name="T84" fmla="*/ 0 w 2"/>
                <a:gd name="T85" fmla="*/ 0 h 3"/>
                <a:gd name="T86" fmla="*/ 0 w 2"/>
                <a:gd name="T87" fmla="*/ 0 h 3"/>
                <a:gd name="T88" fmla="*/ 0 w 2"/>
                <a:gd name="T89" fmla="*/ 0 h 3"/>
                <a:gd name="T90" fmla="*/ 0 w 2"/>
                <a:gd name="T91" fmla="*/ 0 h 3"/>
                <a:gd name="T92" fmla="*/ 0 w 2"/>
                <a:gd name="T93" fmla="*/ 1 h 3"/>
                <a:gd name="T94" fmla="*/ 1 w 2"/>
                <a:gd name="T95" fmla="*/ 1 h 3"/>
                <a:gd name="T96" fmla="*/ 1 w 2"/>
                <a:gd name="T9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 h="3">
                  <a:moveTo>
                    <a:pt x="1" y="2"/>
                  </a:moveTo>
                  <a:lnTo>
                    <a:pt x="1" y="2"/>
                  </a:lnTo>
                  <a:lnTo>
                    <a:pt x="1" y="2"/>
                  </a:lnTo>
                  <a:lnTo>
                    <a:pt x="1" y="2"/>
                  </a:lnTo>
                  <a:lnTo>
                    <a:pt x="1" y="2"/>
                  </a:lnTo>
                  <a:lnTo>
                    <a:pt x="1" y="2"/>
                  </a:lnTo>
                  <a:lnTo>
                    <a:pt x="1" y="2"/>
                  </a:lnTo>
                  <a:lnTo>
                    <a:pt x="2" y="3"/>
                  </a:lnTo>
                  <a:lnTo>
                    <a:pt x="2" y="3"/>
                  </a:lnTo>
                  <a:lnTo>
                    <a:pt x="2" y="3"/>
                  </a:lnTo>
                  <a:lnTo>
                    <a:pt x="2" y="3"/>
                  </a:lnTo>
                  <a:lnTo>
                    <a:pt x="2" y="3"/>
                  </a:lnTo>
                  <a:lnTo>
                    <a:pt x="1" y="3"/>
                  </a:lnTo>
                  <a:lnTo>
                    <a:pt x="1" y="3"/>
                  </a:lnTo>
                  <a:lnTo>
                    <a:pt x="1" y="3"/>
                  </a:lnTo>
                  <a:lnTo>
                    <a:pt x="1" y="3"/>
                  </a:lnTo>
                  <a:lnTo>
                    <a:pt x="1" y="3"/>
                  </a:lnTo>
                  <a:lnTo>
                    <a:pt x="1" y="3"/>
                  </a:lnTo>
                  <a:lnTo>
                    <a:pt x="1" y="3"/>
                  </a:lnTo>
                  <a:lnTo>
                    <a:pt x="1" y="3"/>
                  </a:lnTo>
                  <a:lnTo>
                    <a:pt x="0" y="3"/>
                  </a:lnTo>
                  <a:lnTo>
                    <a:pt x="0" y="3"/>
                  </a:lnTo>
                  <a:lnTo>
                    <a:pt x="0" y="2"/>
                  </a:lnTo>
                  <a:lnTo>
                    <a:pt x="0" y="2"/>
                  </a:lnTo>
                  <a:lnTo>
                    <a:pt x="0" y="2"/>
                  </a:lnTo>
                  <a:lnTo>
                    <a:pt x="0" y="2"/>
                  </a:lnTo>
                  <a:lnTo>
                    <a:pt x="0" y="2"/>
                  </a:lnTo>
                  <a:lnTo>
                    <a:pt x="1" y="2"/>
                  </a:lnTo>
                  <a:lnTo>
                    <a:pt x="1" y="2"/>
                  </a:lnTo>
                  <a:lnTo>
                    <a:pt x="1" y="2"/>
                  </a:lnTo>
                  <a:lnTo>
                    <a:pt x="1" y="2"/>
                  </a:lnTo>
                  <a:lnTo>
                    <a:pt x="1" y="2"/>
                  </a:lnTo>
                  <a:lnTo>
                    <a:pt x="0" y="2"/>
                  </a:lnTo>
                  <a:lnTo>
                    <a:pt x="0" y="2"/>
                  </a:lnTo>
                  <a:lnTo>
                    <a:pt x="0" y="1"/>
                  </a:lnTo>
                  <a:lnTo>
                    <a:pt x="0" y="1"/>
                  </a:lnTo>
                  <a:lnTo>
                    <a:pt x="0" y="1"/>
                  </a:lnTo>
                  <a:lnTo>
                    <a:pt x="0" y="1"/>
                  </a:lnTo>
                  <a:lnTo>
                    <a:pt x="0" y="1"/>
                  </a:lnTo>
                  <a:lnTo>
                    <a:pt x="0" y="1"/>
                  </a:lnTo>
                  <a:lnTo>
                    <a:pt x="0" y="1"/>
                  </a:lnTo>
                  <a:lnTo>
                    <a:pt x="0" y="0"/>
                  </a:lnTo>
                  <a:lnTo>
                    <a:pt x="0" y="0"/>
                  </a:lnTo>
                  <a:lnTo>
                    <a:pt x="0" y="0"/>
                  </a:lnTo>
                  <a:lnTo>
                    <a:pt x="0" y="0"/>
                  </a:lnTo>
                  <a:lnTo>
                    <a:pt x="0" y="0"/>
                  </a:lnTo>
                  <a:lnTo>
                    <a:pt x="0" y="1"/>
                  </a:lnTo>
                  <a:lnTo>
                    <a:pt x="1" y="1"/>
                  </a:lnTo>
                  <a:lnTo>
                    <a:pt x="1"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56" name="Freeform 1422">
              <a:extLst>
                <a:ext uri="{FF2B5EF4-FFF2-40B4-BE49-F238E27FC236}">
                  <a16:creationId xmlns:a16="http://schemas.microsoft.com/office/drawing/2014/main" id="{E3076FEC-D917-4044-B8F2-D95E521548F5}"/>
                </a:ext>
              </a:extLst>
            </p:cNvPr>
            <p:cNvSpPr>
              <a:spLocks/>
            </p:cNvSpPr>
            <p:nvPr/>
          </p:nvSpPr>
          <p:spPr bwMode="auto">
            <a:xfrm>
              <a:off x="5879879" y="2085156"/>
              <a:ext cx="2671" cy="4007"/>
            </a:xfrm>
            <a:custGeom>
              <a:avLst/>
              <a:gdLst>
                <a:gd name="T0" fmla="*/ 1 w 2"/>
                <a:gd name="T1" fmla="*/ 0 h 3"/>
                <a:gd name="T2" fmla="*/ 2 w 2"/>
                <a:gd name="T3" fmla="*/ 0 h 3"/>
                <a:gd name="T4" fmla="*/ 2 w 2"/>
                <a:gd name="T5" fmla="*/ 2 h 3"/>
                <a:gd name="T6" fmla="*/ 2 w 2"/>
                <a:gd name="T7" fmla="*/ 2 h 3"/>
                <a:gd name="T8" fmla="*/ 2 w 2"/>
                <a:gd name="T9" fmla="*/ 2 h 3"/>
                <a:gd name="T10" fmla="*/ 2 w 2"/>
                <a:gd name="T11" fmla="*/ 2 h 3"/>
                <a:gd name="T12" fmla="*/ 2 w 2"/>
                <a:gd name="T13" fmla="*/ 3 h 3"/>
                <a:gd name="T14" fmla="*/ 2 w 2"/>
                <a:gd name="T15" fmla="*/ 3 h 3"/>
                <a:gd name="T16" fmla="*/ 2 w 2"/>
                <a:gd name="T17" fmla="*/ 2 h 3"/>
                <a:gd name="T18" fmla="*/ 2 w 2"/>
                <a:gd name="T19" fmla="*/ 2 h 3"/>
                <a:gd name="T20" fmla="*/ 2 w 2"/>
                <a:gd name="T21" fmla="*/ 2 h 3"/>
                <a:gd name="T22" fmla="*/ 2 w 2"/>
                <a:gd name="T23" fmla="*/ 2 h 3"/>
                <a:gd name="T24" fmla="*/ 1 w 2"/>
                <a:gd name="T25" fmla="*/ 2 h 3"/>
                <a:gd name="T26" fmla="*/ 1 w 2"/>
                <a:gd name="T27" fmla="*/ 2 h 3"/>
                <a:gd name="T28" fmla="*/ 1 w 2"/>
                <a:gd name="T29" fmla="*/ 2 h 3"/>
                <a:gd name="T30" fmla="*/ 1 w 2"/>
                <a:gd name="T31" fmla="*/ 2 h 3"/>
                <a:gd name="T32" fmla="*/ 1 w 2"/>
                <a:gd name="T33" fmla="*/ 2 h 3"/>
                <a:gd name="T34" fmla="*/ 1 w 2"/>
                <a:gd name="T35" fmla="*/ 2 h 3"/>
                <a:gd name="T36" fmla="*/ 1 w 2"/>
                <a:gd name="T37" fmla="*/ 2 h 3"/>
                <a:gd name="T38" fmla="*/ 1 w 2"/>
                <a:gd name="T39" fmla="*/ 2 h 3"/>
                <a:gd name="T40" fmla="*/ 1 w 2"/>
                <a:gd name="T41" fmla="*/ 0 h 3"/>
                <a:gd name="T42" fmla="*/ 1 w 2"/>
                <a:gd name="T43" fmla="*/ 0 h 3"/>
                <a:gd name="T44" fmla="*/ 1 w 2"/>
                <a:gd name="T45" fmla="*/ 0 h 3"/>
                <a:gd name="T46" fmla="*/ 1 w 2"/>
                <a:gd name="T47" fmla="*/ 0 h 3"/>
                <a:gd name="T48" fmla="*/ 1 w 2"/>
                <a:gd name="T49" fmla="*/ 0 h 3"/>
                <a:gd name="T50" fmla="*/ 0 w 2"/>
                <a:gd name="T51" fmla="*/ 0 h 3"/>
                <a:gd name="T52" fmla="*/ 0 w 2"/>
                <a:gd name="T53" fmla="*/ 0 h 3"/>
                <a:gd name="T54" fmla="*/ 0 w 2"/>
                <a:gd name="T55" fmla="*/ 0 h 3"/>
                <a:gd name="T56" fmla="*/ 0 w 2"/>
                <a:gd name="T57" fmla="*/ 0 h 3"/>
                <a:gd name="T58" fmla="*/ 0 w 2"/>
                <a:gd name="T59" fmla="*/ 0 h 3"/>
                <a:gd name="T60" fmla="*/ 0 w 2"/>
                <a:gd name="T61" fmla="*/ 0 h 3"/>
                <a:gd name="T62" fmla="*/ 0 w 2"/>
                <a:gd name="T63" fmla="*/ 0 h 3"/>
                <a:gd name="T64" fmla="*/ 1 w 2"/>
                <a:gd name="T6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3">
                  <a:moveTo>
                    <a:pt x="1" y="0"/>
                  </a:moveTo>
                  <a:lnTo>
                    <a:pt x="2" y="0"/>
                  </a:lnTo>
                  <a:lnTo>
                    <a:pt x="2" y="2"/>
                  </a:lnTo>
                  <a:lnTo>
                    <a:pt x="2" y="2"/>
                  </a:lnTo>
                  <a:lnTo>
                    <a:pt x="2" y="2"/>
                  </a:lnTo>
                  <a:lnTo>
                    <a:pt x="2" y="2"/>
                  </a:lnTo>
                  <a:lnTo>
                    <a:pt x="2" y="3"/>
                  </a:lnTo>
                  <a:lnTo>
                    <a:pt x="2" y="3"/>
                  </a:lnTo>
                  <a:lnTo>
                    <a:pt x="2" y="2"/>
                  </a:lnTo>
                  <a:lnTo>
                    <a:pt x="2" y="2"/>
                  </a:lnTo>
                  <a:lnTo>
                    <a:pt x="2" y="2"/>
                  </a:lnTo>
                  <a:lnTo>
                    <a:pt x="2" y="2"/>
                  </a:lnTo>
                  <a:lnTo>
                    <a:pt x="1" y="2"/>
                  </a:lnTo>
                  <a:lnTo>
                    <a:pt x="1" y="2"/>
                  </a:lnTo>
                  <a:lnTo>
                    <a:pt x="1" y="2"/>
                  </a:lnTo>
                  <a:lnTo>
                    <a:pt x="1" y="2"/>
                  </a:lnTo>
                  <a:lnTo>
                    <a:pt x="1" y="2"/>
                  </a:lnTo>
                  <a:lnTo>
                    <a:pt x="1" y="2"/>
                  </a:lnTo>
                  <a:lnTo>
                    <a:pt x="1" y="2"/>
                  </a:lnTo>
                  <a:lnTo>
                    <a:pt x="1" y="2"/>
                  </a:lnTo>
                  <a:lnTo>
                    <a:pt x="1" y="0"/>
                  </a:lnTo>
                  <a:lnTo>
                    <a:pt x="1" y="0"/>
                  </a:lnTo>
                  <a:lnTo>
                    <a:pt x="1" y="0"/>
                  </a:lnTo>
                  <a:lnTo>
                    <a:pt x="1" y="0"/>
                  </a:lnTo>
                  <a:lnTo>
                    <a:pt x="1" y="0"/>
                  </a:lnTo>
                  <a:lnTo>
                    <a:pt x="0" y="0"/>
                  </a:lnTo>
                  <a:lnTo>
                    <a:pt x="0" y="0"/>
                  </a:lnTo>
                  <a:lnTo>
                    <a:pt x="0" y="0"/>
                  </a:lnTo>
                  <a:lnTo>
                    <a:pt x="0" y="0"/>
                  </a:lnTo>
                  <a:lnTo>
                    <a:pt x="0" y="0"/>
                  </a:lnTo>
                  <a:lnTo>
                    <a:pt x="0" y="0"/>
                  </a:lnTo>
                  <a:lnTo>
                    <a:pt x="0"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57" name="Freeform 1423">
              <a:extLst>
                <a:ext uri="{FF2B5EF4-FFF2-40B4-BE49-F238E27FC236}">
                  <a16:creationId xmlns:a16="http://schemas.microsoft.com/office/drawing/2014/main" id="{B33BE98A-DA42-4132-99E5-16842AAA279D}"/>
                </a:ext>
              </a:extLst>
            </p:cNvPr>
            <p:cNvSpPr>
              <a:spLocks/>
            </p:cNvSpPr>
            <p:nvPr/>
          </p:nvSpPr>
          <p:spPr bwMode="auto">
            <a:xfrm>
              <a:off x="5877208" y="2082485"/>
              <a:ext cx="1336" cy="1336"/>
            </a:xfrm>
            <a:custGeom>
              <a:avLst/>
              <a:gdLst>
                <a:gd name="T0" fmla="*/ 1 w 1"/>
                <a:gd name="T1" fmla="*/ 1 h 1"/>
                <a:gd name="T2" fmla="*/ 1 w 1"/>
                <a:gd name="T3" fmla="*/ 1 h 1"/>
                <a:gd name="T4" fmla="*/ 1 w 1"/>
                <a:gd name="T5" fmla="*/ 1 h 1"/>
                <a:gd name="T6" fmla="*/ 1 w 1"/>
                <a:gd name="T7" fmla="*/ 1 h 1"/>
                <a:gd name="T8" fmla="*/ 1 w 1"/>
                <a:gd name="T9" fmla="*/ 1 h 1"/>
                <a:gd name="T10" fmla="*/ 1 w 1"/>
                <a:gd name="T11" fmla="*/ 1 h 1"/>
                <a:gd name="T12" fmla="*/ 1 w 1"/>
                <a:gd name="T13" fmla="*/ 1 h 1"/>
                <a:gd name="T14" fmla="*/ 1 w 1"/>
                <a:gd name="T15" fmla="*/ 1 h 1"/>
                <a:gd name="T16" fmla="*/ 1 w 1"/>
                <a:gd name="T17" fmla="*/ 1 h 1"/>
                <a:gd name="T18" fmla="*/ 1 w 1"/>
                <a:gd name="T19" fmla="*/ 1 h 1"/>
                <a:gd name="T20" fmla="*/ 1 w 1"/>
                <a:gd name="T21" fmla="*/ 1 h 1"/>
                <a:gd name="T22" fmla="*/ 0 w 1"/>
                <a:gd name="T23" fmla="*/ 1 h 1"/>
                <a:gd name="T24" fmla="*/ 0 w 1"/>
                <a:gd name="T25" fmla="*/ 1 h 1"/>
                <a:gd name="T26" fmla="*/ 0 w 1"/>
                <a:gd name="T27" fmla="*/ 1 h 1"/>
                <a:gd name="T28" fmla="*/ 0 w 1"/>
                <a:gd name="T29" fmla="*/ 1 h 1"/>
                <a:gd name="T30" fmla="*/ 0 w 1"/>
                <a:gd name="T31" fmla="*/ 1 h 1"/>
                <a:gd name="T32" fmla="*/ 0 w 1"/>
                <a:gd name="T33" fmla="*/ 1 h 1"/>
                <a:gd name="T34" fmla="*/ 0 w 1"/>
                <a:gd name="T35" fmla="*/ 1 h 1"/>
                <a:gd name="T36" fmla="*/ 0 w 1"/>
                <a:gd name="T37" fmla="*/ 1 h 1"/>
                <a:gd name="T38" fmla="*/ 0 w 1"/>
                <a:gd name="T39" fmla="*/ 1 h 1"/>
                <a:gd name="T40" fmla="*/ 0 w 1"/>
                <a:gd name="T41" fmla="*/ 1 h 1"/>
                <a:gd name="T42" fmla="*/ 0 w 1"/>
                <a:gd name="T43" fmla="*/ 1 h 1"/>
                <a:gd name="T44" fmla="*/ 0 w 1"/>
                <a:gd name="T45" fmla="*/ 1 h 1"/>
                <a:gd name="T46" fmla="*/ 0 w 1"/>
                <a:gd name="T47" fmla="*/ 1 h 1"/>
                <a:gd name="T48" fmla="*/ 0 w 1"/>
                <a:gd name="T49" fmla="*/ 1 h 1"/>
                <a:gd name="T50" fmla="*/ 0 w 1"/>
                <a:gd name="T51" fmla="*/ 1 h 1"/>
                <a:gd name="T52" fmla="*/ 0 w 1"/>
                <a:gd name="T53" fmla="*/ 0 h 1"/>
                <a:gd name="T54" fmla="*/ 0 w 1"/>
                <a:gd name="T55" fmla="*/ 0 h 1"/>
                <a:gd name="T56" fmla="*/ 0 w 1"/>
                <a:gd name="T57" fmla="*/ 0 h 1"/>
                <a:gd name="T58" fmla="*/ 1 w 1"/>
                <a:gd name="T59" fmla="*/ 0 h 1"/>
                <a:gd name="T60" fmla="*/ 1 w 1"/>
                <a:gd name="T61" fmla="*/ 0 h 1"/>
                <a:gd name="T62" fmla="*/ 1 w 1"/>
                <a:gd name="T63" fmla="*/ 0 h 1"/>
                <a:gd name="T64" fmla="*/ 1 w 1"/>
                <a:gd name="T65" fmla="*/ 1 h 1"/>
                <a:gd name="T66" fmla="*/ 1 w 1"/>
                <a:gd name="T67" fmla="*/ 1 h 1"/>
                <a:gd name="T68" fmla="*/ 1 w 1"/>
                <a:gd name="T69" fmla="*/ 1 h 1"/>
                <a:gd name="T70" fmla="*/ 1 w 1"/>
                <a:gd name="T71" fmla="*/ 1 h 1"/>
                <a:gd name="T72" fmla="*/ 1 w 1"/>
                <a:gd name="T7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 h="1">
                  <a:moveTo>
                    <a:pt x="1" y="1"/>
                  </a:moveTo>
                  <a:lnTo>
                    <a:pt x="1" y="1"/>
                  </a:lnTo>
                  <a:lnTo>
                    <a:pt x="1" y="1"/>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0"/>
                  </a:lnTo>
                  <a:lnTo>
                    <a:pt x="0" y="0"/>
                  </a:lnTo>
                  <a:lnTo>
                    <a:pt x="0" y="0"/>
                  </a:lnTo>
                  <a:lnTo>
                    <a:pt x="1" y="0"/>
                  </a:lnTo>
                  <a:lnTo>
                    <a:pt x="1" y="0"/>
                  </a:lnTo>
                  <a:lnTo>
                    <a:pt x="1" y="0"/>
                  </a:lnTo>
                  <a:lnTo>
                    <a:pt x="1" y="1"/>
                  </a:lnTo>
                  <a:lnTo>
                    <a:pt x="1" y="1"/>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58" name="Freeform 1424">
              <a:extLst>
                <a:ext uri="{FF2B5EF4-FFF2-40B4-BE49-F238E27FC236}">
                  <a16:creationId xmlns:a16="http://schemas.microsoft.com/office/drawing/2014/main" id="{2A0638BB-FF8D-43E0-BB45-6648A95C54DB}"/>
                </a:ext>
              </a:extLst>
            </p:cNvPr>
            <p:cNvSpPr>
              <a:spLocks/>
            </p:cNvSpPr>
            <p:nvPr/>
          </p:nvSpPr>
          <p:spPr bwMode="auto">
            <a:xfrm>
              <a:off x="5885221" y="2082485"/>
              <a:ext cx="5342" cy="5342"/>
            </a:xfrm>
            <a:custGeom>
              <a:avLst/>
              <a:gdLst>
                <a:gd name="T0" fmla="*/ 4 w 4"/>
                <a:gd name="T1" fmla="*/ 4 h 4"/>
                <a:gd name="T2" fmla="*/ 4 w 4"/>
                <a:gd name="T3" fmla="*/ 4 h 4"/>
                <a:gd name="T4" fmla="*/ 3 w 4"/>
                <a:gd name="T5" fmla="*/ 4 h 4"/>
                <a:gd name="T6" fmla="*/ 3 w 4"/>
                <a:gd name="T7" fmla="*/ 4 h 4"/>
                <a:gd name="T8" fmla="*/ 3 w 4"/>
                <a:gd name="T9" fmla="*/ 4 h 4"/>
                <a:gd name="T10" fmla="*/ 3 w 4"/>
                <a:gd name="T11" fmla="*/ 4 h 4"/>
                <a:gd name="T12" fmla="*/ 3 w 4"/>
                <a:gd name="T13" fmla="*/ 4 h 4"/>
                <a:gd name="T14" fmla="*/ 2 w 4"/>
                <a:gd name="T15" fmla="*/ 4 h 4"/>
                <a:gd name="T16" fmla="*/ 2 w 4"/>
                <a:gd name="T17" fmla="*/ 4 h 4"/>
                <a:gd name="T18" fmla="*/ 2 w 4"/>
                <a:gd name="T19" fmla="*/ 4 h 4"/>
                <a:gd name="T20" fmla="*/ 2 w 4"/>
                <a:gd name="T21" fmla="*/ 4 h 4"/>
                <a:gd name="T22" fmla="*/ 2 w 4"/>
                <a:gd name="T23" fmla="*/ 4 h 4"/>
                <a:gd name="T24" fmla="*/ 2 w 4"/>
                <a:gd name="T25" fmla="*/ 4 h 4"/>
                <a:gd name="T26" fmla="*/ 1 w 4"/>
                <a:gd name="T27" fmla="*/ 2 h 4"/>
                <a:gd name="T28" fmla="*/ 0 w 4"/>
                <a:gd name="T29" fmla="*/ 2 h 4"/>
                <a:gd name="T30" fmla="*/ 1 w 4"/>
                <a:gd name="T31" fmla="*/ 2 h 4"/>
                <a:gd name="T32" fmla="*/ 1 w 4"/>
                <a:gd name="T33" fmla="*/ 2 h 4"/>
                <a:gd name="T34" fmla="*/ 1 w 4"/>
                <a:gd name="T35" fmla="*/ 2 h 4"/>
                <a:gd name="T36" fmla="*/ 1 w 4"/>
                <a:gd name="T37" fmla="*/ 2 h 4"/>
                <a:gd name="T38" fmla="*/ 1 w 4"/>
                <a:gd name="T39" fmla="*/ 1 h 4"/>
                <a:gd name="T40" fmla="*/ 2 w 4"/>
                <a:gd name="T41" fmla="*/ 1 h 4"/>
                <a:gd name="T42" fmla="*/ 2 w 4"/>
                <a:gd name="T43" fmla="*/ 1 h 4"/>
                <a:gd name="T44" fmla="*/ 2 w 4"/>
                <a:gd name="T45" fmla="*/ 1 h 4"/>
                <a:gd name="T46" fmla="*/ 3 w 4"/>
                <a:gd name="T47" fmla="*/ 1 h 4"/>
                <a:gd name="T48" fmla="*/ 3 w 4"/>
                <a:gd name="T49" fmla="*/ 1 h 4"/>
                <a:gd name="T50" fmla="*/ 3 w 4"/>
                <a:gd name="T51" fmla="*/ 1 h 4"/>
                <a:gd name="T52" fmla="*/ 3 w 4"/>
                <a:gd name="T53" fmla="*/ 1 h 4"/>
                <a:gd name="T54" fmla="*/ 3 w 4"/>
                <a:gd name="T55" fmla="*/ 0 h 4"/>
                <a:gd name="T56" fmla="*/ 3 w 4"/>
                <a:gd name="T57" fmla="*/ 0 h 4"/>
                <a:gd name="T58" fmla="*/ 3 w 4"/>
                <a:gd name="T59" fmla="*/ 0 h 4"/>
                <a:gd name="T60" fmla="*/ 3 w 4"/>
                <a:gd name="T61" fmla="*/ 0 h 4"/>
                <a:gd name="T62" fmla="*/ 4 w 4"/>
                <a:gd name="T63" fmla="*/ 0 h 4"/>
                <a:gd name="T64" fmla="*/ 4 w 4"/>
                <a:gd name="T65" fmla="*/ 0 h 4"/>
                <a:gd name="T66" fmla="*/ 4 w 4"/>
                <a:gd name="T67" fmla="*/ 1 h 4"/>
                <a:gd name="T68" fmla="*/ 4 w 4"/>
                <a:gd name="T69" fmla="*/ 1 h 4"/>
                <a:gd name="T70" fmla="*/ 4 w 4"/>
                <a:gd name="T71" fmla="*/ 2 h 4"/>
                <a:gd name="T72" fmla="*/ 4 w 4"/>
                <a:gd name="T73" fmla="*/ 2 h 4"/>
                <a:gd name="T74" fmla="*/ 4 w 4"/>
                <a:gd name="T75" fmla="*/ 4 h 4"/>
                <a:gd name="T76" fmla="*/ 4 w 4"/>
                <a:gd name="T7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 h="4">
                  <a:moveTo>
                    <a:pt x="4" y="4"/>
                  </a:moveTo>
                  <a:lnTo>
                    <a:pt x="4" y="4"/>
                  </a:lnTo>
                  <a:lnTo>
                    <a:pt x="3" y="4"/>
                  </a:lnTo>
                  <a:lnTo>
                    <a:pt x="3" y="4"/>
                  </a:lnTo>
                  <a:lnTo>
                    <a:pt x="3" y="4"/>
                  </a:lnTo>
                  <a:lnTo>
                    <a:pt x="3" y="4"/>
                  </a:lnTo>
                  <a:lnTo>
                    <a:pt x="3" y="4"/>
                  </a:lnTo>
                  <a:lnTo>
                    <a:pt x="2" y="4"/>
                  </a:lnTo>
                  <a:lnTo>
                    <a:pt x="2" y="4"/>
                  </a:lnTo>
                  <a:lnTo>
                    <a:pt x="2" y="4"/>
                  </a:lnTo>
                  <a:lnTo>
                    <a:pt x="2" y="4"/>
                  </a:lnTo>
                  <a:lnTo>
                    <a:pt x="2" y="4"/>
                  </a:lnTo>
                  <a:lnTo>
                    <a:pt x="2" y="4"/>
                  </a:lnTo>
                  <a:lnTo>
                    <a:pt x="1" y="2"/>
                  </a:lnTo>
                  <a:lnTo>
                    <a:pt x="0" y="2"/>
                  </a:lnTo>
                  <a:lnTo>
                    <a:pt x="1" y="2"/>
                  </a:lnTo>
                  <a:lnTo>
                    <a:pt x="1" y="2"/>
                  </a:lnTo>
                  <a:lnTo>
                    <a:pt x="1" y="2"/>
                  </a:lnTo>
                  <a:lnTo>
                    <a:pt x="1" y="2"/>
                  </a:lnTo>
                  <a:lnTo>
                    <a:pt x="1" y="1"/>
                  </a:lnTo>
                  <a:lnTo>
                    <a:pt x="2" y="1"/>
                  </a:lnTo>
                  <a:lnTo>
                    <a:pt x="2" y="1"/>
                  </a:lnTo>
                  <a:lnTo>
                    <a:pt x="2" y="1"/>
                  </a:lnTo>
                  <a:lnTo>
                    <a:pt x="3" y="1"/>
                  </a:lnTo>
                  <a:lnTo>
                    <a:pt x="3" y="1"/>
                  </a:lnTo>
                  <a:lnTo>
                    <a:pt x="3" y="1"/>
                  </a:lnTo>
                  <a:lnTo>
                    <a:pt x="3" y="1"/>
                  </a:lnTo>
                  <a:lnTo>
                    <a:pt x="3" y="0"/>
                  </a:lnTo>
                  <a:lnTo>
                    <a:pt x="3" y="0"/>
                  </a:lnTo>
                  <a:lnTo>
                    <a:pt x="3" y="0"/>
                  </a:lnTo>
                  <a:lnTo>
                    <a:pt x="3" y="0"/>
                  </a:lnTo>
                  <a:lnTo>
                    <a:pt x="4" y="0"/>
                  </a:lnTo>
                  <a:lnTo>
                    <a:pt x="4" y="0"/>
                  </a:lnTo>
                  <a:lnTo>
                    <a:pt x="4" y="1"/>
                  </a:lnTo>
                  <a:lnTo>
                    <a:pt x="4" y="1"/>
                  </a:lnTo>
                  <a:lnTo>
                    <a:pt x="4" y="2"/>
                  </a:lnTo>
                  <a:lnTo>
                    <a:pt x="4" y="2"/>
                  </a:lnTo>
                  <a:lnTo>
                    <a:pt x="4" y="4"/>
                  </a:lnTo>
                  <a:lnTo>
                    <a:pt x="4" y="4"/>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59" name="Freeform 1425">
              <a:extLst>
                <a:ext uri="{FF2B5EF4-FFF2-40B4-BE49-F238E27FC236}">
                  <a16:creationId xmlns:a16="http://schemas.microsoft.com/office/drawing/2014/main" id="{816925BD-BBA6-49EE-88DA-63A18029D992}"/>
                </a:ext>
              </a:extLst>
            </p:cNvPr>
            <p:cNvSpPr>
              <a:spLocks/>
            </p:cNvSpPr>
            <p:nvPr/>
          </p:nvSpPr>
          <p:spPr bwMode="auto">
            <a:xfrm>
              <a:off x="5877208" y="2078479"/>
              <a:ext cx="2671" cy="1336"/>
            </a:xfrm>
            <a:custGeom>
              <a:avLst/>
              <a:gdLst>
                <a:gd name="T0" fmla="*/ 1 w 2"/>
                <a:gd name="T1" fmla="*/ 0 h 1"/>
                <a:gd name="T2" fmla="*/ 1 w 2"/>
                <a:gd name="T3" fmla="*/ 0 h 1"/>
                <a:gd name="T4" fmla="*/ 1 w 2"/>
                <a:gd name="T5" fmla="*/ 0 h 1"/>
                <a:gd name="T6" fmla="*/ 1 w 2"/>
                <a:gd name="T7" fmla="*/ 0 h 1"/>
                <a:gd name="T8" fmla="*/ 1 w 2"/>
                <a:gd name="T9" fmla="*/ 0 h 1"/>
                <a:gd name="T10" fmla="*/ 1 w 2"/>
                <a:gd name="T11" fmla="*/ 0 h 1"/>
                <a:gd name="T12" fmla="*/ 1 w 2"/>
                <a:gd name="T13" fmla="*/ 0 h 1"/>
                <a:gd name="T14" fmla="*/ 1 w 2"/>
                <a:gd name="T15" fmla="*/ 0 h 1"/>
                <a:gd name="T16" fmla="*/ 1 w 2"/>
                <a:gd name="T17" fmla="*/ 0 h 1"/>
                <a:gd name="T18" fmla="*/ 1 w 2"/>
                <a:gd name="T19" fmla="*/ 0 h 1"/>
                <a:gd name="T20" fmla="*/ 1 w 2"/>
                <a:gd name="T21" fmla="*/ 0 h 1"/>
                <a:gd name="T22" fmla="*/ 2 w 2"/>
                <a:gd name="T23" fmla="*/ 1 h 1"/>
                <a:gd name="T24" fmla="*/ 2 w 2"/>
                <a:gd name="T25" fmla="*/ 1 h 1"/>
                <a:gd name="T26" fmla="*/ 1 w 2"/>
                <a:gd name="T27" fmla="*/ 1 h 1"/>
                <a:gd name="T28" fmla="*/ 2 w 2"/>
                <a:gd name="T29" fmla="*/ 1 h 1"/>
                <a:gd name="T30" fmla="*/ 2 w 2"/>
                <a:gd name="T31" fmla="*/ 1 h 1"/>
                <a:gd name="T32" fmla="*/ 2 w 2"/>
                <a:gd name="T33" fmla="*/ 1 h 1"/>
                <a:gd name="T34" fmla="*/ 2 w 2"/>
                <a:gd name="T35" fmla="*/ 1 h 1"/>
                <a:gd name="T36" fmla="*/ 2 w 2"/>
                <a:gd name="T37" fmla="*/ 1 h 1"/>
                <a:gd name="T38" fmla="*/ 1 w 2"/>
                <a:gd name="T39" fmla="*/ 1 h 1"/>
                <a:gd name="T40" fmla="*/ 1 w 2"/>
                <a:gd name="T41" fmla="*/ 1 h 1"/>
                <a:gd name="T42" fmla="*/ 1 w 2"/>
                <a:gd name="T43" fmla="*/ 1 h 1"/>
                <a:gd name="T44" fmla="*/ 1 w 2"/>
                <a:gd name="T45" fmla="*/ 1 h 1"/>
                <a:gd name="T46" fmla="*/ 1 w 2"/>
                <a:gd name="T47" fmla="*/ 1 h 1"/>
                <a:gd name="T48" fmla="*/ 1 w 2"/>
                <a:gd name="T49" fmla="*/ 1 h 1"/>
                <a:gd name="T50" fmla="*/ 1 w 2"/>
                <a:gd name="T51" fmla="*/ 1 h 1"/>
                <a:gd name="T52" fmla="*/ 1 w 2"/>
                <a:gd name="T53" fmla="*/ 1 h 1"/>
                <a:gd name="T54" fmla="*/ 1 w 2"/>
                <a:gd name="T55" fmla="*/ 1 h 1"/>
                <a:gd name="T56" fmla="*/ 1 w 2"/>
                <a:gd name="T57" fmla="*/ 0 h 1"/>
                <a:gd name="T58" fmla="*/ 1 w 2"/>
                <a:gd name="T59" fmla="*/ 0 h 1"/>
                <a:gd name="T60" fmla="*/ 1 w 2"/>
                <a:gd name="T61" fmla="*/ 0 h 1"/>
                <a:gd name="T62" fmla="*/ 1 w 2"/>
                <a:gd name="T63" fmla="*/ 0 h 1"/>
                <a:gd name="T64" fmla="*/ 1 w 2"/>
                <a:gd name="T65" fmla="*/ 0 h 1"/>
                <a:gd name="T66" fmla="*/ 1 w 2"/>
                <a:gd name="T67" fmla="*/ 0 h 1"/>
                <a:gd name="T68" fmla="*/ 0 w 2"/>
                <a:gd name="T69" fmla="*/ 0 h 1"/>
                <a:gd name="T70" fmla="*/ 0 w 2"/>
                <a:gd name="T71" fmla="*/ 0 h 1"/>
                <a:gd name="T72" fmla="*/ 0 w 2"/>
                <a:gd name="T73" fmla="*/ 0 h 1"/>
                <a:gd name="T74" fmla="*/ 0 w 2"/>
                <a:gd name="T75" fmla="*/ 0 h 1"/>
                <a:gd name="T76" fmla="*/ 0 w 2"/>
                <a:gd name="T77" fmla="*/ 0 h 1"/>
                <a:gd name="T78" fmla="*/ 0 w 2"/>
                <a:gd name="T79" fmla="*/ 0 h 1"/>
                <a:gd name="T80" fmla="*/ 0 w 2"/>
                <a:gd name="T81" fmla="*/ 0 h 1"/>
                <a:gd name="T82" fmla="*/ 0 w 2"/>
                <a:gd name="T83" fmla="*/ 0 h 1"/>
                <a:gd name="T84" fmla="*/ 0 w 2"/>
                <a:gd name="T85" fmla="*/ 0 h 1"/>
                <a:gd name="T86" fmla="*/ 0 w 2"/>
                <a:gd name="T87" fmla="*/ 0 h 1"/>
                <a:gd name="T88" fmla="*/ 0 w 2"/>
                <a:gd name="T89" fmla="*/ 0 h 1"/>
                <a:gd name="T90" fmla="*/ 1 w 2"/>
                <a:gd name="T91" fmla="*/ 0 h 1"/>
                <a:gd name="T92" fmla="*/ 1 w 2"/>
                <a:gd name="T93" fmla="*/ 0 h 1"/>
                <a:gd name="T94" fmla="*/ 1 w 2"/>
                <a:gd name="T95" fmla="*/ 0 h 1"/>
                <a:gd name="T96" fmla="*/ 1 w 2"/>
                <a:gd name="T9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 h="1">
                  <a:moveTo>
                    <a:pt x="1" y="0"/>
                  </a:moveTo>
                  <a:lnTo>
                    <a:pt x="1" y="0"/>
                  </a:lnTo>
                  <a:lnTo>
                    <a:pt x="1" y="0"/>
                  </a:lnTo>
                  <a:lnTo>
                    <a:pt x="1" y="0"/>
                  </a:lnTo>
                  <a:lnTo>
                    <a:pt x="1" y="0"/>
                  </a:lnTo>
                  <a:lnTo>
                    <a:pt x="1" y="0"/>
                  </a:lnTo>
                  <a:lnTo>
                    <a:pt x="1" y="0"/>
                  </a:lnTo>
                  <a:lnTo>
                    <a:pt x="1" y="0"/>
                  </a:lnTo>
                  <a:lnTo>
                    <a:pt x="1" y="0"/>
                  </a:lnTo>
                  <a:lnTo>
                    <a:pt x="1" y="0"/>
                  </a:lnTo>
                  <a:lnTo>
                    <a:pt x="1" y="0"/>
                  </a:lnTo>
                  <a:lnTo>
                    <a:pt x="2" y="1"/>
                  </a:lnTo>
                  <a:lnTo>
                    <a:pt x="2" y="1"/>
                  </a:lnTo>
                  <a:lnTo>
                    <a:pt x="1" y="1"/>
                  </a:lnTo>
                  <a:lnTo>
                    <a:pt x="2" y="1"/>
                  </a:lnTo>
                  <a:lnTo>
                    <a:pt x="2" y="1"/>
                  </a:lnTo>
                  <a:lnTo>
                    <a:pt x="2" y="1"/>
                  </a:lnTo>
                  <a:lnTo>
                    <a:pt x="2" y="1"/>
                  </a:lnTo>
                  <a:lnTo>
                    <a:pt x="2" y="1"/>
                  </a:lnTo>
                  <a:lnTo>
                    <a:pt x="1" y="1"/>
                  </a:lnTo>
                  <a:lnTo>
                    <a:pt x="1" y="1"/>
                  </a:lnTo>
                  <a:lnTo>
                    <a:pt x="1" y="1"/>
                  </a:lnTo>
                  <a:lnTo>
                    <a:pt x="1" y="1"/>
                  </a:lnTo>
                  <a:lnTo>
                    <a:pt x="1" y="1"/>
                  </a:lnTo>
                  <a:lnTo>
                    <a:pt x="1" y="1"/>
                  </a:lnTo>
                  <a:lnTo>
                    <a:pt x="1" y="1"/>
                  </a:lnTo>
                  <a:lnTo>
                    <a:pt x="1" y="1"/>
                  </a:lnTo>
                  <a:lnTo>
                    <a:pt x="1" y="1"/>
                  </a:lnTo>
                  <a:lnTo>
                    <a:pt x="1" y="0"/>
                  </a:lnTo>
                  <a:lnTo>
                    <a:pt x="1" y="0"/>
                  </a:lnTo>
                  <a:lnTo>
                    <a:pt x="1" y="0"/>
                  </a:lnTo>
                  <a:lnTo>
                    <a:pt x="1" y="0"/>
                  </a:lnTo>
                  <a:lnTo>
                    <a:pt x="1" y="0"/>
                  </a:lnTo>
                  <a:lnTo>
                    <a:pt x="1" y="0"/>
                  </a:lnTo>
                  <a:lnTo>
                    <a:pt x="0" y="0"/>
                  </a:lnTo>
                  <a:lnTo>
                    <a:pt x="0" y="0"/>
                  </a:lnTo>
                  <a:lnTo>
                    <a:pt x="0" y="0"/>
                  </a:lnTo>
                  <a:lnTo>
                    <a:pt x="0" y="0"/>
                  </a:lnTo>
                  <a:lnTo>
                    <a:pt x="0" y="0"/>
                  </a:lnTo>
                  <a:lnTo>
                    <a:pt x="0" y="0"/>
                  </a:lnTo>
                  <a:lnTo>
                    <a:pt x="0" y="0"/>
                  </a:lnTo>
                  <a:lnTo>
                    <a:pt x="0" y="0"/>
                  </a:lnTo>
                  <a:lnTo>
                    <a:pt x="0" y="0"/>
                  </a:lnTo>
                  <a:lnTo>
                    <a:pt x="0" y="0"/>
                  </a:lnTo>
                  <a:lnTo>
                    <a:pt x="0"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60" name="Freeform 1426">
              <a:extLst>
                <a:ext uri="{FF2B5EF4-FFF2-40B4-BE49-F238E27FC236}">
                  <a16:creationId xmlns:a16="http://schemas.microsoft.com/office/drawing/2014/main" id="{C6B250B6-08FE-4B29-85F5-6917108A4276}"/>
                </a:ext>
              </a:extLst>
            </p:cNvPr>
            <p:cNvSpPr>
              <a:spLocks/>
            </p:cNvSpPr>
            <p:nvPr/>
          </p:nvSpPr>
          <p:spPr bwMode="auto">
            <a:xfrm>
              <a:off x="5875873" y="2074473"/>
              <a:ext cx="1336" cy="1336"/>
            </a:xfrm>
            <a:custGeom>
              <a:avLst/>
              <a:gdLst>
                <a:gd name="T0" fmla="*/ 1 w 1"/>
                <a:gd name="T1" fmla="*/ 1 h 1"/>
                <a:gd name="T2" fmla="*/ 1 w 1"/>
                <a:gd name="T3" fmla="*/ 1 h 1"/>
                <a:gd name="T4" fmla="*/ 1 w 1"/>
                <a:gd name="T5" fmla="*/ 1 h 1"/>
                <a:gd name="T6" fmla="*/ 1 w 1"/>
                <a:gd name="T7" fmla="*/ 1 h 1"/>
                <a:gd name="T8" fmla="*/ 0 w 1"/>
                <a:gd name="T9" fmla="*/ 1 h 1"/>
                <a:gd name="T10" fmla="*/ 0 w 1"/>
                <a:gd name="T11" fmla="*/ 1 h 1"/>
                <a:gd name="T12" fmla="*/ 0 w 1"/>
                <a:gd name="T13" fmla="*/ 1 h 1"/>
                <a:gd name="T14" fmla="*/ 0 w 1"/>
                <a:gd name="T15" fmla="*/ 1 h 1"/>
                <a:gd name="T16" fmla="*/ 0 w 1"/>
                <a:gd name="T17" fmla="*/ 1 h 1"/>
                <a:gd name="T18" fmla="*/ 0 w 1"/>
                <a:gd name="T19" fmla="*/ 1 h 1"/>
                <a:gd name="T20" fmla="*/ 0 w 1"/>
                <a:gd name="T21" fmla="*/ 1 h 1"/>
                <a:gd name="T22" fmla="*/ 0 w 1"/>
                <a:gd name="T23" fmla="*/ 1 h 1"/>
                <a:gd name="T24" fmla="*/ 0 w 1"/>
                <a:gd name="T25" fmla="*/ 1 h 1"/>
                <a:gd name="T26" fmla="*/ 0 w 1"/>
                <a:gd name="T27" fmla="*/ 1 h 1"/>
                <a:gd name="T28" fmla="*/ 0 w 1"/>
                <a:gd name="T29" fmla="*/ 1 h 1"/>
                <a:gd name="T30" fmla="*/ 0 w 1"/>
                <a:gd name="T31" fmla="*/ 1 h 1"/>
                <a:gd name="T32" fmla="*/ 0 w 1"/>
                <a:gd name="T33" fmla="*/ 1 h 1"/>
                <a:gd name="T34" fmla="*/ 0 w 1"/>
                <a:gd name="T35" fmla="*/ 1 h 1"/>
                <a:gd name="T36" fmla="*/ 0 w 1"/>
                <a:gd name="T37" fmla="*/ 1 h 1"/>
                <a:gd name="T38" fmla="*/ 0 w 1"/>
                <a:gd name="T39" fmla="*/ 1 h 1"/>
                <a:gd name="T40" fmla="*/ 0 w 1"/>
                <a:gd name="T41" fmla="*/ 1 h 1"/>
                <a:gd name="T42" fmla="*/ 0 w 1"/>
                <a:gd name="T43" fmla="*/ 1 h 1"/>
                <a:gd name="T44" fmla="*/ 0 w 1"/>
                <a:gd name="T45" fmla="*/ 1 h 1"/>
                <a:gd name="T46" fmla="*/ 0 w 1"/>
                <a:gd name="T47" fmla="*/ 0 h 1"/>
                <a:gd name="T48" fmla="*/ 0 w 1"/>
                <a:gd name="T49" fmla="*/ 0 h 1"/>
                <a:gd name="T50" fmla="*/ 0 w 1"/>
                <a:gd name="T51" fmla="*/ 0 h 1"/>
                <a:gd name="T52" fmla="*/ 0 w 1"/>
                <a:gd name="T53" fmla="*/ 0 h 1"/>
                <a:gd name="T54" fmla="*/ 0 w 1"/>
                <a:gd name="T55" fmla="*/ 0 h 1"/>
                <a:gd name="T56" fmla="*/ 0 w 1"/>
                <a:gd name="T57" fmla="*/ 0 h 1"/>
                <a:gd name="T58" fmla="*/ 0 w 1"/>
                <a:gd name="T59" fmla="*/ 0 h 1"/>
                <a:gd name="T60" fmla="*/ 0 w 1"/>
                <a:gd name="T61" fmla="*/ 0 h 1"/>
                <a:gd name="T62" fmla="*/ 0 w 1"/>
                <a:gd name="T63" fmla="*/ 0 h 1"/>
                <a:gd name="T64" fmla="*/ 0 w 1"/>
                <a:gd name="T65" fmla="*/ 0 h 1"/>
                <a:gd name="T66" fmla="*/ 0 w 1"/>
                <a:gd name="T67" fmla="*/ 0 h 1"/>
                <a:gd name="T68" fmla="*/ 0 w 1"/>
                <a:gd name="T69" fmla="*/ 0 h 1"/>
                <a:gd name="T70" fmla="*/ 0 w 1"/>
                <a:gd name="T71" fmla="*/ 1 h 1"/>
                <a:gd name="T72" fmla="*/ 0 w 1"/>
                <a:gd name="T73" fmla="*/ 1 h 1"/>
                <a:gd name="T74" fmla="*/ 1 w 1"/>
                <a:gd name="T75" fmla="*/ 1 h 1"/>
                <a:gd name="T76" fmla="*/ 1 w 1"/>
                <a:gd name="T77" fmla="*/ 1 h 1"/>
                <a:gd name="T78" fmla="*/ 1 w 1"/>
                <a:gd name="T7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 h="1">
                  <a:moveTo>
                    <a:pt x="1" y="1"/>
                  </a:moveTo>
                  <a:lnTo>
                    <a:pt x="1" y="1"/>
                  </a:lnTo>
                  <a:lnTo>
                    <a:pt x="1" y="1"/>
                  </a:lnTo>
                  <a:lnTo>
                    <a:pt x="1"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1"/>
                  </a:lnTo>
                  <a:lnTo>
                    <a:pt x="0" y="1"/>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61" name="Freeform 1427">
              <a:extLst>
                <a:ext uri="{FF2B5EF4-FFF2-40B4-BE49-F238E27FC236}">
                  <a16:creationId xmlns:a16="http://schemas.microsoft.com/office/drawing/2014/main" id="{266B860B-2DB1-4B09-BB2C-E013125A410F}"/>
                </a:ext>
              </a:extLst>
            </p:cNvPr>
            <p:cNvSpPr>
              <a:spLocks/>
            </p:cNvSpPr>
            <p:nvPr/>
          </p:nvSpPr>
          <p:spPr bwMode="auto">
            <a:xfrm>
              <a:off x="5877208" y="2073137"/>
              <a:ext cx="2671" cy="2671"/>
            </a:xfrm>
            <a:custGeom>
              <a:avLst/>
              <a:gdLst>
                <a:gd name="T0" fmla="*/ 1 w 2"/>
                <a:gd name="T1" fmla="*/ 0 h 2"/>
                <a:gd name="T2" fmla="*/ 1 w 2"/>
                <a:gd name="T3" fmla="*/ 1 h 2"/>
                <a:gd name="T4" fmla="*/ 1 w 2"/>
                <a:gd name="T5" fmla="*/ 0 h 2"/>
                <a:gd name="T6" fmla="*/ 1 w 2"/>
                <a:gd name="T7" fmla="*/ 0 h 2"/>
                <a:gd name="T8" fmla="*/ 1 w 2"/>
                <a:gd name="T9" fmla="*/ 0 h 2"/>
                <a:gd name="T10" fmla="*/ 1 w 2"/>
                <a:gd name="T11" fmla="*/ 0 h 2"/>
                <a:gd name="T12" fmla="*/ 1 w 2"/>
                <a:gd name="T13" fmla="*/ 0 h 2"/>
                <a:gd name="T14" fmla="*/ 1 w 2"/>
                <a:gd name="T15" fmla="*/ 0 h 2"/>
                <a:gd name="T16" fmla="*/ 1 w 2"/>
                <a:gd name="T17" fmla="*/ 0 h 2"/>
                <a:gd name="T18" fmla="*/ 1 w 2"/>
                <a:gd name="T19" fmla="*/ 0 h 2"/>
                <a:gd name="T20" fmla="*/ 1 w 2"/>
                <a:gd name="T21" fmla="*/ 0 h 2"/>
                <a:gd name="T22" fmla="*/ 1 w 2"/>
                <a:gd name="T23" fmla="*/ 0 h 2"/>
                <a:gd name="T24" fmla="*/ 1 w 2"/>
                <a:gd name="T25" fmla="*/ 0 h 2"/>
                <a:gd name="T26" fmla="*/ 1 w 2"/>
                <a:gd name="T27" fmla="*/ 0 h 2"/>
                <a:gd name="T28" fmla="*/ 1 w 2"/>
                <a:gd name="T29" fmla="*/ 0 h 2"/>
                <a:gd name="T30" fmla="*/ 2 w 2"/>
                <a:gd name="T31" fmla="*/ 0 h 2"/>
                <a:gd name="T32" fmla="*/ 2 w 2"/>
                <a:gd name="T33" fmla="*/ 0 h 2"/>
                <a:gd name="T34" fmla="*/ 2 w 2"/>
                <a:gd name="T35" fmla="*/ 0 h 2"/>
                <a:gd name="T36" fmla="*/ 2 w 2"/>
                <a:gd name="T37" fmla="*/ 1 h 2"/>
                <a:gd name="T38" fmla="*/ 2 w 2"/>
                <a:gd name="T39" fmla="*/ 1 h 2"/>
                <a:gd name="T40" fmla="*/ 2 w 2"/>
                <a:gd name="T41" fmla="*/ 1 h 2"/>
                <a:gd name="T42" fmla="*/ 1 w 2"/>
                <a:gd name="T43" fmla="*/ 1 h 2"/>
                <a:gd name="T44" fmla="*/ 1 w 2"/>
                <a:gd name="T45" fmla="*/ 1 h 2"/>
                <a:gd name="T46" fmla="*/ 1 w 2"/>
                <a:gd name="T47" fmla="*/ 2 h 2"/>
                <a:gd name="T48" fmla="*/ 1 w 2"/>
                <a:gd name="T49" fmla="*/ 1 h 2"/>
                <a:gd name="T50" fmla="*/ 1 w 2"/>
                <a:gd name="T51" fmla="*/ 1 h 2"/>
                <a:gd name="T52" fmla="*/ 1 w 2"/>
                <a:gd name="T53" fmla="*/ 1 h 2"/>
                <a:gd name="T54" fmla="*/ 1 w 2"/>
                <a:gd name="T55" fmla="*/ 1 h 2"/>
                <a:gd name="T56" fmla="*/ 1 w 2"/>
                <a:gd name="T57" fmla="*/ 1 h 2"/>
                <a:gd name="T58" fmla="*/ 0 w 2"/>
                <a:gd name="T59" fmla="*/ 1 h 2"/>
                <a:gd name="T60" fmla="*/ 0 w 2"/>
                <a:gd name="T61" fmla="*/ 1 h 2"/>
                <a:gd name="T62" fmla="*/ 0 w 2"/>
                <a:gd name="T63" fmla="*/ 1 h 2"/>
                <a:gd name="T64" fmla="*/ 0 w 2"/>
                <a:gd name="T65" fmla="*/ 2 h 2"/>
                <a:gd name="T66" fmla="*/ 0 w 2"/>
                <a:gd name="T67" fmla="*/ 2 h 2"/>
                <a:gd name="T68" fmla="*/ 0 w 2"/>
                <a:gd name="T69" fmla="*/ 1 h 2"/>
                <a:gd name="T70" fmla="*/ 0 w 2"/>
                <a:gd name="T71" fmla="*/ 1 h 2"/>
                <a:gd name="T72" fmla="*/ 0 w 2"/>
                <a:gd name="T73" fmla="*/ 1 h 2"/>
                <a:gd name="T74" fmla="*/ 0 w 2"/>
                <a:gd name="T75" fmla="*/ 1 h 2"/>
                <a:gd name="T76" fmla="*/ 0 w 2"/>
                <a:gd name="T77" fmla="*/ 1 h 2"/>
                <a:gd name="T78" fmla="*/ 0 w 2"/>
                <a:gd name="T79" fmla="*/ 0 h 2"/>
                <a:gd name="T80" fmla="*/ 0 w 2"/>
                <a:gd name="T81" fmla="*/ 0 h 2"/>
                <a:gd name="T82" fmla="*/ 0 w 2"/>
                <a:gd name="T83" fmla="*/ 0 h 2"/>
                <a:gd name="T84" fmla="*/ 1 w 2"/>
                <a:gd name="T85" fmla="*/ 0 h 2"/>
                <a:gd name="T86" fmla="*/ 1 w 2"/>
                <a:gd name="T87" fmla="*/ 1 h 2"/>
                <a:gd name="T88" fmla="*/ 1 w 2"/>
                <a:gd name="T89" fmla="*/ 1 h 2"/>
                <a:gd name="T90" fmla="*/ 1 w 2"/>
                <a:gd name="T91" fmla="*/ 1 h 2"/>
                <a:gd name="T92" fmla="*/ 1 w 2"/>
                <a:gd name="T93" fmla="*/ 0 h 2"/>
                <a:gd name="T94" fmla="*/ 1 w 2"/>
                <a:gd name="T95" fmla="*/ 0 h 2"/>
                <a:gd name="T96" fmla="*/ 1 w 2"/>
                <a:gd name="T97" fmla="*/ 0 h 2"/>
                <a:gd name="T98" fmla="*/ 1 w 2"/>
                <a:gd name="T99" fmla="*/ 0 h 2"/>
                <a:gd name="T100" fmla="*/ 1 w 2"/>
                <a:gd name="T101" fmla="*/ 0 h 2"/>
                <a:gd name="T102" fmla="*/ 1 w 2"/>
                <a:gd name="T10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 h="2">
                  <a:moveTo>
                    <a:pt x="1" y="0"/>
                  </a:moveTo>
                  <a:lnTo>
                    <a:pt x="1" y="1"/>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2" y="0"/>
                  </a:lnTo>
                  <a:lnTo>
                    <a:pt x="2" y="0"/>
                  </a:lnTo>
                  <a:lnTo>
                    <a:pt x="2" y="0"/>
                  </a:lnTo>
                  <a:lnTo>
                    <a:pt x="2" y="1"/>
                  </a:lnTo>
                  <a:lnTo>
                    <a:pt x="2" y="1"/>
                  </a:lnTo>
                  <a:lnTo>
                    <a:pt x="2" y="1"/>
                  </a:lnTo>
                  <a:lnTo>
                    <a:pt x="1" y="1"/>
                  </a:lnTo>
                  <a:lnTo>
                    <a:pt x="1" y="1"/>
                  </a:lnTo>
                  <a:lnTo>
                    <a:pt x="1" y="2"/>
                  </a:lnTo>
                  <a:lnTo>
                    <a:pt x="1" y="1"/>
                  </a:lnTo>
                  <a:lnTo>
                    <a:pt x="1" y="1"/>
                  </a:lnTo>
                  <a:lnTo>
                    <a:pt x="1" y="1"/>
                  </a:lnTo>
                  <a:lnTo>
                    <a:pt x="1" y="1"/>
                  </a:lnTo>
                  <a:lnTo>
                    <a:pt x="1" y="1"/>
                  </a:lnTo>
                  <a:lnTo>
                    <a:pt x="0" y="1"/>
                  </a:lnTo>
                  <a:lnTo>
                    <a:pt x="0" y="1"/>
                  </a:lnTo>
                  <a:lnTo>
                    <a:pt x="0" y="1"/>
                  </a:lnTo>
                  <a:lnTo>
                    <a:pt x="0" y="2"/>
                  </a:lnTo>
                  <a:lnTo>
                    <a:pt x="0" y="2"/>
                  </a:lnTo>
                  <a:lnTo>
                    <a:pt x="0" y="1"/>
                  </a:lnTo>
                  <a:lnTo>
                    <a:pt x="0" y="1"/>
                  </a:lnTo>
                  <a:lnTo>
                    <a:pt x="0" y="1"/>
                  </a:lnTo>
                  <a:lnTo>
                    <a:pt x="0" y="1"/>
                  </a:lnTo>
                  <a:lnTo>
                    <a:pt x="0" y="1"/>
                  </a:lnTo>
                  <a:lnTo>
                    <a:pt x="0" y="0"/>
                  </a:lnTo>
                  <a:lnTo>
                    <a:pt x="0" y="0"/>
                  </a:lnTo>
                  <a:lnTo>
                    <a:pt x="0" y="0"/>
                  </a:lnTo>
                  <a:lnTo>
                    <a:pt x="1" y="0"/>
                  </a:lnTo>
                  <a:lnTo>
                    <a:pt x="1" y="1"/>
                  </a:lnTo>
                  <a:lnTo>
                    <a:pt x="1" y="1"/>
                  </a:lnTo>
                  <a:lnTo>
                    <a:pt x="1" y="1"/>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62" name="Freeform 1428">
              <a:extLst>
                <a:ext uri="{FF2B5EF4-FFF2-40B4-BE49-F238E27FC236}">
                  <a16:creationId xmlns:a16="http://schemas.microsoft.com/office/drawing/2014/main" id="{09E42AFC-78E5-47EA-84BF-94397F118934}"/>
                </a:ext>
              </a:extLst>
            </p:cNvPr>
            <p:cNvSpPr>
              <a:spLocks/>
            </p:cNvSpPr>
            <p:nvPr/>
          </p:nvSpPr>
          <p:spPr bwMode="auto">
            <a:xfrm>
              <a:off x="5877208" y="2062453"/>
              <a:ext cx="1336" cy="1336"/>
            </a:xfrm>
            <a:custGeom>
              <a:avLst/>
              <a:gdLst>
                <a:gd name="T0" fmla="*/ 1 w 1"/>
                <a:gd name="T1" fmla="*/ 1 h 1"/>
                <a:gd name="T2" fmla="*/ 1 w 1"/>
                <a:gd name="T3" fmla="*/ 1 h 1"/>
                <a:gd name="T4" fmla="*/ 1 w 1"/>
                <a:gd name="T5" fmla="*/ 1 h 1"/>
                <a:gd name="T6" fmla="*/ 1 w 1"/>
                <a:gd name="T7" fmla="*/ 1 h 1"/>
                <a:gd name="T8" fmla="*/ 1 w 1"/>
                <a:gd name="T9" fmla="*/ 1 h 1"/>
                <a:gd name="T10" fmla="*/ 1 w 1"/>
                <a:gd name="T11" fmla="*/ 1 h 1"/>
                <a:gd name="T12" fmla="*/ 1 w 1"/>
                <a:gd name="T13" fmla="*/ 1 h 1"/>
                <a:gd name="T14" fmla="*/ 1 w 1"/>
                <a:gd name="T15" fmla="*/ 1 h 1"/>
                <a:gd name="T16" fmla="*/ 1 w 1"/>
                <a:gd name="T17" fmla="*/ 1 h 1"/>
                <a:gd name="T18" fmla="*/ 1 w 1"/>
                <a:gd name="T19" fmla="*/ 1 h 1"/>
                <a:gd name="T20" fmla="*/ 0 w 1"/>
                <a:gd name="T21" fmla="*/ 1 h 1"/>
                <a:gd name="T22" fmla="*/ 0 w 1"/>
                <a:gd name="T23" fmla="*/ 1 h 1"/>
                <a:gd name="T24" fmla="*/ 0 w 1"/>
                <a:gd name="T25" fmla="*/ 1 h 1"/>
                <a:gd name="T26" fmla="*/ 0 w 1"/>
                <a:gd name="T27" fmla="*/ 1 h 1"/>
                <a:gd name="T28" fmla="*/ 0 w 1"/>
                <a:gd name="T29" fmla="*/ 1 h 1"/>
                <a:gd name="T30" fmla="*/ 0 w 1"/>
                <a:gd name="T31" fmla="*/ 1 h 1"/>
                <a:gd name="T32" fmla="*/ 0 w 1"/>
                <a:gd name="T33" fmla="*/ 1 h 1"/>
                <a:gd name="T34" fmla="*/ 0 w 1"/>
                <a:gd name="T35" fmla="*/ 1 h 1"/>
                <a:gd name="T36" fmla="*/ 1 w 1"/>
                <a:gd name="T37" fmla="*/ 1 h 1"/>
                <a:gd name="T38" fmla="*/ 1 w 1"/>
                <a:gd name="T39" fmla="*/ 0 h 1"/>
                <a:gd name="T40" fmla="*/ 1 w 1"/>
                <a:gd name="T41" fmla="*/ 0 h 1"/>
                <a:gd name="T42" fmla="*/ 1 w 1"/>
                <a:gd name="T43" fmla="*/ 0 h 1"/>
                <a:gd name="T44" fmla="*/ 1 w 1"/>
                <a:gd name="T45" fmla="*/ 1 h 1"/>
                <a:gd name="T46" fmla="*/ 1 w 1"/>
                <a:gd name="T47" fmla="*/ 1 h 1"/>
                <a:gd name="T48" fmla="*/ 1 w 1"/>
                <a:gd name="T49" fmla="*/ 1 h 1"/>
                <a:gd name="T50" fmla="*/ 1 w 1"/>
                <a:gd name="T51" fmla="*/ 1 h 1"/>
                <a:gd name="T52" fmla="*/ 1 w 1"/>
                <a:gd name="T5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 h="1">
                  <a:moveTo>
                    <a:pt x="1" y="1"/>
                  </a:moveTo>
                  <a:lnTo>
                    <a:pt x="1" y="1"/>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1" y="1"/>
                  </a:lnTo>
                  <a:lnTo>
                    <a:pt x="1" y="0"/>
                  </a:lnTo>
                  <a:lnTo>
                    <a:pt x="1" y="0"/>
                  </a:lnTo>
                  <a:lnTo>
                    <a:pt x="1" y="0"/>
                  </a:lnTo>
                  <a:lnTo>
                    <a:pt x="1" y="1"/>
                  </a:lnTo>
                  <a:lnTo>
                    <a:pt x="1" y="1"/>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63" name="Freeform 1429">
              <a:extLst>
                <a:ext uri="{FF2B5EF4-FFF2-40B4-BE49-F238E27FC236}">
                  <a16:creationId xmlns:a16="http://schemas.microsoft.com/office/drawing/2014/main" id="{ECEDBD5C-EAE9-4E8B-A33D-AB03B65C747D}"/>
                </a:ext>
              </a:extLst>
            </p:cNvPr>
            <p:cNvSpPr>
              <a:spLocks/>
            </p:cNvSpPr>
            <p:nvPr/>
          </p:nvSpPr>
          <p:spPr bwMode="auto">
            <a:xfrm>
              <a:off x="5877208" y="2059782"/>
              <a:ext cx="5342" cy="2671"/>
            </a:xfrm>
            <a:custGeom>
              <a:avLst/>
              <a:gdLst>
                <a:gd name="T0" fmla="*/ 1 w 4"/>
                <a:gd name="T1" fmla="*/ 0 h 2"/>
                <a:gd name="T2" fmla="*/ 4 w 4"/>
                <a:gd name="T3" fmla="*/ 1 h 2"/>
                <a:gd name="T4" fmla="*/ 4 w 4"/>
                <a:gd name="T5" fmla="*/ 1 h 2"/>
                <a:gd name="T6" fmla="*/ 3 w 4"/>
                <a:gd name="T7" fmla="*/ 1 h 2"/>
                <a:gd name="T8" fmla="*/ 3 w 4"/>
                <a:gd name="T9" fmla="*/ 1 h 2"/>
                <a:gd name="T10" fmla="*/ 3 w 4"/>
                <a:gd name="T11" fmla="*/ 1 h 2"/>
                <a:gd name="T12" fmla="*/ 3 w 4"/>
                <a:gd name="T13" fmla="*/ 1 h 2"/>
                <a:gd name="T14" fmla="*/ 3 w 4"/>
                <a:gd name="T15" fmla="*/ 1 h 2"/>
                <a:gd name="T16" fmla="*/ 3 w 4"/>
                <a:gd name="T17" fmla="*/ 1 h 2"/>
                <a:gd name="T18" fmla="*/ 3 w 4"/>
                <a:gd name="T19" fmla="*/ 1 h 2"/>
                <a:gd name="T20" fmla="*/ 2 w 4"/>
                <a:gd name="T21" fmla="*/ 1 h 2"/>
                <a:gd name="T22" fmla="*/ 2 w 4"/>
                <a:gd name="T23" fmla="*/ 1 h 2"/>
                <a:gd name="T24" fmla="*/ 1 w 4"/>
                <a:gd name="T25" fmla="*/ 2 h 2"/>
                <a:gd name="T26" fmla="*/ 1 w 4"/>
                <a:gd name="T27" fmla="*/ 2 h 2"/>
                <a:gd name="T28" fmla="*/ 1 w 4"/>
                <a:gd name="T29" fmla="*/ 1 h 2"/>
                <a:gd name="T30" fmla="*/ 1 w 4"/>
                <a:gd name="T31" fmla="*/ 1 h 2"/>
                <a:gd name="T32" fmla="*/ 1 w 4"/>
                <a:gd name="T33" fmla="*/ 1 h 2"/>
                <a:gd name="T34" fmla="*/ 1 w 4"/>
                <a:gd name="T35" fmla="*/ 1 h 2"/>
                <a:gd name="T36" fmla="*/ 1 w 4"/>
                <a:gd name="T37" fmla="*/ 1 h 2"/>
                <a:gd name="T38" fmla="*/ 1 w 4"/>
                <a:gd name="T39" fmla="*/ 1 h 2"/>
                <a:gd name="T40" fmla="*/ 1 w 4"/>
                <a:gd name="T41" fmla="*/ 1 h 2"/>
                <a:gd name="T42" fmla="*/ 1 w 4"/>
                <a:gd name="T43" fmla="*/ 1 h 2"/>
                <a:gd name="T44" fmla="*/ 0 w 4"/>
                <a:gd name="T45" fmla="*/ 1 h 2"/>
                <a:gd name="T46" fmla="*/ 0 w 4"/>
                <a:gd name="T47" fmla="*/ 1 h 2"/>
                <a:gd name="T48" fmla="*/ 0 w 4"/>
                <a:gd name="T49" fmla="*/ 1 h 2"/>
                <a:gd name="T50" fmla="*/ 0 w 4"/>
                <a:gd name="T51" fmla="*/ 1 h 2"/>
                <a:gd name="T52" fmla="*/ 1 w 4"/>
                <a:gd name="T53" fmla="*/ 0 h 2"/>
                <a:gd name="T54" fmla="*/ 1 w 4"/>
                <a:gd name="T55" fmla="*/ 0 h 2"/>
                <a:gd name="T56" fmla="*/ 1 w 4"/>
                <a:gd name="T57" fmla="*/ 0 h 2"/>
                <a:gd name="T58" fmla="*/ 1 w 4"/>
                <a:gd name="T5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 h="2">
                  <a:moveTo>
                    <a:pt x="1" y="0"/>
                  </a:moveTo>
                  <a:lnTo>
                    <a:pt x="4" y="1"/>
                  </a:lnTo>
                  <a:lnTo>
                    <a:pt x="4" y="1"/>
                  </a:lnTo>
                  <a:lnTo>
                    <a:pt x="3" y="1"/>
                  </a:lnTo>
                  <a:lnTo>
                    <a:pt x="3" y="1"/>
                  </a:lnTo>
                  <a:lnTo>
                    <a:pt x="3" y="1"/>
                  </a:lnTo>
                  <a:lnTo>
                    <a:pt x="3" y="1"/>
                  </a:lnTo>
                  <a:lnTo>
                    <a:pt x="3" y="1"/>
                  </a:lnTo>
                  <a:lnTo>
                    <a:pt x="3" y="1"/>
                  </a:lnTo>
                  <a:lnTo>
                    <a:pt x="3" y="1"/>
                  </a:lnTo>
                  <a:lnTo>
                    <a:pt x="2" y="1"/>
                  </a:lnTo>
                  <a:lnTo>
                    <a:pt x="2" y="1"/>
                  </a:lnTo>
                  <a:lnTo>
                    <a:pt x="1" y="2"/>
                  </a:lnTo>
                  <a:lnTo>
                    <a:pt x="1" y="2"/>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64" name="Freeform 1430">
              <a:extLst>
                <a:ext uri="{FF2B5EF4-FFF2-40B4-BE49-F238E27FC236}">
                  <a16:creationId xmlns:a16="http://schemas.microsoft.com/office/drawing/2014/main" id="{2A5E783E-BA48-4988-986C-60F008F7ADE5}"/>
                </a:ext>
              </a:extLst>
            </p:cNvPr>
            <p:cNvSpPr>
              <a:spLocks/>
            </p:cNvSpPr>
            <p:nvPr/>
          </p:nvSpPr>
          <p:spPr bwMode="auto">
            <a:xfrm>
              <a:off x="5879879" y="2055776"/>
              <a:ext cx="1336" cy="4007"/>
            </a:xfrm>
            <a:custGeom>
              <a:avLst/>
              <a:gdLst>
                <a:gd name="T0" fmla="*/ 0 w 1"/>
                <a:gd name="T1" fmla="*/ 1 h 3"/>
                <a:gd name="T2" fmla="*/ 0 w 1"/>
                <a:gd name="T3" fmla="*/ 1 h 3"/>
                <a:gd name="T4" fmla="*/ 1 w 1"/>
                <a:gd name="T5" fmla="*/ 1 h 3"/>
                <a:gd name="T6" fmla="*/ 1 w 1"/>
                <a:gd name="T7" fmla="*/ 1 h 3"/>
                <a:gd name="T8" fmla="*/ 1 w 1"/>
                <a:gd name="T9" fmla="*/ 1 h 3"/>
                <a:gd name="T10" fmla="*/ 1 w 1"/>
                <a:gd name="T11" fmla="*/ 1 h 3"/>
                <a:gd name="T12" fmla="*/ 1 w 1"/>
                <a:gd name="T13" fmla="*/ 1 h 3"/>
                <a:gd name="T14" fmla="*/ 1 w 1"/>
                <a:gd name="T15" fmla="*/ 1 h 3"/>
                <a:gd name="T16" fmla="*/ 1 w 1"/>
                <a:gd name="T17" fmla="*/ 1 h 3"/>
                <a:gd name="T18" fmla="*/ 1 w 1"/>
                <a:gd name="T19" fmla="*/ 1 h 3"/>
                <a:gd name="T20" fmla="*/ 1 w 1"/>
                <a:gd name="T21" fmla="*/ 1 h 3"/>
                <a:gd name="T22" fmla="*/ 1 w 1"/>
                <a:gd name="T23" fmla="*/ 1 h 3"/>
                <a:gd name="T24" fmla="*/ 1 w 1"/>
                <a:gd name="T25" fmla="*/ 3 h 3"/>
                <a:gd name="T26" fmla="*/ 1 w 1"/>
                <a:gd name="T27" fmla="*/ 3 h 3"/>
                <a:gd name="T28" fmla="*/ 1 w 1"/>
                <a:gd name="T29" fmla="*/ 3 h 3"/>
                <a:gd name="T30" fmla="*/ 0 w 1"/>
                <a:gd name="T31" fmla="*/ 3 h 3"/>
                <a:gd name="T32" fmla="*/ 0 w 1"/>
                <a:gd name="T33" fmla="*/ 3 h 3"/>
                <a:gd name="T34" fmla="*/ 0 w 1"/>
                <a:gd name="T35" fmla="*/ 3 h 3"/>
                <a:gd name="T36" fmla="*/ 0 w 1"/>
                <a:gd name="T37" fmla="*/ 3 h 3"/>
                <a:gd name="T38" fmla="*/ 0 w 1"/>
                <a:gd name="T39" fmla="*/ 3 h 3"/>
                <a:gd name="T40" fmla="*/ 0 w 1"/>
                <a:gd name="T41" fmla="*/ 3 h 3"/>
                <a:gd name="T42" fmla="*/ 0 w 1"/>
                <a:gd name="T43" fmla="*/ 1 h 3"/>
                <a:gd name="T44" fmla="*/ 0 w 1"/>
                <a:gd name="T45" fmla="*/ 1 h 3"/>
                <a:gd name="T46" fmla="*/ 0 w 1"/>
                <a:gd name="T47" fmla="*/ 1 h 3"/>
                <a:gd name="T48" fmla="*/ 0 w 1"/>
                <a:gd name="T49" fmla="*/ 1 h 3"/>
                <a:gd name="T50" fmla="*/ 0 w 1"/>
                <a:gd name="T51" fmla="*/ 1 h 3"/>
                <a:gd name="T52" fmla="*/ 0 w 1"/>
                <a:gd name="T53" fmla="*/ 1 h 3"/>
                <a:gd name="T54" fmla="*/ 0 w 1"/>
                <a:gd name="T55" fmla="*/ 1 h 3"/>
                <a:gd name="T56" fmla="*/ 0 w 1"/>
                <a:gd name="T57" fmla="*/ 1 h 3"/>
                <a:gd name="T58" fmla="*/ 0 w 1"/>
                <a:gd name="T59" fmla="*/ 1 h 3"/>
                <a:gd name="T60" fmla="*/ 0 w 1"/>
                <a:gd name="T61" fmla="*/ 1 h 3"/>
                <a:gd name="T62" fmla="*/ 0 w 1"/>
                <a:gd name="T63" fmla="*/ 1 h 3"/>
                <a:gd name="T64" fmla="*/ 0 w 1"/>
                <a:gd name="T65" fmla="*/ 1 h 3"/>
                <a:gd name="T66" fmla="*/ 0 w 1"/>
                <a:gd name="T67" fmla="*/ 0 h 3"/>
                <a:gd name="T68" fmla="*/ 0 w 1"/>
                <a:gd name="T69" fmla="*/ 1 h 3"/>
                <a:gd name="T70" fmla="*/ 0 w 1"/>
                <a:gd name="T7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 h="3">
                  <a:moveTo>
                    <a:pt x="0" y="1"/>
                  </a:moveTo>
                  <a:lnTo>
                    <a:pt x="0" y="1"/>
                  </a:lnTo>
                  <a:lnTo>
                    <a:pt x="1" y="1"/>
                  </a:lnTo>
                  <a:lnTo>
                    <a:pt x="1" y="1"/>
                  </a:lnTo>
                  <a:lnTo>
                    <a:pt x="1" y="1"/>
                  </a:lnTo>
                  <a:lnTo>
                    <a:pt x="1" y="1"/>
                  </a:lnTo>
                  <a:lnTo>
                    <a:pt x="1" y="1"/>
                  </a:lnTo>
                  <a:lnTo>
                    <a:pt x="1" y="1"/>
                  </a:lnTo>
                  <a:lnTo>
                    <a:pt x="1" y="1"/>
                  </a:lnTo>
                  <a:lnTo>
                    <a:pt x="1" y="1"/>
                  </a:lnTo>
                  <a:lnTo>
                    <a:pt x="1" y="1"/>
                  </a:lnTo>
                  <a:lnTo>
                    <a:pt x="1" y="1"/>
                  </a:lnTo>
                  <a:lnTo>
                    <a:pt x="1" y="3"/>
                  </a:lnTo>
                  <a:lnTo>
                    <a:pt x="1" y="3"/>
                  </a:lnTo>
                  <a:lnTo>
                    <a:pt x="1" y="3"/>
                  </a:lnTo>
                  <a:lnTo>
                    <a:pt x="0" y="3"/>
                  </a:lnTo>
                  <a:lnTo>
                    <a:pt x="0" y="3"/>
                  </a:lnTo>
                  <a:lnTo>
                    <a:pt x="0" y="3"/>
                  </a:lnTo>
                  <a:lnTo>
                    <a:pt x="0" y="3"/>
                  </a:lnTo>
                  <a:lnTo>
                    <a:pt x="0" y="3"/>
                  </a:lnTo>
                  <a:lnTo>
                    <a:pt x="0" y="3"/>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0"/>
                  </a:lnTo>
                  <a:lnTo>
                    <a:pt x="0" y="1"/>
                  </a:lnTo>
                  <a:lnTo>
                    <a:pt x="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65" name="Freeform 1431">
              <a:extLst>
                <a:ext uri="{FF2B5EF4-FFF2-40B4-BE49-F238E27FC236}">
                  <a16:creationId xmlns:a16="http://schemas.microsoft.com/office/drawing/2014/main" id="{AD7B3660-E212-45A8-A84B-14EE473B002E}"/>
                </a:ext>
              </a:extLst>
            </p:cNvPr>
            <p:cNvSpPr>
              <a:spLocks/>
            </p:cNvSpPr>
            <p:nvPr/>
          </p:nvSpPr>
          <p:spPr bwMode="auto">
            <a:xfrm>
              <a:off x="5886557" y="2051769"/>
              <a:ext cx="4007" cy="2671"/>
            </a:xfrm>
            <a:custGeom>
              <a:avLst/>
              <a:gdLst>
                <a:gd name="T0" fmla="*/ 2 w 3"/>
                <a:gd name="T1" fmla="*/ 0 h 2"/>
                <a:gd name="T2" fmla="*/ 2 w 3"/>
                <a:gd name="T3" fmla="*/ 0 h 2"/>
                <a:gd name="T4" fmla="*/ 2 w 3"/>
                <a:gd name="T5" fmla="*/ 0 h 2"/>
                <a:gd name="T6" fmla="*/ 2 w 3"/>
                <a:gd name="T7" fmla="*/ 0 h 2"/>
                <a:gd name="T8" fmla="*/ 2 w 3"/>
                <a:gd name="T9" fmla="*/ 0 h 2"/>
                <a:gd name="T10" fmla="*/ 3 w 3"/>
                <a:gd name="T11" fmla="*/ 0 h 2"/>
                <a:gd name="T12" fmla="*/ 3 w 3"/>
                <a:gd name="T13" fmla="*/ 1 h 2"/>
                <a:gd name="T14" fmla="*/ 3 w 3"/>
                <a:gd name="T15" fmla="*/ 1 h 2"/>
                <a:gd name="T16" fmla="*/ 3 w 3"/>
                <a:gd name="T17" fmla="*/ 1 h 2"/>
                <a:gd name="T18" fmla="*/ 3 w 3"/>
                <a:gd name="T19" fmla="*/ 1 h 2"/>
                <a:gd name="T20" fmla="*/ 3 w 3"/>
                <a:gd name="T21" fmla="*/ 1 h 2"/>
                <a:gd name="T22" fmla="*/ 3 w 3"/>
                <a:gd name="T23" fmla="*/ 1 h 2"/>
                <a:gd name="T24" fmla="*/ 3 w 3"/>
                <a:gd name="T25" fmla="*/ 1 h 2"/>
                <a:gd name="T26" fmla="*/ 3 w 3"/>
                <a:gd name="T27" fmla="*/ 1 h 2"/>
                <a:gd name="T28" fmla="*/ 3 w 3"/>
                <a:gd name="T29" fmla="*/ 1 h 2"/>
                <a:gd name="T30" fmla="*/ 3 w 3"/>
                <a:gd name="T31" fmla="*/ 1 h 2"/>
                <a:gd name="T32" fmla="*/ 3 w 3"/>
                <a:gd name="T33" fmla="*/ 1 h 2"/>
                <a:gd name="T34" fmla="*/ 3 w 3"/>
                <a:gd name="T35" fmla="*/ 1 h 2"/>
                <a:gd name="T36" fmla="*/ 3 w 3"/>
                <a:gd name="T37" fmla="*/ 1 h 2"/>
                <a:gd name="T38" fmla="*/ 2 w 3"/>
                <a:gd name="T39" fmla="*/ 2 h 2"/>
                <a:gd name="T40" fmla="*/ 1 w 3"/>
                <a:gd name="T41" fmla="*/ 2 h 2"/>
                <a:gd name="T42" fmla="*/ 1 w 3"/>
                <a:gd name="T43" fmla="*/ 2 h 2"/>
                <a:gd name="T44" fmla="*/ 1 w 3"/>
                <a:gd name="T45" fmla="*/ 2 h 2"/>
                <a:gd name="T46" fmla="*/ 1 w 3"/>
                <a:gd name="T47" fmla="*/ 1 h 2"/>
                <a:gd name="T48" fmla="*/ 0 w 3"/>
                <a:gd name="T49" fmla="*/ 1 h 2"/>
                <a:gd name="T50" fmla="*/ 0 w 3"/>
                <a:gd name="T51" fmla="*/ 1 h 2"/>
                <a:gd name="T52" fmla="*/ 0 w 3"/>
                <a:gd name="T53" fmla="*/ 1 h 2"/>
                <a:gd name="T54" fmla="*/ 1 w 3"/>
                <a:gd name="T55" fmla="*/ 1 h 2"/>
                <a:gd name="T56" fmla="*/ 1 w 3"/>
                <a:gd name="T57" fmla="*/ 1 h 2"/>
                <a:gd name="T58" fmla="*/ 1 w 3"/>
                <a:gd name="T59" fmla="*/ 1 h 2"/>
                <a:gd name="T60" fmla="*/ 1 w 3"/>
                <a:gd name="T61" fmla="*/ 1 h 2"/>
                <a:gd name="T62" fmla="*/ 1 w 3"/>
                <a:gd name="T63" fmla="*/ 1 h 2"/>
                <a:gd name="T64" fmla="*/ 0 w 3"/>
                <a:gd name="T65" fmla="*/ 1 h 2"/>
                <a:gd name="T66" fmla="*/ 1 w 3"/>
                <a:gd name="T67" fmla="*/ 1 h 2"/>
                <a:gd name="T68" fmla="*/ 1 w 3"/>
                <a:gd name="T69" fmla="*/ 1 h 2"/>
                <a:gd name="T70" fmla="*/ 1 w 3"/>
                <a:gd name="T71" fmla="*/ 1 h 2"/>
                <a:gd name="T72" fmla="*/ 1 w 3"/>
                <a:gd name="T73" fmla="*/ 1 h 2"/>
                <a:gd name="T74" fmla="*/ 1 w 3"/>
                <a:gd name="T75" fmla="*/ 1 h 2"/>
                <a:gd name="T76" fmla="*/ 1 w 3"/>
                <a:gd name="T77" fmla="*/ 1 h 2"/>
                <a:gd name="T78" fmla="*/ 1 w 3"/>
                <a:gd name="T79" fmla="*/ 1 h 2"/>
                <a:gd name="T80" fmla="*/ 1 w 3"/>
                <a:gd name="T81" fmla="*/ 0 h 2"/>
                <a:gd name="T82" fmla="*/ 1 w 3"/>
                <a:gd name="T83" fmla="*/ 0 h 2"/>
                <a:gd name="T84" fmla="*/ 2 w 3"/>
                <a:gd name="T85" fmla="*/ 0 h 2"/>
                <a:gd name="T86" fmla="*/ 2 w 3"/>
                <a:gd name="T87" fmla="*/ 0 h 2"/>
                <a:gd name="T88" fmla="*/ 2 w 3"/>
                <a:gd name="T89" fmla="*/ 0 h 2"/>
                <a:gd name="T90" fmla="*/ 2 w 3"/>
                <a:gd name="T91" fmla="*/ 0 h 2"/>
                <a:gd name="T92" fmla="*/ 2 w 3"/>
                <a:gd name="T9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 h="2">
                  <a:moveTo>
                    <a:pt x="2" y="0"/>
                  </a:moveTo>
                  <a:lnTo>
                    <a:pt x="2" y="0"/>
                  </a:lnTo>
                  <a:lnTo>
                    <a:pt x="2" y="0"/>
                  </a:lnTo>
                  <a:lnTo>
                    <a:pt x="2" y="0"/>
                  </a:lnTo>
                  <a:lnTo>
                    <a:pt x="2" y="0"/>
                  </a:lnTo>
                  <a:lnTo>
                    <a:pt x="3" y="0"/>
                  </a:lnTo>
                  <a:lnTo>
                    <a:pt x="3" y="1"/>
                  </a:lnTo>
                  <a:lnTo>
                    <a:pt x="3" y="1"/>
                  </a:lnTo>
                  <a:lnTo>
                    <a:pt x="3" y="1"/>
                  </a:lnTo>
                  <a:lnTo>
                    <a:pt x="3" y="1"/>
                  </a:lnTo>
                  <a:lnTo>
                    <a:pt x="3" y="1"/>
                  </a:lnTo>
                  <a:lnTo>
                    <a:pt x="3" y="1"/>
                  </a:lnTo>
                  <a:lnTo>
                    <a:pt x="3" y="1"/>
                  </a:lnTo>
                  <a:lnTo>
                    <a:pt x="3" y="1"/>
                  </a:lnTo>
                  <a:lnTo>
                    <a:pt x="3" y="1"/>
                  </a:lnTo>
                  <a:lnTo>
                    <a:pt x="3" y="1"/>
                  </a:lnTo>
                  <a:lnTo>
                    <a:pt x="3" y="1"/>
                  </a:lnTo>
                  <a:lnTo>
                    <a:pt x="3" y="1"/>
                  </a:lnTo>
                  <a:lnTo>
                    <a:pt x="3" y="1"/>
                  </a:lnTo>
                  <a:lnTo>
                    <a:pt x="2" y="2"/>
                  </a:lnTo>
                  <a:lnTo>
                    <a:pt x="1" y="2"/>
                  </a:lnTo>
                  <a:lnTo>
                    <a:pt x="1" y="2"/>
                  </a:lnTo>
                  <a:lnTo>
                    <a:pt x="1" y="2"/>
                  </a:lnTo>
                  <a:lnTo>
                    <a:pt x="1" y="1"/>
                  </a:lnTo>
                  <a:lnTo>
                    <a:pt x="0" y="1"/>
                  </a:lnTo>
                  <a:lnTo>
                    <a:pt x="0" y="1"/>
                  </a:lnTo>
                  <a:lnTo>
                    <a:pt x="0" y="1"/>
                  </a:lnTo>
                  <a:lnTo>
                    <a:pt x="1" y="1"/>
                  </a:lnTo>
                  <a:lnTo>
                    <a:pt x="1" y="1"/>
                  </a:lnTo>
                  <a:lnTo>
                    <a:pt x="1" y="1"/>
                  </a:lnTo>
                  <a:lnTo>
                    <a:pt x="1" y="1"/>
                  </a:lnTo>
                  <a:lnTo>
                    <a:pt x="1" y="1"/>
                  </a:lnTo>
                  <a:lnTo>
                    <a:pt x="0" y="1"/>
                  </a:lnTo>
                  <a:lnTo>
                    <a:pt x="1" y="1"/>
                  </a:lnTo>
                  <a:lnTo>
                    <a:pt x="1" y="1"/>
                  </a:lnTo>
                  <a:lnTo>
                    <a:pt x="1" y="1"/>
                  </a:lnTo>
                  <a:lnTo>
                    <a:pt x="1" y="1"/>
                  </a:lnTo>
                  <a:lnTo>
                    <a:pt x="1" y="1"/>
                  </a:lnTo>
                  <a:lnTo>
                    <a:pt x="1" y="1"/>
                  </a:lnTo>
                  <a:lnTo>
                    <a:pt x="1" y="1"/>
                  </a:lnTo>
                  <a:lnTo>
                    <a:pt x="1" y="0"/>
                  </a:lnTo>
                  <a:lnTo>
                    <a:pt x="1" y="0"/>
                  </a:lnTo>
                  <a:lnTo>
                    <a:pt x="2" y="0"/>
                  </a:lnTo>
                  <a:lnTo>
                    <a:pt x="2"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66" name="Freeform 1432">
              <a:extLst>
                <a:ext uri="{FF2B5EF4-FFF2-40B4-BE49-F238E27FC236}">
                  <a16:creationId xmlns:a16="http://schemas.microsoft.com/office/drawing/2014/main" id="{329A3EE8-A97B-45EB-9010-A868B19615E9}"/>
                </a:ext>
              </a:extLst>
            </p:cNvPr>
            <p:cNvSpPr>
              <a:spLocks/>
            </p:cNvSpPr>
            <p:nvPr/>
          </p:nvSpPr>
          <p:spPr bwMode="auto">
            <a:xfrm>
              <a:off x="5887892" y="2050434"/>
              <a:ext cx="2671" cy="1336"/>
            </a:xfrm>
            <a:custGeom>
              <a:avLst/>
              <a:gdLst>
                <a:gd name="T0" fmla="*/ 1 w 2"/>
                <a:gd name="T1" fmla="*/ 0 h 1"/>
                <a:gd name="T2" fmla="*/ 1 w 2"/>
                <a:gd name="T3" fmla="*/ 1 h 1"/>
                <a:gd name="T4" fmla="*/ 1 w 2"/>
                <a:gd name="T5" fmla="*/ 1 h 1"/>
                <a:gd name="T6" fmla="*/ 1 w 2"/>
                <a:gd name="T7" fmla="*/ 1 h 1"/>
                <a:gd name="T8" fmla="*/ 2 w 2"/>
                <a:gd name="T9" fmla="*/ 1 h 1"/>
                <a:gd name="T10" fmla="*/ 1 w 2"/>
                <a:gd name="T11" fmla="*/ 1 h 1"/>
                <a:gd name="T12" fmla="*/ 1 w 2"/>
                <a:gd name="T13" fmla="*/ 1 h 1"/>
                <a:gd name="T14" fmla="*/ 1 w 2"/>
                <a:gd name="T15" fmla="*/ 1 h 1"/>
                <a:gd name="T16" fmla="*/ 1 w 2"/>
                <a:gd name="T17" fmla="*/ 1 h 1"/>
                <a:gd name="T18" fmla="*/ 1 w 2"/>
                <a:gd name="T19" fmla="*/ 1 h 1"/>
                <a:gd name="T20" fmla="*/ 1 w 2"/>
                <a:gd name="T21" fmla="*/ 1 h 1"/>
                <a:gd name="T22" fmla="*/ 1 w 2"/>
                <a:gd name="T23" fmla="*/ 1 h 1"/>
                <a:gd name="T24" fmla="*/ 1 w 2"/>
                <a:gd name="T25" fmla="*/ 1 h 1"/>
                <a:gd name="T26" fmla="*/ 1 w 2"/>
                <a:gd name="T27" fmla="*/ 1 h 1"/>
                <a:gd name="T28" fmla="*/ 1 w 2"/>
                <a:gd name="T29" fmla="*/ 1 h 1"/>
                <a:gd name="T30" fmla="*/ 1 w 2"/>
                <a:gd name="T31" fmla="*/ 1 h 1"/>
                <a:gd name="T32" fmla="*/ 1 w 2"/>
                <a:gd name="T33" fmla="*/ 1 h 1"/>
                <a:gd name="T34" fmla="*/ 0 w 2"/>
                <a:gd name="T35" fmla="*/ 1 h 1"/>
                <a:gd name="T36" fmla="*/ 0 w 2"/>
                <a:gd name="T37" fmla="*/ 1 h 1"/>
                <a:gd name="T38" fmla="*/ 0 w 2"/>
                <a:gd name="T39" fmla="*/ 1 h 1"/>
                <a:gd name="T40" fmla="*/ 0 w 2"/>
                <a:gd name="T41" fmla="*/ 1 h 1"/>
                <a:gd name="T42" fmla="*/ 1 w 2"/>
                <a:gd name="T43" fmla="*/ 1 h 1"/>
                <a:gd name="T44" fmla="*/ 1 w 2"/>
                <a:gd name="T45" fmla="*/ 1 h 1"/>
                <a:gd name="T46" fmla="*/ 1 w 2"/>
                <a:gd name="T47" fmla="*/ 1 h 1"/>
                <a:gd name="T48" fmla="*/ 1 w 2"/>
                <a:gd name="T49" fmla="*/ 1 h 1"/>
                <a:gd name="T50" fmla="*/ 1 w 2"/>
                <a:gd name="T51" fmla="*/ 0 h 1"/>
                <a:gd name="T52" fmla="*/ 1 w 2"/>
                <a:gd name="T53" fmla="*/ 0 h 1"/>
                <a:gd name="T54" fmla="*/ 1 w 2"/>
                <a:gd name="T55" fmla="*/ 0 h 1"/>
                <a:gd name="T56" fmla="*/ 1 w 2"/>
                <a:gd name="T5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 h="1">
                  <a:moveTo>
                    <a:pt x="1" y="0"/>
                  </a:moveTo>
                  <a:lnTo>
                    <a:pt x="1" y="1"/>
                  </a:lnTo>
                  <a:lnTo>
                    <a:pt x="1" y="1"/>
                  </a:lnTo>
                  <a:lnTo>
                    <a:pt x="1" y="1"/>
                  </a:lnTo>
                  <a:lnTo>
                    <a:pt x="2"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1" y="1"/>
                  </a:lnTo>
                  <a:lnTo>
                    <a:pt x="1" y="1"/>
                  </a:lnTo>
                  <a:lnTo>
                    <a:pt x="1" y="1"/>
                  </a:lnTo>
                  <a:lnTo>
                    <a:pt x="1" y="1"/>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67" name="Freeform 1433">
              <a:extLst>
                <a:ext uri="{FF2B5EF4-FFF2-40B4-BE49-F238E27FC236}">
                  <a16:creationId xmlns:a16="http://schemas.microsoft.com/office/drawing/2014/main" id="{4E74181E-F833-44F7-92C7-3CBEED0E1325}"/>
                </a:ext>
              </a:extLst>
            </p:cNvPr>
            <p:cNvSpPr>
              <a:spLocks/>
            </p:cNvSpPr>
            <p:nvPr/>
          </p:nvSpPr>
          <p:spPr bwMode="auto">
            <a:xfrm>
              <a:off x="5886557" y="2050434"/>
              <a:ext cx="1336" cy="1336"/>
            </a:xfrm>
            <a:custGeom>
              <a:avLst/>
              <a:gdLst>
                <a:gd name="T0" fmla="*/ 1 w 1"/>
                <a:gd name="T1" fmla="*/ 1 h 1"/>
                <a:gd name="T2" fmla="*/ 1 w 1"/>
                <a:gd name="T3" fmla="*/ 1 h 1"/>
                <a:gd name="T4" fmla="*/ 0 w 1"/>
                <a:gd name="T5" fmla="*/ 1 h 1"/>
                <a:gd name="T6" fmla="*/ 0 w 1"/>
                <a:gd name="T7" fmla="*/ 1 h 1"/>
                <a:gd name="T8" fmla="*/ 0 w 1"/>
                <a:gd name="T9" fmla="*/ 1 h 1"/>
                <a:gd name="T10" fmla="*/ 0 w 1"/>
                <a:gd name="T11" fmla="*/ 1 h 1"/>
                <a:gd name="T12" fmla="*/ 0 w 1"/>
                <a:gd name="T13" fmla="*/ 0 h 1"/>
                <a:gd name="T14" fmla="*/ 0 w 1"/>
                <a:gd name="T15" fmla="*/ 0 h 1"/>
                <a:gd name="T16" fmla="*/ 1 w 1"/>
                <a:gd name="T17" fmla="*/ 0 h 1"/>
                <a:gd name="T18" fmla="*/ 1 w 1"/>
                <a:gd name="T19" fmla="*/ 1 h 1"/>
                <a:gd name="T20" fmla="*/ 1 w 1"/>
                <a:gd name="T21" fmla="*/ 1 h 1"/>
                <a:gd name="T22" fmla="*/ 1 w 1"/>
                <a:gd name="T23" fmla="*/ 1 h 1"/>
                <a:gd name="T24" fmla="*/ 1 w 1"/>
                <a:gd name="T25" fmla="*/ 1 h 1"/>
                <a:gd name="T26" fmla="*/ 1 w 1"/>
                <a:gd name="T27" fmla="*/ 1 h 1"/>
                <a:gd name="T28" fmla="*/ 1 w 1"/>
                <a:gd name="T2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 h="1">
                  <a:moveTo>
                    <a:pt x="1" y="1"/>
                  </a:moveTo>
                  <a:lnTo>
                    <a:pt x="1" y="1"/>
                  </a:lnTo>
                  <a:lnTo>
                    <a:pt x="0" y="1"/>
                  </a:lnTo>
                  <a:lnTo>
                    <a:pt x="0" y="1"/>
                  </a:lnTo>
                  <a:lnTo>
                    <a:pt x="0" y="1"/>
                  </a:lnTo>
                  <a:lnTo>
                    <a:pt x="0" y="1"/>
                  </a:lnTo>
                  <a:lnTo>
                    <a:pt x="0" y="0"/>
                  </a:lnTo>
                  <a:lnTo>
                    <a:pt x="0" y="0"/>
                  </a:lnTo>
                  <a:lnTo>
                    <a:pt x="1" y="0"/>
                  </a:lnTo>
                  <a:lnTo>
                    <a:pt x="1" y="1"/>
                  </a:lnTo>
                  <a:lnTo>
                    <a:pt x="1" y="1"/>
                  </a:lnTo>
                  <a:lnTo>
                    <a:pt x="1" y="1"/>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68" name="Freeform 1434">
              <a:extLst>
                <a:ext uri="{FF2B5EF4-FFF2-40B4-BE49-F238E27FC236}">
                  <a16:creationId xmlns:a16="http://schemas.microsoft.com/office/drawing/2014/main" id="{9EC48261-98AF-42EA-A954-289397E63406}"/>
                </a:ext>
              </a:extLst>
            </p:cNvPr>
            <p:cNvSpPr>
              <a:spLocks/>
            </p:cNvSpPr>
            <p:nvPr/>
          </p:nvSpPr>
          <p:spPr bwMode="auto">
            <a:xfrm>
              <a:off x="5890563" y="2050434"/>
              <a:ext cx="5342" cy="2671"/>
            </a:xfrm>
            <a:custGeom>
              <a:avLst/>
              <a:gdLst>
                <a:gd name="T0" fmla="*/ 4 w 4"/>
                <a:gd name="T1" fmla="*/ 1 h 2"/>
                <a:gd name="T2" fmla="*/ 4 w 4"/>
                <a:gd name="T3" fmla="*/ 1 h 2"/>
                <a:gd name="T4" fmla="*/ 4 w 4"/>
                <a:gd name="T5" fmla="*/ 1 h 2"/>
                <a:gd name="T6" fmla="*/ 3 w 4"/>
                <a:gd name="T7" fmla="*/ 1 h 2"/>
                <a:gd name="T8" fmla="*/ 3 w 4"/>
                <a:gd name="T9" fmla="*/ 1 h 2"/>
                <a:gd name="T10" fmla="*/ 1 w 4"/>
                <a:gd name="T11" fmla="*/ 2 h 2"/>
                <a:gd name="T12" fmla="*/ 0 w 4"/>
                <a:gd name="T13" fmla="*/ 2 h 2"/>
                <a:gd name="T14" fmla="*/ 0 w 4"/>
                <a:gd name="T15" fmla="*/ 2 h 2"/>
                <a:gd name="T16" fmla="*/ 0 w 4"/>
                <a:gd name="T17" fmla="*/ 2 h 2"/>
                <a:gd name="T18" fmla="*/ 1 w 4"/>
                <a:gd name="T19" fmla="*/ 1 h 2"/>
                <a:gd name="T20" fmla="*/ 1 w 4"/>
                <a:gd name="T21" fmla="*/ 1 h 2"/>
                <a:gd name="T22" fmla="*/ 0 w 4"/>
                <a:gd name="T23" fmla="*/ 1 h 2"/>
                <a:gd name="T24" fmla="*/ 0 w 4"/>
                <a:gd name="T25" fmla="*/ 1 h 2"/>
                <a:gd name="T26" fmla="*/ 0 w 4"/>
                <a:gd name="T27" fmla="*/ 1 h 2"/>
                <a:gd name="T28" fmla="*/ 0 w 4"/>
                <a:gd name="T29" fmla="*/ 1 h 2"/>
                <a:gd name="T30" fmla="*/ 0 w 4"/>
                <a:gd name="T31" fmla="*/ 1 h 2"/>
                <a:gd name="T32" fmla="*/ 0 w 4"/>
                <a:gd name="T33" fmla="*/ 0 h 2"/>
                <a:gd name="T34" fmla="*/ 0 w 4"/>
                <a:gd name="T35" fmla="*/ 0 h 2"/>
                <a:gd name="T36" fmla="*/ 0 w 4"/>
                <a:gd name="T37" fmla="*/ 0 h 2"/>
                <a:gd name="T38" fmla="*/ 1 w 4"/>
                <a:gd name="T39" fmla="*/ 0 h 2"/>
                <a:gd name="T40" fmla="*/ 1 w 4"/>
                <a:gd name="T41" fmla="*/ 0 h 2"/>
                <a:gd name="T42" fmla="*/ 1 w 4"/>
                <a:gd name="T43" fmla="*/ 0 h 2"/>
                <a:gd name="T44" fmla="*/ 1 w 4"/>
                <a:gd name="T45" fmla="*/ 0 h 2"/>
                <a:gd name="T46" fmla="*/ 3 w 4"/>
                <a:gd name="T47" fmla="*/ 0 h 2"/>
                <a:gd name="T48" fmla="*/ 3 w 4"/>
                <a:gd name="T49" fmla="*/ 0 h 2"/>
                <a:gd name="T50" fmla="*/ 3 w 4"/>
                <a:gd name="T51" fmla="*/ 0 h 2"/>
                <a:gd name="T52" fmla="*/ 3 w 4"/>
                <a:gd name="T53" fmla="*/ 0 h 2"/>
                <a:gd name="T54" fmla="*/ 3 w 4"/>
                <a:gd name="T55" fmla="*/ 0 h 2"/>
                <a:gd name="T56" fmla="*/ 3 w 4"/>
                <a:gd name="T57" fmla="*/ 0 h 2"/>
                <a:gd name="T58" fmla="*/ 3 w 4"/>
                <a:gd name="T59" fmla="*/ 1 h 2"/>
                <a:gd name="T60" fmla="*/ 4 w 4"/>
                <a:gd name="T6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 h="2">
                  <a:moveTo>
                    <a:pt x="4" y="1"/>
                  </a:moveTo>
                  <a:lnTo>
                    <a:pt x="4" y="1"/>
                  </a:lnTo>
                  <a:lnTo>
                    <a:pt x="4" y="1"/>
                  </a:lnTo>
                  <a:lnTo>
                    <a:pt x="3" y="1"/>
                  </a:lnTo>
                  <a:lnTo>
                    <a:pt x="3" y="1"/>
                  </a:lnTo>
                  <a:lnTo>
                    <a:pt x="1" y="2"/>
                  </a:lnTo>
                  <a:lnTo>
                    <a:pt x="0" y="2"/>
                  </a:lnTo>
                  <a:lnTo>
                    <a:pt x="0" y="2"/>
                  </a:lnTo>
                  <a:lnTo>
                    <a:pt x="0" y="2"/>
                  </a:lnTo>
                  <a:lnTo>
                    <a:pt x="1" y="1"/>
                  </a:lnTo>
                  <a:lnTo>
                    <a:pt x="1" y="1"/>
                  </a:lnTo>
                  <a:lnTo>
                    <a:pt x="0" y="1"/>
                  </a:lnTo>
                  <a:lnTo>
                    <a:pt x="0" y="1"/>
                  </a:lnTo>
                  <a:lnTo>
                    <a:pt x="0" y="1"/>
                  </a:lnTo>
                  <a:lnTo>
                    <a:pt x="0" y="1"/>
                  </a:lnTo>
                  <a:lnTo>
                    <a:pt x="0" y="1"/>
                  </a:lnTo>
                  <a:lnTo>
                    <a:pt x="0" y="0"/>
                  </a:lnTo>
                  <a:lnTo>
                    <a:pt x="0" y="0"/>
                  </a:lnTo>
                  <a:lnTo>
                    <a:pt x="0" y="0"/>
                  </a:lnTo>
                  <a:lnTo>
                    <a:pt x="1" y="0"/>
                  </a:lnTo>
                  <a:lnTo>
                    <a:pt x="1" y="0"/>
                  </a:lnTo>
                  <a:lnTo>
                    <a:pt x="1" y="0"/>
                  </a:lnTo>
                  <a:lnTo>
                    <a:pt x="1" y="0"/>
                  </a:lnTo>
                  <a:lnTo>
                    <a:pt x="3" y="0"/>
                  </a:lnTo>
                  <a:lnTo>
                    <a:pt x="3" y="0"/>
                  </a:lnTo>
                  <a:lnTo>
                    <a:pt x="3" y="0"/>
                  </a:lnTo>
                  <a:lnTo>
                    <a:pt x="3" y="0"/>
                  </a:lnTo>
                  <a:lnTo>
                    <a:pt x="3" y="0"/>
                  </a:lnTo>
                  <a:lnTo>
                    <a:pt x="3" y="0"/>
                  </a:lnTo>
                  <a:lnTo>
                    <a:pt x="3" y="1"/>
                  </a:lnTo>
                  <a:lnTo>
                    <a:pt x="4"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69" name="Freeform 1435">
              <a:extLst>
                <a:ext uri="{FF2B5EF4-FFF2-40B4-BE49-F238E27FC236}">
                  <a16:creationId xmlns:a16="http://schemas.microsoft.com/office/drawing/2014/main" id="{A2695532-342B-4BA8-95D5-85A540BF2BF4}"/>
                </a:ext>
              </a:extLst>
            </p:cNvPr>
            <p:cNvSpPr>
              <a:spLocks/>
            </p:cNvSpPr>
            <p:nvPr/>
          </p:nvSpPr>
          <p:spPr bwMode="auto">
            <a:xfrm>
              <a:off x="5894570" y="2047763"/>
              <a:ext cx="4007" cy="2671"/>
            </a:xfrm>
            <a:custGeom>
              <a:avLst/>
              <a:gdLst>
                <a:gd name="T0" fmla="*/ 2 w 3"/>
                <a:gd name="T1" fmla="*/ 2 h 2"/>
                <a:gd name="T2" fmla="*/ 2 w 3"/>
                <a:gd name="T3" fmla="*/ 2 h 2"/>
                <a:gd name="T4" fmla="*/ 3 w 3"/>
                <a:gd name="T5" fmla="*/ 2 h 2"/>
                <a:gd name="T6" fmla="*/ 3 w 3"/>
                <a:gd name="T7" fmla="*/ 2 h 2"/>
                <a:gd name="T8" fmla="*/ 3 w 3"/>
                <a:gd name="T9" fmla="*/ 2 h 2"/>
                <a:gd name="T10" fmla="*/ 3 w 3"/>
                <a:gd name="T11" fmla="*/ 2 h 2"/>
                <a:gd name="T12" fmla="*/ 3 w 3"/>
                <a:gd name="T13" fmla="*/ 2 h 2"/>
                <a:gd name="T14" fmla="*/ 3 w 3"/>
                <a:gd name="T15" fmla="*/ 2 h 2"/>
                <a:gd name="T16" fmla="*/ 3 w 3"/>
                <a:gd name="T17" fmla="*/ 2 h 2"/>
                <a:gd name="T18" fmla="*/ 1 w 3"/>
                <a:gd name="T19" fmla="*/ 2 h 2"/>
                <a:gd name="T20" fmla="*/ 1 w 3"/>
                <a:gd name="T21" fmla="*/ 2 h 2"/>
                <a:gd name="T22" fmla="*/ 0 w 3"/>
                <a:gd name="T23" fmla="*/ 2 h 2"/>
                <a:gd name="T24" fmla="*/ 2 w 3"/>
                <a:gd name="T25" fmla="*/ 0 h 2"/>
                <a:gd name="T26" fmla="*/ 2 w 3"/>
                <a:gd name="T2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2">
                  <a:moveTo>
                    <a:pt x="2" y="2"/>
                  </a:moveTo>
                  <a:lnTo>
                    <a:pt x="2" y="2"/>
                  </a:lnTo>
                  <a:lnTo>
                    <a:pt x="3" y="2"/>
                  </a:lnTo>
                  <a:lnTo>
                    <a:pt x="3" y="2"/>
                  </a:lnTo>
                  <a:lnTo>
                    <a:pt x="3" y="2"/>
                  </a:lnTo>
                  <a:lnTo>
                    <a:pt x="3" y="2"/>
                  </a:lnTo>
                  <a:lnTo>
                    <a:pt x="3" y="2"/>
                  </a:lnTo>
                  <a:lnTo>
                    <a:pt x="3" y="2"/>
                  </a:lnTo>
                  <a:lnTo>
                    <a:pt x="3" y="2"/>
                  </a:lnTo>
                  <a:lnTo>
                    <a:pt x="1" y="2"/>
                  </a:lnTo>
                  <a:lnTo>
                    <a:pt x="1" y="2"/>
                  </a:lnTo>
                  <a:lnTo>
                    <a:pt x="0" y="2"/>
                  </a:lnTo>
                  <a:lnTo>
                    <a:pt x="2" y="0"/>
                  </a:lnTo>
                  <a:lnTo>
                    <a:pt x="2"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70" name="Freeform 1436">
              <a:extLst>
                <a:ext uri="{FF2B5EF4-FFF2-40B4-BE49-F238E27FC236}">
                  <a16:creationId xmlns:a16="http://schemas.microsoft.com/office/drawing/2014/main" id="{EF04CC76-D3BB-46C3-9163-A279975ED620}"/>
                </a:ext>
              </a:extLst>
            </p:cNvPr>
            <p:cNvSpPr>
              <a:spLocks/>
            </p:cNvSpPr>
            <p:nvPr/>
          </p:nvSpPr>
          <p:spPr bwMode="auto">
            <a:xfrm>
              <a:off x="5903918" y="2043756"/>
              <a:ext cx="2671" cy="1336"/>
            </a:xfrm>
            <a:custGeom>
              <a:avLst/>
              <a:gdLst>
                <a:gd name="T0" fmla="*/ 2 w 2"/>
                <a:gd name="T1" fmla="*/ 0 h 1"/>
                <a:gd name="T2" fmla="*/ 2 w 2"/>
                <a:gd name="T3" fmla="*/ 0 h 1"/>
                <a:gd name="T4" fmla="*/ 2 w 2"/>
                <a:gd name="T5" fmla="*/ 0 h 1"/>
                <a:gd name="T6" fmla="*/ 1 w 2"/>
                <a:gd name="T7" fmla="*/ 1 h 1"/>
                <a:gd name="T8" fmla="*/ 0 w 2"/>
                <a:gd name="T9" fmla="*/ 1 h 1"/>
                <a:gd name="T10" fmla="*/ 0 w 2"/>
                <a:gd name="T11" fmla="*/ 1 h 1"/>
                <a:gd name="T12" fmla="*/ 0 w 2"/>
                <a:gd name="T13" fmla="*/ 1 h 1"/>
                <a:gd name="T14" fmla="*/ 0 w 2"/>
                <a:gd name="T15" fmla="*/ 1 h 1"/>
                <a:gd name="T16" fmla="*/ 0 w 2"/>
                <a:gd name="T17" fmla="*/ 1 h 1"/>
                <a:gd name="T18" fmla="*/ 0 w 2"/>
                <a:gd name="T19" fmla="*/ 1 h 1"/>
                <a:gd name="T20" fmla="*/ 0 w 2"/>
                <a:gd name="T21" fmla="*/ 1 h 1"/>
                <a:gd name="T22" fmla="*/ 0 w 2"/>
                <a:gd name="T23" fmla="*/ 1 h 1"/>
                <a:gd name="T24" fmla="*/ 0 w 2"/>
                <a:gd name="T25" fmla="*/ 1 h 1"/>
                <a:gd name="T26" fmla="*/ 0 w 2"/>
                <a:gd name="T27" fmla="*/ 1 h 1"/>
                <a:gd name="T28" fmla="*/ 0 w 2"/>
                <a:gd name="T29" fmla="*/ 0 h 1"/>
                <a:gd name="T30" fmla="*/ 0 w 2"/>
                <a:gd name="T31" fmla="*/ 0 h 1"/>
                <a:gd name="T32" fmla="*/ 0 w 2"/>
                <a:gd name="T33" fmla="*/ 0 h 1"/>
                <a:gd name="T34" fmla="*/ 0 w 2"/>
                <a:gd name="T35" fmla="*/ 0 h 1"/>
                <a:gd name="T36" fmla="*/ 0 w 2"/>
                <a:gd name="T37" fmla="*/ 0 h 1"/>
                <a:gd name="T38" fmla="*/ 0 w 2"/>
                <a:gd name="T39" fmla="*/ 0 h 1"/>
                <a:gd name="T40" fmla="*/ 0 w 2"/>
                <a:gd name="T41" fmla="*/ 0 h 1"/>
                <a:gd name="T42" fmla="*/ 1 w 2"/>
                <a:gd name="T43" fmla="*/ 0 h 1"/>
                <a:gd name="T44" fmla="*/ 2 w 2"/>
                <a:gd name="T45" fmla="*/ 0 h 1"/>
                <a:gd name="T46" fmla="*/ 2 w 2"/>
                <a:gd name="T47" fmla="*/ 0 h 1"/>
                <a:gd name="T48" fmla="*/ 2 w 2"/>
                <a:gd name="T4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 h="1">
                  <a:moveTo>
                    <a:pt x="2" y="0"/>
                  </a:moveTo>
                  <a:lnTo>
                    <a:pt x="2" y="0"/>
                  </a:lnTo>
                  <a:lnTo>
                    <a:pt x="2" y="0"/>
                  </a:lnTo>
                  <a:lnTo>
                    <a:pt x="1" y="1"/>
                  </a:lnTo>
                  <a:lnTo>
                    <a:pt x="0" y="1"/>
                  </a:lnTo>
                  <a:lnTo>
                    <a:pt x="0" y="1"/>
                  </a:lnTo>
                  <a:lnTo>
                    <a:pt x="0" y="1"/>
                  </a:lnTo>
                  <a:lnTo>
                    <a:pt x="0" y="1"/>
                  </a:lnTo>
                  <a:lnTo>
                    <a:pt x="0" y="1"/>
                  </a:lnTo>
                  <a:lnTo>
                    <a:pt x="0" y="1"/>
                  </a:lnTo>
                  <a:lnTo>
                    <a:pt x="0" y="1"/>
                  </a:lnTo>
                  <a:lnTo>
                    <a:pt x="0" y="1"/>
                  </a:lnTo>
                  <a:lnTo>
                    <a:pt x="0" y="1"/>
                  </a:lnTo>
                  <a:lnTo>
                    <a:pt x="0" y="1"/>
                  </a:lnTo>
                  <a:lnTo>
                    <a:pt x="0" y="0"/>
                  </a:lnTo>
                  <a:lnTo>
                    <a:pt x="0" y="0"/>
                  </a:lnTo>
                  <a:lnTo>
                    <a:pt x="0" y="0"/>
                  </a:lnTo>
                  <a:lnTo>
                    <a:pt x="0" y="0"/>
                  </a:lnTo>
                  <a:lnTo>
                    <a:pt x="0" y="0"/>
                  </a:lnTo>
                  <a:lnTo>
                    <a:pt x="0" y="0"/>
                  </a:lnTo>
                  <a:lnTo>
                    <a:pt x="0" y="0"/>
                  </a:lnTo>
                  <a:lnTo>
                    <a:pt x="1"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71" name="Freeform 1437">
              <a:extLst>
                <a:ext uri="{FF2B5EF4-FFF2-40B4-BE49-F238E27FC236}">
                  <a16:creationId xmlns:a16="http://schemas.microsoft.com/office/drawing/2014/main" id="{DCF0A75E-1E08-4122-B075-411D1DD52715}"/>
                </a:ext>
              </a:extLst>
            </p:cNvPr>
            <p:cNvSpPr>
              <a:spLocks/>
            </p:cNvSpPr>
            <p:nvPr/>
          </p:nvSpPr>
          <p:spPr bwMode="auto">
            <a:xfrm>
              <a:off x="5905254" y="2041085"/>
              <a:ext cx="1336" cy="1336"/>
            </a:xfrm>
            <a:custGeom>
              <a:avLst/>
              <a:gdLst>
                <a:gd name="T0" fmla="*/ 0 w 1"/>
                <a:gd name="T1" fmla="*/ 0 h 1"/>
                <a:gd name="T2" fmla="*/ 0 w 1"/>
                <a:gd name="T3" fmla="*/ 1 h 1"/>
                <a:gd name="T4" fmla="*/ 1 w 1"/>
                <a:gd name="T5" fmla="*/ 1 h 1"/>
                <a:gd name="T6" fmla="*/ 1 w 1"/>
                <a:gd name="T7" fmla="*/ 1 h 1"/>
                <a:gd name="T8" fmla="*/ 1 w 1"/>
                <a:gd name="T9" fmla="*/ 0 h 1"/>
                <a:gd name="T10" fmla="*/ 1 w 1"/>
                <a:gd name="T11" fmla="*/ 1 h 1"/>
                <a:gd name="T12" fmla="*/ 1 w 1"/>
                <a:gd name="T13" fmla="*/ 1 h 1"/>
                <a:gd name="T14" fmla="*/ 1 w 1"/>
                <a:gd name="T15" fmla="*/ 1 h 1"/>
                <a:gd name="T16" fmla="*/ 1 w 1"/>
                <a:gd name="T17" fmla="*/ 1 h 1"/>
                <a:gd name="T18" fmla="*/ 1 w 1"/>
                <a:gd name="T19" fmla="*/ 1 h 1"/>
                <a:gd name="T20" fmla="*/ 1 w 1"/>
                <a:gd name="T21" fmla="*/ 1 h 1"/>
                <a:gd name="T22" fmla="*/ 1 w 1"/>
                <a:gd name="T23" fmla="*/ 1 h 1"/>
                <a:gd name="T24" fmla="*/ 1 w 1"/>
                <a:gd name="T25" fmla="*/ 1 h 1"/>
                <a:gd name="T26" fmla="*/ 1 w 1"/>
                <a:gd name="T27" fmla="*/ 1 h 1"/>
                <a:gd name="T28" fmla="*/ 1 w 1"/>
                <a:gd name="T29" fmla="*/ 1 h 1"/>
                <a:gd name="T30" fmla="*/ 0 w 1"/>
                <a:gd name="T31" fmla="*/ 1 h 1"/>
                <a:gd name="T32" fmla="*/ 0 w 1"/>
                <a:gd name="T33" fmla="*/ 1 h 1"/>
                <a:gd name="T34" fmla="*/ 0 w 1"/>
                <a:gd name="T35" fmla="*/ 1 h 1"/>
                <a:gd name="T36" fmla="*/ 0 w 1"/>
                <a:gd name="T37" fmla="*/ 1 h 1"/>
                <a:gd name="T38" fmla="*/ 0 w 1"/>
                <a:gd name="T39" fmla="*/ 1 h 1"/>
                <a:gd name="T40" fmla="*/ 0 w 1"/>
                <a:gd name="T41" fmla="*/ 1 h 1"/>
                <a:gd name="T42" fmla="*/ 0 w 1"/>
                <a:gd name="T43" fmla="*/ 1 h 1"/>
                <a:gd name="T44" fmla="*/ 0 w 1"/>
                <a:gd name="T45" fmla="*/ 1 h 1"/>
                <a:gd name="T46" fmla="*/ 0 w 1"/>
                <a:gd name="T47" fmla="*/ 1 h 1"/>
                <a:gd name="T48" fmla="*/ 0 w 1"/>
                <a:gd name="T49" fmla="*/ 0 h 1"/>
                <a:gd name="T50" fmla="*/ 0 w 1"/>
                <a:gd name="T5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 h="1">
                  <a:moveTo>
                    <a:pt x="0" y="0"/>
                  </a:moveTo>
                  <a:lnTo>
                    <a:pt x="0" y="1"/>
                  </a:lnTo>
                  <a:lnTo>
                    <a:pt x="1" y="1"/>
                  </a:lnTo>
                  <a:lnTo>
                    <a:pt x="1" y="1"/>
                  </a:lnTo>
                  <a:lnTo>
                    <a:pt x="1" y="0"/>
                  </a:lnTo>
                  <a:lnTo>
                    <a:pt x="1" y="1"/>
                  </a:lnTo>
                  <a:lnTo>
                    <a:pt x="1" y="1"/>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0" y="1"/>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72" name="Freeform 1438">
              <a:extLst>
                <a:ext uri="{FF2B5EF4-FFF2-40B4-BE49-F238E27FC236}">
                  <a16:creationId xmlns:a16="http://schemas.microsoft.com/office/drawing/2014/main" id="{0268BCD4-AD9A-4336-BF79-4855A61697C0}"/>
                </a:ext>
              </a:extLst>
            </p:cNvPr>
            <p:cNvSpPr>
              <a:spLocks/>
            </p:cNvSpPr>
            <p:nvPr/>
          </p:nvSpPr>
          <p:spPr bwMode="auto">
            <a:xfrm>
              <a:off x="5917273" y="2037079"/>
              <a:ext cx="2671" cy="0"/>
            </a:xfrm>
            <a:custGeom>
              <a:avLst/>
              <a:gdLst>
                <a:gd name="T0" fmla="*/ 2 w 2"/>
                <a:gd name="T1" fmla="*/ 2 w 2"/>
                <a:gd name="T2" fmla="*/ 2 w 2"/>
                <a:gd name="T3" fmla="*/ 2 w 2"/>
                <a:gd name="T4" fmla="*/ 1 w 2"/>
                <a:gd name="T5" fmla="*/ 1 w 2"/>
                <a:gd name="T6" fmla="*/ 1 w 2"/>
                <a:gd name="T7" fmla="*/ 1 w 2"/>
                <a:gd name="T8" fmla="*/ 1 w 2"/>
                <a:gd name="T9" fmla="*/ 1 w 2"/>
                <a:gd name="T10" fmla="*/ 1 w 2"/>
                <a:gd name="T11" fmla="*/ 0 w 2"/>
                <a:gd name="T12" fmla="*/ 0 w 2"/>
                <a:gd name="T13" fmla="*/ 0 w 2"/>
                <a:gd name="T14" fmla="*/ 0 w 2"/>
                <a:gd name="T15" fmla="*/ 0 w 2"/>
                <a:gd name="T16" fmla="*/ 0 w 2"/>
                <a:gd name="T17" fmla="*/ 0 w 2"/>
                <a:gd name="T18" fmla="*/ 1 w 2"/>
                <a:gd name="T19" fmla="*/ 1 w 2"/>
                <a:gd name="T20" fmla="*/ 1 w 2"/>
                <a:gd name="T21" fmla="*/ 2 w 2"/>
                <a:gd name="T22" fmla="*/ 2 w 2"/>
                <a:gd name="T23"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Lst>
              <a:rect l="0" t="0" r="r" b="b"/>
              <a:pathLst>
                <a:path w="2">
                  <a:moveTo>
                    <a:pt x="2" y="0"/>
                  </a:moveTo>
                  <a:lnTo>
                    <a:pt x="2" y="0"/>
                  </a:lnTo>
                  <a:lnTo>
                    <a:pt x="2" y="0"/>
                  </a:lnTo>
                  <a:lnTo>
                    <a:pt x="2" y="0"/>
                  </a:lnTo>
                  <a:lnTo>
                    <a:pt x="1" y="0"/>
                  </a:lnTo>
                  <a:lnTo>
                    <a:pt x="1" y="0"/>
                  </a:lnTo>
                  <a:lnTo>
                    <a:pt x="1" y="0"/>
                  </a:lnTo>
                  <a:lnTo>
                    <a:pt x="1" y="0"/>
                  </a:lnTo>
                  <a:lnTo>
                    <a:pt x="1" y="0"/>
                  </a:lnTo>
                  <a:lnTo>
                    <a:pt x="1" y="0"/>
                  </a:lnTo>
                  <a:lnTo>
                    <a:pt x="1" y="0"/>
                  </a:lnTo>
                  <a:lnTo>
                    <a:pt x="0" y="0"/>
                  </a:lnTo>
                  <a:lnTo>
                    <a:pt x="0" y="0"/>
                  </a:lnTo>
                  <a:lnTo>
                    <a:pt x="0" y="0"/>
                  </a:lnTo>
                  <a:lnTo>
                    <a:pt x="0" y="0"/>
                  </a:lnTo>
                  <a:lnTo>
                    <a:pt x="0" y="0"/>
                  </a:lnTo>
                  <a:lnTo>
                    <a:pt x="0" y="0"/>
                  </a:lnTo>
                  <a:lnTo>
                    <a:pt x="0" y="0"/>
                  </a:lnTo>
                  <a:lnTo>
                    <a:pt x="1" y="0"/>
                  </a:lnTo>
                  <a:lnTo>
                    <a:pt x="1" y="0"/>
                  </a:lnTo>
                  <a:lnTo>
                    <a:pt x="1"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73" name="Freeform 1439">
              <a:extLst>
                <a:ext uri="{FF2B5EF4-FFF2-40B4-BE49-F238E27FC236}">
                  <a16:creationId xmlns:a16="http://schemas.microsoft.com/office/drawing/2014/main" id="{FE9FFD3E-48BC-449D-A10A-00F6E76212E1}"/>
                </a:ext>
              </a:extLst>
            </p:cNvPr>
            <p:cNvSpPr>
              <a:spLocks/>
            </p:cNvSpPr>
            <p:nvPr/>
          </p:nvSpPr>
          <p:spPr bwMode="auto">
            <a:xfrm>
              <a:off x="5913267" y="2035743"/>
              <a:ext cx="4007" cy="2671"/>
            </a:xfrm>
            <a:custGeom>
              <a:avLst/>
              <a:gdLst>
                <a:gd name="T0" fmla="*/ 3 w 3"/>
                <a:gd name="T1" fmla="*/ 1 h 2"/>
                <a:gd name="T2" fmla="*/ 3 w 3"/>
                <a:gd name="T3" fmla="*/ 2 h 2"/>
                <a:gd name="T4" fmla="*/ 3 w 3"/>
                <a:gd name="T5" fmla="*/ 2 h 2"/>
                <a:gd name="T6" fmla="*/ 3 w 3"/>
                <a:gd name="T7" fmla="*/ 2 h 2"/>
                <a:gd name="T8" fmla="*/ 3 w 3"/>
                <a:gd name="T9" fmla="*/ 2 h 2"/>
                <a:gd name="T10" fmla="*/ 3 w 3"/>
                <a:gd name="T11" fmla="*/ 2 h 2"/>
                <a:gd name="T12" fmla="*/ 3 w 3"/>
                <a:gd name="T13" fmla="*/ 2 h 2"/>
                <a:gd name="T14" fmla="*/ 2 w 3"/>
                <a:gd name="T15" fmla="*/ 2 h 2"/>
                <a:gd name="T16" fmla="*/ 2 w 3"/>
                <a:gd name="T17" fmla="*/ 2 h 2"/>
                <a:gd name="T18" fmla="*/ 2 w 3"/>
                <a:gd name="T19" fmla="*/ 2 h 2"/>
                <a:gd name="T20" fmla="*/ 1 w 3"/>
                <a:gd name="T21" fmla="*/ 2 h 2"/>
                <a:gd name="T22" fmla="*/ 1 w 3"/>
                <a:gd name="T23" fmla="*/ 2 h 2"/>
                <a:gd name="T24" fmla="*/ 1 w 3"/>
                <a:gd name="T25" fmla="*/ 2 h 2"/>
                <a:gd name="T26" fmla="*/ 1 w 3"/>
                <a:gd name="T27" fmla="*/ 2 h 2"/>
                <a:gd name="T28" fmla="*/ 1 w 3"/>
                <a:gd name="T29" fmla="*/ 2 h 2"/>
                <a:gd name="T30" fmla="*/ 0 w 3"/>
                <a:gd name="T31" fmla="*/ 2 h 2"/>
                <a:gd name="T32" fmla="*/ 0 w 3"/>
                <a:gd name="T33" fmla="*/ 2 h 2"/>
                <a:gd name="T34" fmla="*/ 0 w 3"/>
                <a:gd name="T35" fmla="*/ 2 h 2"/>
                <a:gd name="T36" fmla="*/ 1 w 3"/>
                <a:gd name="T37" fmla="*/ 2 h 2"/>
                <a:gd name="T38" fmla="*/ 1 w 3"/>
                <a:gd name="T39" fmla="*/ 1 h 2"/>
                <a:gd name="T40" fmla="*/ 1 w 3"/>
                <a:gd name="T41" fmla="*/ 1 h 2"/>
                <a:gd name="T42" fmla="*/ 1 w 3"/>
                <a:gd name="T43" fmla="*/ 1 h 2"/>
                <a:gd name="T44" fmla="*/ 1 w 3"/>
                <a:gd name="T45" fmla="*/ 1 h 2"/>
                <a:gd name="T46" fmla="*/ 1 w 3"/>
                <a:gd name="T47" fmla="*/ 1 h 2"/>
                <a:gd name="T48" fmla="*/ 1 w 3"/>
                <a:gd name="T49" fmla="*/ 1 h 2"/>
                <a:gd name="T50" fmla="*/ 1 w 3"/>
                <a:gd name="T51" fmla="*/ 1 h 2"/>
                <a:gd name="T52" fmla="*/ 1 w 3"/>
                <a:gd name="T53" fmla="*/ 1 h 2"/>
                <a:gd name="T54" fmla="*/ 1 w 3"/>
                <a:gd name="T55" fmla="*/ 1 h 2"/>
                <a:gd name="T56" fmla="*/ 1 w 3"/>
                <a:gd name="T57" fmla="*/ 1 h 2"/>
                <a:gd name="T58" fmla="*/ 1 w 3"/>
                <a:gd name="T59" fmla="*/ 1 h 2"/>
                <a:gd name="T60" fmla="*/ 1 w 3"/>
                <a:gd name="T61" fmla="*/ 1 h 2"/>
                <a:gd name="T62" fmla="*/ 2 w 3"/>
                <a:gd name="T63" fmla="*/ 1 h 2"/>
                <a:gd name="T64" fmla="*/ 2 w 3"/>
                <a:gd name="T65" fmla="*/ 1 h 2"/>
                <a:gd name="T66" fmla="*/ 2 w 3"/>
                <a:gd name="T67" fmla="*/ 1 h 2"/>
                <a:gd name="T68" fmla="*/ 2 w 3"/>
                <a:gd name="T69" fmla="*/ 1 h 2"/>
                <a:gd name="T70" fmla="*/ 2 w 3"/>
                <a:gd name="T71" fmla="*/ 1 h 2"/>
                <a:gd name="T72" fmla="*/ 2 w 3"/>
                <a:gd name="T73" fmla="*/ 1 h 2"/>
                <a:gd name="T74" fmla="*/ 2 w 3"/>
                <a:gd name="T75" fmla="*/ 1 h 2"/>
                <a:gd name="T76" fmla="*/ 2 w 3"/>
                <a:gd name="T77" fmla="*/ 1 h 2"/>
                <a:gd name="T78" fmla="*/ 2 w 3"/>
                <a:gd name="T79" fmla="*/ 1 h 2"/>
                <a:gd name="T80" fmla="*/ 2 w 3"/>
                <a:gd name="T81" fmla="*/ 1 h 2"/>
                <a:gd name="T82" fmla="*/ 2 w 3"/>
                <a:gd name="T83" fmla="*/ 1 h 2"/>
                <a:gd name="T84" fmla="*/ 2 w 3"/>
                <a:gd name="T85" fmla="*/ 1 h 2"/>
                <a:gd name="T86" fmla="*/ 2 w 3"/>
                <a:gd name="T87" fmla="*/ 0 h 2"/>
                <a:gd name="T88" fmla="*/ 3 w 3"/>
                <a:gd name="T89" fmla="*/ 0 h 2"/>
                <a:gd name="T90" fmla="*/ 3 w 3"/>
                <a:gd name="T91" fmla="*/ 0 h 2"/>
                <a:gd name="T92" fmla="*/ 3 w 3"/>
                <a:gd name="T93" fmla="*/ 0 h 2"/>
                <a:gd name="T94" fmla="*/ 3 w 3"/>
                <a:gd name="T95" fmla="*/ 1 h 2"/>
                <a:gd name="T96" fmla="*/ 3 w 3"/>
                <a:gd name="T97" fmla="*/ 1 h 2"/>
                <a:gd name="T98" fmla="*/ 3 w 3"/>
                <a:gd name="T99" fmla="*/ 1 h 2"/>
                <a:gd name="T100" fmla="*/ 3 w 3"/>
                <a:gd name="T101" fmla="*/ 1 h 2"/>
                <a:gd name="T102" fmla="*/ 3 w 3"/>
                <a:gd name="T103" fmla="*/ 1 h 2"/>
                <a:gd name="T104" fmla="*/ 3 w 3"/>
                <a:gd name="T105" fmla="*/ 1 h 2"/>
                <a:gd name="T106" fmla="*/ 3 w 3"/>
                <a:gd name="T10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 h="2">
                  <a:moveTo>
                    <a:pt x="3" y="1"/>
                  </a:moveTo>
                  <a:lnTo>
                    <a:pt x="3" y="2"/>
                  </a:lnTo>
                  <a:lnTo>
                    <a:pt x="3" y="2"/>
                  </a:lnTo>
                  <a:lnTo>
                    <a:pt x="3" y="2"/>
                  </a:lnTo>
                  <a:lnTo>
                    <a:pt x="3" y="2"/>
                  </a:lnTo>
                  <a:lnTo>
                    <a:pt x="3" y="2"/>
                  </a:lnTo>
                  <a:lnTo>
                    <a:pt x="3" y="2"/>
                  </a:lnTo>
                  <a:lnTo>
                    <a:pt x="2" y="2"/>
                  </a:lnTo>
                  <a:lnTo>
                    <a:pt x="2" y="2"/>
                  </a:lnTo>
                  <a:lnTo>
                    <a:pt x="2" y="2"/>
                  </a:lnTo>
                  <a:lnTo>
                    <a:pt x="1" y="2"/>
                  </a:lnTo>
                  <a:lnTo>
                    <a:pt x="1" y="2"/>
                  </a:lnTo>
                  <a:lnTo>
                    <a:pt x="1" y="2"/>
                  </a:lnTo>
                  <a:lnTo>
                    <a:pt x="1" y="2"/>
                  </a:lnTo>
                  <a:lnTo>
                    <a:pt x="1" y="2"/>
                  </a:lnTo>
                  <a:lnTo>
                    <a:pt x="0" y="2"/>
                  </a:lnTo>
                  <a:lnTo>
                    <a:pt x="0" y="2"/>
                  </a:lnTo>
                  <a:lnTo>
                    <a:pt x="0" y="2"/>
                  </a:lnTo>
                  <a:lnTo>
                    <a:pt x="1" y="2"/>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0"/>
                  </a:lnTo>
                  <a:lnTo>
                    <a:pt x="3" y="0"/>
                  </a:lnTo>
                  <a:lnTo>
                    <a:pt x="3" y="0"/>
                  </a:lnTo>
                  <a:lnTo>
                    <a:pt x="3" y="0"/>
                  </a:lnTo>
                  <a:lnTo>
                    <a:pt x="3" y="1"/>
                  </a:lnTo>
                  <a:lnTo>
                    <a:pt x="3" y="1"/>
                  </a:lnTo>
                  <a:lnTo>
                    <a:pt x="3" y="1"/>
                  </a:lnTo>
                  <a:lnTo>
                    <a:pt x="3" y="1"/>
                  </a:lnTo>
                  <a:lnTo>
                    <a:pt x="3" y="1"/>
                  </a:lnTo>
                  <a:lnTo>
                    <a:pt x="3" y="1"/>
                  </a:lnTo>
                  <a:lnTo>
                    <a:pt x="3"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74" name="Freeform 1440">
              <a:extLst>
                <a:ext uri="{FF2B5EF4-FFF2-40B4-BE49-F238E27FC236}">
                  <a16:creationId xmlns:a16="http://schemas.microsoft.com/office/drawing/2014/main" id="{AA42AA15-52CE-4EC5-A145-23A61728DE9B}"/>
                </a:ext>
              </a:extLst>
            </p:cNvPr>
            <p:cNvSpPr>
              <a:spLocks/>
            </p:cNvSpPr>
            <p:nvPr/>
          </p:nvSpPr>
          <p:spPr bwMode="auto">
            <a:xfrm>
              <a:off x="5925286" y="2034408"/>
              <a:ext cx="1336" cy="1336"/>
            </a:xfrm>
            <a:custGeom>
              <a:avLst/>
              <a:gdLst>
                <a:gd name="T0" fmla="*/ 1 w 1"/>
                <a:gd name="T1" fmla="*/ 1 h 1"/>
                <a:gd name="T2" fmla="*/ 0 w 1"/>
                <a:gd name="T3" fmla="*/ 1 h 1"/>
                <a:gd name="T4" fmla="*/ 0 w 1"/>
                <a:gd name="T5" fmla="*/ 1 h 1"/>
                <a:gd name="T6" fmla="*/ 0 w 1"/>
                <a:gd name="T7" fmla="*/ 1 h 1"/>
                <a:gd name="T8" fmla="*/ 0 w 1"/>
                <a:gd name="T9" fmla="*/ 1 h 1"/>
                <a:gd name="T10" fmla="*/ 0 w 1"/>
                <a:gd name="T11" fmla="*/ 0 h 1"/>
                <a:gd name="T12" fmla="*/ 0 w 1"/>
                <a:gd name="T13" fmla="*/ 0 h 1"/>
                <a:gd name="T14" fmla="*/ 0 w 1"/>
                <a:gd name="T15" fmla="*/ 0 h 1"/>
                <a:gd name="T16" fmla="*/ 0 w 1"/>
                <a:gd name="T17" fmla="*/ 0 h 1"/>
                <a:gd name="T18" fmla="*/ 0 w 1"/>
                <a:gd name="T19" fmla="*/ 0 h 1"/>
                <a:gd name="T20" fmla="*/ 0 w 1"/>
                <a:gd name="T21" fmla="*/ 0 h 1"/>
                <a:gd name="T22" fmla="*/ 0 w 1"/>
                <a:gd name="T23" fmla="*/ 0 h 1"/>
                <a:gd name="T24" fmla="*/ 1 w 1"/>
                <a:gd name="T25" fmla="*/ 0 h 1"/>
                <a:gd name="T26" fmla="*/ 1 w 1"/>
                <a:gd name="T27" fmla="*/ 0 h 1"/>
                <a:gd name="T28" fmla="*/ 1 w 1"/>
                <a:gd name="T29" fmla="*/ 0 h 1"/>
                <a:gd name="T30" fmla="*/ 1 w 1"/>
                <a:gd name="T31" fmla="*/ 1 h 1"/>
                <a:gd name="T32" fmla="*/ 1 w 1"/>
                <a:gd name="T33" fmla="*/ 1 h 1"/>
                <a:gd name="T34" fmla="*/ 1 w 1"/>
                <a:gd name="T35" fmla="*/ 1 h 1"/>
                <a:gd name="T36" fmla="*/ 1 w 1"/>
                <a:gd name="T3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 h="1">
                  <a:moveTo>
                    <a:pt x="1" y="1"/>
                  </a:moveTo>
                  <a:lnTo>
                    <a:pt x="0" y="1"/>
                  </a:lnTo>
                  <a:lnTo>
                    <a:pt x="0" y="1"/>
                  </a:lnTo>
                  <a:lnTo>
                    <a:pt x="0" y="1"/>
                  </a:lnTo>
                  <a:lnTo>
                    <a:pt x="0" y="1"/>
                  </a:lnTo>
                  <a:lnTo>
                    <a:pt x="0" y="0"/>
                  </a:lnTo>
                  <a:lnTo>
                    <a:pt x="0" y="0"/>
                  </a:lnTo>
                  <a:lnTo>
                    <a:pt x="0" y="0"/>
                  </a:lnTo>
                  <a:lnTo>
                    <a:pt x="0" y="0"/>
                  </a:lnTo>
                  <a:lnTo>
                    <a:pt x="0" y="0"/>
                  </a:lnTo>
                  <a:lnTo>
                    <a:pt x="0" y="0"/>
                  </a:lnTo>
                  <a:lnTo>
                    <a:pt x="0" y="0"/>
                  </a:lnTo>
                  <a:lnTo>
                    <a:pt x="1" y="0"/>
                  </a:lnTo>
                  <a:lnTo>
                    <a:pt x="1" y="0"/>
                  </a:lnTo>
                  <a:lnTo>
                    <a:pt x="1" y="0"/>
                  </a:lnTo>
                  <a:lnTo>
                    <a:pt x="1" y="1"/>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75" name="Freeform 1441">
              <a:extLst>
                <a:ext uri="{FF2B5EF4-FFF2-40B4-BE49-F238E27FC236}">
                  <a16:creationId xmlns:a16="http://schemas.microsoft.com/office/drawing/2014/main" id="{72C58035-510D-4068-BC3C-822EB839F2D4}"/>
                </a:ext>
              </a:extLst>
            </p:cNvPr>
            <p:cNvSpPr>
              <a:spLocks/>
            </p:cNvSpPr>
            <p:nvPr/>
          </p:nvSpPr>
          <p:spPr bwMode="auto">
            <a:xfrm>
              <a:off x="5919944" y="2034408"/>
              <a:ext cx="5342" cy="1336"/>
            </a:xfrm>
            <a:custGeom>
              <a:avLst/>
              <a:gdLst>
                <a:gd name="T0" fmla="*/ 4 w 4"/>
                <a:gd name="T1" fmla="*/ 1 h 1"/>
                <a:gd name="T2" fmla="*/ 2 w 4"/>
                <a:gd name="T3" fmla="*/ 1 h 1"/>
                <a:gd name="T4" fmla="*/ 2 w 4"/>
                <a:gd name="T5" fmla="*/ 1 h 1"/>
                <a:gd name="T6" fmla="*/ 0 w 4"/>
                <a:gd name="T7" fmla="*/ 1 h 1"/>
                <a:gd name="T8" fmla="*/ 0 w 4"/>
                <a:gd name="T9" fmla="*/ 0 h 1"/>
                <a:gd name="T10" fmla="*/ 2 w 4"/>
                <a:gd name="T11" fmla="*/ 0 h 1"/>
                <a:gd name="T12" fmla="*/ 2 w 4"/>
                <a:gd name="T13" fmla="*/ 0 h 1"/>
                <a:gd name="T14" fmla="*/ 3 w 4"/>
                <a:gd name="T15" fmla="*/ 0 h 1"/>
                <a:gd name="T16" fmla="*/ 3 w 4"/>
                <a:gd name="T17" fmla="*/ 0 h 1"/>
                <a:gd name="T18" fmla="*/ 3 w 4"/>
                <a:gd name="T19" fmla="*/ 0 h 1"/>
                <a:gd name="T20" fmla="*/ 3 w 4"/>
                <a:gd name="T21" fmla="*/ 0 h 1"/>
                <a:gd name="T22" fmla="*/ 4 w 4"/>
                <a:gd name="T23" fmla="*/ 0 h 1"/>
                <a:gd name="T24" fmla="*/ 4 w 4"/>
                <a:gd name="T25" fmla="*/ 1 h 1"/>
                <a:gd name="T26" fmla="*/ 4 w 4"/>
                <a:gd name="T27" fmla="*/ 1 h 1"/>
                <a:gd name="T28" fmla="*/ 4 w 4"/>
                <a:gd name="T29" fmla="*/ 1 h 1"/>
                <a:gd name="T30" fmla="*/ 4 w 4"/>
                <a:gd name="T3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1">
                  <a:moveTo>
                    <a:pt x="4" y="1"/>
                  </a:moveTo>
                  <a:lnTo>
                    <a:pt x="2" y="1"/>
                  </a:lnTo>
                  <a:lnTo>
                    <a:pt x="2" y="1"/>
                  </a:lnTo>
                  <a:lnTo>
                    <a:pt x="0" y="1"/>
                  </a:lnTo>
                  <a:lnTo>
                    <a:pt x="0" y="0"/>
                  </a:lnTo>
                  <a:lnTo>
                    <a:pt x="2" y="0"/>
                  </a:lnTo>
                  <a:lnTo>
                    <a:pt x="2" y="0"/>
                  </a:lnTo>
                  <a:lnTo>
                    <a:pt x="3" y="0"/>
                  </a:lnTo>
                  <a:lnTo>
                    <a:pt x="3" y="0"/>
                  </a:lnTo>
                  <a:lnTo>
                    <a:pt x="3" y="0"/>
                  </a:lnTo>
                  <a:lnTo>
                    <a:pt x="3" y="0"/>
                  </a:lnTo>
                  <a:lnTo>
                    <a:pt x="4" y="0"/>
                  </a:lnTo>
                  <a:lnTo>
                    <a:pt x="4" y="1"/>
                  </a:lnTo>
                  <a:lnTo>
                    <a:pt x="4" y="1"/>
                  </a:lnTo>
                  <a:lnTo>
                    <a:pt x="4" y="1"/>
                  </a:lnTo>
                  <a:lnTo>
                    <a:pt x="4"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76" name="Freeform 1442">
              <a:extLst>
                <a:ext uri="{FF2B5EF4-FFF2-40B4-BE49-F238E27FC236}">
                  <a16:creationId xmlns:a16="http://schemas.microsoft.com/office/drawing/2014/main" id="{E13E96BC-DD67-42DF-A455-0329F5C84A46}"/>
                </a:ext>
              </a:extLst>
            </p:cNvPr>
            <p:cNvSpPr>
              <a:spLocks/>
            </p:cNvSpPr>
            <p:nvPr/>
          </p:nvSpPr>
          <p:spPr bwMode="auto">
            <a:xfrm>
              <a:off x="5925286" y="2033072"/>
              <a:ext cx="4007" cy="2671"/>
            </a:xfrm>
            <a:custGeom>
              <a:avLst/>
              <a:gdLst>
                <a:gd name="T0" fmla="*/ 2 w 3"/>
                <a:gd name="T1" fmla="*/ 1 h 2"/>
                <a:gd name="T2" fmla="*/ 3 w 3"/>
                <a:gd name="T3" fmla="*/ 1 h 2"/>
                <a:gd name="T4" fmla="*/ 3 w 3"/>
                <a:gd name="T5" fmla="*/ 1 h 2"/>
                <a:gd name="T6" fmla="*/ 3 w 3"/>
                <a:gd name="T7" fmla="*/ 2 h 2"/>
                <a:gd name="T8" fmla="*/ 2 w 3"/>
                <a:gd name="T9" fmla="*/ 2 h 2"/>
                <a:gd name="T10" fmla="*/ 1 w 3"/>
                <a:gd name="T11" fmla="*/ 2 h 2"/>
                <a:gd name="T12" fmla="*/ 1 w 3"/>
                <a:gd name="T13" fmla="*/ 2 h 2"/>
                <a:gd name="T14" fmla="*/ 1 w 3"/>
                <a:gd name="T15" fmla="*/ 1 h 2"/>
                <a:gd name="T16" fmla="*/ 0 w 3"/>
                <a:gd name="T17" fmla="*/ 1 h 2"/>
                <a:gd name="T18" fmla="*/ 0 w 3"/>
                <a:gd name="T19" fmla="*/ 1 h 2"/>
                <a:gd name="T20" fmla="*/ 0 w 3"/>
                <a:gd name="T21" fmla="*/ 0 h 2"/>
                <a:gd name="T22" fmla="*/ 1 w 3"/>
                <a:gd name="T23" fmla="*/ 0 h 2"/>
                <a:gd name="T24" fmla="*/ 1 w 3"/>
                <a:gd name="T25" fmla="*/ 0 h 2"/>
                <a:gd name="T26" fmla="*/ 1 w 3"/>
                <a:gd name="T27" fmla="*/ 0 h 2"/>
                <a:gd name="T28" fmla="*/ 1 w 3"/>
                <a:gd name="T29" fmla="*/ 0 h 2"/>
                <a:gd name="T30" fmla="*/ 1 w 3"/>
                <a:gd name="T31" fmla="*/ 1 h 2"/>
                <a:gd name="T32" fmla="*/ 1 w 3"/>
                <a:gd name="T33" fmla="*/ 1 h 2"/>
                <a:gd name="T34" fmla="*/ 1 w 3"/>
                <a:gd name="T35" fmla="*/ 1 h 2"/>
                <a:gd name="T36" fmla="*/ 1 w 3"/>
                <a:gd name="T37" fmla="*/ 0 h 2"/>
                <a:gd name="T38" fmla="*/ 1 w 3"/>
                <a:gd name="T39" fmla="*/ 0 h 2"/>
                <a:gd name="T40" fmla="*/ 1 w 3"/>
                <a:gd name="T41" fmla="*/ 1 h 2"/>
                <a:gd name="T42" fmla="*/ 2 w 3"/>
                <a:gd name="T43" fmla="*/ 1 h 2"/>
                <a:gd name="T44" fmla="*/ 2 w 3"/>
                <a:gd name="T45" fmla="*/ 1 h 2"/>
                <a:gd name="T46" fmla="*/ 2 w 3"/>
                <a:gd name="T47" fmla="*/ 1 h 2"/>
                <a:gd name="T48" fmla="*/ 2 w 3"/>
                <a:gd name="T49" fmla="*/ 1 h 2"/>
                <a:gd name="T50" fmla="*/ 2 w 3"/>
                <a:gd name="T51" fmla="*/ 0 h 2"/>
                <a:gd name="T52" fmla="*/ 2 w 3"/>
                <a:gd name="T53" fmla="*/ 0 h 2"/>
                <a:gd name="T54" fmla="*/ 2 w 3"/>
                <a:gd name="T55" fmla="*/ 0 h 2"/>
                <a:gd name="T56" fmla="*/ 2 w 3"/>
                <a:gd name="T57" fmla="*/ 0 h 2"/>
                <a:gd name="T58" fmla="*/ 2 w 3"/>
                <a:gd name="T59" fmla="*/ 0 h 2"/>
                <a:gd name="T60" fmla="*/ 2 w 3"/>
                <a:gd name="T61"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 h="2">
                  <a:moveTo>
                    <a:pt x="2" y="1"/>
                  </a:moveTo>
                  <a:lnTo>
                    <a:pt x="3" y="1"/>
                  </a:lnTo>
                  <a:lnTo>
                    <a:pt x="3" y="1"/>
                  </a:lnTo>
                  <a:lnTo>
                    <a:pt x="3" y="2"/>
                  </a:lnTo>
                  <a:lnTo>
                    <a:pt x="2" y="2"/>
                  </a:lnTo>
                  <a:lnTo>
                    <a:pt x="1" y="2"/>
                  </a:lnTo>
                  <a:lnTo>
                    <a:pt x="1" y="2"/>
                  </a:lnTo>
                  <a:lnTo>
                    <a:pt x="1" y="1"/>
                  </a:lnTo>
                  <a:lnTo>
                    <a:pt x="0" y="1"/>
                  </a:lnTo>
                  <a:lnTo>
                    <a:pt x="0" y="1"/>
                  </a:lnTo>
                  <a:lnTo>
                    <a:pt x="0" y="0"/>
                  </a:lnTo>
                  <a:lnTo>
                    <a:pt x="1" y="0"/>
                  </a:lnTo>
                  <a:lnTo>
                    <a:pt x="1" y="0"/>
                  </a:lnTo>
                  <a:lnTo>
                    <a:pt x="1" y="0"/>
                  </a:lnTo>
                  <a:lnTo>
                    <a:pt x="1" y="0"/>
                  </a:lnTo>
                  <a:lnTo>
                    <a:pt x="1" y="1"/>
                  </a:lnTo>
                  <a:lnTo>
                    <a:pt x="1" y="1"/>
                  </a:lnTo>
                  <a:lnTo>
                    <a:pt x="1" y="1"/>
                  </a:lnTo>
                  <a:lnTo>
                    <a:pt x="1" y="0"/>
                  </a:lnTo>
                  <a:lnTo>
                    <a:pt x="1" y="0"/>
                  </a:lnTo>
                  <a:lnTo>
                    <a:pt x="1" y="1"/>
                  </a:lnTo>
                  <a:lnTo>
                    <a:pt x="2" y="1"/>
                  </a:lnTo>
                  <a:lnTo>
                    <a:pt x="2" y="1"/>
                  </a:lnTo>
                  <a:lnTo>
                    <a:pt x="2" y="1"/>
                  </a:lnTo>
                  <a:lnTo>
                    <a:pt x="2" y="1"/>
                  </a:lnTo>
                  <a:lnTo>
                    <a:pt x="2" y="0"/>
                  </a:lnTo>
                  <a:lnTo>
                    <a:pt x="2" y="0"/>
                  </a:lnTo>
                  <a:lnTo>
                    <a:pt x="2" y="0"/>
                  </a:lnTo>
                  <a:lnTo>
                    <a:pt x="2" y="0"/>
                  </a:lnTo>
                  <a:lnTo>
                    <a:pt x="2" y="0"/>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77" name="Freeform 1443">
              <a:extLst>
                <a:ext uri="{FF2B5EF4-FFF2-40B4-BE49-F238E27FC236}">
                  <a16:creationId xmlns:a16="http://schemas.microsoft.com/office/drawing/2014/main" id="{4A316B61-88B8-4888-B9E5-1C7C6FF4663A}"/>
                </a:ext>
              </a:extLst>
            </p:cNvPr>
            <p:cNvSpPr>
              <a:spLocks/>
            </p:cNvSpPr>
            <p:nvPr/>
          </p:nvSpPr>
          <p:spPr bwMode="auto">
            <a:xfrm>
              <a:off x="5918609" y="2029066"/>
              <a:ext cx="6678" cy="4007"/>
            </a:xfrm>
            <a:custGeom>
              <a:avLst/>
              <a:gdLst>
                <a:gd name="T0" fmla="*/ 4 w 5"/>
                <a:gd name="T1" fmla="*/ 3 h 3"/>
                <a:gd name="T2" fmla="*/ 4 w 5"/>
                <a:gd name="T3" fmla="*/ 3 h 3"/>
                <a:gd name="T4" fmla="*/ 4 w 5"/>
                <a:gd name="T5" fmla="*/ 3 h 3"/>
                <a:gd name="T6" fmla="*/ 4 w 5"/>
                <a:gd name="T7" fmla="*/ 3 h 3"/>
                <a:gd name="T8" fmla="*/ 3 w 5"/>
                <a:gd name="T9" fmla="*/ 3 h 3"/>
                <a:gd name="T10" fmla="*/ 3 w 5"/>
                <a:gd name="T11" fmla="*/ 3 h 3"/>
                <a:gd name="T12" fmla="*/ 3 w 5"/>
                <a:gd name="T13" fmla="*/ 3 h 3"/>
                <a:gd name="T14" fmla="*/ 3 w 5"/>
                <a:gd name="T15" fmla="*/ 3 h 3"/>
                <a:gd name="T16" fmla="*/ 3 w 5"/>
                <a:gd name="T17" fmla="*/ 3 h 3"/>
                <a:gd name="T18" fmla="*/ 1 w 5"/>
                <a:gd name="T19" fmla="*/ 3 h 3"/>
                <a:gd name="T20" fmla="*/ 1 w 5"/>
                <a:gd name="T21" fmla="*/ 3 h 3"/>
                <a:gd name="T22" fmla="*/ 1 w 5"/>
                <a:gd name="T23" fmla="*/ 3 h 3"/>
                <a:gd name="T24" fmla="*/ 3 w 5"/>
                <a:gd name="T25" fmla="*/ 3 h 3"/>
                <a:gd name="T26" fmla="*/ 3 w 5"/>
                <a:gd name="T27" fmla="*/ 2 h 3"/>
                <a:gd name="T28" fmla="*/ 0 w 5"/>
                <a:gd name="T29" fmla="*/ 2 h 3"/>
                <a:gd name="T30" fmla="*/ 0 w 5"/>
                <a:gd name="T31" fmla="*/ 2 h 3"/>
                <a:gd name="T32" fmla="*/ 0 w 5"/>
                <a:gd name="T33" fmla="*/ 2 h 3"/>
                <a:gd name="T34" fmla="*/ 0 w 5"/>
                <a:gd name="T35" fmla="*/ 2 h 3"/>
                <a:gd name="T36" fmla="*/ 0 w 5"/>
                <a:gd name="T37" fmla="*/ 2 h 3"/>
                <a:gd name="T38" fmla="*/ 0 w 5"/>
                <a:gd name="T39" fmla="*/ 2 h 3"/>
                <a:gd name="T40" fmla="*/ 0 w 5"/>
                <a:gd name="T41" fmla="*/ 2 h 3"/>
                <a:gd name="T42" fmla="*/ 1 w 5"/>
                <a:gd name="T43" fmla="*/ 2 h 3"/>
                <a:gd name="T44" fmla="*/ 1 w 5"/>
                <a:gd name="T45" fmla="*/ 0 h 3"/>
                <a:gd name="T46" fmla="*/ 3 w 5"/>
                <a:gd name="T47" fmla="*/ 0 h 3"/>
                <a:gd name="T48" fmla="*/ 3 w 5"/>
                <a:gd name="T49" fmla="*/ 0 h 3"/>
                <a:gd name="T50" fmla="*/ 3 w 5"/>
                <a:gd name="T51" fmla="*/ 0 h 3"/>
                <a:gd name="T52" fmla="*/ 4 w 5"/>
                <a:gd name="T53" fmla="*/ 0 h 3"/>
                <a:gd name="T54" fmla="*/ 4 w 5"/>
                <a:gd name="T55" fmla="*/ 2 h 3"/>
                <a:gd name="T56" fmla="*/ 4 w 5"/>
                <a:gd name="T57" fmla="*/ 2 h 3"/>
                <a:gd name="T58" fmla="*/ 5 w 5"/>
                <a:gd name="T59" fmla="*/ 2 h 3"/>
                <a:gd name="T60" fmla="*/ 4 w 5"/>
                <a:gd name="T61" fmla="*/ 2 h 3"/>
                <a:gd name="T62" fmla="*/ 4 w 5"/>
                <a:gd name="T63" fmla="*/ 2 h 3"/>
                <a:gd name="T64" fmla="*/ 4 w 5"/>
                <a:gd name="T65" fmla="*/ 3 h 3"/>
                <a:gd name="T66" fmla="*/ 4 w 5"/>
                <a:gd name="T6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 h="3">
                  <a:moveTo>
                    <a:pt x="4" y="3"/>
                  </a:moveTo>
                  <a:lnTo>
                    <a:pt x="4" y="3"/>
                  </a:lnTo>
                  <a:lnTo>
                    <a:pt x="4" y="3"/>
                  </a:lnTo>
                  <a:lnTo>
                    <a:pt x="4" y="3"/>
                  </a:lnTo>
                  <a:lnTo>
                    <a:pt x="3" y="3"/>
                  </a:lnTo>
                  <a:lnTo>
                    <a:pt x="3" y="3"/>
                  </a:lnTo>
                  <a:lnTo>
                    <a:pt x="3" y="3"/>
                  </a:lnTo>
                  <a:lnTo>
                    <a:pt x="3" y="3"/>
                  </a:lnTo>
                  <a:lnTo>
                    <a:pt x="3" y="3"/>
                  </a:lnTo>
                  <a:lnTo>
                    <a:pt x="1" y="3"/>
                  </a:lnTo>
                  <a:lnTo>
                    <a:pt x="1" y="3"/>
                  </a:lnTo>
                  <a:lnTo>
                    <a:pt x="1" y="3"/>
                  </a:lnTo>
                  <a:lnTo>
                    <a:pt x="3" y="3"/>
                  </a:lnTo>
                  <a:lnTo>
                    <a:pt x="3" y="2"/>
                  </a:lnTo>
                  <a:lnTo>
                    <a:pt x="0" y="2"/>
                  </a:lnTo>
                  <a:lnTo>
                    <a:pt x="0" y="2"/>
                  </a:lnTo>
                  <a:lnTo>
                    <a:pt x="0" y="2"/>
                  </a:lnTo>
                  <a:lnTo>
                    <a:pt x="0" y="2"/>
                  </a:lnTo>
                  <a:lnTo>
                    <a:pt x="0" y="2"/>
                  </a:lnTo>
                  <a:lnTo>
                    <a:pt x="0" y="2"/>
                  </a:lnTo>
                  <a:lnTo>
                    <a:pt x="0" y="2"/>
                  </a:lnTo>
                  <a:lnTo>
                    <a:pt x="1" y="2"/>
                  </a:lnTo>
                  <a:lnTo>
                    <a:pt x="1" y="0"/>
                  </a:lnTo>
                  <a:lnTo>
                    <a:pt x="3" y="0"/>
                  </a:lnTo>
                  <a:lnTo>
                    <a:pt x="3" y="0"/>
                  </a:lnTo>
                  <a:lnTo>
                    <a:pt x="3" y="0"/>
                  </a:lnTo>
                  <a:lnTo>
                    <a:pt x="4" y="0"/>
                  </a:lnTo>
                  <a:lnTo>
                    <a:pt x="4" y="2"/>
                  </a:lnTo>
                  <a:lnTo>
                    <a:pt x="4" y="2"/>
                  </a:lnTo>
                  <a:lnTo>
                    <a:pt x="5" y="2"/>
                  </a:lnTo>
                  <a:lnTo>
                    <a:pt x="4" y="2"/>
                  </a:lnTo>
                  <a:lnTo>
                    <a:pt x="4" y="2"/>
                  </a:lnTo>
                  <a:lnTo>
                    <a:pt x="4" y="3"/>
                  </a:lnTo>
                  <a:lnTo>
                    <a:pt x="4" y="3"/>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78" name="Freeform 1444">
              <a:extLst>
                <a:ext uri="{FF2B5EF4-FFF2-40B4-BE49-F238E27FC236}">
                  <a16:creationId xmlns:a16="http://schemas.microsoft.com/office/drawing/2014/main" id="{88EC9160-EA23-4F61-83A2-54B96877FF5E}"/>
                </a:ext>
              </a:extLst>
            </p:cNvPr>
            <p:cNvSpPr>
              <a:spLocks/>
            </p:cNvSpPr>
            <p:nvPr/>
          </p:nvSpPr>
          <p:spPr bwMode="auto">
            <a:xfrm>
              <a:off x="5925286" y="2026395"/>
              <a:ext cx="13355" cy="5342"/>
            </a:xfrm>
            <a:custGeom>
              <a:avLst/>
              <a:gdLst>
                <a:gd name="T0" fmla="*/ 8 w 10"/>
                <a:gd name="T1" fmla="*/ 0 h 4"/>
                <a:gd name="T2" fmla="*/ 8 w 10"/>
                <a:gd name="T3" fmla="*/ 0 h 4"/>
                <a:gd name="T4" fmla="*/ 8 w 10"/>
                <a:gd name="T5" fmla="*/ 0 h 4"/>
                <a:gd name="T6" fmla="*/ 8 w 10"/>
                <a:gd name="T7" fmla="*/ 0 h 4"/>
                <a:gd name="T8" fmla="*/ 8 w 10"/>
                <a:gd name="T9" fmla="*/ 0 h 4"/>
                <a:gd name="T10" fmla="*/ 9 w 10"/>
                <a:gd name="T11" fmla="*/ 0 h 4"/>
                <a:gd name="T12" fmla="*/ 9 w 10"/>
                <a:gd name="T13" fmla="*/ 1 h 4"/>
                <a:gd name="T14" fmla="*/ 9 w 10"/>
                <a:gd name="T15" fmla="*/ 1 h 4"/>
                <a:gd name="T16" fmla="*/ 10 w 10"/>
                <a:gd name="T17" fmla="*/ 1 h 4"/>
                <a:gd name="T18" fmla="*/ 9 w 10"/>
                <a:gd name="T19" fmla="*/ 1 h 4"/>
                <a:gd name="T20" fmla="*/ 7 w 10"/>
                <a:gd name="T21" fmla="*/ 2 h 4"/>
                <a:gd name="T22" fmla="*/ 5 w 10"/>
                <a:gd name="T23" fmla="*/ 2 h 4"/>
                <a:gd name="T24" fmla="*/ 2 w 10"/>
                <a:gd name="T25" fmla="*/ 2 h 4"/>
                <a:gd name="T26" fmla="*/ 2 w 10"/>
                <a:gd name="T27" fmla="*/ 4 h 4"/>
                <a:gd name="T28" fmla="*/ 1 w 10"/>
                <a:gd name="T29" fmla="*/ 2 h 4"/>
                <a:gd name="T30" fmla="*/ 1 w 10"/>
                <a:gd name="T31" fmla="*/ 2 h 4"/>
                <a:gd name="T32" fmla="*/ 1 w 10"/>
                <a:gd name="T33" fmla="*/ 2 h 4"/>
                <a:gd name="T34" fmla="*/ 1 w 10"/>
                <a:gd name="T35" fmla="*/ 2 h 4"/>
                <a:gd name="T36" fmla="*/ 1 w 10"/>
                <a:gd name="T37" fmla="*/ 2 h 4"/>
                <a:gd name="T38" fmla="*/ 0 w 10"/>
                <a:gd name="T39" fmla="*/ 2 h 4"/>
                <a:gd name="T40" fmla="*/ 0 w 10"/>
                <a:gd name="T41" fmla="*/ 2 h 4"/>
                <a:gd name="T42" fmla="*/ 0 w 10"/>
                <a:gd name="T43" fmla="*/ 2 h 4"/>
                <a:gd name="T44" fmla="*/ 1 w 10"/>
                <a:gd name="T45" fmla="*/ 2 h 4"/>
                <a:gd name="T46" fmla="*/ 2 w 10"/>
                <a:gd name="T47" fmla="*/ 1 h 4"/>
                <a:gd name="T48" fmla="*/ 5 w 10"/>
                <a:gd name="T49" fmla="*/ 1 h 4"/>
                <a:gd name="T50" fmla="*/ 5 w 10"/>
                <a:gd name="T51" fmla="*/ 1 h 4"/>
                <a:gd name="T52" fmla="*/ 3 w 10"/>
                <a:gd name="T53" fmla="*/ 1 h 4"/>
                <a:gd name="T54" fmla="*/ 3 w 10"/>
                <a:gd name="T55" fmla="*/ 0 h 4"/>
                <a:gd name="T56" fmla="*/ 3 w 10"/>
                <a:gd name="T57" fmla="*/ 0 h 4"/>
                <a:gd name="T58" fmla="*/ 6 w 10"/>
                <a:gd name="T59" fmla="*/ 0 h 4"/>
                <a:gd name="T60" fmla="*/ 7 w 10"/>
                <a:gd name="T61" fmla="*/ 0 h 4"/>
                <a:gd name="T62" fmla="*/ 7 w 10"/>
                <a:gd name="T63" fmla="*/ 0 h 4"/>
                <a:gd name="T64" fmla="*/ 7 w 10"/>
                <a:gd name="T65" fmla="*/ 0 h 4"/>
                <a:gd name="T66" fmla="*/ 7 w 10"/>
                <a:gd name="T67" fmla="*/ 0 h 4"/>
                <a:gd name="T68" fmla="*/ 8 w 10"/>
                <a:gd name="T6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 h="4">
                  <a:moveTo>
                    <a:pt x="8" y="0"/>
                  </a:moveTo>
                  <a:lnTo>
                    <a:pt x="8" y="0"/>
                  </a:lnTo>
                  <a:lnTo>
                    <a:pt x="8" y="0"/>
                  </a:lnTo>
                  <a:lnTo>
                    <a:pt x="8" y="0"/>
                  </a:lnTo>
                  <a:lnTo>
                    <a:pt x="8" y="0"/>
                  </a:lnTo>
                  <a:lnTo>
                    <a:pt x="8" y="0"/>
                  </a:lnTo>
                  <a:lnTo>
                    <a:pt x="8" y="0"/>
                  </a:lnTo>
                  <a:lnTo>
                    <a:pt x="8" y="0"/>
                  </a:lnTo>
                  <a:lnTo>
                    <a:pt x="8" y="1"/>
                  </a:lnTo>
                  <a:lnTo>
                    <a:pt x="8" y="0"/>
                  </a:lnTo>
                  <a:lnTo>
                    <a:pt x="8" y="0"/>
                  </a:lnTo>
                  <a:lnTo>
                    <a:pt x="9" y="0"/>
                  </a:lnTo>
                  <a:lnTo>
                    <a:pt x="9" y="1"/>
                  </a:lnTo>
                  <a:lnTo>
                    <a:pt x="9" y="1"/>
                  </a:lnTo>
                  <a:lnTo>
                    <a:pt x="9" y="1"/>
                  </a:lnTo>
                  <a:lnTo>
                    <a:pt x="9" y="1"/>
                  </a:lnTo>
                  <a:lnTo>
                    <a:pt x="9" y="1"/>
                  </a:lnTo>
                  <a:lnTo>
                    <a:pt x="10" y="1"/>
                  </a:lnTo>
                  <a:lnTo>
                    <a:pt x="10" y="1"/>
                  </a:lnTo>
                  <a:lnTo>
                    <a:pt x="9" y="1"/>
                  </a:lnTo>
                  <a:lnTo>
                    <a:pt x="9" y="1"/>
                  </a:lnTo>
                  <a:lnTo>
                    <a:pt x="7" y="2"/>
                  </a:lnTo>
                  <a:lnTo>
                    <a:pt x="5" y="2"/>
                  </a:lnTo>
                  <a:lnTo>
                    <a:pt x="5" y="2"/>
                  </a:lnTo>
                  <a:lnTo>
                    <a:pt x="3" y="2"/>
                  </a:lnTo>
                  <a:lnTo>
                    <a:pt x="2" y="2"/>
                  </a:lnTo>
                  <a:lnTo>
                    <a:pt x="2" y="4"/>
                  </a:lnTo>
                  <a:lnTo>
                    <a:pt x="2" y="4"/>
                  </a:lnTo>
                  <a:lnTo>
                    <a:pt x="1" y="2"/>
                  </a:lnTo>
                  <a:lnTo>
                    <a:pt x="1" y="2"/>
                  </a:lnTo>
                  <a:lnTo>
                    <a:pt x="1" y="2"/>
                  </a:lnTo>
                  <a:lnTo>
                    <a:pt x="1" y="2"/>
                  </a:lnTo>
                  <a:lnTo>
                    <a:pt x="1" y="2"/>
                  </a:lnTo>
                  <a:lnTo>
                    <a:pt x="1" y="2"/>
                  </a:lnTo>
                  <a:lnTo>
                    <a:pt x="1" y="2"/>
                  </a:lnTo>
                  <a:lnTo>
                    <a:pt x="1" y="2"/>
                  </a:lnTo>
                  <a:lnTo>
                    <a:pt x="1" y="2"/>
                  </a:lnTo>
                  <a:lnTo>
                    <a:pt x="1" y="2"/>
                  </a:lnTo>
                  <a:lnTo>
                    <a:pt x="1" y="2"/>
                  </a:lnTo>
                  <a:lnTo>
                    <a:pt x="0" y="2"/>
                  </a:lnTo>
                  <a:lnTo>
                    <a:pt x="0" y="2"/>
                  </a:lnTo>
                  <a:lnTo>
                    <a:pt x="0" y="2"/>
                  </a:lnTo>
                  <a:lnTo>
                    <a:pt x="0" y="2"/>
                  </a:lnTo>
                  <a:lnTo>
                    <a:pt x="0" y="2"/>
                  </a:lnTo>
                  <a:lnTo>
                    <a:pt x="1" y="2"/>
                  </a:lnTo>
                  <a:lnTo>
                    <a:pt x="1" y="2"/>
                  </a:lnTo>
                  <a:lnTo>
                    <a:pt x="2" y="1"/>
                  </a:lnTo>
                  <a:lnTo>
                    <a:pt x="2" y="1"/>
                  </a:lnTo>
                  <a:lnTo>
                    <a:pt x="3" y="1"/>
                  </a:lnTo>
                  <a:lnTo>
                    <a:pt x="5" y="1"/>
                  </a:lnTo>
                  <a:lnTo>
                    <a:pt x="5" y="1"/>
                  </a:lnTo>
                  <a:lnTo>
                    <a:pt x="5" y="1"/>
                  </a:lnTo>
                  <a:lnTo>
                    <a:pt x="5" y="1"/>
                  </a:lnTo>
                  <a:lnTo>
                    <a:pt x="3" y="1"/>
                  </a:lnTo>
                  <a:lnTo>
                    <a:pt x="3" y="0"/>
                  </a:lnTo>
                  <a:lnTo>
                    <a:pt x="3" y="0"/>
                  </a:lnTo>
                  <a:lnTo>
                    <a:pt x="3" y="0"/>
                  </a:lnTo>
                  <a:lnTo>
                    <a:pt x="3" y="0"/>
                  </a:lnTo>
                  <a:lnTo>
                    <a:pt x="6" y="0"/>
                  </a:lnTo>
                  <a:lnTo>
                    <a:pt x="6" y="0"/>
                  </a:lnTo>
                  <a:lnTo>
                    <a:pt x="6" y="0"/>
                  </a:lnTo>
                  <a:lnTo>
                    <a:pt x="7" y="0"/>
                  </a:lnTo>
                  <a:lnTo>
                    <a:pt x="7" y="0"/>
                  </a:lnTo>
                  <a:lnTo>
                    <a:pt x="7" y="0"/>
                  </a:lnTo>
                  <a:lnTo>
                    <a:pt x="7" y="0"/>
                  </a:lnTo>
                  <a:lnTo>
                    <a:pt x="7" y="0"/>
                  </a:lnTo>
                  <a:lnTo>
                    <a:pt x="7" y="0"/>
                  </a:lnTo>
                  <a:lnTo>
                    <a:pt x="7" y="0"/>
                  </a:lnTo>
                  <a:lnTo>
                    <a:pt x="7" y="0"/>
                  </a:lnTo>
                  <a:lnTo>
                    <a:pt x="8"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79" name="Freeform 1445">
              <a:extLst>
                <a:ext uri="{FF2B5EF4-FFF2-40B4-BE49-F238E27FC236}">
                  <a16:creationId xmlns:a16="http://schemas.microsoft.com/office/drawing/2014/main" id="{6761FBDA-34B2-4409-BFBB-04B073EC5BBC}"/>
                </a:ext>
              </a:extLst>
            </p:cNvPr>
            <p:cNvSpPr>
              <a:spLocks/>
            </p:cNvSpPr>
            <p:nvPr/>
          </p:nvSpPr>
          <p:spPr bwMode="auto">
            <a:xfrm>
              <a:off x="5935970" y="2026395"/>
              <a:ext cx="1336" cy="0"/>
            </a:xfrm>
            <a:custGeom>
              <a:avLst/>
              <a:gdLst>
                <a:gd name="T0" fmla="*/ 1 w 1"/>
                <a:gd name="T1" fmla="*/ 1 w 1"/>
                <a:gd name="T2" fmla="*/ 1 w 1"/>
                <a:gd name="T3" fmla="*/ 1 w 1"/>
                <a:gd name="T4" fmla="*/ 1 w 1"/>
                <a:gd name="T5" fmla="*/ 1 w 1"/>
                <a:gd name="T6" fmla="*/ 1 w 1"/>
                <a:gd name="T7" fmla="*/ 1 w 1"/>
                <a:gd name="T8" fmla="*/ 1 w 1"/>
                <a:gd name="T9" fmla="*/ 1 w 1"/>
                <a:gd name="T10" fmla="*/ 1 w 1"/>
                <a:gd name="T11" fmla="*/ 1 w 1"/>
                <a:gd name="T12" fmla="*/ 0 w 1"/>
                <a:gd name="T13" fmla="*/ 0 w 1"/>
                <a:gd name="T14" fmla="*/ 0 w 1"/>
                <a:gd name="T15" fmla="*/ 0 w 1"/>
                <a:gd name="T16" fmla="*/ 0 w 1"/>
                <a:gd name="T17" fmla="*/ 0 w 1"/>
                <a:gd name="T18" fmla="*/ 0 w 1"/>
                <a:gd name="T19" fmla="*/ 0 w 1"/>
                <a:gd name="T20" fmla="*/ 0 w 1"/>
                <a:gd name="T21" fmla="*/ 0 w 1"/>
                <a:gd name="T22" fmla="*/ 1 w 1"/>
                <a:gd name="T23" fmla="*/ 1 w 1"/>
                <a:gd name="T24" fmla="*/ 1 w 1"/>
                <a:gd name="T25"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Lst>
              <a:rect l="0" t="0" r="r" b="b"/>
              <a:pathLst>
                <a:path w="1">
                  <a:moveTo>
                    <a:pt x="1" y="0"/>
                  </a:moveTo>
                  <a:lnTo>
                    <a:pt x="1" y="0"/>
                  </a:lnTo>
                  <a:lnTo>
                    <a:pt x="1" y="0"/>
                  </a:lnTo>
                  <a:lnTo>
                    <a:pt x="1" y="0"/>
                  </a:lnTo>
                  <a:lnTo>
                    <a:pt x="1" y="0"/>
                  </a:lnTo>
                  <a:lnTo>
                    <a:pt x="1" y="0"/>
                  </a:lnTo>
                  <a:lnTo>
                    <a:pt x="1" y="0"/>
                  </a:lnTo>
                  <a:lnTo>
                    <a:pt x="1" y="0"/>
                  </a:lnTo>
                  <a:lnTo>
                    <a:pt x="1" y="0"/>
                  </a:lnTo>
                  <a:lnTo>
                    <a:pt x="1" y="0"/>
                  </a:lnTo>
                  <a:lnTo>
                    <a:pt x="1" y="0"/>
                  </a:lnTo>
                  <a:lnTo>
                    <a:pt x="1" y="0"/>
                  </a:lnTo>
                  <a:lnTo>
                    <a:pt x="0" y="0"/>
                  </a:lnTo>
                  <a:lnTo>
                    <a:pt x="0" y="0"/>
                  </a:lnTo>
                  <a:lnTo>
                    <a:pt x="0" y="0"/>
                  </a:lnTo>
                  <a:lnTo>
                    <a:pt x="0" y="0"/>
                  </a:lnTo>
                  <a:lnTo>
                    <a:pt x="0" y="0"/>
                  </a:lnTo>
                  <a:lnTo>
                    <a:pt x="0" y="0"/>
                  </a:lnTo>
                  <a:lnTo>
                    <a:pt x="0" y="0"/>
                  </a:lnTo>
                  <a:lnTo>
                    <a:pt x="0" y="0"/>
                  </a:lnTo>
                  <a:lnTo>
                    <a:pt x="0" y="0"/>
                  </a:lnTo>
                  <a:lnTo>
                    <a:pt x="0"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80" name="Freeform 1446">
              <a:extLst>
                <a:ext uri="{FF2B5EF4-FFF2-40B4-BE49-F238E27FC236}">
                  <a16:creationId xmlns:a16="http://schemas.microsoft.com/office/drawing/2014/main" id="{588E4868-4E2E-41BE-B752-ECC7C63E7830}"/>
                </a:ext>
              </a:extLst>
            </p:cNvPr>
            <p:cNvSpPr>
              <a:spLocks/>
            </p:cNvSpPr>
            <p:nvPr/>
          </p:nvSpPr>
          <p:spPr bwMode="auto">
            <a:xfrm>
              <a:off x="5925286" y="2023724"/>
              <a:ext cx="8013" cy="2671"/>
            </a:xfrm>
            <a:custGeom>
              <a:avLst/>
              <a:gdLst>
                <a:gd name="T0" fmla="*/ 6 w 6"/>
                <a:gd name="T1" fmla="*/ 0 h 2"/>
                <a:gd name="T2" fmla="*/ 6 w 6"/>
                <a:gd name="T3" fmla="*/ 0 h 2"/>
                <a:gd name="T4" fmla="*/ 6 w 6"/>
                <a:gd name="T5" fmla="*/ 0 h 2"/>
                <a:gd name="T6" fmla="*/ 6 w 6"/>
                <a:gd name="T7" fmla="*/ 0 h 2"/>
                <a:gd name="T8" fmla="*/ 6 w 6"/>
                <a:gd name="T9" fmla="*/ 0 h 2"/>
                <a:gd name="T10" fmla="*/ 6 w 6"/>
                <a:gd name="T11" fmla="*/ 1 h 2"/>
                <a:gd name="T12" fmla="*/ 6 w 6"/>
                <a:gd name="T13" fmla="*/ 1 h 2"/>
                <a:gd name="T14" fmla="*/ 6 w 6"/>
                <a:gd name="T15" fmla="*/ 1 h 2"/>
                <a:gd name="T16" fmla="*/ 6 w 6"/>
                <a:gd name="T17" fmla="*/ 1 h 2"/>
                <a:gd name="T18" fmla="*/ 6 w 6"/>
                <a:gd name="T19" fmla="*/ 1 h 2"/>
                <a:gd name="T20" fmla="*/ 6 w 6"/>
                <a:gd name="T21" fmla="*/ 1 h 2"/>
                <a:gd name="T22" fmla="*/ 5 w 6"/>
                <a:gd name="T23" fmla="*/ 1 h 2"/>
                <a:gd name="T24" fmla="*/ 3 w 6"/>
                <a:gd name="T25" fmla="*/ 2 h 2"/>
                <a:gd name="T26" fmla="*/ 2 w 6"/>
                <a:gd name="T27" fmla="*/ 2 h 2"/>
                <a:gd name="T28" fmla="*/ 2 w 6"/>
                <a:gd name="T29" fmla="*/ 2 h 2"/>
                <a:gd name="T30" fmla="*/ 2 w 6"/>
                <a:gd name="T31" fmla="*/ 1 h 2"/>
                <a:gd name="T32" fmla="*/ 2 w 6"/>
                <a:gd name="T33" fmla="*/ 1 h 2"/>
                <a:gd name="T34" fmla="*/ 2 w 6"/>
                <a:gd name="T35" fmla="*/ 2 h 2"/>
                <a:gd name="T36" fmla="*/ 2 w 6"/>
                <a:gd name="T37" fmla="*/ 1 h 2"/>
                <a:gd name="T38" fmla="*/ 1 w 6"/>
                <a:gd name="T39" fmla="*/ 1 h 2"/>
                <a:gd name="T40" fmla="*/ 1 w 6"/>
                <a:gd name="T41" fmla="*/ 2 h 2"/>
                <a:gd name="T42" fmla="*/ 1 w 6"/>
                <a:gd name="T43" fmla="*/ 2 h 2"/>
                <a:gd name="T44" fmla="*/ 1 w 6"/>
                <a:gd name="T45" fmla="*/ 2 h 2"/>
                <a:gd name="T46" fmla="*/ 0 w 6"/>
                <a:gd name="T47" fmla="*/ 2 h 2"/>
                <a:gd name="T48" fmla="*/ 0 w 6"/>
                <a:gd name="T49" fmla="*/ 1 h 2"/>
                <a:gd name="T50" fmla="*/ 1 w 6"/>
                <a:gd name="T51" fmla="*/ 1 h 2"/>
                <a:gd name="T52" fmla="*/ 2 w 6"/>
                <a:gd name="T53" fmla="*/ 1 h 2"/>
                <a:gd name="T54" fmla="*/ 5 w 6"/>
                <a:gd name="T55" fmla="*/ 0 h 2"/>
                <a:gd name="T56" fmla="*/ 5 w 6"/>
                <a:gd name="T57" fmla="*/ 0 h 2"/>
                <a:gd name="T58" fmla="*/ 5 w 6"/>
                <a:gd name="T59" fmla="*/ 0 h 2"/>
                <a:gd name="T60" fmla="*/ 5 w 6"/>
                <a:gd name="T61" fmla="*/ 0 h 2"/>
                <a:gd name="T62" fmla="*/ 5 w 6"/>
                <a:gd name="T63" fmla="*/ 0 h 2"/>
                <a:gd name="T64" fmla="*/ 5 w 6"/>
                <a:gd name="T65" fmla="*/ 0 h 2"/>
                <a:gd name="T66" fmla="*/ 5 w 6"/>
                <a:gd name="T67" fmla="*/ 0 h 2"/>
                <a:gd name="T68" fmla="*/ 5 w 6"/>
                <a:gd name="T69" fmla="*/ 0 h 2"/>
                <a:gd name="T70" fmla="*/ 6 w 6"/>
                <a:gd name="T71" fmla="*/ 0 h 2"/>
                <a:gd name="T72" fmla="*/ 6 w 6"/>
                <a:gd name="T73" fmla="*/ 0 h 2"/>
                <a:gd name="T74" fmla="*/ 6 w 6"/>
                <a:gd name="T75" fmla="*/ 0 h 2"/>
                <a:gd name="T76" fmla="*/ 6 w 6"/>
                <a:gd name="T77" fmla="*/ 0 h 2"/>
                <a:gd name="T78" fmla="*/ 6 w 6"/>
                <a:gd name="T79" fmla="*/ 0 h 2"/>
                <a:gd name="T80" fmla="*/ 6 w 6"/>
                <a:gd name="T8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 h="2">
                  <a:moveTo>
                    <a:pt x="6" y="0"/>
                  </a:moveTo>
                  <a:lnTo>
                    <a:pt x="6" y="0"/>
                  </a:lnTo>
                  <a:lnTo>
                    <a:pt x="6" y="0"/>
                  </a:lnTo>
                  <a:lnTo>
                    <a:pt x="6" y="0"/>
                  </a:lnTo>
                  <a:lnTo>
                    <a:pt x="6" y="0"/>
                  </a:lnTo>
                  <a:lnTo>
                    <a:pt x="6" y="1"/>
                  </a:lnTo>
                  <a:lnTo>
                    <a:pt x="6" y="1"/>
                  </a:lnTo>
                  <a:lnTo>
                    <a:pt x="6" y="1"/>
                  </a:lnTo>
                  <a:lnTo>
                    <a:pt x="6" y="1"/>
                  </a:lnTo>
                  <a:lnTo>
                    <a:pt x="6" y="1"/>
                  </a:lnTo>
                  <a:lnTo>
                    <a:pt x="6" y="1"/>
                  </a:lnTo>
                  <a:lnTo>
                    <a:pt x="5" y="1"/>
                  </a:lnTo>
                  <a:lnTo>
                    <a:pt x="3" y="2"/>
                  </a:lnTo>
                  <a:lnTo>
                    <a:pt x="2" y="2"/>
                  </a:lnTo>
                  <a:lnTo>
                    <a:pt x="2" y="2"/>
                  </a:lnTo>
                  <a:lnTo>
                    <a:pt x="2" y="1"/>
                  </a:lnTo>
                  <a:lnTo>
                    <a:pt x="2" y="1"/>
                  </a:lnTo>
                  <a:lnTo>
                    <a:pt x="2" y="2"/>
                  </a:lnTo>
                  <a:lnTo>
                    <a:pt x="2" y="1"/>
                  </a:lnTo>
                  <a:lnTo>
                    <a:pt x="1" y="1"/>
                  </a:lnTo>
                  <a:lnTo>
                    <a:pt x="1" y="2"/>
                  </a:lnTo>
                  <a:lnTo>
                    <a:pt x="1" y="2"/>
                  </a:lnTo>
                  <a:lnTo>
                    <a:pt x="1" y="2"/>
                  </a:lnTo>
                  <a:lnTo>
                    <a:pt x="0" y="2"/>
                  </a:lnTo>
                  <a:lnTo>
                    <a:pt x="0" y="1"/>
                  </a:lnTo>
                  <a:lnTo>
                    <a:pt x="1" y="1"/>
                  </a:lnTo>
                  <a:lnTo>
                    <a:pt x="2" y="1"/>
                  </a:lnTo>
                  <a:lnTo>
                    <a:pt x="5" y="0"/>
                  </a:lnTo>
                  <a:lnTo>
                    <a:pt x="5" y="0"/>
                  </a:lnTo>
                  <a:lnTo>
                    <a:pt x="5" y="0"/>
                  </a:lnTo>
                  <a:lnTo>
                    <a:pt x="5" y="0"/>
                  </a:lnTo>
                  <a:lnTo>
                    <a:pt x="5" y="0"/>
                  </a:lnTo>
                  <a:lnTo>
                    <a:pt x="5" y="0"/>
                  </a:lnTo>
                  <a:lnTo>
                    <a:pt x="5" y="0"/>
                  </a:lnTo>
                  <a:lnTo>
                    <a:pt x="5" y="0"/>
                  </a:lnTo>
                  <a:lnTo>
                    <a:pt x="6" y="0"/>
                  </a:lnTo>
                  <a:lnTo>
                    <a:pt x="6" y="0"/>
                  </a:lnTo>
                  <a:lnTo>
                    <a:pt x="6" y="0"/>
                  </a:lnTo>
                  <a:lnTo>
                    <a:pt x="6" y="0"/>
                  </a:lnTo>
                  <a:lnTo>
                    <a:pt x="6" y="0"/>
                  </a:lnTo>
                  <a:lnTo>
                    <a:pt x="6"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81" name="Freeform 1447">
              <a:extLst>
                <a:ext uri="{FF2B5EF4-FFF2-40B4-BE49-F238E27FC236}">
                  <a16:creationId xmlns:a16="http://schemas.microsoft.com/office/drawing/2014/main" id="{BFB4CA8B-8DD6-4303-B233-E75FE43E2526}"/>
                </a:ext>
              </a:extLst>
            </p:cNvPr>
            <p:cNvSpPr>
              <a:spLocks/>
            </p:cNvSpPr>
            <p:nvPr/>
          </p:nvSpPr>
          <p:spPr bwMode="auto">
            <a:xfrm>
              <a:off x="5946653" y="2018382"/>
              <a:ext cx="1336" cy="1336"/>
            </a:xfrm>
            <a:custGeom>
              <a:avLst/>
              <a:gdLst>
                <a:gd name="T0" fmla="*/ 1 w 1"/>
                <a:gd name="T1" fmla="*/ 0 h 1"/>
                <a:gd name="T2" fmla="*/ 1 w 1"/>
                <a:gd name="T3" fmla="*/ 0 h 1"/>
                <a:gd name="T4" fmla="*/ 1 w 1"/>
                <a:gd name="T5" fmla="*/ 0 h 1"/>
                <a:gd name="T6" fmla="*/ 1 w 1"/>
                <a:gd name="T7" fmla="*/ 1 h 1"/>
                <a:gd name="T8" fmla="*/ 1 w 1"/>
                <a:gd name="T9" fmla="*/ 1 h 1"/>
                <a:gd name="T10" fmla="*/ 1 w 1"/>
                <a:gd name="T11" fmla="*/ 1 h 1"/>
                <a:gd name="T12" fmla="*/ 1 w 1"/>
                <a:gd name="T13" fmla="*/ 1 h 1"/>
                <a:gd name="T14" fmla="*/ 1 w 1"/>
                <a:gd name="T15" fmla="*/ 1 h 1"/>
                <a:gd name="T16" fmla="*/ 0 w 1"/>
                <a:gd name="T17" fmla="*/ 1 h 1"/>
                <a:gd name="T18" fmla="*/ 0 w 1"/>
                <a:gd name="T19" fmla="*/ 0 h 1"/>
                <a:gd name="T20" fmla="*/ 1 w 1"/>
                <a:gd name="T21" fmla="*/ 0 h 1"/>
                <a:gd name="T22" fmla="*/ 1 w 1"/>
                <a:gd name="T23" fmla="*/ 0 h 1"/>
                <a:gd name="T24" fmla="*/ 1 w 1"/>
                <a:gd name="T25" fmla="*/ 0 h 1"/>
                <a:gd name="T26" fmla="*/ 1 w 1"/>
                <a:gd name="T27" fmla="*/ 0 h 1"/>
                <a:gd name="T28" fmla="*/ 0 w 1"/>
                <a:gd name="T29" fmla="*/ 0 h 1"/>
                <a:gd name="T30" fmla="*/ 0 w 1"/>
                <a:gd name="T31" fmla="*/ 0 h 1"/>
                <a:gd name="T32" fmla="*/ 0 w 1"/>
                <a:gd name="T33" fmla="*/ 0 h 1"/>
                <a:gd name="T34" fmla="*/ 0 w 1"/>
                <a:gd name="T35" fmla="*/ 0 h 1"/>
                <a:gd name="T36" fmla="*/ 1 w 1"/>
                <a:gd name="T37" fmla="*/ 0 h 1"/>
                <a:gd name="T38" fmla="*/ 1 w 1"/>
                <a:gd name="T39" fmla="*/ 0 h 1"/>
                <a:gd name="T40" fmla="*/ 1 w 1"/>
                <a:gd name="T41" fmla="*/ 0 h 1"/>
                <a:gd name="T42" fmla="*/ 1 w 1"/>
                <a:gd name="T43" fmla="*/ 0 h 1"/>
                <a:gd name="T44" fmla="*/ 1 w 1"/>
                <a:gd name="T45" fmla="*/ 0 h 1"/>
                <a:gd name="T46" fmla="*/ 1 w 1"/>
                <a:gd name="T47" fmla="*/ 0 h 1"/>
                <a:gd name="T48" fmla="*/ 1 w 1"/>
                <a:gd name="T49" fmla="*/ 0 h 1"/>
                <a:gd name="T50" fmla="*/ 1 w 1"/>
                <a:gd name="T5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 h="1">
                  <a:moveTo>
                    <a:pt x="1" y="0"/>
                  </a:moveTo>
                  <a:lnTo>
                    <a:pt x="1" y="0"/>
                  </a:lnTo>
                  <a:lnTo>
                    <a:pt x="1" y="0"/>
                  </a:lnTo>
                  <a:lnTo>
                    <a:pt x="1" y="1"/>
                  </a:lnTo>
                  <a:lnTo>
                    <a:pt x="1" y="1"/>
                  </a:lnTo>
                  <a:lnTo>
                    <a:pt x="1" y="1"/>
                  </a:lnTo>
                  <a:lnTo>
                    <a:pt x="1" y="1"/>
                  </a:lnTo>
                  <a:lnTo>
                    <a:pt x="1" y="1"/>
                  </a:lnTo>
                  <a:lnTo>
                    <a:pt x="0" y="1"/>
                  </a:lnTo>
                  <a:lnTo>
                    <a:pt x="0" y="0"/>
                  </a:lnTo>
                  <a:lnTo>
                    <a:pt x="1" y="0"/>
                  </a:lnTo>
                  <a:lnTo>
                    <a:pt x="1" y="0"/>
                  </a:lnTo>
                  <a:lnTo>
                    <a:pt x="1" y="0"/>
                  </a:lnTo>
                  <a:lnTo>
                    <a:pt x="1" y="0"/>
                  </a:lnTo>
                  <a:lnTo>
                    <a:pt x="0" y="0"/>
                  </a:lnTo>
                  <a:lnTo>
                    <a:pt x="0" y="0"/>
                  </a:lnTo>
                  <a:lnTo>
                    <a:pt x="0" y="0"/>
                  </a:lnTo>
                  <a:lnTo>
                    <a:pt x="0" y="0"/>
                  </a:lnTo>
                  <a:lnTo>
                    <a:pt x="1" y="0"/>
                  </a:lnTo>
                  <a:lnTo>
                    <a:pt x="1"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82" name="Freeform 1448">
              <a:extLst>
                <a:ext uri="{FF2B5EF4-FFF2-40B4-BE49-F238E27FC236}">
                  <a16:creationId xmlns:a16="http://schemas.microsoft.com/office/drawing/2014/main" id="{E344CB19-F593-4C2D-ABA1-403F93A9D2E0}"/>
                </a:ext>
              </a:extLst>
            </p:cNvPr>
            <p:cNvSpPr>
              <a:spLocks/>
            </p:cNvSpPr>
            <p:nvPr/>
          </p:nvSpPr>
          <p:spPr bwMode="auto">
            <a:xfrm>
              <a:off x="5968021" y="2007698"/>
              <a:ext cx="2671" cy="1336"/>
            </a:xfrm>
            <a:custGeom>
              <a:avLst/>
              <a:gdLst>
                <a:gd name="T0" fmla="*/ 0 w 2"/>
                <a:gd name="T1" fmla="*/ 0 h 1"/>
                <a:gd name="T2" fmla="*/ 0 w 2"/>
                <a:gd name="T3" fmla="*/ 0 h 1"/>
                <a:gd name="T4" fmla="*/ 0 w 2"/>
                <a:gd name="T5" fmla="*/ 0 h 1"/>
                <a:gd name="T6" fmla="*/ 0 w 2"/>
                <a:gd name="T7" fmla="*/ 0 h 1"/>
                <a:gd name="T8" fmla="*/ 0 w 2"/>
                <a:gd name="T9" fmla="*/ 0 h 1"/>
                <a:gd name="T10" fmla="*/ 0 w 2"/>
                <a:gd name="T11" fmla="*/ 0 h 1"/>
                <a:gd name="T12" fmla="*/ 2 w 2"/>
                <a:gd name="T13" fmla="*/ 0 h 1"/>
                <a:gd name="T14" fmla="*/ 2 w 2"/>
                <a:gd name="T15" fmla="*/ 1 h 1"/>
                <a:gd name="T16" fmla="*/ 2 w 2"/>
                <a:gd name="T17" fmla="*/ 1 h 1"/>
                <a:gd name="T18" fmla="*/ 2 w 2"/>
                <a:gd name="T19" fmla="*/ 1 h 1"/>
                <a:gd name="T20" fmla="*/ 2 w 2"/>
                <a:gd name="T21" fmla="*/ 1 h 1"/>
                <a:gd name="T22" fmla="*/ 2 w 2"/>
                <a:gd name="T23" fmla="*/ 1 h 1"/>
                <a:gd name="T24" fmla="*/ 0 w 2"/>
                <a:gd name="T25" fmla="*/ 1 h 1"/>
                <a:gd name="T26" fmla="*/ 0 w 2"/>
                <a:gd name="T27" fmla="*/ 1 h 1"/>
                <a:gd name="T28" fmla="*/ 0 w 2"/>
                <a:gd name="T29" fmla="*/ 1 h 1"/>
                <a:gd name="T30" fmla="*/ 0 w 2"/>
                <a:gd name="T31" fmla="*/ 1 h 1"/>
                <a:gd name="T32" fmla="*/ 0 w 2"/>
                <a:gd name="T33" fmla="*/ 1 h 1"/>
                <a:gd name="T34" fmla="*/ 0 w 2"/>
                <a:gd name="T35" fmla="*/ 1 h 1"/>
                <a:gd name="T36" fmla="*/ 0 w 2"/>
                <a:gd name="T37" fmla="*/ 1 h 1"/>
                <a:gd name="T38" fmla="*/ 0 w 2"/>
                <a:gd name="T39" fmla="*/ 1 h 1"/>
                <a:gd name="T40" fmla="*/ 0 w 2"/>
                <a:gd name="T41" fmla="*/ 1 h 1"/>
                <a:gd name="T42" fmla="*/ 0 w 2"/>
                <a:gd name="T43" fmla="*/ 1 h 1"/>
                <a:gd name="T44" fmla="*/ 0 w 2"/>
                <a:gd name="T45" fmla="*/ 1 h 1"/>
                <a:gd name="T46" fmla="*/ 0 w 2"/>
                <a:gd name="T47" fmla="*/ 0 h 1"/>
                <a:gd name="T48" fmla="*/ 0 w 2"/>
                <a:gd name="T49" fmla="*/ 0 h 1"/>
                <a:gd name="T50" fmla="*/ 0 w 2"/>
                <a:gd name="T5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 h="1">
                  <a:moveTo>
                    <a:pt x="0" y="0"/>
                  </a:moveTo>
                  <a:lnTo>
                    <a:pt x="0" y="0"/>
                  </a:lnTo>
                  <a:lnTo>
                    <a:pt x="0" y="0"/>
                  </a:lnTo>
                  <a:lnTo>
                    <a:pt x="0" y="0"/>
                  </a:lnTo>
                  <a:lnTo>
                    <a:pt x="0" y="0"/>
                  </a:lnTo>
                  <a:lnTo>
                    <a:pt x="0" y="0"/>
                  </a:lnTo>
                  <a:lnTo>
                    <a:pt x="2" y="0"/>
                  </a:lnTo>
                  <a:lnTo>
                    <a:pt x="2" y="1"/>
                  </a:lnTo>
                  <a:lnTo>
                    <a:pt x="2" y="1"/>
                  </a:lnTo>
                  <a:lnTo>
                    <a:pt x="2" y="1"/>
                  </a:lnTo>
                  <a:lnTo>
                    <a:pt x="2" y="1"/>
                  </a:lnTo>
                  <a:lnTo>
                    <a:pt x="2" y="1"/>
                  </a:lnTo>
                  <a:lnTo>
                    <a:pt x="0" y="1"/>
                  </a:lnTo>
                  <a:lnTo>
                    <a:pt x="0" y="1"/>
                  </a:lnTo>
                  <a:lnTo>
                    <a:pt x="0" y="1"/>
                  </a:lnTo>
                  <a:lnTo>
                    <a:pt x="0" y="1"/>
                  </a:lnTo>
                  <a:lnTo>
                    <a:pt x="0" y="1"/>
                  </a:lnTo>
                  <a:lnTo>
                    <a:pt x="0" y="1"/>
                  </a:lnTo>
                  <a:lnTo>
                    <a:pt x="0" y="1"/>
                  </a:lnTo>
                  <a:lnTo>
                    <a:pt x="0" y="1"/>
                  </a:lnTo>
                  <a:lnTo>
                    <a:pt x="0" y="1"/>
                  </a:lnTo>
                  <a:lnTo>
                    <a:pt x="0" y="1"/>
                  </a:lnTo>
                  <a:lnTo>
                    <a:pt x="0" y="1"/>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83" name="Freeform 1449">
              <a:extLst>
                <a:ext uri="{FF2B5EF4-FFF2-40B4-BE49-F238E27FC236}">
                  <a16:creationId xmlns:a16="http://schemas.microsoft.com/office/drawing/2014/main" id="{F2F03D9D-EC38-4667-A388-A06DC5E99C6D}"/>
                </a:ext>
              </a:extLst>
            </p:cNvPr>
            <p:cNvSpPr>
              <a:spLocks/>
            </p:cNvSpPr>
            <p:nvPr/>
          </p:nvSpPr>
          <p:spPr bwMode="auto">
            <a:xfrm>
              <a:off x="5964015" y="2007698"/>
              <a:ext cx="6678" cy="2671"/>
            </a:xfrm>
            <a:custGeom>
              <a:avLst/>
              <a:gdLst>
                <a:gd name="T0" fmla="*/ 1 w 5"/>
                <a:gd name="T1" fmla="*/ 0 h 2"/>
                <a:gd name="T2" fmla="*/ 2 w 5"/>
                <a:gd name="T3" fmla="*/ 1 h 2"/>
                <a:gd name="T4" fmla="*/ 2 w 5"/>
                <a:gd name="T5" fmla="*/ 1 h 2"/>
                <a:gd name="T6" fmla="*/ 2 w 5"/>
                <a:gd name="T7" fmla="*/ 1 h 2"/>
                <a:gd name="T8" fmla="*/ 3 w 5"/>
                <a:gd name="T9" fmla="*/ 1 h 2"/>
                <a:gd name="T10" fmla="*/ 5 w 5"/>
                <a:gd name="T11" fmla="*/ 1 h 2"/>
                <a:gd name="T12" fmla="*/ 3 w 5"/>
                <a:gd name="T13" fmla="*/ 2 h 2"/>
                <a:gd name="T14" fmla="*/ 3 w 5"/>
                <a:gd name="T15" fmla="*/ 2 h 2"/>
                <a:gd name="T16" fmla="*/ 3 w 5"/>
                <a:gd name="T17" fmla="*/ 2 h 2"/>
                <a:gd name="T18" fmla="*/ 3 w 5"/>
                <a:gd name="T19" fmla="*/ 2 h 2"/>
                <a:gd name="T20" fmla="*/ 2 w 5"/>
                <a:gd name="T21" fmla="*/ 2 h 2"/>
                <a:gd name="T22" fmla="*/ 2 w 5"/>
                <a:gd name="T23" fmla="*/ 2 h 2"/>
                <a:gd name="T24" fmla="*/ 2 w 5"/>
                <a:gd name="T25" fmla="*/ 1 h 2"/>
                <a:gd name="T26" fmla="*/ 2 w 5"/>
                <a:gd name="T27" fmla="*/ 1 h 2"/>
                <a:gd name="T28" fmla="*/ 1 w 5"/>
                <a:gd name="T29" fmla="*/ 2 h 2"/>
                <a:gd name="T30" fmla="*/ 1 w 5"/>
                <a:gd name="T31" fmla="*/ 1 h 2"/>
                <a:gd name="T32" fmla="*/ 1 w 5"/>
                <a:gd name="T33" fmla="*/ 1 h 2"/>
                <a:gd name="T34" fmla="*/ 1 w 5"/>
                <a:gd name="T35" fmla="*/ 1 h 2"/>
                <a:gd name="T36" fmla="*/ 1 w 5"/>
                <a:gd name="T37" fmla="*/ 1 h 2"/>
                <a:gd name="T38" fmla="*/ 1 w 5"/>
                <a:gd name="T39" fmla="*/ 0 h 2"/>
                <a:gd name="T40" fmla="*/ 0 w 5"/>
                <a:gd name="T41" fmla="*/ 1 h 2"/>
                <a:gd name="T42" fmla="*/ 0 w 5"/>
                <a:gd name="T43" fmla="*/ 0 h 2"/>
                <a:gd name="T44" fmla="*/ 0 w 5"/>
                <a:gd name="T45" fmla="*/ 0 h 2"/>
                <a:gd name="T46" fmla="*/ 0 w 5"/>
                <a:gd name="T47" fmla="*/ 0 h 2"/>
                <a:gd name="T48" fmla="*/ 0 w 5"/>
                <a:gd name="T49" fmla="*/ 0 h 2"/>
                <a:gd name="T50" fmla="*/ 0 w 5"/>
                <a:gd name="T51" fmla="*/ 0 h 2"/>
                <a:gd name="T52" fmla="*/ 0 w 5"/>
                <a:gd name="T53" fmla="*/ 0 h 2"/>
                <a:gd name="T54" fmla="*/ 0 w 5"/>
                <a:gd name="T55" fmla="*/ 0 h 2"/>
                <a:gd name="T56" fmla="*/ 1 w 5"/>
                <a:gd name="T57" fmla="*/ 0 h 2"/>
                <a:gd name="T58" fmla="*/ 1 w 5"/>
                <a:gd name="T5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 h="2">
                  <a:moveTo>
                    <a:pt x="1" y="0"/>
                  </a:moveTo>
                  <a:lnTo>
                    <a:pt x="2" y="1"/>
                  </a:lnTo>
                  <a:lnTo>
                    <a:pt x="2" y="1"/>
                  </a:lnTo>
                  <a:lnTo>
                    <a:pt x="2" y="1"/>
                  </a:lnTo>
                  <a:lnTo>
                    <a:pt x="3" y="1"/>
                  </a:lnTo>
                  <a:lnTo>
                    <a:pt x="5" y="1"/>
                  </a:lnTo>
                  <a:lnTo>
                    <a:pt x="3" y="2"/>
                  </a:lnTo>
                  <a:lnTo>
                    <a:pt x="3" y="2"/>
                  </a:lnTo>
                  <a:lnTo>
                    <a:pt x="3" y="2"/>
                  </a:lnTo>
                  <a:lnTo>
                    <a:pt x="3" y="2"/>
                  </a:lnTo>
                  <a:lnTo>
                    <a:pt x="2" y="2"/>
                  </a:lnTo>
                  <a:lnTo>
                    <a:pt x="2" y="2"/>
                  </a:lnTo>
                  <a:lnTo>
                    <a:pt x="2" y="1"/>
                  </a:lnTo>
                  <a:lnTo>
                    <a:pt x="2" y="1"/>
                  </a:lnTo>
                  <a:lnTo>
                    <a:pt x="1" y="2"/>
                  </a:lnTo>
                  <a:lnTo>
                    <a:pt x="1" y="1"/>
                  </a:lnTo>
                  <a:lnTo>
                    <a:pt x="1" y="1"/>
                  </a:lnTo>
                  <a:lnTo>
                    <a:pt x="1" y="1"/>
                  </a:lnTo>
                  <a:lnTo>
                    <a:pt x="1" y="1"/>
                  </a:lnTo>
                  <a:lnTo>
                    <a:pt x="1" y="0"/>
                  </a:lnTo>
                  <a:lnTo>
                    <a:pt x="0" y="1"/>
                  </a:lnTo>
                  <a:lnTo>
                    <a:pt x="0" y="0"/>
                  </a:lnTo>
                  <a:lnTo>
                    <a:pt x="0" y="0"/>
                  </a:lnTo>
                  <a:lnTo>
                    <a:pt x="0" y="0"/>
                  </a:lnTo>
                  <a:lnTo>
                    <a:pt x="0" y="0"/>
                  </a:lnTo>
                  <a:lnTo>
                    <a:pt x="0" y="0"/>
                  </a:lnTo>
                  <a:lnTo>
                    <a:pt x="0" y="0"/>
                  </a:lnTo>
                  <a:lnTo>
                    <a:pt x="0"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84" name="Freeform 1450">
              <a:extLst>
                <a:ext uri="{FF2B5EF4-FFF2-40B4-BE49-F238E27FC236}">
                  <a16:creationId xmlns:a16="http://schemas.microsoft.com/office/drawing/2014/main" id="{18C9AA73-5AE2-4251-897D-F3EC0D59BEE4}"/>
                </a:ext>
              </a:extLst>
            </p:cNvPr>
            <p:cNvSpPr>
              <a:spLocks/>
            </p:cNvSpPr>
            <p:nvPr/>
          </p:nvSpPr>
          <p:spPr bwMode="auto">
            <a:xfrm>
              <a:off x="5965350" y="2006362"/>
              <a:ext cx="2671" cy="1336"/>
            </a:xfrm>
            <a:custGeom>
              <a:avLst/>
              <a:gdLst>
                <a:gd name="T0" fmla="*/ 2 w 2"/>
                <a:gd name="T1" fmla="*/ 1 h 1"/>
                <a:gd name="T2" fmla="*/ 1 w 2"/>
                <a:gd name="T3" fmla="*/ 1 h 1"/>
                <a:gd name="T4" fmla="*/ 1 w 2"/>
                <a:gd name="T5" fmla="*/ 1 h 1"/>
                <a:gd name="T6" fmla="*/ 1 w 2"/>
                <a:gd name="T7" fmla="*/ 1 h 1"/>
                <a:gd name="T8" fmla="*/ 1 w 2"/>
                <a:gd name="T9" fmla="*/ 1 h 1"/>
                <a:gd name="T10" fmla="*/ 1 w 2"/>
                <a:gd name="T11" fmla="*/ 1 h 1"/>
                <a:gd name="T12" fmla="*/ 1 w 2"/>
                <a:gd name="T13" fmla="*/ 1 h 1"/>
                <a:gd name="T14" fmla="*/ 1 w 2"/>
                <a:gd name="T15" fmla="*/ 1 h 1"/>
                <a:gd name="T16" fmla="*/ 1 w 2"/>
                <a:gd name="T17" fmla="*/ 1 h 1"/>
                <a:gd name="T18" fmla="*/ 1 w 2"/>
                <a:gd name="T19" fmla="*/ 1 h 1"/>
                <a:gd name="T20" fmla="*/ 1 w 2"/>
                <a:gd name="T21" fmla="*/ 1 h 1"/>
                <a:gd name="T22" fmla="*/ 1 w 2"/>
                <a:gd name="T23" fmla="*/ 1 h 1"/>
                <a:gd name="T24" fmla="*/ 1 w 2"/>
                <a:gd name="T25" fmla="*/ 1 h 1"/>
                <a:gd name="T26" fmla="*/ 1 w 2"/>
                <a:gd name="T27" fmla="*/ 1 h 1"/>
                <a:gd name="T28" fmla="*/ 1 w 2"/>
                <a:gd name="T29" fmla="*/ 1 h 1"/>
                <a:gd name="T30" fmla="*/ 0 w 2"/>
                <a:gd name="T31" fmla="*/ 1 h 1"/>
                <a:gd name="T32" fmla="*/ 0 w 2"/>
                <a:gd name="T33" fmla="*/ 1 h 1"/>
                <a:gd name="T34" fmla="*/ 0 w 2"/>
                <a:gd name="T35" fmla="*/ 1 h 1"/>
                <a:gd name="T36" fmla="*/ 0 w 2"/>
                <a:gd name="T37" fmla="*/ 1 h 1"/>
                <a:gd name="T38" fmla="*/ 0 w 2"/>
                <a:gd name="T39" fmla="*/ 1 h 1"/>
                <a:gd name="T40" fmla="*/ 0 w 2"/>
                <a:gd name="T41" fmla="*/ 1 h 1"/>
                <a:gd name="T42" fmla="*/ 0 w 2"/>
                <a:gd name="T43" fmla="*/ 1 h 1"/>
                <a:gd name="T44" fmla="*/ 0 w 2"/>
                <a:gd name="T45" fmla="*/ 1 h 1"/>
                <a:gd name="T46" fmla="*/ 0 w 2"/>
                <a:gd name="T47" fmla="*/ 1 h 1"/>
                <a:gd name="T48" fmla="*/ 0 w 2"/>
                <a:gd name="T49" fmla="*/ 1 h 1"/>
                <a:gd name="T50" fmla="*/ 0 w 2"/>
                <a:gd name="T51" fmla="*/ 1 h 1"/>
                <a:gd name="T52" fmla="*/ 0 w 2"/>
                <a:gd name="T53" fmla="*/ 1 h 1"/>
                <a:gd name="T54" fmla="*/ 1 w 2"/>
                <a:gd name="T55" fmla="*/ 0 h 1"/>
                <a:gd name="T56" fmla="*/ 1 w 2"/>
                <a:gd name="T57" fmla="*/ 0 h 1"/>
                <a:gd name="T58" fmla="*/ 1 w 2"/>
                <a:gd name="T59" fmla="*/ 0 h 1"/>
                <a:gd name="T60" fmla="*/ 1 w 2"/>
                <a:gd name="T61" fmla="*/ 0 h 1"/>
                <a:gd name="T62" fmla="*/ 2 w 2"/>
                <a:gd name="T63" fmla="*/ 1 h 1"/>
                <a:gd name="T64" fmla="*/ 2 w 2"/>
                <a:gd name="T6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1">
                  <a:moveTo>
                    <a:pt x="2" y="1"/>
                  </a:move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1" y="0"/>
                  </a:lnTo>
                  <a:lnTo>
                    <a:pt x="1" y="0"/>
                  </a:lnTo>
                  <a:lnTo>
                    <a:pt x="1" y="0"/>
                  </a:lnTo>
                  <a:lnTo>
                    <a:pt x="1" y="0"/>
                  </a:lnTo>
                  <a:lnTo>
                    <a:pt x="2" y="1"/>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85" name="Freeform 1451">
              <a:extLst>
                <a:ext uri="{FF2B5EF4-FFF2-40B4-BE49-F238E27FC236}">
                  <a16:creationId xmlns:a16="http://schemas.microsoft.com/office/drawing/2014/main" id="{2ECAF0C1-F686-44EE-887C-8F6A9AAC426B}"/>
                </a:ext>
              </a:extLst>
            </p:cNvPr>
            <p:cNvSpPr>
              <a:spLocks/>
            </p:cNvSpPr>
            <p:nvPr/>
          </p:nvSpPr>
          <p:spPr bwMode="auto">
            <a:xfrm>
              <a:off x="5961344" y="2001020"/>
              <a:ext cx="4007" cy="4007"/>
            </a:xfrm>
            <a:custGeom>
              <a:avLst/>
              <a:gdLst>
                <a:gd name="T0" fmla="*/ 3 w 3"/>
                <a:gd name="T1" fmla="*/ 2 h 3"/>
                <a:gd name="T2" fmla="*/ 3 w 3"/>
                <a:gd name="T3" fmla="*/ 2 h 3"/>
                <a:gd name="T4" fmla="*/ 3 w 3"/>
                <a:gd name="T5" fmla="*/ 2 h 3"/>
                <a:gd name="T6" fmla="*/ 3 w 3"/>
                <a:gd name="T7" fmla="*/ 2 h 3"/>
                <a:gd name="T8" fmla="*/ 3 w 3"/>
                <a:gd name="T9" fmla="*/ 2 h 3"/>
                <a:gd name="T10" fmla="*/ 3 w 3"/>
                <a:gd name="T11" fmla="*/ 2 h 3"/>
                <a:gd name="T12" fmla="*/ 3 w 3"/>
                <a:gd name="T13" fmla="*/ 2 h 3"/>
                <a:gd name="T14" fmla="*/ 3 w 3"/>
                <a:gd name="T15" fmla="*/ 2 h 3"/>
                <a:gd name="T16" fmla="*/ 2 w 3"/>
                <a:gd name="T17" fmla="*/ 3 h 3"/>
                <a:gd name="T18" fmla="*/ 2 w 3"/>
                <a:gd name="T19" fmla="*/ 3 h 3"/>
                <a:gd name="T20" fmla="*/ 2 w 3"/>
                <a:gd name="T21" fmla="*/ 2 h 3"/>
                <a:gd name="T22" fmla="*/ 2 w 3"/>
                <a:gd name="T23" fmla="*/ 2 h 3"/>
                <a:gd name="T24" fmla="*/ 2 w 3"/>
                <a:gd name="T25" fmla="*/ 2 h 3"/>
                <a:gd name="T26" fmla="*/ 2 w 3"/>
                <a:gd name="T27" fmla="*/ 2 h 3"/>
                <a:gd name="T28" fmla="*/ 2 w 3"/>
                <a:gd name="T29" fmla="*/ 2 h 3"/>
                <a:gd name="T30" fmla="*/ 2 w 3"/>
                <a:gd name="T31" fmla="*/ 2 h 3"/>
                <a:gd name="T32" fmla="*/ 2 w 3"/>
                <a:gd name="T33" fmla="*/ 2 h 3"/>
                <a:gd name="T34" fmla="*/ 2 w 3"/>
                <a:gd name="T35" fmla="*/ 2 h 3"/>
                <a:gd name="T36" fmla="*/ 2 w 3"/>
                <a:gd name="T37" fmla="*/ 2 h 3"/>
                <a:gd name="T38" fmla="*/ 2 w 3"/>
                <a:gd name="T39" fmla="*/ 2 h 3"/>
                <a:gd name="T40" fmla="*/ 2 w 3"/>
                <a:gd name="T41" fmla="*/ 2 h 3"/>
                <a:gd name="T42" fmla="*/ 2 w 3"/>
                <a:gd name="T43" fmla="*/ 2 h 3"/>
                <a:gd name="T44" fmla="*/ 1 w 3"/>
                <a:gd name="T45" fmla="*/ 2 h 3"/>
                <a:gd name="T46" fmla="*/ 1 w 3"/>
                <a:gd name="T47" fmla="*/ 2 h 3"/>
                <a:gd name="T48" fmla="*/ 0 w 3"/>
                <a:gd name="T49" fmla="*/ 2 h 3"/>
                <a:gd name="T50" fmla="*/ 0 w 3"/>
                <a:gd name="T51" fmla="*/ 2 h 3"/>
                <a:gd name="T52" fmla="*/ 0 w 3"/>
                <a:gd name="T53" fmla="*/ 2 h 3"/>
                <a:gd name="T54" fmla="*/ 0 w 3"/>
                <a:gd name="T55" fmla="*/ 2 h 3"/>
                <a:gd name="T56" fmla="*/ 0 w 3"/>
                <a:gd name="T57" fmla="*/ 2 h 3"/>
                <a:gd name="T58" fmla="*/ 2 w 3"/>
                <a:gd name="T59" fmla="*/ 0 h 3"/>
                <a:gd name="T60" fmla="*/ 2 w 3"/>
                <a:gd name="T61" fmla="*/ 0 h 3"/>
                <a:gd name="T62" fmla="*/ 2 w 3"/>
                <a:gd name="T63" fmla="*/ 0 h 3"/>
                <a:gd name="T64" fmla="*/ 2 w 3"/>
                <a:gd name="T65" fmla="*/ 0 h 3"/>
                <a:gd name="T66" fmla="*/ 3 w 3"/>
                <a:gd name="T67" fmla="*/ 0 h 3"/>
                <a:gd name="T68" fmla="*/ 3 w 3"/>
                <a:gd name="T69" fmla="*/ 0 h 3"/>
                <a:gd name="T70" fmla="*/ 3 w 3"/>
                <a:gd name="T71" fmla="*/ 2 h 3"/>
                <a:gd name="T72" fmla="*/ 3 w 3"/>
                <a:gd name="T73" fmla="*/ 2 h 3"/>
                <a:gd name="T74" fmla="*/ 3 w 3"/>
                <a:gd name="T75"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 h="3">
                  <a:moveTo>
                    <a:pt x="3" y="2"/>
                  </a:moveTo>
                  <a:lnTo>
                    <a:pt x="3" y="2"/>
                  </a:lnTo>
                  <a:lnTo>
                    <a:pt x="3" y="2"/>
                  </a:lnTo>
                  <a:lnTo>
                    <a:pt x="3" y="2"/>
                  </a:lnTo>
                  <a:lnTo>
                    <a:pt x="3" y="2"/>
                  </a:lnTo>
                  <a:lnTo>
                    <a:pt x="3" y="2"/>
                  </a:lnTo>
                  <a:lnTo>
                    <a:pt x="3" y="2"/>
                  </a:lnTo>
                  <a:lnTo>
                    <a:pt x="3" y="2"/>
                  </a:lnTo>
                  <a:lnTo>
                    <a:pt x="2" y="3"/>
                  </a:lnTo>
                  <a:lnTo>
                    <a:pt x="2" y="3"/>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1" y="2"/>
                  </a:lnTo>
                  <a:lnTo>
                    <a:pt x="1" y="2"/>
                  </a:lnTo>
                  <a:lnTo>
                    <a:pt x="0" y="2"/>
                  </a:lnTo>
                  <a:lnTo>
                    <a:pt x="0" y="2"/>
                  </a:lnTo>
                  <a:lnTo>
                    <a:pt x="0" y="2"/>
                  </a:lnTo>
                  <a:lnTo>
                    <a:pt x="0" y="2"/>
                  </a:lnTo>
                  <a:lnTo>
                    <a:pt x="0" y="2"/>
                  </a:lnTo>
                  <a:lnTo>
                    <a:pt x="2" y="0"/>
                  </a:lnTo>
                  <a:lnTo>
                    <a:pt x="2" y="0"/>
                  </a:lnTo>
                  <a:lnTo>
                    <a:pt x="2" y="0"/>
                  </a:lnTo>
                  <a:lnTo>
                    <a:pt x="2" y="0"/>
                  </a:lnTo>
                  <a:lnTo>
                    <a:pt x="3" y="0"/>
                  </a:lnTo>
                  <a:lnTo>
                    <a:pt x="3" y="0"/>
                  </a:lnTo>
                  <a:lnTo>
                    <a:pt x="3" y="2"/>
                  </a:lnTo>
                  <a:lnTo>
                    <a:pt x="3" y="2"/>
                  </a:lnTo>
                  <a:lnTo>
                    <a:pt x="3"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86" name="Freeform 1452">
              <a:extLst>
                <a:ext uri="{FF2B5EF4-FFF2-40B4-BE49-F238E27FC236}">
                  <a16:creationId xmlns:a16="http://schemas.microsoft.com/office/drawing/2014/main" id="{EE7B20DE-7A92-4F92-A82E-C375F4FA78E8}"/>
                </a:ext>
              </a:extLst>
            </p:cNvPr>
            <p:cNvSpPr>
              <a:spLocks/>
            </p:cNvSpPr>
            <p:nvPr/>
          </p:nvSpPr>
          <p:spPr bwMode="auto">
            <a:xfrm>
              <a:off x="5957337" y="2001020"/>
              <a:ext cx="6678" cy="2671"/>
            </a:xfrm>
            <a:custGeom>
              <a:avLst/>
              <a:gdLst>
                <a:gd name="T0" fmla="*/ 1 w 5"/>
                <a:gd name="T1" fmla="*/ 2 h 2"/>
                <a:gd name="T2" fmla="*/ 1 w 5"/>
                <a:gd name="T3" fmla="*/ 2 h 2"/>
                <a:gd name="T4" fmla="*/ 1 w 5"/>
                <a:gd name="T5" fmla="*/ 2 h 2"/>
                <a:gd name="T6" fmla="*/ 1 w 5"/>
                <a:gd name="T7" fmla="*/ 2 h 2"/>
                <a:gd name="T8" fmla="*/ 0 w 5"/>
                <a:gd name="T9" fmla="*/ 2 h 2"/>
                <a:gd name="T10" fmla="*/ 1 w 5"/>
                <a:gd name="T11" fmla="*/ 2 h 2"/>
                <a:gd name="T12" fmla="*/ 1 w 5"/>
                <a:gd name="T13" fmla="*/ 2 h 2"/>
                <a:gd name="T14" fmla="*/ 1 w 5"/>
                <a:gd name="T15" fmla="*/ 2 h 2"/>
                <a:gd name="T16" fmla="*/ 1 w 5"/>
                <a:gd name="T17" fmla="*/ 2 h 2"/>
                <a:gd name="T18" fmla="*/ 1 w 5"/>
                <a:gd name="T19" fmla="*/ 2 h 2"/>
                <a:gd name="T20" fmla="*/ 3 w 5"/>
                <a:gd name="T21" fmla="*/ 2 h 2"/>
                <a:gd name="T22" fmla="*/ 3 w 5"/>
                <a:gd name="T23" fmla="*/ 0 h 2"/>
                <a:gd name="T24" fmla="*/ 3 w 5"/>
                <a:gd name="T25" fmla="*/ 0 h 2"/>
                <a:gd name="T26" fmla="*/ 4 w 5"/>
                <a:gd name="T27" fmla="*/ 0 h 2"/>
                <a:gd name="T28" fmla="*/ 4 w 5"/>
                <a:gd name="T29" fmla="*/ 0 h 2"/>
                <a:gd name="T30" fmla="*/ 4 w 5"/>
                <a:gd name="T31" fmla="*/ 0 h 2"/>
                <a:gd name="T32" fmla="*/ 4 w 5"/>
                <a:gd name="T33" fmla="*/ 0 h 2"/>
                <a:gd name="T34" fmla="*/ 5 w 5"/>
                <a:gd name="T35" fmla="*/ 0 h 2"/>
                <a:gd name="T36" fmla="*/ 5 w 5"/>
                <a:gd name="T37" fmla="*/ 0 h 2"/>
                <a:gd name="T38" fmla="*/ 5 w 5"/>
                <a:gd name="T39" fmla="*/ 0 h 2"/>
                <a:gd name="T40" fmla="*/ 5 w 5"/>
                <a:gd name="T41" fmla="*/ 0 h 2"/>
                <a:gd name="T42" fmla="*/ 5 w 5"/>
                <a:gd name="T43" fmla="*/ 0 h 2"/>
                <a:gd name="T44" fmla="*/ 4 w 5"/>
                <a:gd name="T45" fmla="*/ 2 h 2"/>
                <a:gd name="T46" fmla="*/ 3 w 5"/>
                <a:gd name="T47" fmla="*/ 2 h 2"/>
                <a:gd name="T48" fmla="*/ 3 w 5"/>
                <a:gd name="T49" fmla="*/ 2 h 2"/>
                <a:gd name="T50" fmla="*/ 1 w 5"/>
                <a:gd name="T5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 h="2">
                  <a:moveTo>
                    <a:pt x="1" y="2"/>
                  </a:moveTo>
                  <a:lnTo>
                    <a:pt x="1" y="2"/>
                  </a:lnTo>
                  <a:lnTo>
                    <a:pt x="1" y="2"/>
                  </a:lnTo>
                  <a:lnTo>
                    <a:pt x="1" y="2"/>
                  </a:lnTo>
                  <a:lnTo>
                    <a:pt x="0" y="2"/>
                  </a:lnTo>
                  <a:lnTo>
                    <a:pt x="1" y="2"/>
                  </a:lnTo>
                  <a:lnTo>
                    <a:pt x="1" y="2"/>
                  </a:lnTo>
                  <a:lnTo>
                    <a:pt x="1" y="2"/>
                  </a:lnTo>
                  <a:lnTo>
                    <a:pt x="1" y="2"/>
                  </a:lnTo>
                  <a:lnTo>
                    <a:pt x="1" y="2"/>
                  </a:lnTo>
                  <a:lnTo>
                    <a:pt x="3" y="2"/>
                  </a:lnTo>
                  <a:lnTo>
                    <a:pt x="3" y="0"/>
                  </a:lnTo>
                  <a:lnTo>
                    <a:pt x="3" y="0"/>
                  </a:lnTo>
                  <a:lnTo>
                    <a:pt x="4" y="0"/>
                  </a:lnTo>
                  <a:lnTo>
                    <a:pt x="4" y="0"/>
                  </a:lnTo>
                  <a:lnTo>
                    <a:pt x="4" y="0"/>
                  </a:lnTo>
                  <a:lnTo>
                    <a:pt x="4" y="0"/>
                  </a:lnTo>
                  <a:lnTo>
                    <a:pt x="5" y="0"/>
                  </a:lnTo>
                  <a:lnTo>
                    <a:pt x="5" y="0"/>
                  </a:lnTo>
                  <a:lnTo>
                    <a:pt x="5" y="0"/>
                  </a:lnTo>
                  <a:lnTo>
                    <a:pt x="5" y="0"/>
                  </a:lnTo>
                  <a:lnTo>
                    <a:pt x="5" y="0"/>
                  </a:lnTo>
                  <a:lnTo>
                    <a:pt x="4" y="2"/>
                  </a:lnTo>
                  <a:lnTo>
                    <a:pt x="3" y="2"/>
                  </a:lnTo>
                  <a:lnTo>
                    <a:pt x="3" y="2"/>
                  </a:lnTo>
                  <a:lnTo>
                    <a:pt x="1"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87" name="Freeform 1453">
              <a:extLst>
                <a:ext uri="{FF2B5EF4-FFF2-40B4-BE49-F238E27FC236}">
                  <a16:creationId xmlns:a16="http://schemas.microsoft.com/office/drawing/2014/main" id="{87BF2604-61B2-42B1-B1C6-660D9F43ED91}"/>
                </a:ext>
              </a:extLst>
            </p:cNvPr>
            <p:cNvSpPr>
              <a:spLocks/>
            </p:cNvSpPr>
            <p:nvPr/>
          </p:nvSpPr>
          <p:spPr bwMode="auto">
            <a:xfrm>
              <a:off x="5970692" y="1998349"/>
              <a:ext cx="2671" cy="1336"/>
            </a:xfrm>
            <a:custGeom>
              <a:avLst/>
              <a:gdLst>
                <a:gd name="T0" fmla="*/ 2 w 2"/>
                <a:gd name="T1" fmla="*/ 0 h 1"/>
                <a:gd name="T2" fmla="*/ 2 w 2"/>
                <a:gd name="T3" fmla="*/ 0 h 1"/>
                <a:gd name="T4" fmla="*/ 2 w 2"/>
                <a:gd name="T5" fmla="*/ 0 h 1"/>
                <a:gd name="T6" fmla="*/ 1 w 2"/>
                <a:gd name="T7" fmla="*/ 1 h 1"/>
                <a:gd name="T8" fmla="*/ 1 w 2"/>
                <a:gd name="T9" fmla="*/ 1 h 1"/>
                <a:gd name="T10" fmla="*/ 1 w 2"/>
                <a:gd name="T11" fmla="*/ 1 h 1"/>
                <a:gd name="T12" fmla="*/ 1 w 2"/>
                <a:gd name="T13" fmla="*/ 1 h 1"/>
                <a:gd name="T14" fmla="*/ 1 w 2"/>
                <a:gd name="T15" fmla="*/ 1 h 1"/>
                <a:gd name="T16" fmla="*/ 1 w 2"/>
                <a:gd name="T17" fmla="*/ 1 h 1"/>
                <a:gd name="T18" fmla="*/ 1 w 2"/>
                <a:gd name="T19" fmla="*/ 1 h 1"/>
                <a:gd name="T20" fmla="*/ 1 w 2"/>
                <a:gd name="T21" fmla="*/ 1 h 1"/>
                <a:gd name="T22" fmla="*/ 1 w 2"/>
                <a:gd name="T23" fmla="*/ 1 h 1"/>
                <a:gd name="T24" fmla="*/ 1 w 2"/>
                <a:gd name="T25" fmla="*/ 1 h 1"/>
                <a:gd name="T26" fmla="*/ 1 w 2"/>
                <a:gd name="T27" fmla="*/ 1 h 1"/>
                <a:gd name="T28" fmla="*/ 1 w 2"/>
                <a:gd name="T29" fmla="*/ 1 h 1"/>
                <a:gd name="T30" fmla="*/ 1 w 2"/>
                <a:gd name="T31" fmla="*/ 1 h 1"/>
                <a:gd name="T32" fmla="*/ 1 w 2"/>
                <a:gd name="T33" fmla="*/ 1 h 1"/>
                <a:gd name="T34" fmla="*/ 1 w 2"/>
                <a:gd name="T35" fmla="*/ 1 h 1"/>
                <a:gd name="T36" fmla="*/ 1 w 2"/>
                <a:gd name="T37" fmla="*/ 1 h 1"/>
                <a:gd name="T38" fmla="*/ 1 w 2"/>
                <a:gd name="T39" fmla="*/ 1 h 1"/>
                <a:gd name="T40" fmla="*/ 0 w 2"/>
                <a:gd name="T41" fmla="*/ 1 h 1"/>
                <a:gd name="T42" fmla="*/ 0 w 2"/>
                <a:gd name="T43" fmla="*/ 1 h 1"/>
                <a:gd name="T44" fmla="*/ 0 w 2"/>
                <a:gd name="T45" fmla="*/ 1 h 1"/>
                <a:gd name="T46" fmla="*/ 0 w 2"/>
                <a:gd name="T47" fmla="*/ 1 h 1"/>
                <a:gd name="T48" fmla="*/ 0 w 2"/>
                <a:gd name="T49" fmla="*/ 1 h 1"/>
                <a:gd name="T50" fmla="*/ 0 w 2"/>
                <a:gd name="T51" fmla="*/ 1 h 1"/>
                <a:gd name="T52" fmla="*/ 0 w 2"/>
                <a:gd name="T53" fmla="*/ 1 h 1"/>
                <a:gd name="T54" fmla="*/ 0 w 2"/>
                <a:gd name="T55" fmla="*/ 1 h 1"/>
                <a:gd name="T56" fmla="*/ 0 w 2"/>
                <a:gd name="T57" fmla="*/ 1 h 1"/>
                <a:gd name="T58" fmla="*/ 0 w 2"/>
                <a:gd name="T59" fmla="*/ 1 h 1"/>
                <a:gd name="T60" fmla="*/ 0 w 2"/>
                <a:gd name="T61" fmla="*/ 1 h 1"/>
                <a:gd name="T62" fmla="*/ 0 w 2"/>
                <a:gd name="T63" fmla="*/ 0 h 1"/>
                <a:gd name="T64" fmla="*/ 0 w 2"/>
                <a:gd name="T65" fmla="*/ 0 h 1"/>
                <a:gd name="T66" fmla="*/ 0 w 2"/>
                <a:gd name="T67" fmla="*/ 0 h 1"/>
                <a:gd name="T68" fmla="*/ 1 w 2"/>
                <a:gd name="T69" fmla="*/ 0 h 1"/>
                <a:gd name="T70" fmla="*/ 1 w 2"/>
                <a:gd name="T71" fmla="*/ 0 h 1"/>
                <a:gd name="T72" fmla="*/ 1 w 2"/>
                <a:gd name="T73" fmla="*/ 0 h 1"/>
                <a:gd name="T74" fmla="*/ 1 w 2"/>
                <a:gd name="T75" fmla="*/ 0 h 1"/>
                <a:gd name="T76" fmla="*/ 1 w 2"/>
                <a:gd name="T77" fmla="*/ 0 h 1"/>
                <a:gd name="T78" fmla="*/ 1 w 2"/>
                <a:gd name="T79" fmla="*/ 0 h 1"/>
                <a:gd name="T80" fmla="*/ 1 w 2"/>
                <a:gd name="T81" fmla="*/ 0 h 1"/>
                <a:gd name="T82" fmla="*/ 2 w 2"/>
                <a:gd name="T83" fmla="*/ 0 h 1"/>
                <a:gd name="T84" fmla="*/ 2 w 2"/>
                <a:gd name="T85" fmla="*/ 0 h 1"/>
                <a:gd name="T86" fmla="*/ 2 w 2"/>
                <a:gd name="T87" fmla="*/ 0 h 1"/>
                <a:gd name="T88" fmla="*/ 2 w 2"/>
                <a:gd name="T8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 h="1">
                  <a:moveTo>
                    <a:pt x="2" y="0"/>
                  </a:moveTo>
                  <a:lnTo>
                    <a:pt x="2" y="0"/>
                  </a:lnTo>
                  <a:lnTo>
                    <a:pt x="2" y="0"/>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0" y="1"/>
                  </a:lnTo>
                  <a:lnTo>
                    <a:pt x="0" y="1"/>
                  </a:lnTo>
                  <a:lnTo>
                    <a:pt x="0" y="1"/>
                  </a:lnTo>
                  <a:lnTo>
                    <a:pt x="0" y="0"/>
                  </a:lnTo>
                  <a:lnTo>
                    <a:pt x="0" y="0"/>
                  </a:lnTo>
                  <a:lnTo>
                    <a:pt x="0" y="0"/>
                  </a:lnTo>
                  <a:lnTo>
                    <a:pt x="1" y="0"/>
                  </a:lnTo>
                  <a:lnTo>
                    <a:pt x="1" y="0"/>
                  </a:lnTo>
                  <a:lnTo>
                    <a:pt x="1" y="0"/>
                  </a:lnTo>
                  <a:lnTo>
                    <a:pt x="1" y="0"/>
                  </a:lnTo>
                  <a:lnTo>
                    <a:pt x="1" y="0"/>
                  </a:lnTo>
                  <a:lnTo>
                    <a:pt x="1" y="0"/>
                  </a:lnTo>
                  <a:lnTo>
                    <a:pt x="1" y="0"/>
                  </a:lnTo>
                  <a:lnTo>
                    <a:pt x="2"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88" name="Freeform 1454">
              <a:extLst>
                <a:ext uri="{FF2B5EF4-FFF2-40B4-BE49-F238E27FC236}">
                  <a16:creationId xmlns:a16="http://schemas.microsoft.com/office/drawing/2014/main" id="{251027DE-5C88-4F1A-8D51-87B490D07086}"/>
                </a:ext>
              </a:extLst>
            </p:cNvPr>
            <p:cNvSpPr>
              <a:spLocks/>
            </p:cNvSpPr>
            <p:nvPr/>
          </p:nvSpPr>
          <p:spPr bwMode="auto">
            <a:xfrm>
              <a:off x="5976034" y="1997014"/>
              <a:ext cx="5342" cy="2671"/>
            </a:xfrm>
            <a:custGeom>
              <a:avLst/>
              <a:gdLst>
                <a:gd name="T0" fmla="*/ 3 w 4"/>
                <a:gd name="T1" fmla="*/ 1 h 2"/>
                <a:gd name="T2" fmla="*/ 3 w 4"/>
                <a:gd name="T3" fmla="*/ 1 h 2"/>
                <a:gd name="T4" fmla="*/ 3 w 4"/>
                <a:gd name="T5" fmla="*/ 1 h 2"/>
                <a:gd name="T6" fmla="*/ 4 w 4"/>
                <a:gd name="T7" fmla="*/ 1 h 2"/>
                <a:gd name="T8" fmla="*/ 4 w 4"/>
                <a:gd name="T9" fmla="*/ 1 h 2"/>
                <a:gd name="T10" fmla="*/ 4 w 4"/>
                <a:gd name="T11" fmla="*/ 1 h 2"/>
                <a:gd name="T12" fmla="*/ 3 w 4"/>
                <a:gd name="T13" fmla="*/ 2 h 2"/>
                <a:gd name="T14" fmla="*/ 3 w 4"/>
                <a:gd name="T15" fmla="*/ 2 h 2"/>
                <a:gd name="T16" fmla="*/ 1 w 4"/>
                <a:gd name="T17" fmla="*/ 2 h 2"/>
                <a:gd name="T18" fmla="*/ 1 w 4"/>
                <a:gd name="T19" fmla="*/ 2 h 2"/>
                <a:gd name="T20" fmla="*/ 1 w 4"/>
                <a:gd name="T21" fmla="*/ 2 h 2"/>
                <a:gd name="T22" fmla="*/ 1 w 4"/>
                <a:gd name="T23" fmla="*/ 2 h 2"/>
                <a:gd name="T24" fmla="*/ 0 w 4"/>
                <a:gd name="T25" fmla="*/ 2 h 2"/>
                <a:gd name="T26" fmla="*/ 0 w 4"/>
                <a:gd name="T27" fmla="*/ 2 h 2"/>
                <a:gd name="T28" fmla="*/ 0 w 4"/>
                <a:gd name="T29" fmla="*/ 2 h 2"/>
                <a:gd name="T30" fmla="*/ 0 w 4"/>
                <a:gd name="T31" fmla="*/ 2 h 2"/>
                <a:gd name="T32" fmla="*/ 0 w 4"/>
                <a:gd name="T33" fmla="*/ 2 h 2"/>
                <a:gd name="T34" fmla="*/ 0 w 4"/>
                <a:gd name="T35" fmla="*/ 2 h 2"/>
                <a:gd name="T36" fmla="*/ 0 w 4"/>
                <a:gd name="T37" fmla="*/ 2 h 2"/>
                <a:gd name="T38" fmla="*/ 0 w 4"/>
                <a:gd name="T39" fmla="*/ 1 h 2"/>
                <a:gd name="T40" fmla="*/ 0 w 4"/>
                <a:gd name="T41" fmla="*/ 1 h 2"/>
                <a:gd name="T42" fmla="*/ 0 w 4"/>
                <a:gd name="T43" fmla="*/ 1 h 2"/>
                <a:gd name="T44" fmla="*/ 1 w 4"/>
                <a:gd name="T45" fmla="*/ 1 h 2"/>
                <a:gd name="T46" fmla="*/ 1 w 4"/>
                <a:gd name="T47" fmla="*/ 1 h 2"/>
                <a:gd name="T48" fmla="*/ 1 w 4"/>
                <a:gd name="T49" fmla="*/ 1 h 2"/>
                <a:gd name="T50" fmla="*/ 1 w 4"/>
                <a:gd name="T51" fmla="*/ 1 h 2"/>
                <a:gd name="T52" fmla="*/ 1 w 4"/>
                <a:gd name="T53" fmla="*/ 1 h 2"/>
                <a:gd name="T54" fmla="*/ 1 w 4"/>
                <a:gd name="T55" fmla="*/ 1 h 2"/>
                <a:gd name="T56" fmla="*/ 1 w 4"/>
                <a:gd name="T57" fmla="*/ 1 h 2"/>
                <a:gd name="T58" fmla="*/ 1 w 4"/>
                <a:gd name="T59" fmla="*/ 1 h 2"/>
                <a:gd name="T60" fmla="*/ 1 w 4"/>
                <a:gd name="T61" fmla="*/ 1 h 2"/>
                <a:gd name="T62" fmla="*/ 1 w 4"/>
                <a:gd name="T63" fmla="*/ 0 h 2"/>
                <a:gd name="T64" fmla="*/ 1 w 4"/>
                <a:gd name="T65" fmla="*/ 0 h 2"/>
                <a:gd name="T66" fmla="*/ 1 w 4"/>
                <a:gd name="T67" fmla="*/ 0 h 2"/>
                <a:gd name="T68" fmla="*/ 1 w 4"/>
                <a:gd name="T69" fmla="*/ 0 h 2"/>
                <a:gd name="T70" fmla="*/ 3 w 4"/>
                <a:gd name="T71" fmla="*/ 0 h 2"/>
                <a:gd name="T72" fmla="*/ 3 w 4"/>
                <a:gd name="T73" fmla="*/ 0 h 2"/>
                <a:gd name="T74" fmla="*/ 3 w 4"/>
                <a:gd name="T75" fmla="*/ 0 h 2"/>
                <a:gd name="T76" fmla="*/ 3 w 4"/>
                <a:gd name="T77" fmla="*/ 1 h 2"/>
                <a:gd name="T78" fmla="*/ 3 w 4"/>
                <a:gd name="T7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 h="2">
                  <a:moveTo>
                    <a:pt x="3" y="1"/>
                  </a:moveTo>
                  <a:lnTo>
                    <a:pt x="3" y="1"/>
                  </a:lnTo>
                  <a:lnTo>
                    <a:pt x="3" y="1"/>
                  </a:lnTo>
                  <a:lnTo>
                    <a:pt x="4" y="1"/>
                  </a:lnTo>
                  <a:lnTo>
                    <a:pt x="4" y="1"/>
                  </a:lnTo>
                  <a:lnTo>
                    <a:pt x="4" y="1"/>
                  </a:lnTo>
                  <a:lnTo>
                    <a:pt x="3" y="2"/>
                  </a:lnTo>
                  <a:lnTo>
                    <a:pt x="3" y="2"/>
                  </a:lnTo>
                  <a:lnTo>
                    <a:pt x="1" y="2"/>
                  </a:lnTo>
                  <a:lnTo>
                    <a:pt x="1" y="2"/>
                  </a:lnTo>
                  <a:lnTo>
                    <a:pt x="1" y="2"/>
                  </a:lnTo>
                  <a:lnTo>
                    <a:pt x="1" y="2"/>
                  </a:lnTo>
                  <a:lnTo>
                    <a:pt x="0" y="2"/>
                  </a:lnTo>
                  <a:lnTo>
                    <a:pt x="0" y="2"/>
                  </a:lnTo>
                  <a:lnTo>
                    <a:pt x="0" y="2"/>
                  </a:lnTo>
                  <a:lnTo>
                    <a:pt x="0" y="2"/>
                  </a:lnTo>
                  <a:lnTo>
                    <a:pt x="0" y="2"/>
                  </a:lnTo>
                  <a:lnTo>
                    <a:pt x="0" y="2"/>
                  </a:lnTo>
                  <a:lnTo>
                    <a:pt x="0" y="2"/>
                  </a:lnTo>
                  <a:lnTo>
                    <a:pt x="0" y="1"/>
                  </a:lnTo>
                  <a:lnTo>
                    <a:pt x="0" y="1"/>
                  </a:lnTo>
                  <a:lnTo>
                    <a:pt x="0" y="1"/>
                  </a:lnTo>
                  <a:lnTo>
                    <a:pt x="1" y="1"/>
                  </a:lnTo>
                  <a:lnTo>
                    <a:pt x="1" y="1"/>
                  </a:lnTo>
                  <a:lnTo>
                    <a:pt x="1" y="1"/>
                  </a:lnTo>
                  <a:lnTo>
                    <a:pt x="1" y="1"/>
                  </a:lnTo>
                  <a:lnTo>
                    <a:pt x="1" y="1"/>
                  </a:lnTo>
                  <a:lnTo>
                    <a:pt x="1" y="1"/>
                  </a:lnTo>
                  <a:lnTo>
                    <a:pt x="1" y="1"/>
                  </a:lnTo>
                  <a:lnTo>
                    <a:pt x="1" y="1"/>
                  </a:lnTo>
                  <a:lnTo>
                    <a:pt x="1" y="1"/>
                  </a:lnTo>
                  <a:lnTo>
                    <a:pt x="1" y="0"/>
                  </a:lnTo>
                  <a:lnTo>
                    <a:pt x="1" y="0"/>
                  </a:lnTo>
                  <a:lnTo>
                    <a:pt x="1" y="0"/>
                  </a:lnTo>
                  <a:lnTo>
                    <a:pt x="1" y="0"/>
                  </a:lnTo>
                  <a:lnTo>
                    <a:pt x="3" y="0"/>
                  </a:lnTo>
                  <a:lnTo>
                    <a:pt x="3" y="0"/>
                  </a:lnTo>
                  <a:lnTo>
                    <a:pt x="3" y="0"/>
                  </a:lnTo>
                  <a:lnTo>
                    <a:pt x="3" y="1"/>
                  </a:lnTo>
                  <a:lnTo>
                    <a:pt x="3"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89" name="Freeform 1455">
              <a:extLst>
                <a:ext uri="{FF2B5EF4-FFF2-40B4-BE49-F238E27FC236}">
                  <a16:creationId xmlns:a16="http://schemas.microsoft.com/office/drawing/2014/main" id="{615A2105-1FC8-4FD8-9FAA-23FF5E9ACA92}"/>
                </a:ext>
              </a:extLst>
            </p:cNvPr>
            <p:cNvSpPr>
              <a:spLocks/>
            </p:cNvSpPr>
            <p:nvPr/>
          </p:nvSpPr>
          <p:spPr bwMode="auto">
            <a:xfrm>
              <a:off x="5976034" y="1990336"/>
              <a:ext cx="6678" cy="6678"/>
            </a:xfrm>
            <a:custGeom>
              <a:avLst/>
              <a:gdLst>
                <a:gd name="T0" fmla="*/ 5 w 5"/>
                <a:gd name="T1" fmla="*/ 1 h 5"/>
                <a:gd name="T2" fmla="*/ 5 w 5"/>
                <a:gd name="T3" fmla="*/ 1 h 5"/>
                <a:gd name="T4" fmla="*/ 5 w 5"/>
                <a:gd name="T5" fmla="*/ 3 h 5"/>
                <a:gd name="T6" fmla="*/ 5 w 5"/>
                <a:gd name="T7" fmla="*/ 3 h 5"/>
                <a:gd name="T8" fmla="*/ 5 w 5"/>
                <a:gd name="T9" fmla="*/ 3 h 5"/>
                <a:gd name="T10" fmla="*/ 5 w 5"/>
                <a:gd name="T11" fmla="*/ 3 h 5"/>
                <a:gd name="T12" fmla="*/ 4 w 5"/>
                <a:gd name="T13" fmla="*/ 3 h 5"/>
                <a:gd name="T14" fmla="*/ 4 w 5"/>
                <a:gd name="T15" fmla="*/ 4 h 5"/>
                <a:gd name="T16" fmla="*/ 3 w 5"/>
                <a:gd name="T17" fmla="*/ 4 h 5"/>
                <a:gd name="T18" fmla="*/ 3 w 5"/>
                <a:gd name="T19" fmla="*/ 4 h 5"/>
                <a:gd name="T20" fmla="*/ 3 w 5"/>
                <a:gd name="T21" fmla="*/ 4 h 5"/>
                <a:gd name="T22" fmla="*/ 3 w 5"/>
                <a:gd name="T23" fmla="*/ 4 h 5"/>
                <a:gd name="T24" fmla="*/ 3 w 5"/>
                <a:gd name="T25" fmla="*/ 4 h 5"/>
                <a:gd name="T26" fmla="*/ 1 w 5"/>
                <a:gd name="T27" fmla="*/ 5 h 5"/>
                <a:gd name="T28" fmla="*/ 0 w 5"/>
                <a:gd name="T29" fmla="*/ 5 h 5"/>
                <a:gd name="T30" fmla="*/ 1 w 5"/>
                <a:gd name="T31" fmla="*/ 5 h 5"/>
                <a:gd name="T32" fmla="*/ 1 w 5"/>
                <a:gd name="T33" fmla="*/ 4 h 5"/>
                <a:gd name="T34" fmla="*/ 1 w 5"/>
                <a:gd name="T35" fmla="*/ 4 h 5"/>
                <a:gd name="T36" fmla="*/ 1 w 5"/>
                <a:gd name="T37" fmla="*/ 4 h 5"/>
                <a:gd name="T38" fmla="*/ 1 w 5"/>
                <a:gd name="T39" fmla="*/ 3 h 5"/>
                <a:gd name="T40" fmla="*/ 1 w 5"/>
                <a:gd name="T41" fmla="*/ 3 h 5"/>
                <a:gd name="T42" fmla="*/ 1 w 5"/>
                <a:gd name="T43" fmla="*/ 3 h 5"/>
                <a:gd name="T44" fmla="*/ 1 w 5"/>
                <a:gd name="T45" fmla="*/ 3 h 5"/>
                <a:gd name="T46" fmla="*/ 3 w 5"/>
                <a:gd name="T47" fmla="*/ 3 h 5"/>
                <a:gd name="T48" fmla="*/ 1 w 5"/>
                <a:gd name="T49" fmla="*/ 3 h 5"/>
                <a:gd name="T50" fmla="*/ 1 w 5"/>
                <a:gd name="T51" fmla="*/ 3 h 5"/>
                <a:gd name="T52" fmla="*/ 1 w 5"/>
                <a:gd name="T53" fmla="*/ 3 h 5"/>
                <a:gd name="T54" fmla="*/ 3 w 5"/>
                <a:gd name="T55" fmla="*/ 1 h 5"/>
                <a:gd name="T56" fmla="*/ 3 w 5"/>
                <a:gd name="T57" fmla="*/ 1 h 5"/>
                <a:gd name="T58" fmla="*/ 3 w 5"/>
                <a:gd name="T59" fmla="*/ 1 h 5"/>
                <a:gd name="T60" fmla="*/ 3 w 5"/>
                <a:gd name="T61" fmla="*/ 1 h 5"/>
                <a:gd name="T62" fmla="*/ 1 w 5"/>
                <a:gd name="T63" fmla="*/ 1 h 5"/>
                <a:gd name="T64" fmla="*/ 1 w 5"/>
                <a:gd name="T65" fmla="*/ 1 h 5"/>
                <a:gd name="T66" fmla="*/ 3 w 5"/>
                <a:gd name="T67" fmla="*/ 0 h 5"/>
                <a:gd name="T68" fmla="*/ 3 w 5"/>
                <a:gd name="T69" fmla="*/ 0 h 5"/>
                <a:gd name="T70" fmla="*/ 1 w 5"/>
                <a:gd name="T71" fmla="*/ 0 h 5"/>
                <a:gd name="T72" fmla="*/ 3 w 5"/>
                <a:gd name="T73" fmla="*/ 0 h 5"/>
                <a:gd name="T74" fmla="*/ 3 w 5"/>
                <a:gd name="T75" fmla="*/ 0 h 5"/>
                <a:gd name="T76" fmla="*/ 3 w 5"/>
                <a:gd name="T77" fmla="*/ 0 h 5"/>
                <a:gd name="T78" fmla="*/ 4 w 5"/>
                <a:gd name="T7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 h="5">
                  <a:moveTo>
                    <a:pt x="4" y="1"/>
                  </a:moveTo>
                  <a:lnTo>
                    <a:pt x="5" y="1"/>
                  </a:lnTo>
                  <a:lnTo>
                    <a:pt x="5" y="1"/>
                  </a:lnTo>
                  <a:lnTo>
                    <a:pt x="5" y="1"/>
                  </a:lnTo>
                  <a:lnTo>
                    <a:pt x="5" y="3"/>
                  </a:lnTo>
                  <a:lnTo>
                    <a:pt x="5" y="3"/>
                  </a:lnTo>
                  <a:lnTo>
                    <a:pt x="5" y="3"/>
                  </a:lnTo>
                  <a:lnTo>
                    <a:pt x="5" y="3"/>
                  </a:lnTo>
                  <a:lnTo>
                    <a:pt x="5" y="3"/>
                  </a:lnTo>
                  <a:lnTo>
                    <a:pt x="5" y="3"/>
                  </a:lnTo>
                  <a:lnTo>
                    <a:pt x="5" y="3"/>
                  </a:lnTo>
                  <a:lnTo>
                    <a:pt x="5" y="3"/>
                  </a:lnTo>
                  <a:lnTo>
                    <a:pt x="4" y="3"/>
                  </a:lnTo>
                  <a:lnTo>
                    <a:pt x="4" y="3"/>
                  </a:lnTo>
                  <a:lnTo>
                    <a:pt x="4" y="4"/>
                  </a:lnTo>
                  <a:lnTo>
                    <a:pt x="4" y="4"/>
                  </a:lnTo>
                  <a:lnTo>
                    <a:pt x="4" y="4"/>
                  </a:lnTo>
                  <a:lnTo>
                    <a:pt x="3" y="4"/>
                  </a:lnTo>
                  <a:lnTo>
                    <a:pt x="3" y="4"/>
                  </a:lnTo>
                  <a:lnTo>
                    <a:pt x="3" y="4"/>
                  </a:lnTo>
                  <a:lnTo>
                    <a:pt x="3" y="4"/>
                  </a:lnTo>
                  <a:lnTo>
                    <a:pt x="3" y="4"/>
                  </a:lnTo>
                  <a:lnTo>
                    <a:pt x="3" y="4"/>
                  </a:lnTo>
                  <a:lnTo>
                    <a:pt x="3" y="4"/>
                  </a:lnTo>
                  <a:lnTo>
                    <a:pt x="3" y="4"/>
                  </a:lnTo>
                  <a:lnTo>
                    <a:pt x="3" y="4"/>
                  </a:lnTo>
                  <a:lnTo>
                    <a:pt x="3" y="5"/>
                  </a:lnTo>
                  <a:lnTo>
                    <a:pt x="1" y="5"/>
                  </a:lnTo>
                  <a:lnTo>
                    <a:pt x="1" y="5"/>
                  </a:lnTo>
                  <a:lnTo>
                    <a:pt x="0" y="5"/>
                  </a:lnTo>
                  <a:lnTo>
                    <a:pt x="0" y="5"/>
                  </a:lnTo>
                  <a:lnTo>
                    <a:pt x="1" y="5"/>
                  </a:lnTo>
                  <a:lnTo>
                    <a:pt x="1" y="4"/>
                  </a:lnTo>
                  <a:lnTo>
                    <a:pt x="1" y="4"/>
                  </a:lnTo>
                  <a:lnTo>
                    <a:pt x="1" y="4"/>
                  </a:lnTo>
                  <a:lnTo>
                    <a:pt x="1" y="4"/>
                  </a:lnTo>
                  <a:lnTo>
                    <a:pt x="0" y="4"/>
                  </a:lnTo>
                  <a:lnTo>
                    <a:pt x="1" y="4"/>
                  </a:lnTo>
                  <a:lnTo>
                    <a:pt x="1" y="4"/>
                  </a:lnTo>
                  <a:lnTo>
                    <a:pt x="1" y="3"/>
                  </a:lnTo>
                  <a:lnTo>
                    <a:pt x="1" y="3"/>
                  </a:lnTo>
                  <a:lnTo>
                    <a:pt x="1" y="3"/>
                  </a:lnTo>
                  <a:lnTo>
                    <a:pt x="1" y="3"/>
                  </a:lnTo>
                  <a:lnTo>
                    <a:pt x="1" y="3"/>
                  </a:lnTo>
                  <a:lnTo>
                    <a:pt x="1" y="3"/>
                  </a:lnTo>
                  <a:lnTo>
                    <a:pt x="1" y="3"/>
                  </a:lnTo>
                  <a:lnTo>
                    <a:pt x="3" y="3"/>
                  </a:lnTo>
                  <a:lnTo>
                    <a:pt x="3" y="3"/>
                  </a:lnTo>
                  <a:lnTo>
                    <a:pt x="1" y="3"/>
                  </a:lnTo>
                  <a:lnTo>
                    <a:pt x="1" y="3"/>
                  </a:lnTo>
                  <a:lnTo>
                    <a:pt x="1" y="3"/>
                  </a:lnTo>
                  <a:lnTo>
                    <a:pt x="1" y="3"/>
                  </a:lnTo>
                  <a:lnTo>
                    <a:pt x="1" y="3"/>
                  </a:lnTo>
                  <a:lnTo>
                    <a:pt x="1" y="3"/>
                  </a:lnTo>
                  <a:lnTo>
                    <a:pt x="1" y="3"/>
                  </a:lnTo>
                  <a:lnTo>
                    <a:pt x="3" y="1"/>
                  </a:lnTo>
                  <a:lnTo>
                    <a:pt x="3" y="1"/>
                  </a:lnTo>
                  <a:lnTo>
                    <a:pt x="3" y="1"/>
                  </a:lnTo>
                  <a:lnTo>
                    <a:pt x="3" y="1"/>
                  </a:lnTo>
                  <a:lnTo>
                    <a:pt x="3" y="1"/>
                  </a:lnTo>
                  <a:lnTo>
                    <a:pt x="3" y="1"/>
                  </a:lnTo>
                  <a:lnTo>
                    <a:pt x="3" y="1"/>
                  </a:lnTo>
                  <a:lnTo>
                    <a:pt x="3" y="1"/>
                  </a:lnTo>
                  <a:lnTo>
                    <a:pt x="1" y="1"/>
                  </a:lnTo>
                  <a:lnTo>
                    <a:pt x="3" y="1"/>
                  </a:lnTo>
                  <a:lnTo>
                    <a:pt x="1" y="1"/>
                  </a:lnTo>
                  <a:lnTo>
                    <a:pt x="3" y="1"/>
                  </a:lnTo>
                  <a:lnTo>
                    <a:pt x="3" y="0"/>
                  </a:lnTo>
                  <a:lnTo>
                    <a:pt x="3" y="0"/>
                  </a:lnTo>
                  <a:lnTo>
                    <a:pt x="3" y="0"/>
                  </a:lnTo>
                  <a:lnTo>
                    <a:pt x="1" y="0"/>
                  </a:lnTo>
                  <a:lnTo>
                    <a:pt x="1" y="0"/>
                  </a:lnTo>
                  <a:lnTo>
                    <a:pt x="3" y="0"/>
                  </a:lnTo>
                  <a:lnTo>
                    <a:pt x="3" y="0"/>
                  </a:lnTo>
                  <a:lnTo>
                    <a:pt x="3" y="0"/>
                  </a:lnTo>
                  <a:lnTo>
                    <a:pt x="3" y="0"/>
                  </a:lnTo>
                  <a:lnTo>
                    <a:pt x="3" y="0"/>
                  </a:lnTo>
                  <a:lnTo>
                    <a:pt x="3" y="0"/>
                  </a:lnTo>
                  <a:lnTo>
                    <a:pt x="3" y="0"/>
                  </a:lnTo>
                  <a:lnTo>
                    <a:pt x="4" y="1"/>
                  </a:lnTo>
                  <a:lnTo>
                    <a:pt x="4"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90" name="Freeform 1456">
              <a:extLst>
                <a:ext uri="{FF2B5EF4-FFF2-40B4-BE49-F238E27FC236}">
                  <a16:creationId xmlns:a16="http://schemas.microsoft.com/office/drawing/2014/main" id="{79932A09-84DE-42AF-8C88-C220E679A035}"/>
                </a:ext>
              </a:extLst>
            </p:cNvPr>
            <p:cNvSpPr>
              <a:spLocks/>
            </p:cNvSpPr>
            <p:nvPr/>
          </p:nvSpPr>
          <p:spPr bwMode="auto">
            <a:xfrm>
              <a:off x="5972028" y="1987665"/>
              <a:ext cx="2671" cy="2671"/>
            </a:xfrm>
            <a:custGeom>
              <a:avLst/>
              <a:gdLst>
                <a:gd name="T0" fmla="*/ 2 w 2"/>
                <a:gd name="T1" fmla="*/ 0 h 2"/>
                <a:gd name="T2" fmla="*/ 2 w 2"/>
                <a:gd name="T3" fmla="*/ 0 h 2"/>
                <a:gd name="T4" fmla="*/ 2 w 2"/>
                <a:gd name="T5" fmla="*/ 0 h 2"/>
                <a:gd name="T6" fmla="*/ 2 w 2"/>
                <a:gd name="T7" fmla="*/ 0 h 2"/>
                <a:gd name="T8" fmla="*/ 2 w 2"/>
                <a:gd name="T9" fmla="*/ 0 h 2"/>
                <a:gd name="T10" fmla="*/ 2 w 2"/>
                <a:gd name="T11" fmla="*/ 1 h 2"/>
                <a:gd name="T12" fmla="*/ 2 w 2"/>
                <a:gd name="T13" fmla="*/ 1 h 2"/>
                <a:gd name="T14" fmla="*/ 2 w 2"/>
                <a:gd name="T15" fmla="*/ 1 h 2"/>
                <a:gd name="T16" fmla="*/ 2 w 2"/>
                <a:gd name="T17" fmla="*/ 1 h 2"/>
                <a:gd name="T18" fmla="*/ 2 w 2"/>
                <a:gd name="T19" fmla="*/ 1 h 2"/>
                <a:gd name="T20" fmla="*/ 2 w 2"/>
                <a:gd name="T21" fmla="*/ 1 h 2"/>
                <a:gd name="T22" fmla="*/ 2 w 2"/>
                <a:gd name="T23" fmla="*/ 1 h 2"/>
                <a:gd name="T24" fmla="*/ 2 w 2"/>
                <a:gd name="T25" fmla="*/ 2 h 2"/>
                <a:gd name="T26" fmla="*/ 2 w 2"/>
                <a:gd name="T27" fmla="*/ 2 h 2"/>
                <a:gd name="T28" fmla="*/ 2 w 2"/>
                <a:gd name="T29" fmla="*/ 2 h 2"/>
                <a:gd name="T30" fmla="*/ 1 w 2"/>
                <a:gd name="T31" fmla="*/ 2 h 2"/>
                <a:gd name="T32" fmla="*/ 1 w 2"/>
                <a:gd name="T33" fmla="*/ 1 h 2"/>
                <a:gd name="T34" fmla="*/ 1 w 2"/>
                <a:gd name="T35" fmla="*/ 1 h 2"/>
                <a:gd name="T36" fmla="*/ 1 w 2"/>
                <a:gd name="T37" fmla="*/ 1 h 2"/>
                <a:gd name="T38" fmla="*/ 1 w 2"/>
                <a:gd name="T39" fmla="*/ 1 h 2"/>
                <a:gd name="T40" fmla="*/ 1 w 2"/>
                <a:gd name="T41" fmla="*/ 2 h 2"/>
                <a:gd name="T42" fmla="*/ 1 w 2"/>
                <a:gd name="T43" fmla="*/ 1 h 2"/>
                <a:gd name="T44" fmla="*/ 1 w 2"/>
                <a:gd name="T45" fmla="*/ 1 h 2"/>
                <a:gd name="T46" fmla="*/ 1 w 2"/>
                <a:gd name="T47" fmla="*/ 1 h 2"/>
                <a:gd name="T48" fmla="*/ 0 w 2"/>
                <a:gd name="T49" fmla="*/ 1 h 2"/>
                <a:gd name="T50" fmla="*/ 0 w 2"/>
                <a:gd name="T51" fmla="*/ 1 h 2"/>
                <a:gd name="T52" fmla="*/ 0 w 2"/>
                <a:gd name="T53" fmla="*/ 1 h 2"/>
                <a:gd name="T54" fmla="*/ 0 w 2"/>
                <a:gd name="T55" fmla="*/ 1 h 2"/>
                <a:gd name="T56" fmla="*/ 1 w 2"/>
                <a:gd name="T57" fmla="*/ 0 h 2"/>
                <a:gd name="T58" fmla="*/ 1 w 2"/>
                <a:gd name="T59" fmla="*/ 0 h 2"/>
                <a:gd name="T60" fmla="*/ 1 w 2"/>
                <a:gd name="T61" fmla="*/ 0 h 2"/>
                <a:gd name="T62" fmla="*/ 2 w 2"/>
                <a:gd name="T63" fmla="*/ 0 h 2"/>
                <a:gd name="T64" fmla="*/ 2 w 2"/>
                <a:gd name="T6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 h="2">
                  <a:moveTo>
                    <a:pt x="2" y="0"/>
                  </a:moveTo>
                  <a:lnTo>
                    <a:pt x="2" y="0"/>
                  </a:lnTo>
                  <a:lnTo>
                    <a:pt x="2" y="0"/>
                  </a:lnTo>
                  <a:lnTo>
                    <a:pt x="2" y="0"/>
                  </a:lnTo>
                  <a:lnTo>
                    <a:pt x="2" y="0"/>
                  </a:lnTo>
                  <a:lnTo>
                    <a:pt x="2" y="1"/>
                  </a:lnTo>
                  <a:lnTo>
                    <a:pt x="2" y="1"/>
                  </a:lnTo>
                  <a:lnTo>
                    <a:pt x="2" y="1"/>
                  </a:lnTo>
                  <a:lnTo>
                    <a:pt x="2" y="1"/>
                  </a:lnTo>
                  <a:lnTo>
                    <a:pt x="2" y="1"/>
                  </a:lnTo>
                  <a:lnTo>
                    <a:pt x="2" y="1"/>
                  </a:lnTo>
                  <a:lnTo>
                    <a:pt x="2" y="1"/>
                  </a:lnTo>
                  <a:lnTo>
                    <a:pt x="2" y="2"/>
                  </a:lnTo>
                  <a:lnTo>
                    <a:pt x="2" y="2"/>
                  </a:lnTo>
                  <a:lnTo>
                    <a:pt x="2" y="2"/>
                  </a:lnTo>
                  <a:lnTo>
                    <a:pt x="1" y="2"/>
                  </a:lnTo>
                  <a:lnTo>
                    <a:pt x="1" y="1"/>
                  </a:lnTo>
                  <a:lnTo>
                    <a:pt x="1" y="1"/>
                  </a:lnTo>
                  <a:lnTo>
                    <a:pt x="1" y="1"/>
                  </a:lnTo>
                  <a:lnTo>
                    <a:pt x="1" y="1"/>
                  </a:lnTo>
                  <a:lnTo>
                    <a:pt x="1" y="2"/>
                  </a:lnTo>
                  <a:lnTo>
                    <a:pt x="1" y="1"/>
                  </a:lnTo>
                  <a:lnTo>
                    <a:pt x="1" y="1"/>
                  </a:lnTo>
                  <a:lnTo>
                    <a:pt x="1" y="1"/>
                  </a:lnTo>
                  <a:lnTo>
                    <a:pt x="0" y="1"/>
                  </a:lnTo>
                  <a:lnTo>
                    <a:pt x="0" y="1"/>
                  </a:lnTo>
                  <a:lnTo>
                    <a:pt x="0" y="1"/>
                  </a:lnTo>
                  <a:lnTo>
                    <a:pt x="0" y="1"/>
                  </a:lnTo>
                  <a:lnTo>
                    <a:pt x="1" y="0"/>
                  </a:lnTo>
                  <a:lnTo>
                    <a:pt x="1" y="0"/>
                  </a:lnTo>
                  <a:lnTo>
                    <a:pt x="1"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91" name="Freeform 1457">
              <a:extLst>
                <a:ext uri="{FF2B5EF4-FFF2-40B4-BE49-F238E27FC236}">
                  <a16:creationId xmlns:a16="http://schemas.microsoft.com/office/drawing/2014/main" id="{999E4B2A-561F-4454-AEA1-7507662346BA}"/>
                </a:ext>
              </a:extLst>
            </p:cNvPr>
            <p:cNvSpPr>
              <a:spLocks/>
            </p:cNvSpPr>
            <p:nvPr/>
          </p:nvSpPr>
          <p:spPr bwMode="auto">
            <a:xfrm>
              <a:off x="5980041" y="1980988"/>
              <a:ext cx="6678" cy="4007"/>
            </a:xfrm>
            <a:custGeom>
              <a:avLst/>
              <a:gdLst>
                <a:gd name="T0" fmla="*/ 4 w 5"/>
                <a:gd name="T1" fmla="*/ 1 h 3"/>
                <a:gd name="T2" fmla="*/ 3 w 5"/>
                <a:gd name="T3" fmla="*/ 1 h 3"/>
                <a:gd name="T4" fmla="*/ 3 w 5"/>
                <a:gd name="T5" fmla="*/ 1 h 3"/>
                <a:gd name="T6" fmla="*/ 1 w 5"/>
                <a:gd name="T7" fmla="*/ 3 h 3"/>
                <a:gd name="T8" fmla="*/ 1 w 5"/>
                <a:gd name="T9" fmla="*/ 3 h 3"/>
                <a:gd name="T10" fmla="*/ 1 w 5"/>
                <a:gd name="T11" fmla="*/ 3 h 3"/>
                <a:gd name="T12" fmla="*/ 1 w 5"/>
                <a:gd name="T13" fmla="*/ 3 h 3"/>
                <a:gd name="T14" fmla="*/ 1 w 5"/>
                <a:gd name="T15" fmla="*/ 3 h 3"/>
                <a:gd name="T16" fmla="*/ 1 w 5"/>
                <a:gd name="T17" fmla="*/ 3 h 3"/>
                <a:gd name="T18" fmla="*/ 1 w 5"/>
                <a:gd name="T19" fmla="*/ 3 h 3"/>
                <a:gd name="T20" fmla="*/ 0 w 5"/>
                <a:gd name="T21" fmla="*/ 3 h 3"/>
                <a:gd name="T22" fmla="*/ 0 w 5"/>
                <a:gd name="T23" fmla="*/ 3 h 3"/>
                <a:gd name="T24" fmla="*/ 1 w 5"/>
                <a:gd name="T25" fmla="*/ 3 h 3"/>
                <a:gd name="T26" fmla="*/ 1 w 5"/>
                <a:gd name="T27" fmla="*/ 1 h 3"/>
                <a:gd name="T28" fmla="*/ 1 w 5"/>
                <a:gd name="T29" fmla="*/ 1 h 3"/>
                <a:gd name="T30" fmla="*/ 1 w 5"/>
                <a:gd name="T31" fmla="*/ 1 h 3"/>
                <a:gd name="T32" fmla="*/ 1 w 5"/>
                <a:gd name="T33" fmla="*/ 1 h 3"/>
                <a:gd name="T34" fmla="*/ 2 w 5"/>
                <a:gd name="T35" fmla="*/ 0 h 3"/>
                <a:gd name="T36" fmla="*/ 3 w 5"/>
                <a:gd name="T37" fmla="*/ 0 h 3"/>
                <a:gd name="T38" fmla="*/ 3 w 5"/>
                <a:gd name="T39" fmla="*/ 1 h 3"/>
                <a:gd name="T40" fmla="*/ 2 w 5"/>
                <a:gd name="T41" fmla="*/ 1 h 3"/>
                <a:gd name="T42" fmla="*/ 2 w 5"/>
                <a:gd name="T43" fmla="*/ 1 h 3"/>
                <a:gd name="T44" fmla="*/ 2 w 5"/>
                <a:gd name="T45" fmla="*/ 1 h 3"/>
                <a:gd name="T46" fmla="*/ 3 w 5"/>
                <a:gd name="T47" fmla="*/ 1 h 3"/>
                <a:gd name="T48" fmla="*/ 3 w 5"/>
                <a:gd name="T49" fmla="*/ 1 h 3"/>
                <a:gd name="T50" fmla="*/ 3 w 5"/>
                <a:gd name="T51" fmla="*/ 1 h 3"/>
                <a:gd name="T52" fmla="*/ 3 w 5"/>
                <a:gd name="T53" fmla="*/ 1 h 3"/>
                <a:gd name="T54" fmla="*/ 4 w 5"/>
                <a:gd name="T55" fmla="*/ 1 h 3"/>
                <a:gd name="T56" fmla="*/ 4 w 5"/>
                <a:gd name="T57" fmla="*/ 0 h 3"/>
                <a:gd name="T58" fmla="*/ 5 w 5"/>
                <a:gd name="T59" fmla="*/ 0 h 3"/>
                <a:gd name="T60" fmla="*/ 5 w 5"/>
                <a:gd name="T61" fmla="*/ 1 h 3"/>
                <a:gd name="T62" fmla="*/ 5 w 5"/>
                <a:gd name="T63" fmla="*/ 1 h 3"/>
                <a:gd name="T64" fmla="*/ 5 w 5"/>
                <a:gd name="T65" fmla="*/ 1 h 3"/>
                <a:gd name="T66" fmla="*/ 4 w 5"/>
                <a:gd name="T6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 h="3">
                  <a:moveTo>
                    <a:pt x="4" y="1"/>
                  </a:moveTo>
                  <a:lnTo>
                    <a:pt x="3" y="1"/>
                  </a:lnTo>
                  <a:lnTo>
                    <a:pt x="3" y="1"/>
                  </a:lnTo>
                  <a:lnTo>
                    <a:pt x="1" y="3"/>
                  </a:lnTo>
                  <a:lnTo>
                    <a:pt x="1" y="3"/>
                  </a:lnTo>
                  <a:lnTo>
                    <a:pt x="1" y="3"/>
                  </a:lnTo>
                  <a:lnTo>
                    <a:pt x="1" y="3"/>
                  </a:lnTo>
                  <a:lnTo>
                    <a:pt x="1" y="3"/>
                  </a:lnTo>
                  <a:lnTo>
                    <a:pt x="1" y="3"/>
                  </a:lnTo>
                  <a:lnTo>
                    <a:pt x="1" y="3"/>
                  </a:lnTo>
                  <a:lnTo>
                    <a:pt x="0" y="3"/>
                  </a:lnTo>
                  <a:lnTo>
                    <a:pt x="0" y="3"/>
                  </a:lnTo>
                  <a:lnTo>
                    <a:pt x="1" y="3"/>
                  </a:lnTo>
                  <a:lnTo>
                    <a:pt x="1" y="1"/>
                  </a:lnTo>
                  <a:lnTo>
                    <a:pt x="1" y="1"/>
                  </a:lnTo>
                  <a:lnTo>
                    <a:pt x="1" y="1"/>
                  </a:lnTo>
                  <a:lnTo>
                    <a:pt x="1" y="1"/>
                  </a:lnTo>
                  <a:lnTo>
                    <a:pt x="2" y="0"/>
                  </a:lnTo>
                  <a:lnTo>
                    <a:pt x="3" y="0"/>
                  </a:lnTo>
                  <a:lnTo>
                    <a:pt x="3" y="1"/>
                  </a:lnTo>
                  <a:lnTo>
                    <a:pt x="2" y="1"/>
                  </a:lnTo>
                  <a:lnTo>
                    <a:pt x="2" y="1"/>
                  </a:lnTo>
                  <a:lnTo>
                    <a:pt x="2" y="1"/>
                  </a:lnTo>
                  <a:lnTo>
                    <a:pt x="3" y="1"/>
                  </a:lnTo>
                  <a:lnTo>
                    <a:pt x="3" y="1"/>
                  </a:lnTo>
                  <a:lnTo>
                    <a:pt x="3" y="1"/>
                  </a:lnTo>
                  <a:lnTo>
                    <a:pt x="3" y="1"/>
                  </a:lnTo>
                  <a:lnTo>
                    <a:pt x="4" y="1"/>
                  </a:lnTo>
                  <a:lnTo>
                    <a:pt x="4" y="0"/>
                  </a:lnTo>
                  <a:lnTo>
                    <a:pt x="5" y="0"/>
                  </a:lnTo>
                  <a:lnTo>
                    <a:pt x="5" y="1"/>
                  </a:lnTo>
                  <a:lnTo>
                    <a:pt x="5" y="1"/>
                  </a:lnTo>
                  <a:lnTo>
                    <a:pt x="5" y="1"/>
                  </a:lnTo>
                  <a:lnTo>
                    <a:pt x="4"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92" name="Freeform 1458">
              <a:extLst>
                <a:ext uri="{FF2B5EF4-FFF2-40B4-BE49-F238E27FC236}">
                  <a16:creationId xmlns:a16="http://schemas.microsoft.com/office/drawing/2014/main" id="{2DFCA0E2-303F-4265-B2B9-40825774C787}"/>
                </a:ext>
              </a:extLst>
            </p:cNvPr>
            <p:cNvSpPr>
              <a:spLocks/>
            </p:cNvSpPr>
            <p:nvPr/>
          </p:nvSpPr>
          <p:spPr bwMode="auto">
            <a:xfrm>
              <a:off x="5980041" y="1978317"/>
              <a:ext cx="4007" cy="4007"/>
            </a:xfrm>
            <a:custGeom>
              <a:avLst/>
              <a:gdLst>
                <a:gd name="T0" fmla="*/ 2 w 3"/>
                <a:gd name="T1" fmla="*/ 1 h 3"/>
                <a:gd name="T2" fmla="*/ 2 w 3"/>
                <a:gd name="T3" fmla="*/ 1 h 3"/>
                <a:gd name="T4" fmla="*/ 2 w 3"/>
                <a:gd name="T5" fmla="*/ 1 h 3"/>
                <a:gd name="T6" fmla="*/ 2 w 3"/>
                <a:gd name="T7" fmla="*/ 1 h 3"/>
                <a:gd name="T8" fmla="*/ 2 w 3"/>
                <a:gd name="T9" fmla="*/ 1 h 3"/>
                <a:gd name="T10" fmla="*/ 2 w 3"/>
                <a:gd name="T11" fmla="*/ 1 h 3"/>
                <a:gd name="T12" fmla="*/ 2 w 3"/>
                <a:gd name="T13" fmla="*/ 1 h 3"/>
                <a:gd name="T14" fmla="*/ 2 w 3"/>
                <a:gd name="T15" fmla="*/ 1 h 3"/>
                <a:gd name="T16" fmla="*/ 2 w 3"/>
                <a:gd name="T17" fmla="*/ 1 h 3"/>
                <a:gd name="T18" fmla="*/ 2 w 3"/>
                <a:gd name="T19" fmla="*/ 1 h 3"/>
                <a:gd name="T20" fmla="*/ 2 w 3"/>
                <a:gd name="T21" fmla="*/ 1 h 3"/>
                <a:gd name="T22" fmla="*/ 3 w 3"/>
                <a:gd name="T23" fmla="*/ 1 h 3"/>
                <a:gd name="T24" fmla="*/ 3 w 3"/>
                <a:gd name="T25" fmla="*/ 2 h 3"/>
                <a:gd name="T26" fmla="*/ 3 w 3"/>
                <a:gd name="T27" fmla="*/ 2 h 3"/>
                <a:gd name="T28" fmla="*/ 3 w 3"/>
                <a:gd name="T29" fmla="*/ 2 h 3"/>
                <a:gd name="T30" fmla="*/ 2 w 3"/>
                <a:gd name="T31" fmla="*/ 2 h 3"/>
                <a:gd name="T32" fmla="*/ 2 w 3"/>
                <a:gd name="T33" fmla="*/ 2 h 3"/>
                <a:gd name="T34" fmla="*/ 2 w 3"/>
                <a:gd name="T35" fmla="*/ 2 h 3"/>
                <a:gd name="T36" fmla="*/ 2 w 3"/>
                <a:gd name="T37" fmla="*/ 2 h 3"/>
                <a:gd name="T38" fmla="*/ 0 w 3"/>
                <a:gd name="T39" fmla="*/ 3 h 3"/>
                <a:gd name="T40" fmla="*/ 0 w 3"/>
                <a:gd name="T41" fmla="*/ 2 h 3"/>
                <a:gd name="T42" fmla="*/ 0 w 3"/>
                <a:gd name="T43" fmla="*/ 2 h 3"/>
                <a:gd name="T44" fmla="*/ 0 w 3"/>
                <a:gd name="T45" fmla="*/ 2 h 3"/>
                <a:gd name="T46" fmla="*/ 0 w 3"/>
                <a:gd name="T47" fmla="*/ 2 h 3"/>
                <a:gd name="T48" fmla="*/ 0 w 3"/>
                <a:gd name="T49" fmla="*/ 2 h 3"/>
                <a:gd name="T50" fmla="*/ 1 w 3"/>
                <a:gd name="T51" fmla="*/ 2 h 3"/>
                <a:gd name="T52" fmla="*/ 1 w 3"/>
                <a:gd name="T53" fmla="*/ 2 h 3"/>
                <a:gd name="T54" fmla="*/ 1 w 3"/>
                <a:gd name="T55" fmla="*/ 2 h 3"/>
                <a:gd name="T56" fmla="*/ 0 w 3"/>
                <a:gd name="T57" fmla="*/ 2 h 3"/>
                <a:gd name="T58" fmla="*/ 0 w 3"/>
                <a:gd name="T59" fmla="*/ 2 h 3"/>
                <a:gd name="T60" fmla="*/ 0 w 3"/>
                <a:gd name="T61" fmla="*/ 2 h 3"/>
                <a:gd name="T62" fmla="*/ 0 w 3"/>
                <a:gd name="T63" fmla="*/ 2 h 3"/>
                <a:gd name="T64" fmla="*/ 0 w 3"/>
                <a:gd name="T65" fmla="*/ 2 h 3"/>
                <a:gd name="T66" fmla="*/ 0 w 3"/>
                <a:gd name="T67" fmla="*/ 2 h 3"/>
                <a:gd name="T68" fmla="*/ 0 w 3"/>
                <a:gd name="T69" fmla="*/ 2 h 3"/>
                <a:gd name="T70" fmla="*/ 1 w 3"/>
                <a:gd name="T71" fmla="*/ 1 h 3"/>
                <a:gd name="T72" fmla="*/ 1 w 3"/>
                <a:gd name="T73" fmla="*/ 1 h 3"/>
                <a:gd name="T74" fmla="*/ 1 w 3"/>
                <a:gd name="T75" fmla="*/ 1 h 3"/>
                <a:gd name="T76" fmla="*/ 1 w 3"/>
                <a:gd name="T77" fmla="*/ 1 h 3"/>
                <a:gd name="T78" fmla="*/ 1 w 3"/>
                <a:gd name="T79" fmla="*/ 1 h 3"/>
                <a:gd name="T80" fmla="*/ 1 w 3"/>
                <a:gd name="T81" fmla="*/ 1 h 3"/>
                <a:gd name="T82" fmla="*/ 2 w 3"/>
                <a:gd name="T83" fmla="*/ 1 h 3"/>
                <a:gd name="T84" fmla="*/ 2 w 3"/>
                <a:gd name="T85" fmla="*/ 1 h 3"/>
                <a:gd name="T86" fmla="*/ 1 w 3"/>
                <a:gd name="T87" fmla="*/ 1 h 3"/>
                <a:gd name="T88" fmla="*/ 1 w 3"/>
                <a:gd name="T89" fmla="*/ 1 h 3"/>
                <a:gd name="T90" fmla="*/ 1 w 3"/>
                <a:gd name="T91" fmla="*/ 1 h 3"/>
                <a:gd name="T92" fmla="*/ 1 w 3"/>
                <a:gd name="T93" fmla="*/ 1 h 3"/>
                <a:gd name="T94" fmla="*/ 1 w 3"/>
                <a:gd name="T95" fmla="*/ 0 h 3"/>
                <a:gd name="T96" fmla="*/ 1 w 3"/>
                <a:gd name="T97" fmla="*/ 0 h 3"/>
                <a:gd name="T98" fmla="*/ 2 w 3"/>
                <a:gd name="T99" fmla="*/ 0 h 3"/>
                <a:gd name="T100" fmla="*/ 2 w 3"/>
                <a:gd name="T101" fmla="*/ 0 h 3"/>
                <a:gd name="T102" fmla="*/ 2 w 3"/>
                <a:gd name="T103" fmla="*/ 0 h 3"/>
                <a:gd name="T104" fmla="*/ 2 w 3"/>
                <a:gd name="T105" fmla="*/ 0 h 3"/>
                <a:gd name="T106" fmla="*/ 2 w 3"/>
                <a:gd name="T107" fmla="*/ 0 h 3"/>
                <a:gd name="T108" fmla="*/ 2 w 3"/>
                <a:gd name="T109" fmla="*/ 0 h 3"/>
                <a:gd name="T110" fmla="*/ 2 w 3"/>
                <a:gd name="T11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 h="3">
                  <a:moveTo>
                    <a:pt x="2" y="1"/>
                  </a:moveTo>
                  <a:lnTo>
                    <a:pt x="2" y="1"/>
                  </a:lnTo>
                  <a:lnTo>
                    <a:pt x="2" y="1"/>
                  </a:lnTo>
                  <a:lnTo>
                    <a:pt x="2" y="1"/>
                  </a:lnTo>
                  <a:lnTo>
                    <a:pt x="2" y="1"/>
                  </a:lnTo>
                  <a:lnTo>
                    <a:pt x="2" y="1"/>
                  </a:lnTo>
                  <a:lnTo>
                    <a:pt x="2" y="1"/>
                  </a:lnTo>
                  <a:lnTo>
                    <a:pt x="2" y="1"/>
                  </a:lnTo>
                  <a:lnTo>
                    <a:pt x="2" y="1"/>
                  </a:lnTo>
                  <a:lnTo>
                    <a:pt x="2" y="1"/>
                  </a:lnTo>
                  <a:lnTo>
                    <a:pt x="2" y="1"/>
                  </a:lnTo>
                  <a:lnTo>
                    <a:pt x="3" y="1"/>
                  </a:lnTo>
                  <a:lnTo>
                    <a:pt x="3" y="2"/>
                  </a:lnTo>
                  <a:lnTo>
                    <a:pt x="3" y="2"/>
                  </a:lnTo>
                  <a:lnTo>
                    <a:pt x="3" y="2"/>
                  </a:lnTo>
                  <a:lnTo>
                    <a:pt x="2" y="2"/>
                  </a:lnTo>
                  <a:lnTo>
                    <a:pt x="2" y="2"/>
                  </a:lnTo>
                  <a:lnTo>
                    <a:pt x="2" y="2"/>
                  </a:lnTo>
                  <a:lnTo>
                    <a:pt x="2" y="2"/>
                  </a:lnTo>
                  <a:lnTo>
                    <a:pt x="0" y="3"/>
                  </a:lnTo>
                  <a:lnTo>
                    <a:pt x="0" y="2"/>
                  </a:lnTo>
                  <a:lnTo>
                    <a:pt x="0" y="2"/>
                  </a:lnTo>
                  <a:lnTo>
                    <a:pt x="0" y="2"/>
                  </a:lnTo>
                  <a:lnTo>
                    <a:pt x="0" y="2"/>
                  </a:lnTo>
                  <a:lnTo>
                    <a:pt x="0" y="2"/>
                  </a:lnTo>
                  <a:lnTo>
                    <a:pt x="1" y="2"/>
                  </a:lnTo>
                  <a:lnTo>
                    <a:pt x="1" y="2"/>
                  </a:lnTo>
                  <a:lnTo>
                    <a:pt x="1" y="2"/>
                  </a:lnTo>
                  <a:lnTo>
                    <a:pt x="0" y="2"/>
                  </a:lnTo>
                  <a:lnTo>
                    <a:pt x="0" y="2"/>
                  </a:lnTo>
                  <a:lnTo>
                    <a:pt x="0" y="2"/>
                  </a:lnTo>
                  <a:lnTo>
                    <a:pt x="0" y="2"/>
                  </a:lnTo>
                  <a:lnTo>
                    <a:pt x="0" y="2"/>
                  </a:lnTo>
                  <a:lnTo>
                    <a:pt x="0" y="2"/>
                  </a:lnTo>
                  <a:lnTo>
                    <a:pt x="0" y="2"/>
                  </a:lnTo>
                  <a:lnTo>
                    <a:pt x="1" y="1"/>
                  </a:lnTo>
                  <a:lnTo>
                    <a:pt x="1" y="1"/>
                  </a:lnTo>
                  <a:lnTo>
                    <a:pt x="1" y="1"/>
                  </a:lnTo>
                  <a:lnTo>
                    <a:pt x="1" y="1"/>
                  </a:lnTo>
                  <a:lnTo>
                    <a:pt x="1" y="1"/>
                  </a:lnTo>
                  <a:lnTo>
                    <a:pt x="1" y="1"/>
                  </a:lnTo>
                  <a:lnTo>
                    <a:pt x="2" y="1"/>
                  </a:lnTo>
                  <a:lnTo>
                    <a:pt x="2" y="1"/>
                  </a:lnTo>
                  <a:lnTo>
                    <a:pt x="1" y="1"/>
                  </a:lnTo>
                  <a:lnTo>
                    <a:pt x="1" y="1"/>
                  </a:lnTo>
                  <a:lnTo>
                    <a:pt x="1" y="1"/>
                  </a:lnTo>
                  <a:lnTo>
                    <a:pt x="1" y="1"/>
                  </a:lnTo>
                  <a:lnTo>
                    <a:pt x="1" y="0"/>
                  </a:lnTo>
                  <a:lnTo>
                    <a:pt x="1" y="0"/>
                  </a:lnTo>
                  <a:lnTo>
                    <a:pt x="2" y="0"/>
                  </a:lnTo>
                  <a:lnTo>
                    <a:pt x="2" y="0"/>
                  </a:lnTo>
                  <a:lnTo>
                    <a:pt x="2" y="0"/>
                  </a:lnTo>
                  <a:lnTo>
                    <a:pt x="2" y="0"/>
                  </a:lnTo>
                  <a:lnTo>
                    <a:pt x="2" y="0"/>
                  </a:lnTo>
                  <a:lnTo>
                    <a:pt x="2" y="0"/>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93" name="Freeform 1459">
              <a:extLst>
                <a:ext uri="{FF2B5EF4-FFF2-40B4-BE49-F238E27FC236}">
                  <a16:creationId xmlns:a16="http://schemas.microsoft.com/office/drawing/2014/main" id="{E3252CC8-63F7-453B-B277-D771D120ADE1}"/>
                </a:ext>
              </a:extLst>
            </p:cNvPr>
            <p:cNvSpPr>
              <a:spLocks/>
            </p:cNvSpPr>
            <p:nvPr/>
          </p:nvSpPr>
          <p:spPr bwMode="auto">
            <a:xfrm>
              <a:off x="5984047" y="1976982"/>
              <a:ext cx="2671" cy="1336"/>
            </a:xfrm>
            <a:custGeom>
              <a:avLst/>
              <a:gdLst>
                <a:gd name="T0" fmla="*/ 1 w 2"/>
                <a:gd name="T1" fmla="*/ 0 h 1"/>
                <a:gd name="T2" fmla="*/ 1 w 2"/>
                <a:gd name="T3" fmla="*/ 0 h 1"/>
                <a:gd name="T4" fmla="*/ 1 w 2"/>
                <a:gd name="T5" fmla="*/ 0 h 1"/>
                <a:gd name="T6" fmla="*/ 1 w 2"/>
                <a:gd name="T7" fmla="*/ 0 h 1"/>
                <a:gd name="T8" fmla="*/ 1 w 2"/>
                <a:gd name="T9" fmla="*/ 0 h 1"/>
                <a:gd name="T10" fmla="*/ 1 w 2"/>
                <a:gd name="T11" fmla="*/ 0 h 1"/>
                <a:gd name="T12" fmla="*/ 1 w 2"/>
                <a:gd name="T13" fmla="*/ 0 h 1"/>
                <a:gd name="T14" fmla="*/ 1 w 2"/>
                <a:gd name="T15" fmla="*/ 0 h 1"/>
                <a:gd name="T16" fmla="*/ 1 w 2"/>
                <a:gd name="T17" fmla="*/ 0 h 1"/>
                <a:gd name="T18" fmla="*/ 1 w 2"/>
                <a:gd name="T19" fmla="*/ 0 h 1"/>
                <a:gd name="T20" fmla="*/ 1 w 2"/>
                <a:gd name="T21" fmla="*/ 0 h 1"/>
                <a:gd name="T22" fmla="*/ 2 w 2"/>
                <a:gd name="T23" fmla="*/ 1 h 1"/>
                <a:gd name="T24" fmla="*/ 2 w 2"/>
                <a:gd name="T25" fmla="*/ 1 h 1"/>
                <a:gd name="T26" fmla="*/ 1 w 2"/>
                <a:gd name="T27" fmla="*/ 1 h 1"/>
                <a:gd name="T28" fmla="*/ 1 w 2"/>
                <a:gd name="T29" fmla="*/ 1 h 1"/>
                <a:gd name="T30" fmla="*/ 1 w 2"/>
                <a:gd name="T31" fmla="*/ 1 h 1"/>
                <a:gd name="T32" fmla="*/ 1 w 2"/>
                <a:gd name="T33" fmla="*/ 1 h 1"/>
                <a:gd name="T34" fmla="*/ 1 w 2"/>
                <a:gd name="T35" fmla="*/ 1 h 1"/>
                <a:gd name="T36" fmla="*/ 1 w 2"/>
                <a:gd name="T37" fmla="*/ 1 h 1"/>
                <a:gd name="T38" fmla="*/ 0 w 2"/>
                <a:gd name="T39" fmla="*/ 1 h 1"/>
                <a:gd name="T40" fmla="*/ 0 w 2"/>
                <a:gd name="T41" fmla="*/ 1 h 1"/>
                <a:gd name="T42" fmla="*/ 0 w 2"/>
                <a:gd name="T43" fmla="*/ 1 h 1"/>
                <a:gd name="T44" fmla="*/ 0 w 2"/>
                <a:gd name="T45" fmla="*/ 1 h 1"/>
                <a:gd name="T46" fmla="*/ 0 w 2"/>
                <a:gd name="T47" fmla="*/ 1 h 1"/>
                <a:gd name="T48" fmla="*/ 0 w 2"/>
                <a:gd name="T49" fmla="*/ 1 h 1"/>
                <a:gd name="T50" fmla="*/ 0 w 2"/>
                <a:gd name="T51" fmla="*/ 1 h 1"/>
                <a:gd name="T52" fmla="*/ 0 w 2"/>
                <a:gd name="T53" fmla="*/ 1 h 1"/>
                <a:gd name="T54" fmla="*/ 0 w 2"/>
                <a:gd name="T55" fmla="*/ 1 h 1"/>
                <a:gd name="T56" fmla="*/ 0 w 2"/>
                <a:gd name="T57" fmla="*/ 0 h 1"/>
                <a:gd name="T58" fmla="*/ 1 w 2"/>
                <a:gd name="T59" fmla="*/ 0 h 1"/>
                <a:gd name="T60" fmla="*/ 1 w 2"/>
                <a:gd name="T61" fmla="*/ 0 h 1"/>
                <a:gd name="T62" fmla="*/ 1 w 2"/>
                <a:gd name="T63" fmla="*/ 0 h 1"/>
                <a:gd name="T64" fmla="*/ 1 w 2"/>
                <a:gd name="T65" fmla="*/ 0 h 1"/>
                <a:gd name="T66" fmla="*/ 1 w 2"/>
                <a:gd name="T67" fmla="*/ 0 h 1"/>
                <a:gd name="T68" fmla="*/ 1 w 2"/>
                <a:gd name="T6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 h="1">
                  <a:moveTo>
                    <a:pt x="1" y="0"/>
                  </a:moveTo>
                  <a:lnTo>
                    <a:pt x="1" y="0"/>
                  </a:lnTo>
                  <a:lnTo>
                    <a:pt x="1" y="0"/>
                  </a:lnTo>
                  <a:lnTo>
                    <a:pt x="1" y="0"/>
                  </a:lnTo>
                  <a:lnTo>
                    <a:pt x="1" y="0"/>
                  </a:lnTo>
                  <a:lnTo>
                    <a:pt x="1" y="0"/>
                  </a:lnTo>
                  <a:lnTo>
                    <a:pt x="1" y="0"/>
                  </a:lnTo>
                  <a:lnTo>
                    <a:pt x="1" y="0"/>
                  </a:lnTo>
                  <a:lnTo>
                    <a:pt x="1" y="0"/>
                  </a:lnTo>
                  <a:lnTo>
                    <a:pt x="1" y="0"/>
                  </a:lnTo>
                  <a:lnTo>
                    <a:pt x="1" y="0"/>
                  </a:lnTo>
                  <a:lnTo>
                    <a:pt x="2" y="1"/>
                  </a:lnTo>
                  <a:lnTo>
                    <a:pt x="2" y="1"/>
                  </a:ln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0" y="1"/>
                  </a:lnTo>
                  <a:lnTo>
                    <a:pt x="0"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94" name="Freeform 1460">
              <a:extLst>
                <a:ext uri="{FF2B5EF4-FFF2-40B4-BE49-F238E27FC236}">
                  <a16:creationId xmlns:a16="http://schemas.microsoft.com/office/drawing/2014/main" id="{EA613589-CFC2-4A44-A0BD-A9084D5DFD7D}"/>
                </a:ext>
              </a:extLst>
            </p:cNvPr>
            <p:cNvSpPr>
              <a:spLocks/>
            </p:cNvSpPr>
            <p:nvPr/>
          </p:nvSpPr>
          <p:spPr bwMode="auto">
            <a:xfrm>
              <a:off x="5985383" y="1972975"/>
              <a:ext cx="1336" cy="4007"/>
            </a:xfrm>
            <a:custGeom>
              <a:avLst/>
              <a:gdLst>
                <a:gd name="T0" fmla="*/ 1 w 1"/>
                <a:gd name="T1" fmla="*/ 2 h 3"/>
                <a:gd name="T2" fmla="*/ 1 w 1"/>
                <a:gd name="T3" fmla="*/ 2 h 3"/>
                <a:gd name="T4" fmla="*/ 1 w 1"/>
                <a:gd name="T5" fmla="*/ 2 h 3"/>
                <a:gd name="T6" fmla="*/ 1 w 1"/>
                <a:gd name="T7" fmla="*/ 2 h 3"/>
                <a:gd name="T8" fmla="*/ 1 w 1"/>
                <a:gd name="T9" fmla="*/ 2 h 3"/>
                <a:gd name="T10" fmla="*/ 1 w 1"/>
                <a:gd name="T11" fmla="*/ 2 h 3"/>
                <a:gd name="T12" fmla="*/ 1 w 1"/>
                <a:gd name="T13" fmla="*/ 2 h 3"/>
                <a:gd name="T14" fmla="*/ 0 w 1"/>
                <a:gd name="T15" fmla="*/ 2 h 3"/>
                <a:gd name="T16" fmla="*/ 0 w 1"/>
                <a:gd name="T17" fmla="*/ 2 h 3"/>
                <a:gd name="T18" fmla="*/ 0 w 1"/>
                <a:gd name="T19" fmla="*/ 2 h 3"/>
                <a:gd name="T20" fmla="*/ 0 w 1"/>
                <a:gd name="T21" fmla="*/ 2 h 3"/>
                <a:gd name="T22" fmla="*/ 0 w 1"/>
                <a:gd name="T23" fmla="*/ 2 h 3"/>
                <a:gd name="T24" fmla="*/ 1 w 1"/>
                <a:gd name="T25" fmla="*/ 3 h 3"/>
                <a:gd name="T26" fmla="*/ 1 w 1"/>
                <a:gd name="T27" fmla="*/ 3 h 3"/>
                <a:gd name="T28" fmla="*/ 0 w 1"/>
                <a:gd name="T29" fmla="*/ 3 h 3"/>
                <a:gd name="T30" fmla="*/ 0 w 1"/>
                <a:gd name="T31" fmla="*/ 2 h 3"/>
                <a:gd name="T32" fmla="*/ 0 w 1"/>
                <a:gd name="T33" fmla="*/ 2 h 3"/>
                <a:gd name="T34" fmla="*/ 0 w 1"/>
                <a:gd name="T35" fmla="*/ 2 h 3"/>
                <a:gd name="T36" fmla="*/ 0 w 1"/>
                <a:gd name="T37" fmla="*/ 2 h 3"/>
                <a:gd name="T38" fmla="*/ 0 w 1"/>
                <a:gd name="T39" fmla="*/ 2 h 3"/>
                <a:gd name="T40" fmla="*/ 0 w 1"/>
                <a:gd name="T41" fmla="*/ 2 h 3"/>
                <a:gd name="T42" fmla="*/ 0 w 1"/>
                <a:gd name="T43" fmla="*/ 2 h 3"/>
                <a:gd name="T44" fmla="*/ 0 w 1"/>
                <a:gd name="T45" fmla="*/ 2 h 3"/>
                <a:gd name="T46" fmla="*/ 0 w 1"/>
                <a:gd name="T47" fmla="*/ 2 h 3"/>
                <a:gd name="T48" fmla="*/ 0 w 1"/>
                <a:gd name="T49" fmla="*/ 2 h 3"/>
                <a:gd name="T50" fmla="*/ 0 w 1"/>
                <a:gd name="T51" fmla="*/ 2 h 3"/>
                <a:gd name="T52" fmla="*/ 0 w 1"/>
                <a:gd name="T53" fmla="*/ 2 h 3"/>
                <a:gd name="T54" fmla="*/ 0 w 1"/>
                <a:gd name="T55" fmla="*/ 2 h 3"/>
                <a:gd name="T56" fmla="*/ 0 w 1"/>
                <a:gd name="T57" fmla="*/ 2 h 3"/>
                <a:gd name="T58" fmla="*/ 0 w 1"/>
                <a:gd name="T59" fmla="*/ 2 h 3"/>
                <a:gd name="T60" fmla="*/ 0 w 1"/>
                <a:gd name="T61" fmla="*/ 0 h 3"/>
                <a:gd name="T62" fmla="*/ 0 w 1"/>
                <a:gd name="T63" fmla="*/ 0 h 3"/>
                <a:gd name="T64" fmla="*/ 0 w 1"/>
                <a:gd name="T65" fmla="*/ 0 h 3"/>
                <a:gd name="T66" fmla="*/ 0 w 1"/>
                <a:gd name="T67" fmla="*/ 0 h 3"/>
                <a:gd name="T68" fmla="*/ 0 w 1"/>
                <a:gd name="T69" fmla="*/ 0 h 3"/>
                <a:gd name="T70" fmla="*/ 1 w 1"/>
                <a:gd name="T71" fmla="*/ 2 h 3"/>
                <a:gd name="T72" fmla="*/ 1 w 1"/>
                <a:gd name="T73" fmla="*/ 2 h 3"/>
                <a:gd name="T74" fmla="*/ 1 w 1"/>
                <a:gd name="T75" fmla="*/ 2 h 3"/>
                <a:gd name="T76" fmla="*/ 1 w 1"/>
                <a:gd name="T77" fmla="*/ 2 h 3"/>
                <a:gd name="T78" fmla="*/ 1 w 1"/>
                <a:gd name="T79" fmla="*/ 2 h 3"/>
                <a:gd name="T80" fmla="*/ 1 w 1"/>
                <a:gd name="T81" fmla="*/ 0 h 3"/>
                <a:gd name="T82" fmla="*/ 1 w 1"/>
                <a:gd name="T83" fmla="*/ 0 h 3"/>
                <a:gd name="T84" fmla="*/ 1 w 1"/>
                <a:gd name="T85" fmla="*/ 0 h 3"/>
                <a:gd name="T86" fmla="*/ 1 w 1"/>
                <a:gd name="T87" fmla="*/ 0 h 3"/>
                <a:gd name="T88" fmla="*/ 1 w 1"/>
                <a:gd name="T89" fmla="*/ 0 h 3"/>
                <a:gd name="T90" fmla="*/ 1 w 1"/>
                <a:gd name="T9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 h="3">
                  <a:moveTo>
                    <a:pt x="1" y="2"/>
                  </a:moveTo>
                  <a:lnTo>
                    <a:pt x="1" y="2"/>
                  </a:lnTo>
                  <a:lnTo>
                    <a:pt x="1" y="2"/>
                  </a:lnTo>
                  <a:lnTo>
                    <a:pt x="1" y="2"/>
                  </a:lnTo>
                  <a:lnTo>
                    <a:pt x="1" y="2"/>
                  </a:lnTo>
                  <a:lnTo>
                    <a:pt x="1" y="2"/>
                  </a:lnTo>
                  <a:lnTo>
                    <a:pt x="1" y="2"/>
                  </a:lnTo>
                  <a:lnTo>
                    <a:pt x="0" y="2"/>
                  </a:lnTo>
                  <a:lnTo>
                    <a:pt x="0" y="2"/>
                  </a:lnTo>
                  <a:lnTo>
                    <a:pt x="0" y="2"/>
                  </a:lnTo>
                  <a:lnTo>
                    <a:pt x="0" y="2"/>
                  </a:lnTo>
                  <a:lnTo>
                    <a:pt x="0" y="2"/>
                  </a:lnTo>
                  <a:lnTo>
                    <a:pt x="1" y="3"/>
                  </a:lnTo>
                  <a:lnTo>
                    <a:pt x="1" y="3"/>
                  </a:lnTo>
                  <a:lnTo>
                    <a:pt x="0" y="3"/>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1" y="2"/>
                  </a:lnTo>
                  <a:lnTo>
                    <a:pt x="1" y="2"/>
                  </a:lnTo>
                  <a:lnTo>
                    <a:pt x="1" y="2"/>
                  </a:lnTo>
                  <a:lnTo>
                    <a:pt x="1" y="2"/>
                  </a:lnTo>
                  <a:lnTo>
                    <a:pt x="1" y="2"/>
                  </a:lnTo>
                  <a:lnTo>
                    <a:pt x="1" y="0"/>
                  </a:lnTo>
                  <a:lnTo>
                    <a:pt x="1" y="0"/>
                  </a:lnTo>
                  <a:lnTo>
                    <a:pt x="1" y="0"/>
                  </a:lnTo>
                  <a:lnTo>
                    <a:pt x="1" y="0"/>
                  </a:lnTo>
                  <a:lnTo>
                    <a:pt x="1" y="0"/>
                  </a:lnTo>
                  <a:lnTo>
                    <a:pt x="1"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95" name="Freeform 1461">
              <a:extLst>
                <a:ext uri="{FF2B5EF4-FFF2-40B4-BE49-F238E27FC236}">
                  <a16:creationId xmlns:a16="http://schemas.microsoft.com/office/drawing/2014/main" id="{AF0C26C6-B0E2-4326-9DD4-65749CF12495}"/>
                </a:ext>
              </a:extLst>
            </p:cNvPr>
            <p:cNvSpPr>
              <a:spLocks/>
            </p:cNvSpPr>
            <p:nvPr/>
          </p:nvSpPr>
          <p:spPr bwMode="auto">
            <a:xfrm>
              <a:off x="6000073" y="1960956"/>
              <a:ext cx="4007" cy="2671"/>
            </a:xfrm>
            <a:custGeom>
              <a:avLst/>
              <a:gdLst>
                <a:gd name="T0" fmla="*/ 3 w 3"/>
                <a:gd name="T1" fmla="*/ 1 h 2"/>
                <a:gd name="T2" fmla="*/ 2 w 3"/>
                <a:gd name="T3" fmla="*/ 1 h 2"/>
                <a:gd name="T4" fmla="*/ 2 w 3"/>
                <a:gd name="T5" fmla="*/ 1 h 2"/>
                <a:gd name="T6" fmla="*/ 2 w 3"/>
                <a:gd name="T7" fmla="*/ 1 h 2"/>
                <a:gd name="T8" fmla="*/ 2 w 3"/>
                <a:gd name="T9" fmla="*/ 2 h 2"/>
                <a:gd name="T10" fmla="*/ 2 w 3"/>
                <a:gd name="T11" fmla="*/ 2 h 2"/>
                <a:gd name="T12" fmla="*/ 2 w 3"/>
                <a:gd name="T13" fmla="*/ 2 h 2"/>
                <a:gd name="T14" fmla="*/ 2 w 3"/>
                <a:gd name="T15" fmla="*/ 2 h 2"/>
                <a:gd name="T16" fmla="*/ 2 w 3"/>
                <a:gd name="T17" fmla="*/ 2 h 2"/>
                <a:gd name="T18" fmla="*/ 2 w 3"/>
                <a:gd name="T19" fmla="*/ 2 h 2"/>
                <a:gd name="T20" fmla="*/ 2 w 3"/>
                <a:gd name="T21" fmla="*/ 2 h 2"/>
                <a:gd name="T22" fmla="*/ 2 w 3"/>
                <a:gd name="T23" fmla="*/ 2 h 2"/>
                <a:gd name="T24" fmla="*/ 2 w 3"/>
                <a:gd name="T25" fmla="*/ 2 h 2"/>
                <a:gd name="T26" fmla="*/ 2 w 3"/>
                <a:gd name="T27" fmla="*/ 2 h 2"/>
                <a:gd name="T28" fmla="*/ 2 w 3"/>
                <a:gd name="T29" fmla="*/ 2 h 2"/>
                <a:gd name="T30" fmla="*/ 2 w 3"/>
                <a:gd name="T31" fmla="*/ 2 h 2"/>
                <a:gd name="T32" fmla="*/ 1 w 3"/>
                <a:gd name="T33" fmla="*/ 1 h 2"/>
                <a:gd name="T34" fmla="*/ 1 w 3"/>
                <a:gd name="T35" fmla="*/ 1 h 2"/>
                <a:gd name="T36" fmla="*/ 0 w 3"/>
                <a:gd name="T37" fmla="*/ 1 h 2"/>
                <a:gd name="T38" fmla="*/ 0 w 3"/>
                <a:gd name="T39" fmla="*/ 1 h 2"/>
                <a:gd name="T40" fmla="*/ 1 w 3"/>
                <a:gd name="T41" fmla="*/ 1 h 2"/>
                <a:gd name="T42" fmla="*/ 1 w 3"/>
                <a:gd name="T43" fmla="*/ 1 h 2"/>
                <a:gd name="T44" fmla="*/ 1 w 3"/>
                <a:gd name="T45" fmla="*/ 1 h 2"/>
                <a:gd name="T46" fmla="*/ 1 w 3"/>
                <a:gd name="T47" fmla="*/ 0 h 2"/>
                <a:gd name="T48" fmla="*/ 1 w 3"/>
                <a:gd name="T49" fmla="*/ 0 h 2"/>
                <a:gd name="T50" fmla="*/ 2 w 3"/>
                <a:gd name="T51" fmla="*/ 1 h 2"/>
                <a:gd name="T52" fmla="*/ 2 w 3"/>
                <a:gd name="T53" fmla="*/ 1 h 2"/>
                <a:gd name="T54" fmla="*/ 2 w 3"/>
                <a:gd name="T55" fmla="*/ 1 h 2"/>
                <a:gd name="T56" fmla="*/ 2 w 3"/>
                <a:gd name="T57" fmla="*/ 0 h 2"/>
                <a:gd name="T58" fmla="*/ 2 w 3"/>
                <a:gd name="T59" fmla="*/ 0 h 2"/>
                <a:gd name="T60" fmla="*/ 3 w 3"/>
                <a:gd name="T61" fmla="*/ 0 h 2"/>
                <a:gd name="T62" fmla="*/ 3 w 3"/>
                <a:gd name="T63" fmla="*/ 0 h 2"/>
                <a:gd name="T64" fmla="*/ 3 w 3"/>
                <a:gd name="T65" fmla="*/ 0 h 2"/>
                <a:gd name="T66" fmla="*/ 3 w 3"/>
                <a:gd name="T67"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 h="2">
                  <a:moveTo>
                    <a:pt x="3" y="1"/>
                  </a:moveTo>
                  <a:lnTo>
                    <a:pt x="2" y="1"/>
                  </a:lnTo>
                  <a:lnTo>
                    <a:pt x="2" y="1"/>
                  </a:lnTo>
                  <a:lnTo>
                    <a:pt x="2" y="1"/>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1" y="1"/>
                  </a:lnTo>
                  <a:lnTo>
                    <a:pt x="1" y="1"/>
                  </a:lnTo>
                  <a:lnTo>
                    <a:pt x="0" y="1"/>
                  </a:lnTo>
                  <a:lnTo>
                    <a:pt x="0" y="1"/>
                  </a:lnTo>
                  <a:lnTo>
                    <a:pt x="1" y="1"/>
                  </a:lnTo>
                  <a:lnTo>
                    <a:pt x="1" y="1"/>
                  </a:lnTo>
                  <a:lnTo>
                    <a:pt x="1" y="1"/>
                  </a:lnTo>
                  <a:lnTo>
                    <a:pt x="1" y="0"/>
                  </a:lnTo>
                  <a:lnTo>
                    <a:pt x="1" y="0"/>
                  </a:lnTo>
                  <a:lnTo>
                    <a:pt x="2" y="1"/>
                  </a:lnTo>
                  <a:lnTo>
                    <a:pt x="2" y="1"/>
                  </a:lnTo>
                  <a:lnTo>
                    <a:pt x="2" y="1"/>
                  </a:lnTo>
                  <a:lnTo>
                    <a:pt x="2" y="0"/>
                  </a:lnTo>
                  <a:lnTo>
                    <a:pt x="2" y="0"/>
                  </a:lnTo>
                  <a:lnTo>
                    <a:pt x="3" y="0"/>
                  </a:lnTo>
                  <a:lnTo>
                    <a:pt x="3" y="0"/>
                  </a:lnTo>
                  <a:lnTo>
                    <a:pt x="3" y="0"/>
                  </a:lnTo>
                  <a:lnTo>
                    <a:pt x="3"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96" name="Freeform 1462">
              <a:extLst>
                <a:ext uri="{FF2B5EF4-FFF2-40B4-BE49-F238E27FC236}">
                  <a16:creationId xmlns:a16="http://schemas.microsoft.com/office/drawing/2014/main" id="{DBE0301A-111D-4AD3-90CD-F37C0BE64DF0}"/>
                </a:ext>
              </a:extLst>
            </p:cNvPr>
            <p:cNvSpPr>
              <a:spLocks/>
            </p:cNvSpPr>
            <p:nvPr/>
          </p:nvSpPr>
          <p:spPr bwMode="auto">
            <a:xfrm>
              <a:off x="6002744" y="1956950"/>
              <a:ext cx="2671" cy="1336"/>
            </a:xfrm>
            <a:custGeom>
              <a:avLst/>
              <a:gdLst>
                <a:gd name="T0" fmla="*/ 2 w 2"/>
                <a:gd name="T1" fmla="*/ 0 h 1"/>
                <a:gd name="T2" fmla="*/ 2 w 2"/>
                <a:gd name="T3" fmla="*/ 0 h 1"/>
                <a:gd name="T4" fmla="*/ 2 w 2"/>
                <a:gd name="T5" fmla="*/ 0 h 1"/>
                <a:gd name="T6" fmla="*/ 2 w 2"/>
                <a:gd name="T7" fmla="*/ 0 h 1"/>
                <a:gd name="T8" fmla="*/ 2 w 2"/>
                <a:gd name="T9" fmla="*/ 0 h 1"/>
                <a:gd name="T10" fmla="*/ 2 w 2"/>
                <a:gd name="T11" fmla="*/ 0 h 1"/>
                <a:gd name="T12" fmla="*/ 1 w 2"/>
                <a:gd name="T13" fmla="*/ 0 h 1"/>
                <a:gd name="T14" fmla="*/ 1 w 2"/>
                <a:gd name="T15" fmla="*/ 0 h 1"/>
                <a:gd name="T16" fmla="*/ 1 w 2"/>
                <a:gd name="T17" fmla="*/ 1 h 1"/>
                <a:gd name="T18" fmla="*/ 0 w 2"/>
                <a:gd name="T19" fmla="*/ 1 h 1"/>
                <a:gd name="T20" fmla="*/ 0 w 2"/>
                <a:gd name="T21" fmla="*/ 1 h 1"/>
                <a:gd name="T22" fmla="*/ 0 w 2"/>
                <a:gd name="T23" fmla="*/ 1 h 1"/>
                <a:gd name="T24" fmla="*/ 0 w 2"/>
                <a:gd name="T25" fmla="*/ 1 h 1"/>
                <a:gd name="T26" fmla="*/ 0 w 2"/>
                <a:gd name="T27" fmla="*/ 1 h 1"/>
                <a:gd name="T28" fmla="*/ 0 w 2"/>
                <a:gd name="T29" fmla="*/ 0 h 1"/>
                <a:gd name="T30" fmla="*/ 0 w 2"/>
                <a:gd name="T31" fmla="*/ 0 h 1"/>
                <a:gd name="T32" fmla="*/ 0 w 2"/>
                <a:gd name="T33" fmla="*/ 0 h 1"/>
                <a:gd name="T34" fmla="*/ 0 w 2"/>
                <a:gd name="T35" fmla="*/ 0 h 1"/>
                <a:gd name="T36" fmla="*/ 0 w 2"/>
                <a:gd name="T37" fmla="*/ 0 h 1"/>
                <a:gd name="T38" fmla="*/ 0 w 2"/>
                <a:gd name="T39" fmla="*/ 0 h 1"/>
                <a:gd name="T40" fmla="*/ 1 w 2"/>
                <a:gd name="T41" fmla="*/ 0 h 1"/>
                <a:gd name="T42" fmla="*/ 1 w 2"/>
                <a:gd name="T43" fmla="*/ 0 h 1"/>
                <a:gd name="T44" fmla="*/ 1 w 2"/>
                <a:gd name="T45" fmla="*/ 0 h 1"/>
                <a:gd name="T46" fmla="*/ 1 w 2"/>
                <a:gd name="T47" fmla="*/ 0 h 1"/>
                <a:gd name="T48" fmla="*/ 2 w 2"/>
                <a:gd name="T49" fmla="*/ 0 h 1"/>
                <a:gd name="T50" fmla="*/ 2 w 2"/>
                <a:gd name="T5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 h="1">
                  <a:moveTo>
                    <a:pt x="2" y="0"/>
                  </a:moveTo>
                  <a:lnTo>
                    <a:pt x="2" y="0"/>
                  </a:lnTo>
                  <a:lnTo>
                    <a:pt x="2" y="0"/>
                  </a:lnTo>
                  <a:lnTo>
                    <a:pt x="2" y="0"/>
                  </a:lnTo>
                  <a:lnTo>
                    <a:pt x="2" y="0"/>
                  </a:lnTo>
                  <a:lnTo>
                    <a:pt x="2" y="0"/>
                  </a:lnTo>
                  <a:lnTo>
                    <a:pt x="1" y="0"/>
                  </a:lnTo>
                  <a:lnTo>
                    <a:pt x="1" y="0"/>
                  </a:lnTo>
                  <a:lnTo>
                    <a:pt x="1" y="1"/>
                  </a:lnTo>
                  <a:lnTo>
                    <a:pt x="0" y="1"/>
                  </a:lnTo>
                  <a:lnTo>
                    <a:pt x="0" y="1"/>
                  </a:lnTo>
                  <a:lnTo>
                    <a:pt x="0" y="1"/>
                  </a:lnTo>
                  <a:lnTo>
                    <a:pt x="0" y="1"/>
                  </a:lnTo>
                  <a:lnTo>
                    <a:pt x="0" y="1"/>
                  </a:lnTo>
                  <a:lnTo>
                    <a:pt x="0" y="0"/>
                  </a:lnTo>
                  <a:lnTo>
                    <a:pt x="0" y="0"/>
                  </a:lnTo>
                  <a:lnTo>
                    <a:pt x="0" y="0"/>
                  </a:lnTo>
                  <a:lnTo>
                    <a:pt x="0" y="0"/>
                  </a:lnTo>
                  <a:lnTo>
                    <a:pt x="0" y="0"/>
                  </a:lnTo>
                  <a:lnTo>
                    <a:pt x="0" y="0"/>
                  </a:lnTo>
                  <a:lnTo>
                    <a:pt x="1" y="0"/>
                  </a:lnTo>
                  <a:lnTo>
                    <a:pt x="1" y="0"/>
                  </a:lnTo>
                  <a:lnTo>
                    <a:pt x="1" y="0"/>
                  </a:lnTo>
                  <a:lnTo>
                    <a:pt x="1"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97" name="Freeform 1463">
              <a:extLst>
                <a:ext uri="{FF2B5EF4-FFF2-40B4-BE49-F238E27FC236}">
                  <a16:creationId xmlns:a16="http://schemas.microsoft.com/office/drawing/2014/main" id="{7E555667-BA2B-462A-872D-3D6CB271CB0B}"/>
                </a:ext>
              </a:extLst>
            </p:cNvPr>
            <p:cNvSpPr>
              <a:spLocks/>
            </p:cNvSpPr>
            <p:nvPr/>
          </p:nvSpPr>
          <p:spPr bwMode="auto">
            <a:xfrm>
              <a:off x="6012093" y="1944930"/>
              <a:ext cx="5342" cy="2671"/>
            </a:xfrm>
            <a:custGeom>
              <a:avLst/>
              <a:gdLst>
                <a:gd name="T0" fmla="*/ 1 w 4"/>
                <a:gd name="T1" fmla="*/ 2 h 2"/>
                <a:gd name="T2" fmla="*/ 1 w 4"/>
                <a:gd name="T3" fmla="*/ 2 h 2"/>
                <a:gd name="T4" fmla="*/ 1 w 4"/>
                <a:gd name="T5" fmla="*/ 2 h 2"/>
                <a:gd name="T6" fmla="*/ 2 w 4"/>
                <a:gd name="T7" fmla="*/ 2 h 2"/>
                <a:gd name="T8" fmla="*/ 2 w 4"/>
                <a:gd name="T9" fmla="*/ 2 h 2"/>
                <a:gd name="T10" fmla="*/ 2 w 4"/>
                <a:gd name="T11" fmla="*/ 2 h 2"/>
                <a:gd name="T12" fmla="*/ 2 w 4"/>
                <a:gd name="T13" fmla="*/ 2 h 2"/>
                <a:gd name="T14" fmla="*/ 2 w 4"/>
                <a:gd name="T15" fmla="*/ 2 h 2"/>
                <a:gd name="T16" fmla="*/ 2 w 4"/>
                <a:gd name="T17" fmla="*/ 2 h 2"/>
                <a:gd name="T18" fmla="*/ 4 w 4"/>
                <a:gd name="T19" fmla="*/ 2 h 2"/>
                <a:gd name="T20" fmla="*/ 4 w 4"/>
                <a:gd name="T21" fmla="*/ 2 h 2"/>
                <a:gd name="T22" fmla="*/ 4 w 4"/>
                <a:gd name="T23" fmla="*/ 2 h 2"/>
                <a:gd name="T24" fmla="*/ 4 w 4"/>
                <a:gd name="T25" fmla="*/ 2 h 2"/>
                <a:gd name="T26" fmla="*/ 4 w 4"/>
                <a:gd name="T27" fmla="*/ 2 h 2"/>
                <a:gd name="T28" fmla="*/ 4 w 4"/>
                <a:gd name="T29" fmla="*/ 2 h 2"/>
                <a:gd name="T30" fmla="*/ 2 w 4"/>
                <a:gd name="T31" fmla="*/ 2 h 2"/>
                <a:gd name="T32" fmla="*/ 2 w 4"/>
                <a:gd name="T33" fmla="*/ 2 h 2"/>
                <a:gd name="T34" fmla="*/ 2 w 4"/>
                <a:gd name="T35" fmla="*/ 2 h 2"/>
                <a:gd name="T36" fmla="*/ 2 w 4"/>
                <a:gd name="T37" fmla="*/ 2 h 2"/>
                <a:gd name="T38" fmla="*/ 1 w 4"/>
                <a:gd name="T39" fmla="*/ 2 h 2"/>
                <a:gd name="T40" fmla="*/ 1 w 4"/>
                <a:gd name="T41" fmla="*/ 2 h 2"/>
                <a:gd name="T42" fmla="*/ 0 w 4"/>
                <a:gd name="T43" fmla="*/ 2 h 2"/>
                <a:gd name="T44" fmla="*/ 0 w 4"/>
                <a:gd name="T45" fmla="*/ 2 h 2"/>
                <a:gd name="T46" fmla="*/ 0 w 4"/>
                <a:gd name="T47" fmla="*/ 2 h 2"/>
                <a:gd name="T48" fmla="*/ 0 w 4"/>
                <a:gd name="T49" fmla="*/ 2 h 2"/>
                <a:gd name="T50" fmla="*/ 0 w 4"/>
                <a:gd name="T51" fmla="*/ 2 h 2"/>
                <a:gd name="T52" fmla="*/ 0 w 4"/>
                <a:gd name="T53" fmla="*/ 2 h 2"/>
                <a:gd name="T54" fmla="*/ 0 w 4"/>
                <a:gd name="T55" fmla="*/ 2 h 2"/>
                <a:gd name="T56" fmla="*/ 0 w 4"/>
                <a:gd name="T57" fmla="*/ 2 h 2"/>
                <a:gd name="T58" fmla="*/ 0 w 4"/>
                <a:gd name="T59" fmla="*/ 2 h 2"/>
                <a:gd name="T60" fmla="*/ 0 w 4"/>
                <a:gd name="T61" fmla="*/ 2 h 2"/>
                <a:gd name="T62" fmla="*/ 0 w 4"/>
                <a:gd name="T63" fmla="*/ 2 h 2"/>
                <a:gd name="T64" fmla="*/ 0 w 4"/>
                <a:gd name="T65" fmla="*/ 2 h 2"/>
                <a:gd name="T66" fmla="*/ 0 w 4"/>
                <a:gd name="T67" fmla="*/ 2 h 2"/>
                <a:gd name="T68" fmla="*/ 1 w 4"/>
                <a:gd name="T69" fmla="*/ 2 h 2"/>
                <a:gd name="T70" fmla="*/ 1 w 4"/>
                <a:gd name="T71" fmla="*/ 2 h 2"/>
                <a:gd name="T72" fmla="*/ 1 w 4"/>
                <a:gd name="T73" fmla="*/ 0 h 2"/>
                <a:gd name="T74" fmla="*/ 1 w 4"/>
                <a:gd name="T75" fmla="*/ 0 h 2"/>
                <a:gd name="T76" fmla="*/ 1 w 4"/>
                <a:gd name="T77" fmla="*/ 0 h 2"/>
                <a:gd name="T78" fmla="*/ 1 w 4"/>
                <a:gd name="T79" fmla="*/ 0 h 2"/>
                <a:gd name="T80" fmla="*/ 1 w 4"/>
                <a:gd name="T81" fmla="*/ 2 h 2"/>
                <a:gd name="T82" fmla="*/ 1 w 4"/>
                <a:gd name="T83" fmla="*/ 2 h 2"/>
                <a:gd name="T84" fmla="*/ 1 w 4"/>
                <a:gd name="T8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 h="2">
                  <a:moveTo>
                    <a:pt x="1" y="2"/>
                  </a:moveTo>
                  <a:lnTo>
                    <a:pt x="1" y="2"/>
                  </a:lnTo>
                  <a:lnTo>
                    <a:pt x="1" y="2"/>
                  </a:lnTo>
                  <a:lnTo>
                    <a:pt x="2" y="2"/>
                  </a:lnTo>
                  <a:lnTo>
                    <a:pt x="2" y="2"/>
                  </a:lnTo>
                  <a:lnTo>
                    <a:pt x="2" y="2"/>
                  </a:lnTo>
                  <a:lnTo>
                    <a:pt x="2" y="2"/>
                  </a:lnTo>
                  <a:lnTo>
                    <a:pt x="2" y="2"/>
                  </a:lnTo>
                  <a:lnTo>
                    <a:pt x="2" y="2"/>
                  </a:lnTo>
                  <a:lnTo>
                    <a:pt x="4" y="2"/>
                  </a:lnTo>
                  <a:lnTo>
                    <a:pt x="4" y="2"/>
                  </a:lnTo>
                  <a:lnTo>
                    <a:pt x="4" y="2"/>
                  </a:lnTo>
                  <a:lnTo>
                    <a:pt x="4" y="2"/>
                  </a:lnTo>
                  <a:lnTo>
                    <a:pt x="4" y="2"/>
                  </a:lnTo>
                  <a:lnTo>
                    <a:pt x="4" y="2"/>
                  </a:lnTo>
                  <a:lnTo>
                    <a:pt x="2" y="2"/>
                  </a:lnTo>
                  <a:lnTo>
                    <a:pt x="2" y="2"/>
                  </a:lnTo>
                  <a:lnTo>
                    <a:pt x="2" y="2"/>
                  </a:lnTo>
                  <a:lnTo>
                    <a:pt x="2" y="2"/>
                  </a:lnTo>
                  <a:lnTo>
                    <a:pt x="1" y="2"/>
                  </a:lnTo>
                  <a:lnTo>
                    <a:pt x="1"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1" y="2"/>
                  </a:lnTo>
                  <a:lnTo>
                    <a:pt x="1" y="2"/>
                  </a:lnTo>
                  <a:lnTo>
                    <a:pt x="1" y="0"/>
                  </a:lnTo>
                  <a:lnTo>
                    <a:pt x="1" y="0"/>
                  </a:lnTo>
                  <a:lnTo>
                    <a:pt x="1" y="0"/>
                  </a:lnTo>
                  <a:lnTo>
                    <a:pt x="1" y="0"/>
                  </a:lnTo>
                  <a:lnTo>
                    <a:pt x="1" y="2"/>
                  </a:lnTo>
                  <a:lnTo>
                    <a:pt x="1" y="2"/>
                  </a:lnTo>
                  <a:lnTo>
                    <a:pt x="1"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98" name="Freeform 1464">
              <a:extLst>
                <a:ext uri="{FF2B5EF4-FFF2-40B4-BE49-F238E27FC236}">
                  <a16:creationId xmlns:a16="http://schemas.microsoft.com/office/drawing/2014/main" id="{1B5824BC-C23D-445F-A724-3E60A3DA5787}"/>
                </a:ext>
              </a:extLst>
            </p:cNvPr>
            <p:cNvSpPr>
              <a:spLocks/>
            </p:cNvSpPr>
            <p:nvPr/>
          </p:nvSpPr>
          <p:spPr bwMode="auto">
            <a:xfrm>
              <a:off x="6018770" y="1944930"/>
              <a:ext cx="5342" cy="2671"/>
            </a:xfrm>
            <a:custGeom>
              <a:avLst/>
              <a:gdLst>
                <a:gd name="T0" fmla="*/ 4 w 4"/>
                <a:gd name="T1" fmla="*/ 0 h 2"/>
                <a:gd name="T2" fmla="*/ 4 w 4"/>
                <a:gd name="T3" fmla="*/ 0 h 2"/>
                <a:gd name="T4" fmla="*/ 4 w 4"/>
                <a:gd name="T5" fmla="*/ 0 h 2"/>
                <a:gd name="T6" fmla="*/ 4 w 4"/>
                <a:gd name="T7" fmla="*/ 0 h 2"/>
                <a:gd name="T8" fmla="*/ 4 w 4"/>
                <a:gd name="T9" fmla="*/ 0 h 2"/>
                <a:gd name="T10" fmla="*/ 4 w 4"/>
                <a:gd name="T11" fmla="*/ 2 h 2"/>
                <a:gd name="T12" fmla="*/ 3 w 4"/>
                <a:gd name="T13" fmla="*/ 2 h 2"/>
                <a:gd name="T14" fmla="*/ 3 w 4"/>
                <a:gd name="T15" fmla="*/ 0 h 2"/>
                <a:gd name="T16" fmla="*/ 2 w 4"/>
                <a:gd name="T17" fmla="*/ 0 h 2"/>
                <a:gd name="T18" fmla="*/ 2 w 4"/>
                <a:gd name="T19" fmla="*/ 0 h 2"/>
                <a:gd name="T20" fmla="*/ 2 w 4"/>
                <a:gd name="T21" fmla="*/ 0 h 2"/>
                <a:gd name="T22" fmla="*/ 2 w 4"/>
                <a:gd name="T23" fmla="*/ 0 h 2"/>
                <a:gd name="T24" fmla="*/ 2 w 4"/>
                <a:gd name="T25" fmla="*/ 2 h 2"/>
                <a:gd name="T26" fmla="*/ 1 w 4"/>
                <a:gd name="T27" fmla="*/ 2 h 2"/>
                <a:gd name="T28" fmla="*/ 1 w 4"/>
                <a:gd name="T29" fmla="*/ 0 h 2"/>
                <a:gd name="T30" fmla="*/ 0 w 4"/>
                <a:gd name="T31" fmla="*/ 0 h 2"/>
                <a:gd name="T32" fmla="*/ 0 w 4"/>
                <a:gd name="T33" fmla="*/ 0 h 2"/>
                <a:gd name="T34" fmla="*/ 0 w 4"/>
                <a:gd name="T35" fmla="*/ 0 h 2"/>
                <a:gd name="T36" fmla="*/ 0 w 4"/>
                <a:gd name="T37" fmla="*/ 0 h 2"/>
                <a:gd name="T38" fmla="*/ 0 w 4"/>
                <a:gd name="T39" fmla="*/ 0 h 2"/>
                <a:gd name="T40" fmla="*/ 0 w 4"/>
                <a:gd name="T41" fmla="*/ 0 h 2"/>
                <a:gd name="T42" fmla="*/ 0 w 4"/>
                <a:gd name="T43" fmla="*/ 0 h 2"/>
                <a:gd name="T44" fmla="*/ 1 w 4"/>
                <a:gd name="T45" fmla="*/ 0 h 2"/>
                <a:gd name="T46" fmla="*/ 1 w 4"/>
                <a:gd name="T47" fmla="*/ 0 h 2"/>
                <a:gd name="T48" fmla="*/ 1 w 4"/>
                <a:gd name="T49" fmla="*/ 0 h 2"/>
                <a:gd name="T50" fmla="*/ 4 w 4"/>
                <a:gd name="T51" fmla="*/ 0 h 2"/>
                <a:gd name="T52" fmla="*/ 4 w 4"/>
                <a:gd name="T53" fmla="*/ 0 h 2"/>
                <a:gd name="T54" fmla="*/ 4 w 4"/>
                <a:gd name="T5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 h="2">
                  <a:moveTo>
                    <a:pt x="4" y="0"/>
                  </a:moveTo>
                  <a:lnTo>
                    <a:pt x="4" y="0"/>
                  </a:lnTo>
                  <a:lnTo>
                    <a:pt x="4" y="0"/>
                  </a:lnTo>
                  <a:lnTo>
                    <a:pt x="4" y="0"/>
                  </a:lnTo>
                  <a:lnTo>
                    <a:pt x="4" y="0"/>
                  </a:lnTo>
                  <a:lnTo>
                    <a:pt x="4" y="2"/>
                  </a:lnTo>
                  <a:lnTo>
                    <a:pt x="3" y="2"/>
                  </a:lnTo>
                  <a:lnTo>
                    <a:pt x="3" y="0"/>
                  </a:lnTo>
                  <a:lnTo>
                    <a:pt x="2" y="0"/>
                  </a:lnTo>
                  <a:lnTo>
                    <a:pt x="2" y="0"/>
                  </a:lnTo>
                  <a:lnTo>
                    <a:pt x="2" y="0"/>
                  </a:lnTo>
                  <a:lnTo>
                    <a:pt x="2" y="0"/>
                  </a:lnTo>
                  <a:lnTo>
                    <a:pt x="2" y="2"/>
                  </a:lnTo>
                  <a:lnTo>
                    <a:pt x="1" y="2"/>
                  </a:lnTo>
                  <a:lnTo>
                    <a:pt x="1" y="0"/>
                  </a:lnTo>
                  <a:lnTo>
                    <a:pt x="0" y="0"/>
                  </a:lnTo>
                  <a:lnTo>
                    <a:pt x="0" y="0"/>
                  </a:lnTo>
                  <a:lnTo>
                    <a:pt x="0" y="0"/>
                  </a:lnTo>
                  <a:lnTo>
                    <a:pt x="0" y="0"/>
                  </a:lnTo>
                  <a:lnTo>
                    <a:pt x="0" y="0"/>
                  </a:lnTo>
                  <a:lnTo>
                    <a:pt x="0" y="0"/>
                  </a:lnTo>
                  <a:lnTo>
                    <a:pt x="0" y="0"/>
                  </a:lnTo>
                  <a:lnTo>
                    <a:pt x="1" y="0"/>
                  </a:lnTo>
                  <a:lnTo>
                    <a:pt x="1" y="0"/>
                  </a:lnTo>
                  <a:lnTo>
                    <a:pt x="1" y="0"/>
                  </a:lnTo>
                  <a:lnTo>
                    <a:pt x="4" y="0"/>
                  </a:lnTo>
                  <a:lnTo>
                    <a:pt x="4" y="0"/>
                  </a:lnTo>
                  <a:lnTo>
                    <a:pt x="4"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699" name="Freeform 1465">
              <a:extLst>
                <a:ext uri="{FF2B5EF4-FFF2-40B4-BE49-F238E27FC236}">
                  <a16:creationId xmlns:a16="http://schemas.microsoft.com/office/drawing/2014/main" id="{5CF6B9DA-0CA6-416B-95CB-3EAAE84050A2}"/>
                </a:ext>
              </a:extLst>
            </p:cNvPr>
            <p:cNvSpPr>
              <a:spLocks/>
            </p:cNvSpPr>
            <p:nvPr/>
          </p:nvSpPr>
          <p:spPr bwMode="auto">
            <a:xfrm>
              <a:off x="6013428" y="1944930"/>
              <a:ext cx="4007" cy="2671"/>
            </a:xfrm>
            <a:custGeom>
              <a:avLst/>
              <a:gdLst>
                <a:gd name="T0" fmla="*/ 1 w 3"/>
                <a:gd name="T1" fmla="*/ 2 h 2"/>
                <a:gd name="T2" fmla="*/ 1 w 3"/>
                <a:gd name="T3" fmla="*/ 2 h 2"/>
                <a:gd name="T4" fmla="*/ 1 w 3"/>
                <a:gd name="T5" fmla="*/ 2 h 2"/>
                <a:gd name="T6" fmla="*/ 0 w 3"/>
                <a:gd name="T7" fmla="*/ 2 h 2"/>
                <a:gd name="T8" fmla="*/ 0 w 3"/>
                <a:gd name="T9" fmla="*/ 0 h 2"/>
                <a:gd name="T10" fmla="*/ 0 w 3"/>
                <a:gd name="T11" fmla="*/ 0 h 2"/>
                <a:gd name="T12" fmla="*/ 0 w 3"/>
                <a:gd name="T13" fmla="*/ 0 h 2"/>
                <a:gd name="T14" fmla="*/ 0 w 3"/>
                <a:gd name="T15" fmla="*/ 0 h 2"/>
                <a:gd name="T16" fmla="*/ 1 w 3"/>
                <a:gd name="T17" fmla="*/ 0 h 2"/>
                <a:gd name="T18" fmla="*/ 1 w 3"/>
                <a:gd name="T19" fmla="*/ 0 h 2"/>
                <a:gd name="T20" fmla="*/ 1 w 3"/>
                <a:gd name="T21" fmla="*/ 0 h 2"/>
                <a:gd name="T22" fmla="*/ 1 w 3"/>
                <a:gd name="T23" fmla="*/ 0 h 2"/>
                <a:gd name="T24" fmla="*/ 1 w 3"/>
                <a:gd name="T25" fmla="*/ 0 h 2"/>
                <a:gd name="T26" fmla="*/ 1 w 3"/>
                <a:gd name="T27" fmla="*/ 0 h 2"/>
                <a:gd name="T28" fmla="*/ 1 w 3"/>
                <a:gd name="T29" fmla="*/ 0 h 2"/>
                <a:gd name="T30" fmla="*/ 1 w 3"/>
                <a:gd name="T31" fmla="*/ 0 h 2"/>
                <a:gd name="T32" fmla="*/ 1 w 3"/>
                <a:gd name="T33" fmla="*/ 0 h 2"/>
                <a:gd name="T34" fmla="*/ 3 w 3"/>
                <a:gd name="T35" fmla="*/ 2 h 2"/>
                <a:gd name="T36" fmla="*/ 1 w 3"/>
                <a:gd name="T3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 h="2">
                  <a:moveTo>
                    <a:pt x="1" y="2"/>
                  </a:moveTo>
                  <a:lnTo>
                    <a:pt x="1" y="2"/>
                  </a:lnTo>
                  <a:lnTo>
                    <a:pt x="1" y="2"/>
                  </a:lnTo>
                  <a:lnTo>
                    <a:pt x="0" y="2"/>
                  </a:lnTo>
                  <a:lnTo>
                    <a:pt x="0" y="0"/>
                  </a:lnTo>
                  <a:lnTo>
                    <a:pt x="0" y="0"/>
                  </a:lnTo>
                  <a:lnTo>
                    <a:pt x="0" y="0"/>
                  </a:lnTo>
                  <a:lnTo>
                    <a:pt x="0" y="0"/>
                  </a:lnTo>
                  <a:lnTo>
                    <a:pt x="1" y="0"/>
                  </a:lnTo>
                  <a:lnTo>
                    <a:pt x="1" y="0"/>
                  </a:lnTo>
                  <a:lnTo>
                    <a:pt x="1" y="0"/>
                  </a:lnTo>
                  <a:lnTo>
                    <a:pt x="1" y="0"/>
                  </a:lnTo>
                  <a:lnTo>
                    <a:pt x="1" y="0"/>
                  </a:lnTo>
                  <a:lnTo>
                    <a:pt x="1" y="0"/>
                  </a:lnTo>
                  <a:lnTo>
                    <a:pt x="1" y="0"/>
                  </a:lnTo>
                  <a:lnTo>
                    <a:pt x="1" y="0"/>
                  </a:lnTo>
                  <a:lnTo>
                    <a:pt x="1" y="0"/>
                  </a:lnTo>
                  <a:lnTo>
                    <a:pt x="3" y="2"/>
                  </a:lnTo>
                  <a:lnTo>
                    <a:pt x="1"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00" name="Freeform 1466">
              <a:extLst>
                <a:ext uri="{FF2B5EF4-FFF2-40B4-BE49-F238E27FC236}">
                  <a16:creationId xmlns:a16="http://schemas.microsoft.com/office/drawing/2014/main" id="{C80B577C-55C7-4F97-B520-E20C54416A27}"/>
                </a:ext>
              </a:extLst>
            </p:cNvPr>
            <p:cNvSpPr>
              <a:spLocks/>
            </p:cNvSpPr>
            <p:nvPr/>
          </p:nvSpPr>
          <p:spPr bwMode="auto">
            <a:xfrm>
              <a:off x="5982712" y="1943595"/>
              <a:ext cx="4007" cy="6678"/>
            </a:xfrm>
            <a:custGeom>
              <a:avLst/>
              <a:gdLst>
                <a:gd name="T0" fmla="*/ 2 w 3"/>
                <a:gd name="T1" fmla="*/ 1 h 5"/>
                <a:gd name="T2" fmla="*/ 2 w 3"/>
                <a:gd name="T3" fmla="*/ 1 h 5"/>
                <a:gd name="T4" fmla="*/ 2 w 3"/>
                <a:gd name="T5" fmla="*/ 1 h 5"/>
                <a:gd name="T6" fmla="*/ 2 w 3"/>
                <a:gd name="T7" fmla="*/ 1 h 5"/>
                <a:gd name="T8" fmla="*/ 2 w 3"/>
                <a:gd name="T9" fmla="*/ 1 h 5"/>
                <a:gd name="T10" fmla="*/ 2 w 3"/>
                <a:gd name="T11" fmla="*/ 1 h 5"/>
                <a:gd name="T12" fmla="*/ 2 w 3"/>
                <a:gd name="T13" fmla="*/ 1 h 5"/>
                <a:gd name="T14" fmla="*/ 2 w 3"/>
                <a:gd name="T15" fmla="*/ 3 h 5"/>
                <a:gd name="T16" fmla="*/ 3 w 3"/>
                <a:gd name="T17" fmla="*/ 3 h 5"/>
                <a:gd name="T18" fmla="*/ 2 w 3"/>
                <a:gd name="T19" fmla="*/ 3 h 5"/>
                <a:gd name="T20" fmla="*/ 2 w 3"/>
                <a:gd name="T21" fmla="*/ 3 h 5"/>
                <a:gd name="T22" fmla="*/ 1 w 3"/>
                <a:gd name="T23" fmla="*/ 3 h 5"/>
                <a:gd name="T24" fmla="*/ 1 w 3"/>
                <a:gd name="T25" fmla="*/ 3 h 5"/>
                <a:gd name="T26" fmla="*/ 1 w 3"/>
                <a:gd name="T27" fmla="*/ 3 h 5"/>
                <a:gd name="T28" fmla="*/ 1 w 3"/>
                <a:gd name="T29" fmla="*/ 3 h 5"/>
                <a:gd name="T30" fmla="*/ 2 w 3"/>
                <a:gd name="T31" fmla="*/ 3 h 5"/>
                <a:gd name="T32" fmla="*/ 2 w 3"/>
                <a:gd name="T33" fmla="*/ 3 h 5"/>
                <a:gd name="T34" fmla="*/ 2 w 3"/>
                <a:gd name="T35" fmla="*/ 4 h 5"/>
                <a:gd name="T36" fmla="*/ 2 w 3"/>
                <a:gd name="T37" fmla="*/ 4 h 5"/>
                <a:gd name="T38" fmla="*/ 1 w 3"/>
                <a:gd name="T39" fmla="*/ 4 h 5"/>
                <a:gd name="T40" fmla="*/ 1 w 3"/>
                <a:gd name="T41" fmla="*/ 4 h 5"/>
                <a:gd name="T42" fmla="*/ 0 w 3"/>
                <a:gd name="T43" fmla="*/ 4 h 5"/>
                <a:gd name="T44" fmla="*/ 0 w 3"/>
                <a:gd name="T45" fmla="*/ 4 h 5"/>
                <a:gd name="T46" fmla="*/ 0 w 3"/>
                <a:gd name="T47" fmla="*/ 4 h 5"/>
                <a:gd name="T48" fmla="*/ 0 w 3"/>
                <a:gd name="T49" fmla="*/ 4 h 5"/>
                <a:gd name="T50" fmla="*/ 0 w 3"/>
                <a:gd name="T51" fmla="*/ 4 h 5"/>
                <a:gd name="T52" fmla="*/ 0 w 3"/>
                <a:gd name="T53" fmla="*/ 4 h 5"/>
                <a:gd name="T54" fmla="*/ 0 w 3"/>
                <a:gd name="T55" fmla="*/ 3 h 5"/>
                <a:gd name="T56" fmla="*/ 1 w 3"/>
                <a:gd name="T57" fmla="*/ 3 h 5"/>
                <a:gd name="T58" fmla="*/ 1 w 3"/>
                <a:gd name="T59" fmla="*/ 3 h 5"/>
                <a:gd name="T60" fmla="*/ 1 w 3"/>
                <a:gd name="T61" fmla="*/ 3 h 5"/>
                <a:gd name="T62" fmla="*/ 1 w 3"/>
                <a:gd name="T63" fmla="*/ 1 h 5"/>
                <a:gd name="T64" fmla="*/ 1 w 3"/>
                <a:gd name="T65" fmla="*/ 1 h 5"/>
                <a:gd name="T66" fmla="*/ 2 w 3"/>
                <a:gd name="T67" fmla="*/ 1 h 5"/>
                <a:gd name="T68" fmla="*/ 2 w 3"/>
                <a:gd name="T69" fmla="*/ 0 h 5"/>
                <a:gd name="T70" fmla="*/ 2 w 3"/>
                <a:gd name="T71" fmla="*/ 0 h 5"/>
                <a:gd name="T72" fmla="*/ 2 w 3"/>
                <a:gd name="T73" fmla="*/ 0 h 5"/>
                <a:gd name="T74" fmla="*/ 3 w 3"/>
                <a:gd name="T75" fmla="*/ 0 h 5"/>
                <a:gd name="T76" fmla="*/ 3 w 3"/>
                <a:gd name="T77" fmla="*/ 0 h 5"/>
                <a:gd name="T78" fmla="*/ 2 w 3"/>
                <a:gd name="T79" fmla="*/ 1 h 5"/>
                <a:gd name="T80" fmla="*/ 2 w 3"/>
                <a:gd name="T81"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 h="5">
                  <a:moveTo>
                    <a:pt x="2" y="1"/>
                  </a:move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1"/>
                  </a:lnTo>
                  <a:lnTo>
                    <a:pt x="2" y="3"/>
                  </a:lnTo>
                  <a:lnTo>
                    <a:pt x="3" y="3"/>
                  </a:lnTo>
                  <a:lnTo>
                    <a:pt x="3" y="3"/>
                  </a:lnTo>
                  <a:lnTo>
                    <a:pt x="3" y="3"/>
                  </a:lnTo>
                  <a:lnTo>
                    <a:pt x="2" y="3"/>
                  </a:lnTo>
                  <a:lnTo>
                    <a:pt x="2" y="3"/>
                  </a:lnTo>
                  <a:lnTo>
                    <a:pt x="2" y="3"/>
                  </a:lnTo>
                  <a:lnTo>
                    <a:pt x="1" y="3"/>
                  </a:lnTo>
                  <a:lnTo>
                    <a:pt x="1" y="3"/>
                  </a:lnTo>
                  <a:lnTo>
                    <a:pt x="1" y="3"/>
                  </a:lnTo>
                  <a:lnTo>
                    <a:pt x="1" y="3"/>
                  </a:lnTo>
                  <a:lnTo>
                    <a:pt x="1" y="3"/>
                  </a:lnTo>
                  <a:lnTo>
                    <a:pt x="1" y="3"/>
                  </a:lnTo>
                  <a:lnTo>
                    <a:pt x="1" y="3"/>
                  </a:lnTo>
                  <a:lnTo>
                    <a:pt x="1" y="3"/>
                  </a:lnTo>
                  <a:lnTo>
                    <a:pt x="2" y="3"/>
                  </a:lnTo>
                  <a:lnTo>
                    <a:pt x="2" y="3"/>
                  </a:lnTo>
                  <a:lnTo>
                    <a:pt x="2" y="3"/>
                  </a:lnTo>
                  <a:lnTo>
                    <a:pt x="2" y="3"/>
                  </a:lnTo>
                  <a:lnTo>
                    <a:pt x="2" y="4"/>
                  </a:lnTo>
                  <a:lnTo>
                    <a:pt x="2" y="4"/>
                  </a:lnTo>
                  <a:lnTo>
                    <a:pt x="2" y="4"/>
                  </a:lnTo>
                  <a:lnTo>
                    <a:pt x="2" y="4"/>
                  </a:lnTo>
                  <a:lnTo>
                    <a:pt x="2" y="4"/>
                  </a:lnTo>
                  <a:lnTo>
                    <a:pt x="1" y="4"/>
                  </a:lnTo>
                  <a:lnTo>
                    <a:pt x="1" y="4"/>
                  </a:lnTo>
                  <a:lnTo>
                    <a:pt x="1" y="4"/>
                  </a:lnTo>
                  <a:lnTo>
                    <a:pt x="0" y="4"/>
                  </a:lnTo>
                  <a:lnTo>
                    <a:pt x="0" y="4"/>
                  </a:lnTo>
                  <a:lnTo>
                    <a:pt x="0" y="5"/>
                  </a:lnTo>
                  <a:lnTo>
                    <a:pt x="0" y="4"/>
                  </a:lnTo>
                  <a:lnTo>
                    <a:pt x="0" y="4"/>
                  </a:lnTo>
                  <a:lnTo>
                    <a:pt x="0" y="4"/>
                  </a:lnTo>
                  <a:lnTo>
                    <a:pt x="0" y="4"/>
                  </a:lnTo>
                  <a:lnTo>
                    <a:pt x="0" y="4"/>
                  </a:lnTo>
                  <a:lnTo>
                    <a:pt x="0" y="4"/>
                  </a:lnTo>
                  <a:lnTo>
                    <a:pt x="0" y="4"/>
                  </a:lnTo>
                  <a:lnTo>
                    <a:pt x="0" y="4"/>
                  </a:lnTo>
                  <a:lnTo>
                    <a:pt x="0" y="4"/>
                  </a:lnTo>
                  <a:lnTo>
                    <a:pt x="0" y="3"/>
                  </a:lnTo>
                  <a:lnTo>
                    <a:pt x="0" y="3"/>
                  </a:lnTo>
                  <a:lnTo>
                    <a:pt x="0" y="3"/>
                  </a:lnTo>
                  <a:lnTo>
                    <a:pt x="1" y="3"/>
                  </a:lnTo>
                  <a:lnTo>
                    <a:pt x="1" y="3"/>
                  </a:lnTo>
                  <a:lnTo>
                    <a:pt x="1" y="3"/>
                  </a:lnTo>
                  <a:lnTo>
                    <a:pt x="1" y="3"/>
                  </a:lnTo>
                  <a:lnTo>
                    <a:pt x="1" y="3"/>
                  </a:lnTo>
                  <a:lnTo>
                    <a:pt x="1" y="3"/>
                  </a:lnTo>
                  <a:lnTo>
                    <a:pt x="1" y="1"/>
                  </a:lnTo>
                  <a:lnTo>
                    <a:pt x="1" y="1"/>
                  </a:lnTo>
                  <a:lnTo>
                    <a:pt x="1" y="1"/>
                  </a:lnTo>
                  <a:lnTo>
                    <a:pt x="1" y="1"/>
                  </a:lnTo>
                  <a:lnTo>
                    <a:pt x="2" y="1"/>
                  </a:lnTo>
                  <a:lnTo>
                    <a:pt x="2" y="1"/>
                  </a:lnTo>
                  <a:lnTo>
                    <a:pt x="2" y="0"/>
                  </a:lnTo>
                  <a:lnTo>
                    <a:pt x="2" y="0"/>
                  </a:lnTo>
                  <a:lnTo>
                    <a:pt x="2" y="0"/>
                  </a:lnTo>
                  <a:lnTo>
                    <a:pt x="2" y="0"/>
                  </a:lnTo>
                  <a:lnTo>
                    <a:pt x="2" y="0"/>
                  </a:lnTo>
                  <a:lnTo>
                    <a:pt x="2" y="0"/>
                  </a:lnTo>
                  <a:lnTo>
                    <a:pt x="3" y="0"/>
                  </a:lnTo>
                  <a:lnTo>
                    <a:pt x="3" y="0"/>
                  </a:lnTo>
                  <a:lnTo>
                    <a:pt x="3" y="0"/>
                  </a:lnTo>
                  <a:lnTo>
                    <a:pt x="2" y="1"/>
                  </a:lnTo>
                  <a:lnTo>
                    <a:pt x="2" y="1"/>
                  </a:lnTo>
                  <a:lnTo>
                    <a:pt x="2" y="1"/>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01" name="Freeform 1467">
              <a:extLst>
                <a:ext uri="{FF2B5EF4-FFF2-40B4-BE49-F238E27FC236}">
                  <a16:creationId xmlns:a16="http://schemas.microsoft.com/office/drawing/2014/main" id="{145CC491-6452-463D-BDA6-6ED9834350A5}"/>
                </a:ext>
              </a:extLst>
            </p:cNvPr>
            <p:cNvSpPr>
              <a:spLocks/>
            </p:cNvSpPr>
            <p:nvPr/>
          </p:nvSpPr>
          <p:spPr bwMode="auto">
            <a:xfrm>
              <a:off x="5986718" y="1943595"/>
              <a:ext cx="4007" cy="4007"/>
            </a:xfrm>
            <a:custGeom>
              <a:avLst/>
              <a:gdLst>
                <a:gd name="T0" fmla="*/ 3 w 3"/>
                <a:gd name="T1" fmla="*/ 1 h 3"/>
                <a:gd name="T2" fmla="*/ 3 w 3"/>
                <a:gd name="T3" fmla="*/ 1 h 3"/>
                <a:gd name="T4" fmla="*/ 3 w 3"/>
                <a:gd name="T5" fmla="*/ 1 h 3"/>
                <a:gd name="T6" fmla="*/ 3 w 3"/>
                <a:gd name="T7" fmla="*/ 1 h 3"/>
                <a:gd name="T8" fmla="*/ 3 w 3"/>
                <a:gd name="T9" fmla="*/ 1 h 3"/>
                <a:gd name="T10" fmla="*/ 2 w 3"/>
                <a:gd name="T11" fmla="*/ 1 h 3"/>
                <a:gd name="T12" fmla="*/ 2 w 3"/>
                <a:gd name="T13" fmla="*/ 1 h 3"/>
                <a:gd name="T14" fmla="*/ 2 w 3"/>
                <a:gd name="T15" fmla="*/ 1 h 3"/>
                <a:gd name="T16" fmla="*/ 2 w 3"/>
                <a:gd name="T17" fmla="*/ 1 h 3"/>
                <a:gd name="T18" fmla="*/ 0 w 3"/>
                <a:gd name="T19" fmla="*/ 3 h 3"/>
                <a:gd name="T20" fmla="*/ 0 w 3"/>
                <a:gd name="T21" fmla="*/ 1 h 3"/>
                <a:gd name="T22" fmla="*/ 0 w 3"/>
                <a:gd name="T23" fmla="*/ 1 h 3"/>
                <a:gd name="T24" fmla="*/ 0 w 3"/>
                <a:gd name="T25" fmla="*/ 1 h 3"/>
                <a:gd name="T26" fmla="*/ 0 w 3"/>
                <a:gd name="T27" fmla="*/ 1 h 3"/>
                <a:gd name="T28" fmla="*/ 0 w 3"/>
                <a:gd name="T29" fmla="*/ 1 h 3"/>
                <a:gd name="T30" fmla="*/ 0 w 3"/>
                <a:gd name="T31" fmla="*/ 1 h 3"/>
                <a:gd name="T32" fmla="*/ 0 w 3"/>
                <a:gd name="T33" fmla="*/ 1 h 3"/>
                <a:gd name="T34" fmla="*/ 0 w 3"/>
                <a:gd name="T35" fmla="*/ 1 h 3"/>
                <a:gd name="T36" fmla="*/ 0 w 3"/>
                <a:gd name="T37" fmla="*/ 1 h 3"/>
                <a:gd name="T38" fmla="*/ 0 w 3"/>
                <a:gd name="T39" fmla="*/ 1 h 3"/>
                <a:gd name="T40" fmla="*/ 0 w 3"/>
                <a:gd name="T41" fmla="*/ 1 h 3"/>
                <a:gd name="T42" fmla="*/ 0 w 3"/>
                <a:gd name="T43" fmla="*/ 1 h 3"/>
                <a:gd name="T44" fmla="*/ 0 w 3"/>
                <a:gd name="T45" fmla="*/ 1 h 3"/>
                <a:gd name="T46" fmla="*/ 0 w 3"/>
                <a:gd name="T47" fmla="*/ 1 h 3"/>
                <a:gd name="T48" fmla="*/ 0 w 3"/>
                <a:gd name="T49" fmla="*/ 0 h 3"/>
                <a:gd name="T50" fmla="*/ 2 w 3"/>
                <a:gd name="T51" fmla="*/ 0 h 3"/>
                <a:gd name="T52" fmla="*/ 2 w 3"/>
                <a:gd name="T53" fmla="*/ 0 h 3"/>
                <a:gd name="T54" fmla="*/ 2 w 3"/>
                <a:gd name="T55" fmla="*/ 1 h 3"/>
                <a:gd name="T56" fmla="*/ 2 w 3"/>
                <a:gd name="T57" fmla="*/ 1 h 3"/>
                <a:gd name="T58" fmla="*/ 2 w 3"/>
                <a:gd name="T59" fmla="*/ 1 h 3"/>
                <a:gd name="T60" fmla="*/ 2 w 3"/>
                <a:gd name="T61" fmla="*/ 0 h 3"/>
                <a:gd name="T62" fmla="*/ 2 w 3"/>
                <a:gd name="T63" fmla="*/ 0 h 3"/>
                <a:gd name="T64" fmla="*/ 2 w 3"/>
                <a:gd name="T65" fmla="*/ 0 h 3"/>
                <a:gd name="T66" fmla="*/ 2 w 3"/>
                <a:gd name="T67" fmla="*/ 0 h 3"/>
                <a:gd name="T68" fmla="*/ 2 w 3"/>
                <a:gd name="T69" fmla="*/ 0 h 3"/>
                <a:gd name="T70" fmla="*/ 2 w 3"/>
                <a:gd name="T71" fmla="*/ 0 h 3"/>
                <a:gd name="T72" fmla="*/ 3 w 3"/>
                <a:gd name="T73" fmla="*/ 0 h 3"/>
                <a:gd name="T74" fmla="*/ 3 w 3"/>
                <a:gd name="T75" fmla="*/ 0 h 3"/>
                <a:gd name="T76" fmla="*/ 3 w 3"/>
                <a:gd name="T77" fmla="*/ 0 h 3"/>
                <a:gd name="T78" fmla="*/ 3 w 3"/>
                <a:gd name="T79" fmla="*/ 0 h 3"/>
                <a:gd name="T80" fmla="*/ 3 w 3"/>
                <a:gd name="T81" fmla="*/ 0 h 3"/>
                <a:gd name="T82" fmla="*/ 3 w 3"/>
                <a:gd name="T8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 h="3">
                  <a:moveTo>
                    <a:pt x="3" y="1"/>
                  </a:moveTo>
                  <a:lnTo>
                    <a:pt x="3" y="1"/>
                  </a:lnTo>
                  <a:lnTo>
                    <a:pt x="3" y="1"/>
                  </a:lnTo>
                  <a:lnTo>
                    <a:pt x="3" y="1"/>
                  </a:lnTo>
                  <a:lnTo>
                    <a:pt x="3" y="1"/>
                  </a:lnTo>
                  <a:lnTo>
                    <a:pt x="2" y="1"/>
                  </a:lnTo>
                  <a:lnTo>
                    <a:pt x="2" y="1"/>
                  </a:lnTo>
                  <a:lnTo>
                    <a:pt x="2" y="1"/>
                  </a:lnTo>
                  <a:lnTo>
                    <a:pt x="2" y="1"/>
                  </a:lnTo>
                  <a:lnTo>
                    <a:pt x="0" y="3"/>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1"/>
                  </a:lnTo>
                  <a:lnTo>
                    <a:pt x="0" y="0"/>
                  </a:lnTo>
                  <a:lnTo>
                    <a:pt x="2" y="0"/>
                  </a:lnTo>
                  <a:lnTo>
                    <a:pt x="2" y="0"/>
                  </a:lnTo>
                  <a:lnTo>
                    <a:pt x="2" y="1"/>
                  </a:lnTo>
                  <a:lnTo>
                    <a:pt x="2" y="1"/>
                  </a:lnTo>
                  <a:lnTo>
                    <a:pt x="2" y="1"/>
                  </a:lnTo>
                  <a:lnTo>
                    <a:pt x="2" y="0"/>
                  </a:lnTo>
                  <a:lnTo>
                    <a:pt x="2" y="0"/>
                  </a:lnTo>
                  <a:lnTo>
                    <a:pt x="2" y="0"/>
                  </a:lnTo>
                  <a:lnTo>
                    <a:pt x="2" y="0"/>
                  </a:lnTo>
                  <a:lnTo>
                    <a:pt x="2" y="0"/>
                  </a:lnTo>
                  <a:lnTo>
                    <a:pt x="2" y="0"/>
                  </a:lnTo>
                  <a:lnTo>
                    <a:pt x="3" y="0"/>
                  </a:lnTo>
                  <a:lnTo>
                    <a:pt x="3" y="0"/>
                  </a:lnTo>
                  <a:lnTo>
                    <a:pt x="3" y="0"/>
                  </a:lnTo>
                  <a:lnTo>
                    <a:pt x="3" y="0"/>
                  </a:lnTo>
                  <a:lnTo>
                    <a:pt x="3" y="0"/>
                  </a:lnTo>
                  <a:lnTo>
                    <a:pt x="3"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02" name="Freeform 1468">
              <a:extLst>
                <a:ext uri="{FF2B5EF4-FFF2-40B4-BE49-F238E27FC236}">
                  <a16:creationId xmlns:a16="http://schemas.microsoft.com/office/drawing/2014/main" id="{3F15B1EE-8E72-46C1-BB92-FD4141C4AF61}"/>
                </a:ext>
              </a:extLst>
            </p:cNvPr>
            <p:cNvSpPr>
              <a:spLocks/>
            </p:cNvSpPr>
            <p:nvPr/>
          </p:nvSpPr>
          <p:spPr bwMode="auto">
            <a:xfrm>
              <a:off x="6009422" y="1940924"/>
              <a:ext cx="1336" cy="1336"/>
            </a:xfrm>
            <a:custGeom>
              <a:avLst/>
              <a:gdLst>
                <a:gd name="T0" fmla="*/ 1 w 1"/>
                <a:gd name="T1" fmla="*/ 1 h 1"/>
                <a:gd name="T2" fmla="*/ 1 w 1"/>
                <a:gd name="T3" fmla="*/ 1 h 1"/>
                <a:gd name="T4" fmla="*/ 0 w 1"/>
                <a:gd name="T5" fmla="*/ 1 h 1"/>
                <a:gd name="T6" fmla="*/ 0 w 1"/>
                <a:gd name="T7" fmla="*/ 1 h 1"/>
                <a:gd name="T8" fmla="*/ 0 w 1"/>
                <a:gd name="T9" fmla="*/ 1 h 1"/>
                <a:gd name="T10" fmla="*/ 0 w 1"/>
                <a:gd name="T11" fmla="*/ 0 h 1"/>
                <a:gd name="T12" fmla="*/ 1 w 1"/>
                <a:gd name="T13" fmla="*/ 0 h 1"/>
                <a:gd name="T14" fmla="*/ 1 w 1"/>
                <a:gd name="T15" fmla="*/ 0 h 1"/>
                <a:gd name="T16" fmla="*/ 1 w 1"/>
                <a:gd name="T17" fmla="*/ 0 h 1"/>
                <a:gd name="T18" fmla="*/ 1 w 1"/>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
                  <a:moveTo>
                    <a:pt x="1" y="1"/>
                  </a:moveTo>
                  <a:lnTo>
                    <a:pt x="1" y="1"/>
                  </a:lnTo>
                  <a:lnTo>
                    <a:pt x="0" y="1"/>
                  </a:lnTo>
                  <a:lnTo>
                    <a:pt x="0" y="1"/>
                  </a:lnTo>
                  <a:lnTo>
                    <a:pt x="0" y="1"/>
                  </a:lnTo>
                  <a:lnTo>
                    <a:pt x="0" y="0"/>
                  </a:lnTo>
                  <a:lnTo>
                    <a:pt x="1" y="0"/>
                  </a:lnTo>
                  <a:lnTo>
                    <a:pt x="1" y="0"/>
                  </a:lnTo>
                  <a:lnTo>
                    <a:pt x="1" y="0"/>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03" name="Freeform 1469">
              <a:extLst>
                <a:ext uri="{FF2B5EF4-FFF2-40B4-BE49-F238E27FC236}">
                  <a16:creationId xmlns:a16="http://schemas.microsoft.com/office/drawing/2014/main" id="{7A734221-12F0-4EAE-A35D-636697574DEB}"/>
                </a:ext>
              </a:extLst>
            </p:cNvPr>
            <p:cNvSpPr>
              <a:spLocks/>
            </p:cNvSpPr>
            <p:nvPr/>
          </p:nvSpPr>
          <p:spPr bwMode="auto">
            <a:xfrm>
              <a:off x="5998738" y="1939588"/>
              <a:ext cx="2671" cy="1336"/>
            </a:xfrm>
            <a:custGeom>
              <a:avLst/>
              <a:gdLst>
                <a:gd name="T0" fmla="*/ 2 w 2"/>
                <a:gd name="T1" fmla="*/ 1 h 1"/>
                <a:gd name="T2" fmla="*/ 2 w 2"/>
                <a:gd name="T3" fmla="*/ 1 h 1"/>
                <a:gd name="T4" fmla="*/ 2 w 2"/>
                <a:gd name="T5" fmla="*/ 1 h 1"/>
                <a:gd name="T6" fmla="*/ 2 w 2"/>
                <a:gd name="T7" fmla="*/ 1 h 1"/>
                <a:gd name="T8" fmla="*/ 1 w 2"/>
                <a:gd name="T9" fmla="*/ 1 h 1"/>
                <a:gd name="T10" fmla="*/ 1 w 2"/>
                <a:gd name="T11" fmla="*/ 1 h 1"/>
                <a:gd name="T12" fmla="*/ 1 w 2"/>
                <a:gd name="T13" fmla="*/ 1 h 1"/>
                <a:gd name="T14" fmla="*/ 1 w 2"/>
                <a:gd name="T15" fmla="*/ 1 h 1"/>
                <a:gd name="T16" fmla="*/ 1 w 2"/>
                <a:gd name="T17" fmla="*/ 1 h 1"/>
                <a:gd name="T18" fmla="*/ 0 w 2"/>
                <a:gd name="T19" fmla="*/ 1 h 1"/>
                <a:gd name="T20" fmla="*/ 0 w 2"/>
                <a:gd name="T21" fmla="*/ 1 h 1"/>
                <a:gd name="T22" fmla="*/ 0 w 2"/>
                <a:gd name="T23" fmla="*/ 1 h 1"/>
                <a:gd name="T24" fmla="*/ 0 w 2"/>
                <a:gd name="T25" fmla="*/ 1 h 1"/>
                <a:gd name="T26" fmla="*/ 1 w 2"/>
                <a:gd name="T27" fmla="*/ 0 h 1"/>
                <a:gd name="T28" fmla="*/ 1 w 2"/>
                <a:gd name="T29" fmla="*/ 0 h 1"/>
                <a:gd name="T30" fmla="*/ 1 w 2"/>
                <a:gd name="T31" fmla="*/ 1 h 1"/>
                <a:gd name="T32" fmla="*/ 1 w 2"/>
                <a:gd name="T33" fmla="*/ 1 h 1"/>
                <a:gd name="T34" fmla="*/ 2 w 2"/>
                <a:gd name="T3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 h="1">
                  <a:moveTo>
                    <a:pt x="2" y="1"/>
                  </a:moveTo>
                  <a:lnTo>
                    <a:pt x="2" y="1"/>
                  </a:lnTo>
                  <a:lnTo>
                    <a:pt x="2" y="1"/>
                  </a:lnTo>
                  <a:lnTo>
                    <a:pt x="2" y="1"/>
                  </a:lnTo>
                  <a:lnTo>
                    <a:pt x="1" y="1"/>
                  </a:lnTo>
                  <a:lnTo>
                    <a:pt x="1" y="1"/>
                  </a:lnTo>
                  <a:lnTo>
                    <a:pt x="1" y="1"/>
                  </a:lnTo>
                  <a:lnTo>
                    <a:pt x="1" y="1"/>
                  </a:lnTo>
                  <a:lnTo>
                    <a:pt x="1" y="1"/>
                  </a:lnTo>
                  <a:lnTo>
                    <a:pt x="0" y="1"/>
                  </a:lnTo>
                  <a:lnTo>
                    <a:pt x="0" y="1"/>
                  </a:lnTo>
                  <a:lnTo>
                    <a:pt x="0" y="1"/>
                  </a:lnTo>
                  <a:lnTo>
                    <a:pt x="0" y="1"/>
                  </a:lnTo>
                  <a:lnTo>
                    <a:pt x="1" y="0"/>
                  </a:lnTo>
                  <a:lnTo>
                    <a:pt x="1" y="0"/>
                  </a:lnTo>
                  <a:lnTo>
                    <a:pt x="1" y="1"/>
                  </a:lnTo>
                  <a:lnTo>
                    <a:pt x="1" y="1"/>
                  </a:lnTo>
                  <a:lnTo>
                    <a:pt x="2"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04" name="Freeform 1470">
              <a:extLst>
                <a:ext uri="{FF2B5EF4-FFF2-40B4-BE49-F238E27FC236}">
                  <a16:creationId xmlns:a16="http://schemas.microsoft.com/office/drawing/2014/main" id="{96970590-01D9-4D30-B81E-81ED88FF7CCF}"/>
                </a:ext>
              </a:extLst>
            </p:cNvPr>
            <p:cNvSpPr>
              <a:spLocks/>
            </p:cNvSpPr>
            <p:nvPr/>
          </p:nvSpPr>
          <p:spPr bwMode="auto">
            <a:xfrm>
              <a:off x="5990725" y="1939588"/>
              <a:ext cx="9349" cy="5342"/>
            </a:xfrm>
            <a:custGeom>
              <a:avLst/>
              <a:gdLst>
                <a:gd name="T0" fmla="*/ 6 w 7"/>
                <a:gd name="T1" fmla="*/ 1 h 4"/>
                <a:gd name="T2" fmla="*/ 7 w 7"/>
                <a:gd name="T3" fmla="*/ 1 h 4"/>
                <a:gd name="T4" fmla="*/ 7 w 7"/>
                <a:gd name="T5" fmla="*/ 1 h 4"/>
                <a:gd name="T6" fmla="*/ 6 w 7"/>
                <a:gd name="T7" fmla="*/ 2 h 4"/>
                <a:gd name="T8" fmla="*/ 6 w 7"/>
                <a:gd name="T9" fmla="*/ 2 h 4"/>
                <a:gd name="T10" fmla="*/ 4 w 7"/>
                <a:gd name="T11" fmla="*/ 2 h 4"/>
                <a:gd name="T12" fmla="*/ 4 w 7"/>
                <a:gd name="T13" fmla="*/ 2 h 4"/>
                <a:gd name="T14" fmla="*/ 4 w 7"/>
                <a:gd name="T15" fmla="*/ 2 h 4"/>
                <a:gd name="T16" fmla="*/ 4 w 7"/>
                <a:gd name="T17" fmla="*/ 2 h 4"/>
                <a:gd name="T18" fmla="*/ 4 w 7"/>
                <a:gd name="T19" fmla="*/ 2 h 4"/>
                <a:gd name="T20" fmla="*/ 4 w 7"/>
                <a:gd name="T21" fmla="*/ 3 h 4"/>
                <a:gd name="T22" fmla="*/ 3 w 7"/>
                <a:gd name="T23" fmla="*/ 3 h 4"/>
                <a:gd name="T24" fmla="*/ 4 w 7"/>
                <a:gd name="T25" fmla="*/ 3 h 4"/>
                <a:gd name="T26" fmla="*/ 4 w 7"/>
                <a:gd name="T27" fmla="*/ 3 h 4"/>
                <a:gd name="T28" fmla="*/ 3 w 7"/>
                <a:gd name="T29" fmla="*/ 3 h 4"/>
                <a:gd name="T30" fmla="*/ 3 w 7"/>
                <a:gd name="T31" fmla="*/ 3 h 4"/>
                <a:gd name="T32" fmla="*/ 3 w 7"/>
                <a:gd name="T33" fmla="*/ 3 h 4"/>
                <a:gd name="T34" fmla="*/ 2 w 7"/>
                <a:gd name="T35" fmla="*/ 3 h 4"/>
                <a:gd name="T36" fmla="*/ 2 w 7"/>
                <a:gd name="T37" fmla="*/ 3 h 4"/>
                <a:gd name="T38" fmla="*/ 3 w 7"/>
                <a:gd name="T39" fmla="*/ 3 h 4"/>
                <a:gd name="T40" fmla="*/ 2 w 7"/>
                <a:gd name="T41" fmla="*/ 4 h 4"/>
                <a:gd name="T42" fmla="*/ 2 w 7"/>
                <a:gd name="T43" fmla="*/ 4 h 4"/>
                <a:gd name="T44" fmla="*/ 2 w 7"/>
                <a:gd name="T45" fmla="*/ 3 h 4"/>
                <a:gd name="T46" fmla="*/ 2 w 7"/>
                <a:gd name="T47" fmla="*/ 3 h 4"/>
                <a:gd name="T48" fmla="*/ 2 w 7"/>
                <a:gd name="T49" fmla="*/ 3 h 4"/>
                <a:gd name="T50" fmla="*/ 1 w 7"/>
                <a:gd name="T51" fmla="*/ 3 h 4"/>
                <a:gd name="T52" fmla="*/ 1 w 7"/>
                <a:gd name="T53" fmla="*/ 3 h 4"/>
                <a:gd name="T54" fmla="*/ 1 w 7"/>
                <a:gd name="T55" fmla="*/ 3 h 4"/>
                <a:gd name="T56" fmla="*/ 1 w 7"/>
                <a:gd name="T57" fmla="*/ 3 h 4"/>
                <a:gd name="T58" fmla="*/ 1 w 7"/>
                <a:gd name="T59" fmla="*/ 4 h 4"/>
                <a:gd name="T60" fmla="*/ 1 w 7"/>
                <a:gd name="T61" fmla="*/ 4 h 4"/>
                <a:gd name="T62" fmla="*/ 1 w 7"/>
                <a:gd name="T63" fmla="*/ 4 h 4"/>
                <a:gd name="T64" fmla="*/ 0 w 7"/>
                <a:gd name="T65" fmla="*/ 3 h 4"/>
                <a:gd name="T66" fmla="*/ 1 w 7"/>
                <a:gd name="T67" fmla="*/ 2 h 4"/>
                <a:gd name="T68" fmla="*/ 0 w 7"/>
                <a:gd name="T69" fmla="*/ 3 h 4"/>
                <a:gd name="T70" fmla="*/ 0 w 7"/>
                <a:gd name="T71" fmla="*/ 3 h 4"/>
                <a:gd name="T72" fmla="*/ 1 w 7"/>
                <a:gd name="T73" fmla="*/ 3 h 4"/>
                <a:gd name="T74" fmla="*/ 1 w 7"/>
                <a:gd name="T75" fmla="*/ 3 h 4"/>
                <a:gd name="T76" fmla="*/ 0 w 7"/>
                <a:gd name="T77" fmla="*/ 2 h 4"/>
                <a:gd name="T78" fmla="*/ 1 w 7"/>
                <a:gd name="T79" fmla="*/ 2 h 4"/>
                <a:gd name="T80" fmla="*/ 1 w 7"/>
                <a:gd name="T81" fmla="*/ 2 h 4"/>
                <a:gd name="T82" fmla="*/ 1 w 7"/>
                <a:gd name="T83" fmla="*/ 2 h 4"/>
                <a:gd name="T84" fmla="*/ 1 w 7"/>
                <a:gd name="T85" fmla="*/ 2 h 4"/>
                <a:gd name="T86" fmla="*/ 0 w 7"/>
                <a:gd name="T87" fmla="*/ 2 h 4"/>
                <a:gd name="T88" fmla="*/ 2 w 7"/>
                <a:gd name="T89" fmla="*/ 1 h 4"/>
                <a:gd name="T90" fmla="*/ 2 w 7"/>
                <a:gd name="T91" fmla="*/ 1 h 4"/>
                <a:gd name="T92" fmla="*/ 2 w 7"/>
                <a:gd name="T93" fmla="*/ 1 h 4"/>
                <a:gd name="T94" fmla="*/ 3 w 7"/>
                <a:gd name="T95" fmla="*/ 1 h 4"/>
                <a:gd name="T96" fmla="*/ 3 w 7"/>
                <a:gd name="T97" fmla="*/ 1 h 4"/>
                <a:gd name="T98" fmla="*/ 3 w 7"/>
                <a:gd name="T99" fmla="*/ 1 h 4"/>
                <a:gd name="T100" fmla="*/ 3 w 7"/>
                <a:gd name="T101" fmla="*/ 1 h 4"/>
                <a:gd name="T102" fmla="*/ 4 w 7"/>
                <a:gd name="T103" fmla="*/ 1 h 4"/>
                <a:gd name="T104" fmla="*/ 6 w 7"/>
                <a:gd name="T105" fmla="*/ 0 h 4"/>
                <a:gd name="T106" fmla="*/ 6 w 7"/>
                <a:gd name="T10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 h="4">
                  <a:moveTo>
                    <a:pt x="6" y="1"/>
                  </a:moveTo>
                  <a:lnTo>
                    <a:pt x="6" y="1"/>
                  </a:lnTo>
                  <a:lnTo>
                    <a:pt x="6" y="1"/>
                  </a:lnTo>
                  <a:lnTo>
                    <a:pt x="7" y="1"/>
                  </a:lnTo>
                  <a:lnTo>
                    <a:pt x="7" y="1"/>
                  </a:lnTo>
                  <a:lnTo>
                    <a:pt x="7" y="1"/>
                  </a:lnTo>
                  <a:lnTo>
                    <a:pt x="7" y="2"/>
                  </a:lnTo>
                  <a:lnTo>
                    <a:pt x="6" y="2"/>
                  </a:lnTo>
                  <a:lnTo>
                    <a:pt x="6" y="2"/>
                  </a:lnTo>
                  <a:lnTo>
                    <a:pt x="6" y="2"/>
                  </a:lnTo>
                  <a:lnTo>
                    <a:pt x="6" y="2"/>
                  </a:lnTo>
                  <a:lnTo>
                    <a:pt x="4" y="2"/>
                  </a:lnTo>
                  <a:lnTo>
                    <a:pt x="4" y="2"/>
                  </a:lnTo>
                  <a:lnTo>
                    <a:pt x="4" y="2"/>
                  </a:lnTo>
                  <a:lnTo>
                    <a:pt x="4" y="2"/>
                  </a:lnTo>
                  <a:lnTo>
                    <a:pt x="4" y="2"/>
                  </a:lnTo>
                  <a:lnTo>
                    <a:pt x="4" y="2"/>
                  </a:lnTo>
                  <a:lnTo>
                    <a:pt x="4" y="2"/>
                  </a:lnTo>
                  <a:lnTo>
                    <a:pt x="4" y="2"/>
                  </a:lnTo>
                  <a:lnTo>
                    <a:pt x="4" y="2"/>
                  </a:lnTo>
                  <a:lnTo>
                    <a:pt x="4" y="2"/>
                  </a:lnTo>
                  <a:lnTo>
                    <a:pt x="4" y="3"/>
                  </a:lnTo>
                  <a:lnTo>
                    <a:pt x="3" y="3"/>
                  </a:lnTo>
                  <a:lnTo>
                    <a:pt x="3" y="3"/>
                  </a:lnTo>
                  <a:lnTo>
                    <a:pt x="3" y="3"/>
                  </a:lnTo>
                  <a:lnTo>
                    <a:pt x="4" y="3"/>
                  </a:lnTo>
                  <a:lnTo>
                    <a:pt x="4" y="3"/>
                  </a:lnTo>
                  <a:lnTo>
                    <a:pt x="4" y="3"/>
                  </a:lnTo>
                  <a:lnTo>
                    <a:pt x="3" y="3"/>
                  </a:lnTo>
                  <a:lnTo>
                    <a:pt x="3" y="3"/>
                  </a:lnTo>
                  <a:lnTo>
                    <a:pt x="3" y="3"/>
                  </a:lnTo>
                  <a:lnTo>
                    <a:pt x="3" y="3"/>
                  </a:lnTo>
                  <a:lnTo>
                    <a:pt x="3" y="3"/>
                  </a:lnTo>
                  <a:lnTo>
                    <a:pt x="3" y="3"/>
                  </a:lnTo>
                  <a:lnTo>
                    <a:pt x="3" y="3"/>
                  </a:lnTo>
                  <a:lnTo>
                    <a:pt x="2" y="3"/>
                  </a:lnTo>
                  <a:lnTo>
                    <a:pt x="2" y="3"/>
                  </a:lnTo>
                  <a:lnTo>
                    <a:pt x="2" y="3"/>
                  </a:lnTo>
                  <a:lnTo>
                    <a:pt x="2" y="3"/>
                  </a:lnTo>
                  <a:lnTo>
                    <a:pt x="3" y="3"/>
                  </a:lnTo>
                  <a:lnTo>
                    <a:pt x="3" y="3"/>
                  </a:lnTo>
                  <a:lnTo>
                    <a:pt x="2" y="4"/>
                  </a:lnTo>
                  <a:lnTo>
                    <a:pt x="2" y="4"/>
                  </a:lnTo>
                  <a:lnTo>
                    <a:pt x="2" y="4"/>
                  </a:lnTo>
                  <a:lnTo>
                    <a:pt x="2" y="4"/>
                  </a:lnTo>
                  <a:lnTo>
                    <a:pt x="2" y="3"/>
                  </a:lnTo>
                  <a:lnTo>
                    <a:pt x="2" y="3"/>
                  </a:lnTo>
                  <a:lnTo>
                    <a:pt x="2" y="3"/>
                  </a:lnTo>
                  <a:lnTo>
                    <a:pt x="2" y="3"/>
                  </a:lnTo>
                  <a:lnTo>
                    <a:pt x="2" y="3"/>
                  </a:lnTo>
                  <a:lnTo>
                    <a:pt x="1" y="3"/>
                  </a:lnTo>
                  <a:lnTo>
                    <a:pt x="1" y="3"/>
                  </a:lnTo>
                  <a:lnTo>
                    <a:pt x="1" y="3"/>
                  </a:lnTo>
                  <a:lnTo>
                    <a:pt x="1" y="3"/>
                  </a:lnTo>
                  <a:lnTo>
                    <a:pt x="1" y="3"/>
                  </a:lnTo>
                  <a:lnTo>
                    <a:pt x="1" y="3"/>
                  </a:lnTo>
                  <a:lnTo>
                    <a:pt x="1" y="3"/>
                  </a:lnTo>
                  <a:lnTo>
                    <a:pt x="1" y="3"/>
                  </a:lnTo>
                  <a:lnTo>
                    <a:pt x="1" y="3"/>
                  </a:lnTo>
                  <a:lnTo>
                    <a:pt x="1" y="4"/>
                  </a:lnTo>
                  <a:lnTo>
                    <a:pt x="1" y="4"/>
                  </a:lnTo>
                  <a:lnTo>
                    <a:pt x="1" y="4"/>
                  </a:lnTo>
                  <a:lnTo>
                    <a:pt x="1" y="4"/>
                  </a:lnTo>
                  <a:lnTo>
                    <a:pt x="1" y="4"/>
                  </a:lnTo>
                  <a:lnTo>
                    <a:pt x="0" y="4"/>
                  </a:lnTo>
                  <a:lnTo>
                    <a:pt x="0" y="3"/>
                  </a:lnTo>
                  <a:lnTo>
                    <a:pt x="1" y="3"/>
                  </a:lnTo>
                  <a:lnTo>
                    <a:pt x="1" y="2"/>
                  </a:lnTo>
                  <a:lnTo>
                    <a:pt x="1" y="3"/>
                  </a:lnTo>
                  <a:lnTo>
                    <a:pt x="0" y="3"/>
                  </a:lnTo>
                  <a:lnTo>
                    <a:pt x="0" y="3"/>
                  </a:lnTo>
                  <a:lnTo>
                    <a:pt x="0" y="3"/>
                  </a:lnTo>
                  <a:lnTo>
                    <a:pt x="1" y="3"/>
                  </a:lnTo>
                  <a:lnTo>
                    <a:pt x="1" y="3"/>
                  </a:lnTo>
                  <a:lnTo>
                    <a:pt x="1" y="3"/>
                  </a:lnTo>
                  <a:lnTo>
                    <a:pt x="1" y="3"/>
                  </a:lnTo>
                  <a:lnTo>
                    <a:pt x="1" y="2"/>
                  </a:lnTo>
                  <a:lnTo>
                    <a:pt x="0" y="2"/>
                  </a:lnTo>
                  <a:lnTo>
                    <a:pt x="1" y="2"/>
                  </a:lnTo>
                  <a:lnTo>
                    <a:pt x="1" y="2"/>
                  </a:lnTo>
                  <a:lnTo>
                    <a:pt x="0" y="2"/>
                  </a:lnTo>
                  <a:lnTo>
                    <a:pt x="1" y="2"/>
                  </a:lnTo>
                  <a:lnTo>
                    <a:pt x="1" y="2"/>
                  </a:lnTo>
                  <a:lnTo>
                    <a:pt x="1" y="2"/>
                  </a:lnTo>
                  <a:lnTo>
                    <a:pt x="1" y="2"/>
                  </a:lnTo>
                  <a:lnTo>
                    <a:pt x="1" y="2"/>
                  </a:lnTo>
                  <a:lnTo>
                    <a:pt x="1" y="2"/>
                  </a:lnTo>
                  <a:lnTo>
                    <a:pt x="0" y="2"/>
                  </a:lnTo>
                  <a:lnTo>
                    <a:pt x="2" y="1"/>
                  </a:lnTo>
                  <a:lnTo>
                    <a:pt x="2" y="1"/>
                  </a:lnTo>
                  <a:lnTo>
                    <a:pt x="2" y="1"/>
                  </a:lnTo>
                  <a:lnTo>
                    <a:pt x="2" y="1"/>
                  </a:lnTo>
                  <a:lnTo>
                    <a:pt x="2" y="1"/>
                  </a:lnTo>
                  <a:lnTo>
                    <a:pt x="2" y="1"/>
                  </a:lnTo>
                  <a:lnTo>
                    <a:pt x="2" y="1"/>
                  </a:lnTo>
                  <a:lnTo>
                    <a:pt x="3" y="1"/>
                  </a:lnTo>
                  <a:lnTo>
                    <a:pt x="3" y="1"/>
                  </a:lnTo>
                  <a:lnTo>
                    <a:pt x="3" y="1"/>
                  </a:lnTo>
                  <a:lnTo>
                    <a:pt x="3" y="1"/>
                  </a:lnTo>
                  <a:lnTo>
                    <a:pt x="3" y="1"/>
                  </a:lnTo>
                  <a:lnTo>
                    <a:pt x="3" y="1"/>
                  </a:lnTo>
                  <a:lnTo>
                    <a:pt x="3" y="1"/>
                  </a:lnTo>
                  <a:lnTo>
                    <a:pt x="3" y="1"/>
                  </a:lnTo>
                  <a:lnTo>
                    <a:pt x="4" y="1"/>
                  </a:lnTo>
                  <a:lnTo>
                    <a:pt x="4" y="0"/>
                  </a:lnTo>
                  <a:lnTo>
                    <a:pt x="6" y="0"/>
                  </a:lnTo>
                  <a:lnTo>
                    <a:pt x="6" y="1"/>
                  </a:lnTo>
                  <a:lnTo>
                    <a:pt x="6"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05" name="Freeform 1471">
              <a:extLst>
                <a:ext uri="{FF2B5EF4-FFF2-40B4-BE49-F238E27FC236}">
                  <a16:creationId xmlns:a16="http://schemas.microsoft.com/office/drawing/2014/main" id="{5FA927DA-6D7D-42FF-B3A9-A89980DC9F6A}"/>
                </a:ext>
              </a:extLst>
            </p:cNvPr>
            <p:cNvSpPr>
              <a:spLocks/>
            </p:cNvSpPr>
            <p:nvPr/>
          </p:nvSpPr>
          <p:spPr bwMode="auto">
            <a:xfrm>
              <a:off x="6001409" y="1938253"/>
              <a:ext cx="12020" cy="5342"/>
            </a:xfrm>
            <a:custGeom>
              <a:avLst/>
              <a:gdLst>
                <a:gd name="T0" fmla="*/ 8 w 9"/>
                <a:gd name="T1" fmla="*/ 1 h 4"/>
                <a:gd name="T2" fmla="*/ 8 w 9"/>
                <a:gd name="T3" fmla="*/ 1 h 4"/>
                <a:gd name="T4" fmla="*/ 7 w 9"/>
                <a:gd name="T5" fmla="*/ 1 h 4"/>
                <a:gd name="T6" fmla="*/ 7 w 9"/>
                <a:gd name="T7" fmla="*/ 1 h 4"/>
                <a:gd name="T8" fmla="*/ 7 w 9"/>
                <a:gd name="T9" fmla="*/ 2 h 4"/>
                <a:gd name="T10" fmla="*/ 5 w 9"/>
                <a:gd name="T11" fmla="*/ 2 h 4"/>
                <a:gd name="T12" fmla="*/ 6 w 9"/>
                <a:gd name="T13" fmla="*/ 2 h 4"/>
                <a:gd name="T14" fmla="*/ 5 w 9"/>
                <a:gd name="T15" fmla="*/ 2 h 4"/>
                <a:gd name="T16" fmla="*/ 5 w 9"/>
                <a:gd name="T17" fmla="*/ 2 h 4"/>
                <a:gd name="T18" fmla="*/ 5 w 9"/>
                <a:gd name="T19" fmla="*/ 2 h 4"/>
                <a:gd name="T20" fmla="*/ 3 w 9"/>
                <a:gd name="T21" fmla="*/ 2 h 4"/>
                <a:gd name="T22" fmla="*/ 3 w 9"/>
                <a:gd name="T23" fmla="*/ 2 h 4"/>
                <a:gd name="T24" fmla="*/ 3 w 9"/>
                <a:gd name="T25" fmla="*/ 3 h 4"/>
                <a:gd name="T26" fmla="*/ 2 w 9"/>
                <a:gd name="T27" fmla="*/ 3 h 4"/>
                <a:gd name="T28" fmla="*/ 1 w 9"/>
                <a:gd name="T29" fmla="*/ 3 h 4"/>
                <a:gd name="T30" fmla="*/ 1 w 9"/>
                <a:gd name="T31" fmla="*/ 3 h 4"/>
                <a:gd name="T32" fmla="*/ 1 w 9"/>
                <a:gd name="T33" fmla="*/ 3 h 4"/>
                <a:gd name="T34" fmla="*/ 0 w 9"/>
                <a:gd name="T35" fmla="*/ 3 h 4"/>
                <a:gd name="T36" fmla="*/ 0 w 9"/>
                <a:gd name="T37" fmla="*/ 4 h 4"/>
                <a:gd name="T38" fmla="*/ 0 w 9"/>
                <a:gd name="T39" fmla="*/ 3 h 4"/>
                <a:gd name="T40" fmla="*/ 0 w 9"/>
                <a:gd name="T41" fmla="*/ 3 h 4"/>
                <a:gd name="T42" fmla="*/ 0 w 9"/>
                <a:gd name="T43" fmla="*/ 3 h 4"/>
                <a:gd name="T44" fmla="*/ 1 w 9"/>
                <a:gd name="T45" fmla="*/ 3 h 4"/>
                <a:gd name="T46" fmla="*/ 0 w 9"/>
                <a:gd name="T47" fmla="*/ 3 h 4"/>
                <a:gd name="T48" fmla="*/ 0 w 9"/>
                <a:gd name="T49" fmla="*/ 2 h 4"/>
                <a:gd name="T50" fmla="*/ 0 w 9"/>
                <a:gd name="T51" fmla="*/ 2 h 4"/>
                <a:gd name="T52" fmla="*/ 1 w 9"/>
                <a:gd name="T53" fmla="*/ 2 h 4"/>
                <a:gd name="T54" fmla="*/ 1 w 9"/>
                <a:gd name="T55" fmla="*/ 2 h 4"/>
                <a:gd name="T56" fmla="*/ 2 w 9"/>
                <a:gd name="T57" fmla="*/ 2 h 4"/>
                <a:gd name="T58" fmla="*/ 2 w 9"/>
                <a:gd name="T59" fmla="*/ 2 h 4"/>
                <a:gd name="T60" fmla="*/ 2 w 9"/>
                <a:gd name="T61" fmla="*/ 2 h 4"/>
                <a:gd name="T62" fmla="*/ 2 w 9"/>
                <a:gd name="T63" fmla="*/ 1 h 4"/>
                <a:gd name="T64" fmla="*/ 2 w 9"/>
                <a:gd name="T65" fmla="*/ 1 h 4"/>
                <a:gd name="T66" fmla="*/ 2 w 9"/>
                <a:gd name="T67" fmla="*/ 1 h 4"/>
                <a:gd name="T68" fmla="*/ 3 w 9"/>
                <a:gd name="T69" fmla="*/ 1 h 4"/>
                <a:gd name="T70" fmla="*/ 2 w 9"/>
                <a:gd name="T71" fmla="*/ 1 h 4"/>
                <a:gd name="T72" fmla="*/ 5 w 9"/>
                <a:gd name="T73" fmla="*/ 1 h 4"/>
                <a:gd name="T74" fmla="*/ 5 w 9"/>
                <a:gd name="T75" fmla="*/ 1 h 4"/>
                <a:gd name="T76" fmla="*/ 5 w 9"/>
                <a:gd name="T77" fmla="*/ 0 h 4"/>
                <a:gd name="T78" fmla="*/ 5 w 9"/>
                <a:gd name="T79" fmla="*/ 0 h 4"/>
                <a:gd name="T80" fmla="*/ 6 w 9"/>
                <a:gd name="T81" fmla="*/ 1 h 4"/>
                <a:gd name="T82" fmla="*/ 5 w 9"/>
                <a:gd name="T83" fmla="*/ 1 h 4"/>
                <a:gd name="T84" fmla="*/ 6 w 9"/>
                <a:gd name="T85" fmla="*/ 1 h 4"/>
                <a:gd name="T86" fmla="*/ 6 w 9"/>
                <a:gd name="T87" fmla="*/ 1 h 4"/>
                <a:gd name="T88" fmla="*/ 7 w 9"/>
                <a:gd name="T89" fmla="*/ 0 h 4"/>
                <a:gd name="T90" fmla="*/ 9 w 9"/>
                <a:gd name="T9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 h="4">
                  <a:moveTo>
                    <a:pt x="9" y="0"/>
                  </a:moveTo>
                  <a:lnTo>
                    <a:pt x="8" y="1"/>
                  </a:lnTo>
                  <a:lnTo>
                    <a:pt x="8" y="1"/>
                  </a:lnTo>
                  <a:lnTo>
                    <a:pt x="8" y="1"/>
                  </a:lnTo>
                  <a:lnTo>
                    <a:pt x="8" y="1"/>
                  </a:lnTo>
                  <a:lnTo>
                    <a:pt x="8" y="1"/>
                  </a:lnTo>
                  <a:lnTo>
                    <a:pt x="8" y="1"/>
                  </a:lnTo>
                  <a:lnTo>
                    <a:pt x="7" y="1"/>
                  </a:lnTo>
                  <a:lnTo>
                    <a:pt x="7" y="1"/>
                  </a:lnTo>
                  <a:lnTo>
                    <a:pt x="7" y="1"/>
                  </a:lnTo>
                  <a:lnTo>
                    <a:pt x="7" y="1"/>
                  </a:lnTo>
                  <a:lnTo>
                    <a:pt x="7" y="1"/>
                  </a:lnTo>
                  <a:lnTo>
                    <a:pt x="7" y="1"/>
                  </a:lnTo>
                  <a:lnTo>
                    <a:pt x="7" y="1"/>
                  </a:lnTo>
                  <a:lnTo>
                    <a:pt x="7" y="2"/>
                  </a:lnTo>
                  <a:lnTo>
                    <a:pt x="6" y="2"/>
                  </a:lnTo>
                  <a:lnTo>
                    <a:pt x="5" y="2"/>
                  </a:lnTo>
                  <a:lnTo>
                    <a:pt x="5" y="2"/>
                  </a:lnTo>
                  <a:lnTo>
                    <a:pt x="5" y="2"/>
                  </a:lnTo>
                  <a:lnTo>
                    <a:pt x="5" y="2"/>
                  </a:lnTo>
                  <a:lnTo>
                    <a:pt x="6" y="2"/>
                  </a:lnTo>
                  <a:lnTo>
                    <a:pt x="5" y="2"/>
                  </a:lnTo>
                  <a:lnTo>
                    <a:pt x="5" y="2"/>
                  </a:lnTo>
                  <a:lnTo>
                    <a:pt x="5" y="2"/>
                  </a:lnTo>
                  <a:lnTo>
                    <a:pt x="5" y="1"/>
                  </a:lnTo>
                  <a:lnTo>
                    <a:pt x="5" y="1"/>
                  </a:lnTo>
                  <a:lnTo>
                    <a:pt x="5" y="2"/>
                  </a:lnTo>
                  <a:lnTo>
                    <a:pt x="5" y="2"/>
                  </a:lnTo>
                  <a:lnTo>
                    <a:pt x="5" y="2"/>
                  </a:lnTo>
                  <a:lnTo>
                    <a:pt x="5" y="2"/>
                  </a:lnTo>
                  <a:lnTo>
                    <a:pt x="5" y="2"/>
                  </a:lnTo>
                  <a:lnTo>
                    <a:pt x="5" y="2"/>
                  </a:lnTo>
                  <a:lnTo>
                    <a:pt x="3" y="2"/>
                  </a:lnTo>
                  <a:lnTo>
                    <a:pt x="3" y="2"/>
                  </a:lnTo>
                  <a:lnTo>
                    <a:pt x="3" y="2"/>
                  </a:lnTo>
                  <a:lnTo>
                    <a:pt x="3" y="2"/>
                  </a:lnTo>
                  <a:lnTo>
                    <a:pt x="5" y="2"/>
                  </a:lnTo>
                  <a:lnTo>
                    <a:pt x="5" y="3"/>
                  </a:lnTo>
                  <a:lnTo>
                    <a:pt x="3" y="3"/>
                  </a:lnTo>
                  <a:lnTo>
                    <a:pt x="3" y="3"/>
                  </a:lnTo>
                  <a:lnTo>
                    <a:pt x="3" y="3"/>
                  </a:lnTo>
                  <a:lnTo>
                    <a:pt x="2" y="3"/>
                  </a:lnTo>
                  <a:lnTo>
                    <a:pt x="2" y="3"/>
                  </a:lnTo>
                  <a:lnTo>
                    <a:pt x="2" y="3"/>
                  </a:lnTo>
                  <a:lnTo>
                    <a:pt x="1" y="3"/>
                  </a:lnTo>
                  <a:lnTo>
                    <a:pt x="1" y="3"/>
                  </a:lnTo>
                  <a:lnTo>
                    <a:pt x="1" y="3"/>
                  </a:lnTo>
                  <a:lnTo>
                    <a:pt x="1" y="3"/>
                  </a:lnTo>
                  <a:lnTo>
                    <a:pt x="1" y="3"/>
                  </a:lnTo>
                  <a:lnTo>
                    <a:pt x="1" y="3"/>
                  </a:lnTo>
                  <a:lnTo>
                    <a:pt x="1" y="3"/>
                  </a:lnTo>
                  <a:lnTo>
                    <a:pt x="1" y="3"/>
                  </a:lnTo>
                  <a:lnTo>
                    <a:pt x="1" y="3"/>
                  </a:lnTo>
                  <a:lnTo>
                    <a:pt x="0" y="3"/>
                  </a:lnTo>
                  <a:lnTo>
                    <a:pt x="0" y="4"/>
                  </a:lnTo>
                  <a:lnTo>
                    <a:pt x="0" y="4"/>
                  </a:lnTo>
                  <a:lnTo>
                    <a:pt x="0" y="4"/>
                  </a:lnTo>
                  <a:lnTo>
                    <a:pt x="0" y="3"/>
                  </a:lnTo>
                  <a:lnTo>
                    <a:pt x="0" y="3"/>
                  </a:lnTo>
                  <a:lnTo>
                    <a:pt x="0" y="3"/>
                  </a:lnTo>
                  <a:lnTo>
                    <a:pt x="0" y="3"/>
                  </a:lnTo>
                  <a:lnTo>
                    <a:pt x="0" y="3"/>
                  </a:lnTo>
                  <a:lnTo>
                    <a:pt x="0" y="3"/>
                  </a:lnTo>
                  <a:lnTo>
                    <a:pt x="0" y="3"/>
                  </a:lnTo>
                  <a:lnTo>
                    <a:pt x="0" y="3"/>
                  </a:lnTo>
                  <a:lnTo>
                    <a:pt x="0" y="3"/>
                  </a:lnTo>
                  <a:lnTo>
                    <a:pt x="0" y="3"/>
                  </a:lnTo>
                  <a:lnTo>
                    <a:pt x="0" y="3"/>
                  </a:lnTo>
                  <a:lnTo>
                    <a:pt x="1" y="3"/>
                  </a:lnTo>
                  <a:lnTo>
                    <a:pt x="1" y="3"/>
                  </a:lnTo>
                  <a:lnTo>
                    <a:pt x="0" y="3"/>
                  </a:lnTo>
                  <a:lnTo>
                    <a:pt x="0" y="3"/>
                  </a:lnTo>
                  <a:lnTo>
                    <a:pt x="0" y="2"/>
                  </a:lnTo>
                  <a:lnTo>
                    <a:pt x="0" y="2"/>
                  </a:lnTo>
                  <a:lnTo>
                    <a:pt x="0" y="2"/>
                  </a:lnTo>
                  <a:lnTo>
                    <a:pt x="1" y="2"/>
                  </a:lnTo>
                  <a:lnTo>
                    <a:pt x="0" y="2"/>
                  </a:lnTo>
                  <a:lnTo>
                    <a:pt x="0" y="2"/>
                  </a:lnTo>
                  <a:lnTo>
                    <a:pt x="0" y="2"/>
                  </a:lnTo>
                  <a:lnTo>
                    <a:pt x="1" y="2"/>
                  </a:lnTo>
                  <a:lnTo>
                    <a:pt x="1" y="2"/>
                  </a:lnTo>
                  <a:lnTo>
                    <a:pt x="1" y="2"/>
                  </a:lnTo>
                  <a:lnTo>
                    <a:pt x="2" y="2"/>
                  </a:lnTo>
                  <a:lnTo>
                    <a:pt x="1" y="2"/>
                  </a:lnTo>
                  <a:lnTo>
                    <a:pt x="1" y="2"/>
                  </a:lnTo>
                  <a:lnTo>
                    <a:pt x="1" y="2"/>
                  </a:lnTo>
                  <a:lnTo>
                    <a:pt x="2" y="2"/>
                  </a:lnTo>
                  <a:lnTo>
                    <a:pt x="2" y="2"/>
                  </a:lnTo>
                  <a:lnTo>
                    <a:pt x="2" y="2"/>
                  </a:lnTo>
                  <a:lnTo>
                    <a:pt x="2" y="2"/>
                  </a:lnTo>
                  <a:lnTo>
                    <a:pt x="2" y="2"/>
                  </a:lnTo>
                  <a:lnTo>
                    <a:pt x="2" y="2"/>
                  </a:lnTo>
                  <a:lnTo>
                    <a:pt x="2" y="2"/>
                  </a:lnTo>
                  <a:lnTo>
                    <a:pt x="2" y="2"/>
                  </a:lnTo>
                  <a:lnTo>
                    <a:pt x="2" y="1"/>
                  </a:lnTo>
                  <a:lnTo>
                    <a:pt x="2" y="1"/>
                  </a:lnTo>
                  <a:lnTo>
                    <a:pt x="2" y="1"/>
                  </a:lnTo>
                  <a:lnTo>
                    <a:pt x="2" y="1"/>
                  </a:lnTo>
                  <a:lnTo>
                    <a:pt x="2" y="1"/>
                  </a:lnTo>
                  <a:lnTo>
                    <a:pt x="1" y="1"/>
                  </a:lnTo>
                  <a:lnTo>
                    <a:pt x="1" y="1"/>
                  </a:lnTo>
                  <a:lnTo>
                    <a:pt x="2" y="1"/>
                  </a:lnTo>
                  <a:lnTo>
                    <a:pt x="2" y="1"/>
                  </a:lnTo>
                  <a:lnTo>
                    <a:pt x="3" y="1"/>
                  </a:lnTo>
                  <a:lnTo>
                    <a:pt x="3" y="1"/>
                  </a:lnTo>
                  <a:lnTo>
                    <a:pt x="3" y="1"/>
                  </a:lnTo>
                  <a:lnTo>
                    <a:pt x="2" y="1"/>
                  </a:lnTo>
                  <a:lnTo>
                    <a:pt x="2" y="1"/>
                  </a:lnTo>
                  <a:lnTo>
                    <a:pt x="3" y="0"/>
                  </a:lnTo>
                  <a:lnTo>
                    <a:pt x="3" y="1"/>
                  </a:lnTo>
                  <a:lnTo>
                    <a:pt x="5" y="1"/>
                  </a:lnTo>
                  <a:lnTo>
                    <a:pt x="5" y="1"/>
                  </a:lnTo>
                  <a:lnTo>
                    <a:pt x="5" y="1"/>
                  </a:lnTo>
                  <a:lnTo>
                    <a:pt x="5" y="1"/>
                  </a:lnTo>
                  <a:lnTo>
                    <a:pt x="5" y="1"/>
                  </a:lnTo>
                  <a:lnTo>
                    <a:pt x="5" y="1"/>
                  </a:lnTo>
                  <a:lnTo>
                    <a:pt x="5" y="0"/>
                  </a:lnTo>
                  <a:lnTo>
                    <a:pt x="5" y="0"/>
                  </a:lnTo>
                  <a:lnTo>
                    <a:pt x="5" y="0"/>
                  </a:lnTo>
                  <a:lnTo>
                    <a:pt x="5" y="0"/>
                  </a:lnTo>
                  <a:lnTo>
                    <a:pt x="6" y="0"/>
                  </a:lnTo>
                  <a:lnTo>
                    <a:pt x="6" y="1"/>
                  </a:lnTo>
                  <a:lnTo>
                    <a:pt x="6" y="1"/>
                  </a:lnTo>
                  <a:lnTo>
                    <a:pt x="6" y="1"/>
                  </a:lnTo>
                  <a:lnTo>
                    <a:pt x="6" y="1"/>
                  </a:lnTo>
                  <a:lnTo>
                    <a:pt x="5" y="1"/>
                  </a:lnTo>
                  <a:lnTo>
                    <a:pt x="5" y="1"/>
                  </a:lnTo>
                  <a:lnTo>
                    <a:pt x="6" y="1"/>
                  </a:lnTo>
                  <a:lnTo>
                    <a:pt x="6" y="1"/>
                  </a:lnTo>
                  <a:lnTo>
                    <a:pt x="6" y="1"/>
                  </a:lnTo>
                  <a:lnTo>
                    <a:pt x="6" y="1"/>
                  </a:lnTo>
                  <a:lnTo>
                    <a:pt x="6" y="1"/>
                  </a:lnTo>
                  <a:lnTo>
                    <a:pt x="6" y="0"/>
                  </a:lnTo>
                  <a:lnTo>
                    <a:pt x="7" y="0"/>
                  </a:lnTo>
                  <a:lnTo>
                    <a:pt x="7" y="0"/>
                  </a:lnTo>
                  <a:lnTo>
                    <a:pt x="8" y="0"/>
                  </a:lnTo>
                  <a:lnTo>
                    <a:pt x="8" y="0"/>
                  </a:lnTo>
                  <a:lnTo>
                    <a:pt x="9" y="0"/>
                  </a:lnTo>
                  <a:lnTo>
                    <a:pt x="9"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06" name="Freeform 1472">
              <a:extLst>
                <a:ext uri="{FF2B5EF4-FFF2-40B4-BE49-F238E27FC236}">
                  <a16:creationId xmlns:a16="http://schemas.microsoft.com/office/drawing/2014/main" id="{78A35513-C1AF-4812-A1C9-9F65633243F4}"/>
                </a:ext>
              </a:extLst>
            </p:cNvPr>
            <p:cNvSpPr>
              <a:spLocks/>
            </p:cNvSpPr>
            <p:nvPr/>
          </p:nvSpPr>
          <p:spPr bwMode="auto">
            <a:xfrm>
              <a:off x="6025448" y="1935582"/>
              <a:ext cx="5342" cy="4007"/>
            </a:xfrm>
            <a:custGeom>
              <a:avLst/>
              <a:gdLst>
                <a:gd name="T0" fmla="*/ 4 w 4"/>
                <a:gd name="T1" fmla="*/ 2 h 3"/>
                <a:gd name="T2" fmla="*/ 4 w 4"/>
                <a:gd name="T3" fmla="*/ 3 h 3"/>
                <a:gd name="T4" fmla="*/ 4 w 4"/>
                <a:gd name="T5" fmla="*/ 3 h 3"/>
                <a:gd name="T6" fmla="*/ 2 w 4"/>
                <a:gd name="T7" fmla="*/ 3 h 3"/>
                <a:gd name="T8" fmla="*/ 2 w 4"/>
                <a:gd name="T9" fmla="*/ 3 h 3"/>
                <a:gd name="T10" fmla="*/ 0 w 4"/>
                <a:gd name="T11" fmla="*/ 3 h 3"/>
                <a:gd name="T12" fmla="*/ 0 w 4"/>
                <a:gd name="T13" fmla="*/ 3 h 3"/>
                <a:gd name="T14" fmla="*/ 0 w 4"/>
                <a:gd name="T15" fmla="*/ 3 h 3"/>
                <a:gd name="T16" fmla="*/ 0 w 4"/>
                <a:gd name="T17" fmla="*/ 3 h 3"/>
                <a:gd name="T18" fmla="*/ 0 w 4"/>
                <a:gd name="T19" fmla="*/ 3 h 3"/>
                <a:gd name="T20" fmla="*/ 2 w 4"/>
                <a:gd name="T21" fmla="*/ 2 h 3"/>
                <a:gd name="T22" fmla="*/ 2 w 4"/>
                <a:gd name="T23" fmla="*/ 2 h 3"/>
                <a:gd name="T24" fmla="*/ 0 w 4"/>
                <a:gd name="T25" fmla="*/ 2 h 3"/>
                <a:gd name="T26" fmla="*/ 0 w 4"/>
                <a:gd name="T27" fmla="*/ 2 h 3"/>
                <a:gd name="T28" fmla="*/ 0 w 4"/>
                <a:gd name="T29" fmla="*/ 2 h 3"/>
                <a:gd name="T30" fmla="*/ 0 w 4"/>
                <a:gd name="T31" fmla="*/ 2 h 3"/>
                <a:gd name="T32" fmla="*/ 2 w 4"/>
                <a:gd name="T33" fmla="*/ 0 h 3"/>
                <a:gd name="T34" fmla="*/ 2 w 4"/>
                <a:gd name="T35" fmla="*/ 0 h 3"/>
                <a:gd name="T36" fmla="*/ 3 w 4"/>
                <a:gd name="T37" fmla="*/ 0 h 3"/>
                <a:gd name="T38" fmla="*/ 3 w 4"/>
                <a:gd name="T39" fmla="*/ 0 h 3"/>
                <a:gd name="T40" fmla="*/ 3 w 4"/>
                <a:gd name="T41" fmla="*/ 0 h 3"/>
                <a:gd name="T42" fmla="*/ 3 w 4"/>
                <a:gd name="T43" fmla="*/ 0 h 3"/>
                <a:gd name="T44" fmla="*/ 4 w 4"/>
                <a:gd name="T45" fmla="*/ 0 h 3"/>
                <a:gd name="T46" fmla="*/ 4 w 4"/>
                <a:gd name="T47" fmla="*/ 0 h 3"/>
                <a:gd name="T48" fmla="*/ 4 w 4"/>
                <a:gd name="T49" fmla="*/ 2 h 3"/>
                <a:gd name="T50" fmla="*/ 4 w 4"/>
                <a:gd name="T51" fmla="*/ 2 h 3"/>
                <a:gd name="T52" fmla="*/ 4 w 4"/>
                <a:gd name="T53" fmla="*/ 2 h 3"/>
                <a:gd name="T54" fmla="*/ 4 w 4"/>
                <a:gd name="T55" fmla="*/ 2 h 3"/>
                <a:gd name="T56" fmla="*/ 4 w 4"/>
                <a:gd name="T57" fmla="*/ 2 h 3"/>
                <a:gd name="T58" fmla="*/ 4 w 4"/>
                <a:gd name="T59" fmla="*/ 2 h 3"/>
                <a:gd name="T60" fmla="*/ 4 w 4"/>
                <a:gd name="T61" fmla="*/ 2 h 3"/>
                <a:gd name="T62" fmla="*/ 3 w 4"/>
                <a:gd name="T63" fmla="*/ 2 h 3"/>
                <a:gd name="T64" fmla="*/ 3 w 4"/>
                <a:gd name="T65" fmla="*/ 2 h 3"/>
                <a:gd name="T66" fmla="*/ 4 w 4"/>
                <a:gd name="T6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 h="3">
                  <a:moveTo>
                    <a:pt x="4" y="2"/>
                  </a:moveTo>
                  <a:lnTo>
                    <a:pt x="4" y="3"/>
                  </a:lnTo>
                  <a:lnTo>
                    <a:pt x="4" y="3"/>
                  </a:lnTo>
                  <a:lnTo>
                    <a:pt x="2" y="3"/>
                  </a:lnTo>
                  <a:lnTo>
                    <a:pt x="2" y="3"/>
                  </a:lnTo>
                  <a:lnTo>
                    <a:pt x="0" y="3"/>
                  </a:lnTo>
                  <a:lnTo>
                    <a:pt x="0" y="3"/>
                  </a:lnTo>
                  <a:lnTo>
                    <a:pt x="0" y="3"/>
                  </a:lnTo>
                  <a:lnTo>
                    <a:pt x="0" y="3"/>
                  </a:lnTo>
                  <a:lnTo>
                    <a:pt x="0" y="3"/>
                  </a:lnTo>
                  <a:lnTo>
                    <a:pt x="2" y="2"/>
                  </a:lnTo>
                  <a:lnTo>
                    <a:pt x="2" y="2"/>
                  </a:lnTo>
                  <a:lnTo>
                    <a:pt x="0" y="2"/>
                  </a:lnTo>
                  <a:lnTo>
                    <a:pt x="0" y="2"/>
                  </a:lnTo>
                  <a:lnTo>
                    <a:pt x="0" y="2"/>
                  </a:lnTo>
                  <a:lnTo>
                    <a:pt x="0" y="2"/>
                  </a:lnTo>
                  <a:lnTo>
                    <a:pt x="2" y="0"/>
                  </a:lnTo>
                  <a:lnTo>
                    <a:pt x="2" y="0"/>
                  </a:lnTo>
                  <a:lnTo>
                    <a:pt x="3" y="0"/>
                  </a:lnTo>
                  <a:lnTo>
                    <a:pt x="3" y="0"/>
                  </a:lnTo>
                  <a:lnTo>
                    <a:pt x="3" y="0"/>
                  </a:lnTo>
                  <a:lnTo>
                    <a:pt x="3" y="0"/>
                  </a:lnTo>
                  <a:lnTo>
                    <a:pt x="4" y="0"/>
                  </a:lnTo>
                  <a:lnTo>
                    <a:pt x="4" y="0"/>
                  </a:lnTo>
                  <a:lnTo>
                    <a:pt x="4" y="2"/>
                  </a:lnTo>
                  <a:lnTo>
                    <a:pt x="4" y="2"/>
                  </a:lnTo>
                  <a:lnTo>
                    <a:pt x="4" y="2"/>
                  </a:lnTo>
                  <a:lnTo>
                    <a:pt x="4" y="2"/>
                  </a:lnTo>
                  <a:lnTo>
                    <a:pt x="4" y="2"/>
                  </a:lnTo>
                  <a:lnTo>
                    <a:pt x="4" y="2"/>
                  </a:lnTo>
                  <a:lnTo>
                    <a:pt x="4" y="2"/>
                  </a:lnTo>
                  <a:lnTo>
                    <a:pt x="3" y="2"/>
                  </a:lnTo>
                  <a:lnTo>
                    <a:pt x="3" y="2"/>
                  </a:lnTo>
                  <a:lnTo>
                    <a:pt x="4"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07" name="Freeform 1473">
              <a:extLst>
                <a:ext uri="{FF2B5EF4-FFF2-40B4-BE49-F238E27FC236}">
                  <a16:creationId xmlns:a16="http://schemas.microsoft.com/office/drawing/2014/main" id="{09A47B01-A538-44AC-B138-5DB0D781712E}"/>
                </a:ext>
              </a:extLst>
            </p:cNvPr>
            <p:cNvSpPr>
              <a:spLocks/>
            </p:cNvSpPr>
            <p:nvPr/>
          </p:nvSpPr>
          <p:spPr bwMode="auto">
            <a:xfrm>
              <a:off x="6005415" y="1935582"/>
              <a:ext cx="5342" cy="2671"/>
            </a:xfrm>
            <a:custGeom>
              <a:avLst/>
              <a:gdLst>
                <a:gd name="T0" fmla="*/ 2 w 4"/>
                <a:gd name="T1" fmla="*/ 2 h 2"/>
                <a:gd name="T2" fmla="*/ 0 w 4"/>
                <a:gd name="T3" fmla="*/ 0 h 2"/>
                <a:gd name="T4" fmla="*/ 0 w 4"/>
                <a:gd name="T5" fmla="*/ 0 h 2"/>
                <a:gd name="T6" fmla="*/ 0 w 4"/>
                <a:gd name="T7" fmla="*/ 0 h 2"/>
                <a:gd name="T8" fmla="*/ 2 w 4"/>
                <a:gd name="T9" fmla="*/ 0 h 2"/>
                <a:gd name="T10" fmla="*/ 4 w 4"/>
                <a:gd name="T11" fmla="*/ 0 h 2"/>
                <a:gd name="T12" fmla="*/ 4 w 4"/>
                <a:gd name="T13" fmla="*/ 0 h 2"/>
                <a:gd name="T14" fmla="*/ 4 w 4"/>
                <a:gd name="T15" fmla="*/ 0 h 2"/>
                <a:gd name="T16" fmla="*/ 4 w 4"/>
                <a:gd name="T17" fmla="*/ 0 h 2"/>
                <a:gd name="T18" fmla="*/ 4 w 4"/>
                <a:gd name="T19" fmla="*/ 0 h 2"/>
                <a:gd name="T20" fmla="*/ 4 w 4"/>
                <a:gd name="T21" fmla="*/ 0 h 2"/>
                <a:gd name="T22" fmla="*/ 4 w 4"/>
                <a:gd name="T23" fmla="*/ 0 h 2"/>
                <a:gd name="T24" fmla="*/ 4 w 4"/>
                <a:gd name="T25" fmla="*/ 0 h 2"/>
                <a:gd name="T26" fmla="*/ 4 w 4"/>
                <a:gd name="T27" fmla="*/ 0 h 2"/>
                <a:gd name="T28" fmla="*/ 4 w 4"/>
                <a:gd name="T29" fmla="*/ 0 h 2"/>
                <a:gd name="T30" fmla="*/ 4 w 4"/>
                <a:gd name="T31" fmla="*/ 0 h 2"/>
                <a:gd name="T32" fmla="*/ 4 w 4"/>
                <a:gd name="T33" fmla="*/ 0 h 2"/>
                <a:gd name="T34" fmla="*/ 4 w 4"/>
                <a:gd name="T35" fmla="*/ 0 h 2"/>
                <a:gd name="T36" fmla="*/ 4 w 4"/>
                <a:gd name="T37" fmla="*/ 0 h 2"/>
                <a:gd name="T38" fmla="*/ 4 w 4"/>
                <a:gd name="T39" fmla="*/ 0 h 2"/>
                <a:gd name="T40" fmla="*/ 4 w 4"/>
                <a:gd name="T41" fmla="*/ 0 h 2"/>
                <a:gd name="T42" fmla="*/ 4 w 4"/>
                <a:gd name="T43" fmla="*/ 0 h 2"/>
                <a:gd name="T44" fmla="*/ 4 w 4"/>
                <a:gd name="T45" fmla="*/ 0 h 2"/>
                <a:gd name="T46" fmla="*/ 4 w 4"/>
                <a:gd name="T47" fmla="*/ 0 h 2"/>
                <a:gd name="T48" fmla="*/ 4 w 4"/>
                <a:gd name="T49" fmla="*/ 0 h 2"/>
                <a:gd name="T50" fmla="*/ 4 w 4"/>
                <a:gd name="T51" fmla="*/ 0 h 2"/>
                <a:gd name="T52" fmla="*/ 4 w 4"/>
                <a:gd name="T53" fmla="*/ 0 h 2"/>
                <a:gd name="T54" fmla="*/ 4 w 4"/>
                <a:gd name="T55" fmla="*/ 0 h 2"/>
                <a:gd name="T56" fmla="*/ 4 w 4"/>
                <a:gd name="T57" fmla="*/ 0 h 2"/>
                <a:gd name="T58" fmla="*/ 4 w 4"/>
                <a:gd name="T59" fmla="*/ 0 h 2"/>
                <a:gd name="T60" fmla="*/ 4 w 4"/>
                <a:gd name="T61" fmla="*/ 0 h 2"/>
                <a:gd name="T62" fmla="*/ 4 w 4"/>
                <a:gd name="T63" fmla="*/ 0 h 2"/>
                <a:gd name="T64" fmla="*/ 4 w 4"/>
                <a:gd name="T65" fmla="*/ 0 h 2"/>
                <a:gd name="T66" fmla="*/ 4 w 4"/>
                <a:gd name="T67" fmla="*/ 0 h 2"/>
                <a:gd name="T68" fmla="*/ 4 w 4"/>
                <a:gd name="T69" fmla="*/ 0 h 2"/>
                <a:gd name="T70" fmla="*/ 4 w 4"/>
                <a:gd name="T71" fmla="*/ 0 h 2"/>
                <a:gd name="T72" fmla="*/ 4 w 4"/>
                <a:gd name="T73" fmla="*/ 0 h 2"/>
                <a:gd name="T74" fmla="*/ 4 w 4"/>
                <a:gd name="T75" fmla="*/ 0 h 2"/>
                <a:gd name="T76" fmla="*/ 4 w 4"/>
                <a:gd name="T77" fmla="*/ 0 h 2"/>
                <a:gd name="T78" fmla="*/ 4 w 4"/>
                <a:gd name="T79" fmla="*/ 0 h 2"/>
                <a:gd name="T80" fmla="*/ 4 w 4"/>
                <a:gd name="T81" fmla="*/ 0 h 2"/>
                <a:gd name="T82" fmla="*/ 4 w 4"/>
                <a:gd name="T83" fmla="*/ 0 h 2"/>
                <a:gd name="T84" fmla="*/ 4 w 4"/>
                <a:gd name="T85" fmla="*/ 0 h 2"/>
                <a:gd name="T86" fmla="*/ 4 w 4"/>
                <a:gd name="T87" fmla="*/ 0 h 2"/>
                <a:gd name="T88" fmla="*/ 4 w 4"/>
                <a:gd name="T89" fmla="*/ 0 h 2"/>
                <a:gd name="T90" fmla="*/ 4 w 4"/>
                <a:gd name="T91" fmla="*/ 0 h 2"/>
                <a:gd name="T92" fmla="*/ 4 w 4"/>
                <a:gd name="T93" fmla="*/ 0 h 2"/>
                <a:gd name="T94" fmla="*/ 4 w 4"/>
                <a:gd name="T95" fmla="*/ 0 h 2"/>
                <a:gd name="T96" fmla="*/ 4 w 4"/>
                <a:gd name="T97" fmla="*/ 0 h 2"/>
                <a:gd name="T98" fmla="*/ 4 w 4"/>
                <a:gd name="T99" fmla="*/ 0 h 2"/>
                <a:gd name="T100" fmla="*/ 4 w 4"/>
                <a:gd name="T101" fmla="*/ 0 h 2"/>
                <a:gd name="T102" fmla="*/ 4 w 4"/>
                <a:gd name="T103" fmla="*/ 0 h 2"/>
                <a:gd name="T104" fmla="*/ 4 w 4"/>
                <a:gd name="T105" fmla="*/ 0 h 2"/>
                <a:gd name="T106" fmla="*/ 4 w 4"/>
                <a:gd name="T107" fmla="*/ 0 h 2"/>
                <a:gd name="T108" fmla="*/ 4 w 4"/>
                <a:gd name="T109" fmla="*/ 2 h 2"/>
                <a:gd name="T110" fmla="*/ 4 w 4"/>
                <a:gd name="T111" fmla="*/ 2 h 2"/>
                <a:gd name="T112" fmla="*/ 2 w 4"/>
                <a:gd name="T11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 h="2">
                  <a:moveTo>
                    <a:pt x="2" y="2"/>
                  </a:moveTo>
                  <a:lnTo>
                    <a:pt x="2" y="2"/>
                  </a:lnTo>
                  <a:lnTo>
                    <a:pt x="2" y="0"/>
                  </a:lnTo>
                  <a:lnTo>
                    <a:pt x="0" y="0"/>
                  </a:lnTo>
                  <a:lnTo>
                    <a:pt x="0" y="0"/>
                  </a:lnTo>
                  <a:lnTo>
                    <a:pt x="0" y="0"/>
                  </a:lnTo>
                  <a:lnTo>
                    <a:pt x="0" y="0"/>
                  </a:lnTo>
                  <a:lnTo>
                    <a:pt x="0" y="0"/>
                  </a:lnTo>
                  <a:lnTo>
                    <a:pt x="2" y="0"/>
                  </a:lnTo>
                  <a:lnTo>
                    <a:pt x="2" y="0"/>
                  </a:lnTo>
                  <a:lnTo>
                    <a:pt x="3"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2"/>
                  </a:lnTo>
                  <a:lnTo>
                    <a:pt x="4" y="2"/>
                  </a:lnTo>
                  <a:lnTo>
                    <a:pt x="4" y="2"/>
                  </a:lnTo>
                  <a:lnTo>
                    <a:pt x="3" y="2"/>
                  </a:lnTo>
                  <a:lnTo>
                    <a:pt x="2"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08" name="Freeform 1474">
              <a:extLst>
                <a:ext uri="{FF2B5EF4-FFF2-40B4-BE49-F238E27FC236}">
                  <a16:creationId xmlns:a16="http://schemas.microsoft.com/office/drawing/2014/main" id="{81E4CF30-1B34-4583-86E3-A9955001C587}"/>
                </a:ext>
              </a:extLst>
            </p:cNvPr>
            <p:cNvSpPr>
              <a:spLocks/>
            </p:cNvSpPr>
            <p:nvPr/>
          </p:nvSpPr>
          <p:spPr bwMode="auto">
            <a:xfrm>
              <a:off x="6034796" y="1930240"/>
              <a:ext cx="5342" cy="2671"/>
            </a:xfrm>
            <a:custGeom>
              <a:avLst/>
              <a:gdLst>
                <a:gd name="T0" fmla="*/ 3 w 4"/>
                <a:gd name="T1" fmla="*/ 2 h 2"/>
                <a:gd name="T2" fmla="*/ 0 w 4"/>
                <a:gd name="T3" fmla="*/ 2 h 2"/>
                <a:gd name="T4" fmla="*/ 0 w 4"/>
                <a:gd name="T5" fmla="*/ 2 h 2"/>
                <a:gd name="T6" fmla="*/ 0 w 4"/>
                <a:gd name="T7" fmla="*/ 2 h 2"/>
                <a:gd name="T8" fmla="*/ 0 w 4"/>
                <a:gd name="T9" fmla="*/ 2 h 2"/>
                <a:gd name="T10" fmla="*/ 0 w 4"/>
                <a:gd name="T11" fmla="*/ 2 h 2"/>
                <a:gd name="T12" fmla="*/ 0 w 4"/>
                <a:gd name="T13" fmla="*/ 2 h 2"/>
                <a:gd name="T14" fmla="*/ 0 w 4"/>
                <a:gd name="T15" fmla="*/ 1 h 2"/>
                <a:gd name="T16" fmla="*/ 0 w 4"/>
                <a:gd name="T17" fmla="*/ 1 h 2"/>
                <a:gd name="T18" fmla="*/ 0 w 4"/>
                <a:gd name="T19" fmla="*/ 1 h 2"/>
                <a:gd name="T20" fmla="*/ 2 w 4"/>
                <a:gd name="T21" fmla="*/ 1 h 2"/>
                <a:gd name="T22" fmla="*/ 2 w 4"/>
                <a:gd name="T23" fmla="*/ 0 h 2"/>
                <a:gd name="T24" fmla="*/ 2 w 4"/>
                <a:gd name="T25" fmla="*/ 0 h 2"/>
                <a:gd name="T26" fmla="*/ 2 w 4"/>
                <a:gd name="T27" fmla="*/ 1 h 2"/>
                <a:gd name="T28" fmla="*/ 2 w 4"/>
                <a:gd name="T29" fmla="*/ 1 h 2"/>
                <a:gd name="T30" fmla="*/ 3 w 4"/>
                <a:gd name="T31" fmla="*/ 1 h 2"/>
                <a:gd name="T32" fmla="*/ 3 w 4"/>
                <a:gd name="T33" fmla="*/ 1 h 2"/>
                <a:gd name="T34" fmla="*/ 3 w 4"/>
                <a:gd name="T35" fmla="*/ 1 h 2"/>
                <a:gd name="T36" fmla="*/ 4 w 4"/>
                <a:gd name="T37" fmla="*/ 1 h 2"/>
                <a:gd name="T38" fmla="*/ 3 w 4"/>
                <a:gd name="T3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 h="2">
                  <a:moveTo>
                    <a:pt x="3" y="2"/>
                  </a:moveTo>
                  <a:lnTo>
                    <a:pt x="0" y="2"/>
                  </a:lnTo>
                  <a:lnTo>
                    <a:pt x="0" y="2"/>
                  </a:lnTo>
                  <a:lnTo>
                    <a:pt x="0" y="2"/>
                  </a:lnTo>
                  <a:lnTo>
                    <a:pt x="0" y="2"/>
                  </a:lnTo>
                  <a:lnTo>
                    <a:pt x="0" y="2"/>
                  </a:lnTo>
                  <a:lnTo>
                    <a:pt x="0" y="2"/>
                  </a:lnTo>
                  <a:lnTo>
                    <a:pt x="0" y="1"/>
                  </a:lnTo>
                  <a:lnTo>
                    <a:pt x="0" y="1"/>
                  </a:lnTo>
                  <a:lnTo>
                    <a:pt x="0" y="1"/>
                  </a:lnTo>
                  <a:lnTo>
                    <a:pt x="2" y="1"/>
                  </a:lnTo>
                  <a:lnTo>
                    <a:pt x="2" y="0"/>
                  </a:lnTo>
                  <a:lnTo>
                    <a:pt x="2" y="0"/>
                  </a:lnTo>
                  <a:lnTo>
                    <a:pt x="2" y="1"/>
                  </a:lnTo>
                  <a:lnTo>
                    <a:pt x="2" y="1"/>
                  </a:lnTo>
                  <a:lnTo>
                    <a:pt x="3" y="1"/>
                  </a:lnTo>
                  <a:lnTo>
                    <a:pt x="3" y="1"/>
                  </a:lnTo>
                  <a:lnTo>
                    <a:pt x="3" y="1"/>
                  </a:lnTo>
                  <a:lnTo>
                    <a:pt x="4" y="1"/>
                  </a:lnTo>
                  <a:lnTo>
                    <a:pt x="3"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09" name="Freeform 1475">
              <a:extLst>
                <a:ext uri="{FF2B5EF4-FFF2-40B4-BE49-F238E27FC236}">
                  <a16:creationId xmlns:a16="http://schemas.microsoft.com/office/drawing/2014/main" id="{4EE04B21-D2CD-423B-8D01-B089990CD10B}"/>
                </a:ext>
              </a:extLst>
            </p:cNvPr>
            <p:cNvSpPr>
              <a:spLocks/>
            </p:cNvSpPr>
            <p:nvPr/>
          </p:nvSpPr>
          <p:spPr bwMode="auto">
            <a:xfrm>
              <a:off x="6038803" y="1930240"/>
              <a:ext cx="4007" cy="1336"/>
            </a:xfrm>
            <a:custGeom>
              <a:avLst/>
              <a:gdLst>
                <a:gd name="T0" fmla="*/ 1 w 3"/>
                <a:gd name="T1" fmla="*/ 0 h 1"/>
                <a:gd name="T2" fmla="*/ 1 w 3"/>
                <a:gd name="T3" fmla="*/ 0 h 1"/>
                <a:gd name="T4" fmla="*/ 2 w 3"/>
                <a:gd name="T5" fmla="*/ 0 h 1"/>
                <a:gd name="T6" fmla="*/ 1 w 3"/>
                <a:gd name="T7" fmla="*/ 0 h 1"/>
                <a:gd name="T8" fmla="*/ 1 w 3"/>
                <a:gd name="T9" fmla="*/ 0 h 1"/>
                <a:gd name="T10" fmla="*/ 1 w 3"/>
                <a:gd name="T11" fmla="*/ 0 h 1"/>
                <a:gd name="T12" fmla="*/ 1 w 3"/>
                <a:gd name="T13" fmla="*/ 0 h 1"/>
                <a:gd name="T14" fmla="*/ 1 w 3"/>
                <a:gd name="T15" fmla="*/ 0 h 1"/>
                <a:gd name="T16" fmla="*/ 2 w 3"/>
                <a:gd name="T17" fmla="*/ 0 h 1"/>
                <a:gd name="T18" fmla="*/ 2 w 3"/>
                <a:gd name="T19" fmla="*/ 0 h 1"/>
                <a:gd name="T20" fmla="*/ 3 w 3"/>
                <a:gd name="T21" fmla="*/ 0 h 1"/>
                <a:gd name="T22" fmla="*/ 3 w 3"/>
                <a:gd name="T23" fmla="*/ 0 h 1"/>
                <a:gd name="T24" fmla="*/ 2 w 3"/>
                <a:gd name="T25" fmla="*/ 1 h 1"/>
                <a:gd name="T26" fmla="*/ 2 w 3"/>
                <a:gd name="T27" fmla="*/ 1 h 1"/>
                <a:gd name="T28" fmla="*/ 2 w 3"/>
                <a:gd name="T29" fmla="*/ 1 h 1"/>
                <a:gd name="T30" fmla="*/ 1 w 3"/>
                <a:gd name="T31" fmla="*/ 1 h 1"/>
                <a:gd name="T32" fmla="*/ 1 w 3"/>
                <a:gd name="T33" fmla="*/ 1 h 1"/>
                <a:gd name="T34" fmla="*/ 1 w 3"/>
                <a:gd name="T35" fmla="*/ 1 h 1"/>
                <a:gd name="T36" fmla="*/ 1 w 3"/>
                <a:gd name="T37" fmla="*/ 1 h 1"/>
                <a:gd name="T38" fmla="*/ 1 w 3"/>
                <a:gd name="T39" fmla="*/ 0 h 1"/>
                <a:gd name="T40" fmla="*/ 0 w 3"/>
                <a:gd name="T41" fmla="*/ 0 h 1"/>
                <a:gd name="T42" fmla="*/ 0 w 3"/>
                <a:gd name="T43" fmla="*/ 0 h 1"/>
                <a:gd name="T44" fmla="*/ 0 w 3"/>
                <a:gd name="T45" fmla="*/ 0 h 1"/>
                <a:gd name="T46" fmla="*/ 0 w 3"/>
                <a:gd name="T47" fmla="*/ 0 h 1"/>
                <a:gd name="T48" fmla="*/ 0 w 3"/>
                <a:gd name="T49" fmla="*/ 0 h 1"/>
                <a:gd name="T50" fmla="*/ 1 w 3"/>
                <a:gd name="T51" fmla="*/ 0 h 1"/>
                <a:gd name="T52" fmla="*/ 1 w 3"/>
                <a:gd name="T53" fmla="*/ 0 h 1"/>
                <a:gd name="T54" fmla="*/ 1 w 3"/>
                <a:gd name="T5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 h="1">
                  <a:moveTo>
                    <a:pt x="1" y="0"/>
                  </a:moveTo>
                  <a:lnTo>
                    <a:pt x="1" y="0"/>
                  </a:lnTo>
                  <a:lnTo>
                    <a:pt x="2" y="0"/>
                  </a:lnTo>
                  <a:lnTo>
                    <a:pt x="1" y="0"/>
                  </a:lnTo>
                  <a:lnTo>
                    <a:pt x="1" y="0"/>
                  </a:lnTo>
                  <a:lnTo>
                    <a:pt x="1" y="0"/>
                  </a:lnTo>
                  <a:lnTo>
                    <a:pt x="1" y="0"/>
                  </a:lnTo>
                  <a:lnTo>
                    <a:pt x="1" y="0"/>
                  </a:lnTo>
                  <a:lnTo>
                    <a:pt x="2" y="0"/>
                  </a:lnTo>
                  <a:lnTo>
                    <a:pt x="2" y="0"/>
                  </a:lnTo>
                  <a:lnTo>
                    <a:pt x="3" y="0"/>
                  </a:lnTo>
                  <a:lnTo>
                    <a:pt x="3" y="0"/>
                  </a:lnTo>
                  <a:lnTo>
                    <a:pt x="2" y="1"/>
                  </a:lnTo>
                  <a:lnTo>
                    <a:pt x="2" y="1"/>
                  </a:lnTo>
                  <a:lnTo>
                    <a:pt x="2" y="1"/>
                  </a:lnTo>
                  <a:lnTo>
                    <a:pt x="1" y="1"/>
                  </a:lnTo>
                  <a:lnTo>
                    <a:pt x="1" y="1"/>
                  </a:lnTo>
                  <a:lnTo>
                    <a:pt x="1" y="1"/>
                  </a:lnTo>
                  <a:lnTo>
                    <a:pt x="1" y="1"/>
                  </a:lnTo>
                  <a:lnTo>
                    <a:pt x="1" y="0"/>
                  </a:lnTo>
                  <a:lnTo>
                    <a:pt x="0" y="0"/>
                  </a:lnTo>
                  <a:lnTo>
                    <a:pt x="0" y="0"/>
                  </a:lnTo>
                  <a:lnTo>
                    <a:pt x="0" y="0"/>
                  </a:lnTo>
                  <a:lnTo>
                    <a:pt x="0" y="0"/>
                  </a:lnTo>
                  <a:lnTo>
                    <a:pt x="0"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10" name="Freeform 1476">
              <a:extLst>
                <a:ext uri="{FF2B5EF4-FFF2-40B4-BE49-F238E27FC236}">
                  <a16:creationId xmlns:a16="http://schemas.microsoft.com/office/drawing/2014/main" id="{07E7ED9C-BAD4-44DA-AA70-CEA5E11951F2}"/>
                </a:ext>
              </a:extLst>
            </p:cNvPr>
            <p:cNvSpPr>
              <a:spLocks/>
            </p:cNvSpPr>
            <p:nvPr/>
          </p:nvSpPr>
          <p:spPr bwMode="auto">
            <a:xfrm>
              <a:off x="6008086" y="1930240"/>
              <a:ext cx="2671" cy="0"/>
            </a:xfrm>
            <a:custGeom>
              <a:avLst/>
              <a:gdLst>
                <a:gd name="T0" fmla="*/ 1 w 2"/>
                <a:gd name="T1" fmla="*/ 1 w 2"/>
                <a:gd name="T2" fmla="*/ 1 w 2"/>
                <a:gd name="T3" fmla="*/ 0 w 2"/>
                <a:gd name="T4" fmla="*/ 0 w 2"/>
                <a:gd name="T5" fmla="*/ 0 w 2"/>
                <a:gd name="T6" fmla="*/ 0 w 2"/>
                <a:gd name="T7" fmla="*/ 0 w 2"/>
                <a:gd name="T8" fmla="*/ 0 w 2"/>
                <a:gd name="T9" fmla="*/ 0 w 2"/>
                <a:gd name="T10" fmla="*/ 0 w 2"/>
                <a:gd name="T11" fmla="*/ 1 w 2"/>
                <a:gd name="T12" fmla="*/ 1 w 2"/>
                <a:gd name="T13" fmla="*/ 1 w 2"/>
                <a:gd name="T14" fmla="*/ 2 w 2"/>
                <a:gd name="T15" fmla="*/ 2 w 2"/>
                <a:gd name="T16" fmla="*/ 1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Lst>
              <a:rect l="0" t="0" r="r" b="b"/>
              <a:pathLst>
                <a:path w="2">
                  <a:moveTo>
                    <a:pt x="1" y="0"/>
                  </a:moveTo>
                  <a:lnTo>
                    <a:pt x="1" y="0"/>
                  </a:lnTo>
                  <a:lnTo>
                    <a:pt x="1" y="0"/>
                  </a:lnTo>
                  <a:lnTo>
                    <a:pt x="0" y="0"/>
                  </a:lnTo>
                  <a:lnTo>
                    <a:pt x="0" y="0"/>
                  </a:lnTo>
                  <a:lnTo>
                    <a:pt x="0" y="0"/>
                  </a:lnTo>
                  <a:lnTo>
                    <a:pt x="0" y="0"/>
                  </a:lnTo>
                  <a:lnTo>
                    <a:pt x="0" y="0"/>
                  </a:lnTo>
                  <a:lnTo>
                    <a:pt x="0" y="0"/>
                  </a:lnTo>
                  <a:lnTo>
                    <a:pt x="0" y="0"/>
                  </a:lnTo>
                  <a:lnTo>
                    <a:pt x="0" y="0"/>
                  </a:lnTo>
                  <a:lnTo>
                    <a:pt x="1" y="0"/>
                  </a:lnTo>
                  <a:lnTo>
                    <a:pt x="1" y="0"/>
                  </a:lnTo>
                  <a:lnTo>
                    <a:pt x="1" y="0"/>
                  </a:lnTo>
                  <a:lnTo>
                    <a:pt x="2" y="0"/>
                  </a:lnTo>
                  <a:lnTo>
                    <a:pt x="2"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11" name="Freeform 1477">
              <a:extLst>
                <a:ext uri="{FF2B5EF4-FFF2-40B4-BE49-F238E27FC236}">
                  <a16:creationId xmlns:a16="http://schemas.microsoft.com/office/drawing/2014/main" id="{3FAA54E4-D25A-46AA-801E-3169CADDB2DE}"/>
                </a:ext>
              </a:extLst>
            </p:cNvPr>
            <p:cNvSpPr>
              <a:spLocks/>
            </p:cNvSpPr>
            <p:nvPr/>
          </p:nvSpPr>
          <p:spPr bwMode="auto">
            <a:xfrm>
              <a:off x="6010757" y="1928904"/>
              <a:ext cx="21368" cy="12020"/>
            </a:xfrm>
            <a:custGeom>
              <a:avLst/>
              <a:gdLst>
                <a:gd name="T0" fmla="*/ 9 w 16"/>
                <a:gd name="T1" fmla="*/ 1 h 9"/>
                <a:gd name="T2" fmla="*/ 8 w 16"/>
                <a:gd name="T3" fmla="*/ 2 h 9"/>
                <a:gd name="T4" fmla="*/ 8 w 16"/>
                <a:gd name="T5" fmla="*/ 3 h 9"/>
                <a:gd name="T6" fmla="*/ 9 w 16"/>
                <a:gd name="T7" fmla="*/ 3 h 9"/>
                <a:gd name="T8" fmla="*/ 9 w 16"/>
                <a:gd name="T9" fmla="*/ 3 h 9"/>
                <a:gd name="T10" fmla="*/ 8 w 16"/>
                <a:gd name="T11" fmla="*/ 4 h 9"/>
                <a:gd name="T12" fmla="*/ 8 w 16"/>
                <a:gd name="T13" fmla="*/ 5 h 9"/>
                <a:gd name="T14" fmla="*/ 8 w 16"/>
                <a:gd name="T15" fmla="*/ 5 h 9"/>
                <a:gd name="T16" fmla="*/ 9 w 16"/>
                <a:gd name="T17" fmla="*/ 4 h 9"/>
                <a:gd name="T18" fmla="*/ 10 w 16"/>
                <a:gd name="T19" fmla="*/ 4 h 9"/>
                <a:gd name="T20" fmla="*/ 10 w 16"/>
                <a:gd name="T21" fmla="*/ 3 h 9"/>
                <a:gd name="T22" fmla="*/ 11 w 16"/>
                <a:gd name="T23" fmla="*/ 3 h 9"/>
                <a:gd name="T24" fmla="*/ 10 w 16"/>
                <a:gd name="T25" fmla="*/ 2 h 9"/>
                <a:gd name="T26" fmla="*/ 13 w 16"/>
                <a:gd name="T27" fmla="*/ 2 h 9"/>
                <a:gd name="T28" fmla="*/ 13 w 16"/>
                <a:gd name="T29" fmla="*/ 1 h 9"/>
                <a:gd name="T30" fmla="*/ 14 w 16"/>
                <a:gd name="T31" fmla="*/ 2 h 9"/>
                <a:gd name="T32" fmla="*/ 15 w 16"/>
                <a:gd name="T33" fmla="*/ 2 h 9"/>
                <a:gd name="T34" fmla="*/ 15 w 16"/>
                <a:gd name="T35" fmla="*/ 2 h 9"/>
                <a:gd name="T36" fmla="*/ 16 w 16"/>
                <a:gd name="T37" fmla="*/ 3 h 9"/>
                <a:gd name="T38" fmla="*/ 15 w 16"/>
                <a:gd name="T39" fmla="*/ 4 h 9"/>
                <a:gd name="T40" fmla="*/ 15 w 16"/>
                <a:gd name="T41" fmla="*/ 5 h 9"/>
                <a:gd name="T42" fmla="*/ 14 w 16"/>
                <a:gd name="T43" fmla="*/ 5 h 9"/>
                <a:gd name="T44" fmla="*/ 11 w 16"/>
                <a:gd name="T45" fmla="*/ 5 h 9"/>
                <a:gd name="T46" fmla="*/ 10 w 16"/>
                <a:gd name="T47" fmla="*/ 7 h 9"/>
                <a:gd name="T48" fmla="*/ 9 w 16"/>
                <a:gd name="T49" fmla="*/ 8 h 9"/>
                <a:gd name="T50" fmla="*/ 9 w 16"/>
                <a:gd name="T51" fmla="*/ 7 h 9"/>
                <a:gd name="T52" fmla="*/ 9 w 16"/>
                <a:gd name="T53" fmla="*/ 7 h 9"/>
                <a:gd name="T54" fmla="*/ 8 w 16"/>
                <a:gd name="T55" fmla="*/ 7 h 9"/>
                <a:gd name="T56" fmla="*/ 8 w 16"/>
                <a:gd name="T57" fmla="*/ 8 h 9"/>
                <a:gd name="T58" fmla="*/ 8 w 16"/>
                <a:gd name="T59" fmla="*/ 8 h 9"/>
                <a:gd name="T60" fmla="*/ 7 w 16"/>
                <a:gd name="T61" fmla="*/ 8 h 9"/>
                <a:gd name="T62" fmla="*/ 7 w 16"/>
                <a:gd name="T63" fmla="*/ 9 h 9"/>
                <a:gd name="T64" fmla="*/ 7 w 16"/>
                <a:gd name="T65" fmla="*/ 9 h 9"/>
                <a:gd name="T66" fmla="*/ 3 w 16"/>
                <a:gd name="T67" fmla="*/ 8 h 9"/>
                <a:gd name="T68" fmla="*/ 6 w 16"/>
                <a:gd name="T69" fmla="*/ 7 h 9"/>
                <a:gd name="T70" fmla="*/ 6 w 16"/>
                <a:gd name="T71" fmla="*/ 5 h 9"/>
                <a:gd name="T72" fmla="*/ 5 w 16"/>
                <a:gd name="T73" fmla="*/ 8 h 9"/>
                <a:gd name="T74" fmla="*/ 5 w 16"/>
                <a:gd name="T75" fmla="*/ 8 h 9"/>
                <a:gd name="T76" fmla="*/ 2 w 16"/>
                <a:gd name="T77" fmla="*/ 8 h 9"/>
                <a:gd name="T78" fmla="*/ 1 w 16"/>
                <a:gd name="T79" fmla="*/ 9 h 9"/>
                <a:gd name="T80" fmla="*/ 1 w 16"/>
                <a:gd name="T81" fmla="*/ 9 h 9"/>
                <a:gd name="T82" fmla="*/ 1 w 16"/>
                <a:gd name="T83" fmla="*/ 8 h 9"/>
                <a:gd name="T84" fmla="*/ 3 w 16"/>
                <a:gd name="T85" fmla="*/ 7 h 9"/>
                <a:gd name="T86" fmla="*/ 3 w 16"/>
                <a:gd name="T87" fmla="*/ 7 h 9"/>
                <a:gd name="T88" fmla="*/ 3 w 16"/>
                <a:gd name="T89" fmla="*/ 5 h 9"/>
                <a:gd name="T90" fmla="*/ 3 w 16"/>
                <a:gd name="T91" fmla="*/ 5 h 9"/>
                <a:gd name="T92" fmla="*/ 5 w 16"/>
                <a:gd name="T93" fmla="*/ 5 h 9"/>
                <a:gd name="T94" fmla="*/ 5 w 16"/>
                <a:gd name="T95" fmla="*/ 4 h 9"/>
                <a:gd name="T96" fmla="*/ 6 w 16"/>
                <a:gd name="T97" fmla="*/ 4 h 9"/>
                <a:gd name="T98" fmla="*/ 6 w 16"/>
                <a:gd name="T99" fmla="*/ 4 h 9"/>
                <a:gd name="T100" fmla="*/ 5 w 16"/>
                <a:gd name="T101" fmla="*/ 4 h 9"/>
                <a:gd name="T102" fmla="*/ 6 w 16"/>
                <a:gd name="T103" fmla="*/ 3 h 9"/>
                <a:gd name="T104" fmla="*/ 7 w 16"/>
                <a:gd name="T105" fmla="*/ 3 h 9"/>
                <a:gd name="T106" fmla="*/ 7 w 16"/>
                <a:gd name="T107" fmla="*/ 3 h 9"/>
                <a:gd name="T108" fmla="*/ 5 w 16"/>
                <a:gd name="T109" fmla="*/ 2 h 9"/>
                <a:gd name="T110" fmla="*/ 5 w 16"/>
                <a:gd name="T111" fmla="*/ 2 h 9"/>
                <a:gd name="T112" fmla="*/ 6 w 16"/>
                <a:gd name="T113" fmla="*/ 2 h 9"/>
                <a:gd name="T114" fmla="*/ 6 w 16"/>
                <a:gd name="T115" fmla="*/ 1 h 9"/>
                <a:gd name="T116" fmla="*/ 6 w 16"/>
                <a:gd name="T117" fmla="*/ 0 h 9"/>
                <a:gd name="T118" fmla="*/ 8 w 16"/>
                <a:gd name="T1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 h="9">
                  <a:moveTo>
                    <a:pt x="8" y="0"/>
                  </a:moveTo>
                  <a:lnTo>
                    <a:pt x="8" y="0"/>
                  </a:lnTo>
                  <a:lnTo>
                    <a:pt x="8" y="1"/>
                  </a:lnTo>
                  <a:lnTo>
                    <a:pt x="8" y="1"/>
                  </a:lnTo>
                  <a:lnTo>
                    <a:pt x="9" y="1"/>
                  </a:lnTo>
                  <a:lnTo>
                    <a:pt x="9" y="1"/>
                  </a:lnTo>
                  <a:lnTo>
                    <a:pt x="9" y="1"/>
                  </a:lnTo>
                  <a:lnTo>
                    <a:pt x="9" y="1"/>
                  </a:lnTo>
                  <a:lnTo>
                    <a:pt x="8" y="2"/>
                  </a:lnTo>
                  <a:lnTo>
                    <a:pt x="8" y="2"/>
                  </a:lnTo>
                  <a:lnTo>
                    <a:pt x="8" y="2"/>
                  </a:lnTo>
                  <a:lnTo>
                    <a:pt x="8" y="2"/>
                  </a:lnTo>
                  <a:lnTo>
                    <a:pt x="8" y="2"/>
                  </a:lnTo>
                  <a:lnTo>
                    <a:pt x="8" y="2"/>
                  </a:lnTo>
                  <a:lnTo>
                    <a:pt x="8" y="3"/>
                  </a:lnTo>
                  <a:lnTo>
                    <a:pt x="8" y="3"/>
                  </a:lnTo>
                  <a:lnTo>
                    <a:pt x="8" y="3"/>
                  </a:lnTo>
                  <a:lnTo>
                    <a:pt x="8" y="3"/>
                  </a:lnTo>
                  <a:lnTo>
                    <a:pt x="8" y="3"/>
                  </a:lnTo>
                  <a:lnTo>
                    <a:pt x="9" y="3"/>
                  </a:lnTo>
                  <a:lnTo>
                    <a:pt x="9" y="2"/>
                  </a:lnTo>
                  <a:lnTo>
                    <a:pt x="9" y="2"/>
                  </a:lnTo>
                  <a:lnTo>
                    <a:pt x="9" y="2"/>
                  </a:lnTo>
                  <a:lnTo>
                    <a:pt x="9" y="3"/>
                  </a:lnTo>
                  <a:lnTo>
                    <a:pt x="9" y="3"/>
                  </a:lnTo>
                  <a:lnTo>
                    <a:pt x="9" y="3"/>
                  </a:lnTo>
                  <a:lnTo>
                    <a:pt x="9" y="3"/>
                  </a:lnTo>
                  <a:lnTo>
                    <a:pt x="9" y="3"/>
                  </a:lnTo>
                  <a:lnTo>
                    <a:pt x="9" y="3"/>
                  </a:lnTo>
                  <a:lnTo>
                    <a:pt x="9" y="3"/>
                  </a:lnTo>
                  <a:lnTo>
                    <a:pt x="9" y="3"/>
                  </a:lnTo>
                  <a:lnTo>
                    <a:pt x="9" y="4"/>
                  </a:lnTo>
                  <a:lnTo>
                    <a:pt x="9" y="4"/>
                  </a:lnTo>
                  <a:lnTo>
                    <a:pt x="9" y="4"/>
                  </a:lnTo>
                  <a:lnTo>
                    <a:pt x="9" y="4"/>
                  </a:lnTo>
                  <a:lnTo>
                    <a:pt x="8" y="4"/>
                  </a:lnTo>
                  <a:lnTo>
                    <a:pt x="8" y="4"/>
                  </a:lnTo>
                  <a:lnTo>
                    <a:pt x="8" y="4"/>
                  </a:lnTo>
                  <a:lnTo>
                    <a:pt x="8" y="4"/>
                  </a:lnTo>
                  <a:lnTo>
                    <a:pt x="8" y="4"/>
                  </a:lnTo>
                  <a:lnTo>
                    <a:pt x="8" y="5"/>
                  </a:lnTo>
                  <a:lnTo>
                    <a:pt x="8" y="5"/>
                  </a:lnTo>
                  <a:lnTo>
                    <a:pt x="8" y="5"/>
                  </a:lnTo>
                  <a:lnTo>
                    <a:pt x="8" y="5"/>
                  </a:lnTo>
                  <a:lnTo>
                    <a:pt x="8" y="5"/>
                  </a:lnTo>
                  <a:lnTo>
                    <a:pt x="8" y="5"/>
                  </a:lnTo>
                  <a:lnTo>
                    <a:pt x="8" y="5"/>
                  </a:lnTo>
                  <a:lnTo>
                    <a:pt x="8" y="5"/>
                  </a:lnTo>
                  <a:lnTo>
                    <a:pt x="8" y="5"/>
                  </a:lnTo>
                  <a:lnTo>
                    <a:pt x="8" y="5"/>
                  </a:lnTo>
                  <a:lnTo>
                    <a:pt x="8" y="4"/>
                  </a:lnTo>
                  <a:lnTo>
                    <a:pt x="8" y="4"/>
                  </a:lnTo>
                  <a:lnTo>
                    <a:pt x="8" y="4"/>
                  </a:lnTo>
                  <a:lnTo>
                    <a:pt x="9" y="4"/>
                  </a:lnTo>
                  <a:lnTo>
                    <a:pt x="9" y="4"/>
                  </a:lnTo>
                  <a:lnTo>
                    <a:pt x="10" y="4"/>
                  </a:lnTo>
                  <a:lnTo>
                    <a:pt x="10" y="4"/>
                  </a:lnTo>
                  <a:lnTo>
                    <a:pt x="10" y="4"/>
                  </a:lnTo>
                  <a:lnTo>
                    <a:pt x="10" y="4"/>
                  </a:lnTo>
                  <a:lnTo>
                    <a:pt x="10" y="4"/>
                  </a:lnTo>
                  <a:lnTo>
                    <a:pt x="11" y="4"/>
                  </a:lnTo>
                  <a:lnTo>
                    <a:pt x="11" y="4"/>
                  </a:lnTo>
                  <a:lnTo>
                    <a:pt x="10" y="4"/>
                  </a:lnTo>
                  <a:lnTo>
                    <a:pt x="10" y="3"/>
                  </a:lnTo>
                  <a:lnTo>
                    <a:pt x="10" y="3"/>
                  </a:lnTo>
                  <a:lnTo>
                    <a:pt x="10" y="3"/>
                  </a:lnTo>
                  <a:lnTo>
                    <a:pt x="10" y="3"/>
                  </a:lnTo>
                  <a:lnTo>
                    <a:pt x="10" y="3"/>
                  </a:lnTo>
                  <a:lnTo>
                    <a:pt x="10" y="3"/>
                  </a:lnTo>
                  <a:lnTo>
                    <a:pt x="10" y="3"/>
                  </a:lnTo>
                  <a:lnTo>
                    <a:pt x="11" y="3"/>
                  </a:lnTo>
                  <a:lnTo>
                    <a:pt x="11" y="3"/>
                  </a:lnTo>
                  <a:lnTo>
                    <a:pt x="11" y="3"/>
                  </a:lnTo>
                  <a:lnTo>
                    <a:pt x="11" y="2"/>
                  </a:lnTo>
                  <a:lnTo>
                    <a:pt x="11" y="2"/>
                  </a:lnTo>
                  <a:lnTo>
                    <a:pt x="10" y="2"/>
                  </a:lnTo>
                  <a:lnTo>
                    <a:pt x="10" y="2"/>
                  </a:lnTo>
                  <a:lnTo>
                    <a:pt x="10" y="2"/>
                  </a:lnTo>
                  <a:lnTo>
                    <a:pt x="10" y="2"/>
                  </a:lnTo>
                  <a:lnTo>
                    <a:pt x="10" y="2"/>
                  </a:lnTo>
                  <a:lnTo>
                    <a:pt x="11" y="1"/>
                  </a:lnTo>
                  <a:lnTo>
                    <a:pt x="11" y="1"/>
                  </a:lnTo>
                  <a:lnTo>
                    <a:pt x="11" y="1"/>
                  </a:lnTo>
                  <a:lnTo>
                    <a:pt x="13" y="2"/>
                  </a:lnTo>
                  <a:lnTo>
                    <a:pt x="13" y="2"/>
                  </a:lnTo>
                  <a:lnTo>
                    <a:pt x="13" y="2"/>
                  </a:lnTo>
                  <a:lnTo>
                    <a:pt x="13" y="2"/>
                  </a:lnTo>
                  <a:lnTo>
                    <a:pt x="13" y="1"/>
                  </a:lnTo>
                  <a:lnTo>
                    <a:pt x="13" y="1"/>
                  </a:lnTo>
                  <a:lnTo>
                    <a:pt x="13" y="1"/>
                  </a:lnTo>
                  <a:lnTo>
                    <a:pt x="13" y="1"/>
                  </a:lnTo>
                  <a:lnTo>
                    <a:pt x="13" y="1"/>
                  </a:lnTo>
                  <a:lnTo>
                    <a:pt x="13" y="1"/>
                  </a:lnTo>
                  <a:lnTo>
                    <a:pt x="14" y="1"/>
                  </a:lnTo>
                  <a:lnTo>
                    <a:pt x="14" y="2"/>
                  </a:lnTo>
                  <a:lnTo>
                    <a:pt x="14" y="2"/>
                  </a:lnTo>
                  <a:lnTo>
                    <a:pt x="14" y="2"/>
                  </a:lnTo>
                  <a:lnTo>
                    <a:pt x="14" y="2"/>
                  </a:lnTo>
                  <a:lnTo>
                    <a:pt x="14" y="2"/>
                  </a:lnTo>
                  <a:lnTo>
                    <a:pt x="15" y="2"/>
                  </a:lnTo>
                  <a:lnTo>
                    <a:pt x="15" y="2"/>
                  </a:lnTo>
                  <a:lnTo>
                    <a:pt x="15" y="2"/>
                  </a:lnTo>
                  <a:lnTo>
                    <a:pt x="15" y="2"/>
                  </a:lnTo>
                  <a:lnTo>
                    <a:pt x="15" y="2"/>
                  </a:lnTo>
                  <a:lnTo>
                    <a:pt x="15" y="2"/>
                  </a:lnTo>
                  <a:lnTo>
                    <a:pt x="15" y="2"/>
                  </a:lnTo>
                  <a:lnTo>
                    <a:pt x="15" y="2"/>
                  </a:lnTo>
                  <a:lnTo>
                    <a:pt x="15" y="2"/>
                  </a:lnTo>
                  <a:lnTo>
                    <a:pt x="15" y="3"/>
                  </a:lnTo>
                  <a:lnTo>
                    <a:pt x="15" y="3"/>
                  </a:lnTo>
                  <a:lnTo>
                    <a:pt x="15" y="3"/>
                  </a:lnTo>
                  <a:lnTo>
                    <a:pt x="15" y="3"/>
                  </a:lnTo>
                  <a:lnTo>
                    <a:pt x="16" y="3"/>
                  </a:lnTo>
                  <a:lnTo>
                    <a:pt x="16" y="3"/>
                  </a:lnTo>
                  <a:lnTo>
                    <a:pt x="15" y="3"/>
                  </a:lnTo>
                  <a:lnTo>
                    <a:pt x="16" y="4"/>
                  </a:lnTo>
                  <a:lnTo>
                    <a:pt x="16" y="4"/>
                  </a:lnTo>
                  <a:lnTo>
                    <a:pt x="16" y="4"/>
                  </a:lnTo>
                  <a:lnTo>
                    <a:pt x="15" y="4"/>
                  </a:lnTo>
                  <a:lnTo>
                    <a:pt x="15" y="4"/>
                  </a:lnTo>
                  <a:lnTo>
                    <a:pt x="15" y="4"/>
                  </a:lnTo>
                  <a:lnTo>
                    <a:pt x="15" y="4"/>
                  </a:lnTo>
                  <a:lnTo>
                    <a:pt x="15" y="4"/>
                  </a:lnTo>
                  <a:lnTo>
                    <a:pt x="15" y="5"/>
                  </a:lnTo>
                  <a:lnTo>
                    <a:pt x="15" y="5"/>
                  </a:lnTo>
                  <a:lnTo>
                    <a:pt x="15" y="5"/>
                  </a:lnTo>
                  <a:lnTo>
                    <a:pt x="15" y="5"/>
                  </a:lnTo>
                  <a:lnTo>
                    <a:pt x="15" y="5"/>
                  </a:lnTo>
                  <a:lnTo>
                    <a:pt x="15" y="5"/>
                  </a:lnTo>
                  <a:lnTo>
                    <a:pt x="15" y="5"/>
                  </a:lnTo>
                  <a:lnTo>
                    <a:pt x="15" y="5"/>
                  </a:lnTo>
                  <a:lnTo>
                    <a:pt x="14" y="5"/>
                  </a:lnTo>
                  <a:lnTo>
                    <a:pt x="13" y="5"/>
                  </a:lnTo>
                  <a:lnTo>
                    <a:pt x="11" y="5"/>
                  </a:lnTo>
                  <a:lnTo>
                    <a:pt x="11" y="5"/>
                  </a:lnTo>
                  <a:lnTo>
                    <a:pt x="11" y="5"/>
                  </a:lnTo>
                  <a:lnTo>
                    <a:pt x="11" y="5"/>
                  </a:lnTo>
                  <a:lnTo>
                    <a:pt x="11" y="5"/>
                  </a:lnTo>
                  <a:lnTo>
                    <a:pt x="11" y="5"/>
                  </a:lnTo>
                  <a:lnTo>
                    <a:pt x="11" y="5"/>
                  </a:lnTo>
                  <a:lnTo>
                    <a:pt x="11" y="7"/>
                  </a:lnTo>
                  <a:lnTo>
                    <a:pt x="11" y="7"/>
                  </a:lnTo>
                  <a:lnTo>
                    <a:pt x="10" y="7"/>
                  </a:lnTo>
                  <a:lnTo>
                    <a:pt x="10" y="7"/>
                  </a:lnTo>
                  <a:lnTo>
                    <a:pt x="10" y="8"/>
                  </a:lnTo>
                  <a:lnTo>
                    <a:pt x="10" y="8"/>
                  </a:lnTo>
                  <a:lnTo>
                    <a:pt x="9" y="8"/>
                  </a:lnTo>
                  <a:lnTo>
                    <a:pt x="9" y="8"/>
                  </a:lnTo>
                  <a:lnTo>
                    <a:pt x="9" y="8"/>
                  </a:lnTo>
                  <a:lnTo>
                    <a:pt x="9" y="8"/>
                  </a:lnTo>
                  <a:lnTo>
                    <a:pt x="9" y="8"/>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9" y="7"/>
                  </a:lnTo>
                  <a:lnTo>
                    <a:pt x="8" y="7"/>
                  </a:lnTo>
                  <a:lnTo>
                    <a:pt x="8" y="7"/>
                  </a:lnTo>
                  <a:lnTo>
                    <a:pt x="8" y="7"/>
                  </a:lnTo>
                  <a:lnTo>
                    <a:pt x="8" y="7"/>
                  </a:lnTo>
                  <a:lnTo>
                    <a:pt x="8" y="8"/>
                  </a:lnTo>
                  <a:lnTo>
                    <a:pt x="8" y="8"/>
                  </a:lnTo>
                  <a:lnTo>
                    <a:pt x="9" y="8"/>
                  </a:lnTo>
                  <a:lnTo>
                    <a:pt x="8" y="8"/>
                  </a:lnTo>
                  <a:lnTo>
                    <a:pt x="8" y="8"/>
                  </a:lnTo>
                  <a:lnTo>
                    <a:pt x="8" y="8"/>
                  </a:lnTo>
                  <a:lnTo>
                    <a:pt x="8" y="7"/>
                  </a:lnTo>
                  <a:lnTo>
                    <a:pt x="8" y="7"/>
                  </a:lnTo>
                  <a:lnTo>
                    <a:pt x="8" y="8"/>
                  </a:lnTo>
                  <a:lnTo>
                    <a:pt x="8" y="8"/>
                  </a:lnTo>
                  <a:lnTo>
                    <a:pt x="8" y="8"/>
                  </a:lnTo>
                  <a:lnTo>
                    <a:pt x="8" y="8"/>
                  </a:lnTo>
                  <a:lnTo>
                    <a:pt x="8" y="8"/>
                  </a:lnTo>
                  <a:lnTo>
                    <a:pt x="8" y="8"/>
                  </a:lnTo>
                  <a:lnTo>
                    <a:pt x="7" y="8"/>
                  </a:lnTo>
                  <a:lnTo>
                    <a:pt x="7" y="8"/>
                  </a:lnTo>
                  <a:lnTo>
                    <a:pt x="7" y="8"/>
                  </a:lnTo>
                  <a:lnTo>
                    <a:pt x="7" y="8"/>
                  </a:lnTo>
                  <a:lnTo>
                    <a:pt x="7" y="8"/>
                  </a:lnTo>
                  <a:lnTo>
                    <a:pt x="8" y="8"/>
                  </a:lnTo>
                  <a:lnTo>
                    <a:pt x="8" y="8"/>
                  </a:lnTo>
                  <a:lnTo>
                    <a:pt x="8" y="8"/>
                  </a:lnTo>
                  <a:lnTo>
                    <a:pt x="7" y="9"/>
                  </a:lnTo>
                  <a:lnTo>
                    <a:pt x="7" y="9"/>
                  </a:lnTo>
                  <a:lnTo>
                    <a:pt x="7" y="9"/>
                  </a:lnTo>
                  <a:lnTo>
                    <a:pt x="7" y="9"/>
                  </a:lnTo>
                  <a:lnTo>
                    <a:pt x="7" y="9"/>
                  </a:lnTo>
                  <a:lnTo>
                    <a:pt x="7" y="9"/>
                  </a:lnTo>
                  <a:lnTo>
                    <a:pt x="7" y="9"/>
                  </a:lnTo>
                  <a:lnTo>
                    <a:pt x="7" y="9"/>
                  </a:lnTo>
                  <a:lnTo>
                    <a:pt x="7" y="9"/>
                  </a:lnTo>
                  <a:lnTo>
                    <a:pt x="6" y="8"/>
                  </a:lnTo>
                  <a:lnTo>
                    <a:pt x="6" y="8"/>
                  </a:lnTo>
                  <a:lnTo>
                    <a:pt x="5" y="9"/>
                  </a:lnTo>
                  <a:lnTo>
                    <a:pt x="3" y="9"/>
                  </a:lnTo>
                  <a:lnTo>
                    <a:pt x="3" y="8"/>
                  </a:lnTo>
                  <a:lnTo>
                    <a:pt x="3" y="8"/>
                  </a:lnTo>
                  <a:lnTo>
                    <a:pt x="5" y="8"/>
                  </a:lnTo>
                  <a:lnTo>
                    <a:pt x="5" y="8"/>
                  </a:lnTo>
                  <a:lnTo>
                    <a:pt x="5" y="8"/>
                  </a:lnTo>
                  <a:lnTo>
                    <a:pt x="6" y="8"/>
                  </a:lnTo>
                  <a:lnTo>
                    <a:pt x="6" y="7"/>
                  </a:lnTo>
                  <a:lnTo>
                    <a:pt x="6" y="7"/>
                  </a:lnTo>
                  <a:lnTo>
                    <a:pt x="7" y="7"/>
                  </a:lnTo>
                  <a:lnTo>
                    <a:pt x="6" y="7"/>
                  </a:lnTo>
                  <a:lnTo>
                    <a:pt x="6" y="7"/>
                  </a:lnTo>
                  <a:lnTo>
                    <a:pt x="6" y="7"/>
                  </a:lnTo>
                  <a:lnTo>
                    <a:pt x="6" y="5"/>
                  </a:lnTo>
                  <a:lnTo>
                    <a:pt x="6" y="5"/>
                  </a:lnTo>
                  <a:lnTo>
                    <a:pt x="6" y="5"/>
                  </a:lnTo>
                  <a:lnTo>
                    <a:pt x="6" y="7"/>
                  </a:lnTo>
                  <a:lnTo>
                    <a:pt x="6" y="7"/>
                  </a:lnTo>
                  <a:lnTo>
                    <a:pt x="6" y="7"/>
                  </a:lnTo>
                  <a:lnTo>
                    <a:pt x="5" y="8"/>
                  </a:lnTo>
                  <a:lnTo>
                    <a:pt x="5" y="8"/>
                  </a:lnTo>
                  <a:lnTo>
                    <a:pt x="5" y="8"/>
                  </a:lnTo>
                  <a:lnTo>
                    <a:pt x="5" y="7"/>
                  </a:lnTo>
                  <a:lnTo>
                    <a:pt x="5" y="8"/>
                  </a:lnTo>
                  <a:lnTo>
                    <a:pt x="5" y="8"/>
                  </a:lnTo>
                  <a:lnTo>
                    <a:pt x="5" y="8"/>
                  </a:lnTo>
                  <a:lnTo>
                    <a:pt x="3" y="8"/>
                  </a:lnTo>
                  <a:lnTo>
                    <a:pt x="3" y="8"/>
                  </a:lnTo>
                  <a:lnTo>
                    <a:pt x="2" y="8"/>
                  </a:lnTo>
                  <a:lnTo>
                    <a:pt x="2" y="8"/>
                  </a:lnTo>
                  <a:lnTo>
                    <a:pt x="2" y="8"/>
                  </a:lnTo>
                  <a:lnTo>
                    <a:pt x="2" y="8"/>
                  </a:lnTo>
                  <a:lnTo>
                    <a:pt x="3" y="8"/>
                  </a:lnTo>
                  <a:lnTo>
                    <a:pt x="2" y="8"/>
                  </a:lnTo>
                  <a:lnTo>
                    <a:pt x="2" y="9"/>
                  </a:lnTo>
                  <a:lnTo>
                    <a:pt x="2" y="9"/>
                  </a:lnTo>
                  <a:lnTo>
                    <a:pt x="2" y="9"/>
                  </a:lnTo>
                  <a:lnTo>
                    <a:pt x="1" y="9"/>
                  </a:lnTo>
                  <a:lnTo>
                    <a:pt x="1" y="9"/>
                  </a:lnTo>
                  <a:lnTo>
                    <a:pt x="1" y="9"/>
                  </a:lnTo>
                  <a:lnTo>
                    <a:pt x="0" y="9"/>
                  </a:lnTo>
                  <a:lnTo>
                    <a:pt x="1" y="9"/>
                  </a:lnTo>
                  <a:lnTo>
                    <a:pt x="1" y="9"/>
                  </a:lnTo>
                  <a:lnTo>
                    <a:pt x="1" y="9"/>
                  </a:lnTo>
                  <a:lnTo>
                    <a:pt x="1" y="9"/>
                  </a:lnTo>
                  <a:lnTo>
                    <a:pt x="0" y="9"/>
                  </a:lnTo>
                  <a:lnTo>
                    <a:pt x="1" y="9"/>
                  </a:lnTo>
                  <a:lnTo>
                    <a:pt x="1" y="9"/>
                  </a:lnTo>
                  <a:lnTo>
                    <a:pt x="1" y="9"/>
                  </a:lnTo>
                  <a:lnTo>
                    <a:pt x="1" y="8"/>
                  </a:lnTo>
                  <a:lnTo>
                    <a:pt x="1" y="8"/>
                  </a:lnTo>
                  <a:lnTo>
                    <a:pt x="1" y="8"/>
                  </a:lnTo>
                  <a:lnTo>
                    <a:pt x="2" y="7"/>
                  </a:lnTo>
                  <a:lnTo>
                    <a:pt x="2" y="7"/>
                  </a:lnTo>
                  <a:lnTo>
                    <a:pt x="3" y="7"/>
                  </a:lnTo>
                  <a:lnTo>
                    <a:pt x="3" y="7"/>
                  </a:lnTo>
                  <a:lnTo>
                    <a:pt x="3" y="7"/>
                  </a:lnTo>
                  <a:lnTo>
                    <a:pt x="3" y="7"/>
                  </a:lnTo>
                  <a:lnTo>
                    <a:pt x="3" y="7"/>
                  </a:lnTo>
                  <a:lnTo>
                    <a:pt x="2" y="7"/>
                  </a:lnTo>
                  <a:lnTo>
                    <a:pt x="2" y="7"/>
                  </a:lnTo>
                  <a:lnTo>
                    <a:pt x="3" y="7"/>
                  </a:lnTo>
                  <a:lnTo>
                    <a:pt x="3" y="7"/>
                  </a:lnTo>
                  <a:lnTo>
                    <a:pt x="3" y="7"/>
                  </a:lnTo>
                  <a:lnTo>
                    <a:pt x="3" y="7"/>
                  </a:lnTo>
                  <a:lnTo>
                    <a:pt x="3" y="7"/>
                  </a:lnTo>
                  <a:lnTo>
                    <a:pt x="3" y="5"/>
                  </a:lnTo>
                  <a:lnTo>
                    <a:pt x="3" y="5"/>
                  </a:lnTo>
                  <a:lnTo>
                    <a:pt x="2" y="5"/>
                  </a:lnTo>
                  <a:lnTo>
                    <a:pt x="2" y="5"/>
                  </a:lnTo>
                  <a:lnTo>
                    <a:pt x="2" y="5"/>
                  </a:lnTo>
                  <a:lnTo>
                    <a:pt x="2" y="5"/>
                  </a:lnTo>
                  <a:lnTo>
                    <a:pt x="2" y="5"/>
                  </a:lnTo>
                  <a:lnTo>
                    <a:pt x="3" y="5"/>
                  </a:lnTo>
                  <a:lnTo>
                    <a:pt x="3" y="5"/>
                  </a:lnTo>
                  <a:lnTo>
                    <a:pt x="3" y="5"/>
                  </a:lnTo>
                  <a:lnTo>
                    <a:pt x="5" y="5"/>
                  </a:lnTo>
                  <a:lnTo>
                    <a:pt x="5" y="5"/>
                  </a:lnTo>
                  <a:lnTo>
                    <a:pt x="5" y="5"/>
                  </a:lnTo>
                  <a:lnTo>
                    <a:pt x="5" y="5"/>
                  </a:lnTo>
                  <a:lnTo>
                    <a:pt x="5" y="5"/>
                  </a:lnTo>
                  <a:lnTo>
                    <a:pt x="5" y="4"/>
                  </a:lnTo>
                  <a:lnTo>
                    <a:pt x="5" y="4"/>
                  </a:lnTo>
                  <a:lnTo>
                    <a:pt x="5" y="4"/>
                  </a:lnTo>
                  <a:lnTo>
                    <a:pt x="5" y="4"/>
                  </a:lnTo>
                  <a:lnTo>
                    <a:pt x="5" y="4"/>
                  </a:lnTo>
                  <a:lnTo>
                    <a:pt x="5" y="4"/>
                  </a:lnTo>
                  <a:lnTo>
                    <a:pt x="5" y="4"/>
                  </a:lnTo>
                  <a:lnTo>
                    <a:pt x="6" y="4"/>
                  </a:lnTo>
                  <a:lnTo>
                    <a:pt x="6" y="4"/>
                  </a:lnTo>
                  <a:lnTo>
                    <a:pt x="6" y="4"/>
                  </a:lnTo>
                  <a:lnTo>
                    <a:pt x="6" y="4"/>
                  </a:lnTo>
                  <a:lnTo>
                    <a:pt x="6" y="4"/>
                  </a:lnTo>
                  <a:lnTo>
                    <a:pt x="6" y="4"/>
                  </a:lnTo>
                  <a:lnTo>
                    <a:pt x="6" y="4"/>
                  </a:lnTo>
                  <a:lnTo>
                    <a:pt x="7" y="4"/>
                  </a:lnTo>
                  <a:lnTo>
                    <a:pt x="6" y="4"/>
                  </a:lnTo>
                  <a:lnTo>
                    <a:pt x="6" y="4"/>
                  </a:lnTo>
                  <a:lnTo>
                    <a:pt x="6" y="4"/>
                  </a:lnTo>
                  <a:lnTo>
                    <a:pt x="6" y="4"/>
                  </a:lnTo>
                  <a:lnTo>
                    <a:pt x="6" y="4"/>
                  </a:lnTo>
                  <a:lnTo>
                    <a:pt x="6" y="4"/>
                  </a:lnTo>
                  <a:lnTo>
                    <a:pt x="5" y="4"/>
                  </a:lnTo>
                  <a:lnTo>
                    <a:pt x="5" y="4"/>
                  </a:lnTo>
                  <a:lnTo>
                    <a:pt x="5" y="4"/>
                  </a:lnTo>
                  <a:lnTo>
                    <a:pt x="5" y="3"/>
                  </a:lnTo>
                  <a:lnTo>
                    <a:pt x="5" y="3"/>
                  </a:lnTo>
                  <a:lnTo>
                    <a:pt x="5" y="3"/>
                  </a:lnTo>
                  <a:lnTo>
                    <a:pt x="5" y="3"/>
                  </a:lnTo>
                  <a:lnTo>
                    <a:pt x="6" y="3"/>
                  </a:lnTo>
                  <a:lnTo>
                    <a:pt x="6" y="3"/>
                  </a:lnTo>
                  <a:lnTo>
                    <a:pt x="6" y="3"/>
                  </a:lnTo>
                  <a:lnTo>
                    <a:pt x="6" y="3"/>
                  </a:lnTo>
                  <a:lnTo>
                    <a:pt x="6" y="3"/>
                  </a:lnTo>
                  <a:lnTo>
                    <a:pt x="7" y="3"/>
                  </a:lnTo>
                  <a:lnTo>
                    <a:pt x="7" y="3"/>
                  </a:lnTo>
                  <a:lnTo>
                    <a:pt x="7" y="3"/>
                  </a:lnTo>
                  <a:lnTo>
                    <a:pt x="7" y="3"/>
                  </a:lnTo>
                  <a:lnTo>
                    <a:pt x="7" y="3"/>
                  </a:lnTo>
                  <a:lnTo>
                    <a:pt x="7" y="3"/>
                  </a:lnTo>
                  <a:lnTo>
                    <a:pt x="7" y="3"/>
                  </a:lnTo>
                  <a:lnTo>
                    <a:pt x="7" y="3"/>
                  </a:lnTo>
                  <a:lnTo>
                    <a:pt x="6" y="3"/>
                  </a:lnTo>
                  <a:lnTo>
                    <a:pt x="5" y="3"/>
                  </a:lnTo>
                  <a:lnTo>
                    <a:pt x="5" y="3"/>
                  </a:lnTo>
                  <a:lnTo>
                    <a:pt x="5" y="3"/>
                  </a:lnTo>
                  <a:lnTo>
                    <a:pt x="5" y="2"/>
                  </a:lnTo>
                  <a:lnTo>
                    <a:pt x="5" y="2"/>
                  </a:lnTo>
                  <a:lnTo>
                    <a:pt x="5" y="2"/>
                  </a:lnTo>
                  <a:lnTo>
                    <a:pt x="5" y="2"/>
                  </a:lnTo>
                  <a:lnTo>
                    <a:pt x="5" y="2"/>
                  </a:lnTo>
                  <a:lnTo>
                    <a:pt x="5" y="2"/>
                  </a:lnTo>
                  <a:lnTo>
                    <a:pt x="5" y="2"/>
                  </a:lnTo>
                  <a:lnTo>
                    <a:pt x="5" y="2"/>
                  </a:lnTo>
                  <a:lnTo>
                    <a:pt x="5" y="2"/>
                  </a:lnTo>
                  <a:lnTo>
                    <a:pt x="5" y="2"/>
                  </a:lnTo>
                  <a:lnTo>
                    <a:pt x="6" y="2"/>
                  </a:lnTo>
                  <a:lnTo>
                    <a:pt x="6" y="2"/>
                  </a:lnTo>
                  <a:lnTo>
                    <a:pt x="6" y="2"/>
                  </a:lnTo>
                  <a:lnTo>
                    <a:pt x="6" y="2"/>
                  </a:lnTo>
                  <a:lnTo>
                    <a:pt x="6" y="2"/>
                  </a:lnTo>
                  <a:lnTo>
                    <a:pt x="6" y="2"/>
                  </a:lnTo>
                  <a:lnTo>
                    <a:pt x="5" y="2"/>
                  </a:lnTo>
                  <a:lnTo>
                    <a:pt x="6" y="1"/>
                  </a:lnTo>
                  <a:lnTo>
                    <a:pt x="6" y="1"/>
                  </a:lnTo>
                  <a:lnTo>
                    <a:pt x="6" y="1"/>
                  </a:lnTo>
                  <a:lnTo>
                    <a:pt x="6" y="1"/>
                  </a:lnTo>
                  <a:lnTo>
                    <a:pt x="6" y="1"/>
                  </a:lnTo>
                  <a:lnTo>
                    <a:pt x="6" y="1"/>
                  </a:lnTo>
                  <a:lnTo>
                    <a:pt x="6" y="1"/>
                  </a:lnTo>
                  <a:lnTo>
                    <a:pt x="6" y="1"/>
                  </a:lnTo>
                  <a:lnTo>
                    <a:pt x="6" y="0"/>
                  </a:lnTo>
                  <a:lnTo>
                    <a:pt x="6" y="0"/>
                  </a:lnTo>
                  <a:lnTo>
                    <a:pt x="6" y="0"/>
                  </a:lnTo>
                  <a:lnTo>
                    <a:pt x="7" y="0"/>
                  </a:lnTo>
                  <a:lnTo>
                    <a:pt x="8" y="0"/>
                  </a:lnTo>
                  <a:lnTo>
                    <a:pt x="8" y="0"/>
                  </a:lnTo>
                  <a:lnTo>
                    <a:pt x="8" y="0"/>
                  </a:lnTo>
                  <a:lnTo>
                    <a:pt x="8"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12" name="Freeform 1478">
              <a:extLst>
                <a:ext uri="{FF2B5EF4-FFF2-40B4-BE49-F238E27FC236}">
                  <a16:creationId xmlns:a16="http://schemas.microsoft.com/office/drawing/2014/main" id="{0ECDDC28-166D-420C-9127-80369161EC18}"/>
                </a:ext>
              </a:extLst>
            </p:cNvPr>
            <p:cNvSpPr>
              <a:spLocks/>
            </p:cNvSpPr>
            <p:nvPr/>
          </p:nvSpPr>
          <p:spPr bwMode="auto">
            <a:xfrm>
              <a:off x="6028119" y="1928904"/>
              <a:ext cx="4007" cy="1336"/>
            </a:xfrm>
            <a:custGeom>
              <a:avLst/>
              <a:gdLst>
                <a:gd name="T0" fmla="*/ 1 w 3"/>
                <a:gd name="T1" fmla="*/ 0 h 1"/>
                <a:gd name="T2" fmla="*/ 1 w 3"/>
                <a:gd name="T3" fmla="*/ 0 h 1"/>
                <a:gd name="T4" fmla="*/ 2 w 3"/>
                <a:gd name="T5" fmla="*/ 0 h 1"/>
                <a:gd name="T6" fmla="*/ 2 w 3"/>
                <a:gd name="T7" fmla="*/ 0 h 1"/>
                <a:gd name="T8" fmla="*/ 2 w 3"/>
                <a:gd name="T9" fmla="*/ 0 h 1"/>
                <a:gd name="T10" fmla="*/ 3 w 3"/>
                <a:gd name="T11" fmla="*/ 0 h 1"/>
                <a:gd name="T12" fmla="*/ 3 w 3"/>
                <a:gd name="T13" fmla="*/ 1 h 1"/>
                <a:gd name="T14" fmla="*/ 2 w 3"/>
                <a:gd name="T15" fmla="*/ 1 h 1"/>
                <a:gd name="T16" fmla="*/ 2 w 3"/>
                <a:gd name="T17" fmla="*/ 1 h 1"/>
                <a:gd name="T18" fmla="*/ 2 w 3"/>
                <a:gd name="T19" fmla="*/ 1 h 1"/>
                <a:gd name="T20" fmla="*/ 2 w 3"/>
                <a:gd name="T21" fmla="*/ 1 h 1"/>
                <a:gd name="T22" fmla="*/ 1 w 3"/>
                <a:gd name="T23" fmla="*/ 1 h 1"/>
                <a:gd name="T24" fmla="*/ 1 w 3"/>
                <a:gd name="T25" fmla="*/ 1 h 1"/>
                <a:gd name="T26" fmla="*/ 0 w 3"/>
                <a:gd name="T27" fmla="*/ 1 h 1"/>
                <a:gd name="T28" fmla="*/ 0 w 3"/>
                <a:gd name="T29" fmla="*/ 0 h 1"/>
                <a:gd name="T30" fmla="*/ 0 w 3"/>
                <a:gd name="T31" fmla="*/ 0 h 1"/>
                <a:gd name="T32" fmla="*/ 0 w 3"/>
                <a:gd name="T33" fmla="*/ 0 h 1"/>
                <a:gd name="T34" fmla="*/ 0 w 3"/>
                <a:gd name="T35" fmla="*/ 0 h 1"/>
                <a:gd name="T36" fmla="*/ 1 w 3"/>
                <a:gd name="T3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 h="1">
                  <a:moveTo>
                    <a:pt x="1" y="0"/>
                  </a:moveTo>
                  <a:lnTo>
                    <a:pt x="1" y="0"/>
                  </a:lnTo>
                  <a:lnTo>
                    <a:pt x="2" y="0"/>
                  </a:lnTo>
                  <a:lnTo>
                    <a:pt x="2" y="0"/>
                  </a:lnTo>
                  <a:lnTo>
                    <a:pt x="2" y="0"/>
                  </a:lnTo>
                  <a:lnTo>
                    <a:pt x="3" y="0"/>
                  </a:lnTo>
                  <a:lnTo>
                    <a:pt x="3" y="1"/>
                  </a:lnTo>
                  <a:lnTo>
                    <a:pt x="2" y="1"/>
                  </a:lnTo>
                  <a:lnTo>
                    <a:pt x="2" y="1"/>
                  </a:lnTo>
                  <a:lnTo>
                    <a:pt x="2" y="1"/>
                  </a:lnTo>
                  <a:lnTo>
                    <a:pt x="2" y="1"/>
                  </a:lnTo>
                  <a:lnTo>
                    <a:pt x="1" y="1"/>
                  </a:lnTo>
                  <a:lnTo>
                    <a:pt x="1" y="1"/>
                  </a:lnTo>
                  <a:lnTo>
                    <a:pt x="0" y="1"/>
                  </a:lnTo>
                  <a:lnTo>
                    <a:pt x="0" y="0"/>
                  </a:lnTo>
                  <a:lnTo>
                    <a:pt x="0" y="0"/>
                  </a:lnTo>
                  <a:lnTo>
                    <a:pt x="0" y="0"/>
                  </a:lnTo>
                  <a:lnTo>
                    <a:pt x="0"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13" name="Freeform 1479">
              <a:extLst>
                <a:ext uri="{FF2B5EF4-FFF2-40B4-BE49-F238E27FC236}">
                  <a16:creationId xmlns:a16="http://schemas.microsoft.com/office/drawing/2014/main" id="{65F2B40D-22E5-495F-81D6-677EE53F7852}"/>
                </a:ext>
              </a:extLst>
            </p:cNvPr>
            <p:cNvSpPr>
              <a:spLocks/>
            </p:cNvSpPr>
            <p:nvPr/>
          </p:nvSpPr>
          <p:spPr bwMode="auto">
            <a:xfrm>
              <a:off x="6001409" y="1928904"/>
              <a:ext cx="13355" cy="6678"/>
            </a:xfrm>
            <a:custGeom>
              <a:avLst/>
              <a:gdLst>
                <a:gd name="T0" fmla="*/ 9 w 10"/>
                <a:gd name="T1" fmla="*/ 1 h 5"/>
                <a:gd name="T2" fmla="*/ 8 w 10"/>
                <a:gd name="T3" fmla="*/ 1 h 5"/>
                <a:gd name="T4" fmla="*/ 9 w 10"/>
                <a:gd name="T5" fmla="*/ 1 h 5"/>
                <a:gd name="T6" fmla="*/ 9 w 10"/>
                <a:gd name="T7" fmla="*/ 1 h 5"/>
                <a:gd name="T8" fmla="*/ 10 w 10"/>
                <a:gd name="T9" fmla="*/ 2 h 5"/>
                <a:gd name="T10" fmla="*/ 10 w 10"/>
                <a:gd name="T11" fmla="*/ 2 h 5"/>
                <a:gd name="T12" fmla="*/ 9 w 10"/>
                <a:gd name="T13" fmla="*/ 2 h 5"/>
                <a:gd name="T14" fmla="*/ 9 w 10"/>
                <a:gd name="T15" fmla="*/ 3 h 5"/>
                <a:gd name="T16" fmla="*/ 10 w 10"/>
                <a:gd name="T17" fmla="*/ 3 h 5"/>
                <a:gd name="T18" fmla="*/ 8 w 10"/>
                <a:gd name="T19" fmla="*/ 5 h 5"/>
                <a:gd name="T20" fmla="*/ 6 w 10"/>
                <a:gd name="T21" fmla="*/ 4 h 5"/>
                <a:gd name="T22" fmla="*/ 5 w 10"/>
                <a:gd name="T23" fmla="*/ 4 h 5"/>
                <a:gd name="T24" fmla="*/ 7 w 10"/>
                <a:gd name="T25" fmla="*/ 4 h 5"/>
                <a:gd name="T26" fmla="*/ 7 w 10"/>
                <a:gd name="T27" fmla="*/ 4 h 5"/>
                <a:gd name="T28" fmla="*/ 8 w 10"/>
                <a:gd name="T29" fmla="*/ 3 h 5"/>
                <a:gd name="T30" fmla="*/ 8 w 10"/>
                <a:gd name="T31" fmla="*/ 3 h 5"/>
                <a:gd name="T32" fmla="*/ 7 w 10"/>
                <a:gd name="T33" fmla="*/ 3 h 5"/>
                <a:gd name="T34" fmla="*/ 7 w 10"/>
                <a:gd name="T35" fmla="*/ 3 h 5"/>
                <a:gd name="T36" fmla="*/ 7 w 10"/>
                <a:gd name="T37" fmla="*/ 3 h 5"/>
                <a:gd name="T38" fmla="*/ 6 w 10"/>
                <a:gd name="T39" fmla="*/ 3 h 5"/>
                <a:gd name="T40" fmla="*/ 5 w 10"/>
                <a:gd name="T41" fmla="*/ 3 h 5"/>
                <a:gd name="T42" fmla="*/ 5 w 10"/>
                <a:gd name="T43" fmla="*/ 3 h 5"/>
                <a:gd name="T44" fmla="*/ 5 w 10"/>
                <a:gd name="T45" fmla="*/ 4 h 5"/>
                <a:gd name="T46" fmla="*/ 3 w 10"/>
                <a:gd name="T47" fmla="*/ 3 h 5"/>
                <a:gd name="T48" fmla="*/ 3 w 10"/>
                <a:gd name="T49" fmla="*/ 4 h 5"/>
                <a:gd name="T50" fmla="*/ 2 w 10"/>
                <a:gd name="T51" fmla="*/ 4 h 5"/>
                <a:gd name="T52" fmla="*/ 1 w 10"/>
                <a:gd name="T53" fmla="*/ 4 h 5"/>
                <a:gd name="T54" fmla="*/ 1 w 10"/>
                <a:gd name="T55" fmla="*/ 4 h 5"/>
                <a:gd name="T56" fmla="*/ 1 w 10"/>
                <a:gd name="T57" fmla="*/ 4 h 5"/>
                <a:gd name="T58" fmla="*/ 1 w 10"/>
                <a:gd name="T59" fmla="*/ 3 h 5"/>
                <a:gd name="T60" fmla="*/ 2 w 10"/>
                <a:gd name="T61" fmla="*/ 3 h 5"/>
                <a:gd name="T62" fmla="*/ 1 w 10"/>
                <a:gd name="T63" fmla="*/ 2 h 5"/>
                <a:gd name="T64" fmla="*/ 2 w 10"/>
                <a:gd name="T65" fmla="*/ 2 h 5"/>
                <a:gd name="T66" fmla="*/ 2 w 10"/>
                <a:gd name="T67" fmla="*/ 3 h 5"/>
                <a:gd name="T68" fmla="*/ 2 w 10"/>
                <a:gd name="T69" fmla="*/ 3 h 5"/>
                <a:gd name="T70" fmla="*/ 3 w 10"/>
                <a:gd name="T71" fmla="*/ 2 h 5"/>
                <a:gd name="T72" fmla="*/ 2 w 10"/>
                <a:gd name="T73" fmla="*/ 2 h 5"/>
                <a:gd name="T74" fmla="*/ 3 w 10"/>
                <a:gd name="T75" fmla="*/ 2 h 5"/>
                <a:gd name="T76" fmla="*/ 3 w 10"/>
                <a:gd name="T77" fmla="*/ 3 h 5"/>
                <a:gd name="T78" fmla="*/ 6 w 10"/>
                <a:gd name="T79" fmla="*/ 2 h 5"/>
                <a:gd name="T80" fmla="*/ 6 w 10"/>
                <a:gd name="T81" fmla="*/ 3 h 5"/>
                <a:gd name="T82" fmla="*/ 6 w 10"/>
                <a:gd name="T83" fmla="*/ 2 h 5"/>
                <a:gd name="T84" fmla="*/ 6 w 10"/>
                <a:gd name="T85" fmla="*/ 2 h 5"/>
                <a:gd name="T86" fmla="*/ 7 w 10"/>
                <a:gd name="T87" fmla="*/ 2 h 5"/>
                <a:gd name="T88" fmla="*/ 7 w 10"/>
                <a:gd name="T89" fmla="*/ 2 h 5"/>
                <a:gd name="T90" fmla="*/ 7 w 10"/>
                <a:gd name="T91" fmla="*/ 2 h 5"/>
                <a:gd name="T92" fmla="*/ 7 w 10"/>
                <a:gd name="T93" fmla="*/ 2 h 5"/>
                <a:gd name="T94" fmla="*/ 8 w 10"/>
                <a:gd name="T95" fmla="*/ 1 h 5"/>
                <a:gd name="T96" fmla="*/ 7 w 10"/>
                <a:gd name="T97" fmla="*/ 1 h 5"/>
                <a:gd name="T98" fmla="*/ 7 w 10"/>
                <a:gd name="T99" fmla="*/ 0 h 5"/>
                <a:gd name="T100" fmla="*/ 8 w 10"/>
                <a:gd name="T101" fmla="*/ 0 h 5"/>
                <a:gd name="T102" fmla="*/ 8 w 10"/>
                <a:gd name="T103" fmla="*/ 0 h 5"/>
                <a:gd name="T104" fmla="*/ 8 w 10"/>
                <a:gd name="T105"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 h="5">
                  <a:moveTo>
                    <a:pt x="8" y="1"/>
                  </a:moveTo>
                  <a:lnTo>
                    <a:pt x="8" y="1"/>
                  </a:lnTo>
                  <a:lnTo>
                    <a:pt x="8" y="1"/>
                  </a:lnTo>
                  <a:lnTo>
                    <a:pt x="9" y="1"/>
                  </a:lnTo>
                  <a:lnTo>
                    <a:pt x="9" y="1"/>
                  </a:lnTo>
                  <a:lnTo>
                    <a:pt x="8" y="1"/>
                  </a:lnTo>
                  <a:lnTo>
                    <a:pt x="8" y="1"/>
                  </a:lnTo>
                  <a:lnTo>
                    <a:pt x="8" y="1"/>
                  </a:lnTo>
                  <a:lnTo>
                    <a:pt x="9" y="1"/>
                  </a:lnTo>
                  <a:lnTo>
                    <a:pt x="9" y="1"/>
                  </a:lnTo>
                  <a:lnTo>
                    <a:pt x="9" y="1"/>
                  </a:lnTo>
                  <a:lnTo>
                    <a:pt x="9" y="1"/>
                  </a:lnTo>
                  <a:lnTo>
                    <a:pt x="9" y="2"/>
                  </a:lnTo>
                  <a:lnTo>
                    <a:pt x="9" y="2"/>
                  </a:lnTo>
                  <a:lnTo>
                    <a:pt x="9" y="2"/>
                  </a:lnTo>
                  <a:lnTo>
                    <a:pt x="9" y="1"/>
                  </a:lnTo>
                  <a:lnTo>
                    <a:pt x="10" y="1"/>
                  </a:lnTo>
                  <a:lnTo>
                    <a:pt x="10" y="1"/>
                  </a:lnTo>
                  <a:lnTo>
                    <a:pt x="10" y="1"/>
                  </a:lnTo>
                  <a:lnTo>
                    <a:pt x="10" y="2"/>
                  </a:lnTo>
                  <a:lnTo>
                    <a:pt x="10" y="2"/>
                  </a:lnTo>
                  <a:lnTo>
                    <a:pt x="10" y="2"/>
                  </a:lnTo>
                  <a:lnTo>
                    <a:pt x="10" y="2"/>
                  </a:lnTo>
                  <a:lnTo>
                    <a:pt x="10" y="2"/>
                  </a:lnTo>
                  <a:lnTo>
                    <a:pt x="10" y="2"/>
                  </a:lnTo>
                  <a:lnTo>
                    <a:pt x="10" y="2"/>
                  </a:lnTo>
                  <a:lnTo>
                    <a:pt x="9" y="2"/>
                  </a:lnTo>
                  <a:lnTo>
                    <a:pt x="9" y="2"/>
                  </a:lnTo>
                  <a:lnTo>
                    <a:pt x="9" y="2"/>
                  </a:lnTo>
                  <a:lnTo>
                    <a:pt x="9" y="2"/>
                  </a:lnTo>
                  <a:lnTo>
                    <a:pt x="9" y="2"/>
                  </a:lnTo>
                  <a:lnTo>
                    <a:pt x="9" y="3"/>
                  </a:lnTo>
                  <a:lnTo>
                    <a:pt x="9" y="3"/>
                  </a:lnTo>
                  <a:lnTo>
                    <a:pt x="10" y="3"/>
                  </a:lnTo>
                  <a:lnTo>
                    <a:pt x="10" y="3"/>
                  </a:lnTo>
                  <a:lnTo>
                    <a:pt x="10" y="3"/>
                  </a:lnTo>
                  <a:lnTo>
                    <a:pt x="10" y="3"/>
                  </a:lnTo>
                  <a:lnTo>
                    <a:pt x="10" y="4"/>
                  </a:lnTo>
                  <a:lnTo>
                    <a:pt x="10" y="4"/>
                  </a:lnTo>
                  <a:lnTo>
                    <a:pt x="8" y="5"/>
                  </a:lnTo>
                  <a:lnTo>
                    <a:pt x="6" y="5"/>
                  </a:lnTo>
                  <a:lnTo>
                    <a:pt x="6" y="5"/>
                  </a:lnTo>
                  <a:lnTo>
                    <a:pt x="6" y="4"/>
                  </a:lnTo>
                  <a:lnTo>
                    <a:pt x="6" y="4"/>
                  </a:lnTo>
                  <a:lnTo>
                    <a:pt x="6" y="4"/>
                  </a:lnTo>
                  <a:lnTo>
                    <a:pt x="5" y="4"/>
                  </a:lnTo>
                  <a:lnTo>
                    <a:pt x="5" y="4"/>
                  </a:lnTo>
                  <a:lnTo>
                    <a:pt x="5" y="4"/>
                  </a:lnTo>
                  <a:lnTo>
                    <a:pt x="5" y="4"/>
                  </a:lnTo>
                  <a:lnTo>
                    <a:pt x="6" y="4"/>
                  </a:lnTo>
                  <a:lnTo>
                    <a:pt x="6" y="4"/>
                  </a:lnTo>
                  <a:lnTo>
                    <a:pt x="7" y="4"/>
                  </a:lnTo>
                  <a:lnTo>
                    <a:pt x="7" y="4"/>
                  </a:lnTo>
                  <a:lnTo>
                    <a:pt x="7" y="4"/>
                  </a:lnTo>
                  <a:lnTo>
                    <a:pt x="7" y="4"/>
                  </a:lnTo>
                  <a:lnTo>
                    <a:pt x="7" y="4"/>
                  </a:lnTo>
                  <a:lnTo>
                    <a:pt x="7" y="3"/>
                  </a:lnTo>
                  <a:lnTo>
                    <a:pt x="8" y="3"/>
                  </a:lnTo>
                  <a:lnTo>
                    <a:pt x="8" y="3"/>
                  </a:lnTo>
                  <a:lnTo>
                    <a:pt x="8" y="3"/>
                  </a:lnTo>
                  <a:lnTo>
                    <a:pt x="8" y="3"/>
                  </a:lnTo>
                  <a:lnTo>
                    <a:pt x="8" y="3"/>
                  </a:lnTo>
                  <a:lnTo>
                    <a:pt x="8" y="3"/>
                  </a:lnTo>
                  <a:lnTo>
                    <a:pt x="8" y="3"/>
                  </a:lnTo>
                  <a:lnTo>
                    <a:pt x="8" y="3"/>
                  </a:lnTo>
                  <a:lnTo>
                    <a:pt x="7" y="2"/>
                  </a:lnTo>
                  <a:lnTo>
                    <a:pt x="7" y="3"/>
                  </a:lnTo>
                  <a:lnTo>
                    <a:pt x="7" y="3"/>
                  </a:lnTo>
                  <a:lnTo>
                    <a:pt x="7" y="3"/>
                  </a:lnTo>
                  <a:lnTo>
                    <a:pt x="7" y="3"/>
                  </a:lnTo>
                  <a:lnTo>
                    <a:pt x="7" y="3"/>
                  </a:lnTo>
                  <a:lnTo>
                    <a:pt x="7" y="3"/>
                  </a:lnTo>
                  <a:lnTo>
                    <a:pt x="7" y="3"/>
                  </a:lnTo>
                  <a:lnTo>
                    <a:pt x="7" y="3"/>
                  </a:lnTo>
                  <a:lnTo>
                    <a:pt x="7" y="3"/>
                  </a:lnTo>
                  <a:lnTo>
                    <a:pt x="7" y="3"/>
                  </a:lnTo>
                  <a:lnTo>
                    <a:pt x="7" y="3"/>
                  </a:lnTo>
                  <a:lnTo>
                    <a:pt x="6" y="3"/>
                  </a:lnTo>
                  <a:lnTo>
                    <a:pt x="6" y="3"/>
                  </a:lnTo>
                  <a:lnTo>
                    <a:pt x="6" y="3"/>
                  </a:lnTo>
                  <a:lnTo>
                    <a:pt x="6" y="3"/>
                  </a:lnTo>
                  <a:lnTo>
                    <a:pt x="6" y="3"/>
                  </a:lnTo>
                  <a:lnTo>
                    <a:pt x="5" y="4"/>
                  </a:lnTo>
                  <a:lnTo>
                    <a:pt x="5" y="3"/>
                  </a:lnTo>
                  <a:lnTo>
                    <a:pt x="5" y="3"/>
                  </a:lnTo>
                  <a:lnTo>
                    <a:pt x="5" y="3"/>
                  </a:lnTo>
                  <a:lnTo>
                    <a:pt x="5" y="3"/>
                  </a:lnTo>
                  <a:lnTo>
                    <a:pt x="5" y="3"/>
                  </a:lnTo>
                  <a:lnTo>
                    <a:pt x="5" y="3"/>
                  </a:lnTo>
                  <a:lnTo>
                    <a:pt x="5" y="3"/>
                  </a:lnTo>
                  <a:lnTo>
                    <a:pt x="5" y="4"/>
                  </a:lnTo>
                  <a:lnTo>
                    <a:pt x="5" y="4"/>
                  </a:lnTo>
                  <a:lnTo>
                    <a:pt x="5" y="4"/>
                  </a:lnTo>
                  <a:lnTo>
                    <a:pt x="3" y="3"/>
                  </a:lnTo>
                  <a:lnTo>
                    <a:pt x="3" y="3"/>
                  </a:lnTo>
                  <a:lnTo>
                    <a:pt x="3" y="3"/>
                  </a:lnTo>
                  <a:lnTo>
                    <a:pt x="3" y="4"/>
                  </a:lnTo>
                  <a:lnTo>
                    <a:pt x="3" y="4"/>
                  </a:lnTo>
                  <a:lnTo>
                    <a:pt x="3" y="4"/>
                  </a:lnTo>
                  <a:lnTo>
                    <a:pt x="3" y="4"/>
                  </a:lnTo>
                  <a:lnTo>
                    <a:pt x="3" y="4"/>
                  </a:lnTo>
                  <a:lnTo>
                    <a:pt x="2" y="4"/>
                  </a:lnTo>
                  <a:lnTo>
                    <a:pt x="2" y="4"/>
                  </a:lnTo>
                  <a:lnTo>
                    <a:pt x="2" y="4"/>
                  </a:lnTo>
                  <a:lnTo>
                    <a:pt x="2" y="4"/>
                  </a:lnTo>
                  <a:lnTo>
                    <a:pt x="1" y="4"/>
                  </a:lnTo>
                  <a:lnTo>
                    <a:pt x="1" y="4"/>
                  </a:lnTo>
                  <a:lnTo>
                    <a:pt x="1" y="4"/>
                  </a:lnTo>
                  <a:lnTo>
                    <a:pt x="1" y="4"/>
                  </a:lnTo>
                  <a:lnTo>
                    <a:pt x="1" y="4"/>
                  </a:lnTo>
                  <a:lnTo>
                    <a:pt x="1" y="4"/>
                  </a:lnTo>
                  <a:lnTo>
                    <a:pt x="1" y="4"/>
                  </a:lnTo>
                  <a:lnTo>
                    <a:pt x="1" y="4"/>
                  </a:lnTo>
                  <a:lnTo>
                    <a:pt x="1" y="4"/>
                  </a:lnTo>
                  <a:lnTo>
                    <a:pt x="1" y="4"/>
                  </a:lnTo>
                  <a:lnTo>
                    <a:pt x="1" y="4"/>
                  </a:lnTo>
                  <a:lnTo>
                    <a:pt x="0" y="3"/>
                  </a:lnTo>
                  <a:lnTo>
                    <a:pt x="1" y="3"/>
                  </a:lnTo>
                  <a:lnTo>
                    <a:pt x="1" y="3"/>
                  </a:lnTo>
                  <a:lnTo>
                    <a:pt x="1" y="3"/>
                  </a:lnTo>
                  <a:lnTo>
                    <a:pt x="1" y="3"/>
                  </a:lnTo>
                  <a:lnTo>
                    <a:pt x="1" y="3"/>
                  </a:lnTo>
                  <a:lnTo>
                    <a:pt x="2" y="3"/>
                  </a:lnTo>
                  <a:lnTo>
                    <a:pt x="2" y="3"/>
                  </a:lnTo>
                  <a:lnTo>
                    <a:pt x="2" y="3"/>
                  </a:lnTo>
                  <a:lnTo>
                    <a:pt x="1" y="3"/>
                  </a:lnTo>
                  <a:lnTo>
                    <a:pt x="1" y="2"/>
                  </a:lnTo>
                  <a:lnTo>
                    <a:pt x="1" y="2"/>
                  </a:lnTo>
                  <a:lnTo>
                    <a:pt x="2" y="2"/>
                  </a:lnTo>
                  <a:lnTo>
                    <a:pt x="2" y="2"/>
                  </a:lnTo>
                  <a:lnTo>
                    <a:pt x="2" y="2"/>
                  </a:lnTo>
                  <a:lnTo>
                    <a:pt x="2" y="2"/>
                  </a:lnTo>
                  <a:lnTo>
                    <a:pt x="2" y="3"/>
                  </a:lnTo>
                  <a:lnTo>
                    <a:pt x="2" y="3"/>
                  </a:lnTo>
                  <a:lnTo>
                    <a:pt x="2" y="3"/>
                  </a:lnTo>
                  <a:lnTo>
                    <a:pt x="2" y="3"/>
                  </a:lnTo>
                  <a:lnTo>
                    <a:pt x="3" y="3"/>
                  </a:lnTo>
                  <a:lnTo>
                    <a:pt x="3" y="3"/>
                  </a:lnTo>
                  <a:lnTo>
                    <a:pt x="2" y="3"/>
                  </a:lnTo>
                  <a:lnTo>
                    <a:pt x="2" y="3"/>
                  </a:lnTo>
                  <a:lnTo>
                    <a:pt x="2" y="3"/>
                  </a:lnTo>
                  <a:lnTo>
                    <a:pt x="2" y="2"/>
                  </a:lnTo>
                  <a:lnTo>
                    <a:pt x="2" y="2"/>
                  </a:lnTo>
                  <a:lnTo>
                    <a:pt x="3" y="2"/>
                  </a:lnTo>
                  <a:lnTo>
                    <a:pt x="3" y="2"/>
                  </a:lnTo>
                  <a:lnTo>
                    <a:pt x="2" y="2"/>
                  </a:lnTo>
                  <a:lnTo>
                    <a:pt x="2" y="2"/>
                  </a:lnTo>
                  <a:lnTo>
                    <a:pt x="2" y="2"/>
                  </a:lnTo>
                  <a:lnTo>
                    <a:pt x="2" y="2"/>
                  </a:lnTo>
                  <a:lnTo>
                    <a:pt x="3" y="2"/>
                  </a:lnTo>
                  <a:lnTo>
                    <a:pt x="3" y="2"/>
                  </a:lnTo>
                  <a:lnTo>
                    <a:pt x="3" y="2"/>
                  </a:lnTo>
                  <a:lnTo>
                    <a:pt x="3" y="2"/>
                  </a:lnTo>
                  <a:lnTo>
                    <a:pt x="3" y="2"/>
                  </a:lnTo>
                  <a:lnTo>
                    <a:pt x="3" y="2"/>
                  </a:lnTo>
                  <a:lnTo>
                    <a:pt x="3" y="3"/>
                  </a:lnTo>
                  <a:lnTo>
                    <a:pt x="3" y="3"/>
                  </a:lnTo>
                  <a:lnTo>
                    <a:pt x="5" y="2"/>
                  </a:lnTo>
                  <a:lnTo>
                    <a:pt x="5" y="2"/>
                  </a:lnTo>
                  <a:lnTo>
                    <a:pt x="6" y="2"/>
                  </a:lnTo>
                  <a:lnTo>
                    <a:pt x="6" y="2"/>
                  </a:lnTo>
                  <a:lnTo>
                    <a:pt x="6" y="2"/>
                  </a:lnTo>
                  <a:lnTo>
                    <a:pt x="6" y="3"/>
                  </a:lnTo>
                  <a:lnTo>
                    <a:pt x="6" y="3"/>
                  </a:lnTo>
                  <a:lnTo>
                    <a:pt x="6" y="3"/>
                  </a:lnTo>
                  <a:lnTo>
                    <a:pt x="6" y="2"/>
                  </a:lnTo>
                  <a:lnTo>
                    <a:pt x="6" y="2"/>
                  </a:lnTo>
                  <a:lnTo>
                    <a:pt x="6" y="2"/>
                  </a:lnTo>
                  <a:lnTo>
                    <a:pt x="6" y="2"/>
                  </a:lnTo>
                  <a:lnTo>
                    <a:pt x="6" y="2"/>
                  </a:lnTo>
                  <a:lnTo>
                    <a:pt x="6" y="2"/>
                  </a:lnTo>
                  <a:lnTo>
                    <a:pt x="6" y="2"/>
                  </a:lnTo>
                  <a:lnTo>
                    <a:pt x="6" y="1"/>
                  </a:lnTo>
                  <a:lnTo>
                    <a:pt x="6" y="1"/>
                  </a:lnTo>
                  <a:lnTo>
                    <a:pt x="7" y="2"/>
                  </a:lnTo>
                  <a:lnTo>
                    <a:pt x="7" y="2"/>
                  </a:lnTo>
                  <a:lnTo>
                    <a:pt x="7" y="2"/>
                  </a:lnTo>
                  <a:lnTo>
                    <a:pt x="7" y="2"/>
                  </a:lnTo>
                  <a:lnTo>
                    <a:pt x="7" y="2"/>
                  </a:lnTo>
                  <a:lnTo>
                    <a:pt x="7" y="2"/>
                  </a:lnTo>
                  <a:lnTo>
                    <a:pt x="7" y="2"/>
                  </a:lnTo>
                  <a:lnTo>
                    <a:pt x="7" y="2"/>
                  </a:lnTo>
                  <a:lnTo>
                    <a:pt x="7" y="2"/>
                  </a:lnTo>
                  <a:lnTo>
                    <a:pt x="7" y="2"/>
                  </a:lnTo>
                  <a:lnTo>
                    <a:pt x="7" y="2"/>
                  </a:lnTo>
                  <a:lnTo>
                    <a:pt x="7" y="2"/>
                  </a:lnTo>
                  <a:lnTo>
                    <a:pt x="7" y="2"/>
                  </a:lnTo>
                  <a:lnTo>
                    <a:pt x="7" y="2"/>
                  </a:lnTo>
                  <a:lnTo>
                    <a:pt x="8" y="2"/>
                  </a:lnTo>
                  <a:lnTo>
                    <a:pt x="8" y="2"/>
                  </a:lnTo>
                  <a:lnTo>
                    <a:pt x="8" y="2"/>
                  </a:lnTo>
                  <a:lnTo>
                    <a:pt x="8" y="1"/>
                  </a:lnTo>
                  <a:lnTo>
                    <a:pt x="7" y="1"/>
                  </a:lnTo>
                  <a:lnTo>
                    <a:pt x="7" y="1"/>
                  </a:lnTo>
                  <a:lnTo>
                    <a:pt x="7" y="1"/>
                  </a:lnTo>
                  <a:lnTo>
                    <a:pt x="7" y="1"/>
                  </a:lnTo>
                  <a:lnTo>
                    <a:pt x="7" y="1"/>
                  </a:lnTo>
                  <a:lnTo>
                    <a:pt x="7" y="0"/>
                  </a:lnTo>
                  <a:lnTo>
                    <a:pt x="7" y="0"/>
                  </a:lnTo>
                  <a:lnTo>
                    <a:pt x="7" y="0"/>
                  </a:lnTo>
                  <a:lnTo>
                    <a:pt x="7" y="0"/>
                  </a:lnTo>
                  <a:lnTo>
                    <a:pt x="7" y="0"/>
                  </a:lnTo>
                  <a:lnTo>
                    <a:pt x="8" y="0"/>
                  </a:lnTo>
                  <a:lnTo>
                    <a:pt x="8" y="0"/>
                  </a:lnTo>
                  <a:lnTo>
                    <a:pt x="8" y="0"/>
                  </a:lnTo>
                  <a:lnTo>
                    <a:pt x="8" y="0"/>
                  </a:lnTo>
                  <a:lnTo>
                    <a:pt x="8" y="0"/>
                  </a:lnTo>
                  <a:lnTo>
                    <a:pt x="8" y="0"/>
                  </a:lnTo>
                  <a:lnTo>
                    <a:pt x="8" y="0"/>
                  </a:lnTo>
                  <a:lnTo>
                    <a:pt x="8" y="1"/>
                  </a:lnTo>
                  <a:lnTo>
                    <a:pt x="8" y="1"/>
                  </a:lnTo>
                  <a:lnTo>
                    <a:pt x="8"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14" name="Freeform 1480">
              <a:extLst>
                <a:ext uri="{FF2B5EF4-FFF2-40B4-BE49-F238E27FC236}">
                  <a16:creationId xmlns:a16="http://schemas.microsoft.com/office/drawing/2014/main" id="{E82A7287-8ADE-4B7D-9F43-5C4D83F671B4}"/>
                </a:ext>
              </a:extLst>
            </p:cNvPr>
            <p:cNvSpPr>
              <a:spLocks/>
            </p:cNvSpPr>
            <p:nvPr/>
          </p:nvSpPr>
          <p:spPr bwMode="auto">
            <a:xfrm>
              <a:off x="6041474" y="1926233"/>
              <a:ext cx="2671" cy="2671"/>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0 w 2"/>
                <a:gd name="T13" fmla="*/ 2 h 2"/>
                <a:gd name="T14" fmla="*/ 0 w 2"/>
                <a:gd name="T15" fmla="*/ 0 h 2"/>
                <a:gd name="T16" fmla="*/ 0 w 2"/>
                <a:gd name="T17" fmla="*/ 0 h 2"/>
                <a:gd name="T18" fmla="*/ 0 w 2"/>
                <a:gd name="T19" fmla="*/ 0 h 2"/>
                <a:gd name="T20" fmla="*/ 0 w 2"/>
                <a:gd name="T21" fmla="*/ 0 h 2"/>
                <a:gd name="T22" fmla="*/ 1 w 2"/>
                <a:gd name="T23" fmla="*/ 0 h 2"/>
                <a:gd name="T24" fmla="*/ 2 w 2"/>
                <a:gd name="T25" fmla="*/ 0 h 2"/>
                <a:gd name="T26" fmla="*/ 2 w 2"/>
                <a:gd name="T27" fmla="*/ 0 h 2"/>
                <a:gd name="T28" fmla="*/ 2 w 2"/>
                <a:gd name="T29" fmla="*/ 0 h 2"/>
                <a:gd name="T30" fmla="*/ 2 w 2"/>
                <a:gd name="T31" fmla="*/ 0 h 2"/>
                <a:gd name="T32" fmla="*/ 2 w 2"/>
                <a:gd name="T33" fmla="*/ 0 h 2"/>
                <a:gd name="T34" fmla="*/ 2 w 2"/>
                <a:gd name="T35" fmla="*/ 0 h 2"/>
                <a:gd name="T36" fmla="*/ 2 w 2"/>
                <a:gd name="T37" fmla="*/ 0 h 2"/>
                <a:gd name="T38" fmla="*/ 2 w 2"/>
                <a:gd name="T39" fmla="*/ 0 h 2"/>
                <a:gd name="T40" fmla="*/ 2 w 2"/>
                <a:gd name="T41" fmla="*/ 0 h 2"/>
                <a:gd name="T42" fmla="*/ 1 w 2"/>
                <a:gd name="T43" fmla="*/ 0 h 2"/>
                <a:gd name="T44" fmla="*/ 1 w 2"/>
                <a:gd name="T45" fmla="*/ 0 h 2"/>
                <a:gd name="T46" fmla="*/ 1 w 2"/>
                <a:gd name="T47" fmla="*/ 0 h 2"/>
                <a:gd name="T48" fmla="*/ 1 w 2"/>
                <a:gd name="T49" fmla="*/ 2 h 2"/>
                <a:gd name="T50" fmla="*/ 1 w 2"/>
                <a:gd name="T51" fmla="*/ 2 h 2"/>
                <a:gd name="T52" fmla="*/ 1 w 2"/>
                <a:gd name="T53" fmla="*/ 2 h 2"/>
                <a:gd name="T54" fmla="*/ 0 w 2"/>
                <a:gd name="T5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 h="2">
                  <a:moveTo>
                    <a:pt x="0" y="2"/>
                  </a:moveTo>
                  <a:lnTo>
                    <a:pt x="0" y="2"/>
                  </a:lnTo>
                  <a:lnTo>
                    <a:pt x="0" y="2"/>
                  </a:lnTo>
                  <a:lnTo>
                    <a:pt x="0" y="2"/>
                  </a:lnTo>
                  <a:lnTo>
                    <a:pt x="0" y="2"/>
                  </a:lnTo>
                  <a:lnTo>
                    <a:pt x="0" y="2"/>
                  </a:lnTo>
                  <a:lnTo>
                    <a:pt x="0" y="2"/>
                  </a:lnTo>
                  <a:lnTo>
                    <a:pt x="0" y="0"/>
                  </a:lnTo>
                  <a:lnTo>
                    <a:pt x="0" y="0"/>
                  </a:lnTo>
                  <a:lnTo>
                    <a:pt x="0" y="0"/>
                  </a:lnTo>
                  <a:lnTo>
                    <a:pt x="0" y="0"/>
                  </a:lnTo>
                  <a:lnTo>
                    <a:pt x="1" y="0"/>
                  </a:lnTo>
                  <a:lnTo>
                    <a:pt x="2" y="0"/>
                  </a:lnTo>
                  <a:lnTo>
                    <a:pt x="2" y="0"/>
                  </a:lnTo>
                  <a:lnTo>
                    <a:pt x="2" y="0"/>
                  </a:lnTo>
                  <a:lnTo>
                    <a:pt x="2" y="0"/>
                  </a:lnTo>
                  <a:lnTo>
                    <a:pt x="2" y="0"/>
                  </a:lnTo>
                  <a:lnTo>
                    <a:pt x="2" y="0"/>
                  </a:lnTo>
                  <a:lnTo>
                    <a:pt x="2" y="0"/>
                  </a:lnTo>
                  <a:lnTo>
                    <a:pt x="2" y="0"/>
                  </a:lnTo>
                  <a:lnTo>
                    <a:pt x="2" y="0"/>
                  </a:lnTo>
                  <a:lnTo>
                    <a:pt x="1" y="0"/>
                  </a:lnTo>
                  <a:lnTo>
                    <a:pt x="1" y="0"/>
                  </a:lnTo>
                  <a:lnTo>
                    <a:pt x="1" y="0"/>
                  </a:lnTo>
                  <a:lnTo>
                    <a:pt x="1" y="2"/>
                  </a:lnTo>
                  <a:lnTo>
                    <a:pt x="1" y="2"/>
                  </a:lnTo>
                  <a:lnTo>
                    <a:pt x="1" y="2"/>
                  </a:lnTo>
                  <a:lnTo>
                    <a:pt x="0"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15" name="Freeform 1481">
              <a:extLst>
                <a:ext uri="{FF2B5EF4-FFF2-40B4-BE49-F238E27FC236}">
                  <a16:creationId xmlns:a16="http://schemas.microsoft.com/office/drawing/2014/main" id="{EF3208D3-52D8-4221-9C5C-1665C13BFAAD}"/>
                </a:ext>
              </a:extLst>
            </p:cNvPr>
            <p:cNvSpPr>
              <a:spLocks/>
            </p:cNvSpPr>
            <p:nvPr/>
          </p:nvSpPr>
          <p:spPr bwMode="auto">
            <a:xfrm>
              <a:off x="6014764" y="1922227"/>
              <a:ext cx="9349" cy="8013"/>
            </a:xfrm>
            <a:custGeom>
              <a:avLst/>
              <a:gdLst>
                <a:gd name="T0" fmla="*/ 4 w 7"/>
                <a:gd name="T1" fmla="*/ 5 h 6"/>
                <a:gd name="T2" fmla="*/ 3 w 7"/>
                <a:gd name="T3" fmla="*/ 5 h 6"/>
                <a:gd name="T4" fmla="*/ 2 w 7"/>
                <a:gd name="T5" fmla="*/ 5 h 6"/>
                <a:gd name="T6" fmla="*/ 2 w 7"/>
                <a:gd name="T7" fmla="*/ 5 h 6"/>
                <a:gd name="T8" fmla="*/ 2 w 7"/>
                <a:gd name="T9" fmla="*/ 5 h 6"/>
                <a:gd name="T10" fmla="*/ 2 w 7"/>
                <a:gd name="T11" fmla="*/ 5 h 6"/>
                <a:gd name="T12" fmla="*/ 2 w 7"/>
                <a:gd name="T13" fmla="*/ 6 h 6"/>
                <a:gd name="T14" fmla="*/ 0 w 7"/>
                <a:gd name="T15" fmla="*/ 6 h 6"/>
                <a:gd name="T16" fmla="*/ 0 w 7"/>
                <a:gd name="T17" fmla="*/ 6 h 6"/>
                <a:gd name="T18" fmla="*/ 0 w 7"/>
                <a:gd name="T19" fmla="*/ 5 h 6"/>
                <a:gd name="T20" fmla="*/ 0 w 7"/>
                <a:gd name="T21" fmla="*/ 5 h 6"/>
                <a:gd name="T22" fmla="*/ 0 w 7"/>
                <a:gd name="T23" fmla="*/ 5 h 6"/>
                <a:gd name="T24" fmla="*/ 2 w 7"/>
                <a:gd name="T25" fmla="*/ 3 h 6"/>
                <a:gd name="T26" fmla="*/ 3 w 7"/>
                <a:gd name="T27" fmla="*/ 2 h 6"/>
                <a:gd name="T28" fmla="*/ 4 w 7"/>
                <a:gd name="T29" fmla="*/ 2 h 6"/>
                <a:gd name="T30" fmla="*/ 4 w 7"/>
                <a:gd name="T31" fmla="*/ 1 h 6"/>
                <a:gd name="T32" fmla="*/ 5 w 7"/>
                <a:gd name="T33" fmla="*/ 1 h 6"/>
                <a:gd name="T34" fmla="*/ 5 w 7"/>
                <a:gd name="T35" fmla="*/ 1 h 6"/>
                <a:gd name="T36" fmla="*/ 5 w 7"/>
                <a:gd name="T37" fmla="*/ 1 h 6"/>
                <a:gd name="T38" fmla="*/ 6 w 7"/>
                <a:gd name="T39" fmla="*/ 1 h 6"/>
                <a:gd name="T40" fmla="*/ 7 w 7"/>
                <a:gd name="T41" fmla="*/ 0 h 6"/>
                <a:gd name="T42" fmla="*/ 7 w 7"/>
                <a:gd name="T43" fmla="*/ 1 h 6"/>
                <a:gd name="T44" fmla="*/ 7 w 7"/>
                <a:gd name="T45" fmla="*/ 1 h 6"/>
                <a:gd name="T46" fmla="*/ 7 w 7"/>
                <a:gd name="T47" fmla="*/ 2 h 6"/>
                <a:gd name="T48" fmla="*/ 6 w 7"/>
                <a:gd name="T49" fmla="*/ 2 h 6"/>
                <a:gd name="T50" fmla="*/ 6 w 7"/>
                <a:gd name="T51" fmla="*/ 3 h 6"/>
                <a:gd name="T52" fmla="*/ 6 w 7"/>
                <a:gd name="T53" fmla="*/ 3 h 6"/>
                <a:gd name="T54" fmla="*/ 5 w 7"/>
                <a:gd name="T55" fmla="*/ 3 h 6"/>
                <a:gd name="T56" fmla="*/ 5 w 7"/>
                <a:gd name="T57" fmla="*/ 3 h 6"/>
                <a:gd name="T58" fmla="*/ 5 w 7"/>
                <a:gd name="T59" fmla="*/ 3 h 6"/>
                <a:gd name="T60" fmla="*/ 5 w 7"/>
                <a:gd name="T61" fmla="*/ 3 h 6"/>
                <a:gd name="T62" fmla="*/ 5 w 7"/>
                <a:gd name="T6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 h="6">
                  <a:moveTo>
                    <a:pt x="5" y="5"/>
                  </a:moveTo>
                  <a:lnTo>
                    <a:pt x="4" y="5"/>
                  </a:lnTo>
                  <a:lnTo>
                    <a:pt x="3" y="5"/>
                  </a:lnTo>
                  <a:lnTo>
                    <a:pt x="3" y="5"/>
                  </a:lnTo>
                  <a:lnTo>
                    <a:pt x="2" y="5"/>
                  </a:lnTo>
                  <a:lnTo>
                    <a:pt x="2" y="5"/>
                  </a:lnTo>
                  <a:lnTo>
                    <a:pt x="2" y="5"/>
                  </a:lnTo>
                  <a:lnTo>
                    <a:pt x="2" y="5"/>
                  </a:lnTo>
                  <a:lnTo>
                    <a:pt x="2" y="5"/>
                  </a:lnTo>
                  <a:lnTo>
                    <a:pt x="2" y="5"/>
                  </a:lnTo>
                  <a:lnTo>
                    <a:pt x="3" y="5"/>
                  </a:lnTo>
                  <a:lnTo>
                    <a:pt x="2" y="5"/>
                  </a:lnTo>
                  <a:lnTo>
                    <a:pt x="2" y="6"/>
                  </a:lnTo>
                  <a:lnTo>
                    <a:pt x="2" y="6"/>
                  </a:lnTo>
                  <a:lnTo>
                    <a:pt x="2" y="6"/>
                  </a:lnTo>
                  <a:lnTo>
                    <a:pt x="0" y="6"/>
                  </a:lnTo>
                  <a:lnTo>
                    <a:pt x="0" y="6"/>
                  </a:lnTo>
                  <a:lnTo>
                    <a:pt x="0" y="6"/>
                  </a:lnTo>
                  <a:lnTo>
                    <a:pt x="0" y="6"/>
                  </a:lnTo>
                  <a:lnTo>
                    <a:pt x="0" y="5"/>
                  </a:lnTo>
                  <a:lnTo>
                    <a:pt x="0" y="5"/>
                  </a:lnTo>
                  <a:lnTo>
                    <a:pt x="0" y="5"/>
                  </a:lnTo>
                  <a:lnTo>
                    <a:pt x="0" y="5"/>
                  </a:lnTo>
                  <a:lnTo>
                    <a:pt x="0" y="5"/>
                  </a:lnTo>
                  <a:lnTo>
                    <a:pt x="2" y="3"/>
                  </a:lnTo>
                  <a:lnTo>
                    <a:pt x="2" y="3"/>
                  </a:lnTo>
                  <a:lnTo>
                    <a:pt x="2" y="3"/>
                  </a:lnTo>
                  <a:lnTo>
                    <a:pt x="3" y="2"/>
                  </a:lnTo>
                  <a:lnTo>
                    <a:pt x="3" y="2"/>
                  </a:lnTo>
                  <a:lnTo>
                    <a:pt x="4" y="2"/>
                  </a:lnTo>
                  <a:lnTo>
                    <a:pt x="4" y="2"/>
                  </a:lnTo>
                  <a:lnTo>
                    <a:pt x="4" y="1"/>
                  </a:lnTo>
                  <a:lnTo>
                    <a:pt x="5" y="1"/>
                  </a:lnTo>
                  <a:lnTo>
                    <a:pt x="5" y="1"/>
                  </a:lnTo>
                  <a:lnTo>
                    <a:pt x="5" y="1"/>
                  </a:lnTo>
                  <a:lnTo>
                    <a:pt x="5" y="1"/>
                  </a:lnTo>
                  <a:lnTo>
                    <a:pt x="5" y="1"/>
                  </a:lnTo>
                  <a:lnTo>
                    <a:pt x="5" y="1"/>
                  </a:lnTo>
                  <a:lnTo>
                    <a:pt x="5" y="1"/>
                  </a:lnTo>
                  <a:lnTo>
                    <a:pt x="6" y="1"/>
                  </a:lnTo>
                  <a:lnTo>
                    <a:pt x="7" y="0"/>
                  </a:lnTo>
                  <a:lnTo>
                    <a:pt x="7" y="0"/>
                  </a:lnTo>
                  <a:lnTo>
                    <a:pt x="7" y="0"/>
                  </a:lnTo>
                  <a:lnTo>
                    <a:pt x="7" y="1"/>
                  </a:lnTo>
                  <a:lnTo>
                    <a:pt x="7" y="1"/>
                  </a:lnTo>
                  <a:lnTo>
                    <a:pt x="7" y="1"/>
                  </a:lnTo>
                  <a:lnTo>
                    <a:pt x="7" y="1"/>
                  </a:lnTo>
                  <a:lnTo>
                    <a:pt x="7" y="2"/>
                  </a:lnTo>
                  <a:lnTo>
                    <a:pt x="7" y="2"/>
                  </a:lnTo>
                  <a:lnTo>
                    <a:pt x="6" y="2"/>
                  </a:lnTo>
                  <a:lnTo>
                    <a:pt x="6" y="2"/>
                  </a:lnTo>
                  <a:lnTo>
                    <a:pt x="6" y="3"/>
                  </a:lnTo>
                  <a:lnTo>
                    <a:pt x="6" y="3"/>
                  </a:lnTo>
                  <a:lnTo>
                    <a:pt x="6" y="3"/>
                  </a:lnTo>
                  <a:lnTo>
                    <a:pt x="5" y="3"/>
                  </a:lnTo>
                  <a:lnTo>
                    <a:pt x="5" y="3"/>
                  </a:lnTo>
                  <a:lnTo>
                    <a:pt x="5" y="3"/>
                  </a:lnTo>
                  <a:lnTo>
                    <a:pt x="5" y="3"/>
                  </a:lnTo>
                  <a:lnTo>
                    <a:pt x="5" y="3"/>
                  </a:lnTo>
                  <a:lnTo>
                    <a:pt x="5" y="3"/>
                  </a:lnTo>
                  <a:lnTo>
                    <a:pt x="5" y="3"/>
                  </a:lnTo>
                  <a:lnTo>
                    <a:pt x="5" y="3"/>
                  </a:lnTo>
                  <a:lnTo>
                    <a:pt x="5" y="3"/>
                  </a:lnTo>
                  <a:lnTo>
                    <a:pt x="5" y="3"/>
                  </a:lnTo>
                  <a:lnTo>
                    <a:pt x="5" y="5"/>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16" name="Freeform 1482">
              <a:extLst>
                <a:ext uri="{FF2B5EF4-FFF2-40B4-BE49-F238E27FC236}">
                  <a16:creationId xmlns:a16="http://schemas.microsoft.com/office/drawing/2014/main" id="{3D4620A9-1A5D-4601-A8B8-8E8B3A597036}"/>
                </a:ext>
              </a:extLst>
            </p:cNvPr>
            <p:cNvSpPr>
              <a:spLocks/>
            </p:cNvSpPr>
            <p:nvPr/>
          </p:nvSpPr>
          <p:spPr bwMode="auto">
            <a:xfrm>
              <a:off x="6033461" y="1916885"/>
              <a:ext cx="17362" cy="12020"/>
            </a:xfrm>
            <a:custGeom>
              <a:avLst/>
              <a:gdLst>
                <a:gd name="T0" fmla="*/ 10 w 13"/>
                <a:gd name="T1" fmla="*/ 0 h 9"/>
                <a:gd name="T2" fmla="*/ 11 w 13"/>
                <a:gd name="T3" fmla="*/ 2 h 9"/>
                <a:gd name="T4" fmla="*/ 10 w 13"/>
                <a:gd name="T5" fmla="*/ 2 h 9"/>
                <a:gd name="T6" fmla="*/ 10 w 13"/>
                <a:gd name="T7" fmla="*/ 3 h 9"/>
                <a:gd name="T8" fmla="*/ 11 w 13"/>
                <a:gd name="T9" fmla="*/ 2 h 9"/>
                <a:gd name="T10" fmla="*/ 12 w 13"/>
                <a:gd name="T11" fmla="*/ 2 h 9"/>
                <a:gd name="T12" fmla="*/ 11 w 13"/>
                <a:gd name="T13" fmla="*/ 3 h 9"/>
                <a:gd name="T14" fmla="*/ 12 w 13"/>
                <a:gd name="T15" fmla="*/ 3 h 9"/>
                <a:gd name="T16" fmla="*/ 13 w 13"/>
                <a:gd name="T17" fmla="*/ 3 h 9"/>
                <a:gd name="T18" fmla="*/ 13 w 13"/>
                <a:gd name="T19" fmla="*/ 4 h 9"/>
                <a:gd name="T20" fmla="*/ 11 w 13"/>
                <a:gd name="T21" fmla="*/ 4 h 9"/>
                <a:gd name="T22" fmla="*/ 12 w 13"/>
                <a:gd name="T23" fmla="*/ 5 h 9"/>
                <a:gd name="T24" fmla="*/ 11 w 13"/>
                <a:gd name="T25" fmla="*/ 5 h 9"/>
                <a:gd name="T26" fmla="*/ 12 w 13"/>
                <a:gd name="T27" fmla="*/ 6 h 9"/>
                <a:gd name="T28" fmla="*/ 11 w 13"/>
                <a:gd name="T29" fmla="*/ 6 h 9"/>
                <a:gd name="T30" fmla="*/ 7 w 13"/>
                <a:gd name="T31" fmla="*/ 6 h 9"/>
                <a:gd name="T32" fmla="*/ 6 w 13"/>
                <a:gd name="T33" fmla="*/ 6 h 9"/>
                <a:gd name="T34" fmla="*/ 4 w 13"/>
                <a:gd name="T35" fmla="*/ 7 h 9"/>
                <a:gd name="T36" fmla="*/ 4 w 13"/>
                <a:gd name="T37" fmla="*/ 9 h 9"/>
                <a:gd name="T38" fmla="*/ 4 w 13"/>
                <a:gd name="T39" fmla="*/ 7 h 9"/>
                <a:gd name="T40" fmla="*/ 4 w 13"/>
                <a:gd name="T41" fmla="*/ 7 h 9"/>
                <a:gd name="T42" fmla="*/ 0 w 13"/>
                <a:gd name="T43" fmla="*/ 7 h 9"/>
                <a:gd name="T44" fmla="*/ 1 w 13"/>
                <a:gd name="T45" fmla="*/ 7 h 9"/>
                <a:gd name="T46" fmla="*/ 3 w 13"/>
                <a:gd name="T47" fmla="*/ 6 h 9"/>
                <a:gd name="T48" fmla="*/ 3 w 13"/>
                <a:gd name="T49" fmla="*/ 6 h 9"/>
                <a:gd name="T50" fmla="*/ 1 w 13"/>
                <a:gd name="T51" fmla="*/ 6 h 9"/>
                <a:gd name="T52" fmla="*/ 1 w 13"/>
                <a:gd name="T53" fmla="*/ 5 h 9"/>
                <a:gd name="T54" fmla="*/ 1 w 13"/>
                <a:gd name="T55" fmla="*/ 5 h 9"/>
                <a:gd name="T56" fmla="*/ 3 w 13"/>
                <a:gd name="T57" fmla="*/ 5 h 9"/>
                <a:gd name="T58" fmla="*/ 3 w 13"/>
                <a:gd name="T59" fmla="*/ 5 h 9"/>
                <a:gd name="T60" fmla="*/ 1 w 13"/>
                <a:gd name="T61" fmla="*/ 5 h 9"/>
                <a:gd name="T62" fmla="*/ 1 w 13"/>
                <a:gd name="T63" fmla="*/ 4 h 9"/>
                <a:gd name="T64" fmla="*/ 3 w 13"/>
                <a:gd name="T65" fmla="*/ 4 h 9"/>
                <a:gd name="T66" fmla="*/ 3 w 13"/>
                <a:gd name="T67" fmla="*/ 4 h 9"/>
                <a:gd name="T68" fmla="*/ 3 w 13"/>
                <a:gd name="T69" fmla="*/ 4 h 9"/>
                <a:gd name="T70" fmla="*/ 0 w 13"/>
                <a:gd name="T71" fmla="*/ 4 h 9"/>
                <a:gd name="T72" fmla="*/ 1 w 13"/>
                <a:gd name="T73" fmla="*/ 3 h 9"/>
                <a:gd name="T74" fmla="*/ 1 w 13"/>
                <a:gd name="T75" fmla="*/ 3 h 9"/>
                <a:gd name="T76" fmla="*/ 3 w 13"/>
                <a:gd name="T77" fmla="*/ 3 h 9"/>
                <a:gd name="T78" fmla="*/ 6 w 13"/>
                <a:gd name="T79" fmla="*/ 4 h 9"/>
                <a:gd name="T80" fmla="*/ 5 w 13"/>
                <a:gd name="T81" fmla="*/ 3 h 9"/>
                <a:gd name="T82" fmla="*/ 4 w 13"/>
                <a:gd name="T83" fmla="*/ 2 h 9"/>
                <a:gd name="T84" fmla="*/ 5 w 13"/>
                <a:gd name="T85" fmla="*/ 3 h 9"/>
                <a:gd name="T86" fmla="*/ 5 w 13"/>
                <a:gd name="T87" fmla="*/ 2 h 9"/>
                <a:gd name="T88" fmla="*/ 5 w 13"/>
                <a:gd name="T89" fmla="*/ 2 h 9"/>
                <a:gd name="T90" fmla="*/ 6 w 13"/>
                <a:gd name="T91" fmla="*/ 2 h 9"/>
                <a:gd name="T92" fmla="*/ 7 w 13"/>
                <a:gd name="T93" fmla="*/ 2 h 9"/>
                <a:gd name="T94" fmla="*/ 7 w 13"/>
                <a:gd name="T95" fmla="*/ 2 h 9"/>
                <a:gd name="T96" fmla="*/ 6 w 13"/>
                <a:gd name="T97" fmla="*/ 2 h 9"/>
                <a:gd name="T98" fmla="*/ 6 w 13"/>
                <a:gd name="T99" fmla="*/ 0 h 9"/>
                <a:gd name="T100" fmla="*/ 7 w 13"/>
                <a:gd name="T101" fmla="*/ 2 h 9"/>
                <a:gd name="T102" fmla="*/ 8 w 13"/>
                <a:gd name="T103" fmla="*/ 2 h 9"/>
                <a:gd name="T104" fmla="*/ 8 w 13"/>
                <a:gd name="T105" fmla="*/ 0 h 9"/>
                <a:gd name="T106" fmla="*/ 8 w 13"/>
                <a:gd name="T10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 h="9">
                  <a:moveTo>
                    <a:pt x="8" y="2"/>
                  </a:moveTo>
                  <a:lnTo>
                    <a:pt x="10" y="2"/>
                  </a:lnTo>
                  <a:lnTo>
                    <a:pt x="10" y="2"/>
                  </a:lnTo>
                  <a:lnTo>
                    <a:pt x="10" y="0"/>
                  </a:lnTo>
                  <a:lnTo>
                    <a:pt x="10" y="0"/>
                  </a:lnTo>
                  <a:lnTo>
                    <a:pt x="10" y="0"/>
                  </a:lnTo>
                  <a:lnTo>
                    <a:pt x="10" y="0"/>
                  </a:lnTo>
                  <a:lnTo>
                    <a:pt x="10" y="0"/>
                  </a:lnTo>
                  <a:lnTo>
                    <a:pt x="11" y="2"/>
                  </a:lnTo>
                  <a:lnTo>
                    <a:pt x="11" y="2"/>
                  </a:lnTo>
                  <a:lnTo>
                    <a:pt x="10" y="2"/>
                  </a:lnTo>
                  <a:lnTo>
                    <a:pt x="10" y="2"/>
                  </a:lnTo>
                  <a:lnTo>
                    <a:pt x="10" y="2"/>
                  </a:lnTo>
                  <a:lnTo>
                    <a:pt x="10" y="2"/>
                  </a:lnTo>
                  <a:lnTo>
                    <a:pt x="10" y="2"/>
                  </a:lnTo>
                  <a:lnTo>
                    <a:pt x="10" y="2"/>
                  </a:lnTo>
                  <a:lnTo>
                    <a:pt x="10" y="2"/>
                  </a:lnTo>
                  <a:lnTo>
                    <a:pt x="10" y="3"/>
                  </a:lnTo>
                  <a:lnTo>
                    <a:pt x="10" y="3"/>
                  </a:lnTo>
                  <a:lnTo>
                    <a:pt x="10" y="3"/>
                  </a:lnTo>
                  <a:lnTo>
                    <a:pt x="11" y="3"/>
                  </a:lnTo>
                  <a:lnTo>
                    <a:pt x="11" y="2"/>
                  </a:lnTo>
                  <a:lnTo>
                    <a:pt x="11" y="2"/>
                  </a:lnTo>
                  <a:lnTo>
                    <a:pt x="11" y="2"/>
                  </a:lnTo>
                  <a:lnTo>
                    <a:pt x="11" y="2"/>
                  </a:lnTo>
                  <a:lnTo>
                    <a:pt x="11" y="2"/>
                  </a:lnTo>
                  <a:lnTo>
                    <a:pt x="11" y="2"/>
                  </a:lnTo>
                  <a:lnTo>
                    <a:pt x="11" y="2"/>
                  </a:lnTo>
                  <a:lnTo>
                    <a:pt x="12" y="2"/>
                  </a:lnTo>
                  <a:lnTo>
                    <a:pt x="12" y="2"/>
                  </a:lnTo>
                  <a:lnTo>
                    <a:pt x="12" y="2"/>
                  </a:lnTo>
                  <a:lnTo>
                    <a:pt x="12" y="2"/>
                  </a:lnTo>
                  <a:lnTo>
                    <a:pt x="12" y="3"/>
                  </a:lnTo>
                  <a:lnTo>
                    <a:pt x="12" y="3"/>
                  </a:lnTo>
                  <a:lnTo>
                    <a:pt x="11" y="3"/>
                  </a:lnTo>
                  <a:lnTo>
                    <a:pt x="12" y="3"/>
                  </a:lnTo>
                  <a:lnTo>
                    <a:pt x="12" y="3"/>
                  </a:lnTo>
                  <a:lnTo>
                    <a:pt x="12" y="3"/>
                  </a:lnTo>
                  <a:lnTo>
                    <a:pt x="12" y="3"/>
                  </a:lnTo>
                  <a:lnTo>
                    <a:pt x="12" y="3"/>
                  </a:lnTo>
                  <a:lnTo>
                    <a:pt x="12" y="3"/>
                  </a:lnTo>
                  <a:lnTo>
                    <a:pt x="12" y="3"/>
                  </a:lnTo>
                  <a:lnTo>
                    <a:pt x="13" y="3"/>
                  </a:lnTo>
                  <a:lnTo>
                    <a:pt x="13" y="3"/>
                  </a:lnTo>
                  <a:lnTo>
                    <a:pt x="13" y="3"/>
                  </a:lnTo>
                  <a:lnTo>
                    <a:pt x="13" y="4"/>
                  </a:lnTo>
                  <a:lnTo>
                    <a:pt x="13" y="4"/>
                  </a:lnTo>
                  <a:lnTo>
                    <a:pt x="13" y="4"/>
                  </a:lnTo>
                  <a:lnTo>
                    <a:pt x="13" y="4"/>
                  </a:lnTo>
                  <a:lnTo>
                    <a:pt x="13" y="4"/>
                  </a:lnTo>
                  <a:lnTo>
                    <a:pt x="12" y="4"/>
                  </a:lnTo>
                  <a:lnTo>
                    <a:pt x="12" y="4"/>
                  </a:lnTo>
                  <a:lnTo>
                    <a:pt x="11" y="4"/>
                  </a:lnTo>
                  <a:lnTo>
                    <a:pt x="11" y="4"/>
                  </a:lnTo>
                  <a:lnTo>
                    <a:pt x="11" y="4"/>
                  </a:lnTo>
                  <a:lnTo>
                    <a:pt x="11" y="4"/>
                  </a:lnTo>
                  <a:lnTo>
                    <a:pt x="11" y="4"/>
                  </a:lnTo>
                  <a:lnTo>
                    <a:pt x="11" y="5"/>
                  </a:lnTo>
                  <a:lnTo>
                    <a:pt x="12" y="5"/>
                  </a:lnTo>
                  <a:lnTo>
                    <a:pt x="12" y="5"/>
                  </a:lnTo>
                  <a:lnTo>
                    <a:pt x="12" y="5"/>
                  </a:lnTo>
                  <a:lnTo>
                    <a:pt x="12" y="5"/>
                  </a:lnTo>
                  <a:lnTo>
                    <a:pt x="12" y="5"/>
                  </a:lnTo>
                  <a:lnTo>
                    <a:pt x="11" y="5"/>
                  </a:lnTo>
                  <a:lnTo>
                    <a:pt x="11" y="5"/>
                  </a:lnTo>
                  <a:lnTo>
                    <a:pt x="11" y="5"/>
                  </a:lnTo>
                  <a:lnTo>
                    <a:pt x="12" y="5"/>
                  </a:lnTo>
                  <a:lnTo>
                    <a:pt x="12" y="5"/>
                  </a:lnTo>
                  <a:lnTo>
                    <a:pt x="12" y="5"/>
                  </a:lnTo>
                  <a:lnTo>
                    <a:pt x="12" y="6"/>
                  </a:lnTo>
                  <a:lnTo>
                    <a:pt x="12" y="5"/>
                  </a:lnTo>
                  <a:lnTo>
                    <a:pt x="12" y="6"/>
                  </a:lnTo>
                  <a:lnTo>
                    <a:pt x="12" y="6"/>
                  </a:lnTo>
                  <a:lnTo>
                    <a:pt x="12" y="6"/>
                  </a:lnTo>
                  <a:lnTo>
                    <a:pt x="11" y="6"/>
                  </a:lnTo>
                  <a:lnTo>
                    <a:pt x="10" y="6"/>
                  </a:lnTo>
                  <a:lnTo>
                    <a:pt x="8" y="6"/>
                  </a:lnTo>
                  <a:lnTo>
                    <a:pt x="7" y="6"/>
                  </a:lnTo>
                  <a:lnTo>
                    <a:pt x="7" y="6"/>
                  </a:lnTo>
                  <a:lnTo>
                    <a:pt x="7" y="6"/>
                  </a:lnTo>
                  <a:lnTo>
                    <a:pt x="7" y="6"/>
                  </a:lnTo>
                  <a:lnTo>
                    <a:pt x="7" y="6"/>
                  </a:lnTo>
                  <a:lnTo>
                    <a:pt x="7" y="5"/>
                  </a:lnTo>
                  <a:lnTo>
                    <a:pt x="7" y="6"/>
                  </a:lnTo>
                  <a:lnTo>
                    <a:pt x="6" y="6"/>
                  </a:lnTo>
                  <a:lnTo>
                    <a:pt x="6" y="6"/>
                  </a:lnTo>
                  <a:lnTo>
                    <a:pt x="6" y="6"/>
                  </a:lnTo>
                  <a:lnTo>
                    <a:pt x="5" y="7"/>
                  </a:lnTo>
                  <a:lnTo>
                    <a:pt x="4" y="7"/>
                  </a:lnTo>
                  <a:lnTo>
                    <a:pt x="4" y="7"/>
                  </a:lnTo>
                  <a:lnTo>
                    <a:pt x="4" y="7"/>
                  </a:lnTo>
                  <a:lnTo>
                    <a:pt x="5" y="7"/>
                  </a:lnTo>
                  <a:lnTo>
                    <a:pt x="5" y="7"/>
                  </a:lnTo>
                  <a:lnTo>
                    <a:pt x="4" y="9"/>
                  </a:lnTo>
                  <a:lnTo>
                    <a:pt x="4" y="9"/>
                  </a:lnTo>
                  <a:lnTo>
                    <a:pt x="4" y="9"/>
                  </a:lnTo>
                  <a:lnTo>
                    <a:pt x="3" y="9"/>
                  </a:lnTo>
                  <a:lnTo>
                    <a:pt x="3" y="7"/>
                  </a:lnTo>
                  <a:lnTo>
                    <a:pt x="3" y="7"/>
                  </a:lnTo>
                  <a:lnTo>
                    <a:pt x="4" y="7"/>
                  </a:lnTo>
                  <a:lnTo>
                    <a:pt x="4" y="7"/>
                  </a:lnTo>
                  <a:lnTo>
                    <a:pt x="4" y="7"/>
                  </a:lnTo>
                  <a:lnTo>
                    <a:pt x="4" y="7"/>
                  </a:lnTo>
                  <a:lnTo>
                    <a:pt x="4" y="7"/>
                  </a:lnTo>
                  <a:lnTo>
                    <a:pt x="4" y="7"/>
                  </a:lnTo>
                  <a:lnTo>
                    <a:pt x="4" y="7"/>
                  </a:lnTo>
                  <a:lnTo>
                    <a:pt x="4" y="7"/>
                  </a:lnTo>
                  <a:lnTo>
                    <a:pt x="4" y="7"/>
                  </a:lnTo>
                  <a:lnTo>
                    <a:pt x="0" y="7"/>
                  </a:lnTo>
                  <a:lnTo>
                    <a:pt x="0" y="7"/>
                  </a:lnTo>
                  <a:lnTo>
                    <a:pt x="0" y="7"/>
                  </a:lnTo>
                  <a:lnTo>
                    <a:pt x="0" y="7"/>
                  </a:lnTo>
                  <a:lnTo>
                    <a:pt x="0" y="7"/>
                  </a:lnTo>
                  <a:lnTo>
                    <a:pt x="0" y="6"/>
                  </a:lnTo>
                  <a:lnTo>
                    <a:pt x="1" y="7"/>
                  </a:lnTo>
                  <a:lnTo>
                    <a:pt x="1" y="7"/>
                  </a:lnTo>
                  <a:lnTo>
                    <a:pt x="1" y="6"/>
                  </a:lnTo>
                  <a:lnTo>
                    <a:pt x="3" y="6"/>
                  </a:lnTo>
                  <a:lnTo>
                    <a:pt x="3" y="6"/>
                  </a:lnTo>
                  <a:lnTo>
                    <a:pt x="3" y="6"/>
                  </a:lnTo>
                  <a:lnTo>
                    <a:pt x="3" y="6"/>
                  </a:lnTo>
                  <a:lnTo>
                    <a:pt x="3" y="6"/>
                  </a:lnTo>
                  <a:lnTo>
                    <a:pt x="3" y="6"/>
                  </a:lnTo>
                  <a:lnTo>
                    <a:pt x="3" y="6"/>
                  </a:lnTo>
                  <a:lnTo>
                    <a:pt x="3" y="6"/>
                  </a:lnTo>
                  <a:lnTo>
                    <a:pt x="4" y="6"/>
                  </a:lnTo>
                  <a:lnTo>
                    <a:pt x="4" y="6"/>
                  </a:lnTo>
                  <a:lnTo>
                    <a:pt x="3" y="6"/>
                  </a:lnTo>
                  <a:lnTo>
                    <a:pt x="3" y="6"/>
                  </a:lnTo>
                  <a:lnTo>
                    <a:pt x="1" y="6"/>
                  </a:lnTo>
                  <a:lnTo>
                    <a:pt x="1" y="6"/>
                  </a:lnTo>
                  <a:lnTo>
                    <a:pt x="1" y="6"/>
                  </a:lnTo>
                  <a:lnTo>
                    <a:pt x="1" y="5"/>
                  </a:lnTo>
                  <a:lnTo>
                    <a:pt x="1" y="5"/>
                  </a:lnTo>
                  <a:lnTo>
                    <a:pt x="1" y="5"/>
                  </a:lnTo>
                  <a:lnTo>
                    <a:pt x="1" y="5"/>
                  </a:lnTo>
                  <a:lnTo>
                    <a:pt x="1" y="5"/>
                  </a:lnTo>
                  <a:lnTo>
                    <a:pt x="1" y="5"/>
                  </a:lnTo>
                  <a:lnTo>
                    <a:pt x="0" y="5"/>
                  </a:lnTo>
                  <a:lnTo>
                    <a:pt x="1" y="5"/>
                  </a:lnTo>
                  <a:lnTo>
                    <a:pt x="3" y="5"/>
                  </a:lnTo>
                  <a:lnTo>
                    <a:pt x="4" y="5"/>
                  </a:lnTo>
                  <a:lnTo>
                    <a:pt x="4" y="5"/>
                  </a:lnTo>
                  <a:lnTo>
                    <a:pt x="4" y="5"/>
                  </a:lnTo>
                  <a:lnTo>
                    <a:pt x="3" y="5"/>
                  </a:lnTo>
                  <a:lnTo>
                    <a:pt x="3" y="5"/>
                  </a:lnTo>
                  <a:lnTo>
                    <a:pt x="3" y="5"/>
                  </a:lnTo>
                  <a:lnTo>
                    <a:pt x="3" y="5"/>
                  </a:lnTo>
                  <a:lnTo>
                    <a:pt x="3" y="5"/>
                  </a:lnTo>
                  <a:lnTo>
                    <a:pt x="3" y="5"/>
                  </a:lnTo>
                  <a:lnTo>
                    <a:pt x="3" y="5"/>
                  </a:lnTo>
                  <a:lnTo>
                    <a:pt x="3" y="5"/>
                  </a:lnTo>
                  <a:lnTo>
                    <a:pt x="3" y="5"/>
                  </a:lnTo>
                  <a:lnTo>
                    <a:pt x="3" y="5"/>
                  </a:lnTo>
                  <a:lnTo>
                    <a:pt x="1" y="5"/>
                  </a:lnTo>
                  <a:lnTo>
                    <a:pt x="1" y="5"/>
                  </a:lnTo>
                  <a:lnTo>
                    <a:pt x="1" y="5"/>
                  </a:lnTo>
                  <a:lnTo>
                    <a:pt x="1" y="5"/>
                  </a:lnTo>
                  <a:lnTo>
                    <a:pt x="1" y="4"/>
                  </a:lnTo>
                  <a:lnTo>
                    <a:pt x="1" y="4"/>
                  </a:lnTo>
                  <a:lnTo>
                    <a:pt x="1" y="4"/>
                  </a:lnTo>
                  <a:lnTo>
                    <a:pt x="0" y="4"/>
                  </a:lnTo>
                  <a:lnTo>
                    <a:pt x="1" y="4"/>
                  </a:lnTo>
                  <a:lnTo>
                    <a:pt x="4" y="4"/>
                  </a:lnTo>
                  <a:lnTo>
                    <a:pt x="3" y="4"/>
                  </a:lnTo>
                  <a:lnTo>
                    <a:pt x="3" y="4"/>
                  </a:lnTo>
                  <a:lnTo>
                    <a:pt x="3" y="4"/>
                  </a:lnTo>
                  <a:lnTo>
                    <a:pt x="3" y="4"/>
                  </a:lnTo>
                  <a:lnTo>
                    <a:pt x="3" y="4"/>
                  </a:lnTo>
                  <a:lnTo>
                    <a:pt x="3" y="4"/>
                  </a:lnTo>
                  <a:lnTo>
                    <a:pt x="3" y="4"/>
                  </a:lnTo>
                  <a:lnTo>
                    <a:pt x="3" y="4"/>
                  </a:lnTo>
                  <a:lnTo>
                    <a:pt x="3" y="4"/>
                  </a:lnTo>
                  <a:lnTo>
                    <a:pt x="3" y="4"/>
                  </a:lnTo>
                  <a:lnTo>
                    <a:pt x="3" y="4"/>
                  </a:lnTo>
                  <a:lnTo>
                    <a:pt x="1" y="4"/>
                  </a:lnTo>
                  <a:lnTo>
                    <a:pt x="0" y="4"/>
                  </a:lnTo>
                  <a:lnTo>
                    <a:pt x="0" y="4"/>
                  </a:lnTo>
                  <a:lnTo>
                    <a:pt x="0" y="4"/>
                  </a:lnTo>
                  <a:lnTo>
                    <a:pt x="0" y="4"/>
                  </a:lnTo>
                  <a:lnTo>
                    <a:pt x="1" y="3"/>
                  </a:lnTo>
                  <a:lnTo>
                    <a:pt x="1" y="3"/>
                  </a:lnTo>
                  <a:lnTo>
                    <a:pt x="1" y="3"/>
                  </a:lnTo>
                  <a:lnTo>
                    <a:pt x="1" y="3"/>
                  </a:lnTo>
                  <a:lnTo>
                    <a:pt x="1" y="3"/>
                  </a:lnTo>
                  <a:lnTo>
                    <a:pt x="1" y="3"/>
                  </a:lnTo>
                  <a:lnTo>
                    <a:pt x="1" y="3"/>
                  </a:lnTo>
                  <a:lnTo>
                    <a:pt x="1" y="3"/>
                  </a:lnTo>
                  <a:lnTo>
                    <a:pt x="1" y="3"/>
                  </a:lnTo>
                  <a:lnTo>
                    <a:pt x="1" y="3"/>
                  </a:lnTo>
                  <a:lnTo>
                    <a:pt x="1" y="3"/>
                  </a:lnTo>
                  <a:lnTo>
                    <a:pt x="3" y="3"/>
                  </a:lnTo>
                  <a:lnTo>
                    <a:pt x="3" y="3"/>
                  </a:lnTo>
                  <a:lnTo>
                    <a:pt x="3" y="3"/>
                  </a:lnTo>
                  <a:lnTo>
                    <a:pt x="3" y="3"/>
                  </a:lnTo>
                  <a:lnTo>
                    <a:pt x="3" y="3"/>
                  </a:lnTo>
                  <a:lnTo>
                    <a:pt x="3" y="3"/>
                  </a:lnTo>
                  <a:lnTo>
                    <a:pt x="5" y="3"/>
                  </a:lnTo>
                  <a:lnTo>
                    <a:pt x="5" y="4"/>
                  </a:lnTo>
                  <a:lnTo>
                    <a:pt x="6" y="4"/>
                  </a:lnTo>
                  <a:lnTo>
                    <a:pt x="6" y="3"/>
                  </a:lnTo>
                  <a:lnTo>
                    <a:pt x="5" y="3"/>
                  </a:lnTo>
                  <a:lnTo>
                    <a:pt x="5" y="3"/>
                  </a:lnTo>
                  <a:lnTo>
                    <a:pt x="5" y="3"/>
                  </a:lnTo>
                  <a:lnTo>
                    <a:pt x="5" y="3"/>
                  </a:lnTo>
                  <a:lnTo>
                    <a:pt x="6" y="3"/>
                  </a:lnTo>
                  <a:lnTo>
                    <a:pt x="6" y="3"/>
                  </a:lnTo>
                  <a:lnTo>
                    <a:pt x="5" y="3"/>
                  </a:lnTo>
                  <a:lnTo>
                    <a:pt x="4" y="3"/>
                  </a:lnTo>
                  <a:lnTo>
                    <a:pt x="4" y="2"/>
                  </a:lnTo>
                  <a:lnTo>
                    <a:pt x="4" y="2"/>
                  </a:lnTo>
                  <a:lnTo>
                    <a:pt x="4" y="2"/>
                  </a:lnTo>
                  <a:lnTo>
                    <a:pt x="4" y="2"/>
                  </a:lnTo>
                  <a:lnTo>
                    <a:pt x="5" y="2"/>
                  </a:lnTo>
                  <a:lnTo>
                    <a:pt x="5" y="3"/>
                  </a:lnTo>
                  <a:lnTo>
                    <a:pt x="5" y="3"/>
                  </a:lnTo>
                  <a:lnTo>
                    <a:pt x="5" y="2"/>
                  </a:lnTo>
                  <a:lnTo>
                    <a:pt x="5" y="2"/>
                  </a:lnTo>
                  <a:lnTo>
                    <a:pt x="5" y="2"/>
                  </a:lnTo>
                  <a:lnTo>
                    <a:pt x="5" y="2"/>
                  </a:lnTo>
                  <a:lnTo>
                    <a:pt x="5" y="2"/>
                  </a:lnTo>
                  <a:lnTo>
                    <a:pt x="5" y="2"/>
                  </a:lnTo>
                  <a:lnTo>
                    <a:pt x="5" y="2"/>
                  </a:lnTo>
                  <a:lnTo>
                    <a:pt x="5" y="2"/>
                  </a:lnTo>
                  <a:lnTo>
                    <a:pt x="5" y="2"/>
                  </a:lnTo>
                  <a:lnTo>
                    <a:pt x="5" y="2"/>
                  </a:lnTo>
                  <a:lnTo>
                    <a:pt x="6" y="2"/>
                  </a:lnTo>
                  <a:lnTo>
                    <a:pt x="6" y="2"/>
                  </a:lnTo>
                  <a:lnTo>
                    <a:pt x="6" y="2"/>
                  </a:lnTo>
                  <a:lnTo>
                    <a:pt x="6" y="2"/>
                  </a:lnTo>
                  <a:lnTo>
                    <a:pt x="6" y="2"/>
                  </a:lnTo>
                  <a:lnTo>
                    <a:pt x="6" y="2"/>
                  </a:lnTo>
                  <a:lnTo>
                    <a:pt x="7" y="2"/>
                  </a:lnTo>
                  <a:lnTo>
                    <a:pt x="7" y="2"/>
                  </a:lnTo>
                  <a:lnTo>
                    <a:pt x="7" y="2"/>
                  </a:lnTo>
                  <a:lnTo>
                    <a:pt x="7" y="3"/>
                  </a:lnTo>
                  <a:lnTo>
                    <a:pt x="8" y="3"/>
                  </a:lnTo>
                  <a:lnTo>
                    <a:pt x="8" y="2"/>
                  </a:lnTo>
                  <a:lnTo>
                    <a:pt x="7" y="2"/>
                  </a:lnTo>
                  <a:lnTo>
                    <a:pt x="7" y="2"/>
                  </a:lnTo>
                  <a:lnTo>
                    <a:pt x="7" y="2"/>
                  </a:lnTo>
                  <a:lnTo>
                    <a:pt x="7" y="2"/>
                  </a:lnTo>
                  <a:lnTo>
                    <a:pt x="7" y="2"/>
                  </a:lnTo>
                  <a:lnTo>
                    <a:pt x="7" y="2"/>
                  </a:lnTo>
                  <a:lnTo>
                    <a:pt x="6" y="2"/>
                  </a:lnTo>
                  <a:lnTo>
                    <a:pt x="6" y="0"/>
                  </a:lnTo>
                  <a:lnTo>
                    <a:pt x="6" y="0"/>
                  </a:lnTo>
                  <a:lnTo>
                    <a:pt x="6" y="0"/>
                  </a:lnTo>
                  <a:lnTo>
                    <a:pt x="6" y="0"/>
                  </a:lnTo>
                  <a:lnTo>
                    <a:pt x="6" y="0"/>
                  </a:lnTo>
                  <a:lnTo>
                    <a:pt x="6" y="0"/>
                  </a:lnTo>
                  <a:lnTo>
                    <a:pt x="6" y="0"/>
                  </a:lnTo>
                  <a:lnTo>
                    <a:pt x="6" y="0"/>
                  </a:lnTo>
                  <a:lnTo>
                    <a:pt x="7" y="0"/>
                  </a:lnTo>
                  <a:lnTo>
                    <a:pt x="7" y="2"/>
                  </a:lnTo>
                  <a:lnTo>
                    <a:pt x="8" y="2"/>
                  </a:lnTo>
                  <a:lnTo>
                    <a:pt x="8" y="2"/>
                  </a:lnTo>
                  <a:lnTo>
                    <a:pt x="8" y="2"/>
                  </a:lnTo>
                  <a:lnTo>
                    <a:pt x="8" y="2"/>
                  </a:lnTo>
                  <a:lnTo>
                    <a:pt x="8" y="2"/>
                  </a:lnTo>
                  <a:lnTo>
                    <a:pt x="8" y="2"/>
                  </a:lnTo>
                  <a:lnTo>
                    <a:pt x="8" y="2"/>
                  </a:lnTo>
                  <a:lnTo>
                    <a:pt x="8" y="2"/>
                  </a:lnTo>
                  <a:lnTo>
                    <a:pt x="8" y="0"/>
                  </a:lnTo>
                  <a:lnTo>
                    <a:pt x="8" y="0"/>
                  </a:lnTo>
                  <a:lnTo>
                    <a:pt x="8" y="0"/>
                  </a:lnTo>
                  <a:lnTo>
                    <a:pt x="8" y="0"/>
                  </a:lnTo>
                  <a:lnTo>
                    <a:pt x="8" y="0"/>
                  </a:lnTo>
                  <a:lnTo>
                    <a:pt x="8" y="0"/>
                  </a:lnTo>
                  <a:lnTo>
                    <a:pt x="8" y="0"/>
                  </a:lnTo>
                  <a:lnTo>
                    <a:pt x="8" y="0"/>
                  </a:lnTo>
                  <a:lnTo>
                    <a:pt x="8" y="0"/>
                  </a:lnTo>
                  <a:lnTo>
                    <a:pt x="8" y="0"/>
                  </a:lnTo>
                  <a:lnTo>
                    <a:pt x="8"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17" name="Freeform 1483">
              <a:extLst>
                <a:ext uri="{FF2B5EF4-FFF2-40B4-BE49-F238E27FC236}">
                  <a16:creationId xmlns:a16="http://schemas.microsoft.com/office/drawing/2014/main" id="{651F176F-1E98-439C-AA6F-B0B09D4DC9FA}"/>
                </a:ext>
              </a:extLst>
            </p:cNvPr>
            <p:cNvSpPr>
              <a:spLocks/>
            </p:cNvSpPr>
            <p:nvPr/>
          </p:nvSpPr>
          <p:spPr bwMode="auto">
            <a:xfrm>
              <a:off x="6049486" y="1912878"/>
              <a:ext cx="12020" cy="6678"/>
            </a:xfrm>
            <a:custGeom>
              <a:avLst/>
              <a:gdLst>
                <a:gd name="T0" fmla="*/ 7 w 9"/>
                <a:gd name="T1" fmla="*/ 0 h 5"/>
                <a:gd name="T2" fmla="*/ 8 w 9"/>
                <a:gd name="T3" fmla="*/ 0 h 5"/>
                <a:gd name="T4" fmla="*/ 9 w 9"/>
                <a:gd name="T5" fmla="*/ 0 h 5"/>
                <a:gd name="T6" fmla="*/ 9 w 9"/>
                <a:gd name="T7" fmla="*/ 1 h 5"/>
                <a:gd name="T8" fmla="*/ 9 w 9"/>
                <a:gd name="T9" fmla="*/ 1 h 5"/>
                <a:gd name="T10" fmla="*/ 8 w 9"/>
                <a:gd name="T11" fmla="*/ 2 h 5"/>
                <a:gd name="T12" fmla="*/ 7 w 9"/>
                <a:gd name="T13" fmla="*/ 2 h 5"/>
                <a:gd name="T14" fmla="*/ 7 w 9"/>
                <a:gd name="T15" fmla="*/ 3 h 5"/>
                <a:gd name="T16" fmla="*/ 8 w 9"/>
                <a:gd name="T17" fmla="*/ 3 h 5"/>
                <a:gd name="T18" fmla="*/ 7 w 9"/>
                <a:gd name="T19" fmla="*/ 3 h 5"/>
                <a:gd name="T20" fmla="*/ 6 w 9"/>
                <a:gd name="T21" fmla="*/ 3 h 5"/>
                <a:gd name="T22" fmla="*/ 5 w 9"/>
                <a:gd name="T23" fmla="*/ 3 h 5"/>
                <a:gd name="T24" fmla="*/ 1 w 9"/>
                <a:gd name="T25" fmla="*/ 5 h 5"/>
                <a:gd name="T26" fmla="*/ 0 w 9"/>
                <a:gd name="T27" fmla="*/ 3 h 5"/>
                <a:gd name="T28" fmla="*/ 0 w 9"/>
                <a:gd name="T29" fmla="*/ 3 h 5"/>
                <a:gd name="T30" fmla="*/ 0 w 9"/>
                <a:gd name="T31" fmla="*/ 3 h 5"/>
                <a:gd name="T32" fmla="*/ 0 w 9"/>
                <a:gd name="T33" fmla="*/ 3 h 5"/>
                <a:gd name="T34" fmla="*/ 0 w 9"/>
                <a:gd name="T35" fmla="*/ 3 h 5"/>
                <a:gd name="T36" fmla="*/ 2 w 9"/>
                <a:gd name="T37" fmla="*/ 3 h 5"/>
                <a:gd name="T38" fmla="*/ 2 w 9"/>
                <a:gd name="T39" fmla="*/ 3 h 5"/>
                <a:gd name="T40" fmla="*/ 2 w 9"/>
                <a:gd name="T41" fmla="*/ 3 h 5"/>
                <a:gd name="T42" fmla="*/ 2 w 9"/>
                <a:gd name="T43" fmla="*/ 3 h 5"/>
                <a:gd name="T44" fmla="*/ 2 w 9"/>
                <a:gd name="T45" fmla="*/ 3 h 5"/>
                <a:gd name="T46" fmla="*/ 3 w 9"/>
                <a:gd name="T47" fmla="*/ 3 h 5"/>
                <a:gd name="T48" fmla="*/ 2 w 9"/>
                <a:gd name="T49" fmla="*/ 3 h 5"/>
                <a:gd name="T50" fmla="*/ 1 w 9"/>
                <a:gd name="T51" fmla="*/ 2 h 5"/>
                <a:gd name="T52" fmla="*/ 2 w 9"/>
                <a:gd name="T53" fmla="*/ 2 h 5"/>
                <a:gd name="T54" fmla="*/ 6 w 9"/>
                <a:gd name="T55" fmla="*/ 2 h 5"/>
                <a:gd name="T56" fmla="*/ 2 w 9"/>
                <a:gd name="T57" fmla="*/ 1 h 5"/>
                <a:gd name="T58" fmla="*/ 2 w 9"/>
                <a:gd name="T59" fmla="*/ 1 h 5"/>
                <a:gd name="T60" fmla="*/ 3 w 9"/>
                <a:gd name="T61" fmla="*/ 1 h 5"/>
                <a:gd name="T62" fmla="*/ 3 w 9"/>
                <a:gd name="T63" fmla="*/ 1 h 5"/>
                <a:gd name="T64" fmla="*/ 3 w 9"/>
                <a:gd name="T65" fmla="*/ 1 h 5"/>
                <a:gd name="T66" fmla="*/ 5 w 9"/>
                <a:gd name="T67" fmla="*/ 1 h 5"/>
                <a:gd name="T68" fmla="*/ 5 w 9"/>
                <a:gd name="T69" fmla="*/ 1 h 5"/>
                <a:gd name="T70" fmla="*/ 6 w 9"/>
                <a:gd name="T71" fmla="*/ 1 h 5"/>
                <a:gd name="T72" fmla="*/ 6 w 9"/>
                <a:gd name="T73" fmla="*/ 2 h 5"/>
                <a:gd name="T74" fmla="*/ 7 w 9"/>
                <a:gd name="T75" fmla="*/ 2 h 5"/>
                <a:gd name="T76" fmla="*/ 7 w 9"/>
                <a:gd name="T77" fmla="*/ 1 h 5"/>
                <a:gd name="T78" fmla="*/ 6 w 9"/>
                <a:gd name="T79" fmla="*/ 0 h 5"/>
                <a:gd name="T80" fmla="*/ 6 w 9"/>
                <a:gd name="T81" fmla="*/ 0 h 5"/>
                <a:gd name="T82" fmla="*/ 7 w 9"/>
                <a:gd name="T83" fmla="*/ 0 h 5"/>
                <a:gd name="T84" fmla="*/ 7 w 9"/>
                <a:gd name="T8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 h="5">
                  <a:moveTo>
                    <a:pt x="7" y="0"/>
                  </a:moveTo>
                  <a:lnTo>
                    <a:pt x="7" y="0"/>
                  </a:lnTo>
                  <a:lnTo>
                    <a:pt x="7" y="0"/>
                  </a:lnTo>
                  <a:lnTo>
                    <a:pt x="7" y="0"/>
                  </a:lnTo>
                  <a:lnTo>
                    <a:pt x="7" y="0"/>
                  </a:lnTo>
                  <a:lnTo>
                    <a:pt x="8" y="0"/>
                  </a:lnTo>
                  <a:lnTo>
                    <a:pt x="8" y="0"/>
                  </a:lnTo>
                  <a:lnTo>
                    <a:pt x="9" y="0"/>
                  </a:lnTo>
                  <a:lnTo>
                    <a:pt x="9" y="0"/>
                  </a:lnTo>
                  <a:lnTo>
                    <a:pt x="9" y="1"/>
                  </a:lnTo>
                  <a:lnTo>
                    <a:pt x="9" y="1"/>
                  </a:lnTo>
                  <a:lnTo>
                    <a:pt x="9" y="1"/>
                  </a:lnTo>
                  <a:lnTo>
                    <a:pt x="9" y="1"/>
                  </a:lnTo>
                  <a:lnTo>
                    <a:pt x="9" y="1"/>
                  </a:lnTo>
                  <a:lnTo>
                    <a:pt x="9" y="1"/>
                  </a:lnTo>
                  <a:lnTo>
                    <a:pt x="8" y="2"/>
                  </a:lnTo>
                  <a:lnTo>
                    <a:pt x="8" y="2"/>
                  </a:lnTo>
                  <a:lnTo>
                    <a:pt x="8" y="2"/>
                  </a:lnTo>
                  <a:lnTo>
                    <a:pt x="7" y="2"/>
                  </a:lnTo>
                  <a:lnTo>
                    <a:pt x="7" y="2"/>
                  </a:lnTo>
                  <a:lnTo>
                    <a:pt x="7" y="2"/>
                  </a:lnTo>
                  <a:lnTo>
                    <a:pt x="7" y="2"/>
                  </a:lnTo>
                  <a:lnTo>
                    <a:pt x="7" y="2"/>
                  </a:lnTo>
                  <a:lnTo>
                    <a:pt x="7" y="3"/>
                  </a:lnTo>
                  <a:lnTo>
                    <a:pt x="7" y="3"/>
                  </a:lnTo>
                  <a:lnTo>
                    <a:pt x="8" y="3"/>
                  </a:lnTo>
                  <a:lnTo>
                    <a:pt x="8" y="3"/>
                  </a:lnTo>
                  <a:lnTo>
                    <a:pt x="8" y="3"/>
                  </a:lnTo>
                  <a:lnTo>
                    <a:pt x="8" y="3"/>
                  </a:lnTo>
                  <a:lnTo>
                    <a:pt x="7" y="3"/>
                  </a:lnTo>
                  <a:lnTo>
                    <a:pt x="7" y="3"/>
                  </a:lnTo>
                  <a:lnTo>
                    <a:pt x="6" y="3"/>
                  </a:lnTo>
                  <a:lnTo>
                    <a:pt x="6" y="3"/>
                  </a:lnTo>
                  <a:lnTo>
                    <a:pt x="6" y="3"/>
                  </a:lnTo>
                  <a:lnTo>
                    <a:pt x="5" y="3"/>
                  </a:lnTo>
                  <a:lnTo>
                    <a:pt x="5" y="3"/>
                  </a:lnTo>
                  <a:lnTo>
                    <a:pt x="2" y="5"/>
                  </a:lnTo>
                  <a:lnTo>
                    <a:pt x="1" y="5"/>
                  </a:lnTo>
                  <a:lnTo>
                    <a:pt x="1" y="5"/>
                  </a:lnTo>
                  <a:lnTo>
                    <a:pt x="1" y="3"/>
                  </a:lnTo>
                  <a:lnTo>
                    <a:pt x="1"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1"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2" y="3"/>
                  </a:lnTo>
                  <a:lnTo>
                    <a:pt x="3" y="3"/>
                  </a:lnTo>
                  <a:lnTo>
                    <a:pt x="3" y="3"/>
                  </a:lnTo>
                  <a:lnTo>
                    <a:pt x="3" y="3"/>
                  </a:lnTo>
                  <a:lnTo>
                    <a:pt x="3" y="2"/>
                  </a:lnTo>
                  <a:lnTo>
                    <a:pt x="2" y="3"/>
                  </a:lnTo>
                  <a:lnTo>
                    <a:pt x="2" y="3"/>
                  </a:lnTo>
                  <a:lnTo>
                    <a:pt x="2" y="3"/>
                  </a:lnTo>
                  <a:lnTo>
                    <a:pt x="1" y="2"/>
                  </a:lnTo>
                  <a:lnTo>
                    <a:pt x="1" y="2"/>
                  </a:lnTo>
                  <a:lnTo>
                    <a:pt x="2" y="2"/>
                  </a:lnTo>
                  <a:lnTo>
                    <a:pt x="2" y="2"/>
                  </a:lnTo>
                  <a:lnTo>
                    <a:pt x="2" y="2"/>
                  </a:lnTo>
                  <a:lnTo>
                    <a:pt x="3" y="2"/>
                  </a:lnTo>
                  <a:lnTo>
                    <a:pt x="6" y="2"/>
                  </a:lnTo>
                  <a:lnTo>
                    <a:pt x="6" y="2"/>
                  </a:lnTo>
                  <a:lnTo>
                    <a:pt x="5" y="2"/>
                  </a:lnTo>
                  <a:lnTo>
                    <a:pt x="3" y="2"/>
                  </a:lnTo>
                  <a:lnTo>
                    <a:pt x="2" y="1"/>
                  </a:lnTo>
                  <a:lnTo>
                    <a:pt x="2" y="1"/>
                  </a:lnTo>
                  <a:lnTo>
                    <a:pt x="2" y="1"/>
                  </a:lnTo>
                  <a:lnTo>
                    <a:pt x="2" y="1"/>
                  </a:lnTo>
                  <a:lnTo>
                    <a:pt x="2" y="1"/>
                  </a:lnTo>
                  <a:lnTo>
                    <a:pt x="2" y="1"/>
                  </a:lnTo>
                  <a:lnTo>
                    <a:pt x="3" y="1"/>
                  </a:lnTo>
                  <a:lnTo>
                    <a:pt x="3" y="1"/>
                  </a:lnTo>
                  <a:lnTo>
                    <a:pt x="3" y="1"/>
                  </a:lnTo>
                  <a:lnTo>
                    <a:pt x="3" y="1"/>
                  </a:lnTo>
                  <a:lnTo>
                    <a:pt x="3" y="1"/>
                  </a:lnTo>
                  <a:lnTo>
                    <a:pt x="3" y="1"/>
                  </a:lnTo>
                  <a:lnTo>
                    <a:pt x="3" y="1"/>
                  </a:lnTo>
                  <a:lnTo>
                    <a:pt x="3" y="1"/>
                  </a:lnTo>
                  <a:lnTo>
                    <a:pt x="3" y="1"/>
                  </a:lnTo>
                  <a:lnTo>
                    <a:pt x="5" y="1"/>
                  </a:lnTo>
                  <a:lnTo>
                    <a:pt x="5" y="1"/>
                  </a:lnTo>
                  <a:lnTo>
                    <a:pt x="5" y="1"/>
                  </a:lnTo>
                  <a:lnTo>
                    <a:pt x="5" y="1"/>
                  </a:lnTo>
                  <a:lnTo>
                    <a:pt x="5" y="1"/>
                  </a:lnTo>
                  <a:lnTo>
                    <a:pt x="5" y="1"/>
                  </a:lnTo>
                  <a:lnTo>
                    <a:pt x="6" y="1"/>
                  </a:lnTo>
                  <a:lnTo>
                    <a:pt x="6" y="1"/>
                  </a:lnTo>
                  <a:lnTo>
                    <a:pt x="6" y="2"/>
                  </a:lnTo>
                  <a:lnTo>
                    <a:pt x="6" y="2"/>
                  </a:lnTo>
                  <a:lnTo>
                    <a:pt x="7" y="2"/>
                  </a:lnTo>
                  <a:lnTo>
                    <a:pt x="7" y="2"/>
                  </a:lnTo>
                  <a:lnTo>
                    <a:pt x="7" y="2"/>
                  </a:lnTo>
                  <a:lnTo>
                    <a:pt x="7" y="2"/>
                  </a:lnTo>
                  <a:lnTo>
                    <a:pt x="7" y="1"/>
                  </a:lnTo>
                  <a:lnTo>
                    <a:pt x="7" y="1"/>
                  </a:lnTo>
                  <a:lnTo>
                    <a:pt x="7" y="1"/>
                  </a:lnTo>
                  <a:lnTo>
                    <a:pt x="6" y="0"/>
                  </a:lnTo>
                  <a:lnTo>
                    <a:pt x="6" y="0"/>
                  </a:lnTo>
                  <a:lnTo>
                    <a:pt x="6" y="0"/>
                  </a:lnTo>
                  <a:lnTo>
                    <a:pt x="6" y="0"/>
                  </a:lnTo>
                  <a:lnTo>
                    <a:pt x="6" y="0"/>
                  </a:lnTo>
                  <a:lnTo>
                    <a:pt x="7" y="0"/>
                  </a:lnTo>
                  <a:lnTo>
                    <a:pt x="7" y="0"/>
                  </a:lnTo>
                  <a:lnTo>
                    <a:pt x="7" y="0"/>
                  </a:lnTo>
                  <a:lnTo>
                    <a:pt x="7" y="0"/>
                  </a:lnTo>
                  <a:lnTo>
                    <a:pt x="7" y="0"/>
                  </a:lnTo>
                  <a:lnTo>
                    <a:pt x="7"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18" name="Freeform 1484">
              <a:extLst>
                <a:ext uri="{FF2B5EF4-FFF2-40B4-BE49-F238E27FC236}">
                  <a16:creationId xmlns:a16="http://schemas.microsoft.com/office/drawing/2014/main" id="{FAA8942B-5EE0-418A-92F7-A71ACDFF480A}"/>
                </a:ext>
              </a:extLst>
            </p:cNvPr>
            <p:cNvSpPr>
              <a:spLocks/>
            </p:cNvSpPr>
            <p:nvPr/>
          </p:nvSpPr>
          <p:spPr bwMode="auto">
            <a:xfrm>
              <a:off x="6081538" y="1911543"/>
              <a:ext cx="4007" cy="2671"/>
            </a:xfrm>
            <a:custGeom>
              <a:avLst/>
              <a:gdLst>
                <a:gd name="T0" fmla="*/ 2 w 3"/>
                <a:gd name="T1" fmla="*/ 2 h 2"/>
                <a:gd name="T2" fmla="*/ 2 w 3"/>
                <a:gd name="T3" fmla="*/ 2 h 2"/>
                <a:gd name="T4" fmla="*/ 0 w 3"/>
                <a:gd name="T5" fmla="*/ 2 h 2"/>
                <a:gd name="T6" fmla="*/ 0 w 3"/>
                <a:gd name="T7" fmla="*/ 2 h 2"/>
                <a:gd name="T8" fmla="*/ 0 w 3"/>
                <a:gd name="T9" fmla="*/ 1 h 2"/>
                <a:gd name="T10" fmla="*/ 0 w 3"/>
                <a:gd name="T11" fmla="*/ 1 h 2"/>
                <a:gd name="T12" fmla="*/ 0 w 3"/>
                <a:gd name="T13" fmla="*/ 1 h 2"/>
                <a:gd name="T14" fmla="*/ 0 w 3"/>
                <a:gd name="T15" fmla="*/ 1 h 2"/>
                <a:gd name="T16" fmla="*/ 0 w 3"/>
                <a:gd name="T17" fmla="*/ 1 h 2"/>
                <a:gd name="T18" fmla="*/ 0 w 3"/>
                <a:gd name="T19" fmla="*/ 1 h 2"/>
                <a:gd name="T20" fmla="*/ 0 w 3"/>
                <a:gd name="T21" fmla="*/ 1 h 2"/>
                <a:gd name="T22" fmla="*/ 0 w 3"/>
                <a:gd name="T23" fmla="*/ 1 h 2"/>
                <a:gd name="T24" fmla="*/ 0 w 3"/>
                <a:gd name="T25" fmla="*/ 0 h 2"/>
                <a:gd name="T26" fmla="*/ 2 w 3"/>
                <a:gd name="T27" fmla="*/ 0 h 2"/>
                <a:gd name="T28" fmla="*/ 2 w 3"/>
                <a:gd name="T29" fmla="*/ 0 h 2"/>
                <a:gd name="T30" fmla="*/ 2 w 3"/>
                <a:gd name="T31" fmla="*/ 1 h 2"/>
                <a:gd name="T32" fmla="*/ 2 w 3"/>
                <a:gd name="T33" fmla="*/ 1 h 2"/>
                <a:gd name="T34" fmla="*/ 2 w 3"/>
                <a:gd name="T35" fmla="*/ 1 h 2"/>
                <a:gd name="T36" fmla="*/ 2 w 3"/>
                <a:gd name="T37" fmla="*/ 1 h 2"/>
                <a:gd name="T38" fmla="*/ 2 w 3"/>
                <a:gd name="T39" fmla="*/ 1 h 2"/>
                <a:gd name="T40" fmla="*/ 2 w 3"/>
                <a:gd name="T41" fmla="*/ 1 h 2"/>
                <a:gd name="T42" fmla="*/ 2 w 3"/>
                <a:gd name="T43" fmla="*/ 1 h 2"/>
                <a:gd name="T44" fmla="*/ 3 w 3"/>
                <a:gd name="T45" fmla="*/ 1 h 2"/>
                <a:gd name="T46" fmla="*/ 3 w 3"/>
                <a:gd name="T47" fmla="*/ 1 h 2"/>
                <a:gd name="T48" fmla="*/ 2 w 3"/>
                <a:gd name="T4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 h="2">
                  <a:moveTo>
                    <a:pt x="2" y="2"/>
                  </a:moveTo>
                  <a:lnTo>
                    <a:pt x="2" y="2"/>
                  </a:lnTo>
                  <a:lnTo>
                    <a:pt x="0" y="2"/>
                  </a:lnTo>
                  <a:lnTo>
                    <a:pt x="0" y="2"/>
                  </a:lnTo>
                  <a:lnTo>
                    <a:pt x="0" y="1"/>
                  </a:lnTo>
                  <a:lnTo>
                    <a:pt x="0" y="1"/>
                  </a:lnTo>
                  <a:lnTo>
                    <a:pt x="0" y="1"/>
                  </a:lnTo>
                  <a:lnTo>
                    <a:pt x="0" y="1"/>
                  </a:lnTo>
                  <a:lnTo>
                    <a:pt x="0" y="1"/>
                  </a:lnTo>
                  <a:lnTo>
                    <a:pt x="0" y="1"/>
                  </a:lnTo>
                  <a:lnTo>
                    <a:pt x="0" y="1"/>
                  </a:lnTo>
                  <a:lnTo>
                    <a:pt x="0" y="1"/>
                  </a:lnTo>
                  <a:lnTo>
                    <a:pt x="0" y="0"/>
                  </a:lnTo>
                  <a:lnTo>
                    <a:pt x="2" y="0"/>
                  </a:lnTo>
                  <a:lnTo>
                    <a:pt x="2" y="0"/>
                  </a:lnTo>
                  <a:lnTo>
                    <a:pt x="2" y="1"/>
                  </a:lnTo>
                  <a:lnTo>
                    <a:pt x="2" y="1"/>
                  </a:lnTo>
                  <a:lnTo>
                    <a:pt x="2" y="1"/>
                  </a:lnTo>
                  <a:lnTo>
                    <a:pt x="2" y="1"/>
                  </a:lnTo>
                  <a:lnTo>
                    <a:pt x="2" y="1"/>
                  </a:lnTo>
                  <a:lnTo>
                    <a:pt x="2" y="1"/>
                  </a:lnTo>
                  <a:lnTo>
                    <a:pt x="2" y="1"/>
                  </a:lnTo>
                  <a:lnTo>
                    <a:pt x="3" y="1"/>
                  </a:lnTo>
                  <a:lnTo>
                    <a:pt x="3" y="1"/>
                  </a:lnTo>
                  <a:lnTo>
                    <a:pt x="2"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19" name="Freeform 1485">
              <a:extLst>
                <a:ext uri="{FF2B5EF4-FFF2-40B4-BE49-F238E27FC236}">
                  <a16:creationId xmlns:a16="http://schemas.microsoft.com/office/drawing/2014/main" id="{BF51AE3B-7847-4CCD-B727-3477A9371338}"/>
                </a:ext>
              </a:extLst>
            </p:cNvPr>
            <p:cNvSpPr>
              <a:spLocks/>
            </p:cNvSpPr>
            <p:nvPr/>
          </p:nvSpPr>
          <p:spPr bwMode="auto">
            <a:xfrm>
              <a:off x="6204403" y="1911543"/>
              <a:ext cx="6678" cy="2671"/>
            </a:xfrm>
            <a:custGeom>
              <a:avLst/>
              <a:gdLst>
                <a:gd name="T0" fmla="*/ 4 w 5"/>
                <a:gd name="T1" fmla="*/ 1 h 2"/>
                <a:gd name="T2" fmla="*/ 4 w 5"/>
                <a:gd name="T3" fmla="*/ 1 h 2"/>
                <a:gd name="T4" fmla="*/ 5 w 5"/>
                <a:gd name="T5" fmla="*/ 1 h 2"/>
                <a:gd name="T6" fmla="*/ 5 w 5"/>
                <a:gd name="T7" fmla="*/ 1 h 2"/>
                <a:gd name="T8" fmla="*/ 4 w 5"/>
                <a:gd name="T9" fmla="*/ 1 h 2"/>
                <a:gd name="T10" fmla="*/ 4 w 5"/>
                <a:gd name="T11" fmla="*/ 2 h 2"/>
                <a:gd name="T12" fmla="*/ 4 w 5"/>
                <a:gd name="T13" fmla="*/ 2 h 2"/>
                <a:gd name="T14" fmla="*/ 3 w 5"/>
                <a:gd name="T15" fmla="*/ 2 h 2"/>
                <a:gd name="T16" fmla="*/ 3 w 5"/>
                <a:gd name="T17" fmla="*/ 2 h 2"/>
                <a:gd name="T18" fmla="*/ 3 w 5"/>
                <a:gd name="T19" fmla="*/ 2 h 2"/>
                <a:gd name="T20" fmla="*/ 3 w 5"/>
                <a:gd name="T21" fmla="*/ 2 h 2"/>
                <a:gd name="T22" fmla="*/ 1 w 5"/>
                <a:gd name="T23" fmla="*/ 2 h 2"/>
                <a:gd name="T24" fmla="*/ 1 w 5"/>
                <a:gd name="T25" fmla="*/ 2 h 2"/>
                <a:gd name="T26" fmla="*/ 3 w 5"/>
                <a:gd name="T27" fmla="*/ 2 h 2"/>
                <a:gd name="T28" fmla="*/ 1 w 5"/>
                <a:gd name="T29" fmla="*/ 2 h 2"/>
                <a:gd name="T30" fmla="*/ 1 w 5"/>
                <a:gd name="T31" fmla="*/ 2 h 2"/>
                <a:gd name="T32" fmla="*/ 0 w 5"/>
                <a:gd name="T33" fmla="*/ 2 h 2"/>
                <a:gd name="T34" fmla="*/ 1 w 5"/>
                <a:gd name="T35" fmla="*/ 2 h 2"/>
                <a:gd name="T36" fmla="*/ 1 w 5"/>
                <a:gd name="T37" fmla="*/ 1 h 2"/>
                <a:gd name="T38" fmla="*/ 1 w 5"/>
                <a:gd name="T39" fmla="*/ 1 h 2"/>
                <a:gd name="T40" fmla="*/ 1 w 5"/>
                <a:gd name="T41" fmla="*/ 1 h 2"/>
                <a:gd name="T42" fmla="*/ 1 w 5"/>
                <a:gd name="T43" fmla="*/ 1 h 2"/>
                <a:gd name="T44" fmla="*/ 1 w 5"/>
                <a:gd name="T45" fmla="*/ 0 h 2"/>
                <a:gd name="T46" fmla="*/ 1 w 5"/>
                <a:gd name="T47" fmla="*/ 0 h 2"/>
                <a:gd name="T48" fmla="*/ 3 w 5"/>
                <a:gd name="T49" fmla="*/ 1 h 2"/>
                <a:gd name="T50" fmla="*/ 3 w 5"/>
                <a:gd name="T51" fmla="*/ 1 h 2"/>
                <a:gd name="T52" fmla="*/ 3 w 5"/>
                <a:gd name="T53" fmla="*/ 1 h 2"/>
                <a:gd name="T54" fmla="*/ 4 w 5"/>
                <a:gd name="T55" fmla="*/ 1 h 2"/>
                <a:gd name="T56" fmla="*/ 4 w 5"/>
                <a:gd name="T57" fmla="*/ 1 h 2"/>
                <a:gd name="T58" fmla="*/ 4 w 5"/>
                <a:gd name="T59" fmla="*/ 1 h 2"/>
                <a:gd name="T60" fmla="*/ 4 w 5"/>
                <a:gd name="T61" fmla="*/ 1 h 2"/>
                <a:gd name="T62" fmla="*/ 4 w 5"/>
                <a:gd name="T63" fmla="*/ 1 h 2"/>
                <a:gd name="T64" fmla="*/ 4 w 5"/>
                <a:gd name="T6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 h="2">
                  <a:moveTo>
                    <a:pt x="4" y="1"/>
                  </a:moveTo>
                  <a:lnTo>
                    <a:pt x="4" y="1"/>
                  </a:lnTo>
                  <a:lnTo>
                    <a:pt x="5" y="1"/>
                  </a:lnTo>
                  <a:lnTo>
                    <a:pt x="5" y="1"/>
                  </a:lnTo>
                  <a:lnTo>
                    <a:pt x="4" y="1"/>
                  </a:lnTo>
                  <a:lnTo>
                    <a:pt x="4" y="2"/>
                  </a:lnTo>
                  <a:lnTo>
                    <a:pt x="4" y="2"/>
                  </a:lnTo>
                  <a:lnTo>
                    <a:pt x="3" y="2"/>
                  </a:lnTo>
                  <a:lnTo>
                    <a:pt x="3" y="2"/>
                  </a:lnTo>
                  <a:lnTo>
                    <a:pt x="3" y="2"/>
                  </a:lnTo>
                  <a:lnTo>
                    <a:pt x="3" y="2"/>
                  </a:lnTo>
                  <a:lnTo>
                    <a:pt x="1" y="2"/>
                  </a:lnTo>
                  <a:lnTo>
                    <a:pt x="1" y="2"/>
                  </a:lnTo>
                  <a:lnTo>
                    <a:pt x="3" y="2"/>
                  </a:lnTo>
                  <a:lnTo>
                    <a:pt x="1" y="2"/>
                  </a:lnTo>
                  <a:lnTo>
                    <a:pt x="1" y="2"/>
                  </a:lnTo>
                  <a:lnTo>
                    <a:pt x="0" y="2"/>
                  </a:lnTo>
                  <a:lnTo>
                    <a:pt x="1" y="2"/>
                  </a:lnTo>
                  <a:lnTo>
                    <a:pt x="1" y="1"/>
                  </a:lnTo>
                  <a:lnTo>
                    <a:pt x="1" y="1"/>
                  </a:lnTo>
                  <a:lnTo>
                    <a:pt x="1" y="1"/>
                  </a:lnTo>
                  <a:lnTo>
                    <a:pt x="1" y="1"/>
                  </a:lnTo>
                  <a:lnTo>
                    <a:pt x="1" y="0"/>
                  </a:lnTo>
                  <a:lnTo>
                    <a:pt x="1" y="0"/>
                  </a:lnTo>
                  <a:lnTo>
                    <a:pt x="3" y="1"/>
                  </a:lnTo>
                  <a:lnTo>
                    <a:pt x="3" y="1"/>
                  </a:lnTo>
                  <a:lnTo>
                    <a:pt x="3" y="1"/>
                  </a:lnTo>
                  <a:lnTo>
                    <a:pt x="4" y="1"/>
                  </a:lnTo>
                  <a:lnTo>
                    <a:pt x="4" y="1"/>
                  </a:lnTo>
                  <a:lnTo>
                    <a:pt x="4" y="1"/>
                  </a:lnTo>
                  <a:lnTo>
                    <a:pt x="4" y="1"/>
                  </a:lnTo>
                  <a:lnTo>
                    <a:pt x="4" y="1"/>
                  </a:lnTo>
                  <a:lnTo>
                    <a:pt x="4"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20" name="Oval 1486">
              <a:extLst>
                <a:ext uri="{FF2B5EF4-FFF2-40B4-BE49-F238E27FC236}">
                  <a16:creationId xmlns:a16="http://schemas.microsoft.com/office/drawing/2014/main" id="{0B7F623F-8756-4B53-BF60-A8242CCA631B}"/>
                </a:ext>
              </a:extLst>
            </p:cNvPr>
            <p:cNvSpPr>
              <a:spLocks noChangeArrowheads="1"/>
            </p:cNvSpPr>
            <p:nvPr/>
          </p:nvSpPr>
          <p:spPr bwMode="auto">
            <a:xfrm>
              <a:off x="6097564" y="1911543"/>
              <a:ext cx="1336" cy="1336"/>
            </a:xfrm>
            <a:prstGeom prst="ellipse">
              <a:avLst/>
            </a:pr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21" name="Freeform 1487">
              <a:extLst>
                <a:ext uri="{FF2B5EF4-FFF2-40B4-BE49-F238E27FC236}">
                  <a16:creationId xmlns:a16="http://schemas.microsoft.com/office/drawing/2014/main" id="{A2D99676-E0DB-4D27-8045-06054E9B1DEF}"/>
                </a:ext>
              </a:extLst>
            </p:cNvPr>
            <p:cNvSpPr>
              <a:spLocks/>
            </p:cNvSpPr>
            <p:nvPr/>
          </p:nvSpPr>
          <p:spPr bwMode="auto">
            <a:xfrm>
              <a:off x="6066847" y="1910207"/>
              <a:ext cx="5342" cy="2671"/>
            </a:xfrm>
            <a:custGeom>
              <a:avLst/>
              <a:gdLst>
                <a:gd name="T0" fmla="*/ 3 w 4"/>
                <a:gd name="T1" fmla="*/ 2 h 2"/>
                <a:gd name="T2" fmla="*/ 1 w 4"/>
                <a:gd name="T3" fmla="*/ 2 h 2"/>
                <a:gd name="T4" fmla="*/ 0 w 4"/>
                <a:gd name="T5" fmla="*/ 2 h 2"/>
                <a:gd name="T6" fmla="*/ 1 w 4"/>
                <a:gd name="T7" fmla="*/ 2 h 2"/>
                <a:gd name="T8" fmla="*/ 1 w 4"/>
                <a:gd name="T9" fmla="*/ 2 h 2"/>
                <a:gd name="T10" fmla="*/ 1 w 4"/>
                <a:gd name="T11" fmla="*/ 1 h 2"/>
                <a:gd name="T12" fmla="*/ 1 w 4"/>
                <a:gd name="T13" fmla="*/ 1 h 2"/>
                <a:gd name="T14" fmla="*/ 2 w 4"/>
                <a:gd name="T15" fmla="*/ 1 h 2"/>
                <a:gd name="T16" fmla="*/ 2 w 4"/>
                <a:gd name="T17" fmla="*/ 1 h 2"/>
                <a:gd name="T18" fmla="*/ 3 w 4"/>
                <a:gd name="T19" fmla="*/ 1 h 2"/>
                <a:gd name="T20" fmla="*/ 3 w 4"/>
                <a:gd name="T21" fmla="*/ 0 h 2"/>
                <a:gd name="T22" fmla="*/ 3 w 4"/>
                <a:gd name="T23" fmla="*/ 0 h 2"/>
                <a:gd name="T24" fmla="*/ 3 w 4"/>
                <a:gd name="T25" fmla="*/ 0 h 2"/>
                <a:gd name="T26" fmla="*/ 3 w 4"/>
                <a:gd name="T27" fmla="*/ 0 h 2"/>
                <a:gd name="T28" fmla="*/ 4 w 4"/>
                <a:gd name="T29" fmla="*/ 0 h 2"/>
                <a:gd name="T30" fmla="*/ 4 w 4"/>
                <a:gd name="T31" fmla="*/ 1 h 2"/>
                <a:gd name="T32" fmla="*/ 4 w 4"/>
                <a:gd name="T33" fmla="*/ 1 h 2"/>
                <a:gd name="T34" fmla="*/ 3 w 4"/>
                <a:gd name="T35" fmla="*/ 1 h 2"/>
                <a:gd name="T36" fmla="*/ 3 w 4"/>
                <a:gd name="T37" fmla="*/ 2 h 2"/>
                <a:gd name="T38" fmla="*/ 3 w 4"/>
                <a:gd name="T39" fmla="*/ 2 h 2"/>
                <a:gd name="T40" fmla="*/ 3 w 4"/>
                <a:gd name="T4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2">
                  <a:moveTo>
                    <a:pt x="3" y="2"/>
                  </a:moveTo>
                  <a:lnTo>
                    <a:pt x="1" y="2"/>
                  </a:lnTo>
                  <a:lnTo>
                    <a:pt x="0" y="2"/>
                  </a:lnTo>
                  <a:lnTo>
                    <a:pt x="1" y="2"/>
                  </a:lnTo>
                  <a:lnTo>
                    <a:pt x="1" y="2"/>
                  </a:lnTo>
                  <a:lnTo>
                    <a:pt x="1" y="1"/>
                  </a:lnTo>
                  <a:lnTo>
                    <a:pt x="1" y="1"/>
                  </a:lnTo>
                  <a:lnTo>
                    <a:pt x="2" y="1"/>
                  </a:lnTo>
                  <a:lnTo>
                    <a:pt x="2" y="1"/>
                  </a:lnTo>
                  <a:lnTo>
                    <a:pt x="3" y="1"/>
                  </a:lnTo>
                  <a:lnTo>
                    <a:pt x="3" y="0"/>
                  </a:lnTo>
                  <a:lnTo>
                    <a:pt x="3" y="0"/>
                  </a:lnTo>
                  <a:lnTo>
                    <a:pt x="3" y="0"/>
                  </a:lnTo>
                  <a:lnTo>
                    <a:pt x="3" y="0"/>
                  </a:lnTo>
                  <a:lnTo>
                    <a:pt x="4" y="0"/>
                  </a:lnTo>
                  <a:lnTo>
                    <a:pt x="4" y="1"/>
                  </a:lnTo>
                  <a:lnTo>
                    <a:pt x="4" y="1"/>
                  </a:lnTo>
                  <a:lnTo>
                    <a:pt x="3" y="1"/>
                  </a:lnTo>
                  <a:lnTo>
                    <a:pt x="3" y="2"/>
                  </a:lnTo>
                  <a:lnTo>
                    <a:pt x="3" y="2"/>
                  </a:lnTo>
                  <a:lnTo>
                    <a:pt x="3"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22" name="Freeform 1488">
              <a:extLst>
                <a:ext uri="{FF2B5EF4-FFF2-40B4-BE49-F238E27FC236}">
                  <a16:creationId xmlns:a16="http://schemas.microsoft.com/office/drawing/2014/main" id="{CC31F84E-CCC1-40BB-91AF-338BBFECDBE0}"/>
                </a:ext>
              </a:extLst>
            </p:cNvPr>
            <p:cNvSpPr>
              <a:spLocks/>
            </p:cNvSpPr>
            <p:nvPr/>
          </p:nvSpPr>
          <p:spPr bwMode="auto">
            <a:xfrm>
              <a:off x="6072189" y="1910207"/>
              <a:ext cx="2671" cy="0"/>
            </a:xfrm>
            <a:custGeom>
              <a:avLst/>
              <a:gdLst>
                <a:gd name="T0" fmla="*/ 2 w 2"/>
                <a:gd name="T1" fmla="*/ 2 w 2"/>
                <a:gd name="T2" fmla="*/ 0 w 2"/>
                <a:gd name="T3" fmla="*/ 0 w 2"/>
                <a:gd name="T4" fmla="*/ 0 w 2"/>
                <a:gd name="T5" fmla="*/ 0 w 2"/>
                <a:gd name="T6" fmla="*/ 2 w 2"/>
                <a:gd name="T7" fmla="*/ 2 w 2"/>
                <a:gd name="T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2" y="0"/>
                  </a:moveTo>
                  <a:lnTo>
                    <a:pt x="2" y="0"/>
                  </a:lnTo>
                  <a:lnTo>
                    <a:pt x="0" y="0"/>
                  </a:lnTo>
                  <a:lnTo>
                    <a:pt x="0" y="0"/>
                  </a:lnTo>
                  <a:lnTo>
                    <a:pt x="0" y="0"/>
                  </a:lnTo>
                  <a:lnTo>
                    <a:pt x="0"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23" name="Freeform 1489">
              <a:extLst>
                <a:ext uri="{FF2B5EF4-FFF2-40B4-BE49-F238E27FC236}">
                  <a16:creationId xmlns:a16="http://schemas.microsoft.com/office/drawing/2014/main" id="{541916BA-1DC9-44DF-8D1A-73204C740DD6}"/>
                </a:ext>
              </a:extLst>
            </p:cNvPr>
            <p:cNvSpPr>
              <a:spLocks/>
            </p:cNvSpPr>
            <p:nvPr/>
          </p:nvSpPr>
          <p:spPr bwMode="auto">
            <a:xfrm>
              <a:off x="6085544" y="1910207"/>
              <a:ext cx="2671" cy="1336"/>
            </a:xfrm>
            <a:custGeom>
              <a:avLst/>
              <a:gdLst>
                <a:gd name="T0" fmla="*/ 1 w 2"/>
                <a:gd name="T1" fmla="*/ 0 h 1"/>
                <a:gd name="T2" fmla="*/ 1 w 2"/>
                <a:gd name="T3" fmla="*/ 0 h 1"/>
                <a:gd name="T4" fmla="*/ 2 w 2"/>
                <a:gd name="T5" fmla="*/ 0 h 1"/>
                <a:gd name="T6" fmla="*/ 2 w 2"/>
                <a:gd name="T7" fmla="*/ 1 h 1"/>
                <a:gd name="T8" fmla="*/ 2 w 2"/>
                <a:gd name="T9" fmla="*/ 1 h 1"/>
                <a:gd name="T10" fmla="*/ 1 w 2"/>
                <a:gd name="T11" fmla="*/ 1 h 1"/>
                <a:gd name="T12" fmla="*/ 1 w 2"/>
                <a:gd name="T13" fmla="*/ 1 h 1"/>
                <a:gd name="T14" fmla="*/ 0 w 2"/>
                <a:gd name="T15" fmla="*/ 1 h 1"/>
                <a:gd name="T16" fmla="*/ 0 w 2"/>
                <a:gd name="T17" fmla="*/ 1 h 1"/>
                <a:gd name="T18" fmla="*/ 0 w 2"/>
                <a:gd name="T19" fmla="*/ 1 h 1"/>
                <a:gd name="T20" fmla="*/ 0 w 2"/>
                <a:gd name="T21" fmla="*/ 1 h 1"/>
                <a:gd name="T22" fmla="*/ 0 w 2"/>
                <a:gd name="T23" fmla="*/ 0 h 1"/>
                <a:gd name="T24" fmla="*/ 0 w 2"/>
                <a:gd name="T25" fmla="*/ 0 h 1"/>
                <a:gd name="T26" fmla="*/ 0 w 2"/>
                <a:gd name="T27" fmla="*/ 0 h 1"/>
                <a:gd name="T28" fmla="*/ 0 w 2"/>
                <a:gd name="T29" fmla="*/ 0 h 1"/>
                <a:gd name="T30" fmla="*/ 0 w 2"/>
                <a:gd name="T31" fmla="*/ 0 h 1"/>
                <a:gd name="T32" fmla="*/ 1 w 2"/>
                <a:gd name="T33" fmla="*/ 0 h 1"/>
                <a:gd name="T34" fmla="*/ 1 w 2"/>
                <a:gd name="T3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 h="1">
                  <a:moveTo>
                    <a:pt x="1" y="0"/>
                  </a:moveTo>
                  <a:lnTo>
                    <a:pt x="1" y="0"/>
                  </a:lnTo>
                  <a:lnTo>
                    <a:pt x="2" y="0"/>
                  </a:lnTo>
                  <a:lnTo>
                    <a:pt x="2" y="1"/>
                  </a:lnTo>
                  <a:lnTo>
                    <a:pt x="2" y="1"/>
                  </a:lnTo>
                  <a:lnTo>
                    <a:pt x="1" y="1"/>
                  </a:lnTo>
                  <a:lnTo>
                    <a:pt x="1" y="1"/>
                  </a:lnTo>
                  <a:lnTo>
                    <a:pt x="0" y="1"/>
                  </a:lnTo>
                  <a:lnTo>
                    <a:pt x="0" y="1"/>
                  </a:lnTo>
                  <a:lnTo>
                    <a:pt x="0" y="1"/>
                  </a:lnTo>
                  <a:lnTo>
                    <a:pt x="0" y="1"/>
                  </a:lnTo>
                  <a:lnTo>
                    <a:pt x="0" y="0"/>
                  </a:lnTo>
                  <a:lnTo>
                    <a:pt x="0" y="0"/>
                  </a:lnTo>
                  <a:lnTo>
                    <a:pt x="0" y="0"/>
                  </a:lnTo>
                  <a:lnTo>
                    <a:pt x="0" y="0"/>
                  </a:lnTo>
                  <a:lnTo>
                    <a:pt x="0"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24" name="Freeform 1490">
              <a:extLst>
                <a:ext uri="{FF2B5EF4-FFF2-40B4-BE49-F238E27FC236}">
                  <a16:creationId xmlns:a16="http://schemas.microsoft.com/office/drawing/2014/main" id="{90D656E4-BB12-439C-80CA-DE36247DBAE3}"/>
                </a:ext>
              </a:extLst>
            </p:cNvPr>
            <p:cNvSpPr>
              <a:spLocks/>
            </p:cNvSpPr>
            <p:nvPr/>
          </p:nvSpPr>
          <p:spPr bwMode="auto">
            <a:xfrm>
              <a:off x="6086880" y="1910207"/>
              <a:ext cx="1336" cy="0"/>
            </a:xfrm>
            <a:custGeom>
              <a:avLst/>
              <a:gdLst>
                <a:gd name="T0" fmla="*/ 1 w 1"/>
                <a:gd name="T1" fmla="*/ 0 w 1"/>
                <a:gd name="T2" fmla="*/ 0 w 1"/>
                <a:gd name="T3" fmla="*/ 0 w 1"/>
                <a:gd name="T4" fmla="*/ 1 w 1"/>
                <a:gd name="T5" fmla="*/ 1 w 1"/>
                <a:gd name="T6" fmla="*/ 1 w 1"/>
                <a:gd name="T7" fmla="*/ 1 w 1"/>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1">
                  <a:moveTo>
                    <a:pt x="1" y="0"/>
                  </a:moveTo>
                  <a:lnTo>
                    <a:pt x="0" y="0"/>
                  </a:lnTo>
                  <a:lnTo>
                    <a:pt x="0" y="0"/>
                  </a:lnTo>
                  <a:lnTo>
                    <a:pt x="0"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25" name="Freeform 1491">
              <a:extLst>
                <a:ext uri="{FF2B5EF4-FFF2-40B4-BE49-F238E27FC236}">
                  <a16:creationId xmlns:a16="http://schemas.microsoft.com/office/drawing/2014/main" id="{9A10941F-41FF-443D-981D-ABD9653DCD61}"/>
                </a:ext>
              </a:extLst>
            </p:cNvPr>
            <p:cNvSpPr>
              <a:spLocks/>
            </p:cNvSpPr>
            <p:nvPr/>
          </p:nvSpPr>
          <p:spPr bwMode="auto">
            <a:xfrm>
              <a:off x="6057499" y="1907536"/>
              <a:ext cx="12020" cy="6678"/>
            </a:xfrm>
            <a:custGeom>
              <a:avLst/>
              <a:gdLst>
                <a:gd name="T0" fmla="*/ 4 w 9"/>
                <a:gd name="T1" fmla="*/ 2 h 5"/>
                <a:gd name="T2" fmla="*/ 6 w 9"/>
                <a:gd name="T3" fmla="*/ 2 h 5"/>
                <a:gd name="T4" fmla="*/ 6 w 9"/>
                <a:gd name="T5" fmla="*/ 2 h 5"/>
                <a:gd name="T6" fmla="*/ 6 w 9"/>
                <a:gd name="T7" fmla="*/ 2 h 5"/>
                <a:gd name="T8" fmla="*/ 6 w 9"/>
                <a:gd name="T9" fmla="*/ 2 h 5"/>
                <a:gd name="T10" fmla="*/ 7 w 9"/>
                <a:gd name="T11" fmla="*/ 3 h 5"/>
                <a:gd name="T12" fmla="*/ 7 w 9"/>
                <a:gd name="T13" fmla="*/ 2 h 5"/>
                <a:gd name="T14" fmla="*/ 8 w 9"/>
                <a:gd name="T15" fmla="*/ 2 h 5"/>
                <a:gd name="T16" fmla="*/ 8 w 9"/>
                <a:gd name="T17" fmla="*/ 2 h 5"/>
                <a:gd name="T18" fmla="*/ 8 w 9"/>
                <a:gd name="T19" fmla="*/ 2 h 5"/>
                <a:gd name="T20" fmla="*/ 8 w 9"/>
                <a:gd name="T21" fmla="*/ 2 h 5"/>
                <a:gd name="T22" fmla="*/ 9 w 9"/>
                <a:gd name="T23" fmla="*/ 2 h 5"/>
                <a:gd name="T24" fmla="*/ 9 w 9"/>
                <a:gd name="T25" fmla="*/ 2 h 5"/>
                <a:gd name="T26" fmla="*/ 9 w 9"/>
                <a:gd name="T27" fmla="*/ 2 h 5"/>
                <a:gd name="T28" fmla="*/ 9 w 9"/>
                <a:gd name="T29" fmla="*/ 2 h 5"/>
                <a:gd name="T30" fmla="*/ 9 w 9"/>
                <a:gd name="T31" fmla="*/ 3 h 5"/>
                <a:gd name="T32" fmla="*/ 8 w 9"/>
                <a:gd name="T33" fmla="*/ 3 h 5"/>
                <a:gd name="T34" fmla="*/ 8 w 9"/>
                <a:gd name="T35" fmla="*/ 3 h 5"/>
                <a:gd name="T36" fmla="*/ 8 w 9"/>
                <a:gd name="T37" fmla="*/ 3 h 5"/>
                <a:gd name="T38" fmla="*/ 8 w 9"/>
                <a:gd name="T39" fmla="*/ 4 h 5"/>
                <a:gd name="T40" fmla="*/ 8 w 9"/>
                <a:gd name="T41" fmla="*/ 4 h 5"/>
                <a:gd name="T42" fmla="*/ 7 w 9"/>
                <a:gd name="T43" fmla="*/ 4 h 5"/>
                <a:gd name="T44" fmla="*/ 7 w 9"/>
                <a:gd name="T45" fmla="*/ 4 h 5"/>
                <a:gd name="T46" fmla="*/ 7 w 9"/>
                <a:gd name="T47" fmla="*/ 4 h 5"/>
                <a:gd name="T48" fmla="*/ 4 w 9"/>
                <a:gd name="T49" fmla="*/ 5 h 5"/>
                <a:gd name="T50" fmla="*/ 3 w 9"/>
                <a:gd name="T51" fmla="*/ 4 h 5"/>
                <a:gd name="T52" fmla="*/ 1 w 9"/>
                <a:gd name="T53" fmla="*/ 4 h 5"/>
                <a:gd name="T54" fmla="*/ 0 w 9"/>
                <a:gd name="T55" fmla="*/ 3 h 5"/>
                <a:gd name="T56" fmla="*/ 1 w 9"/>
                <a:gd name="T57" fmla="*/ 3 h 5"/>
                <a:gd name="T58" fmla="*/ 2 w 9"/>
                <a:gd name="T59" fmla="*/ 3 h 5"/>
                <a:gd name="T60" fmla="*/ 2 w 9"/>
                <a:gd name="T61" fmla="*/ 3 h 5"/>
                <a:gd name="T62" fmla="*/ 1 w 9"/>
                <a:gd name="T63" fmla="*/ 3 h 5"/>
                <a:gd name="T64" fmla="*/ 1 w 9"/>
                <a:gd name="T65" fmla="*/ 2 h 5"/>
                <a:gd name="T66" fmla="*/ 2 w 9"/>
                <a:gd name="T67" fmla="*/ 2 h 5"/>
                <a:gd name="T68" fmla="*/ 2 w 9"/>
                <a:gd name="T69" fmla="*/ 2 h 5"/>
                <a:gd name="T70" fmla="*/ 3 w 9"/>
                <a:gd name="T71" fmla="*/ 2 h 5"/>
                <a:gd name="T72" fmla="*/ 3 w 9"/>
                <a:gd name="T73" fmla="*/ 2 h 5"/>
                <a:gd name="T74" fmla="*/ 3 w 9"/>
                <a:gd name="T75" fmla="*/ 2 h 5"/>
                <a:gd name="T76" fmla="*/ 3 w 9"/>
                <a:gd name="T77" fmla="*/ 2 h 5"/>
                <a:gd name="T78" fmla="*/ 3 w 9"/>
                <a:gd name="T79" fmla="*/ 2 h 5"/>
                <a:gd name="T80" fmla="*/ 3 w 9"/>
                <a:gd name="T81" fmla="*/ 2 h 5"/>
                <a:gd name="T82" fmla="*/ 3 w 9"/>
                <a:gd name="T83" fmla="*/ 2 h 5"/>
                <a:gd name="T84" fmla="*/ 4 w 9"/>
                <a:gd name="T85" fmla="*/ 0 h 5"/>
                <a:gd name="T86" fmla="*/ 4 w 9"/>
                <a:gd name="T8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 h="5">
                  <a:moveTo>
                    <a:pt x="4" y="2"/>
                  </a:moveTo>
                  <a:lnTo>
                    <a:pt x="4" y="2"/>
                  </a:lnTo>
                  <a:lnTo>
                    <a:pt x="4" y="2"/>
                  </a:lnTo>
                  <a:lnTo>
                    <a:pt x="6" y="2"/>
                  </a:lnTo>
                  <a:lnTo>
                    <a:pt x="6" y="0"/>
                  </a:lnTo>
                  <a:lnTo>
                    <a:pt x="6" y="2"/>
                  </a:lnTo>
                  <a:lnTo>
                    <a:pt x="6" y="2"/>
                  </a:lnTo>
                  <a:lnTo>
                    <a:pt x="6" y="2"/>
                  </a:lnTo>
                  <a:lnTo>
                    <a:pt x="6" y="2"/>
                  </a:lnTo>
                  <a:lnTo>
                    <a:pt x="6" y="2"/>
                  </a:lnTo>
                  <a:lnTo>
                    <a:pt x="7" y="2"/>
                  </a:lnTo>
                  <a:lnTo>
                    <a:pt x="7" y="3"/>
                  </a:lnTo>
                  <a:lnTo>
                    <a:pt x="7" y="2"/>
                  </a:lnTo>
                  <a:lnTo>
                    <a:pt x="7" y="2"/>
                  </a:lnTo>
                  <a:lnTo>
                    <a:pt x="7" y="2"/>
                  </a:lnTo>
                  <a:lnTo>
                    <a:pt x="8" y="2"/>
                  </a:lnTo>
                  <a:lnTo>
                    <a:pt x="8" y="2"/>
                  </a:lnTo>
                  <a:lnTo>
                    <a:pt x="8" y="2"/>
                  </a:lnTo>
                  <a:lnTo>
                    <a:pt x="8" y="2"/>
                  </a:lnTo>
                  <a:lnTo>
                    <a:pt x="8" y="2"/>
                  </a:lnTo>
                  <a:lnTo>
                    <a:pt x="8" y="2"/>
                  </a:lnTo>
                  <a:lnTo>
                    <a:pt x="8" y="2"/>
                  </a:lnTo>
                  <a:lnTo>
                    <a:pt x="8" y="2"/>
                  </a:lnTo>
                  <a:lnTo>
                    <a:pt x="9" y="2"/>
                  </a:lnTo>
                  <a:lnTo>
                    <a:pt x="9" y="2"/>
                  </a:lnTo>
                  <a:lnTo>
                    <a:pt x="9" y="2"/>
                  </a:lnTo>
                  <a:lnTo>
                    <a:pt x="9" y="2"/>
                  </a:lnTo>
                  <a:lnTo>
                    <a:pt x="9" y="2"/>
                  </a:lnTo>
                  <a:lnTo>
                    <a:pt x="9" y="2"/>
                  </a:lnTo>
                  <a:lnTo>
                    <a:pt x="9" y="2"/>
                  </a:lnTo>
                  <a:lnTo>
                    <a:pt x="9" y="3"/>
                  </a:lnTo>
                  <a:lnTo>
                    <a:pt x="9" y="3"/>
                  </a:lnTo>
                  <a:lnTo>
                    <a:pt x="8" y="3"/>
                  </a:lnTo>
                  <a:lnTo>
                    <a:pt x="8" y="3"/>
                  </a:lnTo>
                  <a:lnTo>
                    <a:pt x="8" y="3"/>
                  </a:lnTo>
                  <a:lnTo>
                    <a:pt x="8" y="3"/>
                  </a:lnTo>
                  <a:lnTo>
                    <a:pt x="8" y="3"/>
                  </a:lnTo>
                  <a:lnTo>
                    <a:pt x="8" y="3"/>
                  </a:lnTo>
                  <a:lnTo>
                    <a:pt x="8" y="3"/>
                  </a:lnTo>
                  <a:lnTo>
                    <a:pt x="8" y="4"/>
                  </a:lnTo>
                  <a:lnTo>
                    <a:pt x="8" y="4"/>
                  </a:lnTo>
                  <a:lnTo>
                    <a:pt x="8" y="4"/>
                  </a:lnTo>
                  <a:lnTo>
                    <a:pt x="7" y="4"/>
                  </a:lnTo>
                  <a:lnTo>
                    <a:pt x="7" y="4"/>
                  </a:lnTo>
                  <a:lnTo>
                    <a:pt x="7" y="4"/>
                  </a:lnTo>
                  <a:lnTo>
                    <a:pt x="7" y="4"/>
                  </a:lnTo>
                  <a:lnTo>
                    <a:pt x="7" y="4"/>
                  </a:lnTo>
                  <a:lnTo>
                    <a:pt x="7" y="4"/>
                  </a:lnTo>
                  <a:lnTo>
                    <a:pt x="7" y="5"/>
                  </a:lnTo>
                  <a:lnTo>
                    <a:pt x="4" y="5"/>
                  </a:lnTo>
                  <a:lnTo>
                    <a:pt x="4" y="5"/>
                  </a:lnTo>
                  <a:lnTo>
                    <a:pt x="3" y="4"/>
                  </a:lnTo>
                  <a:lnTo>
                    <a:pt x="3" y="4"/>
                  </a:lnTo>
                  <a:lnTo>
                    <a:pt x="1" y="4"/>
                  </a:lnTo>
                  <a:lnTo>
                    <a:pt x="1" y="3"/>
                  </a:lnTo>
                  <a:lnTo>
                    <a:pt x="0" y="3"/>
                  </a:lnTo>
                  <a:lnTo>
                    <a:pt x="0" y="3"/>
                  </a:lnTo>
                  <a:lnTo>
                    <a:pt x="1" y="3"/>
                  </a:lnTo>
                  <a:lnTo>
                    <a:pt x="1" y="3"/>
                  </a:lnTo>
                  <a:lnTo>
                    <a:pt x="2" y="3"/>
                  </a:lnTo>
                  <a:lnTo>
                    <a:pt x="2" y="3"/>
                  </a:lnTo>
                  <a:lnTo>
                    <a:pt x="2" y="3"/>
                  </a:lnTo>
                  <a:lnTo>
                    <a:pt x="1" y="3"/>
                  </a:lnTo>
                  <a:lnTo>
                    <a:pt x="1" y="3"/>
                  </a:lnTo>
                  <a:lnTo>
                    <a:pt x="1" y="2"/>
                  </a:lnTo>
                  <a:lnTo>
                    <a:pt x="1" y="2"/>
                  </a:lnTo>
                  <a:lnTo>
                    <a:pt x="1" y="2"/>
                  </a:lnTo>
                  <a:lnTo>
                    <a:pt x="2" y="2"/>
                  </a:lnTo>
                  <a:lnTo>
                    <a:pt x="2" y="2"/>
                  </a:lnTo>
                  <a:lnTo>
                    <a:pt x="2" y="2"/>
                  </a:lnTo>
                  <a:lnTo>
                    <a:pt x="3" y="2"/>
                  </a:lnTo>
                  <a:lnTo>
                    <a:pt x="3" y="2"/>
                  </a:lnTo>
                  <a:lnTo>
                    <a:pt x="3" y="2"/>
                  </a:lnTo>
                  <a:lnTo>
                    <a:pt x="3" y="2"/>
                  </a:lnTo>
                  <a:lnTo>
                    <a:pt x="3" y="2"/>
                  </a:lnTo>
                  <a:lnTo>
                    <a:pt x="3" y="2"/>
                  </a:lnTo>
                  <a:lnTo>
                    <a:pt x="3" y="2"/>
                  </a:lnTo>
                  <a:lnTo>
                    <a:pt x="3" y="2"/>
                  </a:lnTo>
                  <a:lnTo>
                    <a:pt x="3" y="2"/>
                  </a:lnTo>
                  <a:lnTo>
                    <a:pt x="3" y="2"/>
                  </a:lnTo>
                  <a:lnTo>
                    <a:pt x="3" y="2"/>
                  </a:lnTo>
                  <a:lnTo>
                    <a:pt x="3" y="2"/>
                  </a:lnTo>
                  <a:lnTo>
                    <a:pt x="3" y="2"/>
                  </a:lnTo>
                  <a:lnTo>
                    <a:pt x="3" y="2"/>
                  </a:lnTo>
                  <a:lnTo>
                    <a:pt x="3" y="2"/>
                  </a:lnTo>
                  <a:lnTo>
                    <a:pt x="4" y="0"/>
                  </a:lnTo>
                  <a:lnTo>
                    <a:pt x="4" y="0"/>
                  </a:lnTo>
                  <a:lnTo>
                    <a:pt x="4" y="0"/>
                  </a:lnTo>
                  <a:lnTo>
                    <a:pt x="4"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26" name="Freeform 1492">
              <a:extLst>
                <a:ext uri="{FF2B5EF4-FFF2-40B4-BE49-F238E27FC236}">
                  <a16:creationId xmlns:a16="http://schemas.microsoft.com/office/drawing/2014/main" id="{51F8EB2A-D2E7-4B77-84AB-BB41D741E928}"/>
                </a:ext>
              </a:extLst>
            </p:cNvPr>
            <p:cNvSpPr>
              <a:spLocks/>
            </p:cNvSpPr>
            <p:nvPr/>
          </p:nvSpPr>
          <p:spPr bwMode="auto">
            <a:xfrm>
              <a:off x="6056164" y="1907536"/>
              <a:ext cx="4007" cy="4007"/>
            </a:xfrm>
            <a:custGeom>
              <a:avLst/>
              <a:gdLst>
                <a:gd name="T0" fmla="*/ 2 w 3"/>
                <a:gd name="T1" fmla="*/ 2 h 3"/>
                <a:gd name="T2" fmla="*/ 2 w 3"/>
                <a:gd name="T3" fmla="*/ 2 h 3"/>
                <a:gd name="T4" fmla="*/ 2 w 3"/>
                <a:gd name="T5" fmla="*/ 2 h 3"/>
                <a:gd name="T6" fmla="*/ 2 w 3"/>
                <a:gd name="T7" fmla="*/ 2 h 3"/>
                <a:gd name="T8" fmla="*/ 2 w 3"/>
                <a:gd name="T9" fmla="*/ 0 h 3"/>
                <a:gd name="T10" fmla="*/ 2 w 3"/>
                <a:gd name="T11" fmla="*/ 0 h 3"/>
                <a:gd name="T12" fmla="*/ 3 w 3"/>
                <a:gd name="T13" fmla="*/ 0 h 3"/>
                <a:gd name="T14" fmla="*/ 3 w 3"/>
                <a:gd name="T15" fmla="*/ 0 h 3"/>
                <a:gd name="T16" fmla="*/ 3 w 3"/>
                <a:gd name="T17" fmla="*/ 2 h 3"/>
                <a:gd name="T18" fmla="*/ 3 w 3"/>
                <a:gd name="T19" fmla="*/ 2 h 3"/>
                <a:gd name="T20" fmla="*/ 3 w 3"/>
                <a:gd name="T21" fmla="*/ 2 h 3"/>
                <a:gd name="T22" fmla="*/ 3 w 3"/>
                <a:gd name="T23" fmla="*/ 2 h 3"/>
                <a:gd name="T24" fmla="*/ 2 w 3"/>
                <a:gd name="T25" fmla="*/ 2 h 3"/>
                <a:gd name="T26" fmla="*/ 1 w 3"/>
                <a:gd name="T27" fmla="*/ 2 h 3"/>
                <a:gd name="T28" fmla="*/ 1 w 3"/>
                <a:gd name="T29" fmla="*/ 2 h 3"/>
                <a:gd name="T30" fmla="*/ 1 w 3"/>
                <a:gd name="T31" fmla="*/ 3 h 3"/>
                <a:gd name="T32" fmla="*/ 1 w 3"/>
                <a:gd name="T33" fmla="*/ 3 h 3"/>
                <a:gd name="T34" fmla="*/ 1 w 3"/>
                <a:gd name="T35" fmla="*/ 3 h 3"/>
                <a:gd name="T36" fmla="*/ 1 w 3"/>
                <a:gd name="T37" fmla="*/ 3 h 3"/>
                <a:gd name="T38" fmla="*/ 1 w 3"/>
                <a:gd name="T39" fmla="*/ 3 h 3"/>
                <a:gd name="T40" fmla="*/ 1 w 3"/>
                <a:gd name="T41" fmla="*/ 2 h 3"/>
                <a:gd name="T42" fmla="*/ 1 w 3"/>
                <a:gd name="T43" fmla="*/ 2 h 3"/>
                <a:gd name="T44" fmla="*/ 1 w 3"/>
                <a:gd name="T45" fmla="*/ 2 h 3"/>
                <a:gd name="T46" fmla="*/ 1 w 3"/>
                <a:gd name="T47" fmla="*/ 2 h 3"/>
                <a:gd name="T48" fmla="*/ 1 w 3"/>
                <a:gd name="T49" fmla="*/ 2 h 3"/>
                <a:gd name="T50" fmla="*/ 0 w 3"/>
                <a:gd name="T51" fmla="*/ 2 h 3"/>
                <a:gd name="T52" fmla="*/ 0 w 3"/>
                <a:gd name="T53" fmla="*/ 2 h 3"/>
                <a:gd name="T54" fmla="*/ 1 w 3"/>
                <a:gd name="T55" fmla="*/ 2 h 3"/>
                <a:gd name="T56" fmla="*/ 1 w 3"/>
                <a:gd name="T57" fmla="*/ 2 h 3"/>
                <a:gd name="T58" fmla="*/ 1 w 3"/>
                <a:gd name="T59" fmla="*/ 0 h 3"/>
                <a:gd name="T60" fmla="*/ 1 w 3"/>
                <a:gd name="T61" fmla="*/ 0 h 3"/>
                <a:gd name="T62" fmla="*/ 1 w 3"/>
                <a:gd name="T63" fmla="*/ 0 h 3"/>
                <a:gd name="T64" fmla="*/ 1 w 3"/>
                <a:gd name="T65" fmla="*/ 0 h 3"/>
                <a:gd name="T66" fmla="*/ 1 w 3"/>
                <a:gd name="T67" fmla="*/ 0 h 3"/>
                <a:gd name="T68" fmla="*/ 1 w 3"/>
                <a:gd name="T69" fmla="*/ 0 h 3"/>
                <a:gd name="T70" fmla="*/ 1 w 3"/>
                <a:gd name="T71" fmla="*/ 0 h 3"/>
                <a:gd name="T72" fmla="*/ 1 w 3"/>
                <a:gd name="T73" fmla="*/ 0 h 3"/>
                <a:gd name="T74" fmla="*/ 2 w 3"/>
                <a:gd name="T75" fmla="*/ 0 h 3"/>
                <a:gd name="T76" fmla="*/ 2 w 3"/>
                <a:gd name="T7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 h="3">
                  <a:moveTo>
                    <a:pt x="2" y="2"/>
                  </a:moveTo>
                  <a:lnTo>
                    <a:pt x="2" y="2"/>
                  </a:lnTo>
                  <a:lnTo>
                    <a:pt x="2" y="2"/>
                  </a:lnTo>
                  <a:lnTo>
                    <a:pt x="2" y="2"/>
                  </a:lnTo>
                  <a:lnTo>
                    <a:pt x="2" y="0"/>
                  </a:lnTo>
                  <a:lnTo>
                    <a:pt x="2" y="0"/>
                  </a:lnTo>
                  <a:lnTo>
                    <a:pt x="3" y="0"/>
                  </a:lnTo>
                  <a:lnTo>
                    <a:pt x="3" y="0"/>
                  </a:lnTo>
                  <a:lnTo>
                    <a:pt x="3" y="2"/>
                  </a:lnTo>
                  <a:lnTo>
                    <a:pt x="3" y="2"/>
                  </a:lnTo>
                  <a:lnTo>
                    <a:pt x="3" y="2"/>
                  </a:lnTo>
                  <a:lnTo>
                    <a:pt x="3" y="2"/>
                  </a:lnTo>
                  <a:lnTo>
                    <a:pt x="2" y="2"/>
                  </a:lnTo>
                  <a:lnTo>
                    <a:pt x="1" y="2"/>
                  </a:lnTo>
                  <a:lnTo>
                    <a:pt x="1" y="2"/>
                  </a:lnTo>
                  <a:lnTo>
                    <a:pt x="1" y="3"/>
                  </a:lnTo>
                  <a:lnTo>
                    <a:pt x="1" y="3"/>
                  </a:lnTo>
                  <a:lnTo>
                    <a:pt x="1" y="3"/>
                  </a:lnTo>
                  <a:lnTo>
                    <a:pt x="1" y="3"/>
                  </a:lnTo>
                  <a:lnTo>
                    <a:pt x="1" y="3"/>
                  </a:lnTo>
                  <a:lnTo>
                    <a:pt x="1" y="2"/>
                  </a:lnTo>
                  <a:lnTo>
                    <a:pt x="1" y="2"/>
                  </a:lnTo>
                  <a:lnTo>
                    <a:pt x="1" y="2"/>
                  </a:lnTo>
                  <a:lnTo>
                    <a:pt x="1" y="2"/>
                  </a:lnTo>
                  <a:lnTo>
                    <a:pt x="1" y="2"/>
                  </a:lnTo>
                  <a:lnTo>
                    <a:pt x="0" y="2"/>
                  </a:lnTo>
                  <a:lnTo>
                    <a:pt x="0" y="2"/>
                  </a:lnTo>
                  <a:lnTo>
                    <a:pt x="1" y="2"/>
                  </a:lnTo>
                  <a:lnTo>
                    <a:pt x="1" y="2"/>
                  </a:lnTo>
                  <a:lnTo>
                    <a:pt x="1" y="0"/>
                  </a:lnTo>
                  <a:lnTo>
                    <a:pt x="1" y="0"/>
                  </a:lnTo>
                  <a:lnTo>
                    <a:pt x="1" y="0"/>
                  </a:lnTo>
                  <a:lnTo>
                    <a:pt x="1" y="0"/>
                  </a:lnTo>
                  <a:lnTo>
                    <a:pt x="1" y="0"/>
                  </a:lnTo>
                  <a:lnTo>
                    <a:pt x="1" y="0"/>
                  </a:lnTo>
                  <a:lnTo>
                    <a:pt x="1" y="0"/>
                  </a:lnTo>
                  <a:lnTo>
                    <a:pt x="1" y="0"/>
                  </a:lnTo>
                  <a:lnTo>
                    <a:pt x="2" y="0"/>
                  </a:lnTo>
                  <a:lnTo>
                    <a:pt x="2"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27" name="Freeform 1493">
              <a:extLst>
                <a:ext uri="{FF2B5EF4-FFF2-40B4-BE49-F238E27FC236}">
                  <a16:creationId xmlns:a16="http://schemas.microsoft.com/office/drawing/2014/main" id="{FCD7D2F7-0A97-41C2-A0BD-E8E5184DAA34}"/>
                </a:ext>
              </a:extLst>
            </p:cNvPr>
            <p:cNvSpPr>
              <a:spLocks/>
            </p:cNvSpPr>
            <p:nvPr/>
          </p:nvSpPr>
          <p:spPr bwMode="auto">
            <a:xfrm>
              <a:off x="6085544" y="1907536"/>
              <a:ext cx="1336" cy="2671"/>
            </a:xfrm>
            <a:custGeom>
              <a:avLst/>
              <a:gdLst>
                <a:gd name="T0" fmla="*/ 1 w 1"/>
                <a:gd name="T1" fmla="*/ 2 h 2"/>
                <a:gd name="T2" fmla="*/ 0 w 1"/>
                <a:gd name="T3" fmla="*/ 2 h 2"/>
                <a:gd name="T4" fmla="*/ 0 w 1"/>
                <a:gd name="T5" fmla="*/ 2 h 2"/>
                <a:gd name="T6" fmla="*/ 0 w 1"/>
                <a:gd name="T7" fmla="*/ 0 h 2"/>
                <a:gd name="T8" fmla="*/ 0 w 1"/>
                <a:gd name="T9" fmla="*/ 0 h 2"/>
                <a:gd name="T10" fmla="*/ 0 w 1"/>
                <a:gd name="T11" fmla="*/ 0 h 2"/>
                <a:gd name="T12" fmla="*/ 0 w 1"/>
                <a:gd name="T13" fmla="*/ 0 h 2"/>
                <a:gd name="T14" fmla="*/ 0 w 1"/>
                <a:gd name="T15" fmla="*/ 0 h 2"/>
                <a:gd name="T16" fmla="*/ 0 w 1"/>
                <a:gd name="T17" fmla="*/ 0 h 2"/>
                <a:gd name="T18" fmla="*/ 1 w 1"/>
                <a:gd name="T19" fmla="*/ 0 h 2"/>
                <a:gd name="T20" fmla="*/ 1 w 1"/>
                <a:gd name="T21" fmla="*/ 0 h 2"/>
                <a:gd name="T22" fmla="*/ 1 w 1"/>
                <a:gd name="T2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2">
                  <a:moveTo>
                    <a:pt x="1" y="2"/>
                  </a:moveTo>
                  <a:lnTo>
                    <a:pt x="0" y="2"/>
                  </a:lnTo>
                  <a:lnTo>
                    <a:pt x="0" y="2"/>
                  </a:lnTo>
                  <a:lnTo>
                    <a:pt x="0" y="0"/>
                  </a:lnTo>
                  <a:lnTo>
                    <a:pt x="0" y="0"/>
                  </a:lnTo>
                  <a:lnTo>
                    <a:pt x="0" y="0"/>
                  </a:lnTo>
                  <a:lnTo>
                    <a:pt x="0" y="0"/>
                  </a:lnTo>
                  <a:lnTo>
                    <a:pt x="0" y="0"/>
                  </a:lnTo>
                  <a:lnTo>
                    <a:pt x="0" y="0"/>
                  </a:lnTo>
                  <a:lnTo>
                    <a:pt x="1" y="0"/>
                  </a:lnTo>
                  <a:lnTo>
                    <a:pt x="1" y="0"/>
                  </a:lnTo>
                  <a:lnTo>
                    <a:pt x="1"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28" name="Freeform 1494">
              <a:extLst>
                <a:ext uri="{FF2B5EF4-FFF2-40B4-BE49-F238E27FC236}">
                  <a16:creationId xmlns:a16="http://schemas.microsoft.com/office/drawing/2014/main" id="{01BF5C9C-F59C-4156-A82C-E94100E14194}"/>
                </a:ext>
              </a:extLst>
            </p:cNvPr>
            <p:cNvSpPr>
              <a:spLocks/>
            </p:cNvSpPr>
            <p:nvPr/>
          </p:nvSpPr>
          <p:spPr bwMode="auto">
            <a:xfrm>
              <a:off x="6065512" y="1907536"/>
              <a:ext cx="2671" cy="0"/>
            </a:xfrm>
            <a:custGeom>
              <a:avLst/>
              <a:gdLst>
                <a:gd name="T0" fmla="*/ 2 w 2"/>
                <a:gd name="T1" fmla="*/ 2 w 2"/>
                <a:gd name="T2" fmla="*/ 1 w 2"/>
                <a:gd name="T3" fmla="*/ 1 w 2"/>
                <a:gd name="T4" fmla="*/ 0 w 2"/>
                <a:gd name="T5" fmla="*/ 0 w 2"/>
                <a:gd name="T6" fmla="*/ 0 w 2"/>
                <a:gd name="T7" fmla="*/ 0 w 2"/>
                <a:gd name="T8" fmla="*/ 0 w 2"/>
                <a:gd name="T9" fmla="*/ 1 w 2"/>
                <a:gd name="T10" fmla="*/ 1 w 2"/>
                <a:gd name="T11" fmla="*/ 2 w 2"/>
                <a:gd name="T12" fmla="*/ 2 w 2"/>
                <a:gd name="T13" fmla="*/ 2 w 2"/>
                <a:gd name="T14"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Lst>
              <a:rect l="0" t="0" r="r" b="b"/>
              <a:pathLst>
                <a:path w="2">
                  <a:moveTo>
                    <a:pt x="2" y="0"/>
                  </a:moveTo>
                  <a:lnTo>
                    <a:pt x="2" y="0"/>
                  </a:lnTo>
                  <a:lnTo>
                    <a:pt x="1" y="0"/>
                  </a:lnTo>
                  <a:lnTo>
                    <a:pt x="1" y="0"/>
                  </a:lnTo>
                  <a:lnTo>
                    <a:pt x="0" y="0"/>
                  </a:lnTo>
                  <a:lnTo>
                    <a:pt x="0" y="0"/>
                  </a:lnTo>
                  <a:lnTo>
                    <a:pt x="0" y="0"/>
                  </a:lnTo>
                  <a:lnTo>
                    <a:pt x="0" y="0"/>
                  </a:lnTo>
                  <a:lnTo>
                    <a:pt x="0" y="0"/>
                  </a:lnTo>
                  <a:lnTo>
                    <a:pt x="1" y="0"/>
                  </a:lnTo>
                  <a:lnTo>
                    <a:pt x="1" y="0"/>
                  </a:lnTo>
                  <a:lnTo>
                    <a:pt x="2"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29" name="Freeform 1495">
              <a:extLst>
                <a:ext uri="{FF2B5EF4-FFF2-40B4-BE49-F238E27FC236}">
                  <a16:creationId xmlns:a16="http://schemas.microsoft.com/office/drawing/2014/main" id="{5FCCB2FD-B4F6-4B6A-B247-BC911D53B763}"/>
                </a:ext>
              </a:extLst>
            </p:cNvPr>
            <p:cNvSpPr>
              <a:spLocks/>
            </p:cNvSpPr>
            <p:nvPr/>
          </p:nvSpPr>
          <p:spPr bwMode="auto">
            <a:xfrm>
              <a:off x="6078867" y="1906201"/>
              <a:ext cx="6678" cy="4007"/>
            </a:xfrm>
            <a:custGeom>
              <a:avLst/>
              <a:gdLst>
                <a:gd name="T0" fmla="*/ 4 w 5"/>
                <a:gd name="T1" fmla="*/ 1 h 3"/>
                <a:gd name="T2" fmla="*/ 5 w 5"/>
                <a:gd name="T3" fmla="*/ 1 h 3"/>
                <a:gd name="T4" fmla="*/ 5 w 5"/>
                <a:gd name="T5" fmla="*/ 3 h 3"/>
                <a:gd name="T6" fmla="*/ 5 w 5"/>
                <a:gd name="T7" fmla="*/ 3 h 3"/>
                <a:gd name="T8" fmla="*/ 4 w 5"/>
                <a:gd name="T9" fmla="*/ 3 h 3"/>
                <a:gd name="T10" fmla="*/ 4 w 5"/>
                <a:gd name="T11" fmla="*/ 3 h 3"/>
                <a:gd name="T12" fmla="*/ 4 w 5"/>
                <a:gd name="T13" fmla="*/ 3 h 3"/>
                <a:gd name="T14" fmla="*/ 2 w 5"/>
                <a:gd name="T15" fmla="*/ 3 h 3"/>
                <a:gd name="T16" fmla="*/ 2 w 5"/>
                <a:gd name="T17" fmla="*/ 3 h 3"/>
                <a:gd name="T18" fmla="*/ 2 w 5"/>
                <a:gd name="T19" fmla="*/ 3 h 3"/>
                <a:gd name="T20" fmla="*/ 2 w 5"/>
                <a:gd name="T21" fmla="*/ 3 h 3"/>
                <a:gd name="T22" fmla="*/ 2 w 5"/>
                <a:gd name="T23" fmla="*/ 1 h 3"/>
                <a:gd name="T24" fmla="*/ 2 w 5"/>
                <a:gd name="T25" fmla="*/ 1 h 3"/>
                <a:gd name="T26" fmla="*/ 2 w 5"/>
                <a:gd name="T27" fmla="*/ 1 h 3"/>
                <a:gd name="T28" fmla="*/ 1 w 5"/>
                <a:gd name="T29" fmla="*/ 3 h 3"/>
                <a:gd name="T30" fmla="*/ 1 w 5"/>
                <a:gd name="T31" fmla="*/ 3 h 3"/>
                <a:gd name="T32" fmla="*/ 1 w 5"/>
                <a:gd name="T33" fmla="*/ 3 h 3"/>
                <a:gd name="T34" fmla="*/ 0 w 5"/>
                <a:gd name="T35" fmla="*/ 3 h 3"/>
                <a:gd name="T36" fmla="*/ 0 w 5"/>
                <a:gd name="T37" fmla="*/ 1 h 3"/>
                <a:gd name="T38" fmla="*/ 0 w 5"/>
                <a:gd name="T39" fmla="*/ 1 h 3"/>
                <a:gd name="T40" fmla="*/ 0 w 5"/>
                <a:gd name="T41" fmla="*/ 1 h 3"/>
                <a:gd name="T42" fmla="*/ 0 w 5"/>
                <a:gd name="T43" fmla="*/ 0 h 3"/>
                <a:gd name="T44" fmla="*/ 1 w 5"/>
                <a:gd name="T45" fmla="*/ 0 h 3"/>
                <a:gd name="T46" fmla="*/ 1 w 5"/>
                <a:gd name="T47" fmla="*/ 0 h 3"/>
                <a:gd name="T48" fmla="*/ 1 w 5"/>
                <a:gd name="T49" fmla="*/ 0 h 3"/>
                <a:gd name="T50" fmla="*/ 1 w 5"/>
                <a:gd name="T51" fmla="*/ 0 h 3"/>
                <a:gd name="T52" fmla="*/ 4 w 5"/>
                <a:gd name="T53" fmla="*/ 0 h 3"/>
                <a:gd name="T54" fmla="*/ 5 w 5"/>
                <a:gd name="T55" fmla="*/ 0 h 3"/>
                <a:gd name="T56" fmla="*/ 5 w 5"/>
                <a:gd name="T57" fmla="*/ 0 h 3"/>
                <a:gd name="T58" fmla="*/ 5 w 5"/>
                <a:gd name="T59" fmla="*/ 1 h 3"/>
                <a:gd name="T60" fmla="*/ 4 w 5"/>
                <a:gd name="T61" fmla="*/ 1 h 3"/>
                <a:gd name="T62" fmla="*/ 4 w 5"/>
                <a:gd name="T6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 h="3">
                  <a:moveTo>
                    <a:pt x="4" y="1"/>
                  </a:moveTo>
                  <a:lnTo>
                    <a:pt x="4" y="1"/>
                  </a:lnTo>
                  <a:lnTo>
                    <a:pt x="5" y="1"/>
                  </a:lnTo>
                  <a:lnTo>
                    <a:pt x="5" y="1"/>
                  </a:lnTo>
                  <a:lnTo>
                    <a:pt x="5" y="3"/>
                  </a:lnTo>
                  <a:lnTo>
                    <a:pt x="5" y="3"/>
                  </a:lnTo>
                  <a:lnTo>
                    <a:pt x="5" y="3"/>
                  </a:lnTo>
                  <a:lnTo>
                    <a:pt x="5" y="3"/>
                  </a:lnTo>
                  <a:lnTo>
                    <a:pt x="4" y="3"/>
                  </a:lnTo>
                  <a:lnTo>
                    <a:pt x="4" y="3"/>
                  </a:lnTo>
                  <a:lnTo>
                    <a:pt x="4" y="3"/>
                  </a:lnTo>
                  <a:lnTo>
                    <a:pt x="4" y="3"/>
                  </a:lnTo>
                  <a:lnTo>
                    <a:pt x="4" y="3"/>
                  </a:lnTo>
                  <a:lnTo>
                    <a:pt x="4" y="3"/>
                  </a:lnTo>
                  <a:lnTo>
                    <a:pt x="4" y="3"/>
                  </a:lnTo>
                  <a:lnTo>
                    <a:pt x="2" y="3"/>
                  </a:lnTo>
                  <a:lnTo>
                    <a:pt x="2" y="3"/>
                  </a:lnTo>
                  <a:lnTo>
                    <a:pt x="2" y="3"/>
                  </a:lnTo>
                  <a:lnTo>
                    <a:pt x="2" y="3"/>
                  </a:lnTo>
                  <a:lnTo>
                    <a:pt x="2" y="3"/>
                  </a:lnTo>
                  <a:lnTo>
                    <a:pt x="2" y="3"/>
                  </a:lnTo>
                  <a:lnTo>
                    <a:pt x="2" y="3"/>
                  </a:lnTo>
                  <a:lnTo>
                    <a:pt x="2" y="1"/>
                  </a:lnTo>
                  <a:lnTo>
                    <a:pt x="2" y="1"/>
                  </a:lnTo>
                  <a:lnTo>
                    <a:pt x="2" y="1"/>
                  </a:lnTo>
                  <a:lnTo>
                    <a:pt x="2" y="1"/>
                  </a:lnTo>
                  <a:lnTo>
                    <a:pt x="2" y="1"/>
                  </a:lnTo>
                  <a:lnTo>
                    <a:pt x="2" y="1"/>
                  </a:lnTo>
                  <a:lnTo>
                    <a:pt x="2" y="3"/>
                  </a:lnTo>
                  <a:lnTo>
                    <a:pt x="1" y="3"/>
                  </a:lnTo>
                  <a:lnTo>
                    <a:pt x="1" y="3"/>
                  </a:lnTo>
                  <a:lnTo>
                    <a:pt x="1" y="3"/>
                  </a:lnTo>
                  <a:lnTo>
                    <a:pt x="1" y="3"/>
                  </a:lnTo>
                  <a:lnTo>
                    <a:pt x="1" y="3"/>
                  </a:lnTo>
                  <a:lnTo>
                    <a:pt x="1" y="3"/>
                  </a:lnTo>
                  <a:lnTo>
                    <a:pt x="0" y="3"/>
                  </a:lnTo>
                  <a:lnTo>
                    <a:pt x="0" y="1"/>
                  </a:lnTo>
                  <a:lnTo>
                    <a:pt x="0" y="1"/>
                  </a:lnTo>
                  <a:lnTo>
                    <a:pt x="0" y="1"/>
                  </a:lnTo>
                  <a:lnTo>
                    <a:pt x="0" y="1"/>
                  </a:lnTo>
                  <a:lnTo>
                    <a:pt x="0" y="1"/>
                  </a:lnTo>
                  <a:lnTo>
                    <a:pt x="0" y="1"/>
                  </a:lnTo>
                  <a:lnTo>
                    <a:pt x="0" y="0"/>
                  </a:lnTo>
                  <a:lnTo>
                    <a:pt x="0" y="0"/>
                  </a:lnTo>
                  <a:lnTo>
                    <a:pt x="1" y="0"/>
                  </a:lnTo>
                  <a:lnTo>
                    <a:pt x="1" y="0"/>
                  </a:lnTo>
                  <a:lnTo>
                    <a:pt x="1" y="0"/>
                  </a:lnTo>
                  <a:lnTo>
                    <a:pt x="1" y="0"/>
                  </a:lnTo>
                  <a:lnTo>
                    <a:pt x="1" y="0"/>
                  </a:lnTo>
                  <a:lnTo>
                    <a:pt x="1" y="0"/>
                  </a:lnTo>
                  <a:lnTo>
                    <a:pt x="1" y="0"/>
                  </a:lnTo>
                  <a:lnTo>
                    <a:pt x="1" y="0"/>
                  </a:lnTo>
                  <a:lnTo>
                    <a:pt x="2" y="0"/>
                  </a:lnTo>
                  <a:lnTo>
                    <a:pt x="4" y="0"/>
                  </a:lnTo>
                  <a:lnTo>
                    <a:pt x="4" y="0"/>
                  </a:lnTo>
                  <a:lnTo>
                    <a:pt x="5" y="0"/>
                  </a:lnTo>
                  <a:lnTo>
                    <a:pt x="5" y="0"/>
                  </a:lnTo>
                  <a:lnTo>
                    <a:pt x="5" y="0"/>
                  </a:lnTo>
                  <a:lnTo>
                    <a:pt x="5" y="0"/>
                  </a:lnTo>
                  <a:lnTo>
                    <a:pt x="5" y="1"/>
                  </a:lnTo>
                  <a:lnTo>
                    <a:pt x="4" y="1"/>
                  </a:lnTo>
                  <a:lnTo>
                    <a:pt x="4" y="1"/>
                  </a:lnTo>
                  <a:lnTo>
                    <a:pt x="4" y="1"/>
                  </a:lnTo>
                  <a:lnTo>
                    <a:pt x="4"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30" name="Freeform 1496">
              <a:extLst>
                <a:ext uri="{FF2B5EF4-FFF2-40B4-BE49-F238E27FC236}">
                  <a16:creationId xmlns:a16="http://schemas.microsoft.com/office/drawing/2014/main" id="{484DC379-BE4A-4E34-B0AC-2034E2D12537}"/>
                </a:ext>
              </a:extLst>
            </p:cNvPr>
            <p:cNvSpPr>
              <a:spLocks/>
            </p:cNvSpPr>
            <p:nvPr/>
          </p:nvSpPr>
          <p:spPr bwMode="auto">
            <a:xfrm>
              <a:off x="6060170" y="1906201"/>
              <a:ext cx="2671" cy="1336"/>
            </a:xfrm>
            <a:custGeom>
              <a:avLst/>
              <a:gdLst>
                <a:gd name="T0" fmla="*/ 2 w 2"/>
                <a:gd name="T1" fmla="*/ 0 h 1"/>
                <a:gd name="T2" fmla="*/ 2 w 2"/>
                <a:gd name="T3" fmla="*/ 0 h 1"/>
                <a:gd name="T4" fmla="*/ 2 w 2"/>
                <a:gd name="T5" fmla="*/ 0 h 1"/>
                <a:gd name="T6" fmla="*/ 2 w 2"/>
                <a:gd name="T7" fmla="*/ 0 h 1"/>
                <a:gd name="T8" fmla="*/ 2 w 2"/>
                <a:gd name="T9" fmla="*/ 0 h 1"/>
                <a:gd name="T10" fmla="*/ 2 w 2"/>
                <a:gd name="T11" fmla="*/ 0 h 1"/>
                <a:gd name="T12" fmla="*/ 2 w 2"/>
                <a:gd name="T13" fmla="*/ 0 h 1"/>
                <a:gd name="T14" fmla="*/ 2 w 2"/>
                <a:gd name="T15" fmla="*/ 0 h 1"/>
                <a:gd name="T16" fmla="*/ 2 w 2"/>
                <a:gd name="T17" fmla="*/ 0 h 1"/>
                <a:gd name="T18" fmla="*/ 2 w 2"/>
                <a:gd name="T19" fmla="*/ 1 h 1"/>
                <a:gd name="T20" fmla="*/ 2 w 2"/>
                <a:gd name="T21" fmla="*/ 1 h 1"/>
                <a:gd name="T22" fmla="*/ 2 w 2"/>
                <a:gd name="T23" fmla="*/ 1 h 1"/>
                <a:gd name="T24" fmla="*/ 2 w 2"/>
                <a:gd name="T25" fmla="*/ 1 h 1"/>
                <a:gd name="T26" fmla="*/ 2 w 2"/>
                <a:gd name="T27" fmla="*/ 1 h 1"/>
                <a:gd name="T28" fmla="*/ 2 w 2"/>
                <a:gd name="T29" fmla="*/ 1 h 1"/>
                <a:gd name="T30" fmla="*/ 2 w 2"/>
                <a:gd name="T31" fmla="*/ 1 h 1"/>
                <a:gd name="T32" fmla="*/ 1 w 2"/>
                <a:gd name="T33" fmla="*/ 1 h 1"/>
                <a:gd name="T34" fmla="*/ 1 w 2"/>
                <a:gd name="T35" fmla="*/ 1 h 1"/>
                <a:gd name="T36" fmla="*/ 0 w 2"/>
                <a:gd name="T37" fmla="*/ 1 h 1"/>
                <a:gd name="T38" fmla="*/ 0 w 2"/>
                <a:gd name="T39" fmla="*/ 1 h 1"/>
                <a:gd name="T40" fmla="*/ 0 w 2"/>
                <a:gd name="T41" fmla="*/ 1 h 1"/>
                <a:gd name="T42" fmla="*/ 0 w 2"/>
                <a:gd name="T43" fmla="*/ 1 h 1"/>
                <a:gd name="T44" fmla="*/ 0 w 2"/>
                <a:gd name="T45" fmla="*/ 0 h 1"/>
                <a:gd name="T46" fmla="*/ 1 w 2"/>
                <a:gd name="T47" fmla="*/ 0 h 1"/>
                <a:gd name="T48" fmla="*/ 1 w 2"/>
                <a:gd name="T49" fmla="*/ 1 h 1"/>
                <a:gd name="T50" fmla="*/ 1 w 2"/>
                <a:gd name="T51" fmla="*/ 1 h 1"/>
                <a:gd name="T52" fmla="*/ 1 w 2"/>
                <a:gd name="T53" fmla="*/ 1 h 1"/>
                <a:gd name="T54" fmla="*/ 1 w 2"/>
                <a:gd name="T55" fmla="*/ 0 h 1"/>
                <a:gd name="T56" fmla="*/ 1 w 2"/>
                <a:gd name="T57" fmla="*/ 0 h 1"/>
                <a:gd name="T58" fmla="*/ 1 w 2"/>
                <a:gd name="T59" fmla="*/ 0 h 1"/>
                <a:gd name="T60" fmla="*/ 1 w 2"/>
                <a:gd name="T61" fmla="*/ 0 h 1"/>
                <a:gd name="T62" fmla="*/ 1 w 2"/>
                <a:gd name="T63" fmla="*/ 0 h 1"/>
                <a:gd name="T64" fmla="*/ 1 w 2"/>
                <a:gd name="T65" fmla="*/ 0 h 1"/>
                <a:gd name="T66" fmla="*/ 1 w 2"/>
                <a:gd name="T67" fmla="*/ 0 h 1"/>
                <a:gd name="T68" fmla="*/ 1 w 2"/>
                <a:gd name="T69" fmla="*/ 0 h 1"/>
                <a:gd name="T70" fmla="*/ 1 w 2"/>
                <a:gd name="T71" fmla="*/ 0 h 1"/>
                <a:gd name="T72" fmla="*/ 1 w 2"/>
                <a:gd name="T73" fmla="*/ 0 h 1"/>
                <a:gd name="T74" fmla="*/ 1 w 2"/>
                <a:gd name="T75" fmla="*/ 0 h 1"/>
                <a:gd name="T76" fmla="*/ 1 w 2"/>
                <a:gd name="T77" fmla="*/ 0 h 1"/>
                <a:gd name="T78" fmla="*/ 1 w 2"/>
                <a:gd name="T79" fmla="*/ 0 h 1"/>
                <a:gd name="T80" fmla="*/ 1 w 2"/>
                <a:gd name="T81" fmla="*/ 0 h 1"/>
                <a:gd name="T82" fmla="*/ 1 w 2"/>
                <a:gd name="T83" fmla="*/ 0 h 1"/>
                <a:gd name="T84" fmla="*/ 1 w 2"/>
                <a:gd name="T85" fmla="*/ 0 h 1"/>
                <a:gd name="T86" fmla="*/ 1 w 2"/>
                <a:gd name="T87" fmla="*/ 0 h 1"/>
                <a:gd name="T88" fmla="*/ 1 w 2"/>
                <a:gd name="T89" fmla="*/ 0 h 1"/>
                <a:gd name="T90" fmla="*/ 1 w 2"/>
                <a:gd name="T91" fmla="*/ 0 h 1"/>
                <a:gd name="T92" fmla="*/ 1 w 2"/>
                <a:gd name="T93" fmla="*/ 0 h 1"/>
                <a:gd name="T94" fmla="*/ 2 w 2"/>
                <a:gd name="T95" fmla="*/ 0 h 1"/>
                <a:gd name="T96" fmla="*/ 2 w 2"/>
                <a:gd name="T97" fmla="*/ 0 h 1"/>
                <a:gd name="T98" fmla="*/ 2 w 2"/>
                <a:gd name="T99" fmla="*/ 0 h 1"/>
                <a:gd name="T100" fmla="*/ 2 w 2"/>
                <a:gd name="T10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 h="1">
                  <a:moveTo>
                    <a:pt x="2" y="0"/>
                  </a:moveTo>
                  <a:lnTo>
                    <a:pt x="2" y="0"/>
                  </a:lnTo>
                  <a:lnTo>
                    <a:pt x="2" y="0"/>
                  </a:lnTo>
                  <a:lnTo>
                    <a:pt x="2" y="0"/>
                  </a:lnTo>
                  <a:lnTo>
                    <a:pt x="2" y="0"/>
                  </a:lnTo>
                  <a:lnTo>
                    <a:pt x="2" y="0"/>
                  </a:lnTo>
                  <a:lnTo>
                    <a:pt x="2" y="0"/>
                  </a:lnTo>
                  <a:lnTo>
                    <a:pt x="2" y="0"/>
                  </a:lnTo>
                  <a:lnTo>
                    <a:pt x="2" y="0"/>
                  </a:lnTo>
                  <a:lnTo>
                    <a:pt x="2" y="1"/>
                  </a:lnTo>
                  <a:lnTo>
                    <a:pt x="2" y="1"/>
                  </a:lnTo>
                  <a:lnTo>
                    <a:pt x="2" y="1"/>
                  </a:lnTo>
                  <a:lnTo>
                    <a:pt x="2" y="1"/>
                  </a:lnTo>
                  <a:lnTo>
                    <a:pt x="2" y="1"/>
                  </a:lnTo>
                  <a:lnTo>
                    <a:pt x="2" y="1"/>
                  </a:lnTo>
                  <a:lnTo>
                    <a:pt x="2" y="1"/>
                  </a:lnTo>
                  <a:lnTo>
                    <a:pt x="1" y="1"/>
                  </a:lnTo>
                  <a:lnTo>
                    <a:pt x="1" y="1"/>
                  </a:lnTo>
                  <a:lnTo>
                    <a:pt x="0" y="1"/>
                  </a:lnTo>
                  <a:lnTo>
                    <a:pt x="0" y="1"/>
                  </a:lnTo>
                  <a:lnTo>
                    <a:pt x="0" y="1"/>
                  </a:lnTo>
                  <a:lnTo>
                    <a:pt x="0" y="1"/>
                  </a:lnTo>
                  <a:lnTo>
                    <a:pt x="0" y="0"/>
                  </a:lnTo>
                  <a:lnTo>
                    <a:pt x="1" y="0"/>
                  </a:lnTo>
                  <a:lnTo>
                    <a:pt x="1" y="1"/>
                  </a:lnTo>
                  <a:lnTo>
                    <a:pt x="1" y="1"/>
                  </a:lnTo>
                  <a:lnTo>
                    <a:pt x="1" y="1"/>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2"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31" name="Freeform 1497">
              <a:extLst>
                <a:ext uri="{FF2B5EF4-FFF2-40B4-BE49-F238E27FC236}">
                  <a16:creationId xmlns:a16="http://schemas.microsoft.com/office/drawing/2014/main" id="{C654F7BB-54D4-4FD9-9C93-A6B64BDF865D}"/>
                </a:ext>
              </a:extLst>
            </p:cNvPr>
            <p:cNvSpPr>
              <a:spLocks/>
            </p:cNvSpPr>
            <p:nvPr/>
          </p:nvSpPr>
          <p:spPr bwMode="auto">
            <a:xfrm>
              <a:off x="6068183" y="1904865"/>
              <a:ext cx="8013" cy="5342"/>
            </a:xfrm>
            <a:custGeom>
              <a:avLst/>
              <a:gdLst>
                <a:gd name="T0" fmla="*/ 1 w 6"/>
                <a:gd name="T1" fmla="*/ 1 h 4"/>
                <a:gd name="T2" fmla="*/ 1 w 6"/>
                <a:gd name="T3" fmla="*/ 1 h 4"/>
                <a:gd name="T4" fmla="*/ 1 w 6"/>
                <a:gd name="T5" fmla="*/ 1 h 4"/>
                <a:gd name="T6" fmla="*/ 1 w 6"/>
                <a:gd name="T7" fmla="*/ 1 h 4"/>
                <a:gd name="T8" fmla="*/ 2 w 6"/>
                <a:gd name="T9" fmla="*/ 1 h 4"/>
                <a:gd name="T10" fmla="*/ 2 w 6"/>
                <a:gd name="T11" fmla="*/ 1 h 4"/>
                <a:gd name="T12" fmla="*/ 2 w 6"/>
                <a:gd name="T13" fmla="*/ 1 h 4"/>
                <a:gd name="T14" fmla="*/ 2 w 6"/>
                <a:gd name="T15" fmla="*/ 1 h 4"/>
                <a:gd name="T16" fmla="*/ 2 w 6"/>
                <a:gd name="T17" fmla="*/ 1 h 4"/>
                <a:gd name="T18" fmla="*/ 2 w 6"/>
                <a:gd name="T19" fmla="*/ 1 h 4"/>
                <a:gd name="T20" fmla="*/ 2 w 6"/>
                <a:gd name="T21" fmla="*/ 1 h 4"/>
                <a:gd name="T22" fmla="*/ 2 w 6"/>
                <a:gd name="T23" fmla="*/ 1 h 4"/>
                <a:gd name="T24" fmla="*/ 3 w 6"/>
                <a:gd name="T25" fmla="*/ 1 h 4"/>
                <a:gd name="T26" fmla="*/ 3 w 6"/>
                <a:gd name="T27" fmla="*/ 1 h 4"/>
                <a:gd name="T28" fmla="*/ 3 w 6"/>
                <a:gd name="T29" fmla="*/ 1 h 4"/>
                <a:gd name="T30" fmla="*/ 3 w 6"/>
                <a:gd name="T31" fmla="*/ 2 h 4"/>
                <a:gd name="T32" fmla="*/ 3 w 6"/>
                <a:gd name="T33" fmla="*/ 2 h 4"/>
                <a:gd name="T34" fmla="*/ 5 w 6"/>
                <a:gd name="T35" fmla="*/ 2 h 4"/>
                <a:gd name="T36" fmla="*/ 6 w 6"/>
                <a:gd name="T37" fmla="*/ 2 h 4"/>
                <a:gd name="T38" fmla="*/ 6 w 6"/>
                <a:gd name="T39" fmla="*/ 2 h 4"/>
                <a:gd name="T40" fmla="*/ 6 w 6"/>
                <a:gd name="T41" fmla="*/ 2 h 4"/>
                <a:gd name="T42" fmla="*/ 5 w 6"/>
                <a:gd name="T43" fmla="*/ 2 h 4"/>
                <a:gd name="T44" fmla="*/ 5 w 6"/>
                <a:gd name="T45" fmla="*/ 2 h 4"/>
                <a:gd name="T46" fmla="*/ 5 w 6"/>
                <a:gd name="T47" fmla="*/ 2 h 4"/>
                <a:gd name="T48" fmla="*/ 5 w 6"/>
                <a:gd name="T49" fmla="*/ 4 h 4"/>
                <a:gd name="T50" fmla="*/ 5 w 6"/>
                <a:gd name="T51" fmla="*/ 4 h 4"/>
                <a:gd name="T52" fmla="*/ 5 w 6"/>
                <a:gd name="T53" fmla="*/ 4 h 4"/>
                <a:gd name="T54" fmla="*/ 2 w 6"/>
                <a:gd name="T55" fmla="*/ 4 h 4"/>
                <a:gd name="T56" fmla="*/ 2 w 6"/>
                <a:gd name="T57" fmla="*/ 4 h 4"/>
                <a:gd name="T58" fmla="*/ 2 w 6"/>
                <a:gd name="T59" fmla="*/ 2 h 4"/>
                <a:gd name="T60" fmla="*/ 2 w 6"/>
                <a:gd name="T61" fmla="*/ 2 h 4"/>
                <a:gd name="T62" fmla="*/ 2 w 6"/>
                <a:gd name="T63" fmla="*/ 2 h 4"/>
                <a:gd name="T64" fmla="*/ 2 w 6"/>
                <a:gd name="T65" fmla="*/ 2 h 4"/>
                <a:gd name="T66" fmla="*/ 2 w 6"/>
                <a:gd name="T67" fmla="*/ 2 h 4"/>
                <a:gd name="T68" fmla="*/ 1 w 6"/>
                <a:gd name="T69" fmla="*/ 2 h 4"/>
                <a:gd name="T70" fmla="*/ 1 w 6"/>
                <a:gd name="T71" fmla="*/ 2 h 4"/>
                <a:gd name="T72" fmla="*/ 1 w 6"/>
                <a:gd name="T73" fmla="*/ 1 h 4"/>
                <a:gd name="T74" fmla="*/ 1 w 6"/>
                <a:gd name="T75" fmla="*/ 1 h 4"/>
                <a:gd name="T76" fmla="*/ 1 w 6"/>
                <a:gd name="T77" fmla="*/ 1 h 4"/>
                <a:gd name="T78" fmla="*/ 1 w 6"/>
                <a:gd name="T79" fmla="*/ 1 h 4"/>
                <a:gd name="T80" fmla="*/ 0 w 6"/>
                <a:gd name="T81" fmla="*/ 1 h 4"/>
                <a:gd name="T82" fmla="*/ 0 w 6"/>
                <a:gd name="T83" fmla="*/ 1 h 4"/>
                <a:gd name="T84" fmla="*/ 0 w 6"/>
                <a:gd name="T85" fmla="*/ 1 h 4"/>
                <a:gd name="T86" fmla="*/ 0 w 6"/>
                <a:gd name="T87" fmla="*/ 1 h 4"/>
                <a:gd name="T88" fmla="*/ 0 w 6"/>
                <a:gd name="T89" fmla="*/ 1 h 4"/>
                <a:gd name="T90" fmla="*/ 0 w 6"/>
                <a:gd name="T91" fmla="*/ 1 h 4"/>
                <a:gd name="T92" fmla="*/ 0 w 6"/>
                <a:gd name="T93" fmla="*/ 1 h 4"/>
                <a:gd name="T94" fmla="*/ 0 w 6"/>
                <a:gd name="T95" fmla="*/ 0 h 4"/>
                <a:gd name="T96" fmla="*/ 0 w 6"/>
                <a:gd name="T97" fmla="*/ 0 h 4"/>
                <a:gd name="T98" fmla="*/ 1 w 6"/>
                <a:gd name="T99" fmla="*/ 0 h 4"/>
                <a:gd name="T100" fmla="*/ 1 w 6"/>
                <a:gd name="T101" fmla="*/ 0 h 4"/>
                <a:gd name="T102" fmla="*/ 1 w 6"/>
                <a:gd name="T103" fmla="*/ 0 h 4"/>
                <a:gd name="T104" fmla="*/ 1 w 6"/>
                <a:gd name="T105" fmla="*/ 0 h 4"/>
                <a:gd name="T106" fmla="*/ 1 w 6"/>
                <a:gd name="T10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 h="4">
                  <a:moveTo>
                    <a:pt x="1" y="1"/>
                  </a:moveTo>
                  <a:lnTo>
                    <a:pt x="1" y="1"/>
                  </a:lnTo>
                  <a:lnTo>
                    <a:pt x="1" y="1"/>
                  </a:lnTo>
                  <a:lnTo>
                    <a:pt x="1" y="1"/>
                  </a:lnTo>
                  <a:lnTo>
                    <a:pt x="2" y="1"/>
                  </a:lnTo>
                  <a:lnTo>
                    <a:pt x="2" y="1"/>
                  </a:lnTo>
                  <a:lnTo>
                    <a:pt x="2" y="1"/>
                  </a:lnTo>
                  <a:lnTo>
                    <a:pt x="2" y="1"/>
                  </a:lnTo>
                  <a:lnTo>
                    <a:pt x="2" y="1"/>
                  </a:lnTo>
                  <a:lnTo>
                    <a:pt x="2" y="1"/>
                  </a:lnTo>
                  <a:lnTo>
                    <a:pt x="2" y="1"/>
                  </a:lnTo>
                  <a:lnTo>
                    <a:pt x="2" y="1"/>
                  </a:lnTo>
                  <a:lnTo>
                    <a:pt x="3" y="1"/>
                  </a:lnTo>
                  <a:lnTo>
                    <a:pt x="3" y="1"/>
                  </a:lnTo>
                  <a:lnTo>
                    <a:pt x="3" y="1"/>
                  </a:lnTo>
                  <a:lnTo>
                    <a:pt x="3" y="2"/>
                  </a:lnTo>
                  <a:lnTo>
                    <a:pt x="3" y="2"/>
                  </a:lnTo>
                  <a:lnTo>
                    <a:pt x="5" y="2"/>
                  </a:lnTo>
                  <a:lnTo>
                    <a:pt x="6" y="2"/>
                  </a:lnTo>
                  <a:lnTo>
                    <a:pt x="6" y="2"/>
                  </a:lnTo>
                  <a:lnTo>
                    <a:pt x="6" y="2"/>
                  </a:lnTo>
                  <a:lnTo>
                    <a:pt x="5" y="2"/>
                  </a:lnTo>
                  <a:lnTo>
                    <a:pt x="5" y="2"/>
                  </a:lnTo>
                  <a:lnTo>
                    <a:pt x="5" y="2"/>
                  </a:lnTo>
                  <a:lnTo>
                    <a:pt x="5" y="4"/>
                  </a:lnTo>
                  <a:lnTo>
                    <a:pt x="5" y="4"/>
                  </a:lnTo>
                  <a:lnTo>
                    <a:pt x="5" y="4"/>
                  </a:lnTo>
                  <a:lnTo>
                    <a:pt x="2" y="4"/>
                  </a:lnTo>
                  <a:lnTo>
                    <a:pt x="2" y="4"/>
                  </a:lnTo>
                  <a:lnTo>
                    <a:pt x="2" y="2"/>
                  </a:lnTo>
                  <a:lnTo>
                    <a:pt x="2" y="2"/>
                  </a:lnTo>
                  <a:lnTo>
                    <a:pt x="2" y="2"/>
                  </a:lnTo>
                  <a:lnTo>
                    <a:pt x="2" y="2"/>
                  </a:lnTo>
                  <a:lnTo>
                    <a:pt x="2" y="2"/>
                  </a:lnTo>
                  <a:lnTo>
                    <a:pt x="1" y="2"/>
                  </a:lnTo>
                  <a:lnTo>
                    <a:pt x="1" y="2"/>
                  </a:lnTo>
                  <a:lnTo>
                    <a:pt x="1" y="1"/>
                  </a:lnTo>
                  <a:lnTo>
                    <a:pt x="1" y="1"/>
                  </a:lnTo>
                  <a:lnTo>
                    <a:pt x="1" y="1"/>
                  </a:lnTo>
                  <a:lnTo>
                    <a:pt x="1" y="1"/>
                  </a:lnTo>
                  <a:lnTo>
                    <a:pt x="0" y="1"/>
                  </a:lnTo>
                  <a:lnTo>
                    <a:pt x="0" y="1"/>
                  </a:lnTo>
                  <a:lnTo>
                    <a:pt x="0" y="1"/>
                  </a:lnTo>
                  <a:lnTo>
                    <a:pt x="0" y="1"/>
                  </a:lnTo>
                  <a:lnTo>
                    <a:pt x="0" y="1"/>
                  </a:lnTo>
                  <a:lnTo>
                    <a:pt x="0" y="1"/>
                  </a:lnTo>
                  <a:lnTo>
                    <a:pt x="0" y="1"/>
                  </a:lnTo>
                  <a:lnTo>
                    <a:pt x="0" y="0"/>
                  </a:lnTo>
                  <a:lnTo>
                    <a:pt x="0" y="0"/>
                  </a:lnTo>
                  <a:lnTo>
                    <a:pt x="1" y="0"/>
                  </a:lnTo>
                  <a:lnTo>
                    <a:pt x="1" y="0"/>
                  </a:lnTo>
                  <a:lnTo>
                    <a:pt x="1" y="0"/>
                  </a:lnTo>
                  <a:lnTo>
                    <a:pt x="1" y="0"/>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32" name="Freeform 1498">
              <a:extLst>
                <a:ext uri="{FF2B5EF4-FFF2-40B4-BE49-F238E27FC236}">
                  <a16:creationId xmlns:a16="http://schemas.microsoft.com/office/drawing/2014/main" id="{94537916-AE53-4B8A-944E-B3E4A7AD1A64}"/>
                </a:ext>
              </a:extLst>
            </p:cNvPr>
            <p:cNvSpPr>
              <a:spLocks/>
            </p:cNvSpPr>
            <p:nvPr/>
          </p:nvSpPr>
          <p:spPr bwMode="auto">
            <a:xfrm>
              <a:off x="6096228" y="1903530"/>
              <a:ext cx="1336" cy="1336"/>
            </a:xfrm>
            <a:custGeom>
              <a:avLst/>
              <a:gdLst>
                <a:gd name="T0" fmla="*/ 0 w 1"/>
                <a:gd name="T1" fmla="*/ 1 h 1"/>
                <a:gd name="T2" fmla="*/ 0 w 1"/>
                <a:gd name="T3" fmla="*/ 1 h 1"/>
                <a:gd name="T4" fmla="*/ 0 w 1"/>
                <a:gd name="T5" fmla="*/ 1 h 1"/>
                <a:gd name="T6" fmla="*/ 0 w 1"/>
                <a:gd name="T7" fmla="*/ 1 h 1"/>
                <a:gd name="T8" fmla="*/ 0 w 1"/>
                <a:gd name="T9" fmla="*/ 1 h 1"/>
                <a:gd name="T10" fmla="*/ 0 w 1"/>
                <a:gd name="T11" fmla="*/ 1 h 1"/>
                <a:gd name="T12" fmla="*/ 0 w 1"/>
                <a:gd name="T13" fmla="*/ 1 h 1"/>
                <a:gd name="T14" fmla="*/ 0 w 1"/>
                <a:gd name="T15" fmla="*/ 0 h 1"/>
                <a:gd name="T16" fmla="*/ 0 w 1"/>
                <a:gd name="T17" fmla="*/ 0 h 1"/>
                <a:gd name="T18" fmla="*/ 0 w 1"/>
                <a:gd name="T19" fmla="*/ 0 h 1"/>
                <a:gd name="T20" fmla="*/ 0 w 1"/>
                <a:gd name="T21" fmla="*/ 0 h 1"/>
                <a:gd name="T22" fmla="*/ 0 w 1"/>
                <a:gd name="T23" fmla="*/ 0 h 1"/>
                <a:gd name="T24" fmla="*/ 0 w 1"/>
                <a:gd name="T25" fmla="*/ 0 h 1"/>
                <a:gd name="T26" fmla="*/ 0 w 1"/>
                <a:gd name="T27" fmla="*/ 0 h 1"/>
                <a:gd name="T28" fmla="*/ 0 w 1"/>
                <a:gd name="T29" fmla="*/ 0 h 1"/>
                <a:gd name="T30" fmla="*/ 0 w 1"/>
                <a:gd name="T31" fmla="*/ 0 h 1"/>
                <a:gd name="T32" fmla="*/ 0 w 1"/>
                <a:gd name="T33" fmla="*/ 0 h 1"/>
                <a:gd name="T34" fmla="*/ 1 w 1"/>
                <a:gd name="T35" fmla="*/ 0 h 1"/>
                <a:gd name="T36" fmla="*/ 1 w 1"/>
                <a:gd name="T37" fmla="*/ 0 h 1"/>
                <a:gd name="T38" fmla="*/ 1 w 1"/>
                <a:gd name="T39" fmla="*/ 1 h 1"/>
                <a:gd name="T40" fmla="*/ 1 w 1"/>
                <a:gd name="T41" fmla="*/ 1 h 1"/>
                <a:gd name="T42" fmla="*/ 0 w 1"/>
                <a:gd name="T43" fmla="*/ 1 h 1"/>
                <a:gd name="T44" fmla="*/ 0 w 1"/>
                <a:gd name="T4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 h="1">
                  <a:moveTo>
                    <a:pt x="0" y="1"/>
                  </a:moveTo>
                  <a:lnTo>
                    <a:pt x="0" y="1"/>
                  </a:lnTo>
                  <a:lnTo>
                    <a:pt x="0" y="1"/>
                  </a:lnTo>
                  <a:lnTo>
                    <a:pt x="0" y="1"/>
                  </a:lnTo>
                  <a:lnTo>
                    <a:pt x="0" y="1"/>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1" y="0"/>
                  </a:lnTo>
                  <a:lnTo>
                    <a:pt x="1" y="0"/>
                  </a:lnTo>
                  <a:lnTo>
                    <a:pt x="1" y="1"/>
                  </a:lnTo>
                  <a:lnTo>
                    <a:pt x="1" y="1"/>
                  </a:lnTo>
                  <a:lnTo>
                    <a:pt x="0" y="1"/>
                  </a:lnTo>
                  <a:lnTo>
                    <a:pt x="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33" name="Freeform 1499">
              <a:extLst>
                <a:ext uri="{FF2B5EF4-FFF2-40B4-BE49-F238E27FC236}">
                  <a16:creationId xmlns:a16="http://schemas.microsoft.com/office/drawing/2014/main" id="{7B9139AC-77FB-4D8B-AF2B-ECCC97E36FC2}"/>
                </a:ext>
              </a:extLst>
            </p:cNvPr>
            <p:cNvSpPr>
              <a:spLocks/>
            </p:cNvSpPr>
            <p:nvPr/>
          </p:nvSpPr>
          <p:spPr bwMode="auto">
            <a:xfrm>
              <a:off x="6105577" y="1903530"/>
              <a:ext cx="8013" cy="2671"/>
            </a:xfrm>
            <a:custGeom>
              <a:avLst/>
              <a:gdLst>
                <a:gd name="T0" fmla="*/ 2 w 6"/>
                <a:gd name="T1" fmla="*/ 0 h 2"/>
                <a:gd name="T2" fmla="*/ 2 w 6"/>
                <a:gd name="T3" fmla="*/ 0 h 2"/>
                <a:gd name="T4" fmla="*/ 2 w 6"/>
                <a:gd name="T5" fmla="*/ 0 h 2"/>
                <a:gd name="T6" fmla="*/ 3 w 6"/>
                <a:gd name="T7" fmla="*/ 1 h 2"/>
                <a:gd name="T8" fmla="*/ 3 w 6"/>
                <a:gd name="T9" fmla="*/ 1 h 2"/>
                <a:gd name="T10" fmla="*/ 3 w 6"/>
                <a:gd name="T11" fmla="*/ 0 h 2"/>
                <a:gd name="T12" fmla="*/ 3 w 6"/>
                <a:gd name="T13" fmla="*/ 0 h 2"/>
                <a:gd name="T14" fmla="*/ 3 w 6"/>
                <a:gd name="T15" fmla="*/ 0 h 2"/>
                <a:gd name="T16" fmla="*/ 3 w 6"/>
                <a:gd name="T17" fmla="*/ 0 h 2"/>
                <a:gd name="T18" fmla="*/ 3 w 6"/>
                <a:gd name="T19" fmla="*/ 0 h 2"/>
                <a:gd name="T20" fmla="*/ 3 w 6"/>
                <a:gd name="T21" fmla="*/ 1 h 2"/>
                <a:gd name="T22" fmla="*/ 4 w 6"/>
                <a:gd name="T23" fmla="*/ 1 h 2"/>
                <a:gd name="T24" fmla="*/ 6 w 6"/>
                <a:gd name="T25" fmla="*/ 1 h 2"/>
                <a:gd name="T26" fmla="*/ 6 w 6"/>
                <a:gd name="T27" fmla="*/ 1 h 2"/>
                <a:gd name="T28" fmla="*/ 6 w 6"/>
                <a:gd name="T29" fmla="*/ 1 h 2"/>
                <a:gd name="T30" fmla="*/ 6 w 6"/>
                <a:gd name="T31" fmla="*/ 1 h 2"/>
                <a:gd name="T32" fmla="*/ 4 w 6"/>
                <a:gd name="T33" fmla="*/ 1 h 2"/>
                <a:gd name="T34" fmla="*/ 6 w 6"/>
                <a:gd name="T35" fmla="*/ 1 h 2"/>
                <a:gd name="T36" fmla="*/ 6 w 6"/>
                <a:gd name="T37" fmla="*/ 1 h 2"/>
                <a:gd name="T38" fmla="*/ 6 w 6"/>
                <a:gd name="T39" fmla="*/ 1 h 2"/>
                <a:gd name="T40" fmla="*/ 6 w 6"/>
                <a:gd name="T41" fmla="*/ 1 h 2"/>
                <a:gd name="T42" fmla="*/ 6 w 6"/>
                <a:gd name="T43" fmla="*/ 1 h 2"/>
                <a:gd name="T44" fmla="*/ 6 w 6"/>
                <a:gd name="T45" fmla="*/ 2 h 2"/>
                <a:gd name="T46" fmla="*/ 6 w 6"/>
                <a:gd name="T47" fmla="*/ 2 h 2"/>
                <a:gd name="T48" fmla="*/ 3 w 6"/>
                <a:gd name="T49" fmla="*/ 2 h 2"/>
                <a:gd name="T50" fmla="*/ 0 w 6"/>
                <a:gd name="T51" fmla="*/ 1 h 2"/>
                <a:gd name="T52" fmla="*/ 0 w 6"/>
                <a:gd name="T53" fmla="*/ 1 h 2"/>
                <a:gd name="T54" fmla="*/ 0 w 6"/>
                <a:gd name="T55" fmla="*/ 1 h 2"/>
                <a:gd name="T56" fmla="*/ 0 w 6"/>
                <a:gd name="T57" fmla="*/ 0 h 2"/>
                <a:gd name="T58" fmla="*/ 0 w 6"/>
                <a:gd name="T59" fmla="*/ 0 h 2"/>
                <a:gd name="T60" fmla="*/ 0 w 6"/>
                <a:gd name="T61" fmla="*/ 0 h 2"/>
                <a:gd name="T62" fmla="*/ 0 w 6"/>
                <a:gd name="T63" fmla="*/ 0 h 2"/>
                <a:gd name="T64" fmla="*/ 0 w 6"/>
                <a:gd name="T65" fmla="*/ 1 h 2"/>
                <a:gd name="T66" fmla="*/ 1 w 6"/>
                <a:gd name="T67" fmla="*/ 1 h 2"/>
                <a:gd name="T68" fmla="*/ 1 w 6"/>
                <a:gd name="T69" fmla="*/ 1 h 2"/>
                <a:gd name="T70" fmla="*/ 1 w 6"/>
                <a:gd name="T71" fmla="*/ 0 h 2"/>
                <a:gd name="T72" fmla="*/ 0 w 6"/>
                <a:gd name="T73" fmla="*/ 0 h 2"/>
                <a:gd name="T74" fmla="*/ 0 w 6"/>
                <a:gd name="T75" fmla="*/ 0 h 2"/>
                <a:gd name="T76" fmla="*/ 0 w 6"/>
                <a:gd name="T77" fmla="*/ 0 h 2"/>
                <a:gd name="T78" fmla="*/ 1 w 6"/>
                <a:gd name="T79" fmla="*/ 0 h 2"/>
                <a:gd name="T80" fmla="*/ 1 w 6"/>
                <a:gd name="T81" fmla="*/ 0 h 2"/>
                <a:gd name="T82" fmla="*/ 1 w 6"/>
                <a:gd name="T83" fmla="*/ 0 h 2"/>
                <a:gd name="T84" fmla="*/ 2 w 6"/>
                <a:gd name="T85" fmla="*/ 0 h 2"/>
                <a:gd name="T86" fmla="*/ 2 w 6"/>
                <a:gd name="T87" fmla="*/ 0 h 2"/>
                <a:gd name="T88" fmla="*/ 2 w 6"/>
                <a:gd name="T89" fmla="*/ 0 h 2"/>
                <a:gd name="T90" fmla="*/ 2 w 6"/>
                <a:gd name="T91" fmla="*/ 0 h 2"/>
                <a:gd name="T92" fmla="*/ 2 w 6"/>
                <a:gd name="T93" fmla="*/ 0 h 2"/>
                <a:gd name="T94" fmla="*/ 2 w 6"/>
                <a:gd name="T95" fmla="*/ 0 h 2"/>
                <a:gd name="T96" fmla="*/ 2 w 6"/>
                <a:gd name="T97" fmla="*/ 0 h 2"/>
                <a:gd name="T98" fmla="*/ 2 w 6"/>
                <a:gd name="T99" fmla="*/ 0 h 2"/>
                <a:gd name="T100" fmla="*/ 2 w 6"/>
                <a:gd name="T101" fmla="*/ 0 h 2"/>
                <a:gd name="T102" fmla="*/ 2 w 6"/>
                <a:gd name="T103" fmla="*/ 0 h 2"/>
                <a:gd name="T104" fmla="*/ 2 w 6"/>
                <a:gd name="T105"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 h="2">
                  <a:moveTo>
                    <a:pt x="2" y="0"/>
                  </a:moveTo>
                  <a:lnTo>
                    <a:pt x="2" y="0"/>
                  </a:lnTo>
                  <a:lnTo>
                    <a:pt x="2" y="0"/>
                  </a:lnTo>
                  <a:lnTo>
                    <a:pt x="3" y="1"/>
                  </a:lnTo>
                  <a:lnTo>
                    <a:pt x="3" y="1"/>
                  </a:lnTo>
                  <a:lnTo>
                    <a:pt x="3" y="0"/>
                  </a:lnTo>
                  <a:lnTo>
                    <a:pt x="3" y="0"/>
                  </a:lnTo>
                  <a:lnTo>
                    <a:pt x="3" y="0"/>
                  </a:lnTo>
                  <a:lnTo>
                    <a:pt x="3" y="0"/>
                  </a:lnTo>
                  <a:lnTo>
                    <a:pt x="3" y="0"/>
                  </a:lnTo>
                  <a:lnTo>
                    <a:pt x="3" y="1"/>
                  </a:lnTo>
                  <a:lnTo>
                    <a:pt x="4" y="1"/>
                  </a:lnTo>
                  <a:lnTo>
                    <a:pt x="6" y="1"/>
                  </a:lnTo>
                  <a:lnTo>
                    <a:pt x="6" y="1"/>
                  </a:lnTo>
                  <a:lnTo>
                    <a:pt x="6" y="1"/>
                  </a:lnTo>
                  <a:lnTo>
                    <a:pt x="6" y="1"/>
                  </a:lnTo>
                  <a:lnTo>
                    <a:pt x="4" y="1"/>
                  </a:lnTo>
                  <a:lnTo>
                    <a:pt x="6" y="1"/>
                  </a:lnTo>
                  <a:lnTo>
                    <a:pt x="6" y="1"/>
                  </a:lnTo>
                  <a:lnTo>
                    <a:pt x="6" y="1"/>
                  </a:lnTo>
                  <a:lnTo>
                    <a:pt x="6" y="1"/>
                  </a:lnTo>
                  <a:lnTo>
                    <a:pt x="6" y="1"/>
                  </a:lnTo>
                  <a:lnTo>
                    <a:pt x="6" y="2"/>
                  </a:lnTo>
                  <a:lnTo>
                    <a:pt x="6" y="2"/>
                  </a:lnTo>
                  <a:lnTo>
                    <a:pt x="3" y="2"/>
                  </a:lnTo>
                  <a:lnTo>
                    <a:pt x="0" y="1"/>
                  </a:lnTo>
                  <a:lnTo>
                    <a:pt x="0" y="1"/>
                  </a:lnTo>
                  <a:lnTo>
                    <a:pt x="0" y="1"/>
                  </a:lnTo>
                  <a:lnTo>
                    <a:pt x="0" y="0"/>
                  </a:lnTo>
                  <a:lnTo>
                    <a:pt x="0" y="0"/>
                  </a:lnTo>
                  <a:lnTo>
                    <a:pt x="0" y="0"/>
                  </a:lnTo>
                  <a:lnTo>
                    <a:pt x="0" y="0"/>
                  </a:lnTo>
                  <a:lnTo>
                    <a:pt x="0" y="1"/>
                  </a:lnTo>
                  <a:lnTo>
                    <a:pt x="1" y="1"/>
                  </a:lnTo>
                  <a:lnTo>
                    <a:pt x="1" y="1"/>
                  </a:lnTo>
                  <a:lnTo>
                    <a:pt x="1" y="0"/>
                  </a:lnTo>
                  <a:lnTo>
                    <a:pt x="0" y="0"/>
                  </a:lnTo>
                  <a:lnTo>
                    <a:pt x="0" y="0"/>
                  </a:lnTo>
                  <a:lnTo>
                    <a:pt x="0" y="0"/>
                  </a:lnTo>
                  <a:lnTo>
                    <a:pt x="1" y="0"/>
                  </a:lnTo>
                  <a:lnTo>
                    <a:pt x="1" y="0"/>
                  </a:lnTo>
                  <a:lnTo>
                    <a:pt x="1" y="0"/>
                  </a:lnTo>
                  <a:lnTo>
                    <a:pt x="2" y="0"/>
                  </a:lnTo>
                  <a:lnTo>
                    <a:pt x="2" y="0"/>
                  </a:lnTo>
                  <a:lnTo>
                    <a:pt x="2" y="0"/>
                  </a:lnTo>
                  <a:lnTo>
                    <a:pt x="2" y="0"/>
                  </a:lnTo>
                  <a:lnTo>
                    <a:pt x="2" y="0"/>
                  </a:lnTo>
                  <a:lnTo>
                    <a:pt x="2" y="0"/>
                  </a:lnTo>
                  <a:lnTo>
                    <a:pt x="2" y="0"/>
                  </a:lnTo>
                  <a:lnTo>
                    <a:pt x="2"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34" name="Freeform 1500">
              <a:extLst>
                <a:ext uri="{FF2B5EF4-FFF2-40B4-BE49-F238E27FC236}">
                  <a16:creationId xmlns:a16="http://schemas.microsoft.com/office/drawing/2014/main" id="{3E1B5A55-001C-4D00-9519-053A5094524E}"/>
                </a:ext>
              </a:extLst>
            </p:cNvPr>
            <p:cNvSpPr>
              <a:spLocks/>
            </p:cNvSpPr>
            <p:nvPr/>
          </p:nvSpPr>
          <p:spPr bwMode="auto">
            <a:xfrm>
              <a:off x="6110919" y="1898188"/>
              <a:ext cx="9349" cy="6678"/>
            </a:xfrm>
            <a:custGeom>
              <a:avLst/>
              <a:gdLst>
                <a:gd name="T0" fmla="*/ 6 w 7"/>
                <a:gd name="T1" fmla="*/ 2 h 5"/>
                <a:gd name="T2" fmla="*/ 6 w 7"/>
                <a:gd name="T3" fmla="*/ 0 h 5"/>
                <a:gd name="T4" fmla="*/ 6 w 7"/>
                <a:gd name="T5" fmla="*/ 2 h 5"/>
                <a:gd name="T6" fmla="*/ 7 w 7"/>
                <a:gd name="T7" fmla="*/ 2 h 5"/>
                <a:gd name="T8" fmla="*/ 7 w 7"/>
                <a:gd name="T9" fmla="*/ 2 h 5"/>
                <a:gd name="T10" fmla="*/ 7 w 7"/>
                <a:gd name="T11" fmla="*/ 3 h 5"/>
                <a:gd name="T12" fmla="*/ 7 w 7"/>
                <a:gd name="T13" fmla="*/ 3 h 5"/>
                <a:gd name="T14" fmla="*/ 7 w 7"/>
                <a:gd name="T15" fmla="*/ 3 h 5"/>
                <a:gd name="T16" fmla="*/ 7 w 7"/>
                <a:gd name="T17" fmla="*/ 3 h 5"/>
                <a:gd name="T18" fmla="*/ 7 w 7"/>
                <a:gd name="T19" fmla="*/ 3 h 5"/>
                <a:gd name="T20" fmla="*/ 7 w 7"/>
                <a:gd name="T21" fmla="*/ 3 h 5"/>
                <a:gd name="T22" fmla="*/ 6 w 7"/>
                <a:gd name="T23" fmla="*/ 4 h 5"/>
                <a:gd name="T24" fmla="*/ 5 w 7"/>
                <a:gd name="T25" fmla="*/ 5 h 5"/>
                <a:gd name="T26" fmla="*/ 5 w 7"/>
                <a:gd name="T27" fmla="*/ 5 h 5"/>
                <a:gd name="T28" fmla="*/ 5 w 7"/>
                <a:gd name="T29" fmla="*/ 5 h 5"/>
                <a:gd name="T30" fmla="*/ 4 w 7"/>
                <a:gd name="T31" fmla="*/ 5 h 5"/>
                <a:gd name="T32" fmla="*/ 3 w 7"/>
                <a:gd name="T33" fmla="*/ 5 h 5"/>
                <a:gd name="T34" fmla="*/ 3 w 7"/>
                <a:gd name="T35" fmla="*/ 4 h 5"/>
                <a:gd name="T36" fmla="*/ 3 w 7"/>
                <a:gd name="T37" fmla="*/ 4 h 5"/>
                <a:gd name="T38" fmla="*/ 3 w 7"/>
                <a:gd name="T39" fmla="*/ 4 h 5"/>
                <a:gd name="T40" fmla="*/ 2 w 7"/>
                <a:gd name="T41" fmla="*/ 5 h 5"/>
                <a:gd name="T42" fmla="*/ 2 w 7"/>
                <a:gd name="T43" fmla="*/ 4 h 5"/>
                <a:gd name="T44" fmla="*/ 2 w 7"/>
                <a:gd name="T45" fmla="*/ 4 h 5"/>
                <a:gd name="T46" fmla="*/ 0 w 7"/>
                <a:gd name="T47" fmla="*/ 4 h 5"/>
                <a:gd name="T48" fmla="*/ 0 w 7"/>
                <a:gd name="T49" fmla="*/ 4 h 5"/>
                <a:gd name="T50" fmla="*/ 0 w 7"/>
                <a:gd name="T51" fmla="*/ 4 h 5"/>
                <a:gd name="T52" fmla="*/ 0 w 7"/>
                <a:gd name="T53" fmla="*/ 4 h 5"/>
                <a:gd name="T54" fmla="*/ 0 w 7"/>
                <a:gd name="T55" fmla="*/ 3 h 5"/>
                <a:gd name="T56" fmla="*/ 0 w 7"/>
                <a:gd name="T57" fmla="*/ 3 h 5"/>
                <a:gd name="T58" fmla="*/ 0 w 7"/>
                <a:gd name="T59" fmla="*/ 3 h 5"/>
                <a:gd name="T60" fmla="*/ 0 w 7"/>
                <a:gd name="T61" fmla="*/ 3 h 5"/>
                <a:gd name="T62" fmla="*/ 0 w 7"/>
                <a:gd name="T63" fmla="*/ 3 h 5"/>
                <a:gd name="T64" fmla="*/ 2 w 7"/>
                <a:gd name="T65" fmla="*/ 3 h 5"/>
                <a:gd name="T66" fmla="*/ 2 w 7"/>
                <a:gd name="T67" fmla="*/ 3 h 5"/>
                <a:gd name="T68" fmla="*/ 2 w 7"/>
                <a:gd name="T69" fmla="*/ 3 h 5"/>
                <a:gd name="T70" fmla="*/ 3 w 7"/>
                <a:gd name="T71" fmla="*/ 3 h 5"/>
                <a:gd name="T72" fmla="*/ 3 w 7"/>
                <a:gd name="T73" fmla="*/ 3 h 5"/>
                <a:gd name="T74" fmla="*/ 4 w 7"/>
                <a:gd name="T75" fmla="*/ 3 h 5"/>
                <a:gd name="T76" fmla="*/ 3 w 7"/>
                <a:gd name="T77" fmla="*/ 2 h 5"/>
                <a:gd name="T78" fmla="*/ 3 w 7"/>
                <a:gd name="T79" fmla="*/ 2 h 5"/>
                <a:gd name="T80" fmla="*/ 3 w 7"/>
                <a:gd name="T81" fmla="*/ 2 h 5"/>
                <a:gd name="T82" fmla="*/ 4 w 7"/>
                <a:gd name="T83" fmla="*/ 2 h 5"/>
                <a:gd name="T84" fmla="*/ 4 w 7"/>
                <a:gd name="T85" fmla="*/ 3 h 5"/>
                <a:gd name="T86" fmla="*/ 4 w 7"/>
                <a:gd name="T87" fmla="*/ 3 h 5"/>
                <a:gd name="T88" fmla="*/ 4 w 7"/>
                <a:gd name="T89" fmla="*/ 3 h 5"/>
                <a:gd name="T90" fmla="*/ 4 w 7"/>
                <a:gd name="T91" fmla="*/ 2 h 5"/>
                <a:gd name="T92" fmla="*/ 4 w 7"/>
                <a:gd name="T93" fmla="*/ 2 h 5"/>
                <a:gd name="T94" fmla="*/ 4 w 7"/>
                <a:gd name="T95" fmla="*/ 2 h 5"/>
                <a:gd name="T96" fmla="*/ 5 w 7"/>
                <a:gd name="T97" fmla="*/ 2 h 5"/>
                <a:gd name="T98" fmla="*/ 5 w 7"/>
                <a:gd name="T99" fmla="*/ 2 h 5"/>
                <a:gd name="T100" fmla="*/ 5 w 7"/>
                <a:gd name="T101" fmla="*/ 2 h 5"/>
                <a:gd name="T102" fmla="*/ 6 w 7"/>
                <a:gd name="T103" fmla="*/ 2 h 5"/>
                <a:gd name="T104" fmla="*/ 6 w 7"/>
                <a:gd name="T105" fmla="*/ 2 h 5"/>
                <a:gd name="T106" fmla="*/ 5 w 7"/>
                <a:gd name="T107" fmla="*/ 2 h 5"/>
                <a:gd name="T108" fmla="*/ 5 w 7"/>
                <a:gd name="T109" fmla="*/ 2 h 5"/>
                <a:gd name="T110" fmla="*/ 5 w 7"/>
                <a:gd name="T111" fmla="*/ 0 h 5"/>
                <a:gd name="T112" fmla="*/ 6 w 7"/>
                <a:gd name="T11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 h="5">
                  <a:moveTo>
                    <a:pt x="6" y="0"/>
                  </a:moveTo>
                  <a:lnTo>
                    <a:pt x="6" y="2"/>
                  </a:lnTo>
                  <a:lnTo>
                    <a:pt x="6" y="0"/>
                  </a:lnTo>
                  <a:lnTo>
                    <a:pt x="6" y="0"/>
                  </a:lnTo>
                  <a:lnTo>
                    <a:pt x="6" y="2"/>
                  </a:lnTo>
                  <a:lnTo>
                    <a:pt x="6" y="2"/>
                  </a:lnTo>
                  <a:lnTo>
                    <a:pt x="7" y="2"/>
                  </a:lnTo>
                  <a:lnTo>
                    <a:pt x="7" y="2"/>
                  </a:lnTo>
                  <a:lnTo>
                    <a:pt x="7" y="2"/>
                  </a:lnTo>
                  <a:lnTo>
                    <a:pt x="7" y="2"/>
                  </a:lnTo>
                  <a:lnTo>
                    <a:pt x="7" y="2"/>
                  </a:lnTo>
                  <a:lnTo>
                    <a:pt x="7" y="3"/>
                  </a:lnTo>
                  <a:lnTo>
                    <a:pt x="7" y="3"/>
                  </a:lnTo>
                  <a:lnTo>
                    <a:pt x="7" y="3"/>
                  </a:lnTo>
                  <a:lnTo>
                    <a:pt x="7" y="3"/>
                  </a:lnTo>
                  <a:lnTo>
                    <a:pt x="7" y="3"/>
                  </a:lnTo>
                  <a:lnTo>
                    <a:pt x="7" y="3"/>
                  </a:lnTo>
                  <a:lnTo>
                    <a:pt x="7" y="3"/>
                  </a:lnTo>
                  <a:lnTo>
                    <a:pt x="7" y="3"/>
                  </a:lnTo>
                  <a:lnTo>
                    <a:pt x="7" y="3"/>
                  </a:lnTo>
                  <a:lnTo>
                    <a:pt x="7" y="3"/>
                  </a:lnTo>
                  <a:lnTo>
                    <a:pt x="7" y="3"/>
                  </a:lnTo>
                  <a:lnTo>
                    <a:pt x="7" y="4"/>
                  </a:lnTo>
                  <a:lnTo>
                    <a:pt x="6" y="4"/>
                  </a:lnTo>
                  <a:lnTo>
                    <a:pt x="5" y="5"/>
                  </a:lnTo>
                  <a:lnTo>
                    <a:pt x="5" y="5"/>
                  </a:lnTo>
                  <a:lnTo>
                    <a:pt x="5" y="5"/>
                  </a:lnTo>
                  <a:lnTo>
                    <a:pt x="5" y="5"/>
                  </a:lnTo>
                  <a:lnTo>
                    <a:pt x="5" y="5"/>
                  </a:lnTo>
                  <a:lnTo>
                    <a:pt x="5" y="5"/>
                  </a:lnTo>
                  <a:lnTo>
                    <a:pt x="4" y="5"/>
                  </a:lnTo>
                  <a:lnTo>
                    <a:pt x="4" y="5"/>
                  </a:lnTo>
                  <a:lnTo>
                    <a:pt x="3" y="5"/>
                  </a:lnTo>
                  <a:lnTo>
                    <a:pt x="3" y="5"/>
                  </a:lnTo>
                  <a:lnTo>
                    <a:pt x="3" y="5"/>
                  </a:lnTo>
                  <a:lnTo>
                    <a:pt x="3" y="4"/>
                  </a:lnTo>
                  <a:lnTo>
                    <a:pt x="3" y="4"/>
                  </a:lnTo>
                  <a:lnTo>
                    <a:pt x="3" y="4"/>
                  </a:lnTo>
                  <a:lnTo>
                    <a:pt x="3" y="4"/>
                  </a:lnTo>
                  <a:lnTo>
                    <a:pt x="3" y="4"/>
                  </a:lnTo>
                  <a:lnTo>
                    <a:pt x="3" y="4"/>
                  </a:lnTo>
                  <a:lnTo>
                    <a:pt x="2" y="5"/>
                  </a:lnTo>
                  <a:lnTo>
                    <a:pt x="2" y="4"/>
                  </a:lnTo>
                  <a:lnTo>
                    <a:pt x="2" y="4"/>
                  </a:lnTo>
                  <a:lnTo>
                    <a:pt x="2" y="4"/>
                  </a:lnTo>
                  <a:lnTo>
                    <a:pt x="2" y="4"/>
                  </a:lnTo>
                  <a:lnTo>
                    <a:pt x="2" y="4"/>
                  </a:lnTo>
                  <a:lnTo>
                    <a:pt x="0" y="4"/>
                  </a:lnTo>
                  <a:lnTo>
                    <a:pt x="0" y="4"/>
                  </a:lnTo>
                  <a:lnTo>
                    <a:pt x="0" y="4"/>
                  </a:lnTo>
                  <a:lnTo>
                    <a:pt x="0" y="4"/>
                  </a:lnTo>
                  <a:lnTo>
                    <a:pt x="0" y="4"/>
                  </a:lnTo>
                  <a:lnTo>
                    <a:pt x="2" y="4"/>
                  </a:lnTo>
                  <a:lnTo>
                    <a:pt x="0" y="4"/>
                  </a:lnTo>
                  <a:lnTo>
                    <a:pt x="0" y="3"/>
                  </a:lnTo>
                  <a:lnTo>
                    <a:pt x="0" y="3"/>
                  </a:lnTo>
                  <a:lnTo>
                    <a:pt x="0" y="3"/>
                  </a:lnTo>
                  <a:lnTo>
                    <a:pt x="0" y="3"/>
                  </a:lnTo>
                  <a:lnTo>
                    <a:pt x="0" y="3"/>
                  </a:lnTo>
                  <a:lnTo>
                    <a:pt x="0" y="3"/>
                  </a:lnTo>
                  <a:lnTo>
                    <a:pt x="0" y="3"/>
                  </a:lnTo>
                  <a:lnTo>
                    <a:pt x="0" y="3"/>
                  </a:lnTo>
                  <a:lnTo>
                    <a:pt x="0" y="3"/>
                  </a:lnTo>
                  <a:lnTo>
                    <a:pt x="0" y="3"/>
                  </a:lnTo>
                  <a:lnTo>
                    <a:pt x="0" y="3"/>
                  </a:lnTo>
                  <a:lnTo>
                    <a:pt x="2" y="3"/>
                  </a:lnTo>
                  <a:lnTo>
                    <a:pt x="2" y="3"/>
                  </a:lnTo>
                  <a:lnTo>
                    <a:pt x="2" y="3"/>
                  </a:lnTo>
                  <a:lnTo>
                    <a:pt x="2" y="3"/>
                  </a:lnTo>
                  <a:lnTo>
                    <a:pt x="2" y="3"/>
                  </a:lnTo>
                  <a:lnTo>
                    <a:pt x="3" y="3"/>
                  </a:lnTo>
                  <a:lnTo>
                    <a:pt x="3" y="3"/>
                  </a:lnTo>
                  <a:lnTo>
                    <a:pt x="3" y="3"/>
                  </a:lnTo>
                  <a:lnTo>
                    <a:pt x="3" y="3"/>
                  </a:lnTo>
                  <a:lnTo>
                    <a:pt x="3" y="3"/>
                  </a:lnTo>
                  <a:lnTo>
                    <a:pt x="4" y="3"/>
                  </a:lnTo>
                  <a:lnTo>
                    <a:pt x="4" y="2"/>
                  </a:lnTo>
                  <a:lnTo>
                    <a:pt x="3" y="2"/>
                  </a:lnTo>
                  <a:lnTo>
                    <a:pt x="3" y="2"/>
                  </a:lnTo>
                  <a:lnTo>
                    <a:pt x="3" y="2"/>
                  </a:lnTo>
                  <a:lnTo>
                    <a:pt x="3" y="2"/>
                  </a:lnTo>
                  <a:lnTo>
                    <a:pt x="3" y="2"/>
                  </a:lnTo>
                  <a:lnTo>
                    <a:pt x="4" y="2"/>
                  </a:lnTo>
                  <a:lnTo>
                    <a:pt x="4" y="2"/>
                  </a:lnTo>
                  <a:lnTo>
                    <a:pt x="4" y="3"/>
                  </a:lnTo>
                  <a:lnTo>
                    <a:pt x="4" y="3"/>
                  </a:lnTo>
                  <a:lnTo>
                    <a:pt x="4" y="3"/>
                  </a:lnTo>
                  <a:lnTo>
                    <a:pt x="4" y="3"/>
                  </a:lnTo>
                  <a:lnTo>
                    <a:pt x="4" y="3"/>
                  </a:lnTo>
                  <a:lnTo>
                    <a:pt x="4" y="3"/>
                  </a:lnTo>
                  <a:lnTo>
                    <a:pt x="4" y="3"/>
                  </a:lnTo>
                  <a:lnTo>
                    <a:pt x="4" y="2"/>
                  </a:lnTo>
                  <a:lnTo>
                    <a:pt x="4" y="2"/>
                  </a:lnTo>
                  <a:lnTo>
                    <a:pt x="4" y="2"/>
                  </a:lnTo>
                  <a:lnTo>
                    <a:pt x="4" y="2"/>
                  </a:lnTo>
                  <a:lnTo>
                    <a:pt x="4" y="2"/>
                  </a:lnTo>
                  <a:lnTo>
                    <a:pt x="5" y="2"/>
                  </a:lnTo>
                  <a:lnTo>
                    <a:pt x="5" y="2"/>
                  </a:lnTo>
                  <a:lnTo>
                    <a:pt x="5" y="2"/>
                  </a:lnTo>
                  <a:lnTo>
                    <a:pt x="5" y="2"/>
                  </a:lnTo>
                  <a:lnTo>
                    <a:pt x="5" y="2"/>
                  </a:lnTo>
                  <a:lnTo>
                    <a:pt x="5" y="2"/>
                  </a:lnTo>
                  <a:lnTo>
                    <a:pt x="6" y="2"/>
                  </a:lnTo>
                  <a:lnTo>
                    <a:pt x="6" y="2"/>
                  </a:lnTo>
                  <a:lnTo>
                    <a:pt x="6" y="2"/>
                  </a:lnTo>
                  <a:lnTo>
                    <a:pt x="6" y="2"/>
                  </a:lnTo>
                  <a:lnTo>
                    <a:pt x="5" y="2"/>
                  </a:lnTo>
                  <a:lnTo>
                    <a:pt x="5" y="2"/>
                  </a:lnTo>
                  <a:lnTo>
                    <a:pt x="5" y="2"/>
                  </a:lnTo>
                  <a:lnTo>
                    <a:pt x="5" y="2"/>
                  </a:lnTo>
                  <a:lnTo>
                    <a:pt x="5" y="0"/>
                  </a:lnTo>
                  <a:lnTo>
                    <a:pt x="5" y="0"/>
                  </a:lnTo>
                  <a:lnTo>
                    <a:pt x="5" y="0"/>
                  </a:lnTo>
                  <a:lnTo>
                    <a:pt x="6" y="0"/>
                  </a:lnTo>
                  <a:lnTo>
                    <a:pt x="6"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35" name="Freeform 1501">
              <a:extLst>
                <a:ext uri="{FF2B5EF4-FFF2-40B4-BE49-F238E27FC236}">
                  <a16:creationId xmlns:a16="http://schemas.microsoft.com/office/drawing/2014/main" id="{498E1FA4-4112-4DA4-A511-20DFC0A34B28}"/>
                </a:ext>
              </a:extLst>
            </p:cNvPr>
            <p:cNvSpPr>
              <a:spLocks/>
            </p:cNvSpPr>
            <p:nvPr/>
          </p:nvSpPr>
          <p:spPr bwMode="auto">
            <a:xfrm>
              <a:off x="6120267" y="1896852"/>
              <a:ext cx="6678" cy="5342"/>
            </a:xfrm>
            <a:custGeom>
              <a:avLst/>
              <a:gdLst>
                <a:gd name="T0" fmla="*/ 2 w 5"/>
                <a:gd name="T1" fmla="*/ 0 h 4"/>
                <a:gd name="T2" fmla="*/ 2 w 5"/>
                <a:gd name="T3" fmla="*/ 0 h 4"/>
                <a:gd name="T4" fmla="*/ 2 w 5"/>
                <a:gd name="T5" fmla="*/ 0 h 4"/>
                <a:gd name="T6" fmla="*/ 2 w 5"/>
                <a:gd name="T7" fmla="*/ 0 h 4"/>
                <a:gd name="T8" fmla="*/ 3 w 5"/>
                <a:gd name="T9" fmla="*/ 0 h 4"/>
                <a:gd name="T10" fmla="*/ 3 w 5"/>
                <a:gd name="T11" fmla="*/ 0 h 4"/>
                <a:gd name="T12" fmla="*/ 4 w 5"/>
                <a:gd name="T13" fmla="*/ 0 h 4"/>
                <a:gd name="T14" fmla="*/ 4 w 5"/>
                <a:gd name="T15" fmla="*/ 1 h 4"/>
                <a:gd name="T16" fmla="*/ 4 w 5"/>
                <a:gd name="T17" fmla="*/ 1 h 4"/>
                <a:gd name="T18" fmla="*/ 4 w 5"/>
                <a:gd name="T19" fmla="*/ 1 h 4"/>
                <a:gd name="T20" fmla="*/ 4 w 5"/>
                <a:gd name="T21" fmla="*/ 1 h 4"/>
                <a:gd name="T22" fmla="*/ 4 w 5"/>
                <a:gd name="T23" fmla="*/ 1 h 4"/>
                <a:gd name="T24" fmla="*/ 4 w 5"/>
                <a:gd name="T25" fmla="*/ 1 h 4"/>
                <a:gd name="T26" fmla="*/ 5 w 5"/>
                <a:gd name="T27" fmla="*/ 1 h 4"/>
                <a:gd name="T28" fmla="*/ 5 w 5"/>
                <a:gd name="T29" fmla="*/ 1 h 4"/>
                <a:gd name="T30" fmla="*/ 5 w 5"/>
                <a:gd name="T31" fmla="*/ 3 h 4"/>
                <a:gd name="T32" fmla="*/ 4 w 5"/>
                <a:gd name="T33" fmla="*/ 3 h 4"/>
                <a:gd name="T34" fmla="*/ 4 w 5"/>
                <a:gd name="T35" fmla="*/ 4 h 4"/>
                <a:gd name="T36" fmla="*/ 3 w 5"/>
                <a:gd name="T37" fmla="*/ 4 h 4"/>
                <a:gd name="T38" fmla="*/ 3 w 5"/>
                <a:gd name="T39" fmla="*/ 4 h 4"/>
                <a:gd name="T40" fmla="*/ 2 w 5"/>
                <a:gd name="T41" fmla="*/ 3 h 4"/>
                <a:gd name="T42" fmla="*/ 2 w 5"/>
                <a:gd name="T43" fmla="*/ 3 h 4"/>
                <a:gd name="T44" fmla="*/ 2 w 5"/>
                <a:gd name="T45" fmla="*/ 3 h 4"/>
                <a:gd name="T46" fmla="*/ 0 w 5"/>
                <a:gd name="T47" fmla="*/ 3 h 4"/>
                <a:gd name="T48" fmla="*/ 0 w 5"/>
                <a:gd name="T49" fmla="*/ 3 h 4"/>
                <a:gd name="T50" fmla="*/ 0 w 5"/>
                <a:gd name="T51" fmla="*/ 3 h 4"/>
                <a:gd name="T52" fmla="*/ 0 w 5"/>
                <a:gd name="T53" fmla="*/ 3 h 4"/>
                <a:gd name="T54" fmla="*/ 0 w 5"/>
                <a:gd name="T55" fmla="*/ 3 h 4"/>
                <a:gd name="T56" fmla="*/ 0 w 5"/>
                <a:gd name="T57" fmla="*/ 3 h 4"/>
                <a:gd name="T58" fmla="*/ 0 w 5"/>
                <a:gd name="T59" fmla="*/ 1 h 4"/>
                <a:gd name="T60" fmla="*/ 0 w 5"/>
                <a:gd name="T61" fmla="*/ 1 h 4"/>
                <a:gd name="T62" fmla="*/ 0 w 5"/>
                <a:gd name="T63" fmla="*/ 1 h 4"/>
                <a:gd name="T64" fmla="*/ 0 w 5"/>
                <a:gd name="T65" fmla="*/ 1 h 4"/>
                <a:gd name="T66" fmla="*/ 0 w 5"/>
                <a:gd name="T67" fmla="*/ 1 h 4"/>
                <a:gd name="T68" fmla="*/ 0 w 5"/>
                <a:gd name="T69" fmla="*/ 1 h 4"/>
                <a:gd name="T70" fmla="*/ 0 w 5"/>
                <a:gd name="T71" fmla="*/ 1 h 4"/>
                <a:gd name="T72" fmla="*/ 0 w 5"/>
                <a:gd name="T73" fmla="*/ 1 h 4"/>
                <a:gd name="T74" fmla="*/ 0 w 5"/>
                <a:gd name="T75" fmla="*/ 1 h 4"/>
                <a:gd name="T76" fmla="*/ 0 w 5"/>
                <a:gd name="T77" fmla="*/ 0 h 4"/>
                <a:gd name="T78" fmla="*/ 0 w 5"/>
                <a:gd name="T79" fmla="*/ 0 h 4"/>
                <a:gd name="T80" fmla="*/ 0 w 5"/>
                <a:gd name="T81" fmla="*/ 0 h 4"/>
                <a:gd name="T82" fmla="*/ 0 w 5"/>
                <a:gd name="T83" fmla="*/ 0 h 4"/>
                <a:gd name="T84" fmla="*/ 0 w 5"/>
                <a:gd name="T85" fmla="*/ 0 h 4"/>
                <a:gd name="T86" fmla="*/ 2 w 5"/>
                <a:gd name="T87" fmla="*/ 0 h 4"/>
                <a:gd name="T88" fmla="*/ 2 w 5"/>
                <a:gd name="T89" fmla="*/ 0 h 4"/>
                <a:gd name="T90" fmla="*/ 2 w 5"/>
                <a:gd name="T91" fmla="*/ 0 h 4"/>
                <a:gd name="T92" fmla="*/ 2 w 5"/>
                <a:gd name="T93" fmla="*/ 0 h 4"/>
                <a:gd name="T94" fmla="*/ 2 w 5"/>
                <a:gd name="T95" fmla="*/ 0 h 4"/>
                <a:gd name="T96" fmla="*/ 2 w 5"/>
                <a:gd name="T97" fmla="*/ 0 h 4"/>
                <a:gd name="T98" fmla="*/ 2 w 5"/>
                <a:gd name="T99" fmla="*/ 0 h 4"/>
                <a:gd name="T100" fmla="*/ 2 w 5"/>
                <a:gd name="T101" fmla="*/ 0 h 4"/>
                <a:gd name="T102" fmla="*/ 2 w 5"/>
                <a:gd name="T103" fmla="*/ 0 h 4"/>
                <a:gd name="T104" fmla="*/ 2 w 5"/>
                <a:gd name="T10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 h="4">
                  <a:moveTo>
                    <a:pt x="2" y="0"/>
                  </a:moveTo>
                  <a:lnTo>
                    <a:pt x="2" y="0"/>
                  </a:lnTo>
                  <a:lnTo>
                    <a:pt x="2" y="0"/>
                  </a:lnTo>
                  <a:lnTo>
                    <a:pt x="2" y="0"/>
                  </a:lnTo>
                  <a:lnTo>
                    <a:pt x="3" y="0"/>
                  </a:lnTo>
                  <a:lnTo>
                    <a:pt x="3" y="0"/>
                  </a:lnTo>
                  <a:lnTo>
                    <a:pt x="4" y="0"/>
                  </a:lnTo>
                  <a:lnTo>
                    <a:pt x="4" y="1"/>
                  </a:lnTo>
                  <a:lnTo>
                    <a:pt x="4" y="1"/>
                  </a:lnTo>
                  <a:lnTo>
                    <a:pt x="4" y="1"/>
                  </a:lnTo>
                  <a:lnTo>
                    <a:pt x="4" y="1"/>
                  </a:lnTo>
                  <a:lnTo>
                    <a:pt x="4" y="1"/>
                  </a:lnTo>
                  <a:lnTo>
                    <a:pt x="4" y="1"/>
                  </a:lnTo>
                  <a:lnTo>
                    <a:pt x="5" y="1"/>
                  </a:lnTo>
                  <a:lnTo>
                    <a:pt x="5" y="1"/>
                  </a:lnTo>
                  <a:lnTo>
                    <a:pt x="5" y="3"/>
                  </a:lnTo>
                  <a:lnTo>
                    <a:pt x="4" y="3"/>
                  </a:lnTo>
                  <a:lnTo>
                    <a:pt x="4" y="4"/>
                  </a:lnTo>
                  <a:lnTo>
                    <a:pt x="3" y="4"/>
                  </a:lnTo>
                  <a:lnTo>
                    <a:pt x="3" y="4"/>
                  </a:lnTo>
                  <a:lnTo>
                    <a:pt x="2" y="3"/>
                  </a:lnTo>
                  <a:lnTo>
                    <a:pt x="2" y="3"/>
                  </a:lnTo>
                  <a:lnTo>
                    <a:pt x="2" y="3"/>
                  </a:lnTo>
                  <a:lnTo>
                    <a:pt x="0" y="3"/>
                  </a:lnTo>
                  <a:lnTo>
                    <a:pt x="0" y="3"/>
                  </a:lnTo>
                  <a:lnTo>
                    <a:pt x="0" y="3"/>
                  </a:lnTo>
                  <a:lnTo>
                    <a:pt x="0" y="3"/>
                  </a:lnTo>
                  <a:lnTo>
                    <a:pt x="0" y="3"/>
                  </a:lnTo>
                  <a:lnTo>
                    <a:pt x="0" y="3"/>
                  </a:lnTo>
                  <a:lnTo>
                    <a:pt x="0" y="1"/>
                  </a:lnTo>
                  <a:lnTo>
                    <a:pt x="0" y="1"/>
                  </a:lnTo>
                  <a:lnTo>
                    <a:pt x="0" y="1"/>
                  </a:lnTo>
                  <a:lnTo>
                    <a:pt x="0" y="1"/>
                  </a:lnTo>
                  <a:lnTo>
                    <a:pt x="0" y="1"/>
                  </a:lnTo>
                  <a:lnTo>
                    <a:pt x="0" y="1"/>
                  </a:lnTo>
                  <a:lnTo>
                    <a:pt x="0" y="1"/>
                  </a:lnTo>
                  <a:lnTo>
                    <a:pt x="0" y="1"/>
                  </a:lnTo>
                  <a:lnTo>
                    <a:pt x="0" y="1"/>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36" name="Freeform 1502">
              <a:extLst>
                <a:ext uri="{FF2B5EF4-FFF2-40B4-BE49-F238E27FC236}">
                  <a16:creationId xmlns:a16="http://schemas.microsoft.com/office/drawing/2014/main" id="{774E9E7F-C3E7-40DC-83B6-5EA629745051}"/>
                </a:ext>
              </a:extLst>
            </p:cNvPr>
            <p:cNvSpPr>
              <a:spLocks/>
            </p:cNvSpPr>
            <p:nvPr/>
          </p:nvSpPr>
          <p:spPr bwMode="auto">
            <a:xfrm>
              <a:off x="6097564" y="1895517"/>
              <a:ext cx="20033" cy="6678"/>
            </a:xfrm>
            <a:custGeom>
              <a:avLst/>
              <a:gdLst>
                <a:gd name="T0" fmla="*/ 15 w 15"/>
                <a:gd name="T1" fmla="*/ 0 h 5"/>
                <a:gd name="T2" fmla="*/ 14 w 15"/>
                <a:gd name="T3" fmla="*/ 1 h 5"/>
                <a:gd name="T4" fmla="*/ 15 w 15"/>
                <a:gd name="T5" fmla="*/ 1 h 5"/>
                <a:gd name="T6" fmla="*/ 14 w 15"/>
                <a:gd name="T7" fmla="*/ 1 h 5"/>
                <a:gd name="T8" fmla="*/ 14 w 15"/>
                <a:gd name="T9" fmla="*/ 1 h 5"/>
                <a:gd name="T10" fmla="*/ 13 w 15"/>
                <a:gd name="T11" fmla="*/ 2 h 5"/>
                <a:gd name="T12" fmla="*/ 13 w 15"/>
                <a:gd name="T13" fmla="*/ 2 h 5"/>
                <a:gd name="T14" fmla="*/ 13 w 15"/>
                <a:gd name="T15" fmla="*/ 2 h 5"/>
                <a:gd name="T16" fmla="*/ 13 w 15"/>
                <a:gd name="T17" fmla="*/ 2 h 5"/>
                <a:gd name="T18" fmla="*/ 12 w 15"/>
                <a:gd name="T19" fmla="*/ 4 h 5"/>
                <a:gd name="T20" fmla="*/ 12 w 15"/>
                <a:gd name="T21" fmla="*/ 4 h 5"/>
                <a:gd name="T22" fmla="*/ 9 w 15"/>
                <a:gd name="T23" fmla="*/ 4 h 5"/>
                <a:gd name="T24" fmla="*/ 10 w 15"/>
                <a:gd name="T25" fmla="*/ 4 h 5"/>
                <a:gd name="T26" fmla="*/ 9 w 15"/>
                <a:gd name="T27" fmla="*/ 4 h 5"/>
                <a:gd name="T28" fmla="*/ 9 w 15"/>
                <a:gd name="T29" fmla="*/ 4 h 5"/>
                <a:gd name="T30" fmla="*/ 7 w 15"/>
                <a:gd name="T31" fmla="*/ 4 h 5"/>
                <a:gd name="T32" fmla="*/ 7 w 15"/>
                <a:gd name="T33" fmla="*/ 4 h 5"/>
                <a:gd name="T34" fmla="*/ 7 w 15"/>
                <a:gd name="T35" fmla="*/ 5 h 5"/>
                <a:gd name="T36" fmla="*/ 6 w 15"/>
                <a:gd name="T37" fmla="*/ 5 h 5"/>
                <a:gd name="T38" fmla="*/ 5 w 15"/>
                <a:gd name="T39" fmla="*/ 5 h 5"/>
                <a:gd name="T40" fmla="*/ 5 w 15"/>
                <a:gd name="T41" fmla="*/ 4 h 5"/>
                <a:gd name="T42" fmla="*/ 4 w 15"/>
                <a:gd name="T43" fmla="*/ 5 h 5"/>
                <a:gd name="T44" fmla="*/ 4 w 15"/>
                <a:gd name="T45" fmla="*/ 4 h 5"/>
                <a:gd name="T46" fmla="*/ 4 w 15"/>
                <a:gd name="T47" fmla="*/ 4 h 5"/>
                <a:gd name="T48" fmla="*/ 2 w 15"/>
                <a:gd name="T49" fmla="*/ 4 h 5"/>
                <a:gd name="T50" fmla="*/ 1 w 15"/>
                <a:gd name="T51" fmla="*/ 2 h 5"/>
                <a:gd name="T52" fmla="*/ 1 w 15"/>
                <a:gd name="T53" fmla="*/ 2 h 5"/>
                <a:gd name="T54" fmla="*/ 4 w 15"/>
                <a:gd name="T55" fmla="*/ 2 h 5"/>
                <a:gd name="T56" fmla="*/ 4 w 15"/>
                <a:gd name="T57" fmla="*/ 2 h 5"/>
                <a:gd name="T58" fmla="*/ 5 w 15"/>
                <a:gd name="T59" fmla="*/ 2 h 5"/>
                <a:gd name="T60" fmla="*/ 5 w 15"/>
                <a:gd name="T61" fmla="*/ 2 h 5"/>
                <a:gd name="T62" fmla="*/ 6 w 15"/>
                <a:gd name="T63" fmla="*/ 2 h 5"/>
                <a:gd name="T64" fmla="*/ 6 w 15"/>
                <a:gd name="T65" fmla="*/ 1 h 5"/>
                <a:gd name="T66" fmla="*/ 7 w 15"/>
                <a:gd name="T67" fmla="*/ 2 h 5"/>
                <a:gd name="T68" fmla="*/ 8 w 15"/>
                <a:gd name="T69" fmla="*/ 2 h 5"/>
                <a:gd name="T70" fmla="*/ 8 w 15"/>
                <a:gd name="T71" fmla="*/ 4 h 5"/>
                <a:gd name="T72" fmla="*/ 8 w 15"/>
                <a:gd name="T73" fmla="*/ 2 h 5"/>
                <a:gd name="T74" fmla="*/ 8 w 15"/>
                <a:gd name="T75" fmla="*/ 1 h 5"/>
                <a:gd name="T76" fmla="*/ 8 w 15"/>
                <a:gd name="T77" fmla="*/ 1 h 5"/>
                <a:gd name="T78" fmla="*/ 8 w 15"/>
                <a:gd name="T79" fmla="*/ 1 h 5"/>
                <a:gd name="T80" fmla="*/ 9 w 15"/>
                <a:gd name="T81" fmla="*/ 1 h 5"/>
                <a:gd name="T82" fmla="*/ 9 w 15"/>
                <a:gd name="T83" fmla="*/ 2 h 5"/>
                <a:gd name="T84" fmla="*/ 10 w 15"/>
                <a:gd name="T85" fmla="*/ 2 h 5"/>
                <a:gd name="T86" fmla="*/ 12 w 15"/>
                <a:gd name="T87" fmla="*/ 1 h 5"/>
                <a:gd name="T88" fmla="*/ 12 w 15"/>
                <a:gd name="T89" fmla="*/ 1 h 5"/>
                <a:gd name="T90" fmla="*/ 12 w 15"/>
                <a:gd name="T91" fmla="*/ 1 h 5"/>
                <a:gd name="T92" fmla="*/ 12 w 15"/>
                <a:gd name="T93" fmla="*/ 1 h 5"/>
                <a:gd name="T94" fmla="*/ 12 w 15"/>
                <a:gd name="T95" fmla="*/ 0 h 5"/>
                <a:gd name="T96" fmla="*/ 12 w 15"/>
                <a:gd name="T97" fmla="*/ 0 h 5"/>
                <a:gd name="T98" fmla="*/ 12 w 15"/>
                <a:gd name="T99" fmla="*/ 0 h 5"/>
                <a:gd name="T100" fmla="*/ 13 w 15"/>
                <a:gd name="T101" fmla="*/ 1 h 5"/>
                <a:gd name="T102" fmla="*/ 14 w 15"/>
                <a:gd name="T103" fmla="*/ 0 h 5"/>
                <a:gd name="T104" fmla="*/ 14 w 15"/>
                <a:gd name="T105" fmla="*/ 0 h 5"/>
                <a:gd name="T106" fmla="*/ 14 w 15"/>
                <a:gd name="T10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 h="5">
                  <a:moveTo>
                    <a:pt x="14" y="0"/>
                  </a:moveTo>
                  <a:lnTo>
                    <a:pt x="15" y="0"/>
                  </a:lnTo>
                  <a:lnTo>
                    <a:pt x="15" y="0"/>
                  </a:lnTo>
                  <a:lnTo>
                    <a:pt x="15" y="0"/>
                  </a:lnTo>
                  <a:lnTo>
                    <a:pt x="15" y="0"/>
                  </a:lnTo>
                  <a:lnTo>
                    <a:pt x="15" y="0"/>
                  </a:lnTo>
                  <a:lnTo>
                    <a:pt x="15" y="0"/>
                  </a:lnTo>
                  <a:lnTo>
                    <a:pt x="15" y="1"/>
                  </a:lnTo>
                  <a:lnTo>
                    <a:pt x="14" y="0"/>
                  </a:lnTo>
                  <a:lnTo>
                    <a:pt x="14" y="1"/>
                  </a:lnTo>
                  <a:lnTo>
                    <a:pt x="14" y="1"/>
                  </a:lnTo>
                  <a:lnTo>
                    <a:pt x="15" y="1"/>
                  </a:lnTo>
                  <a:lnTo>
                    <a:pt x="15" y="1"/>
                  </a:lnTo>
                  <a:lnTo>
                    <a:pt x="15" y="1"/>
                  </a:lnTo>
                  <a:lnTo>
                    <a:pt x="15" y="1"/>
                  </a:lnTo>
                  <a:lnTo>
                    <a:pt x="15" y="1"/>
                  </a:lnTo>
                  <a:lnTo>
                    <a:pt x="15" y="1"/>
                  </a:lnTo>
                  <a:lnTo>
                    <a:pt x="15" y="1"/>
                  </a:lnTo>
                  <a:lnTo>
                    <a:pt x="15" y="1"/>
                  </a:lnTo>
                  <a:lnTo>
                    <a:pt x="14" y="1"/>
                  </a:lnTo>
                  <a:lnTo>
                    <a:pt x="14" y="1"/>
                  </a:lnTo>
                  <a:lnTo>
                    <a:pt x="14" y="1"/>
                  </a:lnTo>
                  <a:lnTo>
                    <a:pt x="14" y="1"/>
                  </a:lnTo>
                  <a:lnTo>
                    <a:pt x="14" y="1"/>
                  </a:lnTo>
                  <a:lnTo>
                    <a:pt x="14" y="1"/>
                  </a:lnTo>
                  <a:lnTo>
                    <a:pt x="14" y="1"/>
                  </a:lnTo>
                  <a:lnTo>
                    <a:pt x="14" y="1"/>
                  </a:lnTo>
                  <a:lnTo>
                    <a:pt x="14" y="1"/>
                  </a:lnTo>
                  <a:lnTo>
                    <a:pt x="14" y="1"/>
                  </a:lnTo>
                  <a:lnTo>
                    <a:pt x="13" y="2"/>
                  </a:lnTo>
                  <a:lnTo>
                    <a:pt x="14" y="2"/>
                  </a:lnTo>
                  <a:lnTo>
                    <a:pt x="14" y="2"/>
                  </a:lnTo>
                  <a:lnTo>
                    <a:pt x="13" y="2"/>
                  </a:lnTo>
                  <a:lnTo>
                    <a:pt x="13" y="2"/>
                  </a:lnTo>
                  <a:lnTo>
                    <a:pt x="13" y="2"/>
                  </a:lnTo>
                  <a:lnTo>
                    <a:pt x="13" y="2"/>
                  </a:lnTo>
                  <a:lnTo>
                    <a:pt x="13" y="2"/>
                  </a:lnTo>
                  <a:lnTo>
                    <a:pt x="12" y="2"/>
                  </a:lnTo>
                  <a:lnTo>
                    <a:pt x="12" y="2"/>
                  </a:lnTo>
                  <a:lnTo>
                    <a:pt x="13" y="2"/>
                  </a:lnTo>
                  <a:lnTo>
                    <a:pt x="13" y="2"/>
                  </a:lnTo>
                  <a:lnTo>
                    <a:pt x="13" y="2"/>
                  </a:lnTo>
                  <a:lnTo>
                    <a:pt x="13" y="2"/>
                  </a:lnTo>
                  <a:lnTo>
                    <a:pt x="13" y="2"/>
                  </a:lnTo>
                  <a:lnTo>
                    <a:pt x="13" y="2"/>
                  </a:lnTo>
                  <a:lnTo>
                    <a:pt x="12" y="2"/>
                  </a:lnTo>
                  <a:lnTo>
                    <a:pt x="12" y="2"/>
                  </a:lnTo>
                  <a:lnTo>
                    <a:pt x="12" y="2"/>
                  </a:lnTo>
                  <a:lnTo>
                    <a:pt x="12" y="2"/>
                  </a:lnTo>
                  <a:lnTo>
                    <a:pt x="12" y="4"/>
                  </a:lnTo>
                  <a:lnTo>
                    <a:pt x="12" y="4"/>
                  </a:lnTo>
                  <a:lnTo>
                    <a:pt x="12" y="4"/>
                  </a:lnTo>
                  <a:lnTo>
                    <a:pt x="10" y="4"/>
                  </a:lnTo>
                  <a:lnTo>
                    <a:pt x="10" y="4"/>
                  </a:lnTo>
                  <a:lnTo>
                    <a:pt x="12" y="4"/>
                  </a:lnTo>
                  <a:lnTo>
                    <a:pt x="10" y="4"/>
                  </a:lnTo>
                  <a:lnTo>
                    <a:pt x="10" y="4"/>
                  </a:lnTo>
                  <a:lnTo>
                    <a:pt x="10" y="4"/>
                  </a:lnTo>
                  <a:lnTo>
                    <a:pt x="10" y="4"/>
                  </a:lnTo>
                  <a:lnTo>
                    <a:pt x="9" y="4"/>
                  </a:lnTo>
                  <a:lnTo>
                    <a:pt x="9" y="4"/>
                  </a:lnTo>
                  <a:lnTo>
                    <a:pt x="10" y="4"/>
                  </a:lnTo>
                  <a:lnTo>
                    <a:pt x="10" y="4"/>
                  </a:lnTo>
                  <a:lnTo>
                    <a:pt x="10" y="4"/>
                  </a:lnTo>
                  <a:lnTo>
                    <a:pt x="10" y="4"/>
                  </a:lnTo>
                  <a:lnTo>
                    <a:pt x="10" y="4"/>
                  </a:lnTo>
                  <a:lnTo>
                    <a:pt x="9" y="4"/>
                  </a:lnTo>
                  <a:lnTo>
                    <a:pt x="9" y="4"/>
                  </a:lnTo>
                  <a:lnTo>
                    <a:pt x="9" y="4"/>
                  </a:lnTo>
                  <a:lnTo>
                    <a:pt x="9" y="4"/>
                  </a:lnTo>
                  <a:lnTo>
                    <a:pt x="9" y="4"/>
                  </a:lnTo>
                  <a:lnTo>
                    <a:pt x="9" y="4"/>
                  </a:lnTo>
                  <a:lnTo>
                    <a:pt x="9" y="4"/>
                  </a:lnTo>
                  <a:lnTo>
                    <a:pt x="9" y="4"/>
                  </a:lnTo>
                  <a:lnTo>
                    <a:pt x="9" y="4"/>
                  </a:lnTo>
                  <a:lnTo>
                    <a:pt x="9" y="4"/>
                  </a:lnTo>
                  <a:lnTo>
                    <a:pt x="8" y="4"/>
                  </a:lnTo>
                  <a:lnTo>
                    <a:pt x="7" y="4"/>
                  </a:lnTo>
                  <a:lnTo>
                    <a:pt x="7" y="4"/>
                  </a:lnTo>
                  <a:lnTo>
                    <a:pt x="7" y="4"/>
                  </a:lnTo>
                  <a:lnTo>
                    <a:pt x="7" y="4"/>
                  </a:lnTo>
                  <a:lnTo>
                    <a:pt x="7" y="4"/>
                  </a:lnTo>
                  <a:lnTo>
                    <a:pt x="7" y="4"/>
                  </a:lnTo>
                  <a:lnTo>
                    <a:pt x="7" y="4"/>
                  </a:lnTo>
                  <a:lnTo>
                    <a:pt x="7" y="4"/>
                  </a:lnTo>
                  <a:lnTo>
                    <a:pt x="7" y="4"/>
                  </a:lnTo>
                  <a:lnTo>
                    <a:pt x="7" y="4"/>
                  </a:lnTo>
                  <a:lnTo>
                    <a:pt x="7" y="5"/>
                  </a:lnTo>
                  <a:lnTo>
                    <a:pt x="7" y="5"/>
                  </a:lnTo>
                  <a:lnTo>
                    <a:pt x="7" y="5"/>
                  </a:lnTo>
                  <a:lnTo>
                    <a:pt x="7" y="5"/>
                  </a:lnTo>
                  <a:lnTo>
                    <a:pt x="6" y="4"/>
                  </a:lnTo>
                  <a:lnTo>
                    <a:pt x="6" y="4"/>
                  </a:lnTo>
                  <a:lnTo>
                    <a:pt x="6" y="5"/>
                  </a:lnTo>
                  <a:lnTo>
                    <a:pt x="6" y="5"/>
                  </a:lnTo>
                  <a:lnTo>
                    <a:pt x="6" y="5"/>
                  </a:lnTo>
                  <a:lnTo>
                    <a:pt x="6" y="5"/>
                  </a:lnTo>
                  <a:lnTo>
                    <a:pt x="6" y="5"/>
                  </a:lnTo>
                  <a:lnTo>
                    <a:pt x="6" y="5"/>
                  </a:lnTo>
                  <a:lnTo>
                    <a:pt x="5" y="5"/>
                  </a:lnTo>
                  <a:lnTo>
                    <a:pt x="5" y="5"/>
                  </a:lnTo>
                  <a:lnTo>
                    <a:pt x="5" y="5"/>
                  </a:lnTo>
                  <a:lnTo>
                    <a:pt x="5" y="5"/>
                  </a:lnTo>
                  <a:lnTo>
                    <a:pt x="5" y="5"/>
                  </a:lnTo>
                  <a:lnTo>
                    <a:pt x="5" y="4"/>
                  </a:lnTo>
                  <a:lnTo>
                    <a:pt x="4" y="4"/>
                  </a:lnTo>
                  <a:lnTo>
                    <a:pt x="4" y="4"/>
                  </a:lnTo>
                  <a:lnTo>
                    <a:pt x="4" y="5"/>
                  </a:lnTo>
                  <a:lnTo>
                    <a:pt x="4" y="5"/>
                  </a:lnTo>
                  <a:lnTo>
                    <a:pt x="4" y="5"/>
                  </a:lnTo>
                  <a:lnTo>
                    <a:pt x="4" y="5"/>
                  </a:lnTo>
                  <a:lnTo>
                    <a:pt x="2" y="5"/>
                  </a:lnTo>
                  <a:lnTo>
                    <a:pt x="2" y="5"/>
                  </a:lnTo>
                  <a:lnTo>
                    <a:pt x="2" y="5"/>
                  </a:lnTo>
                  <a:lnTo>
                    <a:pt x="4" y="4"/>
                  </a:lnTo>
                  <a:lnTo>
                    <a:pt x="4" y="4"/>
                  </a:lnTo>
                  <a:lnTo>
                    <a:pt x="4" y="4"/>
                  </a:lnTo>
                  <a:lnTo>
                    <a:pt x="4" y="4"/>
                  </a:lnTo>
                  <a:lnTo>
                    <a:pt x="4" y="4"/>
                  </a:lnTo>
                  <a:lnTo>
                    <a:pt x="4" y="4"/>
                  </a:lnTo>
                  <a:lnTo>
                    <a:pt x="5" y="4"/>
                  </a:lnTo>
                  <a:lnTo>
                    <a:pt x="5" y="2"/>
                  </a:lnTo>
                  <a:lnTo>
                    <a:pt x="2" y="4"/>
                  </a:lnTo>
                  <a:lnTo>
                    <a:pt x="2" y="4"/>
                  </a:lnTo>
                  <a:lnTo>
                    <a:pt x="2" y="4"/>
                  </a:lnTo>
                  <a:lnTo>
                    <a:pt x="1" y="4"/>
                  </a:lnTo>
                  <a:lnTo>
                    <a:pt x="1" y="4"/>
                  </a:lnTo>
                  <a:lnTo>
                    <a:pt x="1" y="4"/>
                  </a:lnTo>
                  <a:lnTo>
                    <a:pt x="1" y="4"/>
                  </a:lnTo>
                  <a:lnTo>
                    <a:pt x="1" y="2"/>
                  </a:lnTo>
                  <a:lnTo>
                    <a:pt x="1" y="2"/>
                  </a:lnTo>
                  <a:lnTo>
                    <a:pt x="1" y="2"/>
                  </a:lnTo>
                  <a:lnTo>
                    <a:pt x="1" y="2"/>
                  </a:lnTo>
                  <a:lnTo>
                    <a:pt x="0" y="2"/>
                  </a:lnTo>
                  <a:lnTo>
                    <a:pt x="1" y="2"/>
                  </a:lnTo>
                  <a:lnTo>
                    <a:pt x="1" y="2"/>
                  </a:lnTo>
                  <a:lnTo>
                    <a:pt x="2" y="2"/>
                  </a:lnTo>
                  <a:lnTo>
                    <a:pt x="4" y="2"/>
                  </a:lnTo>
                  <a:lnTo>
                    <a:pt x="4" y="2"/>
                  </a:lnTo>
                  <a:lnTo>
                    <a:pt x="4" y="2"/>
                  </a:lnTo>
                  <a:lnTo>
                    <a:pt x="4" y="2"/>
                  </a:lnTo>
                  <a:lnTo>
                    <a:pt x="4" y="2"/>
                  </a:lnTo>
                  <a:lnTo>
                    <a:pt x="4" y="2"/>
                  </a:lnTo>
                  <a:lnTo>
                    <a:pt x="4" y="2"/>
                  </a:lnTo>
                  <a:lnTo>
                    <a:pt x="4" y="2"/>
                  </a:lnTo>
                  <a:lnTo>
                    <a:pt x="5" y="2"/>
                  </a:lnTo>
                  <a:lnTo>
                    <a:pt x="5" y="2"/>
                  </a:lnTo>
                  <a:lnTo>
                    <a:pt x="5" y="2"/>
                  </a:lnTo>
                  <a:lnTo>
                    <a:pt x="5" y="2"/>
                  </a:lnTo>
                  <a:lnTo>
                    <a:pt x="5" y="2"/>
                  </a:lnTo>
                  <a:lnTo>
                    <a:pt x="5" y="1"/>
                  </a:lnTo>
                  <a:lnTo>
                    <a:pt x="5" y="1"/>
                  </a:lnTo>
                  <a:lnTo>
                    <a:pt x="5" y="1"/>
                  </a:lnTo>
                  <a:lnTo>
                    <a:pt x="5" y="1"/>
                  </a:lnTo>
                  <a:lnTo>
                    <a:pt x="5" y="2"/>
                  </a:lnTo>
                  <a:lnTo>
                    <a:pt x="6" y="2"/>
                  </a:lnTo>
                  <a:lnTo>
                    <a:pt x="6" y="2"/>
                  </a:lnTo>
                  <a:lnTo>
                    <a:pt x="6" y="2"/>
                  </a:lnTo>
                  <a:lnTo>
                    <a:pt x="6" y="2"/>
                  </a:lnTo>
                  <a:lnTo>
                    <a:pt x="6" y="2"/>
                  </a:lnTo>
                  <a:lnTo>
                    <a:pt x="6" y="2"/>
                  </a:lnTo>
                  <a:lnTo>
                    <a:pt x="6" y="1"/>
                  </a:lnTo>
                  <a:lnTo>
                    <a:pt x="6" y="1"/>
                  </a:lnTo>
                  <a:lnTo>
                    <a:pt x="6" y="1"/>
                  </a:lnTo>
                  <a:lnTo>
                    <a:pt x="6" y="1"/>
                  </a:lnTo>
                  <a:lnTo>
                    <a:pt x="7" y="2"/>
                  </a:lnTo>
                  <a:lnTo>
                    <a:pt x="7" y="2"/>
                  </a:lnTo>
                  <a:lnTo>
                    <a:pt x="7" y="2"/>
                  </a:lnTo>
                  <a:lnTo>
                    <a:pt x="7" y="2"/>
                  </a:lnTo>
                  <a:lnTo>
                    <a:pt x="7" y="2"/>
                  </a:lnTo>
                  <a:lnTo>
                    <a:pt x="7" y="2"/>
                  </a:lnTo>
                  <a:lnTo>
                    <a:pt x="7" y="2"/>
                  </a:lnTo>
                  <a:lnTo>
                    <a:pt x="7" y="2"/>
                  </a:lnTo>
                  <a:lnTo>
                    <a:pt x="7" y="2"/>
                  </a:lnTo>
                  <a:lnTo>
                    <a:pt x="8" y="2"/>
                  </a:lnTo>
                  <a:lnTo>
                    <a:pt x="8" y="2"/>
                  </a:lnTo>
                  <a:lnTo>
                    <a:pt x="8" y="2"/>
                  </a:lnTo>
                  <a:lnTo>
                    <a:pt x="8" y="2"/>
                  </a:lnTo>
                  <a:lnTo>
                    <a:pt x="8" y="4"/>
                  </a:lnTo>
                  <a:lnTo>
                    <a:pt x="8" y="4"/>
                  </a:lnTo>
                  <a:lnTo>
                    <a:pt x="8" y="4"/>
                  </a:lnTo>
                  <a:lnTo>
                    <a:pt x="8" y="2"/>
                  </a:lnTo>
                  <a:lnTo>
                    <a:pt x="8" y="2"/>
                  </a:lnTo>
                  <a:lnTo>
                    <a:pt x="8" y="2"/>
                  </a:lnTo>
                  <a:lnTo>
                    <a:pt x="8" y="2"/>
                  </a:lnTo>
                  <a:lnTo>
                    <a:pt x="9" y="2"/>
                  </a:lnTo>
                  <a:lnTo>
                    <a:pt x="9" y="2"/>
                  </a:lnTo>
                  <a:lnTo>
                    <a:pt x="8" y="2"/>
                  </a:lnTo>
                  <a:lnTo>
                    <a:pt x="8" y="2"/>
                  </a:lnTo>
                  <a:lnTo>
                    <a:pt x="8" y="1"/>
                  </a:lnTo>
                  <a:lnTo>
                    <a:pt x="8" y="1"/>
                  </a:lnTo>
                  <a:lnTo>
                    <a:pt x="8" y="1"/>
                  </a:lnTo>
                  <a:lnTo>
                    <a:pt x="8" y="1"/>
                  </a:lnTo>
                  <a:lnTo>
                    <a:pt x="8" y="1"/>
                  </a:lnTo>
                  <a:lnTo>
                    <a:pt x="8" y="1"/>
                  </a:lnTo>
                  <a:lnTo>
                    <a:pt x="8" y="1"/>
                  </a:lnTo>
                  <a:lnTo>
                    <a:pt x="8" y="1"/>
                  </a:lnTo>
                  <a:lnTo>
                    <a:pt x="8" y="1"/>
                  </a:lnTo>
                  <a:lnTo>
                    <a:pt x="8" y="1"/>
                  </a:lnTo>
                  <a:lnTo>
                    <a:pt x="8" y="1"/>
                  </a:lnTo>
                  <a:lnTo>
                    <a:pt x="9" y="1"/>
                  </a:lnTo>
                  <a:lnTo>
                    <a:pt x="9" y="1"/>
                  </a:lnTo>
                  <a:lnTo>
                    <a:pt x="9" y="1"/>
                  </a:lnTo>
                  <a:lnTo>
                    <a:pt x="9" y="1"/>
                  </a:lnTo>
                  <a:lnTo>
                    <a:pt x="9" y="1"/>
                  </a:lnTo>
                  <a:lnTo>
                    <a:pt x="9" y="1"/>
                  </a:lnTo>
                  <a:lnTo>
                    <a:pt x="9" y="1"/>
                  </a:lnTo>
                  <a:lnTo>
                    <a:pt x="10" y="1"/>
                  </a:lnTo>
                  <a:lnTo>
                    <a:pt x="10" y="1"/>
                  </a:lnTo>
                  <a:lnTo>
                    <a:pt x="9" y="2"/>
                  </a:lnTo>
                  <a:lnTo>
                    <a:pt x="10" y="2"/>
                  </a:lnTo>
                  <a:lnTo>
                    <a:pt x="10" y="2"/>
                  </a:lnTo>
                  <a:lnTo>
                    <a:pt x="10" y="2"/>
                  </a:lnTo>
                  <a:lnTo>
                    <a:pt x="10" y="2"/>
                  </a:lnTo>
                  <a:lnTo>
                    <a:pt x="10" y="2"/>
                  </a:lnTo>
                  <a:lnTo>
                    <a:pt x="10" y="2"/>
                  </a:lnTo>
                  <a:lnTo>
                    <a:pt x="10" y="2"/>
                  </a:lnTo>
                  <a:lnTo>
                    <a:pt x="10" y="2"/>
                  </a:lnTo>
                  <a:lnTo>
                    <a:pt x="10" y="1"/>
                  </a:lnTo>
                  <a:lnTo>
                    <a:pt x="12" y="1"/>
                  </a:lnTo>
                  <a:lnTo>
                    <a:pt x="12" y="1"/>
                  </a:lnTo>
                  <a:lnTo>
                    <a:pt x="12" y="1"/>
                  </a:lnTo>
                  <a:lnTo>
                    <a:pt x="12" y="1"/>
                  </a:lnTo>
                  <a:lnTo>
                    <a:pt x="12" y="1"/>
                  </a:lnTo>
                  <a:lnTo>
                    <a:pt x="12" y="1"/>
                  </a:lnTo>
                  <a:lnTo>
                    <a:pt x="12" y="1"/>
                  </a:lnTo>
                  <a:lnTo>
                    <a:pt x="13" y="1"/>
                  </a:lnTo>
                  <a:lnTo>
                    <a:pt x="13" y="1"/>
                  </a:lnTo>
                  <a:lnTo>
                    <a:pt x="13" y="1"/>
                  </a:lnTo>
                  <a:lnTo>
                    <a:pt x="12" y="1"/>
                  </a:lnTo>
                  <a:lnTo>
                    <a:pt x="12" y="1"/>
                  </a:lnTo>
                  <a:lnTo>
                    <a:pt x="12" y="1"/>
                  </a:lnTo>
                  <a:lnTo>
                    <a:pt x="12" y="1"/>
                  </a:lnTo>
                  <a:lnTo>
                    <a:pt x="12" y="1"/>
                  </a:lnTo>
                  <a:lnTo>
                    <a:pt x="12" y="1"/>
                  </a:lnTo>
                  <a:lnTo>
                    <a:pt x="12" y="1"/>
                  </a:lnTo>
                  <a:lnTo>
                    <a:pt x="10" y="1"/>
                  </a:lnTo>
                  <a:lnTo>
                    <a:pt x="10" y="1"/>
                  </a:lnTo>
                  <a:lnTo>
                    <a:pt x="10" y="0"/>
                  </a:lnTo>
                  <a:lnTo>
                    <a:pt x="12" y="0"/>
                  </a:lnTo>
                  <a:lnTo>
                    <a:pt x="12" y="0"/>
                  </a:lnTo>
                  <a:lnTo>
                    <a:pt x="12" y="0"/>
                  </a:lnTo>
                  <a:lnTo>
                    <a:pt x="12" y="0"/>
                  </a:lnTo>
                  <a:lnTo>
                    <a:pt x="10" y="0"/>
                  </a:lnTo>
                  <a:lnTo>
                    <a:pt x="12" y="0"/>
                  </a:lnTo>
                  <a:lnTo>
                    <a:pt x="12" y="0"/>
                  </a:lnTo>
                  <a:lnTo>
                    <a:pt x="12" y="1"/>
                  </a:lnTo>
                  <a:lnTo>
                    <a:pt x="13" y="0"/>
                  </a:lnTo>
                  <a:lnTo>
                    <a:pt x="13" y="0"/>
                  </a:lnTo>
                  <a:lnTo>
                    <a:pt x="12" y="0"/>
                  </a:lnTo>
                  <a:lnTo>
                    <a:pt x="12" y="0"/>
                  </a:lnTo>
                  <a:lnTo>
                    <a:pt x="12" y="0"/>
                  </a:lnTo>
                  <a:lnTo>
                    <a:pt x="13" y="0"/>
                  </a:lnTo>
                  <a:lnTo>
                    <a:pt x="13" y="1"/>
                  </a:lnTo>
                  <a:lnTo>
                    <a:pt x="13" y="1"/>
                  </a:lnTo>
                  <a:lnTo>
                    <a:pt x="13" y="1"/>
                  </a:lnTo>
                  <a:lnTo>
                    <a:pt x="14" y="1"/>
                  </a:lnTo>
                  <a:lnTo>
                    <a:pt x="14" y="1"/>
                  </a:lnTo>
                  <a:lnTo>
                    <a:pt x="14" y="0"/>
                  </a:lnTo>
                  <a:lnTo>
                    <a:pt x="14" y="0"/>
                  </a:lnTo>
                  <a:lnTo>
                    <a:pt x="14" y="0"/>
                  </a:lnTo>
                  <a:lnTo>
                    <a:pt x="14" y="0"/>
                  </a:lnTo>
                  <a:lnTo>
                    <a:pt x="14" y="0"/>
                  </a:lnTo>
                  <a:lnTo>
                    <a:pt x="13" y="0"/>
                  </a:lnTo>
                  <a:lnTo>
                    <a:pt x="14" y="0"/>
                  </a:lnTo>
                  <a:lnTo>
                    <a:pt x="14" y="0"/>
                  </a:lnTo>
                  <a:lnTo>
                    <a:pt x="14" y="0"/>
                  </a:lnTo>
                  <a:lnTo>
                    <a:pt x="14" y="0"/>
                  </a:lnTo>
                  <a:lnTo>
                    <a:pt x="14" y="0"/>
                  </a:lnTo>
                  <a:lnTo>
                    <a:pt x="14"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37" name="Freeform 1503">
              <a:extLst>
                <a:ext uri="{FF2B5EF4-FFF2-40B4-BE49-F238E27FC236}">
                  <a16:creationId xmlns:a16="http://schemas.microsoft.com/office/drawing/2014/main" id="{FFB48696-F48F-4FC9-A9B2-3AB0441A2AE3}"/>
                </a:ext>
              </a:extLst>
            </p:cNvPr>
            <p:cNvSpPr>
              <a:spLocks/>
            </p:cNvSpPr>
            <p:nvPr/>
          </p:nvSpPr>
          <p:spPr bwMode="auto">
            <a:xfrm>
              <a:off x="6122938" y="1892846"/>
              <a:ext cx="4007" cy="1336"/>
            </a:xfrm>
            <a:custGeom>
              <a:avLst/>
              <a:gdLst>
                <a:gd name="T0" fmla="*/ 2 w 3"/>
                <a:gd name="T1" fmla="*/ 0 h 1"/>
                <a:gd name="T2" fmla="*/ 2 w 3"/>
                <a:gd name="T3" fmla="*/ 0 h 1"/>
                <a:gd name="T4" fmla="*/ 3 w 3"/>
                <a:gd name="T5" fmla="*/ 0 h 1"/>
                <a:gd name="T6" fmla="*/ 3 w 3"/>
                <a:gd name="T7" fmla="*/ 0 h 1"/>
                <a:gd name="T8" fmla="*/ 3 w 3"/>
                <a:gd name="T9" fmla="*/ 0 h 1"/>
                <a:gd name="T10" fmla="*/ 2 w 3"/>
                <a:gd name="T11" fmla="*/ 0 h 1"/>
                <a:gd name="T12" fmla="*/ 2 w 3"/>
                <a:gd name="T13" fmla="*/ 0 h 1"/>
                <a:gd name="T14" fmla="*/ 2 w 3"/>
                <a:gd name="T15" fmla="*/ 0 h 1"/>
                <a:gd name="T16" fmla="*/ 2 w 3"/>
                <a:gd name="T17" fmla="*/ 0 h 1"/>
                <a:gd name="T18" fmla="*/ 2 w 3"/>
                <a:gd name="T19" fmla="*/ 0 h 1"/>
                <a:gd name="T20" fmla="*/ 2 w 3"/>
                <a:gd name="T21" fmla="*/ 1 h 1"/>
                <a:gd name="T22" fmla="*/ 2 w 3"/>
                <a:gd name="T23" fmla="*/ 1 h 1"/>
                <a:gd name="T24" fmla="*/ 3 w 3"/>
                <a:gd name="T25" fmla="*/ 1 h 1"/>
                <a:gd name="T26" fmla="*/ 3 w 3"/>
                <a:gd name="T27" fmla="*/ 1 h 1"/>
                <a:gd name="T28" fmla="*/ 3 w 3"/>
                <a:gd name="T29" fmla="*/ 1 h 1"/>
                <a:gd name="T30" fmla="*/ 3 w 3"/>
                <a:gd name="T31" fmla="*/ 1 h 1"/>
                <a:gd name="T32" fmla="*/ 3 w 3"/>
                <a:gd name="T33" fmla="*/ 1 h 1"/>
                <a:gd name="T34" fmla="*/ 3 w 3"/>
                <a:gd name="T35" fmla="*/ 1 h 1"/>
                <a:gd name="T36" fmla="*/ 3 w 3"/>
                <a:gd name="T37" fmla="*/ 1 h 1"/>
                <a:gd name="T38" fmla="*/ 3 w 3"/>
                <a:gd name="T39" fmla="*/ 1 h 1"/>
                <a:gd name="T40" fmla="*/ 3 w 3"/>
                <a:gd name="T41" fmla="*/ 1 h 1"/>
                <a:gd name="T42" fmla="*/ 2 w 3"/>
                <a:gd name="T43" fmla="*/ 1 h 1"/>
                <a:gd name="T44" fmla="*/ 2 w 3"/>
                <a:gd name="T45" fmla="*/ 1 h 1"/>
                <a:gd name="T46" fmla="*/ 2 w 3"/>
                <a:gd name="T47" fmla="*/ 1 h 1"/>
                <a:gd name="T48" fmla="*/ 2 w 3"/>
                <a:gd name="T49" fmla="*/ 1 h 1"/>
                <a:gd name="T50" fmla="*/ 2 w 3"/>
                <a:gd name="T51" fmla="*/ 1 h 1"/>
                <a:gd name="T52" fmla="*/ 2 w 3"/>
                <a:gd name="T53" fmla="*/ 1 h 1"/>
                <a:gd name="T54" fmla="*/ 2 w 3"/>
                <a:gd name="T55" fmla="*/ 1 h 1"/>
                <a:gd name="T56" fmla="*/ 1 w 3"/>
                <a:gd name="T57" fmla="*/ 1 h 1"/>
                <a:gd name="T58" fmla="*/ 1 w 3"/>
                <a:gd name="T59" fmla="*/ 1 h 1"/>
                <a:gd name="T60" fmla="*/ 1 w 3"/>
                <a:gd name="T61" fmla="*/ 1 h 1"/>
                <a:gd name="T62" fmla="*/ 1 w 3"/>
                <a:gd name="T63" fmla="*/ 1 h 1"/>
                <a:gd name="T64" fmla="*/ 0 w 3"/>
                <a:gd name="T65" fmla="*/ 1 h 1"/>
                <a:gd name="T66" fmla="*/ 1 w 3"/>
                <a:gd name="T67" fmla="*/ 1 h 1"/>
                <a:gd name="T68" fmla="*/ 1 w 3"/>
                <a:gd name="T69" fmla="*/ 1 h 1"/>
                <a:gd name="T70" fmla="*/ 1 w 3"/>
                <a:gd name="T71" fmla="*/ 0 h 1"/>
                <a:gd name="T72" fmla="*/ 1 w 3"/>
                <a:gd name="T73" fmla="*/ 0 h 1"/>
                <a:gd name="T74" fmla="*/ 1 w 3"/>
                <a:gd name="T75" fmla="*/ 0 h 1"/>
                <a:gd name="T76" fmla="*/ 0 w 3"/>
                <a:gd name="T77" fmla="*/ 0 h 1"/>
                <a:gd name="T78" fmla="*/ 0 w 3"/>
                <a:gd name="T79" fmla="*/ 0 h 1"/>
                <a:gd name="T80" fmla="*/ 0 w 3"/>
                <a:gd name="T81" fmla="*/ 0 h 1"/>
                <a:gd name="T82" fmla="*/ 1 w 3"/>
                <a:gd name="T83" fmla="*/ 0 h 1"/>
                <a:gd name="T84" fmla="*/ 0 w 3"/>
                <a:gd name="T85" fmla="*/ 0 h 1"/>
                <a:gd name="T86" fmla="*/ 0 w 3"/>
                <a:gd name="T87" fmla="*/ 0 h 1"/>
                <a:gd name="T88" fmla="*/ 0 w 3"/>
                <a:gd name="T89" fmla="*/ 0 h 1"/>
                <a:gd name="T90" fmla="*/ 1 w 3"/>
                <a:gd name="T91" fmla="*/ 0 h 1"/>
                <a:gd name="T92" fmla="*/ 2 w 3"/>
                <a:gd name="T93" fmla="*/ 0 h 1"/>
                <a:gd name="T94" fmla="*/ 2 w 3"/>
                <a:gd name="T95" fmla="*/ 0 h 1"/>
                <a:gd name="T96" fmla="*/ 2 w 3"/>
                <a:gd name="T9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 h="1">
                  <a:moveTo>
                    <a:pt x="2" y="0"/>
                  </a:moveTo>
                  <a:lnTo>
                    <a:pt x="2" y="0"/>
                  </a:lnTo>
                  <a:lnTo>
                    <a:pt x="3" y="0"/>
                  </a:lnTo>
                  <a:lnTo>
                    <a:pt x="3" y="0"/>
                  </a:lnTo>
                  <a:lnTo>
                    <a:pt x="3" y="0"/>
                  </a:lnTo>
                  <a:lnTo>
                    <a:pt x="2" y="0"/>
                  </a:lnTo>
                  <a:lnTo>
                    <a:pt x="2" y="0"/>
                  </a:lnTo>
                  <a:lnTo>
                    <a:pt x="2" y="0"/>
                  </a:lnTo>
                  <a:lnTo>
                    <a:pt x="2" y="0"/>
                  </a:lnTo>
                  <a:lnTo>
                    <a:pt x="2" y="0"/>
                  </a:lnTo>
                  <a:lnTo>
                    <a:pt x="2" y="1"/>
                  </a:lnTo>
                  <a:lnTo>
                    <a:pt x="2" y="1"/>
                  </a:lnTo>
                  <a:lnTo>
                    <a:pt x="3" y="1"/>
                  </a:lnTo>
                  <a:lnTo>
                    <a:pt x="3" y="1"/>
                  </a:lnTo>
                  <a:lnTo>
                    <a:pt x="3" y="1"/>
                  </a:lnTo>
                  <a:lnTo>
                    <a:pt x="3" y="1"/>
                  </a:lnTo>
                  <a:lnTo>
                    <a:pt x="3" y="1"/>
                  </a:lnTo>
                  <a:lnTo>
                    <a:pt x="3" y="1"/>
                  </a:lnTo>
                  <a:lnTo>
                    <a:pt x="3" y="1"/>
                  </a:lnTo>
                  <a:lnTo>
                    <a:pt x="3" y="1"/>
                  </a:lnTo>
                  <a:lnTo>
                    <a:pt x="3" y="1"/>
                  </a:lnTo>
                  <a:lnTo>
                    <a:pt x="2" y="1"/>
                  </a:lnTo>
                  <a:lnTo>
                    <a:pt x="2" y="1"/>
                  </a:lnTo>
                  <a:lnTo>
                    <a:pt x="2" y="1"/>
                  </a:lnTo>
                  <a:lnTo>
                    <a:pt x="2" y="1"/>
                  </a:lnTo>
                  <a:lnTo>
                    <a:pt x="2" y="1"/>
                  </a:lnTo>
                  <a:lnTo>
                    <a:pt x="2" y="1"/>
                  </a:lnTo>
                  <a:lnTo>
                    <a:pt x="2" y="1"/>
                  </a:lnTo>
                  <a:lnTo>
                    <a:pt x="1" y="1"/>
                  </a:lnTo>
                  <a:lnTo>
                    <a:pt x="1" y="1"/>
                  </a:lnTo>
                  <a:lnTo>
                    <a:pt x="1" y="1"/>
                  </a:lnTo>
                  <a:lnTo>
                    <a:pt x="1" y="1"/>
                  </a:lnTo>
                  <a:lnTo>
                    <a:pt x="0" y="1"/>
                  </a:lnTo>
                  <a:lnTo>
                    <a:pt x="1" y="1"/>
                  </a:lnTo>
                  <a:lnTo>
                    <a:pt x="1" y="1"/>
                  </a:lnTo>
                  <a:lnTo>
                    <a:pt x="1" y="0"/>
                  </a:lnTo>
                  <a:lnTo>
                    <a:pt x="1" y="0"/>
                  </a:lnTo>
                  <a:lnTo>
                    <a:pt x="1" y="0"/>
                  </a:lnTo>
                  <a:lnTo>
                    <a:pt x="0" y="0"/>
                  </a:lnTo>
                  <a:lnTo>
                    <a:pt x="0" y="0"/>
                  </a:lnTo>
                  <a:lnTo>
                    <a:pt x="0" y="0"/>
                  </a:lnTo>
                  <a:lnTo>
                    <a:pt x="1" y="0"/>
                  </a:lnTo>
                  <a:lnTo>
                    <a:pt x="0" y="0"/>
                  </a:lnTo>
                  <a:lnTo>
                    <a:pt x="0" y="0"/>
                  </a:lnTo>
                  <a:lnTo>
                    <a:pt x="0" y="0"/>
                  </a:lnTo>
                  <a:lnTo>
                    <a:pt x="1"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38" name="Freeform 1504">
              <a:extLst>
                <a:ext uri="{FF2B5EF4-FFF2-40B4-BE49-F238E27FC236}">
                  <a16:creationId xmlns:a16="http://schemas.microsoft.com/office/drawing/2014/main" id="{E816BE57-A57B-4CD6-8C29-4A8A1748AFB8}"/>
                </a:ext>
              </a:extLst>
            </p:cNvPr>
            <p:cNvSpPr>
              <a:spLocks/>
            </p:cNvSpPr>
            <p:nvPr/>
          </p:nvSpPr>
          <p:spPr bwMode="auto">
            <a:xfrm>
              <a:off x="6132287" y="1891510"/>
              <a:ext cx="2671" cy="1336"/>
            </a:xfrm>
            <a:custGeom>
              <a:avLst/>
              <a:gdLst>
                <a:gd name="T0" fmla="*/ 1 w 2"/>
                <a:gd name="T1" fmla="*/ 0 h 1"/>
                <a:gd name="T2" fmla="*/ 1 w 2"/>
                <a:gd name="T3" fmla="*/ 0 h 1"/>
                <a:gd name="T4" fmla="*/ 2 w 2"/>
                <a:gd name="T5" fmla="*/ 0 h 1"/>
                <a:gd name="T6" fmla="*/ 2 w 2"/>
                <a:gd name="T7" fmla="*/ 0 h 1"/>
                <a:gd name="T8" fmla="*/ 2 w 2"/>
                <a:gd name="T9" fmla="*/ 0 h 1"/>
                <a:gd name="T10" fmla="*/ 2 w 2"/>
                <a:gd name="T11" fmla="*/ 0 h 1"/>
                <a:gd name="T12" fmla="*/ 2 w 2"/>
                <a:gd name="T13" fmla="*/ 0 h 1"/>
                <a:gd name="T14" fmla="*/ 2 w 2"/>
                <a:gd name="T15" fmla="*/ 0 h 1"/>
                <a:gd name="T16" fmla="*/ 2 w 2"/>
                <a:gd name="T17" fmla="*/ 0 h 1"/>
                <a:gd name="T18" fmla="*/ 2 w 2"/>
                <a:gd name="T19" fmla="*/ 0 h 1"/>
                <a:gd name="T20" fmla="*/ 1 w 2"/>
                <a:gd name="T21" fmla="*/ 0 h 1"/>
                <a:gd name="T22" fmla="*/ 1 w 2"/>
                <a:gd name="T23" fmla="*/ 1 h 1"/>
                <a:gd name="T24" fmla="*/ 2 w 2"/>
                <a:gd name="T25" fmla="*/ 1 h 1"/>
                <a:gd name="T26" fmla="*/ 2 w 2"/>
                <a:gd name="T27" fmla="*/ 1 h 1"/>
                <a:gd name="T28" fmla="*/ 1 w 2"/>
                <a:gd name="T29" fmla="*/ 1 h 1"/>
                <a:gd name="T30" fmla="*/ 1 w 2"/>
                <a:gd name="T31" fmla="*/ 1 h 1"/>
                <a:gd name="T32" fmla="*/ 1 w 2"/>
                <a:gd name="T33" fmla="*/ 1 h 1"/>
                <a:gd name="T34" fmla="*/ 1 w 2"/>
                <a:gd name="T35" fmla="*/ 1 h 1"/>
                <a:gd name="T36" fmla="*/ 1 w 2"/>
                <a:gd name="T37" fmla="*/ 1 h 1"/>
                <a:gd name="T38" fmla="*/ 1 w 2"/>
                <a:gd name="T39" fmla="*/ 1 h 1"/>
                <a:gd name="T40" fmla="*/ 0 w 2"/>
                <a:gd name="T41" fmla="*/ 1 h 1"/>
                <a:gd name="T42" fmla="*/ 0 w 2"/>
                <a:gd name="T43" fmla="*/ 1 h 1"/>
                <a:gd name="T44" fmla="*/ 0 w 2"/>
                <a:gd name="T45" fmla="*/ 0 h 1"/>
                <a:gd name="T46" fmla="*/ 0 w 2"/>
                <a:gd name="T47" fmla="*/ 0 h 1"/>
                <a:gd name="T48" fmla="*/ 0 w 2"/>
                <a:gd name="T49" fmla="*/ 0 h 1"/>
                <a:gd name="T50" fmla="*/ 1 w 2"/>
                <a:gd name="T51" fmla="*/ 0 h 1"/>
                <a:gd name="T52" fmla="*/ 1 w 2"/>
                <a:gd name="T53" fmla="*/ 0 h 1"/>
                <a:gd name="T54" fmla="*/ 1 w 2"/>
                <a:gd name="T55" fmla="*/ 0 h 1"/>
                <a:gd name="T56" fmla="*/ 1 w 2"/>
                <a:gd name="T57" fmla="*/ 0 h 1"/>
                <a:gd name="T58" fmla="*/ 1 w 2"/>
                <a:gd name="T59" fmla="*/ 0 h 1"/>
                <a:gd name="T60" fmla="*/ 1 w 2"/>
                <a:gd name="T61" fmla="*/ 0 h 1"/>
                <a:gd name="T62" fmla="*/ 1 w 2"/>
                <a:gd name="T63" fmla="*/ 0 h 1"/>
                <a:gd name="T64" fmla="*/ 1 w 2"/>
                <a:gd name="T65" fmla="*/ 0 h 1"/>
                <a:gd name="T66" fmla="*/ 1 w 2"/>
                <a:gd name="T67" fmla="*/ 0 h 1"/>
                <a:gd name="T68" fmla="*/ 1 w 2"/>
                <a:gd name="T69" fmla="*/ 0 h 1"/>
                <a:gd name="T70" fmla="*/ 1 w 2"/>
                <a:gd name="T71" fmla="*/ 0 h 1"/>
                <a:gd name="T72" fmla="*/ 1 w 2"/>
                <a:gd name="T73" fmla="*/ 0 h 1"/>
                <a:gd name="T74" fmla="*/ 1 w 2"/>
                <a:gd name="T75" fmla="*/ 0 h 1"/>
                <a:gd name="T76" fmla="*/ 1 w 2"/>
                <a:gd name="T77" fmla="*/ 0 h 1"/>
                <a:gd name="T78" fmla="*/ 1 w 2"/>
                <a:gd name="T7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 h="1">
                  <a:moveTo>
                    <a:pt x="1" y="0"/>
                  </a:moveTo>
                  <a:lnTo>
                    <a:pt x="1" y="0"/>
                  </a:lnTo>
                  <a:lnTo>
                    <a:pt x="2" y="0"/>
                  </a:lnTo>
                  <a:lnTo>
                    <a:pt x="2" y="0"/>
                  </a:lnTo>
                  <a:lnTo>
                    <a:pt x="2" y="0"/>
                  </a:lnTo>
                  <a:lnTo>
                    <a:pt x="2" y="0"/>
                  </a:lnTo>
                  <a:lnTo>
                    <a:pt x="2" y="0"/>
                  </a:lnTo>
                  <a:lnTo>
                    <a:pt x="2" y="0"/>
                  </a:lnTo>
                  <a:lnTo>
                    <a:pt x="2" y="0"/>
                  </a:lnTo>
                  <a:lnTo>
                    <a:pt x="2" y="0"/>
                  </a:lnTo>
                  <a:lnTo>
                    <a:pt x="1" y="0"/>
                  </a:lnTo>
                  <a:lnTo>
                    <a:pt x="1" y="1"/>
                  </a:lnTo>
                  <a:lnTo>
                    <a:pt x="2" y="1"/>
                  </a:lnTo>
                  <a:lnTo>
                    <a:pt x="2" y="1"/>
                  </a:lnTo>
                  <a:lnTo>
                    <a:pt x="1" y="1"/>
                  </a:lnTo>
                  <a:lnTo>
                    <a:pt x="1" y="1"/>
                  </a:lnTo>
                  <a:lnTo>
                    <a:pt x="1" y="1"/>
                  </a:lnTo>
                  <a:lnTo>
                    <a:pt x="1" y="1"/>
                  </a:lnTo>
                  <a:lnTo>
                    <a:pt x="1" y="1"/>
                  </a:lnTo>
                  <a:lnTo>
                    <a:pt x="1" y="1"/>
                  </a:lnTo>
                  <a:lnTo>
                    <a:pt x="0" y="1"/>
                  </a:lnTo>
                  <a:lnTo>
                    <a:pt x="0" y="1"/>
                  </a:lnTo>
                  <a:lnTo>
                    <a:pt x="0" y="0"/>
                  </a:lnTo>
                  <a:lnTo>
                    <a:pt x="0" y="0"/>
                  </a:lnTo>
                  <a:lnTo>
                    <a:pt x="0"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39" name="Freeform 1505">
              <a:extLst>
                <a:ext uri="{FF2B5EF4-FFF2-40B4-BE49-F238E27FC236}">
                  <a16:creationId xmlns:a16="http://schemas.microsoft.com/office/drawing/2014/main" id="{AB7C0911-B40C-4702-B21C-2E6EF466616A}"/>
                </a:ext>
              </a:extLst>
            </p:cNvPr>
            <p:cNvSpPr>
              <a:spLocks/>
            </p:cNvSpPr>
            <p:nvPr/>
          </p:nvSpPr>
          <p:spPr bwMode="auto">
            <a:xfrm>
              <a:off x="5878544" y="1891510"/>
              <a:ext cx="343221" cy="244395"/>
            </a:xfrm>
            <a:custGeom>
              <a:avLst/>
              <a:gdLst>
                <a:gd name="T0" fmla="*/ 226 w 257"/>
                <a:gd name="T1" fmla="*/ 7 h 183"/>
                <a:gd name="T2" fmla="*/ 237 w 257"/>
                <a:gd name="T3" fmla="*/ 5 h 183"/>
                <a:gd name="T4" fmla="*/ 233 w 257"/>
                <a:gd name="T5" fmla="*/ 12 h 183"/>
                <a:gd name="T6" fmla="*/ 252 w 257"/>
                <a:gd name="T7" fmla="*/ 17 h 183"/>
                <a:gd name="T8" fmla="*/ 242 w 257"/>
                <a:gd name="T9" fmla="*/ 22 h 183"/>
                <a:gd name="T10" fmla="*/ 207 w 257"/>
                <a:gd name="T11" fmla="*/ 29 h 183"/>
                <a:gd name="T12" fmla="*/ 152 w 257"/>
                <a:gd name="T13" fmla="*/ 26 h 183"/>
                <a:gd name="T14" fmla="*/ 108 w 257"/>
                <a:gd name="T15" fmla="*/ 64 h 183"/>
                <a:gd name="T16" fmla="*/ 79 w 257"/>
                <a:gd name="T17" fmla="*/ 128 h 183"/>
                <a:gd name="T18" fmla="*/ 78 w 257"/>
                <a:gd name="T19" fmla="*/ 165 h 183"/>
                <a:gd name="T20" fmla="*/ 63 w 257"/>
                <a:gd name="T21" fmla="*/ 156 h 183"/>
                <a:gd name="T22" fmla="*/ 58 w 257"/>
                <a:gd name="T23" fmla="*/ 169 h 183"/>
                <a:gd name="T24" fmla="*/ 48 w 257"/>
                <a:gd name="T25" fmla="*/ 173 h 183"/>
                <a:gd name="T26" fmla="*/ 26 w 257"/>
                <a:gd name="T27" fmla="*/ 180 h 183"/>
                <a:gd name="T28" fmla="*/ 9 w 257"/>
                <a:gd name="T29" fmla="*/ 170 h 183"/>
                <a:gd name="T30" fmla="*/ 14 w 257"/>
                <a:gd name="T31" fmla="*/ 163 h 183"/>
                <a:gd name="T32" fmla="*/ 9 w 257"/>
                <a:gd name="T33" fmla="*/ 163 h 183"/>
                <a:gd name="T34" fmla="*/ 16 w 257"/>
                <a:gd name="T35" fmla="*/ 156 h 183"/>
                <a:gd name="T36" fmla="*/ 21 w 257"/>
                <a:gd name="T37" fmla="*/ 148 h 183"/>
                <a:gd name="T38" fmla="*/ 9 w 257"/>
                <a:gd name="T39" fmla="*/ 151 h 183"/>
                <a:gd name="T40" fmla="*/ 8 w 257"/>
                <a:gd name="T41" fmla="*/ 143 h 183"/>
                <a:gd name="T42" fmla="*/ 2 w 257"/>
                <a:gd name="T43" fmla="*/ 140 h 183"/>
                <a:gd name="T44" fmla="*/ 23 w 257"/>
                <a:gd name="T45" fmla="*/ 138 h 183"/>
                <a:gd name="T46" fmla="*/ 19 w 257"/>
                <a:gd name="T47" fmla="*/ 135 h 183"/>
                <a:gd name="T48" fmla="*/ 1 w 257"/>
                <a:gd name="T49" fmla="*/ 133 h 183"/>
                <a:gd name="T50" fmla="*/ 2 w 257"/>
                <a:gd name="T51" fmla="*/ 128 h 183"/>
                <a:gd name="T52" fmla="*/ 10 w 257"/>
                <a:gd name="T53" fmla="*/ 127 h 183"/>
                <a:gd name="T54" fmla="*/ 10 w 257"/>
                <a:gd name="T55" fmla="*/ 123 h 183"/>
                <a:gd name="T56" fmla="*/ 23 w 257"/>
                <a:gd name="T57" fmla="*/ 123 h 183"/>
                <a:gd name="T58" fmla="*/ 19 w 257"/>
                <a:gd name="T59" fmla="*/ 115 h 183"/>
                <a:gd name="T60" fmla="*/ 27 w 257"/>
                <a:gd name="T61" fmla="*/ 114 h 183"/>
                <a:gd name="T62" fmla="*/ 31 w 257"/>
                <a:gd name="T63" fmla="*/ 109 h 183"/>
                <a:gd name="T64" fmla="*/ 42 w 257"/>
                <a:gd name="T65" fmla="*/ 107 h 183"/>
                <a:gd name="T66" fmla="*/ 49 w 257"/>
                <a:gd name="T67" fmla="*/ 101 h 183"/>
                <a:gd name="T68" fmla="*/ 63 w 257"/>
                <a:gd name="T69" fmla="*/ 100 h 183"/>
                <a:gd name="T70" fmla="*/ 57 w 257"/>
                <a:gd name="T71" fmla="*/ 102 h 183"/>
                <a:gd name="T72" fmla="*/ 53 w 257"/>
                <a:gd name="T73" fmla="*/ 96 h 183"/>
                <a:gd name="T74" fmla="*/ 67 w 257"/>
                <a:gd name="T75" fmla="*/ 89 h 183"/>
                <a:gd name="T76" fmla="*/ 73 w 257"/>
                <a:gd name="T77" fmla="*/ 82 h 183"/>
                <a:gd name="T78" fmla="*/ 80 w 257"/>
                <a:gd name="T79" fmla="*/ 80 h 183"/>
                <a:gd name="T80" fmla="*/ 79 w 257"/>
                <a:gd name="T81" fmla="*/ 75 h 183"/>
                <a:gd name="T82" fmla="*/ 80 w 257"/>
                <a:gd name="T83" fmla="*/ 67 h 183"/>
                <a:gd name="T84" fmla="*/ 86 w 257"/>
                <a:gd name="T85" fmla="*/ 64 h 183"/>
                <a:gd name="T86" fmla="*/ 86 w 257"/>
                <a:gd name="T87" fmla="*/ 59 h 183"/>
                <a:gd name="T88" fmla="*/ 98 w 257"/>
                <a:gd name="T89" fmla="*/ 53 h 183"/>
                <a:gd name="T90" fmla="*/ 105 w 257"/>
                <a:gd name="T91" fmla="*/ 51 h 183"/>
                <a:gd name="T92" fmla="*/ 102 w 257"/>
                <a:gd name="T93" fmla="*/ 47 h 183"/>
                <a:gd name="T94" fmla="*/ 107 w 257"/>
                <a:gd name="T95" fmla="*/ 44 h 183"/>
                <a:gd name="T96" fmla="*/ 109 w 257"/>
                <a:gd name="T97" fmla="*/ 40 h 183"/>
                <a:gd name="T98" fmla="*/ 113 w 257"/>
                <a:gd name="T99" fmla="*/ 43 h 183"/>
                <a:gd name="T100" fmla="*/ 117 w 257"/>
                <a:gd name="T101" fmla="*/ 39 h 183"/>
                <a:gd name="T102" fmla="*/ 122 w 257"/>
                <a:gd name="T103" fmla="*/ 35 h 183"/>
                <a:gd name="T104" fmla="*/ 126 w 257"/>
                <a:gd name="T105" fmla="*/ 29 h 183"/>
                <a:gd name="T106" fmla="*/ 133 w 257"/>
                <a:gd name="T107" fmla="*/ 22 h 183"/>
                <a:gd name="T108" fmla="*/ 144 w 257"/>
                <a:gd name="T109" fmla="*/ 21 h 183"/>
                <a:gd name="T110" fmla="*/ 149 w 257"/>
                <a:gd name="T111" fmla="*/ 23 h 183"/>
                <a:gd name="T112" fmla="*/ 164 w 257"/>
                <a:gd name="T113" fmla="*/ 16 h 183"/>
                <a:gd name="T114" fmla="*/ 164 w 257"/>
                <a:gd name="T115" fmla="*/ 10 h 183"/>
                <a:gd name="T116" fmla="*/ 179 w 257"/>
                <a:gd name="T117" fmla="*/ 14 h 183"/>
                <a:gd name="T118" fmla="*/ 191 w 257"/>
                <a:gd name="T119" fmla="*/ 3 h 183"/>
                <a:gd name="T120" fmla="*/ 199 w 257"/>
                <a:gd name="T121" fmla="*/ 5 h 183"/>
                <a:gd name="T122" fmla="*/ 211 w 257"/>
                <a:gd name="T123" fmla="*/ 3 h 183"/>
                <a:gd name="T124" fmla="*/ 219 w 257"/>
                <a:gd name="T125" fmla="*/ 1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7" h="183">
                  <a:moveTo>
                    <a:pt x="220" y="0"/>
                  </a:moveTo>
                  <a:lnTo>
                    <a:pt x="220" y="1"/>
                  </a:lnTo>
                  <a:lnTo>
                    <a:pt x="221" y="1"/>
                  </a:lnTo>
                  <a:lnTo>
                    <a:pt x="222" y="1"/>
                  </a:lnTo>
                  <a:lnTo>
                    <a:pt x="223" y="1"/>
                  </a:lnTo>
                  <a:lnTo>
                    <a:pt x="223" y="0"/>
                  </a:lnTo>
                  <a:lnTo>
                    <a:pt x="223" y="1"/>
                  </a:lnTo>
                  <a:lnTo>
                    <a:pt x="225" y="1"/>
                  </a:lnTo>
                  <a:lnTo>
                    <a:pt x="225" y="0"/>
                  </a:lnTo>
                  <a:lnTo>
                    <a:pt x="226" y="0"/>
                  </a:lnTo>
                  <a:lnTo>
                    <a:pt x="226" y="1"/>
                  </a:lnTo>
                  <a:lnTo>
                    <a:pt x="227" y="1"/>
                  </a:lnTo>
                  <a:lnTo>
                    <a:pt x="228" y="1"/>
                  </a:lnTo>
                  <a:lnTo>
                    <a:pt x="229" y="1"/>
                  </a:lnTo>
                  <a:lnTo>
                    <a:pt x="229" y="2"/>
                  </a:lnTo>
                  <a:lnTo>
                    <a:pt x="228" y="2"/>
                  </a:lnTo>
                  <a:lnTo>
                    <a:pt x="227" y="2"/>
                  </a:lnTo>
                  <a:lnTo>
                    <a:pt x="228" y="3"/>
                  </a:lnTo>
                  <a:lnTo>
                    <a:pt x="227" y="3"/>
                  </a:lnTo>
                  <a:lnTo>
                    <a:pt x="228" y="3"/>
                  </a:lnTo>
                  <a:lnTo>
                    <a:pt x="226" y="3"/>
                  </a:lnTo>
                  <a:lnTo>
                    <a:pt x="227" y="3"/>
                  </a:lnTo>
                  <a:lnTo>
                    <a:pt x="227" y="4"/>
                  </a:lnTo>
                  <a:lnTo>
                    <a:pt x="226" y="4"/>
                  </a:lnTo>
                  <a:lnTo>
                    <a:pt x="225" y="3"/>
                  </a:lnTo>
                  <a:lnTo>
                    <a:pt x="223" y="3"/>
                  </a:lnTo>
                  <a:lnTo>
                    <a:pt x="222" y="4"/>
                  </a:lnTo>
                  <a:lnTo>
                    <a:pt x="222" y="3"/>
                  </a:lnTo>
                  <a:lnTo>
                    <a:pt x="222" y="4"/>
                  </a:lnTo>
                  <a:lnTo>
                    <a:pt x="223" y="4"/>
                  </a:lnTo>
                  <a:lnTo>
                    <a:pt x="225" y="4"/>
                  </a:lnTo>
                  <a:lnTo>
                    <a:pt x="226" y="4"/>
                  </a:lnTo>
                  <a:lnTo>
                    <a:pt x="223" y="5"/>
                  </a:lnTo>
                  <a:lnTo>
                    <a:pt x="222" y="5"/>
                  </a:lnTo>
                  <a:lnTo>
                    <a:pt x="221" y="5"/>
                  </a:lnTo>
                  <a:lnTo>
                    <a:pt x="221" y="7"/>
                  </a:lnTo>
                  <a:lnTo>
                    <a:pt x="222" y="5"/>
                  </a:lnTo>
                  <a:lnTo>
                    <a:pt x="226" y="5"/>
                  </a:lnTo>
                  <a:lnTo>
                    <a:pt x="227" y="4"/>
                  </a:lnTo>
                  <a:lnTo>
                    <a:pt x="227" y="5"/>
                  </a:lnTo>
                  <a:lnTo>
                    <a:pt x="227" y="7"/>
                  </a:lnTo>
                  <a:lnTo>
                    <a:pt x="226" y="7"/>
                  </a:lnTo>
                  <a:lnTo>
                    <a:pt x="225" y="7"/>
                  </a:lnTo>
                  <a:lnTo>
                    <a:pt x="225" y="8"/>
                  </a:lnTo>
                  <a:lnTo>
                    <a:pt x="223" y="8"/>
                  </a:lnTo>
                  <a:lnTo>
                    <a:pt x="225" y="9"/>
                  </a:lnTo>
                  <a:lnTo>
                    <a:pt x="225" y="8"/>
                  </a:lnTo>
                  <a:lnTo>
                    <a:pt x="226" y="8"/>
                  </a:lnTo>
                  <a:lnTo>
                    <a:pt x="227" y="8"/>
                  </a:lnTo>
                  <a:lnTo>
                    <a:pt x="226" y="8"/>
                  </a:lnTo>
                  <a:lnTo>
                    <a:pt x="227" y="8"/>
                  </a:lnTo>
                  <a:lnTo>
                    <a:pt x="228" y="8"/>
                  </a:lnTo>
                  <a:lnTo>
                    <a:pt x="228" y="9"/>
                  </a:lnTo>
                  <a:lnTo>
                    <a:pt x="227" y="9"/>
                  </a:lnTo>
                  <a:lnTo>
                    <a:pt x="227" y="10"/>
                  </a:lnTo>
                  <a:lnTo>
                    <a:pt x="228" y="11"/>
                  </a:lnTo>
                  <a:lnTo>
                    <a:pt x="228" y="12"/>
                  </a:lnTo>
                  <a:lnTo>
                    <a:pt x="227" y="14"/>
                  </a:lnTo>
                  <a:lnTo>
                    <a:pt x="228" y="12"/>
                  </a:lnTo>
                  <a:lnTo>
                    <a:pt x="228" y="11"/>
                  </a:lnTo>
                  <a:lnTo>
                    <a:pt x="228" y="10"/>
                  </a:lnTo>
                  <a:lnTo>
                    <a:pt x="228" y="9"/>
                  </a:lnTo>
                  <a:lnTo>
                    <a:pt x="228" y="8"/>
                  </a:lnTo>
                  <a:lnTo>
                    <a:pt x="229" y="8"/>
                  </a:lnTo>
                  <a:lnTo>
                    <a:pt x="230" y="8"/>
                  </a:lnTo>
                  <a:lnTo>
                    <a:pt x="229" y="8"/>
                  </a:lnTo>
                  <a:lnTo>
                    <a:pt x="229" y="7"/>
                  </a:lnTo>
                  <a:lnTo>
                    <a:pt x="229" y="5"/>
                  </a:lnTo>
                  <a:lnTo>
                    <a:pt x="230" y="5"/>
                  </a:lnTo>
                  <a:lnTo>
                    <a:pt x="229" y="4"/>
                  </a:lnTo>
                  <a:lnTo>
                    <a:pt x="230" y="4"/>
                  </a:lnTo>
                  <a:lnTo>
                    <a:pt x="230" y="3"/>
                  </a:lnTo>
                  <a:lnTo>
                    <a:pt x="232" y="3"/>
                  </a:lnTo>
                  <a:lnTo>
                    <a:pt x="234" y="2"/>
                  </a:lnTo>
                  <a:lnTo>
                    <a:pt x="235" y="3"/>
                  </a:lnTo>
                  <a:lnTo>
                    <a:pt x="234" y="3"/>
                  </a:lnTo>
                  <a:lnTo>
                    <a:pt x="236" y="3"/>
                  </a:lnTo>
                  <a:lnTo>
                    <a:pt x="237" y="3"/>
                  </a:lnTo>
                  <a:lnTo>
                    <a:pt x="238" y="4"/>
                  </a:lnTo>
                  <a:lnTo>
                    <a:pt x="237" y="4"/>
                  </a:lnTo>
                  <a:lnTo>
                    <a:pt x="238" y="4"/>
                  </a:lnTo>
                  <a:lnTo>
                    <a:pt x="237" y="4"/>
                  </a:lnTo>
                  <a:lnTo>
                    <a:pt x="238" y="4"/>
                  </a:lnTo>
                  <a:lnTo>
                    <a:pt x="237" y="5"/>
                  </a:lnTo>
                  <a:lnTo>
                    <a:pt x="238" y="5"/>
                  </a:lnTo>
                  <a:lnTo>
                    <a:pt x="240" y="4"/>
                  </a:lnTo>
                  <a:lnTo>
                    <a:pt x="241" y="4"/>
                  </a:lnTo>
                  <a:lnTo>
                    <a:pt x="242" y="4"/>
                  </a:lnTo>
                  <a:lnTo>
                    <a:pt x="242" y="5"/>
                  </a:lnTo>
                  <a:lnTo>
                    <a:pt x="241" y="5"/>
                  </a:lnTo>
                  <a:lnTo>
                    <a:pt x="243" y="5"/>
                  </a:lnTo>
                  <a:lnTo>
                    <a:pt x="244" y="4"/>
                  </a:lnTo>
                  <a:lnTo>
                    <a:pt x="245" y="4"/>
                  </a:lnTo>
                  <a:lnTo>
                    <a:pt x="247" y="5"/>
                  </a:lnTo>
                  <a:lnTo>
                    <a:pt x="245" y="5"/>
                  </a:lnTo>
                  <a:lnTo>
                    <a:pt x="247" y="5"/>
                  </a:lnTo>
                  <a:lnTo>
                    <a:pt x="248" y="7"/>
                  </a:lnTo>
                  <a:lnTo>
                    <a:pt x="247" y="7"/>
                  </a:lnTo>
                  <a:lnTo>
                    <a:pt x="245" y="7"/>
                  </a:lnTo>
                  <a:lnTo>
                    <a:pt x="244" y="7"/>
                  </a:lnTo>
                  <a:lnTo>
                    <a:pt x="247" y="7"/>
                  </a:lnTo>
                  <a:lnTo>
                    <a:pt x="249" y="7"/>
                  </a:lnTo>
                  <a:lnTo>
                    <a:pt x="250" y="7"/>
                  </a:lnTo>
                  <a:lnTo>
                    <a:pt x="251" y="7"/>
                  </a:lnTo>
                  <a:lnTo>
                    <a:pt x="250" y="8"/>
                  </a:lnTo>
                  <a:lnTo>
                    <a:pt x="252" y="8"/>
                  </a:lnTo>
                  <a:lnTo>
                    <a:pt x="254" y="9"/>
                  </a:lnTo>
                  <a:lnTo>
                    <a:pt x="255" y="8"/>
                  </a:lnTo>
                  <a:lnTo>
                    <a:pt x="255" y="9"/>
                  </a:lnTo>
                  <a:lnTo>
                    <a:pt x="256" y="9"/>
                  </a:lnTo>
                  <a:lnTo>
                    <a:pt x="256" y="10"/>
                  </a:lnTo>
                  <a:lnTo>
                    <a:pt x="257" y="10"/>
                  </a:lnTo>
                  <a:lnTo>
                    <a:pt x="256" y="10"/>
                  </a:lnTo>
                  <a:lnTo>
                    <a:pt x="255" y="10"/>
                  </a:lnTo>
                  <a:lnTo>
                    <a:pt x="251" y="11"/>
                  </a:lnTo>
                  <a:lnTo>
                    <a:pt x="250" y="11"/>
                  </a:lnTo>
                  <a:lnTo>
                    <a:pt x="250" y="12"/>
                  </a:lnTo>
                  <a:lnTo>
                    <a:pt x="248" y="12"/>
                  </a:lnTo>
                  <a:lnTo>
                    <a:pt x="248" y="14"/>
                  </a:lnTo>
                  <a:lnTo>
                    <a:pt x="243" y="12"/>
                  </a:lnTo>
                  <a:lnTo>
                    <a:pt x="238" y="12"/>
                  </a:lnTo>
                  <a:lnTo>
                    <a:pt x="236" y="12"/>
                  </a:lnTo>
                  <a:lnTo>
                    <a:pt x="233" y="11"/>
                  </a:lnTo>
                  <a:lnTo>
                    <a:pt x="233" y="12"/>
                  </a:lnTo>
                  <a:lnTo>
                    <a:pt x="234" y="12"/>
                  </a:lnTo>
                  <a:lnTo>
                    <a:pt x="233" y="12"/>
                  </a:lnTo>
                  <a:lnTo>
                    <a:pt x="234" y="12"/>
                  </a:lnTo>
                  <a:lnTo>
                    <a:pt x="235" y="12"/>
                  </a:lnTo>
                  <a:lnTo>
                    <a:pt x="234" y="12"/>
                  </a:lnTo>
                  <a:lnTo>
                    <a:pt x="236" y="14"/>
                  </a:lnTo>
                  <a:lnTo>
                    <a:pt x="238" y="14"/>
                  </a:lnTo>
                  <a:lnTo>
                    <a:pt x="237" y="14"/>
                  </a:lnTo>
                  <a:lnTo>
                    <a:pt x="238" y="14"/>
                  </a:lnTo>
                  <a:lnTo>
                    <a:pt x="240" y="14"/>
                  </a:lnTo>
                  <a:lnTo>
                    <a:pt x="241" y="14"/>
                  </a:lnTo>
                  <a:lnTo>
                    <a:pt x="244" y="15"/>
                  </a:lnTo>
                  <a:lnTo>
                    <a:pt x="243" y="15"/>
                  </a:lnTo>
                  <a:lnTo>
                    <a:pt x="242" y="15"/>
                  </a:lnTo>
                  <a:lnTo>
                    <a:pt x="242" y="16"/>
                  </a:lnTo>
                  <a:lnTo>
                    <a:pt x="241" y="16"/>
                  </a:lnTo>
                  <a:lnTo>
                    <a:pt x="242" y="16"/>
                  </a:lnTo>
                  <a:lnTo>
                    <a:pt x="242" y="15"/>
                  </a:lnTo>
                  <a:lnTo>
                    <a:pt x="243" y="15"/>
                  </a:lnTo>
                  <a:lnTo>
                    <a:pt x="243" y="16"/>
                  </a:lnTo>
                  <a:lnTo>
                    <a:pt x="243" y="15"/>
                  </a:lnTo>
                  <a:lnTo>
                    <a:pt x="244" y="16"/>
                  </a:lnTo>
                  <a:lnTo>
                    <a:pt x="244" y="15"/>
                  </a:lnTo>
                  <a:lnTo>
                    <a:pt x="244" y="16"/>
                  </a:lnTo>
                  <a:lnTo>
                    <a:pt x="245" y="16"/>
                  </a:lnTo>
                  <a:lnTo>
                    <a:pt x="244" y="17"/>
                  </a:lnTo>
                  <a:lnTo>
                    <a:pt x="243" y="18"/>
                  </a:lnTo>
                  <a:lnTo>
                    <a:pt x="244" y="17"/>
                  </a:lnTo>
                  <a:lnTo>
                    <a:pt x="245" y="17"/>
                  </a:lnTo>
                  <a:lnTo>
                    <a:pt x="247" y="17"/>
                  </a:lnTo>
                  <a:lnTo>
                    <a:pt x="248" y="17"/>
                  </a:lnTo>
                  <a:lnTo>
                    <a:pt x="248" y="18"/>
                  </a:lnTo>
                  <a:lnTo>
                    <a:pt x="249" y="17"/>
                  </a:lnTo>
                  <a:lnTo>
                    <a:pt x="249" y="18"/>
                  </a:lnTo>
                  <a:lnTo>
                    <a:pt x="250" y="18"/>
                  </a:lnTo>
                  <a:lnTo>
                    <a:pt x="249" y="18"/>
                  </a:lnTo>
                  <a:lnTo>
                    <a:pt x="249" y="17"/>
                  </a:lnTo>
                  <a:lnTo>
                    <a:pt x="250" y="17"/>
                  </a:lnTo>
                  <a:lnTo>
                    <a:pt x="249" y="17"/>
                  </a:lnTo>
                  <a:lnTo>
                    <a:pt x="249" y="16"/>
                  </a:lnTo>
                  <a:lnTo>
                    <a:pt x="250" y="16"/>
                  </a:lnTo>
                  <a:lnTo>
                    <a:pt x="251" y="16"/>
                  </a:lnTo>
                  <a:lnTo>
                    <a:pt x="251" y="17"/>
                  </a:lnTo>
                  <a:lnTo>
                    <a:pt x="252" y="17"/>
                  </a:lnTo>
                  <a:lnTo>
                    <a:pt x="252" y="18"/>
                  </a:lnTo>
                  <a:lnTo>
                    <a:pt x="251" y="18"/>
                  </a:lnTo>
                  <a:lnTo>
                    <a:pt x="252" y="18"/>
                  </a:lnTo>
                  <a:lnTo>
                    <a:pt x="252" y="17"/>
                  </a:lnTo>
                  <a:lnTo>
                    <a:pt x="252" y="16"/>
                  </a:lnTo>
                  <a:lnTo>
                    <a:pt x="255" y="17"/>
                  </a:lnTo>
                  <a:lnTo>
                    <a:pt x="256" y="17"/>
                  </a:lnTo>
                  <a:lnTo>
                    <a:pt x="257" y="17"/>
                  </a:lnTo>
                  <a:lnTo>
                    <a:pt x="257" y="18"/>
                  </a:lnTo>
                  <a:lnTo>
                    <a:pt x="257" y="19"/>
                  </a:lnTo>
                  <a:lnTo>
                    <a:pt x="257" y="21"/>
                  </a:lnTo>
                  <a:lnTo>
                    <a:pt x="256" y="21"/>
                  </a:lnTo>
                  <a:lnTo>
                    <a:pt x="254" y="21"/>
                  </a:lnTo>
                  <a:lnTo>
                    <a:pt x="251" y="19"/>
                  </a:lnTo>
                  <a:lnTo>
                    <a:pt x="250" y="19"/>
                  </a:lnTo>
                  <a:lnTo>
                    <a:pt x="250" y="18"/>
                  </a:lnTo>
                  <a:lnTo>
                    <a:pt x="249" y="19"/>
                  </a:lnTo>
                  <a:lnTo>
                    <a:pt x="250" y="19"/>
                  </a:lnTo>
                  <a:lnTo>
                    <a:pt x="251" y="19"/>
                  </a:lnTo>
                  <a:lnTo>
                    <a:pt x="251" y="21"/>
                  </a:lnTo>
                  <a:lnTo>
                    <a:pt x="250" y="21"/>
                  </a:lnTo>
                  <a:lnTo>
                    <a:pt x="250" y="22"/>
                  </a:lnTo>
                  <a:lnTo>
                    <a:pt x="249" y="22"/>
                  </a:lnTo>
                  <a:lnTo>
                    <a:pt x="249" y="23"/>
                  </a:lnTo>
                  <a:lnTo>
                    <a:pt x="248" y="23"/>
                  </a:lnTo>
                  <a:lnTo>
                    <a:pt x="247" y="23"/>
                  </a:lnTo>
                  <a:lnTo>
                    <a:pt x="245" y="23"/>
                  </a:lnTo>
                  <a:lnTo>
                    <a:pt x="243" y="23"/>
                  </a:lnTo>
                  <a:lnTo>
                    <a:pt x="243" y="24"/>
                  </a:lnTo>
                  <a:lnTo>
                    <a:pt x="242" y="24"/>
                  </a:lnTo>
                  <a:lnTo>
                    <a:pt x="243" y="24"/>
                  </a:lnTo>
                  <a:lnTo>
                    <a:pt x="243" y="25"/>
                  </a:lnTo>
                  <a:lnTo>
                    <a:pt x="242" y="25"/>
                  </a:lnTo>
                  <a:lnTo>
                    <a:pt x="242" y="26"/>
                  </a:lnTo>
                  <a:lnTo>
                    <a:pt x="241" y="26"/>
                  </a:lnTo>
                  <a:lnTo>
                    <a:pt x="240" y="26"/>
                  </a:lnTo>
                  <a:lnTo>
                    <a:pt x="240" y="28"/>
                  </a:lnTo>
                  <a:lnTo>
                    <a:pt x="238" y="26"/>
                  </a:lnTo>
                  <a:lnTo>
                    <a:pt x="238" y="25"/>
                  </a:lnTo>
                  <a:lnTo>
                    <a:pt x="238" y="24"/>
                  </a:lnTo>
                  <a:lnTo>
                    <a:pt x="241" y="23"/>
                  </a:lnTo>
                  <a:lnTo>
                    <a:pt x="242" y="22"/>
                  </a:lnTo>
                  <a:lnTo>
                    <a:pt x="241" y="19"/>
                  </a:lnTo>
                  <a:lnTo>
                    <a:pt x="240" y="18"/>
                  </a:lnTo>
                  <a:lnTo>
                    <a:pt x="236" y="17"/>
                  </a:lnTo>
                  <a:lnTo>
                    <a:pt x="233" y="17"/>
                  </a:lnTo>
                  <a:lnTo>
                    <a:pt x="232" y="17"/>
                  </a:lnTo>
                  <a:lnTo>
                    <a:pt x="232" y="16"/>
                  </a:lnTo>
                  <a:lnTo>
                    <a:pt x="229" y="16"/>
                  </a:lnTo>
                  <a:lnTo>
                    <a:pt x="227" y="14"/>
                  </a:lnTo>
                  <a:lnTo>
                    <a:pt x="226" y="14"/>
                  </a:lnTo>
                  <a:lnTo>
                    <a:pt x="225" y="14"/>
                  </a:lnTo>
                  <a:lnTo>
                    <a:pt x="223" y="14"/>
                  </a:lnTo>
                  <a:lnTo>
                    <a:pt x="222" y="14"/>
                  </a:lnTo>
                  <a:lnTo>
                    <a:pt x="221" y="14"/>
                  </a:lnTo>
                  <a:lnTo>
                    <a:pt x="221" y="15"/>
                  </a:lnTo>
                  <a:lnTo>
                    <a:pt x="220" y="15"/>
                  </a:lnTo>
                  <a:lnTo>
                    <a:pt x="221" y="15"/>
                  </a:lnTo>
                  <a:lnTo>
                    <a:pt x="220" y="15"/>
                  </a:lnTo>
                  <a:lnTo>
                    <a:pt x="218" y="16"/>
                  </a:lnTo>
                  <a:lnTo>
                    <a:pt x="218" y="15"/>
                  </a:lnTo>
                  <a:lnTo>
                    <a:pt x="216" y="15"/>
                  </a:lnTo>
                  <a:lnTo>
                    <a:pt x="215" y="15"/>
                  </a:lnTo>
                  <a:lnTo>
                    <a:pt x="214" y="15"/>
                  </a:lnTo>
                  <a:lnTo>
                    <a:pt x="213" y="15"/>
                  </a:lnTo>
                  <a:lnTo>
                    <a:pt x="212" y="15"/>
                  </a:lnTo>
                  <a:lnTo>
                    <a:pt x="212" y="16"/>
                  </a:lnTo>
                  <a:lnTo>
                    <a:pt x="211" y="17"/>
                  </a:lnTo>
                  <a:lnTo>
                    <a:pt x="209" y="17"/>
                  </a:lnTo>
                  <a:lnTo>
                    <a:pt x="209" y="18"/>
                  </a:lnTo>
                  <a:lnTo>
                    <a:pt x="208" y="18"/>
                  </a:lnTo>
                  <a:lnTo>
                    <a:pt x="207" y="18"/>
                  </a:lnTo>
                  <a:lnTo>
                    <a:pt x="208" y="19"/>
                  </a:lnTo>
                  <a:lnTo>
                    <a:pt x="208" y="21"/>
                  </a:lnTo>
                  <a:lnTo>
                    <a:pt x="207" y="21"/>
                  </a:lnTo>
                  <a:lnTo>
                    <a:pt x="207" y="22"/>
                  </a:lnTo>
                  <a:lnTo>
                    <a:pt x="207" y="23"/>
                  </a:lnTo>
                  <a:lnTo>
                    <a:pt x="206" y="24"/>
                  </a:lnTo>
                  <a:lnTo>
                    <a:pt x="207" y="25"/>
                  </a:lnTo>
                  <a:lnTo>
                    <a:pt x="207" y="26"/>
                  </a:lnTo>
                  <a:lnTo>
                    <a:pt x="207" y="28"/>
                  </a:lnTo>
                  <a:lnTo>
                    <a:pt x="208" y="28"/>
                  </a:lnTo>
                  <a:lnTo>
                    <a:pt x="207" y="28"/>
                  </a:lnTo>
                  <a:lnTo>
                    <a:pt x="207" y="29"/>
                  </a:lnTo>
                  <a:lnTo>
                    <a:pt x="206" y="29"/>
                  </a:lnTo>
                  <a:lnTo>
                    <a:pt x="205" y="29"/>
                  </a:lnTo>
                  <a:lnTo>
                    <a:pt x="204" y="29"/>
                  </a:lnTo>
                  <a:lnTo>
                    <a:pt x="202" y="30"/>
                  </a:lnTo>
                  <a:lnTo>
                    <a:pt x="202" y="31"/>
                  </a:lnTo>
                  <a:lnTo>
                    <a:pt x="202" y="32"/>
                  </a:lnTo>
                  <a:lnTo>
                    <a:pt x="201" y="32"/>
                  </a:lnTo>
                  <a:lnTo>
                    <a:pt x="200" y="32"/>
                  </a:lnTo>
                  <a:lnTo>
                    <a:pt x="200" y="33"/>
                  </a:lnTo>
                  <a:lnTo>
                    <a:pt x="199" y="33"/>
                  </a:lnTo>
                  <a:lnTo>
                    <a:pt x="199" y="32"/>
                  </a:lnTo>
                  <a:lnTo>
                    <a:pt x="198" y="32"/>
                  </a:lnTo>
                  <a:lnTo>
                    <a:pt x="195" y="31"/>
                  </a:lnTo>
                  <a:lnTo>
                    <a:pt x="194" y="31"/>
                  </a:lnTo>
                  <a:lnTo>
                    <a:pt x="192" y="31"/>
                  </a:lnTo>
                  <a:lnTo>
                    <a:pt x="192" y="30"/>
                  </a:lnTo>
                  <a:lnTo>
                    <a:pt x="190" y="30"/>
                  </a:lnTo>
                  <a:lnTo>
                    <a:pt x="188" y="30"/>
                  </a:lnTo>
                  <a:lnTo>
                    <a:pt x="187" y="31"/>
                  </a:lnTo>
                  <a:lnTo>
                    <a:pt x="185" y="31"/>
                  </a:lnTo>
                  <a:lnTo>
                    <a:pt x="183" y="32"/>
                  </a:lnTo>
                  <a:lnTo>
                    <a:pt x="181" y="32"/>
                  </a:lnTo>
                  <a:lnTo>
                    <a:pt x="181" y="31"/>
                  </a:lnTo>
                  <a:lnTo>
                    <a:pt x="180" y="31"/>
                  </a:lnTo>
                  <a:lnTo>
                    <a:pt x="179" y="32"/>
                  </a:lnTo>
                  <a:lnTo>
                    <a:pt x="176" y="31"/>
                  </a:lnTo>
                  <a:lnTo>
                    <a:pt x="174" y="31"/>
                  </a:lnTo>
                  <a:lnTo>
                    <a:pt x="173" y="30"/>
                  </a:lnTo>
                  <a:lnTo>
                    <a:pt x="172" y="29"/>
                  </a:lnTo>
                  <a:lnTo>
                    <a:pt x="171" y="29"/>
                  </a:lnTo>
                  <a:lnTo>
                    <a:pt x="171" y="28"/>
                  </a:lnTo>
                  <a:lnTo>
                    <a:pt x="170" y="28"/>
                  </a:lnTo>
                  <a:lnTo>
                    <a:pt x="169" y="26"/>
                  </a:lnTo>
                  <a:lnTo>
                    <a:pt x="165" y="24"/>
                  </a:lnTo>
                  <a:lnTo>
                    <a:pt x="162" y="23"/>
                  </a:lnTo>
                  <a:lnTo>
                    <a:pt x="159" y="24"/>
                  </a:lnTo>
                  <a:lnTo>
                    <a:pt x="159" y="25"/>
                  </a:lnTo>
                  <a:lnTo>
                    <a:pt x="161" y="26"/>
                  </a:lnTo>
                  <a:lnTo>
                    <a:pt x="159" y="26"/>
                  </a:lnTo>
                  <a:lnTo>
                    <a:pt x="156" y="26"/>
                  </a:lnTo>
                  <a:lnTo>
                    <a:pt x="155" y="26"/>
                  </a:lnTo>
                  <a:lnTo>
                    <a:pt x="152" y="26"/>
                  </a:lnTo>
                  <a:lnTo>
                    <a:pt x="150" y="28"/>
                  </a:lnTo>
                  <a:lnTo>
                    <a:pt x="152" y="29"/>
                  </a:lnTo>
                  <a:lnTo>
                    <a:pt x="154" y="30"/>
                  </a:lnTo>
                  <a:lnTo>
                    <a:pt x="152" y="31"/>
                  </a:lnTo>
                  <a:lnTo>
                    <a:pt x="152" y="32"/>
                  </a:lnTo>
                  <a:lnTo>
                    <a:pt x="151" y="32"/>
                  </a:lnTo>
                  <a:lnTo>
                    <a:pt x="150" y="33"/>
                  </a:lnTo>
                  <a:lnTo>
                    <a:pt x="152" y="35"/>
                  </a:lnTo>
                  <a:lnTo>
                    <a:pt x="150" y="36"/>
                  </a:lnTo>
                  <a:lnTo>
                    <a:pt x="145" y="35"/>
                  </a:lnTo>
                  <a:lnTo>
                    <a:pt x="141" y="35"/>
                  </a:lnTo>
                  <a:lnTo>
                    <a:pt x="137" y="35"/>
                  </a:lnTo>
                  <a:lnTo>
                    <a:pt x="136" y="35"/>
                  </a:lnTo>
                  <a:lnTo>
                    <a:pt x="135" y="33"/>
                  </a:lnTo>
                  <a:lnTo>
                    <a:pt x="134" y="33"/>
                  </a:lnTo>
                  <a:lnTo>
                    <a:pt x="131" y="33"/>
                  </a:lnTo>
                  <a:lnTo>
                    <a:pt x="131" y="35"/>
                  </a:lnTo>
                  <a:lnTo>
                    <a:pt x="131" y="36"/>
                  </a:lnTo>
                  <a:lnTo>
                    <a:pt x="133" y="38"/>
                  </a:lnTo>
                  <a:lnTo>
                    <a:pt x="133" y="39"/>
                  </a:lnTo>
                  <a:lnTo>
                    <a:pt x="130" y="40"/>
                  </a:lnTo>
                  <a:lnTo>
                    <a:pt x="130" y="42"/>
                  </a:lnTo>
                  <a:lnTo>
                    <a:pt x="127" y="40"/>
                  </a:lnTo>
                  <a:lnTo>
                    <a:pt x="123" y="39"/>
                  </a:lnTo>
                  <a:lnTo>
                    <a:pt x="122" y="40"/>
                  </a:lnTo>
                  <a:lnTo>
                    <a:pt x="119" y="42"/>
                  </a:lnTo>
                  <a:lnTo>
                    <a:pt x="119" y="43"/>
                  </a:lnTo>
                  <a:lnTo>
                    <a:pt x="117" y="45"/>
                  </a:lnTo>
                  <a:lnTo>
                    <a:pt x="117" y="46"/>
                  </a:lnTo>
                  <a:lnTo>
                    <a:pt x="116" y="46"/>
                  </a:lnTo>
                  <a:lnTo>
                    <a:pt x="115" y="47"/>
                  </a:lnTo>
                  <a:lnTo>
                    <a:pt x="113" y="47"/>
                  </a:lnTo>
                  <a:lnTo>
                    <a:pt x="113" y="49"/>
                  </a:lnTo>
                  <a:lnTo>
                    <a:pt x="116" y="52"/>
                  </a:lnTo>
                  <a:lnTo>
                    <a:pt x="116" y="53"/>
                  </a:lnTo>
                  <a:lnTo>
                    <a:pt x="116" y="54"/>
                  </a:lnTo>
                  <a:lnTo>
                    <a:pt x="115" y="54"/>
                  </a:lnTo>
                  <a:lnTo>
                    <a:pt x="114" y="56"/>
                  </a:lnTo>
                  <a:lnTo>
                    <a:pt x="113" y="56"/>
                  </a:lnTo>
                  <a:lnTo>
                    <a:pt x="109" y="60"/>
                  </a:lnTo>
                  <a:lnTo>
                    <a:pt x="107" y="61"/>
                  </a:lnTo>
                  <a:lnTo>
                    <a:pt x="108" y="64"/>
                  </a:lnTo>
                  <a:lnTo>
                    <a:pt x="108" y="65"/>
                  </a:lnTo>
                  <a:lnTo>
                    <a:pt x="104" y="66"/>
                  </a:lnTo>
                  <a:lnTo>
                    <a:pt x="101" y="66"/>
                  </a:lnTo>
                  <a:lnTo>
                    <a:pt x="99" y="66"/>
                  </a:lnTo>
                  <a:lnTo>
                    <a:pt x="100" y="71"/>
                  </a:lnTo>
                  <a:lnTo>
                    <a:pt x="99" y="72"/>
                  </a:lnTo>
                  <a:lnTo>
                    <a:pt x="99" y="75"/>
                  </a:lnTo>
                  <a:lnTo>
                    <a:pt x="99" y="77"/>
                  </a:lnTo>
                  <a:lnTo>
                    <a:pt x="99" y="78"/>
                  </a:lnTo>
                  <a:lnTo>
                    <a:pt x="99" y="79"/>
                  </a:lnTo>
                  <a:lnTo>
                    <a:pt x="98" y="79"/>
                  </a:lnTo>
                  <a:lnTo>
                    <a:pt x="98" y="80"/>
                  </a:lnTo>
                  <a:lnTo>
                    <a:pt x="98" y="81"/>
                  </a:lnTo>
                  <a:lnTo>
                    <a:pt x="97" y="82"/>
                  </a:lnTo>
                  <a:lnTo>
                    <a:pt x="94" y="85"/>
                  </a:lnTo>
                  <a:lnTo>
                    <a:pt x="92" y="88"/>
                  </a:lnTo>
                  <a:lnTo>
                    <a:pt x="94" y="89"/>
                  </a:lnTo>
                  <a:lnTo>
                    <a:pt x="95" y="89"/>
                  </a:lnTo>
                  <a:lnTo>
                    <a:pt x="97" y="89"/>
                  </a:lnTo>
                  <a:lnTo>
                    <a:pt x="98" y="93"/>
                  </a:lnTo>
                  <a:lnTo>
                    <a:pt x="98" y="94"/>
                  </a:lnTo>
                  <a:lnTo>
                    <a:pt x="95" y="95"/>
                  </a:lnTo>
                  <a:lnTo>
                    <a:pt x="95" y="96"/>
                  </a:lnTo>
                  <a:lnTo>
                    <a:pt x="92" y="95"/>
                  </a:lnTo>
                  <a:lnTo>
                    <a:pt x="87" y="95"/>
                  </a:lnTo>
                  <a:lnTo>
                    <a:pt x="85" y="95"/>
                  </a:lnTo>
                  <a:lnTo>
                    <a:pt x="83" y="96"/>
                  </a:lnTo>
                  <a:lnTo>
                    <a:pt x="80" y="99"/>
                  </a:lnTo>
                  <a:lnTo>
                    <a:pt x="78" y="101"/>
                  </a:lnTo>
                  <a:lnTo>
                    <a:pt x="77" y="101"/>
                  </a:lnTo>
                  <a:lnTo>
                    <a:pt x="78" y="103"/>
                  </a:lnTo>
                  <a:lnTo>
                    <a:pt x="76" y="106"/>
                  </a:lnTo>
                  <a:lnTo>
                    <a:pt x="77" y="107"/>
                  </a:lnTo>
                  <a:lnTo>
                    <a:pt x="78" y="110"/>
                  </a:lnTo>
                  <a:lnTo>
                    <a:pt x="77" y="112"/>
                  </a:lnTo>
                  <a:lnTo>
                    <a:pt x="78" y="114"/>
                  </a:lnTo>
                  <a:lnTo>
                    <a:pt x="78" y="115"/>
                  </a:lnTo>
                  <a:lnTo>
                    <a:pt x="78" y="116"/>
                  </a:lnTo>
                  <a:lnTo>
                    <a:pt x="80" y="120"/>
                  </a:lnTo>
                  <a:lnTo>
                    <a:pt x="80" y="121"/>
                  </a:lnTo>
                  <a:lnTo>
                    <a:pt x="80" y="124"/>
                  </a:lnTo>
                  <a:lnTo>
                    <a:pt x="79" y="128"/>
                  </a:lnTo>
                  <a:lnTo>
                    <a:pt x="81" y="129"/>
                  </a:lnTo>
                  <a:lnTo>
                    <a:pt x="83" y="130"/>
                  </a:lnTo>
                  <a:lnTo>
                    <a:pt x="84" y="130"/>
                  </a:lnTo>
                  <a:lnTo>
                    <a:pt x="85" y="130"/>
                  </a:lnTo>
                  <a:lnTo>
                    <a:pt x="87" y="134"/>
                  </a:lnTo>
                  <a:lnTo>
                    <a:pt x="88" y="134"/>
                  </a:lnTo>
                  <a:lnTo>
                    <a:pt x="87" y="135"/>
                  </a:lnTo>
                  <a:lnTo>
                    <a:pt x="87" y="136"/>
                  </a:lnTo>
                  <a:lnTo>
                    <a:pt x="86" y="136"/>
                  </a:lnTo>
                  <a:lnTo>
                    <a:pt x="86" y="137"/>
                  </a:lnTo>
                  <a:lnTo>
                    <a:pt x="86" y="138"/>
                  </a:lnTo>
                  <a:lnTo>
                    <a:pt x="85" y="138"/>
                  </a:lnTo>
                  <a:lnTo>
                    <a:pt x="84" y="138"/>
                  </a:lnTo>
                  <a:lnTo>
                    <a:pt x="81" y="138"/>
                  </a:lnTo>
                  <a:lnTo>
                    <a:pt x="81" y="140"/>
                  </a:lnTo>
                  <a:lnTo>
                    <a:pt x="83" y="140"/>
                  </a:lnTo>
                  <a:lnTo>
                    <a:pt x="83" y="141"/>
                  </a:lnTo>
                  <a:lnTo>
                    <a:pt x="83" y="142"/>
                  </a:lnTo>
                  <a:lnTo>
                    <a:pt x="85" y="143"/>
                  </a:lnTo>
                  <a:lnTo>
                    <a:pt x="86" y="145"/>
                  </a:lnTo>
                  <a:lnTo>
                    <a:pt x="86" y="147"/>
                  </a:lnTo>
                  <a:lnTo>
                    <a:pt x="86" y="148"/>
                  </a:lnTo>
                  <a:lnTo>
                    <a:pt x="85" y="149"/>
                  </a:lnTo>
                  <a:lnTo>
                    <a:pt x="85" y="150"/>
                  </a:lnTo>
                  <a:lnTo>
                    <a:pt x="85" y="151"/>
                  </a:lnTo>
                  <a:lnTo>
                    <a:pt x="85" y="152"/>
                  </a:lnTo>
                  <a:lnTo>
                    <a:pt x="83" y="154"/>
                  </a:lnTo>
                  <a:lnTo>
                    <a:pt x="81" y="155"/>
                  </a:lnTo>
                  <a:lnTo>
                    <a:pt x="79" y="155"/>
                  </a:lnTo>
                  <a:lnTo>
                    <a:pt x="78" y="155"/>
                  </a:lnTo>
                  <a:lnTo>
                    <a:pt x="78" y="156"/>
                  </a:lnTo>
                  <a:lnTo>
                    <a:pt x="79" y="156"/>
                  </a:lnTo>
                  <a:lnTo>
                    <a:pt x="79" y="157"/>
                  </a:lnTo>
                  <a:lnTo>
                    <a:pt x="79" y="158"/>
                  </a:lnTo>
                  <a:lnTo>
                    <a:pt x="78" y="158"/>
                  </a:lnTo>
                  <a:lnTo>
                    <a:pt x="77" y="158"/>
                  </a:lnTo>
                  <a:lnTo>
                    <a:pt x="77" y="159"/>
                  </a:lnTo>
                  <a:lnTo>
                    <a:pt x="78" y="163"/>
                  </a:lnTo>
                  <a:lnTo>
                    <a:pt x="79" y="163"/>
                  </a:lnTo>
                  <a:lnTo>
                    <a:pt x="79" y="164"/>
                  </a:lnTo>
                  <a:lnTo>
                    <a:pt x="78" y="164"/>
                  </a:lnTo>
                  <a:lnTo>
                    <a:pt x="78" y="165"/>
                  </a:lnTo>
                  <a:lnTo>
                    <a:pt x="78" y="166"/>
                  </a:lnTo>
                  <a:lnTo>
                    <a:pt x="78" y="168"/>
                  </a:lnTo>
                  <a:lnTo>
                    <a:pt x="78" y="169"/>
                  </a:lnTo>
                  <a:lnTo>
                    <a:pt x="77" y="169"/>
                  </a:lnTo>
                  <a:lnTo>
                    <a:pt x="76" y="169"/>
                  </a:lnTo>
                  <a:lnTo>
                    <a:pt x="74" y="169"/>
                  </a:lnTo>
                  <a:lnTo>
                    <a:pt x="74" y="168"/>
                  </a:lnTo>
                  <a:lnTo>
                    <a:pt x="74" y="166"/>
                  </a:lnTo>
                  <a:lnTo>
                    <a:pt x="73" y="166"/>
                  </a:lnTo>
                  <a:lnTo>
                    <a:pt x="72" y="166"/>
                  </a:lnTo>
                  <a:lnTo>
                    <a:pt x="72" y="165"/>
                  </a:lnTo>
                  <a:lnTo>
                    <a:pt x="71" y="165"/>
                  </a:lnTo>
                  <a:lnTo>
                    <a:pt x="70" y="165"/>
                  </a:lnTo>
                  <a:lnTo>
                    <a:pt x="69" y="165"/>
                  </a:lnTo>
                  <a:lnTo>
                    <a:pt x="67" y="165"/>
                  </a:lnTo>
                  <a:lnTo>
                    <a:pt x="67" y="164"/>
                  </a:lnTo>
                  <a:lnTo>
                    <a:pt x="66" y="164"/>
                  </a:lnTo>
                  <a:lnTo>
                    <a:pt x="66" y="163"/>
                  </a:lnTo>
                  <a:lnTo>
                    <a:pt x="67" y="163"/>
                  </a:lnTo>
                  <a:lnTo>
                    <a:pt x="66" y="163"/>
                  </a:lnTo>
                  <a:lnTo>
                    <a:pt x="65" y="163"/>
                  </a:lnTo>
                  <a:lnTo>
                    <a:pt x="65" y="162"/>
                  </a:lnTo>
                  <a:lnTo>
                    <a:pt x="65" y="161"/>
                  </a:lnTo>
                  <a:lnTo>
                    <a:pt x="65" y="162"/>
                  </a:lnTo>
                  <a:lnTo>
                    <a:pt x="66" y="162"/>
                  </a:lnTo>
                  <a:lnTo>
                    <a:pt x="66" y="161"/>
                  </a:lnTo>
                  <a:lnTo>
                    <a:pt x="65" y="161"/>
                  </a:lnTo>
                  <a:lnTo>
                    <a:pt x="65" y="159"/>
                  </a:lnTo>
                  <a:lnTo>
                    <a:pt x="65" y="158"/>
                  </a:lnTo>
                  <a:lnTo>
                    <a:pt x="65" y="157"/>
                  </a:lnTo>
                  <a:lnTo>
                    <a:pt x="64" y="157"/>
                  </a:lnTo>
                  <a:lnTo>
                    <a:pt x="64" y="156"/>
                  </a:lnTo>
                  <a:lnTo>
                    <a:pt x="65" y="156"/>
                  </a:lnTo>
                  <a:lnTo>
                    <a:pt x="65" y="155"/>
                  </a:lnTo>
                  <a:lnTo>
                    <a:pt x="65" y="156"/>
                  </a:lnTo>
                  <a:lnTo>
                    <a:pt x="66" y="157"/>
                  </a:lnTo>
                  <a:lnTo>
                    <a:pt x="66" y="156"/>
                  </a:lnTo>
                  <a:lnTo>
                    <a:pt x="66" y="155"/>
                  </a:lnTo>
                  <a:lnTo>
                    <a:pt x="65" y="155"/>
                  </a:lnTo>
                  <a:lnTo>
                    <a:pt x="64" y="155"/>
                  </a:lnTo>
                  <a:lnTo>
                    <a:pt x="63" y="155"/>
                  </a:lnTo>
                  <a:lnTo>
                    <a:pt x="63" y="156"/>
                  </a:lnTo>
                  <a:lnTo>
                    <a:pt x="63" y="157"/>
                  </a:lnTo>
                  <a:lnTo>
                    <a:pt x="64" y="157"/>
                  </a:lnTo>
                  <a:lnTo>
                    <a:pt x="64" y="158"/>
                  </a:lnTo>
                  <a:lnTo>
                    <a:pt x="65" y="158"/>
                  </a:lnTo>
                  <a:lnTo>
                    <a:pt x="65" y="159"/>
                  </a:lnTo>
                  <a:lnTo>
                    <a:pt x="64" y="159"/>
                  </a:lnTo>
                  <a:lnTo>
                    <a:pt x="64" y="161"/>
                  </a:lnTo>
                  <a:lnTo>
                    <a:pt x="63" y="161"/>
                  </a:lnTo>
                  <a:lnTo>
                    <a:pt x="63" y="159"/>
                  </a:lnTo>
                  <a:lnTo>
                    <a:pt x="63" y="158"/>
                  </a:lnTo>
                  <a:lnTo>
                    <a:pt x="63" y="157"/>
                  </a:lnTo>
                  <a:lnTo>
                    <a:pt x="62" y="157"/>
                  </a:lnTo>
                  <a:lnTo>
                    <a:pt x="60" y="157"/>
                  </a:lnTo>
                  <a:lnTo>
                    <a:pt x="62" y="157"/>
                  </a:lnTo>
                  <a:lnTo>
                    <a:pt x="62" y="158"/>
                  </a:lnTo>
                  <a:lnTo>
                    <a:pt x="63" y="158"/>
                  </a:lnTo>
                  <a:lnTo>
                    <a:pt x="63" y="159"/>
                  </a:lnTo>
                  <a:lnTo>
                    <a:pt x="62" y="159"/>
                  </a:lnTo>
                  <a:lnTo>
                    <a:pt x="60" y="159"/>
                  </a:lnTo>
                  <a:lnTo>
                    <a:pt x="62" y="159"/>
                  </a:lnTo>
                  <a:lnTo>
                    <a:pt x="62" y="161"/>
                  </a:lnTo>
                  <a:lnTo>
                    <a:pt x="63" y="161"/>
                  </a:lnTo>
                  <a:lnTo>
                    <a:pt x="63" y="162"/>
                  </a:lnTo>
                  <a:lnTo>
                    <a:pt x="64" y="162"/>
                  </a:lnTo>
                  <a:lnTo>
                    <a:pt x="63" y="162"/>
                  </a:lnTo>
                  <a:lnTo>
                    <a:pt x="63" y="163"/>
                  </a:lnTo>
                  <a:lnTo>
                    <a:pt x="64" y="163"/>
                  </a:lnTo>
                  <a:lnTo>
                    <a:pt x="64" y="164"/>
                  </a:lnTo>
                  <a:lnTo>
                    <a:pt x="63" y="164"/>
                  </a:lnTo>
                  <a:lnTo>
                    <a:pt x="62" y="164"/>
                  </a:lnTo>
                  <a:lnTo>
                    <a:pt x="62" y="165"/>
                  </a:lnTo>
                  <a:lnTo>
                    <a:pt x="62" y="166"/>
                  </a:lnTo>
                  <a:lnTo>
                    <a:pt x="62" y="168"/>
                  </a:lnTo>
                  <a:lnTo>
                    <a:pt x="62" y="166"/>
                  </a:lnTo>
                  <a:lnTo>
                    <a:pt x="60" y="166"/>
                  </a:lnTo>
                  <a:lnTo>
                    <a:pt x="62" y="166"/>
                  </a:lnTo>
                  <a:lnTo>
                    <a:pt x="62" y="168"/>
                  </a:lnTo>
                  <a:lnTo>
                    <a:pt x="60" y="168"/>
                  </a:lnTo>
                  <a:lnTo>
                    <a:pt x="60" y="166"/>
                  </a:lnTo>
                  <a:lnTo>
                    <a:pt x="60" y="168"/>
                  </a:lnTo>
                  <a:lnTo>
                    <a:pt x="59" y="168"/>
                  </a:lnTo>
                  <a:lnTo>
                    <a:pt x="58" y="169"/>
                  </a:lnTo>
                  <a:lnTo>
                    <a:pt x="57" y="169"/>
                  </a:lnTo>
                  <a:lnTo>
                    <a:pt x="57" y="168"/>
                  </a:lnTo>
                  <a:lnTo>
                    <a:pt x="56" y="166"/>
                  </a:lnTo>
                  <a:lnTo>
                    <a:pt x="56" y="168"/>
                  </a:lnTo>
                  <a:lnTo>
                    <a:pt x="56" y="166"/>
                  </a:lnTo>
                  <a:lnTo>
                    <a:pt x="55" y="166"/>
                  </a:lnTo>
                  <a:lnTo>
                    <a:pt x="55" y="165"/>
                  </a:lnTo>
                  <a:lnTo>
                    <a:pt x="53" y="166"/>
                  </a:lnTo>
                  <a:lnTo>
                    <a:pt x="55" y="166"/>
                  </a:lnTo>
                  <a:lnTo>
                    <a:pt x="55" y="168"/>
                  </a:lnTo>
                  <a:lnTo>
                    <a:pt x="56" y="168"/>
                  </a:lnTo>
                  <a:lnTo>
                    <a:pt x="55" y="168"/>
                  </a:lnTo>
                  <a:lnTo>
                    <a:pt x="55" y="169"/>
                  </a:lnTo>
                  <a:lnTo>
                    <a:pt x="53" y="169"/>
                  </a:lnTo>
                  <a:lnTo>
                    <a:pt x="52" y="169"/>
                  </a:lnTo>
                  <a:lnTo>
                    <a:pt x="53" y="169"/>
                  </a:lnTo>
                  <a:lnTo>
                    <a:pt x="52" y="169"/>
                  </a:lnTo>
                  <a:lnTo>
                    <a:pt x="52" y="170"/>
                  </a:lnTo>
                  <a:lnTo>
                    <a:pt x="52" y="169"/>
                  </a:lnTo>
                  <a:lnTo>
                    <a:pt x="51" y="169"/>
                  </a:lnTo>
                  <a:lnTo>
                    <a:pt x="51" y="170"/>
                  </a:lnTo>
                  <a:lnTo>
                    <a:pt x="52" y="169"/>
                  </a:lnTo>
                  <a:lnTo>
                    <a:pt x="52" y="170"/>
                  </a:lnTo>
                  <a:lnTo>
                    <a:pt x="51" y="170"/>
                  </a:lnTo>
                  <a:lnTo>
                    <a:pt x="52" y="170"/>
                  </a:lnTo>
                  <a:lnTo>
                    <a:pt x="52" y="171"/>
                  </a:lnTo>
                  <a:lnTo>
                    <a:pt x="51" y="171"/>
                  </a:lnTo>
                  <a:lnTo>
                    <a:pt x="52" y="171"/>
                  </a:lnTo>
                  <a:lnTo>
                    <a:pt x="51" y="171"/>
                  </a:lnTo>
                  <a:lnTo>
                    <a:pt x="50" y="171"/>
                  </a:lnTo>
                  <a:lnTo>
                    <a:pt x="49" y="171"/>
                  </a:lnTo>
                  <a:lnTo>
                    <a:pt x="49" y="172"/>
                  </a:lnTo>
                  <a:lnTo>
                    <a:pt x="50" y="172"/>
                  </a:lnTo>
                  <a:lnTo>
                    <a:pt x="49" y="171"/>
                  </a:lnTo>
                  <a:lnTo>
                    <a:pt x="50" y="172"/>
                  </a:lnTo>
                  <a:lnTo>
                    <a:pt x="49" y="172"/>
                  </a:lnTo>
                  <a:lnTo>
                    <a:pt x="50" y="172"/>
                  </a:lnTo>
                  <a:lnTo>
                    <a:pt x="50" y="173"/>
                  </a:lnTo>
                  <a:lnTo>
                    <a:pt x="49" y="173"/>
                  </a:lnTo>
                  <a:lnTo>
                    <a:pt x="48" y="173"/>
                  </a:lnTo>
                  <a:lnTo>
                    <a:pt x="46" y="173"/>
                  </a:lnTo>
                  <a:lnTo>
                    <a:pt x="48" y="173"/>
                  </a:lnTo>
                  <a:lnTo>
                    <a:pt x="48" y="175"/>
                  </a:lnTo>
                  <a:lnTo>
                    <a:pt x="46" y="175"/>
                  </a:lnTo>
                  <a:lnTo>
                    <a:pt x="46" y="176"/>
                  </a:lnTo>
                  <a:lnTo>
                    <a:pt x="45" y="176"/>
                  </a:lnTo>
                  <a:lnTo>
                    <a:pt x="45" y="177"/>
                  </a:lnTo>
                  <a:lnTo>
                    <a:pt x="44" y="177"/>
                  </a:lnTo>
                  <a:lnTo>
                    <a:pt x="43" y="177"/>
                  </a:lnTo>
                  <a:lnTo>
                    <a:pt x="43" y="178"/>
                  </a:lnTo>
                  <a:lnTo>
                    <a:pt x="42" y="178"/>
                  </a:lnTo>
                  <a:lnTo>
                    <a:pt x="42" y="179"/>
                  </a:lnTo>
                  <a:lnTo>
                    <a:pt x="41" y="179"/>
                  </a:lnTo>
                  <a:lnTo>
                    <a:pt x="40" y="179"/>
                  </a:lnTo>
                  <a:lnTo>
                    <a:pt x="40" y="180"/>
                  </a:lnTo>
                  <a:lnTo>
                    <a:pt x="38" y="180"/>
                  </a:lnTo>
                  <a:lnTo>
                    <a:pt x="37" y="180"/>
                  </a:lnTo>
                  <a:lnTo>
                    <a:pt x="37" y="179"/>
                  </a:lnTo>
                  <a:lnTo>
                    <a:pt x="37" y="180"/>
                  </a:lnTo>
                  <a:lnTo>
                    <a:pt x="36" y="180"/>
                  </a:lnTo>
                  <a:lnTo>
                    <a:pt x="36" y="182"/>
                  </a:lnTo>
                  <a:lnTo>
                    <a:pt x="34" y="182"/>
                  </a:lnTo>
                  <a:lnTo>
                    <a:pt x="33" y="182"/>
                  </a:lnTo>
                  <a:lnTo>
                    <a:pt x="30" y="182"/>
                  </a:lnTo>
                  <a:lnTo>
                    <a:pt x="29" y="182"/>
                  </a:lnTo>
                  <a:lnTo>
                    <a:pt x="28" y="182"/>
                  </a:lnTo>
                  <a:lnTo>
                    <a:pt x="27" y="182"/>
                  </a:lnTo>
                  <a:lnTo>
                    <a:pt x="27" y="183"/>
                  </a:lnTo>
                  <a:lnTo>
                    <a:pt x="26" y="183"/>
                  </a:lnTo>
                  <a:lnTo>
                    <a:pt x="26" y="182"/>
                  </a:lnTo>
                  <a:lnTo>
                    <a:pt x="27" y="182"/>
                  </a:lnTo>
                  <a:lnTo>
                    <a:pt x="27" y="180"/>
                  </a:lnTo>
                  <a:lnTo>
                    <a:pt x="27" y="182"/>
                  </a:lnTo>
                  <a:lnTo>
                    <a:pt x="26" y="182"/>
                  </a:lnTo>
                  <a:lnTo>
                    <a:pt x="24" y="182"/>
                  </a:lnTo>
                  <a:lnTo>
                    <a:pt x="26" y="182"/>
                  </a:lnTo>
                  <a:lnTo>
                    <a:pt x="26" y="180"/>
                  </a:lnTo>
                  <a:lnTo>
                    <a:pt x="24" y="182"/>
                  </a:lnTo>
                  <a:lnTo>
                    <a:pt x="24" y="180"/>
                  </a:lnTo>
                  <a:lnTo>
                    <a:pt x="24" y="182"/>
                  </a:lnTo>
                  <a:lnTo>
                    <a:pt x="23" y="182"/>
                  </a:lnTo>
                  <a:lnTo>
                    <a:pt x="23" y="180"/>
                  </a:lnTo>
                  <a:lnTo>
                    <a:pt x="24" y="180"/>
                  </a:lnTo>
                  <a:lnTo>
                    <a:pt x="26" y="180"/>
                  </a:lnTo>
                  <a:lnTo>
                    <a:pt x="24" y="180"/>
                  </a:lnTo>
                  <a:lnTo>
                    <a:pt x="23" y="180"/>
                  </a:lnTo>
                  <a:lnTo>
                    <a:pt x="23" y="179"/>
                  </a:lnTo>
                  <a:lnTo>
                    <a:pt x="23" y="180"/>
                  </a:lnTo>
                  <a:lnTo>
                    <a:pt x="22" y="180"/>
                  </a:lnTo>
                  <a:lnTo>
                    <a:pt x="22" y="179"/>
                  </a:lnTo>
                  <a:lnTo>
                    <a:pt x="22" y="180"/>
                  </a:lnTo>
                  <a:lnTo>
                    <a:pt x="23" y="182"/>
                  </a:lnTo>
                  <a:lnTo>
                    <a:pt x="22" y="182"/>
                  </a:lnTo>
                  <a:lnTo>
                    <a:pt x="21" y="182"/>
                  </a:lnTo>
                  <a:lnTo>
                    <a:pt x="21" y="180"/>
                  </a:lnTo>
                  <a:lnTo>
                    <a:pt x="20" y="180"/>
                  </a:lnTo>
                  <a:lnTo>
                    <a:pt x="21" y="180"/>
                  </a:lnTo>
                  <a:lnTo>
                    <a:pt x="21" y="179"/>
                  </a:lnTo>
                  <a:lnTo>
                    <a:pt x="22" y="179"/>
                  </a:lnTo>
                  <a:lnTo>
                    <a:pt x="23" y="179"/>
                  </a:lnTo>
                  <a:lnTo>
                    <a:pt x="23" y="178"/>
                  </a:lnTo>
                  <a:lnTo>
                    <a:pt x="22" y="179"/>
                  </a:lnTo>
                  <a:lnTo>
                    <a:pt x="21" y="178"/>
                  </a:lnTo>
                  <a:lnTo>
                    <a:pt x="22" y="178"/>
                  </a:lnTo>
                  <a:lnTo>
                    <a:pt x="22" y="177"/>
                  </a:lnTo>
                  <a:lnTo>
                    <a:pt x="22" y="178"/>
                  </a:lnTo>
                  <a:lnTo>
                    <a:pt x="21" y="178"/>
                  </a:lnTo>
                  <a:lnTo>
                    <a:pt x="21" y="179"/>
                  </a:lnTo>
                  <a:lnTo>
                    <a:pt x="20" y="178"/>
                  </a:lnTo>
                  <a:lnTo>
                    <a:pt x="19" y="178"/>
                  </a:lnTo>
                  <a:lnTo>
                    <a:pt x="17" y="178"/>
                  </a:lnTo>
                  <a:lnTo>
                    <a:pt x="16" y="178"/>
                  </a:lnTo>
                  <a:lnTo>
                    <a:pt x="16" y="177"/>
                  </a:lnTo>
                  <a:lnTo>
                    <a:pt x="15" y="177"/>
                  </a:lnTo>
                  <a:lnTo>
                    <a:pt x="14" y="177"/>
                  </a:lnTo>
                  <a:lnTo>
                    <a:pt x="14" y="176"/>
                  </a:lnTo>
                  <a:lnTo>
                    <a:pt x="13" y="176"/>
                  </a:lnTo>
                  <a:lnTo>
                    <a:pt x="12" y="176"/>
                  </a:lnTo>
                  <a:lnTo>
                    <a:pt x="12" y="175"/>
                  </a:lnTo>
                  <a:lnTo>
                    <a:pt x="10" y="175"/>
                  </a:lnTo>
                  <a:lnTo>
                    <a:pt x="9" y="173"/>
                  </a:lnTo>
                  <a:lnTo>
                    <a:pt x="9" y="172"/>
                  </a:lnTo>
                  <a:lnTo>
                    <a:pt x="8" y="172"/>
                  </a:lnTo>
                  <a:lnTo>
                    <a:pt x="8" y="171"/>
                  </a:lnTo>
                  <a:lnTo>
                    <a:pt x="8" y="170"/>
                  </a:lnTo>
                  <a:lnTo>
                    <a:pt x="9" y="170"/>
                  </a:lnTo>
                  <a:lnTo>
                    <a:pt x="9" y="169"/>
                  </a:lnTo>
                  <a:lnTo>
                    <a:pt x="8" y="169"/>
                  </a:lnTo>
                  <a:lnTo>
                    <a:pt x="9" y="169"/>
                  </a:lnTo>
                  <a:lnTo>
                    <a:pt x="8" y="168"/>
                  </a:lnTo>
                  <a:lnTo>
                    <a:pt x="9" y="168"/>
                  </a:lnTo>
                  <a:lnTo>
                    <a:pt x="8" y="168"/>
                  </a:lnTo>
                  <a:lnTo>
                    <a:pt x="10" y="168"/>
                  </a:lnTo>
                  <a:lnTo>
                    <a:pt x="10" y="169"/>
                  </a:lnTo>
                  <a:lnTo>
                    <a:pt x="10" y="170"/>
                  </a:lnTo>
                  <a:lnTo>
                    <a:pt x="10" y="169"/>
                  </a:lnTo>
                  <a:lnTo>
                    <a:pt x="12" y="169"/>
                  </a:lnTo>
                  <a:lnTo>
                    <a:pt x="12" y="168"/>
                  </a:lnTo>
                  <a:lnTo>
                    <a:pt x="12" y="169"/>
                  </a:lnTo>
                  <a:lnTo>
                    <a:pt x="13" y="169"/>
                  </a:lnTo>
                  <a:lnTo>
                    <a:pt x="14" y="169"/>
                  </a:lnTo>
                  <a:lnTo>
                    <a:pt x="15" y="170"/>
                  </a:lnTo>
                  <a:lnTo>
                    <a:pt x="16" y="170"/>
                  </a:lnTo>
                  <a:lnTo>
                    <a:pt x="15" y="170"/>
                  </a:lnTo>
                  <a:lnTo>
                    <a:pt x="14" y="169"/>
                  </a:lnTo>
                  <a:lnTo>
                    <a:pt x="15" y="169"/>
                  </a:lnTo>
                  <a:lnTo>
                    <a:pt x="16" y="168"/>
                  </a:lnTo>
                  <a:lnTo>
                    <a:pt x="21" y="166"/>
                  </a:lnTo>
                  <a:lnTo>
                    <a:pt x="17" y="168"/>
                  </a:lnTo>
                  <a:lnTo>
                    <a:pt x="15" y="168"/>
                  </a:lnTo>
                  <a:lnTo>
                    <a:pt x="14" y="169"/>
                  </a:lnTo>
                  <a:lnTo>
                    <a:pt x="14" y="168"/>
                  </a:lnTo>
                  <a:lnTo>
                    <a:pt x="13" y="168"/>
                  </a:lnTo>
                  <a:lnTo>
                    <a:pt x="13" y="166"/>
                  </a:lnTo>
                  <a:lnTo>
                    <a:pt x="12" y="166"/>
                  </a:lnTo>
                  <a:lnTo>
                    <a:pt x="13" y="166"/>
                  </a:lnTo>
                  <a:lnTo>
                    <a:pt x="14" y="165"/>
                  </a:lnTo>
                  <a:lnTo>
                    <a:pt x="15" y="165"/>
                  </a:lnTo>
                  <a:lnTo>
                    <a:pt x="14" y="165"/>
                  </a:lnTo>
                  <a:lnTo>
                    <a:pt x="14" y="164"/>
                  </a:lnTo>
                  <a:lnTo>
                    <a:pt x="15" y="164"/>
                  </a:lnTo>
                  <a:lnTo>
                    <a:pt x="16" y="164"/>
                  </a:lnTo>
                  <a:lnTo>
                    <a:pt x="17" y="163"/>
                  </a:lnTo>
                  <a:lnTo>
                    <a:pt x="19" y="163"/>
                  </a:lnTo>
                  <a:lnTo>
                    <a:pt x="17" y="163"/>
                  </a:lnTo>
                  <a:lnTo>
                    <a:pt x="16" y="164"/>
                  </a:lnTo>
                  <a:lnTo>
                    <a:pt x="15" y="164"/>
                  </a:lnTo>
                  <a:lnTo>
                    <a:pt x="14" y="163"/>
                  </a:lnTo>
                  <a:lnTo>
                    <a:pt x="16" y="163"/>
                  </a:lnTo>
                  <a:lnTo>
                    <a:pt x="15" y="163"/>
                  </a:lnTo>
                  <a:lnTo>
                    <a:pt x="16" y="163"/>
                  </a:lnTo>
                  <a:lnTo>
                    <a:pt x="15" y="163"/>
                  </a:lnTo>
                  <a:lnTo>
                    <a:pt x="14" y="163"/>
                  </a:lnTo>
                  <a:lnTo>
                    <a:pt x="14" y="162"/>
                  </a:lnTo>
                  <a:lnTo>
                    <a:pt x="15" y="162"/>
                  </a:lnTo>
                  <a:lnTo>
                    <a:pt x="15" y="161"/>
                  </a:lnTo>
                  <a:lnTo>
                    <a:pt x="15" y="162"/>
                  </a:lnTo>
                  <a:lnTo>
                    <a:pt x="15" y="161"/>
                  </a:lnTo>
                  <a:lnTo>
                    <a:pt x="16" y="161"/>
                  </a:lnTo>
                  <a:lnTo>
                    <a:pt x="19" y="159"/>
                  </a:lnTo>
                  <a:lnTo>
                    <a:pt x="20" y="159"/>
                  </a:lnTo>
                  <a:lnTo>
                    <a:pt x="19" y="159"/>
                  </a:lnTo>
                  <a:lnTo>
                    <a:pt x="17" y="159"/>
                  </a:lnTo>
                  <a:lnTo>
                    <a:pt x="16" y="159"/>
                  </a:lnTo>
                  <a:lnTo>
                    <a:pt x="16" y="158"/>
                  </a:lnTo>
                  <a:lnTo>
                    <a:pt x="16" y="159"/>
                  </a:lnTo>
                  <a:lnTo>
                    <a:pt x="15" y="161"/>
                  </a:lnTo>
                  <a:lnTo>
                    <a:pt x="14" y="162"/>
                  </a:lnTo>
                  <a:lnTo>
                    <a:pt x="13" y="162"/>
                  </a:lnTo>
                  <a:lnTo>
                    <a:pt x="14" y="162"/>
                  </a:lnTo>
                  <a:lnTo>
                    <a:pt x="13" y="163"/>
                  </a:lnTo>
                  <a:lnTo>
                    <a:pt x="13" y="162"/>
                  </a:lnTo>
                  <a:lnTo>
                    <a:pt x="12" y="162"/>
                  </a:lnTo>
                  <a:lnTo>
                    <a:pt x="12" y="161"/>
                  </a:lnTo>
                  <a:lnTo>
                    <a:pt x="13" y="161"/>
                  </a:lnTo>
                  <a:lnTo>
                    <a:pt x="15" y="161"/>
                  </a:lnTo>
                  <a:lnTo>
                    <a:pt x="14" y="161"/>
                  </a:lnTo>
                  <a:lnTo>
                    <a:pt x="13" y="161"/>
                  </a:lnTo>
                  <a:lnTo>
                    <a:pt x="12" y="161"/>
                  </a:lnTo>
                  <a:lnTo>
                    <a:pt x="12" y="159"/>
                  </a:lnTo>
                  <a:lnTo>
                    <a:pt x="10" y="159"/>
                  </a:lnTo>
                  <a:lnTo>
                    <a:pt x="12" y="161"/>
                  </a:lnTo>
                  <a:lnTo>
                    <a:pt x="10" y="161"/>
                  </a:lnTo>
                  <a:lnTo>
                    <a:pt x="10" y="162"/>
                  </a:lnTo>
                  <a:lnTo>
                    <a:pt x="9" y="162"/>
                  </a:lnTo>
                  <a:lnTo>
                    <a:pt x="10" y="162"/>
                  </a:lnTo>
                  <a:lnTo>
                    <a:pt x="12" y="162"/>
                  </a:lnTo>
                  <a:lnTo>
                    <a:pt x="12" y="163"/>
                  </a:lnTo>
                  <a:lnTo>
                    <a:pt x="10" y="163"/>
                  </a:lnTo>
                  <a:lnTo>
                    <a:pt x="9" y="163"/>
                  </a:lnTo>
                  <a:lnTo>
                    <a:pt x="9" y="162"/>
                  </a:lnTo>
                  <a:lnTo>
                    <a:pt x="8" y="162"/>
                  </a:lnTo>
                  <a:lnTo>
                    <a:pt x="9" y="162"/>
                  </a:lnTo>
                  <a:lnTo>
                    <a:pt x="8" y="162"/>
                  </a:lnTo>
                  <a:lnTo>
                    <a:pt x="8" y="163"/>
                  </a:lnTo>
                  <a:lnTo>
                    <a:pt x="8" y="164"/>
                  </a:lnTo>
                  <a:lnTo>
                    <a:pt x="7" y="163"/>
                  </a:lnTo>
                  <a:lnTo>
                    <a:pt x="7" y="162"/>
                  </a:lnTo>
                  <a:lnTo>
                    <a:pt x="7" y="163"/>
                  </a:lnTo>
                  <a:lnTo>
                    <a:pt x="6" y="163"/>
                  </a:lnTo>
                  <a:lnTo>
                    <a:pt x="6" y="162"/>
                  </a:lnTo>
                  <a:lnTo>
                    <a:pt x="6" y="163"/>
                  </a:lnTo>
                  <a:lnTo>
                    <a:pt x="5" y="162"/>
                  </a:lnTo>
                  <a:lnTo>
                    <a:pt x="5" y="161"/>
                  </a:lnTo>
                  <a:lnTo>
                    <a:pt x="5" y="159"/>
                  </a:lnTo>
                  <a:lnTo>
                    <a:pt x="6" y="159"/>
                  </a:lnTo>
                  <a:lnTo>
                    <a:pt x="6" y="158"/>
                  </a:lnTo>
                  <a:lnTo>
                    <a:pt x="7" y="158"/>
                  </a:lnTo>
                  <a:lnTo>
                    <a:pt x="7" y="159"/>
                  </a:lnTo>
                  <a:lnTo>
                    <a:pt x="7" y="158"/>
                  </a:lnTo>
                  <a:lnTo>
                    <a:pt x="7" y="157"/>
                  </a:lnTo>
                  <a:lnTo>
                    <a:pt x="8" y="157"/>
                  </a:lnTo>
                  <a:lnTo>
                    <a:pt x="8" y="158"/>
                  </a:lnTo>
                  <a:lnTo>
                    <a:pt x="7" y="158"/>
                  </a:lnTo>
                  <a:lnTo>
                    <a:pt x="8" y="159"/>
                  </a:lnTo>
                  <a:lnTo>
                    <a:pt x="7" y="159"/>
                  </a:lnTo>
                  <a:lnTo>
                    <a:pt x="7" y="161"/>
                  </a:lnTo>
                  <a:lnTo>
                    <a:pt x="8" y="159"/>
                  </a:lnTo>
                  <a:lnTo>
                    <a:pt x="8" y="158"/>
                  </a:lnTo>
                  <a:lnTo>
                    <a:pt x="9" y="158"/>
                  </a:lnTo>
                  <a:lnTo>
                    <a:pt x="10" y="158"/>
                  </a:lnTo>
                  <a:lnTo>
                    <a:pt x="12" y="158"/>
                  </a:lnTo>
                  <a:lnTo>
                    <a:pt x="10" y="158"/>
                  </a:lnTo>
                  <a:lnTo>
                    <a:pt x="10" y="157"/>
                  </a:lnTo>
                  <a:lnTo>
                    <a:pt x="12" y="157"/>
                  </a:lnTo>
                  <a:lnTo>
                    <a:pt x="12" y="156"/>
                  </a:lnTo>
                  <a:lnTo>
                    <a:pt x="13" y="157"/>
                  </a:lnTo>
                  <a:lnTo>
                    <a:pt x="14" y="157"/>
                  </a:lnTo>
                  <a:lnTo>
                    <a:pt x="15" y="156"/>
                  </a:lnTo>
                  <a:lnTo>
                    <a:pt x="16" y="156"/>
                  </a:lnTo>
                  <a:lnTo>
                    <a:pt x="16" y="155"/>
                  </a:lnTo>
                  <a:lnTo>
                    <a:pt x="16" y="156"/>
                  </a:lnTo>
                  <a:lnTo>
                    <a:pt x="14" y="156"/>
                  </a:lnTo>
                  <a:lnTo>
                    <a:pt x="14" y="157"/>
                  </a:lnTo>
                  <a:lnTo>
                    <a:pt x="13" y="157"/>
                  </a:lnTo>
                  <a:lnTo>
                    <a:pt x="13" y="156"/>
                  </a:lnTo>
                  <a:lnTo>
                    <a:pt x="13" y="155"/>
                  </a:lnTo>
                  <a:lnTo>
                    <a:pt x="13" y="156"/>
                  </a:lnTo>
                  <a:lnTo>
                    <a:pt x="12" y="156"/>
                  </a:lnTo>
                  <a:lnTo>
                    <a:pt x="10" y="156"/>
                  </a:lnTo>
                  <a:lnTo>
                    <a:pt x="10" y="155"/>
                  </a:lnTo>
                  <a:lnTo>
                    <a:pt x="9" y="155"/>
                  </a:lnTo>
                  <a:lnTo>
                    <a:pt x="9" y="156"/>
                  </a:lnTo>
                  <a:lnTo>
                    <a:pt x="9" y="155"/>
                  </a:lnTo>
                  <a:lnTo>
                    <a:pt x="10" y="155"/>
                  </a:lnTo>
                  <a:lnTo>
                    <a:pt x="10" y="154"/>
                  </a:lnTo>
                  <a:lnTo>
                    <a:pt x="12" y="154"/>
                  </a:lnTo>
                  <a:lnTo>
                    <a:pt x="13" y="154"/>
                  </a:lnTo>
                  <a:lnTo>
                    <a:pt x="13" y="152"/>
                  </a:lnTo>
                  <a:lnTo>
                    <a:pt x="14" y="151"/>
                  </a:lnTo>
                  <a:lnTo>
                    <a:pt x="16" y="151"/>
                  </a:lnTo>
                  <a:lnTo>
                    <a:pt x="15" y="151"/>
                  </a:lnTo>
                  <a:lnTo>
                    <a:pt x="14" y="151"/>
                  </a:lnTo>
                  <a:lnTo>
                    <a:pt x="14" y="150"/>
                  </a:lnTo>
                  <a:lnTo>
                    <a:pt x="15" y="150"/>
                  </a:lnTo>
                  <a:lnTo>
                    <a:pt x="15" y="149"/>
                  </a:lnTo>
                  <a:lnTo>
                    <a:pt x="16" y="149"/>
                  </a:lnTo>
                  <a:lnTo>
                    <a:pt x="16" y="148"/>
                  </a:lnTo>
                  <a:lnTo>
                    <a:pt x="17" y="148"/>
                  </a:lnTo>
                  <a:lnTo>
                    <a:pt x="19" y="147"/>
                  </a:lnTo>
                  <a:lnTo>
                    <a:pt x="20" y="147"/>
                  </a:lnTo>
                  <a:lnTo>
                    <a:pt x="20" y="148"/>
                  </a:lnTo>
                  <a:lnTo>
                    <a:pt x="19" y="148"/>
                  </a:lnTo>
                  <a:lnTo>
                    <a:pt x="20" y="149"/>
                  </a:lnTo>
                  <a:lnTo>
                    <a:pt x="19" y="149"/>
                  </a:lnTo>
                  <a:lnTo>
                    <a:pt x="19" y="150"/>
                  </a:lnTo>
                  <a:lnTo>
                    <a:pt x="19" y="151"/>
                  </a:lnTo>
                  <a:lnTo>
                    <a:pt x="19" y="152"/>
                  </a:lnTo>
                  <a:lnTo>
                    <a:pt x="19" y="151"/>
                  </a:lnTo>
                  <a:lnTo>
                    <a:pt x="19" y="150"/>
                  </a:lnTo>
                  <a:lnTo>
                    <a:pt x="20" y="150"/>
                  </a:lnTo>
                  <a:lnTo>
                    <a:pt x="20" y="149"/>
                  </a:lnTo>
                  <a:lnTo>
                    <a:pt x="20" y="148"/>
                  </a:lnTo>
                  <a:lnTo>
                    <a:pt x="21" y="148"/>
                  </a:lnTo>
                  <a:lnTo>
                    <a:pt x="21" y="147"/>
                  </a:lnTo>
                  <a:lnTo>
                    <a:pt x="22" y="147"/>
                  </a:lnTo>
                  <a:lnTo>
                    <a:pt x="23" y="145"/>
                  </a:lnTo>
                  <a:lnTo>
                    <a:pt x="24" y="147"/>
                  </a:lnTo>
                  <a:lnTo>
                    <a:pt x="24" y="145"/>
                  </a:lnTo>
                  <a:lnTo>
                    <a:pt x="23" y="145"/>
                  </a:lnTo>
                  <a:lnTo>
                    <a:pt x="24" y="144"/>
                  </a:lnTo>
                  <a:lnTo>
                    <a:pt x="23" y="144"/>
                  </a:lnTo>
                  <a:lnTo>
                    <a:pt x="23" y="145"/>
                  </a:lnTo>
                  <a:lnTo>
                    <a:pt x="22" y="145"/>
                  </a:lnTo>
                  <a:lnTo>
                    <a:pt x="21" y="147"/>
                  </a:lnTo>
                  <a:lnTo>
                    <a:pt x="20" y="147"/>
                  </a:lnTo>
                  <a:lnTo>
                    <a:pt x="20" y="145"/>
                  </a:lnTo>
                  <a:lnTo>
                    <a:pt x="21" y="145"/>
                  </a:lnTo>
                  <a:lnTo>
                    <a:pt x="20" y="145"/>
                  </a:lnTo>
                  <a:lnTo>
                    <a:pt x="19" y="147"/>
                  </a:lnTo>
                  <a:lnTo>
                    <a:pt x="17" y="147"/>
                  </a:lnTo>
                  <a:lnTo>
                    <a:pt x="16" y="148"/>
                  </a:lnTo>
                  <a:lnTo>
                    <a:pt x="15" y="148"/>
                  </a:lnTo>
                  <a:lnTo>
                    <a:pt x="15" y="147"/>
                  </a:lnTo>
                  <a:lnTo>
                    <a:pt x="15" y="148"/>
                  </a:lnTo>
                  <a:lnTo>
                    <a:pt x="14" y="148"/>
                  </a:lnTo>
                  <a:lnTo>
                    <a:pt x="15" y="148"/>
                  </a:lnTo>
                  <a:lnTo>
                    <a:pt x="14" y="149"/>
                  </a:lnTo>
                  <a:lnTo>
                    <a:pt x="15" y="149"/>
                  </a:lnTo>
                  <a:lnTo>
                    <a:pt x="14" y="149"/>
                  </a:lnTo>
                  <a:lnTo>
                    <a:pt x="14" y="150"/>
                  </a:lnTo>
                  <a:lnTo>
                    <a:pt x="14" y="149"/>
                  </a:lnTo>
                  <a:lnTo>
                    <a:pt x="13" y="149"/>
                  </a:lnTo>
                  <a:lnTo>
                    <a:pt x="13" y="150"/>
                  </a:lnTo>
                  <a:lnTo>
                    <a:pt x="12" y="150"/>
                  </a:lnTo>
                  <a:lnTo>
                    <a:pt x="12" y="151"/>
                  </a:lnTo>
                  <a:lnTo>
                    <a:pt x="12" y="152"/>
                  </a:lnTo>
                  <a:lnTo>
                    <a:pt x="10" y="152"/>
                  </a:lnTo>
                  <a:lnTo>
                    <a:pt x="10" y="154"/>
                  </a:lnTo>
                  <a:lnTo>
                    <a:pt x="9" y="152"/>
                  </a:lnTo>
                  <a:lnTo>
                    <a:pt x="10" y="152"/>
                  </a:lnTo>
                  <a:lnTo>
                    <a:pt x="10" y="151"/>
                  </a:lnTo>
                  <a:lnTo>
                    <a:pt x="10" y="152"/>
                  </a:lnTo>
                  <a:lnTo>
                    <a:pt x="9" y="151"/>
                  </a:lnTo>
                  <a:lnTo>
                    <a:pt x="10" y="151"/>
                  </a:lnTo>
                  <a:lnTo>
                    <a:pt x="9" y="151"/>
                  </a:lnTo>
                  <a:lnTo>
                    <a:pt x="9" y="150"/>
                  </a:lnTo>
                  <a:lnTo>
                    <a:pt x="10" y="150"/>
                  </a:lnTo>
                  <a:lnTo>
                    <a:pt x="9" y="150"/>
                  </a:lnTo>
                  <a:lnTo>
                    <a:pt x="9" y="151"/>
                  </a:lnTo>
                  <a:lnTo>
                    <a:pt x="8" y="151"/>
                  </a:lnTo>
                  <a:lnTo>
                    <a:pt x="8" y="150"/>
                  </a:lnTo>
                  <a:lnTo>
                    <a:pt x="9" y="150"/>
                  </a:lnTo>
                  <a:lnTo>
                    <a:pt x="8" y="150"/>
                  </a:lnTo>
                  <a:lnTo>
                    <a:pt x="9" y="149"/>
                  </a:lnTo>
                  <a:lnTo>
                    <a:pt x="8" y="149"/>
                  </a:lnTo>
                  <a:lnTo>
                    <a:pt x="8" y="150"/>
                  </a:lnTo>
                  <a:lnTo>
                    <a:pt x="8" y="149"/>
                  </a:lnTo>
                  <a:lnTo>
                    <a:pt x="9" y="149"/>
                  </a:lnTo>
                  <a:lnTo>
                    <a:pt x="9" y="148"/>
                  </a:lnTo>
                  <a:lnTo>
                    <a:pt x="8" y="148"/>
                  </a:lnTo>
                  <a:lnTo>
                    <a:pt x="8" y="149"/>
                  </a:lnTo>
                  <a:lnTo>
                    <a:pt x="8" y="150"/>
                  </a:lnTo>
                  <a:lnTo>
                    <a:pt x="7" y="150"/>
                  </a:lnTo>
                  <a:lnTo>
                    <a:pt x="7" y="151"/>
                  </a:lnTo>
                  <a:lnTo>
                    <a:pt x="6" y="151"/>
                  </a:lnTo>
                  <a:lnTo>
                    <a:pt x="6" y="150"/>
                  </a:lnTo>
                  <a:lnTo>
                    <a:pt x="5" y="150"/>
                  </a:lnTo>
                  <a:lnTo>
                    <a:pt x="6" y="150"/>
                  </a:lnTo>
                  <a:lnTo>
                    <a:pt x="5" y="150"/>
                  </a:lnTo>
                  <a:lnTo>
                    <a:pt x="5" y="149"/>
                  </a:lnTo>
                  <a:lnTo>
                    <a:pt x="3" y="149"/>
                  </a:lnTo>
                  <a:lnTo>
                    <a:pt x="5" y="149"/>
                  </a:lnTo>
                  <a:lnTo>
                    <a:pt x="5" y="148"/>
                  </a:lnTo>
                  <a:lnTo>
                    <a:pt x="3" y="148"/>
                  </a:lnTo>
                  <a:lnTo>
                    <a:pt x="5" y="148"/>
                  </a:lnTo>
                  <a:lnTo>
                    <a:pt x="5" y="147"/>
                  </a:lnTo>
                  <a:lnTo>
                    <a:pt x="5" y="145"/>
                  </a:lnTo>
                  <a:lnTo>
                    <a:pt x="6" y="145"/>
                  </a:lnTo>
                  <a:lnTo>
                    <a:pt x="6" y="147"/>
                  </a:lnTo>
                  <a:lnTo>
                    <a:pt x="7" y="147"/>
                  </a:lnTo>
                  <a:lnTo>
                    <a:pt x="8" y="147"/>
                  </a:lnTo>
                  <a:lnTo>
                    <a:pt x="9" y="147"/>
                  </a:lnTo>
                  <a:lnTo>
                    <a:pt x="9" y="145"/>
                  </a:lnTo>
                  <a:lnTo>
                    <a:pt x="9" y="144"/>
                  </a:lnTo>
                  <a:lnTo>
                    <a:pt x="9" y="143"/>
                  </a:lnTo>
                  <a:lnTo>
                    <a:pt x="9" y="142"/>
                  </a:lnTo>
                  <a:lnTo>
                    <a:pt x="8" y="143"/>
                  </a:lnTo>
                  <a:lnTo>
                    <a:pt x="7" y="143"/>
                  </a:lnTo>
                  <a:lnTo>
                    <a:pt x="7" y="144"/>
                  </a:lnTo>
                  <a:lnTo>
                    <a:pt x="6" y="144"/>
                  </a:lnTo>
                  <a:lnTo>
                    <a:pt x="5" y="145"/>
                  </a:lnTo>
                  <a:lnTo>
                    <a:pt x="5" y="144"/>
                  </a:lnTo>
                  <a:lnTo>
                    <a:pt x="3" y="144"/>
                  </a:lnTo>
                  <a:lnTo>
                    <a:pt x="2" y="144"/>
                  </a:lnTo>
                  <a:lnTo>
                    <a:pt x="2" y="143"/>
                  </a:lnTo>
                  <a:lnTo>
                    <a:pt x="3" y="143"/>
                  </a:lnTo>
                  <a:lnTo>
                    <a:pt x="3" y="144"/>
                  </a:lnTo>
                  <a:lnTo>
                    <a:pt x="5" y="144"/>
                  </a:lnTo>
                  <a:lnTo>
                    <a:pt x="3" y="143"/>
                  </a:lnTo>
                  <a:lnTo>
                    <a:pt x="2" y="143"/>
                  </a:lnTo>
                  <a:lnTo>
                    <a:pt x="3" y="143"/>
                  </a:lnTo>
                  <a:lnTo>
                    <a:pt x="2" y="143"/>
                  </a:lnTo>
                  <a:lnTo>
                    <a:pt x="2" y="142"/>
                  </a:lnTo>
                  <a:lnTo>
                    <a:pt x="1" y="142"/>
                  </a:lnTo>
                  <a:lnTo>
                    <a:pt x="2" y="142"/>
                  </a:lnTo>
                  <a:lnTo>
                    <a:pt x="3" y="142"/>
                  </a:lnTo>
                  <a:lnTo>
                    <a:pt x="5" y="143"/>
                  </a:lnTo>
                  <a:lnTo>
                    <a:pt x="6" y="144"/>
                  </a:lnTo>
                  <a:lnTo>
                    <a:pt x="6" y="143"/>
                  </a:lnTo>
                  <a:lnTo>
                    <a:pt x="6" y="144"/>
                  </a:lnTo>
                  <a:lnTo>
                    <a:pt x="6" y="143"/>
                  </a:lnTo>
                  <a:lnTo>
                    <a:pt x="6" y="142"/>
                  </a:lnTo>
                  <a:lnTo>
                    <a:pt x="5" y="142"/>
                  </a:lnTo>
                  <a:lnTo>
                    <a:pt x="6" y="141"/>
                  </a:lnTo>
                  <a:lnTo>
                    <a:pt x="5" y="141"/>
                  </a:lnTo>
                  <a:lnTo>
                    <a:pt x="6" y="141"/>
                  </a:lnTo>
                  <a:lnTo>
                    <a:pt x="7" y="141"/>
                  </a:lnTo>
                  <a:lnTo>
                    <a:pt x="7" y="140"/>
                  </a:lnTo>
                  <a:lnTo>
                    <a:pt x="6" y="141"/>
                  </a:lnTo>
                  <a:lnTo>
                    <a:pt x="5" y="141"/>
                  </a:lnTo>
                  <a:lnTo>
                    <a:pt x="3" y="141"/>
                  </a:lnTo>
                  <a:lnTo>
                    <a:pt x="3" y="142"/>
                  </a:lnTo>
                  <a:lnTo>
                    <a:pt x="2" y="141"/>
                  </a:lnTo>
                  <a:lnTo>
                    <a:pt x="3" y="141"/>
                  </a:lnTo>
                  <a:lnTo>
                    <a:pt x="2" y="141"/>
                  </a:lnTo>
                  <a:lnTo>
                    <a:pt x="1" y="140"/>
                  </a:lnTo>
                  <a:lnTo>
                    <a:pt x="2" y="140"/>
                  </a:lnTo>
                  <a:lnTo>
                    <a:pt x="2" y="141"/>
                  </a:lnTo>
                  <a:lnTo>
                    <a:pt x="2" y="140"/>
                  </a:lnTo>
                  <a:lnTo>
                    <a:pt x="3" y="140"/>
                  </a:lnTo>
                  <a:lnTo>
                    <a:pt x="3" y="138"/>
                  </a:lnTo>
                  <a:lnTo>
                    <a:pt x="2" y="138"/>
                  </a:lnTo>
                  <a:lnTo>
                    <a:pt x="2" y="140"/>
                  </a:lnTo>
                  <a:lnTo>
                    <a:pt x="1" y="138"/>
                  </a:lnTo>
                  <a:lnTo>
                    <a:pt x="2" y="137"/>
                  </a:lnTo>
                  <a:lnTo>
                    <a:pt x="3" y="137"/>
                  </a:lnTo>
                  <a:lnTo>
                    <a:pt x="5" y="138"/>
                  </a:lnTo>
                  <a:lnTo>
                    <a:pt x="6" y="138"/>
                  </a:lnTo>
                  <a:lnTo>
                    <a:pt x="7" y="138"/>
                  </a:lnTo>
                  <a:lnTo>
                    <a:pt x="6" y="138"/>
                  </a:lnTo>
                  <a:lnTo>
                    <a:pt x="7" y="138"/>
                  </a:lnTo>
                  <a:lnTo>
                    <a:pt x="7" y="137"/>
                  </a:lnTo>
                  <a:lnTo>
                    <a:pt x="8" y="137"/>
                  </a:lnTo>
                  <a:lnTo>
                    <a:pt x="9" y="137"/>
                  </a:lnTo>
                  <a:lnTo>
                    <a:pt x="10" y="137"/>
                  </a:lnTo>
                  <a:lnTo>
                    <a:pt x="12" y="137"/>
                  </a:lnTo>
                  <a:lnTo>
                    <a:pt x="13" y="137"/>
                  </a:lnTo>
                  <a:lnTo>
                    <a:pt x="14" y="137"/>
                  </a:lnTo>
                  <a:lnTo>
                    <a:pt x="15" y="137"/>
                  </a:lnTo>
                  <a:lnTo>
                    <a:pt x="15" y="138"/>
                  </a:lnTo>
                  <a:lnTo>
                    <a:pt x="15" y="137"/>
                  </a:lnTo>
                  <a:lnTo>
                    <a:pt x="16" y="137"/>
                  </a:lnTo>
                  <a:lnTo>
                    <a:pt x="16" y="138"/>
                  </a:lnTo>
                  <a:lnTo>
                    <a:pt x="17" y="137"/>
                  </a:lnTo>
                  <a:lnTo>
                    <a:pt x="19" y="137"/>
                  </a:lnTo>
                  <a:lnTo>
                    <a:pt x="19" y="136"/>
                  </a:lnTo>
                  <a:lnTo>
                    <a:pt x="20" y="136"/>
                  </a:lnTo>
                  <a:lnTo>
                    <a:pt x="21" y="136"/>
                  </a:lnTo>
                  <a:lnTo>
                    <a:pt x="22" y="136"/>
                  </a:lnTo>
                  <a:lnTo>
                    <a:pt x="22" y="137"/>
                  </a:lnTo>
                  <a:lnTo>
                    <a:pt x="23" y="137"/>
                  </a:lnTo>
                  <a:lnTo>
                    <a:pt x="23" y="138"/>
                  </a:lnTo>
                  <a:lnTo>
                    <a:pt x="23" y="140"/>
                  </a:lnTo>
                  <a:lnTo>
                    <a:pt x="22" y="140"/>
                  </a:lnTo>
                  <a:lnTo>
                    <a:pt x="23" y="140"/>
                  </a:lnTo>
                  <a:lnTo>
                    <a:pt x="24" y="140"/>
                  </a:lnTo>
                  <a:lnTo>
                    <a:pt x="24" y="141"/>
                  </a:lnTo>
                  <a:lnTo>
                    <a:pt x="26" y="140"/>
                  </a:lnTo>
                  <a:lnTo>
                    <a:pt x="24" y="140"/>
                  </a:lnTo>
                  <a:lnTo>
                    <a:pt x="24" y="138"/>
                  </a:lnTo>
                  <a:lnTo>
                    <a:pt x="23" y="138"/>
                  </a:lnTo>
                  <a:lnTo>
                    <a:pt x="23" y="137"/>
                  </a:lnTo>
                  <a:lnTo>
                    <a:pt x="24" y="137"/>
                  </a:lnTo>
                  <a:lnTo>
                    <a:pt x="26" y="137"/>
                  </a:lnTo>
                  <a:lnTo>
                    <a:pt x="26" y="136"/>
                  </a:lnTo>
                  <a:lnTo>
                    <a:pt x="27" y="137"/>
                  </a:lnTo>
                  <a:lnTo>
                    <a:pt x="28" y="137"/>
                  </a:lnTo>
                  <a:lnTo>
                    <a:pt x="27" y="136"/>
                  </a:lnTo>
                  <a:lnTo>
                    <a:pt x="28" y="136"/>
                  </a:lnTo>
                  <a:lnTo>
                    <a:pt x="30" y="136"/>
                  </a:lnTo>
                  <a:lnTo>
                    <a:pt x="31" y="135"/>
                  </a:lnTo>
                  <a:lnTo>
                    <a:pt x="30" y="135"/>
                  </a:lnTo>
                  <a:lnTo>
                    <a:pt x="30" y="136"/>
                  </a:lnTo>
                  <a:lnTo>
                    <a:pt x="28" y="136"/>
                  </a:lnTo>
                  <a:lnTo>
                    <a:pt x="27" y="136"/>
                  </a:lnTo>
                  <a:lnTo>
                    <a:pt x="27" y="135"/>
                  </a:lnTo>
                  <a:lnTo>
                    <a:pt x="27" y="134"/>
                  </a:lnTo>
                  <a:lnTo>
                    <a:pt x="28" y="134"/>
                  </a:lnTo>
                  <a:lnTo>
                    <a:pt x="28" y="133"/>
                  </a:lnTo>
                  <a:lnTo>
                    <a:pt x="29" y="133"/>
                  </a:lnTo>
                  <a:lnTo>
                    <a:pt x="29" y="131"/>
                  </a:lnTo>
                  <a:lnTo>
                    <a:pt x="28" y="133"/>
                  </a:lnTo>
                  <a:lnTo>
                    <a:pt x="27" y="133"/>
                  </a:lnTo>
                  <a:lnTo>
                    <a:pt x="26" y="133"/>
                  </a:lnTo>
                  <a:lnTo>
                    <a:pt x="27" y="133"/>
                  </a:lnTo>
                  <a:lnTo>
                    <a:pt x="27" y="134"/>
                  </a:lnTo>
                  <a:lnTo>
                    <a:pt x="26" y="134"/>
                  </a:lnTo>
                  <a:lnTo>
                    <a:pt x="26" y="135"/>
                  </a:lnTo>
                  <a:lnTo>
                    <a:pt x="27" y="135"/>
                  </a:lnTo>
                  <a:lnTo>
                    <a:pt x="27" y="136"/>
                  </a:lnTo>
                  <a:lnTo>
                    <a:pt x="26" y="136"/>
                  </a:lnTo>
                  <a:lnTo>
                    <a:pt x="24" y="136"/>
                  </a:lnTo>
                  <a:lnTo>
                    <a:pt x="23" y="137"/>
                  </a:lnTo>
                  <a:lnTo>
                    <a:pt x="22" y="137"/>
                  </a:lnTo>
                  <a:lnTo>
                    <a:pt x="23" y="136"/>
                  </a:lnTo>
                  <a:lnTo>
                    <a:pt x="22" y="136"/>
                  </a:lnTo>
                  <a:lnTo>
                    <a:pt x="21" y="136"/>
                  </a:lnTo>
                  <a:lnTo>
                    <a:pt x="20" y="136"/>
                  </a:lnTo>
                  <a:lnTo>
                    <a:pt x="19" y="135"/>
                  </a:lnTo>
                  <a:lnTo>
                    <a:pt x="20" y="134"/>
                  </a:lnTo>
                  <a:lnTo>
                    <a:pt x="20" y="133"/>
                  </a:lnTo>
                  <a:lnTo>
                    <a:pt x="20" y="134"/>
                  </a:lnTo>
                  <a:lnTo>
                    <a:pt x="19" y="135"/>
                  </a:lnTo>
                  <a:lnTo>
                    <a:pt x="17" y="135"/>
                  </a:lnTo>
                  <a:lnTo>
                    <a:pt x="19" y="135"/>
                  </a:lnTo>
                  <a:lnTo>
                    <a:pt x="19" y="136"/>
                  </a:lnTo>
                  <a:lnTo>
                    <a:pt x="17" y="136"/>
                  </a:lnTo>
                  <a:lnTo>
                    <a:pt x="17" y="137"/>
                  </a:lnTo>
                  <a:lnTo>
                    <a:pt x="16" y="137"/>
                  </a:lnTo>
                  <a:lnTo>
                    <a:pt x="15" y="137"/>
                  </a:lnTo>
                  <a:lnTo>
                    <a:pt x="15" y="136"/>
                  </a:lnTo>
                  <a:lnTo>
                    <a:pt x="14" y="136"/>
                  </a:lnTo>
                  <a:lnTo>
                    <a:pt x="13" y="136"/>
                  </a:lnTo>
                  <a:lnTo>
                    <a:pt x="12" y="136"/>
                  </a:lnTo>
                  <a:lnTo>
                    <a:pt x="13" y="136"/>
                  </a:lnTo>
                  <a:lnTo>
                    <a:pt x="12" y="136"/>
                  </a:lnTo>
                  <a:lnTo>
                    <a:pt x="10" y="136"/>
                  </a:lnTo>
                  <a:lnTo>
                    <a:pt x="9" y="136"/>
                  </a:lnTo>
                  <a:lnTo>
                    <a:pt x="7" y="137"/>
                  </a:lnTo>
                  <a:lnTo>
                    <a:pt x="6" y="137"/>
                  </a:lnTo>
                  <a:lnTo>
                    <a:pt x="5" y="137"/>
                  </a:lnTo>
                  <a:lnTo>
                    <a:pt x="3" y="137"/>
                  </a:lnTo>
                  <a:lnTo>
                    <a:pt x="3" y="136"/>
                  </a:lnTo>
                  <a:lnTo>
                    <a:pt x="2" y="136"/>
                  </a:lnTo>
                  <a:lnTo>
                    <a:pt x="3" y="136"/>
                  </a:lnTo>
                  <a:lnTo>
                    <a:pt x="3" y="135"/>
                  </a:lnTo>
                  <a:lnTo>
                    <a:pt x="2" y="135"/>
                  </a:lnTo>
                  <a:lnTo>
                    <a:pt x="1" y="136"/>
                  </a:lnTo>
                  <a:lnTo>
                    <a:pt x="1" y="135"/>
                  </a:lnTo>
                  <a:lnTo>
                    <a:pt x="2" y="135"/>
                  </a:lnTo>
                  <a:lnTo>
                    <a:pt x="1" y="135"/>
                  </a:lnTo>
                  <a:lnTo>
                    <a:pt x="2" y="135"/>
                  </a:lnTo>
                  <a:lnTo>
                    <a:pt x="2" y="134"/>
                  </a:lnTo>
                  <a:lnTo>
                    <a:pt x="3" y="134"/>
                  </a:lnTo>
                  <a:lnTo>
                    <a:pt x="5" y="134"/>
                  </a:lnTo>
                  <a:lnTo>
                    <a:pt x="5" y="135"/>
                  </a:lnTo>
                  <a:lnTo>
                    <a:pt x="5" y="134"/>
                  </a:lnTo>
                  <a:lnTo>
                    <a:pt x="3" y="134"/>
                  </a:lnTo>
                  <a:lnTo>
                    <a:pt x="6" y="134"/>
                  </a:lnTo>
                  <a:lnTo>
                    <a:pt x="8" y="134"/>
                  </a:lnTo>
                  <a:lnTo>
                    <a:pt x="7" y="134"/>
                  </a:lnTo>
                  <a:lnTo>
                    <a:pt x="3" y="134"/>
                  </a:lnTo>
                  <a:lnTo>
                    <a:pt x="2" y="134"/>
                  </a:lnTo>
                  <a:lnTo>
                    <a:pt x="1" y="134"/>
                  </a:lnTo>
                  <a:lnTo>
                    <a:pt x="1" y="133"/>
                  </a:lnTo>
                  <a:lnTo>
                    <a:pt x="2" y="133"/>
                  </a:lnTo>
                  <a:lnTo>
                    <a:pt x="2" y="134"/>
                  </a:lnTo>
                  <a:lnTo>
                    <a:pt x="2" y="133"/>
                  </a:lnTo>
                  <a:lnTo>
                    <a:pt x="1" y="133"/>
                  </a:lnTo>
                  <a:lnTo>
                    <a:pt x="2" y="133"/>
                  </a:lnTo>
                  <a:lnTo>
                    <a:pt x="3" y="133"/>
                  </a:lnTo>
                  <a:lnTo>
                    <a:pt x="3" y="131"/>
                  </a:lnTo>
                  <a:lnTo>
                    <a:pt x="3" y="133"/>
                  </a:lnTo>
                  <a:lnTo>
                    <a:pt x="5" y="133"/>
                  </a:lnTo>
                  <a:lnTo>
                    <a:pt x="5" y="131"/>
                  </a:lnTo>
                  <a:lnTo>
                    <a:pt x="7" y="133"/>
                  </a:lnTo>
                  <a:lnTo>
                    <a:pt x="8" y="133"/>
                  </a:lnTo>
                  <a:lnTo>
                    <a:pt x="8" y="131"/>
                  </a:lnTo>
                  <a:lnTo>
                    <a:pt x="9" y="131"/>
                  </a:lnTo>
                  <a:lnTo>
                    <a:pt x="9" y="133"/>
                  </a:lnTo>
                  <a:lnTo>
                    <a:pt x="10" y="133"/>
                  </a:lnTo>
                  <a:lnTo>
                    <a:pt x="9" y="131"/>
                  </a:lnTo>
                  <a:lnTo>
                    <a:pt x="8" y="131"/>
                  </a:lnTo>
                  <a:lnTo>
                    <a:pt x="7" y="131"/>
                  </a:lnTo>
                  <a:lnTo>
                    <a:pt x="7" y="133"/>
                  </a:lnTo>
                  <a:lnTo>
                    <a:pt x="6" y="133"/>
                  </a:lnTo>
                  <a:lnTo>
                    <a:pt x="6" y="131"/>
                  </a:lnTo>
                  <a:lnTo>
                    <a:pt x="5" y="131"/>
                  </a:lnTo>
                  <a:lnTo>
                    <a:pt x="3" y="131"/>
                  </a:lnTo>
                  <a:lnTo>
                    <a:pt x="2" y="131"/>
                  </a:lnTo>
                  <a:lnTo>
                    <a:pt x="2" y="130"/>
                  </a:lnTo>
                  <a:lnTo>
                    <a:pt x="3" y="130"/>
                  </a:lnTo>
                  <a:lnTo>
                    <a:pt x="5" y="130"/>
                  </a:lnTo>
                  <a:lnTo>
                    <a:pt x="3" y="130"/>
                  </a:lnTo>
                  <a:lnTo>
                    <a:pt x="2" y="130"/>
                  </a:lnTo>
                  <a:lnTo>
                    <a:pt x="5" y="130"/>
                  </a:lnTo>
                  <a:lnTo>
                    <a:pt x="6" y="130"/>
                  </a:lnTo>
                  <a:lnTo>
                    <a:pt x="5" y="130"/>
                  </a:lnTo>
                  <a:lnTo>
                    <a:pt x="3" y="130"/>
                  </a:lnTo>
                  <a:lnTo>
                    <a:pt x="5" y="129"/>
                  </a:lnTo>
                  <a:lnTo>
                    <a:pt x="3" y="129"/>
                  </a:lnTo>
                  <a:lnTo>
                    <a:pt x="1" y="129"/>
                  </a:lnTo>
                  <a:lnTo>
                    <a:pt x="0" y="129"/>
                  </a:lnTo>
                  <a:lnTo>
                    <a:pt x="1" y="129"/>
                  </a:lnTo>
                  <a:lnTo>
                    <a:pt x="0" y="129"/>
                  </a:lnTo>
                  <a:lnTo>
                    <a:pt x="1" y="128"/>
                  </a:lnTo>
                  <a:lnTo>
                    <a:pt x="2" y="128"/>
                  </a:lnTo>
                  <a:lnTo>
                    <a:pt x="3" y="128"/>
                  </a:lnTo>
                  <a:lnTo>
                    <a:pt x="1" y="128"/>
                  </a:lnTo>
                  <a:lnTo>
                    <a:pt x="2" y="128"/>
                  </a:lnTo>
                  <a:lnTo>
                    <a:pt x="2" y="127"/>
                  </a:lnTo>
                  <a:lnTo>
                    <a:pt x="3" y="127"/>
                  </a:lnTo>
                  <a:lnTo>
                    <a:pt x="5" y="127"/>
                  </a:lnTo>
                  <a:lnTo>
                    <a:pt x="5" y="126"/>
                  </a:lnTo>
                  <a:lnTo>
                    <a:pt x="6" y="126"/>
                  </a:lnTo>
                  <a:lnTo>
                    <a:pt x="7" y="126"/>
                  </a:lnTo>
                  <a:lnTo>
                    <a:pt x="8" y="126"/>
                  </a:lnTo>
                  <a:lnTo>
                    <a:pt x="9" y="127"/>
                  </a:lnTo>
                  <a:lnTo>
                    <a:pt x="8" y="127"/>
                  </a:lnTo>
                  <a:lnTo>
                    <a:pt x="9" y="127"/>
                  </a:lnTo>
                  <a:lnTo>
                    <a:pt x="10" y="127"/>
                  </a:lnTo>
                  <a:lnTo>
                    <a:pt x="12" y="127"/>
                  </a:lnTo>
                  <a:lnTo>
                    <a:pt x="12" y="128"/>
                  </a:lnTo>
                  <a:lnTo>
                    <a:pt x="10" y="128"/>
                  </a:lnTo>
                  <a:lnTo>
                    <a:pt x="12" y="128"/>
                  </a:lnTo>
                  <a:lnTo>
                    <a:pt x="12" y="127"/>
                  </a:lnTo>
                  <a:lnTo>
                    <a:pt x="13" y="127"/>
                  </a:lnTo>
                  <a:lnTo>
                    <a:pt x="13" y="128"/>
                  </a:lnTo>
                  <a:lnTo>
                    <a:pt x="14" y="128"/>
                  </a:lnTo>
                  <a:lnTo>
                    <a:pt x="13" y="127"/>
                  </a:lnTo>
                  <a:lnTo>
                    <a:pt x="15" y="127"/>
                  </a:lnTo>
                  <a:lnTo>
                    <a:pt x="16" y="127"/>
                  </a:lnTo>
                  <a:lnTo>
                    <a:pt x="17" y="127"/>
                  </a:lnTo>
                  <a:lnTo>
                    <a:pt x="19" y="127"/>
                  </a:lnTo>
                  <a:lnTo>
                    <a:pt x="19" y="126"/>
                  </a:lnTo>
                  <a:lnTo>
                    <a:pt x="20" y="127"/>
                  </a:lnTo>
                  <a:lnTo>
                    <a:pt x="21" y="127"/>
                  </a:lnTo>
                  <a:lnTo>
                    <a:pt x="21" y="126"/>
                  </a:lnTo>
                  <a:lnTo>
                    <a:pt x="20" y="127"/>
                  </a:lnTo>
                  <a:lnTo>
                    <a:pt x="20" y="126"/>
                  </a:lnTo>
                  <a:lnTo>
                    <a:pt x="19" y="126"/>
                  </a:lnTo>
                  <a:lnTo>
                    <a:pt x="17" y="126"/>
                  </a:lnTo>
                  <a:lnTo>
                    <a:pt x="17" y="127"/>
                  </a:lnTo>
                  <a:lnTo>
                    <a:pt x="15" y="127"/>
                  </a:lnTo>
                  <a:lnTo>
                    <a:pt x="13" y="127"/>
                  </a:lnTo>
                  <a:lnTo>
                    <a:pt x="12" y="126"/>
                  </a:lnTo>
                  <a:lnTo>
                    <a:pt x="12" y="127"/>
                  </a:lnTo>
                  <a:lnTo>
                    <a:pt x="10" y="126"/>
                  </a:lnTo>
                  <a:lnTo>
                    <a:pt x="10" y="127"/>
                  </a:lnTo>
                  <a:lnTo>
                    <a:pt x="9" y="127"/>
                  </a:lnTo>
                  <a:lnTo>
                    <a:pt x="9" y="126"/>
                  </a:lnTo>
                  <a:lnTo>
                    <a:pt x="12" y="126"/>
                  </a:lnTo>
                  <a:lnTo>
                    <a:pt x="8" y="126"/>
                  </a:lnTo>
                  <a:lnTo>
                    <a:pt x="7" y="126"/>
                  </a:lnTo>
                  <a:lnTo>
                    <a:pt x="6" y="126"/>
                  </a:lnTo>
                  <a:lnTo>
                    <a:pt x="5" y="126"/>
                  </a:lnTo>
                  <a:lnTo>
                    <a:pt x="3" y="126"/>
                  </a:lnTo>
                  <a:lnTo>
                    <a:pt x="2" y="126"/>
                  </a:lnTo>
                  <a:lnTo>
                    <a:pt x="2" y="124"/>
                  </a:lnTo>
                  <a:lnTo>
                    <a:pt x="3" y="124"/>
                  </a:lnTo>
                  <a:lnTo>
                    <a:pt x="5" y="124"/>
                  </a:lnTo>
                  <a:lnTo>
                    <a:pt x="5" y="123"/>
                  </a:lnTo>
                  <a:lnTo>
                    <a:pt x="3" y="123"/>
                  </a:lnTo>
                  <a:lnTo>
                    <a:pt x="2" y="123"/>
                  </a:lnTo>
                  <a:lnTo>
                    <a:pt x="2" y="122"/>
                  </a:lnTo>
                  <a:lnTo>
                    <a:pt x="1" y="122"/>
                  </a:lnTo>
                  <a:lnTo>
                    <a:pt x="2" y="122"/>
                  </a:lnTo>
                  <a:lnTo>
                    <a:pt x="1" y="122"/>
                  </a:lnTo>
                  <a:lnTo>
                    <a:pt x="2" y="122"/>
                  </a:lnTo>
                  <a:lnTo>
                    <a:pt x="2" y="121"/>
                  </a:lnTo>
                  <a:lnTo>
                    <a:pt x="3" y="122"/>
                  </a:lnTo>
                  <a:lnTo>
                    <a:pt x="5" y="123"/>
                  </a:lnTo>
                  <a:lnTo>
                    <a:pt x="6" y="123"/>
                  </a:lnTo>
                  <a:lnTo>
                    <a:pt x="6" y="124"/>
                  </a:lnTo>
                  <a:lnTo>
                    <a:pt x="7" y="123"/>
                  </a:lnTo>
                  <a:lnTo>
                    <a:pt x="6" y="123"/>
                  </a:lnTo>
                  <a:lnTo>
                    <a:pt x="5" y="123"/>
                  </a:lnTo>
                  <a:lnTo>
                    <a:pt x="5" y="122"/>
                  </a:lnTo>
                  <a:lnTo>
                    <a:pt x="6" y="122"/>
                  </a:lnTo>
                  <a:lnTo>
                    <a:pt x="7" y="122"/>
                  </a:lnTo>
                  <a:lnTo>
                    <a:pt x="8" y="122"/>
                  </a:lnTo>
                  <a:lnTo>
                    <a:pt x="8" y="123"/>
                  </a:lnTo>
                  <a:lnTo>
                    <a:pt x="9" y="123"/>
                  </a:lnTo>
                  <a:lnTo>
                    <a:pt x="8" y="122"/>
                  </a:lnTo>
                  <a:lnTo>
                    <a:pt x="9" y="122"/>
                  </a:lnTo>
                  <a:lnTo>
                    <a:pt x="9" y="121"/>
                  </a:lnTo>
                  <a:lnTo>
                    <a:pt x="10" y="121"/>
                  </a:lnTo>
                  <a:lnTo>
                    <a:pt x="10" y="122"/>
                  </a:lnTo>
                  <a:lnTo>
                    <a:pt x="10" y="123"/>
                  </a:lnTo>
                  <a:lnTo>
                    <a:pt x="10" y="124"/>
                  </a:lnTo>
                  <a:lnTo>
                    <a:pt x="10" y="123"/>
                  </a:lnTo>
                  <a:lnTo>
                    <a:pt x="12" y="122"/>
                  </a:lnTo>
                  <a:lnTo>
                    <a:pt x="12" y="123"/>
                  </a:lnTo>
                  <a:lnTo>
                    <a:pt x="13" y="123"/>
                  </a:lnTo>
                  <a:lnTo>
                    <a:pt x="14" y="123"/>
                  </a:lnTo>
                  <a:lnTo>
                    <a:pt x="16" y="123"/>
                  </a:lnTo>
                  <a:lnTo>
                    <a:pt x="13" y="123"/>
                  </a:lnTo>
                  <a:lnTo>
                    <a:pt x="12" y="122"/>
                  </a:lnTo>
                  <a:lnTo>
                    <a:pt x="10" y="121"/>
                  </a:lnTo>
                  <a:lnTo>
                    <a:pt x="12" y="121"/>
                  </a:lnTo>
                  <a:lnTo>
                    <a:pt x="13" y="121"/>
                  </a:lnTo>
                  <a:lnTo>
                    <a:pt x="12" y="121"/>
                  </a:lnTo>
                  <a:lnTo>
                    <a:pt x="10" y="121"/>
                  </a:lnTo>
                  <a:lnTo>
                    <a:pt x="12" y="121"/>
                  </a:lnTo>
                  <a:lnTo>
                    <a:pt x="12" y="120"/>
                  </a:lnTo>
                  <a:lnTo>
                    <a:pt x="13" y="120"/>
                  </a:lnTo>
                  <a:lnTo>
                    <a:pt x="14" y="120"/>
                  </a:lnTo>
                  <a:lnTo>
                    <a:pt x="15" y="119"/>
                  </a:lnTo>
                  <a:lnTo>
                    <a:pt x="15" y="120"/>
                  </a:lnTo>
                  <a:lnTo>
                    <a:pt x="16" y="120"/>
                  </a:lnTo>
                  <a:lnTo>
                    <a:pt x="16" y="121"/>
                  </a:lnTo>
                  <a:lnTo>
                    <a:pt x="17" y="121"/>
                  </a:lnTo>
                  <a:lnTo>
                    <a:pt x="17" y="122"/>
                  </a:lnTo>
                  <a:lnTo>
                    <a:pt x="17" y="123"/>
                  </a:lnTo>
                  <a:lnTo>
                    <a:pt x="19" y="122"/>
                  </a:lnTo>
                  <a:lnTo>
                    <a:pt x="17" y="122"/>
                  </a:lnTo>
                  <a:lnTo>
                    <a:pt x="17" y="121"/>
                  </a:lnTo>
                  <a:lnTo>
                    <a:pt x="16" y="120"/>
                  </a:lnTo>
                  <a:lnTo>
                    <a:pt x="16" y="119"/>
                  </a:lnTo>
                  <a:lnTo>
                    <a:pt x="17" y="119"/>
                  </a:lnTo>
                  <a:lnTo>
                    <a:pt x="17" y="120"/>
                  </a:lnTo>
                  <a:lnTo>
                    <a:pt x="17" y="119"/>
                  </a:lnTo>
                  <a:lnTo>
                    <a:pt x="19" y="119"/>
                  </a:lnTo>
                  <a:lnTo>
                    <a:pt x="19" y="117"/>
                  </a:lnTo>
                  <a:lnTo>
                    <a:pt x="20" y="117"/>
                  </a:lnTo>
                  <a:lnTo>
                    <a:pt x="20" y="119"/>
                  </a:lnTo>
                  <a:lnTo>
                    <a:pt x="21" y="119"/>
                  </a:lnTo>
                  <a:lnTo>
                    <a:pt x="21" y="120"/>
                  </a:lnTo>
                  <a:lnTo>
                    <a:pt x="22" y="120"/>
                  </a:lnTo>
                  <a:lnTo>
                    <a:pt x="22" y="121"/>
                  </a:lnTo>
                  <a:lnTo>
                    <a:pt x="22" y="122"/>
                  </a:lnTo>
                  <a:lnTo>
                    <a:pt x="22" y="123"/>
                  </a:lnTo>
                  <a:lnTo>
                    <a:pt x="23" y="123"/>
                  </a:lnTo>
                  <a:lnTo>
                    <a:pt x="24" y="123"/>
                  </a:lnTo>
                  <a:lnTo>
                    <a:pt x="24" y="122"/>
                  </a:lnTo>
                  <a:lnTo>
                    <a:pt x="24" y="123"/>
                  </a:lnTo>
                  <a:lnTo>
                    <a:pt x="24" y="122"/>
                  </a:lnTo>
                  <a:lnTo>
                    <a:pt x="23" y="123"/>
                  </a:lnTo>
                  <a:lnTo>
                    <a:pt x="22" y="123"/>
                  </a:lnTo>
                  <a:lnTo>
                    <a:pt x="22" y="122"/>
                  </a:lnTo>
                  <a:lnTo>
                    <a:pt x="23" y="122"/>
                  </a:lnTo>
                  <a:lnTo>
                    <a:pt x="23" y="121"/>
                  </a:lnTo>
                  <a:lnTo>
                    <a:pt x="23" y="120"/>
                  </a:lnTo>
                  <a:lnTo>
                    <a:pt x="24" y="121"/>
                  </a:lnTo>
                  <a:lnTo>
                    <a:pt x="26" y="121"/>
                  </a:lnTo>
                  <a:lnTo>
                    <a:pt x="26" y="120"/>
                  </a:lnTo>
                  <a:lnTo>
                    <a:pt x="26" y="121"/>
                  </a:lnTo>
                  <a:lnTo>
                    <a:pt x="27" y="121"/>
                  </a:lnTo>
                  <a:lnTo>
                    <a:pt x="26" y="120"/>
                  </a:lnTo>
                  <a:lnTo>
                    <a:pt x="24" y="120"/>
                  </a:lnTo>
                  <a:lnTo>
                    <a:pt x="23" y="120"/>
                  </a:lnTo>
                  <a:lnTo>
                    <a:pt x="22" y="120"/>
                  </a:lnTo>
                  <a:lnTo>
                    <a:pt x="21" y="119"/>
                  </a:lnTo>
                  <a:lnTo>
                    <a:pt x="22" y="119"/>
                  </a:lnTo>
                  <a:lnTo>
                    <a:pt x="21" y="117"/>
                  </a:lnTo>
                  <a:lnTo>
                    <a:pt x="20" y="117"/>
                  </a:lnTo>
                  <a:lnTo>
                    <a:pt x="19" y="117"/>
                  </a:lnTo>
                  <a:lnTo>
                    <a:pt x="16" y="119"/>
                  </a:lnTo>
                  <a:lnTo>
                    <a:pt x="15" y="119"/>
                  </a:lnTo>
                  <a:lnTo>
                    <a:pt x="15" y="117"/>
                  </a:lnTo>
                  <a:lnTo>
                    <a:pt x="14" y="117"/>
                  </a:lnTo>
                  <a:lnTo>
                    <a:pt x="15" y="117"/>
                  </a:lnTo>
                  <a:lnTo>
                    <a:pt x="16" y="117"/>
                  </a:lnTo>
                  <a:lnTo>
                    <a:pt x="17" y="117"/>
                  </a:lnTo>
                  <a:lnTo>
                    <a:pt x="19" y="117"/>
                  </a:lnTo>
                  <a:lnTo>
                    <a:pt x="17" y="117"/>
                  </a:lnTo>
                  <a:lnTo>
                    <a:pt x="16" y="117"/>
                  </a:lnTo>
                  <a:lnTo>
                    <a:pt x="17" y="116"/>
                  </a:lnTo>
                  <a:lnTo>
                    <a:pt x="14" y="116"/>
                  </a:lnTo>
                  <a:lnTo>
                    <a:pt x="15" y="115"/>
                  </a:lnTo>
                  <a:lnTo>
                    <a:pt x="17" y="115"/>
                  </a:lnTo>
                  <a:lnTo>
                    <a:pt x="17" y="116"/>
                  </a:lnTo>
                  <a:lnTo>
                    <a:pt x="19" y="116"/>
                  </a:lnTo>
                  <a:lnTo>
                    <a:pt x="17" y="115"/>
                  </a:lnTo>
                  <a:lnTo>
                    <a:pt x="19" y="115"/>
                  </a:lnTo>
                  <a:lnTo>
                    <a:pt x="20" y="115"/>
                  </a:lnTo>
                  <a:lnTo>
                    <a:pt x="21" y="116"/>
                  </a:lnTo>
                  <a:lnTo>
                    <a:pt x="21" y="115"/>
                  </a:lnTo>
                  <a:lnTo>
                    <a:pt x="23" y="115"/>
                  </a:lnTo>
                  <a:lnTo>
                    <a:pt x="22" y="115"/>
                  </a:lnTo>
                  <a:lnTo>
                    <a:pt x="23" y="115"/>
                  </a:lnTo>
                  <a:lnTo>
                    <a:pt x="23" y="116"/>
                  </a:lnTo>
                  <a:lnTo>
                    <a:pt x="24" y="116"/>
                  </a:lnTo>
                  <a:lnTo>
                    <a:pt x="23" y="116"/>
                  </a:lnTo>
                  <a:lnTo>
                    <a:pt x="24" y="115"/>
                  </a:lnTo>
                  <a:lnTo>
                    <a:pt x="26" y="116"/>
                  </a:lnTo>
                  <a:lnTo>
                    <a:pt x="27" y="116"/>
                  </a:lnTo>
                  <a:lnTo>
                    <a:pt x="28" y="116"/>
                  </a:lnTo>
                  <a:lnTo>
                    <a:pt x="28" y="117"/>
                  </a:lnTo>
                  <a:lnTo>
                    <a:pt x="28" y="116"/>
                  </a:lnTo>
                  <a:lnTo>
                    <a:pt x="29" y="116"/>
                  </a:lnTo>
                  <a:lnTo>
                    <a:pt x="30" y="116"/>
                  </a:lnTo>
                  <a:lnTo>
                    <a:pt x="28" y="116"/>
                  </a:lnTo>
                  <a:lnTo>
                    <a:pt x="27" y="116"/>
                  </a:lnTo>
                  <a:lnTo>
                    <a:pt x="27" y="115"/>
                  </a:lnTo>
                  <a:lnTo>
                    <a:pt x="28" y="115"/>
                  </a:lnTo>
                  <a:lnTo>
                    <a:pt x="28" y="116"/>
                  </a:lnTo>
                  <a:lnTo>
                    <a:pt x="28" y="115"/>
                  </a:lnTo>
                  <a:lnTo>
                    <a:pt x="29" y="114"/>
                  </a:lnTo>
                  <a:lnTo>
                    <a:pt x="31" y="114"/>
                  </a:lnTo>
                  <a:lnTo>
                    <a:pt x="33" y="114"/>
                  </a:lnTo>
                  <a:lnTo>
                    <a:pt x="34" y="114"/>
                  </a:lnTo>
                  <a:lnTo>
                    <a:pt x="35" y="114"/>
                  </a:lnTo>
                  <a:lnTo>
                    <a:pt x="34" y="114"/>
                  </a:lnTo>
                  <a:lnTo>
                    <a:pt x="34" y="113"/>
                  </a:lnTo>
                  <a:lnTo>
                    <a:pt x="33" y="114"/>
                  </a:lnTo>
                  <a:lnTo>
                    <a:pt x="31" y="114"/>
                  </a:lnTo>
                  <a:lnTo>
                    <a:pt x="29" y="114"/>
                  </a:lnTo>
                  <a:lnTo>
                    <a:pt x="28" y="114"/>
                  </a:lnTo>
                  <a:lnTo>
                    <a:pt x="28" y="115"/>
                  </a:lnTo>
                  <a:lnTo>
                    <a:pt x="27" y="115"/>
                  </a:lnTo>
                  <a:lnTo>
                    <a:pt x="26" y="114"/>
                  </a:lnTo>
                  <a:lnTo>
                    <a:pt x="27" y="114"/>
                  </a:lnTo>
                  <a:lnTo>
                    <a:pt x="26" y="114"/>
                  </a:lnTo>
                  <a:lnTo>
                    <a:pt x="27" y="114"/>
                  </a:lnTo>
                  <a:lnTo>
                    <a:pt x="29" y="113"/>
                  </a:lnTo>
                  <a:lnTo>
                    <a:pt x="27" y="114"/>
                  </a:lnTo>
                  <a:lnTo>
                    <a:pt x="26" y="114"/>
                  </a:lnTo>
                  <a:lnTo>
                    <a:pt x="22" y="114"/>
                  </a:lnTo>
                  <a:lnTo>
                    <a:pt x="22" y="113"/>
                  </a:lnTo>
                  <a:lnTo>
                    <a:pt x="23" y="113"/>
                  </a:lnTo>
                  <a:lnTo>
                    <a:pt x="24" y="113"/>
                  </a:lnTo>
                  <a:lnTo>
                    <a:pt x="23" y="113"/>
                  </a:lnTo>
                  <a:lnTo>
                    <a:pt x="22" y="113"/>
                  </a:lnTo>
                  <a:lnTo>
                    <a:pt x="22" y="112"/>
                  </a:lnTo>
                  <a:lnTo>
                    <a:pt x="21" y="112"/>
                  </a:lnTo>
                  <a:lnTo>
                    <a:pt x="22" y="110"/>
                  </a:lnTo>
                  <a:lnTo>
                    <a:pt x="23" y="110"/>
                  </a:lnTo>
                  <a:lnTo>
                    <a:pt x="24" y="110"/>
                  </a:lnTo>
                  <a:lnTo>
                    <a:pt x="26" y="110"/>
                  </a:lnTo>
                  <a:lnTo>
                    <a:pt x="27" y="110"/>
                  </a:lnTo>
                  <a:lnTo>
                    <a:pt x="27" y="112"/>
                  </a:lnTo>
                  <a:lnTo>
                    <a:pt x="28" y="112"/>
                  </a:lnTo>
                  <a:lnTo>
                    <a:pt x="29" y="110"/>
                  </a:lnTo>
                  <a:lnTo>
                    <a:pt x="30" y="110"/>
                  </a:lnTo>
                  <a:lnTo>
                    <a:pt x="29" y="112"/>
                  </a:lnTo>
                  <a:lnTo>
                    <a:pt x="31" y="110"/>
                  </a:lnTo>
                  <a:lnTo>
                    <a:pt x="33" y="110"/>
                  </a:lnTo>
                  <a:lnTo>
                    <a:pt x="34" y="110"/>
                  </a:lnTo>
                  <a:lnTo>
                    <a:pt x="34" y="112"/>
                  </a:lnTo>
                  <a:lnTo>
                    <a:pt x="35" y="113"/>
                  </a:lnTo>
                  <a:lnTo>
                    <a:pt x="36" y="113"/>
                  </a:lnTo>
                  <a:lnTo>
                    <a:pt x="37" y="114"/>
                  </a:lnTo>
                  <a:lnTo>
                    <a:pt x="38" y="114"/>
                  </a:lnTo>
                  <a:lnTo>
                    <a:pt x="38" y="115"/>
                  </a:lnTo>
                  <a:lnTo>
                    <a:pt x="40" y="115"/>
                  </a:lnTo>
                  <a:lnTo>
                    <a:pt x="40" y="114"/>
                  </a:lnTo>
                  <a:lnTo>
                    <a:pt x="38" y="114"/>
                  </a:lnTo>
                  <a:lnTo>
                    <a:pt x="37" y="113"/>
                  </a:lnTo>
                  <a:lnTo>
                    <a:pt x="36" y="113"/>
                  </a:lnTo>
                  <a:lnTo>
                    <a:pt x="35" y="113"/>
                  </a:lnTo>
                  <a:lnTo>
                    <a:pt x="35" y="112"/>
                  </a:lnTo>
                  <a:lnTo>
                    <a:pt x="35" y="110"/>
                  </a:lnTo>
                  <a:lnTo>
                    <a:pt x="34" y="110"/>
                  </a:lnTo>
                  <a:lnTo>
                    <a:pt x="33" y="110"/>
                  </a:lnTo>
                  <a:lnTo>
                    <a:pt x="33" y="109"/>
                  </a:lnTo>
                  <a:lnTo>
                    <a:pt x="33" y="110"/>
                  </a:lnTo>
                  <a:lnTo>
                    <a:pt x="31" y="110"/>
                  </a:lnTo>
                  <a:lnTo>
                    <a:pt x="31" y="109"/>
                  </a:lnTo>
                  <a:lnTo>
                    <a:pt x="33" y="109"/>
                  </a:lnTo>
                  <a:lnTo>
                    <a:pt x="33" y="108"/>
                  </a:lnTo>
                  <a:lnTo>
                    <a:pt x="34" y="108"/>
                  </a:lnTo>
                  <a:lnTo>
                    <a:pt x="34" y="109"/>
                  </a:lnTo>
                  <a:lnTo>
                    <a:pt x="35" y="109"/>
                  </a:lnTo>
                  <a:lnTo>
                    <a:pt x="35" y="110"/>
                  </a:lnTo>
                  <a:lnTo>
                    <a:pt x="36" y="110"/>
                  </a:lnTo>
                  <a:lnTo>
                    <a:pt x="36" y="112"/>
                  </a:lnTo>
                  <a:lnTo>
                    <a:pt x="37" y="112"/>
                  </a:lnTo>
                  <a:lnTo>
                    <a:pt x="38" y="113"/>
                  </a:lnTo>
                  <a:lnTo>
                    <a:pt x="38" y="112"/>
                  </a:lnTo>
                  <a:lnTo>
                    <a:pt x="37" y="112"/>
                  </a:lnTo>
                  <a:lnTo>
                    <a:pt x="40" y="112"/>
                  </a:lnTo>
                  <a:lnTo>
                    <a:pt x="40" y="113"/>
                  </a:lnTo>
                  <a:lnTo>
                    <a:pt x="41" y="113"/>
                  </a:lnTo>
                  <a:lnTo>
                    <a:pt x="40" y="112"/>
                  </a:lnTo>
                  <a:lnTo>
                    <a:pt x="38" y="112"/>
                  </a:lnTo>
                  <a:lnTo>
                    <a:pt x="37" y="110"/>
                  </a:lnTo>
                  <a:lnTo>
                    <a:pt x="40" y="110"/>
                  </a:lnTo>
                  <a:lnTo>
                    <a:pt x="38" y="110"/>
                  </a:lnTo>
                  <a:lnTo>
                    <a:pt x="40" y="109"/>
                  </a:lnTo>
                  <a:lnTo>
                    <a:pt x="38" y="109"/>
                  </a:lnTo>
                  <a:lnTo>
                    <a:pt x="38" y="110"/>
                  </a:lnTo>
                  <a:lnTo>
                    <a:pt x="37" y="110"/>
                  </a:lnTo>
                  <a:lnTo>
                    <a:pt x="36" y="110"/>
                  </a:lnTo>
                  <a:lnTo>
                    <a:pt x="37" y="110"/>
                  </a:lnTo>
                  <a:lnTo>
                    <a:pt x="38" y="109"/>
                  </a:lnTo>
                  <a:lnTo>
                    <a:pt x="37" y="109"/>
                  </a:lnTo>
                  <a:lnTo>
                    <a:pt x="36" y="109"/>
                  </a:lnTo>
                  <a:lnTo>
                    <a:pt x="35" y="109"/>
                  </a:lnTo>
                  <a:lnTo>
                    <a:pt x="35" y="108"/>
                  </a:lnTo>
                  <a:lnTo>
                    <a:pt x="36" y="108"/>
                  </a:lnTo>
                  <a:lnTo>
                    <a:pt x="36" y="109"/>
                  </a:lnTo>
                  <a:lnTo>
                    <a:pt x="36" y="108"/>
                  </a:lnTo>
                  <a:lnTo>
                    <a:pt x="35" y="108"/>
                  </a:lnTo>
                  <a:lnTo>
                    <a:pt x="38" y="108"/>
                  </a:lnTo>
                  <a:lnTo>
                    <a:pt x="40" y="108"/>
                  </a:lnTo>
                  <a:lnTo>
                    <a:pt x="38" y="108"/>
                  </a:lnTo>
                  <a:lnTo>
                    <a:pt x="40" y="108"/>
                  </a:lnTo>
                  <a:lnTo>
                    <a:pt x="42" y="107"/>
                  </a:lnTo>
                  <a:lnTo>
                    <a:pt x="43" y="107"/>
                  </a:lnTo>
                  <a:lnTo>
                    <a:pt x="42" y="107"/>
                  </a:lnTo>
                  <a:lnTo>
                    <a:pt x="40" y="107"/>
                  </a:lnTo>
                  <a:lnTo>
                    <a:pt x="38" y="107"/>
                  </a:lnTo>
                  <a:lnTo>
                    <a:pt x="38" y="106"/>
                  </a:lnTo>
                  <a:lnTo>
                    <a:pt x="37" y="106"/>
                  </a:lnTo>
                  <a:lnTo>
                    <a:pt x="38" y="106"/>
                  </a:lnTo>
                  <a:lnTo>
                    <a:pt x="40" y="106"/>
                  </a:lnTo>
                  <a:lnTo>
                    <a:pt x="41" y="106"/>
                  </a:lnTo>
                  <a:lnTo>
                    <a:pt x="41" y="105"/>
                  </a:lnTo>
                  <a:lnTo>
                    <a:pt x="40" y="105"/>
                  </a:lnTo>
                  <a:lnTo>
                    <a:pt x="41" y="105"/>
                  </a:lnTo>
                  <a:lnTo>
                    <a:pt x="42" y="105"/>
                  </a:lnTo>
                  <a:lnTo>
                    <a:pt x="43" y="105"/>
                  </a:lnTo>
                  <a:lnTo>
                    <a:pt x="43" y="103"/>
                  </a:lnTo>
                  <a:lnTo>
                    <a:pt x="44" y="103"/>
                  </a:lnTo>
                  <a:lnTo>
                    <a:pt x="44" y="105"/>
                  </a:lnTo>
                  <a:lnTo>
                    <a:pt x="45" y="105"/>
                  </a:lnTo>
                  <a:lnTo>
                    <a:pt x="44" y="105"/>
                  </a:lnTo>
                  <a:lnTo>
                    <a:pt x="44" y="106"/>
                  </a:lnTo>
                  <a:lnTo>
                    <a:pt x="45" y="106"/>
                  </a:lnTo>
                  <a:lnTo>
                    <a:pt x="46" y="105"/>
                  </a:lnTo>
                  <a:lnTo>
                    <a:pt x="48" y="105"/>
                  </a:lnTo>
                  <a:lnTo>
                    <a:pt x="49" y="105"/>
                  </a:lnTo>
                  <a:lnTo>
                    <a:pt x="48" y="105"/>
                  </a:lnTo>
                  <a:lnTo>
                    <a:pt x="46" y="105"/>
                  </a:lnTo>
                  <a:lnTo>
                    <a:pt x="45" y="105"/>
                  </a:lnTo>
                  <a:lnTo>
                    <a:pt x="45" y="103"/>
                  </a:lnTo>
                  <a:lnTo>
                    <a:pt x="49" y="103"/>
                  </a:lnTo>
                  <a:lnTo>
                    <a:pt x="48" y="103"/>
                  </a:lnTo>
                  <a:lnTo>
                    <a:pt x="46" y="103"/>
                  </a:lnTo>
                  <a:lnTo>
                    <a:pt x="45" y="103"/>
                  </a:lnTo>
                  <a:lnTo>
                    <a:pt x="46" y="103"/>
                  </a:lnTo>
                  <a:lnTo>
                    <a:pt x="45" y="103"/>
                  </a:lnTo>
                  <a:lnTo>
                    <a:pt x="44" y="103"/>
                  </a:lnTo>
                  <a:lnTo>
                    <a:pt x="45" y="103"/>
                  </a:lnTo>
                  <a:lnTo>
                    <a:pt x="45" y="102"/>
                  </a:lnTo>
                  <a:lnTo>
                    <a:pt x="46" y="102"/>
                  </a:lnTo>
                  <a:lnTo>
                    <a:pt x="48" y="102"/>
                  </a:lnTo>
                  <a:lnTo>
                    <a:pt x="46" y="102"/>
                  </a:lnTo>
                  <a:lnTo>
                    <a:pt x="48" y="102"/>
                  </a:lnTo>
                  <a:lnTo>
                    <a:pt x="49" y="102"/>
                  </a:lnTo>
                  <a:lnTo>
                    <a:pt x="48" y="102"/>
                  </a:lnTo>
                  <a:lnTo>
                    <a:pt x="49" y="101"/>
                  </a:lnTo>
                  <a:lnTo>
                    <a:pt x="50" y="101"/>
                  </a:lnTo>
                  <a:lnTo>
                    <a:pt x="51" y="101"/>
                  </a:lnTo>
                  <a:lnTo>
                    <a:pt x="51" y="102"/>
                  </a:lnTo>
                  <a:lnTo>
                    <a:pt x="52" y="102"/>
                  </a:lnTo>
                  <a:lnTo>
                    <a:pt x="51" y="103"/>
                  </a:lnTo>
                  <a:lnTo>
                    <a:pt x="52" y="103"/>
                  </a:lnTo>
                  <a:lnTo>
                    <a:pt x="53" y="103"/>
                  </a:lnTo>
                  <a:lnTo>
                    <a:pt x="53" y="105"/>
                  </a:lnTo>
                  <a:lnTo>
                    <a:pt x="52" y="106"/>
                  </a:lnTo>
                  <a:lnTo>
                    <a:pt x="53" y="106"/>
                  </a:lnTo>
                  <a:lnTo>
                    <a:pt x="53" y="105"/>
                  </a:lnTo>
                  <a:lnTo>
                    <a:pt x="55" y="105"/>
                  </a:lnTo>
                  <a:lnTo>
                    <a:pt x="55" y="106"/>
                  </a:lnTo>
                  <a:lnTo>
                    <a:pt x="56" y="106"/>
                  </a:lnTo>
                  <a:lnTo>
                    <a:pt x="57" y="106"/>
                  </a:lnTo>
                  <a:lnTo>
                    <a:pt x="55" y="105"/>
                  </a:lnTo>
                  <a:lnTo>
                    <a:pt x="55" y="103"/>
                  </a:lnTo>
                  <a:lnTo>
                    <a:pt x="56" y="103"/>
                  </a:lnTo>
                  <a:lnTo>
                    <a:pt x="57" y="103"/>
                  </a:lnTo>
                  <a:lnTo>
                    <a:pt x="58" y="103"/>
                  </a:lnTo>
                  <a:lnTo>
                    <a:pt x="59" y="103"/>
                  </a:lnTo>
                  <a:lnTo>
                    <a:pt x="60" y="105"/>
                  </a:lnTo>
                  <a:lnTo>
                    <a:pt x="62" y="103"/>
                  </a:lnTo>
                  <a:lnTo>
                    <a:pt x="63" y="105"/>
                  </a:lnTo>
                  <a:lnTo>
                    <a:pt x="63" y="103"/>
                  </a:lnTo>
                  <a:lnTo>
                    <a:pt x="64" y="103"/>
                  </a:lnTo>
                  <a:lnTo>
                    <a:pt x="63" y="103"/>
                  </a:lnTo>
                  <a:lnTo>
                    <a:pt x="62" y="103"/>
                  </a:lnTo>
                  <a:lnTo>
                    <a:pt x="62" y="102"/>
                  </a:lnTo>
                  <a:lnTo>
                    <a:pt x="63" y="102"/>
                  </a:lnTo>
                  <a:lnTo>
                    <a:pt x="64" y="102"/>
                  </a:lnTo>
                  <a:lnTo>
                    <a:pt x="63" y="102"/>
                  </a:lnTo>
                  <a:lnTo>
                    <a:pt x="64" y="102"/>
                  </a:lnTo>
                  <a:lnTo>
                    <a:pt x="64" y="101"/>
                  </a:lnTo>
                  <a:lnTo>
                    <a:pt x="63" y="101"/>
                  </a:lnTo>
                  <a:lnTo>
                    <a:pt x="63" y="102"/>
                  </a:lnTo>
                  <a:lnTo>
                    <a:pt x="62" y="102"/>
                  </a:lnTo>
                  <a:lnTo>
                    <a:pt x="60" y="102"/>
                  </a:lnTo>
                  <a:lnTo>
                    <a:pt x="62" y="102"/>
                  </a:lnTo>
                  <a:lnTo>
                    <a:pt x="62" y="101"/>
                  </a:lnTo>
                  <a:lnTo>
                    <a:pt x="63" y="101"/>
                  </a:lnTo>
                  <a:lnTo>
                    <a:pt x="63" y="100"/>
                  </a:lnTo>
                  <a:lnTo>
                    <a:pt x="65" y="100"/>
                  </a:lnTo>
                  <a:lnTo>
                    <a:pt x="66" y="100"/>
                  </a:lnTo>
                  <a:lnTo>
                    <a:pt x="66" y="99"/>
                  </a:lnTo>
                  <a:lnTo>
                    <a:pt x="67" y="99"/>
                  </a:lnTo>
                  <a:lnTo>
                    <a:pt x="69" y="99"/>
                  </a:lnTo>
                  <a:lnTo>
                    <a:pt x="69" y="98"/>
                  </a:lnTo>
                  <a:lnTo>
                    <a:pt x="67" y="98"/>
                  </a:lnTo>
                  <a:lnTo>
                    <a:pt x="66" y="98"/>
                  </a:lnTo>
                  <a:lnTo>
                    <a:pt x="65" y="98"/>
                  </a:lnTo>
                  <a:lnTo>
                    <a:pt x="66" y="98"/>
                  </a:lnTo>
                  <a:lnTo>
                    <a:pt x="66" y="96"/>
                  </a:lnTo>
                  <a:lnTo>
                    <a:pt x="67" y="96"/>
                  </a:lnTo>
                  <a:lnTo>
                    <a:pt x="69" y="96"/>
                  </a:lnTo>
                  <a:lnTo>
                    <a:pt x="70" y="95"/>
                  </a:lnTo>
                  <a:lnTo>
                    <a:pt x="69" y="95"/>
                  </a:lnTo>
                  <a:lnTo>
                    <a:pt x="67" y="95"/>
                  </a:lnTo>
                  <a:lnTo>
                    <a:pt x="66" y="95"/>
                  </a:lnTo>
                  <a:lnTo>
                    <a:pt x="67" y="94"/>
                  </a:lnTo>
                  <a:lnTo>
                    <a:pt x="66" y="95"/>
                  </a:lnTo>
                  <a:lnTo>
                    <a:pt x="66" y="96"/>
                  </a:lnTo>
                  <a:lnTo>
                    <a:pt x="64" y="96"/>
                  </a:lnTo>
                  <a:lnTo>
                    <a:pt x="63" y="96"/>
                  </a:lnTo>
                  <a:lnTo>
                    <a:pt x="63" y="98"/>
                  </a:lnTo>
                  <a:lnTo>
                    <a:pt x="62" y="98"/>
                  </a:lnTo>
                  <a:lnTo>
                    <a:pt x="60" y="98"/>
                  </a:lnTo>
                  <a:lnTo>
                    <a:pt x="60" y="99"/>
                  </a:lnTo>
                  <a:lnTo>
                    <a:pt x="59" y="99"/>
                  </a:lnTo>
                  <a:lnTo>
                    <a:pt x="60" y="99"/>
                  </a:lnTo>
                  <a:lnTo>
                    <a:pt x="62" y="98"/>
                  </a:lnTo>
                  <a:lnTo>
                    <a:pt x="63" y="98"/>
                  </a:lnTo>
                  <a:lnTo>
                    <a:pt x="64" y="98"/>
                  </a:lnTo>
                  <a:lnTo>
                    <a:pt x="65" y="98"/>
                  </a:lnTo>
                  <a:lnTo>
                    <a:pt x="65" y="99"/>
                  </a:lnTo>
                  <a:lnTo>
                    <a:pt x="64" y="99"/>
                  </a:lnTo>
                  <a:lnTo>
                    <a:pt x="64" y="100"/>
                  </a:lnTo>
                  <a:lnTo>
                    <a:pt x="63" y="100"/>
                  </a:lnTo>
                  <a:lnTo>
                    <a:pt x="62" y="100"/>
                  </a:lnTo>
                  <a:lnTo>
                    <a:pt x="60" y="100"/>
                  </a:lnTo>
                  <a:lnTo>
                    <a:pt x="60" y="101"/>
                  </a:lnTo>
                  <a:lnTo>
                    <a:pt x="59" y="101"/>
                  </a:lnTo>
                  <a:lnTo>
                    <a:pt x="58" y="102"/>
                  </a:lnTo>
                  <a:lnTo>
                    <a:pt x="57" y="102"/>
                  </a:lnTo>
                  <a:lnTo>
                    <a:pt x="56" y="102"/>
                  </a:lnTo>
                  <a:lnTo>
                    <a:pt x="55" y="103"/>
                  </a:lnTo>
                  <a:lnTo>
                    <a:pt x="53" y="103"/>
                  </a:lnTo>
                  <a:lnTo>
                    <a:pt x="52" y="102"/>
                  </a:lnTo>
                  <a:lnTo>
                    <a:pt x="52" y="101"/>
                  </a:lnTo>
                  <a:lnTo>
                    <a:pt x="51" y="101"/>
                  </a:lnTo>
                  <a:lnTo>
                    <a:pt x="52" y="101"/>
                  </a:lnTo>
                  <a:lnTo>
                    <a:pt x="51" y="101"/>
                  </a:lnTo>
                  <a:lnTo>
                    <a:pt x="51" y="100"/>
                  </a:lnTo>
                  <a:lnTo>
                    <a:pt x="52" y="100"/>
                  </a:lnTo>
                  <a:lnTo>
                    <a:pt x="53" y="100"/>
                  </a:lnTo>
                  <a:lnTo>
                    <a:pt x="55" y="100"/>
                  </a:lnTo>
                  <a:lnTo>
                    <a:pt x="55" y="99"/>
                  </a:lnTo>
                  <a:lnTo>
                    <a:pt x="53" y="100"/>
                  </a:lnTo>
                  <a:lnTo>
                    <a:pt x="53" y="99"/>
                  </a:lnTo>
                  <a:lnTo>
                    <a:pt x="52" y="100"/>
                  </a:lnTo>
                  <a:lnTo>
                    <a:pt x="51" y="100"/>
                  </a:lnTo>
                  <a:lnTo>
                    <a:pt x="50" y="100"/>
                  </a:lnTo>
                  <a:lnTo>
                    <a:pt x="49" y="101"/>
                  </a:lnTo>
                  <a:lnTo>
                    <a:pt x="49" y="100"/>
                  </a:lnTo>
                  <a:lnTo>
                    <a:pt x="50" y="99"/>
                  </a:lnTo>
                  <a:lnTo>
                    <a:pt x="51" y="99"/>
                  </a:lnTo>
                  <a:lnTo>
                    <a:pt x="49" y="100"/>
                  </a:lnTo>
                  <a:lnTo>
                    <a:pt x="49" y="99"/>
                  </a:lnTo>
                  <a:lnTo>
                    <a:pt x="50" y="99"/>
                  </a:lnTo>
                  <a:lnTo>
                    <a:pt x="51" y="98"/>
                  </a:lnTo>
                  <a:lnTo>
                    <a:pt x="52" y="98"/>
                  </a:lnTo>
                  <a:lnTo>
                    <a:pt x="51" y="98"/>
                  </a:lnTo>
                  <a:lnTo>
                    <a:pt x="52" y="98"/>
                  </a:lnTo>
                  <a:lnTo>
                    <a:pt x="53" y="98"/>
                  </a:lnTo>
                  <a:lnTo>
                    <a:pt x="55" y="98"/>
                  </a:lnTo>
                  <a:lnTo>
                    <a:pt x="55" y="96"/>
                  </a:lnTo>
                  <a:lnTo>
                    <a:pt x="56" y="96"/>
                  </a:lnTo>
                  <a:lnTo>
                    <a:pt x="55" y="96"/>
                  </a:lnTo>
                  <a:lnTo>
                    <a:pt x="53" y="96"/>
                  </a:lnTo>
                  <a:lnTo>
                    <a:pt x="53" y="98"/>
                  </a:lnTo>
                  <a:lnTo>
                    <a:pt x="52" y="98"/>
                  </a:lnTo>
                  <a:lnTo>
                    <a:pt x="53" y="96"/>
                  </a:lnTo>
                  <a:lnTo>
                    <a:pt x="55" y="96"/>
                  </a:lnTo>
                  <a:lnTo>
                    <a:pt x="53" y="96"/>
                  </a:lnTo>
                  <a:lnTo>
                    <a:pt x="52" y="96"/>
                  </a:lnTo>
                  <a:lnTo>
                    <a:pt x="53" y="96"/>
                  </a:lnTo>
                  <a:lnTo>
                    <a:pt x="53" y="95"/>
                  </a:lnTo>
                  <a:lnTo>
                    <a:pt x="53" y="94"/>
                  </a:lnTo>
                  <a:lnTo>
                    <a:pt x="55" y="95"/>
                  </a:lnTo>
                  <a:lnTo>
                    <a:pt x="55" y="94"/>
                  </a:lnTo>
                  <a:lnTo>
                    <a:pt x="56" y="94"/>
                  </a:lnTo>
                  <a:lnTo>
                    <a:pt x="55" y="94"/>
                  </a:lnTo>
                  <a:lnTo>
                    <a:pt x="55" y="93"/>
                  </a:lnTo>
                  <a:lnTo>
                    <a:pt x="56" y="93"/>
                  </a:lnTo>
                  <a:lnTo>
                    <a:pt x="57" y="93"/>
                  </a:lnTo>
                  <a:lnTo>
                    <a:pt x="56" y="93"/>
                  </a:lnTo>
                  <a:lnTo>
                    <a:pt x="57" y="92"/>
                  </a:lnTo>
                  <a:lnTo>
                    <a:pt x="58" y="92"/>
                  </a:lnTo>
                  <a:lnTo>
                    <a:pt x="58" y="91"/>
                  </a:lnTo>
                  <a:lnTo>
                    <a:pt x="59" y="92"/>
                  </a:lnTo>
                  <a:lnTo>
                    <a:pt x="59" y="91"/>
                  </a:lnTo>
                  <a:lnTo>
                    <a:pt x="58" y="91"/>
                  </a:lnTo>
                  <a:lnTo>
                    <a:pt x="59" y="91"/>
                  </a:lnTo>
                  <a:lnTo>
                    <a:pt x="58" y="91"/>
                  </a:lnTo>
                  <a:lnTo>
                    <a:pt x="58" y="89"/>
                  </a:lnTo>
                  <a:lnTo>
                    <a:pt x="59" y="91"/>
                  </a:lnTo>
                  <a:lnTo>
                    <a:pt x="59" y="89"/>
                  </a:lnTo>
                  <a:lnTo>
                    <a:pt x="59" y="91"/>
                  </a:lnTo>
                  <a:lnTo>
                    <a:pt x="59" y="89"/>
                  </a:lnTo>
                  <a:lnTo>
                    <a:pt x="59" y="91"/>
                  </a:lnTo>
                  <a:lnTo>
                    <a:pt x="60" y="91"/>
                  </a:lnTo>
                  <a:lnTo>
                    <a:pt x="62" y="91"/>
                  </a:lnTo>
                  <a:lnTo>
                    <a:pt x="62" y="89"/>
                  </a:lnTo>
                  <a:lnTo>
                    <a:pt x="60" y="89"/>
                  </a:lnTo>
                  <a:lnTo>
                    <a:pt x="59" y="89"/>
                  </a:lnTo>
                  <a:lnTo>
                    <a:pt x="60" y="89"/>
                  </a:lnTo>
                  <a:lnTo>
                    <a:pt x="62" y="89"/>
                  </a:lnTo>
                  <a:lnTo>
                    <a:pt x="62" y="88"/>
                  </a:lnTo>
                  <a:lnTo>
                    <a:pt x="62" y="89"/>
                  </a:lnTo>
                  <a:lnTo>
                    <a:pt x="63" y="89"/>
                  </a:lnTo>
                  <a:lnTo>
                    <a:pt x="63" y="88"/>
                  </a:lnTo>
                  <a:lnTo>
                    <a:pt x="63" y="89"/>
                  </a:lnTo>
                  <a:lnTo>
                    <a:pt x="63" y="88"/>
                  </a:lnTo>
                  <a:lnTo>
                    <a:pt x="63" y="87"/>
                  </a:lnTo>
                  <a:lnTo>
                    <a:pt x="64" y="88"/>
                  </a:lnTo>
                  <a:lnTo>
                    <a:pt x="65" y="89"/>
                  </a:lnTo>
                  <a:lnTo>
                    <a:pt x="66" y="89"/>
                  </a:lnTo>
                  <a:lnTo>
                    <a:pt x="67" y="89"/>
                  </a:lnTo>
                  <a:lnTo>
                    <a:pt x="67" y="91"/>
                  </a:lnTo>
                  <a:lnTo>
                    <a:pt x="66" y="91"/>
                  </a:lnTo>
                  <a:lnTo>
                    <a:pt x="66" y="92"/>
                  </a:lnTo>
                  <a:lnTo>
                    <a:pt x="66" y="91"/>
                  </a:lnTo>
                  <a:lnTo>
                    <a:pt x="67" y="91"/>
                  </a:lnTo>
                  <a:lnTo>
                    <a:pt x="67" y="89"/>
                  </a:lnTo>
                  <a:lnTo>
                    <a:pt x="69" y="89"/>
                  </a:lnTo>
                  <a:lnTo>
                    <a:pt x="70" y="89"/>
                  </a:lnTo>
                  <a:lnTo>
                    <a:pt x="71" y="89"/>
                  </a:lnTo>
                  <a:lnTo>
                    <a:pt x="69" y="89"/>
                  </a:lnTo>
                  <a:lnTo>
                    <a:pt x="69" y="88"/>
                  </a:lnTo>
                  <a:lnTo>
                    <a:pt x="70" y="88"/>
                  </a:lnTo>
                  <a:lnTo>
                    <a:pt x="69" y="88"/>
                  </a:lnTo>
                  <a:lnTo>
                    <a:pt x="70" y="88"/>
                  </a:lnTo>
                  <a:lnTo>
                    <a:pt x="71" y="88"/>
                  </a:lnTo>
                  <a:lnTo>
                    <a:pt x="72" y="87"/>
                  </a:lnTo>
                  <a:lnTo>
                    <a:pt x="70" y="87"/>
                  </a:lnTo>
                  <a:lnTo>
                    <a:pt x="70" y="88"/>
                  </a:lnTo>
                  <a:lnTo>
                    <a:pt x="70" y="87"/>
                  </a:lnTo>
                  <a:lnTo>
                    <a:pt x="69" y="87"/>
                  </a:lnTo>
                  <a:lnTo>
                    <a:pt x="70" y="87"/>
                  </a:lnTo>
                  <a:lnTo>
                    <a:pt x="70" y="88"/>
                  </a:lnTo>
                  <a:lnTo>
                    <a:pt x="69" y="88"/>
                  </a:lnTo>
                  <a:lnTo>
                    <a:pt x="69" y="87"/>
                  </a:lnTo>
                  <a:lnTo>
                    <a:pt x="67" y="87"/>
                  </a:lnTo>
                  <a:lnTo>
                    <a:pt x="67" y="86"/>
                  </a:lnTo>
                  <a:lnTo>
                    <a:pt x="69" y="86"/>
                  </a:lnTo>
                  <a:lnTo>
                    <a:pt x="70" y="86"/>
                  </a:lnTo>
                  <a:lnTo>
                    <a:pt x="70" y="85"/>
                  </a:lnTo>
                  <a:lnTo>
                    <a:pt x="69" y="85"/>
                  </a:lnTo>
                  <a:lnTo>
                    <a:pt x="71" y="85"/>
                  </a:lnTo>
                  <a:lnTo>
                    <a:pt x="72" y="85"/>
                  </a:lnTo>
                  <a:lnTo>
                    <a:pt x="71" y="85"/>
                  </a:lnTo>
                  <a:lnTo>
                    <a:pt x="70" y="85"/>
                  </a:lnTo>
                  <a:lnTo>
                    <a:pt x="71" y="85"/>
                  </a:lnTo>
                  <a:lnTo>
                    <a:pt x="71" y="84"/>
                  </a:lnTo>
                  <a:lnTo>
                    <a:pt x="71" y="85"/>
                  </a:lnTo>
                  <a:lnTo>
                    <a:pt x="70" y="85"/>
                  </a:lnTo>
                  <a:lnTo>
                    <a:pt x="70" y="84"/>
                  </a:lnTo>
                  <a:lnTo>
                    <a:pt x="71" y="84"/>
                  </a:lnTo>
                  <a:lnTo>
                    <a:pt x="72" y="84"/>
                  </a:lnTo>
                  <a:lnTo>
                    <a:pt x="73" y="82"/>
                  </a:lnTo>
                  <a:lnTo>
                    <a:pt x="74" y="82"/>
                  </a:lnTo>
                  <a:lnTo>
                    <a:pt x="76" y="82"/>
                  </a:lnTo>
                  <a:lnTo>
                    <a:pt x="74" y="82"/>
                  </a:lnTo>
                  <a:lnTo>
                    <a:pt x="73" y="82"/>
                  </a:lnTo>
                  <a:lnTo>
                    <a:pt x="72" y="82"/>
                  </a:lnTo>
                  <a:lnTo>
                    <a:pt x="71" y="84"/>
                  </a:lnTo>
                  <a:lnTo>
                    <a:pt x="70" y="84"/>
                  </a:lnTo>
                  <a:lnTo>
                    <a:pt x="69" y="85"/>
                  </a:lnTo>
                  <a:lnTo>
                    <a:pt x="67" y="85"/>
                  </a:lnTo>
                  <a:lnTo>
                    <a:pt x="67" y="86"/>
                  </a:lnTo>
                  <a:lnTo>
                    <a:pt x="66" y="86"/>
                  </a:lnTo>
                  <a:lnTo>
                    <a:pt x="65" y="86"/>
                  </a:lnTo>
                  <a:lnTo>
                    <a:pt x="66" y="86"/>
                  </a:lnTo>
                  <a:lnTo>
                    <a:pt x="66" y="85"/>
                  </a:lnTo>
                  <a:lnTo>
                    <a:pt x="67" y="85"/>
                  </a:lnTo>
                  <a:lnTo>
                    <a:pt x="66" y="85"/>
                  </a:lnTo>
                  <a:lnTo>
                    <a:pt x="65" y="85"/>
                  </a:lnTo>
                  <a:lnTo>
                    <a:pt x="66" y="84"/>
                  </a:lnTo>
                  <a:lnTo>
                    <a:pt x="69" y="84"/>
                  </a:lnTo>
                  <a:lnTo>
                    <a:pt x="70" y="84"/>
                  </a:lnTo>
                  <a:lnTo>
                    <a:pt x="65" y="84"/>
                  </a:lnTo>
                  <a:lnTo>
                    <a:pt x="66" y="84"/>
                  </a:lnTo>
                  <a:lnTo>
                    <a:pt x="67" y="84"/>
                  </a:lnTo>
                  <a:lnTo>
                    <a:pt x="69" y="84"/>
                  </a:lnTo>
                  <a:lnTo>
                    <a:pt x="67" y="82"/>
                  </a:lnTo>
                  <a:lnTo>
                    <a:pt x="69" y="82"/>
                  </a:lnTo>
                  <a:lnTo>
                    <a:pt x="70" y="82"/>
                  </a:lnTo>
                  <a:lnTo>
                    <a:pt x="71" y="82"/>
                  </a:lnTo>
                  <a:lnTo>
                    <a:pt x="72" y="82"/>
                  </a:lnTo>
                  <a:lnTo>
                    <a:pt x="71" y="82"/>
                  </a:lnTo>
                  <a:lnTo>
                    <a:pt x="71" y="81"/>
                  </a:lnTo>
                  <a:lnTo>
                    <a:pt x="72" y="81"/>
                  </a:lnTo>
                  <a:lnTo>
                    <a:pt x="73" y="81"/>
                  </a:lnTo>
                  <a:lnTo>
                    <a:pt x="74" y="81"/>
                  </a:lnTo>
                  <a:lnTo>
                    <a:pt x="76" y="81"/>
                  </a:lnTo>
                  <a:lnTo>
                    <a:pt x="76" y="82"/>
                  </a:lnTo>
                  <a:lnTo>
                    <a:pt x="76" y="81"/>
                  </a:lnTo>
                  <a:lnTo>
                    <a:pt x="77" y="81"/>
                  </a:lnTo>
                  <a:lnTo>
                    <a:pt x="78" y="81"/>
                  </a:lnTo>
                  <a:lnTo>
                    <a:pt x="78" y="80"/>
                  </a:lnTo>
                  <a:lnTo>
                    <a:pt x="79" y="80"/>
                  </a:lnTo>
                  <a:lnTo>
                    <a:pt x="80" y="80"/>
                  </a:lnTo>
                  <a:lnTo>
                    <a:pt x="79" y="80"/>
                  </a:lnTo>
                  <a:lnTo>
                    <a:pt x="80" y="80"/>
                  </a:lnTo>
                  <a:lnTo>
                    <a:pt x="80" y="79"/>
                  </a:lnTo>
                  <a:lnTo>
                    <a:pt x="81" y="79"/>
                  </a:lnTo>
                  <a:lnTo>
                    <a:pt x="83" y="78"/>
                  </a:lnTo>
                  <a:lnTo>
                    <a:pt x="81" y="78"/>
                  </a:lnTo>
                  <a:lnTo>
                    <a:pt x="80" y="79"/>
                  </a:lnTo>
                  <a:lnTo>
                    <a:pt x="79" y="80"/>
                  </a:lnTo>
                  <a:lnTo>
                    <a:pt x="78" y="80"/>
                  </a:lnTo>
                  <a:lnTo>
                    <a:pt x="77" y="80"/>
                  </a:lnTo>
                  <a:lnTo>
                    <a:pt x="78" y="79"/>
                  </a:lnTo>
                  <a:lnTo>
                    <a:pt x="77" y="79"/>
                  </a:lnTo>
                  <a:lnTo>
                    <a:pt x="78" y="79"/>
                  </a:lnTo>
                  <a:lnTo>
                    <a:pt x="80" y="79"/>
                  </a:lnTo>
                  <a:lnTo>
                    <a:pt x="80" y="78"/>
                  </a:lnTo>
                  <a:lnTo>
                    <a:pt x="79" y="79"/>
                  </a:lnTo>
                  <a:lnTo>
                    <a:pt x="78" y="78"/>
                  </a:lnTo>
                  <a:lnTo>
                    <a:pt x="78" y="79"/>
                  </a:lnTo>
                  <a:lnTo>
                    <a:pt x="78" y="78"/>
                  </a:lnTo>
                  <a:lnTo>
                    <a:pt x="77" y="78"/>
                  </a:lnTo>
                  <a:lnTo>
                    <a:pt x="77" y="79"/>
                  </a:lnTo>
                  <a:lnTo>
                    <a:pt x="76" y="79"/>
                  </a:lnTo>
                  <a:lnTo>
                    <a:pt x="76" y="78"/>
                  </a:lnTo>
                  <a:lnTo>
                    <a:pt x="77" y="78"/>
                  </a:lnTo>
                  <a:lnTo>
                    <a:pt x="78" y="78"/>
                  </a:lnTo>
                  <a:lnTo>
                    <a:pt x="77" y="78"/>
                  </a:lnTo>
                  <a:lnTo>
                    <a:pt x="78" y="78"/>
                  </a:lnTo>
                  <a:lnTo>
                    <a:pt x="78" y="77"/>
                  </a:lnTo>
                  <a:lnTo>
                    <a:pt x="79" y="77"/>
                  </a:lnTo>
                  <a:lnTo>
                    <a:pt x="79" y="78"/>
                  </a:lnTo>
                  <a:lnTo>
                    <a:pt x="80" y="78"/>
                  </a:lnTo>
                  <a:lnTo>
                    <a:pt x="80" y="77"/>
                  </a:lnTo>
                  <a:lnTo>
                    <a:pt x="79" y="77"/>
                  </a:lnTo>
                  <a:lnTo>
                    <a:pt x="78" y="77"/>
                  </a:lnTo>
                  <a:lnTo>
                    <a:pt x="78" y="75"/>
                  </a:lnTo>
                  <a:lnTo>
                    <a:pt x="79" y="75"/>
                  </a:lnTo>
                  <a:lnTo>
                    <a:pt x="79" y="77"/>
                  </a:lnTo>
                  <a:lnTo>
                    <a:pt x="79" y="75"/>
                  </a:lnTo>
                  <a:lnTo>
                    <a:pt x="79" y="77"/>
                  </a:lnTo>
                  <a:lnTo>
                    <a:pt x="80" y="77"/>
                  </a:lnTo>
                  <a:lnTo>
                    <a:pt x="79" y="77"/>
                  </a:lnTo>
                  <a:lnTo>
                    <a:pt x="79" y="75"/>
                  </a:lnTo>
                  <a:lnTo>
                    <a:pt x="81" y="75"/>
                  </a:lnTo>
                  <a:lnTo>
                    <a:pt x="80" y="75"/>
                  </a:lnTo>
                  <a:lnTo>
                    <a:pt x="79" y="75"/>
                  </a:lnTo>
                  <a:lnTo>
                    <a:pt x="79" y="74"/>
                  </a:lnTo>
                  <a:lnTo>
                    <a:pt x="78" y="74"/>
                  </a:lnTo>
                  <a:lnTo>
                    <a:pt x="78" y="75"/>
                  </a:lnTo>
                  <a:lnTo>
                    <a:pt x="78" y="74"/>
                  </a:lnTo>
                  <a:lnTo>
                    <a:pt x="77" y="74"/>
                  </a:lnTo>
                  <a:lnTo>
                    <a:pt x="77" y="73"/>
                  </a:lnTo>
                  <a:lnTo>
                    <a:pt x="76" y="73"/>
                  </a:lnTo>
                  <a:lnTo>
                    <a:pt x="77" y="73"/>
                  </a:lnTo>
                  <a:lnTo>
                    <a:pt x="77" y="72"/>
                  </a:lnTo>
                  <a:lnTo>
                    <a:pt x="78" y="72"/>
                  </a:lnTo>
                  <a:lnTo>
                    <a:pt x="79" y="72"/>
                  </a:lnTo>
                  <a:lnTo>
                    <a:pt x="79" y="73"/>
                  </a:lnTo>
                  <a:lnTo>
                    <a:pt x="80" y="73"/>
                  </a:lnTo>
                  <a:lnTo>
                    <a:pt x="79" y="73"/>
                  </a:lnTo>
                  <a:lnTo>
                    <a:pt x="79" y="72"/>
                  </a:lnTo>
                  <a:lnTo>
                    <a:pt x="78" y="72"/>
                  </a:lnTo>
                  <a:lnTo>
                    <a:pt x="79" y="71"/>
                  </a:lnTo>
                  <a:lnTo>
                    <a:pt x="80" y="71"/>
                  </a:lnTo>
                  <a:lnTo>
                    <a:pt x="79" y="71"/>
                  </a:lnTo>
                  <a:lnTo>
                    <a:pt x="80" y="71"/>
                  </a:lnTo>
                  <a:lnTo>
                    <a:pt x="79" y="71"/>
                  </a:lnTo>
                  <a:lnTo>
                    <a:pt x="79" y="70"/>
                  </a:lnTo>
                  <a:lnTo>
                    <a:pt x="80" y="68"/>
                  </a:lnTo>
                  <a:lnTo>
                    <a:pt x="81" y="68"/>
                  </a:lnTo>
                  <a:lnTo>
                    <a:pt x="83" y="70"/>
                  </a:lnTo>
                  <a:lnTo>
                    <a:pt x="84" y="70"/>
                  </a:lnTo>
                  <a:lnTo>
                    <a:pt x="85" y="71"/>
                  </a:lnTo>
                  <a:lnTo>
                    <a:pt x="85" y="70"/>
                  </a:lnTo>
                  <a:lnTo>
                    <a:pt x="84" y="70"/>
                  </a:lnTo>
                  <a:lnTo>
                    <a:pt x="84" y="68"/>
                  </a:lnTo>
                  <a:lnTo>
                    <a:pt x="83" y="68"/>
                  </a:lnTo>
                  <a:lnTo>
                    <a:pt x="81" y="68"/>
                  </a:lnTo>
                  <a:lnTo>
                    <a:pt x="83" y="68"/>
                  </a:lnTo>
                  <a:lnTo>
                    <a:pt x="83" y="67"/>
                  </a:lnTo>
                  <a:lnTo>
                    <a:pt x="81" y="67"/>
                  </a:lnTo>
                  <a:lnTo>
                    <a:pt x="83" y="67"/>
                  </a:lnTo>
                  <a:lnTo>
                    <a:pt x="81" y="67"/>
                  </a:lnTo>
                  <a:lnTo>
                    <a:pt x="79" y="67"/>
                  </a:lnTo>
                  <a:lnTo>
                    <a:pt x="80" y="67"/>
                  </a:lnTo>
                  <a:lnTo>
                    <a:pt x="80" y="66"/>
                  </a:lnTo>
                  <a:lnTo>
                    <a:pt x="81" y="66"/>
                  </a:lnTo>
                  <a:lnTo>
                    <a:pt x="83" y="66"/>
                  </a:lnTo>
                  <a:lnTo>
                    <a:pt x="84" y="66"/>
                  </a:lnTo>
                  <a:lnTo>
                    <a:pt x="85" y="66"/>
                  </a:lnTo>
                  <a:lnTo>
                    <a:pt x="85" y="65"/>
                  </a:lnTo>
                  <a:lnTo>
                    <a:pt x="87" y="65"/>
                  </a:lnTo>
                  <a:lnTo>
                    <a:pt x="88" y="65"/>
                  </a:lnTo>
                  <a:lnTo>
                    <a:pt x="87" y="65"/>
                  </a:lnTo>
                  <a:lnTo>
                    <a:pt x="87" y="66"/>
                  </a:lnTo>
                  <a:lnTo>
                    <a:pt x="88" y="66"/>
                  </a:lnTo>
                  <a:lnTo>
                    <a:pt x="90" y="66"/>
                  </a:lnTo>
                  <a:lnTo>
                    <a:pt x="91" y="66"/>
                  </a:lnTo>
                  <a:lnTo>
                    <a:pt x="90" y="66"/>
                  </a:lnTo>
                  <a:lnTo>
                    <a:pt x="88" y="66"/>
                  </a:lnTo>
                  <a:lnTo>
                    <a:pt x="88" y="65"/>
                  </a:lnTo>
                  <a:lnTo>
                    <a:pt x="90" y="65"/>
                  </a:lnTo>
                  <a:lnTo>
                    <a:pt x="91" y="65"/>
                  </a:lnTo>
                  <a:lnTo>
                    <a:pt x="90" y="65"/>
                  </a:lnTo>
                  <a:lnTo>
                    <a:pt x="91" y="65"/>
                  </a:lnTo>
                  <a:lnTo>
                    <a:pt x="92" y="65"/>
                  </a:lnTo>
                  <a:lnTo>
                    <a:pt x="93" y="65"/>
                  </a:lnTo>
                  <a:lnTo>
                    <a:pt x="93" y="64"/>
                  </a:lnTo>
                  <a:lnTo>
                    <a:pt x="94" y="64"/>
                  </a:lnTo>
                  <a:lnTo>
                    <a:pt x="93" y="64"/>
                  </a:lnTo>
                  <a:lnTo>
                    <a:pt x="92" y="64"/>
                  </a:lnTo>
                  <a:lnTo>
                    <a:pt x="92" y="65"/>
                  </a:lnTo>
                  <a:lnTo>
                    <a:pt x="91" y="64"/>
                  </a:lnTo>
                  <a:lnTo>
                    <a:pt x="90" y="64"/>
                  </a:lnTo>
                  <a:lnTo>
                    <a:pt x="90" y="65"/>
                  </a:lnTo>
                  <a:lnTo>
                    <a:pt x="88" y="65"/>
                  </a:lnTo>
                  <a:lnTo>
                    <a:pt x="88" y="64"/>
                  </a:lnTo>
                  <a:lnTo>
                    <a:pt x="87" y="65"/>
                  </a:lnTo>
                  <a:lnTo>
                    <a:pt x="86" y="65"/>
                  </a:lnTo>
                  <a:lnTo>
                    <a:pt x="85" y="65"/>
                  </a:lnTo>
                  <a:lnTo>
                    <a:pt x="84" y="65"/>
                  </a:lnTo>
                  <a:lnTo>
                    <a:pt x="83" y="66"/>
                  </a:lnTo>
                  <a:lnTo>
                    <a:pt x="83" y="65"/>
                  </a:lnTo>
                  <a:lnTo>
                    <a:pt x="84" y="65"/>
                  </a:lnTo>
                  <a:lnTo>
                    <a:pt x="85" y="64"/>
                  </a:lnTo>
                  <a:lnTo>
                    <a:pt x="87" y="64"/>
                  </a:lnTo>
                  <a:lnTo>
                    <a:pt x="86" y="64"/>
                  </a:lnTo>
                  <a:lnTo>
                    <a:pt x="87" y="64"/>
                  </a:lnTo>
                  <a:lnTo>
                    <a:pt x="86" y="64"/>
                  </a:lnTo>
                  <a:lnTo>
                    <a:pt x="85" y="63"/>
                  </a:lnTo>
                  <a:lnTo>
                    <a:pt x="85" y="64"/>
                  </a:lnTo>
                  <a:lnTo>
                    <a:pt x="86" y="64"/>
                  </a:lnTo>
                  <a:lnTo>
                    <a:pt x="85" y="64"/>
                  </a:lnTo>
                  <a:lnTo>
                    <a:pt x="84" y="64"/>
                  </a:lnTo>
                  <a:lnTo>
                    <a:pt x="83" y="64"/>
                  </a:lnTo>
                  <a:lnTo>
                    <a:pt x="81" y="64"/>
                  </a:lnTo>
                  <a:lnTo>
                    <a:pt x="84" y="63"/>
                  </a:lnTo>
                  <a:lnTo>
                    <a:pt x="83" y="61"/>
                  </a:lnTo>
                  <a:lnTo>
                    <a:pt x="84" y="61"/>
                  </a:lnTo>
                  <a:lnTo>
                    <a:pt x="83" y="61"/>
                  </a:lnTo>
                  <a:lnTo>
                    <a:pt x="81" y="61"/>
                  </a:lnTo>
                  <a:lnTo>
                    <a:pt x="83" y="60"/>
                  </a:lnTo>
                  <a:lnTo>
                    <a:pt x="83" y="61"/>
                  </a:lnTo>
                  <a:lnTo>
                    <a:pt x="84" y="61"/>
                  </a:lnTo>
                  <a:lnTo>
                    <a:pt x="86" y="61"/>
                  </a:lnTo>
                  <a:lnTo>
                    <a:pt x="85" y="61"/>
                  </a:lnTo>
                  <a:lnTo>
                    <a:pt x="85" y="60"/>
                  </a:lnTo>
                  <a:lnTo>
                    <a:pt x="86" y="60"/>
                  </a:lnTo>
                  <a:lnTo>
                    <a:pt x="87" y="60"/>
                  </a:lnTo>
                  <a:lnTo>
                    <a:pt x="87" y="61"/>
                  </a:lnTo>
                  <a:lnTo>
                    <a:pt x="88" y="61"/>
                  </a:lnTo>
                  <a:lnTo>
                    <a:pt x="88" y="60"/>
                  </a:lnTo>
                  <a:lnTo>
                    <a:pt x="86" y="60"/>
                  </a:lnTo>
                  <a:lnTo>
                    <a:pt x="87" y="60"/>
                  </a:lnTo>
                  <a:lnTo>
                    <a:pt x="88" y="60"/>
                  </a:lnTo>
                  <a:lnTo>
                    <a:pt x="90" y="60"/>
                  </a:lnTo>
                  <a:lnTo>
                    <a:pt x="88" y="60"/>
                  </a:lnTo>
                  <a:lnTo>
                    <a:pt x="87" y="60"/>
                  </a:lnTo>
                  <a:lnTo>
                    <a:pt x="86" y="60"/>
                  </a:lnTo>
                  <a:lnTo>
                    <a:pt x="85" y="60"/>
                  </a:lnTo>
                  <a:lnTo>
                    <a:pt x="84" y="60"/>
                  </a:lnTo>
                  <a:lnTo>
                    <a:pt x="85" y="59"/>
                  </a:lnTo>
                  <a:lnTo>
                    <a:pt x="86" y="59"/>
                  </a:lnTo>
                  <a:lnTo>
                    <a:pt x="85" y="59"/>
                  </a:lnTo>
                  <a:lnTo>
                    <a:pt x="84" y="59"/>
                  </a:lnTo>
                  <a:lnTo>
                    <a:pt x="85" y="59"/>
                  </a:lnTo>
                  <a:lnTo>
                    <a:pt x="86" y="59"/>
                  </a:lnTo>
                  <a:lnTo>
                    <a:pt x="87" y="59"/>
                  </a:lnTo>
                  <a:lnTo>
                    <a:pt x="86" y="59"/>
                  </a:lnTo>
                  <a:lnTo>
                    <a:pt x="84" y="58"/>
                  </a:lnTo>
                  <a:lnTo>
                    <a:pt x="86" y="58"/>
                  </a:lnTo>
                  <a:lnTo>
                    <a:pt x="87" y="59"/>
                  </a:lnTo>
                  <a:lnTo>
                    <a:pt x="88" y="59"/>
                  </a:lnTo>
                  <a:lnTo>
                    <a:pt x="88" y="58"/>
                  </a:lnTo>
                  <a:lnTo>
                    <a:pt x="90" y="58"/>
                  </a:lnTo>
                  <a:lnTo>
                    <a:pt x="91" y="58"/>
                  </a:lnTo>
                  <a:lnTo>
                    <a:pt x="88" y="58"/>
                  </a:lnTo>
                  <a:lnTo>
                    <a:pt x="87" y="58"/>
                  </a:lnTo>
                  <a:lnTo>
                    <a:pt x="88" y="58"/>
                  </a:lnTo>
                  <a:lnTo>
                    <a:pt x="90" y="58"/>
                  </a:lnTo>
                  <a:lnTo>
                    <a:pt x="88" y="58"/>
                  </a:lnTo>
                  <a:lnTo>
                    <a:pt x="87" y="58"/>
                  </a:lnTo>
                  <a:lnTo>
                    <a:pt x="86" y="58"/>
                  </a:lnTo>
                  <a:lnTo>
                    <a:pt x="87" y="57"/>
                  </a:lnTo>
                  <a:lnTo>
                    <a:pt x="88" y="57"/>
                  </a:lnTo>
                  <a:lnTo>
                    <a:pt x="90" y="57"/>
                  </a:lnTo>
                  <a:lnTo>
                    <a:pt x="92" y="57"/>
                  </a:lnTo>
                  <a:lnTo>
                    <a:pt x="91" y="57"/>
                  </a:lnTo>
                  <a:lnTo>
                    <a:pt x="90" y="57"/>
                  </a:lnTo>
                  <a:lnTo>
                    <a:pt x="88" y="57"/>
                  </a:lnTo>
                  <a:lnTo>
                    <a:pt x="87" y="56"/>
                  </a:lnTo>
                  <a:lnTo>
                    <a:pt x="86" y="56"/>
                  </a:lnTo>
                  <a:lnTo>
                    <a:pt x="87" y="56"/>
                  </a:lnTo>
                  <a:lnTo>
                    <a:pt x="88" y="56"/>
                  </a:lnTo>
                  <a:lnTo>
                    <a:pt x="90" y="56"/>
                  </a:lnTo>
                  <a:lnTo>
                    <a:pt x="88" y="54"/>
                  </a:lnTo>
                  <a:lnTo>
                    <a:pt x="90" y="54"/>
                  </a:lnTo>
                  <a:lnTo>
                    <a:pt x="91" y="54"/>
                  </a:lnTo>
                  <a:lnTo>
                    <a:pt x="91" y="56"/>
                  </a:lnTo>
                  <a:lnTo>
                    <a:pt x="91" y="54"/>
                  </a:lnTo>
                  <a:lnTo>
                    <a:pt x="92" y="54"/>
                  </a:lnTo>
                  <a:lnTo>
                    <a:pt x="92" y="53"/>
                  </a:lnTo>
                  <a:lnTo>
                    <a:pt x="92" y="54"/>
                  </a:lnTo>
                  <a:lnTo>
                    <a:pt x="93" y="54"/>
                  </a:lnTo>
                  <a:lnTo>
                    <a:pt x="94" y="54"/>
                  </a:lnTo>
                  <a:lnTo>
                    <a:pt x="94" y="53"/>
                  </a:lnTo>
                  <a:lnTo>
                    <a:pt x="95" y="53"/>
                  </a:lnTo>
                  <a:lnTo>
                    <a:pt x="97" y="53"/>
                  </a:lnTo>
                  <a:lnTo>
                    <a:pt x="97" y="54"/>
                  </a:lnTo>
                  <a:lnTo>
                    <a:pt x="98" y="54"/>
                  </a:lnTo>
                  <a:lnTo>
                    <a:pt x="98" y="53"/>
                  </a:lnTo>
                  <a:lnTo>
                    <a:pt x="97" y="53"/>
                  </a:lnTo>
                  <a:lnTo>
                    <a:pt x="95" y="53"/>
                  </a:lnTo>
                  <a:lnTo>
                    <a:pt x="94" y="53"/>
                  </a:lnTo>
                  <a:lnTo>
                    <a:pt x="94" y="52"/>
                  </a:lnTo>
                  <a:lnTo>
                    <a:pt x="95" y="52"/>
                  </a:lnTo>
                  <a:lnTo>
                    <a:pt x="95" y="53"/>
                  </a:lnTo>
                  <a:lnTo>
                    <a:pt x="97" y="52"/>
                  </a:lnTo>
                  <a:lnTo>
                    <a:pt x="95" y="52"/>
                  </a:lnTo>
                  <a:lnTo>
                    <a:pt x="98" y="52"/>
                  </a:lnTo>
                  <a:lnTo>
                    <a:pt x="99" y="52"/>
                  </a:lnTo>
                  <a:lnTo>
                    <a:pt x="99" y="53"/>
                  </a:lnTo>
                  <a:lnTo>
                    <a:pt x="99" y="52"/>
                  </a:lnTo>
                  <a:lnTo>
                    <a:pt x="98" y="52"/>
                  </a:lnTo>
                  <a:lnTo>
                    <a:pt x="97" y="52"/>
                  </a:lnTo>
                  <a:lnTo>
                    <a:pt x="98" y="52"/>
                  </a:lnTo>
                  <a:lnTo>
                    <a:pt x="99" y="52"/>
                  </a:lnTo>
                  <a:lnTo>
                    <a:pt x="99" y="51"/>
                  </a:lnTo>
                  <a:lnTo>
                    <a:pt x="100" y="52"/>
                  </a:lnTo>
                  <a:lnTo>
                    <a:pt x="101" y="51"/>
                  </a:lnTo>
                  <a:lnTo>
                    <a:pt x="101" y="52"/>
                  </a:lnTo>
                  <a:lnTo>
                    <a:pt x="100" y="52"/>
                  </a:lnTo>
                  <a:lnTo>
                    <a:pt x="101" y="52"/>
                  </a:lnTo>
                  <a:lnTo>
                    <a:pt x="100" y="52"/>
                  </a:lnTo>
                  <a:lnTo>
                    <a:pt x="101" y="53"/>
                  </a:lnTo>
                  <a:lnTo>
                    <a:pt x="101" y="52"/>
                  </a:lnTo>
                  <a:lnTo>
                    <a:pt x="102" y="52"/>
                  </a:lnTo>
                  <a:lnTo>
                    <a:pt x="104" y="52"/>
                  </a:lnTo>
                  <a:lnTo>
                    <a:pt x="105" y="52"/>
                  </a:lnTo>
                  <a:lnTo>
                    <a:pt x="106" y="52"/>
                  </a:lnTo>
                  <a:lnTo>
                    <a:pt x="106" y="53"/>
                  </a:lnTo>
                  <a:lnTo>
                    <a:pt x="107" y="53"/>
                  </a:lnTo>
                  <a:lnTo>
                    <a:pt x="106" y="53"/>
                  </a:lnTo>
                  <a:lnTo>
                    <a:pt x="106" y="52"/>
                  </a:lnTo>
                  <a:lnTo>
                    <a:pt x="107" y="52"/>
                  </a:lnTo>
                  <a:lnTo>
                    <a:pt x="106" y="52"/>
                  </a:lnTo>
                  <a:lnTo>
                    <a:pt x="109" y="52"/>
                  </a:lnTo>
                  <a:lnTo>
                    <a:pt x="108" y="52"/>
                  </a:lnTo>
                  <a:lnTo>
                    <a:pt x="108" y="51"/>
                  </a:lnTo>
                  <a:lnTo>
                    <a:pt x="108" y="52"/>
                  </a:lnTo>
                  <a:lnTo>
                    <a:pt x="107" y="51"/>
                  </a:lnTo>
                  <a:lnTo>
                    <a:pt x="106" y="51"/>
                  </a:lnTo>
                  <a:lnTo>
                    <a:pt x="105" y="51"/>
                  </a:lnTo>
                  <a:lnTo>
                    <a:pt x="105" y="52"/>
                  </a:lnTo>
                  <a:lnTo>
                    <a:pt x="104" y="51"/>
                  </a:lnTo>
                  <a:lnTo>
                    <a:pt x="105" y="51"/>
                  </a:lnTo>
                  <a:lnTo>
                    <a:pt x="104" y="51"/>
                  </a:lnTo>
                  <a:lnTo>
                    <a:pt x="102" y="51"/>
                  </a:lnTo>
                  <a:lnTo>
                    <a:pt x="102" y="50"/>
                  </a:lnTo>
                  <a:lnTo>
                    <a:pt x="102" y="51"/>
                  </a:lnTo>
                  <a:lnTo>
                    <a:pt x="101" y="51"/>
                  </a:lnTo>
                  <a:lnTo>
                    <a:pt x="100" y="51"/>
                  </a:lnTo>
                  <a:lnTo>
                    <a:pt x="99" y="51"/>
                  </a:lnTo>
                  <a:lnTo>
                    <a:pt x="100" y="51"/>
                  </a:lnTo>
                  <a:lnTo>
                    <a:pt x="99" y="51"/>
                  </a:lnTo>
                  <a:lnTo>
                    <a:pt x="98" y="51"/>
                  </a:lnTo>
                  <a:lnTo>
                    <a:pt x="97" y="51"/>
                  </a:lnTo>
                  <a:lnTo>
                    <a:pt x="95" y="51"/>
                  </a:lnTo>
                  <a:lnTo>
                    <a:pt x="94" y="51"/>
                  </a:lnTo>
                  <a:lnTo>
                    <a:pt x="95" y="51"/>
                  </a:lnTo>
                  <a:lnTo>
                    <a:pt x="95" y="50"/>
                  </a:lnTo>
                  <a:lnTo>
                    <a:pt x="97" y="50"/>
                  </a:lnTo>
                  <a:lnTo>
                    <a:pt x="97" y="49"/>
                  </a:lnTo>
                  <a:lnTo>
                    <a:pt x="98" y="49"/>
                  </a:lnTo>
                  <a:lnTo>
                    <a:pt x="99" y="49"/>
                  </a:lnTo>
                  <a:lnTo>
                    <a:pt x="99" y="50"/>
                  </a:lnTo>
                  <a:lnTo>
                    <a:pt x="100" y="49"/>
                  </a:lnTo>
                  <a:lnTo>
                    <a:pt x="101" y="49"/>
                  </a:lnTo>
                  <a:lnTo>
                    <a:pt x="100" y="49"/>
                  </a:lnTo>
                  <a:lnTo>
                    <a:pt x="99" y="49"/>
                  </a:lnTo>
                  <a:lnTo>
                    <a:pt x="99" y="47"/>
                  </a:lnTo>
                  <a:lnTo>
                    <a:pt x="98" y="47"/>
                  </a:lnTo>
                  <a:lnTo>
                    <a:pt x="99" y="47"/>
                  </a:lnTo>
                  <a:lnTo>
                    <a:pt x="101" y="46"/>
                  </a:lnTo>
                  <a:lnTo>
                    <a:pt x="102" y="46"/>
                  </a:lnTo>
                  <a:lnTo>
                    <a:pt x="102" y="47"/>
                  </a:lnTo>
                  <a:lnTo>
                    <a:pt x="101" y="47"/>
                  </a:lnTo>
                  <a:lnTo>
                    <a:pt x="101" y="46"/>
                  </a:lnTo>
                  <a:lnTo>
                    <a:pt x="101" y="47"/>
                  </a:lnTo>
                  <a:lnTo>
                    <a:pt x="100" y="47"/>
                  </a:lnTo>
                  <a:lnTo>
                    <a:pt x="99" y="47"/>
                  </a:lnTo>
                  <a:lnTo>
                    <a:pt x="99" y="49"/>
                  </a:lnTo>
                  <a:lnTo>
                    <a:pt x="101" y="49"/>
                  </a:lnTo>
                  <a:lnTo>
                    <a:pt x="101" y="47"/>
                  </a:lnTo>
                  <a:lnTo>
                    <a:pt x="102" y="47"/>
                  </a:lnTo>
                  <a:lnTo>
                    <a:pt x="104" y="47"/>
                  </a:lnTo>
                  <a:lnTo>
                    <a:pt x="102" y="47"/>
                  </a:lnTo>
                  <a:lnTo>
                    <a:pt x="102" y="49"/>
                  </a:lnTo>
                  <a:lnTo>
                    <a:pt x="104" y="49"/>
                  </a:lnTo>
                  <a:lnTo>
                    <a:pt x="104" y="47"/>
                  </a:lnTo>
                  <a:lnTo>
                    <a:pt x="105" y="47"/>
                  </a:lnTo>
                  <a:lnTo>
                    <a:pt x="106" y="47"/>
                  </a:lnTo>
                  <a:lnTo>
                    <a:pt x="106" y="49"/>
                  </a:lnTo>
                  <a:lnTo>
                    <a:pt x="107" y="50"/>
                  </a:lnTo>
                  <a:lnTo>
                    <a:pt x="108" y="50"/>
                  </a:lnTo>
                  <a:lnTo>
                    <a:pt x="108" y="51"/>
                  </a:lnTo>
                  <a:lnTo>
                    <a:pt x="107" y="51"/>
                  </a:lnTo>
                  <a:lnTo>
                    <a:pt x="108" y="51"/>
                  </a:lnTo>
                  <a:lnTo>
                    <a:pt x="108" y="50"/>
                  </a:lnTo>
                  <a:lnTo>
                    <a:pt x="107" y="50"/>
                  </a:lnTo>
                  <a:lnTo>
                    <a:pt x="107" y="49"/>
                  </a:lnTo>
                  <a:lnTo>
                    <a:pt x="106" y="49"/>
                  </a:lnTo>
                  <a:lnTo>
                    <a:pt x="107" y="49"/>
                  </a:lnTo>
                  <a:lnTo>
                    <a:pt x="106" y="49"/>
                  </a:lnTo>
                  <a:lnTo>
                    <a:pt x="107" y="47"/>
                  </a:lnTo>
                  <a:lnTo>
                    <a:pt x="109" y="47"/>
                  </a:lnTo>
                  <a:lnTo>
                    <a:pt x="110" y="47"/>
                  </a:lnTo>
                  <a:lnTo>
                    <a:pt x="109" y="46"/>
                  </a:lnTo>
                  <a:lnTo>
                    <a:pt x="108" y="47"/>
                  </a:lnTo>
                  <a:lnTo>
                    <a:pt x="107" y="47"/>
                  </a:lnTo>
                  <a:lnTo>
                    <a:pt x="106" y="47"/>
                  </a:lnTo>
                  <a:lnTo>
                    <a:pt x="104" y="47"/>
                  </a:lnTo>
                  <a:lnTo>
                    <a:pt x="104" y="46"/>
                  </a:lnTo>
                  <a:lnTo>
                    <a:pt x="105" y="46"/>
                  </a:lnTo>
                  <a:lnTo>
                    <a:pt x="106" y="46"/>
                  </a:lnTo>
                  <a:lnTo>
                    <a:pt x="105" y="46"/>
                  </a:lnTo>
                  <a:lnTo>
                    <a:pt x="104" y="46"/>
                  </a:lnTo>
                  <a:lnTo>
                    <a:pt x="102" y="46"/>
                  </a:lnTo>
                  <a:lnTo>
                    <a:pt x="102" y="45"/>
                  </a:lnTo>
                  <a:lnTo>
                    <a:pt x="104" y="45"/>
                  </a:lnTo>
                  <a:lnTo>
                    <a:pt x="105" y="45"/>
                  </a:lnTo>
                  <a:lnTo>
                    <a:pt x="106" y="45"/>
                  </a:lnTo>
                  <a:lnTo>
                    <a:pt x="107" y="45"/>
                  </a:lnTo>
                  <a:lnTo>
                    <a:pt x="106" y="45"/>
                  </a:lnTo>
                  <a:lnTo>
                    <a:pt x="105" y="45"/>
                  </a:lnTo>
                  <a:lnTo>
                    <a:pt x="105" y="44"/>
                  </a:lnTo>
                  <a:lnTo>
                    <a:pt x="107" y="44"/>
                  </a:lnTo>
                  <a:lnTo>
                    <a:pt x="109" y="45"/>
                  </a:lnTo>
                  <a:lnTo>
                    <a:pt x="108" y="45"/>
                  </a:lnTo>
                  <a:lnTo>
                    <a:pt x="107" y="44"/>
                  </a:lnTo>
                  <a:lnTo>
                    <a:pt x="105" y="44"/>
                  </a:lnTo>
                  <a:lnTo>
                    <a:pt x="105" y="43"/>
                  </a:lnTo>
                  <a:lnTo>
                    <a:pt x="104" y="43"/>
                  </a:lnTo>
                  <a:lnTo>
                    <a:pt x="105" y="44"/>
                  </a:lnTo>
                  <a:lnTo>
                    <a:pt x="104" y="44"/>
                  </a:lnTo>
                  <a:lnTo>
                    <a:pt x="102" y="44"/>
                  </a:lnTo>
                  <a:lnTo>
                    <a:pt x="102" y="45"/>
                  </a:lnTo>
                  <a:lnTo>
                    <a:pt x="101" y="45"/>
                  </a:lnTo>
                  <a:lnTo>
                    <a:pt x="100" y="45"/>
                  </a:lnTo>
                  <a:lnTo>
                    <a:pt x="99" y="46"/>
                  </a:lnTo>
                  <a:lnTo>
                    <a:pt x="99" y="45"/>
                  </a:lnTo>
                  <a:lnTo>
                    <a:pt x="98" y="45"/>
                  </a:lnTo>
                  <a:lnTo>
                    <a:pt x="99" y="45"/>
                  </a:lnTo>
                  <a:lnTo>
                    <a:pt x="98" y="45"/>
                  </a:lnTo>
                  <a:lnTo>
                    <a:pt x="99" y="45"/>
                  </a:lnTo>
                  <a:lnTo>
                    <a:pt x="99" y="44"/>
                  </a:lnTo>
                  <a:lnTo>
                    <a:pt x="101" y="44"/>
                  </a:lnTo>
                  <a:lnTo>
                    <a:pt x="100" y="44"/>
                  </a:lnTo>
                  <a:lnTo>
                    <a:pt x="101" y="44"/>
                  </a:lnTo>
                  <a:lnTo>
                    <a:pt x="99" y="44"/>
                  </a:lnTo>
                  <a:lnTo>
                    <a:pt x="98" y="44"/>
                  </a:lnTo>
                  <a:lnTo>
                    <a:pt x="98" y="43"/>
                  </a:lnTo>
                  <a:lnTo>
                    <a:pt x="99" y="43"/>
                  </a:lnTo>
                  <a:lnTo>
                    <a:pt x="100" y="43"/>
                  </a:lnTo>
                  <a:lnTo>
                    <a:pt x="101" y="43"/>
                  </a:lnTo>
                  <a:lnTo>
                    <a:pt x="99" y="43"/>
                  </a:lnTo>
                  <a:lnTo>
                    <a:pt x="100" y="43"/>
                  </a:lnTo>
                  <a:lnTo>
                    <a:pt x="101" y="43"/>
                  </a:lnTo>
                  <a:lnTo>
                    <a:pt x="102" y="43"/>
                  </a:lnTo>
                  <a:lnTo>
                    <a:pt x="104" y="43"/>
                  </a:lnTo>
                  <a:lnTo>
                    <a:pt x="105" y="42"/>
                  </a:lnTo>
                  <a:lnTo>
                    <a:pt x="106" y="42"/>
                  </a:lnTo>
                  <a:lnTo>
                    <a:pt x="106" y="43"/>
                  </a:lnTo>
                  <a:lnTo>
                    <a:pt x="106" y="42"/>
                  </a:lnTo>
                  <a:lnTo>
                    <a:pt x="108" y="42"/>
                  </a:lnTo>
                  <a:lnTo>
                    <a:pt x="109" y="43"/>
                  </a:lnTo>
                  <a:lnTo>
                    <a:pt x="109" y="42"/>
                  </a:lnTo>
                  <a:lnTo>
                    <a:pt x="110" y="40"/>
                  </a:lnTo>
                  <a:lnTo>
                    <a:pt x="109" y="40"/>
                  </a:lnTo>
                  <a:lnTo>
                    <a:pt x="110" y="40"/>
                  </a:lnTo>
                  <a:lnTo>
                    <a:pt x="109" y="40"/>
                  </a:lnTo>
                  <a:lnTo>
                    <a:pt x="108" y="40"/>
                  </a:lnTo>
                  <a:lnTo>
                    <a:pt x="109" y="40"/>
                  </a:lnTo>
                  <a:lnTo>
                    <a:pt x="108" y="40"/>
                  </a:lnTo>
                  <a:lnTo>
                    <a:pt x="106" y="40"/>
                  </a:lnTo>
                  <a:lnTo>
                    <a:pt x="106" y="39"/>
                  </a:lnTo>
                  <a:lnTo>
                    <a:pt x="106" y="40"/>
                  </a:lnTo>
                  <a:lnTo>
                    <a:pt x="105" y="40"/>
                  </a:lnTo>
                  <a:lnTo>
                    <a:pt x="104" y="40"/>
                  </a:lnTo>
                  <a:lnTo>
                    <a:pt x="105" y="40"/>
                  </a:lnTo>
                  <a:lnTo>
                    <a:pt x="104" y="40"/>
                  </a:lnTo>
                  <a:lnTo>
                    <a:pt x="102" y="40"/>
                  </a:lnTo>
                  <a:lnTo>
                    <a:pt x="104" y="40"/>
                  </a:lnTo>
                  <a:lnTo>
                    <a:pt x="104" y="39"/>
                  </a:lnTo>
                  <a:lnTo>
                    <a:pt x="105" y="39"/>
                  </a:lnTo>
                  <a:lnTo>
                    <a:pt x="106" y="39"/>
                  </a:lnTo>
                  <a:lnTo>
                    <a:pt x="106" y="38"/>
                  </a:lnTo>
                  <a:lnTo>
                    <a:pt x="107" y="38"/>
                  </a:lnTo>
                  <a:lnTo>
                    <a:pt x="107" y="39"/>
                  </a:lnTo>
                  <a:lnTo>
                    <a:pt x="106" y="39"/>
                  </a:lnTo>
                  <a:lnTo>
                    <a:pt x="106" y="40"/>
                  </a:lnTo>
                  <a:lnTo>
                    <a:pt x="107" y="40"/>
                  </a:lnTo>
                  <a:lnTo>
                    <a:pt x="108" y="39"/>
                  </a:lnTo>
                  <a:lnTo>
                    <a:pt x="109" y="39"/>
                  </a:lnTo>
                  <a:lnTo>
                    <a:pt x="108" y="38"/>
                  </a:lnTo>
                  <a:lnTo>
                    <a:pt x="109" y="38"/>
                  </a:lnTo>
                  <a:lnTo>
                    <a:pt x="109" y="37"/>
                  </a:lnTo>
                  <a:lnTo>
                    <a:pt x="110" y="37"/>
                  </a:lnTo>
                  <a:lnTo>
                    <a:pt x="110" y="38"/>
                  </a:lnTo>
                  <a:lnTo>
                    <a:pt x="110" y="39"/>
                  </a:lnTo>
                  <a:lnTo>
                    <a:pt x="110" y="40"/>
                  </a:lnTo>
                  <a:lnTo>
                    <a:pt x="112" y="40"/>
                  </a:lnTo>
                  <a:lnTo>
                    <a:pt x="113" y="42"/>
                  </a:lnTo>
                  <a:lnTo>
                    <a:pt x="113" y="43"/>
                  </a:lnTo>
                  <a:lnTo>
                    <a:pt x="114" y="43"/>
                  </a:lnTo>
                  <a:lnTo>
                    <a:pt x="115" y="44"/>
                  </a:lnTo>
                  <a:lnTo>
                    <a:pt x="116" y="44"/>
                  </a:lnTo>
                  <a:lnTo>
                    <a:pt x="115" y="44"/>
                  </a:lnTo>
                  <a:lnTo>
                    <a:pt x="115" y="43"/>
                  </a:lnTo>
                  <a:lnTo>
                    <a:pt x="114" y="43"/>
                  </a:lnTo>
                  <a:lnTo>
                    <a:pt x="113" y="43"/>
                  </a:lnTo>
                  <a:lnTo>
                    <a:pt x="113" y="42"/>
                  </a:lnTo>
                  <a:lnTo>
                    <a:pt x="113" y="40"/>
                  </a:lnTo>
                  <a:lnTo>
                    <a:pt x="115" y="42"/>
                  </a:lnTo>
                  <a:lnTo>
                    <a:pt x="115" y="43"/>
                  </a:lnTo>
                  <a:lnTo>
                    <a:pt x="115" y="42"/>
                  </a:lnTo>
                  <a:lnTo>
                    <a:pt x="114" y="42"/>
                  </a:lnTo>
                  <a:lnTo>
                    <a:pt x="114" y="40"/>
                  </a:lnTo>
                  <a:lnTo>
                    <a:pt x="115" y="42"/>
                  </a:lnTo>
                  <a:lnTo>
                    <a:pt x="116" y="42"/>
                  </a:lnTo>
                  <a:lnTo>
                    <a:pt x="115" y="42"/>
                  </a:lnTo>
                  <a:lnTo>
                    <a:pt x="115" y="40"/>
                  </a:lnTo>
                  <a:lnTo>
                    <a:pt x="114" y="40"/>
                  </a:lnTo>
                  <a:lnTo>
                    <a:pt x="115" y="39"/>
                  </a:lnTo>
                  <a:lnTo>
                    <a:pt x="116" y="40"/>
                  </a:lnTo>
                  <a:lnTo>
                    <a:pt x="117" y="40"/>
                  </a:lnTo>
                  <a:lnTo>
                    <a:pt x="116" y="39"/>
                  </a:lnTo>
                  <a:lnTo>
                    <a:pt x="115" y="39"/>
                  </a:lnTo>
                  <a:lnTo>
                    <a:pt x="114" y="39"/>
                  </a:lnTo>
                  <a:lnTo>
                    <a:pt x="113" y="39"/>
                  </a:lnTo>
                  <a:lnTo>
                    <a:pt x="114" y="39"/>
                  </a:lnTo>
                  <a:lnTo>
                    <a:pt x="115" y="39"/>
                  </a:lnTo>
                  <a:lnTo>
                    <a:pt x="115" y="38"/>
                  </a:lnTo>
                  <a:lnTo>
                    <a:pt x="114" y="38"/>
                  </a:lnTo>
                  <a:lnTo>
                    <a:pt x="115" y="38"/>
                  </a:lnTo>
                  <a:lnTo>
                    <a:pt x="116" y="38"/>
                  </a:lnTo>
                  <a:lnTo>
                    <a:pt x="115" y="38"/>
                  </a:lnTo>
                  <a:lnTo>
                    <a:pt x="114" y="38"/>
                  </a:lnTo>
                  <a:lnTo>
                    <a:pt x="112" y="38"/>
                  </a:lnTo>
                  <a:lnTo>
                    <a:pt x="113" y="38"/>
                  </a:lnTo>
                  <a:lnTo>
                    <a:pt x="114" y="38"/>
                  </a:lnTo>
                  <a:lnTo>
                    <a:pt x="113" y="38"/>
                  </a:lnTo>
                  <a:lnTo>
                    <a:pt x="113" y="37"/>
                  </a:lnTo>
                  <a:lnTo>
                    <a:pt x="112" y="37"/>
                  </a:lnTo>
                  <a:lnTo>
                    <a:pt x="110" y="37"/>
                  </a:lnTo>
                  <a:lnTo>
                    <a:pt x="112" y="37"/>
                  </a:lnTo>
                  <a:lnTo>
                    <a:pt x="113" y="37"/>
                  </a:lnTo>
                  <a:lnTo>
                    <a:pt x="114" y="37"/>
                  </a:lnTo>
                  <a:lnTo>
                    <a:pt x="115" y="37"/>
                  </a:lnTo>
                  <a:lnTo>
                    <a:pt x="115" y="38"/>
                  </a:lnTo>
                  <a:lnTo>
                    <a:pt x="117" y="39"/>
                  </a:lnTo>
                  <a:lnTo>
                    <a:pt x="119" y="39"/>
                  </a:lnTo>
                  <a:lnTo>
                    <a:pt x="117" y="39"/>
                  </a:lnTo>
                  <a:lnTo>
                    <a:pt x="117" y="38"/>
                  </a:lnTo>
                  <a:lnTo>
                    <a:pt x="116" y="38"/>
                  </a:lnTo>
                  <a:lnTo>
                    <a:pt x="116" y="37"/>
                  </a:lnTo>
                  <a:lnTo>
                    <a:pt x="115" y="37"/>
                  </a:lnTo>
                  <a:lnTo>
                    <a:pt x="114" y="37"/>
                  </a:lnTo>
                  <a:lnTo>
                    <a:pt x="113" y="37"/>
                  </a:lnTo>
                  <a:lnTo>
                    <a:pt x="112" y="37"/>
                  </a:lnTo>
                  <a:lnTo>
                    <a:pt x="113" y="36"/>
                  </a:lnTo>
                  <a:lnTo>
                    <a:pt x="112" y="36"/>
                  </a:lnTo>
                  <a:lnTo>
                    <a:pt x="113" y="36"/>
                  </a:lnTo>
                  <a:lnTo>
                    <a:pt x="114" y="36"/>
                  </a:lnTo>
                  <a:lnTo>
                    <a:pt x="116" y="36"/>
                  </a:lnTo>
                  <a:lnTo>
                    <a:pt x="117" y="36"/>
                  </a:lnTo>
                  <a:lnTo>
                    <a:pt x="119" y="36"/>
                  </a:lnTo>
                  <a:lnTo>
                    <a:pt x="119" y="37"/>
                  </a:lnTo>
                  <a:lnTo>
                    <a:pt x="120" y="36"/>
                  </a:lnTo>
                  <a:lnTo>
                    <a:pt x="121" y="36"/>
                  </a:lnTo>
                  <a:lnTo>
                    <a:pt x="122" y="36"/>
                  </a:lnTo>
                  <a:lnTo>
                    <a:pt x="122" y="37"/>
                  </a:lnTo>
                  <a:lnTo>
                    <a:pt x="123" y="37"/>
                  </a:lnTo>
                  <a:lnTo>
                    <a:pt x="123" y="38"/>
                  </a:lnTo>
                  <a:lnTo>
                    <a:pt x="124" y="38"/>
                  </a:lnTo>
                  <a:lnTo>
                    <a:pt x="124" y="37"/>
                  </a:lnTo>
                  <a:lnTo>
                    <a:pt x="123" y="37"/>
                  </a:lnTo>
                  <a:lnTo>
                    <a:pt x="122" y="37"/>
                  </a:lnTo>
                  <a:lnTo>
                    <a:pt x="122" y="36"/>
                  </a:lnTo>
                  <a:lnTo>
                    <a:pt x="123" y="36"/>
                  </a:lnTo>
                  <a:lnTo>
                    <a:pt x="124" y="36"/>
                  </a:lnTo>
                  <a:lnTo>
                    <a:pt x="126" y="36"/>
                  </a:lnTo>
                  <a:lnTo>
                    <a:pt x="123" y="36"/>
                  </a:lnTo>
                  <a:lnTo>
                    <a:pt x="123" y="35"/>
                  </a:lnTo>
                  <a:lnTo>
                    <a:pt x="126" y="35"/>
                  </a:lnTo>
                  <a:lnTo>
                    <a:pt x="127" y="36"/>
                  </a:lnTo>
                  <a:lnTo>
                    <a:pt x="128" y="36"/>
                  </a:lnTo>
                  <a:lnTo>
                    <a:pt x="129" y="36"/>
                  </a:lnTo>
                  <a:lnTo>
                    <a:pt x="128" y="36"/>
                  </a:lnTo>
                  <a:lnTo>
                    <a:pt x="126" y="35"/>
                  </a:lnTo>
                  <a:lnTo>
                    <a:pt x="124" y="35"/>
                  </a:lnTo>
                  <a:lnTo>
                    <a:pt x="124" y="33"/>
                  </a:lnTo>
                  <a:lnTo>
                    <a:pt x="124" y="35"/>
                  </a:lnTo>
                  <a:lnTo>
                    <a:pt x="123" y="35"/>
                  </a:lnTo>
                  <a:lnTo>
                    <a:pt x="122" y="35"/>
                  </a:lnTo>
                  <a:lnTo>
                    <a:pt x="120" y="35"/>
                  </a:lnTo>
                  <a:lnTo>
                    <a:pt x="121" y="35"/>
                  </a:lnTo>
                  <a:lnTo>
                    <a:pt x="120" y="35"/>
                  </a:lnTo>
                  <a:lnTo>
                    <a:pt x="120" y="33"/>
                  </a:lnTo>
                  <a:lnTo>
                    <a:pt x="119" y="35"/>
                  </a:lnTo>
                  <a:lnTo>
                    <a:pt x="117" y="35"/>
                  </a:lnTo>
                  <a:lnTo>
                    <a:pt x="116" y="35"/>
                  </a:lnTo>
                  <a:lnTo>
                    <a:pt x="115" y="35"/>
                  </a:lnTo>
                  <a:lnTo>
                    <a:pt x="114" y="35"/>
                  </a:lnTo>
                  <a:lnTo>
                    <a:pt x="114" y="33"/>
                  </a:lnTo>
                  <a:lnTo>
                    <a:pt x="115" y="33"/>
                  </a:lnTo>
                  <a:lnTo>
                    <a:pt x="115" y="32"/>
                  </a:lnTo>
                  <a:lnTo>
                    <a:pt x="116" y="32"/>
                  </a:lnTo>
                  <a:lnTo>
                    <a:pt x="117" y="31"/>
                  </a:lnTo>
                  <a:lnTo>
                    <a:pt x="119" y="31"/>
                  </a:lnTo>
                  <a:lnTo>
                    <a:pt x="120" y="31"/>
                  </a:lnTo>
                  <a:lnTo>
                    <a:pt x="120" y="32"/>
                  </a:lnTo>
                  <a:lnTo>
                    <a:pt x="121" y="32"/>
                  </a:lnTo>
                  <a:lnTo>
                    <a:pt x="120" y="32"/>
                  </a:lnTo>
                  <a:lnTo>
                    <a:pt x="120" y="31"/>
                  </a:lnTo>
                  <a:lnTo>
                    <a:pt x="121" y="31"/>
                  </a:lnTo>
                  <a:lnTo>
                    <a:pt x="122" y="31"/>
                  </a:lnTo>
                  <a:lnTo>
                    <a:pt x="123" y="31"/>
                  </a:lnTo>
                  <a:lnTo>
                    <a:pt x="123" y="32"/>
                  </a:lnTo>
                  <a:lnTo>
                    <a:pt x="124" y="32"/>
                  </a:lnTo>
                  <a:lnTo>
                    <a:pt x="126" y="32"/>
                  </a:lnTo>
                  <a:lnTo>
                    <a:pt x="126" y="31"/>
                  </a:lnTo>
                  <a:lnTo>
                    <a:pt x="124" y="31"/>
                  </a:lnTo>
                  <a:lnTo>
                    <a:pt x="123" y="31"/>
                  </a:lnTo>
                  <a:lnTo>
                    <a:pt x="122" y="31"/>
                  </a:lnTo>
                  <a:lnTo>
                    <a:pt x="121" y="31"/>
                  </a:lnTo>
                  <a:lnTo>
                    <a:pt x="122" y="30"/>
                  </a:lnTo>
                  <a:lnTo>
                    <a:pt x="123" y="30"/>
                  </a:lnTo>
                  <a:lnTo>
                    <a:pt x="124" y="30"/>
                  </a:lnTo>
                  <a:lnTo>
                    <a:pt x="127" y="30"/>
                  </a:lnTo>
                  <a:lnTo>
                    <a:pt x="127" y="31"/>
                  </a:lnTo>
                  <a:lnTo>
                    <a:pt x="127" y="30"/>
                  </a:lnTo>
                  <a:lnTo>
                    <a:pt x="126" y="30"/>
                  </a:lnTo>
                  <a:lnTo>
                    <a:pt x="123" y="30"/>
                  </a:lnTo>
                  <a:lnTo>
                    <a:pt x="124" y="30"/>
                  </a:lnTo>
                  <a:lnTo>
                    <a:pt x="124" y="29"/>
                  </a:lnTo>
                  <a:lnTo>
                    <a:pt x="126" y="29"/>
                  </a:lnTo>
                  <a:lnTo>
                    <a:pt x="127" y="29"/>
                  </a:lnTo>
                  <a:lnTo>
                    <a:pt x="128" y="29"/>
                  </a:lnTo>
                  <a:lnTo>
                    <a:pt x="127" y="29"/>
                  </a:lnTo>
                  <a:lnTo>
                    <a:pt x="126" y="29"/>
                  </a:lnTo>
                  <a:lnTo>
                    <a:pt x="124" y="29"/>
                  </a:lnTo>
                  <a:lnTo>
                    <a:pt x="123" y="29"/>
                  </a:lnTo>
                  <a:lnTo>
                    <a:pt x="123" y="28"/>
                  </a:lnTo>
                  <a:lnTo>
                    <a:pt x="124" y="28"/>
                  </a:lnTo>
                  <a:lnTo>
                    <a:pt x="123" y="28"/>
                  </a:lnTo>
                  <a:lnTo>
                    <a:pt x="124" y="26"/>
                  </a:lnTo>
                  <a:lnTo>
                    <a:pt x="126" y="26"/>
                  </a:lnTo>
                  <a:lnTo>
                    <a:pt x="124" y="26"/>
                  </a:lnTo>
                  <a:lnTo>
                    <a:pt x="124" y="25"/>
                  </a:lnTo>
                  <a:lnTo>
                    <a:pt x="127" y="25"/>
                  </a:lnTo>
                  <a:lnTo>
                    <a:pt x="128" y="25"/>
                  </a:lnTo>
                  <a:lnTo>
                    <a:pt x="129" y="25"/>
                  </a:lnTo>
                  <a:lnTo>
                    <a:pt x="130" y="25"/>
                  </a:lnTo>
                  <a:lnTo>
                    <a:pt x="129" y="25"/>
                  </a:lnTo>
                  <a:lnTo>
                    <a:pt x="129" y="24"/>
                  </a:lnTo>
                  <a:lnTo>
                    <a:pt x="128" y="24"/>
                  </a:lnTo>
                  <a:lnTo>
                    <a:pt x="128" y="23"/>
                  </a:lnTo>
                  <a:lnTo>
                    <a:pt x="129" y="23"/>
                  </a:lnTo>
                  <a:lnTo>
                    <a:pt x="129" y="22"/>
                  </a:lnTo>
                  <a:lnTo>
                    <a:pt x="129" y="21"/>
                  </a:lnTo>
                  <a:lnTo>
                    <a:pt x="130" y="21"/>
                  </a:lnTo>
                  <a:lnTo>
                    <a:pt x="131" y="21"/>
                  </a:lnTo>
                  <a:lnTo>
                    <a:pt x="131" y="22"/>
                  </a:lnTo>
                  <a:lnTo>
                    <a:pt x="133" y="22"/>
                  </a:lnTo>
                  <a:lnTo>
                    <a:pt x="133" y="23"/>
                  </a:lnTo>
                  <a:lnTo>
                    <a:pt x="134" y="24"/>
                  </a:lnTo>
                  <a:lnTo>
                    <a:pt x="134" y="23"/>
                  </a:lnTo>
                  <a:lnTo>
                    <a:pt x="135" y="23"/>
                  </a:lnTo>
                  <a:lnTo>
                    <a:pt x="135" y="24"/>
                  </a:lnTo>
                  <a:lnTo>
                    <a:pt x="135" y="23"/>
                  </a:lnTo>
                  <a:lnTo>
                    <a:pt x="136" y="23"/>
                  </a:lnTo>
                  <a:lnTo>
                    <a:pt x="137" y="23"/>
                  </a:lnTo>
                  <a:lnTo>
                    <a:pt x="138" y="24"/>
                  </a:lnTo>
                  <a:lnTo>
                    <a:pt x="138" y="23"/>
                  </a:lnTo>
                  <a:lnTo>
                    <a:pt x="137" y="23"/>
                  </a:lnTo>
                  <a:lnTo>
                    <a:pt x="135" y="23"/>
                  </a:lnTo>
                  <a:lnTo>
                    <a:pt x="134" y="22"/>
                  </a:lnTo>
                  <a:lnTo>
                    <a:pt x="133" y="22"/>
                  </a:lnTo>
                  <a:lnTo>
                    <a:pt x="133" y="21"/>
                  </a:lnTo>
                  <a:lnTo>
                    <a:pt x="134" y="21"/>
                  </a:lnTo>
                  <a:lnTo>
                    <a:pt x="136" y="21"/>
                  </a:lnTo>
                  <a:lnTo>
                    <a:pt x="137" y="21"/>
                  </a:lnTo>
                  <a:lnTo>
                    <a:pt x="137" y="22"/>
                  </a:lnTo>
                  <a:lnTo>
                    <a:pt x="138" y="22"/>
                  </a:lnTo>
                  <a:lnTo>
                    <a:pt x="140" y="23"/>
                  </a:lnTo>
                  <a:lnTo>
                    <a:pt x="142" y="23"/>
                  </a:lnTo>
                  <a:lnTo>
                    <a:pt x="141" y="24"/>
                  </a:lnTo>
                  <a:lnTo>
                    <a:pt x="140" y="24"/>
                  </a:lnTo>
                  <a:lnTo>
                    <a:pt x="141" y="24"/>
                  </a:lnTo>
                  <a:lnTo>
                    <a:pt x="142" y="24"/>
                  </a:lnTo>
                  <a:lnTo>
                    <a:pt x="143" y="24"/>
                  </a:lnTo>
                  <a:lnTo>
                    <a:pt x="143" y="23"/>
                  </a:lnTo>
                  <a:lnTo>
                    <a:pt x="142" y="23"/>
                  </a:lnTo>
                  <a:lnTo>
                    <a:pt x="142" y="22"/>
                  </a:lnTo>
                  <a:lnTo>
                    <a:pt x="141" y="22"/>
                  </a:lnTo>
                  <a:lnTo>
                    <a:pt x="140" y="23"/>
                  </a:lnTo>
                  <a:lnTo>
                    <a:pt x="140" y="22"/>
                  </a:lnTo>
                  <a:lnTo>
                    <a:pt x="138" y="22"/>
                  </a:lnTo>
                  <a:lnTo>
                    <a:pt x="137" y="22"/>
                  </a:lnTo>
                  <a:lnTo>
                    <a:pt x="137" y="21"/>
                  </a:lnTo>
                  <a:lnTo>
                    <a:pt x="138" y="21"/>
                  </a:lnTo>
                  <a:lnTo>
                    <a:pt x="140" y="21"/>
                  </a:lnTo>
                  <a:lnTo>
                    <a:pt x="141" y="21"/>
                  </a:lnTo>
                  <a:lnTo>
                    <a:pt x="140" y="21"/>
                  </a:lnTo>
                  <a:lnTo>
                    <a:pt x="140" y="19"/>
                  </a:lnTo>
                  <a:lnTo>
                    <a:pt x="138" y="19"/>
                  </a:lnTo>
                  <a:lnTo>
                    <a:pt x="138" y="21"/>
                  </a:lnTo>
                  <a:lnTo>
                    <a:pt x="137" y="21"/>
                  </a:lnTo>
                  <a:lnTo>
                    <a:pt x="137" y="19"/>
                  </a:lnTo>
                  <a:lnTo>
                    <a:pt x="138" y="18"/>
                  </a:lnTo>
                  <a:lnTo>
                    <a:pt x="138" y="17"/>
                  </a:lnTo>
                  <a:lnTo>
                    <a:pt x="140" y="17"/>
                  </a:lnTo>
                  <a:lnTo>
                    <a:pt x="142" y="17"/>
                  </a:lnTo>
                  <a:lnTo>
                    <a:pt x="143" y="17"/>
                  </a:lnTo>
                  <a:lnTo>
                    <a:pt x="144" y="17"/>
                  </a:lnTo>
                  <a:lnTo>
                    <a:pt x="145" y="17"/>
                  </a:lnTo>
                  <a:lnTo>
                    <a:pt x="144" y="17"/>
                  </a:lnTo>
                  <a:lnTo>
                    <a:pt x="144" y="18"/>
                  </a:lnTo>
                  <a:lnTo>
                    <a:pt x="144" y="19"/>
                  </a:lnTo>
                  <a:lnTo>
                    <a:pt x="144" y="21"/>
                  </a:lnTo>
                  <a:lnTo>
                    <a:pt x="144" y="22"/>
                  </a:lnTo>
                  <a:lnTo>
                    <a:pt x="143" y="22"/>
                  </a:lnTo>
                  <a:lnTo>
                    <a:pt x="144" y="22"/>
                  </a:lnTo>
                  <a:lnTo>
                    <a:pt x="144" y="21"/>
                  </a:lnTo>
                  <a:lnTo>
                    <a:pt x="145" y="21"/>
                  </a:lnTo>
                  <a:lnTo>
                    <a:pt x="144" y="21"/>
                  </a:lnTo>
                  <a:lnTo>
                    <a:pt x="145" y="19"/>
                  </a:lnTo>
                  <a:lnTo>
                    <a:pt x="147" y="19"/>
                  </a:lnTo>
                  <a:lnTo>
                    <a:pt x="148" y="19"/>
                  </a:lnTo>
                  <a:lnTo>
                    <a:pt x="149" y="19"/>
                  </a:lnTo>
                  <a:lnTo>
                    <a:pt x="148" y="19"/>
                  </a:lnTo>
                  <a:lnTo>
                    <a:pt x="147" y="19"/>
                  </a:lnTo>
                  <a:lnTo>
                    <a:pt x="145" y="18"/>
                  </a:lnTo>
                  <a:lnTo>
                    <a:pt x="145" y="17"/>
                  </a:lnTo>
                  <a:lnTo>
                    <a:pt x="147" y="17"/>
                  </a:lnTo>
                  <a:lnTo>
                    <a:pt x="145" y="17"/>
                  </a:lnTo>
                  <a:lnTo>
                    <a:pt x="147" y="17"/>
                  </a:lnTo>
                  <a:lnTo>
                    <a:pt x="147" y="16"/>
                  </a:lnTo>
                  <a:lnTo>
                    <a:pt x="147" y="17"/>
                  </a:lnTo>
                  <a:lnTo>
                    <a:pt x="148" y="17"/>
                  </a:lnTo>
                  <a:lnTo>
                    <a:pt x="148" y="16"/>
                  </a:lnTo>
                  <a:lnTo>
                    <a:pt x="148" y="15"/>
                  </a:lnTo>
                  <a:lnTo>
                    <a:pt x="149" y="15"/>
                  </a:lnTo>
                  <a:lnTo>
                    <a:pt x="149" y="16"/>
                  </a:lnTo>
                  <a:lnTo>
                    <a:pt x="149" y="15"/>
                  </a:lnTo>
                  <a:lnTo>
                    <a:pt x="150" y="15"/>
                  </a:lnTo>
                  <a:lnTo>
                    <a:pt x="151" y="16"/>
                  </a:lnTo>
                  <a:lnTo>
                    <a:pt x="151" y="17"/>
                  </a:lnTo>
                  <a:lnTo>
                    <a:pt x="150" y="18"/>
                  </a:lnTo>
                  <a:lnTo>
                    <a:pt x="151" y="18"/>
                  </a:lnTo>
                  <a:lnTo>
                    <a:pt x="151" y="19"/>
                  </a:lnTo>
                  <a:lnTo>
                    <a:pt x="150" y="19"/>
                  </a:lnTo>
                  <a:lnTo>
                    <a:pt x="151" y="21"/>
                  </a:lnTo>
                  <a:lnTo>
                    <a:pt x="150" y="21"/>
                  </a:lnTo>
                  <a:lnTo>
                    <a:pt x="150" y="22"/>
                  </a:lnTo>
                  <a:lnTo>
                    <a:pt x="150" y="21"/>
                  </a:lnTo>
                  <a:lnTo>
                    <a:pt x="150" y="22"/>
                  </a:lnTo>
                  <a:lnTo>
                    <a:pt x="149" y="22"/>
                  </a:lnTo>
                  <a:lnTo>
                    <a:pt x="149" y="23"/>
                  </a:lnTo>
                  <a:lnTo>
                    <a:pt x="148" y="23"/>
                  </a:lnTo>
                  <a:lnTo>
                    <a:pt x="148" y="24"/>
                  </a:lnTo>
                  <a:lnTo>
                    <a:pt x="149" y="23"/>
                  </a:lnTo>
                  <a:lnTo>
                    <a:pt x="150" y="22"/>
                  </a:lnTo>
                  <a:lnTo>
                    <a:pt x="151" y="22"/>
                  </a:lnTo>
                  <a:lnTo>
                    <a:pt x="151" y="21"/>
                  </a:lnTo>
                  <a:lnTo>
                    <a:pt x="152" y="21"/>
                  </a:lnTo>
                  <a:lnTo>
                    <a:pt x="152" y="19"/>
                  </a:lnTo>
                  <a:lnTo>
                    <a:pt x="154" y="21"/>
                  </a:lnTo>
                  <a:lnTo>
                    <a:pt x="155" y="21"/>
                  </a:lnTo>
                  <a:lnTo>
                    <a:pt x="156" y="21"/>
                  </a:lnTo>
                  <a:lnTo>
                    <a:pt x="155" y="21"/>
                  </a:lnTo>
                  <a:lnTo>
                    <a:pt x="155" y="19"/>
                  </a:lnTo>
                  <a:lnTo>
                    <a:pt x="154" y="19"/>
                  </a:lnTo>
                  <a:lnTo>
                    <a:pt x="152" y="19"/>
                  </a:lnTo>
                  <a:lnTo>
                    <a:pt x="152" y="18"/>
                  </a:lnTo>
                  <a:lnTo>
                    <a:pt x="152" y="17"/>
                  </a:lnTo>
                  <a:lnTo>
                    <a:pt x="154" y="17"/>
                  </a:lnTo>
                  <a:lnTo>
                    <a:pt x="155" y="17"/>
                  </a:lnTo>
                  <a:lnTo>
                    <a:pt x="155" y="16"/>
                  </a:lnTo>
                  <a:lnTo>
                    <a:pt x="157" y="15"/>
                  </a:lnTo>
                  <a:lnTo>
                    <a:pt x="158" y="15"/>
                  </a:lnTo>
                  <a:lnTo>
                    <a:pt x="157" y="15"/>
                  </a:lnTo>
                  <a:lnTo>
                    <a:pt x="156" y="16"/>
                  </a:lnTo>
                  <a:lnTo>
                    <a:pt x="157" y="16"/>
                  </a:lnTo>
                  <a:lnTo>
                    <a:pt x="157" y="17"/>
                  </a:lnTo>
                  <a:lnTo>
                    <a:pt x="158" y="17"/>
                  </a:lnTo>
                  <a:lnTo>
                    <a:pt x="157" y="17"/>
                  </a:lnTo>
                  <a:lnTo>
                    <a:pt x="157" y="16"/>
                  </a:lnTo>
                  <a:lnTo>
                    <a:pt x="158" y="16"/>
                  </a:lnTo>
                  <a:lnTo>
                    <a:pt x="157" y="16"/>
                  </a:lnTo>
                  <a:lnTo>
                    <a:pt x="158" y="16"/>
                  </a:lnTo>
                  <a:lnTo>
                    <a:pt x="159" y="16"/>
                  </a:lnTo>
                  <a:lnTo>
                    <a:pt x="158" y="16"/>
                  </a:lnTo>
                  <a:lnTo>
                    <a:pt x="158" y="17"/>
                  </a:lnTo>
                  <a:lnTo>
                    <a:pt x="159" y="16"/>
                  </a:lnTo>
                  <a:lnTo>
                    <a:pt x="159" y="15"/>
                  </a:lnTo>
                  <a:lnTo>
                    <a:pt x="161" y="15"/>
                  </a:lnTo>
                  <a:lnTo>
                    <a:pt x="159" y="15"/>
                  </a:lnTo>
                  <a:lnTo>
                    <a:pt x="159" y="14"/>
                  </a:lnTo>
                  <a:lnTo>
                    <a:pt x="161" y="14"/>
                  </a:lnTo>
                  <a:lnTo>
                    <a:pt x="162" y="15"/>
                  </a:lnTo>
                  <a:lnTo>
                    <a:pt x="163" y="15"/>
                  </a:lnTo>
                  <a:lnTo>
                    <a:pt x="163" y="16"/>
                  </a:lnTo>
                  <a:lnTo>
                    <a:pt x="164" y="16"/>
                  </a:lnTo>
                  <a:lnTo>
                    <a:pt x="166" y="16"/>
                  </a:lnTo>
                  <a:lnTo>
                    <a:pt x="166" y="17"/>
                  </a:lnTo>
                  <a:lnTo>
                    <a:pt x="168" y="17"/>
                  </a:lnTo>
                  <a:lnTo>
                    <a:pt x="169" y="17"/>
                  </a:lnTo>
                  <a:lnTo>
                    <a:pt x="168" y="17"/>
                  </a:lnTo>
                  <a:lnTo>
                    <a:pt x="166" y="16"/>
                  </a:lnTo>
                  <a:lnTo>
                    <a:pt x="168" y="16"/>
                  </a:lnTo>
                  <a:lnTo>
                    <a:pt x="166" y="16"/>
                  </a:lnTo>
                  <a:lnTo>
                    <a:pt x="166" y="15"/>
                  </a:lnTo>
                  <a:lnTo>
                    <a:pt x="168" y="15"/>
                  </a:lnTo>
                  <a:lnTo>
                    <a:pt x="168" y="14"/>
                  </a:lnTo>
                  <a:lnTo>
                    <a:pt x="166" y="14"/>
                  </a:lnTo>
                  <a:lnTo>
                    <a:pt x="165" y="14"/>
                  </a:lnTo>
                  <a:lnTo>
                    <a:pt x="164" y="14"/>
                  </a:lnTo>
                  <a:lnTo>
                    <a:pt x="165" y="14"/>
                  </a:lnTo>
                  <a:lnTo>
                    <a:pt x="166" y="14"/>
                  </a:lnTo>
                  <a:lnTo>
                    <a:pt x="168" y="12"/>
                  </a:lnTo>
                  <a:lnTo>
                    <a:pt x="166" y="12"/>
                  </a:lnTo>
                  <a:lnTo>
                    <a:pt x="165" y="12"/>
                  </a:lnTo>
                  <a:lnTo>
                    <a:pt x="165" y="14"/>
                  </a:lnTo>
                  <a:lnTo>
                    <a:pt x="164" y="14"/>
                  </a:lnTo>
                  <a:lnTo>
                    <a:pt x="163" y="14"/>
                  </a:lnTo>
                  <a:lnTo>
                    <a:pt x="163" y="12"/>
                  </a:lnTo>
                  <a:lnTo>
                    <a:pt x="162" y="12"/>
                  </a:lnTo>
                  <a:lnTo>
                    <a:pt x="161" y="12"/>
                  </a:lnTo>
                  <a:lnTo>
                    <a:pt x="162" y="11"/>
                  </a:lnTo>
                  <a:lnTo>
                    <a:pt x="159" y="12"/>
                  </a:lnTo>
                  <a:lnTo>
                    <a:pt x="159" y="11"/>
                  </a:lnTo>
                  <a:lnTo>
                    <a:pt x="158" y="11"/>
                  </a:lnTo>
                  <a:lnTo>
                    <a:pt x="159" y="11"/>
                  </a:lnTo>
                  <a:lnTo>
                    <a:pt x="161" y="10"/>
                  </a:lnTo>
                  <a:lnTo>
                    <a:pt x="161" y="11"/>
                  </a:lnTo>
                  <a:lnTo>
                    <a:pt x="161" y="10"/>
                  </a:lnTo>
                  <a:lnTo>
                    <a:pt x="162" y="10"/>
                  </a:lnTo>
                  <a:lnTo>
                    <a:pt x="163" y="10"/>
                  </a:lnTo>
                  <a:lnTo>
                    <a:pt x="163" y="11"/>
                  </a:lnTo>
                  <a:lnTo>
                    <a:pt x="164" y="11"/>
                  </a:lnTo>
                  <a:lnTo>
                    <a:pt x="164" y="12"/>
                  </a:lnTo>
                  <a:lnTo>
                    <a:pt x="165" y="12"/>
                  </a:lnTo>
                  <a:lnTo>
                    <a:pt x="165" y="11"/>
                  </a:lnTo>
                  <a:lnTo>
                    <a:pt x="164" y="11"/>
                  </a:lnTo>
                  <a:lnTo>
                    <a:pt x="164" y="10"/>
                  </a:lnTo>
                  <a:lnTo>
                    <a:pt x="165" y="10"/>
                  </a:lnTo>
                  <a:lnTo>
                    <a:pt x="166" y="10"/>
                  </a:lnTo>
                  <a:lnTo>
                    <a:pt x="165" y="10"/>
                  </a:lnTo>
                  <a:lnTo>
                    <a:pt x="166" y="10"/>
                  </a:lnTo>
                  <a:lnTo>
                    <a:pt x="168" y="10"/>
                  </a:lnTo>
                  <a:lnTo>
                    <a:pt x="168" y="11"/>
                  </a:lnTo>
                  <a:lnTo>
                    <a:pt x="168" y="10"/>
                  </a:lnTo>
                  <a:lnTo>
                    <a:pt x="169" y="10"/>
                  </a:lnTo>
                  <a:lnTo>
                    <a:pt x="169" y="11"/>
                  </a:lnTo>
                  <a:lnTo>
                    <a:pt x="169" y="12"/>
                  </a:lnTo>
                  <a:lnTo>
                    <a:pt x="170" y="12"/>
                  </a:lnTo>
                  <a:lnTo>
                    <a:pt x="171" y="12"/>
                  </a:lnTo>
                  <a:lnTo>
                    <a:pt x="172" y="12"/>
                  </a:lnTo>
                  <a:lnTo>
                    <a:pt x="171" y="12"/>
                  </a:lnTo>
                  <a:lnTo>
                    <a:pt x="170" y="12"/>
                  </a:lnTo>
                  <a:lnTo>
                    <a:pt x="170" y="11"/>
                  </a:lnTo>
                  <a:lnTo>
                    <a:pt x="170" y="10"/>
                  </a:lnTo>
                  <a:lnTo>
                    <a:pt x="171" y="10"/>
                  </a:lnTo>
                  <a:lnTo>
                    <a:pt x="171" y="11"/>
                  </a:lnTo>
                  <a:lnTo>
                    <a:pt x="172" y="11"/>
                  </a:lnTo>
                  <a:lnTo>
                    <a:pt x="173" y="11"/>
                  </a:lnTo>
                  <a:lnTo>
                    <a:pt x="176" y="11"/>
                  </a:lnTo>
                  <a:lnTo>
                    <a:pt x="174" y="12"/>
                  </a:lnTo>
                  <a:lnTo>
                    <a:pt x="173" y="12"/>
                  </a:lnTo>
                  <a:lnTo>
                    <a:pt x="172" y="12"/>
                  </a:lnTo>
                  <a:lnTo>
                    <a:pt x="171" y="12"/>
                  </a:lnTo>
                  <a:lnTo>
                    <a:pt x="170" y="14"/>
                  </a:lnTo>
                  <a:lnTo>
                    <a:pt x="171" y="14"/>
                  </a:lnTo>
                  <a:lnTo>
                    <a:pt x="173" y="14"/>
                  </a:lnTo>
                  <a:lnTo>
                    <a:pt x="173" y="12"/>
                  </a:lnTo>
                  <a:lnTo>
                    <a:pt x="174" y="12"/>
                  </a:lnTo>
                  <a:lnTo>
                    <a:pt x="176" y="12"/>
                  </a:lnTo>
                  <a:lnTo>
                    <a:pt x="177" y="12"/>
                  </a:lnTo>
                  <a:lnTo>
                    <a:pt x="177" y="14"/>
                  </a:lnTo>
                  <a:lnTo>
                    <a:pt x="178" y="14"/>
                  </a:lnTo>
                  <a:lnTo>
                    <a:pt x="178" y="15"/>
                  </a:lnTo>
                  <a:lnTo>
                    <a:pt x="179" y="14"/>
                  </a:lnTo>
                  <a:lnTo>
                    <a:pt x="180" y="14"/>
                  </a:lnTo>
                  <a:lnTo>
                    <a:pt x="180" y="15"/>
                  </a:lnTo>
                  <a:lnTo>
                    <a:pt x="181" y="15"/>
                  </a:lnTo>
                  <a:lnTo>
                    <a:pt x="181" y="14"/>
                  </a:lnTo>
                  <a:lnTo>
                    <a:pt x="179" y="14"/>
                  </a:lnTo>
                  <a:lnTo>
                    <a:pt x="178" y="12"/>
                  </a:lnTo>
                  <a:lnTo>
                    <a:pt x="179" y="12"/>
                  </a:lnTo>
                  <a:lnTo>
                    <a:pt x="180" y="12"/>
                  </a:lnTo>
                  <a:lnTo>
                    <a:pt x="179" y="12"/>
                  </a:lnTo>
                  <a:lnTo>
                    <a:pt x="179" y="11"/>
                  </a:lnTo>
                  <a:lnTo>
                    <a:pt x="180" y="11"/>
                  </a:lnTo>
                  <a:lnTo>
                    <a:pt x="179" y="11"/>
                  </a:lnTo>
                  <a:lnTo>
                    <a:pt x="178" y="11"/>
                  </a:lnTo>
                  <a:lnTo>
                    <a:pt x="179" y="11"/>
                  </a:lnTo>
                  <a:lnTo>
                    <a:pt x="180" y="11"/>
                  </a:lnTo>
                  <a:lnTo>
                    <a:pt x="181" y="11"/>
                  </a:lnTo>
                  <a:lnTo>
                    <a:pt x="180" y="11"/>
                  </a:lnTo>
                  <a:lnTo>
                    <a:pt x="179" y="11"/>
                  </a:lnTo>
                  <a:lnTo>
                    <a:pt x="180" y="10"/>
                  </a:lnTo>
                  <a:lnTo>
                    <a:pt x="181" y="10"/>
                  </a:lnTo>
                  <a:lnTo>
                    <a:pt x="180" y="10"/>
                  </a:lnTo>
                  <a:lnTo>
                    <a:pt x="180" y="9"/>
                  </a:lnTo>
                  <a:lnTo>
                    <a:pt x="181" y="9"/>
                  </a:lnTo>
                  <a:lnTo>
                    <a:pt x="183" y="8"/>
                  </a:lnTo>
                  <a:lnTo>
                    <a:pt x="184" y="8"/>
                  </a:lnTo>
                  <a:lnTo>
                    <a:pt x="185" y="8"/>
                  </a:lnTo>
                  <a:lnTo>
                    <a:pt x="187" y="8"/>
                  </a:lnTo>
                  <a:lnTo>
                    <a:pt x="188" y="8"/>
                  </a:lnTo>
                  <a:lnTo>
                    <a:pt x="187" y="8"/>
                  </a:lnTo>
                  <a:lnTo>
                    <a:pt x="187" y="7"/>
                  </a:lnTo>
                  <a:lnTo>
                    <a:pt x="186" y="7"/>
                  </a:lnTo>
                  <a:lnTo>
                    <a:pt x="187" y="7"/>
                  </a:lnTo>
                  <a:lnTo>
                    <a:pt x="187" y="5"/>
                  </a:lnTo>
                  <a:lnTo>
                    <a:pt x="188" y="5"/>
                  </a:lnTo>
                  <a:lnTo>
                    <a:pt x="190" y="5"/>
                  </a:lnTo>
                  <a:lnTo>
                    <a:pt x="191" y="5"/>
                  </a:lnTo>
                  <a:lnTo>
                    <a:pt x="192" y="5"/>
                  </a:lnTo>
                  <a:lnTo>
                    <a:pt x="191" y="5"/>
                  </a:lnTo>
                  <a:lnTo>
                    <a:pt x="191" y="4"/>
                  </a:lnTo>
                  <a:lnTo>
                    <a:pt x="190" y="4"/>
                  </a:lnTo>
                  <a:lnTo>
                    <a:pt x="188" y="4"/>
                  </a:lnTo>
                  <a:lnTo>
                    <a:pt x="187" y="4"/>
                  </a:lnTo>
                  <a:lnTo>
                    <a:pt x="187" y="3"/>
                  </a:lnTo>
                  <a:lnTo>
                    <a:pt x="188" y="3"/>
                  </a:lnTo>
                  <a:lnTo>
                    <a:pt x="190" y="3"/>
                  </a:lnTo>
                  <a:lnTo>
                    <a:pt x="191" y="4"/>
                  </a:lnTo>
                  <a:lnTo>
                    <a:pt x="191" y="3"/>
                  </a:lnTo>
                  <a:lnTo>
                    <a:pt x="191" y="2"/>
                  </a:lnTo>
                  <a:lnTo>
                    <a:pt x="190" y="2"/>
                  </a:lnTo>
                  <a:lnTo>
                    <a:pt x="191" y="2"/>
                  </a:lnTo>
                  <a:lnTo>
                    <a:pt x="190" y="2"/>
                  </a:lnTo>
                  <a:lnTo>
                    <a:pt x="191" y="2"/>
                  </a:lnTo>
                  <a:lnTo>
                    <a:pt x="190" y="2"/>
                  </a:lnTo>
                  <a:lnTo>
                    <a:pt x="190" y="1"/>
                  </a:lnTo>
                  <a:lnTo>
                    <a:pt x="191" y="1"/>
                  </a:lnTo>
                  <a:lnTo>
                    <a:pt x="192" y="2"/>
                  </a:lnTo>
                  <a:lnTo>
                    <a:pt x="194" y="2"/>
                  </a:lnTo>
                  <a:lnTo>
                    <a:pt x="193" y="2"/>
                  </a:lnTo>
                  <a:lnTo>
                    <a:pt x="194" y="1"/>
                  </a:lnTo>
                  <a:lnTo>
                    <a:pt x="194" y="2"/>
                  </a:lnTo>
                  <a:lnTo>
                    <a:pt x="193" y="3"/>
                  </a:lnTo>
                  <a:lnTo>
                    <a:pt x="194" y="3"/>
                  </a:lnTo>
                  <a:lnTo>
                    <a:pt x="194" y="2"/>
                  </a:lnTo>
                  <a:lnTo>
                    <a:pt x="195" y="2"/>
                  </a:lnTo>
                  <a:lnTo>
                    <a:pt x="197" y="3"/>
                  </a:lnTo>
                  <a:lnTo>
                    <a:pt x="197" y="4"/>
                  </a:lnTo>
                  <a:lnTo>
                    <a:pt x="197" y="3"/>
                  </a:lnTo>
                  <a:lnTo>
                    <a:pt x="198" y="3"/>
                  </a:lnTo>
                  <a:lnTo>
                    <a:pt x="198" y="2"/>
                  </a:lnTo>
                  <a:lnTo>
                    <a:pt x="198" y="1"/>
                  </a:lnTo>
                  <a:lnTo>
                    <a:pt x="198" y="2"/>
                  </a:lnTo>
                  <a:lnTo>
                    <a:pt x="199" y="2"/>
                  </a:lnTo>
                  <a:lnTo>
                    <a:pt x="199" y="3"/>
                  </a:lnTo>
                  <a:lnTo>
                    <a:pt x="198" y="3"/>
                  </a:lnTo>
                  <a:lnTo>
                    <a:pt x="199" y="3"/>
                  </a:lnTo>
                  <a:lnTo>
                    <a:pt x="200" y="3"/>
                  </a:lnTo>
                  <a:lnTo>
                    <a:pt x="200" y="2"/>
                  </a:lnTo>
                  <a:lnTo>
                    <a:pt x="201" y="2"/>
                  </a:lnTo>
                  <a:lnTo>
                    <a:pt x="201" y="3"/>
                  </a:lnTo>
                  <a:lnTo>
                    <a:pt x="202" y="3"/>
                  </a:lnTo>
                  <a:lnTo>
                    <a:pt x="202" y="2"/>
                  </a:lnTo>
                  <a:lnTo>
                    <a:pt x="204" y="3"/>
                  </a:lnTo>
                  <a:lnTo>
                    <a:pt x="202" y="3"/>
                  </a:lnTo>
                  <a:lnTo>
                    <a:pt x="201" y="4"/>
                  </a:lnTo>
                  <a:lnTo>
                    <a:pt x="200" y="4"/>
                  </a:lnTo>
                  <a:lnTo>
                    <a:pt x="201" y="4"/>
                  </a:lnTo>
                  <a:lnTo>
                    <a:pt x="200" y="4"/>
                  </a:lnTo>
                  <a:lnTo>
                    <a:pt x="200" y="5"/>
                  </a:lnTo>
                  <a:lnTo>
                    <a:pt x="199" y="5"/>
                  </a:lnTo>
                  <a:lnTo>
                    <a:pt x="199" y="7"/>
                  </a:lnTo>
                  <a:lnTo>
                    <a:pt x="198" y="7"/>
                  </a:lnTo>
                  <a:lnTo>
                    <a:pt x="197" y="8"/>
                  </a:lnTo>
                  <a:lnTo>
                    <a:pt x="195" y="8"/>
                  </a:lnTo>
                  <a:lnTo>
                    <a:pt x="198" y="7"/>
                  </a:lnTo>
                  <a:lnTo>
                    <a:pt x="198" y="8"/>
                  </a:lnTo>
                  <a:lnTo>
                    <a:pt x="195" y="8"/>
                  </a:lnTo>
                  <a:lnTo>
                    <a:pt x="197" y="8"/>
                  </a:lnTo>
                  <a:lnTo>
                    <a:pt x="198" y="8"/>
                  </a:lnTo>
                  <a:lnTo>
                    <a:pt x="198" y="9"/>
                  </a:lnTo>
                  <a:lnTo>
                    <a:pt x="197" y="9"/>
                  </a:lnTo>
                  <a:lnTo>
                    <a:pt x="197" y="10"/>
                  </a:lnTo>
                  <a:lnTo>
                    <a:pt x="198" y="10"/>
                  </a:lnTo>
                  <a:lnTo>
                    <a:pt x="197" y="11"/>
                  </a:lnTo>
                  <a:lnTo>
                    <a:pt x="195" y="11"/>
                  </a:lnTo>
                  <a:lnTo>
                    <a:pt x="195" y="12"/>
                  </a:lnTo>
                  <a:lnTo>
                    <a:pt x="197" y="12"/>
                  </a:lnTo>
                  <a:lnTo>
                    <a:pt x="197" y="14"/>
                  </a:lnTo>
                  <a:lnTo>
                    <a:pt x="197" y="12"/>
                  </a:lnTo>
                  <a:lnTo>
                    <a:pt x="198" y="12"/>
                  </a:lnTo>
                  <a:lnTo>
                    <a:pt x="197" y="12"/>
                  </a:lnTo>
                  <a:lnTo>
                    <a:pt x="198" y="12"/>
                  </a:lnTo>
                  <a:lnTo>
                    <a:pt x="198" y="14"/>
                  </a:lnTo>
                  <a:lnTo>
                    <a:pt x="198" y="12"/>
                  </a:lnTo>
                  <a:lnTo>
                    <a:pt x="199" y="12"/>
                  </a:lnTo>
                  <a:lnTo>
                    <a:pt x="199" y="11"/>
                  </a:lnTo>
                  <a:lnTo>
                    <a:pt x="200" y="11"/>
                  </a:lnTo>
                  <a:lnTo>
                    <a:pt x="201" y="10"/>
                  </a:lnTo>
                  <a:lnTo>
                    <a:pt x="200" y="10"/>
                  </a:lnTo>
                  <a:lnTo>
                    <a:pt x="202" y="8"/>
                  </a:lnTo>
                  <a:lnTo>
                    <a:pt x="204" y="7"/>
                  </a:lnTo>
                  <a:lnTo>
                    <a:pt x="205" y="7"/>
                  </a:lnTo>
                  <a:lnTo>
                    <a:pt x="205" y="5"/>
                  </a:lnTo>
                  <a:lnTo>
                    <a:pt x="205" y="4"/>
                  </a:lnTo>
                  <a:lnTo>
                    <a:pt x="206" y="4"/>
                  </a:lnTo>
                  <a:lnTo>
                    <a:pt x="207" y="3"/>
                  </a:lnTo>
                  <a:lnTo>
                    <a:pt x="208" y="3"/>
                  </a:lnTo>
                  <a:lnTo>
                    <a:pt x="209" y="2"/>
                  </a:lnTo>
                  <a:lnTo>
                    <a:pt x="211" y="2"/>
                  </a:lnTo>
                  <a:lnTo>
                    <a:pt x="212" y="2"/>
                  </a:lnTo>
                  <a:lnTo>
                    <a:pt x="211" y="2"/>
                  </a:lnTo>
                  <a:lnTo>
                    <a:pt x="211" y="3"/>
                  </a:lnTo>
                  <a:lnTo>
                    <a:pt x="212" y="3"/>
                  </a:lnTo>
                  <a:lnTo>
                    <a:pt x="212" y="4"/>
                  </a:lnTo>
                  <a:lnTo>
                    <a:pt x="211" y="4"/>
                  </a:lnTo>
                  <a:lnTo>
                    <a:pt x="208" y="5"/>
                  </a:lnTo>
                  <a:lnTo>
                    <a:pt x="209" y="5"/>
                  </a:lnTo>
                  <a:lnTo>
                    <a:pt x="211" y="5"/>
                  </a:lnTo>
                  <a:lnTo>
                    <a:pt x="212" y="5"/>
                  </a:lnTo>
                  <a:lnTo>
                    <a:pt x="211" y="7"/>
                  </a:lnTo>
                  <a:lnTo>
                    <a:pt x="211" y="8"/>
                  </a:lnTo>
                  <a:lnTo>
                    <a:pt x="211" y="9"/>
                  </a:lnTo>
                  <a:lnTo>
                    <a:pt x="212" y="9"/>
                  </a:lnTo>
                  <a:lnTo>
                    <a:pt x="213" y="9"/>
                  </a:lnTo>
                  <a:lnTo>
                    <a:pt x="213" y="8"/>
                  </a:lnTo>
                  <a:lnTo>
                    <a:pt x="214" y="8"/>
                  </a:lnTo>
                  <a:lnTo>
                    <a:pt x="215" y="8"/>
                  </a:lnTo>
                  <a:lnTo>
                    <a:pt x="216" y="8"/>
                  </a:lnTo>
                  <a:lnTo>
                    <a:pt x="215" y="8"/>
                  </a:lnTo>
                  <a:lnTo>
                    <a:pt x="215" y="7"/>
                  </a:lnTo>
                  <a:lnTo>
                    <a:pt x="215" y="5"/>
                  </a:lnTo>
                  <a:lnTo>
                    <a:pt x="215" y="7"/>
                  </a:lnTo>
                  <a:lnTo>
                    <a:pt x="216" y="7"/>
                  </a:lnTo>
                  <a:lnTo>
                    <a:pt x="218" y="7"/>
                  </a:lnTo>
                  <a:lnTo>
                    <a:pt x="216" y="5"/>
                  </a:lnTo>
                  <a:lnTo>
                    <a:pt x="215" y="5"/>
                  </a:lnTo>
                  <a:lnTo>
                    <a:pt x="216" y="5"/>
                  </a:lnTo>
                  <a:lnTo>
                    <a:pt x="215" y="5"/>
                  </a:lnTo>
                  <a:lnTo>
                    <a:pt x="215" y="4"/>
                  </a:lnTo>
                  <a:lnTo>
                    <a:pt x="218" y="4"/>
                  </a:lnTo>
                  <a:lnTo>
                    <a:pt x="218" y="3"/>
                  </a:lnTo>
                  <a:lnTo>
                    <a:pt x="220" y="3"/>
                  </a:lnTo>
                  <a:lnTo>
                    <a:pt x="219" y="3"/>
                  </a:lnTo>
                  <a:lnTo>
                    <a:pt x="218" y="3"/>
                  </a:lnTo>
                  <a:lnTo>
                    <a:pt x="218" y="2"/>
                  </a:lnTo>
                  <a:lnTo>
                    <a:pt x="215" y="2"/>
                  </a:lnTo>
                  <a:lnTo>
                    <a:pt x="218" y="2"/>
                  </a:lnTo>
                  <a:lnTo>
                    <a:pt x="216" y="2"/>
                  </a:lnTo>
                  <a:lnTo>
                    <a:pt x="216" y="1"/>
                  </a:lnTo>
                  <a:lnTo>
                    <a:pt x="215" y="1"/>
                  </a:lnTo>
                  <a:lnTo>
                    <a:pt x="216" y="1"/>
                  </a:lnTo>
                  <a:lnTo>
                    <a:pt x="219" y="1"/>
                  </a:lnTo>
                  <a:lnTo>
                    <a:pt x="219" y="2"/>
                  </a:lnTo>
                  <a:lnTo>
                    <a:pt x="219" y="1"/>
                  </a:lnTo>
                  <a:lnTo>
                    <a:pt x="219" y="0"/>
                  </a:lnTo>
                  <a:lnTo>
                    <a:pt x="22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40" name="Freeform 1506">
              <a:extLst>
                <a:ext uri="{FF2B5EF4-FFF2-40B4-BE49-F238E27FC236}">
                  <a16:creationId xmlns:a16="http://schemas.microsoft.com/office/drawing/2014/main" id="{6BFE7376-B7FB-4E33-873A-379F8F843525}"/>
                </a:ext>
              </a:extLst>
            </p:cNvPr>
            <p:cNvSpPr>
              <a:spLocks/>
            </p:cNvSpPr>
            <p:nvPr/>
          </p:nvSpPr>
          <p:spPr bwMode="auto">
            <a:xfrm>
              <a:off x="6141635" y="1888839"/>
              <a:ext cx="12020" cy="5342"/>
            </a:xfrm>
            <a:custGeom>
              <a:avLst/>
              <a:gdLst>
                <a:gd name="T0" fmla="*/ 3 w 9"/>
                <a:gd name="T1" fmla="*/ 2 h 4"/>
                <a:gd name="T2" fmla="*/ 4 w 9"/>
                <a:gd name="T3" fmla="*/ 2 h 4"/>
                <a:gd name="T4" fmla="*/ 4 w 9"/>
                <a:gd name="T5" fmla="*/ 2 h 4"/>
                <a:gd name="T6" fmla="*/ 4 w 9"/>
                <a:gd name="T7" fmla="*/ 2 h 4"/>
                <a:gd name="T8" fmla="*/ 5 w 9"/>
                <a:gd name="T9" fmla="*/ 2 h 4"/>
                <a:gd name="T10" fmla="*/ 5 w 9"/>
                <a:gd name="T11" fmla="*/ 2 h 4"/>
                <a:gd name="T12" fmla="*/ 5 w 9"/>
                <a:gd name="T13" fmla="*/ 2 h 4"/>
                <a:gd name="T14" fmla="*/ 7 w 9"/>
                <a:gd name="T15" fmla="*/ 2 h 4"/>
                <a:gd name="T16" fmla="*/ 7 w 9"/>
                <a:gd name="T17" fmla="*/ 2 h 4"/>
                <a:gd name="T18" fmla="*/ 5 w 9"/>
                <a:gd name="T19" fmla="*/ 3 h 4"/>
                <a:gd name="T20" fmla="*/ 5 w 9"/>
                <a:gd name="T21" fmla="*/ 3 h 4"/>
                <a:gd name="T22" fmla="*/ 7 w 9"/>
                <a:gd name="T23" fmla="*/ 3 h 4"/>
                <a:gd name="T24" fmla="*/ 5 w 9"/>
                <a:gd name="T25" fmla="*/ 3 h 4"/>
                <a:gd name="T26" fmla="*/ 7 w 9"/>
                <a:gd name="T27" fmla="*/ 3 h 4"/>
                <a:gd name="T28" fmla="*/ 7 w 9"/>
                <a:gd name="T29" fmla="*/ 3 h 4"/>
                <a:gd name="T30" fmla="*/ 8 w 9"/>
                <a:gd name="T31" fmla="*/ 3 h 4"/>
                <a:gd name="T32" fmla="*/ 8 w 9"/>
                <a:gd name="T33" fmla="*/ 3 h 4"/>
                <a:gd name="T34" fmla="*/ 9 w 9"/>
                <a:gd name="T35" fmla="*/ 3 h 4"/>
                <a:gd name="T36" fmla="*/ 9 w 9"/>
                <a:gd name="T37" fmla="*/ 3 h 4"/>
                <a:gd name="T38" fmla="*/ 8 w 9"/>
                <a:gd name="T39" fmla="*/ 3 h 4"/>
                <a:gd name="T40" fmla="*/ 8 w 9"/>
                <a:gd name="T41" fmla="*/ 3 h 4"/>
                <a:gd name="T42" fmla="*/ 7 w 9"/>
                <a:gd name="T43" fmla="*/ 3 h 4"/>
                <a:gd name="T44" fmla="*/ 5 w 9"/>
                <a:gd name="T45" fmla="*/ 4 h 4"/>
                <a:gd name="T46" fmla="*/ 4 w 9"/>
                <a:gd name="T47" fmla="*/ 4 h 4"/>
                <a:gd name="T48" fmla="*/ 4 w 9"/>
                <a:gd name="T49" fmla="*/ 3 h 4"/>
                <a:gd name="T50" fmla="*/ 4 w 9"/>
                <a:gd name="T51" fmla="*/ 4 h 4"/>
                <a:gd name="T52" fmla="*/ 4 w 9"/>
                <a:gd name="T53" fmla="*/ 4 h 4"/>
                <a:gd name="T54" fmla="*/ 3 w 9"/>
                <a:gd name="T55" fmla="*/ 4 h 4"/>
                <a:gd name="T56" fmla="*/ 2 w 9"/>
                <a:gd name="T57" fmla="*/ 4 h 4"/>
                <a:gd name="T58" fmla="*/ 2 w 9"/>
                <a:gd name="T59" fmla="*/ 4 h 4"/>
                <a:gd name="T60" fmla="*/ 1 w 9"/>
                <a:gd name="T61" fmla="*/ 3 h 4"/>
                <a:gd name="T62" fmla="*/ 2 w 9"/>
                <a:gd name="T63" fmla="*/ 3 h 4"/>
                <a:gd name="T64" fmla="*/ 1 w 9"/>
                <a:gd name="T65" fmla="*/ 3 h 4"/>
                <a:gd name="T66" fmla="*/ 0 w 9"/>
                <a:gd name="T67" fmla="*/ 3 h 4"/>
                <a:gd name="T68" fmla="*/ 0 w 9"/>
                <a:gd name="T69" fmla="*/ 3 h 4"/>
                <a:gd name="T70" fmla="*/ 0 w 9"/>
                <a:gd name="T71" fmla="*/ 3 h 4"/>
                <a:gd name="T72" fmla="*/ 0 w 9"/>
                <a:gd name="T73" fmla="*/ 2 h 4"/>
                <a:gd name="T74" fmla="*/ 0 w 9"/>
                <a:gd name="T75" fmla="*/ 2 h 4"/>
                <a:gd name="T76" fmla="*/ 1 w 9"/>
                <a:gd name="T77" fmla="*/ 2 h 4"/>
                <a:gd name="T78" fmla="*/ 1 w 9"/>
                <a:gd name="T79" fmla="*/ 2 h 4"/>
                <a:gd name="T80" fmla="*/ 1 w 9"/>
                <a:gd name="T81" fmla="*/ 2 h 4"/>
                <a:gd name="T82" fmla="*/ 1 w 9"/>
                <a:gd name="T83" fmla="*/ 2 h 4"/>
                <a:gd name="T84" fmla="*/ 1 w 9"/>
                <a:gd name="T85" fmla="*/ 2 h 4"/>
                <a:gd name="T86" fmla="*/ 2 w 9"/>
                <a:gd name="T87" fmla="*/ 2 h 4"/>
                <a:gd name="T88" fmla="*/ 2 w 9"/>
                <a:gd name="T89" fmla="*/ 2 h 4"/>
                <a:gd name="T90" fmla="*/ 2 w 9"/>
                <a:gd name="T91" fmla="*/ 2 h 4"/>
                <a:gd name="T92" fmla="*/ 3 w 9"/>
                <a:gd name="T93" fmla="*/ 2 h 4"/>
                <a:gd name="T94" fmla="*/ 3 w 9"/>
                <a:gd name="T95" fmla="*/ 2 h 4"/>
                <a:gd name="T96" fmla="*/ 3 w 9"/>
                <a:gd name="T97" fmla="*/ 2 h 4"/>
                <a:gd name="T98" fmla="*/ 2 w 9"/>
                <a:gd name="T99" fmla="*/ 0 h 4"/>
                <a:gd name="T100" fmla="*/ 2 w 9"/>
                <a:gd name="T101" fmla="*/ 0 h 4"/>
                <a:gd name="T102" fmla="*/ 3 w 9"/>
                <a:gd name="T103" fmla="*/ 0 h 4"/>
                <a:gd name="T104" fmla="*/ 3 w 9"/>
                <a:gd name="T10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 h="4">
                  <a:moveTo>
                    <a:pt x="3" y="0"/>
                  </a:moveTo>
                  <a:lnTo>
                    <a:pt x="3" y="2"/>
                  </a:lnTo>
                  <a:lnTo>
                    <a:pt x="4" y="0"/>
                  </a:lnTo>
                  <a:lnTo>
                    <a:pt x="4" y="2"/>
                  </a:lnTo>
                  <a:lnTo>
                    <a:pt x="4" y="2"/>
                  </a:lnTo>
                  <a:lnTo>
                    <a:pt x="4" y="2"/>
                  </a:lnTo>
                  <a:lnTo>
                    <a:pt x="4" y="2"/>
                  </a:lnTo>
                  <a:lnTo>
                    <a:pt x="4" y="2"/>
                  </a:lnTo>
                  <a:lnTo>
                    <a:pt x="5" y="2"/>
                  </a:lnTo>
                  <a:lnTo>
                    <a:pt x="5" y="2"/>
                  </a:lnTo>
                  <a:lnTo>
                    <a:pt x="5" y="2"/>
                  </a:lnTo>
                  <a:lnTo>
                    <a:pt x="5" y="2"/>
                  </a:lnTo>
                  <a:lnTo>
                    <a:pt x="5" y="2"/>
                  </a:lnTo>
                  <a:lnTo>
                    <a:pt x="5" y="2"/>
                  </a:lnTo>
                  <a:lnTo>
                    <a:pt x="7" y="2"/>
                  </a:lnTo>
                  <a:lnTo>
                    <a:pt x="7" y="2"/>
                  </a:lnTo>
                  <a:lnTo>
                    <a:pt x="7" y="2"/>
                  </a:lnTo>
                  <a:lnTo>
                    <a:pt x="7" y="2"/>
                  </a:lnTo>
                  <a:lnTo>
                    <a:pt x="5" y="3"/>
                  </a:lnTo>
                  <a:lnTo>
                    <a:pt x="5" y="3"/>
                  </a:lnTo>
                  <a:lnTo>
                    <a:pt x="5" y="3"/>
                  </a:lnTo>
                  <a:lnTo>
                    <a:pt x="5" y="3"/>
                  </a:lnTo>
                  <a:lnTo>
                    <a:pt x="5" y="3"/>
                  </a:lnTo>
                  <a:lnTo>
                    <a:pt x="7" y="3"/>
                  </a:lnTo>
                  <a:lnTo>
                    <a:pt x="7" y="3"/>
                  </a:lnTo>
                  <a:lnTo>
                    <a:pt x="5" y="3"/>
                  </a:lnTo>
                  <a:lnTo>
                    <a:pt x="5" y="3"/>
                  </a:lnTo>
                  <a:lnTo>
                    <a:pt x="7" y="3"/>
                  </a:lnTo>
                  <a:lnTo>
                    <a:pt x="7" y="3"/>
                  </a:lnTo>
                  <a:lnTo>
                    <a:pt x="7" y="3"/>
                  </a:lnTo>
                  <a:lnTo>
                    <a:pt x="7" y="3"/>
                  </a:lnTo>
                  <a:lnTo>
                    <a:pt x="8" y="3"/>
                  </a:lnTo>
                  <a:lnTo>
                    <a:pt x="8" y="3"/>
                  </a:lnTo>
                  <a:lnTo>
                    <a:pt x="8" y="3"/>
                  </a:lnTo>
                  <a:lnTo>
                    <a:pt x="8" y="3"/>
                  </a:lnTo>
                  <a:lnTo>
                    <a:pt x="9" y="3"/>
                  </a:lnTo>
                  <a:lnTo>
                    <a:pt x="9" y="3"/>
                  </a:lnTo>
                  <a:lnTo>
                    <a:pt x="9" y="3"/>
                  </a:lnTo>
                  <a:lnTo>
                    <a:pt x="9" y="3"/>
                  </a:lnTo>
                  <a:lnTo>
                    <a:pt x="8" y="3"/>
                  </a:lnTo>
                  <a:lnTo>
                    <a:pt x="8" y="3"/>
                  </a:lnTo>
                  <a:lnTo>
                    <a:pt x="8" y="3"/>
                  </a:lnTo>
                  <a:lnTo>
                    <a:pt x="8" y="3"/>
                  </a:lnTo>
                  <a:lnTo>
                    <a:pt x="7" y="3"/>
                  </a:lnTo>
                  <a:lnTo>
                    <a:pt x="7" y="3"/>
                  </a:lnTo>
                  <a:lnTo>
                    <a:pt x="5" y="4"/>
                  </a:lnTo>
                  <a:lnTo>
                    <a:pt x="5" y="4"/>
                  </a:lnTo>
                  <a:lnTo>
                    <a:pt x="4" y="4"/>
                  </a:lnTo>
                  <a:lnTo>
                    <a:pt x="4" y="3"/>
                  </a:lnTo>
                  <a:lnTo>
                    <a:pt x="4" y="3"/>
                  </a:lnTo>
                  <a:lnTo>
                    <a:pt x="4" y="4"/>
                  </a:lnTo>
                  <a:lnTo>
                    <a:pt x="4" y="4"/>
                  </a:lnTo>
                  <a:lnTo>
                    <a:pt x="4" y="4"/>
                  </a:lnTo>
                  <a:lnTo>
                    <a:pt x="4" y="4"/>
                  </a:lnTo>
                  <a:lnTo>
                    <a:pt x="3" y="4"/>
                  </a:lnTo>
                  <a:lnTo>
                    <a:pt x="3" y="4"/>
                  </a:lnTo>
                  <a:lnTo>
                    <a:pt x="2" y="4"/>
                  </a:lnTo>
                  <a:lnTo>
                    <a:pt x="2" y="4"/>
                  </a:lnTo>
                  <a:lnTo>
                    <a:pt x="2" y="4"/>
                  </a:lnTo>
                  <a:lnTo>
                    <a:pt x="2" y="4"/>
                  </a:lnTo>
                  <a:lnTo>
                    <a:pt x="1" y="3"/>
                  </a:lnTo>
                  <a:lnTo>
                    <a:pt x="1" y="3"/>
                  </a:lnTo>
                  <a:lnTo>
                    <a:pt x="2" y="3"/>
                  </a:lnTo>
                  <a:lnTo>
                    <a:pt x="2" y="3"/>
                  </a:lnTo>
                  <a:lnTo>
                    <a:pt x="2" y="3"/>
                  </a:lnTo>
                  <a:lnTo>
                    <a:pt x="1" y="3"/>
                  </a:lnTo>
                  <a:lnTo>
                    <a:pt x="1" y="3"/>
                  </a:lnTo>
                  <a:lnTo>
                    <a:pt x="0" y="3"/>
                  </a:lnTo>
                  <a:lnTo>
                    <a:pt x="0" y="3"/>
                  </a:lnTo>
                  <a:lnTo>
                    <a:pt x="0" y="3"/>
                  </a:lnTo>
                  <a:lnTo>
                    <a:pt x="0" y="3"/>
                  </a:lnTo>
                  <a:lnTo>
                    <a:pt x="0" y="3"/>
                  </a:lnTo>
                  <a:lnTo>
                    <a:pt x="0" y="3"/>
                  </a:lnTo>
                  <a:lnTo>
                    <a:pt x="0" y="2"/>
                  </a:lnTo>
                  <a:lnTo>
                    <a:pt x="0" y="2"/>
                  </a:lnTo>
                  <a:lnTo>
                    <a:pt x="0" y="2"/>
                  </a:lnTo>
                  <a:lnTo>
                    <a:pt x="0" y="2"/>
                  </a:lnTo>
                  <a:lnTo>
                    <a:pt x="1" y="2"/>
                  </a:lnTo>
                  <a:lnTo>
                    <a:pt x="1" y="2"/>
                  </a:lnTo>
                  <a:lnTo>
                    <a:pt x="1" y="2"/>
                  </a:lnTo>
                  <a:lnTo>
                    <a:pt x="1" y="2"/>
                  </a:lnTo>
                  <a:lnTo>
                    <a:pt x="1" y="2"/>
                  </a:lnTo>
                  <a:lnTo>
                    <a:pt x="1" y="2"/>
                  </a:lnTo>
                  <a:lnTo>
                    <a:pt x="1" y="2"/>
                  </a:lnTo>
                  <a:lnTo>
                    <a:pt x="1" y="2"/>
                  </a:lnTo>
                  <a:lnTo>
                    <a:pt x="1" y="2"/>
                  </a:lnTo>
                  <a:lnTo>
                    <a:pt x="1" y="2"/>
                  </a:lnTo>
                  <a:lnTo>
                    <a:pt x="2" y="2"/>
                  </a:lnTo>
                  <a:lnTo>
                    <a:pt x="2" y="2"/>
                  </a:lnTo>
                  <a:lnTo>
                    <a:pt x="2" y="2"/>
                  </a:lnTo>
                  <a:lnTo>
                    <a:pt x="2" y="2"/>
                  </a:lnTo>
                  <a:lnTo>
                    <a:pt x="2" y="2"/>
                  </a:lnTo>
                  <a:lnTo>
                    <a:pt x="3" y="2"/>
                  </a:lnTo>
                  <a:lnTo>
                    <a:pt x="3" y="2"/>
                  </a:lnTo>
                  <a:lnTo>
                    <a:pt x="3" y="3"/>
                  </a:lnTo>
                  <a:lnTo>
                    <a:pt x="3" y="2"/>
                  </a:lnTo>
                  <a:lnTo>
                    <a:pt x="3" y="2"/>
                  </a:lnTo>
                  <a:lnTo>
                    <a:pt x="3" y="2"/>
                  </a:lnTo>
                  <a:lnTo>
                    <a:pt x="2" y="2"/>
                  </a:lnTo>
                  <a:lnTo>
                    <a:pt x="2" y="0"/>
                  </a:lnTo>
                  <a:lnTo>
                    <a:pt x="2" y="2"/>
                  </a:lnTo>
                  <a:lnTo>
                    <a:pt x="2" y="0"/>
                  </a:lnTo>
                  <a:lnTo>
                    <a:pt x="2" y="0"/>
                  </a:lnTo>
                  <a:lnTo>
                    <a:pt x="3" y="0"/>
                  </a:lnTo>
                  <a:lnTo>
                    <a:pt x="3" y="0"/>
                  </a:lnTo>
                  <a:lnTo>
                    <a:pt x="3"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41" name="Freeform 1507">
              <a:extLst>
                <a:ext uri="{FF2B5EF4-FFF2-40B4-BE49-F238E27FC236}">
                  <a16:creationId xmlns:a16="http://schemas.microsoft.com/office/drawing/2014/main" id="{55B04D68-B1CA-4F71-94E1-4316B7D6B7CD}"/>
                </a:ext>
              </a:extLst>
            </p:cNvPr>
            <p:cNvSpPr>
              <a:spLocks/>
            </p:cNvSpPr>
            <p:nvPr/>
          </p:nvSpPr>
          <p:spPr bwMode="auto">
            <a:xfrm>
              <a:off x="5668872" y="2565932"/>
              <a:ext cx="1336" cy="1336"/>
            </a:xfrm>
            <a:custGeom>
              <a:avLst/>
              <a:gdLst>
                <a:gd name="T0" fmla="*/ 1 w 1"/>
                <a:gd name="T1" fmla="*/ 1 h 1"/>
                <a:gd name="T2" fmla="*/ 1 w 1"/>
                <a:gd name="T3" fmla="*/ 1 h 1"/>
                <a:gd name="T4" fmla="*/ 0 w 1"/>
                <a:gd name="T5" fmla="*/ 1 h 1"/>
                <a:gd name="T6" fmla="*/ 0 w 1"/>
                <a:gd name="T7" fmla="*/ 1 h 1"/>
                <a:gd name="T8" fmla="*/ 0 w 1"/>
                <a:gd name="T9" fmla="*/ 1 h 1"/>
                <a:gd name="T10" fmla="*/ 0 w 1"/>
                <a:gd name="T11" fmla="*/ 1 h 1"/>
                <a:gd name="T12" fmla="*/ 0 w 1"/>
                <a:gd name="T13" fmla="*/ 1 h 1"/>
                <a:gd name="T14" fmla="*/ 0 w 1"/>
                <a:gd name="T15" fmla="*/ 1 h 1"/>
                <a:gd name="T16" fmla="*/ 1 w 1"/>
                <a:gd name="T17" fmla="*/ 0 h 1"/>
                <a:gd name="T18" fmla="*/ 1 w 1"/>
                <a:gd name="T19" fmla="*/ 0 h 1"/>
                <a:gd name="T20" fmla="*/ 1 w 1"/>
                <a:gd name="T21" fmla="*/ 0 h 1"/>
                <a:gd name="T22" fmla="*/ 1 w 1"/>
                <a:gd name="T23" fmla="*/ 1 h 1"/>
                <a:gd name="T24" fmla="*/ 1 w 1"/>
                <a:gd name="T25" fmla="*/ 1 h 1"/>
                <a:gd name="T26" fmla="*/ 1 w 1"/>
                <a:gd name="T2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 h="1">
                  <a:moveTo>
                    <a:pt x="1" y="1"/>
                  </a:moveTo>
                  <a:lnTo>
                    <a:pt x="1" y="1"/>
                  </a:lnTo>
                  <a:lnTo>
                    <a:pt x="0" y="1"/>
                  </a:lnTo>
                  <a:lnTo>
                    <a:pt x="0" y="1"/>
                  </a:lnTo>
                  <a:lnTo>
                    <a:pt x="0" y="1"/>
                  </a:lnTo>
                  <a:lnTo>
                    <a:pt x="0" y="1"/>
                  </a:lnTo>
                  <a:lnTo>
                    <a:pt x="0" y="1"/>
                  </a:lnTo>
                  <a:lnTo>
                    <a:pt x="0" y="1"/>
                  </a:lnTo>
                  <a:lnTo>
                    <a:pt x="1" y="0"/>
                  </a:lnTo>
                  <a:lnTo>
                    <a:pt x="1" y="0"/>
                  </a:lnTo>
                  <a:lnTo>
                    <a:pt x="1" y="0"/>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42" name="Freeform 1508">
              <a:extLst>
                <a:ext uri="{FF2B5EF4-FFF2-40B4-BE49-F238E27FC236}">
                  <a16:creationId xmlns:a16="http://schemas.microsoft.com/office/drawing/2014/main" id="{55CD2814-AE1E-446A-8D07-ABCEBFF0F022}"/>
                </a:ext>
              </a:extLst>
            </p:cNvPr>
            <p:cNvSpPr>
              <a:spLocks/>
            </p:cNvSpPr>
            <p:nvPr/>
          </p:nvSpPr>
          <p:spPr bwMode="auto">
            <a:xfrm>
              <a:off x="5650175" y="2527203"/>
              <a:ext cx="0" cy="1336"/>
            </a:xfrm>
            <a:custGeom>
              <a:avLst/>
              <a:gdLst>
                <a:gd name="T0" fmla="*/ 1 h 1"/>
                <a:gd name="T1" fmla="*/ 1 h 1"/>
                <a:gd name="T2" fmla="*/ 1 h 1"/>
                <a:gd name="T3" fmla="*/ 1 h 1"/>
                <a:gd name="T4" fmla="*/ 0 h 1"/>
                <a:gd name="T5" fmla="*/ 0 h 1"/>
                <a:gd name="T6" fmla="*/ 0 h 1"/>
                <a:gd name="T7" fmla="*/ 0 h 1"/>
                <a:gd name="T8" fmla="*/ 0 h 1"/>
                <a:gd name="T9" fmla="*/ 0 h 1"/>
                <a:gd name="T10" fmla="*/ 0 h 1"/>
                <a:gd name="T11"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Lst>
              <a:rect l="0" t="0" r="r" b="b"/>
              <a:pathLst>
                <a:path h="1">
                  <a:moveTo>
                    <a:pt x="0" y="1"/>
                  </a:moveTo>
                  <a:lnTo>
                    <a:pt x="0" y="1"/>
                  </a:lnTo>
                  <a:lnTo>
                    <a:pt x="0" y="1"/>
                  </a:lnTo>
                  <a:lnTo>
                    <a:pt x="0" y="1"/>
                  </a:lnTo>
                  <a:lnTo>
                    <a:pt x="0" y="0"/>
                  </a:lnTo>
                  <a:lnTo>
                    <a:pt x="0" y="0"/>
                  </a:lnTo>
                  <a:lnTo>
                    <a:pt x="0" y="0"/>
                  </a:lnTo>
                  <a:lnTo>
                    <a:pt x="0" y="0"/>
                  </a:lnTo>
                  <a:lnTo>
                    <a:pt x="0" y="0"/>
                  </a:lnTo>
                  <a:lnTo>
                    <a:pt x="0" y="0"/>
                  </a:lnTo>
                  <a:lnTo>
                    <a:pt x="0" y="0"/>
                  </a:lnTo>
                  <a:lnTo>
                    <a:pt x="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43" name="Freeform 1509">
              <a:extLst>
                <a:ext uri="{FF2B5EF4-FFF2-40B4-BE49-F238E27FC236}">
                  <a16:creationId xmlns:a16="http://schemas.microsoft.com/office/drawing/2014/main" id="{AB304BCD-55F9-4D1D-94B6-38C30254CB05}"/>
                </a:ext>
              </a:extLst>
            </p:cNvPr>
            <p:cNvSpPr>
              <a:spLocks/>
            </p:cNvSpPr>
            <p:nvPr/>
          </p:nvSpPr>
          <p:spPr bwMode="auto">
            <a:xfrm>
              <a:off x="5642162" y="2457757"/>
              <a:ext cx="58761" cy="109510"/>
            </a:xfrm>
            <a:custGeom>
              <a:avLst/>
              <a:gdLst>
                <a:gd name="T0" fmla="*/ 19 w 44"/>
                <a:gd name="T1" fmla="*/ 4 h 82"/>
                <a:gd name="T2" fmla="*/ 22 w 44"/>
                <a:gd name="T3" fmla="*/ 5 h 82"/>
                <a:gd name="T4" fmla="*/ 26 w 44"/>
                <a:gd name="T5" fmla="*/ 4 h 82"/>
                <a:gd name="T6" fmla="*/ 28 w 44"/>
                <a:gd name="T7" fmla="*/ 5 h 82"/>
                <a:gd name="T8" fmla="*/ 31 w 44"/>
                <a:gd name="T9" fmla="*/ 4 h 82"/>
                <a:gd name="T10" fmla="*/ 34 w 44"/>
                <a:gd name="T11" fmla="*/ 3 h 82"/>
                <a:gd name="T12" fmla="*/ 37 w 44"/>
                <a:gd name="T13" fmla="*/ 4 h 82"/>
                <a:gd name="T14" fmla="*/ 40 w 44"/>
                <a:gd name="T15" fmla="*/ 6 h 82"/>
                <a:gd name="T16" fmla="*/ 42 w 44"/>
                <a:gd name="T17" fmla="*/ 7 h 82"/>
                <a:gd name="T18" fmla="*/ 43 w 44"/>
                <a:gd name="T19" fmla="*/ 11 h 82"/>
                <a:gd name="T20" fmla="*/ 37 w 44"/>
                <a:gd name="T21" fmla="*/ 14 h 82"/>
                <a:gd name="T22" fmla="*/ 35 w 44"/>
                <a:gd name="T23" fmla="*/ 18 h 82"/>
                <a:gd name="T24" fmla="*/ 36 w 44"/>
                <a:gd name="T25" fmla="*/ 22 h 82"/>
                <a:gd name="T26" fmla="*/ 35 w 44"/>
                <a:gd name="T27" fmla="*/ 27 h 82"/>
                <a:gd name="T28" fmla="*/ 33 w 44"/>
                <a:gd name="T29" fmla="*/ 31 h 82"/>
                <a:gd name="T30" fmla="*/ 34 w 44"/>
                <a:gd name="T31" fmla="*/ 35 h 82"/>
                <a:gd name="T32" fmla="*/ 30 w 44"/>
                <a:gd name="T33" fmla="*/ 39 h 82"/>
                <a:gd name="T34" fmla="*/ 28 w 44"/>
                <a:gd name="T35" fmla="*/ 41 h 82"/>
                <a:gd name="T36" fmla="*/ 29 w 44"/>
                <a:gd name="T37" fmla="*/ 46 h 82"/>
                <a:gd name="T38" fmla="*/ 33 w 44"/>
                <a:gd name="T39" fmla="*/ 48 h 82"/>
                <a:gd name="T40" fmla="*/ 30 w 44"/>
                <a:gd name="T41" fmla="*/ 53 h 82"/>
                <a:gd name="T42" fmla="*/ 28 w 44"/>
                <a:gd name="T43" fmla="*/ 57 h 82"/>
                <a:gd name="T44" fmla="*/ 31 w 44"/>
                <a:gd name="T45" fmla="*/ 63 h 82"/>
                <a:gd name="T46" fmla="*/ 31 w 44"/>
                <a:gd name="T47" fmla="*/ 66 h 82"/>
                <a:gd name="T48" fmla="*/ 29 w 44"/>
                <a:gd name="T49" fmla="*/ 67 h 82"/>
                <a:gd name="T50" fmla="*/ 26 w 44"/>
                <a:gd name="T51" fmla="*/ 71 h 82"/>
                <a:gd name="T52" fmla="*/ 27 w 44"/>
                <a:gd name="T53" fmla="*/ 76 h 82"/>
                <a:gd name="T54" fmla="*/ 23 w 44"/>
                <a:gd name="T55" fmla="*/ 80 h 82"/>
                <a:gd name="T56" fmla="*/ 19 w 44"/>
                <a:gd name="T57" fmla="*/ 82 h 82"/>
                <a:gd name="T58" fmla="*/ 14 w 44"/>
                <a:gd name="T59" fmla="*/ 80 h 82"/>
                <a:gd name="T60" fmla="*/ 8 w 44"/>
                <a:gd name="T61" fmla="*/ 80 h 82"/>
                <a:gd name="T62" fmla="*/ 7 w 44"/>
                <a:gd name="T63" fmla="*/ 80 h 82"/>
                <a:gd name="T64" fmla="*/ 8 w 44"/>
                <a:gd name="T65" fmla="*/ 76 h 82"/>
                <a:gd name="T66" fmla="*/ 8 w 44"/>
                <a:gd name="T67" fmla="*/ 70 h 82"/>
                <a:gd name="T68" fmla="*/ 8 w 44"/>
                <a:gd name="T69" fmla="*/ 69 h 82"/>
                <a:gd name="T70" fmla="*/ 9 w 44"/>
                <a:gd name="T71" fmla="*/ 64 h 82"/>
                <a:gd name="T72" fmla="*/ 9 w 44"/>
                <a:gd name="T73" fmla="*/ 59 h 82"/>
                <a:gd name="T74" fmla="*/ 8 w 44"/>
                <a:gd name="T75" fmla="*/ 59 h 82"/>
                <a:gd name="T76" fmla="*/ 9 w 44"/>
                <a:gd name="T77" fmla="*/ 59 h 82"/>
                <a:gd name="T78" fmla="*/ 9 w 44"/>
                <a:gd name="T79" fmla="*/ 57 h 82"/>
                <a:gd name="T80" fmla="*/ 5 w 44"/>
                <a:gd name="T81" fmla="*/ 59 h 82"/>
                <a:gd name="T82" fmla="*/ 4 w 44"/>
                <a:gd name="T83" fmla="*/ 55 h 82"/>
                <a:gd name="T84" fmla="*/ 6 w 44"/>
                <a:gd name="T85" fmla="*/ 54 h 82"/>
                <a:gd name="T86" fmla="*/ 8 w 44"/>
                <a:gd name="T87" fmla="*/ 49 h 82"/>
                <a:gd name="T88" fmla="*/ 9 w 44"/>
                <a:gd name="T89" fmla="*/ 49 h 82"/>
                <a:gd name="T90" fmla="*/ 6 w 44"/>
                <a:gd name="T91" fmla="*/ 53 h 82"/>
                <a:gd name="T92" fmla="*/ 1 w 44"/>
                <a:gd name="T93" fmla="*/ 54 h 82"/>
                <a:gd name="T94" fmla="*/ 1 w 44"/>
                <a:gd name="T95" fmla="*/ 49 h 82"/>
                <a:gd name="T96" fmla="*/ 2 w 44"/>
                <a:gd name="T97" fmla="*/ 45 h 82"/>
                <a:gd name="T98" fmla="*/ 6 w 44"/>
                <a:gd name="T99" fmla="*/ 41 h 82"/>
                <a:gd name="T100" fmla="*/ 11 w 44"/>
                <a:gd name="T101" fmla="*/ 32 h 82"/>
                <a:gd name="T102" fmla="*/ 11 w 44"/>
                <a:gd name="T103" fmla="*/ 26 h 82"/>
                <a:gd name="T104" fmla="*/ 12 w 44"/>
                <a:gd name="T105" fmla="*/ 24 h 82"/>
                <a:gd name="T106" fmla="*/ 12 w 44"/>
                <a:gd name="T107" fmla="*/ 22 h 82"/>
                <a:gd name="T108" fmla="*/ 12 w 44"/>
                <a:gd name="T109" fmla="*/ 21 h 82"/>
                <a:gd name="T110" fmla="*/ 13 w 44"/>
                <a:gd name="T111" fmla="*/ 17 h 82"/>
                <a:gd name="T112" fmla="*/ 12 w 44"/>
                <a:gd name="T113" fmla="*/ 12 h 82"/>
                <a:gd name="T114" fmla="*/ 11 w 44"/>
                <a:gd name="T115" fmla="*/ 8 h 82"/>
                <a:gd name="T116" fmla="*/ 11 w 44"/>
                <a:gd name="T117" fmla="*/ 6 h 82"/>
                <a:gd name="T118" fmla="*/ 13 w 44"/>
                <a:gd name="T119" fmla="*/ 1 h 82"/>
                <a:gd name="T120" fmla="*/ 19 w 44"/>
                <a:gd name="T12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 h="82">
                  <a:moveTo>
                    <a:pt x="19" y="1"/>
                  </a:moveTo>
                  <a:lnTo>
                    <a:pt x="20" y="1"/>
                  </a:lnTo>
                  <a:lnTo>
                    <a:pt x="20" y="3"/>
                  </a:lnTo>
                  <a:lnTo>
                    <a:pt x="19" y="3"/>
                  </a:lnTo>
                  <a:lnTo>
                    <a:pt x="19" y="4"/>
                  </a:lnTo>
                  <a:lnTo>
                    <a:pt x="19" y="5"/>
                  </a:lnTo>
                  <a:lnTo>
                    <a:pt x="19" y="6"/>
                  </a:lnTo>
                  <a:lnTo>
                    <a:pt x="20" y="6"/>
                  </a:lnTo>
                  <a:lnTo>
                    <a:pt x="21" y="5"/>
                  </a:lnTo>
                  <a:lnTo>
                    <a:pt x="22" y="5"/>
                  </a:lnTo>
                  <a:lnTo>
                    <a:pt x="22" y="4"/>
                  </a:lnTo>
                  <a:lnTo>
                    <a:pt x="22" y="5"/>
                  </a:lnTo>
                  <a:lnTo>
                    <a:pt x="23" y="5"/>
                  </a:lnTo>
                  <a:lnTo>
                    <a:pt x="25" y="4"/>
                  </a:lnTo>
                  <a:lnTo>
                    <a:pt x="26" y="4"/>
                  </a:lnTo>
                  <a:lnTo>
                    <a:pt x="26" y="5"/>
                  </a:lnTo>
                  <a:lnTo>
                    <a:pt x="27" y="5"/>
                  </a:lnTo>
                  <a:lnTo>
                    <a:pt x="26" y="5"/>
                  </a:lnTo>
                  <a:lnTo>
                    <a:pt x="27" y="5"/>
                  </a:lnTo>
                  <a:lnTo>
                    <a:pt x="28" y="5"/>
                  </a:lnTo>
                  <a:lnTo>
                    <a:pt x="28" y="6"/>
                  </a:lnTo>
                  <a:lnTo>
                    <a:pt x="29" y="5"/>
                  </a:lnTo>
                  <a:lnTo>
                    <a:pt x="30" y="5"/>
                  </a:lnTo>
                  <a:lnTo>
                    <a:pt x="31" y="5"/>
                  </a:lnTo>
                  <a:lnTo>
                    <a:pt x="31" y="4"/>
                  </a:lnTo>
                  <a:lnTo>
                    <a:pt x="31" y="3"/>
                  </a:lnTo>
                  <a:lnTo>
                    <a:pt x="33" y="3"/>
                  </a:lnTo>
                  <a:lnTo>
                    <a:pt x="33" y="4"/>
                  </a:lnTo>
                  <a:lnTo>
                    <a:pt x="34" y="4"/>
                  </a:lnTo>
                  <a:lnTo>
                    <a:pt x="34" y="3"/>
                  </a:lnTo>
                  <a:lnTo>
                    <a:pt x="35" y="4"/>
                  </a:lnTo>
                  <a:lnTo>
                    <a:pt x="36" y="4"/>
                  </a:lnTo>
                  <a:lnTo>
                    <a:pt x="36" y="3"/>
                  </a:lnTo>
                  <a:lnTo>
                    <a:pt x="37" y="3"/>
                  </a:lnTo>
                  <a:lnTo>
                    <a:pt x="37" y="4"/>
                  </a:lnTo>
                  <a:lnTo>
                    <a:pt x="38" y="4"/>
                  </a:lnTo>
                  <a:lnTo>
                    <a:pt x="40" y="3"/>
                  </a:lnTo>
                  <a:lnTo>
                    <a:pt x="40" y="4"/>
                  </a:lnTo>
                  <a:lnTo>
                    <a:pt x="40" y="5"/>
                  </a:lnTo>
                  <a:lnTo>
                    <a:pt x="40" y="6"/>
                  </a:lnTo>
                  <a:lnTo>
                    <a:pt x="40" y="7"/>
                  </a:lnTo>
                  <a:lnTo>
                    <a:pt x="40" y="8"/>
                  </a:lnTo>
                  <a:lnTo>
                    <a:pt x="41" y="8"/>
                  </a:lnTo>
                  <a:lnTo>
                    <a:pt x="41" y="7"/>
                  </a:lnTo>
                  <a:lnTo>
                    <a:pt x="42" y="7"/>
                  </a:lnTo>
                  <a:lnTo>
                    <a:pt x="43" y="8"/>
                  </a:lnTo>
                  <a:lnTo>
                    <a:pt x="44" y="8"/>
                  </a:lnTo>
                  <a:lnTo>
                    <a:pt x="44" y="10"/>
                  </a:lnTo>
                  <a:lnTo>
                    <a:pt x="43" y="10"/>
                  </a:lnTo>
                  <a:lnTo>
                    <a:pt x="43" y="11"/>
                  </a:lnTo>
                  <a:lnTo>
                    <a:pt x="42" y="12"/>
                  </a:lnTo>
                  <a:lnTo>
                    <a:pt x="41" y="13"/>
                  </a:lnTo>
                  <a:lnTo>
                    <a:pt x="40" y="14"/>
                  </a:lnTo>
                  <a:lnTo>
                    <a:pt x="38" y="14"/>
                  </a:lnTo>
                  <a:lnTo>
                    <a:pt x="37" y="14"/>
                  </a:lnTo>
                  <a:lnTo>
                    <a:pt x="37" y="15"/>
                  </a:lnTo>
                  <a:lnTo>
                    <a:pt x="37" y="17"/>
                  </a:lnTo>
                  <a:lnTo>
                    <a:pt x="36" y="17"/>
                  </a:lnTo>
                  <a:lnTo>
                    <a:pt x="36" y="18"/>
                  </a:lnTo>
                  <a:lnTo>
                    <a:pt x="35" y="18"/>
                  </a:lnTo>
                  <a:lnTo>
                    <a:pt x="35" y="19"/>
                  </a:lnTo>
                  <a:lnTo>
                    <a:pt x="35" y="20"/>
                  </a:lnTo>
                  <a:lnTo>
                    <a:pt x="36" y="20"/>
                  </a:lnTo>
                  <a:lnTo>
                    <a:pt x="36" y="21"/>
                  </a:lnTo>
                  <a:lnTo>
                    <a:pt x="36" y="22"/>
                  </a:lnTo>
                  <a:lnTo>
                    <a:pt x="36" y="24"/>
                  </a:lnTo>
                  <a:lnTo>
                    <a:pt x="35" y="25"/>
                  </a:lnTo>
                  <a:lnTo>
                    <a:pt x="36" y="26"/>
                  </a:lnTo>
                  <a:lnTo>
                    <a:pt x="35" y="26"/>
                  </a:lnTo>
                  <a:lnTo>
                    <a:pt x="35" y="27"/>
                  </a:lnTo>
                  <a:lnTo>
                    <a:pt x="36" y="28"/>
                  </a:lnTo>
                  <a:lnTo>
                    <a:pt x="35" y="29"/>
                  </a:lnTo>
                  <a:lnTo>
                    <a:pt x="34" y="29"/>
                  </a:lnTo>
                  <a:lnTo>
                    <a:pt x="34" y="31"/>
                  </a:lnTo>
                  <a:lnTo>
                    <a:pt x="33" y="31"/>
                  </a:lnTo>
                  <a:lnTo>
                    <a:pt x="33" y="32"/>
                  </a:lnTo>
                  <a:lnTo>
                    <a:pt x="34" y="32"/>
                  </a:lnTo>
                  <a:lnTo>
                    <a:pt x="34" y="33"/>
                  </a:lnTo>
                  <a:lnTo>
                    <a:pt x="35" y="34"/>
                  </a:lnTo>
                  <a:lnTo>
                    <a:pt x="34" y="35"/>
                  </a:lnTo>
                  <a:lnTo>
                    <a:pt x="34" y="36"/>
                  </a:lnTo>
                  <a:lnTo>
                    <a:pt x="33" y="36"/>
                  </a:lnTo>
                  <a:lnTo>
                    <a:pt x="33" y="38"/>
                  </a:lnTo>
                  <a:lnTo>
                    <a:pt x="33" y="39"/>
                  </a:lnTo>
                  <a:lnTo>
                    <a:pt x="30" y="39"/>
                  </a:lnTo>
                  <a:lnTo>
                    <a:pt x="29" y="39"/>
                  </a:lnTo>
                  <a:lnTo>
                    <a:pt x="26" y="39"/>
                  </a:lnTo>
                  <a:lnTo>
                    <a:pt x="27" y="40"/>
                  </a:lnTo>
                  <a:lnTo>
                    <a:pt x="27" y="41"/>
                  </a:lnTo>
                  <a:lnTo>
                    <a:pt x="28" y="41"/>
                  </a:lnTo>
                  <a:lnTo>
                    <a:pt x="28" y="42"/>
                  </a:lnTo>
                  <a:lnTo>
                    <a:pt x="29" y="42"/>
                  </a:lnTo>
                  <a:lnTo>
                    <a:pt x="29" y="43"/>
                  </a:lnTo>
                  <a:lnTo>
                    <a:pt x="29" y="45"/>
                  </a:lnTo>
                  <a:lnTo>
                    <a:pt x="29" y="46"/>
                  </a:lnTo>
                  <a:lnTo>
                    <a:pt x="29" y="47"/>
                  </a:lnTo>
                  <a:lnTo>
                    <a:pt x="30" y="47"/>
                  </a:lnTo>
                  <a:lnTo>
                    <a:pt x="30" y="48"/>
                  </a:lnTo>
                  <a:lnTo>
                    <a:pt x="31" y="48"/>
                  </a:lnTo>
                  <a:lnTo>
                    <a:pt x="33" y="48"/>
                  </a:lnTo>
                  <a:lnTo>
                    <a:pt x="33" y="49"/>
                  </a:lnTo>
                  <a:lnTo>
                    <a:pt x="33" y="50"/>
                  </a:lnTo>
                  <a:lnTo>
                    <a:pt x="31" y="52"/>
                  </a:lnTo>
                  <a:lnTo>
                    <a:pt x="31" y="53"/>
                  </a:lnTo>
                  <a:lnTo>
                    <a:pt x="30" y="53"/>
                  </a:lnTo>
                  <a:lnTo>
                    <a:pt x="29" y="54"/>
                  </a:lnTo>
                  <a:lnTo>
                    <a:pt x="29" y="55"/>
                  </a:lnTo>
                  <a:lnTo>
                    <a:pt x="29" y="56"/>
                  </a:lnTo>
                  <a:lnTo>
                    <a:pt x="28" y="56"/>
                  </a:lnTo>
                  <a:lnTo>
                    <a:pt x="28" y="57"/>
                  </a:lnTo>
                  <a:lnTo>
                    <a:pt x="28" y="59"/>
                  </a:lnTo>
                  <a:lnTo>
                    <a:pt x="29" y="61"/>
                  </a:lnTo>
                  <a:lnTo>
                    <a:pt x="30" y="61"/>
                  </a:lnTo>
                  <a:lnTo>
                    <a:pt x="30" y="62"/>
                  </a:lnTo>
                  <a:lnTo>
                    <a:pt x="31" y="63"/>
                  </a:lnTo>
                  <a:lnTo>
                    <a:pt x="31" y="62"/>
                  </a:lnTo>
                  <a:lnTo>
                    <a:pt x="33" y="62"/>
                  </a:lnTo>
                  <a:lnTo>
                    <a:pt x="33" y="63"/>
                  </a:lnTo>
                  <a:lnTo>
                    <a:pt x="33" y="64"/>
                  </a:lnTo>
                  <a:lnTo>
                    <a:pt x="31" y="66"/>
                  </a:lnTo>
                  <a:lnTo>
                    <a:pt x="31" y="64"/>
                  </a:lnTo>
                  <a:lnTo>
                    <a:pt x="30" y="64"/>
                  </a:lnTo>
                  <a:lnTo>
                    <a:pt x="30" y="66"/>
                  </a:lnTo>
                  <a:lnTo>
                    <a:pt x="29" y="66"/>
                  </a:lnTo>
                  <a:lnTo>
                    <a:pt x="29" y="67"/>
                  </a:lnTo>
                  <a:lnTo>
                    <a:pt x="28" y="67"/>
                  </a:lnTo>
                  <a:lnTo>
                    <a:pt x="28" y="68"/>
                  </a:lnTo>
                  <a:lnTo>
                    <a:pt x="27" y="69"/>
                  </a:lnTo>
                  <a:lnTo>
                    <a:pt x="27" y="70"/>
                  </a:lnTo>
                  <a:lnTo>
                    <a:pt x="26" y="71"/>
                  </a:lnTo>
                  <a:lnTo>
                    <a:pt x="26" y="73"/>
                  </a:lnTo>
                  <a:lnTo>
                    <a:pt x="26" y="74"/>
                  </a:lnTo>
                  <a:lnTo>
                    <a:pt x="26" y="75"/>
                  </a:lnTo>
                  <a:lnTo>
                    <a:pt x="27" y="75"/>
                  </a:lnTo>
                  <a:lnTo>
                    <a:pt x="27" y="76"/>
                  </a:lnTo>
                  <a:lnTo>
                    <a:pt x="27" y="77"/>
                  </a:lnTo>
                  <a:lnTo>
                    <a:pt x="27" y="78"/>
                  </a:lnTo>
                  <a:lnTo>
                    <a:pt x="26" y="78"/>
                  </a:lnTo>
                  <a:lnTo>
                    <a:pt x="25" y="78"/>
                  </a:lnTo>
                  <a:lnTo>
                    <a:pt x="23" y="80"/>
                  </a:lnTo>
                  <a:lnTo>
                    <a:pt x="22" y="81"/>
                  </a:lnTo>
                  <a:lnTo>
                    <a:pt x="21" y="81"/>
                  </a:lnTo>
                  <a:lnTo>
                    <a:pt x="20" y="81"/>
                  </a:lnTo>
                  <a:lnTo>
                    <a:pt x="19" y="81"/>
                  </a:lnTo>
                  <a:lnTo>
                    <a:pt x="19" y="82"/>
                  </a:lnTo>
                  <a:lnTo>
                    <a:pt x="19" y="81"/>
                  </a:lnTo>
                  <a:lnTo>
                    <a:pt x="18" y="80"/>
                  </a:lnTo>
                  <a:lnTo>
                    <a:pt x="16" y="80"/>
                  </a:lnTo>
                  <a:lnTo>
                    <a:pt x="15" y="80"/>
                  </a:lnTo>
                  <a:lnTo>
                    <a:pt x="14" y="80"/>
                  </a:lnTo>
                  <a:lnTo>
                    <a:pt x="13" y="80"/>
                  </a:lnTo>
                  <a:lnTo>
                    <a:pt x="12" y="80"/>
                  </a:lnTo>
                  <a:lnTo>
                    <a:pt x="11" y="80"/>
                  </a:lnTo>
                  <a:lnTo>
                    <a:pt x="9" y="80"/>
                  </a:lnTo>
                  <a:lnTo>
                    <a:pt x="8" y="80"/>
                  </a:lnTo>
                  <a:lnTo>
                    <a:pt x="8" y="81"/>
                  </a:lnTo>
                  <a:lnTo>
                    <a:pt x="7" y="81"/>
                  </a:lnTo>
                  <a:lnTo>
                    <a:pt x="6" y="81"/>
                  </a:lnTo>
                  <a:lnTo>
                    <a:pt x="6" y="80"/>
                  </a:lnTo>
                  <a:lnTo>
                    <a:pt x="7" y="80"/>
                  </a:lnTo>
                  <a:lnTo>
                    <a:pt x="7" y="78"/>
                  </a:lnTo>
                  <a:lnTo>
                    <a:pt x="7" y="77"/>
                  </a:lnTo>
                  <a:lnTo>
                    <a:pt x="8" y="77"/>
                  </a:lnTo>
                  <a:lnTo>
                    <a:pt x="7" y="76"/>
                  </a:lnTo>
                  <a:lnTo>
                    <a:pt x="8" y="76"/>
                  </a:lnTo>
                  <a:lnTo>
                    <a:pt x="8" y="75"/>
                  </a:lnTo>
                  <a:lnTo>
                    <a:pt x="8" y="74"/>
                  </a:lnTo>
                  <a:lnTo>
                    <a:pt x="8" y="73"/>
                  </a:lnTo>
                  <a:lnTo>
                    <a:pt x="8" y="71"/>
                  </a:lnTo>
                  <a:lnTo>
                    <a:pt x="8" y="70"/>
                  </a:lnTo>
                  <a:lnTo>
                    <a:pt x="9" y="70"/>
                  </a:lnTo>
                  <a:lnTo>
                    <a:pt x="9" y="69"/>
                  </a:lnTo>
                  <a:lnTo>
                    <a:pt x="9" y="70"/>
                  </a:lnTo>
                  <a:lnTo>
                    <a:pt x="8" y="70"/>
                  </a:lnTo>
                  <a:lnTo>
                    <a:pt x="8" y="69"/>
                  </a:lnTo>
                  <a:lnTo>
                    <a:pt x="9" y="68"/>
                  </a:lnTo>
                  <a:lnTo>
                    <a:pt x="9" y="67"/>
                  </a:lnTo>
                  <a:lnTo>
                    <a:pt x="8" y="67"/>
                  </a:lnTo>
                  <a:lnTo>
                    <a:pt x="8" y="66"/>
                  </a:lnTo>
                  <a:lnTo>
                    <a:pt x="9" y="64"/>
                  </a:lnTo>
                  <a:lnTo>
                    <a:pt x="9" y="63"/>
                  </a:lnTo>
                  <a:lnTo>
                    <a:pt x="9" y="62"/>
                  </a:lnTo>
                  <a:lnTo>
                    <a:pt x="9" y="61"/>
                  </a:lnTo>
                  <a:lnTo>
                    <a:pt x="9" y="60"/>
                  </a:lnTo>
                  <a:lnTo>
                    <a:pt x="9" y="59"/>
                  </a:lnTo>
                  <a:lnTo>
                    <a:pt x="8" y="59"/>
                  </a:lnTo>
                  <a:lnTo>
                    <a:pt x="8" y="57"/>
                  </a:lnTo>
                  <a:lnTo>
                    <a:pt x="7" y="57"/>
                  </a:lnTo>
                  <a:lnTo>
                    <a:pt x="8" y="57"/>
                  </a:lnTo>
                  <a:lnTo>
                    <a:pt x="8" y="59"/>
                  </a:lnTo>
                  <a:lnTo>
                    <a:pt x="9" y="59"/>
                  </a:lnTo>
                  <a:lnTo>
                    <a:pt x="11" y="59"/>
                  </a:lnTo>
                  <a:lnTo>
                    <a:pt x="12" y="59"/>
                  </a:lnTo>
                  <a:lnTo>
                    <a:pt x="11" y="59"/>
                  </a:lnTo>
                  <a:lnTo>
                    <a:pt x="9" y="59"/>
                  </a:lnTo>
                  <a:lnTo>
                    <a:pt x="9" y="57"/>
                  </a:lnTo>
                  <a:lnTo>
                    <a:pt x="11" y="57"/>
                  </a:lnTo>
                  <a:lnTo>
                    <a:pt x="9" y="57"/>
                  </a:lnTo>
                  <a:lnTo>
                    <a:pt x="9" y="56"/>
                  </a:lnTo>
                  <a:lnTo>
                    <a:pt x="9" y="57"/>
                  </a:lnTo>
                  <a:lnTo>
                    <a:pt x="8" y="57"/>
                  </a:lnTo>
                  <a:lnTo>
                    <a:pt x="7" y="57"/>
                  </a:lnTo>
                  <a:lnTo>
                    <a:pt x="7" y="59"/>
                  </a:lnTo>
                  <a:lnTo>
                    <a:pt x="6" y="59"/>
                  </a:lnTo>
                  <a:lnTo>
                    <a:pt x="5" y="59"/>
                  </a:lnTo>
                  <a:lnTo>
                    <a:pt x="4" y="59"/>
                  </a:lnTo>
                  <a:lnTo>
                    <a:pt x="5" y="57"/>
                  </a:lnTo>
                  <a:lnTo>
                    <a:pt x="5" y="56"/>
                  </a:lnTo>
                  <a:lnTo>
                    <a:pt x="4" y="56"/>
                  </a:lnTo>
                  <a:lnTo>
                    <a:pt x="4" y="55"/>
                  </a:lnTo>
                  <a:lnTo>
                    <a:pt x="5" y="55"/>
                  </a:lnTo>
                  <a:lnTo>
                    <a:pt x="6" y="55"/>
                  </a:lnTo>
                  <a:lnTo>
                    <a:pt x="5" y="55"/>
                  </a:lnTo>
                  <a:lnTo>
                    <a:pt x="6" y="55"/>
                  </a:lnTo>
                  <a:lnTo>
                    <a:pt x="6" y="54"/>
                  </a:lnTo>
                  <a:lnTo>
                    <a:pt x="7" y="54"/>
                  </a:lnTo>
                  <a:lnTo>
                    <a:pt x="7" y="53"/>
                  </a:lnTo>
                  <a:lnTo>
                    <a:pt x="7" y="52"/>
                  </a:lnTo>
                  <a:lnTo>
                    <a:pt x="7" y="50"/>
                  </a:lnTo>
                  <a:lnTo>
                    <a:pt x="8" y="49"/>
                  </a:lnTo>
                  <a:lnTo>
                    <a:pt x="9" y="49"/>
                  </a:lnTo>
                  <a:lnTo>
                    <a:pt x="9" y="48"/>
                  </a:lnTo>
                  <a:lnTo>
                    <a:pt x="11" y="48"/>
                  </a:lnTo>
                  <a:lnTo>
                    <a:pt x="9" y="48"/>
                  </a:lnTo>
                  <a:lnTo>
                    <a:pt x="9" y="49"/>
                  </a:lnTo>
                  <a:lnTo>
                    <a:pt x="8" y="49"/>
                  </a:lnTo>
                  <a:lnTo>
                    <a:pt x="7" y="49"/>
                  </a:lnTo>
                  <a:lnTo>
                    <a:pt x="7" y="50"/>
                  </a:lnTo>
                  <a:lnTo>
                    <a:pt x="6" y="52"/>
                  </a:lnTo>
                  <a:lnTo>
                    <a:pt x="6" y="53"/>
                  </a:lnTo>
                  <a:lnTo>
                    <a:pt x="6" y="54"/>
                  </a:lnTo>
                  <a:lnTo>
                    <a:pt x="5" y="54"/>
                  </a:lnTo>
                  <a:lnTo>
                    <a:pt x="4" y="54"/>
                  </a:lnTo>
                  <a:lnTo>
                    <a:pt x="2" y="55"/>
                  </a:lnTo>
                  <a:lnTo>
                    <a:pt x="1" y="54"/>
                  </a:lnTo>
                  <a:lnTo>
                    <a:pt x="0" y="54"/>
                  </a:lnTo>
                  <a:lnTo>
                    <a:pt x="0" y="53"/>
                  </a:lnTo>
                  <a:lnTo>
                    <a:pt x="1" y="52"/>
                  </a:lnTo>
                  <a:lnTo>
                    <a:pt x="1" y="50"/>
                  </a:lnTo>
                  <a:lnTo>
                    <a:pt x="1" y="49"/>
                  </a:lnTo>
                  <a:lnTo>
                    <a:pt x="1" y="48"/>
                  </a:lnTo>
                  <a:lnTo>
                    <a:pt x="2" y="48"/>
                  </a:lnTo>
                  <a:lnTo>
                    <a:pt x="2" y="47"/>
                  </a:lnTo>
                  <a:lnTo>
                    <a:pt x="2" y="46"/>
                  </a:lnTo>
                  <a:lnTo>
                    <a:pt x="2" y="45"/>
                  </a:lnTo>
                  <a:lnTo>
                    <a:pt x="2" y="43"/>
                  </a:lnTo>
                  <a:lnTo>
                    <a:pt x="4" y="43"/>
                  </a:lnTo>
                  <a:lnTo>
                    <a:pt x="5" y="43"/>
                  </a:lnTo>
                  <a:lnTo>
                    <a:pt x="5" y="42"/>
                  </a:lnTo>
                  <a:lnTo>
                    <a:pt x="6" y="41"/>
                  </a:lnTo>
                  <a:lnTo>
                    <a:pt x="6" y="40"/>
                  </a:lnTo>
                  <a:lnTo>
                    <a:pt x="6" y="39"/>
                  </a:lnTo>
                  <a:lnTo>
                    <a:pt x="7" y="36"/>
                  </a:lnTo>
                  <a:lnTo>
                    <a:pt x="9" y="32"/>
                  </a:lnTo>
                  <a:lnTo>
                    <a:pt x="11" y="32"/>
                  </a:lnTo>
                  <a:lnTo>
                    <a:pt x="9" y="32"/>
                  </a:lnTo>
                  <a:lnTo>
                    <a:pt x="8" y="31"/>
                  </a:lnTo>
                  <a:lnTo>
                    <a:pt x="9" y="31"/>
                  </a:lnTo>
                  <a:lnTo>
                    <a:pt x="9" y="29"/>
                  </a:lnTo>
                  <a:lnTo>
                    <a:pt x="11" y="26"/>
                  </a:lnTo>
                  <a:lnTo>
                    <a:pt x="11" y="25"/>
                  </a:lnTo>
                  <a:lnTo>
                    <a:pt x="11" y="24"/>
                  </a:lnTo>
                  <a:lnTo>
                    <a:pt x="12" y="24"/>
                  </a:lnTo>
                  <a:lnTo>
                    <a:pt x="12" y="25"/>
                  </a:lnTo>
                  <a:lnTo>
                    <a:pt x="12" y="24"/>
                  </a:lnTo>
                  <a:lnTo>
                    <a:pt x="13" y="24"/>
                  </a:lnTo>
                  <a:lnTo>
                    <a:pt x="13" y="22"/>
                  </a:lnTo>
                  <a:lnTo>
                    <a:pt x="12" y="22"/>
                  </a:lnTo>
                  <a:lnTo>
                    <a:pt x="13" y="22"/>
                  </a:lnTo>
                  <a:lnTo>
                    <a:pt x="12" y="22"/>
                  </a:lnTo>
                  <a:lnTo>
                    <a:pt x="12" y="21"/>
                  </a:lnTo>
                  <a:lnTo>
                    <a:pt x="13" y="21"/>
                  </a:lnTo>
                  <a:lnTo>
                    <a:pt x="13" y="20"/>
                  </a:lnTo>
                  <a:lnTo>
                    <a:pt x="13" y="21"/>
                  </a:lnTo>
                  <a:lnTo>
                    <a:pt x="12" y="21"/>
                  </a:lnTo>
                  <a:lnTo>
                    <a:pt x="12" y="22"/>
                  </a:lnTo>
                  <a:lnTo>
                    <a:pt x="12" y="24"/>
                  </a:lnTo>
                  <a:lnTo>
                    <a:pt x="11" y="24"/>
                  </a:lnTo>
                  <a:lnTo>
                    <a:pt x="13" y="18"/>
                  </a:lnTo>
                  <a:lnTo>
                    <a:pt x="13" y="17"/>
                  </a:lnTo>
                  <a:lnTo>
                    <a:pt x="13" y="15"/>
                  </a:lnTo>
                  <a:lnTo>
                    <a:pt x="12" y="15"/>
                  </a:lnTo>
                  <a:lnTo>
                    <a:pt x="12" y="14"/>
                  </a:lnTo>
                  <a:lnTo>
                    <a:pt x="12" y="13"/>
                  </a:lnTo>
                  <a:lnTo>
                    <a:pt x="12" y="12"/>
                  </a:lnTo>
                  <a:lnTo>
                    <a:pt x="11" y="12"/>
                  </a:lnTo>
                  <a:lnTo>
                    <a:pt x="12" y="11"/>
                  </a:lnTo>
                  <a:lnTo>
                    <a:pt x="11" y="11"/>
                  </a:lnTo>
                  <a:lnTo>
                    <a:pt x="11" y="10"/>
                  </a:lnTo>
                  <a:lnTo>
                    <a:pt x="11" y="8"/>
                  </a:lnTo>
                  <a:lnTo>
                    <a:pt x="11" y="7"/>
                  </a:lnTo>
                  <a:lnTo>
                    <a:pt x="12" y="7"/>
                  </a:lnTo>
                  <a:lnTo>
                    <a:pt x="13" y="7"/>
                  </a:lnTo>
                  <a:lnTo>
                    <a:pt x="11" y="7"/>
                  </a:lnTo>
                  <a:lnTo>
                    <a:pt x="11" y="6"/>
                  </a:lnTo>
                  <a:lnTo>
                    <a:pt x="11" y="5"/>
                  </a:lnTo>
                  <a:lnTo>
                    <a:pt x="12" y="4"/>
                  </a:lnTo>
                  <a:lnTo>
                    <a:pt x="12" y="3"/>
                  </a:lnTo>
                  <a:lnTo>
                    <a:pt x="13" y="3"/>
                  </a:lnTo>
                  <a:lnTo>
                    <a:pt x="13" y="1"/>
                  </a:lnTo>
                  <a:lnTo>
                    <a:pt x="14" y="1"/>
                  </a:lnTo>
                  <a:lnTo>
                    <a:pt x="15" y="1"/>
                  </a:lnTo>
                  <a:lnTo>
                    <a:pt x="18" y="1"/>
                  </a:lnTo>
                  <a:lnTo>
                    <a:pt x="18" y="0"/>
                  </a:lnTo>
                  <a:lnTo>
                    <a:pt x="19" y="0"/>
                  </a:lnTo>
                  <a:lnTo>
                    <a:pt x="19"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44" name="Freeform 1510">
              <a:extLst>
                <a:ext uri="{FF2B5EF4-FFF2-40B4-BE49-F238E27FC236}">
                  <a16:creationId xmlns:a16="http://schemas.microsoft.com/office/drawing/2014/main" id="{419971AF-1E30-47DB-A288-5E013D695348}"/>
                </a:ext>
              </a:extLst>
            </p:cNvPr>
            <p:cNvSpPr>
              <a:spLocks/>
            </p:cNvSpPr>
            <p:nvPr/>
          </p:nvSpPr>
          <p:spPr bwMode="auto">
            <a:xfrm>
              <a:off x="6048151" y="2171963"/>
              <a:ext cx="1336" cy="1336"/>
            </a:xfrm>
            <a:custGeom>
              <a:avLst/>
              <a:gdLst>
                <a:gd name="T0" fmla="*/ 0 w 1"/>
                <a:gd name="T1" fmla="*/ 0 h 1"/>
                <a:gd name="T2" fmla="*/ 0 w 1"/>
                <a:gd name="T3" fmla="*/ 0 h 1"/>
                <a:gd name="T4" fmla="*/ 0 w 1"/>
                <a:gd name="T5" fmla="*/ 0 h 1"/>
                <a:gd name="T6" fmla="*/ 0 w 1"/>
                <a:gd name="T7" fmla="*/ 0 h 1"/>
                <a:gd name="T8" fmla="*/ 1 w 1"/>
                <a:gd name="T9" fmla="*/ 0 h 1"/>
                <a:gd name="T10" fmla="*/ 1 w 1"/>
                <a:gd name="T11" fmla="*/ 0 h 1"/>
                <a:gd name="T12" fmla="*/ 1 w 1"/>
                <a:gd name="T13" fmla="*/ 0 h 1"/>
                <a:gd name="T14" fmla="*/ 1 w 1"/>
                <a:gd name="T15" fmla="*/ 1 h 1"/>
                <a:gd name="T16" fmla="*/ 0 w 1"/>
                <a:gd name="T17" fmla="*/ 1 h 1"/>
                <a:gd name="T18" fmla="*/ 0 w 1"/>
                <a:gd name="T19" fmla="*/ 1 h 1"/>
                <a:gd name="T20" fmla="*/ 1 w 1"/>
                <a:gd name="T21" fmla="*/ 1 h 1"/>
                <a:gd name="T22" fmla="*/ 1 w 1"/>
                <a:gd name="T23" fmla="*/ 1 h 1"/>
                <a:gd name="T24" fmla="*/ 1 w 1"/>
                <a:gd name="T25" fmla="*/ 1 h 1"/>
                <a:gd name="T26" fmla="*/ 0 w 1"/>
                <a:gd name="T27" fmla="*/ 1 h 1"/>
                <a:gd name="T28" fmla="*/ 0 w 1"/>
                <a:gd name="T29" fmla="*/ 1 h 1"/>
                <a:gd name="T30" fmla="*/ 0 w 1"/>
                <a:gd name="T31" fmla="*/ 1 h 1"/>
                <a:gd name="T32" fmla="*/ 0 w 1"/>
                <a:gd name="T33" fmla="*/ 1 h 1"/>
                <a:gd name="T34" fmla="*/ 0 w 1"/>
                <a:gd name="T35" fmla="*/ 1 h 1"/>
                <a:gd name="T36" fmla="*/ 0 w 1"/>
                <a:gd name="T37" fmla="*/ 0 h 1"/>
                <a:gd name="T38" fmla="*/ 0 w 1"/>
                <a:gd name="T39" fmla="*/ 0 h 1"/>
                <a:gd name="T40" fmla="*/ 0 w 1"/>
                <a:gd name="T4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 h="1">
                  <a:moveTo>
                    <a:pt x="0" y="0"/>
                  </a:moveTo>
                  <a:lnTo>
                    <a:pt x="0" y="0"/>
                  </a:lnTo>
                  <a:lnTo>
                    <a:pt x="0" y="0"/>
                  </a:lnTo>
                  <a:lnTo>
                    <a:pt x="0" y="0"/>
                  </a:lnTo>
                  <a:lnTo>
                    <a:pt x="1" y="0"/>
                  </a:lnTo>
                  <a:lnTo>
                    <a:pt x="1" y="0"/>
                  </a:lnTo>
                  <a:lnTo>
                    <a:pt x="1" y="0"/>
                  </a:lnTo>
                  <a:lnTo>
                    <a:pt x="1" y="1"/>
                  </a:lnTo>
                  <a:lnTo>
                    <a:pt x="0" y="1"/>
                  </a:lnTo>
                  <a:lnTo>
                    <a:pt x="0" y="1"/>
                  </a:lnTo>
                  <a:lnTo>
                    <a:pt x="1" y="1"/>
                  </a:lnTo>
                  <a:lnTo>
                    <a:pt x="1" y="1"/>
                  </a:lnTo>
                  <a:lnTo>
                    <a:pt x="1" y="1"/>
                  </a:lnTo>
                  <a:lnTo>
                    <a:pt x="0" y="1"/>
                  </a:lnTo>
                  <a:lnTo>
                    <a:pt x="0" y="1"/>
                  </a:lnTo>
                  <a:lnTo>
                    <a:pt x="0" y="1"/>
                  </a:lnTo>
                  <a:lnTo>
                    <a:pt x="0" y="1"/>
                  </a:lnTo>
                  <a:lnTo>
                    <a:pt x="0" y="1"/>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45" name="Freeform 1511">
              <a:extLst>
                <a:ext uri="{FF2B5EF4-FFF2-40B4-BE49-F238E27FC236}">
                  <a16:creationId xmlns:a16="http://schemas.microsoft.com/office/drawing/2014/main" id="{971E6EEF-1FFC-425B-8B77-3FD8E8E21AA3}"/>
                </a:ext>
              </a:extLst>
            </p:cNvPr>
            <p:cNvSpPr>
              <a:spLocks/>
            </p:cNvSpPr>
            <p:nvPr/>
          </p:nvSpPr>
          <p:spPr bwMode="auto">
            <a:xfrm>
              <a:off x="6058834" y="2147924"/>
              <a:ext cx="9349" cy="21368"/>
            </a:xfrm>
            <a:custGeom>
              <a:avLst/>
              <a:gdLst>
                <a:gd name="T0" fmla="*/ 6 w 7"/>
                <a:gd name="T1" fmla="*/ 0 h 16"/>
                <a:gd name="T2" fmla="*/ 7 w 7"/>
                <a:gd name="T3" fmla="*/ 0 h 16"/>
                <a:gd name="T4" fmla="*/ 7 w 7"/>
                <a:gd name="T5" fmla="*/ 0 h 16"/>
                <a:gd name="T6" fmla="*/ 7 w 7"/>
                <a:gd name="T7" fmla="*/ 0 h 16"/>
                <a:gd name="T8" fmla="*/ 6 w 7"/>
                <a:gd name="T9" fmla="*/ 0 h 16"/>
                <a:gd name="T10" fmla="*/ 6 w 7"/>
                <a:gd name="T11" fmla="*/ 1 h 16"/>
                <a:gd name="T12" fmla="*/ 6 w 7"/>
                <a:gd name="T13" fmla="*/ 2 h 16"/>
                <a:gd name="T14" fmla="*/ 6 w 7"/>
                <a:gd name="T15" fmla="*/ 2 h 16"/>
                <a:gd name="T16" fmla="*/ 6 w 7"/>
                <a:gd name="T17" fmla="*/ 2 h 16"/>
                <a:gd name="T18" fmla="*/ 6 w 7"/>
                <a:gd name="T19" fmla="*/ 4 h 16"/>
                <a:gd name="T20" fmla="*/ 5 w 7"/>
                <a:gd name="T21" fmla="*/ 5 h 16"/>
                <a:gd name="T22" fmla="*/ 5 w 7"/>
                <a:gd name="T23" fmla="*/ 5 h 16"/>
                <a:gd name="T24" fmla="*/ 5 w 7"/>
                <a:gd name="T25" fmla="*/ 5 h 16"/>
                <a:gd name="T26" fmla="*/ 5 w 7"/>
                <a:gd name="T27" fmla="*/ 6 h 16"/>
                <a:gd name="T28" fmla="*/ 5 w 7"/>
                <a:gd name="T29" fmla="*/ 7 h 16"/>
                <a:gd name="T30" fmla="*/ 5 w 7"/>
                <a:gd name="T31" fmla="*/ 7 h 16"/>
                <a:gd name="T32" fmla="*/ 3 w 7"/>
                <a:gd name="T33" fmla="*/ 8 h 16"/>
                <a:gd name="T34" fmla="*/ 3 w 7"/>
                <a:gd name="T35" fmla="*/ 8 h 16"/>
                <a:gd name="T36" fmla="*/ 3 w 7"/>
                <a:gd name="T37" fmla="*/ 11 h 16"/>
                <a:gd name="T38" fmla="*/ 2 w 7"/>
                <a:gd name="T39" fmla="*/ 12 h 16"/>
                <a:gd name="T40" fmla="*/ 2 w 7"/>
                <a:gd name="T41" fmla="*/ 12 h 16"/>
                <a:gd name="T42" fmla="*/ 2 w 7"/>
                <a:gd name="T43" fmla="*/ 12 h 16"/>
                <a:gd name="T44" fmla="*/ 2 w 7"/>
                <a:gd name="T45" fmla="*/ 12 h 16"/>
                <a:gd name="T46" fmla="*/ 2 w 7"/>
                <a:gd name="T47" fmla="*/ 13 h 16"/>
                <a:gd name="T48" fmla="*/ 2 w 7"/>
                <a:gd name="T49" fmla="*/ 13 h 16"/>
                <a:gd name="T50" fmla="*/ 2 w 7"/>
                <a:gd name="T51" fmla="*/ 14 h 16"/>
                <a:gd name="T52" fmla="*/ 2 w 7"/>
                <a:gd name="T53" fmla="*/ 15 h 16"/>
                <a:gd name="T54" fmla="*/ 2 w 7"/>
                <a:gd name="T55" fmla="*/ 15 h 16"/>
                <a:gd name="T56" fmla="*/ 1 w 7"/>
                <a:gd name="T57" fmla="*/ 16 h 16"/>
                <a:gd name="T58" fmla="*/ 0 w 7"/>
                <a:gd name="T59" fmla="*/ 16 h 16"/>
                <a:gd name="T60" fmla="*/ 0 w 7"/>
                <a:gd name="T61" fmla="*/ 15 h 16"/>
                <a:gd name="T62" fmla="*/ 0 w 7"/>
                <a:gd name="T63" fmla="*/ 14 h 16"/>
                <a:gd name="T64" fmla="*/ 0 w 7"/>
                <a:gd name="T65" fmla="*/ 13 h 16"/>
                <a:gd name="T66" fmla="*/ 0 w 7"/>
                <a:gd name="T67" fmla="*/ 12 h 16"/>
                <a:gd name="T68" fmla="*/ 0 w 7"/>
                <a:gd name="T69" fmla="*/ 11 h 16"/>
                <a:gd name="T70" fmla="*/ 2 w 7"/>
                <a:gd name="T71" fmla="*/ 7 h 16"/>
                <a:gd name="T72" fmla="*/ 2 w 7"/>
                <a:gd name="T73" fmla="*/ 7 h 16"/>
                <a:gd name="T74" fmla="*/ 3 w 7"/>
                <a:gd name="T75" fmla="*/ 5 h 16"/>
                <a:gd name="T76" fmla="*/ 5 w 7"/>
                <a:gd name="T77" fmla="*/ 2 h 16"/>
                <a:gd name="T78" fmla="*/ 5 w 7"/>
                <a:gd name="T79" fmla="*/ 2 h 16"/>
                <a:gd name="T80" fmla="*/ 5 w 7"/>
                <a:gd name="T81" fmla="*/ 1 h 16"/>
                <a:gd name="T82" fmla="*/ 6 w 7"/>
                <a:gd name="T83" fmla="*/ 0 h 16"/>
                <a:gd name="T84" fmla="*/ 6 w 7"/>
                <a:gd name="T8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 h="16">
                  <a:moveTo>
                    <a:pt x="6" y="0"/>
                  </a:moveTo>
                  <a:lnTo>
                    <a:pt x="6" y="0"/>
                  </a:lnTo>
                  <a:lnTo>
                    <a:pt x="6" y="0"/>
                  </a:lnTo>
                  <a:lnTo>
                    <a:pt x="6" y="0"/>
                  </a:lnTo>
                  <a:lnTo>
                    <a:pt x="7" y="0"/>
                  </a:lnTo>
                  <a:lnTo>
                    <a:pt x="7" y="0"/>
                  </a:lnTo>
                  <a:lnTo>
                    <a:pt x="7" y="0"/>
                  </a:lnTo>
                  <a:lnTo>
                    <a:pt x="7" y="0"/>
                  </a:lnTo>
                  <a:lnTo>
                    <a:pt x="7" y="0"/>
                  </a:lnTo>
                  <a:lnTo>
                    <a:pt x="7" y="0"/>
                  </a:lnTo>
                  <a:lnTo>
                    <a:pt x="7" y="0"/>
                  </a:lnTo>
                  <a:lnTo>
                    <a:pt x="7" y="0"/>
                  </a:lnTo>
                  <a:lnTo>
                    <a:pt x="7" y="0"/>
                  </a:lnTo>
                  <a:lnTo>
                    <a:pt x="7" y="0"/>
                  </a:lnTo>
                  <a:lnTo>
                    <a:pt x="6" y="0"/>
                  </a:lnTo>
                  <a:lnTo>
                    <a:pt x="6" y="1"/>
                  </a:lnTo>
                  <a:lnTo>
                    <a:pt x="6" y="1"/>
                  </a:lnTo>
                  <a:lnTo>
                    <a:pt x="6" y="1"/>
                  </a:lnTo>
                  <a:lnTo>
                    <a:pt x="6" y="2"/>
                  </a:lnTo>
                  <a:lnTo>
                    <a:pt x="6" y="2"/>
                  </a:lnTo>
                  <a:lnTo>
                    <a:pt x="6" y="2"/>
                  </a:lnTo>
                  <a:lnTo>
                    <a:pt x="6" y="2"/>
                  </a:lnTo>
                  <a:lnTo>
                    <a:pt x="6" y="2"/>
                  </a:lnTo>
                  <a:lnTo>
                    <a:pt x="6" y="2"/>
                  </a:lnTo>
                  <a:lnTo>
                    <a:pt x="6" y="2"/>
                  </a:lnTo>
                  <a:lnTo>
                    <a:pt x="6" y="2"/>
                  </a:lnTo>
                  <a:lnTo>
                    <a:pt x="6" y="2"/>
                  </a:lnTo>
                  <a:lnTo>
                    <a:pt x="6" y="4"/>
                  </a:lnTo>
                  <a:lnTo>
                    <a:pt x="6" y="4"/>
                  </a:lnTo>
                  <a:lnTo>
                    <a:pt x="6" y="4"/>
                  </a:lnTo>
                  <a:lnTo>
                    <a:pt x="5" y="5"/>
                  </a:lnTo>
                  <a:lnTo>
                    <a:pt x="5" y="5"/>
                  </a:lnTo>
                  <a:lnTo>
                    <a:pt x="5" y="5"/>
                  </a:lnTo>
                  <a:lnTo>
                    <a:pt x="5" y="5"/>
                  </a:lnTo>
                  <a:lnTo>
                    <a:pt x="5" y="5"/>
                  </a:lnTo>
                  <a:lnTo>
                    <a:pt x="5" y="5"/>
                  </a:lnTo>
                  <a:lnTo>
                    <a:pt x="5" y="5"/>
                  </a:lnTo>
                  <a:lnTo>
                    <a:pt x="5" y="5"/>
                  </a:lnTo>
                  <a:lnTo>
                    <a:pt x="5" y="5"/>
                  </a:lnTo>
                  <a:lnTo>
                    <a:pt x="5" y="6"/>
                  </a:lnTo>
                  <a:lnTo>
                    <a:pt x="5" y="6"/>
                  </a:lnTo>
                  <a:lnTo>
                    <a:pt x="5" y="6"/>
                  </a:lnTo>
                  <a:lnTo>
                    <a:pt x="5" y="6"/>
                  </a:lnTo>
                  <a:lnTo>
                    <a:pt x="5" y="6"/>
                  </a:lnTo>
                  <a:lnTo>
                    <a:pt x="5" y="7"/>
                  </a:lnTo>
                  <a:lnTo>
                    <a:pt x="5" y="7"/>
                  </a:lnTo>
                  <a:lnTo>
                    <a:pt x="5" y="7"/>
                  </a:lnTo>
                  <a:lnTo>
                    <a:pt x="5" y="7"/>
                  </a:lnTo>
                  <a:lnTo>
                    <a:pt x="3" y="8"/>
                  </a:lnTo>
                  <a:lnTo>
                    <a:pt x="3" y="8"/>
                  </a:lnTo>
                  <a:lnTo>
                    <a:pt x="3" y="8"/>
                  </a:lnTo>
                  <a:lnTo>
                    <a:pt x="3" y="8"/>
                  </a:lnTo>
                  <a:lnTo>
                    <a:pt x="3" y="8"/>
                  </a:lnTo>
                  <a:lnTo>
                    <a:pt x="3" y="8"/>
                  </a:lnTo>
                  <a:lnTo>
                    <a:pt x="3" y="8"/>
                  </a:lnTo>
                  <a:lnTo>
                    <a:pt x="3" y="11"/>
                  </a:lnTo>
                  <a:lnTo>
                    <a:pt x="3" y="11"/>
                  </a:lnTo>
                  <a:lnTo>
                    <a:pt x="3" y="11"/>
                  </a:lnTo>
                  <a:lnTo>
                    <a:pt x="2" y="11"/>
                  </a:lnTo>
                  <a:lnTo>
                    <a:pt x="2" y="12"/>
                  </a:lnTo>
                  <a:lnTo>
                    <a:pt x="2" y="12"/>
                  </a:lnTo>
                  <a:lnTo>
                    <a:pt x="2" y="12"/>
                  </a:lnTo>
                  <a:lnTo>
                    <a:pt x="2" y="12"/>
                  </a:lnTo>
                  <a:lnTo>
                    <a:pt x="2" y="12"/>
                  </a:lnTo>
                  <a:lnTo>
                    <a:pt x="2" y="12"/>
                  </a:lnTo>
                  <a:lnTo>
                    <a:pt x="2" y="12"/>
                  </a:lnTo>
                  <a:lnTo>
                    <a:pt x="2" y="12"/>
                  </a:lnTo>
                  <a:lnTo>
                    <a:pt x="2" y="12"/>
                  </a:lnTo>
                  <a:lnTo>
                    <a:pt x="2" y="12"/>
                  </a:lnTo>
                  <a:lnTo>
                    <a:pt x="2" y="12"/>
                  </a:lnTo>
                  <a:lnTo>
                    <a:pt x="2" y="13"/>
                  </a:lnTo>
                  <a:lnTo>
                    <a:pt x="2" y="13"/>
                  </a:lnTo>
                  <a:lnTo>
                    <a:pt x="2" y="13"/>
                  </a:lnTo>
                  <a:lnTo>
                    <a:pt x="2" y="13"/>
                  </a:lnTo>
                  <a:lnTo>
                    <a:pt x="2" y="13"/>
                  </a:lnTo>
                  <a:lnTo>
                    <a:pt x="2" y="14"/>
                  </a:lnTo>
                  <a:lnTo>
                    <a:pt x="2" y="14"/>
                  </a:lnTo>
                  <a:lnTo>
                    <a:pt x="2" y="14"/>
                  </a:lnTo>
                  <a:lnTo>
                    <a:pt x="2" y="14"/>
                  </a:lnTo>
                  <a:lnTo>
                    <a:pt x="2" y="14"/>
                  </a:lnTo>
                  <a:lnTo>
                    <a:pt x="2" y="15"/>
                  </a:lnTo>
                  <a:lnTo>
                    <a:pt x="2" y="15"/>
                  </a:lnTo>
                  <a:lnTo>
                    <a:pt x="2" y="15"/>
                  </a:lnTo>
                  <a:lnTo>
                    <a:pt x="2" y="15"/>
                  </a:lnTo>
                  <a:lnTo>
                    <a:pt x="1" y="16"/>
                  </a:lnTo>
                  <a:lnTo>
                    <a:pt x="1" y="16"/>
                  </a:lnTo>
                  <a:lnTo>
                    <a:pt x="1" y="16"/>
                  </a:lnTo>
                  <a:lnTo>
                    <a:pt x="1" y="16"/>
                  </a:lnTo>
                  <a:lnTo>
                    <a:pt x="0" y="16"/>
                  </a:lnTo>
                  <a:lnTo>
                    <a:pt x="0" y="16"/>
                  </a:lnTo>
                  <a:lnTo>
                    <a:pt x="0" y="16"/>
                  </a:lnTo>
                  <a:lnTo>
                    <a:pt x="0" y="15"/>
                  </a:lnTo>
                  <a:lnTo>
                    <a:pt x="0" y="15"/>
                  </a:lnTo>
                  <a:lnTo>
                    <a:pt x="0" y="15"/>
                  </a:lnTo>
                  <a:lnTo>
                    <a:pt x="0" y="15"/>
                  </a:lnTo>
                  <a:lnTo>
                    <a:pt x="0" y="14"/>
                  </a:lnTo>
                  <a:lnTo>
                    <a:pt x="0" y="14"/>
                  </a:lnTo>
                  <a:lnTo>
                    <a:pt x="0" y="14"/>
                  </a:lnTo>
                  <a:lnTo>
                    <a:pt x="0" y="13"/>
                  </a:lnTo>
                  <a:lnTo>
                    <a:pt x="0" y="13"/>
                  </a:lnTo>
                  <a:lnTo>
                    <a:pt x="0" y="12"/>
                  </a:lnTo>
                  <a:lnTo>
                    <a:pt x="0" y="12"/>
                  </a:lnTo>
                  <a:lnTo>
                    <a:pt x="0" y="11"/>
                  </a:lnTo>
                  <a:lnTo>
                    <a:pt x="0" y="11"/>
                  </a:lnTo>
                  <a:lnTo>
                    <a:pt x="0" y="11"/>
                  </a:lnTo>
                  <a:lnTo>
                    <a:pt x="0" y="11"/>
                  </a:lnTo>
                  <a:lnTo>
                    <a:pt x="1" y="7"/>
                  </a:lnTo>
                  <a:lnTo>
                    <a:pt x="2" y="7"/>
                  </a:lnTo>
                  <a:lnTo>
                    <a:pt x="2" y="7"/>
                  </a:lnTo>
                  <a:lnTo>
                    <a:pt x="2" y="7"/>
                  </a:lnTo>
                  <a:lnTo>
                    <a:pt x="2" y="7"/>
                  </a:lnTo>
                  <a:lnTo>
                    <a:pt x="3" y="6"/>
                  </a:lnTo>
                  <a:lnTo>
                    <a:pt x="3" y="6"/>
                  </a:lnTo>
                  <a:lnTo>
                    <a:pt x="3" y="5"/>
                  </a:lnTo>
                  <a:lnTo>
                    <a:pt x="3" y="4"/>
                  </a:lnTo>
                  <a:lnTo>
                    <a:pt x="5" y="4"/>
                  </a:lnTo>
                  <a:lnTo>
                    <a:pt x="5" y="2"/>
                  </a:lnTo>
                  <a:lnTo>
                    <a:pt x="5" y="2"/>
                  </a:lnTo>
                  <a:lnTo>
                    <a:pt x="5" y="2"/>
                  </a:lnTo>
                  <a:lnTo>
                    <a:pt x="5" y="2"/>
                  </a:lnTo>
                  <a:lnTo>
                    <a:pt x="5" y="1"/>
                  </a:lnTo>
                  <a:lnTo>
                    <a:pt x="5" y="1"/>
                  </a:lnTo>
                  <a:lnTo>
                    <a:pt x="5" y="1"/>
                  </a:lnTo>
                  <a:lnTo>
                    <a:pt x="5" y="0"/>
                  </a:lnTo>
                  <a:lnTo>
                    <a:pt x="5" y="0"/>
                  </a:lnTo>
                  <a:lnTo>
                    <a:pt x="6" y="0"/>
                  </a:lnTo>
                  <a:lnTo>
                    <a:pt x="6" y="0"/>
                  </a:lnTo>
                  <a:lnTo>
                    <a:pt x="6" y="0"/>
                  </a:lnTo>
                  <a:lnTo>
                    <a:pt x="6" y="0"/>
                  </a:lnTo>
                  <a:lnTo>
                    <a:pt x="6"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46" name="Freeform 1512">
              <a:extLst>
                <a:ext uri="{FF2B5EF4-FFF2-40B4-BE49-F238E27FC236}">
                  <a16:creationId xmlns:a16="http://schemas.microsoft.com/office/drawing/2014/main" id="{051A71B0-C137-44C5-B919-DA8CB7B597AC}"/>
                </a:ext>
              </a:extLst>
            </p:cNvPr>
            <p:cNvSpPr>
              <a:spLocks/>
            </p:cNvSpPr>
            <p:nvPr/>
          </p:nvSpPr>
          <p:spPr bwMode="auto">
            <a:xfrm>
              <a:off x="6081538" y="2137240"/>
              <a:ext cx="14691" cy="18697"/>
            </a:xfrm>
            <a:custGeom>
              <a:avLst/>
              <a:gdLst>
                <a:gd name="T0" fmla="*/ 9 w 11"/>
                <a:gd name="T1" fmla="*/ 0 h 14"/>
                <a:gd name="T2" fmla="*/ 9 w 11"/>
                <a:gd name="T3" fmla="*/ 0 h 14"/>
                <a:gd name="T4" fmla="*/ 9 w 11"/>
                <a:gd name="T5" fmla="*/ 0 h 14"/>
                <a:gd name="T6" fmla="*/ 10 w 11"/>
                <a:gd name="T7" fmla="*/ 0 h 14"/>
                <a:gd name="T8" fmla="*/ 10 w 11"/>
                <a:gd name="T9" fmla="*/ 0 h 14"/>
                <a:gd name="T10" fmla="*/ 11 w 11"/>
                <a:gd name="T11" fmla="*/ 0 h 14"/>
                <a:gd name="T12" fmla="*/ 11 w 11"/>
                <a:gd name="T13" fmla="*/ 1 h 14"/>
                <a:gd name="T14" fmla="*/ 10 w 11"/>
                <a:gd name="T15" fmla="*/ 1 h 14"/>
                <a:gd name="T16" fmla="*/ 10 w 11"/>
                <a:gd name="T17" fmla="*/ 2 h 14"/>
                <a:gd name="T18" fmla="*/ 10 w 11"/>
                <a:gd name="T19" fmla="*/ 2 h 14"/>
                <a:gd name="T20" fmla="*/ 9 w 11"/>
                <a:gd name="T21" fmla="*/ 2 h 14"/>
                <a:gd name="T22" fmla="*/ 9 w 11"/>
                <a:gd name="T23" fmla="*/ 2 h 14"/>
                <a:gd name="T24" fmla="*/ 7 w 11"/>
                <a:gd name="T25" fmla="*/ 3 h 14"/>
                <a:gd name="T26" fmla="*/ 9 w 11"/>
                <a:gd name="T27" fmla="*/ 5 h 14"/>
                <a:gd name="T28" fmla="*/ 9 w 11"/>
                <a:gd name="T29" fmla="*/ 5 h 14"/>
                <a:gd name="T30" fmla="*/ 9 w 11"/>
                <a:gd name="T31" fmla="*/ 6 h 14"/>
                <a:gd name="T32" fmla="*/ 9 w 11"/>
                <a:gd name="T33" fmla="*/ 6 h 14"/>
                <a:gd name="T34" fmla="*/ 10 w 11"/>
                <a:gd name="T35" fmla="*/ 7 h 14"/>
                <a:gd name="T36" fmla="*/ 10 w 11"/>
                <a:gd name="T37" fmla="*/ 7 h 14"/>
                <a:gd name="T38" fmla="*/ 10 w 11"/>
                <a:gd name="T39" fmla="*/ 7 h 14"/>
                <a:gd name="T40" fmla="*/ 10 w 11"/>
                <a:gd name="T41" fmla="*/ 7 h 14"/>
                <a:gd name="T42" fmla="*/ 10 w 11"/>
                <a:gd name="T43" fmla="*/ 7 h 14"/>
                <a:gd name="T44" fmla="*/ 9 w 11"/>
                <a:gd name="T45" fmla="*/ 8 h 14"/>
                <a:gd name="T46" fmla="*/ 7 w 11"/>
                <a:gd name="T47" fmla="*/ 8 h 14"/>
                <a:gd name="T48" fmla="*/ 7 w 11"/>
                <a:gd name="T49" fmla="*/ 9 h 14"/>
                <a:gd name="T50" fmla="*/ 6 w 11"/>
                <a:gd name="T51" fmla="*/ 9 h 14"/>
                <a:gd name="T52" fmla="*/ 6 w 11"/>
                <a:gd name="T53" fmla="*/ 10 h 14"/>
                <a:gd name="T54" fmla="*/ 4 w 11"/>
                <a:gd name="T55" fmla="*/ 12 h 14"/>
                <a:gd name="T56" fmla="*/ 4 w 11"/>
                <a:gd name="T57" fmla="*/ 12 h 14"/>
                <a:gd name="T58" fmla="*/ 5 w 11"/>
                <a:gd name="T59" fmla="*/ 13 h 14"/>
                <a:gd name="T60" fmla="*/ 4 w 11"/>
                <a:gd name="T61" fmla="*/ 14 h 14"/>
                <a:gd name="T62" fmla="*/ 3 w 11"/>
                <a:gd name="T63" fmla="*/ 14 h 14"/>
                <a:gd name="T64" fmla="*/ 3 w 11"/>
                <a:gd name="T65" fmla="*/ 13 h 14"/>
                <a:gd name="T66" fmla="*/ 3 w 11"/>
                <a:gd name="T67" fmla="*/ 13 h 14"/>
                <a:gd name="T68" fmla="*/ 4 w 11"/>
                <a:gd name="T69" fmla="*/ 12 h 14"/>
                <a:gd name="T70" fmla="*/ 3 w 11"/>
                <a:gd name="T71" fmla="*/ 12 h 14"/>
                <a:gd name="T72" fmla="*/ 3 w 11"/>
                <a:gd name="T73" fmla="*/ 12 h 14"/>
                <a:gd name="T74" fmla="*/ 3 w 11"/>
                <a:gd name="T75" fmla="*/ 12 h 14"/>
                <a:gd name="T76" fmla="*/ 0 w 11"/>
                <a:gd name="T77" fmla="*/ 9 h 14"/>
                <a:gd name="T78" fmla="*/ 2 w 11"/>
                <a:gd name="T79" fmla="*/ 8 h 14"/>
                <a:gd name="T80" fmla="*/ 2 w 11"/>
                <a:gd name="T81" fmla="*/ 7 h 14"/>
                <a:gd name="T82" fmla="*/ 2 w 11"/>
                <a:gd name="T83" fmla="*/ 7 h 14"/>
                <a:gd name="T84" fmla="*/ 0 w 11"/>
                <a:gd name="T85" fmla="*/ 6 h 14"/>
                <a:gd name="T86" fmla="*/ 2 w 11"/>
                <a:gd name="T87" fmla="*/ 5 h 14"/>
                <a:gd name="T88" fmla="*/ 5 w 11"/>
                <a:gd name="T89" fmla="*/ 1 h 14"/>
                <a:gd name="T90" fmla="*/ 6 w 11"/>
                <a:gd name="T91" fmla="*/ 1 h 14"/>
                <a:gd name="T92" fmla="*/ 6 w 11"/>
                <a:gd name="T93" fmla="*/ 0 h 14"/>
                <a:gd name="T94" fmla="*/ 6 w 11"/>
                <a:gd name="T95" fmla="*/ 0 h 14"/>
                <a:gd name="T96" fmla="*/ 7 w 11"/>
                <a:gd name="T97" fmla="*/ 0 h 14"/>
                <a:gd name="T98" fmla="*/ 7 w 11"/>
                <a:gd name="T99" fmla="*/ 0 h 14"/>
                <a:gd name="T100" fmla="*/ 7 w 11"/>
                <a:gd name="T10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 h="14">
                  <a:moveTo>
                    <a:pt x="7" y="1"/>
                  </a:moveTo>
                  <a:lnTo>
                    <a:pt x="7" y="1"/>
                  </a:lnTo>
                  <a:lnTo>
                    <a:pt x="7" y="0"/>
                  </a:lnTo>
                  <a:lnTo>
                    <a:pt x="9" y="0"/>
                  </a:lnTo>
                  <a:lnTo>
                    <a:pt x="9" y="0"/>
                  </a:lnTo>
                  <a:lnTo>
                    <a:pt x="9" y="0"/>
                  </a:lnTo>
                  <a:lnTo>
                    <a:pt x="9" y="0"/>
                  </a:lnTo>
                  <a:lnTo>
                    <a:pt x="9" y="0"/>
                  </a:lnTo>
                  <a:lnTo>
                    <a:pt x="9" y="0"/>
                  </a:lnTo>
                  <a:lnTo>
                    <a:pt x="9" y="0"/>
                  </a:lnTo>
                  <a:lnTo>
                    <a:pt x="9" y="0"/>
                  </a:lnTo>
                  <a:lnTo>
                    <a:pt x="9" y="0"/>
                  </a:lnTo>
                  <a:lnTo>
                    <a:pt x="9" y="0"/>
                  </a:lnTo>
                  <a:lnTo>
                    <a:pt x="9" y="0"/>
                  </a:lnTo>
                  <a:lnTo>
                    <a:pt x="10" y="0"/>
                  </a:lnTo>
                  <a:lnTo>
                    <a:pt x="10" y="0"/>
                  </a:lnTo>
                  <a:lnTo>
                    <a:pt x="10" y="0"/>
                  </a:lnTo>
                  <a:lnTo>
                    <a:pt x="10" y="0"/>
                  </a:lnTo>
                  <a:lnTo>
                    <a:pt x="10" y="0"/>
                  </a:lnTo>
                  <a:lnTo>
                    <a:pt x="10" y="0"/>
                  </a:lnTo>
                  <a:lnTo>
                    <a:pt x="10" y="0"/>
                  </a:lnTo>
                  <a:lnTo>
                    <a:pt x="10" y="0"/>
                  </a:lnTo>
                  <a:lnTo>
                    <a:pt x="10" y="0"/>
                  </a:lnTo>
                  <a:lnTo>
                    <a:pt x="11" y="0"/>
                  </a:lnTo>
                  <a:lnTo>
                    <a:pt x="11" y="0"/>
                  </a:lnTo>
                  <a:lnTo>
                    <a:pt x="11" y="0"/>
                  </a:lnTo>
                  <a:lnTo>
                    <a:pt x="11" y="1"/>
                  </a:lnTo>
                  <a:lnTo>
                    <a:pt x="11" y="1"/>
                  </a:lnTo>
                  <a:lnTo>
                    <a:pt x="10" y="1"/>
                  </a:lnTo>
                  <a:lnTo>
                    <a:pt x="10" y="1"/>
                  </a:lnTo>
                  <a:lnTo>
                    <a:pt x="10" y="1"/>
                  </a:lnTo>
                  <a:lnTo>
                    <a:pt x="10" y="1"/>
                  </a:lnTo>
                  <a:lnTo>
                    <a:pt x="10" y="1"/>
                  </a:lnTo>
                  <a:lnTo>
                    <a:pt x="10" y="1"/>
                  </a:lnTo>
                  <a:lnTo>
                    <a:pt x="10" y="1"/>
                  </a:lnTo>
                  <a:lnTo>
                    <a:pt x="10" y="2"/>
                  </a:lnTo>
                  <a:lnTo>
                    <a:pt x="10" y="2"/>
                  </a:lnTo>
                  <a:lnTo>
                    <a:pt x="10" y="2"/>
                  </a:lnTo>
                  <a:lnTo>
                    <a:pt x="10" y="2"/>
                  </a:lnTo>
                  <a:lnTo>
                    <a:pt x="10" y="2"/>
                  </a:lnTo>
                  <a:lnTo>
                    <a:pt x="9" y="2"/>
                  </a:lnTo>
                  <a:lnTo>
                    <a:pt x="9" y="2"/>
                  </a:lnTo>
                  <a:lnTo>
                    <a:pt x="9" y="2"/>
                  </a:lnTo>
                  <a:lnTo>
                    <a:pt x="9" y="2"/>
                  </a:lnTo>
                  <a:lnTo>
                    <a:pt x="9" y="2"/>
                  </a:lnTo>
                  <a:lnTo>
                    <a:pt x="9" y="2"/>
                  </a:lnTo>
                  <a:lnTo>
                    <a:pt x="9" y="2"/>
                  </a:lnTo>
                  <a:lnTo>
                    <a:pt x="9" y="2"/>
                  </a:lnTo>
                  <a:lnTo>
                    <a:pt x="9" y="3"/>
                  </a:lnTo>
                  <a:lnTo>
                    <a:pt x="7" y="3"/>
                  </a:lnTo>
                  <a:lnTo>
                    <a:pt x="7" y="3"/>
                  </a:lnTo>
                  <a:lnTo>
                    <a:pt x="7" y="3"/>
                  </a:lnTo>
                  <a:lnTo>
                    <a:pt x="7" y="3"/>
                  </a:lnTo>
                  <a:lnTo>
                    <a:pt x="7" y="3"/>
                  </a:lnTo>
                  <a:lnTo>
                    <a:pt x="7" y="3"/>
                  </a:lnTo>
                  <a:lnTo>
                    <a:pt x="9" y="5"/>
                  </a:lnTo>
                  <a:lnTo>
                    <a:pt x="9" y="5"/>
                  </a:lnTo>
                  <a:lnTo>
                    <a:pt x="9" y="5"/>
                  </a:lnTo>
                  <a:lnTo>
                    <a:pt x="9" y="5"/>
                  </a:lnTo>
                  <a:lnTo>
                    <a:pt x="9" y="5"/>
                  </a:lnTo>
                  <a:lnTo>
                    <a:pt x="9" y="5"/>
                  </a:lnTo>
                  <a:lnTo>
                    <a:pt x="9" y="6"/>
                  </a:lnTo>
                  <a:lnTo>
                    <a:pt x="9" y="6"/>
                  </a:lnTo>
                  <a:lnTo>
                    <a:pt x="9" y="6"/>
                  </a:lnTo>
                  <a:lnTo>
                    <a:pt x="9" y="6"/>
                  </a:lnTo>
                  <a:lnTo>
                    <a:pt x="9" y="6"/>
                  </a:lnTo>
                  <a:lnTo>
                    <a:pt x="9" y="6"/>
                  </a:lnTo>
                  <a:lnTo>
                    <a:pt x="9" y="6"/>
                  </a:lnTo>
                  <a:lnTo>
                    <a:pt x="9" y="6"/>
                  </a:lnTo>
                  <a:lnTo>
                    <a:pt x="9" y="7"/>
                  </a:lnTo>
                  <a:lnTo>
                    <a:pt x="9" y="7"/>
                  </a:lnTo>
                  <a:lnTo>
                    <a:pt x="10" y="7"/>
                  </a:lnTo>
                  <a:lnTo>
                    <a:pt x="10" y="7"/>
                  </a:lnTo>
                  <a:lnTo>
                    <a:pt x="10" y="7"/>
                  </a:lnTo>
                  <a:lnTo>
                    <a:pt x="10" y="7"/>
                  </a:lnTo>
                  <a:lnTo>
                    <a:pt x="10" y="7"/>
                  </a:lnTo>
                  <a:lnTo>
                    <a:pt x="10" y="7"/>
                  </a:lnTo>
                  <a:lnTo>
                    <a:pt x="10" y="7"/>
                  </a:lnTo>
                  <a:lnTo>
                    <a:pt x="10" y="7"/>
                  </a:lnTo>
                  <a:lnTo>
                    <a:pt x="10" y="7"/>
                  </a:lnTo>
                  <a:lnTo>
                    <a:pt x="10" y="7"/>
                  </a:lnTo>
                  <a:lnTo>
                    <a:pt x="10" y="7"/>
                  </a:lnTo>
                  <a:lnTo>
                    <a:pt x="10" y="7"/>
                  </a:lnTo>
                  <a:lnTo>
                    <a:pt x="10" y="7"/>
                  </a:lnTo>
                  <a:lnTo>
                    <a:pt x="10" y="7"/>
                  </a:lnTo>
                  <a:lnTo>
                    <a:pt x="10" y="7"/>
                  </a:lnTo>
                  <a:lnTo>
                    <a:pt x="10" y="7"/>
                  </a:lnTo>
                  <a:lnTo>
                    <a:pt x="10" y="7"/>
                  </a:lnTo>
                  <a:lnTo>
                    <a:pt x="10" y="7"/>
                  </a:lnTo>
                  <a:lnTo>
                    <a:pt x="9" y="7"/>
                  </a:lnTo>
                  <a:lnTo>
                    <a:pt x="9" y="7"/>
                  </a:lnTo>
                  <a:lnTo>
                    <a:pt x="9" y="8"/>
                  </a:lnTo>
                  <a:lnTo>
                    <a:pt x="9" y="8"/>
                  </a:lnTo>
                  <a:lnTo>
                    <a:pt x="7" y="8"/>
                  </a:lnTo>
                  <a:lnTo>
                    <a:pt x="7" y="8"/>
                  </a:lnTo>
                  <a:lnTo>
                    <a:pt x="7" y="8"/>
                  </a:lnTo>
                  <a:lnTo>
                    <a:pt x="7" y="9"/>
                  </a:lnTo>
                  <a:lnTo>
                    <a:pt x="7" y="9"/>
                  </a:lnTo>
                  <a:lnTo>
                    <a:pt x="7" y="9"/>
                  </a:lnTo>
                  <a:lnTo>
                    <a:pt x="7" y="9"/>
                  </a:lnTo>
                  <a:lnTo>
                    <a:pt x="9" y="9"/>
                  </a:lnTo>
                  <a:lnTo>
                    <a:pt x="7" y="9"/>
                  </a:lnTo>
                  <a:lnTo>
                    <a:pt x="7" y="9"/>
                  </a:lnTo>
                  <a:lnTo>
                    <a:pt x="6" y="9"/>
                  </a:lnTo>
                  <a:lnTo>
                    <a:pt x="6" y="10"/>
                  </a:lnTo>
                  <a:lnTo>
                    <a:pt x="6" y="10"/>
                  </a:lnTo>
                  <a:lnTo>
                    <a:pt x="6" y="10"/>
                  </a:lnTo>
                  <a:lnTo>
                    <a:pt x="6" y="10"/>
                  </a:lnTo>
                  <a:lnTo>
                    <a:pt x="6" y="10"/>
                  </a:lnTo>
                  <a:lnTo>
                    <a:pt x="5" y="10"/>
                  </a:lnTo>
                  <a:lnTo>
                    <a:pt x="5" y="10"/>
                  </a:lnTo>
                  <a:lnTo>
                    <a:pt x="4" y="12"/>
                  </a:lnTo>
                  <a:lnTo>
                    <a:pt x="5" y="12"/>
                  </a:lnTo>
                  <a:lnTo>
                    <a:pt x="5" y="12"/>
                  </a:lnTo>
                  <a:lnTo>
                    <a:pt x="4" y="12"/>
                  </a:lnTo>
                  <a:lnTo>
                    <a:pt x="4" y="12"/>
                  </a:lnTo>
                  <a:lnTo>
                    <a:pt x="4" y="13"/>
                  </a:lnTo>
                  <a:lnTo>
                    <a:pt x="4" y="13"/>
                  </a:lnTo>
                  <a:lnTo>
                    <a:pt x="4" y="13"/>
                  </a:lnTo>
                  <a:lnTo>
                    <a:pt x="5" y="13"/>
                  </a:lnTo>
                  <a:lnTo>
                    <a:pt x="4" y="13"/>
                  </a:lnTo>
                  <a:lnTo>
                    <a:pt x="4" y="13"/>
                  </a:lnTo>
                  <a:lnTo>
                    <a:pt x="4" y="13"/>
                  </a:lnTo>
                  <a:lnTo>
                    <a:pt x="4" y="14"/>
                  </a:lnTo>
                  <a:lnTo>
                    <a:pt x="4" y="14"/>
                  </a:lnTo>
                  <a:lnTo>
                    <a:pt x="4" y="14"/>
                  </a:lnTo>
                  <a:lnTo>
                    <a:pt x="4" y="14"/>
                  </a:lnTo>
                  <a:lnTo>
                    <a:pt x="3" y="14"/>
                  </a:lnTo>
                  <a:lnTo>
                    <a:pt x="3" y="14"/>
                  </a:lnTo>
                  <a:lnTo>
                    <a:pt x="2" y="14"/>
                  </a:lnTo>
                  <a:lnTo>
                    <a:pt x="3" y="13"/>
                  </a:lnTo>
                  <a:lnTo>
                    <a:pt x="3" y="13"/>
                  </a:lnTo>
                  <a:lnTo>
                    <a:pt x="3" y="13"/>
                  </a:lnTo>
                  <a:lnTo>
                    <a:pt x="3" y="13"/>
                  </a:lnTo>
                  <a:lnTo>
                    <a:pt x="3" y="13"/>
                  </a:lnTo>
                  <a:lnTo>
                    <a:pt x="3" y="13"/>
                  </a:lnTo>
                  <a:lnTo>
                    <a:pt x="3" y="13"/>
                  </a:lnTo>
                  <a:lnTo>
                    <a:pt x="3" y="13"/>
                  </a:lnTo>
                  <a:lnTo>
                    <a:pt x="4" y="12"/>
                  </a:lnTo>
                  <a:lnTo>
                    <a:pt x="4" y="12"/>
                  </a:lnTo>
                  <a:lnTo>
                    <a:pt x="3" y="12"/>
                  </a:lnTo>
                  <a:lnTo>
                    <a:pt x="3" y="12"/>
                  </a:lnTo>
                  <a:lnTo>
                    <a:pt x="3" y="12"/>
                  </a:lnTo>
                  <a:lnTo>
                    <a:pt x="3" y="12"/>
                  </a:lnTo>
                  <a:lnTo>
                    <a:pt x="3" y="12"/>
                  </a:lnTo>
                  <a:lnTo>
                    <a:pt x="3" y="12"/>
                  </a:lnTo>
                  <a:lnTo>
                    <a:pt x="3" y="12"/>
                  </a:lnTo>
                  <a:lnTo>
                    <a:pt x="3" y="12"/>
                  </a:lnTo>
                  <a:lnTo>
                    <a:pt x="3" y="12"/>
                  </a:lnTo>
                  <a:lnTo>
                    <a:pt x="3" y="12"/>
                  </a:lnTo>
                  <a:lnTo>
                    <a:pt x="3" y="12"/>
                  </a:lnTo>
                  <a:lnTo>
                    <a:pt x="3" y="12"/>
                  </a:lnTo>
                  <a:lnTo>
                    <a:pt x="2" y="10"/>
                  </a:lnTo>
                  <a:lnTo>
                    <a:pt x="2" y="9"/>
                  </a:lnTo>
                  <a:lnTo>
                    <a:pt x="0" y="9"/>
                  </a:lnTo>
                  <a:lnTo>
                    <a:pt x="0" y="9"/>
                  </a:lnTo>
                  <a:lnTo>
                    <a:pt x="2" y="8"/>
                  </a:lnTo>
                  <a:lnTo>
                    <a:pt x="2" y="8"/>
                  </a:lnTo>
                  <a:lnTo>
                    <a:pt x="2" y="8"/>
                  </a:lnTo>
                  <a:lnTo>
                    <a:pt x="2" y="8"/>
                  </a:lnTo>
                  <a:lnTo>
                    <a:pt x="2" y="8"/>
                  </a:lnTo>
                  <a:lnTo>
                    <a:pt x="2" y="7"/>
                  </a:lnTo>
                  <a:lnTo>
                    <a:pt x="2" y="7"/>
                  </a:lnTo>
                  <a:lnTo>
                    <a:pt x="2" y="7"/>
                  </a:lnTo>
                  <a:lnTo>
                    <a:pt x="2" y="7"/>
                  </a:lnTo>
                  <a:lnTo>
                    <a:pt x="2" y="7"/>
                  </a:lnTo>
                  <a:lnTo>
                    <a:pt x="2" y="7"/>
                  </a:lnTo>
                  <a:lnTo>
                    <a:pt x="2" y="7"/>
                  </a:lnTo>
                  <a:lnTo>
                    <a:pt x="2" y="7"/>
                  </a:lnTo>
                  <a:lnTo>
                    <a:pt x="2" y="7"/>
                  </a:lnTo>
                  <a:lnTo>
                    <a:pt x="0" y="7"/>
                  </a:lnTo>
                  <a:lnTo>
                    <a:pt x="0" y="6"/>
                  </a:lnTo>
                  <a:lnTo>
                    <a:pt x="0" y="6"/>
                  </a:lnTo>
                  <a:lnTo>
                    <a:pt x="0" y="6"/>
                  </a:lnTo>
                  <a:lnTo>
                    <a:pt x="0" y="5"/>
                  </a:lnTo>
                  <a:lnTo>
                    <a:pt x="2" y="5"/>
                  </a:lnTo>
                  <a:lnTo>
                    <a:pt x="3" y="3"/>
                  </a:lnTo>
                  <a:lnTo>
                    <a:pt x="4" y="1"/>
                  </a:lnTo>
                  <a:lnTo>
                    <a:pt x="4" y="1"/>
                  </a:lnTo>
                  <a:lnTo>
                    <a:pt x="5" y="1"/>
                  </a:lnTo>
                  <a:lnTo>
                    <a:pt x="5" y="1"/>
                  </a:lnTo>
                  <a:lnTo>
                    <a:pt x="5" y="1"/>
                  </a:lnTo>
                  <a:lnTo>
                    <a:pt x="5" y="1"/>
                  </a:lnTo>
                  <a:lnTo>
                    <a:pt x="6" y="1"/>
                  </a:lnTo>
                  <a:lnTo>
                    <a:pt x="6" y="1"/>
                  </a:lnTo>
                  <a:lnTo>
                    <a:pt x="6" y="0"/>
                  </a:lnTo>
                  <a:lnTo>
                    <a:pt x="6" y="0"/>
                  </a:lnTo>
                  <a:lnTo>
                    <a:pt x="6" y="0"/>
                  </a:lnTo>
                  <a:lnTo>
                    <a:pt x="6" y="0"/>
                  </a:lnTo>
                  <a:lnTo>
                    <a:pt x="6" y="0"/>
                  </a:lnTo>
                  <a:lnTo>
                    <a:pt x="6" y="0"/>
                  </a:lnTo>
                  <a:lnTo>
                    <a:pt x="6" y="0"/>
                  </a:lnTo>
                  <a:lnTo>
                    <a:pt x="7" y="0"/>
                  </a:lnTo>
                  <a:lnTo>
                    <a:pt x="7" y="0"/>
                  </a:lnTo>
                  <a:lnTo>
                    <a:pt x="7" y="0"/>
                  </a:lnTo>
                  <a:lnTo>
                    <a:pt x="7" y="0"/>
                  </a:lnTo>
                  <a:lnTo>
                    <a:pt x="7" y="0"/>
                  </a:lnTo>
                  <a:lnTo>
                    <a:pt x="7" y="0"/>
                  </a:lnTo>
                  <a:lnTo>
                    <a:pt x="7" y="0"/>
                  </a:lnTo>
                  <a:lnTo>
                    <a:pt x="7" y="0"/>
                  </a:lnTo>
                  <a:lnTo>
                    <a:pt x="7" y="0"/>
                  </a:lnTo>
                  <a:lnTo>
                    <a:pt x="7" y="0"/>
                  </a:lnTo>
                  <a:lnTo>
                    <a:pt x="7" y="0"/>
                  </a:lnTo>
                  <a:lnTo>
                    <a:pt x="7" y="1"/>
                  </a:lnTo>
                  <a:lnTo>
                    <a:pt x="7"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47" name="Freeform 1513">
              <a:extLst>
                <a:ext uri="{FF2B5EF4-FFF2-40B4-BE49-F238E27FC236}">
                  <a16:creationId xmlns:a16="http://schemas.microsoft.com/office/drawing/2014/main" id="{A203C2EB-711B-43A1-B9EC-7AF0CD2BF070}"/>
                </a:ext>
              </a:extLst>
            </p:cNvPr>
            <p:cNvSpPr>
              <a:spLocks/>
            </p:cNvSpPr>
            <p:nvPr/>
          </p:nvSpPr>
          <p:spPr bwMode="auto">
            <a:xfrm>
              <a:off x="6096228" y="2135905"/>
              <a:ext cx="2671" cy="2671"/>
            </a:xfrm>
            <a:custGeom>
              <a:avLst/>
              <a:gdLst>
                <a:gd name="T0" fmla="*/ 1 w 2"/>
                <a:gd name="T1" fmla="*/ 0 h 2"/>
                <a:gd name="T2" fmla="*/ 1 w 2"/>
                <a:gd name="T3" fmla="*/ 0 h 2"/>
                <a:gd name="T4" fmla="*/ 1 w 2"/>
                <a:gd name="T5" fmla="*/ 0 h 2"/>
                <a:gd name="T6" fmla="*/ 2 w 2"/>
                <a:gd name="T7" fmla="*/ 0 h 2"/>
                <a:gd name="T8" fmla="*/ 2 w 2"/>
                <a:gd name="T9" fmla="*/ 0 h 2"/>
                <a:gd name="T10" fmla="*/ 2 w 2"/>
                <a:gd name="T11" fmla="*/ 0 h 2"/>
                <a:gd name="T12" fmla="*/ 2 w 2"/>
                <a:gd name="T13" fmla="*/ 0 h 2"/>
                <a:gd name="T14" fmla="*/ 2 w 2"/>
                <a:gd name="T15" fmla="*/ 0 h 2"/>
                <a:gd name="T16" fmla="*/ 2 w 2"/>
                <a:gd name="T17" fmla="*/ 0 h 2"/>
                <a:gd name="T18" fmla="*/ 2 w 2"/>
                <a:gd name="T19" fmla="*/ 0 h 2"/>
                <a:gd name="T20" fmla="*/ 2 w 2"/>
                <a:gd name="T21" fmla="*/ 0 h 2"/>
                <a:gd name="T22" fmla="*/ 2 w 2"/>
                <a:gd name="T23" fmla="*/ 0 h 2"/>
                <a:gd name="T24" fmla="*/ 2 w 2"/>
                <a:gd name="T25" fmla="*/ 0 h 2"/>
                <a:gd name="T26" fmla="*/ 1 w 2"/>
                <a:gd name="T27" fmla="*/ 0 h 2"/>
                <a:gd name="T28" fmla="*/ 1 w 2"/>
                <a:gd name="T29" fmla="*/ 0 h 2"/>
                <a:gd name="T30" fmla="*/ 1 w 2"/>
                <a:gd name="T31" fmla="*/ 1 h 2"/>
                <a:gd name="T32" fmla="*/ 1 w 2"/>
                <a:gd name="T33" fmla="*/ 1 h 2"/>
                <a:gd name="T34" fmla="*/ 1 w 2"/>
                <a:gd name="T35" fmla="*/ 1 h 2"/>
                <a:gd name="T36" fmla="*/ 1 w 2"/>
                <a:gd name="T37" fmla="*/ 1 h 2"/>
                <a:gd name="T38" fmla="*/ 1 w 2"/>
                <a:gd name="T39" fmla="*/ 1 h 2"/>
                <a:gd name="T40" fmla="*/ 1 w 2"/>
                <a:gd name="T41" fmla="*/ 1 h 2"/>
                <a:gd name="T42" fmla="*/ 1 w 2"/>
                <a:gd name="T43" fmla="*/ 1 h 2"/>
                <a:gd name="T44" fmla="*/ 1 w 2"/>
                <a:gd name="T45" fmla="*/ 2 h 2"/>
                <a:gd name="T46" fmla="*/ 0 w 2"/>
                <a:gd name="T47" fmla="*/ 2 h 2"/>
                <a:gd name="T48" fmla="*/ 0 w 2"/>
                <a:gd name="T49" fmla="*/ 1 h 2"/>
                <a:gd name="T50" fmla="*/ 0 w 2"/>
                <a:gd name="T51" fmla="*/ 1 h 2"/>
                <a:gd name="T52" fmla="*/ 0 w 2"/>
                <a:gd name="T53" fmla="*/ 1 h 2"/>
                <a:gd name="T54" fmla="*/ 0 w 2"/>
                <a:gd name="T55" fmla="*/ 1 h 2"/>
                <a:gd name="T56" fmla="*/ 0 w 2"/>
                <a:gd name="T57" fmla="*/ 1 h 2"/>
                <a:gd name="T58" fmla="*/ 0 w 2"/>
                <a:gd name="T59" fmla="*/ 1 h 2"/>
                <a:gd name="T60" fmla="*/ 0 w 2"/>
                <a:gd name="T61" fmla="*/ 0 h 2"/>
                <a:gd name="T62" fmla="*/ 0 w 2"/>
                <a:gd name="T63" fmla="*/ 0 h 2"/>
                <a:gd name="T64" fmla="*/ 0 w 2"/>
                <a:gd name="T65" fmla="*/ 0 h 2"/>
                <a:gd name="T66" fmla="*/ 0 w 2"/>
                <a:gd name="T67" fmla="*/ 0 h 2"/>
                <a:gd name="T68" fmla="*/ 0 w 2"/>
                <a:gd name="T69" fmla="*/ 0 h 2"/>
                <a:gd name="T70" fmla="*/ 0 w 2"/>
                <a:gd name="T71" fmla="*/ 0 h 2"/>
                <a:gd name="T72" fmla="*/ 1 w 2"/>
                <a:gd name="T73" fmla="*/ 0 h 2"/>
                <a:gd name="T74" fmla="*/ 1 w 2"/>
                <a:gd name="T75" fmla="*/ 0 h 2"/>
                <a:gd name="T76" fmla="*/ 1 w 2"/>
                <a:gd name="T77" fmla="*/ 0 h 2"/>
                <a:gd name="T78" fmla="*/ 1 w 2"/>
                <a:gd name="T79" fmla="*/ 0 h 2"/>
                <a:gd name="T80" fmla="*/ 1 w 2"/>
                <a:gd name="T81" fmla="*/ 0 h 2"/>
                <a:gd name="T82" fmla="*/ 1 w 2"/>
                <a:gd name="T8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 h="2">
                  <a:moveTo>
                    <a:pt x="1" y="0"/>
                  </a:moveTo>
                  <a:lnTo>
                    <a:pt x="1" y="0"/>
                  </a:lnTo>
                  <a:lnTo>
                    <a:pt x="1" y="0"/>
                  </a:lnTo>
                  <a:lnTo>
                    <a:pt x="2" y="0"/>
                  </a:lnTo>
                  <a:lnTo>
                    <a:pt x="2" y="0"/>
                  </a:lnTo>
                  <a:lnTo>
                    <a:pt x="2" y="0"/>
                  </a:lnTo>
                  <a:lnTo>
                    <a:pt x="2" y="0"/>
                  </a:lnTo>
                  <a:lnTo>
                    <a:pt x="2" y="0"/>
                  </a:lnTo>
                  <a:lnTo>
                    <a:pt x="2" y="0"/>
                  </a:lnTo>
                  <a:lnTo>
                    <a:pt x="2" y="0"/>
                  </a:lnTo>
                  <a:lnTo>
                    <a:pt x="2" y="0"/>
                  </a:lnTo>
                  <a:lnTo>
                    <a:pt x="2" y="0"/>
                  </a:lnTo>
                  <a:lnTo>
                    <a:pt x="2" y="0"/>
                  </a:lnTo>
                  <a:lnTo>
                    <a:pt x="1" y="0"/>
                  </a:lnTo>
                  <a:lnTo>
                    <a:pt x="1" y="0"/>
                  </a:lnTo>
                  <a:lnTo>
                    <a:pt x="1" y="1"/>
                  </a:lnTo>
                  <a:lnTo>
                    <a:pt x="1" y="1"/>
                  </a:lnTo>
                  <a:lnTo>
                    <a:pt x="1" y="1"/>
                  </a:lnTo>
                  <a:lnTo>
                    <a:pt x="1" y="1"/>
                  </a:lnTo>
                  <a:lnTo>
                    <a:pt x="1" y="1"/>
                  </a:lnTo>
                  <a:lnTo>
                    <a:pt x="1" y="1"/>
                  </a:lnTo>
                  <a:lnTo>
                    <a:pt x="1" y="1"/>
                  </a:lnTo>
                  <a:lnTo>
                    <a:pt x="1" y="2"/>
                  </a:lnTo>
                  <a:lnTo>
                    <a:pt x="0" y="2"/>
                  </a:lnTo>
                  <a:lnTo>
                    <a:pt x="0" y="1"/>
                  </a:lnTo>
                  <a:lnTo>
                    <a:pt x="0" y="1"/>
                  </a:lnTo>
                  <a:lnTo>
                    <a:pt x="0" y="1"/>
                  </a:lnTo>
                  <a:lnTo>
                    <a:pt x="0" y="1"/>
                  </a:lnTo>
                  <a:lnTo>
                    <a:pt x="0" y="1"/>
                  </a:lnTo>
                  <a:lnTo>
                    <a:pt x="0" y="1"/>
                  </a:lnTo>
                  <a:lnTo>
                    <a:pt x="0" y="0"/>
                  </a:lnTo>
                  <a:lnTo>
                    <a:pt x="0" y="0"/>
                  </a:lnTo>
                  <a:lnTo>
                    <a:pt x="0" y="0"/>
                  </a:lnTo>
                  <a:lnTo>
                    <a:pt x="0" y="0"/>
                  </a:lnTo>
                  <a:lnTo>
                    <a:pt x="0" y="0"/>
                  </a:lnTo>
                  <a:lnTo>
                    <a:pt x="0"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48" name="Freeform 1514">
              <a:extLst>
                <a:ext uri="{FF2B5EF4-FFF2-40B4-BE49-F238E27FC236}">
                  <a16:creationId xmlns:a16="http://schemas.microsoft.com/office/drawing/2014/main" id="{D5EA39B8-69B8-4C23-BCA7-B6F3A468F64E}"/>
                </a:ext>
              </a:extLst>
            </p:cNvPr>
            <p:cNvSpPr>
              <a:spLocks/>
            </p:cNvSpPr>
            <p:nvPr/>
          </p:nvSpPr>
          <p:spPr bwMode="auto">
            <a:xfrm>
              <a:off x="5981376" y="2134569"/>
              <a:ext cx="2671" cy="1336"/>
            </a:xfrm>
            <a:custGeom>
              <a:avLst/>
              <a:gdLst>
                <a:gd name="T0" fmla="*/ 2 w 2"/>
                <a:gd name="T1" fmla="*/ 0 h 1"/>
                <a:gd name="T2" fmla="*/ 2 w 2"/>
                <a:gd name="T3" fmla="*/ 0 h 1"/>
                <a:gd name="T4" fmla="*/ 2 w 2"/>
                <a:gd name="T5" fmla="*/ 0 h 1"/>
                <a:gd name="T6" fmla="*/ 2 w 2"/>
                <a:gd name="T7" fmla="*/ 0 h 1"/>
                <a:gd name="T8" fmla="*/ 2 w 2"/>
                <a:gd name="T9" fmla="*/ 1 h 1"/>
                <a:gd name="T10" fmla="*/ 2 w 2"/>
                <a:gd name="T11" fmla="*/ 1 h 1"/>
                <a:gd name="T12" fmla="*/ 2 w 2"/>
                <a:gd name="T13" fmla="*/ 1 h 1"/>
                <a:gd name="T14" fmla="*/ 2 w 2"/>
                <a:gd name="T15" fmla="*/ 1 h 1"/>
                <a:gd name="T16" fmla="*/ 2 w 2"/>
                <a:gd name="T17" fmla="*/ 1 h 1"/>
                <a:gd name="T18" fmla="*/ 2 w 2"/>
                <a:gd name="T19" fmla="*/ 0 h 1"/>
                <a:gd name="T20" fmla="*/ 2 w 2"/>
                <a:gd name="T21" fmla="*/ 0 h 1"/>
                <a:gd name="T22" fmla="*/ 2 w 2"/>
                <a:gd name="T23" fmla="*/ 1 h 1"/>
                <a:gd name="T24" fmla="*/ 2 w 2"/>
                <a:gd name="T25" fmla="*/ 1 h 1"/>
                <a:gd name="T26" fmla="*/ 2 w 2"/>
                <a:gd name="T27" fmla="*/ 1 h 1"/>
                <a:gd name="T28" fmla="*/ 1 w 2"/>
                <a:gd name="T29" fmla="*/ 1 h 1"/>
                <a:gd name="T30" fmla="*/ 1 w 2"/>
                <a:gd name="T31" fmla="*/ 1 h 1"/>
                <a:gd name="T32" fmla="*/ 1 w 2"/>
                <a:gd name="T33" fmla="*/ 1 h 1"/>
                <a:gd name="T34" fmla="*/ 1 w 2"/>
                <a:gd name="T35" fmla="*/ 1 h 1"/>
                <a:gd name="T36" fmla="*/ 1 w 2"/>
                <a:gd name="T37" fmla="*/ 1 h 1"/>
                <a:gd name="T38" fmla="*/ 1 w 2"/>
                <a:gd name="T39" fmla="*/ 1 h 1"/>
                <a:gd name="T40" fmla="*/ 1 w 2"/>
                <a:gd name="T41" fmla="*/ 1 h 1"/>
                <a:gd name="T42" fmla="*/ 1 w 2"/>
                <a:gd name="T43" fmla="*/ 1 h 1"/>
                <a:gd name="T44" fmla="*/ 1 w 2"/>
                <a:gd name="T45" fmla="*/ 1 h 1"/>
                <a:gd name="T46" fmla="*/ 1 w 2"/>
                <a:gd name="T47" fmla="*/ 1 h 1"/>
                <a:gd name="T48" fmla="*/ 0 w 2"/>
                <a:gd name="T49" fmla="*/ 1 h 1"/>
                <a:gd name="T50" fmla="*/ 0 w 2"/>
                <a:gd name="T51" fmla="*/ 1 h 1"/>
                <a:gd name="T52" fmla="*/ 0 w 2"/>
                <a:gd name="T53" fmla="*/ 1 h 1"/>
                <a:gd name="T54" fmla="*/ 0 w 2"/>
                <a:gd name="T55" fmla="*/ 1 h 1"/>
                <a:gd name="T56" fmla="*/ 0 w 2"/>
                <a:gd name="T57" fmla="*/ 1 h 1"/>
                <a:gd name="T58" fmla="*/ 0 w 2"/>
                <a:gd name="T59" fmla="*/ 1 h 1"/>
                <a:gd name="T60" fmla="*/ 0 w 2"/>
                <a:gd name="T61" fmla="*/ 1 h 1"/>
                <a:gd name="T62" fmla="*/ 0 w 2"/>
                <a:gd name="T63" fmla="*/ 1 h 1"/>
                <a:gd name="T64" fmla="*/ 0 w 2"/>
                <a:gd name="T65" fmla="*/ 1 h 1"/>
                <a:gd name="T66" fmla="*/ 1 w 2"/>
                <a:gd name="T67" fmla="*/ 1 h 1"/>
                <a:gd name="T68" fmla="*/ 0 w 2"/>
                <a:gd name="T69" fmla="*/ 0 h 1"/>
                <a:gd name="T70" fmla="*/ 0 w 2"/>
                <a:gd name="T71" fmla="*/ 0 h 1"/>
                <a:gd name="T72" fmla="*/ 0 w 2"/>
                <a:gd name="T73" fmla="*/ 0 h 1"/>
                <a:gd name="T74" fmla="*/ 0 w 2"/>
                <a:gd name="T75" fmla="*/ 0 h 1"/>
                <a:gd name="T76" fmla="*/ 0 w 2"/>
                <a:gd name="T77" fmla="*/ 0 h 1"/>
                <a:gd name="T78" fmla="*/ 0 w 2"/>
                <a:gd name="T79" fmla="*/ 0 h 1"/>
                <a:gd name="T80" fmla="*/ 1 w 2"/>
                <a:gd name="T81" fmla="*/ 0 h 1"/>
                <a:gd name="T82" fmla="*/ 1 w 2"/>
                <a:gd name="T83" fmla="*/ 0 h 1"/>
                <a:gd name="T84" fmla="*/ 2 w 2"/>
                <a:gd name="T85" fmla="*/ 0 h 1"/>
                <a:gd name="T86" fmla="*/ 2 w 2"/>
                <a:gd name="T87" fmla="*/ 0 h 1"/>
                <a:gd name="T88" fmla="*/ 2 w 2"/>
                <a:gd name="T89" fmla="*/ 0 h 1"/>
                <a:gd name="T90" fmla="*/ 2 w 2"/>
                <a:gd name="T9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 h="1">
                  <a:moveTo>
                    <a:pt x="2" y="0"/>
                  </a:moveTo>
                  <a:lnTo>
                    <a:pt x="2" y="0"/>
                  </a:lnTo>
                  <a:lnTo>
                    <a:pt x="2" y="0"/>
                  </a:lnTo>
                  <a:lnTo>
                    <a:pt x="2" y="0"/>
                  </a:lnTo>
                  <a:lnTo>
                    <a:pt x="2" y="1"/>
                  </a:lnTo>
                  <a:lnTo>
                    <a:pt x="2" y="1"/>
                  </a:lnTo>
                  <a:lnTo>
                    <a:pt x="2" y="1"/>
                  </a:lnTo>
                  <a:lnTo>
                    <a:pt x="2" y="1"/>
                  </a:lnTo>
                  <a:lnTo>
                    <a:pt x="2" y="1"/>
                  </a:lnTo>
                  <a:lnTo>
                    <a:pt x="2" y="0"/>
                  </a:lnTo>
                  <a:lnTo>
                    <a:pt x="2" y="0"/>
                  </a:lnTo>
                  <a:lnTo>
                    <a:pt x="2" y="1"/>
                  </a:lnTo>
                  <a:lnTo>
                    <a:pt x="2" y="1"/>
                  </a:lnTo>
                  <a:lnTo>
                    <a:pt x="2" y="1"/>
                  </a:lnTo>
                  <a:lnTo>
                    <a:pt x="1" y="1"/>
                  </a:lnTo>
                  <a:lnTo>
                    <a:pt x="1" y="1"/>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0" y="1"/>
                  </a:lnTo>
                  <a:lnTo>
                    <a:pt x="1" y="1"/>
                  </a:lnTo>
                  <a:lnTo>
                    <a:pt x="0" y="0"/>
                  </a:lnTo>
                  <a:lnTo>
                    <a:pt x="0" y="0"/>
                  </a:lnTo>
                  <a:lnTo>
                    <a:pt x="0" y="0"/>
                  </a:lnTo>
                  <a:lnTo>
                    <a:pt x="0" y="0"/>
                  </a:lnTo>
                  <a:lnTo>
                    <a:pt x="0" y="0"/>
                  </a:lnTo>
                  <a:lnTo>
                    <a:pt x="0" y="0"/>
                  </a:lnTo>
                  <a:lnTo>
                    <a:pt x="1" y="0"/>
                  </a:lnTo>
                  <a:lnTo>
                    <a:pt x="1" y="0"/>
                  </a:lnTo>
                  <a:lnTo>
                    <a:pt x="2"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49" name="Freeform 1515">
              <a:extLst>
                <a:ext uri="{FF2B5EF4-FFF2-40B4-BE49-F238E27FC236}">
                  <a16:creationId xmlns:a16="http://schemas.microsoft.com/office/drawing/2014/main" id="{E13B9509-4B4F-4EA9-88C1-FAE03BF9D5E5}"/>
                </a:ext>
              </a:extLst>
            </p:cNvPr>
            <p:cNvSpPr>
              <a:spLocks/>
            </p:cNvSpPr>
            <p:nvPr/>
          </p:nvSpPr>
          <p:spPr bwMode="auto">
            <a:xfrm>
              <a:off x="5980041" y="2129227"/>
              <a:ext cx="5342" cy="5342"/>
            </a:xfrm>
            <a:custGeom>
              <a:avLst/>
              <a:gdLst>
                <a:gd name="T0" fmla="*/ 3 w 4"/>
                <a:gd name="T1" fmla="*/ 1 h 4"/>
                <a:gd name="T2" fmla="*/ 4 w 4"/>
                <a:gd name="T3" fmla="*/ 1 h 4"/>
                <a:gd name="T4" fmla="*/ 4 w 4"/>
                <a:gd name="T5" fmla="*/ 1 h 4"/>
                <a:gd name="T6" fmla="*/ 4 w 4"/>
                <a:gd name="T7" fmla="*/ 1 h 4"/>
                <a:gd name="T8" fmla="*/ 4 w 4"/>
                <a:gd name="T9" fmla="*/ 2 h 4"/>
                <a:gd name="T10" fmla="*/ 4 w 4"/>
                <a:gd name="T11" fmla="*/ 2 h 4"/>
                <a:gd name="T12" fmla="*/ 4 w 4"/>
                <a:gd name="T13" fmla="*/ 2 h 4"/>
                <a:gd name="T14" fmla="*/ 3 w 4"/>
                <a:gd name="T15" fmla="*/ 2 h 4"/>
                <a:gd name="T16" fmla="*/ 3 w 4"/>
                <a:gd name="T17" fmla="*/ 2 h 4"/>
                <a:gd name="T18" fmla="*/ 2 w 4"/>
                <a:gd name="T19" fmla="*/ 2 h 4"/>
                <a:gd name="T20" fmla="*/ 2 w 4"/>
                <a:gd name="T21" fmla="*/ 2 h 4"/>
                <a:gd name="T22" fmla="*/ 2 w 4"/>
                <a:gd name="T23" fmla="*/ 2 h 4"/>
                <a:gd name="T24" fmla="*/ 2 w 4"/>
                <a:gd name="T25" fmla="*/ 2 h 4"/>
                <a:gd name="T26" fmla="*/ 1 w 4"/>
                <a:gd name="T27" fmla="*/ 2 h 4"/>
                <a:gd name="T28" fmla="*/ 1 w 4"/>
                <a:gd name="T29" fmla="*/ 2 h 4"/>
                <a:gd name="T30" fmla="*/ 1 w 4"/>
                <a:gd name="T31" fmla="*/ 2 h 4"/>
                <a:gd name="T32" fmla="*/ 1 w 4"/>
                <a:gd name="T33" fmla="*/ 2 h 4"/>
                <a:gd name="T34" fmla="*/ 1 w 4"/>
                <a:gd name="T35" fmla="*/ 4 h 4"/>
                <a:gd name="T36" fmla="*/ 1 w 4"/>
                <a:gd name="T37" fmla="*/ 4 h 4"/>
                <a:gd name="T38" fmla="*/ 1 w 4"/>
                <a:gd name="T39" fmla="*/ 2 h 4"/>
                <a:gd name="T40" fmla="*/ 0 w 4"/>
                <a:gd name="T41" fmla="*/ 2 h 4"/>
                <a:gd name="T42" fmla="*/ 0 w 4"/>
                <a:gd name="T43" fmla="*/ 4 h 4"/>
                <a:gd name="T44" fmla="*/ 0 w 4"/>
                <a:gd name="T45" fmla="*/ 4 h 4"/>
                <a:gd name="T46" fmla="*/ 0 w 4"/>
                <a:gd name="T47" fmla="*/ 2 h 4"/>
                <a:gd name="T48" fmla="*/ 0 w 4"/>
                <a:gd name="T49" fmla="*/ 2 h 4"/>
                <a:gd name="T50" fmla="*/ 0 w 4"/>
                <a:gd name="T51" fmla="*/ 2 h 4"/>
                <a:gd name="T52" fmla="*/ 0 w 4"/>
                <a:gd name="T53" fmla="*/ 2 h 4"/>
                <a:gd name="T54" fmla="*/ 0 w 4"/>
                <a:gd name="T55" fmla="*/ 2 h 4"/>
                <a:gd name="T56" fmla="*/ 0 w 4"/>
                <a:gd name="T57" fmla="*/ 2 h 4"/>
                <a:gd name="T58" fmla="*/ 1 w 4"/>
                <a:gd name="T59" fmla="*/ 1 h 4"/>
                <a:gd name="T60" fmla="*/ 1 w 4"/>
                <a:gd name="T61" fmla="*/ 1 h 4"/>
                <a:gd name="T62" fmla="*/ 2 w 4"/>
                <a:gd name="T63" fmla="*/ 1 h 4"/>
                <a:gd name="T64" fmla="*/ 2 w 4"/>
                <a:gd name="T65" fmla="*/ 1 h 4"/>
                <a:gd name="T66" fmla="*/ 2 w 4"/>
                <a:gd name="T67" fmla="*/ 1 h 4"/>
                <a:gd name="T68" fmla="*/ 2 w 4"/>
                <a:gd name="T69" fmla="*/ 1 h 4"/>
                <a:gd name="T70" fmla="*/ 2 w 4"/>
                <a:gd name="T71" fmla="*/ 1 h 4"/>
                <a:gd name="T72" fmla="*/ 2 w 4"/>
                <a:gd name="T73" fmla="*/ 0 h 4"/>
                <a:gd name="T74" fmla="*/ 2 w 4"/>
                <a:gd name="T75" fmla="*/ 0 h 4"/>
                <a:gd name="T76" fmla="*/ 2 w 4"/>
                <a:gd name="T77" fmla="*/ 0 h 4"/>
                <a:gd name="T78" fmla="*/ 2 w 4"/>
                <a:gd name="T79" fmla="*/ 0 h 4"/>
                <a:gd name="T80" fmla="*/ 2 w 4"/>
                <a:gd name="T81" fmla="*/ 0 h 4"/>
                <a:gd name="T82" fmla="*/ 2 w 4"/>
                <a:gd name="T83" fmla="*/ 0 h 4"/>
                <a:gd name="T84" fmla="*/ 2 w 4"/>
                <a:gd name="T85" fmla="*/ 0 h 4"/>
                <a:gd name="T86" fmla="*/ 3 w 4"/>
                <a:gd name="T87" fmla="*/ 0 h 4"/>
                <a:gd name="T88" fmla="*/ 3 w 4"/>
                <a:gd name="T89" fmla="*/ 0 h 4"/>
                <a:gd name="T90" fmla="*/ 3 w 4"/>
                <a:gd name="T91" fmla="*/ 0 h 4"/>
                <a:gd name="T92" fmla="*/ 3 w 4"/>
                <a:gd name="T93" fmla="*/ 0 h 4"/>
                <a:gd name="T94" fmla="*/ 3 w 4"/>
                <a:gd name="T95"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 h="4">
                  <a:moveTo>
                    <a:pt x="3" y="1"/>
                  </a:moveTo>
                  <a:lnTo>
                    <a:pt x="4" y="1"/>
                  </a:lnTo>
                  <a:lnTo>
                    <a:pt x="4" y="1"/>
                  </a:lnTo>
                  <a:lnTo>
                    <a:pt x="4" y="1"/>
                  </a:lnTo>
                  <a:lnTo>
                    <a:pt x="4" y="2"/>
                  </a:lnTo>
                  <a:lnTo>
                    <a:pt x="4" y="2"/>
                  </a:lnTo>
                  <a:lnTo>
                    <a:pt x="4" y="2"/>
                  </a:lnTo>
                  <a:lnTo>
                    <a:pt x="3" y="2"/>
                  </a:lnTo>
                  <a:lnTo>
                    <a:pt x="3" y="2"/>
                  </a:lnTo>
                  <a:lnTo>
                    <a:pt x="2" y="2"/>
                  </a:lnTo>
                  <a:lnTo>
                    <a:pt x="2" y="2"/>
                  </a:lnTo>
                  <a:lnTo>
                    <a:pt x="2" y="2"/>
                  </a:lnTo>
                  <a:lnTo>
                    <a:pt x="2" y="2"/>
                  </a:lnTo>
                  <a:lnTo>
                    <a:pt x="1" y="2"/>
                  </a:lnTo>
                  <a:lnTo>
                    <a:pt x="1" y="2"/>
                  </a:lnTo>
                  <a:lnTo>
                    <a:pt x="1" y="2"/>
                  </a:lnTo>
                  <a:lnTo>
                    <a:pt x="1" y="2"/>
                  </a:lnTo>
                  <a:lnTo>
                    <a:pt x="1" y="4"/>
                  </a:lnTo>
                  <a:lnTo>
                    <a:pt x="1" y="4"/>
                  </a:lnTo>
                  <a:lnTo>
                    <a:pt x="1" y="2"/>
                  </a:lnTo>
                  <a:lnTo>
                    <a:pt x="0" y="2"/>
                  </a:lnTo>
                  <a:lnTo>
                    <a:pt x="0" y="4"/>
                  </a:lnTo>
                  <a:lnTo>
                    <a:pt x="0" y="4"/>
                  </a:lnTo>
                  <a:lnTo>
                    <a:pt x="0" y="2"/>
                  </a:lnTo>
                  <a:lnTo>
                    <a:pt x="0" y="2"/>
                  </a:lnTo>
                  <a:lnTo>
                    <a:pt x="0" y="2"/>
                  </a:lnTo>
                  <a:lnTo>
                    <a:pt x="0" y="2"/>
                  </a:lnTo>
                  <a:lnTo>
                    <a:pt x="0" y="2"/>
                  </a:lnTo>
                  <a:lnTo>
                    <a:pt x="0" y="2"/>
                  </a:lnTo>
                  <a:lnTo>
                    <a:pt x="1" y="1"/>
                  </a:lnTo>
                  <a:lnTo>
                    <a:pt x="1" y="1"/>
                  </a:lnTo>
                  <a:lnTo>
                    <a:pt x="2" y="1"/>
                  </a:lnTo>
                  <a:lnTo>
                    <a:pt x="2" y="1"/>
                  </a:lnTo>
                  <a:lnTo>
                    <a:pt x="2" y="1"/>
                  </a:lnTo>
                  <a:lnTo>
                    <a:pt x="2" y="1"/>
                  </a:lnTo>
                  <a:lnTo>
                    <a:pt x="2" y="1"/>
                  </a:lnTo>
                  <a:lnTo>
                    <a:pt x="2" y="0"/>
                  </a:lnTo>
                  <a:lnTo>
                    <a:pt x="2" y="0"/>
                  </a:lnTo>
                  <a:lnTo>
                    <a:pt x="2" y="0"/>
                  </a:lnTo>
                  <a:lnTo>
                    <a:pt x="2" y="0"/>
                  </a:lnTo>
                  <a:lnTo>
                    <a:pt x="2" y="0"/>
                  </a:lnTo>
                  <a:lnTo>
                    <a:pt x="2" y="0"/>
                  </a:lnTo>
                  <a:lnTo>
                    <a:pt x="2" y="0"/>
                  </a:lnTo>
                  <a:lnTo>
                    <a:pt x="3" y="0"/>
                  </a:lnTo>
                  <a:lnTo>
                    <a:pt x="3" y="0"/>
                  </a:lnTo>
                  <a:lnTo>
                    <a:pt x="3" y="0"/>
                  </a:lnTo>
                  <a:lnTo>
                    <a:pt x="3" y="0"/>
                  </a:lnTo>
                  <a:lnTo>
                    <a:pt x="3"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50" name="Freeform 1516">
              <a:extLst>
                <a:ext uri="{FF2B5EF4-FFF2-40B4-BE49-F238E27FC236}">
                  <a16:creationId xmlns:a16="http://schemas.microsoft.com/office/drawing/2014/main" id="{A9FD046F-08CD-4D2F-B0C8-42BA28550DCC}"/>
                </a:ext>
              </a:extLst>
            </p:cNvPr>
            <p:cNvSpPr>
              <a:spLocks/>
            </p:cNvSpPr>
            <p:nvPr/>
          </p:nvSpPr>
          <p:spPr bwMode="auto">
            <a:xfrm>
              <a:off x="6060170" y="2129227"/>
              <a:ext cx="1336" cy="0"/>
            </a:xfrm>
            <a:custGeom>
              <a:avLst/>
              <a:gdLst>
                <a:gd name="T0" fmla="*/ 1 w 1"/>
                <a:gd name="T1" fmla="*/ 1 w 1"/>
                <a:gd name="T2" fmla="*/ 1 w 1"/>
                <a:gd name="T3" fmla="*/ 1 w 1"/>
                <a:gd name="T4" fmla="*/ 0 w 1"/>
                <a:gd name="T5" fmla="*/ 1 w 1"/>
                <a:gd name="T6" fmla="*/ 1 w 1"/>
                <a:gd name="T7" fmla="*/ 1 w 1"/>
                <a:gd name="T8" fmla="*/ 1 w 1"/>
                <a:gd name="T9" fmla="*/ 1 w 1"/>
                <a:gd name="T10"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1">
                  <a:moveTo>
                    <a:pt x="1" y="0"/>
                  </a:moveTo>
                  <a:lnTo>
                    <a:pt x="1" y="0"/>
                  </a:lnTo>
                  <a:lnTo>
                    <a:pt x="1" y="0"/>
                  </a:lnTo>
                  <a:lnTo>
                    <a:pt x="1" y="0"/>
                  </a:lnTo>
                  <a:lnTo>
                    <a:pt x="0"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51" name="Freeform 1517">
              <a:extLst>
                <a:ext uri="{FF2B5EF4-FFF2-40B4-BE49-F238E27FC236}">
                  <a16:creationId xmlns:a16="http://schemas.microsoft.com/office/drawing/2014/main" id="{BEFFEA34-013A-4586-8B44-E4F620E529C1}"/>
                </a:ext>
              </a:extLst>
            </p:cNvPr>
            <p:cNvSpPr>
              <a:spLocks/>
            </p:cNvSpPr>
            <p:nvPr/>
          </p:nvSpPr>
          <p:spPr bwMode="auto">
            <a:xfrm>
              <a:off x="6096228" y="2127892"/>
              <a:ext cx="2671" cy="0"/>
            </a:xfrm>
            <a:custGeom>
              <a:avLst/>
              <a:gdLst>
                <a:gd name="T0" fmla="*/ 1 w 2"/>
                <a:gd name="T1" fmla="*/ 1 w 2"/>
                <a:gd name="T2" fmla="*/ 1 w 2"/>
                <a:gd name="T3" fmla="*/ 0 w 2"/>
                <a:gd name="T4" fmla="*/ 1 w 2"/>
                <a:gd name="T5" fmla="*/ 1 w 2"/>
                <a:gd name="T6" fmla="*/ 1 w 2"/>
                <a:gd name="T7" fmla="*/ 2 w 2"/>
                <a:gd name="T8" fmla="*/ 1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1" y="0"/>
                  </a:moveTo>
                  <a:lnTo>
                    <a:pt x="1" y="0"/>
                  </a:lnTo>
                  <a:lnTo>
                    <a:pt x="1" y="0"/>
                  </a:lnTo>
                  <a:lnTo>
                    <a:pt x="0" y="0"/>
                  </a:lnTo>
                  <a:lnTo>
                    <a:pt x="1" y="0"/>
                  </a:lnTo>
                  <a:lnTo>
                    <a:pt x="1" y="0"/>
                  </a:lnTo>
                  <a:lnTo>
                    <a:pt x="1" y="0"/>
                  </a:lnTo>
                  <a:lnTo>
                    <a:pt x="2"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52" name="Freeform 1518">
              <a:extLst>
                <a:ext uri="{FF2B5EF4-FFF2-40B4-BE49-F238E27FC236}">
                  <a16:creationId xmlns:a16="http://schemas.microsoft.com/office/drawing/2014/main" id="{EEBE4DB0-B0C7-48DC-8E51-43019D90C56D}"/>
                </a:ext>
              </a:extLst>
            </p:cNvPr>
            <p:cNvSpPr>
              <a:spLocks/>
            </p:cNvSpPr>
            <p:nvPr/>
          </p:nvSpPr>
          <p:spPr bwMode="auto">
            <a:xfrm>
              <a:off x="6060170" y="2127892"/>
              <a:ext cx="1336" cy="1336"/>
            </a:xfrm>
            <a:custGeom>
              <a:avLst/>
              <a:gdLst>
                <a:gd name="T0" fmla="*/ 1 w 1"/>
                <a:gd name="T1" fmla="*/ 0 h 1"/>
                <a:gd name="T2" fmla="*/ 1 w 1"/>
                <a:gd name="T3" fmla="*/ 0 h 1"/>
                <a:gd name="T4" fmla="*/ 1 w 1"/>
                <a:gd name="T5" fmla="*/ 0 h 1"/>
                <a:gd name="T6" fmla="*/ 1 w 1"/>
                <a:gd name="T7" fmla="*/ 0 h 1"/>
                <a:gd name="T8" fmla="*/ 0 w 1"/>
                <a:gd name="T9" fmla="*/ 0 h 1"/>
                <a:gd name="T10" fmla="*/ 0 w 1"/>
                <a:gd name="T11" fmla="*/ 0 h 1"/>
                <a:gd name="T12" fmla="*/ 1 w 1"/>
                <a:gd name="T13" fmla="*/ 0 h 1"/>
                <a:gd name="T14" fmla="*/ 0 w 1"/>
                <a:gd name="T15" fmla="*/ 0 h 1"/>
                <a:gd name="T16" fmla="*/ 0 w 1"/>
                <a:gd name="T17" fmla="*/ 0 h 1"/>
                <a:gd name="T18" fmla="*/ 0 w 1"/>
                <a:gd name="T19" fmla="*/ 0 h 1"/>
                <a:gd name="T20" fmla="*/ 0 w 1"/>
                <a:gd name="T21" fmla="*/ 0 h 1"/>
                <a:gd name="T22" fmla="*/ 1 w 1"/>
                <a:gd name="T23" fmla="*/ 0 h 1"/>
                <a:gd name="T24" fmla="*/ 1 w 1"/>
                <a:gd name="T25" fmla="*/ 0 h 1"/>
                <a:gd name="T26" fmla="*/ 1 w 1"/>
                <a:gd name="T27" fmla="*/ 0 h 1"/>
                <a:gd name="T28" fmla="*/ 1 w 1"/>
                <a:gd name="T29" fmla="*/ 0 h 1"/>
                <a:gd name="T30" fmla="*/ 1 w 1"/>
                <a:gd name="T31" fmla="*/ 0 h 1"/>
                <a:gd name="T32" fmla="*/ 1 w 1"/>
                <a:gd name="T33" fmla="*/ 0 h 1"/>
                <a:gd name="T34" fmla="*/ 1 w 1"/>
                <a:gd name="T35" fmla="*/ 0 h 1"/>
                <a:gd name="T36" fmla="*/ 1 w 1"/>
                <a:gd name="T37" fmla="*/ 0 h 1"/>
                <a:gd name="T38" fmla="*/ 1 w 1"/>
                <a:gd name="T39" fmla="*/ 0 h 1"/>
                <a:gd name="T40" fmla="*/ 1 w 1"/>
                <a:gd name="T41" fmla="*/ 1 h 1"/>
                <a:gd name="T42" fmla="*/ 1 w 1"/>
                <a:gd name="T43" fmla="*/ 1 h 1"/>
                <a:gd name="T44" fmla="*/ 1 w 1"/>
                <a:gd name="T45" fmla="*/ 1 h 1"/>
                <a:gd name="T46" fmla="*/ 1 w 1"/>
                <a:gd name="T47" fmla="*/ 1 h 1"/>
                <a:gd name="T48" fmla="*/ 0 w 1"/>
                <a:gd name="T49" fmla="*/ 0 h 1"/>
                <a:gd name="T50" fmla="*/ 0 w 1"/>
                <a:gd name="T51" fmla="*/ 0 h 1"/>
                <a:gd name="T52" fmla="*/ 0 w 1"/>
                <a:gd name="T53" fmla="*/ 0 h 1"/>
                <a:gd name="T54" fmla="*/ 0 w 1"/>
                <a:gd name="T55" fmla="*/ 0 h 1"/>
                <a:gd name="T56" fmla="*/ 0 w 1"/>
                <a:gd name="T57" fmla="*/ 0 h 1"/>
                <a:gd name="T58" fmla="*/ 0 w 1"/>
                <a:gd name="T59" fmla="*/ 0 h 1"/>
                <a:gd name="T60" fmla="*/ 0 w 1"/>
                <a:gd name="T61" fmla="*/ 0 h 1"/>
                <a:gd name="T62" fmla="*/ 0 w 1"/>
                <a:gd name="T63" fmla="*/ 0 h 1"/>
                <a:gd name="T64" fmla="*/ 0 w 1"/>
                <a:gd name="T65" fmla="*/ 0 h 1"/>
                <a:gd name="T66" fmla="*/ 0 w 1"/>
                <a:gd name="T67" fmla="*/ 0 h 1"/>
                <a:gd name="T68" fmla="*/ 0 w 1"/>
                <a:gd name="T69" fmla="*/ 0 h 1"/>
                <a:gd name="T70" fmla="*/ 0 w 1"/>
                <a:gd name="T71" fmla="*/ 0 h 1"/>
                <a:gd name="T72" fmla="*/ 0 w 1"/>
                <a:gd name="T73" fmla="*/ 0 h 1"/>
                <a:gd name="T74" fmla="*/ 0 w 1"/>
                <a:gd name="T75" fmla="*/ 0 h 1"/>
                <a:gd name="T76" fmla="*/ 1 w 1"/>
                <a:gd name="T77" fmla="*/ 0 h 1"/>
                <a:gd name="T78" fmla="*/ 1 w 1"/>
                <a:gd name="T7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 h="1">
                  <a:moveTo>
                    <a:pt x="1" y="0"/>
                  </a:moveTo>
                  <a:lnTo>
                    <a:pt x="1" y="0"/>
                  </a:lnTo>
                  <a:lnTo>
                    <a:pt x="1" y="0"/>
                  </a:lnTo>
                  <a:lnTo>
                    <a:pt x="1" y="0"/>
                  </a:lnTo>
                  <a:lnTo>
                    <a:pt x="0" y="0"/>
                  </a:lnTo>
                  <a:lnTo>
                    <a:pt x="0" y="0"/>
                  </a:lnTo>
                  <a:lnTo>
                    <a:pt x="1" y="0"/>
                  </a:lnTo>
                  <a:lnTo>
                    <a:pt x="0" y="0"/>
                  </a:lnTo>
                  <a:lnTo>
                    <a:pt x="0" y="0"/>
                  </a:lnTo>
                  <a:lnTo>
                    <a:pt x="0" y="0"/>
                  </a:lnTo>
                  <a:lnTo>
                    <a:pt x="0" y="0"/>
                  </a:lnTo>
                  <a:lnTo>
                    <a:pt x="1" y="0"/>
                  </a:lnTo>
                  <a:lnTo>
                    <a:pt x="1" y="0"/>
                  </a:lnTo>
                  <a:lnTo>
                    <a:pt x="1" y="0"/>
                  </a:lnTo>
                  <a:lnTo>
                    <a:pt x="1" y="0"/>
                  </a:lnTo>
                  <a:lnTo>
                    <a:pt x="1" y="0"/>
                  </a:lnTo>
                  <a:lnTo>
                    <a:pt x="1" y="0"/>
                  </a:lnTo>
                  <a:lnTo>
                    <a:pt x="1" y="0"/>
                  </a:lnTo>
                  <a:lnTo>
                    <a:pt x="1" y="0"/>
                  </a:lnTo>
                  <a:lnTo>
                    <a:pt x="1" y="0"/>
                  </a:lnTo>
                  <a:lnTo>
                    <a:pt x="1" y="1"/>
                  </a:lnTo>
                  <a:lnTo>
                    <a:pt x="1" y="1"/>
                  </a:lnTo>
                  <a:lnTo>
                    <a:pt x="1" y="1"/>
                  </a:lnTo>
                  <a:lnTo>
                    <a:pt x="1"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53" name="Freeform 1519">
              <a:extLst>
                <a:ext uri="{FF2B5EF4-FFF2-40B4-BE49-F238E27FC236}">
                  <a16:creationId xmlns:a16="http://schemas.microsoft.com/office/drawing/2014/main" id="{08BFDA21-834E-4ED3-9D46-4BA444690896}"/>
                </a:ext>
              </a:extLst>
            </p:cNvPr>
            <p:cNvSpPr>
              <a:spLocks/>
            </p:cNvSpPr>
            <p:nvPr/>
          </p:nvSpPr>
          <p:spPr bwMode="auto">
            <a:xfrm>
              <a:off x="6080202" y="2115872"/>
              <a:ext cx="1336" cy="1336"/>
            </a:xfrm>
            <a:custGeom>
              <a:avLst/>
              <a:gdLst>
                <a:gd name="T0" fmla="*/ 1 w 1"/>
                <a:gd name="T1" fmla="*/ 0 h 1"/>
                <a:gd name="T2" fmla="*/ 1 w 1"/>
                <a:gd name="T3" fmla="*/ 1 h 1"/>
                <a:gd name="T4" fmla="*/ 1 w 1"/>
                <a:gd name="T5" fmla="*/ 1 h 1"/>
                <a:gd name="T6" fmla="*/ 1 w 1"/>
                <a:gd name="T7" fmla="*/ 1 h 1"/>
                <a:gd name="T8" fmla="*/ 1 w 1"/>
                <a:gd name="T9" fmla="*/ 1 h 1"/>
                <a:gd name="T10" fmla="*/ 1 w 1"/>
                <a:gd name="T11" fmla="*/ 1 h 1"/>
                <a:gd name="T12" fmla="*/ 1 w 1"/>
                <a:gd name="T13" fmla="*/ 1 h 1"/>
                <a:gd name="T14" fmla="*/ 1 w 1"/>
                <a:gd name="T15" fmla="*/ 1 h 1"/>
                <a:gd name="T16" fmla="*/ 1 w 1"/>
                <a:gd name="T17" fmla="*/ 1 h 1"/>
                <a:gd name="T18" fmla="*/ 1 w 1"/>
                <a:gd name="T19" fmla="*/ 1 h 1"/>
                <a:gd name="T20" fmla="*/ 1 w 1"/>
                <a:gd name="T21" fmla="*/ 1 h 1"/>
                <a:gd name="T22" fmla="*/ 0 w 1"/>
                <a:gd name="T23" fmla="*/ 1 h 1"/>
                <a:gd name="T24" fmla="*/ 0 w 1"/>
                <a:gd name="T25" fmla="*/ 1 h 1"/>
                <a:gd name="T26" fmla="*/ 0 w 1"/>
                <a:gd name="T27" fmla="*/ 1 h 1"/>
                <a:gd name="T28" fmla="*/ 0 w 1"/>
                <a:gd name="T29" fmla="*/ 1 h 1"/>
                <a:gd name="T30" fmla="*/ 0 w 1"/>
                <a:gd name="T31" fmla="*/ 1 h 1"/>
                <a:gd name="T32" fmla="*/ 0 w 1"/>
                <a:gd name="T33" fmla="*/ 1 h 1"/>
                <a:gd name="T34" fmla="*/ 0 w 1"/>
                <a:gd name="T35" fmla="*/ 1 h 1"/>
                <a:gd name="T36" fmla="*/ 0 w 1"/>
                <a:gd name="T37" fmla="*/ 1 h 1"/>
                <a:gd name="T38" fmla="*/ 0 w 1"/>
                <a:gd name="T39" fmla="*/ 1 h 1"/>
                <a:gd name="T40" fmla="*/ 0 w 1"/>
                <a:gd name="T41" fmla="*/ 1 h 1"/>
                <a:gd name="T42" fmla="*/ 0 w 1"/>
                <a:gd name="T43" fmla="*/ 1 h 1"/>
                <a:gd name="T44" fmla="*/ 1 w 1"/>
                <a:gd name="T45" fmla="*/ 1 h 1"/>
                <a:gd name="T46" fmla="*/ 1 w 1"/>
                <a:gd name="T47" fmla="*/ 1 h 1"/>
                <a:gd name="T48" fmla="*/ 1 w 1"/>
                <a:gd name="T49" fmla="*/ 0 h 1"/>
                <a:gd name="T50" fmla="*/ 1 w 1"/>
                <a:gd name="T51" fmla="*/ 0 h 1"/>
                <a:gd name="T52" fmla="*/ 1 w 1"/>
                <a:gd name="T53" fmla="*/ 0 h 1"/>
                <a:gd name="T54" fmla="*/ 1 w 1"/>
                <a:gd name="T55" fmla="*/ 0 h 1"/>
                <a:gd name="T56" fmla="*/ 1 w 1"/>
                <a:gd name="T5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 h="1">
                  <a:moveTo>
                    <a:pt x="1" y="0"/>
                  </a:moveTo>
                  <a:lnTo>
                    <a:pt x="1" y="1"/>
                  </a:lnTo>
                  <a:lnTo>
                    <a:pt x="1" y="1"/>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0" y="1"/>
                  </a:lnTo>
                  <a:lnTo>
                    <a:pt x="0" y="1"/>
                  </a:lnTo>
                  <a:lnTo>
                    <a:pt x="0" y="1"/>
                  </a:lnTo>
                  <a:lnTo>
                    <a:pt x="1" y="1"/>
                  </a:lnTo>
                  <a:lnTo>
                    <a:pt x="1" y="1"/>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54" name="Freeform 1520">
              <a:extLst>
                <a:ext uri="{FF2B5EF4-FFF2-40B4-BE49-F238E27FC236}">
                  <a16:creationId xmlns:a16="http://schemas.microsoft.com/office/drawing/2014/main" id="{EEEAF07C-C500-405B-ACC1-C6D842E6E440}"/>
                </a:ext>
              </a:extLst>
            </p:cNvPr>
            <p:cNvSpPr>
              <a:spLocks/>
            </p:cNvSpPr>
            <p:nvPr/>
          </p:nvSpPr>
          <p:spPr bwMode="auto">
            <a:xfrm>
              <a:off x="6077531" y="2115872"/>
              <a:ext cx="2671" cy="1336"/>
            </a:xfrm>
            <a:custGeom>
              <a:avLst/>
              <a:gdLst>
                <a:gd name="T0" fmla="*/ 2 w 2"/>
                <a:gd name="T1" fmla="*/ 0 h 1"/>
                <a:gd name="T2" fmla="*/ 2 w 2"/>
                <a:gd name="T3" fmla="*/ 0 h 1"/>
                <a:gd name="T4" fmla="*/ 1 w 2"/>
                <a:gd name="T5" fmla="*/ 0 h 1"/>
                <a:gd name="T6" fmla="*/ 1 w 2"/>
                <a:gd name="T7" fmla="*/ 0 h 1"/>
                <a:gd name="T8" fmla="*/ 1 w 2"/>
                <a:gd name="T9" fmla="*/ 0 h 1"/>
                <a:gd name="T10" fmla="*/ 2 w 2"/>
                <a:gd name="T11" fmla="*/ 0 h 1"/>
                <a:gd name="T12" fmla="*/ 2 w 2"/>
                <a:gd name="T13" fmla="*/ 0 h 1"/>
                <a:gd name="T14" fmla="*/ 2 w 2"/>
                <a:gd name="T15" fmla="*/ 0 h 1"/>
                <a:gd name="T16" fmla="*/ 2 w 2"/>
                <a:gd name="T17" fmla="*/ 0 h 1"/>
                <a:gd name="T18" fmla="*/ 1 w 2"/>
                <a:gd name="T19" fmla="*/ 0 h 1"/>
                <a:gd name="T20" fmla="*/ 1 w 2"/>
                <a:gd name="T21" fmla="*/ 0 h 1"/>
                <a:gd name="T22" fmla="*/ 1 w 2"/>
                <a:gd name="T23" fmla="*/ 0 h 1"/>
                <a:gd name="T24" fmla="*/ 1 w 2"/>
                <a:gd name="T25" fmla="*/ 0 h 1"/>
                <a:gd name="T26" fmla="*/ 1 w 2"/>
                <a:gd name="T27" fmla="*/ 0 h 1"/>
                <a:gd name="T28" fmla="*/ 1 w 2"/>
                <a:gd name="T29" fmla="*/ 0 h 1"/>
                <a:gd name="T30" fmla="*/ 1 w 2"/>
                <a:gd name="T31" fmla="*/ 0 h 1"/>
                <a:gd name="T32" fmla="*/ 1 w 2"/>
                <a:gd name="T33" fmla="*/ 0 h 1"/>
                <a:gd name="T34" fmla="*/ 1 w 2"/>
                <a:gd name="T35" fmla="*/ 0 h 1"/>
                <a:gd name="T36" fmla="*/ 1 w 2"/>
                <a:gd name="T37" fmla="*/ 0 h 1"/>
                <a:gd name="T38" fmla="*/ 1 w 2"/>
                <a:gd name="T39" fmla="*/ 0 h 1"/>
                <a:gd name="T40" fmla="*/ 1 w 2"/>
                <a:gd name="T41" fmla="*/ 0 h 1"/>
                <a:gd name="T42" fmla="*/ 1 w 2"/>
                <a:gd name="T43" fmla="*/ 0 h 1"/>
                <a:gd name="T44" fmla="*/ 1 w 2"/>
                <a:gd name="T45" fmla="*/ 0 h 1"/>
                <a:gd name="T46" fmla="*/ 1 w 2"/>
                <a:gd name="T47" fmla="*/ 0 h 1"/>
                <a:gd name="T48" fmla="*/ 0 w 2"/>
                <a:gd name="T49" fmla="*/ 0 h 1"/>
                <a:gd name="T50" fmla="*/ 0 w 2"/>
                <a:gd name="T51" fmla="*/ 1 h 1"/>
                <a:gd name="T52" fmla="*/ 0 w 2"/>
                <a:gd name="T53" fmla="*/ 1 h 1"/>
                <a:gd name="T54" fmla="*/ 0 w 2"/>
                <a:gd name="T55" fmla="*/ 0 h 1"/>
                <a:gd name="T56" fmla="*/ 0 w 2"/>
                <a:gd name="T57" fmla="*/ 0 h 1"/>
                <a:gd name="T58" fmla="*/ 0 w 2"/>
                <a:gd name="T59" fmla="*/ 0 h 1"/>
                <a:gd name="T60" fmla="*/ 0 w 2"/>
                <a:gd name="T61" fmla="*/ 0 h 1"/>
                <a:gd name="T62" fmla="*/ 0 w 2"/>
                <a:gd name="T63" fmla="*/ 0 h 1"/>
                <a:gd name="T64" fmla="*/ 0 w 2"/>
                <a:gd name="T65" fmla="*/ 0 h 1"/>
                <a:gd name="T66" fmla="*/ 0 w 2"/>
                <a:gd name="T67" fmla="*/ 0 h 1"/>
                <a:gd name="T68" fmla="*/ 0 w 2"/>
                <a:gd name="T69" fmla="*/ 0 h 1"/>
                <a:gd name="T70" fmla="*/ 1 w 2"/>
                <a:gd name="T71" fmla="*/ 0 h 1"/>
                <a:gd name="T72" fmla="*/ 1 w 2"/>
                <a:gd name="T73" fmla="*/ 0 h 1"/>
                <a:gd name="T74" fmla="*/ 1 w 2"/>
                <a:gd name="T75" fmla="*/ 0 h 1"/>
                <a:gd name="T76" fmla="*/ 1 w 2"/>
                <a:gd name="T77" fmla="*/ 0 h 1"/>
                <a:gd name="T78" fmla="*/ 1 w 2"/>
                <a:gd name="T79" fmla="*/ 0 h 1"/>
                <a:gd name="T80" fmla="*/ 2 w 2"/>
                <a:gd name="T8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 h="1">
                  <a:moveTo>
                    <a:pt x="2" y="0"/>
                  </a:moveTo>
                  <a:lnTo>
                    <a:pt x="2" y="0"/>
                  </a:lnTo>
                  <a:lnTo>
                    <a:pt x="1" y="0"/>
                  </a:lnTo>
                  <a:lnTo>
                    <a:pt x="1" y="0"/>
                  </a:lnTo>
                  <a:lnTo>
                    <a:pt x="1" y="0"/>
                  </a:lnTo>
                  <a:lnTo>
                    <a:pt x="2" y="0"/>
                  </a:lnTo>
                  <a:lnTo>
                    <a:pt x="2" y="0"/>
                  </a:lnTo>
                  <a:lnTo>
                    <a:pt x="2" y="0"/>
                  </a:lnTo>
                  <a:lnTo>
                    <a:pt x="2"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0" y="0"/>
                  </a:lnTo>
                  <a:lnTo>
                    <a:pt x="0" y="1"/>
                  </a:lnTo>
                  <a:lnTo>
                    <a:pt x="0" y="1"/>
                  </a:lnTo>
                  <a:lnTo>
                    <a:pt x="0" y="0"/>
                  </a:lnTo>
                  <a:lnTo>
                    <a:pt x="0" y="0"/>
                  </a:lnTo>
                  <a:lnTo>
                    <a:pt x="0" y="0"/>
                  </a:lnTo>
                  <a:lnTo>
                    <a:pt x="0" y="0"/>
                  </a:lnTo>
                  <a:lnTo>
                    <a:pt x="0" y="0"/>
                  </a:lnTo>
                  <a:lnTo>
                    <a:pt x="0" y="0"/>
                  </a:lnTo>
                  <a:lnTo>
                    <a:pt x="0" y="0"/>
                  </a:lnTo>
                  <a:lnTo>
                    <a:pt x="0" y="0"/>
                  </a:lnTo>
                  <a:lnTo>
                    <a:pt x="1" y="0"/>
                  </a:lnTo>
                  <a:lnTo>
                    <a:pt x="1" y="0"/>
                  </a:lnTo>
                  <a:lnTo>
                    <a:pt x="1" y="0"/>
                  </a:lnTo>
                  <a:lnTo>
                    <a:pt x="1" y="0"/>
                  </a:lnTo>
                  <a:lnTo>
                    <a:pt x="1"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55" name="Freeform 1521">
              <a:extLst>
                <a:ext uri="{FF2B5EF4-FFF2-40B4-BE49-F238E27FC236}">
                  <a16:creationId xmlns:a16="http://schemas.microsoft.com/office/drawing/2014/main" id="{EFAAC6B7-EA8C-499A-8AE6-75655D816518}"/>
                </a:ext>
              </a:extLst>
            </p:cNvPr>
            <p:cNvSpPr>
              <a:spLocks/>
            </p:cNvSpPr>
            <p:nvPr/>
          </p:nvSpPr>
          <p:spPr bwMode="auto">
            <a:xfrm>
              <a:off x="6070854" y="2113201"/>
              <a:ext cx="1336" cy="4007"/>
            </a:xfrm>
            <a:custGeom>
              <a:avLst/>
              <a:gdLst>
                <a:gd name="T0" fmla="*/ 1 w 1"/>
                <a:gd name="T1" fmla="*/ 3 h 3"/>
                <a:gd name="T2" fmla="*/ 1 w 1"/>
                <a:gd name="T3" fmla="*/ 3 h 3"/>
                <a:gd name="T4" fmla="*/ 1 w 1"/>
                <a:gd name="T5" fmla="*/ 3 h 3"/>
                <a:gd name="T6" fmla="*/ 1 w 1"/>
                <a:gd name="T7" fmla="*/ 3 h 3"/>
                <a:gd name="T8" fmla="*/ 1 w 1"/>
                <a:gd name="T9" fmla="*/ 3 h 3"/>
                <a:gd name="T10" fmla="*/ 1 w 1"/>
                <a:gd name="T11" fmla="*/ 3 h 3"/>
                <a:gd name="T12" fmla="*/ 1 w 1"/>
                <a:gd name="T13" fmla="*/ 3 h 3"/>
                <a:gd name="T14" fmla="*/ 0 w 1"/>
                <a:gd name="T15" fmla="*/ 3 h 3"/>
                <a:gd name="T16" fmla="*/ 0 w 1"/>
                <a:gd name="T17" fmla="*/ 3 h 3"/>
                <a:gd name="T18" fmla="*/ 0 w 1"/>
                <a:gd name="T19" fmla="*/ 3 h 3"/>
                <a:gd name="T20" fmla="*/ 0 w 1"/>
                <a:gd name="T21" fmla="*/ 3 h 3"/>
                <a:gd name="T22" fmla="*/ 0 w 1"/>
                <a:gd name="T23" fmla="*/ 3 h 3"/>
                <a:gd name="T24" fmla="*/ 0 w 1"/>
                <a:gd name="T25" fmla="*/ 2 h 3"/>
                <a:gd name="T26" fmla="*/ 0 w 1"/>
                <a:gd name="T27" fmla="*/ 2 h 3"/>
                <a:gd name="T28" fmla="*/ 0 w 1"/>
                <a:gd name="T29" fmla="*/ 2 h 3"/>
                <a:gd name="T30" fmla="*/ 0 w 1"/>
                <a:gd name="T31" fmla="*/ 2 h 3"/>
                <a:gd name="T32" fmla="*/ 0 w 1"/>
                <a:gd name="T33" fmla="*/ 2 h 3"/>
                <a:gd name="T34" fmla="*/ 0 w 1"/>
                <a:gd name="T35" fmla="*/ 2 h 3"/>
                <a:gd name="T36" fmla="*/ 0 w 1"/>
                <a:gd name="T37" fmla="*/ 2 h 3"/>
                <a:gd name="T38" fmla="*/ 0 w 1"/>
                <a:gd name="T39" fmla="*/ 0 h 3"/>
                <a:gd name="T40" fmla="*/ 0 w 1"/>
                <a:gd name="T41" fmla="*/ 0 h 3"/>
                <a:gd name="T42" fmla="*/ 0 w 1"/>
                <a:gd name="T43" fmla="*/ 0 h 3"/>
                <a:gd name="T44" fmla="*/ 0 w 1"/>
                <a:gd name="T45" fmla="*/ 0 h 3"/>
                <a:gd name="T46" fmla="*/ 0 w 1"/>
                <a:gd name="T47" fmla="*/ 0 h 3"/>
                <a:gd name="T48" fmla="*/ 0 w 1"/>
                <a:gd name="T49" fmla="*/ 0 h 3"/>
                <a:gd name="T50" fmla="*/ 0 w 1"/>
                <a:gd name="T51" fmla="*/ 0 h 3"/>
                <a:gd name="T52" fmla="*/ 1 w 1"/>
                <a:gd name="T53" fmla="*/ 0 h 3"/>
                <a:gd name="T54" fmla="*/ 1 w 1"/>
                <a:gd name="T55" fmla="*/ 2 h 3"/>
                <a:gd name="T56" fmla="*/ 1 w 1"/>
                <a:gd name="T57" fmla="*/ 2 h 3"/>
                <a:gd name="T58" fmla="*/ 1 w 1"/>
                <a:gd name="T59" fmla="*/ 2 h 3"/>
                <a:gd name="T60" fmla="*/ 1 w 1"/>
                <a:gd name="T61" fmla="*/ 2 h 3"/>
                <a:gd name="T62" fmla="*/ 1 w 1"/>
                <a:gd name="T63" fmla="*/ 2 h 3"/>
                <a:gd name="T64" fmla="*/ 1 w 1"/>
                <a:gd name="T65" fmla="*/ 2 h 3"/>
                <a:gd name="T66" fmla="*/ 1 w 1"/>
                <a:gd name="T67" fmla="*/ 2 h 3"/>
                <a:gd name="T68" fmla="*/ 1 w 1"/>
                <a:gd name="T69" fmla="*/ 3 h 3"/>
                <a:gd name="T70" fmla="*/ 1 w 1"/>
                <a:gd name="T71" fmla="*/ 3 h 3"/>
                <a:gd name="T72" fmla="*/ 1 w 1"/>
                <a:gd name="T73" fmla="*/ 3 h 3"/>
                <a:gd name="T74" fmla="*/ 1 w 1"/>
                <a:gd name="T75" fmla="*/ 3 h 3"/>
                <a:gd name="T76" fmla="*/ 1 w 1"/>
                <a:gd name="T7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 h="3">
                  <a:moveTo>
                    <a:pt x="1" y="3"/>
                  </a:moveTo>
                  <a:lnTo>
                    <a:pt x="1" y="3"/>
                  </a:lnTo>
                  <a:lnTo>
                    <a:pt x="1" y="3"/>
                  </a:lnTo>
                  <a:lnTo>
                    <a:pt x="1" y="3"/>
                  </a:lnTo>
                  <a:lnTo>
                    <a:pt x="1" y="3"/>
                  </a:lnTo>
                  <a:lnTo>
                    <a:pt x="1" y="3"/>
                  </a:lnTo>
                  <a:lnTo>
                    <a:pt x="1" y="3"/>
                  </a:lnTo>
                  <a:lnTo>
                    <a:pt x="0" y="3"/>
                  </a:lnTo>
                  <a:lnTo>
                    <a:pt x="0" y="3"/>
                  </a:lnTo>
                  <a:lnTo>
                    <a:pt x="0" y="3"/>
                  </a:lnTo>
                  <a:lnTo>
                    <a:pt x="0" y="3"/>
                  </a:lnTo>
                  <a:lnTo>
                    <a:pt x="0" y="3"/>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0" y="0"/>
                  </a:lnTo>
                  <a:lnTo>
                    <a:pt x="1" y="0"/>
                  </a:lnTo>
                  <a:lnTo>
                    <a:pt x="1" y="2"/>
                  </a:lnTo>
                  <a:lnTo>
                    <a:pt x="1" y="2"/>
                  </a:lnTo>
                  <a:lnTo>
                    <a:pt x="1" y="2"/>
                  </a:lnTo>
                  <a:lnTo>
                    <a:pt x="1" y="2"/>
                  </a:lnTo>
                  <a:lnTo>
                    <a:pt x="1" y="2"/>
                  </a:lnTo>
                  <a:lnTo>
                    <a:pt x="1" y="2"/>
                  </a:lnTo>
                  <a:lnTo>
                    <a:pt x="1" y="2"/>
                  </a:lnTo>
                  <a:lnTo>
                    <a:pt x="1" y="3"/>
                  </a:lnTo>
                  <a:lnTo>
                    <a:pt x="1" y="3"/>
                  </a:lnTo>
                  <a:lnTo>
                    <a:pt x="1" y="3"/>
                  </a:lnTo>
                  <a:lnTo>
                    <a:pt x="1" y="3"/>
                  </a:lnTo>
                  <a:lnTo>
                    <a:pt x="1" y="3"/>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56" name="Freeform 1522">
              <a:extLst>
                <a:ext uri="{FF2B5EF4-FFF2-40B4-BE49-F238E27FC236}">
                  <a16:creationId xmlns:a16="http://schemas.microsoft.com/office/drawing/2014/main" id="{E8FB762F-37A8-4790-9D7A-8B86C852AF9B}"/>
                </a:ext>
              </a:extLst>
            </p:cNvPr>
            <p:cNvSpPr>
              <a:spLocks/>
            </p:cNvSpPr>
            <p:nvPr/>
          </p:nvSpPr>
          <p:spPr bwMode="auto">
            <a:xfrm>
              <a:off x="6081538" y="2113201"/>
              <a:ext cx="2671" cy="2671"/>
            </a:xfrm>
            <a:custGeom>
              <a:avLst/>
              <a:gdLst>
                <a:gd name="T0" fmla="*/ 2 w 2"/>
                <a:gd name="T1" fmla="*/ 0 h 2"/>
                <a:gd name="T2" fmla="*/ 2 w 2"/>
                <a:gd name="T3" fmla="*/ 0 h 2"/>
                <a:gd name="T4" fmla="*/ 2 w 2"/>
                <a:gd name="T5" fmla="*/ 2 h 2"/>
                <a:gd name="T6" fmla="*/ 2 w 2"/>
                <a:gd name="T7" fmla="*/ 2 h 2"/>
                <a:gd name="T8" fmla="*/ 2 w 2"/>
                <a:gd name="T9" fmla="*/ 2 h 2"/>
                <a:gd name="T10" fmla="*/ 2 w 2"/>
                <a:gd name="T11" fmla="*/ 2 h 2"/>
                <a:gd name="T12" fmla="*/ 2 w 2"/>
                <a:gd name="T13" fmla="*/ 2 h 2"/>
                <a:gd name="T14" fmla="*/ 2 w 2"/>
                <a:gd name="T15" fmla="*/ 2 h 2"/>
                <a:gd name="T16" fmla="*/ 2 w 2"/>
                <a:gd name="T17" fmla="*/ 2 h 2"/>
                <a:gd name="T18" fmla="*/ 2 w 2"/>
                <a:gd name="T19" fmla="*/ 2 h 2"/>
                <a:gd name="T20" fmla="*/ 2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0 h 2"/>
                <a:gd name="T44" fmla="*/ 0 w 2"/>
                <a:gd name="T45" fmla="*/ 0 h 2"/>
                <a:gd name="T46" fmla="*/ 0 w 2"/>
                <a:gd name="T47" fmla="*/ 0 h 2"/>
                <a:gd name="T48" fmla="*/ 0 w 2"/>
                <a:gd name="T49" fmla="*/ 0 h 2"/>
                <a:gd name="T50" fmla="*/ 0 w 2"/>
                <a:gd name="T51" fmla="*/ 0 h 2"/>
                <a:gd name="T52" fmla="*/ 0 w 2"/>
                <a:gd name="T53" fmla="*/ 0 h 2"/>
                <a:gd name="T54" fmla="*/ 0 w 2"/>
                <a:gd name="T55" fmla="*/ 0 h 2"/>
                <a:gd name="T56" fmla="*/ 0 w 2"/>
                <a:gd name="T57" fmla="*/ 0 h 2"/>
                <a:gd name="T58" fmla="*/ 0 w 2"/>
                <a:gd name="T59" fmla="*/ 0 h 2"/>
                <a:gd name="T60" fmla="*/ 2 w 2"/>
                <a:gd name="T61" fmla="*/ 0 h 2"/>
                <a:gd name="T62" fmla="*/ 2 w 2"/>
                <a:gd name="T63" fmla="*/ 0 h 2"/>
                <a:gd name="T64" fmla="*/ 2 w 2"/>
                <a:gd name="T65" fmla="*/ 0 h 2"/>
                <a:gd name="T66" fmla="*/ 2 w 2"/>
                <a:gd name="T67" fmla="*/ 0 h 2"/>
                <a:gd name="T68" fmla="*/ 2 w 2"/>
                <a:gd name="T69" fmla="*/ 0 h 2"/>
                <a:gd name="T70" fmla="*/ 2 w 2"/>
                <a:gd name="T71" fmla="*/ 0 h 2"/>
                <a:gd name="T72" fmla="*/ 2 w 2"/>
                <a:gd name="T73" fmla="*/ 0 h 2"/>
                <a:gd name="T74" fmla="*/ 2 w 2"/>
                <a:gd name="T75" fmla="*/ 0 h 2"/>
                <a:gd name="T76" fmla="*/ 2 w 2"/>
                <a:gd name="T77" fmla="*/ 0 h 2"/>
                <a:gd name="T78" fmla="*/ 2 w 2"/>
                <a:gd name="T79" fmla="*/ 0 h 2"/>
                <a:gd name="T80" fmla="*/ 2 w 2"/>
                <a:gd name="T81" fmla="*/ 0 h 2"/>
                <a:gd name="T82" fmla="*/ 2 w 2"/>
                <a:gd name="T8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 h="2">
                  <a:moveTo>
                    <a:pt x="2" y="0"/>
                  </a:moveTo>
                  <a:lnTo>
                    <a:pt x="2" y="0"/>
                  </a:lnTo>
                  <a:lnTo>
                    <a:pt x="2" y="2"/>
                  </a:lnTo>
                  <a:lnTo>
                    <a:pt x="2" y="2"/>
                  </a:lnTo>
                  <a:lnTo>
                    <a:pt x="2" y="2"/>
                  </a:lnTo>
                  <a:lnTo>
                    <a:pt x="2" y="2"/>
                  </a:lnTo>
                  <a:lnTo>
                    <a:pt x="2" y="2"/>
                  </a:lnTo>
                  <a:lnTo>
                    <a:pt x="2" y="2"/>
                  </a:lnTo>
                  <a:lnTo>
                    <a:pt x="2" y="2"/>
                  </a:lnTo>
                  <a:lnTo>
                    <a:pt x="2" y="2"/>
                  </a:lnTo>
                  <a:lnTo>
                    <a:pt x="2" y="2"/>
                  </a:lnTo>
                  <a:lnTo>
                    <a:pt x="0" y="2"/>
                  </a:lnTo>
                  <a:lnTo>
                    <a:pt x="0" y="2"/>
                  </a:lnTo>
                  <a:lnTo>
                    <a:pt x="0" y="2"/>
                  </a:lnTo>
                  <a:lnTo>
                    <a:pt x="0" y="2"/>
                  </a:lnTo>
                  <a:lnTo>
                    <a:pt x="0" y="2"/>
                  </a:lnTo>
                  <a:lnTo>
                    <a:pt x="0" y="2"/>
                  </a:lnTo>
                  <a:lnTo>
                    <a:pt x="0" y="2"/>
                  </a:lnTo>
                  <a:lnTo>
                    <a:pt x="0" y="2"/>
                  </a:lnTo>
                  <a:lnTo>
                    <a:pt x="0" y="2"/>
                  </a:lnTo>
                  <a:lnTo>
                    <a:pt x="0" y="2"/>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57" name="Freeform 1523">
              <a:extLst>
                <a:ext uri="{FF2B5EF4-FFF2-40B4-BE49-F238E27FC236}">
                  <a16:creationId xmlns:a16="http://schemas.microsoft.com/office/drawing/2014/main" id="{3EACBA26-D612-4D9B-A678-EFF36E478C0B}"/>
                </a:ext>
              </a:extLst>
            </p:cNvPr>
            <p:cNvSpPr>
              <a:spLocks/>
            </p:cNvSpPr>
            <p:nvPr/>
          </p:nvSpPr>
          <p:spPr bwMode="auto">
            <a:xfrm>
              <a:off x="6086880" y="2110530"/>
              <a:ext cx="1336" cy="1336"/>
            </a:xfrm>
            <a:custGeom>
              <a:avLst/>
              <a:gdLst>
                <a:gd name="T0" fmla="*/ 1 w 1"/>
                <a:gd name="T1" fmla="*/ 1 h 1"/>
                <a:gd name="T2" fmla="*/ 0 w 1"/>
                <a:gd name="T3" fmla="*/ 1 h 1"/>
                <a:gd name="T4" fmla="*/ 0 w 1"/>
                <a:gd name="T5" fmla="*/ 1 h 1"/>
                <a:gd name="T6" fmla="*/ 0 w 1"/>
                <a:gd name="T7" fmla="*/ 1 h 1"/>
                <a:gd name="T8" fmla="*/ 0 w 1"/>
                <a:gd name="T9" fmla="*/ 1 h 1"/>
                <a:gd name="T10" fmla="*/ 0 w 1"/>
                <a:gd name="T11" fmla="*/ 0 h 1"/>
                <a:gd name="T12" fmla="*/ 0 w 1"/>
                <a:gd name="T13" fmla="*/ 0 h 1"/>
                <a:gd name="T14" fmla="*/ 0 w 1"/>
                <a:gd name="T15" fmla="*/ 0 h 1"/>
                <a:gd name="T16" fmla="*/ 1 w 1"/>
                <a:gd name="T17" fmla="*/ 0 h 1"/>
                <a:gd name="T18" fmla="*/ 1 w 1"/>
                <a:gd name="T19" fmla="*/ 0 h 1"/>
                <a:gd name="T20" fmla="*/ 1 w 1"/>
                <a:gd name="T2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1">
                  <a:moveTo>
                    <a:pt x="1" y="1"/>
                  </a:moveTo>
                  <a:lnTo>
                    <a:pt x="0" y="1"/>
                  </a:lnTo>
                  <a:lnTo>
                    <a:pt x="0" y="1"/>
                  </a:lnTo>
                  <a:lnTo>
                    <a:pt x="0" y="1"/>
                  </a:lnTo>
                  <a:lnTo>
                    <a:pt x="0" y="1"/>
                  </a:lnTo>
                  <a:lnTo>
                    <a:pt x="0" y="0"/>
                  </a:lnTo>
                  <a:lnTo>
                    <a:pt x="0" y="0"/>
                  </a:lnTo>
                  <a:lnTo>
                    <a:pt x="0" y="0"/>
                  </a:lnTo>
                  <a:lnTo>
                    <a:pt x="1" y="0"/>
                  </a:lnTo>
                  <a:lnTo>
                    <a:pt x="1" y="0"/>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58" name="Freeform 1524">
              <a:extLst>
                <a:ext uri="{FF2B5EF4-FFF2-40B4-BE49-F238E27FC236}">
                  <a16:creationId xmlns:a16="http://schemas.microsoft.com/office/drawing/2014/main" id="{BA1F8E67-9CA4-41FA-A9F8-1023ADD7A305}"/>
                </a:ext>
              </a:extLst>
            </p:cNvPr>
            <p:cNvSpPr>
              <a:spLocks/>
            </p:cNvSpPr>
            <p:nvPr/>
          </p:nvSpPr>
          <p:spPr bwMode="auto">
            <a:xfrm>
              <a:off x="6086880" y="2109195"/>
              <a:ext cx="1336" cy="1336"/>
            </a:xfrm>
            <a:custGeom>
              <a:avLst/>
              <a:gdLst>
                <a:gd name="T0" fmla="*/ 1 w 1"/>
                <a:gd name="T1" fmla="*/ 1 h 1"/>
                <a:gd name="T2" fmla="*/ 1 w 1"/>
                <a:gd name="T3" fmla="*/ 1 h 1"/>
                <a:gd name="T4" fmla="*/ 1 w 1"/>
                <a:gd name="T5" fmla="*/ 1 h 1"/>
                <a:gd name="T6" fmla="*/ 1 w 1"/>
                <a:gd name="T7" fmla="*/ 1 h 1"/>
                <a:gd name="T8" fmla="*/ 1 w 1"/>
                <a:gd name="T9" fmla="*/ 1 h 1"/>
                <a:gd name="T10" fmla="*/ 1 w 1"/>
                <a:gd name="T11" fmla="*/ 1 h 1"/>
                <a:gd name="T12" fmla="*/ 1 w 1"/>
                <a:gd name="T13" fmla="*/ 1 h 1"/>
                <a:gd name="T14" fmla="*/ 0 w 1"/>
                <a:gd name="T15" fmla="*/ 1 h 1"/>
                <a:gd name="T16" fmla="*/ 0 w 1"/>
                <a:gd name="T17" fmla="*/ 1 h 1"/>
                <a:gd name="T18" fmla="*/ 0 w 1"/>
                <a:gd name="T19" fmla="*/ 1 h 1"/>
                <a:gd name="T20" fmla="*/ 0 w 1"/>
                <a:gd name="T21" fmla="*/ 1 h 1"/>
                <a:gd name="T22" fmla="*/ 0 w 1"/>
                <a:gd name="T23" fmla="*/ 1 h 1"/>
                <a:gd name="T24" fmla="*/ 0 w 1"/>
                <a:gd name="T25" fmla="*/ 0 h 1"/>
                <a:gd name="T26" fmla="*/ 1 w 1"/>
                <a:gd name="T27" fmla="*/ 0 h 1"/>
                <a:gd name="T28" fmla="*/ 1 w 1"/>
                <a:gd name="T29" fmla="*/ 0 h 1"/>
                <a:gd name="T30" fmla="*/ 1 w 1"/>
                <a:gd name="T31" fmla="*/ 0 h 1"/>
                <a:gd name="T32" fmla="*/ 1 w 1"/>
                <a:gd name="T33" fmla="*/ 0 h 1"/>
                <a:gd name="T34" fmla="*/ 1 w 1"/>
                <a:gd name="T35" fmla="*/ 0 h 1"/>
                <a:gd name="T36" fmla="*/ 1 w 1"/>
                <a:gd name="T37" fmla="*/ 0 h 1"/>
                <a:gd name="T38" fmla="*/ 1 w 1"/>
                <a:gd name="T39" fmla="*/ 1 h 1"/>
                <a:gd name="T40" fmla="*/ 1 w 1"/>
                <a:gd name="T41" fmla="*/ 1 h 1"/>
                <a:gd name="T42" fmla="*/ 1 w 1"/>
                <a:gd name="T43" fmla="*/ 1 h 1"/>
                <a:gd name="T44" fmla="*/ 1 w 1"/>
                <a:gd name="T4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 h="1">
                  <a:moveTo>
                    <a:pt x="1" y="1"/>
                  </a:moveTo>
                  <a:lnTo>
                    <a:pt x="1" y="1"/>
                  </a:lnTo>
                  <a:lnTo>
                    <a:pt x="1" y="1"/>
                  </a:lnTo>
                  <a:lnTo>
                    <a:pt x="1" y="1"/>
                  </a:lnTo>
                  <a:lnTo>
                    <a:pt x="1" y="1"/>
                  </a:lnTo>
                  <a:lnTo>
                    <a:pt x="1" y="1"/>
                  </a:lnTo>
                  <a:lnTo>
                    <a:pt x="1" y="1"/>
                  </a:lnTo>
                  <a:lnTo>
                    <a:pt x="0" y="1"/>
                  </a:lnTo>
                  <a:lnTo>
                    <a:pt x="0" y="1"/>
                  </a:lnTo>
                  <a:lnTo>
                    <a:pt x="0" y="1"/>
                  </a:lnTo>
                  <a:lnTo>
                    <a:pt x="0" y="1"/>
                  </a:lnTo>
                  <a:lnTo>
                    <a:pt x="0" y="1"/>
                  </a:lnTo>
                  <a:lnTo>
                    <a:pt x="0" y="0"/>
                  </a:lnTo>
                  <a:lnTo>
                    <a:pt x="1" y="0"/>
                  </a:lnTo>
                  <a:lnTo>
                    <a:pt x="1" y="0"/>
                  </a:lnTo>
                  <a:lnTo>
                    <a:pt x="1" y="0"/>
                  </a:lnTo>
                  <a:lnTo>
                    <a:pt x="1" y="0"/>
                  </a:lnTo>
                  <a:lnTo>
                    <a:pt x="1" y="0"/>
                  </a:lnTo>
                  <a:lnTo>
                    <a:pt x="1" y="0"/>
                  </a:lnTo>
                  <a:lnTo>
                    <a:pt x="1" y="1"/>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59" name="Freeform 1525">
              <a:extLst>
                <a:ext uri="{FF2B5EF4-FFF2-40B4-BE49-F238E27FC236}">
                  <a16:creationId xmlns:a16="http://schemas.microsoft.com/office/drawing/2014/main" id="{AF4FE7F4-812D-4F10-BEA2-17675BBAB8F4}"/>
                </a:ext>
              </a:extLst>
            </p:cNvPr>
            <p:cNvSpPr>
              <a:spLocks/>
            </p:cNvSpPr>
            <p:nvPr/>
          </p:nvSpPr>
          <p:spPr bwMode="auto">
            <a:xfrm>
              <a:off x="6081538" y="2109195"/>
              <a:ext cx="4007" cy="1336"/>
            </a:xfrm>
            <a:custGeom>
              <a:avLst/>
              <a:gdLst>
                <a:gd name="T0" fmla="*/ 2 w 3"/>
                <a:gd name="T1" fmla="*/ 0 h 1"/>
                <a:gd name="T2" fmla="*/ 3 w 3"/>
                <a:gd name="T3" fmla="*/ 1 h 1"/>
                <a:gd name="T4" fmla="*/ 3 w 3"/>
                <a:gd name="T5" fmla="*/ 1 h 1"/>
                <a:gd name="T6" fmla="*/ 2 w 3"/>
                <a:gd name="T7" fmla="*/ 1 h 1"/>
                <a:gd name="T8" fmla="*/ 2 w 3"/>
                <a:gd name="T9" fmla="*/ 1 h 1"/>
                <a:gd name="T10" fmla="*/ 2 w 3"/>
                <a:gd name="T11" fmla="*/ 1 h 1"/>
                <a:gd name="T12" fmla="*/ 2 w 3"/>
                <a:gd name="T13" fmla="*/ 1 h 1"/>
                <a:gd name="T14" fmla="*/ 3 w 3"/>
                <a:gd name="T15" fmla="*/ 1 h 1"/>
                <a:gd name="T16" fmla="*/ 3 w 3"/>
                <a:gd name="T17" fmla="*/ 1 h 1"/>
                <a:gd name="T18" fmla="*/ 2 w 3"/>
                <a:gd name="T19" fmla="*/ 1 h 1"/>
                <a:gd name="T20" fmla="*/ 2 w 3"/>
                <a:gd name="T21" fmla="*/ 1 h 1"/>
                <a:gd name="T22" fmla="*/ 0 w 3"/>
                <a:gd name="T23" fmla="*/ 1 h 1"/>
                <a:gd name="T24" fmla="*/ 0 w 3"/>
                <a:gd name="T25" fmla="*/ 1 h 1"/>
                <a:gd name="T26" fmla="*/ 0 w 3"/>
                <a:gd name="T27" fmla="*/ 1 h 1"/>
                <a:gd name="T28" fmla="*/ 0 w 3"/>
                <a:gd name="T29" fmla="*/ 1 h 1"/>
                <a:gd name="T30" fmla="*/ 0 w 3"/>
                <a:gd name="T31" fmla="*/ 0 h 1"/>
                <a:gd name="T32" fmla="*/ 0 w 3"/>
                <a:gd name="T33" fmla="*/ 0 h 1"/>
                <a:gd name="T34" fmla="*/ 2 w 3"/>
                <a:gd name="T35" fmla="*/ 0 h 1"/>
                <a:gd name="T36" fmla="*/ 2 w 3"/>
                <a:gd name="T3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 h="1">
                  <a:moveTo>
                    <a:pt x="2" y="0"/>
                  </a:moveTo>
                  <a:lnTo>
                    <a:pt x="3" y="1"/>
                  </a:lnTo>
                  <a:lnTo>
                    <a:pt x="3" y="1"/>
                  </a:lnTo>
                  <a:lnTo>
                    <a:pt x="2" y="1"/>
                  </a:lnTo>
                  <a:lnTo>
                    <a:pt x="2" y="1"/>
                  </a:lnTo>
                  <a:lnTo>
                    <a:pt x="2" y="1"/>
                  </a:lnTo>
                  <a:lnTo>
                    <a:pt x="2" y="1"/>
                  </a:lnTo>
                  <a:lnTo>
                    <a:pt x="3" y="1"/>
                  </a:lnTo>
                  <a:lnTo>
                    <a:pt x="3" y="1"/>
                  </a:lnTo>
                  <a:lnTo>
                    <a:pt x="2" y="1"/>
                  </a:lnTo>
                  <a:lnTo>
                    <a:pt x="2" y="1"/>
                  </a:lnTo>
                  <a:lnTo>
                    <a:pt x="0" y="1"/>
                  </a:lnTo>
                  <a:lnTo>
                    <a:pt x="0" y="1"/>
                  </a:lnTo>
                  <a:lnTo>
                    <a:pt x="0" y="1"/>
                  </a:lnTo>
                  <a:lnTo>
                    <a:pt x="0" y="1"/>
                  </a:lnTo>
                  <a:lnTo>
                    <a:pt x="0" y="0"/>
                  </a:lnTo>
                  <a:lnTo>
                    <a:pt x="0"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60" name="Freeform 1526">
              <a:extLst>
                <a:ext uri="{FF2B5EF4-FFF2-40B4-BE49-F238E27FC236}">
                  <a16:creationId xmlns:a16="http://schemas.microsoft.com/office/drawing/2014/main" id="{C02E2A47-0774-4221-91B6-98BA257D1D41}"/>
                </a:ext>
              </a:extLst>
            </p:cNvPr>
            <p:cNvSpPr>
              <a:spLocks/>
            </p:cNvSpPr>
            <p:nvPr/>
          </p:nvSpPr>
          <p:spPr bwMode="auto">
            <a:xfrm>
              <a:off x="6085544" y="2107859"/>
              <a:ext cx="1336" cy="1336"/>
            </a:xfrm>
            <a:custGeom>
              <a:avLst/>
              <a:gdLst>
                <a:gd name="T0" fmla="*/ 1 w 1"/>
                <a:gd name="T1" fmla="*/ 0 h 1"/>
                <a:gd name="T2" fmla="*/ 1 w 1"/>
                <a:gd name="T3" fmla="*/ 0 h 1"/>
                <a:gd name="T4" fmla="*/ 1 w 1"/>
                <a:gd name="T5" fmla="*/ 0 h 1"/>
                <a:gd name="T6" fmla="*/ 1 w 1"/>
                <a:gd name="T7" fmla="*/ 1 h 1"/>
                <a:gd name="T8" fmla="*/ 1 w 1"/>
                <a:gd name="T9" fmla="*/ 1 h 1"/>
                <a:gd name="T10" fmla="*/ 1 w 1"/>
                <a:gd name="T11" fmla="*/ 1 h 1"/>
                <a:gd name="T12" fmla="*/ 1 w 1"/>
                <a:gd name="T13" fmla="*/ 1 h 1"/>
                <a:gd name="T14" fmla="*/ 1 w 1"/>
                <a:gd name="T15" fmla="*/ 1 h 1"/>
                <a:gd name="T16" fmla="*/ 1 w 1"/>
                <a:gd name="T17" fmla="*/ 1 h 1"/>
                <a:gd name="T18" fmla="*/ 1 w 1"/>
                <a:gd name="T19" fmla="*/ 1 h 1"/>
                <a:gd name="T20" fmla="*/ 1 w 1"/>
                <a:gd name="T21" fmla="*/ 1 h 1"/>
                <a:gd name="T22" fmla="*/ 1 w 1"/>
                <a:gd name="T23" fmla="*/ 1 h 1"/>
                <a:gd name="T24" fmla="*/ 1 w 1"/>
                <a:gd name="T25" fmla="*/ 1 h 1"/>
                <a:gd name="T26" fmla="*/ 1 w 1"/>
                <a:gd name="T27" fmla="*/ 1 h 1"/>
                <a:gd name="T28" fmla="*/ 1 w 1"/>
                <a:gd name="T29" fmla="*/ 1 h 1"/>
                <a:gd name="T30" fmla="*/ 1 w 1"/>
                <a:gd name="T31" fmla="*/ 1 h 1"/>
                <a:gd name="T32" fmla="*/ 1 w 1"/>
                <a:gd name="T33" fmla="*/ 1 h 1"/>
                <a:gd name="T34" fmla="*/ 1 w 1"/>
                <a:gd name="T35" fmla="*/ 1 h 1"/>
                <a:gd name="T36" fmla="*/ 1 w 1"/>
                <a:gd name="T37" fmla="*/ 1 h 1"/>
                <a:gd name="T38" fmla="*/ 1 w 1"/>
                <a:gd name="T39" fmla="*/ 1 h 1"/>
                <a:gd name="T40" fmla="*/ 0 w 1"/>
                <a:gd name="T41" fmla="*/ 1 h 1"/>
                <a:gd name="T42" fmla="*/ 0 w 1"/>
                <a:gd name="T43" fmla="*/ 1 h 1"/>
                <a:gd name="T44" fmla="*/ 0 w 1"/>
                <a:gd name="T45" fmla="*/ 0 h 1"/>
                <a:gd name="T46" fmla="*/ 0 w 1"/>
                <a:gd name="T47" fmla="*/ 0 h 1"/>
                <a:gd name="T48" fmla="*/ 1 w 1"/>
                <a:gd name="T49" fmla="*/ 0 h 1"/>
                <a:gd name="T50" fmla="*/ 1 w 1"/>
                <a:gd name="T51" fmla="*/ 0 h 1"/>
                <a:gd name="T52" fmla="*/ 1 w 1"/>
                <a:gd name="T5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 h="1">
                  <a:moveTo>
                    <a:pt x="1" y="0"/>
                  </a:moveTo>
                  <a:lnTo>
                    <a:pt x="1" y="0"/>
                  </a:lnTo>
                  <a:lnTo>
                    <a:pt x="1" y="0"/>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0" y="1"/>
                  </a:lnTo>
                  <a:lnTo>
                    <a:pt x="0" y="1"/>
                  </a:lnTo>
                  <a:lnTo>
                    <a:pt x="0" y="0"/>
                  </a:lnTo>
                  <a:lnTo>
                    <a:pt x="0"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61" name="Freeform 1527">
              <a:extLst>
                <a:ext uri="{FF2B5EF4-FFF2-40B4-BE49-F238E27FC236}">
                  <a16:creationId xmlns:a16="http://schemas.microsoft.com/office/drawing/2014/main" id="{E12AD80F-AF48-4E01-A73B-909F2C0D3075}"/>
                </a:ext>
              </a:extLst>
            </p:cNvPr>
            <p:cNvSpPr>
              <a:spLocks/>
            </p:cNvSpPr>
            <p:nvPr/>
          </p:nvSpPr>
          <p:spPr bwMode="auto">
            <a:xfrm>
              <a:off x="6077531" y="2107859"/>
              <a:ext cx="2671" cy="1336"/>
            </a:xfrm>
            <a:custGeom>
              <a:avLst/>
              <a:gdLst>
                <a:gd name="T0" fmla="*/ 2 w 2"/>
                <a:gd name="T1" fmla="*/ 0 h 1"/>
                <a:gd name="T2" fmla="*/ 1 w 2"/>
                <a:gd name="T3" fmla="*/ 0 h 1"/>
                <a:gd name="T4" fmla="*/ 1 w 2"/>
                <a:gd name="T5" fmla="*/ 0 h 1"/>
                <a:gd name="T6" fmla="*/ 1 w 2"/>
                <a:gd name="T7" fmla="*/ 0 h 1"/>
                <a:gd name="T8" fmla="*/ 1 w 2"/>
                <a:gd name="T9" fmla="*/ 1 h 1"/>
                <a:gd name="T10" fmla="*/ 1 w 2"/>
                <a:gd name="T11" fmla="*/ 1 h 1"/>
                <a:gd name="T12" fmla="*/ 1 w 2"/>
                <a:gd name="T13" fmla="*/ 1 h 1"/>
                <a:gd name="T14" fmla="*/ 1 w 2"/>
                <a:gd name="T15" fmla="*/ 1 h 1"/>
                <a:gd name="T16" fmla="*/ 1 w 2"/>
                <a:gd name="T17" fmla="*/ 1 h 1"/>
                <a:gd name="T18" fmla="*/ 0 w 2"/>
                <a:gd name="T19" fmla="*/ 1 h 1"/>
                <a:gd name="T20" fmla="*/ 0 w 2"/>
                <a:gd name="T21" fmla="*/ 1 h 1"/>
                <a:gd name="T22" fmla="*/ 0 w 2"/>
                <a:gd name="T23" fmla="*/ 0 h 1"/>
                <a:gd name="T24" fmla="*/ 0 w 2"/>
                <a:gd name="T25" fmla="*/ 0 h 1"/>
                <a:gd name="T26" fmla="*/ 0 w 2"/>
                <a:gd name="T27" fmla="*/ 0 h 1"/>
                <a:gd name="T28" fmla="*/ 0 w 2"/>
                <a:gd name="T29" fmla="*/ 0 h 1"/>
                <a:gd name="T30" fmla="*/ 0 w 2"/>
                <a:gd name="T31" fmla="*/ 0 h 1"/>
                <a:gd name="T32" fmla="*/ 1 w 2"/>
                <a:gd name="T33" fmla="*/ 0 h 1"/>
                <a:gd name="T34" fmla="*/ 2 w 2"/>
                <a:gd name="T35"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 h="1">
                  <a:moveTo>
                    <a:pt x="2" y="0"/>
                  </a:moveTo>
                  <a:lnTo>
                    <a:pt x="1" y="0"/>
                  </a:lnTo>
                  <a:lnTo>
                    <a:pt x="1" y="0"/>
                  </a:lnTo>
                  <a:lnTo>
                    <a:pt x="1" y="0"/>
                  </a:lnTo>
                  <a:lnTo>
                    <a:pt x="1" y="1"/>
                  </a:lnTo>
                  <a:lnTo>
                    <a:pt x="1" y="1"/>
                  </a:lnTo>
                  <a:lnTo>
                    <a:pt x="1" y="1"/>
                  </a:lnTo>
                  <a:lnTo>
                    <a:pt x="1" y="1"/>
                  </a:lnTo>
                  <a:lnTo>
                    <a:pt x="1" y="1"/>
                  </a:lnTo>
                  <a:lnTo>
                    <a:pt x="0" y="1"/>
                  </a:lnTo>
                  <a:lnTo>
                    <a:pt x="0" y="1"/>
                  </a:lnTo>
                  <a:lnTo>
                    <a:pt x="0" y="0"/>
                  </a:lnTo>
                  <a:lnTo>
                    <a:pt x="0" y="0"/>
                  </a:lnTo>
                  <a:lnTo>
                    <a:pt x="0" y="0"/>
                  </a:lnTo>
                  <a:lnTo>
                    <a:pt x="0" y="0"/>
                  </a:lnTo>
                  <a:lnTo>
                    <a:pt x="0" y="0"/>
                  </a:lnTo>
                  <a:lnTo>
                    <a:pt x="1"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62" name="Freeform 1528">
              <a:extLst>
                <a:ext uri="{FF2B5EF4-FFF2-40B4-BE49-F238E27FC236}">
                  <a16:creationId xmlns:a16="http://schemas.microsoft.com/office/drawing/2014/main" id="{264D6F16-73EE-41FF-AB19-A4BAC87FBE7B}"/>
                </a:ext>
              </a:extLst>
            </p:cNvPr>
            <p:cNvSpPr>
              <a:spLocks/>
            </p:cNvSpPr>
            <p:nvPr/>
          </p:nvSpPr>
          <p:spPr bwMode="auto">
            <a:xfrm>
              <a:off x="6088215" y="2107859"/>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63" name="Oval 1529">
              <a:extLst>
                <a:ext uri="{FF2B5EF4-FFF2-40B4-BE49-F238E27FC236}">
                  <a16:creationId xmlns:a16="http://schemas.microsoft.com/office/drawing/2014/main" id="{0158D37D-C856-4248-9216-D5705BD6AB73}"/>
                </a:ext>
              </a:extLst>
            </p:cNvPr>
            <p:cNvSpPr>
              <a:spLocks noChangeArrowheads="1"/>
            </p:cNvSpPr>
            <p:nvPr/>
          </p:nvSpPr>
          <p:spPr bwMode="auto">
            <a:xfrm>
              <a:off x="6089551" y="2107859"/>
              <a:ext cx="1336" cy="1336"/>
            </a:xfrm>
            <a:prstGeom prst="ellipse">
              <a:avLst/>
            </a:pr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64" name="Freeform 1530">
              <a:extLst>
                <a:ext uri="{FF2B5EF4-FFF2-40B4-BE49-F238E27FC236}">
                  <a16:creationId xmlns:a16="http://schemas.microsoft.com/office/drawing/2014/main" id="{B43539D0-9580-4F5B-9E35-244E82B4CA55}"/>
                </a:ext>
              </a:extLst>
            </p:cNvPr>
            <p:cNvSpPr>
              <a:spLocks/>
            </p:cNvSpPr>
            <p:nvPr/>
          </p:nvSpPr>
          <p:spPr bwMode="auto">
            <a:xfrm>
              <a:off x="6088215" y="2106524"/>
              <a:ext cx="1336" cy="1336"/>
            </a:xfrm>
            <a:custGeom>
              <a:avLst/>
              <a:gdLst>
                <a:gd name="T0" fmla="*/ 1 w 1"/>
                <a:gd name="T1" fmla="*/ 1 h 1"/>
                <a:gd name="T2" fmla="*/ 1 w 1"/>
                <a:gd name="T3" fmla="*/ 1 h 1"/>
                <a:gd name="T4" fmla="*/ 0 w 1"/>
                <a:gd name="T5" fmla="*/ 1 h 1"/>
                <a:gd name="T6" fmla="*/ 0 w 1"/>
                <a:gd name="T7" fmla="*/ 1 h 1"/>
                <a:gd name="T8" fmla="*/ 0 w 1"/>
                <a:gd name="T9" fmla="*/ 1 h 1"/>
                <a:gd name="T10" fmla="*/ 1 w 1"/>
                <a:gd name="T11" fmla="*/ 0 h 1"/>
                <a:gd name="T12" fmla="*/ 1 w 1"/>
                <a:gd name="T13" fmla="*/ 0 h 1"/>
                <a:gd name="T14" fmla="*/ 1 w 1"/>
                <a:gd name="T15" fmla="*/ 0 h 1"/>
                <a:gd name="T16" fmla="*/ 1 w 1"/>
                <a:gd name="T17" fmla="*/ 1 h 1"/>
                <a:gd name="T18" fmla="*/ 1 w 1"/>
                <a:gd name="T19" fmla="*/ 1 h 1"/>
                <a:gd name="T20" fmla="*/ 1 w 1"/>
                <a:gd name="T2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1">
                  <a:moveTo>
                    <a:pt x="1" y="1"/>
                  </a:moveTo>
                  <a:lnTo>
                    <a:pt x="1" y="1"/>
                  </a:lnTo>
                  <a:lnTo>
                    <a:pt x="0" y="1"/>
                  </a:lnTo>
                  <a:lnTo>
                    <a:pt x="0" y="1"/>
                  </a:lnTo>
                  <a:lnTo>
                    <a:pt x="0" y="1"/>
                  </a:lnTo>
                  <a:lnTo>
                    <a:pt x="1" y="0"/>
                  </a:lnTo>
                  <a:lnTo>
                    <a:pt x="1" y="0"/>
                  </a:lnTo>
                  <a:lnTo>
                    <a:pt x="1" y="0"/>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65" name="Freeform 1531">
              <a:extLst>
                <a:ext uri="{FF2B5EF4-FFF2-40B4-BE49-F238E27FC236}">
                  <a16:creationId xmlns:a16="http://schemas.microsoft.com/office/drawing/2014/main" id="{C3926CCE-573E-4D0D-9312-62C83946C91C}"/>
                </a:ext>
              </a:extLst>
            </p:cNvPr>
            <p:cNvSpPr>
              <a:spLocks/>
            </p:cNvSpPr>
            <p:nvPr/>
          </p:nvSpPr>
          <p:spPr bwMode="auto">
            <a:xfrm>
              <a:off x="6084209" y="2103853"/>
              <a:ext cx="2671" cy="4007"/>
            </a:xfrm>
            <a:custGeom>
              <a:avLst/>
              <a:gdLst>
                <a:gd name="T0" fmla="*/ 1 w 2"/>
                <a:gd name="T1" fmla="*/ 0 h 3"/>
                <a:gd name="T2" fmla="*/ 1 w 2"/>
                <a:gd name="T3" fmla="*/ 0 h 3"/>
                <a:gd name="T4" fmla="*/ 2 w 2"/>
                <a:gd name="T5" fmla="*/ 0 h 3"/>
                <a:gd name="T6" fmla="*/ 2 w 2"/>
                <a:gd name="T7" fmla="*/ 0 h 3"/>
                <a:gd name="T8" fmla="*/ 2 w 2"/>
                <a:gd name="T9" fmla="*/ 0 h 3"/>
                <a:gd name="T10" fmla="*/ 1 w 2"/>
                <a:gd name="T11" fmla="*/ 2 h 3"/>
                <a:gd name="T12" fmla="*/ 1 w 2"/>
                <a:gd name="T13" fmla="*/ 2 h 3"/>
                <a:gd name="T14" fmla="*/ 1 w 2"/>
                <a:gd name="T15" fmla="*/ 2 h 3"/>
                <a:gd name="T16" fmla="*/ 1 w 2"/>
                <a:gd name="T17" fmla="*/ 2 h 3"/>
                <a:gd name="T18" fmla="*/ 1 w 2"/>
                <a:gd name="T19" fmla="*/ 2 h 3"/>
                <a:gd name="T20" fmla="*/ 1 w 2"/>
                <a:gd name="T21" fmla="*/ 2 h 3"/>
                <a:gd name="T22" fmla="*/ 1 w 2"/>
                <a:gd name="T23" fmla="*/ 2 h 3"/>
                <a:gd name="T24" fmla="*/ 1 w 2"/>
                <a:gd name="T25" fmla="*/ 2 h 3"/>
                <a:gd name="T26" fmla="*/ 1 w 2"/>
                <a:gd name="T27" fmla="*/ 2 h 3"/>
                <a:gd name="T28" fmla="*/ 1 w 2"/>
                <a:gd name="T29" fmla="*/ 2 h 3"/>
                <a:gd name="T30" fmla="*/ 1 w 2"/>
                <a:gd name="T31" fmla="*/ 2 h 3"/>
                <a:gd name="T32" fmla="*/ 1 w 2"/>
                <a:gd name="T33" fmla="*/ 2 h 3"/>
                <a:gd name="T34" fmla="*/ 1 w 2"/>
                <a:gd name="T35" fmla="*/ 2 h 3"/>
                <a:gd name="T36" fmla="*/ 1 w 2"/>
                <a:gd name="T37" fmla="*/ 2 h 3"/>
                <a:gd name="T38" fmla="*/ 1 w 2"/>
                <a:gd name="T39" fmla="*/ 2 h 3"/>
                <a:gd name="T40" fmla="*/ 1 w 2"/>
                <a:gd name="T41" fmla="*/ 2 h 3"/>
                <a:gd name="T42" fmla="*/ 1 w 2"/>
                <a:gd name="T43" fmla="*/ 3 h 3"/>
                <a:gd name="T44" fmla="*/ 1 w 2"/>
                <a:gd name="T45" fmla="*/ 3 h 3"/>
                <a:gd name="T46" fmla="*/ 0 w 2"/>
                <a:gd name="T47" fmla="*/ 3 h 3"/>
                <a:gd name="T48" fmla="*/ 0 w 2"/>
                <a:gd name="T49" fmla="*/ 3 h 3"/>
                <a:gd name="T50" fmla="*/ 0 w 2"/>
                <a:gd name="T51" fmla="*/ 3 h 3"/>
                <a:gd name="T52" fmla="*/ 0 w 2"/>
                <a:gd name="T53" fmla="*/ 3 h 3"/>
                <a:gd name="T54" fmla="*/ 0 w 2"/>
                <a:gd name="T55" fmla="*/ 3 h 3"/>
                <a:gd name="T56" fmla="*/ 0 w 2"/>
                <a:gd name="T57" fmla="*/ 2 h 3"/>
                <a:gd name="T58" fmla="*/ 0 w 2"/>
                <a:gd name="T59" fmla="*/ 2 h 3"/>
                <a:gd name="T60" fmla="*/ 0 w 2"/>
                <a:gd name="T61" fmla="*/ 2 h 3"/>
                <a:gd name="T62" fmla="*/ 0 w 2"/>
                <a:gd name="T63" fmla="*/ 2 h 3"/>
                <a:gd name="T64" fmla="*/ 0 w 2"/>
                <a:gd name="T65" fmla="*/ 2 h 3"/>
                <a:gd name="T66" fmla="*/ 0 w 2"/>
                <a:gd name="T67" fmla="*/ 2 h 3"/>
                <a:gd name="T68" fmla="*/ 0 w 2"/>
                <a:gd name="T69" fmla="*/ 2 h 3"/>
                <a:gd name="T70" fmla="*/ 0 w 2"/>
                <a:gd name="T71" fmla="*/ 2 h 3"/>
                <a:gd name="T72" fmla="*/ 0 w 2"/>
                <a:gd name="T73" fmla="*/ 2 h 3"/>
                <a:gd name="T74" fmla="*/ 0 w 2"/>
                <a:gd name="T75" fmla="*/ 2 h 3"/>
                <a:gd name="T76" fmla="*/ 0 w 2"/>
                <a:gd name="T77" fmla="*/ 2 h 3"/>
                <a:gd name="T78" fmla="*/ 0 w 2"/>
                <a:gd name="T79" fmla="*/ 2 h 3"/>
                <a:gd name="T80" fmla="*/ 0 w 2"/>
                <a:gd name="T81" fmla="*/ 2 h 3"/>
                <a:gd name="T82" fmla="*/ 0 w 2"/>
                <a:gd name="T83" fmla="*/ 2 h 3"/>
                <a:gd name="T84" fmla="*/ 0 w 2"/>
                <a:gd name="T85" fmla="*/ 2 h 3"/>
                <a:gd name="T86" fmla="*/ 0 w 2"/>
                <a:gd name="T87" fmla="*/ 2 h 3"/>
                <a:gd name="T88" fmla="*/ 0 w 2"/>
                <a:gd name="T89" fmla="*/ 2 h 3"/>
                <a:gd name="T90" fmla="*/ 0 w 2"/>
                <a:gd name="T91" fmla="*/ 2 h 3"/>
                <a:gd name="T92" fmla="*/ 0 w 2"/>
                <a:gd name="T93" fmla="*/ 2 h 3"/>
                <a:gd name="T94" fmla="*/ 0 w 2"/>
                <a:gd name="T95" fmla="*/ 2 h 3"/>
                <a:gd name="T96" fmla="*/ 0 w 2"/>
                <a:gd name="T97" fmla="*/ 2 h 3"/>
                <a:gd name="T98" fmla="*/ 0 w 2"/>
                <a:gd name="T99" fmla="*/ 2 h 3"/>
                <a:gd name="T100" fmla="*/ 0 w 2"/>
                <a:gd name="T101" fmla="*/ 2 h 3"/>
                <a:gd name="T102" fmla="*/ 0 w 2"/>
                <a:gd name="T103" fmla="*/ 2 h 3"/>
                <a:gd name="T104" fmla="*/ 0 w 2"/>
                <a:gd name="T105" fmla="*/ 2 h 3"/>
                <a:gd name="T106" fmla="*/ 0 w 2"/>
                <a:gd name="T107" fmla="*/ 2 h 3"/>
                <a:gd name="T108" fmla="*/ 0 w 2"/>
                <a:gd name="T109" fmla="*/ 0 h 3"/>
                <a:gd name="T110" fmla="*/ 1 w 2"/>
                <a:gd name="T111" fmla="*/ 0 h 3"/>
                <a:gd name="T112" fmla="*/ 1 w 2"/>
                <a:gd name="T113" fmla="*/ 0 h 3"/>
                <a:gd name="T114" fmla="*/ 1 w 2"/>
                <a:gd name="T115" fmla="*/ 0 h 3"/>
                <a:gd name="T116" fmla="*/ 1 w 2"/>
                <a:gd name="T117" fmla="*/ 0 h 3"/>
                <a:gd name="T118" fmla="*/ 1 w 2"/>
                <a:gd name="T119" fmla="*/ 0 h 3"/>
                <a:gd name="T120" fmla="*/ 1 w 2"/>
                <a:gd name="T121" fmla="*/ 0 h 3"/>
                <a:gd name="T122" fmla="*/ 1 w 2"/>
                <a:gd name="T12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 h="3">
                  <a:moveTo>
                    <a:pt x="1" y="0"/>
                  </a:moveTo>
                  <a:lnTo>
                    <a:pt x="1" y="0"/>
                  </a:lnTo>
                  <a:lnTo>
                    <a:pt x="2" y="0"/>
                  </a:lnTo>
                  <a:lnTo>
                    <a:pt x="2" y="0"/>
                  </a:lnTo>
                  <a:lnTo>
                    <a:pt x="2" y="0"/>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2"/>
                  </a:lnTo>
                  <a:lnTo>
                    <a:pt x="1" y="3"/>
                  </a:lnTo>
                  <a:lnTo>
                    <a:pt x="1" y="3"/>
                  </a:lnTo>
                  <a:lnTo>
                    <a:pt x="0" y="3"/>
                  </a:lnTo>
                  <a:lnTo>
                    <a:pt x="0" y="3"/>
                  </a:lnTo>
                  <a:lnTo>
                    <a:pt x="0" y="3"/>
                  </a:lnTo>
                  <a:lnTo>
                    <a:pt x="0" y="3"/>
                  </a:lnTo>
                  <a:lnTo>
                    <a:pt x="0" y="3"/>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0"/>
                  </a:lnTo>
                  <a:lnTo>
                    <a:pt x="1"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66" name="Freeform 1532">
              <a:extLst>
                <a:ext uri="{FF2B5EF4-FFF2-40B4-BE49-F238E27FC236}">
                  <a16:creationId xmlns:a16="http://schemas.microsoft.com/office/drawing/2014/main" id="{0AC6D221-BFC5-4E5E-AC74-0782814CF911}"/>
                </a:ext>
              </a:extLst>
            </p:cNvPr>
            <p:cNvSpPr>
              <a:spLocks/>
            </p:cNvSpPr>
            <p:nvPr/>
          </p:nvSpPr>
          <p:spPr bwMode="auto">
            <a:xfrm>
              <a:off x="6088215" y="2102517"/>
              <a:ext cx="1336" cy="1336"/>
            </a:xfrm>
            <a:custGeom>
              <a:avLst/>
              <a:gdLst>
                <a:gd name="T0" fmla="*/ 1 w 1"/>
                <a:gd name="T1" fmla="*/ 0 h 1"/>
                <a:gd name="T2" fmla="*/ 1 w 1"/>
                <a:gd name="T3" fmla="*/ 0 h 1"/>
                <a:gd name="T4" fmla="*/ 1 w 1"/>
                <a:gd name="T5" fmla="*/ 0 h 1"/>
                <a:gd name="T6" fmla="*/ 1 w 1"/>
                <a:gd name="T7" fmla="*/ 0 h 1"/>
                <a:gd name="T8" fmla="*/ 1 w 1"/>
                <a:gd name="T9" fmla="*/ 0 h 1"/>
                <a:gd name="T10" fmla="*/ 1 w 1"/>
                <a:gd name="T11" fmla="*/ 1 h 1"/>
                <a:gd name="T12" fmla="*/ 0 w 1"/>
                <a:gd name="T13" fmla="*/ 1 h 1"/>
                <a:gd name="T14" fmla="*/ 0 w 1"/>
                <a:gd name="T15" fmla="*/ 1 h 1"/>
                <a:gd name="T16" fmla="*/ 0 w 1"/>
                <a:gd name="T17" fmla="*/ 1 h 1"/>
                <a:gd name="T18" fmla="*/ 0 w 1"/>
                <a:gd name="T19" fmla="*/ 1 h 1"/>
                <a:gd name="T20" fmla="*/ 0 w 1"/>
                <a:gd name="T21" fmla="*/ 1 h 1"/>
                <a:gd name="T22" fmla="*/ 0 w 1"/>
                <a:gd name="T23" fmla="*/ 0 h 1"/>
                <a:gd name="T24" fmla="*/ 1 w 1"/>
                <a:gd name="T25" fmla="*/ 0 h 1"/>
                <a:gd name="T26" fmla="*/ 1 w 1"/>
                <a:gd name="T27" fmla="*/ 0 h 1"/>
                <a:gd name="T28" fmla="*/ 1 w 1"/>
                <a:gd name="T29" fmla="*/ 0 h 1"/>
                <a:gd name="T30" fmla="*/ 1 w 1"/>
                <a:gd name="T31" fmla="*/ 0 h 1"/>
                <a:gd name="T32" fmla="*/ 1 w 1"/>
                <a:gd name="T33" fmla="*/ 0 h 1"/>
                <a:gd name="T34" fmla="*/ 1 w 1"/>
                <a:gd name="T35" fmla="*/ 0 h 1"/>
                <a:gd name="T36" fmla="*/ 1 w 1"/>
                <a:gd name="T37" fmla="*/ 0 h 1"/>
                <a:gd name="T38" fmla="*/ 1 w 1"/>
                <a:gd name="T39" fmla="*/ 0 h 1"/>
                <a:gd name="T40" fmla="*/ 1 w 1"/>
                <a:gd name="T4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 h="1">
                  <a:moveTo>
                    <a:pt x="1" y="0"/>
                  </a:moveTo>
                  <a:lnTo>
                    <a:pt x="1" y="0"/>
                  </a:lnTo>
                  <a:lnTo>
                    <a:pt x="1" y="0"/>
                  </a:lnTo>
                  <a:lnTo>
                    <a:pt x="1" y="0"/>
                  </a:lnTo>
                  <a:lnTo>
                    <a:pt x="1" y="0"/>
                  </a:lnTo>
                  <a:lnTo>
                    <a:pt x="1" y="1"/>
                  </a:lnTo>
                  <a:lnTo>
                    <a:pt x="0" y="1"/>
                  </a:lnTo>
                  <a:lnTo>
                    <a:pt x="0" y="1"/>
                  </a:lnTo>
                  <a:lnTo>
                    <a:pt x="0" y="1"/>
                  </a:lnTo>
                  <a:lnTo>
                    <a:pt x="0" y="1"/>
                  </a:lnTo>
                  <a:lnTo>
                    <a:pt x="0" y="1"/>
                  </a:lnTo>
                  <a:lnTo>
                    <a:pt x="0" y="0"/>
                  </a:lnTo>
                  <a:lnTo>
                    <a:pt x="1" y="0"/>
                  </a:lnTo>
                  <a:lnTo>
                    <a:pt x="1" y="0"/>
                  </a:lnTo>
                  <a:lnTo>
                    <a:pt x="1" y="0"/>
                  </a:lnTo>
                  <a:lnTo>
                    <a:pt x="1" y="0"/>
                  </a:lnTo>
                  <a:lnTo>
                    <a:pt x="1" y="0"/>
                  </a:lnTo>
                  <a:lnTo>
                    <a:pt x="1" y="0"/>
                  </a:lnTo>
                  <a:lnTo>
                    <a:pt x="1"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67" name="Freeform 1533">
              <a:extLst>
                <a:ext uri="{FF2B5EF4-FFF2-40B4-BE49-F238E27FC236}">
                  <a16:creationId xmlns:a16="http://schemas.microsoft.com/office/drawing/2014/main" id="{DC01C2BA-8263-4FA7-8FB7-5DDFB47018CA}"/>
                </a:ext>
              </a:extLst>
            </p:cNvPr>
            <p:cNvSpPr>
              <a:spLocks/>
            </p:cNvSpPr>
            <p:nvPr/>
          </p:nvSpPr>
          <p:spPr bwMode="auto">
            <a:xfrm>
              <a:off x="6086880" y="2102517"/>
              <a:ext cx="2671" cy="1336"/>
            </a:xfrm>
            <a:custGeom>
              <a:avLst/>
              <a:gdLst>
                <a:gd name="T0" fmla="*/ 0 w 2"/>
                <a:gd name="T1" fmla="*/ 1 h 1"/>
                <a:gd name="T2" fmla="*/ 0 w 2"/>
                <a:gd name="T3" fmla="*/ 1 h 1"/>
                <a:gd name="T4" fmla="*/ 0 w 2"/>
                <a:gd name="T5" fmla="*/ 1 h 1"/>
                <a:gd name="T6" fmla="*/ 0 w 2"/>
                <a:gd name="T7" fmla="*/ 1 h 1"/>
                <a:gd name="T8" fmla="*/ 0 w 2"/>
                <a:gd name="T9" fmla="*/ 1 h 1"/>
                <a:gd name="T10" fmla="*/ 0 w 2"/>
                <a:gd name="T11" fmla="*/ 1 h 1"/>
                <a:gd name="T12" fmla="*/ 1 w 2"/>
                <a:gd name="T13" fmla="*/ 1 h 1"/>
                <a:gd name="T14" fmla="*/ 1 w 2"/>
                <a:gd name="T15" fmla="*/ 0 h 1"/>
                <a:gd name="T16" fmla="*/ 1 w 2"/>
                <a:gd name="T17" fmla="*/ 0 h 1"/>
                <a:gd name="T18" fmla="*/ 2 w 2"/>
                <a:gd name="T19" fmla="*/ 0 h 1"/>
                <a:gd name="T20" fmla="*/ 2 w 2"/>
                <a:gd name="T21" fmla="*/ 0 h 1"/>
                <a:gd name="T22" fmla="*/ 1 w 2"/>
                <a:gd name="T23" fmla="*/ 0 h 1"/>
                <a:gd name="T24" fmla="*/ 1 w 2"/>
                <a:gd name="T25" fmla="*/ 1 h 1"/>
                <a:gd name="T26" fmla="*/ 1 w 2"/>
                <a:gd name="T27" fmla="*/ 1 h 1"/>
                <a:gd name="T28" fmla="*/ 1 w 2"/>
                <a:gd name="T29" fmla="*/ 1 h 1"/>
                <a:gd name="T30" fmla="*/ 1 w 2"/>
                <a:gd name="T31" fmla="*/ 1 h 1"/>
                <a:gd name="T32" fmla="*/ 1 w 2"/>
                <a:gd name="T33" fmla="*/ 1 h 1"/>
                <a:gd name="T34" fmla="*/ 1 w 2"/>
                <a:gd name="T35" fmla="*/ 1 h 1"/>
                <a:gd name="T36" fmla="*/ 1 w 2"/>
                <a:gd name="T37" fmla="*/ 1 h 1"/>
                <a:gd name="T38" fmla="*/ 1 w 2"/>
                <a:gd name="T39" fmla="*/ 1 h 1"/>
                <a:gd name="T40" fmla="*/ 0 w 2"/>
                <a:gd name="T4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 h="1">
                  <a:moveTo>
                    <a:pt x="0" y="1"/>
                  </a:moveTo>
                  <a:lnTo>
                    <a:pt x="0" y="1"/>
                  </a:lnTo>
                  <a:lnTo>
                    <a:pt x="0" y="1"/>
                  </a:lnTo>
                  <a:lnTo>
                    <a:pt x="0" y="1"/>
                  </a:lnTo>
                  <a:lnTo>
                    <a:pt x="0" y="1"/>
                  </a:lnTo>
                  <a:lnTo>
                    <a:pt x="0" y="1"/>
                  </a:lnTo>
                  <a:lnTo>
                    <a:pt x="1" y="1"/>
                  </a:lnTo>
                  <a:lnTo>
                    <a:pt x="1" y="0"/>
                  </a:lnTo>
                  <a:lnTo>
                    <a:pt x="1" y="0"/>
                  </a:lnTo>
                  <a:lnTo>
                    <a:pt x="2" y="0"/>
                  </a:lnTo>
                  <a:lnTo>
                    <a:pt x="2" y="0"/>
                  </a:lnTo>
                  <a:lnTo>
                    <a:pt x="1" y="0"/>
                  </a:lnTo>
                  <a:lnTo>
                    <a:pt x="1" y="1"/>
                  </a:lnTo>
                  <a:lnTo>
                    <a:pt x="1" y="1"/>
                  </a:lnTo>
                  <a:lnTo>
                    <a:pt x="1" y="1"/>
                  </a:lnTo>
                  <a:lnTo>
                    <a:pt x="1" y="1"/>
                  </a:lnTo>
                  <a:lnTo>
                    <a:pt x="1" y="1"/>
                  </a:lnTo>
                  <a:lnTo>
                    <a:pt x="1" y="1"/>
                  </a:lnTo>
                  <a:lnTo>
                    <a:pt x="1" y="1"/>
                  </a:lnTo>
                  <a:lnTo>
                    <a:pt x="1" y="1"/>
                  </a:lnTo>
                  <a:lnTo>
                    <a:pt x="0"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68" name="Freeform 1534">
              <a:extLst>
                <a:ext uri="{FF2B5EF4-FFF2-40B4-BE49-F238E27FC236}">
                  <a16:creationId xmlns:a16="http://schemas.microsoft.com/office/drawing/2014/main" id="{865BD5B2-4122-4124-904E-51BFCB14FA72}"/>
                </a:ext>
              </a:extLst>
            </p:cNvPr>
            <p:cNvSpPr>
              <a:spLocks/>
            </p:cNvSpPr>
            <p:nvPr/>
          </p:nvSpPr>
          <p:spPr bwMode="auto">
            <a:xfrm>
              <a:off x="6088215" y="2098511"/>
              <a:ext cx="1336" cy="1336"/>
            </a:xfrm>
            <a:custGeom>
              <a:avLst/>
              <a:gdLst>
                <a:gd name="T0" fmla="*/ 1 w 1"/>
                <a:gd name="T1" fmla="*/ 1 h 1"/>
                <a:gd name="T2" fmla="*/ 1 w 1"/>
                <a:gd name="T3" fmla="*/ 1 h 1"/>
                <a:gd name="T4" fmla="*/ 1 w 1"/>
                <a:gd name="T5" fmla="*/ 1 h 1"/>
                <a:gd name="T6" fmla="*/ 1 w 1"/>
                <a:gd name="T7" fmla="*/ 1 h 1"/>
                <a:gd name="T8" fmla="*/ 1 w 1"/>
                <a:gd name="T9" fmla="*/ 1 h 1"/>
                <a:gd name="T10" fmla="*/ 1 w 1"/>
                <a:gd name="T11" fmla="*/ 1 h 1"/>
                <a:gd name="T12" fmla="*/ 1 w 1"/>
                <a:gd name="T13" fmla="*/ 1 h 1"/>
                <a:gd name="T14" fmla="*/ 1 w 1"/>
                <a:gd name="T15" fmla="*/ 1 h 1"/>
                <a:gd name="T16" fmla="*/ 1 w 1"/>
                <a:gd name="T17" fmla="*/ 1 h 1"/>
                <a:gd name="T18" fmla="*/ 1 w 1"/>
                <a:gd name="T19" fmla="*/ 1 h 1"/>
                <a:gd name="T20" fmla="*/ 1 w 1"/>
                <a:gd name="T21" fmla="*/ 1 h 1"/>
                <a:gd name="T22" fmla="*/ 0 w 1"/>
                <a:gd name="T23" fmla="*/ 1 h 1"/>
                <a:gd name="T24" fmla="*/ 0 w 1"/>
                <a:gd name="T25" fmla="*/ 1 h 1"/>
                <a:gd name="T26" fmla="*/ 0 w 1"/>
                <a:gd name="T27" fmla="*/ 1 h 1"/>
                <a:gd name="T28" fmla="*/ 0 w 1"/>
                <a:gd name="T29" fmla="*/ 1 h 1"/>
                <a:gd name="T30" fmla="*/ 0 w 1"/>
                <a:gd name="T31" fmla="*/ 1 h 1"/>
                <a:gd name="T32" fmla="*/ 0 w 1"/>
                <a:gd name="T33" fmla="*/ 1 h 1"/>
                <a:gd name="T34" fmla="*/ 0 w 1"/>
                <a:gd name="T35" fmla="*/ 1 h 1"/>
                <a:gd name="T36" fmla="*/ 0 w 1"/>
                <a:gd name="T37" fmla="*/ 1 h 1"/>
                <a:gd name="T38" fmla="*/ 0 w 1"/>
                <a:gd name="T39" fmla="*/ 0 h 1"/>
                <a:gd name="T40" fmla="*/ 0 w 1"/>
                <a:gd name="T41" fmla="*/ 0 h 1"/>
                <a:gd name="T42" fmla="*/ 0 w 1"/>
                <a:gd name="T43" fmla="*/ 0 h 1"/>
                <a:gd name="T44" fmla="*/ 1 w 1"/>
                <a:gd name="T45" fmla="*/ 0 h 1"/>
                <a:gd name="T46" fmla="*/ 1 w 1"/>
                <a:gd name="T47" fmla="*/ 0 h 1"/>
                <a:gd name="T48" fmla="*/ 1 w 1"/>
                <a:gd name="T49" fmla="*/ 0 h 1"/>
                <a:gd name="T50" fmla="*/ 1 w 1"/>
                <a:gd name="T51" fmla="*/ 1 h 1"/>
                <a:gd name="T52" fmla="*/ 1 w 1"/>
                <a:gd name="T53" fmla="*/ 1 h 1"/>
                <a:gd name="T54" fmla="*/ 1 w 1"/>
                <a:gd name="T5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 h="1">
                  <a:moveTo>
                    <a:pt x="1" y="1"/>
                  </a:moveTo>
                  <a:lnTo>
                    <a:pt x="1" y="1"/>
                  </a:lnTo>
                  <a:lnTo>
                    <a:pt x="1" y="1"/>
                  </a:lnTo>
                  <a:lnTo>
                    <a:pt x="1" y="1"/>
                  </a:lnTo>
                  <a:lnTo>
                    <a:pt x="1" y="1"/>
                  </a:lnTo>
                  <a:lnTo>
                    <a:pt x="1" y="1"/>
                  </a:lnTo>
                  <a:lnTo>
                    <a:pt x="1" y="1"/>
                  </a:lnTo>
                  <a:lnTo>
                    <a:pt x="1" y="1"/>
                  </a:lnTo>
                  <a:lnTo>
                    <a:pt x="1" y="1"/>
                  </a:lnTo>
                  <a:lnTo>
                    <a:pt x="1" y="1"/>
                  </a:lnTo>
                  <a:lnTo>
                    <a:pt x="1" y="1"/>
                  </a:lnTo>
                  <a:lnTo>
                    <a:pt x="0" y="1"/>
                  </a:lnTo>
                  <a:lnTo>
                    <a:pt x="0" y="1"/>
                  </a:lnTo>
                  <a:lnTo>
                    <a:pt x="0" y="1"/>
                  </a:lnTo>
                  <a:lnTo>
                    <a:pt x="0" y="1"/>
                  </a:lnTo>
                  <a:lnTo>
                    <a:pt x="0" y="1"/>
                  </a:lnTo>
                  <a:lnTo>
                    <a:pt x="0" y="1"/>
                  </a:lnTo>
                  <a:lnTo>
                    <a:pt x="0" y="1"/>
                  </a:lnTo>
                  <a:lnTo>
                    <a:pt x="0" y="1"/>
                  </a:lnTo>
                  <a:lnTo>
                    <a:pt x="0" y="0"/>
                  </a:lnTo>
                  <a:lnTo>
                    <a:pt x="0" y="0"/>
                  </a:lnTo>
                  <a:lnTo>
                    <a:pt x="0" y="0"/>
                  </a:lnTo>
                  <a:lnTo>
                    <a:pt x="1" y="0"/>
                  </a:lnTo>
                  <a:lnTo>
                    <a:pt x="1" y="0"/>
                  </a:lnTo>
                  <a:lnTo>
                    <a:pt x="1" y="0"/>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69" name="Freeform 1535">
              <a:extLst>
                <a:ext uri="{FF2B5EF4-FFF2-40B4-BE49-F238E27FC236}">
                  <a16:creationId xmlns:a16="http://schemas.microsoft.com/office/drawing/2014/main" id="{4F32E25D-ABBC-438C-8D91-525C4065D59B}"/>
                </a:ext>
              </a:extLst>
            </p:cNvPr>
            <p:cNvSpPr>
              <a:spLocks/>
            </p:cNvSpPr>
            <p:nvPr/>
          </p:nvSpPr>
          <p:spPr bwMode="auto">
            <a:xfrm>
              <a:off x="6085544" y="2091833"/>
              <a:ext cx="1336" cy="1336"/>
            </a:xfrm>
            <a:custGeom>
              <a:avLst/>
              <a:gdLst>
                <a:gd name="T0" fmla="*/ 0 w 1"/>
                <a:gd name="T1" fmla="*/ 0 h 1"/>
                <a:gd name="T2" fmla="*/ 0 w 1"/>
                <a:gd name="T3" fmla="*/ 0 h 1"/>
                <a:gd name="T4" fmla="*/ 0 w 1"/>
                <a:gd name="T5" fmla="*/ 0 h 1"/>
                <a:gd name="T6" fmla="*/ 0 w 1"/>
                <a:gd name="T7" fmla="*/ 0 h 1"/>
                <a:gd name="T8" fmla="*/ 0 w 1"/>
                <a:gd name="T9" fmla="*/ 0 h 1"/>
                <a:gd name="T10" fmla="*/ 1 w 1"/>
                <a:gd name="T11" fmla="*/ 0 h 1"/>
                <a:gd name="T12" fmla="*/ 1 w 1"/>
                <a:gd name="T13" fmla="*/ 1 h 1"/>
                <a:gd name="T14" fmla="*/ 0 w 1"/>
                <a:gd name="T15" fmla="*/ 1 h 1"/>
                <a:gd name="T16" fmla="*/ 0 w 1"/>
                <a:gd name="T17" fmla="*/ 1 h 1"/>
                <a:gd name="T18" fmla="*/ 0 w 1"/>
                <a:gd name="T19" fmla="*/ 1 h 1"/>
                <a:gd name="T20" fmla="*/ 0 w 1"/>
                <a:gd name="T21" fmla="*/ 1 h 1"/>
                <a:gd name="T22" fmla="*/ 0 w 1"/>
                <a:gd name="T23" fmla="*/ 1 h 1"/>
                <a:gd name="T24" fmla="*/ 0 w 1"/>
                <a:gd name="T25" fmla="*/ 0 h 1"/>
                <a:gd name="T26" fmla="*/ 0 w 1"/>
                <a:gd name="T27" fmla="*/ 0 h 1"/>
                <a:gd name="T28" fmla="*/ 0 w 1"/>
                <a:gd name="T29" fmla="*/ 0 h 1"/>
                <a:gd name="T30" fmla="*/ 0 w 1"/>
                <a:gd name="T31" fmla="*/ 0 h 1"/>
                <a:gd name="T32" fmla="*/ 0 w 1"/>
                <a:gd name="T33" fmla="*/ 0 h 1"/>
                <a:gd name="T34" fmla="*/ 0 w 1"/>
                <a:gd name="T35" fmla="*/ 0 h 1"/>
                <a:gd name="T36" fmla="*/ 0 w 1"/>
                <a:gd name="T37" fmla="*/ 0 h 1"/>
                <a:gd name="T38" fmla="*/ 0 w 1"/>
                <a:gd name="T39" fmla="*/ 0 h 1"/>
                <a:gd name="T40" fmla="*/ 0 w 1"/>
                <a:gd name="T41" fmla="*/ 0 h 1"/>
                <a:gd name="T42" fmla="*/ 0 w 1"/>
                <a:gd name="T43" fmla="*/ 0 h 1"/>
                <a:gd name="T44" fmla="*/ 0 w 1"/>
                <a:gd name="T45" fmla="*/ 0 h 1"/>
                <a:gd name="T46" fmla="*/ 0 w 1"/>
                <a:gd name="T47" fmla="*/ 0 h 1"/>
                <a:gd name="T48" fmla="*/ 0 w 1"/>
                <a:gd name="T49" fmla="*/ 0 h 1"/>
                <a:gd name="T50" fmla="*/ 0 w 1"/>
                <a:gd name="T51" fmla="*/ 0 h 1"/>
                <a:gd name="T52" fmla="*/ 0 w 1"/>
                <a:gd name="T53" fmla="*/ 0 h 1"/>
                <a:gd name="T54" fmla="*/ 0 w 1"/>
                <a:gd name="T55" fmla="*/ 0 h 1"/>
                <a:gd name="T56" fmla="*/ 0 w 1"/>
                <a:gd name="T57" fmla="*/ 0 h 1"/>
                <a:gd name="T58" fmla="*/ 0 w 1"/>
                <a:gd name="T5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 h="1">
                  <a:moveTo>
                    <a:pt x="0" y="0"/>
                  </a:moveTo>
                  <a:lnTo>
                    <a:pt x="0" y="0"/>
                  </a:lnTo>
                  <a:lnTo>
                    <a:pt x="0" y="0"/>
                  </a:lnTo>
                  <a:lnTo>
                    <a:pt x="0" y="0"/>
                  </a:lnTo>
                  <a:lnTo>
                    <a:pt x="0" y="0"/>
                  </a:lnTo>
                  <a:lnTo>
                    <a:pt x="1" y="0"/>
                  </a:lnTo>
                  <a:lnTo>
                    <a:pt x="1" y="1"/>
                  </a:lnTo>
                  <a:lnTo>
                    <a:pt x="0" y="1"/>
                  </a:lnTo>
                  <a:lnTo>
                    <a:pt x="0" y="1"/>
                  </a:lnTo>
                  <a:lnTo>
                    <a:pt x="0" y="1"/>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70" name="Freeform 1536">
              <a:extLst>
                <a:ext uri="{FF2B5EF4-FFF2-40B4-BE49-F238E27FC236}">
                  <a16:creationId xmlns:a16="http://schemas.microsoft.com/office/drawing/2014/main" id="{09D2236D-FA67-49DC-BD20-CC6B86EE16C9}"/>
                </a:ext>
              </a:extLst>
            </p:cNvPr>
            <p:cNvSpPr>
              <a:spLocks/>
            </p:cNvSpPr>
            <p:nvPr/>
          </p:nvSpPr>
          <p:spPr bwMode="auto">
            <a:xfrm>
              <a:off x="6078867" y="2085156"/>
              <a:ext cx="2671" cy="5342"/>
            </a:xfrm>
            <a:custGeom>
              <a:avLst/>
              <a:gdLst>
                <a:gd name="T0" fmla="*/ 1 w 2"/>
                <a:gd name="T1" fmla="*/ 2 h 4"/>
                <a:gd name="T2" fmla="*/ 1 w 2"/>
                <a:gd name="T3" fmla="*/ 2 h 4"/>
                <a:gd name="T4" fmla="*/ 1 w 2"/>
                <a:gd name="T5" fmla="*/ 2 h 4"/>
                <a:gd name="T6" fmla="*/ 1 w 2"/>
                <a:gd name="T7" fmla="*/ 2 h 4"/>
                <a:gd name="T8" fmla="*/ 0 w 2"/>
                <a:gd name="T9" fmla="*/ 2 h 4"/>
                <a:gd name="T10" fmla="*/ 0 w 2"/>
                <a:gd name="T11" fmla="*/ 2 h 4"/>
                <a:gd name="T12" fmla="*/ 0 w 2"/>
                <a:gd name="T13" fmla="*/ 2 h 4"/>
                <a:gd name="T14" fmla="*/ 1 w 2"/>
                <a:gd name="T15" fmla="*/ 3 h 4"/>
                <a:gd name="T16" fmla="*/ 1 w 2"/>
                <a:gd name="T17" fmla="*/ 3 h 4"/>
                <a:gd name="T18" fmla="*/ 1 w 2"/>
                <a:gd name="T19" fmla="*/ 3 h 4"/>
                <a:gd name="T20" fmla="*/ 1 w 2"/>
                <a:gd name="T21" fmla="*/ 3 h 4"/>
                <a:gd name="T22" fmla="*/ 2 w 2"/>
                <a:gd name="T23" fmla="*/ 3 h 4"/>
                <a:gd name="T24" fmla="*/ 2 w 2"/>
                <a:gd name="T25" fmla="*/ 3 h 4"/>
                <a:gd name="T26" fmla="*/ 2 w 2"/>
                <a:gd name="T27" fmla="*/ 3 h 4"/>
                <a:gd name="T28" fmla="*/ 2 w 2"/>
                <a:gd name="T29" fmla="*/ 4 h 4"/>
                <a:gd name="T30" fmla="*/ 2 w 2"/>
                <a:gd name="T31" fmla="*/ 4 h 4"/>
                <a:gd name="T32" fmla="*/ 2 w 2"/>
                <a:gd name="T33" fmla="*/ 4 h 4"/>
                <a:gd name="T34" fmla="*/ 2 w 2"/>
                <a:gd name="T35" fmla="*/ 4 h 4"/>
                <a:gd name="T36" fmla="*/ 2 w 2"/>
                <a:gd name="T37" fmla="*/ 4 h 4"/>
                <a:gd name="T38" fmla="*/ 2 w 2"/>
                <a:gd name="T39" fmla="*/ 4 h 4"/>
                <a:gd name="T40" fmla="*/ 2 w 2"/>
                <a:gd name="T41" fmla="*/ 4 h 4"/>
                <a:gd name="T42" fmla="*/ 1 w 2"/>
                <a:gd name="T43" fmla="*/ 4 h 4"/>
                <a:gd name="T44" fmla="*/ 1 w 2"/>
                <a:gd name="T45" fmla="*/ 3 h 4"/>
                <a:gd name="T46" fmla="*/ 0 w 2"/>
                <a:gd name="T47" fmla="*/ 3 h 4"/>
                <a:gd name="T48" fmla="*/ 0 w 2"/>
                <a:gd name="T49" fmla="*/ 3 h 4"/>
                <a:gd name="T50" fmla="*/ 0 w 2"/>
                <a:gd name="T51" fmla="*/ 2 h 4"/>
                <a:gd name="T52" fmla="*/ 0 w 2"/>
                <a:gd name="T53" fmla="*/ 2 h 4"/>
                <a:gd name="T54" fmla="*/ 0 w 2"/>
                <a:gd name="T55" fmla="*/ 2 h 4"/>
                <a:gd name="T56" fmla="*/ 0 w 2"/>
                <a:gd name="T57" fmla="*/ 0 h 4"/>
                <a:gd name="T58" fmla="*/ 0 w 2"/>
                <a:gd name="T59" fmla="*/ 0 h 4"/>
                <a:gd name="T60" fmla="*/ 0 w 2"/>
                <a:gd name="T61" fmla="*/ 0 h 4"/>
                <a:gd name="T62" fmla="*/ 0 w 2"/>
                <a:gd name="T63" fmla="*/ 0 h 4"/>
                <a:gd name="T64" fmla="*/ 0 w 2"/>
                <a:gd name="T65" fmla="*/ 0 h 4"/>
                <a:gd name="T66" fmla="*/ 0 w 2"/>
                <a:gd name="T67" fmla="*/ 0 h 4"/>
                <a:gd name="T68" fmla="*/ 0 w 2"/>
                <a:gd name="T69" fmla="*/ 2 h 4"/>
                <a:gd name="T70" fmla="*/ 0 w 2"/>
                <a:gd name="T71" fmla="*/ 2 h 4"/>
                <a:gd name="T72" fmla="*/ 0 w 2"/>
                <a:gd name="T73" fmla="*/ 2 h 4"/>
                <a:gd name="T74" fmla="*/ 0 w 2"/>
                <a:gd name="T75" fmla="*/ 2 h 4"/>
                <a:gd name="T76" fmla="*/ 0 w 2"/>
                <a:gd name="T77" fmla="*/ 2 h 4"/>
                <a:gd name="T78" fmla="*/ 1 w 2"/>
                <a:gd name="T7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 h="4">
                  <a:moveTo>
                    <a:pt x="1" y="2"/>
                  </a:moveTo>
                  <a:lnTo>
                    <a:pt x="1" y="2"/>
                  </a:lnTo>
                  <a:lnTo>
                    <a:pt x="1" y="2"/>
                  </a:lnTo>
                  <a:lnTo>
                    <a:pt x="1" y="2"/>
                  </a:lnTo>
                  <a:lnTo>
                    <a:pt x="0" y="2"/>
                  </a:lnTo>
                  <a:lnTo>
                    <a:pt x="0" y="2"/>
                  </a:lnTo>
                  <a:lnTo>
                    <a:pt x="0" y="2"/>
                  </a:lnTo>
                  <a:lnTo>
                    <a:pt x="1" y="3"/>
                  </a:lnTo>
                  <a:lnTo>
                    <a:pt x="1" y="3"/>
                  </a:lnTo>
                  <a:lnTo>
                    <a:pt x="1" y="3"/>
                  </a:lnTo>
                  <a:lnTo>
                    <a:pt x="1" y="3"/>
                  </a:lnTo>
                  <a:lnTo>
                    <a:pt x="2" y="3"/>
                  </a:lnTo>
                  <a:lnTo>
                    <a:pt x="2" y="3"/>
                  </a:lnTo>
                  <a:lnTo>
                    <a:pt x="2" y="3"/>
                  </a:lnTo>
                  <a:lnTo>
                    <a:pt x="2" y="4"/>
                  </a:lnTo>
                  <a:lnTo>
                    <a:pt x="2" y="4"/>
                  </a:lnTo>
                  <a:lnTo>
                    <a:pt x="2" y="4"/>
                  </a:lnTo>
                  <a:lnTo>
                    <a:pt x="2" y="4"/>
                  </a:lnTo>
                  <a:lnTo>
                    <a:pt x="2" y="4"/>
                  </a:lnTo>
                  <a:lnTo>
                    <a:pt x="2" y="4"/>
                  </a:lnTo>
                  <a:lnTo>
                    <a:pt x="2" y="4"/>
                  </a:lnTo>
                  <a:lnTo>
                    <a:pt x="1" y="4"/>
                  </a:lnTo>
                  <a:lnTo>
                    <a:pt x="1" y="3"/>
                  </a:lnTo>
                  <a:lnTo>
                    <a:pt x="0" y="3"/>
                  </a:lnTo>
                  <a:lnTo>
                    <a:pt x="0" y="3"/>
                  </a:lnTo>
                  <a:lnTo>
                    <a:pt x="0" y="2"/>
                  </a:lnTo>
                  <a:lnTo>
                    <a:pt x="0" y="2"/>
                  </a:lnTo>
                  <a:lnTo>
                    <a:pt x="0" y="2"/>
                  </a:lnTo>
                  <a:lnTo>
                    <a:pt x="0" y="0"/>
                  </a:lnTo>
                  <a:lnTo>
                    <a:pt x="0" y="0"/>
                  </a:lnTo>
                  <a:lnTo>
                    <a:pt x="0" y="0"/>
                  </a:lnTo>
                  <a:lnTo>
                    <a:pt x="0" y="0"/>
                  </a:lnTo>
                  <a:lnTo>
                    <a:pt x="0" y="0"/>
                  </a:lnTo>
                  <a:lnTo>
                    <a:pt x="0" y="0"/>
                  </a:lnTo>
                  <a:lnTo>
                    <a:pt x="0" y="2"/>
                  </a:lnTo>
                  <a:lnTo>
                    <a:pt x="0" y="2"/>
                  </a:lnTo>
                  <a:lnTo>
                    <a:pt x="0" y="2"/>
                  </a:lnTo>
                  <a:lnTo>
                    <a:pt x="0" y="2"/>
                  </a:lnTo>
                  <a:lnTo>
                    <a:pt x="0" y="2"/>
                  </a:lnTo>
                  <a:lnTo>
                    <a:pt x="1"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71" name="Freeform 1537">
              <a:extLst>
                <a:ext uri="{FF2B5EF4-FFF2-40B4-BE49-F238E27FC236}">
                  <a16:creationId xmlns:a16="http://schemas.microsoft.com/office/drawing/2014/main" id="{6D62F7FD-769F-4DAB-B872-0EBDA7E3289E}"/>
                </a:ext>
              </a:extLst>
            </p:cNvPr>
            <p:cNvSpPr>
              <a:spLocks/>
            </p:cNvSpPr>
            <p:nvPr/>
          </p:nvSpPr>
          <p:spPr bwMode="auto">
            <a:xfrm>
              <a:off x="6068183" y="2043756"/>
              <a:ext cx="1336" cy="1336"/>
            </a:xfrm>
            <a:custGeom>
              <a:avLst/>
              <a:gdLst>
                <a:gd name="T0" fmla="*/ 0 w 1"/>
                <a:gd name="T1" fmla="*/ 0 h 1"/>
                <a:gd name="T2" fmla="*/ 0 w 1"/>
                <a:gd name="T3" fmla="*/ 0 h 1"/>
                <a:gd name="T4" fmla="*/ 1 w 1"/>
                <a:gd name="T5" fmla="*/ 0 h 1"/>
                <a:gd name="T6" fmla="*/ 1 w 1"/>
                <a:gd name="T7" fmla="*/ 0 h 1"/>
                <a:gd name="T8" fmla="*/ 1 w 1"/>
                <a:gd name="T9" fmla="*/ 0 h 1"/>
                <a:gd name="T10" fmla="*/ 1 w 1"/>
                <a:gd name="T11" fmla="*/ 0 h 1"/>
                <a:gd name="T12" fmla="*/ 1 w 1"/>
                <a:gd name="T13" fmla="*/ 0 h 1"/>
                <a:gd name="T14" fmla="*/ 1 w 1"/>
                <a:gd name="T15" fmla="*/ 0 h 1"/>
                <a:gd name="T16" fmla="*/ 1 w 1"/>
                <a:gd name="T17" fmla="*/ 0 h 1"/>
                <a:gd name="T18" fmla="*/ 1 w 1"/>
                <a:gd name="T19" fmla="*/ 0 h 1"/>
                <a:gd name="T20" fmla="*/ 1 w 1"/>
                <a:gd name="T21" fmla="*/ 0 h 1"/>
                <a:gd name="T22" fmla="*/ 1 w 1"/>
                <a:gd name="T23" fmla="*/ 0 h 1"/>
                <a:gd name="T24" fmla="*/ 1 w 1"/>
                <a:gd name="T25" fmla="*/ 0 h 1"/>
                <a:gd name="T26" fmla="*/ 1 w 1"/>
                <a:gd name="T27" fmla="*/ 0 h 1"/>
                <a:gd name="T28" fmla="*/ 1 w 1"/>
                <a:gd name="T29" fmla="*/ 0 h 1"/>
                <a:gd name="T30" fmla="*/ 1 w 1"/>
                <a:gd name="T31" fmla="*/ 1 h 1"/>
                <a:gd name="T32" fmla="*/ 0 w 1"/>
                <a:gd name="T33" fmla="*/ 1 h 1"/>
                <a:gd name="T34" fmla="*/ 0 w 1"/>
                <a:gd name="T35" fmla="*/ 1 h 1"/>
                <a:gd name="T36" fmla="*/ 0 w 1"/>
                <a:gd name="T37" fmla="*/ 0 h 1"/>
                <a:gd name="T38" fmla="*/ 0 w 1"/>
                <a:gd name="T39" fmla="*/ 0 h 1"/>
                <a:gd name="T40" fmla="*/ 0 w 1"/>
                <a:gd name="T41" fmla="*/ 0 h 1"/>
                <a:gd name="T42" fmla="*/ 0 w 1"/>
                <a:gd name="T43" fmla="*/ 0 h 1"/>
                <a:gd name="T44" fmla="*/ 0 w 1"/>
                <a:gd name="T45" fmla="*/ 0 h 1"/>
                <a:gd name="T46" fmla="*/ 0 w 1"/>
                <a:gd name="T47" fmla="*/ 0 h 1"/>
                <a:gd name="T48" fmla="*/ 0 w 1"/>
                <a:gd name="T49" fmla="*/ 0 h 1"/>
                <a:gd name="T50" fmla="*/ 0 w 1"/>
                <a:gd name="T5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 h="1">
                  <a:moveTo>
                    <a:pt x="0" y="0"/>
                  </a:moveTo>
                  <a:lnTo>
                    <a:pt x="0"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0"/>
                  </a:lnTo>
                  <a:lnTo>
                    <a:pt x="1" y="1"/>
                  </a:lnTo>
                  <a:lnTo>
                    <a:pt x="0" y="1"/>
                  </a:lnTo>
                  <a:lnTo>
                    <a:pt x="0" y="1"/>
                  </a:ln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72" name="Freeform 1538">
              <a:extLst>
                <a:ext uri="{FF2B5EF4-FFF2-40B4-BE49-F238E27FC236}">
                  <a16:creationId xmlns:a16="http://schemas.microsoft.com/office/drawing/2014/main" id="{01A4154E-5CA7-41B6-839C-CFD94C62174F}"/>
                </a:ext>
              </a:extLst>
            </p:cNvPr>
            <p:cNvSpPr>
              <a:spLocks/>
            </p:cNvSpPr>
            <p:nvPr/>
          </p:nvSpPr>
          <p:spPr bwMode="auto">
            <a:xfrm>
              <a:off x="6105577" y="2026395"/>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73" name="Freeform 1539">
              <a:extLst>
                <a:ext uri="{FF2B5EF4-FFF2-40B4-BE49-F238E27FC236}">
                  <a16:creationId xmlns:a16="http://schemas.microsoft.com/office/drawing/2014/main" id="{2EF704B7-3646-4507-B81F-FA0C4131C26B}"/>
                </a:ext>
              </a:extLst>
            </p:cNvPr>
            <p:cNvSpPr>
              <a:spLocks/>
            </p:cNvSpPr>
            <p:nvPr/>
          </p:nvSpPr>
          <p:spPr bwMode="auto">
            <a:xfrm>
              <a:off x="6105577" y="2023724"/>
              <a:ext cx="1336" cy="1336"/>
            </a:xfrm>
            <a:custGeom>
              <a:avLst/>
              <a:gdLst>
                <a:gd name="T0" fmla="*/ 1 w 1"/>
                <a:gd name="T1" fmla="*/ 1 h 1"/>
                <a:gd name="T2" fmla="*/ 1 w 1"/>
                <a:gd name="T3" fmla="*/ 1 h 1"/>
                <a:gd name="T4" fmla="*/ 1 w 1"/>
                <a:gd name="T5" fmla="*/ 1 h 1"/>
                <a:gd name="T6" fmla="*/ 1 w 1"/>
                <a:gd name="T7" fmla="*/ 1 h 1"/>
                <a:gd name="T8" fmla="*/ 0 w 1"/>
                <a:gd name="T9" fmla="*/ 1 h 1"/>
                <a:gd name="T10" fmla="*/ 0 w 1"/>
                <a:gd name="T11" fmla="*/ 1 h 1"/>
                <a:gd name="T12" fmla="*/ 0 w 1"/>
                <a:gd name="T13" fmla="*/ 1 h 1"/>
                <a:gd name="T14" fmla="*/ 0 w 1"/>
                <a:gd name="T15" fmla="*/ 1 h 1"/>
                <a:gd name="T16" fmla="*/ 1 w 1"/>
                <a:gd name="T17" fmla="*/ 1 h 1"/>
                <a:gd name="T18" fmla="*/ 1 w 1"/>
                <a:gd name="T19" fmla="*/ 1 h 1"/>
                <a:gd name="T20" fmla="*/ 1 w 1"/>
                <a:gd name="T21" fmla="*/ 0 h 1"/>
                <a:gd name="T22" fmla="*/ 1 w 1"/>
                <a:gd name="T23" fmla="*/ 0 h 1"/>
                <a:gd name="T24" fmla="*/ 1 w 1"/>
                <a:gd name="T25" fmla="*/ 0 h 1"/>
                <a:gd name="T26" fmla="*/ 1 w 1"/>
                <a:gd name="T27" fmla="*/ 0 h 1"/>
                <a:gd name="T28" fmla="*/ 1 w 1"/>
                <a:gd name="T29" fmla="*/ 0 h 1"/>
                <a:gd name="T30" fmla="*/ 1 w 1"/>
                <a:gd name="T31" fmla="*/ 0 h 1"/>
                <a:gd name="T32" fmla="*/ 1 w 1"/>
                <a:gd name="T33" fmla="*/ 1 h 1"/>
                <a:gd name="T34" fmla="*/ 1 w 1"/>
                <a:gd name="T35" fmla="*/ 1 h 1"/>
                <a:gd name="T36" fmla="*/ 1 w 1"/>
                <a:gd name="T37" fmla="*/ 1 h 1"/>
                <a:gd name="T38" fmla="*/ 1 w 1"/>
                <a:gd name="T39" fmla="*/ 1 h 1"/>
                <a:gd name="T40" fmla="*/ 1 w 1"/>
                <a:gd name="T41" fmla="*/ 1 h 1"/>
                <a:gd name="T42" fmla="*/ 1 w 1"/>
                <a:gd name="T43" fmla="*/ 1 h 1"/>
                <a:gd name="T44" fmla="*/ 1 w 1"/>
                <a:gd name="T45" fmla="*/ 1 h 1"/>
                <a:gd name="T46" fmla="*/ 1 w 1"/>
                <a:gd name="T47" fmla="*/ 1 h 1"/>
                <a:gd name="T48" fmla="*/ 1 w 1"/>
                <a:gd name="T4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 h="1">
                  <a:moveTo>
                    <a:pt x="1" y="1"/>
                  </a:moveTo>
                  <a:lnTo>
                    <a:pt x="1" y="1"/>
                  </a:lnTo>
                  <a:lnTo>
                    <a:pt x="1" y="1"/>
                  </a:lnTo>
                  <a:lnTo>
                    <a:pt x="1" y="1"/>
                  </a:lnTo>
                  <a:lnTo>
                    <a:pt x="0" y="1"/>
                  </a:lnTo>
                  <a:lnTo>
                    <a:pt x="0" y="1"/>
                  </a:lnTo>
                  <a:lnTo>
                    <a:pt x="0" y="1"/>
                  </a:lnTo>
                  <a:lnTo>
                    <a:pt x="0" y="1"/>
                  </a:lnTo>
                  <a:lnTo>
                    <a:pt x="1" y="1"/>
                  </a:lnTo>
                  <a:lnTo>
                    <a:pt x="1" y="1"/>
                  </a:lnTo>
                  <a:lnTo>
                    <a:pt x="1" y="0"/>
                  </a:lnTo>
                  <a:lnTo>
                    <a:pt x="1" y="0"/>
                  </a:lnTo>
                  <a:lnTo>
                    <a:pt x="1" y="0"/>
                  </a:lnTo>
                  <a:lnTo>
                    <a:pt x="1" y="0"/>
                  </a:lnTo>
                  <a:lnTo>
                    <a:pt x="1" y="0"/>
                  </a:lnTo>
                  <a:lnTo>
                    <a:pt x="1" y="0"/>
                  </a:lnTo>
                  <a:lnTo>
                    <a:pt x="1" y="1"/>
                  </a:lnTo>
                  <a:lnTo>
                    <a:pt x="1" y="1"/>
                  </a:lnTo>
                  <a:lnTo>
                    <a:pt x="1" y="1"/>
                  </a:lnTo>
                  <a:lnTo>
                    <a:pt x="1" y="1"/>
                  </a:lnTo>
                  <a:lnTo>
                    <a:pt x="1" y="1"/>
                  </a:lnTo>
                  <a:lnTo>
                    <a:pt x="1" y="1"/>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74" name="Freeform 1540">
              <a:extLst>
                <a:ext uri="{FF2B5EF4-FFF2-40B4-BE49-F238E27FC236}">
                  <a16:creationId xmlns:a16="http://schemas.microsoft.com/office/drawing/2014/main" id="{0E310F10-882A-4E57-9EA4-D184FD955874}"/>
                </a:ext>
              </a:extLst>
            </p:cNvPr>
            <p:cNvSpPr>
              <a:spLocks/>
            </p:cNvSpPr>
            <p:nvPr/>
          </p:nvSpPr>
          <p:spPr bwMode="auto">
            <a:xfrm>
              <a:off x="6105577" y="2023724"/>
              <a:ext cx="1336" cy="1336"/>
            </a:xfrm>
            <a:custGeom>
              <a:avLst/>
              <a:gdLst>
                <a:gd name="T0" fmla="*/ 1 w 1"/>
                <a:gd name="T1" fmla="*/ 0 h 1"/>
                <a:gd name="T2" fmla="*/ 0 w 1"/>
                <a:gd name="T3" fmla="*/ 1 h 1"/>
                <a:gd name="T4" fmla="*/ 0 w 1"/>
                <a:gd name="T5" fmla="*/ 1 h 1"/>
                <a:gd name="T6" fmla="*/ 0 w 1"/>
                <a:gd name="T7" fmla="*/ 0 h 1"/>
                <a:gd name="T8" fmla="*/ 0 w 1"/>
                <a:gd name="T9" fmla="*/ 0 h 1"/>
                <a:gd name="T10" fmla="*/ 0 w 1"/>
                <a:gd name="T11" fmla="*/ 0 h 1"/>
                <a:gd name="T12" fmla="*/ 0 w 1"/>
                <a:gd name="T13" fmla="*/ 0 h 1"/>
                <a:gd name="T14" fmla="*/ 0 w 1"/>
                <a:gd name="T15" fmla="*/ 0 h 1"/>
                <a:gd name="T16" fmla="*/ 1 w 1"/>
                <a:gd name="T17" fmla="*/ 0 h 1"/>
                <a:gd name="T18" fmla="*/ 1 w 1"/>
                <a:gd name="T1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
                  <a:moveTo>
                    <a:pt x="1" y="0"/>
                  </a:moveTo>
                  <a:lnTo>
                    <a:pt x="0" y="1"/>
                  </a:lnTo>
                  <a:lnTo>
                    <a:pt x="0" y="1"/>
                  </a:lnTo>
                  <a:lnTo>
                    <a:pt x="0" y="0"/>
                  </a:lnTo>
                  <a:lnTo>
                    <a:pt x="0" y="0"/>
                  </a:lnTo>
                  <a:lnTo>
                    <a:pt x="0" y="0"/>
                  </a:lnTo>
                  <a:lnTo>
                    <a:pt x="0" y="0"/>
                  </a:lnTo>
                  <a:lnTo>
                    <a:pt x="0"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80" name="Freeform 1541">
              <a:extLst>
                <a:ext uri="{FF2B5EF4-FFF2-40B4-BE49-F238E27FC236}">
                  <a16:creationId xmlns:a16="http://schemas.microsoft.com/office/drawing/2014/main" id="{9C048146-6338-4DD8-877F-4A48E1FF5773}"/>
                </a:ext>
              </a:extLst>
            </p:cNvPr>
            <p:cNvSpPr>
              <a:spLocks/>
            </p:cNvSpPr>
            <p:nvPr/>
          </p:nvSpPr>
          <p:spPr bwMode="auto">
            <a:xfrm>
              <a:off x="6120267" y="1991672"/>
              <a:ext cx="2671" cy="2671"/>
            </a:xfrm>
            <a:custGeom>
              <a:avLst/>
              <a:gdLst>
                <a:gd name="T0" fmla="*/ 2 w 2"/>
                <a:gd name="T1" fmla="*/ 0 h 2"/>
                <a:gd name="T2" fmla="*/ 2 w 2"/>
                <a:gd name="T3" fmla="*/ 0 h 2"/>
                <a:gd name="T4" fmla="*/ 2 w 2"/>
                <a:gd name="T5" fmla="*/ 0 h 2"/>
                <a:gd name="T6" fmla="*/ 2 w 2"/>
                <a:gd name="T7" fmla="*/ 0 h 2"/>
                <a:gd name="T8" fmla="*/ 0 w 2"/>
                <a:gd name="T9" fmla="*/ 2 h 2"/>
                <a:gd name="T10" fmla="*/ 0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2 w 2"/>
                <a:gd name="T29" fmla="*/ 0 h 2"/>
                <a:gd name="T30" fmla="*/ 2 w 2"/>
                <a:gd name="T31" fmla="*/ 0 h 2"/>
                <a:gd name="T32" fmla="*/ 2 w 2"/>
                <a:gd name="T3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 h="2">
                  <a:moveTo>
                    <a:pt x="2" y="0"/>
                  </a:moveTo>
                  <a:lnTo>
                    <a:pt x="2" y="0"/>
                  </a:lnTo>
                  <a:lnTo>
                    <a:pt x="2" y="0"/>
                  </a:lnTo>
                  <a:lnTo>
                    <a:pt x="2" y="0"/>
                  </a:lnTo>
                  <a:lnTo>
                    <a:pt x="0" y="2"/>
                  </a:lnTo>
                  <a:lnTo>
                    <a:pt x="0" y="0"/>
                  </a:lnTo>
                  <a:lnTo>
                    <a:pt x="0" y="0"/>
                  </a:lnTo>
                  <a:lnTo>
                    <a:pt x="0" y="0"/>
                  </a:lnTo>
                  <a:lnTo>
                    <a:pt x="0" y="0"/>
                  </a:lnTo>
                  <a:lnTo>
                    <a:pt x="0" y="0"/>
                  </a:lnTo>
                  <a:lnTo>
                    <a:pt x="0" y="0"/>
                  </a:lnTo>
                  <a:lnTo>
                    <a:pt x="0" y="0"/>
                  </a:lnTo>
                  <a:lnTo>
                    <a:pt x="0" y="0"/>
                  </a:lnTo>
                  <a:lnTo>
                    <a:pt x="0"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81" name="Freeform 1542">
              <a:extLst>
                <a:ext uri="{FF2B5EF4-FFF2-40B4-BE49-F238E27FC236}">
                  <a16:creationId xmlns:a16="http://schemas.microsoft.com/office/drawing/2014/main" id="{CF6A10CB-7160-48CE-9A94-647F294B3BF1}"/>
                </a:ext>
              </a:extLst>
            </p:cNvPr>
            <p:cNvSpPr>
              <a:spLocks/>
            </p:cNvSpPr>
            <p:nvPr/>
          </p:nvSpPr>
          <p:spPr bwMode="auto">
            <a:xfrm>
              <a:off x="6117596" y="1991672"/>
              <a:ext cx="1336" cy="2671"/>
            </a:xfrm>
            <a:custGeom>
              <a:avLst/>
              <a:gdLst>
                <a:gd name="T0" fmla="*/ 1 w 1"/>
                <a:gd name="T1" fmla="*/ 2 h 2"/>
                <a:gd name="T2" fmla="*/ 1 w 1"/>
                <a:gd name="T3" fmla="*/ 2 h 2"/>
                <a:gd name="T4" fmla="*/ 1 w 1"/>
                <a:gd name="T5" fmla="*/ 2 h 2"/>
                <a:gd name="T6" fmla="*/ 1 w 1"/>
                <a:gd name="T7" fmla="*/ 2 h 2"/>
                <a:gd name="T8" fmla="*/ 1 w 1"/>
                <a:gd name="T9" fmla="*/ 2 h 2"/>
                <a:gd name="T10" fmla="*/ 1 w 1"/>
                <a:gd name="T11" fmla="*/ 0 h 2"/>
                <a:gd name="T12" fmla="*/ 1 w 1"/>
                <a:gd name="T13" fmla="*/ 0 h 2"/>
                <a:gd name="T14" fmla="*/ 0 w 1"/>
                <a:gd name="T15" fmla="*/ 0 h 2"/>
                <a:gd name="T16" fmla="*/ 0 w 1"/>
                <a:gd name="T17" fmla="*/ 0 h 2"/>
                <a:gd name="T18" fmla="*/ 0 w 1"/>
                <a:gd name="T19" fmla="*/ 0 h 2"/>
                <a:gd name="T20" fmla="*/ 0 w 1"/>
                <a:gd name="T21" fmla="*/ 0 h 2"/>
                <a:gd name="T22" fmla="*/ 1 w 1"/>
                <a:gd name="T23" fmla="*/ 0 h 2"/>
                <a:gd name="T24" fmla="*/ 1 w 1"/>
                <a:gd name="T25" fmla="*/ 0 h 2"/>
                <a:gd name="T26" fmla="*/ 1 w 1"/>
                <a:gd name="T27" fmla="*/ 0 h 2"/>
                <a:gd name="T28" fmla="*/ 1 w 1"/>
                <a:gd name="T29" fmla="*/ 0 h 2"/>
                <a:gd name="T30" fmla="*/ 1 w 1"/>
                <a:gd name="T31" fmla="*/ 0 h 2"/>
                <a:gd name="T32" fmla="*/ 1 w 1"/>
                <a:gd name="T33" fmla="*/ 0 h 2"/>
                <a:gd name="T34" fmla="*/ 1 w 1"/>
                <a:gd name="T35" fmla="*/ 0 h 2"/>
                <a:gd name="T36" fmla="*/ 1 w 1"/>
                <a:gd name="T37" fmla="*/ 0 h 2"/>
                <a:gd name="T38" fmla="*/ 1 w 1"/>
                <a:gd name="T39" fmla="*/ 0 h 2"/>
                <a:gd name="T40" fmla="*/ 1 w 1"/>
                <a:gd name="T4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 h="2">
                  <a:moveTo>
                    <a:pt x="1" y="2"/>
                  </a:moveTo>
                  <a:lnTo>
                    <a:pt x="1" y="2"/>
                  </a:lnTo>
                  <a:lnTo>
                    <a:pt x="1" y="2"/>
                  </a:lnTo>
                  <a:lnTo>
                    <a:pt x="1" y="2"/>
                  </a:lnTo>
                  <a:lnTo>
                    <a:pt x="1" y="2"/>
                  </a:lnTo>
                  <a:lnTo>
                    <a:pt x="1" y="0"/>
                  </a:lnTo>
                  <a:lnTo>
                    <a:pt x="1" y="0"/>
                  </a:lnTo>
                  <a:lnTo>
                    <a:pt x="0" y="0"/>
                  </a:lnTo>
                  <a:lnTo>
                    <a:pt x="0" y="0"/>
                  </a:lnTo>
                  <a:lnTo>
                    <a:pt x="0" y="0"/>
                  </a:lnTo>
                  <a:lnTo>
                    <a:pt x="0" y="0"/>
                  </a:lnTo>
                  <a:lnTo>
                    <a:pt x="1" y="0"/>
                  </a:lnTo>
                  <a:lnTo>
                    <a:pt x="1" y="0"/>
                  </a:lnTo>
                  <a:lnTo>
                    <a:pt x="1" y="0"/>
                  </a:lnTo>
                  <a:lnTo>
                    <a:pt x="1" y="0"/>
                  </a:lnTo>
                  <a:lnTo>
                    <a:pt x="1" y="0"/>
                  </a:lnTo>
                  <a:lnTo>
                    <a:pt x="1" y="0"/>
                  </a:lnTo>
                  <a:lnTo>
                    <a:pt x="1" y="0"/>
                  </a:lnTo>
                  <a:lnTo>
                    <a:pt x="1" y="0"/>
                  </a:lnTo>
                  <a:lnTo>
                    <a:pt x="1" y="0"/>
                  </a:lnTo>
                  <a:lnTo>
                    <a:pt x="1"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85" name="Freeform 1543">
              <a:extLst>
                <a:ext uri="{FF2B5EF4-FFF2-40B4-BE49-F238E27FC236}">
                  <a16:creationId xmlns:a16="http://schemas.microsoft.com/office/drawing/2014/main" id="{BC15122C-19AC-4449-8684-6580E887E1D3}"/>
                </a:ext>
              </a:extLst>
            </p:cNvPr>
            <p:cNvSpPr>
              <a:spLocks/>
            </p:cNvSpPr>
            <p:nvPr/>
          </p:nvSpPr>
          <p:spPr bwMode="auto">
            <a:xfrm>
              <a:off x="6124274" y="1990336"/>
              <a:ext cx="1336" cy="1336"/>
            </a:xfrm>
            <a:custGeom>
              <a:avLst/>
              <a:gdLst>
                <a:gd name="T0" fmla="*/ 1 w 1"/>
                <a:gd name="T1" fmla="*/ 1 h 1"/>
                <a:gd name="T2" fmla="*/ 0 w 1"/>
                <a:gd name="T3" fmla="*/ 1 h 1"/>
                <a:gd name="T4" fmla="*/ 0 w 1"/>
                <a:gd name="T5" fmla="*/ 1 h 1"/>
                <a:gd name="T6" fmla="*/ 0 w 1"/>
                <a:gd name="T7" fmla="*/ 0 h 1"/>
                <a:gd name="T8" fmla="*/ 0 w 1"/>
                <a:gd name="T9" fmla="*/ 0 h 1"/>
                <a:gd name="T10" fmla="*/ 0 w 1"/>
                <a:gd name="T11" fmla="*/ 0 h 1"/>
                <a:gd name="T12" fmla="*/ 0 w 1"/>
                <a:gd name="T13" fmla="*/ 0 h 1"/>
                <a:gd name="T14" fmla="*/ 0 w 1"/>
                <a:gd name="T15" fmla="*/ 0 h 1"/>
                <a:gd name="T16" fmla="*/ 0 w 1"/>
                <a:gd name="T17" fmla="*/ 0 h 1"/>
                <a:gd name="T18" fmla="*/ 1 w 1"/>
                <a:gd name="T19" fmla="*/ 0 h 1"/>
                <a:gd name="T20" fmla="*/ 1 w 1"/>
                <a:gd name="T21" fmla="*/ 0 h 1"/>
                <a:gd name="T22" fmla="*/ 1 w 1"/>
                <a:gd name="T23"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1">
                  <a:moveTo>
                    <a:pt x="1" y="1"/>
                  </a:moveTo>
                  <a:lnTo>
                    <a:pt x="0" y="1"/>
                  </a:lnTo>
                  <a:lnTo>
                    <a:pt x="0" y="1"/>
                  </a:lnTo>
                  <a:lnTo>
                    <a:pt x="0" y="0"/>
                  </a:lnTo>
                  <a:lnTo>
                    <a:pt x="0" y="0"/>
                  </a:lnTo>
                  <a:lnTo>
                    <a:pt x="0" y="0"/>
                  </a:lnTo>
                  <a:lnTo>
                    <a:pt x="0" y="0"/>
                  </a:lnTo>
                  <a:lnTo>
                    <a:pt x="0" y="0"/>
                  </a:lnTo>
                  <a:lnTo>
                    <a:pt x="0" y="0"/>
                  </a:lnTo>
                  <a:lnTo>
                    <a:pt x="1" y="0"/>
                  </a:lnTo>
                  <a:lnTo>
                    <a:pt x="1" y="0"/>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86" name="Freeform 1544">
              <a:extLst>
                <a:ext uri="{FF2B5EF4-FFF2-40B4-BE49-F238E27FC236}">
                  <a16:creationId xmlns:a16="http://schemas.microsoft.com/office/drawing/2014/main" id="{0FC460E4-926A-4D9D-BD03-10F5D5074436}"/>
                </a:ext>
              </a:extLst>
            </p:cNvPr>
            <p:cNvSpPr>
              <a:spLocks/>
            </p:cNvSpPr>
            <p:nvPr/>
          </p:nvSpPr>
          <p:spPr bwMode="auto">
            <a:xfrm>
              <a:off x="6118932" y="1990336"/>
              <a:ext cx="1336" cy="1336"/>
            </a:xfrm>
            <a:custGeom>
              <a:avLst/>
              <a:gdLst>
                <a:gd name="T0" fmla="*/ 1 w 1"/>
                <a:gd name="T1" fmla="*/ 0 h 1"/>
                <a:gd name="T2" fmla="*/ 1 w 1"/>
                <a:gd name="T3" fmla="*/ 0 h 1"/>
                <a:gd name="T4" fmla="*/ 1 w 1"/>
                <a:gd name="T5" fmla="*/ 0 h 1"/>
                <a:gd name="T6" fmla="*/ 1 w 1"/>
                <a:gd name="T7" fmla="*/ 0 h 1"/>
                <a:gd name="T8" fmla="*/ 1 w 1"/>
                <a:gd name="T9" fmla="*/ 1 h 1"/>
                <a:gd name="T10" fmla="*/ 1 w 1"/>
                <a:gd name="T11" fmla="*/ 1 h 1"/>
                <a:gd name="T12" fmla="*/ 1 w 1"/>
                <a:gd name="T13" fmla="*/ 1 h 1"/>
                <a:gd name="T14" fmla="*/ 1 w 1"/>
                <a:gd name="T15" fmla="*/ 1 h 1"/>
                <a:gd name="T16" fmla="*/ 1 w 1"/>
                <a:gd name="T17" fmla="*/ 1 h 1"/>
                <a:gd name="T18" fmla="*/ 1 w 1"/>
                <a:gd name="T19" fmla="*/ 1 h 1"/>
                <a:gd name="T20" fmla="*/ 1 w 1"/>
                <a:gd name="T21" fmla="*/ 1 h 1"/>
                <a:gd name="T22" fmla="*/ 1 w 1"/>
                <a:gd name="T23" fmla="*/ 1 h 1"/>
                <a:gd name="T24" fmla="*/ 1 w 1"/>
                <a:gd name="T25" fmla="*/ 1 h 1"/>
                <a:gd name="T26" fmla="*/ 0 w 1"/>
                <a:gd name="T27" fmla="*/ 1 h 1"/>
                <a:gd name="T28" fmla="*/ 1 w 1"/>
                <a:gd name="T29" fmla="*/ 1 h 1"/>
                <a:gd name="T30" fmla="*/ 0 w 1"/>
                <a:gd name="T31" fmla="*/ 1 h 1"/>
                <a:gd name="T32" fmla="*/ 1 w 1"/>
                <a:gd name="T33" fmla="*/ 1 h 1"/>
                <a:gd name="T34" fmla="*/ 1 w 1"/>
                <a:gd name="T35" fmla="*/ 1 h 1"/>
                <a:gd name="T36" fmla="*/ 1 w 1"/>
                <a:gd name="T37" fmla="*/ 1 h 1"/>
                <a:gd name="T38" fmla="*/ 1 w 1"/>
                <a:gd name="T39" fmla="*/ 1 h 1"/>
                <a:gd name="T40" fmla="*/ 1 w 1"/>
                <a:gd name="T41" fmla="*/ 1 h 1"/>
                <a:gd name="T42" fmla="*/ 0 w 1"/>
                <a:gd name="T43" fmla="*/ 1 h 1"/>
                <a:gd name="T44" fmla="*/ 0 w 1"/>
                <a:gd name="T45" fmla="*/ 1 h 1"/>
                <a:gd name="T46" fmla="*/ 0 w 1"/>
                <a:gd name="T47" fmla="*/ 0 h 1"/>
                <a:gd name="T48" fmla="*/ 0 w 1"/>
                <a:gd name="T49" fmla="*/ 0 h 1"/>
                <a:gd name="T50" fmla="*/ 0 w 1"/>
                <a:gd name="T51" fmla="*/ 0 h 1"/>
                <a:gd name="T52" fmla="*/ 0 w 1"/>
                <a:gd name="T53" fmla="*/ 0 h 1"/>
                <a:gd name="T54" fmla="*/ 0 w 1"/>
                <a:gd name="T55" fmla="*/ 0 h 1"/>
                <a:gd name="T56" fmla="*/ 1 w 1"/>
                <a:gd name="T5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 h="1">
                  <a:moveTo>
                    <a:pt x="1" y="0"/>
                  </a:moveTo>
                  <a:lnTo>
                    <a:pt x="1" y="0"/>
                  </a:lnTo>
                  <a:lnTo>
                    <a:pt x="1" y="0"/>
                  </a:lnTo>
                  <a:lnTo>
                    <a:pt x="1" y="0"/>
                  </a:lnTo>
                  <a:lnTo>
                    <a:pt x="1" y="1"/>
                  </a:lnTo>
                  <a:lnTo>
                    <a:pt x="1" y="1"/>
                  </a:lnTo>
                  <a:lnTo>
                    <a:pt x="1" y="1"/>
                  </a:lnTo>
                  <a:lnTo>
                    <a:pt x="1" y="1"/>
                  </a:lnTo>
                  <a:lnTo>
                    <a:pt x="1" y="1"/>
                  </a:lnTo>
                  <a:lnTo>
                    <a:pt x="1" y="1"/>
                  </a:lnTo>
                  <a:lnTo>
                    <a:pt x="1" y="1"/>
                  </a:lnTo>
                  <a:lnTo>
                    <a:pt x="1" y="1"/>
                  </a:lnTo>
                  <a:lnTo>
                    <a:pt x="1" y="1"/>
                  </a:lnTo>
                  <a:lnTo>
                    <a:pt x="0" y="1"/>
                  </a:lnTo>
                  <a:lnTo>
                    <a:pt x="1" y="1"/>
                  </a:lnTo>
                  <a:lnTo>
                    <a:pt x="0" y="1"/>
                  </a:lnTo>
                  <a:lnTo>
                    <a:pt x="1" y="1"/>
                  </a:lnTo>
                  <a:lnTo>
                    <a:pt x="1" y="1"/>
                  </a:lnTo>
                  <a:lnTo>
                    <a:pt x="1" y="1"/>
                  </a:lnTo>
                  <a:lnTo>
                    <a:pt x="1" y="1"/>
                  </a:lnTo>
                  <a:lnTo>
                    <a:pt x="1" y="1"/>
                  </a:lnTo>
                  <a:lnTo>
                    <a:pt x="0" y="1"/>
                  </a:lnTo>
                  <a:lnTo>
                    <a:pt x="0" y="1"/>
                  </a:lnTo>
                  <a:lnTo>
                    <a:pt x="0" y="0"/>
                  </a:lnTo>
                  <a:lnTo>
                    <a:pt x="0" y="0"/>
                  </a:lnTo>
                  <a:lnTo>
                    <a:pt x="0" y="0"/>
                  </a:lnTo>
                  <a:lnTo>
                    <a:pt x="0" y="0"/>
                  </a:lnTo>
                  <a:lnTo>
                    <a:pt x="0"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87" name="Freeform 1545">
              <a:extLst>
                <a:ext uri="{FF2B5EF4-FFF2-40B4-BE49-F238E27FC236}">
                  <a16:creationId xmlns:a16="http://schemas.microsoft.com/office/drawing/2014/main" id="{4B6A7561-4A72-4534-9586-90FE08EAC921}"/>
                </a:ext>
              </a:extLst>
            </p:cNvPr>
            <p:cNvSpPr>
              <a:spLocks/>
            </p:cNvSpPr>
            <p:nvPr/>
          </p:nvSpPr>
          <p:spPr bwMode="auto">
            <a:xfrm>
              <a:off x="6124274" y="1990336"/>
              <a:ext cx="1336" cy="0"/>
            </a:xfrm>
            <a:custGeom>
              <a:avLst/>
              <a:gdLst>
                <a:gd name="T0" fmla="*/ 1 w 1"/>
                <a:gd name="T1" fmla="*/ 1 w 1"/>
                <a:gd name="T2" fmla="*/ 1 w 1"/>
                <a:gd name="T3" fmla="*/ 0 w 1"/>
                <a:gd name="T4" fmla="*/ 0 w 1"/>
                <a:gd name="T5" fmla="*/ 0 w 1"/>
                <a:gd name="T6" fmla="*/ 0 w 1"/>
                <a:gd name="T7" fmla="*/ 0 w 1"/>
                <a:gd name="T8" fmla="*/ 0 w 1"/>
                <a:gd name="T9" fmla="*/ 0 w 1"/>
                <a:gd name="T10" fmla="*/ 0 w 1"/>
                <a:gd name="T11" fmla="*/ 0 w 1"/>
                <a:gd name="T12" fmla="*/ 0 w 1"/>
                <a:gd name="T13" fmla="*/ 0 w 1"/>
                <a:gd name="T14" fmla="*/ 0 w 1"/>
                <a:gd name="T15" fmla="*/ 0 w 1"/>
                <a:gd name="T16" fmla="*/ 0 w 1"/>
                <a:gd name="T17" fmla="*/ 0 w 1"/>
                <a:gd name="T18" fmla="*/ 0 w 1"/>
                <a:gd name="T19" fmla="*/ 1 w 1"/>
                <a:gd name="T20"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Lst>
              <a:rect l="0" t="0" r="r" b="b"/>
              <a:pathLst>
                <a:path w="1">
                  <a:moveTo>
                    <a:pt x="1" y="0"/>
                  </a:moveTo>
                  <a:lnTo>
                    <a:pt x="1" y="0"/>
                  </a:lnTo>
                  <a:lnTo>
                    <a:pt x="1"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88" name="Freeform 1546">
              <a:extLst>
                <a:ext uri="{FF2B5EF4-FFF2-40B4-BE49-F238E27FC236}">
                  <a16:creationId xmlns:a16="http://schemas.microsoft.com/office/drawing/2014/main" id="{4249F2E5-CECA-4D84-A78A-9BB9044C965F}"/>
                </a:ext>
              </a:extLst>
            </p:cNvPr>
            <p:cNvSpPr>
              <a:spLocks/>
            </p:cNvSpPr>
            <p:nvPr/>
          </p:nvSpPr>
          <p:spPr bwMode="auto">
            <a:xfrm>
              <a:off x="6124274" y="1989001"/>
              <a:ext cx="0" cy="1336"/>
            </a:xfrm>
            <a:custGeom>
              <a:avLst/>
              <a:gdLst>
                <a:gd name="T0" fmla="*/ 0 h 1"/>
                <a:gd name="T1" fmla="*/ 1 h 1"/>
                <a:gd name="T2" fmla="*/ 1 h 1"/>
                <a:gd name="T3" fmla="*/ 0 h 1"/>
                <a:gd name="T4" fmla="*/ 0 h 1"/>
                <a:gd name="T5" fmla="*/ 0 h 1"/>
                <a:gd name="T6" fmla="*/ 0 h 1"/>
                <a:gd name="T7" fmla="*/ 0 h 1"/>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1">
                  <a:moveTo>
                    <a:pt x="0" y="0"/>
                  </a:moveTo>
                  <a:lnTo>
                    <a:pt x="0" y="1"/>
                  </a:lnTo>
                  <a:lnTo>
                    <a:pt x="0" y="1"/>
                  </a:lnTo>
                  <a:lnTo>
                    <a:pt x="0"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89" name="Freeform 1547">
              <a:extLst>
                <a:ext uri="{FF2B5EF4-FFF2-40B4-BE49-F238E27FC236}">
                  <a16:creationId xmlns:a16="http://schemas.microsoft.com/office/drawing/2014/main" id="{D0017757-64D8-4B22-B465-41758D077F09}"/>
                </a:ext>
              </a:extLst>
            </p:cNvPr>
            <p:cNvSpPr>
              <a:spLocks/>
            </p:cNvSpPr>
            <p:nvPr/>
          </p:nvSpPr>
          <p:spPr bwMode="auto">
            <a:xfrm>
              <a:off x="6128280" y="1987665"/>
              <a:ext cx="1336" cy="1336"/>
            </a:xfrm>
            <a:custGeom>
              <a:avLst/>
              <a:gdLst>
                <a:gd name="T0" fmla="*/ 1 w 1"/>
                <a:gd name="T1" fmla="*/ 0 h 1"/>
                <a:gd name="T2" fmla="*/ 1 w 1"/>
                <a:gd name="T3" fmla="*/ 0 h 1"/>
                <a:gd name="T4" fmla="*/ 0 w 1"/>
                <a:gd name="T5" fmla="*/ 0 h 1"/>
                <a:gd name="T6" fmla="*/ 0 w 1"/>
                <a:gd name="T7" fmla="*/ 0 h 1"/>
                <a:gd name="T8" fmla="*/ 0 w 1"/>
                <a:gd name="T9" fmla="*/ 0 h 1"/>
                <a:gd name="T10" fmla="*/ 0 w 1"/>
                <a:gd name="T11" fmla="*/ 1 h 1"/>
                <a:gd name="T12" fmla="*/ 0 w 1"/>
                <a:gd name="T13" fmla="*/ 1 h 1"/>
                <a:gd name="T14" fmla="*/ 0 w 1"/>
                <a:gd name="T15" fmla="*/ 1 h 1"/>
                <a:gd name="T16" fmla="*/ 0 w 1"/>
                <a:gd name="T17" fmla="*/ 0 h 1"/>
                <a:gd name="T18" fmla="*/ 0 w 1"/>
                <a:gd name="T19" fmla="*/ 0 h 1"/>
                <a:gd name="T20" fmla="*/ 0 w 1"/>
                <a:gd name="T21" fmla="*/ 0 h 1"/>
                <a:gd name="T22" fmla="*/ 0 w 1"/>
                <a:gd name="T23" fmla="*/ 0 h 1"/>
                <a:gd name="T24" fmla="*/ 0 w 1"/>
                <a:gd name="T25" fmla="*/ 0 h 1"/>
                <a:gd name="T26" fmla="*/ 0 w 1"/>
                <a:gd name="T27" fmla="*/ 0 h 1"/>
                <a:gd name="T28" fmla="*/ 0 w 1"/>
                <a:gd name="T29" fmla="*/ 0 h 1"/>
                <a:gd name="T30" fmla="*/ 0 w 1"/>
                <a:gd name="T31" fmla="*/ 0 h 1"/>
                <a:gd name="T32" fmla="*/ 0 w 1"/>
                <a:gd name="T33" fmla="*/ 0 h 1"/>
                <a:gd name="T34" fmla="*/ 0 w 1"/>
                <a:gd name="T35" fmla="*/ 0 h 1"/>
                <a:gd name="T36" fmla="*/ 0 w 1"/>
                <a:gd name="T37" fmla="*/ 0 h 1"/>
                <a:gd name="T38" fmla="*/ 0 w 1"/>
                <a:gd name="T39" fmla="*/ 0 h 1"/>
                <a:gd name="T40" fmla="*/ 1 w 1"/>
                <a:gd name="T4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 h="1">
                  <a:moveTo>
                    <a:pt x="1" y="0"/>
                  </a:moveTo>
                  <a:lnTo>
                    <a:pt x="1" y="0"/>
                  </a:lnTo>
                  <a:lnTo>
                    <a:pt x="0" y="0"/>
                  </a:lnTo>
                  <a:lnTo>
                    <a:pt x="0" y="0"/>
                  </a:lnTo>
                  <a:lnTo>
                    <a:pt x="0" y="0"/>
                  </a:lnTo>
                  <a:lnTo>
                    <a:pt x="0" y="1"/>
                  </a:lnTo>
                  <a:lnTo>
                    <a:pt x="0" y="1"/>
                  </a:lnTo>
                  <a:lnTo>
                    <a:pt x="0" y="1"/>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90" name="Freeform 1548">
              <a:extLst>
                <a:ext uri="{FF2B5EF4-FFF2-40B4-BE49-F238E27FC236}">
                  <a16:creationId xmlns:a16="http://schemas.microsoft.com/office/drawing/2014/main" id="{58E33E3D-AE83-46AA-A5F7-62B4FD3B4A22}"/>
                </a:ext>
              </a:extLst>
            </p:cNvPr>
            <p:cNvSpPr>
              <a:spLocks/>
            </p:cNvSpPr>
            <p:nvPr/>
          </p:nvSpPr>
          <p:spPr bwMode="auto">
            <a:xfrm>
              <a:off x="6138964" y="1987665"/>
              <a:ext cx="2671" cy="0"/>
            </a:xfrm>
            <a:custGeom>
              <a:avLst/>
              <a:gdLst>
                <a:gd name="T0" fmla="*/ 2 w 2"/>
                <a:gd name="T1" fmla="*/ 2 w 2"/>
                <a:gd name="T2" fmla="*/ 2 w 2"/>
                <a:gd name="T3" fmla="*/ 2 w 2"/>
                <a:gd name="T4" fmla="*/ 2 w 2"/>
                <a:gd name="T5" fmla="*/ 2 w 2"/>
                <a:gd name="T6" fmla="*/ 2 w 2"/>
                <a:gd name="T7" fmla="*/ 0 w 2"/>
                <a:gd name="T8" fmla="*/ 0 w 2"/>
                <a:gd name="T9" fmla="*/ 0 w 2"/>
                <a:gd name="T10" fmla="*/ 0 w 2"/>
                <a:gd name="T11" fmla="*/ 0 w 2"/>
                <a:gd name="T12" fmla="*/ 0 w 2"/>
                <a:gd name="T13" fmla="*/ 0 w 2"/>
                <a:gd name="T14" fmla="*/ 0 w 2"/>
                <a:gd name="T15" fmla="*/ 0 w 2"/>
                <a:gd name="T16" fmla="*/ 0 w 2"/>
                <a:gd name="T17" fmla="*/ 0 w 2"/>
                <a:gd name="T18" fmla="*/ 0 w 2"/>
                <a:gd name="T19" fmla="*/ 0 w 2"/>
                <a:gd name="T20" fmla="*/ 0 w 2"/>
                <a:gd name="T21" fmla="*/ 2 w 2"/>
                <a:gd name="T22" fmla="*/ 2 w 2"/>
                <a:gd name="T23" fmla="*/ 2 w 2"/>
                <a:gd name="T24" fmla="*/ 2 w 2"/>
                <a:gd name="T25" fmla="*/ 2 w 2"/>
                <a:gd name="T26" fmla="*/ 2 w 2"/>
                <a:gd name="T27" fmla="*/ 2 w 2"/>
                <a:gd name="T28" fmla="*/ 2 w 2"/>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Lst>
              <a:rect l="0" t="0" r="r" b="b"/>
              <a:pathLst>
                <a:path w="2">
                  <a:moveTo>
                    <a:pt x="2" y="0"/>
                  </a:moveTo>
                  <a:lnTo>
                    <a:pt x="2" y="0"/>
                  </a:lnTo>
                  <a:lnTo>
                    <a:pt x="2" y="0"/>
                  </a:lnTo>
                  <a:lnTo>
                    <a:pt x="2" y="0"/>
                  </a:ln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2"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91" name="Freeform 1549">
              <a:extLst>
                <a:ext uri="{FF2B5EF4-FFF2-40B4-BE49-F238E27FC236}">
                  <a16:creationId xmlns:a16="http://schemas.microsoft.com/office/drawing/2014/main" id="{A0E680AA-6753-45B0-A070-56750662119E}"/>
                </a:ext>
              </a:extLst>
            </p:cNvPr>
            <p:cNvSpPr>
              <a:spLocks/>
            </p:cNvSpPr>
            <p:nvPr/>
          </p:nvSpPr>
          <p:spPr bwMode="auto">
            <a:xfrm>
              <a:off x="6125609" y="1986330"/>
              <a:ext cx="1336" cy="1336"/>
            </a:xfrm>
            <a:custGeom>
              <a:avLst/>
              <a:gdLst>
                <a:gd name="T0" fmla="*/ 1 w 1"/>
                <a:gd name="T1" fmla="*/ 1 h 1"/>
                <a:gd name="T2" fmla="*/ 1 w 1"/>
                <a:gd name="T3" fmla="*/ 1 h 1"/>
                <a:gd name="T4" fmla="*/ 0 w 1"/>
                <a:gd name="T5" fmla="*/ 1 h 1"/>
                <a:gd name="T6" fmla="*/ 0 w 1"/>
                <a:gd name="T7" fmla="*/ 1 h 1"/>
                <a:gd name="T8" fmla="*/ 0 w 1"/>
                <a:gd name="T9" fmla="*/ 1 h 1"/>
                <a:gd name="T10" fmla="*/ 0 w 1"/>
                <a:gd name="T11" fmla="*/ 1 h 1"/>
                <a:gd name="T12" fmla="*/ 0 w 1"/>
                <a:gd name="T13" fmla="*/ 1 h 1"/>
                <a:gd name="T14" fmla="*/ 0 w 1"/>
                <a:gd name="T15" fmla="*/ 1 h 1"/>
                <a:gd name="T16" fmla="*/ 0 w 1"/>
                <a:gd name="T17" fmla="*/ 1 h 1"/>
                <a:gd name="T18" fmla="*/ 0 w 1"/>
                <a:gd name="T19" fmla="*/ 1 h 1"/>
                <a:gd name="T20" fmla="*/ 0 w 1"/>
                <a:gd name="T21" fmla="*/ 0 h 1"/>
                <a:gd name="T22" fmla="*/ 1 w 1"/>
                <a:gd name="T23" fmla="*/ 1 h 1"/>
                <a:gd name="T24" fmla="*/ 1 w 1"/>
                <a:gd name="T25" fmla="*/ 1 h 1"/>
                <a:gd name="T26" fmla="*/ 1 w 1"/>
                <a:gd name="T2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 h="1">
                  <a:moveTo>
                    <a:pt x="1" y="1"/>
                  </a:moveTo>
                  <a:lnTo>
                    <a:pt x="1" y="1"/>
                  </a:lnTo>
                  <a:lnTo>
                    <a:pt x="0" y="1"/>
                  </a:lnTo>
                  <a:lnTo>
                    <a:pt x="0" y="1"/>
                  </a:lnTo>
                  <a:lnTo>
                    <a:pt x="0" y="1"/>
                  </a:lnTo>
                  <a:lnTo>
                    <a:pt x="0" y="1"/>
                  </a:lnTo>
                  <a:lnTo>
                    <a:pt x="0" y="1"/>
                  </a:lnTo>
                  <a:lnTo>
                    <a:pt x="0" y="1"/>
                  </a:lnTo>
                  <a:lnTo>
                    <a:pt x="0" y="1"/>
                  </a:lnTo>
                  <a:lnTo>
                    <a:pt x="0" y="1"/>
                  </a:lnTo>
                  <a:lnTo>
                    <a:pt x="0" y="0"/>
                  </a:lnTo>
                  <a:lnTo>
                    <a:pt x="1" y="1"/>
                  </a:lnTo>
                  <a:lnTo>
                    <a:pt x="1" y="1"/>
                  </a:lnTo>
                  <a:lnTo>
                    <a:pt x="1"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92" name="Freeform 1550">
              <a:extLst>
                <a:ext uri="{FF2B5EF4-FFF2-40B4-BE49-F238E27FC236}">
                  <a16:creationId xmlns:a16="http://schemas.microsoft.com/office/drawing/2014/main" id="{2F69BC46-7042-43B3-845B-DE79E78B11EB}"/>
                </a:ext>
              </a:extLst>
            </p:cNvPr>
            <p:cNvSpPr>
              <a:spLocks/>
            </p:cNvSpPr>
            <p:nvPr/>
          </p:nvSpPr>
          <p:spPr bwMode="auto">
            <a:xfrm>
              <a:off x="5973363" y="1926233"/>
              <a:ext cx="172278" cy="260421"/>
            </a:xfrm>
            <a:custGeom>
              <a:avLst/>
              <a:gdLst>
                <a:gd name="T0" fmla="*/ 116 w 129"/>
                <a:gd name="T1" fmla="*/ 18 h 195"/>
                <a:gd name="T2" fmla="*/ 119 w 129"/>
                <a:gd name="T3" fmla="*/ 26 h 195"/>
                <a:gd name="T4" fmla="*/ 122 w 129"/>
                <a:gd name="T5" fmla="*/ 37 h 195"/>
                <a:gd name="T6" fmla="*/ 124 w 129"/>
                <a:gd name="T7" fmla="*/ 45 h 195"/>
                <a:gd name="T8" fmla="*/ 115 w 129"/>
                <a:gd name="T9" fmla="*/ 45 h 195"/>
                <a:gd name="T10" fmla="*/ 109 w 129"/>
                <a:gd name="T11" fmla="*/ 46 h 195"/>
                <a:gd name="T12" fmla="*/ 109 w 129"/>
                <a:gd name="T13" fmla="*/ 48 h 195"/>
                <a:gd name="T14" fmla="*/ 106 w 129"/>
                <a:gd name="T15" fmla="*/ 49 h 195"/>
                <a:gd name="T16" fmla="*/ 102 w 129"/>
                <a:gd name="T17" fmla="*/ 51 h 195"/>
                <a:gd name="T18" fmla="*/ 103 w 129"/>
                <a:gd name="T19" fmla="*/ 54 h 195"/>
                <a:gd name="T20" fmla="*/ 101 w 129"/>
                <a:gd name="T21" fmla="*/ 59 h 195"/>
                <a:gd name="T22" fmla="*/ 103 w 129"/>
                <a:gd name="T23" fmla="*/ 62 h 195"/>
                <a:gd name="T24" fmla="*/ 99 w 129"/>
                <a:gd name="T25" fmla="*/ 70 h 195"/>
                <a:gd name="T26" fmla="*/ 93 w 129"/>
                <a:gd name="T27" fmla="*/ 75 h 195"/>
                <a:gd name="T28" fmla="*/ 84 w 129"/>
                <a:gd name="T29" fmla="*/ 77 h 195"/>
                <a:gd name="T30" fmla="*/ 78 w 129"/>
                <a:gd name="T31" fmla="*/ 81 h 195"/>
                <a:gd name="T32" fmla="*/ 73 w 129"/>
                <a:gd name="T33" fmla="*/ 83 h 195"/>
                <a:gd name="T34" fmla="*/ 72 w 129"/>
                <a:gd name="T35" fmla="*/ 87 h 195"/>
                <a:gd name="T36" fmla="*/ 69 w 129"/>
                <a:gd name="T37" fmla="*/ 84 h 195"/>
                <a:gd name="T38" fmla="*/ 70 w 129"/>
                <a:gd name="T39" fmla="*/ 89 h 195"/>
                <a:gd name="T40" fmla="*/ 65 w 129"/>
                <a:gd name="T41" fmla="*/ 94 h 195"/>
                <a:gd name="T42" fmla="*/ 65 w 129"/>
                <a:gd name="T43" fmla="*/ 102 h 195"/>
                <a:gd name="T44" fmla="*/ 63 w 129"/>
                <a:gd name="T45" fmla="*/ 104 h 195"/>
                <a:gd name="T46" fmla="*/ 63 w 129"/>
                <a:gd name="T47" fmla="*/ 108 h 195"/>
                <a:gd name="T48" fmla="*/ 67 w 129"/>
                <a:gd name="T49" fmla="*/ 116 h 195"/>
                <a:gd name="T50" fmla="*/ 76 w 129"/>
                <a:gd name="T51" fmla="*/ 121 h 195"/>
                <a:gd name="T52" fmla="*/ 80 w 129"/>
                <a:gd name="T53" fmla="*/ 124 h 195"/>
                <a:gd name="T54" fmla="*/ 85 w 129"/>
                <a:gd name="T55" fmla="*/ 128 h 195"/>
                <a:gd name="T56" fmla="*/ 87 w 129"/>
                <a:gd name="T57" fmla="*/ 131 h 195"/>
                <a:gd name="T58" fmla="*/ 79 w 129"/>
                <a:gd name="T59" fmla="*/ 135 h 195"/>
                <a:gd name="T60" fmla="*/ 84 w 129"/>
                <a:gd name="T61" fmla="*/ 136 h 195"/>
                <a:gd name="T62" fmla="*/ 81 w 129"/>
                <a:gd name="T63" fmla="*/ 139 h 195"/>
                <a:gd name="T64" fmla="*/ 76 w 129"/>
                <a:gd name="T65" fmla="*/ 144 h 195"/>
                <a:gd name="T66" fmla="*/ 72 w 129"/>
                <a:gd name="T67" fmla="*/ 143 h 195"/>
                <a:gd name="T68" fmla="*/ 58 w 129"/>
                <a:gd name="T69" fmla="*/ 146 h 195"/>
                <a:gd name="T70" fmla="*/ 60 w 129"/>
                <a:gd name="T71" fmla="*/ 149 h 195"/>
                <a:gd name="T72" fmla="*/ 64 w 129"/>
                <a:gd name="T73" fmla="*/ 154 h 195"/>
                <a:gd name="T74" fmla="*/ 64 w 129"/>
                <a:gd name="T75" fmla="*/ 158 h 195"/>
                <a:gd name="T76" fmla="*/ 65 w 129"/>
                <a:gd name="T77" fmla="*/ 160 h 195"/>
                <a:gd name="T78" fmla="*/ 64 w 129"/>
                <a:gd name="T79" fmla="*/ 165 h 195"/>
                <a:gd name="T80" fmla="*/ 63 w 129"/>
                <a:gd name="T81" fmla="*/ 171 h 195"/>
                <a:gd name="T82" fmla="*/ 59 w 129"/>
                <a:gd name="T83" fmla="*/ 182 h 195"/>
                <a:gd name="T84" fmla="*/ 51 w 129"/>
                <a:gd name="T85" fmla="*/ 184 h 195"/>
                <a:gd name="T86" fmla="*/ 39 w 129"/>
                <a:gd name="T87" fmla="*/ 189 h 195"/>
                <a:gd name="T88" fmla="*/ 30 w 129"/>
                <a:gd name="T89" fmla="*/ 195 h 195"/>
                <a:gd name="T90" fmla="*/ 24 w 129"/>
                <a:gd name="T91" fmla="*/ 188 h 195"/>
                <a:gd name="T92" fmla="*/ 21 w 129"/>
                <a:gd name="T93" fmla="*/ 180 h 195"/>
                <a:gd name="T94" fmla="*/ 15 w 129"/>
                <a:gd name="T95" fmla="*/ 171 h 195"/>
                <a:gd name="T96" fmla="*/ 10 w 129"/>
                <a:gd name="T97" fmla="*/ 165 h 195"/>
                <a:gd name="T98" fmla="*/ 8 w 129"/>
                <a:gd name="T99" fmla="*/ 159 h 195"/>
                <a:gd name="T100" fmla="*/ 6 w 129"/>
                <a:gd name="T101" fmla="*/ 153 h 195"/>
                <a:gd name="T102" fmla="*/ 2 w 129"/>
                <a:gd name="T103" fmla="*/ 150 h 195"/>
                <a:gd name="T104" fmla="*/ 3 w 129"/>
                <a:gd name="T105" fmla="*/ 140 h 195"/>
                <a:gd name="T106" fmla="*/ 8 w 129"/>
                <a:gd name="T107" fmla="*/ 132 h 195"/>
                <a:gd name="T108" fmla="*/ 12 w 129"/>
                <a:gd name="T109" fmla="*/ 116 h 195"/>
                <a:gd name="T110" fmla="*/ 12 w 129"/>
                <a:gd name="T111" fmla="*/ 104 h 195"/>
                <a:gd name="T112" fmla="*/ 9 w 129"/>
                <a:gd name="T113" fmla="*/ 73 h 195"/>
                <a:gd name="T114" fmla="*/ 27 w 129"/>
                <a:gd name="T115" fmla="*/ 54 h 195"/>
                <a:gd name="T116" fmla="*/ 43 w 129"/>
                <a:gd name="T117" fmla="*/ 30 h 195"/>
                <a:gd name="T118" fmla="*/ 59 w 129"/>
                <a:gd name="T119" fmla="*/ 16 h 195"/>
                <a:gd name="T120" fmla="*/ 80 w 129"/>
                <a:gd name="T121" fmla="*/ 6 h 195"/>
                <a:gd name="T122" fmla="*/ 92 w 129"/>
                <a:gd name="T123" fmla="*/ 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9" h="195">
                  <a:moveTo>
                    <a:pt x="106" y="9"/>
                  </a:moveTo>
                  <a:lnTo>
                    <a:pt x="107" y="9"/>
                  </a:lnTo>
                  <a:lnTo>
                    <a:pt x="107" y="10"/>
                  </a:lnTo>
                  <a:lnTo>
                    <a:pt x="108" y="10"/>
                  </a:lnTo>
                  <a:lnTo>
                    <a:pt x="109" y="10"/>
                  </a:lnTo>
                  <a:lnTo>
                    <a:pt x="110" y="11"/>
                  </a:lnTo>
                  <a:lnTo>
                    <a:pt x="112" y="11"/>
                  </a:lnTo>
                  <a:lnTo>
                    <a:pt x="112" y="12"/>
                  </a:lnTo>
                  <a:lnTo>
                    <a:pt x="112" y="13"/>
                  </a:lnTo>
                  <a:lnTo>
                    <a:pt x="113" y="13"/>
                  </a:lnTo>
                  <a:lnTo>
                    <a:pt x="114" y="13"/>
                  </a:lnTo>
                  <a:lnTo>
                    <a:pt x="115" y="14"/>
                  </a:lnTo>
                  <a:lnTo>
                    <a:pt x="116" y="14"/>
                  </a:lnTo>
                  <a:lnTo>
                    <a:pt x="117" y="16"/>
                  </a:lnTo>
                  <a:lnTo>
                    <a:pt x="116" y="17"/>
                  </a:lnTo>
                  <a:lnTo>
                    <a:pt x="116" y="18"/>
                  </a:lnTo>
                  <a:lnTo>
                    <a:pt x="116" y="19"/>
                  </a:lnTo>
                  <a:lnTo>
                    <a:pt x="117" y="19"/>
                  </a:lnTo>
                  <a:lnTo>
                    <a:pt x="117" y="20"/>
                  </a:lnTo>
                  <a:lnTo>
                    <a:pt x="117" y="21"/>
                  </a:lnTo>
                  <a:lnTo>
                    <a:pt x="116" y="21"/>
                  </a:lnTo>
                  <a:lnTo>
                    <a:pt x="117" y="23"/>
                  </a:lnTo>
                  <a:lnTo>
                    <a:pt x="119" y="23"/>
                  </a:lnTo>
                  <a:lnTo>
                    <a:pt x="120" y="23"/>
                  </a:lnTo>
                  <a:lnTo>
                    <a:pt x="121" y="23"/>
                  </a:lnTo>
                  <a:lnTo>
                    <a:pt x="121" y="24"/>
                  </a:lnTo>
                  <a:lnTo>
                    <a:pt x="121" y="25"/>
                  </a:lnTo>
                  <a:lnTo>
                    <a:pt x="120" y="25"/>
                  </a:lnTo>
                  <a:lnTo>
                    <a:pt x="119" y="25"/>
                  </a:lnTo>
                  <a:lnTo>
                    <a:pt x="120" y="25"/>
                  </a:lnTo>
                  <a:lnTo>
                    <a:pt x="120" y="26"/>
                  </a:lnTo>
                  <a:lnTo>
                    <a:pt x="119" y="26"/>
                  </a:lnTo>
                  <a:lnTo>
                    <a:pt x="120" y="26"/>
                  </a:lnTo>
                  <a:lnTo>
                    <a:pt x="120" y="27"/>
                  </a:lnTo>
                  <a:lnTo>
                    <a:pt x="121" y="27"/>
                  </a:lnTo>
                  <a:lnTo>
                    <a:pt x="121" y="28"/>
                  </a:lnTo>
                  <a:lnTo>
                    <a:pt x="122" y="28"/>
                  </a:lnTo>
                  <a:lnTo>
                    <a:pt x="123" y="30"/>
                  </a:lnTo>
                  <a:lnTo>
                    <a:pt x="124" y="31"/>
                  </a:lnTo>
                  <a:lnTo>
                    <a:pt x="124" y="32"/>
                  </a:lnTo>
                  <a:lnTo>
                    <a:pt x="123" y="32"/>
                  </a:lnTo>
                  <a:lnTo>
                    <a:pt x="124" y="33"/>
                  </a:lnTo>
                  <a:lnTo>
                    <a:pt x="123" y="33"/>
                  </a:lnTo>
                  <a:lnTo>
                    <a:pt x="124" y="34"/>
                  </a:lnTo>
                  <a:lnTo>
                    <a:pt x="123" y="34"/>
                  </a:lnTo>
                  <a:lnTo>
                    <a:pt x="123" y="35"/>
                  </a:lnTo>
                  <a:lnTo>
                    <a:pt x="122" y="35"/>
                  </a:lnTo>
                  <a:lnTo>
                    <a:pt x="122" y="37"/>
                  </a:lnTo>
                  <a:lnTo>
                    <a:pt x="122" y="38"/>
                  </a:lnTo>
                  <a:lnTo>
                    <a:pt x="123" y="39"/>
                  </a:lnTo>
                  <a:lnTo>
                    <a:pt x="123" y="40"/>
                  </a:lnTo>
                  <a:lnTo>
                    <a:pt x="124" y="40"/>
                  </a:lnTo>
                  <a:lnTo>
                    <a:pt x="126" y="40"/>
                  </a:lnTo>
                  <a:lnTo>
                    <a:pt x="126" y="41"/>
                  </a:lnTo>
                  <a:lnTo>
                    <a:pt x="127" y="41"/>
                  </a:lnTo>
                  <a:lnTo>
                    <a:pt x="128" y="42"/>
                  </a:lnTo>
                  <a:lnTo>
                    <a:pt x="128" y="44"/>
                  </a:lnTo>
                  <a:lnTo>
                    <a:pt x="129" y="45"/>
                  </a:lnTo>
                  <a:lnTo>
                    <a:pt x="128" y="45"/>
                  </a:lnTo>
                  <a:lnTo>
                    <a:pt x="127" y="45"/>
                  </a:lnTo>
                  <a:lnTo>
                    <a:pt x="127" y="46"/>
                  </a:lnTo>
                  <a:lnTo>
                    <a:pt x="127" y="45"/>
                  </a:lnTo>
                  <a:lnTo>
                    <a:pt x="126" y="45"/>
                  </a:lnTo>
                  <a:lnTo>
                    <a:pt x="124" y="45"/>
                  </a:lnTo>
                  <a:lnTo>
                    <a:pt x="123" y="45"/>
                  </a:lnTo>
                  <a:lnTo>
                    <a:pt x="122" y="45"/>
                  </a:lnTo>
                  <a:lnTo>
                    <a:pt x="121" y="45"/>
                  </a:lnTo>
                  <a:lnTo>
                    <a:pt x="122" y="45"/>
                  </a:lnTo>
                  <a:lnTo>
                    <a:pt x="121" y="45"/>
                  </a:lnTo>
                  <a:lnTo>
                    <a:pt x="121" y="46"/>
                  </a:lnTo>
                  <a:lnTo>
                    <a:pt x="121" y="45"/>
                  </a:lnTo>
                  <a:lnTo>
                    <a:pt x="120" y="45"/>
                  </a:lnTo>
                  <a:lnTo>
                    <a:pt x="119" y="45"/>
                  </a:lnTo>
                  <a:lnTo>
                    <a:pt x="120" y="45"/>
                  </a:lnTo>
                  <a:lnTo>
                    <a:pt x="120" y="46"/>
                  </a:lnTo>
                  <a:lnTo>
                    <a:pt x="119" y="46"/>
                  </a:lnTo>
                  <a:lnTo>
                    <a:pt x="117" y="46"/>
                  </a:lnTo>
                  <a:lnTo>
                    <a:pt x="116" y="46"/>
                  </a:lnTo>
                  <a:lnTo>
                    <a:pt x="116" y="45"/>
                  </a:lnTo>
                  <a:lnTo>
                    <a:pt x="115" y="45"/>
                  </a:lnTo>
                  <a:lnTo>
                    <a:pt x="114" y="44"/>
                  </a:lnTo>
                  <a:lnTo>
                    <a:pt x="113" y="44"/>
                  </a:lnTo>
                  <a:lnTo>
                    <a:pt x="114" y="45"/>
                  </a:lnTo>
                  <a:lnTo>
                    <a:pt x="114" y="46"/>
                  </a:lnTo>
                  <a:lnTo>
                    <a:pt x="113" y="46"/>
                  </a:lnTo>
                  <a:lnTo>
                    <a:pt x="113" y="45"/>
                  </a:lnTo>
                  <a:lnTo>
                    <a:pt x="112" y="45"/>
                  </a:lnTo>
                  <a:lnTo>
                    <a:pt x="112" y="44"/>
                  </a:lnTo>
                  <a:lnTo>
                    <a:pt x="110" y="44"/>
                  </a:lnTo>
                  <a:lnTo>
                    <a:pt x="110" y="45"/>
                  </a:lnTo>
                  <a:lnTo>
                    <a:pt x="109" y="45"/>
                  </a:lnTo>
                  <a:lnTo>
                    <a:pt x="110" y="45"/>
                  </a:lnTo>
                  <a:lnTo>
                    <a:pt x="109" y="45"/>
                  </a:lnTo>
                  <a:lnTo>
                    <a:pt x="110" y="45"/>
                  </a:lnTo>
                  <a:lnTo>
                    <a:pt x="110" y="46"/>
                  </a:lnTo>
                  <a:lnTo>
                    <a:pt x="109" y="46"/>
                  </a:lnTo>
                  <a:lnTo>
                    <a:pt x="108" y="46"/>
                  </a:lnTo>
                  <a:lnTo>
                    <a:pt x="109" y="46"/>
                  </a:lnTo>
                  <a:lnTo>
                    <a:pt x="110" y="46"/>
                  </a:lnTo>
                  <a:lnTo>
                    <a:pt x="110" y="47"/>
                  </a:lnTo>
                  <a:lnTo>
                    <a:pt x="110" y="46"/>
                  </a:lnTo>
                  <a:lnTo>
                    <a:pt x="109" y="46"/>
                  </a:lnTo>
                  <a:lnTo>
                    <a:pt x="109" y="47"/>
                  </a:lnTo>
                  <a:lnTo>
                    <a:pt x="108" y="47"/>
                  </a:lnTo>
                  <a:lnTo>
                    <a:pt x="109" y="47"/>
                  </a:lnTo>
                  <a:lnTo>
                    <a:pt x="110" y="47"/>
                  </a:lnTo>
                  <a:lnTo>
                    <a:pt x="109" y="47"/>
                  </a:lnTo>
                  <a:lnTo>
                    <a:pt x="110" y="47"/>
                  </a:lnTo>
                  <a:lnTo>
                    <a:pt x="110" y="48"/>
                  </a:lnTo>
                  <a:lnTo>
                    <a:pt x="112" y="48"/>
                  </a:lnTo>
                  <a:lnTo>
                    <a:pt x="110" y="48"/>
                  </a:lnTo>
                  <a:lnTo>
                    <a:pt x="109" y="48"/>
                  </a:lnTo>
                  <a:lnTo>
                    <a:pt x="108" y="47"/>
                  </a:lnTo>
                  <a:lnTo>
                    <a:pt x="107" y="47"/>
                  </a:lnTo>
                  <a:lnTo>
                    <a:pt x="106" y="47"/>
                  </a:lnTo>
                  <a:lnTo>
                    <a:pt x="105" y="47"/>
                  </a:lnTo>
                  <a:lnTo>
                    <a:pt x="105" y="46"/>
                  </a:lnTo>
                  <a:lnTo>
                    <a:pt x="103" y="46"/>
                  </a:lnTo>
                  <a:lnTo>
                    <a:pt x="105" y="46"/>
                  </a:lnTo>
                  <a:lnTo>
                    <a:pt x="105" y="47"/>
                  </a:lnTo>
                  <a:lnTo>
                    <a:pt x="106" y="47"/>
                  </a:lnTo>
                  <a:lnTo>
                    <a:pt x="107" y="48"/>
                  </a:lnTo>
                  <a:lnTo>
                    <a:pt x="108" y="48"/>
                  </a:lnTo>
                  <a:lnTo>
                    <a:pt x="109" y="48"/>
                  </a:lnTo>
                  <a:lnTo>
                    <a:pt x="108" y="48"/>
                  </a:lnTo>
                  <a:lnTo>
                    <a:pt x="107" y="48"/>
                  </a:lnTo>
                  <a:lnTo>
                    <a:pt x="106" y="48"/>
                  </a:lnTo>
                  <a:lnTo>
                    <a:pt x="106" y="49"/>
                  </a:lnTo>
                  <a:lnTo>
                    <a:pt x="107" y="49"/>
                  </a:lnTo>
                  <a:lnTo>
                    <a:pt x="106" y="49"/>
                  </a:lnTo>
                  <a:lnTo>
                    <a:pt x="107" y="49"/>
                  </a:lnTo>
                  <a:lnTo>
                    <a:pt x="107" y="51"/>
                  </a:lnTo>
                  <a:lnTo>
                    <a:pt x="107" y="49"/>
                  </a:lnTo>
                  <a:lnTo>
                    <a:pt x="107" y="51"/>
                  </a:lnTo>
                  <a:lnTo>
                    <a:pt x="106" y="51"/>
                  </a:lnTo>
                  <a:lnTo>
                    <a:pt x="105" y="51"/>
                  </a:lnTo>
                  <a:lnTo>
                    <a:pt x="103" y="51"/>
                  </a:lnTo>
                  <a:lnTo>
                    <a:pt x="105" y="51"/>
                  </a:lnTo>
                  <a:lnTo>
                    <a:pt x="103" y="51"/>
                  </a:lnTo>
                  <a:lnTo>
                    <a:pt x="102" y="51"/>
                  </a:lnTo>
                  <a:lnTo>
                    <a:pt x="103" y="51"/>
                  </a:lnTo>
                  <a:lnTo>
                    <a:pt x="102" y="51"/>
                  </a:lnTo>
                  <a:lnTo>
                    <a:pt x="101" y="51"/>
                  </a:lnTo>
                  <a:lnTo>
                    <a:pt x="102" y="51"/>
                  </a:lnTo>
                  <a:lnTo>
                    <a:pt x="101" y="51"/>
                  </a:lnTo>
                  <a:lnTo>
                    <a:pt x="102" y="51"/>
                  </a:lnTo>
                  <a:lnTo>
                    <a:pt x="102" y="52"/>
                  </a:lnTo>
                  <a:lnTo>
                    <a:pt x="103" y="52"/>
                  </a:lnTo>
                  <a:lnTo>
                    <a:pt x="105" y="52"/>
                  </a:lnTo>
                  <a:lnTo>
                    <a:pt x="105" y="53"/>
                  </a:lnTo>
                  <a:lnTo>
                    <a:pt x="103" y="53"/>
                  </a:lnTo>
                  <a:lnTo>
                    <a:pt x="102" y="53"/>
                  </a:lnTo>
                  <a:lnTo>
                    <a:pt x="102" y="52"/>
                  </a:lnTo>
                  <a:lnTo>
                    <a:pt x="101" y="52"/>
                  </a:lnTo>
                  <a:lnTo>
                    <a:pt x="101" y="51"/>
                  </a:lnTo>
                  <a:lnTo>
                    <a:pt x="100" y="51"/>
                  </a:lnTo>
                  <a:lnTo>
                    <a:pt x="100" y="52"/>
                  </a:lnTo>
                  <a:lnTo>
                    <a:pt x="101" y="52"/>
                  </a:lnTo>
                  <a:lnTo>
                    <a:pt x="102" y="53"/>
                  </a:lnTo>
                  <a:lnTo>
                    <a:pt x="103" y="54"/>
                  </a:lnTo>
                  <a:lnTo>
                    <a:pt x="103" y="55"/>
                  </a:lnTo>
                  <a:lnTo>
                    <a:pt x="102" y="55"/>
                  </a:lnTo>
                  <a:lnTo>
                    <a:pt x="103" y="55"/>
                  </a:lnTo>
                  <a:lnTo>
                    <a:pt x="102" y="56"/>
                  </a:lnTo>
                  <a:lnTo>
                    <a:pt x="102" y="55"/>
                  </a:lnTo>
                  <a:lnTo>
                    <a:pt x="102" y="56"/>
                  </a:lnTo>
                  <a:lnTo>
                    <a:pt x="101" y="56"/>
                  </a:lnTo>
                  <a:lnTo>
                    <a:pt x="102" y="56"/>
                  </a:lnTo>
                  <a:lnTo>
                    <a:pt x="100" y="56"/>
                  </a:lnTo>
                  <a:lnTo>
                    <a:pt x="100" y="58"/>
                  </a:lnTo>
                  <a:lnTo>
                    <a:pt x="100" y="59"/>
                  </a:lnTo>
                  <a:lnTo>
                    <a:pt x="99" y="59"/>
                  </a:lnTo>
                  <a:lnTo>
                    <a:pt x="99" y="58"/>
                  </a:lnTo>
                  <a:lnTo>
                    <a:pt x="99" y="59"/>
                  </a:lnTo>
                  <a:lnTo>
                    <a:pt x="100" y="59"/>
                  </a:lnTo>
                  <a:lnTo>
                    <a:pt x="101" y="59"/>
                  </a:lnTo>
                  <a:lnTo>
                    <a:pt x="101" y="60"/>
                  </a:lnTo>
                  <a:lnTo>
                    <a:pt x="101" y="61"/>
                  </a:lnTo>
                  <a:lnTo>
                    <a:pt x="101" y="60"/>
                  </a:lnTo>
                  <a:lnTo>
                    <a:pt x="100" y="60"/>
                  </a:lnTo>
                  <a:lnTo>
                    <a:pt x="100" y="61"/>
                  </a:lnTo>
                  <a:lnTo>
                    <a:pt x="101" y="61"/>
                  </a:lnTo>
                  <a:lnTo>
                    <a:pt x="102" y="61"/>
                  </a:lnTo>
                  <a:lnTo>
                    <a:pt x="102" y="62"/>
                  </a:lnTo>
                  <a:lnTo>
                    <a:pt x="102" y="61"/>
                  </a:lnTo>
                  <a:lnTo>
                    <a:pt x="103" y="62"/>
                  </a:lnTo>
                  <a:lnTo>
                    <a:pt x="105" y="62"/>
                  </a:lnTo>
                  <a:lnTo>
                    <a:pt x="103" y="62"/>
                  </a:lnTo>
                  <a:lnTo>
                    <a:pt x="102" y="62"/>
                  </a:lnTo>
                  <a:lnTo>
                    <a:pt x="103" y="62"/>
                  </a:lnTo>
                  <a:lnTo>
                    <a:pt x="103" y="63"/>
                  </a:lnTo>
                  <a:lnTo>
                    <a:pt x="103" y="62"/>
                  </a:lnTo>
                  <a:lnTo>
                    <a:pt x="103" y="63"/>
                  </a:lnTo>
                  <a:lnTo>
                    <a:pt x="105" y="63"/>
                  </a:lnTo>
                  <a:lnTo>
                    <a:pt x="103" y="63"/>
                  </a:lnTo>
                  <a:lnTo>
                    <a:pt x="105" y="63"/>
                  </a:lnTo>
                  <a:lnTo>
                    <a:pt x="106" y="63"/>
                  </a:lnTo>
                  <a:lnTo>
                    <a:pt x="105" y="63"/>
                  </a:lnTo>
                  <a:lnTo>
                    <a:pt x="105" y="65"/>
                  </a:lnTo>
                  <a:lnTo>
                    <a:pt x="103" y="65"/>
                  </a:lnTo>
                  <a:lnTo>
                    <a:pt x="103" y="66"/>
                  </a:lnTo>
                  <a:lnTo>
                    <a:pt x="102" y="65"/>
                  </a:lnTo>
                  <a:lnTo>
                    <a:pt x="102" y="66"/>
                  </a:lnTo>
                  <a:lnTo>
                    <a:pt x="101" y="67"/>
                  </a:lnTo>
                  <a:lnTo>
                    <a:pt x="100" y="67"/>
                  </a:lnTo>
                  <a:lnTo>
                    <a:pt x="99" y="68"/>
                  </a:lnTo>
                  <a:lnTo>
                    <a:pt x="99" y="69"/>
                  </a:lnTo>
                  <a:lnTo>
                    <a:pt x="99" y="70"/>
                  </a:lnTo>
                  <a:lnTo>
                    <a:pt x="98" y="72"/>
                  </a:lnTo>
                  <a:lnTo>
                    <a:pt x="97" y="72"/>
                  </a:lnTo>
                  <a:lnTo>
                    <a:pt x="97" y="73"/>
                  </a:lnTo>
                  <a:lnTo>
                    <a:pt x="98" y="73"/>
                  </a:lnTo>
                  <a:lnTo>
                    <a:pt x="97" y="73"/>
                  </a:lnTo>
                  <a:lnTo>
                    <a:pt x="95" y="73"/>
                  </a:lnTo>
                  <a:lnTo>
                    <a:pt x="94" y="73"/>
                  </a:lnTo>
                  <a:lnTo>
                    <a:pt x="94" y="74"/>
                  </a:lnTo>
                  <a:lnTo>
                    <a:pt x="94" y="73"/>
                  </a:lnTo>
                  <a:lnTo>
                    <a:pt x="94" y="74"/>
                  </a:lnTo>
                  <a:lnTo>
                    <a:pt x="94" y="75"/>
                  </a:lnTo>
                  <a:lnTo>
                    <a:pt x="94" y="74"/>
                  </a:lnTo>
                  <a:lnTo>
                    <a:pt x="93" y="74"/>
                  </a:lnTo>
                  <a:lnTo>
                    <a:pt x="93" y="75"/>
                  </a:lnTo>
                  <a:lnTo>
                    <a:pt x="93" y="74"/>
                  </a:lnTo>
                  <a:lnTo>
                    <a:pt x="93" y="75"/>
                  </a:lnTo>
                  <a:lnTo>
                    <a:pt x="92" y="75"/>
                  </a:lnTo>
                  <a:lnTo>
                    <a:pt x="91" y="75"/>
                  </a:lnTo>
                  <a:lnTo>
                    <a:pt x="90" y="75"/>
                  </a:lnTo>
                  <a:lnTo>
                    <a:pt x="88" y="75"/>
                  </a:lnTo>
                  <a:lnTo>
                    <a:pt x="88" y="76"/>
                  </a:lnTo>
                  <a:lnTo>
                    <a:pt x="87" y="76"/>
                  </a:lnTo>
                  <a:lnTo>
                    <a:pt x="88" y="77"/>
                  </a:lnTo>
                  <a:lnTo>
                    <a:pt x="87" y="77"/>
                  </a:lnTo>
                  <a:lnTo>
                    <a:pt x="86" y="77"/>
                  </a:lnTo>
                  <a:lnTo>
                    <a:pt x="86" y="76"/>
                  </a:lnTo>
                  <a:lnTo>
                    <a:pt x="85" y="76"/>
                  </a:lnTo>
                  <a:lnTo>
                    <a:pt x="84" y="76"/>
                  </a:lnTo>
                  <a:lnTo>
                    <a:pt x="85" y="76"/>
                  </a:lnTo>
                  <a:lnTo>
                    <a:pt x="85" y="77"/>
                  </a:lnTo>
                  <a:lnTo>
                    <a:pt x="85" y="79"/>
                  </a:lnTo>
                  <a:lnTo>
                    <a:pt x="84" y="77"/>
                  </a:lnTo>
                  <a:lnTo>
                    <a:pt x="83" y="77"/>
                  </a:lnTo>
                  <a:lnTo>
                    <a:pt x="83" y="79"/>
                  </a:lnTo>
                  <a:lnTo>
                    <a:pt x="83" y="80"/>
                  </a:lnTo>
                  <a:lnTo>
                    <a:pt x="81" y="80"/>
                  </a:lnTo>
                  <a:lnTo>
                    <a:pt x="81" y="81"/>
                  </a:lnTo>
                  <a:lnTo>
                    <a:pt x="80" y="81"/>
                  </a:lnTo>
                  <a:lnTo>
                    <a:pt x="81" y="81"/>
                  </a:lnTo>
                  <a:lnTo>
                    <a:pt x="81" y="82"/>
                  </a:lnTo>
                  <a:lnTo>
                    <a:pt x="80" y="82"/>
                  </a:lnTo>
                  <a:lnTo>
                    <a:pt x="80" y="81"/>
                  </a:lnTo>
                  <a:lnTo>
                    <a:pt x="79" y="81"/>
                  </a:lnTo>
                  <a:lnTo>
                    <a:pt x="79" y="80"/>
                  </a:lnTo>
                  <a:lnTo>
                    <a:pt x="79" y="81"/>
                  </a:lnTo>
                  <a:lnTo>
                    <a:pt x="78" y="81"/>
                  </a:lnTo>
                  <a:lnTo>
                    <a:pt x="77" y="81"/>
                  </a:lnTo>
                  <a:lnTo>
                    <a:pt x="78" y="81"/>
                  </a:lnTo>
                  <a:lnTo>
                    <a:pt x="79" y="81"/>
                  </a:lnTo>
                  <a:lnTo>
                    <a:pt x="78" y="81"/>
                  </a:lnTo>
                  <a:lnTo>
                    <a:pt x="78" y="82"/>
                  </a:lnTo>
                  <a:lnTo>
                    <a:pt x="78" y="81"/>
                  </a:lnTo>
                  <a:lnTo>
                    <a:pt x="77" y="81"/>
                  </a:lnTo>
                  <a:lnTo>
                    <a:pt x="78" y="81"/>
                  </a:lnTo>
                  <a:lnTo>
                    <a:pt x="78" y="82"/>
                  </a:lnTo>
                  <a:lnTo>
                    <a:pt x="76" y="82"/>
                  </a:lnTo>
                  <a:lnTo>
                    <a:pt x="77" y="82"/>
                  </a:lnTo>
                  <a:lnTo>
                    <a:pt x="76" y="82"/>
                  </a:lnTo>
                  <a:lnTo>
                    <a:pt x="76" y="83"/>
                  </a:lnTo>
                  <a:lnTo>
                    <a:pt x="74" y="83"/>
                  </a:lnTo>
                  <a:lnTo>
                    <a:pt x="73" y="83"/>
                  </a:lnTo>
                  <a:lnTo>
                    <a:pt x="74" y="83"/>
                  </a:lnTo>
                  <a:lnTo>
                    <a:pt x="74" y="84"/>
                  </a:lnTo>
                  <a:lnTo>
                    <a:pt x="73" y="83"/>
                  </a:lnTo>
                  <a:lnTo>
                    <a:pt x="73" y="84"/>
                  </a:lnTo>
                  <a:lnTo>
                    <a:pt x="72" y="84"/>
                  </a:lnTo>
                  <a:lnTo>
                    <a:pt x="73" y="84"/>
                  </a:lnTo>
                  <a:lnTo>
                    <a:pt x="76" y="84"/>
                  </a:lnTo>
                  <a:lnTo>
                    <a:pt x="77" y="84"/>
                  </a:lnTo>
                  <a:lnTo>
                    <a:pt x="76" y="84"/>
                  </a:lnTo>
                  <a:lnTo>
                    <a:pt x="74" y="84"/>
                  </a:lnTo>
                  <a:lnTo>
                    <a:pt x="74" y="86"/>
                  </a:lnTo>
                  <a:lnTo>
                    <a:pt x="76" y="86"/>
                  </a:lnTo>
                  <a:lnTo>
                    <a:pt x="74" y="86"/>
                  </a:lnTo>
                  <a:lnTo>
                    <a:pt x="76" y="86"/>
                  </a:lnTo>
                  <a:lnTo>
                    <a:pt x="74" y="87"/>
                  </a:lnTo>
                  <a:lnTo>
                    <a:pt x="73" y="87"/>
                  </a:lnTo>
                  <a:lnTo>
                    <a:pt x="73" y="86"/>
                  </a:lnTo>
                  <a:lnTo>
                    <a:pt x="72" y="86"/>
                  </a:lnTo>
                  <a:lnTo>
                    <a:pt x="72" y="87"/>
                  </a:lnTo>
                  <a:lnTo>
                    <a:pt x="73" y="87"/>
                  </a:lnTo>
                  <a:lnTo>
                    <a:pt x="72" y="87"/>
                  </a:lnTo>
                  <a:lnTo>
                    <a:pt x="72" y="88"/>
                  </a:lnTo>
                  <a:lnTo>
                    <a:pt x="71" y="87"/>
                  </a:lnTo>
                  <a:lnTo>
                    <a:pt x="72" y="87"/>
                  </a:lnTo>
                  <a:lnTo>
                    <a:pt x="71" y="87"/>
                  </a:lnTo>
                  <a:lnTo>
                    <a:pt x="71" y="86"/>
                  </a:lnTo>
                  <a:lnTo>
                    <a:pt x="71" y="87"/>
                  </a:lnTo>
                  <a:lnTo>
                    <a:pt x="70" y="87"/>
                  </a:lnTo>
                  <a:lnTo>
                    <a:pt x="70" y="86"/>
                  </a:lnTo>
                  <a:lnTo>
                    <a:pt x="69" y="86"/>
                  </a:lnTo>
                  <a:lnTo>
                    <a:pt x="70" y="86"/>
                  </a:lnTo>
                  <a:lnTo>
                    <a:pt x="69" y="86"/>
                  </a:lnTo>
                  <a:lnTo>
                    <a:pt x="69" y="84"/>
                  </a:lnTo>
                  <a:lnTo>
                    <a:pt x="67" y="84"/>
                  </a:lnTo>
                  <a:lnTo>
                    <a:pt x="69" y="84"/>
                  </a:lnTo>
                  <a:lnTo>
                    <a:pt x="67" y="84"/>
                  </a:lnTo>
                  <a:lnTo>
                    <a:pt x="66" y="84"/>
                  </a:lnTo>
                  <a:lnTo>
                    <a:pt x="69" y="84"/>
                  </a:lnTo>
                  <a:lnTo>
                    <a:pt x="69" y="86"/>
                  </a:lnTo>
                  <a:lnTo>
                    <a:pt x="69" y="87"/>
                  </a:lnTo>
                  <a:lnTo>
                    <a:pt x="70" y="87"/>
                  </a:lnTo>
                  <a:lnTo>
                    <a:pt x="70" y="88"/>
                  </a:lnTo>
                  <a:lnTo>
                    <a:pt x="71" y="88"/>
                  </a:lnTo>
                  <a:lnTo>
                    <a:pt x="71" y="89"/>
                  </a:lnTo>
                  <a:lnTo>
                    <a:pt x="70" y="89"/>
                  </a:lnTo>
                  <a:lnTo>
                    <a:pt x="69" y="89"/>
                  </a:lnTo>
                  <a:lnTo>
                    <a:pt x="70" y="89"/>
                  </a:lnTo>
                  <a:lnTo>
                    <a:pt x="71" y="89"/>
                  </a:lnTo>
                  <a:lnTo>
                    <a:pt x="71" y="90"/>
                  </a:lnTo>
                  <a:lnTo>
                    <a:pt x="70" y="90"/>
                  </a:lnTo>
                  <a:lnTo>
                    <a:pt x="70" y="89"/>
                  </a:lnTo>
                  <a:lnTo>
                    <a:pt x="70" y="90"/>
                  </a:lnTo>
                  <a:lnTo>
                    <a:pt x="70" y="91"/>
                  </a:lnTo>
                  <a:lnTo>
                    <a:pt x="69" y="91"/>
                  </a:lnTo>
                  <a:lnTo>
                    <a:pt x="67" y="91"/>
                  </a:lnTo>
                  <a:lnTo>
                    <a:pt x="67" y="93"/>
                  </a:lnTo>
                  <a:lnTo>
                    <a:pt x="66" y="93"/>
                  </a:lnTo>
                  <a:lnTo>
                    <a:pt x="66" y="91"/>
                  </a:lnTo>
                  <a:lnTo>
                    <a:pt x="65" y="91"/>
                  </a:lnTo>
                  <a:lnTo>
                    <a:pt x="65" y="90"/>
                  </a:lnTo>
                  <a:lnTo>
                    <a:pt x="64" y="90"/>
                  </a:lnTo>
                  <a:lnTo>
                    <a:pt x="64" y="91"/>
                  </a:lnTo>
                  <a:lnTo>
                    <a:pt x="64" y="93"/>
                  </a:lnTo>
                  <a:lnTo>
                    <a:pt x="64" y="94"/>
                  </a:lnTo>
                  <a:lnTo>
                    <a:pt x="65" y="94"/>
                  </a:lnTo>
                  <a:lnTo>
                    <a:pt x="66" y="94"/>
                  </a:lnTo>
                  <a:lnTo>
                    <a:pt x="65" y="94"/>
                  </a:lnTo>
                  <a:lnTo>
                    <a:pt x="65" y="95"/>
                  </a:lnTo>
                  <a:lnTo>
                    <a:pt x="66" y="95"/>
                  </a:lnTo>
                  <a:lnTo>
                    <a:pt x="67" y="95"/>
                  </a:lnTo>
                  <a:lnTo>
                    <a:pt x="66" y="95"/>
                  </a:lnTo>
                  <a:lnTo>
                    <a:pt x="66" y="96"/>
                  </a:lnTo>
                  <a:lnTo>
                    <a:pt x="66" y="97"/>
                  </a:lnTo>
                  <a:lnTo>
                    <a:pt x="65" y="97"/>
                  </a:lnTo>
                  <a:lnTo>
                    <a:pt x="66" y="97"/>
                  </a:lnTo>
                  <a:lnTo>
                    <a:pt x="65" y="98"/>
                  </a:lnTo>
                  <a:lnTo>
                    <a:pt x="66" y="98"/>
                  </a:lnTo>
                  <a:lnTo>
                    <a:pt x="65" y="98"/>
                  </a:lnTo>
                  <a:lnTo>
                    <a:pt x="65" y="100"/>
                  </a:lnTo>
                  <a:lnTo>
                    <a:pt x="65" y="101"/>
                  </a:lnTo>
                  <a:lnTo>
                    <a:pt x="65" y="100"/>
                  </a:lnTo>
                  <a:lnTo>
                    <a:pt x="65" y="101"/>
                  </a:lnTo>
                  <a:lnTo>
                    <a:pt x="65" y="102"/>
                  </a:lnTo>
                  <a:lnTo>
                    <a:pt x="66" y="102"/>
                  </a:lnTo>
                  <a:lnTo>
                    <a:pt x="67" y="102"/>
                  </a:lnTo>
                  <a:lnTo>
                    <a:pt x="67" y="103"/>
                  </a:lnTo>
                  <a:lnTo>
                    <a:pt x="66" y="103"/>
                  </a:lnTo>
                  <a:lnTo>
                    <a:pt x="65" y="103"/>
                  </a:lnTo>
                  <a:lnTo>
                    <a:pt x="65" y="102"/>
                  </a:lnTo>
                  <a:lnTo>
                    <a:pt x="65" y="103"/>
                  </a:lnTo>
                  <a:lnTo>
                    <a:pt x="64" y="102"/>
                  </a:lnTo>
                  <a:lnTo>
                    <a:pt x="63" y="102"/>
                  </a:lnTo>
                  <a:lnTo>
                    <a:pt x="64" y="102"/>
                  </a:lnTo>
                  <a:lnTo>
                    <a:pt x="64" y="103"/>
                  </a:lnTo>
                  <a:lnTo>
                    <a:pt x="63" y="103"/>
                  </a:lnTo>
                  <a:lnTo>
                    <a:pt x="64" y="103"/>
                  </a:lnTo>
                  <a:lnTo>
                    <a:pt x="63" y="103"/>
                  </a:lnTo>
                  <a:lnTo>
                    <a:pt x="64" y="104"/>
                  </a:lnTo>
                  <a:lnTo>
                    <a:pt x="63" y="104"/>
                  </a:lnTo>
                  <a:lnTo>
                    <a:pt x="64" y="104"/>
                  </a:lnTo>
                  <a:lnTo>
                    <a:pt x="63" y="104"/>
                  </a:lnTo>
                  <a:lnTo>
                    <a:pt x="63" y="105"/>
                  </a:lnTo>
                  <a:lnTo>
                    <a:pt x="64" y="105"/>
                  </a:lnTo>
                  <a:lnTo>
                    <a:pt x="63" y="105"/>
                  </a:lnTo>
                  <a:lnTo>
                    <a:pt x="64" y="105"/>
                  </a:lnTo>
                  <a:lnTo>
                    <a:pt x="64" y="107"/>
                  </a:lnTo>
                  <a:lnTo>
                    <a:pt x="63" y="107"/>
                  </a:lnTo>
                  <a:lnTo>
                    <a:pt x="64" y="108"/>
                  </a:lnTo>
                  <a:lnTo>
                    <a:pt x="65" y="108"/>
                  </a:lnTo>
                  <a:lnTo>
                    <a:pt x="64" y="108"/>
                  </a:lnTo>
                  <a:lnTo>
                    <a:pt x="64" y="109"/>
                  </a:lnTo>
                  <a:lnTo>
                    <a:pt x="65" y="109"/>
                  </a:lnTo>
                  <a:lnTo>
                    <a:pt x="64" y="109"/>
                  </a:lnTo>
                  <a:lnTo>
                    <a:pt x="64" y="108"/>
                  </a:lnTo>
                  <a:lnTo>
                    <a:pt x="63" y="108"/>
                  </a:lnTo>
                  <a:lnTo>
                    <a:pt x="64" y="108"/>
                  </a:lnTo>
                  <a:lnTo>
                    <a:pt x="64" y="109"/>
                  </a:lnTo>
                  <a:lnTo>
                    <a:pt x="65" y="109"/>
                  </a:lnTo>
                  <a:lnTo>
                    <a:pt x="64" y="109"/>
                  </a:lnTo>
                  <a:lnTo>
                    <a:pt x="64" y="110"/>
                  </a:lnTo>
                  <a:lnTo>
                    <a:pt x="64" y="111"/>
                  </a:lnTo>
                  <a:lnTo>
                    <a:pt x="65" y="111"/>
                  </a:lnTo>
                  <a:lnTo>
                    <a:pt x="64" y="111"/>
                  </a:lnTo>
                  <a:lnTo>
                    <a:pt x="64" y="112"/>
                  </a:lnTo>
                  <a:lnTo>
                    <a:pt x="65" y="112"/>
                  </a:lnTo>
                  <a:lnTo>
                    <a:pt x="64" y="112"/>
                  </a:lnTo>
                  <a:lnTo>
                    <a:pt x="65" y="112"/>
                  </a:lnTo>
                  <a:lnTo>
                    <a:pt x="65" y="114"/>
                  </a:lnTo>
                  <a:lnTo>
                    <a:pt x="66" y="115"/>
                  </a:lnTo>
                  <a:lnTo>
                    <a:pt x="66" y="116"/>
                  </a:lnTo>
                  <a:lnTo>
                    <a:pt x="67" y="116"/>
                  </a:lnTo>
                  <a:lnTo>
                    <a:pt x="66" y="116"/>
                  </a:lnTo>
                  <a:lnTo>
                    <a:pt x="66" y="117"/>
                  </a:lnTo>
                  <a:lnTo>
                    <a:pt x="65" y="117"/>
                  </a:lnTo>
                  <a:lnTo>
                    <a:pt x="66" y="117"/>
                  </a:lnTo>
                  <a:lnTo>
                    <a:pt x="67" y="118"/>
                  </a:lnTo>
                  <a:lnTo>
                    <a:pt x="70" y="118"/>
                  </a:lnTo>
                  <a:lnTo>
                    <a:pt x="71" y="118"/>
                  </a:lnTo>
                  <a:lnTo>
                    <a:pt x="70" y="118"/>
                  </a:lnTo>
                  <a:lnTo>
                    <a:pt x="70" y="119"/>
                  </a:lnTo>
                  <a:lnTo>
                    <a:pt x="71" y="119"/>
                  </a:lnTo>
                  <a:lnTo>
                    <a:pt x="72" y="119"/>
                  </a:lnTo>
                  <a:lnTo>
                    <a:pt x="72" y="118"/>
                  </a:lnTo>
                  <a:lnTo>
                    <a:pt x="73" y="118"/>
                  </a:lnTo>
                  <a:lnTo>
                    <a:pt x="74" y="118"/>
                  </a:lnTo>
                  <a:lnTo>
                    <a:pt x="74" y="119"/>
                  </a:lnTo>
                  <a:lnTo>
                    <a:pt x="76" y="121"/>
                  </a:lnTo>
                  <a:lnTo>
                    <a:pt x="77" y="121"/>
                  </a:lnTo>
                  <a:lnTo>
                    <a:pt x="77" y="122"/>
                  </a:lnTo>
                  <a:lnTo>
                    <a:pt x="78" y="122"/>
                  </a:lnTo>
                  <a:lnTo>
                    <a:pt x="77" y="122"/>
                  </a:lnTo>
                  <a:lnTo>
                    <a:pt x="78" y="122"/>
                  </a:lnTo>
                  <a:lnTo>
                    <a:pt x="78" y="123"/>
                  </a:lnTo>
                  <a:lnTo>
                    <a:pt x="78" y="122"/>
                  </a:lnTo>
                  <a:lnTo>
                    <a:pt x="79" y="122"/>
                  </a:lnTo>
                  <a:lnTo>
                    <a:pt x="80" y="122"/>
                  </a:lnTo>
                  <a:lnTo>
                    <a:pt x="80" y="123"/>
                  </a:lnTo>
                  <a:lnTo>
                    <a:pt x="81" y="123"/>
                  </a:lnTo>
                  <a:lnTo>
                    <a:pt x="81" y="124"/>
                  </a:lnTo>
                  <a:lnTo>
                    <a:pt x="79" y="123"/>
                  </a:lnTo>
                  <a:lnTo>
                    <a:pt x="80" y="124"/>
                  </a:lnTo>
                  <a:lnTo>
                    <a:pt x="79" y="124"/>
                  </a:lnTo>
                  <a:lnTo>
                    <a:pt x="80" y="124"/>
                  </a:lnTo>
                  <a:lnTo>
                    <a:pt x="81" y="125"/>
                  </a:lnTo>
                  <a:lnTo>
                    <a:pt x="81" y="124"/>
                  </a:lnTo>
                  <a:lnTo>
                    <a:pt x="81" y="125"/>
                  </a:lnTo>
                  <a:lnTo>
                    <a:pt x="81" y="126"/>
                  </a:lnTo>
                  <a:lnTo>
                    <a:pt x="83" y="126"/>
                  </a:lnTo>
                  <a:lnTo>
                    <a:pt x="83" y="125"/>
                  </a:lnTo>
                  <a:lnTo>
                    <a:pt x="81" y="125"/>
                  </a:lnTo>
                  <a:lnTo>
                    <a:pt x="83" y="125"/>
                  </a:lnTo>
                  <a:lnTo>
                    <a:pt x="84" y="125"/>
                  </a:lnTo>
                  <a:lnTo>
                    <a:pt x="84" y="126"/>
                  </a:lnTo>
                  <a:lnTo>
                    <a:pt x="85" y="126"/>
                  </a:lnTo>
                  <a:lnTo>
                    <a:pt x="84" y="126"/>
                  </a:lnTo>
                  <a:lnTo>
                    <a:pt x="84" y="125"/>
                  </a:lnTo>
                  <a:lnTo>
                    <a:pt x="85" y="125"/>
                  </a:lnTo>
                  <a:lnTo>
                    <a:pt x="85" y="126"/>
                  </a:lnTo>
                  <a:lnTo>
                    <a:pt x="85" y="128"/>
                  </a:lnTo>
                  <a:lnTo>
                    <a:pt x="86" y="128"/>
                  </a:lnTo>
                  <a:lnTo>
                    <a:pt x="87" y="129"/>
                  </a:lnTo>
                  <a:lnTo>
                    <a:pt x="88" y="129"/>
                  </a:lnTo>
                  <a:lnTo>
                    <a:pt x="88" y="130"/>
                  </a:lnTo>
                  <a:lnTo>
                    <a:pt x="87" y="130"/>
                  </a:lnTo>
                  <a:lnTo>
                    <a:pt x="86" y="129"/>
                  </a:lnTo>
                  <a:lnTo>
                    <a:pt x="86" y="128"/>
                  </a:lnTo>
                  <a:lnTo>
                    <a:pt x="86" y="129"/>
                  </a:lnTo>
                  <a:lnTo>
                    <a:pt x="86" y="130"/>
                  </a:lnTo>
                  <a:lnTo>
                    <a:pt x="85" y="130"/>
                  </a:lnTo>
                  <a:lnTo>
                    <a:pt x="84" y="130"/>
                  </a:lnTo>
                  <a:lnTo>
                    <a:pt x="85" y="130"/>
                  </a:lnTo>
                  <a:lnTo>
                    <a:pt x="87" y="130"/>
                  </a:lnTo>
                  <a:lnTo>
                    <a:pt x="88" y="130"/>
                  </a:lnTo>
                  <a:lnTo>
                    <a:pt x="88" y="131"/>
                  </a:lnTo>
                  <a:lnTo>
                    <a:pt x="87" y="131"/>
                  </a:lnTo>
                  <a:lnTo>
                    <a:pt x="86" y="131"/>
                  </a:lnTo>
                  <a:lnTo>
                    <a:pt x="85" y="131"/>
                  </a:lnTo>
                  <a:lnTo>
                    <a:pt x="85" y="132"/>
                  </a:lnTo>
                  <a:lnTo>
                    <a:pt x="84" y="132"/>
                  </a:lnTo>
                  <a:lnTo>
                    <a:pt x="85" y="132"/>
                  </a:lnTo>
                  <a:lnTo>
                    <a:pt x="84" y="132"/>
                  </a:lnTo>
                  <a:lnTo>
                    <a:pt x="84" y="133"/>
                  </a:lnTo>
                  <a:lnTo>
                    <a:pt x="83" y="133"/>
                  </a:lnTo>
                  <a:lnTo>
                    <a:pt x="81" y="133"/>
                  </a:lnTo>
                  <a:lnTo>
                    <a:pt x="81" y="135"/>
                  </a:lnTo>
                  <a:lnTo>
                    <a:pt x="80" y="135"/>
                  </a:lnTo>
                  <a:lnTo>
                    <a:pt x="79" y="135"/>
                  </a:lnTo>
                  <a:lnTo>
                    <a:pt x="80" y="135"/>
                  </a:lnTo>
                  <a:lnTo>
                    <a:pt x="80" y="136"/>
                  </a:lnTo>
                  <a:lnTo>
                    <a:pt x="79" y="136"/>
                  </a:lnTo>
                  <a:lnTo>
                    <a:pt x="79" y="135"/>
                  </a:lnTo>
                  <a:lnTo>
                    <a:pt x="78" y="135"/>
                  </a:lnTo>
                  <a:lnTo>
                    <a:pt x="78" y="136"/>
                  </a:lnTo>
                  <a:lnTo>
                    <a:pt x="77" y="136"/>
                  </a:lnTo>
                  <a:lnTo>
                    <a:pt x="79" y="137"/>
                  </a:lnTo>
                  <a:lnTo>
                    <a:pt x="78" y="137"/>
                  </a:lnTo>
                  <a:lnTo>
                    <a:pt x="79" y="137"/>
                  </a:lnTo>
                  <a:lnTo>
                    <a:pt x="80" y="137"/>
                  </a:lnTo>
                  <a:lnTo>
                    <a:pt x="80" y="136"/>
                  </a:lnTo>
                  <a:lnTo>
                    <a:pt x="81" y="136"/>
                  </a:lnTo>
                  <a:lnTo>
                    <a:pt x="81" y="137"/>
                  </a:lnTo>
                  <a:lnTo>
                    <a:pt x="83" y="137"/>
                  </a:lnTo>
                  <a:lnTo>
                    <a:pt x="81" y="136"/>
                  </a:lnTo>
                  <a:lnTo>
                    <a:pt x="83" y="136"/>
                  </a:lnTo>
                  <a:lnTo>
                    <a:pt x="81" y="136"/>
                  </a:lnTo>
                  <a:lnTo>
                    <a:pt x="83" y="136"/>
                  </a:lnTo>
                  <a:lnTo>
                    <a:pt x="84" y="136"/>
                  </a:lnTo>
                  <a:lnTo>
                    <a:pt x="84" y="137"/>
                  </a:lnTo>
                  <a:lnTo>
                    <a:pt x="84" y="136"/>
                  </a:lnTo>
                  <a:lnTo>
                    <a:pt x="83" y="136"/>
                  </a:lnTo>
                  <a:lnTo>
                    <a:pt x="84" y="137"/>
                  </a:lnTo>
                  <a:lnTo>
                    <a:pt x="83" y="137"/>
                  </a:lnTo>
                  <a:lnTo>
                    <a:pt x="81" y="137"/>
                  </a:lnTo>
                  <a:lnTo>
                    <a:pt x="80" y="137"/>
                  </a:lnTo>
                  <a:lnTo>
                    <a:pt x="80" y="138"/>
                  </a:lnTo>
                  <a:lnTo>
                    <a:pt x="81" y="138"/>
                  </a:lnTo>
                  <a:lnTo>
                    <a:pt x="83" y="139"/>
                  </a:lnTo>
                  <a:lnTo>
                    <a:pt x="81" y="138"/>
                  </a:lnTo>
                  <a:lnTo>
                    <a:pt x="80" y="138"/>
                  </a:lnTo>
                  <a:lnTo>
                    <a:pt x="81" y="138"/>
                  </a:lnTo>
                  <a:lnTo>
                    <a:pt x="81" y="139"/>
                  </a:lnTo>
                  <a:lnTo>
                    <a:pt x="83" y="139"/>
                  </a:lnTo>
                  <a:lnTo>
                    <a:pt x="81" y="139"/>
                  </a:lnTo>
                  <a:lnTo>
                    <a:pt x="80" y="139"/>
                  </a:lnTo>
                  <a:lnTo>
                    <a:pt x="80" y="140"/>
                  </a:lnTo>
                  <a:lnTo>
                    <a:pt x="81" y="140"/>
                  </a:lnTo>
                  <a:lnTo>
                    <a:pt x="80" y="140"/>
                  </a:lnTo>
                  <a:lnTo>
                    <a:pt x="79" y="140"/>
                  </a:lnTo>
                  <a:lnTo>
                    <a:pt x="78" y="140"/>
                  </a:lnTo>
                  <a:lnTo>
                    <a:pt x="78" y="142"/>
                  </a:lnTo>
                  <a:lnTo>
                    <a:pt x="78" y="140"/>
                  </a:lnTo>
                  <a:lnTo>
                    <a:pt x="78" y="142"/>
                  </a:lnTo>
                  <a:lnTo>
                    <a:pt x="77" y="143"/>
                  </a:lnTo>
                  <a:lnTo>
                    <a:pt x="78" y="143"/>
                  </a:lnTo>
                  <a:lnTo>
                    <a:pt x="77" y="143"/>
                  </a:lnTo>
                  <a:lnTo>
                    <a:pt x="77" y="144"/>
                  </a:lnTo>
                  <a:lnTo>
                    <a:pt x="77" y="143"/>
                  </a:lnTo>
                  <a:lnTo>
                    <a:pt x="76" y="143"/>
                  </a:lnTo>
                  <a:lnTo>
                    <a:pt x="76" y="144"/>
                  </a:lnTo>
                  <a:lnTo>
                    <a:pt x="76" y="143"/>
                  </a:lnTo>
                  <a:lnTo>
                    <a:pt x="74" y="143"/>
                  </a:lnTo>
                  <a:lnTo>
                    <a:pt x="74" y="142"/>
                  </a:lnTo>
                  <a:lnTo>
                    <a:pt x="74" y="140"/>
                  </a:lnTo>
                  <a:lnTo>
                    <a:pt x="74" y="139"/>
                  </a:lnTo>
                  <a:lnTo>
                    <a:pt x="74" y="140"/>
                  </a:lnTo>
                  <a:lnTo>
                    <a:pt x="73" y="140"/>
                  </a:lnTo>
                  <a:lnTo>
                    <a:pt x="74" y="140"/>
                  </a:lnTo>
                  <a:lnTo>
                    <a:pt x="74" y="139"/>
                  </a:lnTo>
                  <a:lnTo>
                    <a:pt x="73" y="139"/>
                  </a:lnTo>
                  <a:lnTo>
                    <a:pt x="73" y="140"/>
                  </a:lnTo>
                  <a:lnTo>
                    <a:pt x="73" y="142"/>
                  </a:lnTo>
                  <a:lnTo>
                    <a:pt x="73" y="143"/>
                  </a:lnTo>
                  <a:lnTo>
                    <a:pt x="72" y="143"/>
                  </a:lnTo>
                  <a:lnTo>
                    <a:pt x="73" y="144"/>
                  </a:lnTo>
                  <a:lnTo>
                    <a:pt x="72" y="143"/>
                  </a:lnTo>
                  <a:lnTo>
                    <a:pt x="72" y="144"/>
                  </a:lnTo>
                  <a:lnTo>
                    <a:pt x="72" y="145"/>
                  </a:lnTo>
                  <a:lnTo>
                    <a:pt x="71" y="144"/>
                  </a:lnTo>
                  <a:lnTo>
                    <a:pt x="71" y="145"/>
                  </a:lnTo>
                  <a:lnTo>
                    <a:pt x="70" y="145"/>
                  </a:lnTo>
                  <a:lnTo>
                    <a:pt x="69" y="145"/>
                  </a:lnTo>
                  <a:lnTo>
                    <a:pt x="67" y="145"/>
                  </a:lnTo>
                  <a:lnTo>
                    <a:pt x="67" y="146"/>
                  </a:lnTo>
                  <a:lnTo>
                    <a:pt x="69" y="146"/>
                  </a:lnTo>
                  <a:lnTo>
                    <a:pt x="67" y="146"/>
                  </a:lnTo>
                  <a:lnTo>
                    <a:pt x="66" y="146"/>
                  </a:lnTo>
                  <a:lnTo>
                    <a:pt x="67" y="146"/>
                  </a:lnTo>
                  <a:lnTo>
                    <a:pt x="67" y="147"/>
                  </a:lnTo>
                  <a:lnTo>
                    <a:pt x="66" y="147"/>
                  </a:lnTo>
                  <a:lnTo>
                    <a:pt x="62" y="146"/>
                  </a:lnTo>
                  <a:lnTo>
                    <a:pt x="58" y="146"/>
                  </a:lnTo>
                  <a:lnTo>
                    <a:pt x="58" y="147"/>
                  </a:lnTo>
                  <a:lnTo>
                    <a:pt x="59" y="147"/>
                  </a:lnTo>
                  <a:lnTo>
                    <a:pt x="60" y="147"/>
                  </a:lnTo>
                  <a:lnTo>
                    <a:pt x="60" y="146"/>
                  </a:lnTo>
                  <a:lnTo>
                    <a:pt x="62" y="147"/>
                  </a:lnTo>
                  <a:lnTo>
                    <a:pt x="63" y="147"/>
                  </a:lnTo>
                  <a:lnTo>
                    <a:pt x="64" y="147"/>
                  </a:lnTo>
                  <a:lnTo>
                    <a:pt x="65" y="147"/>
                  </a:lnTo>
                  <a:lnTo>
                    <a:pt x="65" y="149"/>
                  </a:lnTo>
                  <a:lnTo>
                    <a:pt x="66" y="149"/>
                  </a:lnTo>
                  <a:lnTo>
                    <a:pt x="66" y="150"/>
                  </a:lnTo>
                  <a:lnTo>
                    <a:pt x="65" y="150"/>
                  </a:lnTo>
                  <a:lnTo>
                    <a:pt x="64" y="150"/>
                  </a:lnTo>
                  <a:lnTo>
                    <a:pt x="63" y="150"/>
                  </a:lnTo>
                  <a:lnTo>
                    <a:pt x="62" y="150"/>
                  </a:lnTo>
                  <a:lnTo>
                    <a:pt x="60" y="149"/>
                  </a:lnTo>
                  <a:lnTo>
                    <a:pt x="60" y="150"/>
                  </a:lnTo>
                  <a:lnTo>
                    <a:pt x="64" y="150"/>
                  </a:lnTo>
                  <a:lnTo>
                    <a:pt x="64" y="151"/>
                  </a:lnTo>
                  <a:lnTo>
                    <a:pt x="65" y="151"/>
                  </a:lnTo>
                  <a:lnTo>
                    <a:pt x="63" y="151"/>
                  </a:lnTo>
                  <a:lnTo>
                    <a:pt x="64" y="151"/>
                  </a:lnTo>
                  <a:lnTo>
                    <a:pt x="64" y="152"/>
                  </a:lnTo>
                  <a:lnTo>
                    <a:pt x="65" y="152"/>
                  </a:lnTo>
                  <a:lnTo>
                    <a:pt x="64" y="152"/>
                  </a:lnTo>
                  <a:lnTo>
                    <a:pt x="65" y="152"/>
                  </a:lnTo>
                  <a:lnTo>
                    <a:pt x="65" y="153"/>
                  </a:lnTo>
                  <a:lnTo>
                    <a:pt x="66" y="153"/>
                  </a:lnTo>
                  <a:lnTo>
                    <a:pt x="65" y="153"/>
                  </a:lnTo>
                  <a:lnTo>
                    <a:pt x="65" y="154"/>
                  </a:lnTo>
                  <a:lnTo>
                    <a:pt x="64" y="153"/>
                  </a:lnTo>
                  <a:lnTo>
                    <a:pt x="64" y="154"/>
                  </a:lnTo>
                  <a:lnTo>
                    <a:pt x="65" y="154"/>
                  </a:lnTo>
                  <a:lnTo>
                    <a:pt x="65" y="156"/>
                  </a:lnTo>
                  <a:lnTo>
                    <a:pt x="64" y="156"/>
                  </a:lnTo>
                  <a:lnTo>
                    <a:pt x="65" y="156"/>
                  </a:lnTo>
                  <a:lnTo>
                    <a:pt x="64" y="156"/>
                  </a:lnTo>
                  <a:lnTo>
                    <a:pt x="65" y="157"/>
                  </a:lnTo>
                  <a:lnTo>
                    <a:pt x="64" y="157"/>
                  </a:lnTo>
                  <a:lnTo>
                    <a:pt x="64" y="156"/>
                  </a:lnTo>
                  <a:lnTo>
                    <a:pt x="64" y="157"/>
                  </a:lnTo>
                  <a:lnTo>
                    <a:pt x="65" y="157"/>
                  </a:lnTo>
                  <a:lnTo>
                    <a:pt x="65" y="158"/>
                  </a:lnTo>
                  <a:lnTo>
                    <a:pt x="66" y="158"/>
                  </a:lnTo>
                  <a:lnTo>
                    <a:pt x="65" y="158"/>
                  </a:lnTo>
                  <a:lnTo>
                    <a:pt x="64" y="158"/>
                  </a:lnTo>
                  <a:lnTo>
                    <a:pt x="64" y="157"/>
                  </a:lnTo>
                  <a:lnTo>
                    <a:pt x="64" y="158"/>
                  </a:lnTo>
                  <a:lnTo>
                    <a:pt x="63" y="157"/>
                  </a:lnTo>
                  <a:lnTo>
                    <a:pt x="64" y="157"/>
                  </a:lnTo>
                  <a:lnTo>
                    <a:pt x="64" y="158"/>
                  </a:lnTo>
                  <a:lnTo>
                    <a:pt x="63" y="158"/>
                  </a:lnTo>
                  <a:lnTo>
                    <a:pt x="64" y="158"/>
                  </a:lnTo>
                  <a:lnTo>
                    <a:pt x="63" y="158"/>
                  </a:lnTo>
                  <a:lnTo>
                    <a:pt x="62" y="158"/>
                  </a:lnTo>
                  <a:lnTo>
                    <a:pt x="65" y="160"/>
                  </a:lnTo>
                  <a:lnTo>
                    <a:pt x="64" y="160"/>
                  </a:lnTo>
                  <a:lnTo>
                    <a:pt x="64" y="159"/>
                  </a:lnTo>
                  <a:lnTo>
                    <a:pt x="63" y="159"/>
                  </a:lnTo>
                  <a:lnTo>
                    <a:pt x="62" y="158"/>
                  </a:lnTo>
                  <a:lnTo>
                    <a:pt x="63" y="159"/>
                  </a:lnTo>
                  <a:lnTo>
                    <a:pt x="64" y="159"/>
                  </a:lnTo>
                  <a:lnTo>
                    <a:pt x="64" y="160"/>
                  </a:lnTo>
                  <a:lnTo>
                    <a:pt x="65" y="160"/>
                  </a:lnTo>
                  <a:lnTo>
                    <a:pt x="65" y="161"/>
                  </a:lnTo>
                  <a:lnTo>
                    <a:pt x="64" y="160"/>
                  </a:lnTo>
                  <a:lnTo>
                    <a:pt x="64" y="161"/>
                  </a:lnTo>
                  <a:lnTo>
                    <a:pt x="64" y="163"/>
                  </a:lnTo>
                  <a:lnTo>
                    <a:pt x="64" y="161"/>
                  </a:lnTo>
                  <a:lnTo>
                    <a:pt x="63" y="161"/>
                  </a:lnTo>
                  <a:lnTo>
                    <a:pt x="64" y="161"/>
                  </a:lnTo>
                  <a:lnTo>
                    <a:pt x="64" y="163"/>
                  </a:lnTo>
                  <a:lnTo>
                    <a:pt x="63" y="163"/>
                  </a:lnTo>
                  <a:lnTo>
                    <a:pt x="64" y="163"/>
                  </a:lnTo>
                  <a:lnTo>
                    <a:pt x="63" y="163"/>
                  </a:lnTo>
                  <a:lnTo>
                    <a:pt x="64" y="163"/>
                  </a:lnTo>
                  <a:lnTo>
                    <a:pt x="65" y="163"/>
                  </a:lnTo>
                  <a:lnTo>
                    <a:pt x="65" y="164"/>
                  </a:lnTo>
                  <a:lnTo>
                    <a:pt x="65" y="165"/>
                  </a:lnTo>
                  <a:lnTo>
                    <a:pt x="64" y="165"/>
                  </a:lnTo>
                  <a:lnTo>
                    <a:pt x="64" y="166"/>
                  </a:lnTo>
                  <a:lnTo>
                    <a:pt x="64" y="167"/>
                  </a:lnTo>
                  <a:lnTo>
                    <a:pt x="63" y="167"/>
                  </a:lnTo>
                  <a:lnTo>
                    <a:pt x="64" y="167"/>
                  </a:lnTo>
                  <a:lnTo>
                    <a:pt x="63" y="167"/>
                  </a:lnTo>
                  <a:lnTo>
                    <a:pt x="63" y="168"/>
                  </a:lnTo>
                  <a:lnTo>
                    <a:pt x="64" y="168"/>
                  </a:lnTo>
                  <a:lnTo>
                    <a:pt x="64" y="170"/>
                  </a:lnTo>
                  <a:lnTo>
                    <a:pt x="65" y="170"/>
                  </a:lnTo>
                  <a:lnTo>
                    <a:pt x="65" y="171"/>
                  </a:lnTo>
                  <a:lnTo>
                    <a:pt x="64" y="171"/>
                  </a:lnTo>
                  <a:lnTo>
                    <a:pt x="64" y="170"/>
                  </a:lnTo>
                  <a:lnTo>
                    <a:pt x="64" y="171"/>
                  </a:lnTo>
                  <a:lnTo>
                    <a:pt x="63" y="171"/>
                  </a:lnTo>
                  <a:lnTo>
                    <a:pt x="64" y="171"/>
                  </a:lnTo>
                  <a:lnTo>
                    <a:pt x="63" y="171"/>
                  </a:lnTo>
                  <a:lnTo>
                    <a:pt x="64" y="172"/>
                  </a:lnTo>
                  <a:lnTo>
                    <a:pt x="64" y="173"/>
                  </a:lnTo>
                  <a:lnTo>
                    <a:pt x="63" y="174"/>
                  </a:lnTo>
                  <a:lnTo>
                    <a:pt x="64" y="174"/>
                  </a:lnTo>
                  <a:lnTo>
                    <a:pt x="63" y="174"/>
                  </a:lnTo>
                  <a:lnTo>
                    <a:pt x="63" y="175"/>
                  </a:lnTo>
                  <a:lnTo>
                    <a:pt x="63" y="177"/>
                  </a:lnTo>
                  <a:lnTo>
                    <a:pt x="63" y="175"/>
                  </a:lnTo>
                  <a:lnTo>
                    <a:pt x="63" y="177"/>
                  </a:lnTo>
                  <a:lnTo>
                    <a:pt x="62" y="177"/>
                  </a:lnTo>
                  <a:lnTo>
                    <a:pt x="62" y="178"/>
                  </a:lnTo>
                  <a:lnTo>
                    <a:pt x="60" y="179"/>
                  </a:lnTo>
                  <a:lnTo>
                    <a:pt x="60" y="180"/>
                  </a:lnTo>
                  <a:lnTo>
                    <a:pt x="60" y="181"/>
                  </a:lnTo>
                  <a:lnTo>
                    <a:pt x="60" y="182"/>
                  </a:lnTo>
                  <a:lnTo>
                    <a:pt x="59" y="182"/>
                  </a:lnTo>
                  <a:lnTo>
                    <a:pt x="59" y="184"/>
                  </a:lnTo>
                  <a:lnTo>
                    <a:pt x="58" y="185"/>
                  </a:lnTo>
                  <a:lnTo>
                    <a:pt x="57" y="185"/>
                  </a:lnTo>
                  <a:lnTo>
                    <a:pt x="58" y="184"/>
                  </a:lnTo>
                  <a:lnTo>
                    <a:pt x="57" y="184"/>
                  </a:lnTo>
                  <a:lnTo>
                    <a:pt x="56" y="184"/>
                  </a:lnTo>
                  <a:lnTo>
                    <a:pt x="56" y="182"/>
                  </a:lnTo>
                  <a:lnTo>
                    <a:pt x="56" y="184"/>
                  </a:lnTo>
                  <a:lnTo>
                    <a:pt x="55" y="184"/>
                  </a:lnTo>
                  <a:lnTo>
                    <a:pt x="55" y="182"/>
                  </a:lnTo>
                  <a:lnTo>
                    <a:pt x="55" y="184"/>
                  </a:lnTo>
                  <a:lnTo>
                    <a:pt x="53" y="184"/>
                  </a:lnTo>
                  <a:lnTo>
                    <a:pt x="52" y="184"/>
                  </a:lnTo>
                  <a:lnTo>
                    <a:pt x="51" y="184"/>
                  </a:lnTo>
                  <a:lnTo>
                    <a:pt x="52" y="184"/>
                  </a:lnTo>
                  <a:lnTo>
                    <a:pt x="51" y="184"/>
                  </a:lnTo>
                  <a:lnTo>
                    <a:pt x="50" y="184"/>
                  </a:lnTo>
                  <a:lnTo>
                    <a:pt x="49" y="184"/>
                  </a:lnTo>
                  <a:lnTo>
                    <a:pt x="48" y="184"/>
                  </a:lnTo>
                  <a:lnTo>
                    <a:pt x="46" y="184"/>
                  </a:lnTo>
                  <a:lnTo>
                    <a:pt x="45" y="184"/>
                  </a:lnTo>
                  <a:lnTo>
                    <a:pt x="44" y="184"/>
                  </a:lnTo>
                  <a:lnTo>
                    <a:pt x="45" y="185"/>
                  </a:lnTo>
                  <a:lnTo>
                    <a:pt x="45" y="186"/>
                  </a:lnTo>
                  <a:lnTo>
                    <a:pt x="44" y="186"/>
                  </a:lnTo>
                  <a:lnTo>
                    <a:pt x="44" y="185"/>
                  </a:lnTo>
                  <a:lnTo>
                    <a:pt x="43" y="185"/>
                  </a:lnTo>
                  <a:lnTo>
                    <a:pt x="42" y="186"/>
                  </a:lnTo>
                  <a:lnTo>
                    <a:pt x="41" y="186"/>
                  </a:lnTo>
                  <a:lnTo>
                    <a:pt x="41" y="187"/>
                  </a:lnTo>
                  <a:lnTo>
                    <a:pt x="39" y="188"/>
                  </a:lnTo>
                  <a:lnTo>
                    <a:pt x="39" y="189"/>
                  </a:lnTo>
                  <a:lnTo>
                    <a:pt x="39" y="191"/>
                  </a:lnTo>
                  <a:lnTo>
                    <a:pt x="41" y="191"/>
                  </a:lnTo>
                  <a:lnTo>
                    <a:pt x="41" y="192"/>
                  </a:lnTo>
                  <a:lnTo>
                    <a:pt x="42" y="192"/>
                  </a:lnTo>
                  <a:lnTo>
                    <a:pt x="42" y="193"/>
                  </a:lnTo>
                  <a:lnTo>
                    <a:pt x="41" y="194"/>
                  </a:lnTo>
                  <a:lnTo>
                    <a:pt x="39" y="195"/>
                  </a:lnTo>
                  <a:lnTo>
                    <a:pt x="38" y="195"/>
                  </a:lnTo>
                  <a:lnTo>
                    <a:pt x="37" y="194"/>
                  </a:lnTo>
                  <a:lnTo>
                    <a:pt x="36" y="194"/>
                  </a:lnTo>
                  <a:lnTo>
                    <a:pt x="35" y="194"/>
                  </a:lnTo>
                  <a:lnTo>
                    <a:pt x="34" y="194"/>
                  </a:lnTo>
                  <a:lnTo>
                    <a:pt x="34" y="195"/>
                  </a:lnTo>
                  <a:lnTo>
                    <a:pt x="33" y="195"/>
                  </a:lnTo>
                  <a:lnTo>
                    <a:pt x="31" y="195"/>
                  </a:lnTo>
                  <a:lnTo>
                    <a:pt x="30" y="195"/>
                  </a:lnTo>
                  <a:lnTo>
                    <a:pt x="29" y="195"/>
                  </a:lnTo>
                  <a:lnTo>
                    <a:pt x="28" y="195"/>
                  </a:lnTo>
                  <a:lnTo>
                    <a:pt x="27" y="195"/>
                  </a:lnTo>
                  <a:lnTo>
                    <a:pt x="26" y="195"/>
                  </a:lnTo>
                  <a:lnTo>
                    <a:pt x="24" y="195"/>
                  </a:lnTo>
                  <a:lnTo>
                    <a:pt x="24" y="194"/>
                  </a:lnTo>
                  <a:lnTo>
                    <a:pt x="26" y="194"/>
                  </a:lnTo>
                  <a:lnTo>
                    <a:pt x="26" y="193"/>
                  </a:lnTo>
                  <a:lnTo>
                    <a:pt x="24" y="193"/>
                  </a:lnTo>
                  <a:lnTo>
                    <a:pt x="26" y="192"/>
                  </a:lnTo>
                  <a:lnTo>
                    <a:pt x="27" y="192"/>
                  </a:lnTo>
                  <a:lnTo>
                    <a:pt x="27" y="191"/>
                  </a:lnTo>
                  <a:lnTo>
                    <a:pt x="26" y="191"/>
                  </a:lnTo>
                  <a:lnTo>
                    <a:pt x="26" y="189"/>
                  </a:lnTo>
                  <a:lnTo>
                    <a:pt x="24" y="189"/>
                  </a:lnTo>
                  <a:lnTo>
                    <a:pt x="24" y="188"/>
                  </a:lnTo>
                  <a:lnTo>
                    <a:pt x="23" y="188"/>
                  </a:lnTo>
                  <a:lnTo>
                    <a:pt x="23" y="187"/>
                  </a:lnTo>
                  <a:lnTo>
                    <a:pt x="22" y="186"/>
                  </a:lnTo>
                  <a:lnTo>
                    <a:pt x="22" y="185"/>
                  </a:lnTo>
                  <a:lnTo>
                    <a:pt x="21" y="184"/>
                  </a:lnTo>
                  <a:lnTo>
                    <a:pt x="20" y="184"/>
                  </a:lnTo>
                  <a:lnTo>
                    <a:pt x="20" y="182"/>
                  </a:lnTo>
                  <a:lnTo>
                    <a:pt x="20" y="181"/>
                  </a:lnTo>
                  <a:lnTo>
                    <a:pt x="19" y="181"/>
                  </a:lnTo>
                  <a:lnTo>
                    <a:pt x="21" y="182"/>
                  </a:lnTo>
                  <a:lnTo>
                    <a:pt x="22" y="182"/>
                  </a:lnTo>
                  <a:lnTo>
                    <a:pt x="23" y="182"/>
                  </a:lnTo>
                  <a:lnTo>
                    <a:pt x="23" y="181"/>
                  </a:lnTo>
                  <a:lnTo>
                    <a:pt x="22" y="181"/>
                  </a:lnTo>
                  <a:lnTo>
                    <a:pt x="22" y="180"/>
                  </a:lnTo>
                  <a:lnTo>
                    <a:pt x="21" y="180"/>
                  </a:lnTo>
                  <a:lnTo>
                    <a:pt x="21" y="179"/>
                  </a:lnTo>
                  <a:lnTo>
                    <a:pt x="23" y="179"/>
                  </a:lnTo>
                  <a:lnTo>
                    <a:pt x="24" y="178"/>
                  </a:lnTo>
                  <a:lnTo>
                    <a:pt x="23" y="177"/>
                  </a:lnTo>
                  <a:lnTo>
                    <a:pt x="22" y="177"/>
                  </a:lnTo>
                  <a:lnTo>
                    <a:pt x="21" y="177"/>
                  </a:lnTo>
                  <a:lnTo>
                    <a:pt x="21" y="175"/>
                  </a:lnTo>
                  <a:lnTo>
                    <a:pt x="20" y="175"/>
                  </a:lnTo>
                  <a:lnTo>
                    <a:pt x="20" y="174"/>
                  </a:lnTo>
                  <a:lnTo>
                    <a:pt x="20" y="173"/>
                  </a:lnTo>
                  <a:lnTo>
                    <a:pt x="19" y="173"/>
                  </a:lnTo>
                  <a:lnTo>
                    <a:pt x="17" y="173"/>
                  </a:lnTo>
                  <a:lnTo>
                    <a:pt x="17" y="172"/>
                  </a:lnTo>
                  <a:lnTo>
                    <a:pt x="16" y="172"/>
                  </a:lnTo>
                  <a:lnTo>
                    <a:pt x="16" y="171"/>
                  </a:lnTo>
                  <a:lnTo>
                    <a:pt x="15" y="171"/>
                  </a:lnTo>
                  <a:lnTo>
                    <a:pt x="15" y="170"/>
                  </a:lnTo>
                  <a:lnTo>
                    <a:pt x="15" y="168"/>
                  </a:lnTo>
                  <a:lnTo>
                    <a:pt x="14" y="168"/>
                  </a:lnTo>
                  <a:lnTo>
                    <a:pt x="15" y="168"/>
                  </a:lnTo>
                  <a:lnTo>
                    <a:pt x="14" y="167"/>
                  </a:lnTo>
                  <a:lnTo>
                    <a:pt x="14" y="166"/>
                  </a:lnTo>
                  <a:lnTo>
                    <a:pt x="13" y="166"/>
                  </a:lnTo>
                  <a:lnTo>
                    <a:pt x="13" y="165"/>
                  </a:lnTo>
                  <a:lnTo>
                    <a:pt x="14" y="165"/>
                  </a:lnTo>
                  <a:lnTo>
                    <a:pt x="13" y="165"/>
                  </a:lnTo>
                  <a:lnTo>
                    <a:pt x="13" y="164"/>
                  </a:lnTo>
                  <a:lnTo>
                    <a:pt x="13" y="165"/>
                  </a:lnTo>
                  <a:lnTo>
                    <a:pt x="12" y="165"/>
                  </a:lnTo>
                  <a:lnTo>
                    <a:pt x="12" y="166"/>
                  </a:lnTo>
                  <a:lnTo>
                    <a:pt x="12" y="165"/>
                  </a:lnTo>
                  <a:lnTo>
                    <a:pt x="10" y="165"/>
                  </a:lnTo>
                  <a:lnTo>
                    <a:pt x="12" y="165"/>
                  </a:lnTo>
                  <a:lnTo>
                    <a:pt x="10" y="165"/>
                  </a:lnTo>
                  <a:lnTo>
                    <a:pt x="10" y="164"/>
                  </a:lnTo>
                  <a:lnTo>
                    <a:pt x="12" y="164"/>
                  </a:lnTo>
                  <a:lnTo>
                    <a:pt x="10" y="164"/>
                  </a:lnTo>
                  <a:lnTo>
                    <a:pt x="12" y="164"/>
                  </a:lnTo>
                  <a:lnTo>
                    <a:pt x="10" y="164"/>
                  </a:lnTo>
                  <a:lnTo>
                    <a:pt x="10" y="163"/>
                  </a:lnTo>
                  <a:lnTo>
                    <a:pt x="10" y="161"/>
                  </a:lnTo>
                  <a:lnTo>
                    <a:pt x="10" y="163"/>
                  </a:lnTo>
                  <a:lnTo>
                    <a:pt x="10" y="161"/>
                  </a:lnTo>
                  <a:lnTo>
                    <a:pt x="10" y="160"/>
                  </a:lnTo>
                  <a:lnTo>
                    <a:pt x="9" y="160"/>
                  </a:lnTo>
                  <a:lnTo>
                    <a:pt x="8" y="160"/>
                  </a:lnTo>
                  <a:lnTo>
                    <a:pt x="9" y="159"/>
                  </a:lnTo>
                  <a:lnTo>
                    <a:pt x="8" y="159"/>
                  </a:lnTo>
                  <a:lnTo>
                    <a:pt x="8" y="158"/>
                  </a:lnTo>
                  <a:lnTo>
                    <a:pt x="9" y="158"/>
                  </a:lnTo>
                  <a:lnTo>
                    <a:pt x="8" y="158"/>
                  </a:lnTo>
                  <a:lnTo>
                    <a:pt x="9" y="158"/>
                  </a:lnTo>
                  <a:lnTo>
                    <a:pt x="8" y="157"/>
                  </a:lnTo>
                  <a:lnTo>
                    <a:pt x="9" y="157"/>
                  </a:lnTo>
                  <a:lnTo>
                    <a:pt x="9" y="156"/>
                  </a:lnTo>
                  <a:lnTo>
                    <a:pt x="9" y="154"/>
                  </a:lnTo>
                  <a:lnTo>
                    <a:pt x="9" y="153"/>
                  </a:lnTo>
                  <a:lnTo>
                    <a:pt x="9" y="152"/>
                  </a:lnTo>
                  <a:lnTo>
                    <a:pt x="9" y="151"/>
                  </a:lnTo>
                  <a:lnTo>
                    <a:pt x="8" y="151"/>
                  </a:lnTo>
                  <a:lnTo>
                    <a:pt x="8" y="152"/>
                  </a:lnTo>
                  <a:lnTo>
                    <a:pt x="7" y="152"/>
                  </a:lnTo>
                  <a:lnTo>
                    <a:pt x="6" y="152"/>
                  </a:lnTo>
                  <a:lnTo>
                    <a:pt x="6" y="153"/>
                  </a:lnTo>
                  <a:lnTo>
                    <a:pt x="6" y="152"/>
                  </a:lnTo>
                  <a:lnTo>
                    <a:pt x="6" y="151"/>
                  </a:lnTo>
                  <a:lnTo>
                    <a:pt x="7" y="151"/>
                  </a:lnTo>
                  <a:lnTo>
                    <a:pt x="7" y="150"/>
                  </a:lnTo>
                  <a:lnTo>
                    <a:pt x="6" y="151"/>
                  </a:lnTo>
                  <a:lnTo>
                    <a:pt x="6" y="150"/>
                  </a:lnTo>
                  <a:lnTo>
                    <a:pt x="6" y="151"/>
                  </a:lnTo>
                  <a:lnTo>
                    <a:pt x="6" y="152"/>
                  </a:lnTo>
                  <a:lnTo>
                    <a:pt x="5" y="152"/>
                  </a:lnTo>
                  <a:lnTo>
                    <a:pt x="3" y="152"/>
                  </a:lnTo>
                  <a:lnTo>
                    <a:pt x="5" y="151"/>
                  </a:lnTo>
                  <a:lnTo>
                    <a:pt x="3" y="151"/>
                  </a:lnTo>
                  <a:lnTo>
                    <a:pt x="5" y="150"/>
                  </a:lnTo>
                  <a:lnTo>
                    <a:pt x="3" y="151"/>
                  </a:lnTo>
                  <a:lnTo>
                    <a:pt x="2" y="151"/>
                  </a:lnTo>
                  <a:lnTo>
                    <a:pt x="2" y="150"/>
                  </a:lnTo>
                  <a:lnTo>
                    <a:pt x="2" y="149"/>
                  </a:lnTo>
                  <a:lnTo>
                    <a:pt x="2" y="147"/>
                  </a:lnTo>
                  <a:lnTo>
                    <a:pt x="2" y="146"/>
                  </a:lnTo>
                  <a:lnTo>
                    <a:pt x="1" y="146"/>
                  </a:lnTo>
                  <a:lnTo>
                    <a:pt x="1" y="145"/>
                  </a:lnTo>
                  <a:lnTo>
                    <a:pt x="2" y="145"/>
                  </a:lnTo>
                  <a:lnTo>
                    <a:pt x="2" y="144"/>
                  </a:lnTo>
                  <a:lnTo>
                    <a:pt x="1" y="144"/>
                  </a:lnTo>
                  <a:lnTo>
                    <a:pt x="1" y="143"/>
                  </a:lnTo>
                  <a:lnTo>
                    <a:pt x="0" y="143"/>
                  </a:lnTo>
                  <a:lnTo>
                    <a:pt x="0" y="142"/>
                  </a:lnTo>
                  <a:lnTo>
                    <a:pt x="1" y="142"/>
                  </a:lnTo>
                  <a:lnTo>
                    <a:pt x="0" y="142"/>
                  </a:lnTo>
                  <a:lnTo>
                    <a:pt x="1" y="140"/>
                  </a:lnTo>
                  <a:lnTo>
                    <a:pt x="2" y="140"/>
                  </a:lnTo>
                  <a:lnTo>
                    <a:pt x="3" y="140"/>
                  </a:lnTo>
                  <a:lnTo>
                    <a:pt x="3" y="142"/>
                  </a:lnTo>
                  <a:lnTo>
                    <a:pt x="3" y="143"/>
                  </a:lnTo>
                  <a:lnTo>
                    <a:pt x="5" y="143"/>
                  </a:lnTo>
                  <a:lnTo>
                    <a:pt x="6" y="143"/>
                  </a:lnTo>
                  <a:lnTo>
                    <a:pt x="7" y="143"/>
                  </a:lnTo>
                  <a:lnTo>
                    <a:pt x="7" y="142"/>
                  </a:lnTo>
                  <a:lnTo>
                    <a:pt x="7" y="140"/>
                  </a:lnTo>
                  <a:lnTo>
                    <a:pt x="7" y="139"/>
                  </a:lnTo>
                  <a:lnTo>
                    <a:pt x="7" y="138"/>
                  </a:lnTo>
                  <a:lnTo>
                    <a:pt x="8" y="138"/>
                  </a:lnTo>
                  <a:lnTo>
                    <a:pt x="8" y="137"/>
                  </a:lnTo>
                  <a:lnTo>
                    <a:pt x="7" y="137"/>
                  </a:lnTo>
                  <a:lnTo>
                    <a:pt x="6" y="133"/>
                  </a:lnTo>
                  <a:lnTo>
                    <a:pt x="6" y="132"/>
                  </a:lnTo>
                  <a:lnTo>
                    <a:pt x="7" y="132"/>
                  </a:lnTo>
                  <a:lnTo>
                    <a:pt x="8" y="132"/>
                  </a:lnTo>
                  <a:lnTo>
                    <a:pt x="8" y="131"/>
                  </a:lnTo>
                  <a:lnTo>
                    <a:pt x="8" y="130"/>
                  </a:lnTo>
                  <a:lnTo>
                    <a:pt x="7" y="130"/>
                  </a:lnTo>
                  <a:lnTo>
                    <a:pt x="7" y="129"/>
                  </a:lnTo>
                  <a:lnTo>
                    <a:pt x="8" y="129"/>
                  </a:lnTo>
                  <a:lnTo>
                    <a:pt x="10" y="129"/>
                  </a:lnTo>
                  <a:lnTo>
                    <a:pt x="12" y="128"/>
                  </a:lnTo>
                  <a:lnTo>
                    <a:pt x="14" y="126"/>
                  </a:lnTo>
                  <a:lnTo>
                    <a:pt x="14" y="125"/>
                  </a:lnTo>
                  <a:lnTo>
                    <a:pt x="14" y="124"/>
                  </a:lnTo>
                  <a:lnTo>
                    <a:pt x="14" y="123"/>
                  </a:lnTo>
                  <a:lnTo>
                    <a:pt x="15" y="122"/>
                  </a:lnTo>
                  <a:lnTo>
                    <a:pt x="15" y="121"/>
                  </a:lnTo>
                  <a:lnTo>
                    <a:pt x="15" y="119"/>
                  </a:lnTo>
                  <a:lnTo>
                    <a:pt x="14" y="117"/>
                  </a:lnTo>
                  <a:lnTo>
                    <a:pt x="12" y="116"/>
                  </a:lnTo>
                  <a:lnTo>
                    <a:pt x="12" y="115"/>
                  </a:lnTo>
                  <a:lnTo>
                    <a:pt x="12" y="114"/>
                  </a:lnTo>
                  <a:lnTo>
                    <a:pt x="10" y="114"/>
                  </a:lnTo>
                  <a:lnTo>
                    <a:pt x="10" y="112"/>
                  </a:lnTo>
                  <a:lnTo>
                    <a:pt x="13" y="112"/>
                  </a:lnTo>
                  <a:lnTo>
                    <a:pt x="14" y="112"/>
                  </a:lnTo>
                  <a:lnTo>
                    <a:pt x="15" y="112"/>
                  </a:lnTo>
                  <a:lnTo>
                    <a:pt x="15" y="111"/>
                  </a:lnTo>
                  <a:lnTo>
                    <a:pt x="15" y="110"/>
                  </a:lnTo>
                  <a:lnTo>
                    <a:pt x="16" y="110"/>
                  </a:lnTo>
                  <a:lnTo>
                    <a:pt x="16" y="109"/>
                  </a:lnTo>
                  <a:lnTo>
                    <a:pt x="17" y="108"/>
                  </a:lnTo>
                  <a:lnTo>
                    <a:pt x="16" y="108"/>
                  </a:lnTo>
                  <a:lnTo>
                    <a:pt x="14" y="104"/>
                  </a:lnTo>
                  <a:lnTo>
                    <a:pt x="13" y="104"/>
                  </a:lnTo>
                  <a:lnTo>
                    <a:pt x="12" y="104"/>
                  </a:lnTo>
                  <a:lnTo>
                    <a:pt x="10" y="103"/>
                  </a:lnTo>
                  <a:lnTo>
                    <a:pt x="8" y="102"/>
                  </a:lnTo>
                  <a:lnTo>
                    <a:pt x="9" y="98"/>
                  </a:lnTo>
                  <a:lnTo>
                    <a:pt x="9" y="95"/>
                  </a:lnTo>
                  <a:lnTo>
                    <a:pt x="9" y="94"/>
                  </a:lnTo>
                  <a:lnTo>
                    <a:pt x="7" y="90"/>
                  </a:lnTo>
                  <a:lnTo>
                    <a:pt x="7" y="89"/>
                  </a:lnTo>
                  <a:lnTo>
                    <a:pt x="7" y="88"/>
                  </a:lnTo>
                  <a:lnTo>
                    <a:pt x="6" y="86"/>
                  </a:lnTo>
                  <a:lnTo>
                    <a:pt x="7" y="84"/>
                  </a:lnTo>
                  <a:lnTo>
                    <a:pt x="6" y="81"/>
                  </a:lnTo>
                  <a:lnTo>
                    <a:pt x="5" y="80"/>
                  </a:lnTo>
                  <a:lnTo>
                    <a:pt x="7" y="77"/>
                  </a:lnTo>
                  <a:lnTo>
                    <a:pt x="6" y="75"/>
                  </a:lnTo>
                  <a:lnTo>
                    <a:pt x="7" y="75"/>
                  </a:lnTo>
                  <a:lnTo>
                    <a:pt x="9" y="73"/>
                  </a:lnTo>
                  <a:lnTo>
                    <a:pt x="12" y="70"/>
                  </a:lnTo>
                  <a:lnTo>
                    <a:pt x="14" y="69"/>
                  </a:lnTo>
                  <a:lnTo>
                    <a:pt x="16" y="69"/>
                  </a:lnTo>
                  <a:lnTo>
                    <a:pt x="21" y="69"/>
                  </a:lnTo>
                  <a:lnTo>
                    <a:pt x="24" y="70"/>
                  </a:lnTo>
                  <a:lnTo>
                    <a:pt x="24" y="69"/>
                  </a:lnTo>
                  <a:lnTo>
                    <a:pt x="27" y="68"/>
                  </a:lnTo>
                  <a:lnTo>
                    <a:pt x="27" y="67"/>
                  </a:lnTo>
                  <a:lnTo>
                    <a:pt x="26" y="63"/>
                  </a:lnTo>
                  <a:lnTo>
                    <a:pt x="24" y="63"/>
                  </a:lnTo>
                  <a:lnTo>
                    <a:pt x="23" y="63"/>
                  </a:lnTo>
                  <a:lnTo>
                    <a:pt x="21" y="62"/>
                  </a:lnTo>
                  <a:lnTo>
                    <a:pt x="23" y="59"/>
                  </a:lnTo>
                  <a:lnTo>
                    <a:pt x="26" y="56"/>
                  </a:lnTo>
                  <a:lnTo>
                    <a:pt x="27" y="55"/>
                  </a:lnTo>
                  <a:lnTo>
                    <a:pt x="27" y="54"/>
                  </a:lnTo>
                  <a:lnTo>
                    <a:pt x="27" y="53"/>
                  </a:lnTo>
                  <a:lnTo>
                    <a:pt x="28" y="53"/>
                  </a:lnTo>
                  <a:lnTo>
                    <a:pt x="28" y="52"/>
                  </a:lnTo>
                  <a:lnTo>
                    <a:pt x="28" y="51"/>
                  </a:lnTo>
                  <a:lnTo>
                    <a:pt x="28" y="49"/>
                  </a:lnTo>
                  <a:lnTo>
                    <a:pt x="28" y="46"/>
                  </a:lnTo>
                  <a:lnTo>
                    <a:pt x="29" y="45"/>
                  </a:lnTo>
                  <a:lnTo>
                    <a:pt x="28" y="40"/>
                  </a:lnTo>
                  <a:lnTo>
                    <a:pt x="30" y="40"/>
                  </a:lnTo>
                  <a:lnTo>
                    <a:pt x="33" y="40"/>
                  </a:lnTo>
                  <a:lnTo>
                    <a:pt x="37" y="39"/>
                  </a:lnTo>
                  <a:lnTo>
                    <a:pt x="37" y="38"/>
                  </a:lnTo>
                  <a:lnTo>
                    <a:pt x="36" y="35"/>
                  </a:lnTo>
                  <a:lnTo>
                    <a:pt x="38" y="34"/>
                  </a:lnTo>
                  <a:lnTo>
                    <a:pt x="42" y="30"/>
                  </a:lnTo>
                  <a:lnTo>
                    <a:pt x="43" y="30"/>
                  </a:lnTo>
                  <a:lnTo>
                    <a:pt x="44" y="28"/>
                  </a:lnTo>
                  <a:lnTo>
                    <a:pt x="45" y="28"/>
                  </a:lnTo>
                  <a:lnTo>
                    <a:pt x="45" y="27"/>
                  </a:lnTo>
                  <a:lnTo>
                    <a:pt x="45" y="26"/>
                  </a:lnTo>
                  <a:lnTo>
                    <a:pt x="42" y="23"/>
                  </a:lnTo>
                  <a:lnTo>
                    <a:pt x="42" y="21"/>
                  </a:lnTo>
                  <a:lnTo>
                    <a:pt x="44" y="21"/>
                  </a:lnTo>
                  <a:lnTo>
                    <a:pt x="45" y="20"/>
                  </a:lnTo>
                  <a:lnTo>
                    <a:pt x="46" y="20"/>
                  </a:lnTo>
                  <a:lnTo>
                    <a:pt x="46" y="19"/>
                  </a:lnTo>
                  <a:lnTo>
                    <a:pt x="48" y="17"/>
                  </a:lnTo>
                  <a:lnTo>
                    <a:pt x="48" y="16"/>
                  </a:lnTo>
                  <a:lnTo>
                    <a:pt x="51" y="14"/>
                  </a:lnTo>
                  <a:lnTo>
                    <a:pt x="52" y="13"/>
                  </a:lnTo>
                  <a:lnTo>
                    <a:pt x="56" y="14"/>
                  </a:lnTo>
                  <a:lnTo>
                    <a:pt x="59" y="16"/>
                  </a:lnTo>
                  <a:lnTo>
                    <a:pt x="59" y="14"/>
                  </a:lnTo>
                  <a:lnTo>
                    <a:pt x="62" y="13"/>
                  </a:lnTo>
                  <a:lnTo>
                    <a:pt x="62" y="12"/>
                  </a:lnTo>
                  <a:lnTo>
                    <a:pt x="60" y="10"/>
                  </a:lnTo>
                  <a:lnTo>
                    <a:pt x="60" y="9"/>
                  </a:lnTo>
                  <a:lnTo>
                    <a:pt x="60" y="7"/>
                  </a:lnTo>
                  <a:lnTo>
                    <a:pt x="63" y="7"/>
                  </a:lnTo>
                  <a:lnTo>
                    <a:pt x="64" y="7"/>
                  </a:lnTo>
                  <a:lnTo>
                    <a:pt x="65" y="9"/>
                  </a:lnTo>
                  <a:lnTo>
                    <a:pt x="66" y="9"/>
                  </a:lnTo>
                  <a:lnTo>
                    <a:pt x="70" y="9"/>
                  </a:lnTo>
                  <a:lnTo>
                    <a:pt x="74" y="9"/>
                  </a:lnTo>
                  <a:lnTo>
                    <a:pt x="79" y="10"/>
                  </a:lnTo>
                  <a:lnTo>
                    <a:pt x="81" y="9"/>
                  </a:lnTo>
                  <a:lnTo>
                    <a:pt x="79" y="7"/>
                  </a:lnTo>
                  <a:lnTo>
                    <a:pt x="80" y="6"/>
                  </a:lnTo>
                  <a:lnTo>
                    <a:pt x="81" y="6"/>
                  </a:lnTo>
                  <a:lnTo>
                    <a:pt x="81" y="5"/>
                  </a:lnTo>
                  <a:lnTo>
                    <a:pt x="83" y="4"/>
                  </a:lnTo>
                  <a:lnTo>
                    <a:pt x="81" y="3"/>
                  </a:lnTo>
                  <a:lnTo>
                    <a:pt x="79" y="2"/>
                  </a:lnTo>
                  <a:lnTo>
                    <a:pt x="81" y="0"/>
                  </a:lnTo>
                  <a:lnTo>
                    <a:pt x="84" y="0"/>
                  </a:lnTo>
                  <a:lnTo>
                    <a:pt x="85" y="2"/>
                  </a:lnTo>
                  <a:lnTo>
                    <a:pt x="86" y="2"/>
                  </a:lnTo>
                  <a:lnTo>
                    <a:pt x="87" y="2"/>
                  </a:lnTo>
                  <a:lnTo>
                    <a:pt x="87" y="3"/>
                  </a:lnTo>
                  <a:lnTo>
                    <a:pt x="90" y="3"/>
                  </a:lnTo>
                  <a:lnTo>
                    <a:pt x="90" y="4"/>
                  </a:lnTo>
                  <a:lnTo>
                    <a:pt x="91" y="4"/>
                  </a:lnTo>
                  <a:lnTo>
                    <a:pt x="92" y="4"/>
                  </a:lnTo>
                  <a:lnTo>
                    <a:pt x="92" y="5"/>
                  </a:lnTo>
                  <a:lnTo>
                    <a:pt x="93" y="5"/>
                  </a:lnTo>
                  <a:lnTo>
                    <a:pt x="94" y="6"/>
                  </a:lnTo>
                  <a:lnTo>
                    <a:pt x="95" y="6"/>
                  </a:lnTo>
                  <a:lnTo>
                    <a:pt x="97" y="6"/>
                  </a:lnTo>
                  <a:lnTo>
                    <a:pt x="97" y="7"/>
                  </a:lnTo>
                  <a:lnTo>
                    <a:pt x="99" y="7"/>
                  </a:lnTo>
                  <a:lnTo>
                    <a:pt x="100" y="7"/>
                  </a:lnTo>
                  <a:lnTo>
                    <a:pt x="100" y="9"/>
                  </a:lnTo>
                  <a:lnTo>
                    <a:pt x="102" y="9"/>
                  </a:lnTo>
                  <a:lnTo>
                    <a:pt x="103" y="9"/>
                  </a:lnTo>
                  <a:lnTo>
                    <a:pt x="105" y="9"/>
                  </a:lnTo>
                  <a:lnTo>
                    <a:pt x="106" y="9"/>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93" name="Freeform 1551">
              <a:extLst>
                <a:ext uri="{FF2B5EF4-FFF2-40B4-BE49-F238E27FC236}">
                  <a16:creationId xmlns:a16="http://schemas.microsoft.com/office/drawing/2014/main" id="{5E44BA9C-247D-4708-89F2-E264C3F934A9}"/>
                </a:ext>
              </a:extLst>
            </p:cNvPr>
            <p:cNvSpPr>
              <a:spLocks/>
            </p:cNvSpPr>
            <p:nvPr/>
          </p:nvSpPr>
          <p:spPr bwMode="auto">
            <a:xfrm>
              <a:off x="6300558" y="2381635"/>
              <a:ext cx="6678" cy="5342"/>
            </a:xfrm>
            <a:custGeom>
              <a:avLst/>
              <a:gdLst>
                <a:gd name="T0" fmla="*/ 2 w 5"/>
                <a:gd name="T1" fmla="*/ 4 h 4"/>
                <a:gd name="T2" fmla="*/ 0 w 5"/>
                <a:gd name="T3" fmla="*/ 4 h 4"/>
                <a:gd name="T4" fmla="*/ 0 w 5"/>
                <a:gd name="T5" fmla="*/ 4 h 4"/>
                <a:gd name="T6" fmla="*/ 2 w 5"/>
                <a:gd name="T7" fmla="*/ 2 h 4"/>
                <a:gd name="T8" fmla="*/ 2 w 5"/>
                <a:gd name="T9" fmla="*/ 2 h 4"/>
                <a:gd name="T10" fmla="*/ 2 w 5"/>
                <a:gd name="T11" fmla="*/ 2 h 4"/>
                <a:gd name="T12" fmla="*/ 2 w 5"/>
                <a:gd name="T13" fmla="*/ 2 h 4"/>
                <a:gd name="T14" fmla="*/ 2 w 5"/>
                <a:gd name="T15" fmla="*/ 2 h 4"/>
                <a:gd name="T16" fmla="*/ 2 w 5"/>
                <a:gd name="T17" fmla="*/ 2 h 4"/>
                <a:gd name="T18" fmla="*/ 2 w 5"/>
                <a:gd name="T19" fmla="*/ 2 h 4"/>
                <a:gd name="T20" fmla="*/ 3 w 5"/>
                <a:gd name="T21" fmla="*/ 2 h 4"/>
                <a:gd name="T22" fmla="*/ 3 w 5"/>
                <a:gd name="T23" fmla="*/ 2 h 4"/>
                <a:gd name="T24" fmla="*/ 4 w 5"/>
                <a:gd name="T25" fmla="*/ 0 h 4"/>
                <a:gd name="T26" fmla="*/ 5 w 5"/>
                <a:gd name="T27" fmla="*/ 0 h 4"/>
                <a:gd name="T28" fmla="*/ 3 w 5"/>
                <a:gd name="T29" fmla="*/ 2 h 4"/>
                <a:gd name="T30" fmla="*/ 2 w 5"/>
                <a:gd name="T3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4">
                  <a:moveTo>
                    <a:pt x="2" y="4"/>
                  </a:moveTo>
                  <a:lnTo>
                    <a:pt x="0" y="4"/>
                  </a:lnTo>
                  <a:lnTo>
                    <a:pt x="0" y="4"/>
                  </a:lnTo>
                  <a:lnTo>
                    <a:pt x="2" y="2"/>
                  </a:lnTo>
                  <a:lnTo>
                    <a:pt x="2" y="2"/>
                  </a:lnTo>
                  <a:lnTo>
                    <a:pt x="2" y="2"/>
                  </a:lnTo>
                  <a:lnTo>
                    <a:pt x="2" y="2"/>
                  </a:lnTo>
                  <a:lnTo>
                    <a:pt x="2" y="2"/>
                  </a:lnTo>
                  <a:lnTo>
                    <a:pt x="2" y="2"/>
                  </a:lnTo>
                  <a:lnTo>
                    <a:pt x="2" y="2"/>
                  </a:lnTo>
                  <a:lnTo>
                    <a:pt x="3" y="2"/>
                  </a:lnTo>
                  <a:lnTo>
                    <a:pt x="3" y="2"/>
                  </a:lnTo>
                  <a:lnTo>
                    <a:pt x="4" y="0"/>
                  </a:lnTo>
                  <a:lnTo>
                    <a:pt x="5" y="0"/>
                  </a:lnTo>
                  <a:lnTo>
                    <a:pt x="3" y="2"/>
                  </a:lnTo>
                  <a:lnTo>
                    <a:pt x="2" y="4"/>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94" name="Freeform 1552">
              <a:extLst>
                <a:ext uri="{FF2B5EF4-FFF2-40B4-BE49-F238E27FC236}">
                  <a16:creationId xmlns:a16="http://schemas.microsoft.com/office/drawing/2014/main" id="{37E19F27-8A25-4B6D-9893-83B3A8C19F29}"/>
                </a:ext>
              </a:extLst>
            </p:cNvPr>
            <p:cNvSpPr>
              <a:spLocks/>
            </p:cNvSpPr>
            <p:nvPr/>
          </p:nvSpPr>
          <p:spPr bwMode="auto">
            <a:xfrm>
              <a:off x="6347300" y="2377628"/>
              <a:ext cx="8013" cy="0"/>
            </a:xfrm>
            <a:custGeom>
              <a:avLst/>
              <a:gdLst>
                <a:gd name="T0" fmla="*/ 0 w 6"/>
                <a:gd name="T1" fmla="*/ 3 w 6"/>
                <a:gd name="T2" fmla="*/ 3 w 6"/>
                <a:gd name="T3" fmla="*/ 4 w 6"/>
                <a:gd name="T4" fmla="*/ 4 w 6"/>
                <a:gd name="T5" fmla="*/ 5 w 6"/>
                <a:gd name="T6" fmla="*/ 5 w 6"/>
                <a:gd name="T7" fmla="*/ 5 w 6"/>
                <a:gd name="T8" fmla="*/ 5 w 6"/>
                <a:gd name="T9" fmla="*/ 5 w 6"/>
                <a:gd name="T10" fmla="*/ 6 w 6"/>
                <a:gd name="T11" fmla="*/ 5 w 6"/>
                <a:gd name="T12" fmla="*/ 0 w 6"/>
                <a:gd name="T13" fmla="*/ 0 w 6"/>
                <a:gd name="T14" fmla="*/ 0 w 6"/>
                <a:gd name="T15" fmla="*/ 0 w 6"/>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Lst>
              <a:rect l="0" t="0" r="r" b="b"/>
              <a:pathLst>
                <a:path w="6">
                  <a:moveTo>
                    <a:pt x="0" y="0"/>
                  </a:moveTo>
                  <a:lnTo>
                    <a:pt x="3" y="0"/>
                  </a:lnTo>
                  <a:lnTo>
                    <a:pt x="3" y="0"/>
                  </a:lnTo>
                  <a:lnTo>
                    <a:pt x="4" y="0"/>
                  </a:lnTo>
                  <a:lnTo>
                    <a:pt x="4" y="0"/>
                  </a:lnTo>
                  <a:lnTo>
                    <a:pt x="5" y="0"/>
                  </a:lnTo>
                  <a:lnTo>
                    <a:pt x="5" y="0"/>
                  </a:lnTo>
                  <a:lnTo>
                    <a:pt x="5" y="0"/>
                  </a:lnTo>
                  <a:lnTo>
                    <a:pt x="5" y="0"/>
                  </a:lnTo>
                  <a:lnTo>
                    <a:pt x="5" y="0"/>
                  </a:lnTo>
                  <a:lnTo>
                    <a:pt x="6" y="0"/>
                  </a:lnTo>
                  <a:lnTo>
                    <a:pt x="5" y="0"/>
                  </a:lnTo>
                  <a:lnTo>
                    <a:pt x="0" y="0"/>
                  </a:lnTo>
                  <a:lnTo>
                    <a:pt x="0" y="0"/>
                  </a:lnTo>
                  <a:lnTo>
                    <a:pt x="0" y="0"/>
                  </a:lnTo>
                  <a:lnTo>
                    <a:pt x="0"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95" name="Freeform 1553">
              <a:extLst>
                <a:ext uri="{FF2B5EF4-FFF2-40B4-BE49-F238E27FC236}">
                  <a16:creationId xmlns:a16="http://schemas.microsoft.com/office/drawing/2014/main" id="{E895D22D-6F35-47DF-B7A6-A30C09B27DF0}"/>
                </a:ext>
              </a:extLst>
            </p:cNvPr>
            <p:cNvSpPr>
              <a:spLocks/>
            </p:cNvSpPr>
            <p:nvPr/>
          </p:nvSpPr>
          <p:spPr bwMode="auto">
            <a:xfrm>
              <a:off x="6327268" y="2370951"/>
              <a:ext cx="13355" cy="2671"/>
            </a:xfrm>
            <a:custGeom>
              <a:avLst/>
              <a:gdLst>
                <a:gd name="T0" fmla="*/ 10 w 10"/>
                <a:gd name="T1" fmla="*/ 2 h 2"/>
                <a:gd name="T2" fmla="*/ 10 w 10"/>
                <a:gd name="T3" fmla="*/ 2 h 2"/>
                <a:gd name="T4" fmla="*/ 10 w 10"/>
                <a:gd name="T5" fmla="*/ 2 h 2"/>
                <a:gd name="T6" fmla="*/ 8 w 10"/>
                <a:gd name="T7" fmla="*/ 2 h 2"/>
                <a:gd name="T8" fmla="*/ 4 w 10"/>
                <a:gd name="T9" fmla="*/ 2 h 2"/>
                <a:gd name="T10" fmla="*/ 1 w 10"/>
                <a:gd name="T11" fmla="*/ 1 h 2"/>
                <a:gd name="T12" fmla="*/ 1 w 10"/>
                <a:gd name="T13" fmla="*/ 1 h 2"/>
                <a:gd name="T14" fmla="*/ 1 w 10"/>
                <a:gd name="T15" fmla="*/ 0 h 2"/>
                <a:gd name="T16" fmla="*/ 1 w 10"/>
                <a:gd name="T17" fmla="*/ 0 h 2"/>
                <a:gd name="T18" fmla="*/ 0 w 10"/>
                <a:gd name="T19" fmla="*/ 0 h 2"/>
                <a:gd name="T20" fmla="*/ 0 w 10"/>
                <a:gd name="T21" fmla="*/ 0 h 2"/>
                <a:gd name="T22" fmla="*/ 1 w 10"/>
                <a:gd name="T23" fmla="*/ 0 h 2"/>
                <a:gd name="T24" fmla="*/ 1 w 10"/>
                <a:gd name="T25" fmla="*/ 0 h 2"/>
                <a:gd name="T26" fmla="*/ 1 w 10"/>
                <a:gd name="T27" fmla="*/ 1 h 2"/>
                <a:gd name="T28" fmla="*/ 1 w 10"/>
                <a:gd name="T29" fmla="*/ 1 h 2"/>
                <a:gd name="T30" fmla="*/ 3 w 10"/>
                <a:gd name="T31" fmla="*/ 1 h 2"/>
                <a:gd name="T32" fmla="*/ 6 w 10"/>
                <a:gd name="T33" fmla="*/ 2 h 2"/>
                <a:gd name="T34" fmla="*/ 8 w 10"/>
                <a:gd name="T35" fmla="*/ 2 h 2"/>
                <a:gd name="T36" fmla="*/ 10 w 10"/>
                <a:gd name="T3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2">
                  <a:moveTo>
                    <a:pt x="10" y="2"/>
                  </a:moveTo>
                  <a:lnTo>
                    <a:pt x="10" y="2"/>
                  </a:lnTo>
                  <a:lnTo>
                    <a:pt x="10" y="2"/>
                  </a:lnTo>
                  <a:lnTo>
                    <a:pt x="8" y="2"/>
                  </a:lnTo>
                  <a:lnTo>
                    <a:pt x="4" y="2"/>
                  </a:lnTo>
                  <a:lnTo>
                    <a:pt x="1" y="1"/>
                  </a:lnTo>
                  <a:lnTo>
                    <a:pt x="1" y="1"/>
                  </a:lnTo>
                  <a:lnTo>
                    <a:pt x="1" y="0"/>
                  </a:lnTo>
                  <a:lnTo>
                    <a:pt x="1" y="0"/>
                  </a:lnTo>
                  <a:lnTo>
                    <a:pt x="0" y="0"/>
                  </a:lnTo>
                  <a:lnTo>
                    <a:pt x="0" y="0"/>
                  </a:lnTo>
                  <a:lnTo>
                    <a:pt x="1" y="0"/>
                  </a:lnTo>
                  <a:lnTo>
                    <a:pt x="1" y="0"/>
                  </a:lnTo>
                  <a:lnTo>
                    <a:pt x="1" y="1"/>
                  </a:lnTo>
                  <a:lnTo>
                    <a:pt x="1" y="1"/>
                  </a:lnTo>
                  <a:lnTo>
                    <a:pt x="3" y="1"/>
                  </a:lnTo>
                  <a:lnTo>
                    <a:pt x="6" y="2"/>
                  </a:lnTo>
                  <a:lnTo>
                    <a:pt x="8" y="2"/>
                  </a:lnTo>
                  <a:lnTo>
                    <a:pt x="10" y="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96" name="Freeform 1554">
              <a:extLst>
                <a:ext uri="{FF2B5EF4-FFF2-40B4-BE49-F238E27FC236}">
                  <a16:creationId xmlns:a16="http://schemas.microsoft.com/office/drawing/2014/main" id="{81BEE92C-285F-424D-B3DF-74FD46F56CA7}"/>
                </a:ext>
              </a:extLst>
            </p:cNvPr>
            <p:cNvSpPr>
              <a:spLocks noEditPoints="1"/>
            </p:cNvSpPr>
            <p:nvPr/>
          </p:nvSpPr>
          <p:spPr bwMode="auto">
            <a:xfrm>
              <a:off x="6167009" y="2248086"/>
              <a:ext cx="293807" cy="145569"/>
            </a:xfrm>
            <a:custGeom>
              <a:avLst/>
              <a:gdLst>
                <a:gd name="T0" fmla="*/ 137 w 220"/>
                <a:gd name="T1" fmla="*/ 2 h 109"/>
                <a:gd name="T2" fmla="*/ 140 w 220"/>
                <a:gd name="T3" fmla="*/ 13 h 109"/>
                <a:gd name="T4" fmla="*/ 148 w 220"/>
                <a:gd name="T5" fmla="*/ 17 h 109"/>
                <a:gd name="T6" fmla="*/ 157 w 220"/>
                <a:gd name="T7" fmla="*/ 25 h 109"/>
                <a:gd name="T8" fmla="*/ 169 w 220"/>
                <a:gd name="T9" fmla="*/ 31 h 109"/>
                <a:gd name="T10" fmla="*/ 183 w 220"/>
                <a:gd name="T11" fmla="*/ 30 h 109"/>
                <a:gd name="T12" fmla="*/ 194 w 220"/>
                <a:gd name="T13" fmla="*/ 35 h 109"/>
                <a:gd name="T14" fmla="*/ 209 w 220"/>
                <a:gd name="T15" fmla="*/ 39 h 109"/>
                <a:gd name="T16" fmla="*/ 218 w 220"/>
                <a:gd name="T17" fmla="*/ 48 h 109"/>
                <a:gd name="T18" fmla="*/ 219 w 220"/>
                <a:gd name="T19" fmla="*/ 52 h 109"/>
                <a:gd name="T20" fmla="*/ 218 w 220"/>
                <a:gd name="T21" fmla="*/ 60 h 109"/>
                <a:gd name="T22" fmla="*/ 217 w 220"/>
                <a:gd name="T23" fmla="*/ 69 h 109"/>
                <a:gd name="T24" fmla="*/ 201 w 220"/>
                <a:gd name="T25" fmla="*/ 74 h 109"/>
                <a:gd name="T26" fmla="*/ 192 w 220"/>
                <a:gd name="T27" fmla="*/ 81 h 109"/>
                <a:gd name="T28" fmla="*/ 184 w 220"/>
                <a:gd name="T29" fmla="*/ 85 h 109"/>
                <a:gd name="T30" fmla="*/ 170 w 220"/>
                <a:gd name="T31" fmla="*/ 91 h 109"/>
                <a:gd name="T32" fmla="*/ 166 w 220"/>
                <a:gd name="T33" fmla="*/ 90 h 109"/>
                <a:gd name="T34" fmla="*/ 166 w 220"/>
                <a:gd name="T35" fmla="*/ 101 h 109"/>
                <a:gd name="T36" fmla="*/ 160 w 220"/>
                <a:gd name="T37" fmla="*/ 95 h 109"/>
                <a:gd name="T38" fmla="*/ 156 w 220"/>
                <a:gd name="T39" fmla="*/ 94 h 109"/>
                <a:gd name="T40" fmla="*/ 153 w 220"/>
                <a:gd name="T41" fmla="*/ 95 h 109"/>
                <a:gd name="T42" fmla="*/ 147 w 220"/>
                <a:gd name="T43" fmla="*/ 95 h 109"/>
                <a:gd name="T44" fmla="*/ 140 w 220"/>
                <a:gd name="T45" fmla="*/ 95 h 109"/>
                <a:gd name="T46" fmla="*/ 125 w 220"/>
                <a:gd name="T47" fmla="*/ 92 h 109"/>
                <a:gd name="T48" fmla="*/ 130 w 220"/>
                <a:gd name="T49" fmla="*/ 90 h 109"/>
                <a:gd name="T50" fmla="*/ 126 w 220"/>
                <a:gd name="T51" fmla="*/ 87 h 109"/>
                <a:gd name="T52" fmla="*/ 123 w 220"/>
                <a:gd name="T53" fmla="*/ 80 h 109"/>
                <a:gd name="T54" fmla="*/ 120 w 220"/>
                <a:gd name="T55" fmla="*/ 86 h 109"/>
                <a:gd name="T56" fmla="*/ 114 w 220"/>
                <a:gd name="T57" fmla="*/ 87 h 109"/>
                <a:gd name="T58" fmla="*/ 107 w 220"/>
                <a:gd name="T59" fmla="*/ 97 h 109"/>
                <a:gd name="T60" fmla="*/ 102 w 220"/>
                <a:gd name="T61" fmla="*/ 102 h 109"/>
                <a:gd name="T62" fmla="*/ 99 w 220"/>
                <a:gd name="T63" fmla="*/ 105 h 109"/>
                <a:gd name="T64" fmla="*/ 99 w 220"/>
                <a:gd name="T65" fmla="*/ 107 h 109"/>
                <a:gd name="T66" fmla="*/ 86 w 220"/>
                <a:gd name="T67" fmla="*/ 108 h 109"/>
                <a:gd name="T68" fmla="*/ 86 w 220"/>
                <a:gd name="T69" fmla="*/ 101 h 109"/>
                <a:gd name="T70" fmla="*/ 92 w 220"/>
                <a:gd name="T71" fmla="*/ 90 h 109"/>
                <a:gd name="T72" fmla="*/ 98 w 220"/>
                <a:gd name="T73" fmla="*/ 91 h 109"/>
                <a:gd name="T74" fmla="*/ 99 w 220"/>
                <a:gd name="T75" fmla="*/ 85 h 109"/>
                <a:gd name="T76" fmla="*/ 95 w 220"/>
                <a:gd name="T77" fmla="*/ 77 h 109"/>
                <a:gd name="T78" fmla="*/ 89 w 220"/>
                <a:gd name="T79" fmla="*/ 67 h 109"/>
                <a:gd name="T80" fmla="*/ 77 w 220"/>
                <a:gd name="T81" fmla="*/ 64 h 109"/>
                <a:gd name="T82" fmla="*/ 66 w 220"/>
                <a:gd name="T83" fmla="*/ 59 h 109"/>
                <a:gd name="T84" fmla="*/ 53 w 220"/>
                <a:gd name="T85" fmla="*/ 65 h 109"/>
                <a:gd name="T86" fmla="*/ 34 w 220"/>
                <a:gd name="T87" fmla="*/ 70 h 109"/>
                <a:gd name="T88" fmla="*/ 21 w 220"/>
                <a:gd name="T89" fmla="*/ 66 h 109"/>
                <a:gd name="T90" fmla="*/ 9 w 220"/>
                <a:gd name="T91" fmla="*/ 64 h 109"/>
                <a:gd name="T92" fmla="*/ 0 w 220"/>
                <a:gd name="T93" fmla="*/ 58 h 109"/>
                <a:gd name="T94" fmla="*/ 9 w 220"/>
                <a:gd name="T95" fmla="*/ 49 h 109"/>
                <a:gd name="T96" fmla="*/ 10 w 220"/>
                <a:gd name="T97" fmla="*/ 36 h 109"/>
                <a:gd name="T98" fmla="*/ 20 w 220"/>
                <a:gd name="T99" fmla="*/ 25 h 109"/>
                <a:gd name="T100" fmla="*/ 13 w 220"/>
                <a:gd name="T101" fmla="*/ 15 h 109"/>
                <a:gd name="T102" fmla="*/ 21 w 220"/>
                <a:gd name="T103" fmla="*/ 7 h 109"/>
                <a:gd name="T104" fmla="*/ 52 w 220"/>
                <a:gd name="T105" fmla="*/ 9 h 109"/>
                <a:gd name="T106" fmla="*/ 63 w 220"/>
                <a:gd name="T107" fmla="*/ 13 h 109"/>
                <a:gd name="T108" fmla="*/ 73 w 220"/>
                <a:gd name="T109" fmla="*/ 11 h 109"/>
                <a:gd name="T110" fmla="*/ 82 w 220"/>
                <a:gd name="T111" fmla="*/ 14 h 109"/>
                <a:gd name="T112" fmla="*/ 93 w 220"/>
                <a:gd name="T113" fmla="*/ 14 h 109"/>
                <a:gd name="T114" fmla="*/ 96 w 220"/>
                <a:gd name="T115" fmla="*/ 9 h 109"/>
                <a:gd name="T116" fmla="*/ 103 w 220"/>
                <a:gd name="T117" fmla="*/ 4 h 109"/>
                <a:gd name="T118" fmla="*/ 116 w 220"/>
                <a:gd name="T119" fmla="*/ 0 h 109"/>
                <a:gd name="T120" fmla="*/ 107 w 220"/>
                <a:gd name="T121" fmla="*/ 9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0" h="109">
                  <a:moveTo>
                    <a:pt x="125" y="0"/>
                  </a:moveTo>
                  <a:lnTo>
                    <a:pt x="126" y="0"/>
                  </a:lnTo>
                  <a:lnTo>
                    <a:pt x="127" y="0"/>
                  </a:lnTo>
                  <a:lnTo>
                    <a:pt x="128" y="0"/>
                  </a:lnTo>
                  <a:lnTo>
                    <a:pt x="128" y="1"/>
                  </a:lnTo>
                  <a:lnTo>
                    <a:pt x="130" y="1"/>
                  </a:lnTo>
                  <a:lnTo>
                    <a:pt x="130" y="0"/>
                  </a:lnTo>
                  <a:lnTo>
                    <a:pt x="131" y="0"/>
                  </a:lnTo>
                  <a:lnTo>
                    <a:pt x="132" y="0"/>
                  </a:lnTo>
                  <a:lnTo>
                    <a:pt x="133" y="0"/>
                  </a:lnTo>
                  <a:lnTo>
                    <a:pt x="133" y="1"/>
                  </a:lnTo>
                  <a:lnTo>
                    <a:pt x="134" y="1"/>
                  </a:lnTo>
                  <a:lnTo>
                    <a:pt x="134" y="2"/>
                  </a:lnTo>
                  <a:lnTo>
                    <a:pt x="135" y="2"/>
                  </a:lnTo>
                  <a:lnTo>
                    <a:pt x="137" y="2"/>
                  </a:lnTo>
                  <a:lnTo>
                    <a:pt x="137" y="3"/>
                  </a:lnTo>
                  <a:lnTo>
                    <a:pt x="137" y="4"/>
                  </a:lnTo>
                  <a:lnTo>
                    <a:pt x="137" y="6"/>
                  </a:lnTo>
                  <a:lnTo>
                    <a:pt x="138" y="6"/>
                  </a:lnTo>
                  <a:lnTo>
                    <a:pt x="139" y="7"/>
                  </a:lnTo>
                  <a:lnTo>
                    <a:pt x="140" y="7"/>
                  </a:lnTo>
                  <a:lnTo>
                    <a:pt x="140" y="8"/>
                  </a:lnTo>
                  <a:lnTo>
                    <a:pt x="141" y="8"/>
                  </a:lnTo>
                  <a:lnTo>
                    <a:pt x="141" y="9"/>
                  </a:lnTo>
                  <a:lnTo>
                    <a:pt x="140" y="9"/>
                  </a:lnTo>
                  <a:lnTo>
                    <a:pt x="138" y="10"/>
                  </a:lnTo>
                  <a:lnTo>
                    <a:pt x="139" y="10"/>
                  </a:lnTo>
                  <a:lnTo>
                    <a:pt x="139" y="11"/>
                  </a:lnTo>
                  <a:lnTo>
                    <a:pt x="140" y="11"/>
                  </a:lnTo>
                  <a:lnTo>
                    <a:pt x="140" y="13"/>
                  </a:lnTo>
                  <a:lnTo>
                    <a:pt x="140" y="14"/>
                  </a:lnTo>
                  <a:lnTo>
                    <a:pt x="140" y="15"/>
                  </a:lnTo>
                  <a:lnTo>
                    <a:pt x="141" y="15"/>
                  </a:lnTo>
                  <a:lnTo>
                    <a:pt x="141" y="16"/>
                  </a:lnTo>
                  <a:lnTo>
                    <a:pt x="140" y="16"/>
                  </a:lnTo>
                  <a:lnTo>
                    <a:pt x="141" y="17"/>
                  </a:lnTo>
                  <a:lnTo>
                    <a:pt x="141" y="16"/>
                  </a:lnTo>
                  <a:lnTo>
                    <a:pt x="142" y="16"/>
                  </a:lnTo>
                  <a:lnTo>
                    <a:pt x="144" y="16"/>
                  </a:lnTo>
                  <a:lnTo>
                    <a:pt x="145" y="17"/>
                  </a:lnTo>
                  <a:lnTo>
                    <a:pt x="145" y="16"/>
                  </a:lnTo>
                  <a:lnTo>
                    <a:pt x="146" y="16"/>
                  </a:lnTo>
                  <a:lnTo>
                    <a:pt x="146" y="17"/>
                  </a:lnTo>
                  <a:lnTo>
                    <a:pt x="147" y="17"/>
                  </a:lnTo>
                  <a:lnTo>
                    <a:pt x="148" y="17"/>
                  </a:lnTo>
                  <a:lnTo>
                    <a:pt x="149" y="17"/>
                  </a:lnTo>
                  <a:lnTo>
                    <a:pt x="150" y="17"/>
                  </a:lnTo>
                  <a:lnTo>
                    <a:pt x="152" y="17"/>
                  </a:lnTo>
                  <a:lnTo>
                    <a:pt x="152" y="18"/>
                  </a:lnTo>
                  <a:lnTo>
                    <a:pt x="153" y="20"/>
                  </a:lnTo>
                  <a:lnTo>
                    <a:pt x="154" y="20"/>
                  </a:lnTo>
                  <a:lnTo>
                    <a:pt x="155" y="20"/>
                  </a:lnTo>
                  <a:lnTo>
                    <a:pt x="154" y="21"/>
                  </a:lnTo>
                  <a:lnTo>
                    <a:pt x="155" y="21"/>
                  </a:lnTo>
                  <a:lnTo>
                    <a:pt x="155" y="22"/>
                  </a:lnTo>
                  <a:lnTo>
                    <a:pt x="155" y="23"/>
                  </a:lnTo>
                  <a:lnTo>
                    <a:pt x="156" y="23"/>
                  </a:lnTo>
                  <a:lnTo>
                    <a:pt x="156" y="24"/>
                  </a:lnTo>
                  <a:lnTo>
                    <a:pt x="157" y="24"/>
                  </a:lnTo>
                  <a:lnTo>
                    <a:pt x="157" y="25"/>
                  </a:lnTo>
                  <a:lnTo>
                    <a:pt x="156" y="25"/>
                  </a:lnTo>
                  <a:lnTo>
                    <a:pt x="157" y="28"/>
                  </a:lnTo>
                  <a:lnTo>
                    <a:pt x="159" y="28"/>
                  </a:lnTo>
                  <a:lnTo>
                    <a:pt x="159" y="29"/>
                  </a:lnTo>
                  <a:lnTo>
                    <a:pt x="160" y="29"/>
                  </a:lnTo>
                  <a:lnTo>
                    <a:pt x="160" y="30"/>
                  </a:lnTo>
                  <a:lnTo>
                    <a:pt x="161" y="30"/>
                  </a:lnTo>
                  <a:lnTo>
                    <a:pt x="162" y="30"/>
                  </a:lnTo>
                  <a:lnTo>
                    <a:pt x="162" y="29"/>
                  </a:lnTo>
                  <a:lnTo>
                    <a:pt x="163" y="29"/>
                  </a:lnTo>
                  <a:lnTo>
                    <a:pt x="166" y="29"/>
                  </a:lnTo>
                  <a:lnTo>
                    <a:pt x="167" y="29"/>
                  </a:lnTo>
                  <a:lnTo>
                    <a:pt x="167" y="30"/>
                  </a:lnTo>
                  <a:lnTo>
                    <a:pt x="168" y="31"/>
                  </a:lnTo>
                  <a:lnTo>
                    <a:pt x="169" y="31"/>
                  </a:lnTo>
                  <a:lnTo>
                    <a:pt x="170" y="31"/>
                  </a:lnTo>
                  <a:lnTo>
                    <a:pt x="171" y="31"/>
                  </a:lnTo>
                  <a:lnTo>
                    <a:pt x="171" y="32"/>
                  </a:lnTo>
                  <a:lnTo>
                    <a:pt x="173" y="32"/>
                  </a:lnTo>
                  <a:lnTo>
                    <a:pt x="173" y="31"/>
                  </a:lnTo>
                  <a:lnTo>
                    <a:pt x="174" y="31"/>
                  </a:lnTo>
                  <a:lnTo>
                    <a:pt x="175" y="30"/>
                  </a:lnTo>
                  <a:lnTo>
                    <a:pt x="176" y="30"/>
                  </a:lnTo>
                  <a:lnTo>
                    <a:pt x="177" y="30"/>
                  </a:lnTo>
                  <a:lnTo>
                    <a:pt x="180" y="30"/>
                  </a:lnTo>
                  <a:lnTo>
                    <a:pt x="180" y="29"/>
                  </a:lnTo>
                  <a:lnTo>
                    <a:pt x="181" y="29"/>
                  </a:lnTo>
                  <a:lnTo>
                    <a:pt x="182" y="29"/>
                  </a:lnTo>
                  <a:lnTo>
                    <a:pt x="182" y="30"/>
                  </a:lnTo>
                  <a:lnTo>
                    <a:pt x="183" y="30"/>
                  </a:lnTo>
                  <a:lnTo>
                    <a:pt x="184" y="30"/>
                  </a:lnTo>
                  <a:lnTo>
                    <a:pt x="184" y="31"/>
                  </a:lnTo>
                  <a:lnTo>
                    <a:pt x="184" y="32"/>
                  </a:lnTo>
                  <a:lnTo>
                    <a:pt x="185" y="32"/>
                  </a:lnTo>
                  <a:lnTo>
                    <a:pt x="187" y="35"/>
                  </a:lnTo>
                  <a:lnTo>
                    <a:pt x="188" y="35"/>
                  </a:lnTo>
                  <a:lnTo>
                    <a:pt x="189" y="35"/>
                  </a:lnTo>
                  <a:lnTo>
                    <a:pt x="189" y="36"/>
                  </a:lnTo>
                  <a:lnTo>
                    <a:pt x="190" y="36"/>
                  </a:lnTo>
                  <a:lnTo>
                    <a:pt x="190" y="37"/>
                  </a:lnTo>
                  <a:lnTo>
                    <a:pt x="191" y="37"/>
                  </a:lnTo>
                  <a:lnTo>
                    <a:pt x="192" y="37"/>
                  </a:lnTo>
                  <a:lnTo>
                    <a:pt x="192" y="36"/>
                  </a:lnTo>
                  <a:lnTo>
                    <a:pt x="192" y="35"/>
                  </a:lnTo>
                  <a:lnTo>
                    <a:pt x="194" y="35"/>
                  </a:lnTo>
                  <a:lnTo>
                    <a:pt x="195" y="36"/>
                  </a:lnTo>
                  <a:lnTo>
                    <a:pt x="196" y="36"/>
                  </a:lnTo>
                  <a:lnTo>
                    <a:pt x="197" y="36"/>
                  </a:lnTo>
                  <a:lnTo>
                    <a:pt x="198" y="36"/>
                  </a:lnTo>
                  <a:lnTo>
                    <a:pt x="198" y="37"/>
                  </a:lnTo>
                  <a:lnTo>
                    <a:pt x="199" y="37"/>
                  </a:lnTo>
                  <a:lnTo>
                    <a:pt x="201" y="37"/>
                  </a:lnTo>
                  <a:lnTo>
                    <a:pt x="202" y="38"/>
                  </a:lnTo>
                  <a:lnTo>
                    <a:pt x="203" y="38"/>
                  </a:lnTo>
                  <a:lnTo>
                    <a:pt x="204" y="38"/>
                  </a:lnTo>
                  <a:lnTo>
                    <a:pt x="204" y="37"/>
                  </a:lnTo>
                  <a:lnTo>
                    <a:pt x="205" y="37"/>
                  </a:lnTo>
                  <a:lnTo>
                    <a:pt x="206" y="39"/>
                  </a:lnTo>
                  <a:lnTo>
                    <a:pt x="208" y="39"/>
                  </a:lnTo>
                  <a:lnTo>
                    <a:pt x="209" y="39"/>
                  </a:lnTo>
                  <a:lnTo>
                    <a:pt x="210" y="39"/>
                  </a:lnTo>
                  <a:lnTo>
                    <a:pt x="210" y="41"/>
                  </a:lnTo>
                  <a:lnTo>
                    <a:pt x="211" y="41"/>
                  </a:lnTo>
                  <a:lnTo>
                    <a:pt x="211" y="42"/>
                  </a:lnTo>
                  <a:lnTo>
                    <a:pt x="212" y="42"/>
                  </a:lnTo>
                  <a:lnTo>
                    <a:pt x="213" y="43"/>
                  </a:lnTo>
                  <a:lnTo>
                    <a:pt x="214" y="43"/>
                  </a:lnTo>
                  <a:lnTo>
                    <a:pt x="214" y="42"/>
                  </a:lnTo>
                  <a:lnTo>
                    <a:pt x="216" y="42"/>
                  </a:lnTo>
                  <a:lnTo>
                    <a:pt x="217" y="42"/>
                  </a:lnTo>
                  <a:lnTo>
                    <a:pt x="217" y="43"/>
                  </a:lnTo>
                  <a:lnTo>
                    <a:pt x="217" y="44"/>
                  </a:lnTo>
                  <a:lnTo>
                    <a:pt x="218" y="45"/>
                  </a:lnTo>
                  <a:lnTo>
                    <a:pt x="218" y="46"/>
                  </a:lnTo>
                  <a:lnTo>
                    <a:pt x="218" y="48"/>
                  </a:lnTo>
                  <a:lnTo>
                    <a:pt x="218" y="49"/>
                  </a:lnTo>
                  <a:lnTo>
                    <a:pt x="217" y="49"/>
                  </a:lnTo>
                  <a:lnTo>
                    <a:pt x="217" y="50"/>
                  </a:lnTo>
                  <a:lnTo>
                    <a:pt x="216" y="50"/>
                  </a:lnTo>
                  <a:lnTo>
                    <a:pt x="214" y="50"/>
                  </a:lnTo>
                  <a:lnTo>
                    <a:pt x="213" y="50"/>
                  </a:lnTo>
                  <a:lnTo>
                    <a:pt x="213" y="51"/>
                  </a:lnTo>
                  <a:lnTo>
                    <a:pt x="214" y="51"/>
                  </a:lnTo>
                  <a:lnTo>
                    <a:pt x="214" y="52"/>
                  </a:lnTo>
                  <a:lnTo>
                    <a:pt x="216" y="52"/>
                  </a:lnTo>
                  <a:lnTo>
                    <a:pt x="217" y="52"/>
                  </a:lnTo>
                  <a:lnTo>
                    <a:pt x="217" y="53"/>
                  </a:lnTo>
                  <a:lnTo>
                    <a:pt x="218" y="53"/>
                  </a:lnTo>
                  <a:lnTo>
                    <a:pt x="218" y="52"/>
                  </a:lnTo>
                  <a:lnTo>
                    <a:pt x="219" y="52"/>
                  </a:lnTo>
                  <a:lnTo>
                    <a:pt x="219" y="53"/>
                  </a:lnTo>
                  <a:lnTo>
                    <a:pt x="218" y="53"/>
                  </a:lnTo>
                  <a:lnTo>
                    <a:pt x="218" y="55"/>
                  </a:lnTo>
                  <a:lnTo>
                    <a:pt x="216" y="53"/>
                  </a:lnTo>
                  <a:lnTo>
                    <a:pt x="216" y="55"/>
                  </a:lnTo>
                  <a:lnTo>
                    <a:pt x="214" y="55"/>
                  </a:lnTo>
                  <a:lnTo>
                    <a:pt x="214" y="57"/>
                  </a:lnTo>
                  <a:lnTo>
                    <a:pt x="216" y="57"/>
                  </a:lnTo>
                  <a:lnTo>
                    <a:pt x="217" y="57"/>
                  </a:lnTo>
                  <a:lnTo>
                    <a:pt x="217" y="58"/>
                  </a:lnTo>
                  <a:lnTo>
                    <a:pt x="218" y="58"/>
                  </a:lnTo>
                  <a:lnTo>
                    <a:pt x="217" y="58"/>
                  </a:lnTo>
                  <a:lnTo>
                    <a:pt x="217" y="59"/>
                  </a:lnTo>
                  <a:lnTo>
                    <a:pt x="218" y="59"/>
                  </a:lnTo>
                  <a:lnTo>
                    <a:pt x="218" y="60"/>
                  </a:lnTo>
                  <a:lnTo>
                    <a:pt x="219" y="60"/>
                  </a:lnTo>
                  <a:lnTo>
                    <a:pt x="218" y="60"/>
                  </a:lnTo>
                  <a:lnTo>
                    <a:pt x="218" y="62"/>
                  </a:lnTo>
                  <a:lnTo>
                    <a:pt x="219" y="62"/>
                  </a:lnTo>
                  <a:lnTo>
                    <a:pt x="220" y="62"/>
                  </a:lnTo>
                  <a:lnTo>
                    <a:pt x="220" y="63"/>
                  </a:lnTo>
                  <a:lnTo>
                    <a:pt x="219" y="63"/>
                  </a:lnTo>
                  <a:lnTo>
                    <a:pt x="219" y="64"/>
                  </a:lnTo>
                  <a:lnTo>
                    <a:pt x="218" y="64"/>
                  </a:lnTo>
                  <a:lnTo>
                    <a:pt x="218" y="65"/>
                  </a:lnTo>
                  <a:lnTo>
                    <a:pt x="219" y="65"/>
                  </a:lnTo>
                  <a:lnTo>
                    <a:pt x="218" y="66"/>
                  </a:lnTo>
                  <a:lnTo>
                    <a:pt x="218" y="67"/>
                  </a:lnTo>
                  <a:lnTo>
                    <a:pt x="218" y="69"/>
                  </a:lnTo>
                  <a:lnTo>
                    <a:pt x="217" y="69"/>
                  </a:lnTo>
                  <a:lnTo>
                    <a:pt x="216" y="69"/>
                  </a:lnTo>
                  <a:lnTo>
                    <a:pt x="214" y="69"/>
                  </a:lnTo>
                  <a:lnTo>
                    <a:pt x="213" y="69"/>
                  </a:lnTo>
                  <a:lnTo>
                    <a:pt x="211" y="69"/>
                  </a:lnTo>
                  <a:lnTo>
                    <a:pt x="210" y="69"/>
                  </a:lnTo>
                  <a:lnTo>
                    <a:pt x="208" y="69"/>
                  </a:lnTo>
                  <a:lnTo>
                    <a:pt x="206" y="69"/>
                  </a:lnTo>
                  <a:lnTo>
                    <a:pt x="206" y="70"/>
                  </a:lnTo>
                  <a:lnTo>
                    <a:pt x="206" y="71"/>
                  </a:lnTo>
                  <a:lnTo>
                    <a:pt x="205" y="71"/>
                  </a:lnTo>
                  <a:lnTo>
                    <a:pt x="205" y="72"/>
                  </a:lnTo>
                  <a:lnTo>
                    <a:pt x="204" y="72"/>
                  </a:lnTo>
                  <a:lnTo>
                    <a:pt x="202" y="72"/>
                  </a:lnTo>
                  <a:lnTo>
                    <a:pt x="202" y="73"/>
                  </a:lnTo>
                  <a:lnTo>
                    <a:pt x="201" y="74"/>
                  </a:lnTo>
                  <a:lnTo>
                    <a:pt x="202" y="76"/>
                  </a:lnTo>
                  <a:lnTo>
                    <a:pt x="201" y="76"/>
                  </a:lnTo>
                  <a:lnTo>
                    <a:pt x="201" y="77"/>
                  </a:lnTo>
                  <a:lnTo>
                    <a:pt x="202" y="77"/>
                  </a:lnTo>
                  <a:lnTo>
                    <a:pt x="202" y="78"/>
                  </a:lnTo>
                  <a:lnTo>
                    <a:pt x="202" y="79"/>
                  </a:lnTo>
                  <a:lnTo>
                    <a:pt x="202" y="80"/>
                  </a:lnTo>
                  <a:lnTo>
                    <a:pt x="201" y="81"/>
                  </a:lnTo>
                  <a:lnTo>
                    <a:pt x="201" y="80"/>
                  </a:lnTo>
                  <a:lnTo>
                    <a:pt x="199" y="80"/>
                  </a:lnTo>
                  <a:lnTo>
                    <a:pt x="198" y="80"/>
                  </a:lnTo>
                  <a:lnTo>
                    <a:pt x="197" y="80"/>
                  </a:lnTo>
                  <a:lnTo>
                    <a:pt x="196" y="80"/>
                  </a:lnTo>
                  <a:lnTo>
                    <a:pt x="194" y="80"/>
                  </a:lnTo>
                  <a:lnTo>
                    <a:pt x="192" y="81"/>
                  </a:lnTo>
                  <a:lnTo>
                    <a:pt x="192" y="83"/>
                  </a:lnTo>
                  <a:lnTo>
                    <a:pt x="191" y="84"/>
                  </a:lnTo>
                  <a:lnTo>
                    <a:pt x="191" y="83"/>
                  </a:lnTo>
                  <a:lnTo>
                    <a:pt x="190" y="83"/>
                  </a:lnTo>
                  <a:lnTo>
                    <a:pt x="189" y="83"/>
                  </a:lnTo>
                  <a:lnTo>
                    <a:pt x="188" y="84"/>
                  </a:lnTo>
                  <a:lnTo>
                    <a:pt x="187" y="84"/>
                  </a:lnTo>
                  <a:lnTo>
                    <a:pt x="187" y="85"/>
                  </a:lnTo>
                  <a:lnTo>
                    <a:pt x="185" y="85"/>
                  </a:lnTo>
                  <a:lnTo>
                    <a:pt x="185" y="86"/>
                  </a:lnTo>
                  <a:lnTo>
                    <a:pt x="185" y="87"/>
                  </a:lnTo>
                  <a:lnTo>
                    <a:pt x="184" y="87"/>
                  </a:lnTo>
                  <a:lnTo>
                    <a:pt x="185" y="87"/>
                  </a:lnTo>
                  <a:lnTo>
                    <a:pt x="185" y="86"/>
                  </a:lnTo>
                  <a:lnTo>
                    <a:pt x="184" y="85"/>
                  </a:lnTo>
                  <a:lnTo>
                    <a:pt x="183" y="85"/>
                  </a:lnTo>
                  <a:lnTo>
                    <a:pt x="182" y="85"/>
                  </a:lnTo>
                  <a:lnTo>
                    <a:pt x="181" y="86"/>
                  </a:lnTo>
                  <a:lnTo>
                    <a:pt x="180" y="86"/>
                  </a:lnTo>
                  <a:lnTo>
                    <a:pt x="180" y="87"/>
                  </a:lnTo>
                  <a:lnTo>
                    <a:pt x="178" y="87"/>
                  </a:lnTo>
                  <a:lnTo>
                    <a:pt x="177" y="87"/>
                  </a:lnTo>
                  <a:lnTo>
                    <a:pt x="176" y="87"/>
                  </a:lnTo>
                  <a:lnTo>
                    <a:pt x="175" y="87"/>
                  </a:lnTo>
                  <a:lnTo>
                    <a:pt x="174" y="87"/>
                  </a:lnTo>
                  <a:lnTo>
                    <a:pt x="173" y="87"/>
                  </a:lnTo>
                  <a:lnTo>
                    <a:pt x="173" y="88"/>
                  </a:lnTo>
                  <a:lnTo>
                    <a:pt x="171" y="90"/>
                  </a:lnTo>
                  <a:lnTo>
                    <a:pt x="170" y="90"/>
                  </a:lnTo>
                  <a:lnTo>
                    <a:pt x="170" y="91"/>
                  </a:lnTo>
                  <a:lnTo>
                    <a:pt x="169" y="91"/>
                  </a:lnTo>
                  <a:lnTo>
                    <a:pt x="169" y="92"/>
                  </a:lnTo>
                  <a:lnTo>
                    <a:pt x="168" y="93"/>
                  </a:lnTo>
                  <a:lnTo>
                    <a:pt x="167" y="94"/>
                  </a:lnTo>
                  <a:lnTo>
                    <a:pt x="167" y="95"/>
                  </a:lnTo>
                  <a:lnTo>
                    <a:pt x="166" y="95"/>
                  </a:lnTo>
                  <a:lnTo>
                    <a:pt x="164" y="95"/>
                  </a:lnTo>
                  <a:lnTo>
                    <a:pt x="166" y="95"/>
                  </a:lnTo>
                  <a:lnTo>
                    <a:pt x="167" y="94"/>
                  </a:lnTo>
                  <a:lnTo>
                    <a:pt x="168" y="93"/>
                  </a:lnTo>
                  <a:lnTo>
                    <a:pt x="168" y="92"/>
                  </a:lnTo>
                  <a:lnTo>
                    <a:pt x="167" y="92"/>
                  </a:lnTo>
                  <a:lnTo>
                    <a:pt x="167" y="91"/>
                  </a:lnTo>
                  <a:lnTo>
                    <a:pt x="167" y="90"/>
                  </a:lnTo>
                  <a:lnTo>
                    <a:pt x="166" y="90"/>
                  </a:lnTo>
                  <a:lnTo>
                    <a:pt x="167" y="91"/>
                  </a:lnTo>
                  <a:lnTo>
                    <a:pt x="166" y="92"/>
                  </a:lnTo>
                  <a:lnTo>
                    <a:pt x="166" y="93"/>
                  </a:lnTo>
                  <a:lnTo>
                    <a:pt x="164" y="93"/>
                  </a:lnTo>
                  <a:lnTo>
                    <a:pt x="163" y="93"/>
                  </a:lnTo>
                  <a:lnTo>
                    <a:pt x="163" y="94"/>
                  </a:lnTo>
                  <a:lnTo>
                    <a:pt x="162" y="94"/>
                  </a:lnTo>
                  <a:lnTo>
                    <a:pt x="162" y="95"/>
                  </a:lnTo>
                  <a:lnTo>
                    <a:pt x="162" y="97"/>
                  </a:lnTo>
                  <a:lnTo>
                    <a:pt x="163" y="97"/>
                  </a:lnTo>
                  <a:lnTo>
                    <a:pt x="163" y="98"/>
                  </a:lnTo>
                  <a:lnTo>
                    <a:pt x="163" y="99"/>
                  </a:lnTo>
                  <a:lnTo>
                    <a:pt x="164" y="99"/>
                  </a:lnTo>
                  <a:lnTo>
                    <a:pt x="164" y="100"/>
                  </a:lnTo>
                  <a:lnTo>
                    <a:pt x="166" y="101"/>
                  </a:lnTo>
                  <a:lnTo>
                    <a:pt x="164" y="101"/>
                  </a:lnTo>
                  <a:lnTo>
                    <a:pt x="164" y="100"/>
                  </a:lnTo>
                  <a:lnTo>
                    <a:pt x="164" y="99"/>
                  </a:lnTo>
                  <a:lnTo>
                    <a:pt x="163" y="99"/>
                  </a:lnTo>
                  <a:lnTo>
                    <a:pt x="163" y="100"/>
                  </a:lnTo>
                  <a:lnTo>
                    <a:pt x="163" y="99"/>
                  </a:lnTo>
                  <a:lnTo>
                    <a:pt x="163" y="98"/>
                  </a:lnTo>
                  <a:lnTo>
                    <a:pt x="162" y="98"/>
                  </a:lnTo>
                  <a:lnTo>
                    <a:pt x="162" y="97"/>
                  </a:lnTo>
                  <a:lnTo>
                    <a:pt x="161" y="97"/>
                  </a:lnTo>
                  <a:lnTo>
                    <a:pt x="161" y="95"/>
                  </a:lnTo>
                  <a:lnTo>
                    <a:pt x="162" y="95"/>
                  </a:lnTo>
                  <a:lnTo>
                    <a:pt x="161" y="94"/>
                  </a:lnTo>
                  <a:lnTo>
                    <a:pt x="160" y="94"/>
                  </a:lnTo>
                  <a:lnTo>
                    <a:pt x="160" y="95"/>
                  </a:lnTo>
                  <a:lnTo>
                    <a:pt x="160" y="97"/>
                  </a:lnTo>
                  <a:lnTo>
                    <a:pt x="160" y="98"/>
                  </a:lnTo>
                  <a:lnTo>
                    <a:pt x="159" y="98"/>
                  </a:lnTo>
                  <a:lnTo>
                    <a:pt x="159" y="97"/>
                  </a:lnTo>
                  <a:lnTo>
                    <a:pt x="157" y="97"/>
                  </a:lnTo>
                  <a:lnTo>
                    <a:pt x="159" y="97"/>
                  </a:lnTo>
                  <a:lnTo>
                    <a:pt x="157" y="97"/>
                  </a:lnTo>
                  <a:lnTo>
                    <a:pt x="157" y="95"/>
                  </a:lnTo>
                  <a:lnTo>
                    <a:pt x="159" y="95"/>
                  </a:lnTo>
                  <a:lnTo>
                    <a:pt x="160" y="95"/>
                  </a:lnTo>
                  <a:lnTo>
                    <a:pt x="160" y="94"/>
                  </a:lnTo>
                  <a:lnTo>
                    <a:pt x="159" y="94"/>
                  </a:lnTo>
                  <a:lnTo>
                    <a:pt x="159" y="95"/>
                  </a:lnTo>
                  <a:lnTo>
                    <a:pt x="157" y="94"/>
                  </a:lnTo>
                  <a:lnTo>
                    <a:pt x="156" y="94"/>
                  </a:lnTo>
                  <a:lnTo>
                    <a:pt x="155" y="94"/>
                  </a:lnTo>
                  <a:lnTo>
                    <a:pt x="156" y="94"/>
                  </a:lnTo>
                  <a:lnTo>
                    <a:pt x="156" y="95"/>
                  </a:lnTo>
                  <a:lnTo>
                    <a:pt x="156" y="94"/>
                  </a:lnTo>
                  <a:lnTo>
                    <a:pt x="155" y="93"/>
                  </a:lnTo>
                  <a:lnTo>
                    <a:pt x="154" y="93"/>
                  </a:lnTo>
                  <a:lnTo>
                    <a:pt x="154" y="94"/>
                  </a:lnTo>
                  <a:lnTo>
                    <a:pt x="155" y="94"/>
                  </a:lnTo>
                  <a:lnTo>
                    <a:pt x="154" y="94"/>
                  </a:lnTo>
                  <a:lnTo>
                    <a:pt x="154" y="95"/>
                  </a:lnTo>
                  <a:lnTo>
                    <a:pt x="154" y="94"/>
                  </a:lnTo>
                  <a:lnTo>
                    <a:pt x="153" y="94"/>
                  </a:lnTo>
                  <a:lnTo>
                    <a:pt x="154" y="94"/>
                  </a:lnTo>
                  <a:lnTo>
                    <a:pt x="154" y="95"/>
                  </a:lnTo>
                  <a:lnTo>
                    <a:pt x="153" y="95"/>
                  </a:lnTo>
                  <a:lnTo>
                    <a:pt x="153" y="94"/>
                  </a:lnTo>
                  <a:lnTo>
                    <a:pt x="153" y="95"/>
                  </a:lnTo>
                  <a:lnTo>
                    <a:pt x="153" y="94"/>
                  </a:lnTo>
                  <a:lnTo>
                    <a:pt x="152" y="94"/>
                  </a:lnTo>
                  <a:lnTo>
                    <a:pt x="150" y="93"/>
                  </a:lnTo>
                  <a:lnTo>
                    <a:pt x="150" y="94"/>
                  </a:lnTo>
                  <a:lnTo>
                    <a:pt x="149" y="93"/>
                  </a:lnTo>
                  <a:lnTo>
                    <a:pt x="148" y="93"/>
                  </a:lnTo>
                  <a:lnTo>
                    <a:pt x="148" y="94"/>
                  </a:lnTo>
                  <a:lnTo>
                    <a:pt x="148" y="93"/>
                  </a:lnTo>
                  <a:lnTo>
                    <a:pt x="148" y="94"/>
                  </a:lnTo>
                  <a:lnTo>
                    <a:pt x="148" y="95"/>
                  </a:lnTo>
                  <a:lnTo>
                    <a:pt x="147" y="95"/>
                  </a:lnTo>
                  <a:lnTo>
                    <a:pt x="147" y="94"/>
                  </a:lnTo>
                  <a:lnTo>
                    <a:pt x="147" y="95"/>
                  </a:lnTo>
                  <a:lnTo>
                    <a:pt x="146" y="95"/>
                  </a:lnTo>
                  <a:lnTo>
                    <a:pt x="146" y="97"/>
                  </a:lnTo>
                  <a:lnTo>
                    <a:pt x="147" y="97"/>
                  </a:lnTo>
                  <a:lnTo>
                    <a:pt x="146" y="97"/>
                  </a:lnTo>
                  <a:lnTo>
                    <a:pt x="145" y="97"/>
                  </a:lnTo>
                  <a:lnTo>
                    <a:pt x="145" y="95"/>
                  </a:lnTo>
                  <a:lnTo>
                    <a:pt x="144" y="95"/>
                  </a:lnTo>
                  <a:lnTo>
                    <a:pt x="142" y="95"/>
                  </a:lnTo>
                  <a:lnTo>
                    <a:pt x="142" y="94"/>
                  </a:lnTo>
                  <a:lnTo>
                    <a:pt x="142" y="93"/>
                  </a:lnTo>
                  <a:lnTo>
                    <a:pt x="142" y="94"/>
                  </a:lnTo>
                  <a:lnTo>
                    <a:pt x="141" y="95"/>
                  </a:lnTo>
                  <a:lnTo>
                    <a:pt x="141" y="94"/>
                  </a:lnTo>
                  <a:lnTo>
                    <a:pt x="140" y="94"/>
                  </a:lnTo>
                  <a:lnTo>
                    <a:pt x="140" y="95"/>
                  </a:lnTo>
                  <a:lnTo>
                    <a:pt x="139" y="95"/>
                  </a:lnTo>
                  <a:lnTo>
                    <a:pt x="138" y="95"/>
                  </a:lnTo>
                  <a:lnTo>
                    <a:pt x="137" y="95"/>
                  </a:lnTo>
                  <a:lnTo>
                    <a:pt x="134" y="95"/>
                  </a:lnTo>
                  <a:lnTo>
                    <a:pt x="131" y="95"/>
                  </a:lnTo>
                  <a:lnTo>
                    <a:pt x="131" y="94"/>
                  </a:lnTo>
                  <a:lnTo>
                    <a:pt x="130" y="94"/>
                  </a:lnTo>
                  <a:lnTo>
                    <a:pt x="128" y="94"/>
                  </a:lnTo>
                  <a:lnTo>
                    <a:pt x="128" y="93"/>
                  </a:lnTo>
                  <a:lnTo>
                    <a:pt x="127" y="93"/>
                  </a:lnTo>
                  <a:lnTo>
                    <a:pt x="126" y="92"/>
                  </a:lnTo>
                  <a:lnTo>
                    <a:pt x="126" y="93"/>
                  </a:lnTo>
                  <a:lnTo>
                    <a:pt x="125" y="93"/>
                  </a:lnTo>
                  <a:lnTo>
                    <a:pt x="124" y="92"/>
                  </a:lnTo>
                  <a:lnTo>
                    <a:pt x="125" y="92"/>
                  </a:lnTo>
                  <a:lnTo>
                    <a:pt x="126" y="92"/>
                  </a:lnTo>
                  <a:lnTo>
                    <a:pt x="127" y="91"/>
                  </a:lnTo>
                  <a:lnTo>
                    <a:pt x="126" y="90"/>
                  </a:lnTo>
                  <a:lnTo>
                    <a:pt x="124" y="90"/>
                  </a:lnTo>
                  <a:lnTo>
                    <a:pt x="123" y="90"/>
                  </a:lnTo>
                  <a:lnTo>
                    <a:pt x="123" y="91"/>
                  </a:lnTo>
                  <a:lnTo>
                    <a:pt x="123" y="90"/>
                  </a:lnTo>
                  <a:lnTo>
                    <a:pt x="120" y="88"/>
                  </a:lnTo>
                  <a:lnTo>
                    <a:pt x="121" y="88"/>
                  </a:lnTo>
                  <a:lnTo>
                    <a:pt x="124" y="88"/>
                  </a:lnTo>
                  <a:lnTo>
                    <a:pt x="125" y="90"/>
                  </a:lnTo>
                  <a:lnTo>
                    <a:pt x="126" y="90"/>
                  </a:lnTo>
                  <a:lnTo>
                    <a:pt x="127" y="90"/>
                  </a:lnTo>
                  <a:lnTo>
                    <a:pt x="128" y="90"/>
                  </a:lnTo>
                  <a:lnTo>
                    <a:pt x="130" y="90"/>
                  </a:lnTo>
                  <a:lnTo>
                    <a:pt x="131" y="90"/>
                  </a:lnTo>
                  <a:lnTo>
                    <a:pt x="132" y="90"/>
                  </a:lnTo>
                  <a:lnTo>
                    <a:pt x="132" y="88"/>
                  </a:lnTo>
                  <a:lnTo>
                    <a:pt x="133" y="88"/>
                  </a:lnTo>
                  <a:lnTo>
                    <a:pt x="133" y="87"/>
                  </a:lnTo>
                  <a:lnTo>
                    <a:pt x="134" y="87"/>
                  </a:lnTo>
                  <a:lnTo>
                    <a:pt x="133" y="87"/>
                  </a:lnTo>
                  <a:lnTo>
                    <a:pt x="132" y="88"/>
                  </a:lnTo>
                  <a:lnTo>
                    <a:pt x="131" y="88"/>
                  </a:lnTo>
                  <a:lnTo>
                    <a:pt x="130" y="88"/>
                  </a:lnTo>
                  <a:lnTo>
                    <a:pt x="130" y="87"/>
                  </a:lnTo>
                  <a:lnTo>
                    <a:pt x="130" y="88"/>
                  </a:lnTo>
                  <a:lnTo>
                    <a:pt x="128" y="88"/>
                  </a:lnTo>
                  <a:lnTo>
                    <a:pt x="127" y="87"/>
                  </a:lnTo>
                  <a:lnTo>
                    <a:pt x="126" y="87"/>
                  </a:lnTo>
                  <a:lnTo>
                    <a:pt x="126" y="86"/>
                  </a:lnTo>
                  <a:lnTo>
                    <a:pt x="125" y="86"/>
                  </a:lnTo>
                  <a:lnTo>
                    <a:pt x="125" y="85"/>
                  </a:lnTo>
                  <a:lnTo>
                    <a:pt x="125" y="84"/>
                  </a:lnTo>
                  <a:lnTo>
                    <a:pt x="126" y="84"/>
                  </a:lnTo>
                  <a:lnTo>
                    <a:pt x="126" y="83"/>
                  </a:lnTo>
                  <a:lnTo>
                    <a:pt x="125" y="83"/>
                  </a:lnTo>
                  <a:lnTo>
                    <a:pt x="125" y="81"/>
                  </a:lnTo>
                  <a:lnTo>
                    <a:pt x="124" y="81"/>
                  </a:lnTo>
                  <a:lnTo>
                    <a:pt x="124" y="80"/>
                  </a:lnTo>
                  <a:lnTo>
                    <a:pt x="123" y="79"/>
                  </a:lnTo>
                  <a:lnTo>
                    <a:pt x="121" y="78"/>
                  </a:lnTo>
                  <a:lnTo>
                    <a:pt x="121" y="79"/>
                  </a:lnTo>
                  <a:lnTo>
                    <a:pt x="123" y="79"/>
                  </a:lnTo>
                  <a:lnTo>
                    <a:pt x="123" y="80"/>
                  </a:lnTo>
                  <a:lnTo>
                    <a:pt x="124" y="80"/>
                  </a:lnTo>
                  <a:lnTo>
                    <a:pt x="124" y="81"/>
                  </a:lnTo>
                  <a:lnTo>
                    <a:pt x="125" y="81"/>
                  </a:lnTo>
                  <a:lnTo>
                    <a:pt x="124" y="83"/>
                  </a:lnTo>
                  <a:lnTo>
                    <a:pt x="125" y="83"/>
                  </a:lnTo>
                  <a:lnTo>
                    <a:pt x="125" y="84"/>
                  </a:lnTo>
                  <a:lnTo>
                    <a:pt x="124" y="84"/>
                  </a:lnTo>
                  <a:lnTo>
                    <a:pt x="124" y="85"/>
                  </a:lnTo>
                  <a:lnTo>
                    <a:pt x="125" y="86"/>
                  </a:lnTo>
                  <a:lnTo>
                    <a:pt x="125" y="87"/>
                  </a:lnTo>
                  <a:lnTo>
                    <a:pt x="124" y="87"/>
                  </a:lnTo>
                  <a:lnTo>
                    <a:pt x="123" y="87"/>
                  </a:lnTo>
                  <a:lnTo>
                    <a:pt x="121" y="87"/>
                  </a:lnTo>
                  <a:lnTo>
                    <a:pt x="120" y="87"/>
                  </a:lnTo>
                  <a:lnTo>
                    <a:pt x="120" y="86"/>
                  </a:lnTo>
                  <a:lnTo>
                    <a:pt x="120" y="85"/>
                  </a:lnTo>
                  <a:lnTo>
                    <a:pt x="121" y="85"/>
                  </a:lnTo>
                  <a:lnTo>
                    <a:pt x="120" y="84"/>
                  </a:lnTo>
                  <a:lnTo>
                    <a:pt x="120" y="85"/>
                  </a:lnTo>
                  <a:lnTo>
                    <a:pt x="120" y="86"/>
                  </a:lnTo>
                  <a:lnTo>
                    <a:pt x="119" y="86"/>
                  </a:lnTo>
                  <a:lnTo>
                    <a:pt x="119" y="85"/>
                  </a:lnTo>
                  <a:lnTo>
                    <a:pt x="119" y="86"/>
                  </a:lnTo>
                  <a:lnTo>
                    <a:pt x="120" y="86"/>
                  </a:lnTo>
                  <a:lnTo>
                    <a:pt x="119" y="86"/>
                  </a:lnTo>
                  <a:lnTo>
                    <a:pt x="119" y="87"/>
                  </a:lnTo>
                  <a:lnTo>
                    <a:pt x="118" y="87"/>
                  </a:lnTo>
                  <a:lnTo>
                    <a:pt x="117" y="87"/>
                  </a:lnTo>
                  <a:lnTo>
                    <a:pt x="116" y="87"/>
                  </a:lnTo>
                  <a:lnTo>
                    <a:pt x="114" y="87"/>
                  </a:lnTo>
                  <a:lnTo>
                    <a:pt x="113" y="87"/>
                  </a:lnTo>
                  <a:lnTo>
                    <a:pt x="113" y="88"/>
                  </a:lnTo>
                  <a:lnTo>
                    <a:pt x="112" y="88"/>
                  </a:lnTo>
                  <a:lnTo>
                    <a:pt x="111" y="88"/>
                  </a:lnTo>
                  <a:lnTo>
                    <a:pt x="111" y="90"/>
                  </a:lnTo>
                  <a:lnTo>
                    <a:pt x="112" y="90"/>
                  </a:lnTo>
                  <a:lnTo>
                    <a:pt x="112" y="91"/>
                  </a:lnTo>
                  <a:lnTo>
                    <a:pt x="111" y="92"/>
                  </a:lnTo>
                  <a:lnTo>
                    <a:pt x="110" y="92"/>
                  </a:lnTo>
                  <a:lnTo>
                    <a:pt x="111" y="92"/>
                  </a:lnTo>
                  <a:lnTo>
                    <a:pt x="111" y="93"/>
                  </a:lnTo>
                  <a:lnTo>
                    <a:pt x="110" y="94"/>
                  </a:lnTo>
                  <a:lnTo>
                    <a:pt x="110" y="95"/>
                  </a:lnTo>
                  <a:lnTo>
                    <a:pt x="109" y="95"/>
                  </a:lnTo>
                  <a:lnTo>
                    <a:pt x="107" y="97"/>
                  </a:lnTo>
                  <a:lnTo>
                    <a:pt x="106" y="99"/>
                  </a:lnTo>
                  <a:lnTo>
                    <a:pt x="105" y="100"/>
                  </a:lnTo>
                  <a:lnTo>
                    <a:pt x="105" y="99"/>
                  </a:lnTo>
                  <a:lnTo>
                    <a:pt x="104" y="99"/>
                  </a:lnTo>
                  <a:lnTo>
                    <a:pt x="104" y="100"/>
                  </a:lnTo>
                  <a:lnTo>
                    <a:pt x="103" y="100"/>
                  </a:lnTo>
                  <a:lnTo>
                    <a:pt x="103" y="101"/>
                  </a:lnTo>
                  <a:lnTo>
                    <a:pt x="103" y="100"/>
                  </a:lnTo>
                  <a:lnTo>
                    <a:pt x="103" y="101"/>
                  </a:lnTo>
                  <a:lnTo>
                    <a:pt x="102" y="101"/>
                  </a:lnTo>
                  <a:lnTo>
                    <a:pt x="100" y="101"/>
                  </a:lnTo>
                  <a:lnTo>
                    <a:pt x="102" y="101"/>
                  </a:lnTo>
                  <a:lnTo>
                    <a:pt x="102" y="102"/>
                  </a:lnTo>
                  <a:lnTo>
                    <a:pt x="100" y="102"/>
                  </a:lnTo>
                  <a:lnTo>
                    <a:pt x="102" y="102"/>
                  </a:lnTo>
                  <a:lnTo>
                    <a:pt x="100" y="102"/>
                  </a:lnTo>
                  <a:lnTo>
                    <a:pt x="100" y="104"/>
                  </a:lnTo>
                  <a:lnTo>
                    <a:pt x="100" y="102"/>
                  </a:lnTo>
                  <a:lnTo>
                    <a:pt x="99" y="102"/>
                  </a:lnTo>
                  <a:lnTo>
                    <a:pt x="99" y="101"/>
                  </a:lnTo>
                  <a:lnTo>
                    <a:pt x="99" y="100"/>
                  </a:lnTo>
                  <a:lnTo>
                    <a:pt x="98" y="100"/>
                  </a:lnTo>
                  <a:lnTo>
                    <a:pt x="99" y="100"/>
                  </a:lnTo>
                  <a:lnTo>
                    <a:pt x="99" y="101"/>
                  </a:lnTo>
                  <a:lnTo>
                    <a:pt x="98" y="102"/>
                  </a:lnTo>
                  <a:lnTo>
                    <a:pt x="99" y="104"/>
                  </a:lnTo>
                  <a:lnTo>
                    <a:pt x="99" y="105"/>
                  </a:lnTo>
                  <a:lnTo>
                    <a:pt x="99" y="104"/>
                  </a:lnTo>
                  <a:lnTo>
                    <a:pt x="100" y="104"/>
                  </a:lnTo>
                  <a:lnTo>
                    <a:pt x="99" y="105"/>
                  </a:lnTo>
                  <a:lnTo>
                    <a:pt x="99" y="106"/>
                  </a:lnTo>
                  <a:lnTo>
                    <a:pt x="99" y="105"/>
                  </a:lnTo>
                  <a:lnTo>
                    <a:pt x="100" y="105"/>
                  </a:lnTo>
                  <a:lnTo>
                    <a:pt x="100" y="106"/>
                  </a:lnTo>
                  <a:lnTo>
                    <a:pt x="100" y="105"/>
                  </a:lnTo>
                  <a:lnTo>
                    <a:pt x="100" y="106"/>
                  </a:lnTo>
                  <a:lnTo>
                    <a:pt x="102" y="106"/>
                  </a:lnTo>
                  <a:lnTo>
                    <a:pt x="100" y="106"/>
                  </a:lnTo>
                  <a:lnTo>
                    <a:pt x="102" y="107"/>
                  </a:lnTo>
                  <a:lnTo>
                    <a:pt x="102" y="108"/>
                  </a:lnTo>
                  <a:lnTo>
                    <a:pt x="102" y="109"/>
                  </a:lnTo>
                  <a:lnTo>
                    <a:pt x="100" y="109"/>
                  </a:lnTo>
                  <a:lnTo>
                    <a:pt x="100" y="108"/>
                  </a:lnTo>
                  <a:lnTo>
                    <a:pt x="100" y="107"/>
                  </a:lnTo>
                  <a:lnTo>
                    <a:pt x="99" y="107"/>
                  </a:lnTo>
                  <a:lnTo>
                    <a:pt x="97" y="106"/>
                  </a:lnTo>
                  <a:lnTo>
                    <a:pt x="96" y="106"/>
                  </a:lnTo>
                  <a:lnTo>
                    <a:pt x="95" y="106"/>
                  </a:lnTo>
                  <a:lnTo>
                    <a:pt x="93" y="106"/>
                  </a:lnTo>
                  <a:lnTo>
                    <a:pt x="93" y="107"/>
                  </a:lnTo>
                  <a:lnTo>
                    <a:pt x="92" y="107"/>
                  </a:lnTo>
                  <a:lnTo>
                    <a:pt x="91" y="107"/>
                  </a:lnTo>
                  <a:lnTo>
                    <a:pt x="91" y="108"/>
                  </a:lnTo>
                  <a:lnTo>
                    <a:pt x="90" y="108"/>
                  </a:lnTo>
                  <a:lnTo>
                    <a:pt x="90" y="107"/>
                  </a:lnTo>
                  <a:lnTo>
                    <a:pt x="89" y="107"/>
                  </a:lnTo>
                  <a:lnTo>
                    <a:pt x="89" y="108"/>
                  </a:lnTo>
                  <a:lnTo>
                    <a:pt x="90" y="109"/>
                  </a:lnTo>
                  <a:lnTo>
                    <a:pt x="89" y="109"/>
                  </a:lnTo>
                  <a:lnTo>
                    <a:pt x="86" y="108"/>
                  </a:lnTo>
                  <a:lnTo>
                    <a:pt x="85" y="108"/>
                  </a:lnTo>
                  <a:lnTo>
                    <a:pt x="84" y="108"/>
                  </a:lnTo>
                  <a:lnTo>
                    <a:pt x="83" y="107"/>
                  </a:lnTo>
                  <a:lnTo>
                    <a:pt x="83" y="106"/>
                  </a:lnTo>
                  <a:lnTo>
                    <a:pt x="82" y="106"/>
                  </a:lnTo>
                  <a:lnTo>
                    <a:pt x="82" y="105"/>
                  </a:lnTo>
                  <a:lnTo>
                    <a:pt x="83" y="105"/>
                  </a:lnTo>
                  <a:lnTo>
                    <a:pt x="84" y="105"/>
                  </a:lnTo>
                  <a:lnTo>
                    <a:pt x="85" y="105"/>
                  </a:lnTo>
                  <a:lnTo>
                    <a:pt x="85" y="104"/>
                  </a:lnTo>
                  <a:lnTo>
                    <a:pt x="85" y="102"/>
                  </a:lnTo>
                  <a:lnTo>
                    <a:pt x="84" y="102"/>
                  </a:lnTo>
                  <a:lnTo>
                    <a:pt x="85" y="102"/>
                  </a:lnTo>
                  <a:lnTo>
                    <a:pt x="85" y="101"/>
                  </a:lnTo>
                  <a:lnTo>
                    <a:pt x="86" y="101"/>
                  </a:lnTo>
                  <a:lnTo>
                    <a:pt x="86" y="100"/>
                  </a:lnTo>
                  <a:lnTo>
                    <a:pt x="88" y="100"/>
                  </a:lnTo>
                  <a:lnTo>
                    <a:pt x="88" y="99"/>
                  </a:lnTo>
                  <a:lnTo>
                    <a:pt x="88" y="98"/>
                  </a:lnTo>
                  <a:lnTo>
                    <a:pt x="90" y="98"/>
                  </a:lnTo>
                  <a:lnTo>
                    <a:pt x="90" y="97"/>
                  </a:lnTo>
                  <a:lnTo>
                    <a:pt x="90" y="95"/>
                  </a:lnTo>
                  <a:lnTo>
                    <a:pt x="90" y="94"/>
                  </a:lnTo>
                  <a:lnTo>
                    <a:pt x="89" y="93"/>
                  </a:lnTo>
                  <a:lnTo>
                    <a:pt x="89" y="92"/>
                  </a:lnTo>
                  <a:lnTo>
                    <a:pt x="89" y="91"/>
                  </a:lnTo>
                  <a:lnTo>
                    <a:pt x="89" y="90"/>
                  </a:lnTo>
                  <a:lnTo>
                    <a:pt x="90" y="90"/>
                  </a:lnTo>
                  <a:lnTo>
                    <a:pt x="91" y="88"/>
                  </a:lnTo>
                  <a:lnTo>
                    <a:pt x="92" y="90"/>
                  </a:lnTo>
                  <a:lnTo>
                    <a:pt x="92" y="91"/>
                  </a:lnTo>
                  <a:lnTo>
                    <a:pt x="92" y="92"/>
                  </a:lnTo>
                  <a:lnTo>
                    <a:pt x="92" y="91"/>
                  </a:lnTo>
                  <a:lnTo>
                    <a:pt x="93" y="91"/>
                  </a:lnTo>
                  <a:lnTo>
                    <a:pt x="93" y="90"/>
                  </a:lnTo>
                  <a:lnTo>
                    <a:pt x="93" y="91"/>
                  </a:lnTo>
                  <a:lnTo>
                    <a:pt x="95" y="91"/>
                  </a:lnTo>
                  <a:lnTo>
                    <a:pt x="95" y="90"/>
                  </a:lnTo>
                  <a:lnTo>
                    <a:pt x="96" y="90"/>
                  </a:lnTo>
                  <a:lnTo>
                    <a:pt x="96" y="91"/>
                  </a:lnTo>
                  <a:lnTo>
                    <a:pt x="97" y="91"/>
                  </a:lnTo>
                  <a:lnTo>
                    <a:pt x="97" y="92"/>
                  </a:lnTo>
                  <a:lnTo>
                    <a:pt x="98" y="91"/>
                  </a:lnTo>
                  <a:lnTo>
                    <a:pt x="97" y="91"/>
                  </a:lnTo>
                  <a:lnTo>
                    <a:pt x="98" y="91"/>
                  </a:lnTo>
                  <a:lnTo>
                    <a:pt x="98" y="90"/>
                  </a:lnTo>
                  <a:lnTo>
                    <a:pt x="99" y="91"/>
                  </a:lnTo>
                  <a:lnTo>
                    <a:pt x="99" y="92"/>
                  </a:lnTo>
                  <a:lnTo>
                    <a:pt x="100" y="92"/>
                  </a:lnTo>
                  <a:lnTo>
                    <a:pt x="103" y="92"/>
                  </a:lnTo>
                  <a:lnTo>
                    <a:pt x="103" y="91"/>
                  </a:lnTo>
                  <a:lnTo>
                    <a:pt x="104" y="91"/>
                  </a:lnTo>
                  <a:lnTo>
                    <a:pt x="103" y="91"/>
                  </a:lnTo>
                  <a:lnTo>
                    <a:pt x="102" y="90"/>
                  </a:lnTo>
                  <a:lnTo>
                    <a:pt x="100" y="90"/>
                  </a:lnTo>
                  <a:lnTo>
                    <a:pt x="100" y="88"/>
                  </a:lnTo>
                  <a:lnTo>
                    <a:pt x="100" y="87"/>
                  </a:lnTo>
                  <a:lnTo>
                    <a:pt x="100" y="86"/>
                  </a:lnTo>
                  <a:lnTo>
                    <a:pt x="100" y="85"/>
                  </a:lnTo>
                  <a:lnTo>
                    <a:pt x="99" y="85"/>
                  </a:lnTo>
                  <a:lnTo>
                    <a:pt x="99" y="84"/>
                  </a:lnTo>
                  <a:lnTo>
                    <a:pt x="98" y="84"/>
                  </a:lnTo>
                  <a:lnTo>
                    <a:pt x="97" y="84"/>
                  </a:lnTo>
                  <a:lnTo>
                    <a:pt x="97" y="83"/>
                  </a:lnTo>
                  <a:lnTo>
                    <a:pt x="96" y="83"/>
                  </a:lnTo>
                  <a:lnTo>
                    <a:pt x="95" y="83"/>
                  </a:lnTo>
                  <a:lnTo>
                    <a:pt x="96" y="83"/>
                  </a:lnTo>
                  <a:lnTo>
                    <a:pt x="96" y="81"/>
                  </a:lnTo>
                  <a:lnTo>
                    <a:pt x="96" y="80"/>
                  </a:lnTo>
                  <a:lnTo>
                    <a:pt x="95" y="80"/>
                  </a:lnTo>
                  <a:lnTo>
                    <a:pt x="93" y="80"/>
                  </a:lnTo>
                  <a:lnTo>
                    <a:pt x="95" y="80"/>
                  </a:lnTo>
                  <a:lnTo>
                    <a:pt x="95" y="79"/>
                  </a:lnTo>
                  <a:lnTo>
                    <a:pt x="95" y="78"/>
                  </a:lnTo>
                  <a:lnTo>
                    <a:pt x="95" y="77"/>
                  </a:lnTo>
                  <a:lnTo>
                    <a:pt x="93" y="77"/>
                  </a:lnTo>
                  <a:lnTo>
                    <a:pt x="92" y="78"/>
                  </a:lnTo>
                  <a:lnTo>
                    <a:pt x="92" y="77"/>
                  </a:lnTo>
                  <a:lnTo>
                    <a:pt x="91" y="76"/>
                  </a:lnTo>
                  <a:lnTo>
                    <a:pt x="90" y="76"/>
                  </a:lnTo>
                  <a:lnTo>
                    <a:pt x="90" y="74"/>
                  </a:lnTo>
                  <a:lnTo>
                    <a:pt x="89" y="74"/>
                  </a:lnTo>
                  <a:lnTo>
                    <a:pt x="89" y="73"/>
                  </a:lnTo>
                  <a:lnTo>
                    <a:pt x="89" y="72"/>
                  </a:lnTo>
                  <a:lnTo>
                    <a:pt x="89" y="71"/>
                  </a:lnTo>
                  <a:lnTo>
                    <a:pt x="89" y="70"/>
                  </a:lnTo>
                  <a:lnTo>
                    <a:pt x="90" y="70"/>
                  </a:lnTo>
                  <a:lnTo>
                    <a:pt x="89" y="70"/>
                  </a:lnTo>
                  <a:lnTo>
                    <a:pt x="89" y="69"/>
                  </a:lnTo>
                  <a:lnTo>
                    <a:pt x="89" y="67"/>
                  </a:lnTo>
                  <a:lnTo>
                    <a:pt x="88" y="67"/>
                  </a:lnTo>
                  <a:lnTo>
                    <a:pt x="88" y="66"/>
                  </a:lnTo>
                  <a:lnTo>
                    <a:pt x="86" y="66"/>
                  </a:lnTo>
                  <a:lnTo>
                    <a:pt x="86" y="67"/>
                  </a:lnTo>
                  <a:lnTo>
                    <a:pt x="85" y="67"/>
                  </a:lnTo>
                  <a:lnTo>
                    <a:pt x="84" y="66"/>
                  </a:lnTo>
                  <a:lnTo>
                    <a:pt x="84" y="65"/>
                  </a:lnTo>
                  <a:lnTo>
                    <a:pt x="83" y="65"/>
                  </a:lnTo>
                  <a:lnTo>
                    <a:pt x="83" y="64"/>
                  </a:lnTo>
                  <a:lnTo>
                    <a:pt x="82" y="64"/>
                  </a:lnTo>
                  <a:lnTo>
                    <a:pt x="81" y="64"/>
                  </a:lnTo>
                  <a:lnTo>
                    <a:pt x="80" y="64"/>
                  </a:lnTo>
                  <a:lnTo>
                    <a:pt x="80" y="65"/>
                  </a:lnTo>
                  <a:lnTo>
                    <a:pt x="78" y="64"/>
                  </a:lnTo>
                  <a:lnTo>
                    <a:pt x="77" y="64"/>
                  </a:lnTo>
                  <a:lnTo>
                    <a:pt x="77" y="63"/>
                  </a:lnTo>
                  <a:lnTo>
                    <a:pt x="76" y="63"/>
                  </a:lnTo>
                  <a:lnTo>
                    <a:pt x="75" y="63"/>
                  </a:lnTo>
                  <a:lnTo>
                    <a:pt x="74" y="63"/>
                  </a:lnTo>
                  <a:lnTo>
                    <a:pt x="74" y="62"/>
                  </a:lnTo>
                  <a:lnTo>
                    <a:pt x="73" y="62"/>
                  </a:lnTo>
                  <a:lnTo>
                    <a:pt x="73" y="60"/>
                  </a:lnTo>
                  <a:lnTo>
                    <a:pt x="71" y="60"/>
                  </a:lnTo>
                  <a:lnTo>
                    <a:pt x="70" y="59"/>
                  </a:lnTo>
                  <a:lnTo>
                    <a:pt x="69" y="59"/>
                  </a:lnTo>
                  <a:lnTo>
                    <a:pt x="68" y="59"/>
                  </a:lnTo>
                  <a:lnTo>
                    <a:pt x="67" y="59"/>
                  </a:lnTo>
                  <a:lnTo>
                    <a:pt x="66" y="59"/>
                  </a:lnTo>
                  <a:lnTo>
                    <a:pt x="66" y="60"/>
                  </a:lnTo>
                  <a:lnTo>
                    <a:pt x="66" y="59"/>
                  </a:lnTo>
                  <a:lnTo>
                    <a:pt x="64" y="59"/>
                  </a:lnTo>
                  <a:lnTo>
                    <a:pt x="63" y="60"/>
                  </a:lnTo>
                  <a:lnTo>
                    <a:pt x="61" y="60"/>
                  </a:lnTo>
                  <a:lnTo>
                    <a:pt x="60" y="60"/>
                  </a:lnTo>
                  <a:lnTo>
                    <a:pt x="59" y="60"/>
                  </a:lnTo>
                  <a:lnTo>
                    <a:pt x="57" y="60"/>
                  </a:lnTo>
                  <a:lnTo>
                    <a:pt x="59" y="60"/>
                  </a:lnTo>
                  <a:lnTo>
                    <a:pt x="59" y="62"/>
                  </a:lnTo>
                  <a:lnTo>
                    <a:pt x="57" y="62"/>
                  </a:lnTo>
                  <a:lnTo>
                    <a:pt x="56" y="62"/>
                  </a:lnTo>
                  <a:lnTo>
                    <a:pt x="56" y="63"/>
                  </a:lnTo>
                  <a:lnTo>
                    <a:pt x="54" y="63"/>
                  </a:lnTo>
                  <a:lnTo>
                    <a:pt x="53" y="63"/>
                  </a:lnTo>
                  <a:lnTo>
                    <a:pt x="53" y="64"/>
                  </a:lnTo>
                  <a:lnTo>
                    <a:pt x="53" y="65"/>
                  </a:lnTo>
                  <a:lnTo>
                    <a:pt x="52" y="65"/>
                  </a:lnTo>
                  <a:lnTo>
                    <a:pt x="52" y="66"/>
                  </a:lnTo>
                  <a:lnTo>
                    <a:pt x="50" y="66"/>
                  </a:lnTo>
                  <a:lnTo>
                    <a:pt x="49" y="66"/>
                  </a:lnTo>
                  <a:lnTo>
                    <a:pt x="48" y="66"/>
                  </a:lnTo>
                  <a:lnTo>
                    <a:pt x="48" y="67"/>
                  </a:lnTo>
                  <a:lnTo>
                    <a:pt x="47" y="67"/>
                  </a:lnTo>
                  <a:lnTo>
                    <a:pt x="46" y="67"/>
                  </a:lnTo>
                  <a:lnTo>
                    <a:pt x="40" y="67"/>
                  </a:lnTo>
                  <a:lnTo>
                    <a:pt x="40" y="69"/>
                  </a:lnTo>
                  <a:lnTo>
                    <a:pt x="39" y="70"/>
                  </a:lnTo>
                  <a:lnTo>
                    <a:pt x="38" y="71"/>
                  </a:lnTo>
                  <a:lnTo>
                    <a:pt x="36" y="71"/>
                  </a:lnTo>
                  <a:lnTo>
                    <a:pt x="35" y="70"/>
                  </a:lnTo>
                  <a:lnTo>
                    <a:pt x="34" y="70"/>
                  </a:lnTo>
                  <a:lnTo>
                    <a:pt x="34" y="69"/>
                  </a:lnTo>
                  <a:lnTo>
                    <a:pt x="33" y="69"/>
                  </a:lnTo>
                  <a:lnTo>
                    <a:pt x="33" y="67"/>
                  </a:lnTo>
                  <a:lnTo>
                    <a:pt x="32" y="67"/>
                  </a:lnTo>
                  <a:lnTo>
                    <a:pt x="31" y="67"/>
                  </a:lnTo>
                  <a:lnTo>
                    <a:pt x="29" y="67"/>
                  </a:lnTo>
                  <a:lnTo>
                    <a:pt x="28" y="67"/>
                  </a:lnTo>
                  <a:lnTo>
                    <a:pt x="27" y="67"/>
                  </a:lnTo>
                  <a:lnTo>
                    <a:pt x="26" y="67"/>
                  </a:lnTo>
                  <a:lnTo>
                    <a:pt x="25" y="67"/>
                  </a:lnTo>
                  <a:lnTo>
                    <a:pt x="25" y="66"/>
                  </a:lnTo>
                  <a:lnTo>
                    <a:pt x="24" y="67"/>
                  </a:lnTo>
                  <a:lnTo>
                    <a:pt x="22" y="67"/>
                  </a:lnTo>
                  <a:lnTo>
                    <a:pt x="22" y="66"/>
                  </a:lnTo>
                  <a:lnTo>
                    <a:pt x="21" y="66"/>
                  </a:lnTo>
                  <a:lnTo>
                    <a:pt x="20" y="66"/>
                  </a:lnTo>
                  <a:lnTo>
                    <a:pt x="19" y="66"/>
                  </a:lnTo>
                  <a:lnTo>
                    <a:pt x="18" y="66"/>
                  </a:lnTo>
                  <a:lnTo>
                    <a:pt x="17" y="66"/>
                  </a:lnTo>
                  <a:lnTo>
                    <a:pt x="16" y="65"/>
                  </a:lnTo>
                  <a:lnTo>
                    <a:pt x="14" y="65"/>
                  </a:lnTo>
                  <a:lnTo>
                    <a:pt x="13" y="65"/>
                  </a:lnTo>
                  <a:lnTo>
                    <a:pt x="13" y="66"/>
                  </a:lnTo>
                  <a:lnTo>
                    <a:pt x="12" y="66"/>
                  </a:lnTo>
                  <a:lnTo>
                    <a:pt x="11" y="66"/>
                  </a:lnTo>
                  <a:lnTo>
                    <a:pt x="11" y="67"/>
                  </a:lnTo>
                  <a:lnTo>
                    <a:pt x="11" y="66"/>
                  </a:lnTo>
                  <a:lnTo>
                    <a:pt x="11" y="65"/>
                  </a:lnTo>
                  <a:lnTo>
                    <a:pt x="10" y="65"/>
                  </a:lnTo>
                  <a:lnTo>
                    <a:pt x="9" y="64"/>
                  </a:lnTo>
                  <a:lnTo>
                    <a:pt x="9" y="65"/>
                  </a:lnTo>
                  <a:lnTo>
                    <a:pt x="7" y="65"/>
                  </a:lnTo>
                  <a:lnTo>
                    <a:pt x="7" y="64"/>
                  </a:lnTo>
                  <a:lnTo>
                    <a:pt x="6" y="64"/>
                  </a:lnTo>
                  <a:lnTo>
                    <a:pt x="5" y="63"/>
                  </a:lnTo>
                  <a:lnTo>
                    <a:pt x="4" y="63"/>
                  </a:lnTo>
                  <a:lnTo>
                    <a:pt x="4" y="62"/>
                  </a:lnTo>
                  <a:lnTo>
                    <a:pt x="3" y="62"/>
                  </a:lnTo>
                  <a:lnTo>
                    <a:pt x="3" y="60"/>
                  </a:lnTo>
                  <a:lnTo>
                    <a:pt x="3" y="59"/>
                  </a:lnTo>
                  <a:lnTo>
                    <a:pt x="2" y="59"/>
                  </a:lnTo>
                  <a:lnTo>
                    <a:pt x="2" y="60"/>
                  </a:lnTo>
                  <a:lnTo>
                    <a:pt x="0" y="60"/>
                  </a:lnTo>
                  <a:lnTo>
                    <a:pt x="0" y="59"/>
                  </a:lnTo>
                  <a:lnTo>
                    <a:pt x="0" y="58"/>
                  </a:lnTo>
                  <a:lnTo>
                    <a:pt x="0" y="57"/>
                  </a:lnTo>
                  <a:lnTo>
                    <a:pt x="2" y="57"/>
                  </a:lnTo>
                  <a:lnTo>
                    <a:pt x="2" y="56"/>
                  </a:lnTo>
                  <a:lnTo>
                    <a:pt x="3" y="56"/>
                  </a:lnTo>
                  <a:lnTo>
                    <a:pt x="3" y="55"/>
                  </a:lnTo>
                  <a:lnTo>
                    <a:pt x="3" y="53"/>
                  </a:lnTo>
                  <a:lnTo>
                    <a:pt x="4" y="52"/>
                  </a:lnTo>
                  <a:lnTo>
                    <a:pt x="4" y="51"/>
                  </a:lnTo>
                  <a:lnTo>
                    <a:pt x="5" y="51"/>
                  </a:lnTo>
                  <a:lnTo>
                    <a:pt x="5" y="50"/>
                  </a:lnTo>
                  <a:lnTo>
                    <a:pt x="6" y="50"/>
                  </a:lnTo>
                  <a:lnTo>
                    <a:pt x="7" y="50"/>
                  </a:lnTo>
                  <a:lnTo>
                    <a:pt x="9" y="51"/>
                  </a:lnTo>
                  <a:lnTo>
                    <a:pt x="9" y="50"/>
                  </a:lnTo>
                  <a:lnTo>
                    <a:pt x="9" y="49"/>
                  </a:lnTo>
                  <a:lnTo>
                    <a:pt x="7" y="49"/>
                  </a:lnTo>
                  <a:lnTo>
                    <a:pt x="6" y="49"/>
                  </a:lnTo>
                  <a:lnTo>
                    <a:pt x="6" y="48"/>
                  </a:lnTo>
                  <a:lnTo>
                    <a:pt x="6" y="46"/>
                  </a:lnTo>
                  <a:lnTo>
                    <a:pt x="6" y="45"/>
                  </a:lnTo>
                  <a:lnTo>
                    <a:pt x="6" y="44"/>
                  </a:lnTo>
                  <a:lnTo>
                    <a:pt x="5" y="43"/>
                  </a:lnTo>
                  <a:lnTo>
                    <a:pt x="5" y="42"/>
                  </a:lnTo>
                  <a:lnTo>
                    <a:pt x="6" y="41"/>
                  </a:lnTo>
                  <a:lnTo>
                    <a:pt x="7" y="41"/>
                  </a:lnTo>
                  <a:lnTo>
                    <a:pt x="7" y="39"/>
                  </a:lnTo>
                  <a:lnTo>
                    <a:pt x="7" y="38"/>
                  </a:lnTo>
                  <a:lnTo>
                    <a:pt x="9" y="38"/>
                  </a:lnTo>
                  <a:lnTo>
                    <a:pt x="9" y="37"/>
                  </a:lnTo>
                  <a:lnTo>
                    <a:pt x="10" y="36"/>
                  </a:lnTo>
                  <a:lnTo>
                    <a:pt x="11" y="36"/>
                  </a:lnTo>
                  <a:lnTo>
                    <a:pt x="11" y="35"/>
                  </a:lnTo>
                  <a:lnTo>
                    <a:pt x="13" y="32"/>
                  </a:lnTo>
                  <a:lnTo>
                    <a:pt x="14" y="32"/>
                  </a:lnTo>
                  <a:lnTo>
                    <a:pt x="14" y="31"/>
                  </a:lnTo>
                  <a:lnTo>
                    <a:pt x="16" y="30"/>
                  </a:lnTo>
                  <a:lnTo>
                    <a:pt x="17" y="30"/>
                  </a:lnTo>
                  <a:lnTo>
                    <a:pt x="17" y="29"/>
                  </a:lnTo>
                  <a:lnTo>
                    <a:pt x="19" y="29"/>
                  </a:lnTo>
                  <a:lnTo>
                    <a:pt x="20" y="29"/>
                  </a:lnTo>
                  <a:lnTo>
                    <a:pt x="20" y="28"/>
                  </a:lnTo>
                  <a:lnTo>
                    <a:pt x="21" y="28"/>
                  </a:lnTo>
                  <a:lnTo>
                    <a:pt x="21" y="27"/>
                  </a:lnTo>
                  <a:lnTo>
                    <a:pt x="20" y="27"/>
                  </a:lnTo>
                  <a:lnTo>
                    <a:pt x="20" y="25"/>
                  </a:lnTo>
                  <a:lnTo>
                    <a:pt x="20" y="24"/>
                  </a:lnTo>
                  <a:lnTo>
                    <a:pt x="19" y="24"/>
                  </a:lnTo>
                  <a:lnTo>
                    <a:pt x="19" y="23"/>
                  </a:lnTo>
                  <a:lnTo>
                    <a:pt x="20" y="23"/>
                  </a:lnTo>
                  <a:lnTo>
                    <a:pt x="20" y="22"/>
                  </a:lnTo>
                  <a:lnTo>
                    <a:pt x="19" y="22"/>
                  </a:lnTo>
                  <a:lnTo>
                    <a:pt x="19" y="21"/>
                  </a:lnTo>
                  <a:lnTo>
                    <a:pt x="18" y="21"/>
                  </a:lnTo>
                  <a:lnTo>
                    <a:pt x="18" y="20"/>
                  </a:lnTo>
                  <a:lnTo>
                    <a:pt x="17" y="20"/>
                  </a:lnTo>
                  <a:lnTo>
                    <a:pt x="17" y="18"/>
                  </a:lnTo>
                  <a:lnTo>
                    <a:pt x="16" y="17"/>
                  </a:lnTo>
                  <a:lnTo>
                    <a:pt x="14" y="16"/>
                  </a:lnTo>
                  <a:lnTo>
                    <a:pt x="13" y="16"/>
                  </a:lnTo>
                  <a:lnTo>
                    <a:pt x="13" y="15"/>
                  </a:lnTo>
                  <a:lnTo>
                    <a:pt x="14" y="15"/>
                  </a:lnTo>
                  <a:lnTo>
                    <a:pt x="14" y="14"/>
                  </a:lnTo>
                  <a:lnTo>
                    <a:pt x="13" y="14"/>
                  </a:lnTo>
                  <a:lnTo>
                    <a:pt x="13" y="13"/>
                  </a:lnTo>
                  <a:lnTo>
                    <a:pt x="13" y="11"/>
                  </a:lnTo>
                  <a:lnTo>
                    <a:pt x="12" y="11"/>
                  </a:lnTo>
                  <a:lnTo>
                    <a:pt x="12" y="10"/>
                  </a:lnTo>
                  <a:lnTo>
                    <a:pt x="13" y="10"/>
                  </a:lnTo>
                  <a:lnTo>
                    <a:pt x="14" y="10"/>
                  </a:lnTo>
                  <a:lnTo>
                    <a:pt x="16" y="10"/>
                  </a:lnTo>
                  <a:lnTo>
                    <a:pt x="17" y="11"/>
                  </a:lnTo>
                  <a:lnTo>
                    <a:pt x="19" y="10"/>
                  </a:lnTo>
                  <a:lnTo>
                    <a:pt x="20" y="9"/>
                  </a:lnTo>
                  <a:lnTo>
                    <a:pt x="20" y="8"/>
                  </a:lnTo>
                  <a:lnTo>
                    <a:pt x="21" y="7"/>
                  </a:lnTo>
                  <a:lnTo>
                    <a:pt x="25" y="7"/>
                  </a:lnTo>
                  <a:lnTo>
                    <a:pt x="28" y="7"/>
                  </a:lnTo>
                  <a:lnTo>
                    <a:pt x="29" y="6"/>
                  </a:lnTo>
                  <a:lnTo>
                    <a:pt x="31" y="6"/>
                  </a:lnTo>
                  <a:lnTo>
                    <a:pt x="33" y="6"/>
                  </a:lnTo>
                  <a:lnTo>
                    <a:pt x="35" y="7"/>
                  </a:lnTo>
                  <a:lnTo>
                    <a:pt x="36" y="7"/>
                  </a:lnTo>
                  <a:lnTo>
                    <a:pt x="38" y="6"/>
                  </a:lnTo>
                  <a:lnTo>
                    <a:pt x="40" y="7"/>
                  </a:lnTo>
                  <a:lnTo>
                    <a:pt x="41" y="7"/>
                  </a:lnTo>
                  <a:lnTo>
                    <a:pt x="42" y="7"/>
                  </a:lnTo>
                  <a:lnTo>
                    <a:pt x="46" y="7"/>
                  </a:lnTo>
                  <a:lnTo>
                    <a:pt x="46" y="8"/>
                  </a:lnTo>
                  <a:lnTo>
                    <a:pt x="49" y="8"/>
                  </a:lnTo>
                  <a:lnTo>
                    <a:pt x="52" y="9"/>
                  </a:lnTo>
                  <a:lnTo>
                    <a:pt x="53" y="9"/>
                  </a:lnTo>
                  <a:lnTo>
                    <a:pt x="54" y="9"/>
                  </a:lnTo>
                  <a:lnTo>
                    <a:pt x="55" y="9"/>
                  </a:lnTo>
                  <a:lnTo>
                    <a:pt x="55" y="10"/>
                  </a:lnTo>
                  <a:lnTo>
                    <a:pt x="56" y="10"/>
                  </a:lnTo>
                  <a:lnTo>
                    <a:pt x="56" y="11"/>
                  </a:lnTo>
                  <a:lnTo>
                    <a:pt x="57" y="11"/>
                  </a:lnTo>
                  <a:lnTo>
                    <a:pt x="59" y="11"/>
                  </a:lnTo>
                  <a:lnTo>
                    <a:pt x="59" y="10"/>
                  </a:lnTo>
                  <a:lnTo>
                    <a:pt x="60" y="10"/>
                  </a:lnTo>
                  <a:lnTo>
                    <a:pt x="61" y="11"/>
                  </a:lnTo>
                  <a:lnTo>
                    <a:pt x="62" y="11"/>
                  </a:lnTo>
                  <a:lnTo>
                    <a:pt x="61" y="13"/>
                  </a:lnTo>
                  <a:lnTo>
                    <a:pt x="62" y="13"/>
                  </a:lnTo>
                  <a:lnTo>
                    <a:pt x="63" y="13"/>
                  </a:lnTo>
                  <a:lnTo>
                    <a:pt x="63" y="11"/>
                  </a:lnTo>
                  <a:lnTo>
                    <a:pt x="63" y="10"/>
                  </a:lnTo>
                  <a:lnTo>
                    <a:pt x="63" y="11"/>
                  </a:lnTo>
                  <a:lnTo>
                    <a:pt x="64" y="11"/>
                  </a:lnTo>
                  <a:lnTo>
                    <a:pt x="66" y="11"/>
                  </a:lnTo>
                  <a:lnTo>
                    <a:pt x="67" y="11"/>
                  </a:lnTo>
                  <a:lnTo>
                    <a:pt x="67" y="10"/>
                  </a:lnTo>
                  <a:lnTo>
                    <a:pt x="68" y="10"/>
                  </a:lnTo>
                  <a:lnTo>
                    <a:pt x="68" y="11"/>
                  </a:lnTo>
                  <a:lnTo>
                    <a:pt x="69" y="11"/>
                  </a:lnTo>
                  <a:lnTo>
                    <a:pt x="69" y="13"/>
                  </a:lnTo>
                  <a:lnTo>
                    <a:pt x="70" y="13"/>
                  </a:lnTo>
                  <a:lnTo>
                    <a:pt x="70" y="11"/>
                  </a:lnTo>
                  <a:lnTo>
                    <a:pt x="71" y="11"/>
                  </a:lnTo>
                  <a:lnTo>
                    <a:pt x="73" y="11"/>
                  </a:lnTo>
                  <a:lnTo>
                    <a:pt x="73" y="13"/>
                  </a:lnTo>
                  <a:lnTo>
                    <a:pt x="74" y="14"/>
                  </a:lnTo>
                  <a:lnTo>
                    <a:pt x="75" y="14"/>
                  </a:lnTo>
                  <a:lnTo>
                    <a:pt x="75" y="13"/>
                  </a:lnTo>
                  <a:lnTo>
                    <a:pt x="75" y="11"/>
                  </a:lnTo>
                  <a:lnTo>
                    <a:pt x="76" y="11"/>
                  </a:lnTo>
                  <a:lnTo>
                    <a:pt x="77" y="11"/>
                  </a:lnTo>
                  <a:lnTo>
                    <a:pt x="77" y="10"/>
                  </a:lnTo>
                  <a:lnTo>
                    <a:pt x="78" y="10"/>
                  </a:lnTo>
                  <a:lnTo>
                    <a:pt x="80" y="11"/>
                  </a:lnTo>
                  <a:lnTo>
                    <a:pt x="80" y="13"/>
                  </a:lnTo>
                  <a:lnTo>
                    <a:pt x="81" y="13"/>
                  </a:lnTo>
                  <a:lnTo>
                    <a:pt x="81" y="14"/>
                  </a:lnTo>
                  <a:lnTo>
                    <a:pt x="82" y="15"/>
                  </a:lnTo>
                  <a:lnTo>
                    <a:pt x="82" y="14"/>
                  </a:lnTo>
                  <a:lnTo>
                    <a:pt x="83" y="14"/>
                  </a:lnTo>
                  <a:lnTo>
                    <a:pt x="84" y="14"/>
                  </a:lnTo>
                  <a:lnTo>
                    <a:pt x="84" y="13"/>
                  </a:lnTo>
                  <a:lnTo>
                    <a:pt x="85" y="13"/>
                  </a:lnTo>
                  <a:lnTo>
                    <a:pt x="86" y="13"/>
                  </a:lnTo>
                  <a:lnTo>
                    <a:pt x="86" y="14"/>
                  </a:lnTo>
                  <a:lnTo>
                    <a:pt x="88" y="14"/>
                  </a:lnTo>
                  <a:lnTo>
                    <a:pt x="88" y="13"/>
                  </a:lnTo>
                  <a:lnTo>
                    <a:pt x="89" y="14"/>
                  </a:lnTo>
                  <a:lnTo>
                    <a:pt x="89" y="13"/>
                  </a:lnTo>
                  <a:lnTo>
                    <a:pt x="90" y="13"/>
                  </a:lnTo>
                  <a:lnTo>
                    <a:pt x="91" y="13"/>
                  </a:lnTo>
                  <a:lnTo>
                    <a:pt x="92" y="13"/>
                  </a:lnTo>
                  <a:lnTo>
                    <a:pt x="92" y="14"/>
                  </a:lnTo>
                  <a:lnTo>
                    <a:pt x="93" y="14"/>
                  </a:lnTo>
                  <a:lnTo>
                    <a:pt x="93" y="15"/>
                  </a:lnTo>
                  <a:lnTo>
                    <a:pt x="95" y="16"/>
                  </a:lnTo>
                  <a:lnTo>
                    <a:pt x="96" y="16"/>
                  </a:lnTo>
                  <a:lnTo>
                    <a:pt x="97" y="16"/>
                  </a:lnTo>
                  <a:lnTo>
                    <a:pt x="97" y="15"/>
                  </a:lnTo>
                  <a:lnTo>
                    <a:pt x="97" y="14"/>
                  </a:lnTo>
                  <a:lnTo>
                    <a:pt x="97" y="13"/>
                  </a:lnTo>
                  <a:lnTo>
                    <a:pt x="97" y="14"/>
                  </a:lnTo>
                  <a:lnTo>
                    <a:pt x="97" y="13"/>
                  </a:lnTo>
                  <a:lnTo>
                    <a:pt x="96" y="13"/>
                  </a:lnTo>
                  <a:lnTo>
                    <a:pt x="97" y="13"/>
                  </a:lnTo>
                  <a:lnTo>
                    <a:pt x="96" y="13"/>
                  </a:lnTo>
                  <a:lnTo>
                    <a:pt x="96" y="11"/>
                  </a:lnTo>
                  <a:lnTo>
                    <a:pt x="96" y="10"/>
                  </a:lnTo>
                  <a:lnTo>
                    <a:pt x="96" y="9"/>
                  </a:lnTo>
                  <a:lnTo>
                    <a:pt x="97" y="9"/>
                  </a:lnTo>
                  <a:lnTo>
                    <a:pt x="96" y="9"/>
                  </a:lnTo>
                  <a:lnTo>
                    <a:pt x="96" y="8"/>
                  </a:lnTo>
                  <a:lnTo>
                    <a:pt x="97" y="8"/>
                  </a:lnTo>
                  <a:lnTo>
                    <a:pt x="97" y="7"/>
                  </a:lnTo>
                  <a:lnTo>
                    <a:pt x="98" y="7"/>
                  </a:lnTo>
                  <a:lnTo>
                    <a:pt x="98" y="6"/>
                  </a:lnTo>
                  <a:lnTo>
                    <a:pt x="99" y="4"/>
                  </a:lnTo>
                  <a:lnTo>
                    <a:pt x="99" y="6"/>
                  </a:lnTo>
                  <a:lnTo>
                    <a:pt x="99" y="4"/>
                  </a:lnTo>
                  <a:lnTo>
                    <a:pt x="99" y="3"/>
                  </a:lnTo>
                  <a:lnTo>
                    <a:pt x="100" y="3"/>
                  </a:lnTo>
                  <a:lnTo>
                    <a:pt x="102" y="3"/>
                  </a:lnTo>
                  <a:lnTo>
                    <a:pt x="102" y="4"/>
                  </a:lnTo>
                  <a:lnTo>
                    <a:pt x="103" y="4"/>
                  </a:lnTo>
                  <a:lnTo>
                    <a:pt x="103" y="3"/>
                  </a:lnTo>
                  <a:lnTo>
                    <a:pt x="104" y="3"/>
                  </a:lnTo>
                  <a:lnTo>
                    <a:pt x="105" y="3"/>
                  </a:lnTo>
                  <a:lnTo>
                    <a:pt x="107" y="3"/>
                  </a:lnTo>
                  <a:lnTo>
                    <a:pt x="109" y="3"/>
                  </a:lnTo>
                  <a:lnTo>
                    <a:pt x="110" y="3"/>
                  </a:lnTo>
                  <a:lnTo>
                    <a:pt x="110" y="4"/>
                  </a:lnTo>
                  <a:lnTo>
                    <a:pt x="111" y="4"/>
                  </a:lnTo>
                  <a:lnTo>
                    <a:pt x="112" y="4"/>
                  </a:lnTo>
                  <a:lnTo>
                    <a:pt x="113" y="4"/>
                  </a:lnTo>
                  <a:lnTo>
                    <a:pt x="114" y="3"/>
                  </a:lnTo>
                  <a:lnTo>
                    <a:pt x="116" y="3"/>
                  </a:lnTo>
                  <a:lnTo>
                    <a:pt x="116" y="2"/>
                  </a:lnTo>
                  <a:lnTo>
                    <a:pt x="116" y="1"/>
                  </a:lnTo>
                  <a:lnTo>
                    <a:pt x="116" y="0"/>
                  </a:lnTo>
                  <a:lnTo>
                    <a:pt x="117" y="0"/>
                  </a:lnTo>
                  <a:lnTo>
                    <a:pt x="120" y="1"/>
                  </a:lnTo>
                  <a:lnTo>
                    <a:pt x="121" y="1"/>
                  </a:lnTo>
                  <a:lnTo>
                    <a:pt x="123" y="1"/>
                  </a:lnTo>
                  <a:lnTo>
                    <a:pt x="124" y="1"/>
                  </a:lnTo>
                  <a:lnTo>
                    <a:pt x="124" y="0"/>
                  </a:lnTo>
                  <a:lnTo>
                    <a:pt x="124" y="1"/>
                  </a:lnTo>
                  <a:lnTo>
                    <a:pt x="124" y="0"/>
                  </a:lnTo>
                  <a:lnTo>
                    <a:pt x="125" y="0"/>
                  </a:lnTo>
                  <a:close/>
                  <a:moveTo>
                    <a:pt x="104" y="92"/>
                  </a:moveTo>
                  <a:lnTo>
                    <a:pt x="105" y="93"/>
                  </a:lnTo>
                  <a:lnTo>
                    <a:pt x="106" y="93"/>
                  </a:lnTo>
                  <a:lnTo>
                    <a:pt x="106" y="94"/>
                  </a:lnTo>
                  <a:lnTo>
                    <a:pt x="107" y="94"/>
                  </a:lnTo>
                  <a:lnTo>
                    <a:pt x="107" y="95"/>
                  </a:lnTo>
                  <a:lnTo>
                    <a:pt x="109" y="95"/>
                  </a:lnTo>
                  <a:lnTo>
                    <a:pt x="109" y="94"/>
                  </a:lnTo>
                  <a:lnTo>
                    <a:pt x="107" y="94"/>
                  </a:lnTo>
                  <a:lnTo>
                    <a:pt x="107" y="93"/>
                  </a:lnTo>
                  <a:lnTo>
                    <a:pt x="106" y="93"/>
                  </a:lnTo>
                  <a:lnTo>
                    <a:pt x="106" y="92"/>
                  </a:lnTo>
                  <a:lnTo>
                    <a:pt x="106" y="91"/>
                  </a:lnTo>
                  <a:lnTo>
                    <a:pt x="106" y="92"/>
                  </a:lnTo>
                  <a:lnTo>
                    <a:pt x="105" y="92"/>
                  </a:lnTo>
                  <a:lnTo>
                    <a:pt x="105" y="91"/>
                  </a:lnTo>
                  <a:lnTo>
                    <a:pt x="104" y="91"/>
                  </a:lnTo>
                  <a:lnTo>
                    <a:pt x="104" y="92"/>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97" name="Freeform 1555">
              <a:extLst>
                <a:ext uri="{FF2B5EF4-FFF2-40B4-BE49-F238E27FC236}">
                  <a16:creationId xmlns:a16="http://schemas.microsoft.com/office/drawing/2014/main" id="{C67D3DB8-381E-45C6-A7F6-53C26A546B39}"/>
                </a:ext>
              </a:extLst>
            </p:cNvPr>
            <p:cNvSpPr>
              <a:spLocks noEditPoints="1"/>
            </p:cNvSpPr>
            <p:nvPr/>
          </p:nvSpPr>
          <p:spPr bwMode="auto">
            <a:xfrm>
              <a:off x="6247139" y="2459093"/>
              <a:ext cx="337879" cy="130878"/>
            </a:xfrm>
            <a:custGeom>
              <a:avLst/>
              <a:gdLst>
                <a:gd name="T0" fmla="*/ 25 w 253"/>
                <a:gd name="T1" fmla="*/ 26 h 98"/>
                <a:gd name="T2" fmla="*/ 22 w 253"/>
                <a:gd name="T3" fmla="*/ 2 h 98"/>
                <a:gd name="T4" fmla="*/ 32 w 253"/>
                <a:gd name="T5" fmla="*/ 10 h 98"/>
                <a:gd name="T6" fmla="*/ 35 w 253"/>
                <a:gd name="T7" fmla="*/ 17 h 98"/>
                <a:gd name="T8" fmla="*/ 18 w 253"/>
                <a:gd name="T9" fmla="*/ 23 h 98"/>
                <a:gd name="T10" fmla="*/ 8 w 253"/>
                <a:gd name="T11" fmla="*/ 31 h 98"/>
                <a:gd name="T12" fmla="*/ 13 w 253"/>
                <a:gd name="T13" fmla="*/ 23 h 98"/>
                <a:gd name="T14" fmla="*/ 7 w 253"/>
                <a:gd name="T15" fmla="*/ 19 h 98"/>
                <a:gd name="T16" fmla="*/ 8 w 253"/>
                <a:gd name="T17" fmla="*/ 7 h 98"/>
                <a:gd name="T18" fmla="*/ 16 w 253"/>
                <a:gd name="T19" fmla="*/ 0 h 98"/>
                <a:gd name="T20" fmla="*/ 121 w 253"/>
                <a:gd name="T21" fmla="*/ 6 h 98"/>
                <a:gd name="T22" fmla="*/ 132 w 253"/>
                <a:gd name="T23" fmla="*/ 12 h 98"/>
                <a:gd name="T24" fmla="*/ 148 w 253"/>
                <a:gd name="T25" fmla="*/ 16 h 98"/>
                <a:gd name="T26" fmla="*/ 163 w 253"/>
                <a:gd name="T27" fmla="*/ 18 h 98"/>
                <a:gd name="T28" fmla="*/ 179 w 253"/>
                <a:gd name="T29" fmla="*/ 17 h 98"/>
                <a:gd name="T30" fmla="*/ 195 w 253"/>
                <a:gd name="T31" fmla="*/ 12 h 98"/>
                <a:gd name="T32" fmla="*/ 212 w 253"/>
                <a:gd name="T33" fmla="*/ 11 h 98"/>
                <a:gd name="T34" fmla="*/ 223 w 253"/>
                <a:gd name="T35" fmla="*/ 14 h 98"/>
                <a:gd name="T36" fmla="*/ 229 w 253"/>
                <a:gd name="T37" fmla="*/ 26 h 98"/>
                <a:gd name="T38" fmla="*/ 241 w 253"/>
                <a:gd name="T39" fmla="*/ 33 h 98"/>
                <a:gd name="T40" fmla="*/ 242 w 253"/>
                <a:gd name="T41" fmla="*/ 42 h 98"/>
                <a:gd name="T42" fmla="*/ 243 w 253"/>
                <a:gd name="T43" fmla="*/ 52 h 98"/>
                <a:gd name="T44" fmla="*/ 244 w 253"/>
                <a:gd name="T45" fmla="*/ 67 h 98"/>
                <a:gd name="T46" fmla="*/ 253 w 253"/>
                <a:gd name="T47" fmla="*/ 76 h 98"/>
                <a:gd name="T48" fmla="*/ 243 w 253"/>
                <a:gd name="T49" fmla="*/ 75 h 98"/>
                <a:gd name="T50" fmla="*/ 227 w 253"/>
                <a:gd name="T51" fmla="*/ 75 h 98"/>
                <a:gd name="T52" fmla="*/ 203 w 253"/>
                <a:gd name="T53" fmla="*/ 79 h 98"/>
                <a:gd name="T54" fmla="*/ 177 w 253"/>
                <a:gd name="T55" fmla="*/ 86 h 98"/>
                <a:gd name="T56" fmla="*/ 154 w 253"/>
                <a:gd name="T57" fmla="*/ 87 h 98"/>
                <a:gd name="T58" fmla="*/ 149 w 253"/>
                <a:gd name="T59" fmla="*/ 93 h 98"/>
                <a:gd name="T60" fmla="*/ 139 w 253"/>
                <a:gd name="T61" fmla="*/ 93 h 98"/>
                <a:gd name="T62" fmla="*/ 137 w 253"/>
                <a:gd name="T63" fmla="*/ 84 h 98"/>
                <a:gd name="T64" fmla="*/ 135 w 253"/>
                <a:gd name="T65" fmla="*/ 87 h 98"/>
                <a:gd name="T66" fmla="*/ 117 w 253"/>
                <a:gd name="T67" fmla="*/ 87 h 98"/>
                <a:gd name="T68" fmla="*/ 108 w 253"/>
                <a:gd name="T69" fmla="*/ 94 h 98"/>
                <a:gd name="T70" fmla="*/ 93 w 253"/>
                <a:gd name="T71" fmla="*/ 91 h 98"/>
                <a:gd name="T72" fmla="*/ 74 w 253"/>
                <a:gd name="T73" fmla="*/ 82 h 98"/>
                <a:gd name="T74" fmla="*/ 67 w 253"/>
                <a:gd name="T75" fmla="*/ 91 h 98"/>
                <a:gd name="T76" fmla="*/ 59 w 253"/>
                <a:gd name="T77" fmla="*/ 94 h 98"/>
                <a:gd name="T78" fmla="*/ 51 w 253"/>
                <a:gd name="T79" fmla="*/ 89 h 98"/>
                <a:gd name="T80" fmla="*/ 47 w 253"/>
                <a:gd name="T81" fmla="*/ 84 h 98"/>
                <a:gd name="T82" fmla="*/ 39 w 253"/>
                <a:gd name="T83" fmla="*/ 82 h 98"/>
                <a:gd name="T84" fmla="*/ 37 w 253"/>
                <a:gd name="T85" fmla="*/ 83 h 98"/>
                <a:gd name="T86" fmla="*/ 30 w 253"/>
                <a:gd name="T87" fmla="*/ 83 h 98"/>
                <a:gd name="T88" fmla="*/ 36 w 253"/>
                <a:gd name="T89" fmla="*/ 80 h 98"/>
                <a:gd name="T90" fmla="*/ 25 w 253"/>
                <a:gd name="T91" fmla="*/ 81 h 98"/>
                <a:gd name="T92" fmla="*/ 29 w 253"/>
                <a:gd name="T93" fmla="*/ 76 h 98"/>
                <a:gd name="T94" fmla="*/ 21 w 253"/>
                <a:gd name="T95" fmla="*/ 69 h 98"/>
                <a:gd name="T96" fmla="*/ 16 w 253"/>
                <a:gd name="T97" fmla="*/ 61 h 98"/>
                <a:gd name="T98" fmla="*/ 13 w 253"/>
                <a:gd name="T99" fmla="*/ 60 h 98"/>
                <a:gd name="T100" fmla="*/ 15 w 253"/>
                <a:gd name="T101" fmla="*/ 56 h 98"/>
                <a:gd name="T102" fmla="*/ 18 w 253"/>
                <a:gd name="T103" fmla="*/ 56 h 98"/>
                <a:gd name="T104" fmla="*/ 17 w 253"/>
                <a:gd name="T105" fmla="*/ 49 h 98"/>
                <a:gd name="T106" fmla="*/ 17 w 253"/>
                <a:gd name="T107" fmla="*/ 39 h 98"/>
                <a:gd name="T108" fmla="*/ 7 w 253"/>
                <a:gd name="T109" fmla="*/ 33 h 98"/>
                <a:gd name="T110" fmla="*/ 21 w 253"/>
                <a:gd name="T111" fmla="*/ 27 h 98"/>
                <a:gd name="T112" fmla="*/ 29 w 253"/>
                <a:gd name="T113" fmla="*/ 25 h 98"/>
                <a:gd name="T114" fmla="*/ 40 w 253"/>
                <a:gd name="T115" fmla="*/ 27 h 98"/>
                <a:gd name="T116" fmla="*/ 47 w 253"/>
                <a:gd name="T117" fmla="*/ 23 h 98"/>
                <a:gd name="T118" fmla="*/ 45 w 253"/>
                <a:gd name="T119" fmla="*/ 20 h 98"/>
                <a:gd name="T120" fmla="*/ 56 w 253"/>
                <a:gd name="T121" fmla="*/ 14 h 98"/>
                <a:gd name="T122" fmla="*/ 74 w 253"/>
                <a:gd name="T123" fmla="*/ 11 h 98"/>
                <a:gd name="T124" fmla="*/ 92 w 253"/>
                <a:gd name="T125" fmla="*/ 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3" h="98">
                  <a:moveTo>
                    <a:pt x="6" y="35"/>
                  </a:moveTo>
                  <a:lnTo>
                    <a:pt x="6" y="37"/>
                  </a:lnTo>
                  <a:lnTo>
                    <a:pt x="4" y="35"/>
                  </a:lnTo>
                  <a:lnTo>
                    <a:pt x="6" y="35"/>
                  </a:lnTo>
                  <a:close/>
                  <a:moveTo>
                    <a:pt x="3" y="31"/>
                  </a:moveTo>
                  <a:lnTo>
                    <a:pt x="4" y="31"/>
                  </a:lnTo>
                  <a:lnTo>
                    <a:pt x="3" y="31"/>
                  </a:lnTo>
                  <a:lnTo>
                    <a:pt x="2" y="31"/>
                  </a:lnTo>
                  <a:lnTo>
                    <a:pt x="1" y="32"/>
                  </a:lnTo>
                  <a:lnTo>
                    <a:pt x="1" y="31"/>
                  </a:lnTo>
                  <a:lnTo>
                    <a:pt x="0" y="31"/>
                  </a:lnTo>
                  <a:lnTo>
                    <a:pt x="1" y="30"/>
                  </a:lnTo>
                  <a:lnTo>
                    <a:pt x="2" y="30"/>
                  </a:lnTo>
                  <a:lnTo>
                    <a:pt x="3" y="30"/>
                  </a:lnTo>
                  <a:lnTo>
                    <a:pt x="3" y="31"/>
                  </a:lnTo>
                  <a:close/>
                  <a:moveTo>
                    <a:pt x="24" y="26"/>
                  </a:moveTo>
                  <a:lnTo>
                    <a:pt x="25" y="26"/>
                  </a:lnTo>
                  <a:lnTo>
                    <a:pt x="24" y="26"/>
                  </a:lnTo>
                  <a:lnTo>
                    <a:pt x="24" y="25"/>
                  </a:lnTo>
                  <a:lnTo>
                    <a:pt x="24" y="26"/>
                  </a:lnTo>
                  <a:close/>
                  <a:moveTo>
                    <a:pt x="24" y="23"/>
                  </a:moveTo>
                  <a:lnTo>
                    <a:pt x="25" y="23"/>
                  </a:lnTo>
                  <a:lnTo>
                    <a:pt x="25" y="24"/>
                  </a:lnTo>
                  <a:lnTo>
                    <a:pt x="24" y="24"/>
                  </a:lnTo>
                  <a:lnTo>
                    <a:pt x="23" y="24"/>
                  </a:lnTo>
                  <a:lnTo>
                    <a:pt x="23" y="23"/>
                  </a:lnTo>
                  <a:lnTo>
                    <a:pt x="24" y="23"/>
                  </a:lnTo>
                  <a:close/>
                  <a:moveTo>
                    <a:pt x="17" y="0"/>
                  </a:moveTo>
                  <a:lnTo>
                    <a:pt x="18" y="2"/>
                  </a:lnTo>
                  <a:lnTo>
                    <a:pt x="20" y="2"/>
                  </a:lnTo>
                  <a:lnTo>
                    <a:pt x="20" y="3"/>
                  </a:lnTo>
                  <a:lnTo>
                    <a:pt x="21" y="3"/>
                  </a:lnTo>
                  <a:lnTo>
                    <a:pt x="22" y="3"/>
                  </a:lnTo>
                  <a:lnTo>
                    <a:pt x="22" y="2"/>
                  </a:lnTo>
                  <a:lnTo>
                    <a:pt x="23" y="2"/>
                  </a:lnTo>
                  <a:lnTo>
                    <a:pt x="23" y="3"/>
                  </a:lnTo>
                  <a:lnTo>
                    <a:pt x="24" y="3"/>
                  </a:lnTo>
                  <a:lnTo>
                    <a:pt x="24" y="2"/>
                  </a:lnTo>
                  <a:lnTo>
                    <a:pt x="25" y="2"/>
                  </a:lnTo>
                  <a:lnTo>
                    <a:pt x="26" y="2"/>
                  </a:lnTo>
                  <a:lnTo>
                    <a:pt x="26" y="3"/>
                  </a:lnTo>
                  <a:lnTo>
                    <a:pt x="28" y="3"/>
                  </a:lnTo>
                  <a:lnTo>
                    <a:pt x="26" y="3"/>
                  </a:lnTo>
                  <a:lnTo>
                    <a:pt x="26" y="4"/>
                  </a:lnTo>
                  <a:lnTo>
                    <a:pt x="26" y="5"/>
                  </a:lnTo>
                  <a:lnTo>
                    <a:pt x="28" y="6"/>
                  </a:lnTo>
                  <a:lnTo>
                    <a:pt x="28" y="7"/>
                  </a:lnTo>
                  <a:lnTo>
                    <a:pt x="29" y="7"/>
                  </a:lnTo>
                  <a:lnTo>
                    <a:pt x="29" y="9"/>
                  </a:lnTo>
                  <a:lnTo>
                    <a:pt x="30" y="9"/>
                  </a:lnTo>
                  <a:lnTo>
                    <a:pt x="32" y="10"/>
                  </a:lnTo>
                  <a:lnTo>
                    <a:pt x="35" y="11"/>
                  </a:lnTo>
                  <a:lnTo>
                    <a:pt x="39" y="13"/>
                  </a:lnTo>
                  <a:lnTo>
                    <a:pt x="40" y="13"/>
                  </a:lnTo>
                  <a:lnTo>
                    <a:pt x="42" y="13"/>
                  </a:lnTo>
                  <a:lnTo>
                    <a:pt x="42" y="14"/>
                  </a:lnTo>
                  <a:lnTo>
                    <a:pt x="42" y="16"/>
                  </a:lnTo>
                  <a:lnTo>
                    <a:pt x="42" y="17"/>
                  </a:lnTo>
                  <a:lnTo>
                    <a:pt x="40" y="17"/>
                  </a:lnTo>
                  <a:lnTo>
                    <a:pt x="39" y="18"/>
                  </a:lnTo>
                  <a:lnTo>
                    <a:pt x="38" y="18"/>
                  </a:lnTo>
                  <a:lnTo>
                    <a:pt x="36" y="18"/>
                  </a:lnTo>
                  <a:lnTo>
                    <a:pt x="36" y="17"/>
                  </a:lnTo>
                  <a:lnTo>
                    <a:pt x="35" y="16"/>
                  </a:lnTo>
                  <a:lnTo>
                    <a:pt x="35" y="17"/>
                  </a:lnTo>
                  <a:lnTo>
                    <a:pt x="36" y="17"/>
                  </a:lnTo>
                  <a:lnTo>
                    <a:pt x="35" y="18"/>
                  </a:lnTo>
                  <a:lnTo>
                    <a:pt x="35" y="17"/>
                  </a:lnTo>
                  <a:lnTo>
                    <a:pt x="33" y="17"/>
                  </a:lnTo>
                  <a:lnTo>
                    <a:pt x="32" y="17"/>
                  </a:lnTo>
                  <a:lnTo>
                    <a:pt x="32" y="16"/>
                  </a:lnTo>
                  <a:lnTo>
                    <a:pt x="31" y="16"/>
                  </a:lnTo>
                  <a:lnTo>
                    <a:pt x="30" y="16"/>
                  </a:lnTo>
                  <a:lnTo>
                    <a:pt x="29" y="16"/>
                  </a:lnTo>
                  <a:lnTo>
                    <a:pt x="29" y="17"/>
                  </a:lnTo>
                  <a:lnTo>
                    <a:pt x="28" y="17"/>
                  </a:lnTo>
                  <a:lnTo>
                    <a:pt x="28" y="18"/>
                  </a:lnTo>
                  <a:lnTo>
                    <a:pt x="26" y="18"/>
                  </a:lnTo>
                  <a:lnTo>
                    <a:pt x="26" y="17"/>
                  </a:lnTo>
                  <a:lnTo>
                    <a:pt x="25" y="17"/>
                  </a:lnTo>
                  <a:lnTo>
                    <a:pt x="22" y="18"/>
                  </a:lnTo>
                  <a:lnTo>
                    <a:pt x="22" y="19"/>
                  </a:lnTo>
                  <a:lnTo>
                    <a:pt x="21" y="20"/>
                  </a:lnTo>
                  <a:lnTo>
                    <a:pt x="20" y="21"/>
                  </a:lnTo>
                  <a:lnTo>
                    <a:pt x="18" y="23"/>
                  </a:lnTo>
                  <a:lnTo>
                    <a:pt x="17" y="24"/>
                  </a:lnTo>
                  <a:lnTo>
                    <a:pt x="16" y="24"/>
                  </a:lnTo>
                  <a:lnTo>
                    <a:pt x="15" y="24"/>
                  </a:lnTo>
                  <a:lnTo>
                    <a:pt x="15" y="25"/>
                  </a:lnTo>
                  <a:lnTo>
                    <a:pt x="14" y="25"/>
                  </a:lnTo>
                  <a:lnTo>
                    <a:pt x="13" y="25"/>
                  </a:lnTo>
                  <a:lnTo>
                    <a:pt x="13" y="26"/>
                  </a:lnTo>
                  <a:lnTo>
                    <a:pt x="11" y="26"/>
                  </a:lnTo>
                  <a:lnTo>
                    <a:pt x="11" y="27"/>
                  </a:lnTo>
                  <a:lnTo>
                    <a:pt x="11" y="28"/>
                  </a:lnTo>
                  <a:lnTo>
                    <a:pt x="10" y="28"/>
                  </a:lnTo>
                  <a:lnTo>
                    <a:pt x="10" y="30"/>
                  </a:lnTo>
                  <a:lnTo>
                    <a:pt x="9" y="30"/>
                  </a:lnTo>
                  <a:lnTo>
                    <a:pt x="8" y="30"/>
                  </a:lnTo>
                  <a:lnTo>
                    <a:pt x="9" y="30"/>
                  </a:lnTo>
                  <a:lnTo>
                    <a:pt x="9" y="31"/>
                  </a:lnTo>
                  <a:lnTo>
                    <a:pt x="8" y="31"/>
                  </a:lnTo>
                  <a:lnTo>
                    <a:pt x="8" y="32"/>
                  </a:lnTo>
                  <a:lnTo>
                    <a:pt x="7" y="32"/>
                  </a:lnTo>
                  <a:lnTo>
                    <a:pt x="7" y="31"/>
                  </a:lnTo>
                  <a:lnTo>
                    <a:pt x="8" y="30"/>
                  </a:lnTo>
                  <a:lnTo>
                    <a:pt x="8" y="28"/>
                  </a:lnTo>
                  <a:lnTo>
                    <a:pt x="7" y="28"/>
                  </a:lnTo>
                  <a:lnTo>
                    <a:pt x="7" y="27"/>
                  </a:lnTo>
                  <a:lnTo>
                    <a:pt x="8" y="27"/>
                  </a:lnTo>
                  <a:lnTo>
                    <a:pt x="9" y="26"/>
                  </a:lnTo>
                  <a:lnTo>
                    <a:pt x="10" y="26"/>
                  </a:lnTo>
                  <a:lnTo>
                    <a:pt x="10" y="25"/>
                  </a:lnTo>
                  <a:lnTo>
                    <a:pt x="11" y="25"/>
                  </a:lnTo>
                  <a:lnTo>
                    <a:pt x="13" y="25"/>
                  </a:lnTo>
                  <a:lnTo>
                    <a:pt x="13" y="24"/>
                  </a:lnTo>
                  <a:lnTo>
                    <a:pt x="14" y="24"/>
                  </a:lnTo>
                  <a:lnTo>
                    <a:pt x="14" y="23"/>
                  </a:lnTo>
                  <a:lnTo>
                    <a:pt x="13" y="23"/>
                  </a:lnTo>
                  <a:lnTo>
                    <a:pt x="11" y="23"/>
                  </a:lnTo>
                  <a:lnTo>
                    <a:pt x="10" y="23"/>
                  </a:lnTo>
                  <a:lnTo>
                    <a:pt x="10" y="24"/>
                  </a:lnTo>
                  <a:lnTo>
                    <a:pt x="9" y="24"/>
                  </a:lnTo>
                  <a:lnTo>
                    <a:pt x="8" y="24"/>
                  </a:lnTo>
                  <a:lnTo>
                    <a:pt x="7" y="24"/>
                  </a:lnTo>
                  <a:lnTo>
                    <a:pt x="4" y="24"/>
                  </a:lnTo>
                  <a:lnTo>
                    <a:pt x="4" y="23"/>
                  </a:lnTo>
                  <a:lnTo>
                    <a:pt x="4" y="21"/>
                  </a:lnTo>
                  <a:lnTo>
                    <a:pt x="3" y="21"/>
                  </a:lnTo>
                  <a:lnTo>
                    <a:pt x="4" y="21"/>
                  </a:lnTo>
                  <a:lnTo>
                    <a:pt x="4" y="20"/>
                  </a:lnTo>
                  <a:lnTo>
                    <a:pt x="6" y="20"/>
                  </a:lnTo>
                  <a:lnTo>
                    <a:pt x="6" y="19"/>
                  </a:lnTo>
                  <a:lnTo>
                    <a:pt x="6" y="18"/>
                  </a:lnTo>
                  <a:lnTo>
                    <a:pt x="7" y="18"/>
                  </a:lnTo>
                  <a:lnTo>
                    <a:pt x="7" y="19"/>
                  </a:lnTo>
                  <a:lnTo>
                    <a:pt x="7" y="18"/>
                  </a:lnTo>
                  <a:lnTo>
                    <a:pt x="7" y="17"/>
                  </a:lnTo>
                  <a:lnTo>
                    <a:pt x="8" y="17"/>
                  </a:lnTo>
                  <a:lnTo>
                    <a:pt x="7" y="17"/>
                  </a:lnTo>
                  <a:lnTo>
                    <a:pt x="7" y="16"/>
                  </a:lnTo>
                  <a:lnTo>
                    <a:pt x="7" y="14"/>
                  </a:lnTo>
                  <a:lnTo>
                    <a:pt x="7" y="13"/>
                  </a:lnTo>
                  <a:lnTo>
                    <a:pt x="8" y="13"/>
                  </a:lnTo>
                  <a:lnTo>
                    <a:pt x="8" y="12"/>
                  </a:lnTo>
                  <a:lnTo>
                    <a:pt x="9" y="12"/>
                  </a:lnTo>
                  <a:lnTo>
                    <a:pt x="10" y="12"/>
                  </a:lnTo>
                  <a:lnTo>
                    <a:pt x="10" y="11"/>
                  </a:lnTo>
                  <a:lnTo>
                    <a:pt x="10" y="10"/>
                  </a:lnTo>
                  <a:lnTo>
                    <a:pt x="9" y="10"/>
                  </a:lnTo>
                  <a:lnTo>
                    <a:pt x="9" y="9"/>
                  </a:lnTo>
                  <a:lnTo>
                    <a:pt x="9" y="7"/>
                  </a:lnTo>
                  <a:lnTo>
                    <a:pt x="8" y="7"/>
                  </a:lnTo>
                  <a:lnTo>
                    <a:pt x="8" y="6"/>
                  </a:lnTo>
                  <a:lnTo>
                    <a:pt x="7" y="6"/>
                  </a:lnTo>
                  <a:lnTo>
                    <a:pt x="6" y="6"/>
                  </a:lnTo>
                  <a:lnTo>
                    <a:pt x="6" y="5"/>
                  </a:lnTo>
                  <a:lnTo>
                    <a:pt x="6" y="4"/>
                  </a:lnTo>
                  <a:lnTo>
                    <a:pt x="7" y="4"/>
                  </a:lnTo>
                  <a:lnTo>
                    <a:pt x="8" y="4"/>
                  </a:lnTo>
                  <a:lnTo>
                    <a:pt x="8" y="3"/>
                  </a:lnTo>
                  <a:lnTo>
                    <a:pt x="9" y="2"/>
                  </a:lnTo>
                  <a:lnTo>
                    <a:pt x="10" y="3"/>
                  </a:lnTo>
                  <a:lnTo>
                    <a:pt x="10" y="2"/>
                  </a:lnTo>
                  <a:lnTo>
                    <a:pt x="11" y="2"/>
                  </a:lnTo>
                  <a:lnTo>
                    <a:pt x="13" y="2"/>
                  </a:lnTo>
                  <a:lnTo>
                    <a:pt x="14" y="2"/>
                  </a:lnTo>
                  <a:lnTo>
                    <a:pt x="14" y="0"/>
                  </a:lnTo>
                  <a:lnTo>
                    <a:pt x="15" y="0"/>
                  </a:lnTo>
                  <a:lnTo>
                    <a:pt x="16" y="0"/>
                  </a:lnTo>
                  <a:lnTo>
                    <a:pt x="17" y="0"/>
                  </a:lnTo>
                  <a:close/>
                  <a:moveTo>
                    <a:pt x="115" y="0"/>
                  </a:moveTo>
                  <a:lnTo>
                    <a:pt x="116" y="0"/>
                  </a:lnTo>
                  <a:lnTo>
                    <a:pt x="116" y="2"/>
                  </a:lnTo>
                  <a:lnTo>
                    <a:pt x="117" y="2"/>
                  </a:lnTo>
                  <a:lnTo>
                    <a:pt x="117" y="0"/>
                  </a:lnTo>
                  <a:lnTo>
                    <a:pt x="118" y="2"/>
                  </a:lnTo>
                  <a:lnTo>
                    <a:pt x="117" y="2"/>
                  </a:lnTo>
                  <a:lnTo>
                    <a:pt x="116" y="2"/>
                  </a:lnTo>
                  <a:lnTo>
                    <a:pt x="116" y="3"/>
                  </a:lnTo>
                  <a:lnTo>
                    <a:pt x="117" y="3"/>
                  </a:lnTo>
                  <a:lnTo>
                    <a:pt x="117" y="4"/>
                  </a:lnTo>
                  <a:lnTo>
                    <a:pt x="118" y="4"/>
                  </a:lnTo>
                  <a:lnTo>
                    <a:pt x="118" y="5"/>
                  </a:lnTo>
                  <a:lnTo>
                    <a:pt x="120" y="5"/>
                  </a:lnTo>
                  <a:lnTo>
                    <a:pt x="120" y="6"/>
                  </a:lnTo>
                  <a:lnTo>
                    <a:pt x="121" y="6"/>
                  </a:lnTo>
                  <a:lnTo>
                    <a:pt x="122" y="6"/>
                  </a:lnTo>
                  <a:lnTo>
                    <a:pt x="122" y="7"/>
                  </a:lnTo>
                  <a:lnTo>
                    <a:pt x="123" y="7"/>
                  </a:lnTo>
                  <a:lnTo>
                    <a:pt x="124" y="7"/>
                  </a:lnTo>
                  <a:lnTo>
                    <a:pt x="125" y="6"/>
                  </a:lnTo>
                  <a:lnTo>
                    <a:pt x="127" y="6"/>
                  </a:lnTo>
                  <a:lnTo>
                    <a:pt x="128" y="6"/>
                  </a:lnTo>
                  <a:lnTo>
                    <a:pt x="128" y="7"/>
                  </a:lnTo>
                  <a:lnTo>
                    <a:pt x="128" y="6"/>
                  </a:lnTo>
                  <a:lnTo>
                    <a:pt x="129" y="6"/>
                  </a:lnTo>
                  <a:lnTo>
                    <a:pt x="130" y="7"/>
                  </a:lnTo>
                  <a:lnTo>
                    <a:pt x="131" y="7"/>
                  </a:lnTo>
                  <a:lnTo>
                    <a:pt x="131" y="9"/>
                  </a:lnTo>
                  <a:lnTo>
                    <a:pt x="131" y="10"/>
                  </a:lnTo>
                  <a:lnTo>
                    <a:pt x="131" y="11"/>
                  </a:lnTo>
                  <a:lnTo>
                    <a:pt x="132" y="11"/>
                  </a:lnTo>
                  <a:lnTo>
                    <a:pt x="132" y="12"/>
                  </a:lnTo>
                  <a:lnTo>
                    <a:pt x="134" y="12"/>
                  </a:lnTo>
                  <a:lnTo>
                    <a:pt x="135" y="13"/>
                  </a:lnTo>
                  <a:lnTo>
                    <a:pt x="136" y="13"/>
                  </a:lnTo>
                  <a:lnTo>
                    <a:pt x="137" y="13"/>
                  </a:lnTo>
                  <a:lnTo>
                    <a:pt x="137" y="12"/>
                  </a:lnTo>
                  <a:lnTo>
                    <a:pt x="137" y="11"/>
                  </a:lnTo>
                  <a:lnTo>
                    <a:pt x="138" y="11"/>
                  </a:lnTo>
                  <a:lnTo>
                    <a:pt x="139" y="11"/>
                  </a:lnTo>
                  <a:lnTo>
                    <a:pt x="141" y="12"/>
                  </a:lnTo>
                  <a:lnTo>
                    <a:pt x="143" y="12"/>
                  </a:lnTo>
                  <a:lnTo>
                    <a:pt x="143" y="13"/>
                  </a:lnTo>
                  <a:lnTo>
                    <a:pt x="143" y="14"/>
                  </a:lnTo>
                  <a:lnTo>
                    <a:pt x="144" y="14"/>
                  </a:lnTo>
                  <a:lnTo>
                    <a:pt x="145" y="14"/>
                  </a:lnTo>
                  <a:lnTo>
                    <a:pt x="146" y="14"/>
                  </a:lnTo>
                  <a:lnTo>
                    <a:pt x="146" y="16"/>
                  </a:lnTo>
                  <a:lnTo>
                    <a:pt x="148" y="16"/>
                  </a:lnTo>
                  <a:lnTo>
                    <a:pt x="149" y="16"/>
                  </a:lnTo>
                  <a:lnTo>
                    <a:pt x="150" y="17"/>
                  </a:lnTo>
                  <a:lnTo>
                    <a:pt x="151" y="17"/>
                  </a:lnTo>
                  <a:lnTo>
                    <a:pt x="151" y="16"/>
                  </a:lnTo>
                  <a:lnTo>
                    <a:pt x="152" y="16"/>
                  </a:lnTo>
                  <a:lnTo>
                    <a:pt x="153" y="16"/>
                  </a:lnTo>
                  <a:lnTo>
                    <a:pt x="153" y="17"/>
                  </a:lnTo>
                  <a:lnTo>
                    <a:pt x="154" y="17"/>
                  </a:lnTo>
                  <a:lnTo>
                    <a:pt x="154" y="18"/>
                  </a:lnTo>
                  <a:lnTo>
                    <a:pt x="156" y="17"/>
                  </a:lnTo>
                  <a:lnTo>
                    <a:pt x="156" y="18"/>
                  </a:lnTo>
                  <a:lnTo>
                    <a:pt x="158" y="18"/>
                  </a:lnTo>
                  <a:lnTo>
                    <a:pt x="159" y="18"/>
                  </a:lnTo>
                  <a:lnTo>
                    <a:pt x="160" y="18"/>
                  </a:lnTo>
                  <a:lnTo>
                    <a:pt x="161" y="18"/>
                  </a:lnTo>
                  <a:lnTo>
                    <a:pt x="163" y="19"/>
                  </a:lnTo>
                  <a:lnTo>
                    <a:pt x="163" y="18"/>
                  </a:lnTo>
                  <a:lnTo>
                    <a:pt x="164" y="18"/>
                  </a:lnTo>
                  <a:lnTo>
                    <a:pt x="165" y="18"/>
                  </a:lnTo>
                  <a:lnTo>
                    <a:pt x="166" y="18"/>
                  </a:lnTo>
                  <a:lnTo>
                    <a:pt x="166" y="17"/>
                  </a:lnTo>
                  <a:lnTo>
                    <a:pt x="167" y="17"/>
                  </a:lnTo>
                  <a:lnTo>
                    <a:pt x="170" y="17"/>
                  </a:lnTo>
                  <a:lnTo>
                    <a:pt x="171" y="17"/>
                  </a:lnTo>
                  <a:lnTo>
                    <a:pt x="171" y="16"/>
                  </a:lnTo>
                  <a:lnTo>
                    <a:pt x="172" y="16"/>
                  </a:lnTo>
                  <a:lnTo>
                    <a:pt x="172" y="17"/>
                  </a:lnTo>
                  <a:lnTo>
                    <a:pt x="173" y="16"/>
                  </a:lnTo>
                  <a:lnTo>
                    <a:pt x="174" y="16"/>
                  </a:lnTo>
                  <a:lnTo>
                    <a:pt x="175" y="16"/>
                  </a:lnTo>
                  <a:lnTo>
                    <a:pt x="175" y="17"/>
                  </a:lnTo>
                  <a:lnTo>
                    <a:pt x="177" y="17"/>
                  </a:lnTo>
                  <a:lnTo>
                    <a:pt x="178" y="17"/>
                  </a:lnTo>
                  <a:lnTo>
                    <a:pt x="179" y="17"/>
                  </a:lnTo>
                  <a:lnTo>
                    <a:pt x="180" y="18"/>
                  </a:lnTo>
                  <a:lnTo>
                    <a:pt x="181" y="18"/>
                  </a:lnTo>
                  <a:lnTo>
                    <a:pt x="182" y="18"/>
                  </a:lnTo>
                  <a:lnTo>
                    <a:pt x="184" y="18"/>
                  </a:lnTo>
                  <a:lnTo>
                    <a:pt x="185" y="18"/>
                  </a:lnTo>
                  <a:lnTo>
                    <a:pt x="186" y="18"/>
                  </a:lnTo>
                  <a:lnTo>
                    <a:pt x="187" y="17"/>
                  </a:lnTo>
                  <a:lnTo>
                    <a:pt x="188" y="17"/>
                  </a:lnTo>
                  <a:lnTo>
                    <a:pt x="189" y="17"/>
                  </a:lnTo>
                  <a:lnTo>
                    <a:pt x="189" y="16"/>
                  </a:lnTo>
                  <a:lnTo>
                    <a:pt x="191" y="16"/>
                  </a:lnTo>
                  <a:lnTo>
                    <a:pt x="191" y="14"/>
                  </a:lnTo>
                  <a:lnTo>
                    <a:pt x="192" y="14"/>
                  </a:lnTo>
                  <a:lnTo>
                    <a:pt x="193" y="14"/>
                  </a:lnTo>
                  <a:lnTo>
                    <a:pt x="194" y="13"/>
                  </a:lnTo>
                  <a:lnTo>
                    <a:pt x="195" y="13"/>
                  </a:lnTo>
                  <a:lnTo>
                    <a:pt x="195" y="12"/>
                  </a:lnTo>
                  <a:lnTo>
                    <a:pt x="196" y="12"/>
                  </a:lnTo>
                  <a:lnTo>
                    <a:pt x="198" y="12"/>
                  </a:lnTo>
                  <a:lnTo>
                    <a:pt x="198" y="11"/>
                  </a:lnTo>
                  <a:lnTo>
                    <a:pt x="199" y="11"/>
                  </a:lnTo>
                  <a:lnTo>
                    <a:pt x="199" y="10"/>
                  </a:lnTo>
                  <a:lnTo>
                    <a:pt x="200" y="10"/>
                  </a:lnTo>
                  <a:lnTo>
                    <a:pt x="200" y="9"/>
                  </a:lnTo>
                  <a:lnTo>
                    <a:pt x="201" y="10"/>
                  </a:lnTo>
                  <a:lnTo>
                    <a:pt x="202" y="10"/>
                  </a:lnTo>
                  <a:lnTo>
                    <a:pt x="203" y="10"/>
                  </a:lnTo>
                  <a:lnTo>
                    <a:pt x="203" y="11"/>
                  </a:lnTo>
                  <a:lnTo>
                    <a:pt x="205" y="10"/>
                  </a:lnTo>
                  <a:lnTo>
                    <a:pt x="206" y="10"/>
                  </a:lnTo>
                  <a:lnTo>
                    <a:pt x="207" y="10"/>
                  </a:lnTo>
                  <a:lnTo>
                    <a:pt x="208" y="10"/>
                  </a:lnTo>
                  <a:lnTo>
                    <a:pt x="209" y="10"/>
                  </a:lnTo>
                  <a:lnTo>
                    <a:pt x="212" y="11"/>
                  </a:lnTo>
                  <a:lnTo>
                    <a:pt x="213" y="10"/>
                  </a:lnTo>
                  <a:lnTo>
                    <a:pt x="213" y="9"/>
                  </a:lnTo>
                  <a:lnTo>
                    <a:pt x="214" y="9"/>
                  </a:lnTo>
                  <a:lnTo>
                    <a:pt x="214" y="7"/>
                  </a:lnTo>
                  <a:lnTo>
                    <a:pt x="216" y="9"/>
                  </a:lnTo>
                  <a:lnTo>
                    <a:pt x="215" y="10"/>
                  </a:lnTo>
                  <a:lnTo>
                    <a:pt x="216" y="10"/>
                  </a:lnTo>
                  <a:lnTo>
                    <a:pt x="217" y="10"/>
                  </a:lnTo>
                  <a:lnTo>
                    <a:pt x="218" y="10"/>
                  </a:lnTo>
                  <a:lnTo>
                    <a:pt x="218" y="11"/>
                  </a:lnTo>
                  <a:lnTo>
                    <a:pt x="220" y="12"/>
                  </a:lnTo>
                  <a:lnTo>
                    <a:pt x="221" y="12"/>
                  </a:lnTo>
                  <a:lnTo>
                    <a:pt x="222" y="12"/>
                  </a:lnTo>
                  <a:lnTo>
                    <a:pt x="221" y="13"/>
                  </a:lnTo>
                  <a:lnTo>
                    <a:pt x="222" y="13"/>
                  </a:lnTo>
                  <a:lnTo>
                    <a:pt x="222" y="14"/>
                  </a:lnTo>
                  <a:lnTo>
                    <a:pt x="223" y="14"/>
                  </a:lnTo>
                  <a:lnTo>
                    <a:pt x="224" y="14"/>
                  </a:lnTo>
                  <a:lnTo>
                    <a:pt x="225" y="14"/>
                  </a:lnTo>
                  <a:lnTo>
                    <a:pt x="225" y="16"/>
                  </a:lnTo>
                  <a:lnTo>
                    <a:pt x="225" y="17"/>
                  </a:lnTo>
                  <a:lnTo>
                    <a:pt x="227" y="17"/>
                  </a:lnTo>
                  <a:lnTo>
                    <a:pt x="228" y="18"/>
                  </a:lnTo>
                  <a:lnTo>
                    <a:pt x="229" y="19"/>
                  </a:lnTo>
                  <a:lnTo>
                    <a:pt x="229" y="20"/>
                  </a:lnTo>
                  <a:lnTo>
                    <a:pt x="230" y="20"/>
                  </a:lnTo>
                  <a:lnTo>
                    <a:pt x="230" y="21"/>
                  </a:lnTo>
                  <a:lnTo>
                    <a:pt x="230" y="23"/>
                  </a:lnTo>
                  <a:lnTo>
                    <a:pt x="230" y="24"/>
                  </a:lnTo>
                  <a:lnTo>
                    <a:pt x="230" y="25"/>
                  </a:lnTo>
                  <a:lnTo>
                    <a:pt x="229" y="25"/>
                  </a:lnTo>
                  <a:lnTo>
                    <a:pt x="230" y="25"/>
                  </a:lnTo>
                  <a:lnTo>
                    <a:pt x="229" y="25"/>
                  </a:lnTo>
                  <a:lnTo>
                    <a:pt x="229" y="26"/>
                  </a:lnTo>
                  <a:lnTo>
                    <a:pt x="230" y="26"/>
                  </a:lnTo>
                  <a:lnTo>
                    <a:pt x="230" y="27"/>
                  </a:lnTo>
                  <a:lnTo>
                    <a:pt x="229" y="27"/>
                  </a:lnTo>
                  <a:lnTo>
                    <a:pt x="230" y="27"/>
                  </a:lnTo>
                  <a:lnTo>
                    <a:pt x="230" y="28"/>
                  </a:lnTo>
                  <a:lnTo>
                    <a:pt x="231" y="28"/>
                  </a:lnTo>
                  <a:lnTo>
                    <a:pt x="231" y="30"/>
                  </a:lnTo>
                  <a:lnTo>
                    <a:pt x="231" y="31"/>
                  </a:lnTo>
                  <a:lnTo>
                    <a:pt x="231" y="32"/>
                  </a:lnTo>
                  <a:lnTo>
                    <a:pt x="232" y="32"/>
                  </a:lnTo>
                  <a:lnTo>
                    <a:pt x="235" y="33"/>
                  </a:lnTo>
                  <a:lnTo>
                    <a:pt x="236" y="33"/>
                  </a:lnTo>
                  <a:lnTo>
                    <a:pt x="237" y="32"/>
                  </a:lnTo>
                  <a:lnTo>
                    <a:pt x="237" y="33"/>
                  </a:lnTo>
                  <a:lnTo>
                    <a:pt x="238" y="32"/>
                  </a:lnTo>
                  <a:lnTo>
                    <a:pt x="239" y="32"/>
                  </a:lnTo>
                  <a:lnTo>
                    <a:pt x="241" y="33"/>
                  </a:lnTo>
                  <a:lnTo>
                    <a:pt x="242" y="33"/>
                  </a:lnTo>
                  <a:lnTo>
                    <a:pt x="243" y="34"/>
                  </a:lnTo>
                  <a:lnTo>
                    <a:pt x="243" y="35"/>
                  </a:lnTo>
                  <a:lnTo>
                    <a:pt x="244" y="35"/>
                  </a:lnTo>
                  <a:lnTo>
                    <a:pt x="245" y="37"/>
                  </a:lnTo>
                  <a:lnTo>
                    <a:pt x="246" y="38"/>
                  </a:lnTo>
                  <a:lnTo>
                    <a:pt x="246" y="39"/>
                  </a:lnTo>
                  <a:lnTo>
                    <a:pt x="248" y="39"/>
                  </a:lnTo>
                  <a:lnTo>
                    <a:pt x="246" y="38"/>
                  </a:lnTo>
                  <a:lnTo>
                    <a:pt x="245" y="38"/>
                  </a:lnTo>
                  <a:lnTo>
                    <a:pt x="244" y="37"/>
                  </a:lnTo>
                  <a:lnTo>
                    <a:pt x="243" y="38"/>
                  </a:lnTo>
                  <a:lnTo>
                    <a:pt x="243" y="39"/>
                  </a:lnTo>
                  <a:lnTo>
                    <a:pt x="242" y="40"/>
                  </a:lnTo>
                  <a:lnTo>
                    <a:pt x="243" y="40"/>
                  </a:lnTo>
                  <a:lnTo>
                    <a:pt x="243" y="41"/>
                  </a:lnTo>
                  <a:lnTo>
                    <a:pt x="242" y="42"/>
                  </a:lnTo>
                  <a:lnTo>
                    <a:pt x="241" y="42"/>
                  </a:lnTo>
                  <a:lnTo>
                    <a:pt x="239" y="42"/>
                  </a:lnTo>
                  <a:lnTo>
                    <a:pt x="238" y="42"/>
                  </a:lnTo>
                  <a:lnTo>
                    <a:pt x="237" y="42"/>
                  </a:lnTo>
                  <a:lnTo>
                    <a:pt x="238" y="42"/>
                  </a:lnTo>
                  <a:lnTo>
                    <a:pt x="238" y="44"/>
                  </a:lnTo>
                  <a:lnTo>
                    <a:pt x="238" y="45"/>
                  </a:lnTo>
                  <a:lnTo>
                    <a:pt x="239" y="45"/>
                  </a:lnTo>
                  <a:lnTo>
                    <a:pt x="239" y="46"/>
                  </a:lnTo>
                  <a:lnTo>
                    <a:pt x="241" y="46"/>
                  </a:lnTo>
                  <a:lnTo>
                    <a:pt x="241" y="47"/>
                  </a:lnTo>
                  <a:lnTo>
                    <a:pt x="241" y="48"/>
                  </a:lnTo>
                  <a:lnTo>
                    <a:pt x="241" y="49"/>
                  </a:lnTo>
                  <a:lnTo>
                    <a:pt x="241" y="51"/>
                  </a:lnTo>
                  <a:lnTo>
                    <a:pt x="242" y="51"/>
                  </a:lnTo>
                  <a:lnTo>
                    <a:pt x="243" y="51"/>
                  </a:lnTo>
                  <a:lnTo>
                    <a:pt x="243" y="52"/>
                  </a:lnTo>
                  <a:lnTo>
                    <a:pt x="243" y="53"/>
                  </a:lnTo>
                  <a:lnTo>
                    <a:pt x="243" y="54"/>
                  </a:lnTo>
                  <a:lnTo>
                    <a:pt x="243" y="55"/>
                  </a:lnTo>
                  <a:lnTo>
                    <a:pt x="244" y="56"/>
                  </a:lnTo>
                  <a:lnTo>
                    <a:pt x="244" y="58"/>
                  </a:lnTo>
                  <a:lnTo>
                    <a:pt x="244" y="59"/>
                  </a:lnTo>
                  <a:lnTo>
                    <a:pt x="245" y="59"/>
                  </a:lnTo>
                  <a:lnTo>
                    <a:pt x="246" y="59"/>
                  </a:lnTo>
                  <a:lnTo>
                    <a:pt x="246" y="60"/>
                  </a:lnTo>
                  <a:lnTo>
                    <a:pt x="245" y="60"/>
                  </a:lnTo>
                  <a:lnTo>
                    <a:pt x="245" y="61"/>
                  </a:lnTo>
                  <a:lnTo>
                    <a:pt x="245" y="62"/>
                  </a:lnTo>
                  <a:lnTo>
                    <a:pt x="245" y="63"/>
                  </a:lnTo>
                  <a:lnTo>
                    <a:pt x="244" y="63"/>
                  </a:lnTo>
                  <a:lnTo>
                    <a:pt x="244" y="65"/>
                  </a:lnTo>
                  <a:lnTo>
                    <a:pt x="244" y="66"/>
                  </a:lnTo>
                  <a:lnTo>
                    <a:pt x="244" y="67"/>
                  </a:lnTo>
                  <a:lnTo>
                    <a:pt x="245" y="67"/>
                  </a:lnTo>
                  <a:lnTo>
                    <a:pt x="246" y="67"/>
                  </a:lnTo>
                  <a:lnTo>
                    <a:pt x="248" y="67"/>
                  </a:lnTo>
                  <a:lnTo>
                    <a:pt x="248" y="68"/>
                  </a:lnTo>
                  <a:lnTo>
                    <a:pt x="249" y="68"/>
                  </a:lnTo>
                  <a:lnTo>
                    <a:pt x="250" y="69"/>
                  </a:lnTo>
                  <a:lnTo>
                    <a:pt x="249" y="69"/>
                  </a:lnTo>
                  <a:lnTo>
                    <a:pt x="249" y="70"/>
                  </a:lnTo>
                  <a:lnTo>
                    <a:pt x="250" y="70"/>
                  </a:lnTo>
                  <a:lnTo>
                    <a:pt x="250" y="72"/>
                  </a:lnTo>
                  <a:lnTo>
                    <a:pt x="250" y="73"/>
                  </a:lnTo>
                  <a:lnTo>
                    <a:pt x="250" y="74"/>
                  </a:lnTo>
                  <a:lnTo>
                    <a:pt x="251" y="74"/>
                  </a:lnTo>
                  <a:lnTo>
                    <a:pt x="252" y="74"/>
                  </a:lnTo>
                  <a:lnTo>
                    <a:pt x="252" y="75"/>
                  </a:lnTo>
                  <a:lnTo>
                    <a:pt x="253" y="75"/>
                  </a:lnTo>
                  <a:lnTo>
                    <a:pt x="253" y="76"/>
                  </a:lnTo>
                  <a:lnTo>
                    <a:pt x="253" y="77"/>
                  </a:lnTo>
                  <a:lnTo>
                    <a:pt x="251" y="77"/>
                  </a:lnTo>
                  <a:lnTo>
                    <a:pt x="250" y="77"/>
                  </a:lnTo>
                  <a:lnTo>
                    <a:pt x="250" y="79"/>
                  </a:lnTo>
                  <a:lnTo>
                    <a:pt x="249" y="80"/>
                  </a:lnTo>
                  <a:lnTo>
                    <a:pt x="248" y="80"/>
                  </a:lnTo>
                  <a:lnTo>
                    <a:pt x="248" y="81"/>
                  </a:lnTo>
                  <a:lnTo>
                    <a:pt x="246" y="81"/>
                  </a:lnTo>
                  <a:lnTo>
                    <a:pt x="246" y="80"/>
                  </a:lnTo>
                  <a:lnTo>
                    <a:pt x="246" y="79"/>
                  </a:lnTo>
                  <a:lnTo>
                    <a:pt x="245" y="79"/>
                  </a:lnTo>
                  <a:lnTo>
                    <a:pt x="246" y="79"/>
                  </a:lnTo>
                  <a:lnTo>
                    <a:pt x="246" y="77"/>
                  </a:lnTo>
                  <a:lnTo>
                    <a:pt x="246" y="76"/>
                  </a:lnTo>
                  <a:lnTo>
                    <a:pt x="245" y="76"/>
                  </a:lnTo>
                  <a:lnTo>
                    <a:pt x="244" y="75"/>
                  </a:lnTo>
                  <a:lnTo>
                    <a:pt x="243" y="75"/>
                  </a:lnTo>
                  <a:lnTo>
                    <a:pt x="243" y="76"/>
                  </a:lnTo>
                  <a:lnTo>
                    <a:pt x="242" y="76"/>
                  </a:lnTo>
                  <a:lnTo>
                    <a:pt x="241" y="76"/>
                  </a:lnTo>
                  <a:lnTo>
                    <a:pt x="241" y="77"/>
                  </a:lnTo>
                  <a:lnTo>
                    <a:pt x="241" y="76"/>
                  </a:lnTo>
                  <a:lnTo>
                    <a:pt x="239" y="76"/>
                  </a:lnTo>
                  <a:lnTo>
                    <a:pt x="238" y="76"/>
                  </a:lnTo>
                  <a:lnTo>
                    <a:pt x="237" y="76"/>
                  </a:lnTo>
                  <a:lnTo>
                    <a:pt x="236" y="76"/>
                  </a:lnTo>
                  <a:lnTo>
                    <a:pt x="235" y="75"/>
                  </a:lnTo>
                  <a:lnTo>
                    <a:pt x="234" y="75"/>
                  </a:lnTo>
                  <a:lnTo>
                    <a:pt x="231" y="74"/>
                  </a:lnTo>
                  <a:lnTo>
                    <a:pt x="230" y="75"/>
                  </a:lnTo>
                  <a:lnTo>
                    <a:pt x="229" y="75"/>
                  </a:lnTo>
                  <a:lnTo>
                    <a:pt x="228" y="75"/>
                  </a:lnTo>
                  <a:lnTo>
                    <a:pt x="227" y="74"/>
                  </a:lnTo>
                  <a:lnTo>
                    <a:pt x="227" y="75"/>
                  </a:lnTo>
                  <a:lnTo>
                    <a:pt x="225" y="75"/>
                  </a:lnTo>
                  <a:lnTo>
                    <a:pt x="224" y="77"/>
                  </a:lnTo>
                  <a:lnTo>
                    <a:pt x="223" y="79"/>
                  </a:lnTo>
                  <a:lnTo>
                    <a:pt x="222" y="79"/>
                  </a:lnTo>
                  <a:lnTo>
                    <a:pt x="222" y="77"/>
                  </a:lnTo>
                  <a:lnTo>
                    <a:pt x="222" y="76"/>
                  </a:lnTo>
                  <a:lnTo>
                    <a:pt x="221" y="76"/>
                  </a:lnTo>
                  <a:lnTo>
                    <a:pt x="220" y="76"/>
                  </a:lnTo>
                  <a:lnTo>
                    <a:pt x="220" y="75"/>
                  </a:lnTo>
                  <a:lnTo>
                    <a:pt x="218" y="76"/>
                  </a:lnTo>
                  <a:lnTo>
                    <a:pt x="217" y="77"/>
                  </a:lnTo>
                  <a:lnTo>
                    <a:pt x="216" y="77"/>
                  </a:lnTo>
                  <a:lnTo>
                    <a:pt x="210" y="79"/>
                  </a:lnTo>
                  <a:lnTo>
                    <a:pt x="207" y="80"/>
                  </a:lnTo>
                  <a:lnTo>
                    <a:pt x="207" y="79"/>
                  </a:lnTo>
                  <a:lnTo>
                    <a:pt x="206" y="79"/>
                  </a:lnTo>
                  <a:lnTo>
                    <a:pt x="203" y="79"/>
                  </a:lnTo>
                  <a:lnTo>
                    <a:pt x="201" y="79"/>
                  </a:lnTo>
                  <a:lnTo>
                    <a:pt x="200" y="79"/>
                  </a:lnTo>
                  <a:lnTo>
                    <a:pt x="199" y="80"/>
                  </a:lnTo>
                  <a:lnTo>
                    <a:pt x="198" y="80"/>
                  </a:lnTo>
                  <a:lnTo>
                    <a:pt x="196" y="80"/>
                  </a:lnTo>
                  <a:lnTo>
                    <a:pt x="195" y="81"/>
                  </a:lnTo>
                  <a:lnTo>
                    <a:pt x="194" y="82"/>
                  </a:lnTo>
                  <a:lnTo>
                    <a:pt x="193" y="82"/>
                  </a:lnTo>
                  <a:lnTo>
                    <a:pt x="192" y="83"/>
                  </a:lnTo>
                  <a:lnTo>
                    <a:pt x="189" y="84"/>
                  </a:lnTo>
                  <a:lnTo>
                    <a:pt x="185" y="86"/>
                  </a:lnTo>
                  <a:lnTo>
                    <a:pt x="182" y="86"/>
                  </a:lnTo>
                  <a:lnTo>
                    <a:pt x="181" y="86"/>
                  </a:lnTo>
                  <a:lnTo>
                    <a:pt x="180" y="84"/>
                  </a:lnTo>
                  <a:lnTo>
                    <a:pt x="179" y="84"/>
                  </a:lnTo>
                  <a:lnTo>
                    <a:pt x="179" y="86"/>
                  </a:lnTo>
                  <a:lnTo>
                    <a:pt x="177" y="86"/>
                  </a:lnTo>
                  <a:lnTo>
                    <a:pt x="175" y="86"/>
                  </a:lnTo>
                  <a:lnTo>
                    <a:pt x="174" y="84"/>
                  </a:lnTo>
                  <a:lnTo>
                    <a:pt x="173" y="83"/>
                  </a:lnTo>
                  <a:lnTo>
                    <a:pt x="172" y="82"/>
                  </a:lnTo>
                  <a:lnTo>
                    <a:pt x="170" y="82"/>
                  </a:lnTo>
                  <a:lnTo>
                    <a:pt x="168" y="82"/>
                  </a:lnTo>
                  <a:lnTo>
                    <a:pt x="167" y="82"/>
                  </a:lnTo>
                  <a:lnTo>
                    <a:pt x="166" y="83"/>
                  </a:lnTo>
                  <a:lnTo>
                    <a:pt x="164" y="84"/>
                  </a:lnTo>
                  <a:lnTo>
                    <a:pt x="161" y="84"/>
                  </a:lnTo>
                  <a:lnTo>
                    <a:pt x="160" y="84"/>
                  </a:lnTo>
                  <a:lnTo>
                    <a:pt x="159" y="86"/>
                  </a:lnTo>
                  <a:lnTo>
                    <a:pt x="158" y="86"/>
                  </a:lnTo>
                  <a:lnTo>
                    <a:pt x="157" y="86"/>
                  </a:lnTo>
                  <a:lnTo>
                    <a:pt x="156" y="86"/>
                  </a:lnTo>
                  <a:lnTo>
                    <a:pt x="154" y="86"/>
                  </a:lnTo>
                  <a:lnTo>
                    <a:pt x="154" y="87"/>
                  </a:lnTo>
                  <a:lnTo>
                    <a:pt x="153" y="86"/>
                  </a:lnTo>
                  <a:lnTo>
                    <a:pt x="153" y="84"/>
                  </a:lnTo>
                  <a:lnTo>
                    <a:pt x="152" y="84"/>
                  </a:lnTo>
                  <a:lnTo>
                    <a:pt x="152" y="83"/>
                  </a:lnTo>
                  <a:lnTo>
                    <a:pt x="151" y="83"/>
                  </a:lnTo>
                  <a:lnTo>
                    <a:pt x="149" y="83"/>
                  </a:lnTo>
                  <a:lnTo>
                    <a:pt x="148" y="84"/>
                  </a:lnTo>
                  <a:lnTo>
                    <a:pt x="148" y="86"/>
                  </a:lnTo>
                  <a:lnTo>
                    <a:pt x="148" y="87"/>
                  </a:lnTo>
                  <a:lnTo>
                    <a:pt x="148" y="88"/>
                  </a:lnTo>
                  <a:lnTo>
                    <a:pt x="148" y="89"/>
                  </a:lnTo>
                  <a:lnTo>
                    <a:pt x="148" y="90"/>
                  </a:lnTo>
                  <a:lnTo>
                    <a:pt x="149" y="90"/>
                  </a:lnTo>
                  <a:lnTo>
                    <a:pt x="149" y="91"/>
                  </a:lnTo>
                  <a:lnTo>
                    <a:pt x="150" y="91"/>
                  </a:lnTo>
                  <a:lnTo>
                    <a:pt x="150" y="93"/>
                  </a:lnTo>
                  <a:lnTo>
                    <a:pt x="149" y="93"/>
                  </a:lnTo>
                  <a:lnTo>
                    <a:pt x="148" y="93"/>
                  </a:lnTo>
                  <a:lnTo>
                    <a:pt x="146" y="93"/>
                  </a:lnTo>
                  <a:lnTo>
                    <a:pt x="146" y="94"/>
                  </a:lnTo>
                  <a:lnTo>
                    <a:pt x="146" y="96"/>
                  </a:lnTo>
                  <a:lnTo>
                    <a:pt x="145" y="96"/>
                  </a:lnTo>
                  <a:lnTo>
                    <a:pt x="145" y="97"/>
                  </a:lnTo>
                  <a:lnTo>
                    <a:pt x="144" y="96"/>
                  </a:lnTo>
                  <a:lnTo>
                    <a:pt x="144" y="97"/>
                  </a:lnTo>
                  <a:lnTo>
                    <a:pt x="144" y="98"/>
                  </a:lnTo>
                  <a:lnTo>
                    <a:pt x="143" y="98"/>
                  </a:lnTo>
                  <a:lnTo>
                    <a:pt x="142" y="98"/>
                  </a:lnTo>
                  <a:lnTo>
                    <a:pt x="142" y="97"/>
                  </a:lnTo>
                  <a:lnTo>
                    <a:pt x="141" y="97"/>
                  </a:lnTo>
                  <a:lnTo>
                    <a:pt x="141" y="96"/>
                  </a:lnTo>
                  <a:lnTo>
                    <a:pt x="142" y="96"/>
                  </a:lnTo>
                  <a:lnTo>
                    <a:pt x="141" y="95"/>
                  </a:lnTo>
                  <a:lnTo>
                    <a:pt x="139" y="93"/>
                  </a:lnTo>
                  <a:lnTo>
                    <a:pt x="138" y="91"/>
                  </a:lnTo>
                  <a:lnTo>
                    <a:pt x="138" y="90"/>
                  </a:lnTo>
                  <a:lnTo>
                    <a:pt x="139" y="90"/>
                  </a:lnTo>
                  <a:lnTo>
                    <a:pt x="139" y="89"/>
                  </a:lnTo>
                  <a:lnTo>
                    <a:pt x="141" y="88"/>
                  </a:lnTo>
                  <a:lnTo>
                    <a:pt x="142" y="88"/>
                  </a:lnTo>
                  <a:lnTo>
                    <a:pt x="143" y="87"/>
                  </a:lnTo>
                  <a:lnTo>
                    <a:pt x="143" y="86"/>
                  </a:lnTo>
                  <a:lnTo>
                    <a:pt x="143" y="84"/>
                  </a:lnTo>
                  <a:lnTo>
                    <a:pt x="143" y="83"/>
                  </a:lnTo>
                  <a:lnTo>
                    <a:pt x="142" y="82"/>
                  </a:lnTo>
                  <a:lnTo>
                    <a:pt x="141" y="82"/>
                  </a:lnTo>
                  <a:lnTo>
                    <a:pt x="139" y="81"/>
                  </a:lnTo>
                  <a:lnTo>
                    <a:pt x="139" y="82"/>
                  </a:lnTo>
                  <a:lnTo>
                    <a:pt x="138" y="83"/>
                  </a:lnTo>
                  <a:lnTo>
                    <a:pt x="137" y="83"/>
                  </a:lnTo>
                  <a:lnTo>
                    <a:pt x="137" y="84"/>
                  </a:lnTo>
                  <a:lnTo>
                    <a:pt x="136" y="84"/>
                  </a:lnTo>
                  <a:lnTo>
                    <a:pt x="135" y="84"/>
                  </a:lnTo>
                  <a:lnTo>
                    <a:pt x="135" y="86"/>
                  </a:lnTo>
                  <a:lnTo>
                    <a:pt x="135" y="84"/>
                  </a:lnTo>
                  <a:lnTo>
                    <a:pt x="135" y="86"/>
                  </a:lnTo>
                  <a:lnTo>
                    <a:pt x="135" y="84"/>
                  </a:lnTo>
                  <a:lnTo>
                    <a:pt x="136" y="84"/>
                  </a:lnTo>
                  <a:lnTo>
                    <a:pt x="135" y="84"/>
                  </a:lnTo>
                  <a:lnTo>
                    <a:pt x="136" y="84"/>
                  </a:lnTo>
                  <a:lnTo>
                    <a:pt x="135" y="86"/>
                  </a:lnTo>
                  <a:lnTo>
                    <a:pt x="136" y="86"/>
                  </a:lnTo>
                  <a:lnTo>
                    <a:pt x="136" y="84"/>
                  </a:lnTo>
                  <a:lnTo>
                    <a:pt x="136" y="86"/>
                  </a:lnTo>
                  <a:lnTo>
                    <a:pt x="136" y="87"/>
                  </a:lnTo>
                  <a:lnTo>
                    <a:pt x="135" y="87"/>
                  </a:lnTo>
                  <a:lnTo>
                    <a:pt x="134" y="87"/>
                  </a:lnTo>
                  <a:lnTo>
                    <a:pt x="135" y="87"/>
                  </a:lnTo>
                  <a:lnTo>
                    <a:pt x="134" y="87"/>
                  </a:lnTo>
                  <a:lnTo>
                    <a:pt x="132" y="87"/>
                  </a:lnTo>
                  <a:lnTo>
                    <a:pt x="132" y="88"/>
                  </a:lnTo>
                  <a:lnTo>
                    <a:pt x="131" y="88"/>
                  </a:lnTo>
                  <a:lnTo>
                    <a:pt x="131" y="87"/>
                  </a:lnTo>
                  <a:lnTo>
                    <a:pt x="128" y="86"/>
                  </a:lnTo>
                  <a:lnTo>
                    <a:pt x="128" y="84"/>
                  </a:lnTo>
                  <a:lnTo>
                    <a:pt x="127" y="84"/>
                  </a:lnTo>
                  <a:lnTo>
                    <a:pt x="125" y="84"/>
                  </a:lnTo>
                  <a:lnTo>
                    <a:pt x="125" y="83"/>
                  </a:lnTo>
                  <a:lnTo>
                    <a:pt x="124" y="83"/>
                  </a:lnTo>
                  <a:lnTo>
                    <a:pt x="123" y="83"/>
                  </a:lnTo>
                  <a:lnTo>
                    <a:pt x="122" y="83"/>
                  </a:lnTo>
                  <a:lnTo>
                    <a:pt x="121" y="84"/>
                  </a:lnTo>
                  <a:lnTo>
                    <a:pt x="120" y="86"/>
                  </a:lnTo>
                  <a:lnTo>
                    <a:pt x="118" y="87"/>
                  </a:lnTo>
                  <a:lnTo>
                    <a:pt x="117" y="87"/>
                  </a:lnTo>
                  <a:lnTo>
                    <a:pt x="117" y="88"/>
                  </a:lnTo>
                  <a:lnTo>
                    <a:pt x="117" y="89"/>
                  </a:lnTo>
                  <a:lnTo>
                    <a:pt x="116" y="89"/>
                  </a:lnTo>
                  <a:lnTo>
                    <a:pt x="116" y="90"/>
                  </a:lnTo>
                  <a:lnTo>
                    <a:pt x="115" y="91"/>
                  </a:lnTo>
                  <a:lnTo>
                    <a:pt x="115" y="93"/>
                  </a:lnTo>
                  <a:lnTo>
                    <a:pt x="114" y="93"/>
                  </a:lnTo>
                  <a:lnTo>
                    <a:pt x="114" y="91"/>
                  </a:lnTo>
                  <a:lnTo>
                    <a:pt x="113" y="91"/>
                  </a:lnTo>
                  <a:lnTo>
                    <a:pt x="113" y="93"/>
                  </a:lnTo>
                  <a:lnTo>
                    <a:pt x="111" y="93"/>
                  </a:lnTo>
                  <a:lnTo>
                    <a:pt x="111" y="94"/>
                  </a:lnTo>
                  <a:lnTo>
                    <a:pt x="110" y="94"/>
                  </a:lnTo>
                  <a:lnTo>
                    <a:pt x="110" y="93"/>
                  </a:lnTo>
                  <a:lnTo>
                    <a:pt x="110" y="94"/>
                  </a:lnTo>
                  <a:lnTo>
                    <a:pt x="109" y="94"/>
                  </a:lnTo>
                  <a:lnTo>
                    <a:pt x="108" y="94"/>
                  </a:lnTo>
                  <a:lnTo>
                    <a:pt x="107" y="94"/>
                  </a:lnTo>
                  <a:lnTo>
                    <a:pt x="106" y="94"/>
                  </a:lnTo>
                  <a:lnTo>
                    <a:pt x="104" y="94"/>
                  </a:lnTo>
                  <a:lnTo>
                    <a:pt x="103" y="94"/>
                  </a:lnTo>
                  <a:lnTo>
                    <a:pt x="103" y="95"/>
                  </a:lnTo>
                  <a:lnTo>
                    <a:pt x="102" y="95"/>
                  </a:lnTo>
                  <a:lnTo>
                    <a:pt x="101" y="95"/>
                  </a:lnTo>
                  <a:lnTo>
                    <a:pt x="100" y="95"/>
                  </a:lnTo>
                  <a:lnTo>
                    <a:pt x="100" y="96"/>
                  </a:lnTo>
                  <a:lnTo>
                    <a:pt x="99" y="96"/>
                  </a:lnTo>
                  <a:lnTo>
                    <a:pt x="97" y="95"/>
                  </a:lnTo>
                  <a:lnTo>
                    <a:pt x="96" y="95"/>
                  </a:lnTo>
                  <a:lnTo>
                    <a:pt x="95" y="95"/>
                  </a:lnTo>
                  <a:lnTo>
                    <a:pt x="95" y="94"/>
                  </a:lnTo>
                  <a:lnTo>
                    <a:pt x="94" y="94"/>
                  </a:lnTo>
                  <a:lnTo>
                    <a:pt x="93" y="93"/>
                  </a:lnTo>
                  <a:lnTo>
                    <a:pt x="93" y="91"/>
                  </a:lnTo>
                  <a:lnTo>
                    <a:pt x="92" y="91"/>
                  </a:lnTo>
                  <a:lnTo>
                    <a:pt x="90" y="90"/>
                  </a:lnTo>
                  <a:lnTo>
                    <a:pt x="90" y="89"/>
                  </a:lnTo>
                  <a:lnTo>
                    <a:pt x="89" y="89"/>
                  </a:lnTo>
                  <a:lnTo>
                    <a:pt x="89" y="88"/>
                  </a:lnTo>
                  <a:lnTo>
                    <a:pt x="88" y="88"/>
                  </a:lnTo>
                  <a:lnTo>
                    <a:pt x="88" y="87"/>
                  </a:lnTo>
                  <a:lnTo>
                    <a:pt x="87" y="87"/>
                  </a:lnTo>
                  <a:lnTo>
                    <a:pt x="86" y="87"/>
                  </a:lnTo>
                  <a:lnTo>
                    <a:pt x="85" y="87"/>
                  </a:lnTo>
                  <a:lnTo>
                    <a:pt x="85" y="86"/>
                  </a:lnTo>
                  <a:lnTo>
                    <a:pt x="84" y="86"/>
                  </a:lnTo>
                  <a:lnTo>
                    <a:pt x="82" y="86"/>
                  </a:lnTo>
                  <a:lnTo>
                    <a:pt x="80" y="84"/>
                  </a:lnTo>
                  <a:lnTo>
                    <a:pt x="80" y="83"/>
                  </a:lnTo>
                  <a:lnTo>
                    <a:pt x="79" y="83"/>
                  </a:lnTo>
                  <a:lnTo>
                    <a:pt x="74" y="82"/>
                  </a:lnTo>
                  <a:lnTo>
                    <a:pt x="72" y="82"/>
                  </a:lnTo>
                  <a:lnTo>
                    <a:pt x="71" y="82"/>
                  </a:lnTo>
                  <a:lnTo>
                    <a:pt x="70" y="82"/>
                  </a:lnTo>
                  <a:lnTo>
                    <a:pt x="70" y="83"/>
                  </a:lnTo>
                  <a:lnTo>
                    <a:pt x="70" y="84"/>
                  </a:lnTo>
                  <a:lnTo>
                    <a:pt x="70" y="86"/>
                  </a:lnTo>
                  <a:lnTo>
                    <a:pt x="70" y="87"/>
                  </a:lnTo>
                  <a:lnTo>
                    <a:pt x="70" y="88"/>
                  </a:lnTo>
                  <a:lnTo>
                    <a:pt x="68" y="88"/>
                  </a:lnTo>
                  <a:lnTo>
                    <a:pt x="68" y="89"/>
                  </a:lnTo>
                  <a:lnTo>
                    <a:pt x="68" y="90"/>
                  </a:lnTo>
                  <a:lnTo>
                    <a:pt x="70" y="90"/>
                  </a:lnTo>
                  <a:lnTo>
                    <a:pt x="70" y="91"/>
                  </a:lnTo>
                  <a:lnTo>
                    <a:pt x="68" y="91"/>
                  </a:lnTo>
                  <a:lnTo>
                    <a:pt x="68" y="93"/>
                  </a:lnTo>
                  <a:lnTo>
                    <a:pt x="67" y="93"/>
                  </a:lnTo>
                  <a:lnTo>
                    <a:pt x="67" y="91"/>
                  </a:lnTo>
                  <a:lnTo>
                    <a:pt x="66" y="91"/>
                  </a:lnTo>
                  <a:lnTo>
                    <a:pt x="65" y="91"/>
                  </a:lnTo>
                  <a:lnTo>
                    <a:pt x="64" y="91"/>
                  </a:lnTo>
                  <a:lnTo>
                    <a:pt x="64" y="93"/>
                  </a:lnTo>
                  <a:lnTo>
                    <a:pt x="64" y="91"/>
                  </a:lnTo>
                  <a:lnTo>
                    <a:pt x="64" y="93"/>
                  </a:lnTo>
                  <a:lnTo>
                    <a:pt x="64" y="91"/>
                  </a:lnTo>
                  <a:lnTo>
                    <a:pt x="63" y="91"/>
                  </a:lnTo>
                  <a:lnTo>
                    <a:pt x="64" y="91"/>
                  </a:lnTo>
                  <a:lnTo>
                    <a:pt x="64" y="93"/>
                  </a:lnTo>
                  <a:lnTo>
                    <a:pt x="63" y="93"/>
                  </a:lnTo>
                  <a:lnTo>
                    <a:pt x="61" y="93"/>
                  </a:lnTo>
                  <a:lnTo>
                    <a:pt x="60" y="93"/>
                  </a:lnTo>
                  <a:lnTo>
                    <a:pt x="60" y="94"/>
                  </a:lnTo>
                  <a:lnTo>
                    <a:pt x="59" y="94"/>
                  </a:lnTo>
                  <a:lnTo>
                    <a:pt x="60" y="94"/>
                  </a:lnTo>
                  <a:lnTo>
                    <a:pt x="59" y="94"/>
                  </a:lnTo>
                  <a:lnTo>
                    <a:pt x="58" y="94"/>
                  </a:lnTo>
                  <a:lnTo>
                    <a:pt x="58" y="93"/>
                  </a:lnTo>
                  <a:lnTo>
                    <a:pt x="57" y="93"/>
                  </a:lnTo>
                  <a:lnTo>
                    <a:pt x="58" y="93"/>
                  </a:lnTo>
                  <a:lnTo>
                    <a:pt x="57" y="93"/>
                  </a:lnTo>
                  <a:lnTo>
                    <a:pt x="56" y="93"/>
                  </a:lnTo>
                  <a:lnTo>
                    <a:pt x="54" y="93"/>
                  </a:lnTo>
                  <a:lnTo>
                    <a:pt x="54" y="91"/>
                  </a:lnTo>
                  <a:lnTo>
                    <a:pt x="54" y="93"/>
                  </a:lnTo>
                  <a:lnTo>
                    <a:pt x="53" y="93"/>
                  </a:lnTo>
                  <a:lnTo>
                    <a:pt x="53" y="91"/>
                  </a:lnTo>
                  <a:lnTo>
                    <a:pt x="53" y="93"/>
                  </a:lnTo>
                  <a:lnTo>
                    <a:pt x="53" y="91"/>
                  </a:lnTo>
                  <a:lnTo>
                    <a:pt x="52" y="91"/>
                  </a:lnTo>
                  <a:lnTo>
                    <a:pt x="52" y="90"/>
                  </a:lnTo>
                  <a:lnTo>
                    <a:pt x="51" y="90"/>
                  </a:lnTo>
                  <a:lnTo>
                    <a:pt x="51" y="89"/>
                  </a:lnTo>
                  <a:lnTo>
                    <a:pt x="50" y="88"/>
                  </a:lnTo>
                  <a:lnTo>
                    <a:pt x="51" y="88"/>
                  </a:lnTo>
                  <a:lnTo>
                    <a:pt x="51" y="87"/>
                  </a:lnTo>
                  <a:lnTo>
                    <a:pt x="50" y="88"/>
                  </a:lnTo>
                  <a:lnTo>
                    <a:pt x="50" y="87"/>
                  </a:lnTo>
                  <a:lnTo>
                    <a:pt x="50" y="88"/>
                  </a:lnTo>
                  <a:lnTo>
                    <a:pt x="49" y="88"/>
                  </a:lnTo>
                  <a:lnTo>
                    <a:pt x="50" y="87"/>
                  </a:lnTo>
                  <a:lnTo>
                    <a:pt x="49" y="87"/>
                  </a:lnTo>
                  <a:lnTo>
                    <a:pt x="50" y="87"/>
                  </a:lnTo>
                  <a:lnTo>
                    <a:pt x="50" y="86"/>
                  </a:lnTo>
                  <a:lnTo>
                    <a:pt x="50" y="87"/>
                  </a:lnTo>
                  <a:lnTo>
                    <a:pt x="50" y="86"/>
                  </a:lnTo>
                  <a:lnTo>
                    <a:pt x="51" y="86"/>
                  </a:lnTo>
                  <a:lnTo>
                    <a:pt x="50" y="86"/>
                  </a:lnTo>
                  <a:lnTo>
                    <a:pt x="49" y="84"/>
                  </a:lnTo>
                  <a:lnTo>
                    <a:pt x="47" y="84"/>
                  </a:lnTo>
                  <a:lnTo>
                    <a:pt x="47" y="86"/>
                  </a:lnTo>
                  <a:lnTo>
                    <a:pt x="46" y="86"/>
                  </a:lnTo>
                  <a:lnTo>
                    <a:pt x="47" y="86"/>
                  </a:lnTo>
                  <a:lnTo>
                    <a:pt x="47" y="87"/>
                  </a:lnTo>
                  <a:lnTo>
                    <a:pt x="46" y="87"/>
                  </a:lnTo>
                  <a:lnTo>
                    <a:pt x="46" y="86"/>
                  </a:lnTo>
                  <a:lnTo>
                    <a:pt x="45" y="84"/>
                  </a:lnTo>
                  <a:lnTo>
                    <a:pt x="44" y="86"/>
                  </a:lnTo>
                  <a:lnTo>
                    <a:pt x="44" y="84"/>
                  </a:lnTo>
                  <a:lnTo>
                    <a:pt x="44" y="83"/>
                  </a:lnTo>
                  <a:lnTo>
                    <a:pt x="43" y="83"/>
                  </a:lnTo>
                  <a:lnTo>
                    <a:pt x="42" y="83"/>
                  </a:lnTo>
                  <a:lnTo>
                    <a:pt x="42" y="82"/>
                  </a:lnTo>
                  <a:lnTo>
                    <a:pt x="40" y="82"/>
                  </a:lnTo>
                  <a:lnTo>
                    <a:pt x="40" y="83"/>
                  </a:lnTo>
                  <a:lnTo>
                    <a:pt x="39" y="83"/>
                  </a:lnTo>
                  <a:lnTo>
                    <a:pt x="39" y="82"/>
                  </a:lnTo>
                  <a:lnTo>
                    <a:pt x="38" y="83"/>
                  </a:lnTo>
                  <a:lnTo>
                    <a:pt x="39" y="83"/>
                  </a:lnTo>
                  <a:lnTo>
                    <a:pt x="39" y="84"/>
                  </a:lnTo>
                  <a:lnTo>
                    <a:pt x="38" y="84"/>
                  </a:lnTo>
                  <a:lnTo>
                    <a:pt x="39" y="84"/>
                  </a:lnTo>
                  <a:lnTo>
                    <a:pt x="38" y="86"/>
                  </a:lnTo>
                  <a:lnTo>
                    <a:pt x="37" y="86"/>
                  </a:lnTo>
                  <a:lnTo>
                    <a:pt x="37" y="87"/>
                  </a:lnTo>
                  <a:lnTo>
                    <a:pt x="36" y="87"/>
                  </a:lnTo>
                  <a:lnTo>
                    <a:pt x="37" y="87"/>
                  </a:lnTo>
                  <a:lnTo>
                    <a:pt x="37" y="86"/>
                  </a:lnTo>
                  <a:lnTo>
                    <a:pt x="36" y="86"/>
                  </a:lnTo>
                  <a:lnTo>
                    <a:pt x="37" y="86"/>
                  </a:lnTo>
                  <a:lnTo>
                    <a:pt x="36" y="86"/>
                  </a:lnTo>
                  <a:lnTo>
                    <a:pt x="36" y="84"/>
                  </a:lnTo>
                  <a:lnTo>
                    <a:pt x="37" y="84"/>
                  </a:lnTo>
                  <a:lnTo>
                    <a:pt x="37" y="83"/>
                  </a:lnTo>
                  <a:lnTo>
                    <a:pt x="37" y="84"/>
                  </a:lnTo>
                  <a:lnTo>
                    <a:pt x="37" y="83"/>
                  </a:lnTo>
                  <a:lnTo>
                    <a:pt x="36" y="84"/>
                  </a:lnTo>
                  <a:lnTo>
                    <a:pt x="36" y="83"/>
                  </a:lnTo>
                  <a:lnTo>
                    <a:pt x="36" y="84"/>
                  </a:lnTo>
                  <a:lnTo>
                    <a:pt x="35" y="84"/>
                  </a:lnTo>
                  <a:lnTo>
                    <a:pt x="33" y="84"/>
                  </a:lnTo>
                  <a:lnTo>
                    <a:pt x="32" y="84"/>
                  </a:lnTo>
                  <a:lnTo>
                    <a:pt x="31" y="84"/>
                  </a:lnTo>
                  <a:lnTo>
                    <a:pt x="31" y="86"/>
                  </a:lnTo>
                  <a:lnTo>
                    <a:pt x="30" y="86"/>
                  </a:lnTo>
                  <a:lnTo>
                    <a:pt x="29" y="86"/>
                  </a:lnTo>
                  <a:lnTo>
                    <a:pt x="28" y="86"/>
                  </a:lnTo>
                  <a:lnTo>
                    <a:pt x="28" y="84"/>
                  </a:lnTo>
                  <a:lnTo>
                    <a:pt x="29" y="84"/>
                  </a:lnTo>
                  <a:lnTo>
                    <a:pt x="30" y="84"/>
                  </a:lnTo>
                  <a:lnTo>
                    <a:pt x="30" y="83"/>
                  </a:lnTo>
                  <a:lnTo>
                    <a:pt x="31" y="83"/>
                  </a:lnTo>
                  <a:lnTo>
                    <a:pt x="32" y="83"/>
                  </a:lnTo>
                  <a:lnTo>
                    <a:pt x="33" y="83"/>
                  </a:lnTo>
                  <a:lnTo>
                    <a:pt x="35" y="83"/>
                  </a:lnTo>
                  <a:lnTo>
                    <a:pt x="36" y="83"/>
                  </a:lnTo>
                  <a:lnTo>
                    <a:pt x="36" y="82"/>
                  </a:lnTo>
                  <a:lnTo>
                    <a:pt x="36" y="81"/>
                  </a:lnTo>
                  <a:lnTo>
                    <a:pt x="37" y="81"/>
                  </a:lnTo>
                  <a:lnTo>
                    <a:pt x="37" y="82"/>
                  </a:lnTo>
                  <a:lnTo>
                    <a:pt x="37" y="81"/>
                  </a:lnTo>
                  <a:lnTo>
                    <a:pt x="38" y="81"/>
                  </a:lnTo>
                  <a:lnTo>
                    <a:pt x="38" y="80"/>
                  </a:lnTo>
                  <a:lnTo>
                    <a:pt x="38" y="81"/>
                  </a:lnTo>
                  <a:lnTo>
                    <a:pt x="38" y="80"/>
                  </a:lnTo>
                  <a:lnTo>
                    <a:pt x="39" y="80"/>
                  </a:lnTo>
                  <a:lnTo>
                    <a:pt x="37" y="80"/>
                  </a:lnTo>
                  <a:lnTo>
                    <a:pt x="36" y="80"/>
                  </a:lnTo>
                  <a:lnTo>
                    <a:pt x="35" y="80"/>
                  </a:lnTo>
                  <a:lnTo>
                    <a:pt x="33" y="80"/>
                  </a:lnTo>
                  <a:lnTo>
                    <a:pt x="32" y="80"/>
                  </a:lnTo>
                  <a:lnTo>
                    <a:pt x="31" y="80"/>
                  </a:lnTo>
                  <a:lnTo>
                    <a:pt x="30" y="81"/>
                  </a:lnTo>
                  <a:lnTo>
                    <a:pt x="30" y="80"/>
                  </a:lnTo>
                  <a:lnTo>
                    <a:pt x="30" y="81"/>
                  </a:lnTo>
                  <a:lnTo>
                    <a:pt x="29" y="81"/>
                  </a:lnTo>
                  <a:lnTo>
                    <a:pt x="29" y="80"/>
                  </a:lnTo>
                  <a:lnTo>
                    <a:pt x="29" y="81"/>
                  </a:lnTo>
                  <a:lnTo>
                    <a:pt x="29" y="80"/>
                  </a:lnTo>
                  <a:lnTo>
                    <a:pt x="28" y="80"/>
                  </a:lnTo>
                  <a:lnTo>
                    <a:pt x="26" y="80"/>
                  </a:lnTo>
                  <a:lnTo>
                    <a:pt x="28" y="80"/>
                  </a:lnTo>
                  <a:lnTo>
                    <a:pt x="26" y="80"/>
                  </a:lnTo>
                  <a:lnTo>
                    <a:pt x="26" y="81"/>
                  </a:lnTo>
                  <a:lnTo>
                    <a:pt x="25" y="81"/>
                  </a:lnTo>
                  <a:lnTo>
                    <a:pt x="25" y="80"/>
                  </a:lnTo>
                  <a:lnTo>
                    <a:pt x="25" y="79"/>
                  </a:lnTo>
                  <a:lnTo>
                    <a:pt x="26" y="79"/>
                  </a:lnTo>
                  <a:lnTo>
                    <a:pt x="26" y="77"/>
                  </a:lnTo>
                  <a:lnTo>
                    <a:pt x="26" y="79"/>
                  </a:lnTo>
                  <a:lnTo>
                    <a:pt x="26" y="77"/>
                  </a:lnTo>
                  <a:lnTo>
                    <a:pt x="26" y="79"/>
                  </a:lnTo>
                  <a:lnTo>
                    <a:pt x="28" y="79"/>
                  </a:lnTo>
                  <a:lnTo>
                    <a:pt x="29" y="79"/>
                  </a:lnTo>
                  <a:lnTo>
                    <a:pt x="30" y="79"/>
                  </a:lnTo>
                  <a:lnTo>
                    <a:pt x="29" y="79"/>
                  </a:lnTo>
                  <a:lnTo>
                    <a:pt x="29" y="77"/>
                  </a:lnTo>
                  <a:lnTo>
                    <a:pt x="30" y="77"/>
                  </a:lnTo>
                  <a:lnTo>
                    <a:pt x="29" y="77"/>
                  </a:lnTo>
                  <a:lnTo>
                    <a:pt x="30" y="77"/>
                  </a:lnTo>
                  <a:lnTo>
                    <a:pt x="30" y="76"/>
                  </a:lnTo>
                  <a:lnTo>
                    <a:pt x="29" y="76"/>
                  </a:lnTo>
                  <a:lnTo>
                    <a:pt x="28" y="76"/>
                  </a:lnTo>
                  <a:lnTo>
                    <a:pt x="28" y="75"/>
                  </a:lnTo>
                  <a:lnTo>
                    <a:pt x="26" y="75"/>
                  </a:lnTo>
                  <a:lnTo>
                    <a:pt x="26" y="74"/>
                  </a:lnTo>
                  <a:lnTo>
                    <a:pt x="28" y="74"/>
                  </a:lnTo>
                  <a:lnTo>
                    <a:pt x="26" y="74"/>
                  </a:lnTo>
                  <a:lnTo>
                    <a:pt x="25" y="74"/>
                  </a:lnTo>
                  <a:lnTo>
                    <a:pt x="26" y="75"/>
                  </a:lnTo>
                  <a:lnTo>
                    <a:pt x="25" y="75"/>
                  </a:lnTo>
                  <a:lnTo>
                    <a:pt x="24" y="75"/>
                  </a:lnTo>
                  <a:lnTo>
                    <a:pt x="24" y="74"/>
                  </a:lnTo>
                  <a:lnTo>
                    <a:pt x="24" y="73"/>
                  </a:lnTo>
                  <a:lnTo>
                    <a:pt x="24" y="72"/>
                  </a:lnTo>
                  <a:lnTo>
                    <a:pt x="24" y="70"/>
                  </a:lnTo>
                  <a:lnTo>
                    <a:pt x="23" y="70"/>
                  </a:lnTo>
                  <a:lnTo>
                    <a:pt x="22" y="70"/>
                  </a:lnTo>
                  <a:lnTo>
                    <a:pt x="21" y="69"/>
                  </a:lnTo>
                  <a:lnTo>
                    <a:pt x="22" y="69"/>
                  </a:lnTo>
                  <a:lnTo>
                    <a:pt x="23" y="69"/>
                  </a:lnTo>
                  <a:lnTo>
                    <a:pt x="24" y="69"/>
                  </a:lnTo>
                  <a:lnTo>
                    <a:pt x="24" y="68"/>
                  </a:lnTo>
                  <a:lnTo>
                    <a:pt x="24" y="67"/>
                  </a:lnTo>
                  <a:lnTo>
                    <a:pt x="24" y="66"/>
                  </a:lnTo>
                  <a:lnTo>
                    <a:pt x="24" y="65"/>
                  </a:lnTo>
                  <a:lnTo>
                    <a:pt x="23" y="65"/>
                  </a:lnTo>
                  <a:lnTo>
                    <a:pt x="22" y="65"/>
                  </a:lnTo>
                  <a:lnTo>
                    <a:pt x="22" y="63"/>
                  </a:lnTo>
                  <a:lnTo>
                    <a:pt x="21" y="63"/>
                  </a:lnTo>
                  <a:lnTo>
                    <a:pt x="20" y="63"/>
                  </a:lnTo>
                  <a:lnTo>
                    <a:pt x="18" y="63"/>
                  </a:lnTo>
                  <a:lnTo>
                    <a:pt x="18" y="62"/>
                  </a:lnTo>
                  <a:lnTo>
                    <a:pt x="17" y="62"/>
                  </a:lnTo>
                  <a:lnTo>
                    <a:pt x="17" y="61"/>
                  </a:lnTo>
                  <a:lnTo>
                    <a:pt x="16" y="61"/>
                  </a:lnTo>
                  <a:lnTo>
                    <a:pt x="15" y="62"/>
                  </a:lnTo>
                  <a:lnTo>
                    <a:pt x="14" y="62"/>
                  </a:lnTo>
                  <a:lnTo>
                    <a:pt x="14" y="61"/>
                  </a:lnTo>
                  <a:lnTo>
                    <a:pt x="14" y="62"/>
                  </a:lnTo>
                  <a:lnTo>
                    <a:pt x="14" y="61"/>
                  </a:lnTo>
                  <a:lnTo>
                    <a:pt x="13" y="61"/>
                  </a:lnTo>
                  <a:lnTo>
                    <a:pt x="13" y="60"/>
                  </a:lnTo>
                  <a:lnTo>
                    <a:pt x="13" y="61"/>
                  </a:lnTo>
                  <a:lnTo>
                    <a:pt x="11" y="61"/>
                  </a:lnTo>
                  <a:lnTo>
                    <a:pt x="11" y="60"/>
                  </a:lnTo>
                  <a:lnTo>
                    <a:pt x="10" y="60"/>
                  </a:lnTo>
                  <a:lnTo>
                    <a:pt x="11" y="60"/>
                  </a:lnTo>
                  <a:lnTo>
                    <a:pt x="11" y="59"/>
                  </a:lnTo>
                  <a:lnTo>
                    <a:pt x="10" y="59"/>
                  </a:lnTo>
                  <a:lnTo>
                    <a:pt x="11" y="59"/>
                  </a:lnTo>
                  <a:lnTo>
                    <a:pt x="11" y="60"/>
                  </a:lnTo>
                  <a:lnTo>
                    <a:pt x="13" y="60"/>
                  </a:lnTo>
                  <a:lnTo>
                    <a:pt x="13" y="59"/>
                  </a:lnTo>
                  <a:lnTo>
                    <a:pt x="14" y="59"/>
                  </a:lnTo>
                  <a:lnTo>
                    <a:pt x="13" y="58"/>
                  </a:lnTo>
                  <a:lnTo>
                    <a:pt x="14" y="58"/>
                  </a:lnTo>
                  <a:lnTo>
                    <a:pt x="13" y="58"/>
                  </a:lnTo>
                  <a:lnTo>
                    <a:pt x="13" y="56"/>
                  </a:lnTo>
                  <a:lnTo>
                    <a:pt x="13" y="58"/>
                  </a:lnTo>
                  <a:lnTo>
                    <a:pt x="11" y="58"/>
                  </a:lnTo>
                  <a:lnTo>
                    <a:pt x="13" y="58"/>
                  </a:lnTo>
                  <a:lnTo>
                    <a:pt x="13" y="56"/>
                  </a:lnTo>
                  <a:lnTo>
                    <a:pt x="11" y="56"/>
                  </a:lnTo>
                  <a:lnTo>
                    <a:pt x="11" y="55"/>
                  </a:lnTo>
                  <a:lnTo>
                    <a:pt x="11" y="54"/>
                  </a:lnTo>
                  <a:lnTo>
                    <a:pt x="13" y="54"/>
                  </a:lnTo>
                  <a:lnTo>
                    <a:pt x="14" y="54"/>
                  </a:lnTo>
                  <a:lnTo>
                    <a:pt x="14" y="55"/>
                  </a:lnTo>
                  <a:lnTo>
                    <a:pt x="15" y="56"/>
                  </a:lnTo>
                  <a:lnTo>
                    <a:pt x="15" y="58"/>
                  </a:lnTo>
                  <a:lnTo>
                    <a:pt x="15" y="59"/>
                  </a:lnTo>
                  <a:lnTo>
                    <a:pt x="16" y="59"/>
                  </a:lnTo>
                  <a:lnTo>
                    <a:pt x="16" y="60"/>
                  </a:lnTo>
                  <a:lnTo>
                    <a:pt x="16" y="59"/>
                  </a:lnTo>
                  <a:lnTo>
                    <a:pt x="16" y="58"/>
                  </a:lnTo>
                  <a:lnTo>
                    <a:pt x="17" y="58"/>
                  </a:lnTo>
                  <a:lnTo>
                    <a:pt x="17" y="59"/>
                  </a:lnTo>
                  <a:lnTo>
                    <a:pt x="18" y="59"/>
                  </a:lnTo>
                  <a:lnTo>
                    <a:pt x="20" y="59"/>
                  </a:lnTo>
                  <a:lnTo>
                    <a:pt x="20" y="58"/>
                  </a:lnTo>
                  <a:lnTo>
                    <a:pt x="21" y="58"/>
                  </a:lnTo>
                  <a:lnTo>
                    <a:pt x="22" y="58"/>
                  </a:lnTo>
                  <a:lnTo>
                    <a:pt x="21" y="58"/>
                  </a:lnTo>
                  <a:lnTo>
                    <a:pt x="20" y="58"/>
                  </a:lnTo>
                  <a:lnTo>
                    <a:pt x="18" y="58"/>
                  </a:lnTo>
                  <a:lnTo>
                    <a:pt x="18" y="56"/>
                  </a:lnTo>
                  <a:lnTo>
                    <a:pt x="17" y="56"/>
                  </a:lnTo>
                  <a:lnTo>
                    <a:pt x="18" y="56"/>
                  </a:lnTo>
                  <a:lnTo>
                    <a:pt x="17" y="56"/>
                  </a:lnTo>
                  <a:lnTo>
                    <a:pt x="17" y="55"/>
                  </a:lnTo>
                  <a:lnTo>
                    <a:pt x="16" y="55"/>
                  </a:lnTo>
                  <a:lnTo>
                    <a:pt x="16" y="54"/>
                  </a:lnTo>
                  <a:lnTo>
                    <a:pt x="16" y="53"/>
                  </a:lnTo>
                  <a:lnTo>
                    <a:pt x="17" y="53"/>
                  </a:lnTo>
                  <a:lnTo>
                    <a:pt x="18" y="53"/>
                  </a:lnTo>
                  <a:lnTo>
                    <a:pt x="18" y="52"/>
                  </a:lnTo>
                  <a:lnTo>
                    <a:pt x="18" y="51"/>
                  </a:lnTo>
                  <a:lnTo>
                    <a:pt x="20" y="51"/>
                  </a:lnTo>
                  <a:lnTo>
                    <a:pt x="20" y="49"/>
                  </a:lnTo>
                  <a:lnTo>
                    <a:pt x="18" y="49"/>
                  </a:lnTo>
                  <a:lnTo>
                    <a:pt x="17" y="49"/>
                  </a:lnTo>
                  <a:lnTo>
                    <a:pt x="17" y="51"/>
                  </a:lnTo>
                  <a:lnTo>
                    <a:pt x="17" y="49"/>
                  </a:lnTo>
                  <a:lnTo>
                    <a:pt x="16" y="49"/>
                  </a:lnTo>
                  <a:lnTo>
                    <a:pt x="16" y="48"/>
                  </a:lnTo>
                  <a:lnTo>
                    <a:pt x="17" y="48"/>
                  </a:lnTo>
                  <a:lnTo>
                    <a:pt x="17" y="47"/>
                  </a:lnTo>
                  <a:lnTo>
                    <a:pt x="16" y="46"/>
                  </a:lnTo>
                  <a:lnTo>
                    <a:pt x="15" y="46"/>
                  </a:lnTo>
                  <a:lnTo>
                    <a:pt x="15" y="45"/>
                  </a:lnTo>
                  <a:lnTo>
                    <a:pt x="14" y="45"/>
                  </a:lnTo>
                  <a:lnTo>
                    <a:pt x="14" y="44"/>
                  </a:lnTo>
                  <a:lnTo>
                    <a:pt x="14" y="45"/>
                  </a:lnTo>
                  <a:lnTo>
                    <a:pt x="14" y="44"/>
                  </a:lnTo>
                  <a:lnTo>
                    <a:pt x="15" y="44"/>
                  </a:lnTo>
                  <a:lnTo>
                    <a:pt x="16" y="42"/>
                  </a:lnTo>
                  <a:lnTo>
                    <a:pt x="16" y="41"/>
                  </a:lnTo>
                  <a:lnTo>
                    <a:pt x="17" y="41"/>
                  </a:lnTo>
                  <a:lnTo>
                    <a:pt x="17" y="40"/>
                  </a:lnTo>
                  <a:lnTo>
                    <a:pt x="17" y="39"/>
                  </a:lnTo>
                  <a:lnTo>
                    <a:pt x="16" y="39"/>
                  </a:lnTo>
                  <a:lnTo>
                    <a:pt x="16" y="40"/>
                  </a:lnTo>
                  <a:lnTo>
                    <a:pt x="14" y="40"/>
                  </a:lnTo>
                  <a:lnTo>
                    <a:pt x="11" y="40"/>
                  </a:lnTo>
                  <a:lnTo>
                    <a:pt x="10" y="40"/>
                  </a:lnTo>
                  <a:lnTo>
                    <a:pt x="10" y="41"/>
                  </a:lnTo>
                  <a:lnTo>
                    <a:pt x="9" y="41"/>
                  </a:lnTo>
                  <a:lnTo>
                    <a:pt x="8" y="41"/>
                  </a:lnTo>
                  <a:lnTo>
                    <a:pt x="7" y="41"/>
                  </a:lnTo>
                  <a:lnTo>
                    <a:pt x="6" y="41"/>
                  </a:lnTo>
                  <a:lnTo>
                    <a:pt x="7" y="40"/>
                  </a:lnTo>
                  <a:lnTo>
                    <a:pt x="7" y="39"/>
                  </a:lnTo>
                  <a:lnTo>
                    <a:pt x="7" y="38"/>
                  </a:lnTo>
                  <a:lnTo>
                    <a:pt x="7" y="37"/>
                  </a:lnTo>
                  <a:lnTo>
                    <a:pt x="7" y="35"/>
                  </a:lnTo>
                  <a:lnTo>
                    <a:pt x="7" y="34"/>
                  </a:lnTo>
                  <a:lnTo>
                    <a:pt x="7" y="33"/>
                  </a:lnTo>
                  <a:lnTo>
                    <a:pt x="8" y="33"/>
                  </a:lnTo>
                  <a:lnTo>
                    <a:pt x="9" y="32"/>
                  </a:lnTo>
                  <a:lnTo>
                    <a:pt x="9" y="31"/>
                  </a:lnTo>
                  <a:lnTo>
                    <a:pt x="9" y="30"/>
                  </a:lnTo>
                  <a:lnTo>
                    <a:pt x="10" y="30"/>
                  </a:lnTo>
                  <a:lnTo>
                    <a:pt x="11" y="28"/>
                  </a:lnTo>
                  <a:lnTo>
                    <a:pt x="13" y="27"/>
                  </a:lnTo>
                  <a:lnTo>
                    <a:pt x="13" y="26"/>
                  </a:lnTo>
                  <a:lnTo>
                    <a:pt x="14" y="26"/>
                  </a:lnTo>
                  <a:lnTo>
                    <a:pt x="15" y="26"/>
                  </a:lnTo>
                  <a:lnTo>
                    <a:pt x="16" y="27"/>
                  </a:lnTo>
                  <a:lnTo>
                    <a:pt x="17" y="27"/>
                  </a:lnTo>
                  <a:lnTo>
                    <a:pt x="17" y="26"/>
                  </a:lnTo>
                  <a:lnTo>
                    <a:pt x="18" y="26"/>
                  </a:lnTo>
                  <a:lnTo>
                    <a:pt x="20" y="26"/>
                  </a:lnTo>
                  <a:lnTo>
                    <a:pt x="21" y="26"/>
                  </a:lnTo>
                  <a:lnTo>
                    <a:pt x="21" y="27"/>
                  </a:lnTo>
                  <a:lnTo>
                    <a:pt x="22" y="27"/>
                  </a:lnTo>
                  <a:lnTo>
                    <a:pt x="23" y="28"/>
                  </a:lnTo>
                  <a:lnTo>
                    <a:pt x="24" y="28"/>
                  </a:lnTo>
                  <a:lnTo>
                    <a:pt x="24" y="27"/>
                  </a:lnTo>
                  <a:lnTo>
                    <a:pt x="25" y="27"/>
                  </a:lnTo>
                  <a:lnTo>
                    <a:pt x="25" y="28"/>
                  </a:lnTo>
                  <a:lnTo>
                    <a:pt x="25" y="27"/>
                  </a:lnTo>
                  <a:lnTo>
                    <a:pt x="26" y="28"/>
                  </a:lnTo>
                  <a:lnTo>
                    <a:pt x="26" y="27"/>
                  </a:lnTo>
                  <a:lnTo>
                    <a:pt x="28" y="27"/>
                  </a:lnTo>
                  <a:lnTo>
                    <a:pt x="26" y="26"/>
                  </a:lnTo>
                  <a:lnTo>
                    <a:pt x="26" y="27"/>
                  </a:lnTo>
                  <a:lnTo>
                    <a:pt x="26" y="26"/>
                  </a:lnTo>
                  <a:lnTo>
                    <a:pt x="25" y="26"/>
                  </a:lnTo>
                  <a:lnTo>
                    <a:pt x="25" y="25"/>
                  </a:lnTo>
                  <a:lnTo>
                    <a:pt x="26" y="25"/>
                  </a:lnTo>
                  <a:lnTo>
                    <a:pt x="29" y="25"/>
                  </a:lnTo>
                  <a:lnTo>
                    <a:pt x="30" y="25"/>
                  </a:lnTo>
                  <a:lnTo>
                    <a:pt x="30" y="26"/>
                  </a:lnTo>
                  <a:lnTo>
                    <a:pt x="29" y="26"/>
                  </a:lnTo>
                  <a:lnTo>
                    <a:pt x="28" y="26"/>
                  </a:lnTo>
                  <a:lnTo>
                    <a:pt x="28" y="27"/>
                  </a:lnTo>
                  <a:lnTo>
                    <a:pt x="29" y="27"/>
                  </a:lnTo>
                  <a:lnTo>
                    <a:pt x="30" y="27"/>
                  </a:lnTo>
                  <a:lnTo>
                    <a:pt x="31" y="27"/>
                  </a:lnTo>
                  <a:lnTo>
                    <a:pt x="33" y="26"/>
                  </a:lnTo>
                  <a:lnTo>
                    <a:pt x="35" y="27"/>
                  </a:lnTo>
                  <a:lnTo>
                    <a:pt x="36" y="26"/>
                  </a:lnTo>
                  <a:lnTo>
                    <a:pt x="36" y="27"/>
                  </a:lnTo>
                  <a:lnTo>
                    <a:pt x="37" y="27"/>
                  </a:lnTo>
                  <a:lnTo>
                    <a:pt x="38" y="27"/>
                  </a:lnTo>
                  <a:lnTo>
                    <a:pt x="39" y="27"/>
                  </a:lnTo>
                  <a:lnTo>
                    <a:pt x="39" y="26"/>
                  </a:lnTo>
                  <a:lnTo>
                    <a:pt x="40" y="27"/>
                  </a:lnTo>
                  <a:lnTo>
                    <a:pt x="42" y="27"/>
                  </a:lnTo>
                  <a:lnTo>
                    <a:pt x="43" y="27"/>
                  </a:lnTo>
                  <a:lnTo>
                    <a:pt x="43" y="26"/>
                  </a:lnTo>
                  <a:lnTo>
                    <a:pt x="44" y="26"/>
                  </a:lnTo>
                  <a:lnTo>
                    <a:pt x="43" y="25"/>
                  </a:lnTo>
                  <a:lnTo>
                    <a:pt x="42" y="25"/>
                  </a:lnTo>
                  <a:lnTo>
                    <a:pt x="42" y="26"/>
                  </a:lnTo>
                  <a:lnTo>
                    <a:pt x="40" y="26"/>
                  </a:lnTo>
                  <a:lnTo>
                    <a:pt x="39" y="25"/>
                  </a:lnTo>
                  <a:lnTo>
                    <a:pt x="39" y="24"/>
                  </a:lnTo>
                  <a:lnTo>
                    <a:pt x="40" y="24"/>
                  </a:lnTo>
                  <a:lnTo>
                    <a:pt x="42" y="23"/>
                  </a:lnTo>
                  <a:lnTo>
                    <a:pt x="45" y="23"/>
                  </a:lnTo>
                  <a:lnTo>
                    <a:pt x="46" y="23"/>
                  </a:lnTo>
                  <a:lnTo>
                    <a:pt x="46" y="21"/>
                  </a:lnTo>
                  <a:lnTo>
                    <a:pt x="46" y="23"/>
                  </a:lnTo>
                  <a:lnTo>
                    <a:pt x="47" y="23"/>
                  </a:lnTo>
                  <a:lnTo>
                    <a:pt x="47" y="21"/>
                  </a:lnTo>
                  <a:lnTo>
                    <a:pt x="49" y="21"/>
                  </a:lnTo>
                  <a:lnTo>
                    <a:pt x="49" y="23"/>
                  </a:lnTo>
                  <a:lnTo>
                    <a:pt x="51" y="21"/>
                  </a:lnTo>
                  <a:lnTo>
                    <a:pt x="52" y="21"/>
                  </a:lnTo>
                  <a:lnTo>
                    <a:pt x="53" y="21"/>
                  </a:lnTo>
                  <a:lnTo>
                    <a:pt x="52" y="21"/>
                  </a:lnTo>
                  <a:lnTo>
                    <a:pt x="51" y="21"/>
                  </a:lnTo>
                  <a:lnTo>
                    <a:pt x="51" y="20"/>
                  </a:lnTo>
                  <a:lnTo>
                    <a:pt x="50" y="20"/>
                  </a:lnTo>
                  <a:lnTo>
                    <a:pt x="47" y="20"/>
                  </a:lnTo>
                  <a:lnTo>
                    <a:pt x="46" y="20"/>
                  </a:lnTo>
                  <a:lnTo>
                    <a:pt x="46" y="21"/>
                  </a:lnTo>
                  <a:lnTo>
                    <a:pt x="46" y="20"/>
                  </a:lnTo>
                  <a:lnTo>
                    <a:pt x="45" y="20"/>
                  </a:lnTo>
                  <a:lnTo>
                    <a:pt x="46" y="20"/>
                  </a:lnTo>
                  <a:lnTo>
                    <a:pt x="45" y="20"/>
                  </a:lnTo>
                  <a:lnTo>
                    <a:pt x="45" y="19"/>
                  </a:lnTo>
                  <a:lnTo>
                    <a:pt x="44" y="19"/>
                  </a:lnTo>
                  <a:lnTo>
                    <a:pt x="43" y="19"/>
                  </a:lnTo>
                  <a:lnTo>
                    <a:pt x="43" y="18"/>
                  </a:lnTo>
                  <a:lnTo>
                    <a:pt x="42" y="18"/>
                  </a:lnTo>
                  <a:lnTo>
                    <a:pt x="42" y="17"/>
                  </a:lnTo>
                  <a:lnTo>
                    <a:pt x="40" y="17"/>
                  </a:lnTo>
                  <a:lnTo>
                    <a:pt x="42" y="17"/>
                  </a:lnTo>
                  <a:lnTo>
                    <a:pt x="42" y="16"/>
                  </a:lnTo>
                  <a:lnTo>
                    <a:pt x="42" y="14"/>
                  </a:lnTo>
                  <a:lnTo>
                    <a:pt x="43" y="14"/>
                  </a:lnTo>
                  <a:lnTo>
                    <a:pt x="43" y="13"/>
                  </a:lnTo>
                  <a:lnTo>
                    <a:pt x="44" y="13"/>
                  </a:lnTo>
                  <a:lnTo>
                    <a:pt x="46" y="14"/>
                  </a:lnTo>
                  <a:lnTo>
                    <a:pt x="49" y="14"/>
                  </a:lnTo>
                  <a:lnTo>
                    <a:pt x="52" y="14"/>
                  </a:lnTo>
                  <a:lnTo>
                    <a:pt x="56" y="14"/>
                  </a:lnTo>
                  <a:lnTo>
                    <a:pt x="57" y="14"/>
                  </a:lnTo>
                  <a:lnTo>
                    <a:pt x="57" y="13"/>
                  </a:lnTo>
                  <a:lnTo>
                    <a:pt x="57" y="14"/>
                  </a:lnTo>
                  <a:lnTo>
                    <a:pt x="58" y="14"/>
                  </a:lnTo>
                  <a:lnTo>
                    <a:pt x="63" y="16"/>
                  </a:lnTo>
                  <a:lnTo>
                    <a:pt x="64" y="16"/>
                  </a:lnTo>
                  <a:lnTo>
                    <a:pt x="67" y="16"/>
                  </a:lnTo>
                  <a:lnTo>
                    <a:pt x="68" y="16"/>
                  </a:lnTo>
                  <a:lnTo>
                    <a:pt x="70" y="16"/>
                  </a:lnTo>
                  <a:lnTo>
                    <a:pt x="71" y="16"/>
                  </a:lnTo>
                  <a:lnTo>
                    <a:pt x="71" y="14"/>
                  </a:lnTo>
                  <a:lnTo>
                    <a:pt x="71" y="13"/>
                  </a:lnTo>
                  <a:lnTo>
                    <a:pt x="72" y="13"/>
                  </a:lnTo>
                  <a:lnTo>
                    <a:pt x="71" y="13"/>
                  </a:lnTo>
                  <a:lnTo>
                    <a:pt x="71" y="12"/>
                  </a:lnTo>
                  <a:lnTo>
                    <a:pt x="72" y="12"/>
                  </a:lnTo>
                  <a:lnTo>
                    <a:pt x="74" y="11"/>
                  </a:lnTo>
                  <a:lnTo>
                    <a:pt x="77" y="10"/>
                  </a:lnTo>
                  <a:lnTo>
                    <a:pt x="78" y="9"/>
                  </a:lnTo>
                  <a:lnTo>
                    <a:pt x="79" y="9"/>
                  </a:lnTo>
                  <a:lnTo>
                    <a:pt x="80" y="7"/>
                  </a:lnTo>
                  <a:lnTo>
                    <a:pt x="81" y="6"/>
                  </a:lnTo>
                  <a:lnTo>
                    <a:pt x="82" y="6"/>
                  </a:lnTo>
                  <a:lnTo>
                    <a:pt x="82" y="5"/>
                  </a:lnTo>
                  <a:lnTo>
                    <a:pt x="84" y="5"/>
                  </a:lnTo>
                  <a:lnTo>
                    <a:pt x="85" y="5"/>
                  </a:lnTo>
                  <a:lnTo>
                    <a:pt x="85" y="4"/>
                  </a:lnTo>
                  <a:lnTo>
                    <a:pt x="86" y="4"/>
                  </a:lnTo>
                  <a:lnTo>
                    <a:pt x="87" y="4"/>
                  </a:lnTo>
                  <a:lnTo>
                    <a:pt x="88" y="4"/>
                  </a:lnTo>
                  <a:lnTo>
                    <a:pt x="89" y="4"/>
                  </a:lnTo>
                  <a:lnTo>
                    <a:pt x="89" y="3"/>
                  </a:lnTo>
                  <a:lnTo>
                    <a:pt x="90" y="3"/>
                  </a:lnTo>
                  <a:lnTo>
                    <a:pt x="92" y="3"/>
                  </a:lnTo>
                  <a:lnTo>
                    <a:pt x="94" y="2"/>
                  </a:lnTo>
                  <a:lnTo>
                    <a:pt x="95" y="2"/>
                  </a:lnTo>
                  <a:lnTo>
                    <a:pt x="96" y="2"/>
                  </a:lnTo>
                  <a:lnTo>
                    <a:pt x="97" y="2"/>
                  </a:lnTo>
                  <a:lnTo>
                    <a:pt x="101" y="2"/>
                  </a:lnTo>
                  <a:lnTo>
                    <a:pt x="102" y="2"/>
                  </a:lnTo>
                  <a:lnTo>
                    <a:pt x="107" y="3"/>
                  </a:lnTo>
                  <a:lnTo>
                    <a:pt x="108" y="2"/>
                  </a:lnTo>
                  <a:lnTo>
                    <a:pt x="109" y="2"/>
                  </a:lnTo>
                  <a:lnTo>
                    <a:pt x="110" y="3"/>
                  </a:lnTo>
                  <a:lnTo>
                    <a:pt x="111" y="3"/>
                  </a:lnTo>
                  <a:lnTo>
                    <a:pt x="113" y="3"/>
                  </a:lnTo>
                  <a:lnTo>
                    <a:pt x="113" y="2"/>
                  </a:lnTo>
                  <a:lnTo>
                    <a:pt x="114" y="2"/>
                  </a:lnTo>
                  <a:lnTo>
                    <a:pt x="114" y="0"/>
                  </a:lnTo>
                  <a:lnTo>
                    <a:pt x="115"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98" name="Freeform 1556">
              <a:extLst>
                <a:ext uri="{FF2B5EF4-FFF2-40B4-BE49-F238E27FC236}">
                  <a16:creationId xmlns:a16="http://schemas.microsoft.com/office/drawing/2014/main" id="{578BC2DB-53A1-48E2-99DA-FC20C353DCB2}"/>
                </a:ext>
              </a:extLst>
            </p:cNvPr>
            <p:cNvSpPr>
              <a:spLocks noEditPoints="1"/>
            </p:cNvSpPr>
            <p:nvPr/>
          </p:nvSpPr>
          <p:spPr bwMode="auto">
            <a:xfrm>
              <a:off x="6247139" y="2459093"/>
              <a:ext cx="337879" cy="130878"/>
            </a:xfrm>
            <a:custGeom>
              <a:avLst/>
              <a:gdLst>
                <a:gd name="T0" fmla="*/ 25 w 253"/>
                <a:gd name="T1" fmla="*/ 26 h 98"/>
                <a:gd name="T2" fmla="*/ 22 w 253"/>
                <a:gd name="T3" fmla="*/ 2 h 98"/>
                <a:gd name="T4" fmla="*/ 32 w 253"/>
                <a:gd name="T5" fmla="*/ 10 h 98"/>
                <a:gd name="T6" fmla="*/ 35 w 253"/>
                <a:gd name="T7" fmla="*/ 17 h 98"/>
                <a:gd name="T8" fmla="*/ 18 w 253"/>
                <a:gd name="T9" fmla="*/ 23 h 98"/>
                <a:gd name="T10" fmla="*/ 8 w 253"/>
                <a:gd name="T11" fmla="*/ 31 h 98"/>
                <a:gd name="T12" fmla="*/ 13 w 253"/>
                <a:gd name="T13" fmla="*/ 23 h 98"/>
                <a:gd name="T14" fmla="*/ 7 w 253"/>
                <a:gd name="T15" fmla="*/ 19 h 98"/>
                <a:gd name="T16" fmla="*/ 8 w 253"/>
                <a:gd name="T17" fmla="*/ 7 h 98"/>
                <a:gd name="T18" fmla="*/ 16 w 253"/>
                <a:gd name="T19" fmla="*/ 0 h 98"/>
                <a:gd name="T20" fmla="*/ 121 w 253"/>
                <a:gd name="T21" fmla="*/ 6 h 98"/>
                <a:gd name="T22" fmla="*/ 132 w 253"/>
                <a:gd name="T23" fmla="*/ 12 h 98"/>
                <a:gd name="T24" fmla="*/ 148 w 253"/>
                <a:gd name="T25" fmla="*/ 16 h 98"/>
                <a:gd name="T26" fmla="*/ 163 w 253"/>
                <a:gd name="T27" fmla="*/ 18 h 98"/>
                <a:gd name="T28" fmla="*/ 179 w 253"/>
                <a:gd name="T29" fmla="*/ 17 h 98"/>
                <a:gd name="T30" fmla="*/ 195 w 253"/>
                <a:gd name="T31" fmla="*/ 12 h 98"/>
                <a:gd name="T32" fmla="*/ 212 w 253"/>
                <a:gd name="T33" fmla="*/ 11 h 98"/>
                <a:gd name="T34" fmla="*/ 223 w 253"/>
                <a:gd name="T35" fmla="*/ 14 h 98"/>
                <a:gd name="T36" fmla="*/ 229 w 253"/>
                <a:gd name="T37" fmla="*/ 26 h 98"/>
                <a:gd name="T38" fmla="*/ 241 w 253"/>
                <a:gd name="T39" fmla="*/ 33 h 98"/>
                <a:gd name="T40" fmla="*/ 242 w 253"/>
                <a:gd name="T41" fmla="*/ 42 h 98"/>
                <a:gd name="T42" fmla="*/ 243 w 253"/>
                <a:gd name="T43" fmla="*/ 52 h 98"/>
                <a:gd name="T44" fmla="*/ 244 w 253"/>
                <a:gd name="T45" fmla="*/ 67 h 98"/>
                <a:gd name="T46" fmla="*/ 253 w 253"/>
                <a:gd name="T47" fmla="*/ 76 h 98"/>
                <a:gd name="T48" fmla="*/ 243 w 253"/>
                <a:gd name="T49" fmla="*/ 75 h 98"/>
                <a:gd name="T50" fmla="*/ 227 w 253"/>
                <a:gd name="T51" fmla="*/ 75 h 98"/>
                <a:gd name="T52" fmla="*/ 203 w 253"/>
                <a:gd name="T53" fmla="*/ 79 h 98"/>
                <a:gd name="T54" fmla="*/ 177 w 253"/>
                <a:gd name="T55" fmla="*/ 86 h 98"/>
                <a:gd name="T56" fmla="*/ 154 w 253"/>
                <a:gd name="T57" fmla="*/ 87 h 98"/>
                <a:gd name="T58" fmla="*/ 149 w 253"/>
                <a:gd name="T59" fmla="*/ 93 h 98"/>
                <a:gd name="T60" fmla="*/ 139 w 253"/>
                <a:gd name="T61" fmla="*/ 93 h 98"/>
                <a:gd name="T62" fmla="*/ 137 w 253"/>
                <a:gd name="T63" fmla="*/ 84 h 98"/>
                <a:gd name="T64" fmla="*/ 135 w 253"/>
                <a:gd name="T65" fmla="*/ 87 h 98"/>
                <a:gd name="T66" fmla="*/ 117 w 253"/>
                <a:gd name="T67" fmla="*/ 87 h 98"/>
                <a:gd name="T68" fmla="*/ 108 w 253"/>
                <a:gd name="T69" fmla="*/ 94 h 98"/>
                <a:gd name="T70" fmla="*/ 93 w 253"/>
                <a:gd name="T71" fmla="*/ 91 h 98"/>
                <a:gd name="T72" fmla="*/ 74 w 253"/>
                <a:gd name="T73" fmla="*/ 82 h 98"/>
                <a:gd name="T74" fmla="*/ 67 w 253"/>
                <a:gd name="T75" fmla="*/ 91 h 98"/>
                <a:gd name="T76" fmla="*/ 59 w 253"/>
                <a:gd name="T77" fmla="*/ 94 h 98"/>
                <a:gd name="T78" fmla="*/ 51 w 253"/>
                <a:gd name="T79" fmla="*/ 89 h 98"/>
                <a:gd name="T80" fmla="*/ 47 w 253"/>
                <a:gd name="T81" fmla="*/ 84 h 98"/>
                <a:gd name="T82" fmla="*/ 39 w 253"/>
                <a:gd name="T83" fmla="*/ 82 h 98"/>
                <a:gd name="T84" fmla="*/ 37 w 253"/>
                <a:gd name="T85" fmla="*/ 83 h 98"/>
                <a:gd name="T86" fmla="*/ 30 w 253"/>
                <a:gd name="T87" fmla="*/ 83 h 98"/>
                <a:gd name="T88" fmla="*/ 36 w 253"/>
                <a:gd name="T89" fmla="*/ 80 h 98"/>
                <a:gd name="T90" fmla="*/ 25 w 253"/>
                <a:gd name="T91" fmla="*/ 81 h 98"/>
                <a:gd name="T92" fmla="*/ 29 w 253"/>
                <a:gd name="T93" fmla="*/ 76 h 98"/>
                <a:gd name="T94" fmla="*/ 21 w 253"/>
                <a:gd name="T95" fmla="*/ 69 h 98"/>
                <a:gd name="T96" fmla="*/ 16 w 253"/>
                <a:gd name="T97" fmla="*/ 61 h 98"/>
                <a:gd name="T98" fmla="*/ 13 w 253"/>
                <a:gd name="T99" fmla="*/ 60 h 98"/>
                <a:gd name="T100" fmla="*/ 15 w 253"/>
                <a:gd name="T101" fmla="*/ 56 h 98"/>
                <a:gd name="T102" fmla="*/ 18 w 253"/>
                <a:gd name="T103" fmla="*/ 56 h 98"/>
                <a:gd name="T104" fmla="*/ 17 w 253"/>
                <a:gd name="T105" fmla="*/ 49 h 98"/>
                <a:gd name="T106" fmla="*/ 17 w 253"/>
                <a:gd name="T107" fmla="*/ 39 h 98"/>
                <a:gd name="T108" fmla="*/ 7 w 253"/>
                <a:gd name="T109" fmla="*/ 33 h 98"/>
                <a:gd name="T110" fmla="*/ 21 w 253"/>
                <a:gd name="T111" fmla="*/ 27 h 98"/>
                <a:gd name="T112" fmla="*/ 29 w 253"/>
                <a:gd name="T113" fmla="*/ 25 h 98"/>
                <a:gd name="T114" fmla="*/ 40 w 253"/>
                <a:gd name="T115" fmla="*/ 27 h 98"/>
                <a:gd name="T116" fmla="*/ 47 w 253"/>
                <a:gd name="T117" fmla="*/ 23 h 98"/>
                <a:gd name="T118" fmla="*/ 45 w 253"/>
                <a:gd name="T119" fmla="*/ 20 h 98"/>
                <a:gd name="T120" fmla="*/ 56 w 253"/>
                <a:gd name="T121" fmla="*/ 14 h 98"/>
                <a:gd name="T122" fmla="*/ 74 w 253"/>
                <a:gd name="T123" fmla="*/ 11 h 98"/>
                <a:gd name="T124" fmla="*/ 92 w 253"/>
                <a:gd name="T125" fmla="*/ 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3" h="98">
                  <a:moveTo>
                    <a:pt x="6" y="35"/>
                  </a:moveTo>
                  <a:lnTo>
                    <a:pt x="6" y="37"/>
                  </a:lnTo>
                  <a:lnTo>
                    <a:pt x="4" y="35"/>
                  </a:lnTo>
                  <a:lnTo>
                    <a:pt x="6" y="35"/>
                  </a:lnTo>
                  <a:close/>
                  <a:moveTo>
                    <a:pt x="3" y="31"/>
                  </a:moveTo>
                  <a:lnTo>
                    <a:pt x="4" y="31"/>
                  </a:lnTo>
                  <a:lnTo>
                    <a:pt x="3" y="31"/>
                  </a:lnTo>
                  <a:lnTo>
                    <a:pt x="2" y="31"/>
                  </a:lnTo>
                  <a:lnTo>
                    <a:pt x="1" y="32"/>
                  </a:lnTo>
                  <a:lnTo>
                    <a:pt x="1" y="31"/>
                  </a:lnTo>
                  <a:lnTo>
                    <a:pt x="0" y="31"/>
                  </a:lnTo>
                  <a:lnTo>
                    <a:pt x="1" y="30"/>
                  </a:lnTo>
                  <a:lnTo>
                    <a:pt x="2" y="30"/>
                  </a:lnTo>
                  <a:lnTo>
                    <a:pt x="3" y="30"/>
                  </a:lnTo>
                  <a:lnTo>
                    <a:pt x="3" y="31"/>
                  </a:lnTo>
                  <a:close/>
                  <a:moveTo>
                    <a:pt x="24" y="26"/>
                  </a:moveTo>
                  <a:lnTo>
                    <a:pt x="25" y="26"/>
                  </a:lnTo>
                  <a:lnTo>
                    <a:pt x="24" y="26"/>
                  </a:lnTo>
                  <a:lnTo>
                    <a:pt x="24" y="25"/>
                  </a:lnTo>
                  <a:lnTo>
                    <a:pt x="24" y="26"/>
                  </a:lnTo>
                  <a:close/>
                  <a:moveTo>
                    <a:pt x="24" y="23"/>
                  </a:moveTo>
                  <a:lnTo>
                    <a:pt x="25" y="23"/>
                  </a:lnTo>
                  <a:lnTo>
                    <a:pt x="25" y="24"/>
                  </a:lnTo>
                  <a:lnTo>
                    <a:pt x="24" y="24"/>
                  </a:lnTo>
                  <a:lnTo>
                    <a:pt x="23" y="24"/>
                  </a:lnTo>
                  <a:lnTo>
                    <a:pt x="23" y="23"/>
                  </a:lnTo>
                  <a:lnTo>
                    <a:pt x="24" y="23"/>
                  </a:lnTo>
                  <a:close/>
                  <a:moveTo>
                    <a:pt x="17" y="0"/>
                  </a:moveTo>
                  <a:lnTo>
                    <a:pt x="18" y="2"/>
                  </a:lnTo>
                  <a:lnTo>
                    <a:pt x="20" y="2"/>
                  </a:lnTo>
                  <a:lnTo>
                    <a:pt x="20" y="3"/>
                  </a:lnTo>
                  <a:lnTo>
                    <a:pt x="21" y="3"/>
                  </a:lnTo>
                  <a:lnTo>
                    <a:pt x="22" y="3"/>
                  </a:lnTo>
                  <a:lnTo>
                    <a:pt x="22" y="2"/>
                  </a:lnTo>
                  <a:lnTo>
                    <a:pt x="23" y="2"/>
                  </a:lnTo>
                  <a:lnTo>
                    <a:pt x="23" y="3"/>
                  </a:lnTo>
                  <a:lnTo>
                    <a:pt x="24" y="3"/>
                  </a:lnTo>
                  <a:lnTo>
                    <a:pt x="24" y="2"/>
                  </a:lnTo>
                  <a:lnTo>
                    <a:pt x="25" y="2"/>
                  </a:lnTo>
                  <a:lnTo>
                    <a:pt x="26" y="2"/>
                  </a:lnTo>
                  <a:lnTo>
                    <a:pt x="26" y="3"/>
                  </a:lnTo>
                  <a:lnTo>
                    <a:pt x="28" y="3"/>
                  </a:lnTo>
                  <a:lnTo>
                    <a:pt x="26" y="3"/>
                  </a:lnTo>
                  <a:lnTo>
                    <a:pt x="26" y="4"/>
                  </a:lnTo>
                  <a:lnTo>
                    <a:pt x="26" y="5"/>
                  </a:lnTo>
                  <a:lnTo>
                    <a:pt x="28" y="6"/>
                  </a:lnTo>
                  <a:lnTo>
                    <a:pt x="28" y="7"/>
                  </a:lnTo>
                  <a:lnTo>
                    <a:pt x="29" y="7"/>
                  </a:lnTo>
                  <a:lnTo>
                    <a:pt x="29" y="9"/>
                  </a:lnTo>
                  <a:lnTo>
                    <a:pt x="30" y="9"/>
                  </a:lnTo>
                  <a:lnTo>
                    <a:pt x="32" y="10"/>
                  </a:lnTo>
                  <a:lnTo>
                    <a:pt x="35" y="11"/>
                  </a:lnTo>
                  <a:lnTo>
                    <a:pt x="39" y="13"/>
                  </a:lnTo>
                  <a:lnTo>
                    <a:pt x="40" y="13"/>
                  </a:lnTo>
                  <a:lnTo>
                    <a:pt x="42" y="13"/>
                  </a:lnTo>
                  <a:lnTo>
                    <a:pt x="42" y="14"/>
                  </a:lnTo>
                  <a:lnTo>
                    <a:pt x="42" y="16"/>
                  </a:lnTo>
                  <a:lnTo>
                    <a:pt x="42" y="17"/>
                  </a:lnTo>
                  <a:lnTo>
                    <a:pt x="40" y="17"/>
                  </a:lnTo>
                  <a:lnTo>
                    <a:pt x="39" y="18"/>
                  </a:lnTo>
                  <a:lnTo>
                    <a:pt x="38" y="18"/>
                  </a:lnTo>
                  <a:lnTo>
                    <a:pt x="36" y="18"/>
                  </a:lnTo>
                  <a:lnTo>
                    <a:pt x="36" y="17"/>
                  </a:lnTo>
                  <a:lnTo>
                    <a:pt x="35" y="16"/>
                  </a:lnTo>
                  <a:lnTo>
                    <a:pt x="35" y="17"/>
                  </a:lnTo>
                  <a:lnTo>
                    <a:pt x="36" y="17"/>
                  </a:lnTo>
                  <a:lnTo>
                    <a:pt x="35" y="18"/>
                  </a:lnTo>
                  <a:lnTo>
                    <a:pt x="35" y="17"/>
                  </a:lnTo>
                  <a:lnTo>
                    <a:pt x="33" y="17"/>
                  </a:lnTo>
                  <a:lnTo>
                    <a:pt x="32" y="17"/>
                  </a:lnTo>
                  <a:lnTo>
                    <a:pt x="32" y="16"/>
                  </a:lnTo>
                  <a:lnTo>
                    <a:pt x="31" y="16"/>
                  </a:lnTo>
                  <a:lnTo>
                    <a:pt x="30" y="16"/>
                  </a:lnTo>
                  <a:lnTo>
                    <a:pt x="29" y="16"/>
                  </a:lnTo>
                  <a:lnTo>
                    <a:pt x="29" y="17"/>
                  </a:lnTo>
                  <a:lnTo>
                    <a:pt x="28" y="17"/>
                  </a:lnTo>
                  <a:lnTo>
                    <a:pt x="28" y="18"/>
                  </a:lnTo>
                  <a:lnTo>
                    <a:pt x="26" y="18"/>
                  </a:lnTo>
                  <a:lnTo>
                    <a:pt x="26" y="17"/>
                  </a:lnTo>
                  <a:lnTo>
                    <a:pt x="25" y="17"/>
                  </a:lnTo>
                  <a:lnTo>
                    <a:pt x="22" y="18"/>
                  </a:lnTo>
                  <a:lnTo>
                    <a:pt x="22" y="19"/>
                  </a:lnTo>
                  <a:lnTo>
                    <a:pt x="21" y="20"/>
                  </a:lnTo>
                  <a:lnTo>
                    <a:pt x="20" y="21"/>
                  </a:lnTo>
                  <a:lnTo>
                    <a:pt x="18" y="23"/>
                  </a:lnTo>
                  <a:lnTo>
                    <a:pt x="17" y="24"/>
                  </a:lnTo>
                  <a:lnTo>
                    <a:pt x="16" y="24"/>
                  </a:lnTo>
                  <a:lnTo>
                    <a:pt x="15" y="24"/>
                  </a:lnTo>
                  <a:lnTo>
                    <a:pt x="15" y="25"/>
                  </a:lnTo>
                  <a:lnTo>
                    <a:pt x="14" y="25"/>
                  </a:lnTo>
                  <a:lnTo>
                    <a:pt x="13" y="25"/>
                  </a:lnTo>
                  <a:lnTo>
                    <a:pt x="13" y="26"/>
                  </a:lnTo>
                  <a:lnTo>
                    <a:pt x="11" y="26"/>
                  </a:lnTo>
                  <a:lnTo>
                    <a:pt x="11" y="27"/>
                  </a:lnTo>
                  <a:lnTo>
                    <a:pt x="11" y="28"/>
                  </a:lnTo>
                  <a:lnTo>
                    <a:pt x="10" y="28"/>
                  </a:lnTo>
                  <a:lnTo>
                    <a:pt x="10" y="30"/>
                  </a:lnTo>
                  <a:lnTo>
                    <a:pt x="9" y="30"/>
                  </a:lnTo>
                  <a:lnTo>
                    <a:pt x="8" y="30"/>
                  </a:lnTo>
                  <a:lnTo>
                    <a:pt x="9" y="30"/>
                  </a:lnTo>
                  <a:lnTo>
                    <a:pt x="9" y="31"/>
                  </a:lnTo>
                  <a:lnTo>
                    <a:pt x="8" y="31"/>
                  </a:lnTo>
                  <a:lnTo>
                    <a:pt x="8" y="32"/>
                  </a:lnTo>
                  <a:lnTo>
                    <a:pt x="7" y="32"/>
                  </a:lnTo>
                  <a:lnTo>
                    <a:pt x="7" y="31"/>
                  </a:lnTo>
                  <a:lnTo>
                    <a:pt x="8" y="30"/>
                  </a:lnTo>
                  <a:lnTo>
                    <a:pt x="8" y="28"/>
                  </a:lnTo>
                  <a:lnTo>
                    <a:pt x="7" y="28"/>
                  </a:lnTo>
                  <a:lnTo>
                    <a:pt x="7" y="27"/>
                  </a:lnTo>
                  <a:lnTo>
                    <a:pt x="8" y="27"/>
                  </a:lnTo>
                  <a:lnTo>
                    <a:pt x="9" y="26"/>
                  </a:lnTo>
                  <a:lnTo>
                    <a:pt x="10" y="26"/>
                  </a:lnTo>
                  <a:lnTo>
                    <a:pt x="10" y="25"/>
                  </a:lnTo>
                  <a:lnTo>
                    <a:pt x="11" y="25"/>
                  </a:lnTo>
                  <a:lnTo>
                    <a:pt x="13" y="25"/>
                  </a:lnTo>
                  <a:lnTo>
                    <a:pt x="13" y="24"/>
                  </a:lnTo>
                  <a:lnTo>
                    <a:pt x="14" y="24"/>
                  </a:lnTo>
                  <a:lnTo>
                    <a:pt x="14" y="23"/>
                  </a:lnTo>
                  <a:lnTo>
                    <a:pt x="13" y="23"/>
                  </a:lnTo>
                  <a:lnTo>
                    <a:pt x="11" y="23"/>
                  </a:lnTo>
                  <a:lnTo>
                    <a:pt x="10" y="23"/>
                  </a:lnTo>
                  <a:lnTo>
                    <a:pt x="10" y="24"/>
                  </a:lnTo>
                  <a:lnTo>
                    <a:pt x="9" y="24"/>
                  </a:lnTo>
                  <a:lnTo>
                    <a:pt x="8" y="24"/>
                  </a:lnTo>
                  <a:lnTo>
                    <a:pt x="7" y="24"/>
                  </a:lnTo>
                  <a:lnTo>
                    <a:pt x="4" y="24"/>
                  </a:lnTo>
                  <a:lnTo>
                    <a:pt x="4" y="23"/>
                  </a:lnTo>
                  <a:lnTo>
                    <a:pt x="4" y="21"/>
                  </a:lnTo>
                  <a:lnTo>
                    <a:pt x="3" y="21"/>
                  </a:lnTo>
                  <a:lnTo>
                    <a:pt x="4" y="21"/>
                  </a:lnTo>
                  <a:lnTo>
                    <a:pt x="4" y="20"/>
                  </a:lnTo>
                  <a:lnTo>
                    <a:pt x="6" y="20"/>
                  </a:lnTo>
                  <a:lnTo>
                    <a:pt x="6" y="19"/>
                  </a:lnTo>
                  <a:lnTo>
                    <a:pt x="6" y="18"/>
                  </a:lnTo>
                  <a:lnTo>
                    <a:pt x="7" y="18"/>
                  </a:lnTo>
                  <a:lnTo>
                    <a:pt x="7" y="19"/>
                  </a:lnTo>
                  <a:lnTo>
                    <a:pt x="7" y="18"/>
                  </a:lnTo>
                  <a:lnTo>
                    <a:pt x="7" y="17"/>
                  </a:lnTo>
                  <a:lnTo>
                    <a:pt x="8" y="17"/>
                  </a:lnTo>
                  <a:lnTo>
                    <a:pt x="7" y="17"/>
                  </a:lnTo>
                  <a:lnTo>
                    <a:pt x="7" y="16"/>
                  </a:lnTo>
                  <a:lnTo>
                    <a:pt x="7" y="14"/>
                  </a:lnTo>
                  <a:lnTo>
                    <a:pt x="7" y="13"/>
                  </a:lnTo>
                  <a:lnTo>
                    <a:pt x="8" y="13"/>
                  </a:lnTo>
                  <a:lnTo>
                    <a:pt x="8" y="12"/>
                  </a:lnTo>
                  <a:lnTo>
                    <a:pt x="9" y="12"/>
                  </a:lnTo>
                  <a:lnTo>
                    <a:pt x="10" y="12"/>
                  </a:lnTo>
                  <a:lnTo>
                    <a:pt x="10" y="11"/>
                  </a:lnTo>
                  <a:lnTo>
                    <a:pt x="10" y="10"/>
                  </a:lnTo>
                  <a:lnTo>
                    <a:pt x="9" y="10"/>
                  </a:lnTo>
                  <a:lnTo>
                    <a:pt x="9" y="9"/>
                  </a:lnTo>
                  <a:lnTo>
                    <a:pt x="9" y="7"/>
                  </a:lnTo>
                  <a:lnTo>
                    <a:pt x="8" y="7"/>
                  </a:lnTo>
                  <a:lnTo>
                    <a:pt x="8" y="6"/>
                  </a:lnTo>
                  <a:lnTo>
                    <a:pt x="7" y="6"/>
                  </a:lnTo>
                  <a:lnTo>
                    <a:pt x="6" y="6"/>
                  </a:lnTo>
                  <a:lnTo>
                    <a:pt x="6" y="5"/>
                  </a:lnTo>
                  <a:lnTo>
                    <a:pt x="6" y="4"/>
                  </a:lnTo>
                  <a:lnTo>
                    <a:pt x="7" y="4"/>
                  </a:lnTo>
                  <a:lnTo>
                    <a:pt x="8" y="4"/>
                  </a:lnTo>
                  <a:lnTo>
                    <a:pt x="8" y="3"/>
                  </a:lnTo>
                  <a:lnTo>
                    <a:pt x="9" y="2"/>
                  </a:lnTo>
                  <a:lnTo>
                    <a:pt x="10" y="3"/>
                  </a:lnTo>
                  <a:lnTo>
                    <a:pt x="10" y="2"/>
                  </a:lnTo>
                  <a:lnTo>
                    <a:pt x="11" y="2"/>
                  </a:lnTo>
                  <a:lnTo>
                    <a:pt x="13" y="2"/>
                  </a:lnTo>
                  <a:lnTo>
                    <a:pt x="14" y="2"/>
                  </a:lnTo>
                  <a:lnTo>
                    <a:pt x="14" y="0"/>
                  </a:lnTo>
                  <a:lnTo>
                    <a:pt x="15" y="0"/>
                  </a:lnTo>
                  <a:lnTo>
                    <a:pt x="16" y="0"/>
                  </a:lnTo>
                  <a:lnTo>
                    <a:pt x="17" y="0"/>
                  </a:lnTo>
                  <a:close/>
                  <a:moveTo>
                    <a:pt x="115" y="0"/>
                  </a:moveTo>
                  <a:lnTo>
                    <a:pt x="116" y="0"/>
                  </a:lnTo>
                  <a:lnTo>
                    <a:pt x="116" y="2"/>
                  </a:lnTo>
                  <a:lnTo>
                    <a:pt x="117" y="2"/>
                  </a:lnTo>
                  <a:lnTo>
                    <a:pt x="117" y="0"/>
                  </a:lnTo>
                  <a:lnTo>
                    <a:pt x="118" y="2"/>
                  </a:lnTo>
                  <a:lnTo>
                    <a:pt x="117" y="2"/>
                  </a:lnTo>
                  <a:lnTo>
                    <a:pt x="116" y="2"/>
                  </a:lnTo>
                  <a:lnTo>
                    <a:pt x="116" y="3"/>
                  </a:lnTo>
                  <a:lnTo>
                    <a:pt x="117" y="3"/>
                  </a:lnTo>
                  <a:lnTo>
                    <a:pt x="117" y="4"/>
                  </a:lnTo>
                  <a:lnTo>
                    <a:pt x="118" y="4"/>
                  </a:lnTo>
                  <a:lnTo>
                    <a:pt x="118" y="5"/>
                  </a:lnTo>
                  <a:lnTo>
                    <a:pt x="120" y="5"/>
                  </a:lnTo>
                  <a:lnTo>
                    <a:pt x="120" y="6"/>
                  </a:lnTo>
                  <a:lnTo>
                    <a:pt x="121" y="6"/>
                  </a:lnTo>
                  <a:lnTo>
                    <a:pt x="122" y="6"/>
                  </a:lnTo>
                  <a:lnTo>
                    <a:pt x="122" y="7"/>
                  </a:lnTo>
                  <a:lnTo>
                    <a:pt x="123" y="7"/>
                  </a:lnTo>
                  <a:lnTo>
                    <a:pt x="124" y="7"/>
                  </a:lnTo>
                  <a:lnTo>
                    <a:pt x="125" y="6"/>
                  </a:lnTo>
                  <a:lnTo>
                    <a:pt x="127" y="6"/>
                  </a:lnTo>
                  <a:lnTo>
                    <a:pt x="128" y="6"/>
                  </a:lnTo>
                  <a:lnTo>
                    <a:pt x="128" y="7"/>
                  </a:lnTo>
                  <a:lnTo>
                    <a:pt x="128" y="6"/>
                  </a:lnTo>
                  <a:lnTo>
                    <a:pt x="129" y="6"/>
                  </a:lnTo>
                  <a:lnTo>
                    <a:pt x="130" y="7"/>
                  </a:lnTo>
                  <a:lnTo>
                    <a:pt x="131" y="7"/>
                  </a:lnTo>
                  <a:lnTo>
                    <a:pt x="131" y="9"/>
                  </a:lnTo>
                  <a:lnTo>
                    <a:pt x="131" y="10"/>
                  </a:lnTo>
                  <a:lnTo>
                    <a:pt x="131" y="11"/>
                  </a:lnTo>
                  <a:lnTo>
                    <a:pt x="132" y="11"/>
                  </a:lnTo>
                  <a:lnTo>
                    <a:pt x="132" y="12"/>
                  </a:lnTo>
                  <a:lnTo>
                    <a:pt x="134" y="12"/>
                  </a:lnTo>
                  <a:lnTo>
                    <a:pt x="135" y="13"/>
                  </a:lnTo>
                  <a:lnTo>
                    <a:pt x="136" y="13"/>
                  </a:lnTo>
                  <a:lnTo>
                    <a:pt x="137" y="13"/>
                  </a:lnTo>
                  <a:lnTo>
                    <a:pt x="137" y="12"/>
                  </a:lnTo>
                  <a:lnTo>
                    <a:pt x="137" y="11"/>
                  </a:lnTo>
                  <a:lnTo>
                    <a:pt x="138" y="11"/>
                  </a:lnTo>
                  <a:lnTo>
                    <a:pt x="139" y="11"/>
                  </a:lnTo>
                  <a:lnTo>
                    <a:pt x="141" y="12"/>
                  </a:lnTo>
                  <a:lnTo>
                    <a:pt x="143" y="12"/>
                  </a:lnTo>
                  <a:lnTo>
                    <a:pt x="143" y="13"/>
                  </a:lnTo>
                  <a:lnTo>
                    <a:pt x="143" y="14"/>
                  </a:lnTo>
                  <a:lnTo>
                    <a:pt x="144" y="14"/>
                  </a:lnTo>
                  <a:lnTo>
                    <a:pt x="145" y="14"/>
                  </a:lnTo>
                  <a:lnTo>
                    <a:pt x="146" y="14"/>
                  </a:lnTo>
                  <a:lnTo>
                    <a:pt x="146" y="16"/>
                  </a:lnTo>
                  <a:lnTo>
                    <a:pt x="148" y="16"/>
                  </a:lnTo>
                  <a:lnTo>
                    <a:pt x="149" y="16"/>
                  </a:lnTo>
                  <a:lnTo>
                    <a:pt x="150" y="17"/>
                  </a:lnTo>
                  <a:lnTo>
                    <a:pt x="151" y="17"/>
                  </a:lnTo>
                  <a:lnTo>
                    <a:pt x="151" y="16"/>
                  </a:lnTo>
                  <a:lnTo>
                    <a:pt x="152" y="16"/>
                  </a:lnTo>
                  <a:lnTo>
                    <a:pt x="153" y="16"/>
                  </a:lnTo>
                  <a:lnTo>
                    <a:pt x="153" y="17"/>
                  </a:lnTo>
                  <a:lnTo>
                    <a:pt x="154" y="17"/>
                  </a:lnTo>
                  <a:lnTo>
                    <a:pt x="154" y="18"/>
                  </a:lnTo>
                  <a:lnTo>
                    <a:pt x="156" y="17"/>
                  </a:lnTo>
                  <a:lnTo>
                    <a:pt x="156" y="18"/>
                  </a:lnTo>
                  <a:lnTo>
                    <a:pt x="158" y="18"/>
                  </a:lnTo>
                  <a:lnTo>
                    <a:pt x="159" y="18"/>
                  </a:lnTo>
                  <a:lnTo>
                    <a:pt x="160" y="18"/>
                  </a:lnTo>
                  <a:lnTo>
                    <a:pt x="161" y="18"/>
                  </a:lnTo>
                  <a:lnTo>
                    <a:pt x="163" y="19"/>
                  </a:lnTo>
                  <a:lnTo>
                    <a:pt x="163" y="18"/>
                  </a:lnTo>
                  <a:lnTo>
                    <a:pt x="164" y="18"/>
                  </a:lnTo>
                  <a:lnTo>
                    <a:pt x="165" y="18"/>
                  </a:lnTo>
                  <a:lnTo>
                    <a:pt x="166" y="18"/>
                  </a:lnTo>
                  <a:lnTo>
                    <a:pt x="166" y="17"/>
                  </a:lnTo>
                  <a:lnTo>
                    <a:pt x="167" y="17"/>
                  </a:lnTo>
                  <a:lnTo>
                    <a:pt x="170" y="17"/>
                  </a:lnTo>
                  <a:lnTo>
                    <a:pt x="171" y="17"/>
                  </a:lnTo>
                  <a:lnTo>
                    <a:pt x="171" y="16"/>
                  </a:lnTo>
                  <a:lnTo>
                    <a:pt x="172" y="16"/>
                  </a:lnTo>
                  <a:lnTo>
                    <a:pt x="172" y="17"/>
                  </a:lnTo>
                  <a:lnTo>
                    <a:pt x="173" y="16"/>
                  </a:lnTo>
                  <a:lnTo>
                    <a:pt x="174" y="16"/>
                  </a:lnTo>
                  <a:lnTo>
                    <a:pt x="175" y="16"/>
                  </a:lnTo>
                  <a:lnTo>
                    <a:pt x="175" y="17"/>
                  </a:lnTo>
                  <a:lnTo>
                    <a:pt x="177" y="17"/>
                  </a:lnTo>
                  <a:lnTo>
                    <a:pt x="178" y="17"/>
                  </a:lnTo>
                  <a:lnTo>
                    <a:pt x="179" y="17"/>
                  </a:lnTo>
                  <a:lnTo>
                    <a:pt x="180" y="18"/>
                  </a:lnTo>
                  <a:lnTo>
                    <a:pt x="181" y="18"/>
                  </a:lnTo>
                  <a:lnTo>
                    <a:pt x="182" y="18"/>
                  </a:lnTo>
                  <a:lnTo>
                    <a:pt x="184" y="18"/>
                  </a:lnTo>
                  <a:lnTo>
                    <a:pt x="185" y="18"/>
                  </a:lnTo>
                  <a:lnTo>
                    <a:pt x="186" y="18"/>
                  </a:lnTo>
                  <a:lnTo>
                    <a:pt x="187" y="17"/>
                  </a:lnTo>
                  <a:lnTo>
                    <a:pt x="188" y="17"/>
                  </a:lnTo>
                  <a:lnTo>
                    <a:pt x="189" y="17"/>
                  </a:lnTo>
                  <a:lnTo>
                    <a:pt x="189" y="16"/>
                  </a:lnTo>
                  <a:lnTo>
                    <a:pt x="191" y="16"/>
                  </a:lnTo>
                  <a:lnTo>
                    <a:pt x="191" y="14"/>
                  </a:lnTo>
                  <a:lnTo>
                    <a:pt x="192" y="14"/>
                  </a:lnTo>
                  <a:lnTo>
                    <a:pt x="193" y="14"/>
                  </a:lnTo>
                  <a:lnTo>
                    <a:pt x="194" y="13"/>
                  </a:lnTo>
                  <a:lnTo>
                    <a:pt x="195" y="13"/>
                  </a:lnTo>
                  <a:lnTo>
                    <a:pt x="195" y="12"/>
                  </a:lnTo>
                  <a:lnTo>
                    <a:pt x="196" y="12"/>
                  </a:lnTo>
                  <a:lnTo>
                    <a:pt x="198" y="12"/>
                  </a:lnTo>
                  <a:lnTo>
                    <a:pt x="198" y="11"/>
                  </a:lnTo>
                  <a:lnTo>
                    <a:pt x="199" y="11"/>
                  </a:lnTo>
                  <a:lnTo>
                    <a:pt x="199" y="10"/>
                  </a:lnTo>
                  <a:lnTo>
                    <a:pt x="200" y="10"/>
                  </a:lnTo>
                  <a:lnTo>
                    <a:pt x="200" y="9"/>
                  </a:lnTo>
                  <a:lnTo>
                    <a:pt x="201" y="10"/>
                  </a:lnTo>
                  <a:lnTo>
                    <a:pt x="202" y="10"/>
                  </a:lnTo>
                  <a:lnTo>
                    <a:pt x="203" y="10"/>
                  </a:lnTo>
                  <a:lnTo>
                    <a:pt x="203" y="11"/>
                  </a:lnTo>
                  <a:lnTo>
                    <a:pt x="205" y="10"/>
                  </a:lnTo>
                  <a:lnTo>
                    <a:pt x="206" y="10"/>
                  </a:lnTo>
                  <a:lnTo>
                    <a:pt x="207" y="10"/>
                  </a:lnTo>
                  <a:lnTo>
                    <a:pt x="208" y="10"/>
                  </a:lnTo>
                  <a:lnTo>
                    <a:pt x="209" y="10"/>
                  </a:lnTo>
                  <a:lnTo>
                    <a:pt x="212" y="11"/>
                  </a:lnTo>
                  <a:lnTo>
                    <a:pt x="213" y="10"/>
                  </a:lnTo>
                  <a:lnTo>
                    <a:pt x="213" y="9"/>
                  </a:lnTo>
                  <a:lnTo>
                    <a:pt x="214" y="9"/>
                  </a:lnTo>
                  <a:lnTo>
                    <a:pt x="214" y="7"/>
                  </a:lnTo>
                  <a:lnTo>
                    <a:pt x="216" y="9"/>
                  </a:lnTo>
                  <a:lnTo>
                    <a:pt x="215" y="10"/>
                  </a:lnTo>
                  <a:lnTo>
                    <a:pt x="216" y="10"/>
                  </a:lnTo>
                  <a:lnTo>
                    <a:pt x="217" y="10"/>
                  </a:lnTo>
                  <a:lnTo>
                    <a:pt x="218" y="10"/>
                  </a:lnTo>
                  <a:lnTo>
                    <a:pt x="218" y="11"/>
                  </a:lnTo>
                  <a:lnTo>
                    <a:pt x="220" y="12"/>
                  </a:lnTo>
                  <a:lnTo>
                    <a:pt x="221" y="12"/>
                  </a:lnTo>
                  <a:lnTo>
                    <a:pt x="222" y="12"/>
                  </a:lnTo>
                  <a:lnTo>
                    <a:pt x="221" y="13"/>
                  </a:lnTo>
                  <a:lnTo>
                    <a:pt x="222" y="13"/>
                  </a:lnTo>
                  <a:lnTo>
                    <a:pt x="222" y="14"/>
                  </a:lnTo>
                  <a:lnTo>
                    <a:pt x="223" y="14"/>
                  </a:lnTo>
                  <a:lnTo>
                    <a:pt x="224" y="14"/>
                  </a:lnTo>
                  <a:lnTo>
                    <a:pt x="225" y="14"/>
                  </a:lnTo>
                  <a:lnTo>
                    <a:pt x="225" y="16"/>
                  </a:lnTo>
                  <a:lnTo>
                    <a:pt x="225" y="17"/>
                  </a:lnTo>
                  <a:lnTo>
                    <a:pt x="227" y="17"/>
                  </a:lnTo>
                  <a:lnTo>
                    <a:pt x="228" y="18"/>
                  </a:lnTo>
                  <a:lnTo>
                    <a:pt x="229" y="19"/>
                  </a:lnTo>
                  <a:lnTo>
                    <a:pt x="229" y="20"/>
                  </a:lnTo>
                  <a:lnTo>
                    <a:pt x="230" y="20"/>
                  </a:lnTo>
                  <a:lnTo>
                    <a:pt x="230" y="21"/>
                  </a:lnTo>
                  <a:lnTo>
                    <a:pt x="230" y="23"/>
                  </a:lnTo>
                  <a:lnTo>
                    <a:pt x="230" y="24"/>
                  </a:lnTo>
                  <a:lnTo>
                    <a:pt x="230" y="25"/>
                  </a:lnTo>
                  <a:lnTo>
                    <a:pt x="229" y="25"/>
                  </a:lnTo>
                  <a:lnTo>
                    <a:pt x="230" y="25"/>
                  </a:lnTo>
                  <a:lnTo>
                    <a:pt x="229" y="25"/>
                  </a:lnTo>
                  <a:lnTo>
                    <a:pt x="229" y="26"/>
                  </a:lnTo>
                  <a:lnTo>
                    <a:pt x="230" y="26"/>
                  </a:lnTo>
                  <a:lnTo>
                    <a:pt x="230" y="27"/>
                  </a:lnTo>
                  <a:lnTo>
                    <a:pt x="229" y="27"/>
                  </a:lnTo>
                  <a:lnTo>
                    <a:pt x="230" y="27"/>
                  </a:lnTo>
                  <a:lnTo>
                    <a:pt x="230" y="28"/>
                  </a:lnTo>
                  <a:lnTo>
                    <a:pt x="231" y="28"/>
                  </a:lnTo>
                  <a:lnTo>
                    <a:pt x="231" y="30"/>
                  </a:lnTo>
                  <a:lnTo>
                    <a:pt x="231" y="31"/>
                  </a:lnTo>
                  <a:lnTo>
                    <a:pt x="231" y="32"/>
                  </a:lnTo>
                  <a:lnTo>
                    <a:pt x="232" y="32"/>
                  </a:lnTo>
                  <a:lnTo>
                    <a:pt x="235" y="33"/>
                  </a:lnTo>
                  <a:lnTo>
                    <a:pt x="236" y="33"/>
                  </a:lnTo>
                  <a:lnTo>
                    <a:pt x="237" y="32"/>
                  </a:lnTo>
                  <a:lnTo>
                    <a:pt x="237" y="33"/>
                  </a:lnTo>
                  <a:lnTo>
                    <a:pt x="238" y="32"/>
                  </a:lnTo>
                  <a:lnTo>
                    <a:pt x="239" y="32"/>
                  </a:lnTo>
                  <a:lnTo>
                    <a:pt x="241" y="33"/>
                  </a:lnTo>
                  <a:lnTo>
                    <a:pt x="242" y="33"/>
                  </a:lnTo>
                  <a:lnTo>
                    <a:pt x="243" y="34"/>
                  </a:lnTo>
                  <a:lnTo>
                    <a:pt x="243" y="35"/>
                  </a:lnTo>
                  <a:lnTo>
                    <a:pt x="244" y="35"/>
                  </a:lnTo>
                  <a:lnTo>
                    <a:pt x="245" y="37"/>
                  </a:lnTo>
                  <a:lnTo>
                    <a:pt x="246" y="38"/>
                  </a:lnTo>
                  <a:lnTo>
                    <a:pt x="246" y="39"/>
                  </a:lnTo>
                  <a:lnTo>
                    <a:pt x="248" y="39"/>
                  </a:lnTo>
                  <a:lnTo>
                    <a:pt x="246" y="38"/>
                  </a:lnTo>
                  <a:lnTo>
                    <a:pt x="245" y="38"/>
                  </a:lnTo>
                  <a:lnTo>
                    <a:pt x="244" y="37"/>
                  </a:lnTo>
                  <a:lnTo>
                    <a:pt x="243" y="38"/>
                  </a:lnTo>
                  <a:lnTo>
                    <a:pt x="243" y="39"/>
                  </a:lnTo>
                  <a:lnTo>
                    <a:pt x="242" y="40"/>
                  </a:lnTo>
                  <a:lnTo>
                    <a:pt x="243" y="40"/>
                  </a:lnTo>
                  <a:lnTo>
                    <a:pt x="243" y="41"/>
                  </a:lnTo>
                  <a:lnTo>
                    <a:pt x="242" y="42"/>
                  </a:lnTo>
                  <a:lnTo>
                    <a:pt x="241" y="42"/>
                  </a:lnTo>
                  <a:lnTo>
                    <a:pt x="239" y="42"/>
                  </a:lnTo>
                  <a:lnTo>
                    <a:pt x="238" y="42"/>
                  </a:lnTo>
                  <a:lnTo>
                    <a:pt x="237" y="42"/>
                  </a:lnTo>
                  <a:lnTo>
                    <a:pt x="238" y="42"/>
                  </a:lnTo>
                  <a:lnTo>
                    <a:pt x="238" y="44"/>
                  </a:lnTo>
                  <a:lnTo>
                    <a:pt x="238" y="45"/>
                  </a:lnTo>
                  <a:lnTo>
                    <a:pt x="239" y="45"/>
                  </a:lnTo>
                  <a:lnTo>
                    <a:pt x="239" y="46"/>
                  </a:lnTo>
                  <a:lnTo>
                    <a:pt x="241" y="46"/>
                  </a:lnTo>
                  <a:lnTo>
                    <a:pt x="241" y="47"/>
                  </a:lnTo>
                  <a:lnTo>
                    <a:pt x="241" y="48"/>
                  </a:lnTo>
                  <a:lnTo>
                    <a:pt x="241" y="49"/>
                  </a:lnTo>
                  <a:lnTo>
                    <a:pt x="241" y="51"/>
                  </a:lnTo>
                  <a:lnTo>
                    <a:pt x="242" y="51"/>
                  </a:lnTo>
                  <a:lnTo>
                    <a:pt x="243" y="51"/>
                  </a:lnTo>
                  <a:lnTo>
                    <a:pt x="243" y="52"/>
                  </a:lnTo>
                  <a:lnTo>
                    <a:pt x="243" y="53"/>
                  </a:lnTo>
                  <a:lnTo>
                    <a:pt x="243" y="54"/>
                  </a:lnTo>
                  <a:lnTo>
                    <a:pt x="243" y="55"/>
                  </a:lnTo>
                  <a:lnTo>
                    <a:pt x="244" y="56"/>
                  </a:lnTo>
                  <a:lnTo>
                    <a:pt x="244" y="58"/>
                  </a:lnTo>
                  <a:lnTo>
                    <a:pt x="244" y="59"/>
                  </a:lnTo>
                  <a:lnTo>
                    <a:pt x="245" y="59"/>
                  </a:lnTo>
                  <a:lnTo>
                    <a:pt x="246" y="59"/>
                  </a:lnTo>
                  <a:lnTo>
                    <a:pt x="246" y="60"/>
                  </a:lnTo>
                  <a:lnTo>
                    <a:pt x="245" y="60"/>
                  </a:lnTo>
                  <a:lnTo>
                    <a:pt x="245" y="61"/>
                  </a:lnTo>
                  <a:lnTo>
                    <a:pt x="245" y="62"/>
                  </a:lnTo>
                  <a:lnTo>
                    <a:pt x="245" y="63"/>
                  </a:lnTo>
                  <a:lnTo>
                    <a:pt x="244" y="63"/>
                  </a:lnTo>
                  <a:lnTo>
                    <a:pt x="244" y="65"/>
                  </a:lnTo>
                  <a:lnTo>
                    <a:pt x="244" y="66"/>
                  </a:lnTo>
                  <a:lnTo>
                    <a:pt x="244" y="67"/>
                  </a:lnTo>
                  <a:lnTo>
                    <a:pt x="245" y="67"/>
                  </a:lnTo>
                  <a:lnTo>
                    <a:pt x="246" y="67"/>
                  </a:lnTo>
                  <a:lnTo>
                    <a:pt x="248" y="67"/>
                  </a:lnTo>
                  <a:lnTo>
                    <a:pt x="248" y="68"/>
                  </a:lnTo>
                  <a:lnTo>
                    <a:pt x="249" y="68"/>
                  </a:lnTo>
                  <a:lnTo>
                    <a:pt x="250" y="69"/>
                  </a:lnTo>
                  <a:lnTo>
                    <a:pt x="249" y="69"/>
                  </a:lnTo>
                  <a:lnTo>
                    <a:pt x="249" y="70"/>
                  </a:lnTo>
                  <a:lnTo>
                    <a:pt x="250" y="70"/>
                  </a:lnTo>
                  <a:lnTo>
                    <a:pt x="250" y="72"/>
                  </a:lnTo>
                  <a:lnTo>
                    <a:pt x="250" y="73"/>
                  </a:lnTo>
                  <a:lnTo>
                    <a:pt x="250" y="74"/>
                  </a:lnTo>
                  <a:lnTo>
                    <a:pt x="251" y="74"/>
                  </a:lnTo>
                  <a:lnTo>
                    <a:pt x="252" y="74"/>
                  </a:lnTo>
                  <a:lnTo>
                    <a:pt x="252" y="75"/>
                  </a:lnTo>
                  <a:lnTo>
                    <a:pt x="253" y="75"/>
                  </a:lnTo>
                  <a:lnTo>
                    <a:pt x="253" y="76"/>
                  </a:lnTo>
                  <a:lnTo>
                    <a:pt x="253" y="77"/>
                  </a:lnTo>
                  <a:lnTo>
                    <a:pt x="251" y="77"/>
                  </a:lnTo>
                  <a:lnTo>
                    <a:pt x="250" y="77"/>
                  </a:lnTo>
                  <a:lnTo>
                    <a:pt x="250" y="79"/>
                  </a:lnTo>
                  <a:lnTo>
                    <a:pt x="249" y="80"/>
                  </a:lnTo>
                  <a:lnTo>
                    <a:pt x="248" y="80"/>
                  </a:lnTo>
                  <a:lnTo>
                    <a:pt x="248" y="81"/>
                  </a:lnTo>
                  <a:lnTo>
                    <a:pt x="246" y="81"/>
                  </a:lnTo>
                  <a:lnTo>
                    <a:pt x="246" y="80"/>
                  </a:lnTo>
                  <a:lnTo>
                    <a:pt x="246" y="79"/>
                  </a:lnTo>
                  <a:lnTo>
                    <a:pt x="245" y="79"/>
                  </a:lnTo>
                  <a:lnTo>
                    <a:pt x="246" y="79"/>
                  </a:lnTo>
                  <a:lnTo>
                    <a:pt x="246" y="77"/>
                  </a:lnTo>
                  <a:lnTo>
                    <a:pt x="246" y="76"/>
                  </a:lnTo>
                  <a:lnTo>
                    <a:pt x="245" y="76"/>
                  </a:lnTo>
                  <a:lnTo>
                    <a:pt x="244" y="75"/>
                  </a:lnTo>
                  <a:lnTo>
                    <a:pt x="243" y="75"/>
                  </a:lnTo>
                  <a:lnTo>
                    <a:pt x="243" y="76"/>
                  </a:lnTo>
                  <a:lnTo>
                    <a:pt x="242" y="76"/>
                  </a:lnTo>
                  <a:lnTo>
                    <a:pt x="241" y="76"/>
                  </a:lnTo>
                  <a:lnTo>
                    <a:pt x="241" y="77"/>
                  </a:lnTo>
                  <a:lnTo>
                    <a:pt x="241" y="76"/>
                  </a:lnTo>
                  <a:lnTo>
                    <a:pt x="239" y="76"/>
                  </a:lnTo>
                  <a:lnTo>
                    <a:pt x="238" y="76"/>
                  </a:lnTo>
                  <a:lnTo>
                    <a:pt x="237" y="76"/>
                  </a:lnTo>
                  <a:lnTo>
                    <a:pt x="236" y="76"/>
                  </a:lnTo>
                  <a:lnTo>
                    <a:pt x="235" y="75"/>
                  </a:lnTo>
                  <a:lnTo>
                    <a:pt x="234" y="75"/>
                  </a:lnTo>
                  <a:lnTo>
                    <a:pt x="231" y="74"/>
                  </a:lnTo>
                  <a:lnTo>
                    <a:pt x="230" y="75"/>
                  </a:lnTo>
                  <a:lnTo>
                    <a:pt x="229" y="75"/>
                  </a:lnTo>
                  <a:lnTo>
                    <a:pt x="228" y="75"/>
                  </a:lnTo>
                  <a:lnTo>
                    <a:pt x="227" y="74"/>
                  </a:lnTo>
                  <a:lnTo>
                    <a:pt x="227" y="75"/>
                  </a:lnTo>
                  <a:lnTo>
                    <a:pt x="225" y="75"/>
                  </a:lnTo>
                  <a:lnTo>
                    <a:pt x="224" y="77"/>
                  </a:lnTo>
                  <a:lnTo>
                    <a:pt x="223" y="79"/>
                  </a:lnTo>
                  <a:lnTo>
                    <a:pt x="222" y="79"/>
                  </a:lnTo>
                  <a:lnTo>
                    <a:pt x="222" y="77"/>
                  </a:lnTo>
                  <a:lnTo>
                    <a:pt x="222" y="76"/>
                  </a:lnTo>
                  <a:lnTo>
                    <a:pt x="221" y="76"/>
                  </a:lnTo>
                  <a:lnTo>
                    <a:pt x="220" y="76"/>
                  </a:lnTo>
                  <a:lnTo>
                    <a:pt x="220" y="75"/>
                  </a:lnTo>
                  <a:lnTo>
                    <a:pt x="218" y="76"/>
                  </a:lnTo>
                  <a:lnTo>
                    <a:pt x="217" y="77"/>
                  </a:lnTo>
                  <a:lnTo>
                    <a:pt x="216" y="77"/>
                  </a:lnTo>
                  <a:lnTo>
                    <a:pt x="210" y="79"/>
                  </a:lnTo>
                  <a:lnTo>
                    <a:pt x="207" y="80"/>
                  </a:lnTo>
                  <a:lnTo>
                    <a:pt x="207" y="79"/>
                  </a:lnTo>
                  <a:lnTo>
                    <a:pt x="206" y="79"/>
                  </a:lnTo>
                  <a:lnTo>
                    <a:pt x="203" y="79"/>
                  </a:lnTo>
                  <a:lnTo>
                    <a:pt x="201" y="79"/>
                  </a:lnTo>
                  <a:lnTo>
                    <a:pt x="200" y="79"/>
                  </a:lnTo>
                  <a:lnTo>
                    <a:pt x="199" y="80"/>
                  </a:lnTo>
                  <a:lnTo>
                    <a:pt x="198" y="80"/>
                  </a:lnTo>
                  <a:lnTo>
                    <a:pt x="196" y="80"/>
                  </a:lnTo>
                  <a:lnTo>
                    <a:pt x="195" y="81"/>
                  </a:lnTo>
                  <a:lnTo>
                    <a:pt x="194" y="82"/>
                  </a:lnTo>
                  <a:lnTo>
                    <a:pt x="193" y="82"/>
                  </a:lnTo>
                  <a:lnTo>
                    <a:pt x="192" y="83"/>
                  </a:lnTo>
                  <a:lnTo>
                    <a:pt x="189" y="84"/>
                  </a:lnTo>
                  <a:lnTo>
                    <a:pt x="185" y="86"/>
                  </a:lnTo>
                  <a:lnTo>
                    <a:pt x="182" y="86"/>
                  </a:lnTo>
                  <a:lnTo>
                    <a:pt x="181" y="86"/>
                  </a:lnTo>
                  <a:lnTo>
                    <a:pt x="180" y="84"/>
                  </a:lnTo>
                  <a:lnTo>
                    <a:pt x="179" y="84"/>
                  </a:lnTo>
                  <a:lnTo>
                    <a:pt x="179" y="86"/>
                  </a:lnTo>
                  <a:lnTo>
                    <a:pt x="177" y="86"/>
                  </a:lnTo>
                  <a:lnTo>
                    <a:pt x="175" y="86"/>
                  </a:lnTo>
                  <a:lnTo>
                    <a:pt x="174" y="84"/>
                  </a:lnTo>
                  <a:lnTo>
                    <a:pt x="173" y="83"/>
                  </a:lnTo>
                  <a:lnTo>
                    <a:pt x="172" y="82"/>
                  </a:lnTo>
                  <a:lnTo>
                    <a:pt x="170" y="82"/>
                  </a:lnTo>
                  <a:lnTo>
                    <a:pt x="168" y="82"/>
                  </a:lnTo>
                  <a:lnTo>
                    <a:pt x="167" y="82"/>
                  </a:lnTo>
                  <a:lnTo>
                    <a:pt x="166" y="83"/>
                  </a:lnTo>
                  <a:lnTo>
                    <a:pt x="164" y="84"/>
                  </a:lnTo>
                  <a:lnTo>
                    <a:pt x="161" y="84"/>
                  </a:lnTo>
                  <a:lnTo>
                    <a:pt x="160" y="84"/>
                  </a:lnTo>
                  <a:lnTo>
                    <a:pt x="159" y="86"/>
                  </a:lnTo>
                  <a:lnTo>
                    <a:pt x="158" y="86"/>
                  </a:lnTo>
                  <a:lnTo>
                    <a:pt x="157" y="86"/>
                  </a:lnTo>
                  <a:lnTo>
                    <a:pt x="156" y="86"/>
                  </a:lnTo>
                  <a:lnTo>
                    <a:pt x="154" y="86"/>
                  </a:lnTo>
                  <a:lnTo>
                    <a:pt x="154" y="87"/>
                  </a:lnTo>
                  <a:lnTo>
                    <a:pt x="153" y="86"/>
                  </a:lnTo>
                  <a:lnTo>
                    <a:pt x="153" y="84"/>
                  </a:lnTo>
                  <a:lnTo>
                    <a:pt x="152" y="84"/>
                  </a:lnTo>
                  <a:lnTo>
                    <a:pt x="152" y="83"/>
                  </a:lnTo>
                  <a:lnTo>
                    <a:pt x="151" y="83"/>
                  </a:lnTo>
                  <a:lnTo>
                    <a:pt x="149" y="83"/>
                  </a:lnTo>
                  <a:lnTo>
                    <a:pt x="148" y="84"/>
                  </a:lnTo>
                  <a:lnTo>
                    <a:pt x="148" y="86"/>
                  </a:lnTo>
                  <a:lnTo>
                    <a:pt x="148" y="87"/>
                  </a:lnTo>
                  <a:lnTo>
                    <a:pt x="148" y="88"/>
                  </a:lnTo>
                  <a:lnTo>
                    <a:pt x="148" y="89"/>
                  </a:lnTo>
                  <a:lnTo>
                    <a:pt x="148" y="90"/>
                  </a:lnTo>
                  <a:lnTo>
                    <a:pt x="149" y="90"/>
                  </a:lnTo>
                  <a:lnTo>
                    <a:pt x="149" y="91"/>
                  </a:lnTo>
                  <a:lnTo>
                    <a:pt x="150" y="91"/>
                  </a:lnTo>
                  <a:lnTo>
                    <a:pt x="150" y="93"/>
                  </a:lnTo>
                  <a:lnTo>
                    <a:pt x="149" y="93"/>
                  </a:lnTo>
                  <a:lnTo>
                    <a:pt x="148" y="93"/>
                  </a:lnTo>
                  <a:lnTo>
                    <a:pt x="146" y="93"/>
                  </a:lnTo>
                  <a:lnTo>
                    <a:pt x="146" y="94"/>
                  </a:lnTo>
                  <a:lnTo>
                    <a:pt x="146" y="96"/>
                  </a:lnTo>
                  <a:lnTo>
                    <a:pt x="145" y="96"/>
                  </a:lnTo>
                  <a:lnTo>
                    <a:pt x="145" y="97"/>
                  </a:lnTo>
                  <a:lnTo>
                    <a:pt x="144" y="96"/>
                  </a:lnTo>
                  <a:lnTo>
                    <a:pt x="144" y="97"/>
                  </a:lnTo>
                  <a:lnTo>
                    <a:pt x="144" y="98"/>
                  </a:lnTo>
                  <a:lnTo>
                    <a:pt x="143" y="98"/>
                  </a:lnTo>
                  <a:lnTo>
                    <a:pt x="142" y="98"/>
                  </a:lnTo>
                  <a:lnTo>
                    <a:pt x="142" y="97"/>
                  </a:lnTo>
                  <a:lnTo>
                    <a:pt x="141" y="97"/>
                  </a:lnTo>
                  <a:lnTo>
                    <a:pt x="141" y="96"/>
                  </a:lnTo>
                  <a:lnTo>
                    <a:pt x="142" y="96"/>
                  </a:lnTo>
                  <a:lnTo>
                    <a:pt x="141" y="95"/>
                  </a:lnTo>
                  <a:lnTo>
                    <a:pt x="139" y="93"/>
                  </a:lnTo>
                  <a:lnTo>
                    <a:pt x="138" y="91"/>
                  </a:lnTo>
                  <a:lnTo>
                    <a:pt x="138" y="90"/>
                  </a:lnTo>
                  <a:lnTo>
                    <a:pt x="139" y="90"/>
                  </a:lnTo>
                  <a:lnTo>
                    <a:pt x="139" y="89"/>
                  </a:lnTo>
                  <a:lnTo>
                    <a:pt x="141" y="88"/>
                  </a:lnTo>
                  <a:lnTo>
                    <a:pt x="142" y="88"/>
                  </a:lnTo>
                  <a:lnTo>
                    <a:pt x="143" y="87"/>
                  </a:lnTo>
                  <a:lnTo>
                    <a:pt x="143" y="86"/>
                  </a:lnTo>
                  <a:lnTo>
                    <a:pt x="143" y="84"/>
                  </a:lnTo>
                  <a:lnTo>
                    <a:pt x="143" y="83"/>
                  </a:lnTo>
                  <a:lnTo>
                    <a:pt x="142" y="82"/>
                  </a:lnTo>
                  <a:lnTo>
                    <a:pt x="141" y="82"/>
                  </a:lnTo>
                  <a:lnTo>
                    <a:pt x="139" y="81"/>
                  </a:lnTo>
                  <a:lnTo>
                    <a:pt x="139" y="82"/>
                  </a:lnTo>
                  <a:lnTo>
                    <a:pt x="138" y="83"/>
                  </a:lnTo>
                  <a:lnTo>
                    <a:pt x="137" y="83"/>
                  </a:lnTo>
                  <a:lnTo>
                    <a:pt x="137" y="84"/>
                  </a:lnTo>
                  <a:lnTo>
                    <a:pt x="136" y="84"/>
                  </a:lnTo>
                  <a:lnTo>
                    <a:pt x="135" y="84"/>
                  </a:lnTo>
                  <a:lnTo>
                    <a:pt x="135" y="86"/>
                  </a:lnTo>
                  <a:lnTo>
                    <a:pt x="135" y="84"/>
                  </a:lnTo>
                  <a:lnTo>
                    <a:pt x="135" y="86"/>
                  </a:lnTo>
                  <a:lnTo>
                    <a:pt x="135" y="84"/>
                  </a:lnTo>
                  <a:lnTo>
                    <a:pt x="136" y="84"/>
                  </a:lnTo>
                  <a:lnTo>
                    <a:pt x="135" y="84"/>
                  </a:lnTo>
                  <a:lnTo>
                    <a:pt x="136" y="84"/>
                  </a:lnTo>
                  <a:lnTo>
                    <a:pt x="135" y="86"/>
                  </a:lnTo>
                  <a:lnTo>
                    <a:pt x="136" y="86"/>
                  </a:lnTo>
                  <a:lnTo>
                    <a:pt x="136" y="84"/>
                  </a:lnTo>
                  <a:lnTo>
                    <a:pt x="136" y="86"/>
                  </a:lnTo>
                  <a:lnTo>
                    <a:pt x="136" y="87"/>
                  </a:lnTo>
                  <a:lnTo>
                    <a:pt x="135" y="87"/>
                  </a:lnTo>
                  <a:lnTo>
                    <a:pt x="134" y="87"/>
                  </a:lnTo>
                  <a:lnTo>
                    <a:pt x="135" y="87"/>
                  </a:lnTo>
                  <a:lnTo>
                    <a:pt x="134" y="87"/>
                  </a:lnTo>
                  <a:lnTo>
                    <a:pt x="132" y="87"/>
                  </a:lnTo>
                  <a:lnTo>
                    <a:pt x="132" y="88"/>
                  </a:lnTo>
                  <a:lnTo>
                    <a:pt x="131" y="88"/>
                  </a:lnTo>
                  <a:lnTo>
                    <a:pt x="131" y="87"/>
                  </a:lnTo>
                  <a:lnTo>
                    <a:pt x="128" y="86"/>
                  </a:lnTo>
                  <a:lnTo>
                    <a:pt x="128" y="84"/>
                  </a:lnTo>
                  <a:lnTo>
                    <a:pt x="127" y="84"/>
                  </a:lnTo>
                  <a:lnTo>
                    <a:pt x="125" y="84"/>
                  </a:lnTo>
                  <a:lnTo>
                    <a:pt x="125" y="83"/>
                  </a:lnTo>
                  <a:lnTo>
                    <a:pt x="124" y="83"/>
                  </a:lnTo>
                  <a:lnTo>
                    <a:pt x="123" y="83"/>
                  </a:lnTo>
                  <a:lnTo>
                    <a:pt x="122" y="83"/>
                  </a:lnTo>
                  <a:lnTo>
                    <a:pt x="121" y="84"/>
                  </a:lnTo>
                  <a:lnTo>
                    <a:pt x="120" y="86"/>
                  </a:lnTo>
                  <a:lnTo>
                    <a:pt x="118" y="87"/>
                  </a:lnTo>
                  <a:lnTo>
                    <a:pt x="117" y="87"/>
                  </a:lnTo>
                  <a:lnTo>
                    <a:pt x="117" y="88"/>
                  </a:lnTo>
                  <a:lnTo>
                    <a:pt x="117" y="89"/>
                  </a:lnTo>
                  <a:lnTo>
                    <a:pt x="116" y="89"/>
                  </a:lnTo>
                  <a:lnTo>
                    <a:pt x="116" y="90"/>
                  </a:lnTo>
                  <a:lnTo>
                    <a:pt x="115" y="91"/>
                  </a:lnTo>
                  <a:lnTo>
                    <a:pt x="115" y="93"/>
                  </a:lnTo>
                  <a:lnTo>
                    <a:pt x="114" y="93"/>
                  </a:lnTo>
                  <a:lnTo>
                    <a:pt x="114" y="91"/>
                  </a:lnTo>
                  <a:lnTo>
                    <a:pt x="113" y="91"/>
                  </a:lnTo>
                  <a:lnTo>
                    <a:pt x="113" y="93"/>
                  </a:lnTo>
                  <a:lnTo>
                    <a:pt x="111" y="93"/>
                  </a:lnTo>
                  <a:lnTo>
                    <a:pt x="111" y="94"/>
                  </a:lnTo>
                  <a:lnTo>
                    <a:pt x="110" y="94"/>
                  </a:lnTo>
                  <a:lnTo>
                    <a:pt x="110" y="93"/>
                  </a:lnTo>
                  <a:lnTo>
                    <a:pt x="110" y="94"/>
                  </a:lnTo>
                  <a:lnTo>
                    <a:pt x="109" y="94"/>
                  </a:lnTo>
                  <a:lnTo>
                    <a:pt x="108" y="94"/>
                  </a:lnTo>
                  <a:lnTo>
                    <a:pt x="107" y="94"/>
                  </a:lnTo>
                  <a:lnTo>
                    <a:pt x="106" y="94"/>
                  </a:lnTo>
                  <a:lnTo>
                    <a:pt x="104" y="94"/>
                  </a:lnTo>
                  <a:lnTo>
                    <a:pt x="103" y="94"/>
                  </a:lnTo>
                  <a:lnTo>
                    <a:pt x="103" y="95"/>
                  </a:lnTo>
                  <a:lnTo>
                    <a:pt x="102" y="95"/>
                  </a:lnTo>
                  <a:lnTo>
                    <a:pt x="101" y="95"/>
                  </a:lnTo>
                  <a:lnTo>
                    <a:pt x="100" y="95"/>
                  </a:lnTo>
                  <a:lnTo>
                    <a:pt x="100" y="96"/>
                  </a:lnTo>
                  <a:lnTo>
                    <a:pt x="99" y="96"/>
                  </a:lnTo>
                  <a:lnTo>
                    <a:pt x="97" y="95"/>
                  </a:lnTo>
                  <a:lnTo>
                    <a:pt x="96" y="95"/>
                  </a:lnTo>
                  <a:lnTo>
                    <a:pt x="95" y="95"/>
                  </a:lnTo>
                  <a:lnTo>
                    <a:pt x="95" y="94"/>
                  </a:lnTo>
                  <a:lnTo>
                    <a:pt x="94" y="94"/>
                  </a:lnTo>
                  <a:lnTo>
                    <a:pt x="93" y="93"/>
                  </a:lnTo>
                  <a:lnTo>
                    <a:pt x="93" y="91"/>
                  </a:lnTo>
                  <a:lnTo>
                    <a:pt x="92" y="91"/>
                  </a:lnTo>
                  <a:lnTo>
                    <a:pt x="90" y="90"/>
                  </a:lnTo>
                  <a:lnTo>
                    <a:pt x="90" y="89"/>
                  </a:lnTo>
                  <a:lnTo>
                    <a:pt x="89" y="89"/>
                  </a:lnTo>
                  <a:lnTo>
                    <a:pt x="89" y="88"/>
                  </a:lnTo>
                  <a:lnTo>
                    <a:pt x="88" y="88"/>
                  </a:lnTo>
                  <a:lnTo>
                    <a:pt x="88" y="87"/>
                  </a:lnTo>
                  <a:lnTo>
                    <a:pt x="87" y="87"/>
                  </a:lnTo>
                  <a:lnTo>
                    <a:pt x="86" y="87"/>
                  </a:lnTo>
                  <a:lnTo>
                    <a:pt x="85" y="87"/>
                  </a:lnTo>
                  <a:lnTo>
                    <a:pt x="85" y="86"/>
                  </a:lnTo>
                  <a:lnTo>
                    <a:pt x="84" y="86"/>
                  </a:lnTo>
                  <a:lnTo>
                    <a:pt x="82" y="86"/>
                  </a:lnTo>
                  <a:lnTo>
                    <a:pt x="80" y="84"/>
                  </a:lnTo>
                  <a:lnTo>
                    <a:pt x="80" y="83"/>
                  </a:lnTo>
                  <a:lnTo>
                    <a:pt x="79" y="83"/>
                  </a:lnTo>
                  <a:lnTo>
                    <a:pt x="74" y="82"/>
                  </a:lnTo>
                  <a:lnTo>
                    <a:pt x="72" y="82"/>
                  </a:lnTo>
                  <a:lnTo>
                    <a:pt x="71" y="82"/>
                  </a:lnTo>
                  <a:lnTo>
                    <a:pt x="70" y="82"/>
                  </a:lnTo>
                  <a:lnTo>
                    <a:pt x="70" y="83"/>
                  </a:lnTo>
                  <a:lnTo>
                    <a:pt x="70" y="84"/>
                  </a:lnTo>
                  <a:lnTo>
                    <a:pt x="70" y="86"/>
                  </a:lnTo>
                  <a:lnTo>
                    <a:pt x="70" y="87"/>
                  </a:lnTo>
                  <a:lnTo>
                    <a:pt x="70" y="88"/>
                  </a:lnTo>
                  <a:lnTo>
                    <a:pt x="68" y="88"/>
                  </a:lnTo>
                  <a:lnTo>
                    <a:pt x="68" y="89"/>
                  </a:lnTo>
                  <a:lnTo>
                    <a:pt x="68" y="90"/>
                  </a:lnTo>
                  <a:lnTo>
                    <a:pt x="70" y="90"/>
                  </a:lnTo>
                  <a:lnTo>
                    <a:pt x="70" y="91"/>
                  </a:lnTo>
                  <a:lnTo>
                    <a:pt x="68" y="91"/>
                  </a:lnTo>
                  <a:lnTo>
                    <a:pt x="68" y="93"/>
                  </a:lnTo>
                  <a:lnTo>
                    <a:pt x="67" y="93"/>
                  </a:lnTo>
                  <a:lnTo>
                    <a:pt x="67" y="91"/>
                  </a:lnTo>
                  <a:lnTo>
                    <a:pt x="66" y="91"/>
                  </a:lnTo>
                  <a:lnTo>
                    <a:pt x="65" y="91"/>
                  </a:lnTo>
                  <a:lnTo>
                    <a:pt x="64" y="91"/>
                  </a:lnTo>
                  <a:lnTo>
                    <a:pt x="64" y="93"/>
                  </a:lnTo>
                  <a:lnTo>
                    <a:pt x="64" y="91"/>
                  </a:lnTo>
                  <a:lnTo>
                    <a:pt x="64" y="93"/>
                  </a:lnTo>
                  <a:lnTo>
                    <a:pt x="64" y="91"/>
                  </a:lnTo>
                  <a:lnTo>
                    <a:pt x="63" y="91"/>
                  </a:lnTo>
                  <a:lnTo>
                    <a:pt x="64" y="91"/>
                  </a:lnTo>
                  <a:lnTo>
                    <a:pt x="64" y="93"/>
                  </a:lnTo>
                  <a:lnTo>
                    <a:pt x="63" y="93"/>
                  </a:lnTo>
                  <a:lnTo>
                    <a:pt x="61" y="93"/>
                  </a:lnTo>
                  <a:lnTo>
                    <a:pt x="60" y="93"/>
                  </a:lnTo>
                  <a:lnTo>
                    <a:pt x="60" y="94"/>
                  </a:lnTo>
                  <a:lnTo>
                    <a:pt x="59" y="94"/>
                  </a:lnTo>
                  <a:lnTo>
                    <a:pt x="60" y="94"/>
                  </a:lnTo>
                  <a:lnTo>
                    <a:pt x="59" y="94"/>
                  </a:lnTo>
                  <a:lnTo>
                    <a:pt x="58" y="94"/>
                  </a:lnTo>
                  <a:lnTo>
                    <a:pt x="58" y="93"/>
                  </a:lnTo>
                  <a:lnTo>
                    <a:pt x="57" y="93"/>
                  </a:lnTo>
                  <a:lnTo>
                    <a:pt x="58" y="93"/>
                  </a:lnTo>
                  <a:lnTo>
                    <a:pt x="57" y="93"/>
                  </a:lnTo>
                  <a:lnTo>
                    <a:pt x="56" y="93"/>
                  </a:lnTo>
                  <a:lnTo>
                    <a:pt x="54" y="93"/>
                  </a:lnTo>
                  <a:lnTo>
                    <a:pt x="54" y="91"/>
                  </a:lnTo>
                  <a:lnTo>
                    <a:pt x="54" y="93"/>
                  </a:lnTo>
                  <a:lnTo>
                    <a:pt x="53" y="93"/>
                  </a:lnTo>
                  <a:lnTo>
                    <a:pt x="53" y="91"/>
                  </a:lnTo>
                  <a:lnTo>
                    <a:pt x="53" y="93"/>
                  </a:lnTo>
                  <a:lnTo>
                    <a:pt x="53" y="91"/>
                  </a:lnTo>
                  <a:lnTo>
                    <a:pt x="52" y="91"/>
                  </a:lnTo>
                  <a:lnTo>
                    <a:pt x="52" y="90"/>
                  </a:lnTo>
                  <a:lnTo>
                    <a:pt x="51" y="90"/>
                  </a:lnTo>
                  <a:lnTo>
                    <a:pt x="51" y="89"/>
                  </a:lnTo>
                  <a:lnTo>
                    <a:pt x="50" y="88"/>
                  </a:lnTo>
                  <a:lnTo>
                    <a:pt x="51" y="88"/>
                  </a:lnTo>
                  <a:lnTo>
                    <a:pt x="51" y="87"/>
                  </a:lnTo>
                  <a:lnTo>
                    <a:pt x="50" y="88"/>
                  </a:lnTo>
                  <a:lnTo>
                    <a:pt x="50" y="87"/>
                  </a:lnTo>
                  <a:lnTo>
                    <a:pt x="50" y="88"/>
                  </a:lnTo>
                  <a:lnTo>
                    <a:pt x="49" y="88"/>
                  </a:lnTo>
                  <a:lnTo>
                    <a:pt x="50" y="87"/>
                  </a:lnTo>
                  <a:lnTo>
                    <a:pt x="49" y="87"/>
                  </a:lnTo>
                  <a:lnTo>
                    <a:pt x="50" y="87"/>
                  </a:lnTo>
                  <a:lnTo>
                    <a:pt x="50" y="86"/>
                  </a:lnTo>
                  <a:lnTo>
                    <a:pt x="50" y="87"/>
                  </a:lnTo>
                  <a:lnTo>
                    <a:pt x="50" y="86"/>
                  </a:lnTo>
                  <a:lnTo>
                    <a:pt x="51" y="86"/>
                  </a:lnTo>
                  <a:lnTo>
                    <a:pt x="50" y="86"/>
                  </a:lnTo>
                  <a:lnTo>
                    <a:pt x="49" y="84"/>
                  </a:lnTo>
                  <a:lnTo>
                    <a:pt x="47" y="84"/>
                  </a:lnTo>
                  <a:lnTo>
                    <a:pt x="47" y="86"/>
                  </a:lnTo>
                  <a:lnTo>
                    <a:pt x="46" y="86"/>
                  </a:lnTo>
                  <a:lnTo>
                    <a:pt x="47" y="86"/>
                  </a:lnTo>
                  <a:lnTo>
                    <a:pt x="47" y="87"/>
                  </a:lnTo>
                  <a:lnTo>
                    <a:pt x="46" y="87"/>
                  </a:lnTo>
                  <a:lnTo>
                    <a:pt x="46" y="86"/>
                  </a:lnTo>
                  <a:lnTo>
                    <a:pt x="45" y="84"/>
                  </a:lnTo>
                  <a:lnTo>
                    <a:pt x="44" y="86"/>
                  </a:lnTo>
                  <a:lnTo>
                    <a:pt x="44" y="84"/>
                  </a:lnTo>
                  <a:lnTo>
                    <a:pt x="44" y="83"/>
                  </a:lnTo>
                  <a:lnTo>
                    <a:pt x="43" y="83"/>
                  </a:lnTo>
                  <a:lnTo>
                    <a:pt x="42" y="83"/>
                  </a:lnTo>
                  <a:lnTo>
                    <a:pt x="42" y="82"/>
                  </a:lnTo>
                  <a:lnTo>
                    <a:pt x="40" y="82"/>
                  </a:lnTo>
                  <a:lnTo>
                    <a:pt x="40" y="83"/>
                  </a:lnTo>
                  <a:lnTo>
                    <a:pt x="39" y="83"/>
                  </a:lnTo>
                  <a:lnTo>
                    <a:pt x="39" y="82"/>
                  </a:lnTo>
                  <a:lnTo>
                    <a:pt x="38" y="83"/>
                  </a:lnTo>
                  <a:lnTo>
                    <a:pt x="39" y="83"/>
                  </a:lnTo>
                  <a:lnTo>
                    <a:pt x="39" y="84"/>
                  </a:lnTo>
                  <a:lnTo>
                    <a:pt x="38" y="84"/>
                  </a:lnTo>
                  <a:lnTo>
                    <a:pt x="39" y="84"/>
                  </a:lnTo>
                  <a:lnTo>
                    <a:pt x="38" y="86"/>
                  </a:lnTo>
                  <a:lnTo>
                    <a:pt x="37" y="86"/>
                  </a:lnTo>
                  <a:lnTo>
                    <a:pt x="37" y="87"/>
                  </a:lnTo>
                  <a:lnTo>
                    <a:pt x="36" y="87"/>
                  </a:lnTo>
                  <a:lnTo>
                    <a:pt x="37" y="87"/>
                  </a:lnTo>
                  <a:lnTo>
                    <a:pt x="37" y="86"/>
                  </a:lnTo>
                  <a:lnTo>
                    <a:pt x="36" y="86"/>
                  </a:lnTo>
                  <a:lnTo>
                    <a:pt x="37" y="86"/>
                  </a:lnTo>
                  <a:lnTo>
                    <a:pt x="36" y="86"/>
                  </a:lnTo>
                  <a:lnTo>
                    <a:pt x="36" y="84"/>
                  </a:lnTo>
                  <a:lnTo>
                    <a:pt x="37" y="84"/>
                  </a:lnTo>
                  <a:lnTo>
                    <a:pt x="37" y="83"/>
                  </a:lnTo>
                  <a:lnTo>
                    <a:pt x="37" y="84"/>
                  </a:lnTo>
                  <a:lnTo>
                    <a:pt x="37" y="83"/>
                  </a:lnTo>
                  <a:lnTo>
                    <a:pt x="36" y="84"/>
                  </a:lnTo>
                  <a:lnTo>
                    <a:pt x="36" y="83"/>
                  </a:lnTo>
                  <a:lnTo>
                    <a:pt x="36" y="84"/>
                  </a:lnTo>
                  <a:lnTo>
                    <a:pt x="35" y="84"/>
                  </a:lnTo>
                  <a:lnTo>
                    <a:pt x="33" y="84"/>
                  </a:lnTo>
                  <a:lnTo>
                    <a:pt x="32" y="84"/>
                  </a:lnTo>
                  <a:lnTo>
                    <a:pt x="31" y="84"/>
                  </a:lnTo>
                  <a:lnTo>
                    <a:pt x="31" y="86"/>
                  </a:lnTo>
                  <a:lnTo>
                    <a:pt x="30" y="86"/>
                  </a:lnTo>
                  <a:lnTo>
                    <a:pt x="29" y="86"/>
                  </a:lnTo>
                  <a:lnTo>
                    <a:pt x="28" y="86"/>
                  </a:lnTo>
                  <a:lnTo>
                    <a:pt x="28" y="84"/>
                  </a:lnTo>
                  <a:lnTo>
                    <a:pt x="29" y="84"/>
                  </a:lnTo>
                  <a:lnTo>
                    <a:pt x="30" y="84"/>
                  </a:lnTo>
                  <a:lnTo>
                    <a:pt x="30" y="83"/>
                  </a:lnTo>
                  <a:lnTo>
                    <a:pt x="31" y="83"/>
                  </a:lnTo>
                  <a:lnTo>
                    <a:pt x="32" y="83"/>
                  </a:lnTo>
                  <a:lnTo>
                    <a:pt x="33" y="83"/>
                  </a:lnTo>
                  <a:lnTo>
                    <a:pt x="35" y="83"/>
                  </a:lnTo>
                  <a:lnTo>
                    <a:pt x="36" y="83"/>
                  </a:lnTo>
                  <a:lnTo>
                    <a:pt x="36" y="82"/>
                  </a:lnTo>
                  <a:lnTo>
                    <a:pt x="36" y="81"/>
                  </a:lnTo>
                  <a:lnTo>
                    <a:pt x="37" y="81"/>
                  </a:lnTo>
                  <a:lnTo>
                    <a:pt x="37" y="82"/>
                  </a:lnTo>
                  <a:lnTo>
                    <a:pt x="37" y="81"/>
                  </a:lnTo>
                  <a:lnTo>
                    <a:pt x="38" y="81"/>
                  </a:lnTo>
                  <a:lnTo>
                    <a:pt x="38" y="80"/>
                  </a:lnTo>
                  <a:lnTo>
                    <a:pt x="38" y="81"/>
                  </a:lnTo>
                  <a:lnTo>
                    <a:pt x="38" y="80"/>
                  </a:lnTo>
                  <a:lnTo>
                    <a:pt x="39" y="80"/>
                  </a:lnTo>
                  <a:lnTo>
                    <a:pt x="37" y="80"/>
                  </a:lnTo>
                  <a:lnTo>
                    <a:pt x="36" y="80"/>
                  </a:lnTo>
                  <a:lnTo>
                    <a:pt x="35" y="80"/>
                  </a:lnTo>
                  <a:lnTo>
                    <a:pt x="33" y="80"/>
                  </a:lnTo>
                  <a:lnTo>
                    <a:pt x="32" y="80"/>
                  </a:lnTo>
                  <a:lnTo>
                    <a:pt x="31" y="80"/>
                  </a:lnTo>
                  <a:lnTo>
                    <a:pt x="30" y="81"/>
                  </a:lnTo>
                  <a:lnTo>
                    <a:pt x="30" y="80"/>
                  </a:lnTo>
                  <a:lnTo>
                    <a:pt x="30" y="81"/>
                  </a:lnTo>
                  <a:lnTo>
                    <a:pt x="29" y="81"/>
                  </a:lnTo>
                  <a:lnTo>
                    <a:pt x="29" y="80"/>
                  </a:lnTo>
                  <a:lnTo>
                    <a:pt x="29" y="81"/>
                  </a:lnTo>
                  <a:lnTo>
                    <a:pt x="29" y="80"/>
                  </a:lnTo>
                  <a:lnTo>
                    <a:pt x="28" y="80"/>
                  </a:lnTo>
                  <a:lnTo>
                    <a:pt x="26" y="80"/>
                  </a:lnTo>
                  <a:lnTo>
                    <a:pt x="28" y="80"/>
                  </a:lnTo>
                  <a:lnTo>
                    <a:pt x="26" y="80"/>
                  </a:lnTo>
                  <a:lnTo>
                    <a:pt x="26" y="81"/>
                  </a:lnTo>
                  <a:lnTo>
                    <a:pt x="25" y="81"/>
                  </a:lnTo>
                  <a:lnTo>
                    <a:pt x="25" y="80"/>
                  </a:lnTo>
                  <a:lnTo>
                    <a:pt x="25" y="79"/>
                  </a:lnTo>
                  <a:lnTo>
                    <a:pt x="26" y="79"/>
                  </a:lnTo>
                  <a:lnTo>
                    <a:pt x="26" y="77"/>
                  </a:lnTo>
                  <a:lnTo>
                    <a:pt x="26" y="79"/>
                  </a:lnTo>
                  <a:lnTo>
                    <a:pt x="26" y="77"/>
                  </a:lnTo>
                  <a:lnTo>
                    <a:pt x="26" y="79"/>
                  </a:lnTo>
                  <a:lnTo>
                    <a:pt x="28" y="79"/>
                  </a:lnTo>
                  <a:lnTo>
                    <a:pt x="29" y="79"/>
                  </a:lnTo>
                  <a:lnTo>
                    <a:pt x="30" y="79"/>
                  </a:lnTo>
                  <a:lnTo>
                    <a:pt x="29" y="79"/>
                  </a:lnTo>
                  <a:lnTo>
                    <a:pt x="29" y="77"/>
                  </a:lnTo>
                  <a:lnTo>
                    <a:pt x="30" y="77"/>
                  </a:lnTo>
                  <a:lnTo>
                    <a:pt x="29" y="77"/>
                  </a:lnTo>
                  <a:lnTo>
                    <a:pt x="30" y="77"/>
                  </a:lnTo>
                  <a:lnTo>
                    <a:pt x="30" y="76"/>
                  </a:lnTo>
                  <a:lnTo>
                    <a:pt x="29" y="76"/>
                  </a:lnTo>
                  <a:lnTo>
                    <a:pt x="28" y="76"/>
                  </a:lnTo>
                  <a:lnTo>
                    <a:pt x="28" y="75"/>
                  </a:lnTo>
                  <a:lnTo>
                    <a:pt x="26" y="75"/>
                  </a:lnTo>
                  <a:lnTo>
                    <a:pt x="26" y="74"/>
                  </a:lnTo>
                  <a:lnTo>
                    <a:pt x="28" y="74"/>
                  </a:lnTo>
                  <a:lnTo>
                    <a:pt x="26" y="74"/>
                  </a:lnTo>
                  <a:lnTo>
                    <a:pt x="25" y="74"/>
                  </a:lnTo>
                  <a:lnTo>
                    <a:pt x="26" y="75"/>
                  </a:lnTo>
                  <a:lnTo>
                    <a:pt x="25" y="75"/>
                  </a:lnTo>
                  <a:lnTo>
                    <a:pt x="24" y="75"/>
                  </a:lnTo>
                  <a:lnTo>
                    <a:pt x="24" y="74"/>
                  </a:lnTo>
                  <a:lnTo>
                    <a:pt x="24" y="73"/>
                  </a:lnTo>
                  <a:lnTo>
                    <a:pt x="24" y="72"/>
                  </a:lnTo>
                  <a:lnTo>
                    <a:pt x="24" y="70"/>
                  </a:lnTo>
                  <a:lnTo>
                    <a:pt x="23" y="70"/>
                  </a:lnTo>
                  <a:lnTo>
                    <a:pt x="22" y="70"/>
                  </a:lnTo>
                  <a:lnTo>
                    <a:pt x="21" y="69"/>
                  </a:lnTo>
                  <a:lnTo>
                    <a:pt x="22" y="69"/>
                  </a:lnTo>
                  <a:lnTo>
                    <a:pt x="23" y="69"/>
                  </a:lnTo>
                  <a:lnTo>
                    <a:pt x="24" y="69"/>
                  </a:lnTo>
                  <a:lnTo>
                    <a:pt x="24" y="68"/>
                  </a:lnTo>
                  <a:lnTo>
                    <a:pt x="24" y="67"/>
                  </a:lnTo>
                  <a:lnTo>
                    <a:pt x="24" y="66"/>
                  </a:lnTo>
                  <a:lnTo>
                    <a:pt x="24" y="65"/>
                  </a:lnTo>
                  <a:lnTo>
                    <a:pt x="23" y="65"/>
                  </a:lnTo>
                  <a:lnTo>
                    <a:pt x="22" y="65"/>
                  </a:lnTo>
                  <a:lnTo>
                    <a:pt x="22" y="63"/>
                  </a:lnTo>
                  <a:lnTo>
                    <a:pt x="21" y="63"/>
                  </a:lnTo>
                  <a:lnTo>
                    <a:pt x="20" y="63"/>
                  </a:lnTo>
                  <a:lnTo>
                    <a:pt x="18" y="63"/>
                  </a:lnTo>
                  <a:lnTo>
                    <a:pt x="18" y="62"/>
                  </a:lnTo>
                  <a:lnTo>
                    <a:pt x="17" y="62"/>
                  </a:lnTo>
                  <a:lnTo>
                    <a:pt x="17" y="61"/>
                  </a:lnTo>
                  <a:lnTo>
                    <a:pt x="16" y="61"/>
                  </a:lnTo>
                  <a:lnTo>
                    <a:pt x="15" y="62"/>
                  </a:lnTo>
                  <a:lnTo>
                    <a:pt x="14" y="62"/>
                  </a:lnTo>
                  <a:lnTo>
                    <a:pt x="14" y="61"/>
                  </a:lnTo>
                  <a:lnTo>
                    <a:pt x="14" y="62"/>
                  </a:lnTo>
                  <a:lnTo>
                    <a:pt x="14" y="61"/>
                  </a:lnTo>
                  <a:lnTo>
                    <a:pt x="13" y="61"/>
                  </a:lnTo>
                  <a:lnTo>
                    <a:pt x="13" y="60"/>
                  </a:lnTo>
                  <a:lnTo>
                    <a:pt x="13" y="61"/>
                  </a:lnTo>
                  <a:lnTo>
                    <a:pt x="11" y="61"/>
                  </a:lnTo>
                  <a:lnTo>
                    <a:pt x="11" y="60"/>
                  </a:lnTo>
                  <a:lnTo>
                    <a:pt x="10" y="60"/>
                  </a:lnTo>
                  <a:lnTo>
                    <a:pt x="11" y="60"/>
                  </a:lnTo>
                  <a:lnTo>
                    <a:pt x="11" y="59"/>
                  </a:lnTo>
                  <a:lnTo>
                    <a:pt x="10" y="59"/>
                  </a:lnTo>
                  <a:lnTo>
                    <a:pt x="11" y="59"/>
                  </a:lnTo>
                  <a:lnTo>
                    <a:pt x="11" y="60"/>
                  </a:lnTo>
                  <a:lnTo>
                    <a:pt x="13" y="60"/>
                  </a:lnTo>
                  <a:lnTo>
                    <a:pt x="13" y="59"/>
                  </a:lnTo>
                  <a:lnTo>
                    <a:pt x="14" y="59"/>
                  </a:lnTo>
                  <a:lnTo>
                    <a:pt x="13" y="58"/>
                  </a:lnTo>
                  <a:lnTo>
                    <a:pt x="14" y="58"/>
                  </a:lnTo>
                  <a:lnTo>
                    <a:pt x="13" y="58"/>
                  </a:lnTo>
                  <a:lnTo>
                    <a:pt x="13" y="56"/>
                  </a:lnTo>
                  <a:lnTo>
                    <a:pt x="13" y="58"/>
                  </a:lnTo>
                  <a:lnTo>
                    <a:pt x="11" y="58"/>
                  </a:lnTo>
                  <a:lnTo>
                    <a:pt x="13" y="58"/>
                  </a:lnTo>
                  <a:lnTo>
                    <a:pt x="13" y="56"/>
                  </a:lnTo>
                  <a:lnTo>
                    <a:pt x="11" y="56"/>
                  </a:lnTo>
                  <a:lnTo>
                    <a:pt x="11" y="55"/>
                  </a:lnTo>
                  <a:lnTo>
                    <a:pt x="11" y="54"/>
                  </a:lnTo>
                  <a:lnTo>
                    <a:pt x="13" y="54"/>
                  </a:lnTo>
                  <a:lnTo>
                    <a:pt x="14" y="54"/>
                  </a:lnTo>
                  <a:lnTo>
                    <a:pt x="14" y="55"/>
                  </a:lnTo>
                  <a:lnTo>
                    <a:pt x="15" y="56"/>
                  </a:lnTo>
                  <a:lnTo>
                    <a:pt x="15" y="58"/>
                  </a:lnTo>
                  <a:lnTo>
                    <a:pt x="15" y="59"/>
                  </a:lnTo>
                  <a:lnTo>
                    <a:pt x="16" y="59"/>
                  </a:lnTo>
                  <a:lnTo>
                    <a:pt x="16" y="60"/>
                  </a:lnTo>
                  <a:lnTo>
                    <a:pt x="16" y="59"/>
                  </a:lnTo>
                  <a:lnTo>
                    <a:pt x="16" y="58"/>
                  </a:lnTo>
                  <a:lnTo>
                    <a:pt x="17" y="58"/>
                  </a:lnTo>
                  <a:lnTo>
                    <a:pt x="17" y="59"/>
                  </a:lnTo>
                  <a:lnTo>
                    <a:pt x="18" y="59"/>
                  </a:lnTo>
                  <a:lnTo>
                    <a:pt x="20" y="59"/>
                  </a:lnTo>
                  <a:lnTo>
                    <a:pt x="20" y="58"/>
                  </a:lnTo>
                  <a:lnTo>
                    <a:pt x="21" y="58"/>
                  </a:lnTo>
                  <a:lnTo>
                    <a:pt x="22" y="58"/>
                  </a:lnTo>
                  <a:lnTo>
                    <a:pt x="21" y="58"/>
                  </a:lnTo>
                  <a:lnTo>
                    <a:pt x="20" y="58"/>
                  </a:lnTo>
                  <a:lnTo>
                    <a:pt x="18" y="58"/>
                  </a:lnTo>
                  <a:lnTo>
                    <a:pt x="18" y="56"/>
                  </a:lnTo>
                  <a:lnTo>
                    <a:pt x="17" y="56"/>
                  </a:lnTo>
                  <a:lnTo>
                    <a:pt x="18" y="56"/>
                  </a:lnTo>
                  <a:lnTo>
                    <a:pt x="17" y="56"/>
                  </a:lnTo>
                  <a:lnTo>
                    <a:pt x="17" y="55"/>
                  </a:lnTo>
                  <a:lnTo>
                    <a:pt x="16" y="55"/>
                  </a:lnTo>
                  <a:lnTo>
                    <a:pt x="16" y="54"/>
                  </a:lnTo>
                  <a:lnTo>
                    <a:pt x="16" y="53"/>
                  </a:lnTo>
                  <a:lnTo>
                    <a:pt x="17" y="53"/>
                  </a:lnTo>
                  <a:lnTo>
                    <a:pt x="18" y="53"/>
                  </a:lnTo>
                  <a:lnTo>
                    <a:pt x="18" y="52"/>
                  </a:lnTo>
                  <a:lnTo>
                    <a:pt x="18" y="51"/>
                  </a:lnTo>
                  <a:lnTo>
                    <a:pt x="20" y="51"/>
                  </a:lnTo>
                  <a:lnTo>
                    <a:pt x="20" y="49"/>
                  </a:lnTo>
                  <a:lnTo>
                    <a:pt x="18" y="49"/>
                  </a:lnTo>
                  <a:lnTo>
                    <a:pt x="17" y="49"/>
                  </a:lnTo>
                  <a:lnTo>
                    <a:pt x="17" y="51"/>
                  </a:lnTo>
                  <a:lnTo>
                    <a:pt x="17" y="49"/>
                  </a:lnTo>
                  <a:lnTo>
                    <a:pt x="16" y="49"/>
                  </a:lnTo>
                  <a:lnTo>
                    <a:pt x="16" y="48"/>
                  </a:lnTo>
                  <a:lnTo>
                    <a:pt x="17" y="48"/>
                  </a:lnTo>
                  <a:lnTo>
                    <a:pt x="17" y="47"/>
                  </a:lnTo>
                  <a:lnTo>
                    <a:pt x="16" y="46"/>
                  </a:lnTo>
                  <a:lnTo>
                    <a:pt x="15" y="46"/>
                  </a:lnTo>
                  <a:lnTo>
                    <a:pt x="15" y="45"/>
                  </a:lnTo>
                  <a:lnTo>
                    <a:pt x="14" y="45"/>
                  </a:lnTo>
                  <a:lnTo>
                    <a:pt x="14" y="44"/>
                  </a:lnTo>
                  <a:lnTo>
                    <a:pt x="14" y="45"/>
                  </a:lnTo>
                  <a:lnTo>
                    <a:pt x="14" y="44"/>
                  </a:lnTo>
                  <a:lnTo>
                    <a:pt x="15" y="44"/>
                  </a:lnTo>
                  <a:lnTo>
                    <a:pt x="16" y="42"/>
                  </a:lnTo>
                  <a:lnTo>
                    <a:pt x="16" y="41"/>
                  </a:lnTo>
                  <a:lnTo>
                    <a:pt x="17" y="41"/>
                  </a:lnTo>
                  <a:lnTo>
                    <a:pt x="17" y="40"/>
                  </a:lnTo>
                  <a:lnTo>
                    <a:pt x="17" y="39"/>
                  </a:lnTo>
                  <a:lnTo>
                    <a:pt x="16" y="39"/>
                  </a:lnTo>
                  <a:lnTo>
                    <a:pt x="16" y="40"/>
                  </a:lnTo>
                  <a:lnTo>
                    <a:pt x="14" y="40"/>
                  </a:lnTo>
                  <a:lnTo>
                    <a:pt x="11" y="40"/>
                  </a:lnTo>
                  <a:lnTo>
                    <a:pt x="10" y="40"/>
                  </a:lnTo>
                  <a:lnTo>
                    <a:pt x="10" y="41"/>
                  </a:lnTo>
                  <a:lnTo>
                    <a:pt x="9" y="41"/>
                  </a:lnTo>
                  <a:lnTo>
                    <a:pt x="8" y="41"/>
                  </a:lnTo>
                  <a:lnTo>
                    <a:pt x="7" y="41"/>
                  </a:lnTo>
                  <a:lnTo>
                    <a:pt x="6" y="41"/>
                  </a:lnTo>
                  <a:lnTo>
                    <a:pt x="7" y="40"/>
                  </a:lnTo>
                  <a:lnTo>
                    <a:pt x="7" y="39"/>
                  </a:lnTo>
                  <a:lnTo>
                    <a:pt x="7" y="38"/>
                  </a:lnTo>
                  <a:lnTo>
                    <a:pt x="7" y="37"/>
                  </a:lnTo>
                  <a:lnTo>
                    <a:pt x="7" y="35"/>
                  </a:lnTo>
                  <a:lnTo>
                    <a:pt x="7" y="34"/>
                  </a:lnTo>
                  <a:lnTo>
                    <a:pt x="7" y="33"/>
                  </a:lnTo>
                  <a:lnTo>
                    <a:pt x="8" y="33"/>
                  </a:lnTo>
                  <a:lnTo>
                    <a:pt x="9" y="32"/>
                  </a:lnTo>
                  <a:lnTo>
                    <a:pt x="9" y="31"/>
                  </a:lnTo>
                  <a:lnTo>
                    <a:pt x="9" y="30"/>
                  </a:lnTo>
                  <a:lnTo>
                    <a:pt x="10" y="30"/>
                  </a:lnTo>
                  <a:lnTo>
                    <a:pt x="11" y="28"/>
                  </a:lnTo>
                  <a:lnTo>
                    <a:pt x="13" y="27"/>
                  </a:lnTo>
                  <a:lnTo>
                    <a:pt x="13" y="26"/>
                  </a:lnTo>
                  <a:lnTo>
                    <a:pt x="14" y="26"/>
                  </a:lnTo>
                  <a:lnTo>
                    <a:pt x="15" y="26"/>
                  </a:lnTo>
                  <a:lnTo>
                    <a:pt x="16" y="27"/>
                  </a:lnTo>
                  <a:lnTo>
                    <a:pt x="17" y="27"/>
                  </a:lnTo>
                  <a:lnTo>
                    <a:pt x="17" y="26"/>
                  </a:lnTo>
                  <a:lnTo>
                    <a:pt x="18" y="26"/>
                  </a:lnTo>
                  <a:lnTo>
                    <a:pt x="20" y="26"/>
                  </a:lnTo>
                  <a:lnTo>
                    <a:pt x="21" y="26"/>
                  </a:lnTo>
                  <a:lnTo>
                    <a:pt x="21" y="27"/>
                  </a:lnTo>
                  <a:lnTo>
                    <a:pt x="22" y="27"/>
                  </a:lnTo>
                  <a:lnTo>
                    <a:pt x="23" y="28"/>
                  </a:lnTo>
                  <a:lnTo>
                    <a:pt x="24" y="28"/>
                  </a:lnTo>
                  <a:lnTo>
                    <a:pt x="24" y="27"/>
                  </a:lnTo>
                  <a:lnTo>
                    <a:pt x="25" y="27"/>
                  </a:lnTo>
                  <a:lnTo>
                    <a:pt x="25" y="28"/>
                  </a:lnTo>
                  <a:lnTo>
                    <a:pt x="25" y="27"/>
                  </a:lnTo>
                  <a:lnTo>
                    <a:pt x="26" y="28"/>
                  </a:lnTo>
                  <a:lnTo>
                    <a:pt x="26" y="27"/>
                  </a:lnTo>
                  <a:lnTo>
                    <a:pt x="28" y="27"/>
                  </a:lnTo>
                  <a:lnTo>
                    <a:pt x="26" y="26"/>
                  </a:lnTo>
                  <a:lnTo>
                    <a:pt x="26" y="27"/>
                  </a:lnTo>
                  <a:lnTo>
                    <a:pt x="26" y="26"/>
                  </a:lnTo>
                  <a:lnTo>
                    <a:pt x="25" y="26"/>
                  </a:lnTo>
                  <a:lnTo>
                    <a:pt x="25" y="25"/>
                  </a:lnTo>
                  <a:lnTo>
                    <a:pt x="26" y="25"/>
                  </a:lnTo>
                  <a:lnTo>
                    <a:pt x="29" y="25"/>
                  </a:lnTo>
                  <a:lnTo>
                    <a:pt x="30" y="25"/>
                  </a:lnTo>
                  <a:lnTo>
                    <a:pt x="30" y="26"/>
                  </a:lnTo>
                  <a:lnTo>
                    <a:pt x="29" y="26"/>
                  </a:lnTo>
                  <a:lnTo>
                    <a:pt x="28" y="26"/>
                  </a:lnTo>
                  <a:lnTo>
                    <a:pt x="28" y="27"/>
                  </a:lnTo>
                  <a:lnTo>
                    <a:pt x="29" y="27"/>
                  </a:lnTo>
                  <a:lnTo>
                    <a:pt x="30" y="27"/>
                  </a:lnTo>
                  <a:lnTo>
                    <a:pt x="31" y="27"/>
                  </a:lnTo>
                  <a:lnTo>
                    <a:pt x="33" y="26"/>
                  </a:lnTo>
                  <a:lnTo>
                    <a:pt x="35" y="27"/>
                  </a:lnTo>
                  <a:lnTo>
                    <a:pt x="36" y="26"/>
                  </a:lnTo>
                  <a:lnTo>
                    <a:pt x="36" y="27"/>
                  </a:lnTo>
                  <a:lnTo>
                    <a:pt x="37" y="27"/>
                  </a:lnTo>
                  <a:lnTo>
                    <a:pt x="38" y="27"/>
                  </a:lnTo>
                  <a:lnTo>
                    <a:pt x="39" y="27"/>
                  </a:lnTo>
                  <a:lnTo>
                    <a:pt x="39" y="26"/>
                  </a:lnTo>
                  <a:lnTo>
                    <a:pt x="40" y="27"/>
                  </a:lnTo>
                  <a:lnTo>
                    <a:pt x="42" y="27"/>
                  </a:lnTo>
                  <a:lnTo>
                    <a:pt x="43" y="27"/>
                  </a:lnTo>
                  <a:lnTo>
                    <a:pt x="43" y="26"/>
                  </a:lnTo>
                  <a:lnTo>
                    <a:pt x="44" y="26"/>
                  </a:lnTo>
                  <a:lnTo>
                    <a:pt x="43" y="25"/>
                  </a:lnTo>
                  <a:lnTo>
                    <a:pt x="42" y="25"/>
                  </a:lnTo>
                  <a:lnTo>
                    <a:pt x="42" y="26"/>
                  </a:lnTo>
                  <a:lnTo>
                    <a:pt x="40" y="26"/>
                  </a:lnTo>
                  <a:lnTo>
                    <a:pt x="39" y="25"/>
                  </a:lnTo>
                  <a:lnTo>
                    <a:pt x="39" y="24"/>
                  </a:lnTo>
                  <a:lnTo>
                    <a:pt x="40" y="24"/>
                  </a:lnTo>
                  <a:lnTo>
                    <a:pt x="42" y="23"/>
                  </a:lnTo>
                  <a:lnTo>
                    <a:pt x="45" y="23"/>
                  </a:lnTo>
                  <a:lnTo>
                    <a:pt x="46" y="23"/>
                  </a:lnTo>
                  <a:lnTo>
                    <a:pt x="46" y="21"/>
                  </a:lnTo>
                  <a:lnTo>
                    <a:pt x="46" y="23"/>
                  </a:lnTo>
                  <a:lnTo>
                    <a:pt x="47" y="23"/>
                  </a:lnTo>
                  <a:lnTo>
                    <a:pt x="47" y="21"/>
                  </a:lnTo>
                  <a:lnTo>
                    <a:pt x="49" y="21"/>
                  </a:lnTo>
                  <a:lnTo>
                    <a:pt x="49" y="23"/>
                  </a:lnTo>
                  <a:lnTo>
                    <a:pt x="51" y="21"/>
                  </a:lnTo>
                  <a:lnTo>
                    <a:pt x="52" y="21"/>
                  </a:lnTo>
                  <a:lnTo>
                    <a:pt x="53" y="21"/>
                  </a:lnTo>
                  <a:lnTo>
                    <a:pt x="52" y="21"/>
                  </a:lnTo>
                  <a:lnTo>
                    <a:pt x="51" y="21"/>
                  </a:lnTo>
                  <a:lnTo>
                    <a:pt x="51" y="20"/>
                  </a:lnTo>
                  <a:lnTo>
                    <a:pt x="50" y="20"/>
                  </a:lnTo>
                  <a:lnTo>
                    <a:pt x="47" y="20"/>
                  </a:lnTo>
                  <a:lnTo>
                    <a:pt x="46" y="20"/>
                  </a:lnTo>
                  <a:lnTo>
                    <a:pt x="46" y="21"/>
                  </a:lnTo>
                  <a:lnTo>
                    <a:pt x="46" y="20"/>
                  </a:lnTo>
                  <a:lnTo>
                    <a:pt x="45" y="20"/>
                  </a:lnTo>
                  <a:lnTo>
                    <a:pt x="46" y="20"/>
                  </a:lnTo>
                  <a:lnTo>
                    <a:pt x="45" y="20"/>
                  </a:lnTo>
                  <a:lnTo>
                    <a:pt x="45" y="19"/>
                  </a:lnTo>
                  <a:lnTo>
                    <a:pt x="44" y="19"/>
                  </a:lnTo>
                  <a:lnTo>
                    <a:pt x="43" y="19"/>
                  </a:lnTo>
                  <a:lnTo>
                    <a:pt x="43" y="18"/>
                  </a:lnTo>
                  <a:lnTo>
                    <a:pt x="42" y="18"/>
                  </a:lnTo>
                  <a:lnTo>
                    <a:pt x="42" y="17"/>
                  </a:lnTo>
                  <a:lnTo>
                    <a:pt x="40" y="17"/>
                  </a:lnTo>
                  <a:lnTo>
                    <a:pt x="42" y="17"/>
                  </a:lnTo>
                  <a:lnTo>
                    <a:pt x="42" y="16"/>
                  </a:lnTo>
                  <a:lnTo>
                    <a:pt x="42" y="14"/>
                  </a:lnTo>
                  <a:lnTo>
                    <a:pt x="43" y="14"/>
                  </a:lnTo>
                  <a:lnTo>
                    <a:pt x="43" y="13"/>
                  </a:lnTo>
                  <a:lnTo>
                    <a:pt x="44" y="13"/>
                  </a:lnTo>
                  <a:lnTo>
                    <a:pt x="46" y="14"/>
                  </a:lnTo>
                  <a:lnTo>
                    <a:pt x="49" y="14"/>
                  </a:lnTo>
                  <a:lnTo>
                    <a:pt x="52" y="14"/>
                  </a:lnTo>
                  <a:lnTo>
                    <a:pt x="56" y="14"/>
                  </a:lnTo>
                  <a:lnTo>
                    <a:pt x="57" y="14"/>
                  </a:lnTo>
                  <a:lnTo>
                    <a:pt x="57" y="13"/>
                  </a:lnTo>
                  <a:lnTo>
                    <a:pt x="57" y="14"/>
                  </a:lnTo>
                  <a:lnTo>
                    <a:pt x="58" y="14"/>
                  </a:lnTo>
                  <a:lnTo>
                    <a:pt x="63" y="16"/>
                  </a:lnTo>
                  <a:lnTo>
                    <a:pt x="64" y="16"/>
                  </a:lnTo>
                  <a:lnTo>
                    <a:pt x="67" y="16"/>
                  </a:lnTo>
                  <a:lnTo>
                    <a:pt x="68" y="16"/>
                  </a:lnTo>
                  <a:lnTo>
                    <a:pt x="70" y="16"/>
                  </a:lnTo>
                  <a:lnTo>
                    <a:pt x="71" y="16"/>
                  </a:lnTo>
                  <a:lnTo>
                    <a:pt x="71" y="14"/>
                  </a:lnTo>
                  <a:lnTo>
                    <a:pt x="71" y="13"/>
                  </a:lnTo>
                  <a:lnTo>
                    <a:pt x="72" y="13"/>
                  </a:lnTo>
                  <a:lnTo>
                    <a:pt x="71" y="13"/>
                  </a:lnTo>
                  <a:lnTo>
                    <a:pt x="71" y="12"/>
                  </a:lnTo>
                  <a:lnTo>
                    <a:pt x="72" y="12"/>
                  </a:lnTo>
                  <a:lnTo>
                    <a:pt x="74" y="11"/>
                  </a:lnTo>
                  <a:lnTo>
                    <a:pt x="77" y="10"/>
                  </a:lnTo>
                  <a:lnTo>
                    <a:pt x="78" y="9"/>
                  </a:lnTo>
                  <a:lnTo>
                    <a:pt x="79" y="9"/>
                  </a:lnTo>
                  <a:lnTo>
                    <a:pt x="80" y="7"/>
                  </a:lnTo>
                  <a:lnTo>
                    <a:pt x="81" y="6"/>
                  </a:lnTo>
                  <a:lnTo>
                    <a:pt x="82" y="6"/>
                  </a:lnTo>
                  <a:lnTo>
                    <a:pt x="82" y="5"/>
                  </a:lnTo>
                  <a:lnTo>
                    <a:pt x="84" y="5"/>
                  </a:lnTo>
                  <a:lnTo>
                    <a:pt x="85" y="5"/>
                  </a:lnTo>
                  <a:lnTo>
                    <a:pt x="85" y="4"/>
                  </a:lnTo>
                  <a:lnTo>
                    <a:pt x="86" y="4"/>
                  </a:lnTo>
                  <a:lnTo>
                    <a:pt x="87" y="4"/>
                  </a:lnTo>
                  <a:lnTo>
                    <a:pt x="88" y="4"/>
                  </a:lnTo>
                  <a:lnTo>
                    <a:pt x="89" y="4"/>
                  </a:lnTo>
                  <a:lnTo>
                    <a:pt x="89" y="3"/>
                  </a:lnTo>
                  <a:lnTo>
                    <a:pt x="90" y="3"/>
                  </a:lnTo>
                  <a:lnTo>
                    <a:pt x="92" y="3"/>
                  </a:lnTo>
                  <a:lnTo>
                    <a:pt x="94" y="2"/>
                  </a:lnTo>
                  <a:lnTo>
                    <a:pt x="95" y="2"/>
                  </a:lnTo>
                  <a:lnTo>
                    <a:pt x="96" y="2"/>
                  </a:lnTo>
                  <a:lnTo>
                    <a:pt x="97" y="2"/>
                  </a:lnTo>
                  <a:lnTo>
                    <a:pt x="101" y="2"/>
                  </a:lnTo>
                  <a:lnTo>
                    <a:pt x="102" y="2"/>
                  </a:lnTo>
                  <a:lnTo>
                    <a:pt x="107" y="3"/>
                  </a:lnTo>
                  <a:lnTo>
                    <a:pt x="108" y="2"/>
                  </a:lnTo>
                  <a:lnTo>
                    <a:pt x="109" y="2"/>
                  </a:lnTo>
                  <a:lnTo>
                    <a:pt x="110" y="3"/>
                  </a:lnTo>
                  <a:lnTo>
                    <a:pt x="111" y="3"/>
                  </a:lnTo>
                  <a:lnTo>
                    <a:pt x="113" y="3"/>
                  </a:lnTo>
                  <a:lnTo>
                    <a:pt x="113" y="2"/>
                  </a:lnTo>
                  <a:lnTo>
                    <a:pt x="114" y="2"/>
                  </a:lnTo>
                  <a:lnTo>
                    <a:pt x="114" y="0"/>
                  </a:lnTo>
                  <a:lnTo>
                    <a:pt x="115" y="0"/>
                  </a:lnTo>
                  <a:close/>
                </a:path>
              </a:pathLst>
            </a:custGeom>
            <a:solidFill>
              <a:srgbClr val="00539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799" name="Freeform 1557">
              <a:extLst>
                <a:ext uri="{FF2B5EF4-FFF2-40B4-BE49-F238E27FC236}">
                  <a16:creationId xmlns:a16="http://schemas.microsoft.com/office/drawing/2014/main" id="{9D4D3D12-7C8A-4AD0-9754-C106AB224E4C}"/>
                </a:ext>
              </a:extLst>
            </p:cNvPr>
            <p:cNvSpPr>
              <a:spLocks/>
            </p:cNvSpPr>
            <p:nvPr/>
          </p:nvSpPr>
          <p:spPr bwMode="auto">
            <a:xfrm>
              <a:off x="6118932" y="2400332"/>
              <a:ext cx="5342" cy="2671"/>
            </a:xfrm>
            <a:custGeom>
              <a:avLst/>
              <a:gdLst>
                <a:gd name="T0" fmla="*/ 1 w 4"/>
                <a:gd name="T1" fmla="*/ 0 h 2"/>
                <a:gd name="T2" fmla="*/ 3 w 4"/>
                <a:gd name="T3" fmla="*/ 1 h 2"/>
                <a:gd name="T4" fmla="*/ 3 w 4"/>
                <a:gd name="T5" fmla="*/ 1 h 2"/>
                <a:gd name="T6" fmla="*/ 4 w 4"/>
                <a:gd name="T7" fmla="*/ 1 h 2"/>
                <a:gd name="T8" fmla="*/ 4 w 4"/>
                <a:gd name="T9" fmla="*/ 1 h 2"/>
                <a:gd name="T10" fmla="*/ 4 w 4"/>
                <a:gd name="T11" fmla="*/ 1 h 2"/>
                <a:gd name="T12" fmla="*/ 3 w 4"/>
                <a:gd name="T13" fmla="*/ 1 h 2"/>
                <a:gd name="T14" fmla="*/ 3 w 4"/>
                <a:gd name="T15" fmla="*/ 1 h 2"/>
                <a:gd name="T16" fmla="*/ 3 w 4"/>
                <a:gd name="T17" fmla="*/ 2 h 2"/>
                <a:gd name="T18" fmla="*/ 3 w 4"/>
                <a:gd name="T19" fmla="*/ 2 h 2"/>
                <a:gd name="T20" fmla="*/ 1 w 4"/>
                <a:gd name="T21" fmla="*/ 2 h 2"/>
                <a:gd name="T22" fmla="*/ 1 w 4"/>
                <a:gd name="T23" fmla="*/ 2 h 2"/>
                <a:gd name="T24" fmla="*/ 1 w 4"/>
                <a:gd name="T25" fmla="*/ 2 h 2"/>
                <a:gd name="T26" fmla="*/ 1 w 4"/>
                <a:gd name="T27" fmla="*/ 2 h 2"/>
                <a:gd name="T28" fmla="*/ 1 w 4"/>
                <a:gd name="T29" fmla="*/ 2 h 2"/>
                <a:gd name="T30" fmla="*/ 1 w 4"/>
                <a:gd name="T31" fmla="*/ 2 h 2"/>
                <a:gd name="T32" fmla="*/ 1 w 4"/>
                <a:gd name="T33" fmla="*/ 2 h 2"/>
                <a:gd name="T34" fmla="*/ 1 w 4"/>
                <a:gd name="T35" fmla="*/ 1 h 2"/>
                <a:gd name="T36" fmla="*/ 0 w 4"/>
                <a:gd name="T37" fmla="*/ 1 h 2"/>
                <a:gd name="T38" fmla="*/ 0 w 4"/>
                <a:gd name="T39" fmla="*/ 1 h 2"/>
                <a:gd name="T40" fmla="*/ 1 w 4"/>
                <a:gd name="T41" fmla="*/ 0 h 2"/>
                <a:gd name="T42" fmla="*/ 1 w 4"/>
                <a:gd name="T43" fmla="*/ 0 h 2"/>
                <a:gd name="T44" fmla="*/ 1 w 4"/>
                <a:gd name="T45" fmla="*/ 0 h 2"/>
                <a:gd name="T46" fmla="*/ 1 w 4"/>
                <a:gd name="T47" fmla="*/ 0 h 2"/>
                <a:gd name="T48" fmla="*/ 1 w 4"/>
                <a:gd name="T49" fmla="*/ 1 h 2"/>
                <a:gd name="T50" fmla="*/ 1 w 4"/>
                <a:gd name="T51" fmla="*/ 1 h 2"/>
                <a:gd name="T52" fmla="*/ 1 w 4"/>
                <a:gd name="T53" fmla="*/ 1 h 2"/>
                <a:gd name="T54" fmla="*/ 1 w 4"/>
                <a:gd name="T55" fmla="*/ 1 h 2"/>
                <a:gd name="T56" fmla="*/ 1 w 4"/>
                <a:gd name="T57" fmla="*/ 1 h 2"/>
                <a:gd name="T58" fmla="*/ 1 w 4"/>
                <a:gd name="T59" fmla="*/ 0 h 2"/>
                <a:gd name="T60" fmla="*/ 1 w 4"/>
                <a:gd name="T6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 h="2">
                  <a:moveTo>
                    <a:pt x="1" y="0"/>
                  </a:moveTo>
                  <a:lnTo>
                    <a:pt x="3" y="1"/>
                  </a:lnTo>
                  <a:lnTo>
                    <a:pt x="3" y="1"/>
                  </a:lnTo>
                  <a:lnTo>
                    <a:pt x="4" y="1"/>
                  </a:lnTo>
                  <a:lnTo>
                    <a:pt x="4" y="1"/>
                  </a:lnTo>
                  <a:lnTo>
                    <a:pt x="4" y="1"/>
                  </a:lnTo>
                  <a:lnTo>
                    <a:pt x="3" y="1"/>
                  </a:lnTo>
                  <a:lnTo>
                    <a:pt x="3" y="1"/>
                  </a:lnTo>
                  <a:lnTo>
                    <a:pt x="3" y="2"/>
                  </a:lnTo>
                  <a:lnTo>
                    <a:pt x="3" y="2"/>
                  </a:lnTo>
                  <a:lnTo>
                    <a:pt x="1" y="2"/>
                  </a:lnTo>
                  <a:lnTo>
                    <a:pt x="1" y="2"/>
                  </a:lnTo>
                  <a:lnTo>
                    <a:pt x="1" y="2"/>
                  </a:lnTo>
                  <a:lnTo>
                    <a:pt x="1" y="2"/>
                  </a:lnTo>
                  <a:lnTo>
                    <a:pt x="1" y="2"/>
                  </a:lnTo>
                  <a:lnTo>
                    <a:pt x="1" y="2"/>
                  </a:lnTo>
                  <a:lnTo>
                    <a:pt x="1" y="2"/>
                  </a:lnTo>
                  <a:lnTo>
                    <a:pt x="1" y="1"/>
                  </a:lnTo>
                  <a:lnTo>
                    <a:pt x="0" y="1"/>
                  </a:lnTo>
                  <a:lnTo>
                    <a:pt x="0" y="1"/>
                  </a:lnTo>
                  <a:lnTo>
                    <a:pt x="1" y="0"/>
                  </a:lnTo>
                  <a:lnTo>
                    <a:pt x="1" y="0"/>
                  </a:lnTo>
                  <a:lnTo>
                    <a:pt x="1" y="0"/>
                  </a:lnTo>
                  <a:lnTo>
                    <a:pt x="1" y="0"/>
                  </a:lnTo>
                  <a:lnTo>
                    <a:pt x="1" y="1"/>
                  </a:lnTo>
                  <a:lnTo>
                    <a:pt x="1" y="1"/>
                  </a:lnTo>
                  <a:lnTo>
                    <a:pt x="1" y="1"/>
                  </a:lnTo>
                  <a:lnTo>
                    <a:pt x="1" y="1"/>
                  </a:lnTo>
                  <a:lnTo>
                    <a:pt x="1" y="1"/>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00" name="Freeform 1558">
              <a:extLst>
                <a:ext uri="{FF2B5EF4-FFF2-40B4-BE49-F238E27FC236}">
                  <a16:creationId xmlns:a16="http://schemas.microsoft.com/office/drawing/2014/main" id="{69A2812A-E543-4178-8DA8-9AB9E88A19AC}"/>
                </a:ext>
              </a:extLst>
            </p:cNvPr>
            <p:cNvSpPr>
              <a:spLocks/>
            </p:cNvSpPr>
            <p:nvPr/>
          </p:nvSpPr>
          <p:spPr bwMode="auto">
            <a:xfrm>
              <a:off x="6118932" y="2400332"/>
              <a:ext cx="10684" cy="8013"/>
            </a:xfrm>
            <a:custGeom>
              <a:avLst/>
              <a:gdLst>
                <a:gd name="T0" fmla="*/ 8 w 8"/>
                <a:gd name="T1" fmla="*/ 0 h 6"/>
                <a:gd name="T2" fmla="*/ 8 w 8"/>
                <a:gd name="T3" fmla="*/ 0 h 6"/>
                <a:gd name="T4" fmla="*/ 8 w 8"/>
                <a:gd name="T5" fmla="*/ 1 h 6"/>
                <a:gd name="T6" fmla="*/ 8 w 8"/>
                <a:gd name="T7" fmla="*/ 1 h 6"/>
                <a:gd name="T8" fmla="*/ 8 w 8"/>
                <a:gd name="T9" fmla="*/ 2 h 6"/>
                <a:gd name="T10" fmla="*/ 8 w 8"/>
                <a:gd name="T11" fmla="*/ 4 h 6"/>
                <a:gd name="T12" fmla="*/ 7 w 8"/>
                <a:gd name="T13" fmla="*/ 4 h 6"/>
                <a:gd name="T14" fmla="*/ 7 w 8"/>
                <a:gd name="T15" fmla="*/ 5 h 6"/>
                <a:gd name="T16" fmla="*/ 7 w 8"/>
                <a:gd name="T17" fmla="*/ 5 h 6"/>
                <a:gd name="T18" fmla="*/ 6 w 8"/>
                <a:gd name="T19" fmla="*/ 5 h 6"/>
                <a:gd name="T20" fmla="*/ 6 w 8"/>
                <a:gd name="T21" fmla="*/ 6 h 6"/>
                <a:gd name="T22" fmla="*/ 6 w 8"/>
                <a:gd name="T23" fmla="*/ 6 h 6"/>
                <a:gd name="T24" fmla="*/ 6 w 8"/>
                <a:gd name="T25" fmla="*/ 5 h 6"/>
                <a:gd name="T26" fmla="*/ 5 w 8"/>
                <a:gd name="T27" fmla="*/ 5 h 6"/>
                <a:gd name="T28" fmla="*/ 5 w 8"/>
                <a:gd name="T29" fmla="*/ 5 h 6"/>
                <a:gd name="T30" fmla="*/ 5 w 8"/>
                <a:gd name="T31" fmla="*/ 5 h 6"/>
                <a:gd name="T32" fmla="*/ 5 w 8"/>
                <a:gd name="T33" fmla="*/ 5 h 6"/>
                <a:gd name="T34" fmla="*/ 4 w 8"/>
                <a:gd name="T35" fmla="*/ 5 h 6"/>
                <a:gd name="T36" fmla="*/ 4 w 8"/>
                <a:gd name="T37" fmla="*/ 5 h 6"/>
                <a:gd name="T38" fmla="*/ 3 w 8"/>
                <a:gd name="T39" fmla="*/ 6 h 6"/>
                <a:gd name="T40" fmla="*/ 3 w 8"/>
                <a:gd name="T41" fmla="*/ 6 h 6"/>
                <a:gd name="T42" fmla="*/ 1 w 8"/>
                <a:gd name="T43" fmla="*/ 5 h 6"/>
                <a:gd name="T44" fmla="*/ 0 w 8"/>
                <a:gd name="T45" fmla="*/ 5 h 6"/>
                <a:gd name="T46" fmla="*/ 0 w 8"/>
                <a:gd name="T47" fmla="*/ 4 h 6"/>
                <a:gd name="T48" fmla="*/ 1 w 8"/>
                <a:gd name="T49" fmla="*/ 4 h 6"/>
                <a:gd name="T50" fmla="*/ 1 w 8"/>
                <a:gd name="T51" fmla="*/ 2 h 6"/>
                <a:gd name="T52" fmla="*/ 1 w 8"/>
                <a:gd name="T53" fmla="*/ 2 h 6"/>
                <a:gd name="T54" fmla="*/ 3 w 8"/>
                <a:gd name="T55" fmla="*/ 2 h 6"/>
                <a:gd name="T56" fmla="*/ 3 w 8"/>
                <a:gd name="T57" fmla="*/ 1 h 6"/>
                <a:gd name="T58" fmla="*/ 4 w 8"/>
                <a:gd name="T59" fmla="*/ 1 h 6"/>
                <a:gd name="T60" fmla="*/ 4 w 8"/>
                <a:gd name="T61" fmla="*/ 1 h 6"/>
                <a:gd name="T62" fmla="*/ 5 w 8"/>
                <a:gd name="T63" fmla="*/ 0 h 6"/>
                <a:gd name="T64" fmla="*/ 5 w 8"/>
                <a:gd name="T65" fmla="*/ 0 h 6"/>
                <a:gd name="T66" fmla="*/ 6 w 8"/>
                <a:gd name="T67" fmla="*/ 0 h 6"/>
                <a:gd name="T68" fmla="*/ 6 w 8"/>
                <a:gd name="T69" fmla="*/ 0 h 6"/>
                <a:gd name="T70" fmla="*/ 6 w 8"/>
                <a:gd name="T71" fmla="*/ 0 h 6"/>
                <a:gd name="T72" fmla="*/ 7 w 8"/>
                <a:gd name="T73" fmla="*/ 0 h 6"/>
                <a:gd name="T74" fmla="*/ 7 w 8"/>
                <a:gd name="T75" fmla="*/ 0 h 6"/>
                <a:gd name="T76" fmla="*/ 7 w 8"/>
                <a:gd name="T77" fmla="*/ 0 h 6"/>
                <a:gd name="T78" fmla="*/ 8 w 8"/>
                <a:gd name="T79" fmla="*/ 0 h 6"/>
                <a:gd name="T80" fmla="*/ 8 w 8"/>
                <a:gd name="T81" fmla="*/ 0 h 6"/>
                <a:gd name="T82" fmla="*/ 8 w 8"/>
                <a:gd name="T8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6">
                  <a:moveTo>
                    <a:pt x="8" y="0"/>
                  </a:moveTo>
                  <a:lnTo>
                    <a:pt x="8" y="0"/>
                  </a:lnTo>
                  <a:lnTo>
                    <a:pt x="8" y="0"/>
                  </a:lnTo>
                  <a:lnTo>
                    <a:pt x="8" y="0"/>
                  </a:lnTo>
                  <a:lnTo>
                    <a:pt x="8" y="0"/>
                  </a:lnTo>
                  <a:lnTo>
                    <a:pt x="8" y="1"/>
                  </a:lnTo>
                  <a:lnTo>
                    <a:pt x="8" y="1"/>
                  </a:lnTo>
                  <a:lnTo>
                    <a:pt x="8" y="1"/>
                  </a:lnTo>
                  <a:lnTo>
                    <a:pt x="8" y="1"/>
                  </a:lnTo>
                  <a:lnTo>
                    <a:pt x="8" y="2"/>
                  </a:lnTo>
                  <a:lnTo>
                    <a:pt x="8" y="4"/>
                  </a:lnTo>
                  <a:lnTo>
                    <a:pt x="8" y="4"/>
                  </a:lnTo>
                  <a:lnTo>
                    <a:pt x="7" y="4"/>
                  </a:lnTo>
                  <a:lnTo>
                    <a:pt x="7" y="4"/>
                  </a:lnTo>
                  <a:lnTo>
                    <a:pt x="7" y="4"/>
                  </a:lnTo>
                  <a:lnTo>
                    <a:pt x="7" y="5"/>
                  </a:lnTo>
                  <a:lnTo>
                    <a:pt x="7" y="5"/>
                  </a:lnTo>
                  <a:lnTo>
                    <a:pt x="7" y="5"/>
                  </a:lnTo>
                  <a:lnTo>
                    <a:pt x="6" y="5"/>
                  </a:lnTo>
                  <a:lnTo>
                    <a:pt x="6" y="5"/>
                  </a:lnTo>
                  <a:lnTo>
                    <a:pt x="6" y="6"/>
                  </a:lnTo>
                  <a:lnTo>
                    <a:pt x="6" y="6"/>
                  </a:lnTo>
                  <a:lnTo>
                    <a:pt x="6" y="6"/>
                  </a:lnTo>
                  <a:lnTo>
                    <a:pt x="6" y="6"/>
                  </a:lnTo>
                  <a:lnTo>
                    <a:pt x="6" y="6"/>
                  </a:lnTo>
                  <a:lnTo>
                    <a:pt x="6" y="5"/>
                  </a:lnTo>
                  <a:lnTo>
                    <a:pt x="6" y="5"/>
                  </a:lnTo>
                  <a:lnTo>
                    <a:pt x="5" y="5"/>
                  </a:lnTo>
                  <a:lnTo>
                    <a:pt x="5" y="5"/>
                  </a:lnTo>
                  <a:lnTo>
                    <a:pt x="5" y="5"/>
                  </a:lnTo>
                  <a:lnTo>
                    <a:pt x="5" y="6"/>
                  </a:lnTo>
                  <a:lnTo>
                    <a:pt x="5" y="5"/>
                  </a:lnTo>
                  <a:lnTo>
                    <a:pt x="5" y="5"/>
                  </a:lnTo>
                  <a:lnTo>
                    <a:pt x="5" y="5"/>
                  </a:lnTo>
                  <a:lnTo>
                    <a:pt x="4" y="5"/>
                  </a:lnTo>
                  <a:lnTo>
                    <a:pt x="4" y="5"/>
                  </a:lnTo>
                  <a:lnTo>
                    <a:pt x="4" y="5"/>
                  </a:lnTo>
                  <a:lnTo>
                    <a:pt x="4" y="5"/>
                  </a:lnTo>
                  <a:lnTo>
                    <a:pt x="3" y="6"/>
                  </a:lnTo>
                  <a:lnTo>
                    <a:pt x="3" y="6"/>
                  </a:lnTo>
                  <a:lnTo>
                    <a:pt x="3" y="6"/>
                  </a:lnTo>
                  <a:lnTo>
                    <a:pt x="3" y="6"/>
                  </a:lnTo>
                  <a:lnTo>
                    <a:pt x="1" y="5"/>
                  </a:lnTo>
                  <a:lnTo>
                    <a:pt x="1" y="5"/>
                  </a:lnTo>
                  <a:lnTo>
                    <a:pt x="1" y="5"/>
                  </a:lnTo>
                  <a:lnTo>
                    <a:pt x="0" y="5"/>
                  </a:lnTo>
                  <a:lnTo>
                    <a:pt x="0" y="4"/>
                  </a:lnTo>
                  <a:lnTo>
                    <a:pt x="0" y="4"/>
                  </a:lnTo>
                  <a:lnTo>
                    <a:pt x="1" y="4"/>
                  </a:lnTo>
                  <a:lnTo>
                    <a:pt x="1" y="4"/>
                  </a:lnTo>
                  <a:lnTo>
                    <a:pt x="1" y="2"/>
                  </a:lnTo>
                  <a:lnTo>
                    <a:pt x="1" y="2"/>
                  </a:lnTo>
                  <a:lnTo>
                    <a:pt x="1" y="2"/>
                  </a:lnTo>
                  <a:lnTo>
                    <a:pt x="1" y="2"/>
                  </a:lnTo>
                  <a:lnTo>
                    <a:pt x="3" y="2"/>
                  </a:lnTo>
                  <a:lnTo>
                    <a:pt x="3" y="2"/>
                  </a:lnTo>
                  <a:lnTo>
                    <a:pt x="3" y="1"/>
                  </a:lnTo>
                  <a:lnTo>
                    <a:pt x="3" y="1"/>
                  </a:lnTo>
                  <a:lnTo>
                    <a:pt x="4" y="1"/>
                  </a:lnTo>
                  <a:lnTo>
                    <a:pt x="4" y="1"/>
                  </a:lnTo>
                  <a:lnTo>
                    <a:pt x="4" y="1"/>
                  </a:lnTo>
                  <a:lnTo>
                    <a:pt x="4" y="1"/>
                  </a:lnTo>
                  <a:lnTo>
                    <a:pt x="4" y="1"/>
                  </a:lnTo>
                  <a:lnTo>
                    <a:pt x="5" y="0"/>
                  </a:lnTo>
                  <a:lnTo>
                    <a:pt x="5" y="0"/>
                  </a:lnTo>
                  <a:lnTo>
                    <a:pt x="5" y="0"/>
                  </a:lnTo>
                  <a:lnTo>
                    <a:pt x="6" y="0"/>
                  </a:lnTo>
                  <a:lnTo>
                    <a:pt x="6" y="0"/>
                  </a:lnTo>
                  <a:lnTo>
                    <a:pt x="6" y="0"/>
                  </a:lnTo>
                  <a:lnTo>
                    <a:pt x="6" y="0"/>
                  </a:lnTo>
                  <a:lnTo>
                    <a:pt x="6" y="0"/>
                  </a:lnTo>
                  <a:lnTo>
                    <a:pt x="6" y="0"/>
                  </a:lnTo>
                  <a:lnTo>
                    <a:pt x="6" y="0"/>
                  </a:lnTo>
                  <a:lnTo>
                    <a:pt x="7" y="0"/>
                  </a:lnTo>
                  <a:lnTo>
                    <a:pt x="7" y="0"/>
                  </a:lnTo>
                  <a:lnTo>
                    <a:pt x="7" y="0"/>
                  </a:lnTo>
                  <a:lnTo>
                    <a:pt x="7" y="0"/>
                  </a:lnTo>
                  <a:lnTo>
                    <a:pt x="7" y="0"/>
                  </a:lnTo>
                  <a:lnTo>
                    <a:pt x="8" y="0"/>
                  </a:lnTo>
                  <a:lnTo>
                    <a:pt x="8" y="0"/>
                  </a:lnTo>
                  <a:lnTo>
                    <a:pt x="8" y="0"/>
                  </a:lnTo>
                  <a:lnTo>
                    <a:pt x="8" y="0"/>
                  </a:lnTo>
                  <a:lnTo>
                    <a:pt x="8" y="0"/>
                  </a:lnTo>
                  <a:lnTo>
                    <a:pt x="8" y="0"/>
                  </a:lnTo>
                  <a:lnTo>
                    <a:pt x="8"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01" name="Freeform 1559">
              <a:extLst>
                <a:ext uri="{FF2B5EF4-FFF2-40B4-BE49-F238E27FC236}">
                  <a16:creationId xmlns:a16="http://schemas.microsoft.com/office/drawing/2014/main" id="{B45AB269-43AB-4E80-AEB4-68D9C534B000}"/>
                </a:ext>
              </a:extLst>
            </p:cNvPr>
            <p:cNvSpPr>
              <a:spLocks/>
            </p:cNvSpPr>
            <p:nvPr/>
          </p:nvSpPr>
          <p:spPr bwMode="auto">
            <a:xfrm>
              <a:off x="6120267" y="2407009"/>
              <a:ext cx="16026" cy="13355"/>
            </a:xfrm>
            <a:custGeom>
              <a:avLst/>
              <a:gdLst>
                <a:gd name="T0" fmla="*/ 5 w 12"/>
                <a:gd name="T1" fmla="*/ 1 h 10"/>
                <a:gd name="T2" fmla="*/ 5 w 12"/>
                <a:gd name="T3" fmla="*/ 1 h 10"/>
                <a:gd name="T4" fmla="*/ 5 w 12"/>
                <a:gd name="T5" fmla="*/ 2 h 10"/>
                <a:gd name="T6" fmla="*/ 5 w 12"/>
                <a:gd name="T7" fmla="*/ 3 h 10"/>
                <a:gd name="T8" fmla="*/ 5 w 12"/>
                <a:gd name="T9" fmla="*/ 3 h 10"/>
                <a:gd name="T10" fmla="*/ 5 w 12"/>
                <a:gd name="T11" fmla="*/ 4 h 10"/>
                <a:gd name="T12" fmla="*/ 5 w 12"/>
                <a:gd name="T13" fmla="*/ 4 h 10"/>
                <a:gd name="T14" fmla="*/ 6 w 12"/>
                <a:gd name="T15" fmla="*/ 4 h 10"/>
                <a:gd name="T16" fmla="*/ 6 w 12"/>
                <a:gd name="T17" fmla="*/ 6 h 10"/>
                <a:gd name="T18" fmla="*/ 7 w 12"/>
                <a:gd name="T19" fmla="*/ 4 h 10"/>
                <a:gd name="T20" fmla="*/ 7 w 12"/>
                <a:gd name="T21" fmla="*/ 6 h 10"/>
                <a:gd name="T22" fmla="*/ 9 w 12"/>
                <a:gd name="T23" fmla="*/ 6 h 10"/>
                <a:gd name="T24" fmla="*/ 9 w 12"/>
                <a:gd name="T25" fmla="*/ 7 h 10"/>
                <a:gd name="T26" fmla="*/ 10 w 12"/>
                <a:gd name="T27" fmla="*/ 7 h 10"/>
                <a:gd name="T28" fmla="*/ 10 w 12"/>
                <a:gd name="T29" fmla="*/ 7 h 10"/>
                <a:gd name="T30" fmla="*/ 10 w 12"/>
                <a:gd name="T31" fmla="*/ 7 h 10"/>
                <a:gd name="T32" fmla="*/ 10 w 12"/>
                <a:gd name="T33" fmla="*/ 7 h 10"/>
                <a:gd name="T34" fmla="*/ 10 w 12"/>
                <a:gd name="T35" fmla="*/ 8 h 10"/>
                <a:gd name="T36" fmla="*/ 11 w 12"/>
                <a:gd name="T37" fmla="*/ 8 h 10"/>
                <a:gd name="T38" fmla="*/ 11 w 12"/>
                <a:gd name="T39" fmla="*/ 8 h 10"/>
                <a:gd name="T40" fmla="*/ 11 w 12"/>
                <a:gd name="T41" fmla="*/ 8 h 10"/>
                <a:gd name="T42" fmla="*/ 11 w 12"/>
                <a:gd name="T43" fmla="*/ 8 h 10"/>
                <a:gd name="T44" fmla="*/ 12 w 12"/>
                <a:gd name="T45" fmla="*/ 8 h 10"/>
                <a:gd name="T46" fmla="*/ 12 w 12"/>
                <a:gd name="T47" fmla="*/ 9 h 10"/>
                <a:gd name="T48" fmla="*/ 11 w 12"/>
                <a:gd name="T49" fmla="*/ 9 h 10"/>
                <a:gd name="T50" fmla="*/ 11 w 12"/>
                <a:gd name="T51" fmla="*/ 9 h 10"/>
                <a:gd name="T52" fmla="*/ 9 w 12"/>
                <a:gd name="T53" fmla="*/ 9 h 10"/>
                <a:gd name="T54" fmla="*/ 9 w 12"/>
                <a:gd name="T55" fmla="*/ 10 h 10"/>
                <a:gd name="T56" fmla="*/ 9 w 12"/>
                <a:gd name="T57" fmla="*/ 9 h 10"/>
                <a:gd name="T58" fmla="*/ 7 w 12"/>
                <a:gd name="T59" fmla="*/ 9 h 10"/>
                <a:gd name="T60" fmla="*/ 7 w 12"/>
                <a:gd name="T61" fmla="*/ 9 h 10"/>
                <a:gd name="T62" fmla="*/ 7 w 12"/>
                <a:gd name="T63" fmla="*/ 9 h 10"/>
                <a:gd name="T64" fmla="*/ 7 w 12"/>
                <a:gd name="T65" fmla="*/ 10 h 10"/>
                <a:gd name="T66" fmla="*/ 7 w 12"/>
                <a:gd name="T67" fmla="*/ 10 h 10"/>
                <a:gd name="T68" fmla="*/ 7 w 12"/>
                <a:gd name="T69" fmla="*/ 10 h 10"/>
                <a:gd name="T70" fmla="*/ 5 w 12"/>
                <a:gd name="T71" fmla="*/ 9 h 10"/>
                <a:gd name="T72" fmla="*/ 3 w 12"/>
                <a:gd name="T73" fmla="*/ 8 h 10"/>
                <a:gd name="T74" fmla="*/ 0 w 12"/>
                <a:gd name="T75" fmla="*/ 8 h 10"/>
                <a:gd name="T76" fmla="*/ 0 w 12"/>
                <a:gd name="T77" fmla="*/ 7 h 10"/>
                <a:gd name="T78" fmla="*/ 0 w 12"/>
                <a:gd name="T79" fmla="*/ 7 h 10"/>
                <a:gd name="T80" fmla="*/ 2 w 12"/>
                <a:gd name="T81" fmla="*/ 6 h 10"/>
                <a:gd name="T82" fmla="*/ 0 w 12"/>
                <a:gd name="T83" fmla="*/ 4 h 10"/>
                <a:gd name="T84" fmla="*/ 0 w 12"/>
                <a:gd name="T85" fmla="*/ 4 h 10"/>
                <a:gd name="T86" fmla="*/ 0 w 12"/>
                <a:gd name="T87" fmla="*/ 3 h 10"/>
                <a:gd name="T88" fmla="*/ 2 w 12"/>
                <a:gd name="T89" fmla="*/ 3 h 10"/>
                <a:gd name="T90" fmla="*/ 2 w 12"/>
                <a:gd name="T91" fmla="*/ 2 h 10"/>
                <a:gd name="T92" fmla="*/ 3 w 12"/>
                <a:gd name="T93" fmla="*/ 2 h 10"/>
                <a:gd name="T94" fmla="*/ 3 w 12"/>
                <a:gd name="T95" fmla="*/ 2 h 10"/>
                <a:gd name="T96" fmla="*/ 4 w 12"/>
                <a:gd name="T97" fmla="*/ 2 h 10"/>
                <a:gd name="T98" fmla="*/ 4 w 12"/>
                <a:gd name="T99" fmla="*/ 1 h 10"/>
                <a:gd name="T100" fmla="*/ 4 w 12"/>
                <a:gd name="T101" fmla="*/ 0 h 10"/>
                <a:gd name="T102" fmla="*/ 5 w 12"/>
                <a:gd name="T103" fmla="*/ 0 h 10"/>
                <a:gd name="T104" fmla="*/ 5 w 12"/>
                <a:gd name="T105"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 h="10">
                  <a:moveTo>
                    <a:pt x="5" y="1"/>
                  </a:moveTo>
                  <a:lnTo>
                    <a:pt x="5" y="1"/>
                  </a:lnTo>
                  <a:lnTo>
                    <a:pt x="5" y="1"/>
                  </a:lnTo>
                  <a:lnTo>
                    <a:pt x="5" y="1"/>
                  </a:lnTo>
                  <a:lnTo>
                    <a:pt x="5" y="1"/>
                  </a:lnTo>
                  <a:lnTo>
                    <a:pt x="5" y="2"/>
                  </a:lnTo>
                  <a:lnTo>
                    <a:pt x="5" y="2"/>
                  </a:lnTo>
                  <a:lnTo>
                    <a:pt x="5" y="3"/>
                  </a:lnTo>
                  <a:lnTo>
                    <a:pt x="5" y="3"/>
                  </a:lnTo>
                  <a:lnTo>
                    <a:pt x="5" y="3"/>
                  </a:lnTo>
                  <a:lnTo>
                    <a:pt x="5" y="3"/>
                  </a:lnTo>
                  <a:lnTo>
                    <a:pt x="5" y="4"/>
                  </a:lnTo>
                  <a:lnTo>
                    <a:pt x="5" y="4"/>
                  </a:lnTo>
                  <a:lnTo>
                    <a:pt x="5" y="4"/>
                  </a:lnTo>
                  <a:lnTo>
                    <a:pt x="6" y="4"/>
                  </a:lnTo>
                  <a:lnTo>
                    <a:pt x="6" y="4"/>
                  </a:lnTo>
                  <a:lnTo>
                    <a:pt x="6" y="6"/>
                  </a:lnTo>
                  <a:lnTo>
                    <a:pt x="6" y="6"/>
                  </a:lnTo>
                  <a:lnTo>
                    <a:pt x="7" y="6"/>
                  </a:lnTo>
                  <a:lnTo>
                    <a:pt x="7" y="4"/>
                  </a:lnTo>
                  <a:lnTo>
                    <a:pt x="7" y="4"/>
                  </a:lnTo>
                  <a:lnTo>
                    <a:pt x="7" y="6"/>
                  </a:lnTo>
                  <a:lnTo>
                    <a:pt x="7" y="6"/>
                  </a:lnTo>
                  <a:lnTo>
                    <a:pt x="9" y="6"/>
                  </a:lnTo>
                  <a:lnTo>
                    <a:pt x="9" y="6"/>
                  </a:lnTo>
                  <a:lnTo>
                    <a:pt x="9" y="7"/>
                  </a:lnTo>
                  <a:lnTo>
                    <a:pt x="9" y="7"/>
                  </a:lnTo>
                  <a:lnTo>
                    <a:pt x="10" y="7"/>
                  </a:lnTo>
                  <a:lnTo>
                    <a:pt x="10" y="7"/>
                  </a:lnTo>
                  <a:lnTo>
                    <a:pt x="10" y="7"/>
                  </a:lnTo>
                  <a:lnTo>
                    <a:pt x="10" y="7"/>
                  </a:lnTo>
                  <a:lnTo>
                    <a:pt x="10" y="7"/>
                  </a:lnTo>
                  <a:lnTo>
                    <a:pt x="10" y="7"/>
                  </a:lnTo>
                  <a:lnTo>
                    <a:pt x="10" y="7"/>
                  </a:lnTo>
                  <a:lnTo>
                    <a:pt x="10" y="7"/>
                  </a:lnTo>
                  <a:lnTo>
                    <a:pt x="10" y="8"/>
                  </a:lnTo>
                  <a:lnTo>
                    <a:pt x="10" y="8"/>
                  </a:lnTo>
                  <a:lnTo>
                    <a:pt x="11" y="8"/>
                  </a:lnTo>
                  <a:lnTo>
                    <a:pt x="11" y="8"/>
                  </a:lnTo>
                  <a:lnTo>
                    <a:pt x="11" y="8"/>
                  </a:lnTo>
                  <a:lnTo>
                    <a:pt x="11" y="8"/>
                  </a:lnTo>
                  <a:lnTo>
                    <a:pt x="11" y="8"/>
                  </a:lnTo>
                  <a:lnTo>
                    <a:pt x="11" y="8"/>
                  </a:lnTo>
                  <a:lnTo>
                    <a:pt x="11" y="8"/>
                  </a:lnTo>
                  <a:lnTo>
                    <a:pt x="11" y="8"/>
                  </a:lnTo>
                  <a:lnTo>
                    <a:pt x="12" y="8"/>
                  </a:lnTo>
                  <a:lnTo>
                    <a:pt x="12" y="9"/>
                  </a:lnTo>
                  <a:lnTo>
                    <a:pt x="12" y="9"/>
                  </a:lnTo>
                  <a:lnTo>
                    <a:pt x="12" y="9"/>
                  </a:lnTo>
                  <a:lnTo>
                    <a:pt x="11" y="9"/>
                  </a:lnTo>
                  <a:lnTo>
                    <a:pt x="11" y="9"/>
                  </a:lnTo>
                  <a:lnTo>
                    <a:pt x="11" y="9"/>
                  </a:lnTo>
                  <a:lnTo>
                    <a:pt x="10" y="9"/>
                  </a:lnTo>
                  <a:lnTo>
                    <a:pt x="9" y="9"/>
                  </a:lnTo>
                  <a:lnTo>
                    <a:pt x="9" y="10"/>
                  </a:lnTo>
                  <a:lnTo>
                    <a:pt x="9" y="10"/>
                  </a:lnTo>
                  <a:lnTo>
                    <a:pt x="9" y="9"/>
                  </a:lnTo>
                  <a:lnTo>
                    <a:pt x="9" y="9"/>
                  </a:lnTo>
                  <a:lnTo>
                    <a:pt x="7" y="9"/>
                  </a:lnTo>
                  <a:lnTo>
                    <a:pt x="7" y="9"/>
                  </a:lnTo>
                  <a:lnTo>
                    <a:pt x="7" y="9"/>
                  </a:lnTo>
                  <a:lnTo>
                    <a:pt x="7" y="9"/>
                  </a:lnTo>
                  <a:lnTo>
                    <a:pt x="7" y="9"/>
                  </a:lnTo>
                  <a:lnTo>
                    <a:pt x="7" y="9"/>
                  </a:lnTo>
                  <a:lnTo>
                    <a:pt x="7" y="9"/>
                  </a:lnTo>
                  <a:lnTo>
                    <a:pt x="7" y="10"/>
                  </a:lnTo>
                  <a:lnTo>
                    <a:pt x="7" y="10"/>
                  </a:lnTo>
                  <a:lnTo>
                    <a:pt x="7" y="10"/>
                  </a:lnTo>
                  <a:lnTo>
                    <a:pt x="7" y="10"/>
                  </a:lnTo>
                  <a:lnTo>
                    <a:pt x="7" y="10"/>
                  </a:lnTo>
                  <a:lnTo>
                    <a:pt x="6" y="10"/>
                  </a:lnTo>
                  <a:lnTo>
                    <a:pt x="5" y="9"/>
                  </a:lnTo>
                  <a:lnTo>
                    <a:pt x="4" y="9"/>
                  </a:lnTo>
                  <a:lnTo>
                    <a:pt x="3" y="8"/>
                  </a:lnTo>
                  <a:lnTo>
                    <a:pt x="2" y="8"/>
                  </a:lnTo>
                  <a:lnTo>
                    <a:pt x="0" y="8"/>
                  </a:lnTo>
                  <a:lnTo>
                    <a:pt x="0" y="7"/>
                  </a:lnTo>
                  <a:lnTo>
                    <a:pt x="0" y="7"/>
                  </a:lnTo>
                  <a:lnTo>
                    <a:pt x="0" y="7"/>
                  </a:lnTo>
                  <a:lnTo>
                    <a:pt x="0" y="7"/>
                  </a:lnTo>
                  <a:lnTo>
                    <a:pt x="2" y="7"/>
                  </a:lnTo>
                  <a:lnTo>
                    <a:pt x="2" y="6"/>
                  </a:lnTo>
                  <a:lnTo>
                    <a:pt x="0" y="6"/>
                  </a:lnTo>
                  <a:lnTo>
                    <a:pt x="0" y="4"/>
                  </a:lnTo>
                  <a:lnTo>
                    <a:pt x="0" y="4"/>
                  </a:lnTo>
                  <a:lnTo>
                    <a:pt x="0" y="4"/>
                  </a:lnTo>
                  <a:lnTo>
                    <a:pt x="0" y="3"/>
                  </a:lnTo>
                  <a:lnTo>
                    <a:pt x="0" y="3"/>
                  </a:lnTo>
                  <a:lnTo>
                    <a:pt x="2" y="3"/>
                  </a:lnTo>
                  <a:lnTo>
                    <a:pt x="2" y="3"/>
                  </a:lnTo>
                  <a:lnTo>
                    <a:pt x="2" y="3"/>
                  </a:lnTo>
                  <a:lnTo>
                    <a:pt x="2" y="2"/>
                  </a:lnTo>
                  <a:lnTo>
                    <a:pt x="3" y="2"/>
                  </a:lnTo>
                  <a:lnTo>
                    <a:pt x="3" y="2"/>
                  </a:lnTo>
                  <a:lnTo>
                    <a:pt x="3" y="2"/>
                  </a:lnTo>
                  <a:lnTo>
                    <a:pt x="3" y="2"/>
                  </a:lnTo>
                  <a:lnTo>
                    <a:pt x="4" y="2"/>
                  </a:lnTo>
                  <a:lnTo>
                    <a:pt x="4" y="2"/>
                  </a:lnTo>
                  <a:lnTo>
                    <a:pt x="4" y="1"/>
                  </a:lnTo>
                  <a:lnTo>
                    <a:pt x="4" y="1"/>
                  </a:lnTo>
                  <a:lnTo>
                    <a:pt x="4" y="0"/>
                  </a:lnTo>
                  <a:lnTo>
                    <a:pt x="4" y="0"/>
                  </a:lnTo>
                  <a:lnTo>
                    <a:pt x="4" y="0"/>
                  </a:lnTo>
                  <a:lnTo>
                    <a:pt x="5" y="0"/>
                  </a:lnTo>
                  <a:lnTo>
                    <a:pt x="5" y="0"/>
                  </a:lnTo>
                  <a:lnTo>
                    <a:pt x="5" y="1"/>
                  </a:lnTo>
                  <a:lnTo>
                    <a:pt x="5"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02" name="Freeform 1560">
              <a:extLst>
                <a:ext uri="{FF2B5EF4-FFF2-40B4-BE49-F238E27FC236}">
                  <a16:creationId xmlns:a16="http://schemas.microsoft.com/office/drawing/2014/main" id="{8977FE3C-6285-4678-80F1-D94F0B5B43F7}"/>
                </a:ext>
              </a:extLst>
            </p:cNvPr>
            <p:cNvSpPr>
              <a:spLocks noEditPoints="1"/>
            </p:cNvSpPr>
            <p:nvPr/>
          </p:nvSpPr>
          <p:spPr bwMode="auto">
            <a:xfrm>
              <a:off x="6114925" y="2417693"/>
              <a:ext cx="14691" cy="10684"/>
            </a:xfrm>
            <a:custGeom>
              <a:avLst/>
              <a:gdLst>
                <a:gd name="T0" fmla="*/ 1 w 11"/>
                <a:gd name="T1" fmla="*/ 8 h 8"/>
                <a:gd name="T2" fmla="*/ 1 w 11"/>
                <a:gd name="T3" fmla="*/ 7 h 8"/>
                <a:gd name="T4" fmla="*/ 1 w 11"/>
                <a:gd name="T5" fmla="*/ 6 h 8"/>
                <a:gd name="T6" fmla="*/ 2 w 11"/>
                <a:gd name="T7" fmla="*/ 6 h 8"/>
                <a:gd name="T8" fmla="*/ 2 w 11"/>
                <a:gd name="T9" fmla="*/ 7 h 8"/>
                <a:gd name="T10" fmla="*/ 3 w 11"/>
                <a:gd name="T11" fmla="*/ 7 h 8"/>
                <a:gd name="T12" fmla="*/ 2 w 11"/>
                <a:gd name="T13" fmla="*/ 7 h 8"/>
                <a:gd name="T14" fmla="*/ 11 w 11"/>
                <a:gd name="T15" fmla="*/ 3 h 8"/>
                <a:gd name="T16" fmla="*/ 11 w 11"/>
                <a:gd name="T17" fmla="*/ 5 h 8"/>
                <a:gd name="T18" fmla="*/ 10 w 11"/>
                <a:gd name="T19" fmla="*/ 5 h 8"/>
                <a:gd name="T20" fmla="*/ 9 w 11"/>
                <a:gd name="T21" fmla="*/ 5 h 8"/>
                <a:gd name="T22" fmla="*/ 8 w 11"/>
                <a:gd name="T23" fmla="*/ 6 h 8"/>
                <a:gd name="T24" fmla="*/ 7 w 11"/>
                <a:gd name="T25" fmla="*/ 5 h 8"/>
                <a:gd name="T26" fmla="*/ 6 w 11"/>
                <a:gd name="T27" fmla="*/ 5 h 8"/>
                <a:gd name="T28" fmla="*/ 4 w 11"/>
                <a:gd name="T29" fmla="*/ 6 h 8"/>
                <a:gd name="T30" fmla="*/ 4 w 11"/>
                <a:gd name="T31" fmla="*/ 6 h 8"/>
                <a:gd name="T32" fmla="*/ 3 w 11"/>
                <a:gd name="T33" fmla="*/ 6 h 8"/>
                <a:gd name="T34" fmla="*/ 3 w 11"/>
                <a:gd name="T35" fmla="*/ 6 h 8"/>
                <a:gd name="T36" fmla="*/ 2 w 11"/>
                <a:gd name="T37" fmla="*/ 6 h 8"/>
                <a:gd name="T38" fmla="*/ 1 w 11"/>
                <a:gd name="T39" fmla="*/ 6 h 8"/>
                <a:gd name="T40" fmla="*/ 1 w 11"/>
                <a:gd name="T41" fmla="*/ 5 h 8"/>
                <a:gd name="T42" fmla="*/ 1 w 11"/>
                <a:gd name="T43" fmla="*/ 5 h 8"/>
                <a:gd name="T44" fmla="*/ 0 w 11"/>
                <a:gd name="T45" fmla="*/ 3 h 8"/>
                <a:gd name="T46" fmla="*/ 1 w 11"/>
                <a:gd name="T47" fmla="*/ 3 h 8"/>
                <a:gd name="T48" fmla="*/ 2 w 11"/>
                <a:gd name="T49" fmla="*/ 3 h 8"/>
                <a:gd name="T50" fmla="*/ 2 w 11"/>
                <a:gd name="T51" fmla="*/ 3 h 8"/>
                <a:gd name="T52" fmla="*/ 2 w 11"/>
                <a:gd name="T53" fmla="*/ 2 h 8"/>
                <a:gd name="T54" fmla="*/ 2 w 11"/>
                <a:gd name="T55" fmla="*/ 1 h 8"/>
                <a:gd name="T56" fmla="*/ 2 w 11"/>
                <a:gd name="T57" fmla="*/ 1 h 8"/>
                <a:gd name="T58" fmla="*/ 2 w 11"/>
                <a:gd name="T59" fmla="*/ 0 h 8"/>
                <a:gd name="T60" fmla="*/ 3 w 11"/>
                <a:gd name="T61" fmla="*/ 0 h 8"/>
                <a:gd name="T62" fmla="*/ 3 w 11"/>
                <a:gd name="T63" fmla="*/ 0 h 8"/>
                <a:gd name="T64" fmla="*/ 4 w 11"/>
                <a:gd name="T65" fmla="*/ 0 h 8"/>
                <a:gd name="T66" fmla="*/ 7 w 11"/>
                <a:gd name="T67" fmla="*/ 0 h 8"/>
                <a:gd name="T68" fmla="*/ 9 w 11"/>
                <a:gd name="T69" fmla="*/ 1 h 8"/>
                <a:gd name="T70" fmla="*/ 11 w 11"/>
                <a:gd name="T71" fmla="*/ 2 h 8"/>
                <a:gd name="T72" fmla="*/ 11 w 11"/>
                <a:gd name="T7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 h="8">
                  <a:moveTo>
                    <a:pt x="2" y="7"/>
                  </a:moveTo>
                  <a:lnTo>
                    <a:pt x="1" y="8"/>
                  </a:lnTo>
                  <a:lnTo>
                    <a:pt x="1" y="8"/>
                  </a:lnTo>
                  <a:lnTo>
                    <a:pt x="1" y="7"/>
                  </a:lnTo>
                  <a:lnTo>
                    <a:pt x="1" y="7"/>
                  </a:lnTo>
                  <a:lnTo>
                    <a:pt x="1" y="6"/>
                  </a:lnTo>
                  <a:lnTo>
                    <a:pt x="1" y="6"/>
                  </a:lnTo>
                  <a:lnTo>
                    <a:pt x="2" y="6"/>
                  </a:lnTo>
                  <a:lnTo>
                    <a:pt x="2" y="6"/>
                  </a:lnTo>
                  <a:lnTo>
                    <a:pt x="2" y="7"/>
                  </a:lnTo>
                  <a:lnTo>
                    <a:pt x="3" y="7"/>
                  </a:lnTo>
                  <a:lnTo>
                    <a:pt x="3" y="7"/>
                  </a:lnTo>
                  <a:lnTo>
                    <a:pt x="3" y="7"/>
                  </a:lnTo>
                  <a:lnTo>
                    <a:pt x="2" y="7"/>
                  </a:lnTo>
                  <a:lnTo>
                    <a:pt x="2" y="7"/>
                  </a:lnTo>
                  <a:close/>
                  <a:moveTo>
                    <a:pt x="11" y="3"/>
                  </a:moveTo>
                  <a:lnTo>
                    <a:pt x="11" y="5"/>
                  </a:lnTo>
                  <a:lnTo>
                    <a:pt x="11" y="5"/>
                  </a:lnTo>
                  <a:lnTo>
                    <a:pt x="11" y="5"/>
                  </a:lnTo>
                  <a:lnTo>
                    <a:pt x="10" y="5"/>
                  </a:lnTo>
                  <a:lnTo>
                    <a:pt x="10" y="5"/>
                  </a:lnTo>
                  <a:lnTo>
                    <a:pt x="9" y="5"/>
                  </a:lnTo>
                  <a:lnTo>
                    <a:pt x="8" y="5"/>
                  </a:lnTo>
                  <a:lnTo>
                    <a:pt x="8" y="6"/>
                  </a:lnTo>
                  <a:lnTo>
                    <a:pt x="8" y="5"/>
                  </a:lnTo>
                  <a:lnTo>
                    <a:pt x="7" y="5"/>
                  </a:lnTo>
                  <a:lnTo>
                    <a:pt x="6" y="5"/>
                  </a:lnTo>
                  <a:lnTo>
                    <a:pt x="6" y="5"/>
                  </a:lnTo>
                  <a:lnTo>
                    <a:pt x="4" y="6"/>
                  </a:lnTo>
                  <a:lnTo>
                    <a:pt x="4" y="6"/>
                  </a:lnTo>
                  <a:lnTo>
                    <a:pt x="4" y="6"/>
                  </a:lnTo>
                  <a:lnTo>
                    <a:pt x="4" y="6"/>
                  </a:lnTo>
                  <a:lnTo>
                    <a:pt x="4" y="6"/>
                  </a:lnTo>
                  <a:lnTo>
                    <a:pt x="3" y="6"/>
                  </a:lnTo>
                  <a:lnTo>
                    <a:pt x="3" y="6"/>
                  </a:lnTo>
                  <a:lnTo>
                    <a:pt x="3" y="6"/>
                  </a:lnTo>
                  <a:lnTo>
                    <a:pt x="3" y="6"/>
                  </a:lnTo>
                  <a:lnTo>
                    <a:pt x="2" y="6"/>
                  </a:lnTo>
                  <a:lnTo>
                    <a:pt x="2" y="6"/>
                  </a:lnTo>
                  <a:lnTo>
                    <a:pt x="1" y="6"/>
                  </a:lnTo>
                  <a:lnTo>
                    <a:pt x="1" y="6"/>
                  </a:lnTo>
                  <a:lnTo>
                    <a:pt x="1" y="5"/>
                  </a:lnTo>
                  <a:lnTo>
                    <a:pt x="1" y="5"/>
                  </a:lnTo>
                  <a:lnTo>
                    <a:pt x="1" y="5"/>
                  </a:lnTo>
                  <a:lnTo>
                    <a:pt x="1" y="5"/>
                  </a:lnTo>
                  <a:lnTo>
                    <a:pt x="0" y="3"/>
                  </a:lnTo>
                  <a:lnTo>
                    <a:pt x="1" y="3"/>
                  </a:lnTo>
                  <a:lnTo>
                    <a:pt x="1" y="3"/>
                  </a:lnTo>
                  <a:lnTo>
                    <a:pt x="1" y="3"/>
                  </a:lnTo>
                  <a:lnTo>
                    <a:pt x="2" y="3"/>
                  </a:lnTo>
                  <a:lnTo>
                    <a:pt x="2" y="3"/>
                  </a:lnTo>
                  <a:lnTo>
                    <a:pt x="2" y="3"/>
                  </a:lnTo>
                  <a:lnTo>
                    <a:pt x="2" y="3"/>
                  </a:lnTo>
                  <a:lnTo>
                    <a:pt x="2" y="2"/>
                  </a:lnTo>
                  <a:lnTo>
                    <a:pt x="2" y="2"/>
                  </a:lnTo>
                  <a:lnTo>
                    <a:pt x="2" y="1"/>
                  </a:lnTo>
                  <a:lnTo>
                    <a:pt x="2" y="1"/>
                  </a:lnTo>
                  <a:lnTo>
                    <a:pt x="2" y="1"/>
                  </a:lnTo>
                  <a:lnTo>
                    <a:pt x="2" y="1"/>
                  </a:lnTo>
                  <a:lnTo>
                    <a:pt x="2" y="0"/>
                  </a:lnTo>
                  <a:lnTo>
                    <a:pt x="3" y="0"/>
                  </a:lnTo>
                  <a:lnTo>
                    <a:pt x="3" y="0"/>
                  </a:lnTo>
                  <a:lnTo>
                    <a:pt x="3" y="0"/>
                  </a:lnTo>
                  <a:lnTo>
                    <a:pt x="3" y="0"/>
                  </a:lnTo>
                  <a:lnTo>
                    <a:pt x="4" y="0"/>
                  </a:lnTo>
                  <a:lnTo>
                    <a:pt x="4" y="0"/>
                  </a:lnTo>
                  <a:lnTo>
                    <a:pt x="6" y="0"/>
                  </a:lnTo>
                  <a:lnTo>
                    <a:pt x="7" y="0"/>
                  </a:lnTo>
                  <a:lnTo>
                    <a:pt x="8" y="1"/>
                  </a:lnTo>
                  <a:lnTo>
                    <a:pt x="9" y="1"/>
                  </a:lnTo>
                  <a:lnTo>
                    <a:pt x="10" y="2"/>
                  </a:lnTo>
                  <a:lnTo>
                    <a:pt x="11" y="2"/>
                  </a:lnTo>
                  <a:lnTo>
                    <a:pt x="11" y="2"/>
                  </a:lnTo>
                  <a:lnTo>
                    <a:pt x="11" y="3"/>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03" name="Freeform 1561">
              <a:extLst>
                <a:ext uri="{FF2B5EF4-FFF2-40B4-BE49-F238E27FC236}">
                  <a16:creationId xmlns:a16="http://schemas.microsoft.com/office/drawing/2014/main" id="{12162E6A-997B-453C-86D6-003728130B9D}"/>
                </a:ext>
              </a:extLst>
            </p:cNvPr>
            <p:cNvSpPr>
              <a:spLocks/>
            </p:cNvSpPr>
            <p:nvPr/>
          </p:nvSpPr>
          <p:spPr bwMode="auto">
            <a:xfrm>
              <a:off x="6116261" y="2420364"/>
              <a:ext cx="18697" cy="14691"/>
            </a:xfrm>
            <a:custGeom>
              <a:avLst/>
              <a:gdLst>
                <a:gd name="T0" fmla="*/ 9 w 14"/>
                <a:gd name="T1" fmla="*/ 6 h 11"/>
                <a:gd name="T2" fmla="*/ 8 w 14"/>
                <a:gd name="T3" fmla="*/ 7 h 11"/>
                <a:gd name="T4" fmla="*/ 8 w 14"/>
                <a:gd name="T5" fmla="*/ 6 h 11"/>
                <a:gd name="T6" fmla="*/ 7 w 14"/>
                <a:gd name="T7" fmla="*/ 6 h 11"/>
                <a:gd name="T8" fmla="*/ 7 w 14"/>
                <a:gd name="T9" fmla="*/ 7 h 11"/>
                <a:gd name="T10" fmla="*/ 7 w 14"/>
                <a:gd name="T11" fmla="*/ 7 h 11"/>
                <a:gd name="T12" fmla="*/ 7 w 14"/>
                <a:gd name="T13" fmla="*/ 7 h 11"/>
                <a:gd name="T14" fmla="*/ 7 w 14"/>
                <a:gd name="T15" fmla="*/ 8 h 11"/>
                <a:gd name="T16" fmla="*/ 8 w 14"/>
                <a:gd name="T17" fmla="*/ 8 h 11"/>
                <a:gd name="T18" fmla="*/ 9 w 14"/>
                <a:gd name="T19" fmla="*/ 10 h 11"/>
                <a:gd name="T20" fmla="*/ 8 w 14"/>
                <a:gd name="T21" fmla="*/ 11 h 11"/>
                <a:gd name="T22" fmla="*/ 8 w 14"/>
                <a:gd name="T23" fmla="*/ 11 h 11"/>
                <a:gd name="T24" fmla="*/ 8 w 14"/>
                <a:gd name="T25" fmla="*/ 11 h 11"/>
                <a:gd name="T26" fmla="*/ 7 w 14"/>
                <a:gd name="T27" fmla="*/ 10 h 11"/>
                <a:gd name="T28" fmla="*/ 7 w 14"/>
                <a:gd name="T29" fmla="*/ 10 h 11"/>
                <a:gd name="T30" fmla="*/ 6 w 14"/>
                <a:gd name="T31" fmla="*/ 10 h 11"/>
                <a:gd name="T32" fmla="*/ 6 w 14"/>
                <a:gd name="T33" fmla="*/ 10 h 11"/>
                <a:gd name="T34" fmla="*/ 5 w 14"/>
                <a:gd name="T35" fmla="*/ 11 h 11"/>
                <a:gd name="T36" fmla="*/ 3 w 14"/>
                <a:gd name="T37" fmla="*/ 11 h 11"/>
                <a:gd name="T38" fmla="*/ 1 w 14"/>
                <a:gd name="T39" fmla="*/ 10 h 11"/>
                <a:gd name="T40" fmla="*/ 0 w 14"/>
                <a:gd name="T41" fmla="*/ 8 h 11"/>
                <a:gd name="T42" fmla="*/ 0 w 14"/>
                <a:gd name="T43" fmla="*/ 8 h 11"/>
                <a:gd name="T44" fmla="*/ 0 w 14"/>
                <a:gd name="T45" fmla="*/ 7 h 11"/>
                <a:gd name="T46" fmla="*/ 0 w 14"/>
                <a:gd name="T47" fmla="*/ 6 h 11"/>
                <a:gd name="T48" fmla="*/ 0 w 14"/>
                <a:gd name="T49" fmla="*/ 6 h 11"/>
                <a:gd name="T50" fmla="*/ 1 w 14"/>
                <a:gd name="T51" fmla="*/ 5 h 11"/>
                <a:gd name="T52" fmla="*/ 2 w 14"/>
                <a:gd name="T53" fmla="*/ 5 h 11"/>
                <a:gd name="T54" fmla="*/ 3 w 14"/>
                <a:gd name="T55" fmla="*/ 6 h 11"/>
                <a:gd name="T56" fmla="*/ 6 w 14"/>
                <a:gd name="T57" fmla="*/ 6 h 11"/>
                <a:gd name="T58" fmla="*/ 7 w 14"/>
                <a:gd name="T59" fmla="*/ 5 h 11"/>
                <a:gd name="T60" fmla="*/ 8 w 14"/>
                <a:gd name="T61" fmla="*/ 5 h 11"/>
                <a:gd name="T62" fmla="*/ 8 w 14"/>
                <a:gd name="T63" fmla="*/ 4 h 11"/>
                <a:gd name="T64" fmla="*/ 7 w 14"/>
                <a:gd name="T65" fmla="*/ 4 h 11"/>
                <a:gd name="T66" fmla="*/ 8 w 14"/>
                <a:gd name="T67" fmla="*/ 3 h 11"/>
                <a:gd name="T68" fmla="*/ 10 w 14"/>
                <a:gd name="T69" fmla="*/ 3 h 11"/>
                <a:gd name="T70" fmla="*/ 10 w 14"/>
                <a:gd name="T71" fmla="*/ 1 h 11"/>
                <a:gd name="T72" fmla="*/ 10 w 14"/>
                <a:gd name="T73" fmla="*/ 0 h 11"/>
                <a:gd name="T74" fmla="*/ 12 w 14"/>
                <a:gd name="T75" fmla="*/ 1 h 11"/>
                <a:gd name="T76" fmla="*/ 14 w 14"/>
                <a:gd name="T77" fmla="*/ 5 h 11"/>
                <a:gd name="T78" fmla="*/ 14 w 14"/>
                <a:gd name="T79" fmla="*/ 5 h 11"/>
                <a:gd name="T80" fmla="*/ 14 w 14"/>
                <a:gd name="T81" fmla="*/ 6 h 11"/>
                <a:gd name="T82" fmla="*/ 14 w 14"/>
                <a:gd name="T83" fmla="*/ 6 h 11"/>
                <a:gd name="T84" fmla="*/ 13 w 14"/>
                <a:gd name="T85" fmla="*/ 6 h 11"/>
                <a:gd name="T86" fmla="*/ 13 w 14"/>
                <a:gd name="T87" fmla="*/ 6 h 11"/>
                <a:gd name="T88" fmla="*/ 13 w 14"/>
                <a:gd name="T89" fmla="*/ 5 h 11"/>
                <a:gd name="T90" fmla="*/ 12 w 14"/>
                <a:gd name="T91" fmla="*/ 6 h 11"/>
                <a:gd name="T92" fmla="*/ 10 w 14"/>
                <a:gd name="T93" fmla="*/ 6 h 11"/>
                <a:gd name="T94" fmla="*/ 10 w 14"/>
                <a:gd name="T95"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 h="11">
                  <a:moveTo>
                    <a:pt x="10" y="6"/>
                  </a:moveTo>
                  <a:lnTo>
                    <a:pt x="9" y="6"/>
                  </a:lnTo>
                  <a:lnTo>
                    <a:pt x="9" y="6"/>
                  </a:lnTo>
                  <a:lnTo>
                    <a:pt x="9" y="7"/>
                  </a:lnTo>
                  <a:lnTo>
                    <a:pt x="9" y="7"/>
                  </a:lnTo>
                  <a:lnTo>
                    <a:pt x="8" y="7"/>
                  </a:lnTo>
                  <a:lnTo>
                    <a:pt x="8" y="7"/>
                  </a:lnTo>
                  <a:lnTo>
                    <a:pt x="8" y="7"/>
                  </a:lnTo>
                  <a:lnTo>
                    <a:pt x="8" y="6"/>
                  </a:lnTo>
                  <a:lnTo>
                    <a:pt x="8" y="6"/>
                  </a:lnTo>
                  <a:lnTo>
                    <a:pt x="7" y="6"/>
                  </a:lnTo>
                  <a:lnTo>
                    <a:pt x="7" y="6"/>
                  </a:lnTo>
                  <a:lnTo>
                    <a:pt x="7" y="7"/>
                  </a:lnTo>
                  <a:lnTo>
                    <a:pt x="7" y="7"/>
                  </a:lnTo>
                  <a:lnTo>
                    <a:pt x="7" y="7"/>
                  </a:lnTo>
                  <a:lnTo>
                    <a:pt x="7" y="7"/>
                  </a:lnTo>
                  <a:lnTo>
                    <a:pt x="7" y="7"/>
                  </a:lnTo>
                  <a:lnTo>
                    <a:pt x="7" y="7"/>
                  </a:lnTo>
                  <a:lnTo>
                    <a:pt x="7" y="7"/>
                  </a:lnTo>
                  <a:lnTo>
                    <a:pt x="7" y="7"/>
                  </a:lnTo>
                  <a:lnTo>
                    <a:pt x="7" y="7"/>
                  </a:lnTo>
                  <a:lnTo>
                    <a:pt x="7" y="7"/>
                  </a:lnTo>
                  <a:lnTo>
                    <a:pt x="7" y="8"/>
                  </a:lnTo>
                  <a:lnTo>
                    <a:pt x="7" y="8"/>
                  </a:lnTo>
                  <a:lnTo>
                    <a:pt x="7" y="8"/>
                  </a:lnTo>
                  <a:lnTo>
                    <a:pt x="8" y="8"/>
                  </a:lnTo>
                  <a:lnTo>
                    <a:pt x="8" y="8"/>
                  </a:lnTo>
                  <a:lnTo>
                    <a:pt x="8" y="10"/>
                  </a:lnTo>
                  <a:lnTo>
                    <a:pt x="9" y="10"/>
                  </a:lnTo>
                  <a:lnTo>
                    <a:pt x="9" y="10"/>
                  </a:lnTo>
                  <a:lnTo>
                    <a:pt x="8" y="10"/>
                  </a:lnTo>
                  <a:lnTo>
                    <a:pt x="8" y="11"/>
                  </a:lnTo>
                  <a:lnTo>
                    <a:pt x="8" y="11"/>
                  </a:lnTo>
                  <a:lnTo>
                    <a:pt x="8" y="11"/>
                  </a:lnTo>
                  <a:lnTo>
                    <a:pt x="8" y="11"/>
                  </a:lnTo>
                  <a:lnTo>
                    <a:pt x="8" y="11"/>
                  </a:lnTo>
                  <a:lnTo>
                    <a:pt x="8" y="11"/>
                  </a:lnTo>
                  <a:lnTo>
                    <a:pt x="8" y="11"/>
                  </a:lnTo>
                  <a:lnTo>
                    <a:pt x="8" y="11"/>
                  </a:lnTo>
                  <a:lnTo>
                    <a:pt x="8" y="11"/>
                  </a:lnTo>
                  <a:lnTo>
                    <a:pt x="8" y="10"/>
                  </a:lnTo>
                  <a:lnTo>
                    <a:pt x="7" y="10"/>
                  </a:lnTo>
                  <a:lnTo>
                    <a:pt x="7" y="10"/>
                  </a:lnTo>
                  <a:lnTo>
                    <a:pt x="7" y="10"/>
                  </a:lnTo>
                  <a:lnTo>
                    <a:pt x="7" y="10"/>
                  </a:lnTo>
                  <a:lnTo>
                    <a:pt x="7" y="10"/>
                  </a:lnTo>
                  <a:lnTo>
                    <a:pt x="7" y="10"/>
                  </a:lnTo>
                  <a:lnTo>
                    <a:pt x="6" y="10"/>
                  </a:lnTo>
                  <a:lnTo>
                    <a:pt x="6" y="10"/>
                  </a:lnTo>
                  <a:lnTo>
                    <a:pt x="6" y="10"/>
                  </a:lnTo>
                  <a:lnTo>
                    <a:pt x="6" y="10"/>
                  </a:lnTo>
                  <a:lnTo>
                    <a:pt x="6" y="10"/>
                  </a:lnTo>
                  <a:lnTo>
                    <a:pt x="6" y="10"/>
                  </a:lnTo>
                  <a:lnTo>
                    <a:pt x="5" y="11"/>
                  </a:lnTo>
                  <a:lnTo>
                    <a:pt x="3" y="11"/>
                  </a:lnTo>
                  <a:lnTo>
                    <a:pt x="3" y="11"/>
                  </a:lnTo>
                  <a:lnTo>
                    <a:pt x="3" y="11"/>
                  </a:lnTo>
                  <a:lnTo>
                    <a:pt x="2" y="10"/>
                  </a:lnTo>
                  <a:lnTo>
                    <a:pt x="1" y="10"/>
                  </a:lnTo>
                  <a:lnTo>
                    <a:pt x="1" y="10"/>
                  </a:lnTo>
                  <a:lnTo>
                    <a:pt x="0" y="10"/>
                  </a:lnTo>
                  <a:lnTo>
                    <a:pt x="0" y="10"/>
                  </a:lnTo>
                  <a:lnTo>
                    <a:pt x="0" y="8"/>
                  </a:lnTo>
                  <a:lnTo>
                    <a:pt x="0" y="8"/>
                  </a:lnTo>
                  <a:lnTo>
                    <a:pt x="0" y="8"/>
                  </a:lnTo>
                  <a:lnTo>
                    <a:pt x="0" y="8"/>
                  </a:lnTo>
                  <a:lnTo>
                    <a:pt x="0" y="7"/>
                  </a:lnTo>
                  <a:lnTo>
                    <a:pt x="0" y="7"/>
                  </a:lnTo>
                  <a:lnTo>
                    <a:pt x="0" y="7"/>
                  </a:lnTo>
                  <a:lnTo>
                    <a:pt x="0" y="6"/>
                  </a:lnTo>
                  <a:lnTo>
                    <a:pt x="0" y="6"/>
                  </a:lnTo>
                  <a:lnTo>
                    <a:pt x="0" y="6"/>
                  </a:lnTo>
                  <a:lnTo>
                    <a:pt x="0" y="6"/>
                  </a:lnTo>
                  <a:lnTo>
                    <a:pt x="0" y="6"/>
                  </a:lnTo>
                  <a:lnTo>
                    <a:pt x="0" y="6"/>
                  </a:lnTo>
                  <a:lnTo>
                    <a:pt x="0" y="6"/>
                  </a:lnTo>
                  <a:lnTo>
                    <a:pt x="1" y="5"/>
                  </a:lnTo>
                  <a:lnTo>
                    <a:pt x="1" y="5"/>
                  </a:lnTo>
                  <a:lnTo>
                    <a:pt x="2" y="5"/>
                  </a:lnTo>
                  <a:lnTo>
                    <a:pt x="2" y="5"/>
                  </a:lnTo>
                  <a:lnTo>
                    <a:pt x="2" y="5"/>
                  </a:lnTo>
                  <a:lnTo>
                    <a:pt x="2" y="5"/>
                  </a:lnTo>
                  <a:lnTo>
                    <a:pt x="3" y="6"/>
                  </a:lnTo>
                  <a:lnTo>
                    <a:pt x="3" y="6"/>
                  </a:lnTo>
                  <a:lnTo>
                    <a:pt x="5" y="6"/>
                  </a:lnTo>
                  <a:lnTo>
                    <a:pt x="5" y="6"/>
                  </a:lnTo>
                  <a:lnTo>
                    <a:pt x="6" y="6"/>
                  </a:lnTo>
                  <a:lnTo>
                    <a:pt x="6" y="6"/>
                  </a:lnTo>
                  <a:lnTo>
                    <a:pt x="7" y="5"/>
                  </a:lnTo>
                  <a:lnTo>
                    <a:pt x="7" y="5"/>
                  </a:lnTo>
                  <a:lnTo>
                    <a:pt x="7" y="5"/>
                  </a:lnTo>
                  <a:lnTo>
                    <a:pt x="8" y="5"/>
                  </a:lnTo>
                  <a:lnTo>
                    <a:pt x="8" y="5"/>
                  </a:lnTo>
                  <a:lnTo>
                    <a:pt x="8" y="5"/>
                  </a:lnTo>
                  <a:lnTo>
                    <a:pt x="8" y="4"/>
                  </a:lnTo>
                  <a:lnTo>
                    <a:pt x="8" y="4"/>
                  </a:lnTo>
                  <a:lnTo>
                    <a:pt x="8" y="4"/>
                  </a:lnTo>
                  <a:lnTo>
                    <a:pt x="7" y="4"/>
                  </a:lnTo>
                  <a:lnTo>
                    <a:pt x="7" y="4"/>
                  </a:lnTo>
                  <a:lnTo>
                    <a:pt x="7" y="4"/>
                  </a:lnTo>
                  <a:lnTo>
                    <a:pt x="7" y="3"/>
                  </a:lnTo>
                  <a:lnTo>
                    <a:pt x="8" y="3"/>
                  </a:lnTo>
                  <a:lnTo>
                    <a:pt x="9" y="3"/>
                  </a:lnTo>
                  <a:lnTo>
                    <a:pt x="9" y="3"/>
                  </a:lnTo>
                  <a:lnTo>
                    <a:pt x="10" y="3"/>
                  </a:lnTo>
                  <a:lnTo>
                    <a:pt x="10" y="3"/>
                  </a:lnTo>
                  <a:lnTo>
                    <a:pt x="10" y="3"/>
                  </a:lnTo>
                  <a:lnTo>
                    <a:pt x="10" y="1"/>
                  </a:lnTo>
                  <a:lnTo>
                    <a:pt x="10" y="0"/>
                  </a:lnTo>
                  <a:lnTo>
                    <a:pt x="10" y="0"/>
                  </a:lnTo>
                  <a:lnTo>
                    <a:pt x="10" y="0"/>
                  </a:lnTo>
                  <a:lnTo>
                    <a:pt x="10" y="0"/>
                  </a:lnTo>
                  <a:lnTo>
                    <a:pt x="12" y="0"/>
                  </a:lnTo>
                  <a:lnTo>
                    <a:pt x="12" y="1"/>
                  </a:lnTo>
                  <a:lnTo>
                    <a:pt x="13" y="3"/>
                  </a:lnTo>
                  <a:lnTo>
                    <a:pt x="14" y="4"/>
                  </a:lnTo>
                  <a:lnTo>
                    <a:pt x="14" y="5"/>
                  </a:lnTo>
                  <a:lnTo>
                    <a:pt x="14" y="5"/>
                  </a:lnTo>
                  <a:lnTo>
                    <a:pt x="14" y="5"/>
                  </a:lnTo>
                  <a:lnTo>
                    <a:pt x="14" y="5"/>
                  </a:lnTo>
                  <a:lnTo>
                    <a:pt x="14" y="5"/>
                  </a:lnTo>
                  <a:lnTo>
                    <a:pt x="14" y="6"/>
                  </a:lnTo>
                  <a:lnTo>
                    <a:pt x="14" y="6"/>
                  </a:lnTo>
                  <a:lnTo>
                    <a:pt x="14" y="6"/>
                  </a:lnTo>
                  <a:lnTo>
                    <a:pt x="14" y="6"/>
                  </a:lnTo>
                  <a:lnTo>
                    <a:pt x="14" y="6"/>
                  </a:lnTo>
                  <a:lnTo>
                    <a:pt x="14" y="6"/>
                  </a:lnTo>
                  <a:lnTo>
                    <a:pt x="13" y="6"/>
                  </a:lnTo>
                  <a:lnTo>
                    <a:pt x="13" y="6"/>
                  </a:lnTo>
                  <a:lnTo>
                    <a:pt x="13" y="6"/>
                  </a:lnTo>
                  <a:lnTo>
                    <a:pt x="13" y="6"/>
                  </a:lnTo>
                  <a:lnTo>
                    <a:pt x="13" y="6"/>
                  </a:lnTo>
                  <a:lnTo>
                    <a:pt x="13" y="6"/>
                  </a:lnTo>
                  <a:lnTo>
                    <a:pt x="13" y="6"/>
                  </a:lnTo>
                  <a:lnTo>
                    <a:pt x="13" y="5"/>
                  </a:lnTo>
                  <a:lnTo>
                    <a:pt x="12" y="5"/>
                  </a:lnTo>
                  <a:lnTo>
                    <a:pt x="12" y="5"/>
                  </a:lnTo>
                  <a:lnTo>
                    <a:pt x="12" y="6"/>
                  </a:lnTo>
                  <a:lnTo>
                    <a:pt x="12" y="6"/>
                  </a:lnTo>
                  <a:lnTo>
                    <a:pt x="12" y="6"/>
                  </a:lnTo>
                  <a:lnTo>
                    <a:pt x="10" y="6"/>
                  </a:lnTo>
                  <a:lnTo>
                    <a:pt x="10" y="6"/>
                  </a:lnTo>
                  <a:lnTo>
                    <a:pt x="10" y="6"/>
                  </a:lnTo>
                  <a:lnTo>
                    <a:pt x="10" y="6"/>
                  </a:lnTo>
                  <a:lnTo>
                    <a:pt x="10" y="6"/>
                  </a:lnTo>
                  <a:lnTo>
                    <a:pt x="10" y="6"/>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04" name="Freeform 1562">
              <a:extLst>
                <a:ext uri="{FF2B5EF4-FFF2-40B4-BE49-F238E27FC236}">
                  <a16:creationId xmlns:a16="http://schemas.microsoft.com/office/drawing/2014/main" id="{ECCE9174-EAD2-4A4B-B453-B8885191D4DB}"/>
                </a:ext>
              </a:extLst>
            </p:cNvPr>
            <p:cNvSpPr>
              <a:spLocks/>
            </p:cNvSpPr>
            <p:nvPr/>
          </p:nvSpPr>
          <p:spPr bwMode="auto">
            <a:xfrm>
              <a:off x="6109583" y="2431047"/>
              <a:ext cx="13355" cy="17362"/>
            </a:xfrm>
            <a:custGeom>
              <a:avLst/>
              <a:gdLst>
                <a:gd name="T0" fmla="*/ 5 w 10"/>
                <a:gd name="T1" fmla="*/ 0 h 13"/>
                <a:gd name="T2" fmla="*/ 5 w 10"/>
                <a:gd name="T3" fmla="*/ 2 h 13"/>
                <a:gd name="T4" fmla="*/ 6 w 10"/>
                <a:gd name="T5" fmla="*/ 2 h 13"/>
                <a:gd name="T6" fmla="*/ 8 w 10"/>
                <a:gd name="T7" fmla="*/ 3 h 13"/>
                <a:gd name="T8" fmla="*/ 8 w 10"/>
                <a:gd name="T9" fmla="*/ 3 h 13"/>
                <a:gd name="T10" fmla="*/ 8 w 10"/>
                <a:gd name="T11" fmla="*/ 4 h 13"/>
                <a:gd name="T12" fmla="*/ 8 w 10"/>
                <a:gd name="T13" fmla="*/ 5 h 13"/>
                <a:gd name="T14" fmla="*/ 8 w 10"/>
                <a:gd name="T15" fmla="*/ 5 h 13"/>
                <a:gd name="T16" fmla="*/ 8 w 10"/>
                <a:gd name="T17" fmla="*/ 6 h 13"/>
                <a:gd name="T18" fmla="*/ 7 w 10"/>
                <a:gd name="T19" fmla="*/ 6 h 13"/>
                <a:gd name="T20" fmla="*/ 6 w 10"/>
                <a:gd name="T21" fmla="*/ 7 h 13"/>
                <a:gd name="T22" fmla="*/ 6 w 10"/>
                <a:gd name="T23" fmla="*/ 9 h 13"/>
                <a:gd name="T24" fmla="*/ 7 w 10"/>
                <a:gd name="T25" fmla="*/ 9 h 13"/>
                <a:gd name="T26" fmla="*/ 7 w 10"/>
                <a:gd name="T27" fmla="*/ 10 h 13"/>
                <a:gd name="T28" fmla="*/ 6 w 10"/>
                <a:gd name="T29" fmla="*/ 10 h 13"/>
                <a:gd name="T30" fmla="*/ 7 w 10"/>
                <a:gd name="T31" fmla="*/ 11 h 13"/>
                <a:gd name="T32" fmla="*/ 7 w 10"/>
                <a:gd name="T33" fmla="*/ 11 h 13"/>
                <a:gd name="T34" fmla="*/ 8 w 10"/>
                <a:gd name="T35" fmla="*/ 12 h 13"/>
                <a:gd name="T36" fmla="*/ 8 w 10"/>
                <a:gd name="T37" fmla="*/ 13 h 13"/>
                <a:gd name="T38" fmla="*/ 8 w 10"/>
                <a:gd name="T39" fmla="*/ 13 h 13"/>
                <a:gd name="T40" fmla="*/ 7 w 10"/>
                <a:gd name="T41" fmla="*/ 13 h 13"/>
                <a:gd name="T42" fmla="*/ 7 w 10"/>
                <a:gd name="T43" fmla="*/ 13 h 13"/>
                <a:gd name="T44" fmla="*/ 7 w 10"/>
                <a:gd name="T45" fmla="*/ 13 h 13"/>
                <a:gd name="T46" fmla="*/ 7 w 10"/>
                <a:gd name="T47" fmla="*/ 13 h 13"/>
                <a:gd name="T48" fmla="*/ 7 w 10"/>
                <a:gd name="T49" fmla="*/ 13 h 13"/>
                <a:gd name="T50" fmla="*/ 6 w 10"/>
                <a:gd name="T51" fmla="*/ 13 h 13"/>
                <a:gd name="T52" fmla="*/ 6 w 10"/>
                <a:gd name="T53" fmla="*/ 13 h 13"/>
                <a:gd name="T54" fmla="*/ 6 w 10"/>
                <a:gd name="T55" fmla="*/ 12 h 13"/>
                <a:gd name="T56" fmla="*/ 6 w 10"/>
                <a:gd name="T57" fmla="*/ 12 h 13"/>
                <a:gd name="T58" fmla="*/ 5 w 10"/>
                <a:gd name="T59" fmla="*/ 12 h 13"/>
                <a:gd name="T60" fmla="*/ 4 w 10"/>
                <a:gd name="T61" fmla="*/ 11 h 13"/>
                <a:gd name="T62" fmla="*/ 4 w 10"/>
                <a:gd name="T63" fmla="*/ 11 h 13"/>
                <a:gd name="T64" fmla="*/ 4 w 10"/>
                <a:gd name="T65" fmla="*/ 10 h 13"/>
                <a:gd name="T66" fmla="*/ 3 w 10"/>
                <a:gd name="T67" fmla="*/ 10 h 13"/>
                <a:gd name="T68" fmla="*/ 1 w 10"/>
                <a:gd name="T69" fmla="*/ 9 h 13"/>
                <a:gd name="T70" fmla="*/ 1 w 10"/>
                <a:gd name="T71" fmla="*/ 9 h 13"/>
                <a:gd name="T72" fmla="*/ 1 w 10"/>
                <a:gd name="T73" fmla="*/ 9 h 13"/>
                <a:gd name="T74" fmla="*/ 1 w 10"/>
                <a:gd name="T75" fmla="*/ 7 h 13"/>
                <a:gd name="T76" fmla="*/ 1 w 10"/>
                <a:gd name="T77" fmla="*/ 6 h 13"/>
                <a:gd name="T78" fmla="*/ 1 w 10"/>
                <a:gd name="T79" fmla="*/ 6 h 13"/>
                <a:gd name="T80" fmla="*/ 1 w 10"/>
                <a:gd name="T81" fmla="*/ 6 h 13"/>
                <a:gd name="T82" fmla="*/ 1 w 10"/>
                <a:gd name="T83" fmla="*/ 5 h 13"/>
                <a:gd name="T84" fmla="*/ 1 w 10"/>
                <a:gd name="T85" fmla="*/ 5 h 13"/>
                <a:gd name="T86" fmla="*/ 0 w 10"/>
                <a:gd name="T87" fmla="*/ 5 h 13"/>
                <a:gd name="T88" fmla="*/ 0 w 10"/>
                <a:gd name="T89" fmla="*/ 5 h 13"/>
                <a:gd name="T90" fmla="*/ 0 w 10"/>
                <a:gd name="T91" fmla="*/ 5 h 13"/>
                <a:gd name="T92" fmla="*/ 0 w 10"/>
                <a:gd name="T93" fmla="*/ 4 h 13"/>
                <a:gd name="T94" fmla="*/ 1 w 10"/>
                <a:gd name="T95" fmla="*/ 4 h 13"/>
                <a:gd name="T96" fmla="*/ 1 w 10"/>
                <a:gd name="T97" fmla="*/ 3 h 13"/>
                <a:gd name="T98" fmla="*/ 0 w 10"/>
                <a:gd name="T99" fmla="*/ 0 h 13"/>
                <a:gd name="T100" fmla="*/ 0 w 10"/>
                <a:gd name="T101" fmla="*/ 0 h 13"/>
                <a:gd name="T102" fmla="*/ 0 w 10"/>
                <a:gd name="T103" fmla="*/ 0 h 13"/>
                <a:gd name="T104" fmla="*/ 1 w 10"/>
                <a:gd name="T105" fmla="*/ 0 h 13"/>
                <a:gd name="T106" fmla="*/ 4 w 10"/>
                <a:gd name="T10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13">
                  <a:moveTo>
                    <a:pt x="5" y="0"/>
                  </a:moveTo>
                  <a:lnTo>
                    <a:pt x="5" y="0"/>
                  </a:lnTo>
                  <a:lnTo>
                    <a:pt x="5" y="2"/>
                  </a:lnTo>
                  <a:lnTo>
                    <a:pt x="5" y="2"/>
                  </a:lnTo>
                  <a:lnTo>
                    <a:pt x="6" y="2"/>
                  </a:lnTo>
                  <a:lnTo>
                    <a:pt x="6" y="2"/>
                  </a:lnTo>
                  <a:lnTo>
                    <a:pt x="7" y="2"/>
                  </a:lnTo>
                  <a:lnTo>
                    <a:pt x="8" y="3"/>
                  </a:lnTo>
                  <a:lnTo>
                    <a:pt x="8" y="3"/>
                  </a:lnTo>
                  <a:lnTo>
                    <a:pt x="8" y="3"/>
                  </a:lnTo>
                  <a:lnTo>
                    <a:pt x="10" y="4"/>
                  </a:lnTo>
                  <a:lnTo>
                    <a:pt x="8" y="4"/>
                  </a:lnTo>
                  <a:lnTo>
                    <a:pt x="8" y="4"/>
                  </a:lnTo>
                  <a:lnTo>
                    <a:pt x="8" y="5"/>
                  </a:lnTo>
                  <a:lnTo>
                    <a:pt x="8" y="5"/>
                  </a:lnTo>
                  <a:lnTo>
                    <a:pt x="8" y="5"/>
                  </a:lnTo>
                  <a:lnTo>
                    <a:pt x="8" y="6"/>
                  </a:lnTo>
                  <a:lnTo>
                    <a:pt x="8" y="6"/>
                  </a:lnTo>
                  <a:lnTo>
                    <a:pt x="7" y="6"/>
                  </a:lnTo>
                  <a:lnTo>
                    <a:pt x="7" y="6"/>
                  </a:lnTo>
                  <a:lnTo>
                    <a:pt x="6" y="7"/>
                  </a:lnTo>
                  <a:lnTo>
                    <a:pt x="6" y="7"/>
                  </a:lnTo>
                  <a:lnTo>
                    <a:pt x="6" y="7"/>
                  </a:lnTo>
                  <a:lnTo>
                    <a:pt x="6" y="9"/>
                  </a:lnTo>
                  <a:lnTo>
                    <a:pt x="7" y="9"/>
                  </a:lnTo>
                  <a:lnTo>
                    <a:pt x="7" y="9"/>
                  </a:lnTo>
                  <a:lnTo>
                    <a:pt x="7" y="10"/>
                  </a:lnTo>
                  <a:lnTo>
                    <a:pt x="7" y="10"/>
                  </a:lnTo>
                  <a:lnTo>
                    <a:pt x="6" y="10"/>
                  </a:lnTo>
                  <a:lnTo>
                    <a:pt x="6" y="10"/>
                  </a:lnTo>
                  <a:lnTo>
                    <a:pt x="7" y="10"/>
                  </a:lnTo>
                  <a:lnTo>
                    <a:pt x="7" y="11"/>
                  </a:lnTo>
                  <a:lnTo>
                    <a:pt x="7" y="11"/>
                  </a:lnTo>
                  <a:lnTo>
                    <a:pt x="7" y="11"/>
                  </a:lnTo>
                  <a:lnTo>
                    <a:pt x="8" y="12"/>
                  </a:lnTo>
                  <a:lnTo>
                    <a:pt x="8" y="12"/>
                  </a:lnTo>
                  <a:lnTo>
                    <a:pt x="8" y="12"/>
                  </a:lnTo>
                  <a:lnTo>
                    <a:pt x="8" y="13"/>
                  </a:lnTo>
                  <a:lnTo>
                    <a:pt x="8" y="13"/>
                  </a:lnTo>
                  <a:lnTo>
                    <a:pt x="8" y="13"/>
                  </a:lnTo>
                  <a:lnTo>
                    <a:pt x="7" y="13"/>
                  </a:lnTo>
                  <a:lnTo>
                    <a:pt x="7" y="13"/>
                  </a:lnTo>
                  <a:lnTo>
                    <a:pt x="7" y="13"/>
                  </a:lnTo>
                  <a:lnTo>
                    <a:pt x="7" y="13"/>
                  </a:lnTo>
                  <a:lnTo>
                    <a:pt x="7" y="13"/>
                  </a:lnTo>
                  <a:lnTo>
                    <a:pt x="7" y="13"/>
                  </a:lnTo>
                  <a:lnTo>
                    <a:pt x="7" y="13"/>
                  </a:lnTo>
                  <a:lnTo>
                    <a:pt x="7" y="13"/>
                  </a:lnTo>
                  <a:lnTo>
                    <a:pt x="7" y="13"/>
                  </a:lnTo>
                  <a:lnTo>
                    <a:pt x="7" y="13"/>
                  </a:lnTo>
                  <a:lnTo>
                    <a:pt x="7" y="13"/>
                  </a:lnTo>
                  <a:lnTo>
                    <a:pt x="6" y="13"/>
                  </a:lnTo>
                  <a:lnTo>
                    <a:pt x="6" y="13"/>
                  </a:lnTo>
                  <a:lnTo>
                    <a:pt x="6" y="13"/>
                  </a:lnTo>
                  <a:lnTo>
                    <a:pt x="6" y="13"/>
                  </a:lnTo>
                  <a:lnTo>
                    <a:pt x="6" y="12"/>
                  </a:lnTo>
                  <a:lnTo>
                    <a:pt x="6" y="12"/>
                  </a:lnTo>
                  <a:lnTo>
                    <a:pt x="6" y="12"/>
                  </a:lnTo>
                  <a:lnTo>
                    <a:pt x="5" y="12"/>
                  </a:lnTo>
                  <a:lnTo>
                    <a:pt x="5" y="12"/>
                  </a:lnTo>
                  <a:lnTo>
                    <a:pt x="4" y="11"/>
                  </a:lnTo>
                  <a:lnTo>
                    <a:pt x="4" y="11"/>
                  </a:lnTo>
                  <a:lnTo>
                    <a:pt x="4" y="11"/>
                  </a:lnTo>
                  <a:lnTo>
                    <a:pt x="4" y="11"/>
                  </a:lnTo>
                  <a:lnTo>
                    <a:pt x="4" y="11"/>
                  </a:lnTo>
                  <a:lnTo>
                    <a:pt x="4" y="10"/>
                  </a:lnTo>
                  <a:lnTo>
                    <a:pt x="3" y="10"/>
                  </a:lnTo>
                  <a:lnTo>
                    <a:pt x="3" y="10"/>
                  </a:lnTo>
                  <a:lnTo>
                    <a:pt x="1" y="9"/>
                  </a:lnTo>
                  <a:lnTo>
                    <a:pt x="1" y="9"/>
                  </a:lnTo>
                  <a:lnTo>
                    <a:pt x="1" y="9"/>
                  </a:lnTo>
                  <a:lnTo>
                    <a:pt x="1" y="9"/>
                  </a:lnTo>
                  <a:lnTo>
                    <a:pt x="1" y="9"/>
                  </a:lnTo>
                  <a:lnTo>
                    <a:pt x="1" y="9"/>
                  </a:lnTo>
                  <a:lnTo>
                    <a:pt x="1" y="7"/>
                  </a:lnTo>
                  <a:lnTo>
                    <a:pt x="1" y="7"/>
                  </a:lnTo>
                  <a:lnTo>
                    <a:pt x="1" y="7"/>
                  </a:lnTo>
                  <a:lnTo>
                    <a:pt x="1" y="6"/>
                  </a:lnTo>
                  <a:lnTo>
                    <a:pt x="1" y="6"/>
                  </a:lnTo>
                  <a:lnTo>
                    <a:pt x="1" y="6"/>
                  </a:lnTo>
                  <a:lnTo>
                    <a:pt x="1" y="6"/>
                  </a:lnTo>
                  <a:lnTo>
                    <a:pt x="1" y="6"/>
                  </a:lnTo>
                  <a:lnTo>
                    <a:pt x="1" y="5"/>
                  </a:lnTo>
                  <a:lnTo>
                    <a:pt x="1" y="5"/>
                  </a:lnTo>
                  <a:lnTo>
                    <a:pt x="1" y="5"/>
                  </a:lnTo>
                  <a:lnTo>
                    <a:pt x="1" y="5"/>
                  </a:lnTo>
                  <a:lnTo>
                    <a:pt x="1" y="5"/>
                  </a:lnTo>
                  <a:lnTo>
                    <a:pt x="0" y="5"/>
                  </a:lnTo>
                  <a:lnTo>
                    <a:pt x="0" y="5"/>
                  </a:lnTo>
                  <a:lnTo>
                    <a:pt x="0" y="5"/>
                  </a:lnTo>
                  <a:lnTo>
                    <a:pt x="0" y="5"/>
                  </a:lnTo>
                  <a:lnTo>
                    <a:pt x="0" y="5"/>
                  </a:lnTo>
                  <a:lnTo>
                    <a:pt x="0" y="4"/>
                  </a:lnTo>
                  <a:lnTo>
                    <a:pt x="0" y="4"/>
                  </a:lnTo>
                  <a:lnTo>
                    <a:pt x="1" y="4"/>
                  </a:lnTo>
                  <a:lnTo>
                    <a:pt x="1" y="4"/>
                  </a:lnTo>
                  <a:lnTo>
                    <a:pt x="1" y="4"/>
                  </a:lnTo>
                  <a:lnTo>
                    <a:pt x="1" y="3"/>
                  </a:lnTo>
                  <a:lnTo>
                    <a:pt x="1" y="2"/>
                  </a:lnTo>
                  <a:lnTo>
                    <a:pt x="0" y="0"/>
                  </a:lnTo>
                  <a:lnTo>
                    <a:pt x="0" y="0"/>
                  </a:lnTo>
                  <a:lnTo>
                    <a:pt x="0" y="0"/>
                  </a:lnTo>
                  <a:lnTo>
                    <a:pt x="0" y="0"/>
                  </a:lnTo>
                  <a:lnTo>
                    <a:pt x="0" y="0"/>
                  </a:lnTo>
                  <a:lnTo>
                    <a:pt x="0" y="0"/>
                  </a:lnTo>
                  <a:lnTo>
                    <a:pt x="1" y="0"/>
                  </a:lnTo>
                  <a:lnTo>
                    <a:pt x="3" y="0"/>
                  </a:lnTo>
                  <a:lnTo>
                    <a:pt x="4" y="0"/>
                  </a:lnTo>
                  <a:lnTo>
                    <a:pt x="5"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05" name="Freeform 1563">
              <a:extLst>
                <a:ext uri="{FF2B5EF4-FFF2-40B4-BE49-F238E27FC236}">
                  <a16:creationId xmlns:a16="http://schemas.microsoft.com/office/drawing/2014/main" id="{49889411-90A2-44FD-9B32-2CBB296A7B12}"/>
                </a:ext>
              </a:extLst>
            </p:cNvPr>
            <p:cNvSpPr>
              <a:spLocks/>
            </p:cNvSpPr>
            <p:nvPr/>
          </p:nvSpPr>
          <p:spPr bwMode="auto">
            <a:xfrm>
              <a:off x="6118932" y="2400332"/>
              <a:ext cx="5342" cy="2671"/>
            </a:xfrm>
            <a:custGeom>
              <a:avLst/>
              <a:gdLst>
                <a:gd name="T0" fmla="*/ 1 w 4"/>
                <a:gd name="T1" fmla="*/ 0 h 2"/>
                <a:gd name="T2" fmla="*/ 3 w 4"/>
                <a:gd name="T3" fmla="*/ 1 h 2"/>
                <a:gd name="T4" fmla="*/ 3 w 4"/>
                <a:gd name="T5" fmla="*/ 1 h 2"/>
                <a:gd name="T6" fmla="*/ 4 w 4"/>
                <a:gd name="T7" fmla="*/ 1 h 2"/>
                <a:gd name="T8" fmla="*/ 4 w 4"/>
                <a:gd name="T9" fmla="*/ 1 h 2"/>
                <a:gd name="T10" fmla="*/ 4 w 4"/>
                <a:gd name="T11" fmla="*/ 1 h 2"/>
                <a:gd name="T12" fmla="*/ 3 w 4"/>
                <a:gd name="T13" fmla="*/ 1 h 2"/>
                <a:gd name="T14" fmla="*/ 3 w 4"/>
                <a:gd name="T15" fmla="*/ 1 h 2"/>
                <a:gd name="T16" fmla="*/ 3 w 4"/>
                <a:gd name="T17" fmla="*/ 2 h 2"/>
                <a:gd name="T18" fmla="*/ 3 w 4"/>
                <a:gd name="T19" fmla="*/ 2 h 2"/>
                <a:gd name="T20" fmla="*/ 1 w 4"/>
                <a:gd name="T21" fmla="*/ 2 h 2"/>
                <a:gd name="T22" fmla="*/ 1 w 4"/>
                <a:gd name="T23" fmla="*/ 2 h 2"/>
                <a:gd name="T24" fmla="*/ 1 w 4"/>
                <a:gd name="T25" fmla="*/ 2 h 2"/>
                <a:gd name="T26" fmla="*/ 1 w 4"/>
                <a:gd name="T27" fmla="*/ 2 h 2"/>
                <a:gd name="T28" fmla="*/ 1 w 4"/>
                <a:gd name="T29" fmla="*/ 2 h 2"/>
                <a:gd name="T30" fmla="*/ 1 w 4"/>
                <a:gd name="T31" fmla="*/ 2 h 2"/>
                <a:gd name="T32" fmla="*/ 1 w 4"/>
                <a:gd name="T33" fmla="*/ 2 h 2"/>
                <a:gd name="T34" fmla="*/ 1 w 4"/>
                <a:gd name="T35" fmla="*/ 1 h 2"/>
                <a:gd name="T36" fmla="*/ 0 w 4"/>
                <a:gd name="T37" fmla="*/ 1 h 2"/>
                <a:gd name="T38" fmla="*/ 0 w 4"/>
                <a:gd name="T39" fmla="*/ 1 h 2"/>
                <a:gd name="T40" fmla="*/ 1 w 4"/>
                <a:gd name="T41" fmla="*/ 0 h 2"/>
                <a:gd name="T42" fmla="*/ 1 w 4"/>
                <a:gd name="T43" fmla="*/ 0 h 2"/>
                <a:gd name="T44" fmla="*/ 1 w 4"/>
                <a:gd name="T45" fmla="*/ 0 h 2"/>
                <a:gd name="T46" fmla="*/ 1 w 4"/>
                <a:gd name="T47" fmla="*/ 0 h 2"/>
                <a:gd name="T48" fmla="*/ 1 w 4"/>
                <a:gd name="T49" fmla="*/ 1 h 2"/>
                <a:gd name="T50" fmla="*/ 1 w 4"/>
                <a:gd name="T51" fmla="*/ 1 h 2"/>
                <a:gd name="T52" fmla="*/ 1 w 4"/>
                <a:gd name="T53" fmla="*/ 1 h 2"/>
                <a:gd name="T54" fmla="*/ 1 w 4"/>
                <a:gd name="T55" fmla="*/ 1 h 2"/>
                <a:gd name="T56" fmla="*/ 1 w 4"/>
                <a:gd name="T57" fmla="*/ 1 h 2"/>
                <a:gd name="T58" fmla="*/ 1 w 4"/>
                <a:gd name="T59" fmla="*/ 0 h 2"/>
                <a:gd name="T60" fmla="*/ 1 w 4"/>
                <a:gd name="T6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 h="2">
                  <a:moveTo>
                    <a:pt x="1" y="0"/>
                  </a:moveTo>
                  <a:lnTo>
                    <a:pt x="3" y="1"/>
                  </a:lnTo>
                  <a:lnTo>
                    <a:pt x="3" y="1"/>
                  </a:lnTo>
                  <a:lnTo>
                    <a:pt x="4" y="1"/>
                  </a:lnTo>
                  <a:lnTo>
                    <a:pt x="4" y="1"/>
                  </a:lnTo>
                  <a:lnTo>
                    <a:pt x="4" y="1"/>
                  </a:lnTo>
                  <a:lnTo>
                    <a:pt x="3" y="1"/>
                  </a:lnTo>
                  <a:lnTo>
                    <a:pt x="3" y="1"/>
                  </a:lnTo>
                  <a:lnTo>
                    <a:pt x="3" y="2"/>
                  </a:lnTo>
                  <a:lnTo>
                    <a:pt x="3" y="2"/>
                  </a:lnTo>
                  <a:lnTo>
                    <a:pt x="1" y="2"/>
                  </a:lnTo>
                  <a:lnTo>
                    <a:pt x="1" y="2"/>
                  </a:lnTo>
                  <a:lnTo>
                    <a:pt x="1" y="2"/>
                  </a:lnTo>
                  <a:lnTo>
                    <a:pt x="1" y="2"/>
                  </a:lnTo>
                  <a:lnTo>
                    <a:pt x="1" y="2"/>
                  </a:lnTo>
                  <a:lnTo>
                    <a:pt x="1" y="2"/>
                  </a:lnTo>
                  <a:lnTo>
                    <a:pt x="1" y="2"/>
                  </a:lnTo>
                  <a:lnTo>
                    <a:pt x="1" y="1"/>
                  </a:lnTo>
                  <a:lnTo>
                    <a:pt x="0" y="1"/>
                  </a:lnTo>
                  <a:lnTo>
                    <a:pt x="0" y="1"/>
                  </a:lnTo>
                  <a:lnTo>
                    <a:pt x="1" y="0"/>
                  </a:lnTo>
                  <a:lnTo>
                    <a:pt x="1" y="0"/>
                  </a:lnTo>
                  <a:lnTo>
                    <a:pt x="1" y="0"/>
                  </a:lnTo>
                  <a:lnTo>
                    <a:pt x="1" y="0"/>
                  </a:lnTo>
                  <a:lnTo>
                    <a:pt x="1" y="1"/>
                  </a:lnTo>
                  <a:lnTo>
                    <a:pt x="1" y="1"/>
                  </a:lnTo>
                  <a:lnTo>
                    <a:pt x="1" y="1"/>
                  </a:lnTo>
                  <a:lnTo>
                    <a:pt x="1" y="1"/>
                  </a:lnTo>
                  <a:lnTo>
                    <a:pt x="1" y="1"/>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06" name="Freeform 1564">
              <a:extLst>
                <a:ext uri="{FF2B5EF4-FFF2-40B4-BE49-F238E27FC236}">
                  <a16:creationId xmlns:a16="http://schemas.microsoft.com/office/drawing/2014/main" id="{26643121-AB8C-406E-88D8-7975724496E2}"/>
                </a:ext>
              </a:extLst>
            </p:cNvPr>
            <p:cNvSpPr>
              <a:spLocks/>
            </p:cNvSpPr>
            <p:nvPr/>
          </p:nvSpPr>
          <p:spPr bwMode="auto">
            <a:xfrm>
              <a:off x="6118932" y="2400332"/>
              <a:ext cx="10684" cy="8013"/>
            </a:xfrm>
            <a:custGeom>
              <a:avLst/>
              <a:gdLst>
                <a:gd name="T0" fmla="*/ 8 w 8"/>
                <a:gd name="T1" fmla="*/ 0 h 6"/>
                <a:gd name="T2" fmla="*/ 8 w 8"/>
                <a:gd name="T3" fmla="*/ 0 h 6"/>
                <a:gd name="T4" fmla="*/ 8 w 8"/>
                <a:gd name="T5" fmla="*/ 1 h 6"/>
                <a:gd name="T6" fmla="*/ 8 w 8"/>
                <a:gd name="T7" fmla="*/ 1 h 6"/>
                <a:gd name="T8" fmla="*/ 8 w 8"/>
                <a:gd name="T9" fmla="*/ 2 h 6"/>
                <a:gd name="T10" fmla="*/ 8 w 8"/>
                <a:gd name="T11" fmla="*/ 4 h 6"/>
                <a:gd name="T12" fmla="*/ 7 w 8"/>
                <a:gd name="T13" fmla="*/ 4 h 6"/>
                <a:gd name="T14" fmla="*/ 7 w 8"/>
                <a:gd name="T15" fmla="*/ 5 h 6"/>
                <a:gd name="T16" fmla="*/ 7 w 8"/>
                <a:gd name="T17" fmla="*/ 5 h 6"/>
                <a:gd name="T18" fmla="*/ 6 w 8"/>
                <a:gd name="T19" fmla="*/ 5 h 6"/>
                <a:gd name="T20" fmla="*/ 6 w 8"/>
                <a:gd name="T21" fmla="*/ 6 h 6"/>
                <a:gd name="T22" fmla="*/ 6 w 8"/>
                <a:gd name="T23" fmla="*/ 6 h 6"/>
                <a:gd name="T24" fmla="*/ 6 w 8"/>
                <a:gd name="T25" fmla="*/ 5 h 6"/>
                <a:gd name="T26" fmla="*/ 5 w 8"/>
                <a:gd name="T27" fmla="*/ 5 h 6"/>
                <a:gd name="T28" fmla="*/ 5 w 8"/>
                <a:gd name="T29" fmla="*/ 5 h 6"/>
                <a:gd name="T30" fmla="*/ 5 w 8"/>
                <a:gd name="T31" fmla="*/ 5 h 6"/>
                <a:gd name="T32" fmla="*/ 5 w 8"/>
                <a:gd name="T33" fmla="*/ 5 h 6"/>
                <a:gd name="T34" fmla="*/ 4 w 8"/>
                <a:gd name="T35" fmla="*/ 5 h 6"/>
                <a:gd name="T36" fmla="*/ 4 w 8"/>
                <a:gd name="T37" fmla="*/ 5 h 6"/>
                <a:gd name="T38" fmla="*/ 3 w 8"/>
                <a:gd name="T39" fmla="*/ 6 h 6"/>
                <a:gd name="T40" fmla="*/ 3 w 8"/>
                <a:gd name="T41" fmla="*/ 6 h 6"/>
                <a:gd name="T42" fmla="*/ 1 w 8"/>
                <a:gd name="T43" fmla="*/ 5 h 6"/>
                <a:gd name="T44" fmla="*/ 0 w 8"/>
                <a:gd name="T45" fmla="*/ 5 h 6"/>
                <a:gd name="T46" fmla="*/ 0 w 8"/>
                <a:gd name="T47" fmla="*/ 4 h 6"/>
                <a:gd name="T48" fmla="*/ 1 w 8"/>
                <a:gd name="T49" fmla="*/ 4 h 6"/>
                <a:gd name="T50" fmla="*/ 1 w 8"/>
                <a:gd name="T51" fmla="*/ 2 h 6"/>
                <a:gd name="T52" fmla="*/ 1 w 8"/>
                <a:gd name="T53" fmla="*/ 2 h 6"/>
                <a:gd name="T54" fmla="*/ 3 w 8"/>
                <a:gd name="T55" fmla="*/ 2 h 6"/>
                <a:gd name="T56" fmla="*/ 3 w 8"/>
                <a:gd name="T57" fmla="*/ 1 h 6"/>
                <a:gd name="T58" fmla="*/ 4 w 8"/>
                <a:gd name="T59" fmla="*/ 1 h 6"/>
                <a:gd name="T60" fmla="*/ 4 w 8"/>
                <a:gd name="T61" fmla="*/ 1 h 6"/>
                <a:gd name="T62" fmla="*/ 5 w 8"/>
                <a:gd name="T63" fmla="*/ 0 h 6"/>
                <a:gd name="T64" fmla="*/ 5 w 8"/>
                <a:gd name="T65" fmla="*/ 0 h 6"/>
                <a:gd name="T66" fmla="*/ 6 w 8"/>
                <a:gd name="T67" fmla="*/ 0 h 6"/>
                <a:gd name="T68" fmla="*/ 6 w 8"/>
                <a:gd name="T69" fmla="*/ 0 h 6"/>
                <a:gd name="T70" fmla="*/ 6 w 8"/>
                <a:gd name="T71" fmla="*/ 0 h 6"/>
                <a:gd name="T72" fmla="*/ 7 w 8"/>
                <a:gd name="T73" fmla="*/ 0 h 6"/>
                <a:gd name="T74" fmla="*/ 7 w 8"/>
                <a:gd name="T75" fmla="*/ 0 h 6"/>
                <a:gd name="T76" fmla="*/ 7 w 8"/>
                <a:gd name="T77" fmla="*/ 0 h 6"/>
                <a:gd name="T78" fmla="*/ 8 w 8"/>
                <a:gd name="T79" fmla="*/ 0 h 6"/>
                <a:gd name="T80" fmla="*/ 8 w 8"/>
                <a:gd name="T81" fmla="*/ 0 h 6"/>
                <a:gd name="T82" fmla="*/ 8 w 8"/>
                <a:gd name="T8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6">
                  <a:moveTo>
                    <a:pt x="8" y="0"/>
                  </a:moveTo>
                  <a:lnTo>
                    <a:pt x="8" y="0"/>
                  </a:lnTo>
                  <a:lnTo>
                    <a:pt x="8" y="0"/>
                  </a:lnTo>
                  <a:lnTo>
                    <a:pt x="8" y="0"/>
                  </a:lnTo>
                  <a:lnTo>
                    <a:pt x="8" y="0"/>
                  </a:lnTo>
                  <a:lnTo>
                    <a:pt x="8" y="1"/>
                  </a:lnTo>
                  <a:lnTo>
                    <a:pt x="8" y="1"/>
                  </a:lnTo>
                  <a:lnTo>
                    <a:pt x="8" y="1"/>
                  </a:lnTo>
                  <a:lnTo>
                    <a:pt x="8" y="1"/>
                  </a:lnTo>
                  <a:lnTo>
                    <a:pt x="8" y="2"/>
                  </a:lnTo>
                  <a:lnTo>
                    <a:pt x="8" y="4"/>
                  </a:lnTo>
                  <a:lnTo>
                    <a:pt x="8" y="4"/>
                  </a:lnTo>
                  <a:lnTo>
                    <a:pt x="7" y="4"/>
                  </a:lnTo>
                  <a:lnTo>
                    <a:pt x="7" y="4"/>
                  </a:lnTo>
                  <a:lnTo>
                    <a:pt x="7" y="4"/>
                  </a:lnTo>
                  <a:lnTo>
                    <a:pt x="7" y="5"/>
                  </a:lnTo>
                  <a:lnTo>
                    <a:pt x="7" y="5"/>
                  </a:lnTo>
                  <a:lnTo>
                    <a:pt x="7" y="5"/>
                  </a:lnTo>
                  <a:lnTo>
                    <a:pt x="6" y="5"/>
                  </a:lnTo>
                  <a:lnTo>
                    <a:pt x="6" y="5"/>
                  </a:lnTo>
                  <a:lnTo>
                    <a:pt x="6" y="6"/>
                  </a:lnTo>
                  <a:lnTo>
                    <a:pt x="6" y="6"/>
                  </a:lnTo>
                  <a:lnTo>
                    <a:pt x="6" y="6"/>
                  </a:lnTo>
                  <a:lnTo>
                    <a:pt x="6" y="6"/>
                  </a:lnTo>
                  <a:lnTo>
                    <a:pt x="6" y="6"/>
                  </a:lnTo>
                  <a:lnTo>
                    <a:pt x="6" y="5"/>
                  </a:lnTo>
                  <a:lnTo>
                    <a:pt x="6" y="5"/>
                  </a:lnTo>
                  <a:lnTo>
                    <a:pt x="5" y="5"/>
                  </a:lnTo>
                  <a:lnTo>
                    <a:pt x="5" y="5"/>
                  </a:lnTo>
                  <a:lnTo>
                    <a:pt x="5" y="5"/>
                  </a:lnTo>
                  <a:lnTo>
                    <a:pt x="5" y="6"/>
                  </a:lnTo>
                  <a:lnTo>
                    <a:pt x="5" y="5"/>
                  </a:lnTo>
                  <a:lnTo>
                    <a:pt x="5" y="5"/>
                  </a:lnTo>
                  <a:lnTo>
                    <a:pt x="5" y="5"/>
                  </a:lnTo>
                  <a:lnTo>
                    <a:pt x="4" y="5"/>
                  </a:lnTo>
                  <a:lnTo>
                    <a:pt x="4" y="5"/>
                  </a:lnTo>
                  <a:lnTo>
                    <a:pt x="4" y="5"/>
                  </a:lnTo>
                  <a:lnTo>
                    <a:pt x="4" y="5"/>
                  </a:lnTo>
                  <a:lnTo>
                    <a:pt x="3" y="6"/>
                  </a:lnTo>
                  <a:lnTo>
                    <a:pt x="3" y="6"/>
                  </a:lnTo>
                  <a:lnTo>
                    <a:pt x="3" y="6"/>
                  </a:lnTo>
                  <a:lnTo>
                    <a:pt x="3" y="6"/>
                  </a:lnTo>
                  <a:lnTo>
                    <a:pt x="1" y="5"/>
                  </a:lnTo>
                  <a:lnTo>
                    <a:pt x="1" y="5"/>
                  </a:lnTo>
                  <a:lnTo>
                    <a:pt x="1" y="5"/>
                  </a:lnTo>
                  <a:lnTo>
                    <a:pt x="0" y="5"/>
                  </a:lnTo>
                  <a:lnTo>
                    <a:pt x="0" y="4"/>
                  </a:lnTo>
                  <a:lnTo>
                    <a:pt x="0" y="4"/>
                  </a:lnTo>
                  <a:lnTo>
                    <a:pt x="1" y="4"/>
                  </a:lnTo>
                  <a:lnTo>
                    <a:pt x="1" y="4"/>
                  </a:lnTo>
                  <a:lnTo>
                    <a:pt x="1" y="2"/>
                  </a:lnTo>
                  <a:lnTo>
                    <a:pt x="1" y="2"/>
                  </a:lnTo>
                  <a:lnTo>
                    <a:pt x="1" y="2"/>
                  </a:lnTo>
                  <a:lnTo>
                    <a:pt x="1" y="2"/>
                  </a:lnTo>
                  <a:lnTo>
                    <a:pt x="3" y="2"/>
                  </a:lnTo>
                  <a:lnTo>
                    <a:pt x="3" y="2"/>
                  </a:lnTo>
                  <a:lnTo>
                    <a:pt x="3" y="1"/>
                  </a:lnTo>
                  <a:lnTo>
                    <a:pt x="3" y="1"/>
                  </a:lnTo>
                  <a:lnTo>
                    <a:pt x="4" y="1"/>
                  </a:lnTo>
                  <a:lnTo>
                    <a:pt x="4" y="1"/>
                  </a:lnTo>
                  <a:lnTo>
                    <a:pt x="4" y="1"/>
                  </a:lnTo>
                  <a:lnTo>
                    <a:pt x="4" y="1"/>
                  </a:lnTo>
                  <a:lnTo>
                    <a:pt x="4" y="1"/>
                  </a:lnTo>
                  <a:lnTo>
                    <a:pt x="5" y="0"/>
                  </a:lnTo>
                  <a:lnTo>
                    <a:pt x="5" y="0"/>
                  </a:lnTo>
                  <a:lnTo>
                    <a:pt x="5" y="0"/>
                  </a:lnTo>
                  <a:lnTo>
                    <a:pt x="6" y="0"/>
                  </a:lnTo>
                  <a:lnTo>
                    <a:pt x="6" y="0"/>
                  </a:lnTo>
                  <a:lnTo>
                    <a:pt x="6" y="0"/>
                  </a:lnTo>
                  <a:lnTo>
                    <a:pt x="6" y="0"/>
                  </a:lnTo>
                  <a:lnTo>
                    <a:pt x="6" y="0"/>
                  </a:lnTo>
                  <a:lnTo>
                    <a:pt x="6" y="0"/>
                  </a:lnTo>
                  <a:lnTo>
                    <a:pt x="6" y="0"/>
                  </a:lnTo>
                  <a:lnTo>
                    <a:pt x="7" y="0"/>
                  </a:lnTo>
                  <a:lnTo>
                    <a:pt x="7" y="0"/>
                  </a:lnTo>
                  <a:lnTo>
                    <a:pt x="7" y="0"/>
                  </a:lnTo>
                  <a:lnTo>
                    <a:pt x="7" y="0"/>
                  </a:lnTo>
                  <a:lnTo>
                    <a:pt x="7" y="0"/>
                  </a:lnTo>
                  <a:lnTo>
                    <a:pt x="8" y="0"/>
                  </a:lnTo>
                  <a:lnTo>
                    <a:pt x="8" y="0"/>
                  </a:lnTo>
                  <a:lnTo>
                    <a:pt x="8" y="0"/>
                  </a:lnTo>
                  <a:lnTo>
                    <a:pt x="8" y="0"/>
                  </a:lnTo>
                  <a:lnTo>
                    <a:pt x="8" y="0"/>
                  </a:lnTo>
                  <a:lnTo>
                    <a:pt x="8" y="0"/>
                  </a:lnTo>
                  <a:lnTo>
                    <a:pt x="8"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07" name="Freeform 1565">
              <a:extLst>
                <a:ext uri="{FF2B5EF4-FFF2-40B4-BE49-F238E27FC236}">
                  <a16:creationId xmlns:a16="http://schemas.microsoft.com/office/drawing/2014/main" id="{96EF3627-2655-4E60-837C-C5EA50F39CFD}"/>
                </a:ext>
              </a:extLst>
            </p:cNvPr>
            <p:cNvSpPr>
              <a:spLocks/>
            </p:cNvSpPr>
            <p:nvPr/>
          </p:nvSpPr>
          <p:spPr bwMode="auto">
            <a:xfrm>
              <a:off x="6120267" y="2407009"/>
              <a:ext cx="16026" cy="13355"/>
            </a:xfrm>
            <a:custGeom>
              <a:avLst/>
              <a:gdLst>
                <a:gd name="T0" fmla="*/ 5 w 12"/>
                <a:gd name="T1" fmla="*/ 1 h 10"/>
                <a:gd name="T2" fmla="*/ 5 w 12"/>
                <a:gd name="T3" fmla="*/ 1 h 10"/>
                <a:gd name="T4" fmla="*/ 5 w 12"/>
                <a:gd name="T5" fmla="*/ 2 h 10"/>
                <a:gd name="T6" fmla="*/ 5 w 12"/>
                <a:gd name="T7" fmla="*/ 3 h 10"/>
                <a:gd name="T8" fmla="*/ 5 w 12"/>
                <a:gd name="T9" fmla="*/ 3 h 10"/>
                <a:gd name="T10" fmla="*/ 5 w 12"/>
                <a:gd name="T11" fmla="*/ 4 h 10"/>
                <a:gd name="T12" fmla="*/ 5 w 12"/>
                <a:gd name="T13" fmla="*/ 4 h 10"/>
                <a:gd name="T14" fmla="*/ 6 w 12"/>
                <a:gd name="T15" fmla="*/ 4 h 10"/>
                <a:gd name="T16" fmla="*/ 6 w 12"/>
                <a:gd name="T17" fmla="*/ 6 h 10"/>
                <a:gd name="T18" fmla="*/ 7 w 12"/>
                <a:gd name="T19" fmla="*/ 4 h 10"/>
                <a:gd name="T20" fmla="*/ 7 w 12"/>
                <a:gd name="T21" fmla="*/ 6 h 10"/>
                <a:gd name="T22" fmla="*/ 9 w 12"/>
                <a:gd name="T23" fmla="*/ 6 h 10"/>
                <a:gd name="T24" fmla="*/ 9 w 12"/>
                <a:gd name="T25" fmla="*/ 7 h 10"/>
                <a:gd name="T26" fmla="*/ 10 w 12"/>
                <a:gd name="T27" fmla="*/ 7 h 10"/>
                <a:gd name="T28" fmla="*/ 10 w 12"/>
                <a:gd name="T29" fmla="*/ 7 h 10"/>
                <a:gd name="T30" fmla="*/ 10 w 12"/>
                <a:gd name="T31" fmla="*/ 7 h 10"/>
                <a:gd name="T32" fmla="*/ 10 w 12"/>
                <a:gd name="T33" fmla="*/ 7 h 10"/>
                <a:gd name="T34" fmla="*/ 10 w 12"/>
                <a:gd name="T35" fmla="*/ 8 h 10"/>
                <a:gd name="T36" fmla="*/ 11 w 12"/>
                <a:gd name="T37" fmla="*/ 8 h 10"/>
                <a:gd name="T38" fmla="*/ 11 w 12"/>
                <a:gd name="T39" fmla="*/ 8 h 10"/>
                <a:gd name="T40" fmla="*/ 11 w 12"/>
                <a:gd name="T41" fmla="*/ 8 h 10"/>
                <a:gd name="T42" fmla="*/ 11 w 12"/>
                <a:gd name="T43" fmla="*/ 8 h 10"/>
                <a:gd name="T44" fmla="*/ 12 w 12"/>
                <a:gd name="T45" fmla="*/ 8 h 10"/>
                <a:gd name="T46" fmla="*/ 12 w 12"/>
                <a:gd name="T47" fmla="*/ 9 h 10"/>
                <a:gd name="T48" fmla="*/ 11 w 12"/>
                <a:gd name="T49" fmla="*/ 9 h 10"/>
                <a:gd name="T50" fmla="*/ 11 w 12"/>
                <a:gd name="T51" fmla="*/ 9 h 10"/>
                <a:gd name="T52" fmla="*/ 9 w 12"/>
                <a:gd name="T53" fmla="*/ 9 h 10"/>
                <a:gd name="T54" fmla="*/ 9 w 12"/>
                <a:gd name="T55" fmla="*/ 10 h 10"/>
                <a:gd name="T56" fmla="*/ 9 w 12"/>
                <a:gd name="T57" fmla="*/ 9 h 10"/>
                <a:gd name="T58" fmla="*/ 7 w 12"/>
                <a:gd name="T59" fmla="*/ 9 h 10"/>
                <a:gd name="T60" fmla="*/ 7 w 12"/>
                <a:gd name="T61" fmla="*/ 9 h 10"/>
                <a:gd name="T62" fmla="*/ 7 w 12"/>
                <a:gd name="T63" fmla="*/ 9 h 10"/>
                <a:gd name="T64" fmla="*/ 7 w 12"/>
                <a:gd name="T65" fmla="*/ 10 h 10"/>
                <a:gd name="T66" fmla="*/ 7 w 12"/>
                <a:gd name="T67" fmla="*/ 10 h 10"/>
                <a:gd name="T68" fmla="*/ 7 w 12"/>
                <a:gd name="T69" fmla="*/ 10 h 10"/>
                <a:gd name="T70" fmla="*/ 5 w 12"/>
                <a:gd name="T71" fmla="*/ 9 h 10"/>
                <a:gd name="T72" fmla="*/ 3 w 12"/>
                <a:gd name="T73" fmla="*/ 8 h 10"/>
                <a:gd name="T74" fmla="*/ 0 w 12"/>
                <a:gd name="T75" fmla="*/ 8 h 10"/>
                <a:gd name="T76" fmla="*/ 0 w 12"/>
                <a:gd name="T77" fmla="*/ 7 h 10"/>
                <a:gd name="T78" fmla="*/ 0 w 12"/>
                <a:gd name="T79" fmla="*/ 7 h 10"/>
                <a:gd name="T80" fmla="*/ 2 w 12"/>
                <a:gd name="T81" fmla="*/ 6 h 10"/>
                <a:gd name="T82" fmla="*/ 0 w 12"/>
                <a:gd name="T83" fmla="*/ 4 h 10"/>
                <a:gd name="T84" fmla="*/ 0 w 12"/>
                <a:gd name="T85" fmla="*/ 4 h 10"/>
                <a:gd name="T86" fmla="*/ 0 w 12"/>
                <a:gd name="T87" fmla="*/ 3 h 10"/>
                <a:gd name="T88" fmla="*/ 2 w 12"/>
                <a:gd name="T89" fmla="*/ 3 h 10"/>
                <a:gd name="T90" fmla="*/ 2 w 12"/>
                <a:gd name="T91" fmla="*/ 2 h 10"/>
                <a:gd name="T92" fmla="*/ 3 w 12"/>
                <a:gd name="T93" fmla="*/ 2 h 10"/>
                <a:gd name="T94" fmla="*/ 3 w 12"/>
                <a:gd name="T95" fmla="*/ 2 h 10"/>
                <a:gd name="T96" fmla="*/ 4 w 12"/>
                <a:gd name="T97" fmla="*/ 2 h 10"/>
                <a:gd name="T98" fmla="*/ 4 w 12"/>
                <a:gd name="T99" fmla="*/ 1 h 10"/>
                <a:gd name="T100" fmla="*/ 4 w 12"/>
                <a:gd name="T101" fmla="*/ 0 h 10"/>
                <a:gd name="T102" fmla="*/ 5 w 12"/>
                <a:gd name="T103" fmla="*/ 0 h 10"/>
                <a:gd name="T104" fmla="*/ 5 w 12"/>
                <a:gd name="T105"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 h="10">
                  <a:moveTo>
                    <a:pt x="5" y="1"/>
                  </a:moveTo>
                  <a:lnTo>
                    <a:pt x="5" y="1"/>
                  </a:lnTo>
                  <a:lnTo>
                    <a:pt x="5" y="1"/>
                  </a:lnTo>
                  <a:lnTo>
                    <a:pt x="5" y="1"/>
                  </a:lnTo>
                  <a:lnTo>
                    <a:pt x="5" y="1"/>
                  </a:lnTo>
                  <a:lnTo>
                    <a:pt x="5" y="2"/>
                  </a:lnTo>
                  <a:lnTo>
                    <a:pt x="5" y="2"/>
                  </a:lnTo>
                  <a:lnTo>
                    <a:pt x="5" y="3"/>
                  </a:lnTo>
                  <a:lnTo>
                    <a:pt x="5" y="3"/>
                  </a:lnTo>
                  <a:lnTo>
                    <a:pt x="5" y="3"/>
                  </a:lnTo>
                  <a:lnTo>
                    <a:pt x="5" y="3"/>
                  </a:lnTo>
                  <a:lnTo>
                    <a:pt x="5" y="4"/>
                  </a:lnTo>
                  <a:lnTo>
                    <a:pt x="5" y="4"/>
                  </a:lnTo>
                  <a:lnTo>
                    <a:pt x="5" y="4"/>
                  </a:lnTo>
                  <a:lnTo>
                    <a:pt x="6" y="4"/>
                  </a:lnTo>
                  <a:lnTo>
                    <a:pt x="6" y="4"/>
                  </a:lnTo>
                  <a:lnTo>
                    <a:pt x="6" y="6"/>
                  </a:lnTo>
                  <a:lnTo>
                    <a:pt x="6" y="6"/>
                  </a:lnTo>
                  <a:lnTo>
                    <a:pt x="7" y="6"/>
                  </a:lnTo>
                  <a:lnTo>
                    <a:pt x="7" y="4"/>
                  </a:lnTo>
                  <a:lnTo>
                    <a:pt x="7" y="4"/>
                  </a:lnTo>
                  <a:lnTo>
                    <a:pt x="7" y="6"/>
                  </a:lnTo>
                  <a:lnTo>
                    <a:pt x="7" y="6"/>
                  </a:lnTo>
                  <a:lnTo>
                    <a:pt x="9" y="6"/>
                  </a:lnTo>
                  <a:lnTo>
                    <a:pt x="9" y="6"/>
                  </a:lnTo>
                  <a:lnTo>
                    <a:pt x="9" y="7"/>
                  </a:lnTo>
                  <a:lnTo>
                    <a:pt x="9" y="7"/>
                  </a:lnTo>
                  <a:lnTo>
                    <a:pt x="10" y="7"/>
                  </a:lnTo>
                  <a:lnTo>
                    <a:pt x="10" y="7"/>
                  </a:lnTo>
                  <a:lnTo>
                    <a:pt x="10" y="7"/>
                  </a:lnTo>
                  <a:lnTo>
                    <a:pt x="10" y="7"/>
                  </a:lnTo>
                  <a:lnTo>
                    <a:pt x="10" y="7"/>
                  </a:lnTo>
                  <a:lnTo>
                    <a:pt x="10" y="7"/>
                  </a:lnTo>
                  <a:lnTo>
                    <a:pt x="10" y="7"/>
                  </a:lnTo>
                  <a:lnTo>
                    <a:pt x="10" y="7"/>
                  </a:lnTo>
                  <a:lnTo>
                    <a:pt x="10" y="8"/>
                  </a:lnTo>
                  <a:lnTo>
                    <a:pt x="10" y="8"/>
                  </a:lnTo>
                  <a:lnTo>
                    <a:pt x="11" y="8"/>
                  </a:lnTo>
                  <a:lnTo>
                    <a:pt x="11" y="8"/>
                  </a:lnTo>
                  <a:lnTo>
                    <a:pt x="11" y="8"/>
                  </a:lnTo>
                  <a:lnTo>
                    <a:pt x="11" y="8"/>
                  </a:lnTo>
                  <a:lnTo>
                    <a:pt x="11" y="8"/>
                  </a:lnTo>
                  <a:lnTo>
                    <a:pt x="11" y="8"/>
                  </a:lnTo>
                  <a:lnTo>
                    <a:pt x="11" y="8"/>
                  </a:lnTo>
                  <a:lnTo>
                    <a:pt x="11" y="8"/>
                  </a:lnTo>
                  <a:lnTo>
                    <a:pt x="12" y="8"/>
                  </a:lnTo>
                  <a:lnTo>
                    <a:pt x="12" y="9"/>
                  </a:lnTo>
                  <a:lnTo>
                    <a:pt x="12" y="9"/>
                  </a:lnTo>
                  <a:lnTo>
                    <a:pt x="12" y="9"/>
                  </a:lnTo>
                  <a:lnTo>
                    <a:pt x="11" y="9"/>
                  </a:lnTo>
                  <a:lnTo>
                    <a:pt x="11" y="9"/>
                  </a:lnTo>
                  <a:lnTo>
                    <a:pt x="11" y="9"/>
                  </a:lnTo>
                  <a:lnTo>
                    <a:pt x="10" y="9"/>
                  </a:lnTo>
                  <a:lnTo>
                    <a:pt x="9" y="9"/>
                  </a:lnTo>
                  <a:lnTo>
                    <a:pt x="9" y="10"/>
                  </a:lnTo>
                  <a:lnTo>
                    <a:pt x="9" y="10"/>
                  </a:lnTo>
                  <a:lnTo>
                    <a:pt x="9" y="9"/>
                  </a:lnTo>
                  <a:lnTo>
                    <a:pt x="9" y="9"/>
                  </a:lnTo>
                  <a:lnTo>
                    <a:pt x="7" y="9"/>
                  </a:lnTo>
                  <a:lnTo>
                    <a:pt x="7" y="9"/>
                  </a:lnTo>
                  <a:lnTo>
                    <a:pt x="7" y="9"/>
                  </a:lnTo>
                  <a:lnTo>
                    <a:pt x="7" y="9"/>
                  </a:lnTo>
                  <a:lnTo>
                    <a:pt x="7" y="9"/>
                  </a:lnTo>
                  <a:lnTo>
                    <a:pt x="7" y="9"/>
                  </a:lnTo>
                  <a:lnTo>
                    <a:pt x="7" y="9"/>
                  </a:lnTo>
                  <a:lnTo>
                    <a:pt x="7" y="10"/>
                  </a:lnTo>
                  <a:lnTo>
                    <a:pt x="7" y="10"/>
                  </a:lnTo>
                  <a:lnTo>
                    <a:pt x="7" y="10"/>
                  </a:lnTo>
                  <a:lnTo>
                    <a:pt x="7" y="10"/>
                  </a:lnTo>
                  <a:lnTo>
                    <a:pt x="7" y="10"/>
                  </a:lnTo>
                  <a:lnTo>
                    <a:pt x="6" y="10"/>
                  </a:lnTo>
                  <a:lnTo>
                    <a:pt x="5" y="9"/>
                  </a:lnTo>
                  <a:lnTo>
                    <a:pt x="4" y="9"/>
                  </a:lnTo>
                  <a:lnTo>
                    <a:pt x="3" y="8"/>
                  </a:lnTo>
                  <a:lnTo>
                    <a:pt x="2" y="8"/>
                  </a:lnTo>
                  <a:lnTo>
                    <a:pt x="0" y="8"/>
                  </a:lnTo>
                  <a:lnTo>
                    <a:pt x="0" y="7"/>
                  </a:lnTo>
                  <a:lnTo>
                    <a:pt x="0" y="7"/>
                  </a:lnTo>
                  <a:lnTo>
                    <a:pt x="0" y="7"/>
                  </a:lnTo>
                  <a:lnTo>
                    <a:pt x="0" y="7"/>
                  </a:lnTo>
                  <a:lnTo>
                    <a:pt x="2" y="7"/>
                  </a:lnTo>
                  <a:lnTo>
                    <a:pt x="2" y="6"/>
                  </a:lnTo>
                  <a:lnTo>
                    <a:pt x="0" y="6"/>
                  </a:lnTo>
                  <a:lnTo>
                    <a:pt x="0" y="4"/>
                  </a:lnTo>
                  <a:lnTo>
                    <a:pt x="0" y="4"/>
                  </a:lnTo>
                  <a:lnTo>
                    <a:pt x="0" y="4"/>
                  </a:lnTo>
                  <a:lnTo>
                    <a:pt x="0" y="3"/>
                  </a:lnTo>
                  <a:lnTo>
                    <a:pt x="0" y="3"/>
                  </a:lnTo>
                  <a:lnTo>
                    <a:pt x="2" y="3"/>
                  </a:lnTo>
                  <a:lnTo>
                    <a:pt x="2" y="3"/>
                  </a:lnTo>
                  <a:lnTo>
                    <a:pt x="2" y="3"/>
                  </a:lnTo>
                  <a:lnTo>
                    <a:pt x="2" y="2"/>
                  </a:lnTo>
                  <a:lnTo>
                    <a:pt x="3" y="2"/>
                  </a:lnTo>
                  <a:lnTo>
                    <a:pt x="3" y="2"/>
                  </a:lnTo>
                  <a:lnTo>
                    <a:pt x="3" y="2"/>
                  </a:lnTo>
                  <a:lnTo>
                    <a:pt x="3" y="2"/>
                  </a:lnTo>
                  <a:lnTo>
                    <a:pt x="4" y="2"/>
                  </a:lnTo>
                  <a:lnTo>
                    <a:pt x="4" y="2"/>
                  </a:lnTo>
                  <a:lnTo>
                    <a:pt x="4" y="1"/>
                  </a:lnTo>
                  <a:lnTo>
                    <a:pt x="4" y="1"/>
                  </a:lnTo>
                  <a:lnTo>
                    <a:pt x="4" y="0"/>
                  </a:lnTo>
                  <a:lnTo>
                    <a:pt x="4" y="0"/>
                  </a:lnTo>
                  <a:lnTo>
                    <a:pt x="4" y="0"/>
                  </a:lnTo>
                  <a:lnTo>
                    <a:pt x="5" y="0"/>
                  </a:lnTo>
                  <a:lnTo>
                    <a:pt x="5" y="0"/>
                  </a:lnTo>
                  <a:lnTo>
                    <a:pt x="5" y="1"/>
                  </a:lnTo>
                  <a:lnTo>
                    <a:pt x="5"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08" name="Freeform 1566">
              <a:extLst>
                <a:ext uri="{FF2B5EF4-FFF2-40B4-BE49-F238E27FC236}">
                  <a16:creationId xmlns:a16="http://schemas.microsoft.com/office/drawing/2014/main" id="{9E196E4A-F56D-4BA7-B412-EB5247AB9F5E}"/>
                </a:ext>
              </a:extLst>
            </p:cNvPr>
            <p:cNvSpPr>
              <a:spLocks noEditPoints="1"/>
            </p:cNvSpPr>
            <p:nvPr/>
          </p:nvSpPr>
          <p:spPr bwMode="auto">
            <a:xfrm>
              <a:off x="6114925" y="2417693"/>
              <a:ext cx="14691" cy="10684"/>
            </a:xfrm>
            <a:custGeom>
              <a:avLst/>
              <a:gdLst>
                <a:gd name="T0" fmla="*/ 1 w 11"/>
                <a:gd name="T1" fmla="*/ 8 h 8"/>
                <a:gd name="T2" fmla="*/ 1 w 11"/>
                <a:gd name="T3" fmla="*/ 7 h 8"/>
                <a:gd name="T4" fmla="*/ 1 w 11"/>
                <a:gd name="T5" fmla="*/ 6 h 8"/>
                <a:gd name="T6" fmla="*/ 2 w 11"/>
                <a:gd name="T7" fmla="*/ 6 h 8"/>
                <a:gd name="T8" fmla="*/ 2 w 11"/>
                <a:gd name="T9" fmla="*/ 7 h 8"/>
                <a:gd name="T10" fmla="*/ 3 w 11"/>
                <a:gd name="T11" fmla="*/ 7 h 8"/>
                <a:gd name="T12" fmla="*/ 2 w 11"/>
                <a:gd name="T13" fmla="*/ 7 h 8"/>
                <a:gd name="T14" fmla="*/ 11 w 11"/>
                <a:gd name="T15" fmla="*/ 3 h 8"/>
                <a:gd name="T16" fmla="*/ 11 w 11"/>
                <a:gd name="T17" fmla="*/ 5 h 8"/>
                <a:gd name="T18" fmla="*/ 10 w 11"/>
                <a:gd name="T19" fmla="*/ 5 h 8"/>
                <a:gd name="T20" fmla="*/ 9 w 11"/>
                <a:gd name="T21" fmla="*/ 5 h 8"/>
                <a:gd name="T22" fmla="*/ 8 w 11"/>
                <a:gd name="T23" fmla="*/ 6 h 8"/>
                <a:gd name="T24" fmla="*/ 7 w 11"/>
                <a:gd name="T25" fmla="*/ 5 h 8"/>
                <a:gd name="T26" fmla="*/ 6 w 11"/>
                <a:gd name="T27" fmla="*/ 5 h 8"/>
                <a:gd name="T28" fmla="*/ 4 w 11"/>
                <a:gd name="T29" fmla="*/ 6 h 8"/>
                <a:gd name="T30" fmla="*/ 4 w 11"/>
                <a:gd name="T31" fmla="*/ 6 h 8"/>
                <a:gd name="T32" fmla="*/ 3 w 11"/>
                <a:gd name="T33" fmla="*/ 6 h 8"/>
                <a:gd name="T34" fmla="*/ 3 w 11"/>
                <a:gd name="T35" fmla="*/ 6 h 8"/>
                <a:gd name="T36" fmla="*/ 2 w 11"/>
                <a:gd name="T37" fmla="*/ 6 h 8"/>
                <a:gd name="T38" fmla="*/ 1 w 11"/>
                <a:gd name="T39" fmla="*/ 6 h 8"/>
                <a:gd name="T40" fmla="*/ 1 w 11"/>
                <a:gd name="T41" fmla="*/ 5 h 8"/>
                <a:gd name="T42" fmla="*/ 1 w 11"/>
                <a:gd name="T43" fmla="*/ 5 h 8"/>
                <a:gd name="T44" fmla="*/ 0 w 11"/>
                <a:gd name="T45" fmla="*/ 3 h 8"/>
                <a:gd name="T46" fmla="*/ 1 w 11"/>
                <a:gd name="T47" fmla="*/ 3 h 8"/>
                <a:gd name="T48" fmla="*/ 2 w 11"/>
                <a:gd name="T49" fmla="*/ 3 h 8"/>
                <a:gd name="T50" fmla="*/ 2 w 11"/>
                <a:gd name="T51" fmla="*/ 3 h 8"/>
                <a:gd name="T52" fmla="*/ 2 w 11"/>
                <a:gd name="T53" fmla="*/ 2 h 8"/>
                <a:gd name="T54" fmla="*/ 2 w 11"/>
                <a:gd name="T55" fmla="*/ 1 h 8"/>
                <a:gd name="T56" fmla="*/ 2 w 11"/>
                <a:gd name="T57" fmla="*/ 1 h 8"/>
                <a:gd name="T58" fmla="*/ 2 w 11"/>
                <a:gd name="T59" fmla="*/ 0 h 8"/>
                <a:gd name="T60" fmla="*/ 3 w 11"/>
                <a:gd name="T61" fmla="*/ 0 h 8"/>
                <a:gd name="T62" fmla="*/ 3 w 11"/>
                <a:gd name="T63" fmla="*/ 0 h 8"/>
                <a:gd name="T64" fmla="*/ 4 w 11"/>
                <a:gd name="T65" fmla="*/ 0 h 8"/>
                <a:gd name="T66" fmla="*/ 7 w 11"/>
                <a:gd name="T67" fmla="*/ 0 h 8"/>
                <a:gd name="T68" fmla="*/ 9 w 11"/>
                <a:gd name="T69" fmla="*/ 1 h 8"/>
                <a:gd name="T70" fmla="*/ 11 w 11"/>
                <a:gd name="T71" fmla="*/ 2 h 8"/>
                <a:gd name="T72" fmla="*/ 11 w 11"/>
                <a:gd name="T7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 h="8">
                  <a:moveTo>
                    <a:pt x="2" y="7"/>
                  </a:moveTo>
                  <a:lnTo>
                    <a:pt x="1" y="8"/>
                  </a:lnTo>
                  <a:lnTo>
                    <a:pt x="1" y="8"/>
                  </a:lnTo>
                  <a:lnTo>
                    <a:pt x="1" y="7"/>
                  </a:lnTo>
                  <a:lnTo>
                    <a:pt x="1" y="7"/>
                  </a:lnTo>
                  <a:lnTo>
                    <a:pt x="1" y="6"/>
                  </a:lnTo>
                  <a:lnTo>
                    <a:pt x="1" y="6"/>
                  </a:lnTo>
                  <a:lnTo>
                    <a:pt x="2" y="6"/>
                  </a:lnTo>
                  <a:lnTo>
                    <a:pt x="2" y="6"/>
                  </a:lnTo>
                  <a:lnTo>
                    <a:pt x="2" y="7"/>
                  </a:lnTo>
                  <a:lnTo>
                    <a:pt x="3" y="7"/>
                  </a:lnTo>
                  <a:lnTo>
                    <a:pt x="3" y="7"/>
                  </a:lnTo>
                  <a:lnTo>
                    <a:pt x="3" y="7"/>
                  </a:lnTo>
                  <a:lnTo>
                    <a:pt x="2" y="7"/>
                  </a:lnTo>
                  <a:lnTo>
                    <a:pt x="2" y="7"/>
                  </a:lnTo>
                  <a:close/>
                  <a:moveTo>
                    <a:pt x="11" y="3"/>
                  </a:moveTo>
                  <a:lnTo>
                    <a:pt x="11" y="5"/>
                  </a:lnTo>
                  <a:lnTo>
                    <a:pt x="11" y="5"/>
                  </a:lnTo>
                  <a:lnTo>
                    <a:pt x="11" y="5"/>
                  </a:lnTo>
                  <a:lnTo>
                    <a:pt x="10" y="5"/>
                  </a:lnTo>
                  <a:lnTo>
                    <a:pt x="10" y="5"/>
                  </a:lnTo>
                  <a:lnTo>
                    <a:pt x="9" y="5"/>
                  </a:lnTo>
                  <a:lnTo>
                    <a:pt x="8" y="5"/>
                  </a:lnTo>
                  <a:lnTo>
                    <a:pt x="8" y="6"/>
                  </a:lnTo>
                  <a:lnTo>
                    <a:pt x="8" y="5"/>
                  </a:lnTo>
                  <a:lnTo>
                    <a:pt x="7" y="5"/>
                  </a:lnTo>
                  <a:lnTo>
                    <a:pt x="6" y="5"/>
                  </a:lnTo>
                  <a:lnTo>
                    <a:pt x="6" y="5"/>
                  </a:lnTo>
                  <a:lnTo>
                    <a:pt x="4" y="6"/>
                  </a:lnTo>
                  <a:lnTo>
                    <a:pt x="4" y="6"/>
                  </a:lnTo>
                  <a:lnTo>
                    <a:pt x="4" y="6"/>
                  </a:lnTo>
                  <a:lnTo>
                    <a:pt x="4" y="6"/>
                  </a:lnTo>
                  <a:lnTo>
                    <a:pt x="4" y="6"/>
                  </a:lnTo>
                  <a:lnTo>
                    <a:pt x="3" y="6"/>
                  </a:lnTo>
                  <a:lnTo>
                    <a:pt x="3" y="6"/>
                  </a:lnTo>
                  <a:lnTo>
                    <a:pt x="3" y="6"/>
                  </a:lnTo>
                  <a:lnTo>
                    <a:pt x="3" y="6"/>
                  </a:lnTo>
                  <a:lnTo>
                    <a:pt x="2" y="6"/>
                  </a:lnTo>
                  <a:lnTo>
                    <a:pt x="2" y="6"/>
                  </a:lnTo>
                  <a:lnTo>
                    <a:pt x="1" y="6"/>
                  </a:lnTo>
                  <a:lnTo>
                    <a:pt x="1" y="6"/>
                  </a:lnTo>
                  <a:lnTo>
                    <a:pt x="1" y="5"/>
                  </a:lnTo>
                  <a:lnTo>
                    <a:pt x="1" y="5"/>
                  </a:lnTo>
                  <a:lnTo>
                    <a:pt x="1" y="5"/>
                  </a:lnTo>
                  <a:lnTo>
                    <a:pt x="1" y="5"/>
                  </a:lnTo>
                  <a:lnTo>
                    <a:pt x="0" y="3"/>
                  </a:lnTo>
                  <a:lnTo>
                    <a:pt x="1" y="3"/>
                  </a:lnTo>
                  <a:lnTo>
                    <a:pt x="1" y="3"/>
                  </a:lnTo>
                  <a:lnTo>
                    <a:pt x="1" y="3"/>
                  </a:lnTo>
                  <a:lnTo>
                    <a:pt x="2" y="3"/>
                  </a:lnTo>
                  <a:lnTo>
                    <a:pt x="2" y="3"/>
                  </a:lnTo>
                  <a:lnTo>
                    <a:pt x="2" y="3"/>
                  </a:lnTo>
                  <a:lnTo>
                    <a:pt x="2" y="3"/>
                  </a:lnTo>
                  <a:lnTo>
                    <a:pt x="2" y="2"/>
                  </a:lnTo>
                  <a:lnTo>
                    <a:pt x="2" y="2"/>
                  </a:lnTo>
                  <a:lnTo>
                    <a:pt x="2" y="1"/>
                  </a:lnTo>
                  <a:lnTo>
                    <a:pt x="2" y="1"/>
                  </a:lnTo>
                  <a:lnTo>
                    <a:pt x="2" y="1"/>
                  </a:lnTo>
                  <a:lnTo>
                    <a:pt x="2" y="1"/>
                  </a:lnTo>
                  <a:lnTo>
                    <a:pt x="2" y="0"/>
                  </a:lnTo>
                  <a:lnTo>
                    <a:pt x="3" y="0"/>
                  </a:lnTo>
                  <a:lnTo>
                    <a:pt x="3" y="0"/>
                  </a:lnTo>
                  <a:lnTo>
                    <a:pt x="3" y="0"/>
                  </a:lnTo>
                  <a:lnTo>
                    <a:pt x="3" y="0"/>
                  </a:lnTo>
                  <a:lnTo>
                    <a:pt x="4" y="0"/>
                  </a:lnTo>
                  <a:lnTo>
                    <a:pt x="4" y="0"/>
                  </a:lnTo>
                  <a:lnTo>
                    <a:pt x="6" y="0"/>
                  </a:lnTo>
                  <a:lnTo>
                    <a:pt x="7" y="0"/>
                  </a:lnTo>
                  <a:lnTo>
                    <a:pt x="8" y="1"/>
                  </a:lnTo>
                  <a:lnTo>
                    <a:pt x="9" y="1"/>
                  </a:lnTo>
                  <a:lnTo>
                    <a:pt x="10" y="2"/>
                  </a:lnTo>
                  <a:lnTo>
                    <a:pt x="11" y="2"/>
                  </a:lnTo>
                  <a:lnTo>
                    <a:pt x="11" y="2"/>
                  </a:lnTo>
                  <a:lnTo>
                    <a:pt x="11" y="3"/>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09" name="Freeform 1567">
              <a:extLst>
                <a:ext uri="{FF2B5EF4-FFF2-40B4-BE49-F238E27FC236}">
                  <a16:creationId xmlns:a16="http://schemas.microsoft.com/office/drawing/2014/main" id="{64DFFF6B-4895-4D7A-A51B-41FC6020892F}"/>
                </a:ext>
              </a:extLst>
            </p:cNvPr>
            <p:cNvSpPr>
              <a:spLocks/>
            </p:cNvSpPr>
            <p:nvPr/>
          </p:nvSpPr>
          <p:spPr bwMode="auto">
            <a:xfrm>
              <a:off x="6118932" y="2400332"/>
              <a:ext cx="5342" cy="2671"/>
            </a:xfrm>
            <a:custGeom>
              <a:avLst/>
              <a:gdLst>
                <a:gd name="T0" fmla="*/ 1 w 4"/>
                <a:gd name="T1" fmla="*/ 0 h 2"/>
                <a:gd name="T2" fmla="*/ 3 w 4"/>
                <a:gd name="T3" fmla="*/ 1 h 2"/>
                <a:gd name="T4" fmla="*/ 3 w 4"/>
                <a:gd name="T5" fmla="*/ 1 h 2"/>
                <a:gd name="T6" fmla="*/ 4 w 4"/>
                <a:gd name="T7" fmla="*/ 1 h 2"/>
                <a:gd name="T8" fmla="*/ 4 w 4"/>
                <a:gd name="T9" fmla="*/ 1 h 2"/>
                <a:gd name="T10" fmla="*/ 4 w 4"/>
                <a:gd name="T11" fmla="*/ 1 h 2"/>
                <a:gd name="T12" fmla="*/ 3 w 4"/>
                <a:gd name="T13" fmla="*/ 1 h 2"/>
                <a:gd name="T14" fmla="*/ 3 w 4"/>
                <a:gd name="T15" fmla="*/ 1 h 2"/>
                <a:gd name="T16" fmla="*/ 3 w 4"/>
                <a:gd name="T17" fmla="*/ 2 h 2"/>
                <a:gd name="T18" fmla="*/ 3 w 4"/>
                <a:gd name="T19" fmla="*/ 2 h 2"/>
                <a:gd name="T20" fmla="*/ 1 w 4"/>
                <a:gd name="T21" fmla="*/ 2 h 2"/>
                <a:gd name="T22" fmla="*/ 1 w 4"/>
                <a:gd name="T23" fmla="*/ 2 h 2"/>
                <a:gd name="T24" fmla="*/ 1 w 4"/>
                <a:gd name="T25" fmla="*/ 2 h 2"/>
                <a:gd name="T26" fmla="*/ 1 w 4"/>
                <a:gd name="T27" fmla="*/ 2 h 2"/>
                <a:gd name="T28" fmla="*/ 1 w 4"/>
                <a:gd name="T29" fmla="*/ 2 h 2"/>
                <a:gd name="T30" fmla="*/ 1 w 4"/>
                <a:gd name="T31" fmla="*/ 2 h 2"/>
                <a:gd name="T32" fmla="*/ 1 w 4"/>
                <a:gd name="T33" fmla="*/ 2 h 2"/>
                <a:gd name="T34" fmla="*/ 1 w 4"/>
                <a:gd name="T35" fmla="*/ 1 h 2"/>
                <a:gd name="T36" fmla="*/ 0 w 4"/>
                <a:gd name="T37" fmla="*/ 1 h 2"/>
                <a:gd name="T38" fmla="*/ 0 w 4"/>
                <a:gd name="T39" fmla="*/ 1 h 2"/>
                <a:gd name="T40" fmla="*/ 1 w 4"/>
                <a:gd name="T41" fmla="*/ 0 h 2"/>
                <a:gd name="T42" fmla="*/ 1 w 4"/>
                <a:gd name="T43" fmla="*/ 0 h 2"/>
                <a:gd name="T44" fmla="*/ 1 w 4"/>
                <a:gd name="T45" fmla="*/ 0 h 2"/>
                <a:gd name="T46" fmla="*/ 1 w 4"/>
                <a:gd name="T47" fmla="*/ 0 h 2"/>
                <a:gd name="T48" fmla="*/ 1 w 4"/>
                <a:gd name="T49" fmla="*/ 1 h 2"/>
                <a:gd name="T50" fmla="*/ 1 w 4"/>
                <a:gd name="T51" fmla="*/ 1 h 2"/>
                <a:gd name="T52" fmla="*/ 1 w 4"/>
                <a:gd name="T53" fmla="*/ 1 h 2"/>
                <a:gd name="T54" fmla="*/ 1 w 4"/>
                <a:gd name="T55" fmla="*/ 1 h 2"/>
                <a:gd name="T56" fmla="*/ 1 w 4"/>
                <a:gd name="T57" fmla="*/ 1 h 2"/>
                <a:gd name="T58" fmla="*/ 1 w 4"/>
                <a:gd name="T59" fmla="*/ 0 h 2"/>
                <a:gd name="T60" fmla="*/ 1 w 4"/>
                <a:gd name="T6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 h="2">
                  <a:moveTo>
                    <a:pt x="1" y="0"/>
                  </a:moveTo>
                  <a:lnTo>
                    <a:pt x="3" y="1"/>
                  </a:lnTo>
                  <a:lnTo>
                    <a:pt x="3" y="1"/>
                  </a:lnTo>
                  <a:lnTo>
                    <a:pt x="4" y="1"/>
                  </a:lnTo>
                  <a:lnTo>
                    <a:pt x="4" y="1"/>
                  </a:lnTo>
                  <a:lnTo>
                    <a:pt x="4" y="1"/>
                  </a:lnTo>
                  <a:lnTo>
                    <a:pt x="3" y="1"/>
                  </a:lnTo>
                  <a:lnTo>
                    <a:pt x="3" y="1"/>
                  </a:lnTo>
                  <a:lnTo>
                    <a:pt x="3" y="2"/>
                  </a:lnTo>
                  <a:lnTo>
                    <a:pt x="3" y="2"/>
                  </a:lnTo>
                  <a:lnTo>
                    <a:pt x="1" y="2"/>
                  </a:lnTo>
                  <a:lnTo>
                    <a:pt x="1" y="2"/>
                  </a:lnTo>
                  <a:lnTo>
                    <a:pt x="1" y="2"/>
                  </a:lnTo>
                  <a:lnTo>
                    <a:pt x="1" y="2"/>
                  </a:lnTo>
                  <a:lnTo>
                    <a:pt x="1" y="2"/>
                  </a:lnTo>
                  <a:lnTo>
                    <a:pt x="1" y="2"/>
                  </a:lnTo>
                  <a:lnTo>
                    <a:pt x="1" y="2"/>
                  </a:lnTo>
                  <a:lnTo>
                    <a:pt x="1" y="1"/>
                  </a:lnTo>
                  <a:lnTo>
                    <a:pt x="0" y="1"/>
                  </a:lnTo>
                  <a:lnTo>
                    <a:pt x="0" y="1"/>
                  </a:lnTo>
                  <a:lnTo>
                    <a:pt x="1" y="0"/>
                  </a:lnTo>
                  <a:lnTo>
                    <a:pt x="1" y="0"/>
                  </a:lnTo>
                  <a:lnTo>
                    <a:pt x="1" y="0"/>
                  </a:lnTo>
                  <a:lnTo>
                    <a:pt x="1" y="0"/>
                  </a:lnTo>
                  <a:lnTo>
                    <a:pt x="1" y="1"/>
                  </a:lnTo>
                  <a:lnTo>
                    <a:pt x="1" y="1"/>
                  </a:lnTo>
                  <a:lnTo>
                    <a:pt x="1" y="1"/>
                  </a:lnTo>
                  <a:lnTo>
                    <a:pt x="1" y="1"/>
                  </a:lnTo>
                  <a:lnTo>
                    <a:pt x="1" y="1"/>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10" name="Freeform 1568">
              <a:extLst>
                <a:ext uri="{FF2B5EF4-FFF2-40B4-BE49-F238E27FC236}">
                  <a16:creationId xmlns:a16="http://schemas.microsoft.com/office/drawing/2014/main" id="{F70626C8-E8BE-4E2F-BF01-E857E73A8C6C}"/>
                </a:ext>
              </a:extLst>
            </p:cNvPr>
            <p:cNvSpPr>
              <a:spLocks/>
            </p:cNvSpPr>
            <p:nvPr/>
          </p:nvSpPr>
          <p:spPr bwMode="auto">
            <a:xfrm>
              <a:off x="6118932" y="2400332"/>
              <a:ext cx="10684" cy="8013"/>
            </a:xfrm>
            <a:custGeom>
              <a:avLst/>
              <a:gdLst>
                <a:gd name="T0" fmla="*/ 8 w 8"/>
                <a:gd name="T1" fmla="*/ 0 h 6"/>
                <a:gd name="T2" fmla="*/ 8 w 8"/>
                <a:gd name="T3" fmla="*/ 0 h 6"/>
                <a:gd name="T4" fmla="*/ 8 w 8"/>
                <a:gd name="T5" fmla="*/ 1 h 6"/>
                <a:gd name="T6" fmla="*/ 8 w 8"/>
                <a:gd name="T7" fmla="*/ 1 h 6"/>
                <a:gd name="T8" fmla="*/ 8 w 8"/>
                <a:gd name="T9" fmla="*/ 2 h 6"/>
                <a:gd name="T10" fmla="*/ 8 w 8"/>
                <a:gd name="T11" fmla="*/ 4 h 6"/>
                <a:gd name="T12" fmla="*/ 7 w 8"/>
                <a:gd name="T13" fmla="*/ 4 h 6"/>
                <a:gd name="T14" fmla="*/ 7 w 8"/>
                <a:gd name="T15" fmla="*/ 5 h 6"/>
                <a:gd name="T16" fmla="*/ 7 w 8"/>
                <a:gd name="T17" fmla="*/ 5 h 6"/>
                <a:gd name="T18" fmla="*/ 6 w 8"/>
                <a:gd name="T19" fmla="*/ 5 h 6"/>
                <a:gd name="T20" fmla="*/ 6 w 8"/>
                <a:gd name="T21" fmla="*/ 6 h 6"/>
                <a:gd name="T22" fmla="*/ 6 w 8"/>
                <a:gd name="T23" fmla="*/ 6 h 6"/>
                <a:gd name="T24" fmla="*/ 6 w 8"/>
                <a:gd name="T25" fmla="*/ 5 h 6"/>
                <a:gd name="T26" fmla="*/ 5 w 8"/>
                <a:gd name="T27" fmla="*/ 5 h 6"/>
                <a:gd name="T28" fmla="*/ 5 w 8"/>
                <a:gd name="T29" fmla="*/ 5 h 6"/>
                <a:gd name="T30" fmla="*/ 5 w 8"/>
                <a:gd name="T31" fmla="*/ 5 h 6"/>
                <a:gd name="T32" fmla="*/ 5 w 8"/>
                <a:gd name="T33" fmla="*/ 5 h 6"/>
                <a:gd name="T34" fmla="*/ 4 w 8"/>
                <a:gd name="T35" fmla="*/ 5 h 6"/>
                <a:gd name="T36" fmla="*/ 4 w 8"/>
                <a:gd name="T37" fmla="*/ 5 h 6"/>
                <a:gd name="T38" fmla="*/ 3 w 8"/>
                <a:gd name="T39" fmla="*/ 6 h 6"/>
                <a:gd name="T40" fmla="*/ 3 w 8"/>
                <a:gd name="T41" fmla="*/ 6 h 6"/>
                <a:gd name="T42" fmla="*/ 1 w 8"/>
                <a:gd name="T43" fmla="*/ 5 h 6"/>
                <a:gd name="T44" fmla="*/ 0 w 8"/>
                <a:gd name="T45" fmla="*/ 5 h 6"/>
                <a:gd name="T46" fmla="*/ 0 w 8"/>
                <a:gd name="T47" fmla="*/ 4 h 6"/>
                <a:gd name="T48" fmla="*/ 1 w 8"/>
                <a:gd name="T49" fmla="*/ 4 h 6"/>
                <a:gd name="T50" fmla="*/ 1 w 8"/>
                <a:gd name="T51" fmla="*/ 2 h 6"/>
                <a:gd name="T52" fmla="*/ 1 w 8"/>
                <a:gd name="T53" fmla="*/ 2 h 6"/>
                <a:gd name="T54" fmla="*/ 3 w 8"/>
                <a:gd name="T55" fmla="*/ 2 h 6"/>
                <a:gd name="T56" fmla="*/ 3 w 8"/>
                <a:gd name="T57" fmla="*/ 1 h 6"/>
                <a:gd name="T58" fmla="*/ 4 w 8"/>
                <a:gd name="T59" fmla="*/ 1 h 6"/>
                <a:gd name="T60" fmla="*/ 4 w 8"/>
                <a:gd name="T61" fmla="*/ 1 h 6"/>
                <a:gd name="T62" fmla="*/ 5 w 8"/>
                <a:gd name="T63" fmla="*/ 0 h 6"/>
                <a:gd name="T64" fmla="*/ 5 w 8"/>
                <a:gd name="T65" fmla="*/ 0 h 6"/>
                <a:gd name="T66" fmla="*/ 6 w 8"/>
                <a:gd name="T67" fmla="*/ 0 h 6"/>
                <a:gd name="T68" fmla="*/ 6 w 8"/>
                <a:gd name="T69" fmla="*/ 0 h 6"/>
                <a:gd name="T70" fmla="*/ 6 w 8"/>
                <a:gd name="T71" fmla="*/ 0 h 6"/>
                <a:gd name="T72" fmla="*/ 7 w 8"/>
                <a:gd name="T73" fmla="*/ 0 h 6"/>
                <a:gd name="T74" fmla="*/ 7 w 8"/>
                <a:gd name="T75" fmla="*/ 0 h 6"/>
                <a:gd name="T76" fmla="*/ 7 w 8"/>
                <a:gd name="T77" fmla="*/ 0 h 6"/>
                <a:gd name="T78" fmla="*/ 8 w 8"/>
                <a:gd name="T79" fmla="*/ 0 h 6"/>
                <a:gd name="T80" fmla="*/ 8 w 8"/>
                <a:gd name="T81" fmla="*/ 0 h 6"/>
                <a:gd name="T82" fmla="*/ 8 w 8"/>
                <a:gd name="T8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6">
                  <a:moveTo>
                    <a:pt x="8" y="0"/>
                  </a:moveTo>
                  <a:lnTo>
                    <a:pt x="8" y="0"/>
                  </a:lnTo>
                  <a:lnTo>
                    <a:pt x="8" y="0"/>
                  </a:lnTo>
                  <a:lnTo>
                    <a:pt x="8" y="0"/>
                  </a:lnTo>
                  <a:lnTo>
                    <a:pt x="8" y="0"/>
                  </a:lnTo>
                  <a:lnTo>
                    <a:pt x="8" y="1"/>
                  </a:lnTo>
                  <a:lnTo>
                    <a:pt x="8" y="1"/>
                  </a:lnTo>
                  <a:lnTo>
                    <a:pt x="8" y="1"/>
                  </a:lnTo>
                  <a:lnTo>
                    <a:pt x="8" y="1"/>
                  </a:lnTo>
                  <a:lnTo>
                    <a:pt x="8" y="2"/>
                  </a:lnTo>
                  <a:lnTo>
                    <a:pt x="8" y="4"/>
                  </a:lnTo>
                  <a:lnTo>
                    <a:pt x="8" y="4"/>
                  </a:lnTo>
                  <a:lnTo>
                    <a:pt x="7" y="4"/>
                  </a:lnTo>
                  <a:lnTo>
                    <a:pt x="7" y="4"/>
                  </a:lnTo>
                  <a:lnTo>
                    <a:pt x="7" y="4"/>
                  </a:lnTo>
                  <a:lnTo>
                    <a:pt x="7" y="5"/>
                  </a:lnTo>
                  <a:lnTo>
                    <a:pt x="7" y="5"/>
                  </a:lnTo>
                  <a:lnTo>
                    <a:pt x="7" y="5"/>
                  </a:lnTo>
                  <a:lnTo>
                    <a:pt x="6" y="5"/>
                  </a:lnTo>
                  <a:lnTo>
                    <a:pt x="6" y="5"/>
                  </a:lnTo>
                  <a:lnTo>
                    <a:pt x="6" y="6"/>
                  </a:lnTo>
                  <a:lnTo>
                    <a:pt x="6" y="6"/>
                  </a:lnTo>
                  <a:lnTo>
                    <a:pt x="6" y="6"/>
                  </a:lnTo>
                  <a:lnTo>
                    <a:pt x="6" y="6"/>
                  </a:lnTo>
                  <a:lnTo>
                    <a:pt x="6" y="6"/>
                  </a:lnTo>
                  <a:lnTo>
                    <a:pt x="6" y="5"/>
                  </a:lnTo>
                  <a:lnTo>
                    <a:pt x="6" y="5"/>
                  </a:lnTo>
                  <a:lnTo>
                    <a:pt x="5" y="5"/>
                  </a:lnTo>
                  <a:lnTo>
                    <a:pt x="5" y="5"/>
                  </a:lnTo>
                  <a:lnTo>
                    <a:pt x="5" y="5"/>
                  </a:lnTo>
                  <a:lnTo>
                    <a:pt x="5" y="6"/>
                  </a:lnTo>
                  <a:lnTo>
                    <a:pt x="5" y="5"/>
                  </a:lnTo>
                  <a:lnTo>
                    <a:pt x="5" y="5"/>
                  </a:lnTo>
                  <a:lnTo>
                    <a:pt x="5" y="5"/>
                  </a:lnTo>
                  <a:lnTo>
                    <a:pt x="4" y="5"/>
                  </a:lnTo>
                  <a:lnTo>
                    <a:pt x="4" y="5"/>
                  </a:lnTo>
                  <a:lnTo>
                    <a:pt x="4" y="5"/>
                  </a:lnTo>
                  <a:lnTo>
                    <a:pt x="4" y="5"/>
                  </a:lnTo>
                  <a:lnTo>
                    <a:pt x="3" y="6"/>
                  </a:lnTo>
                  <a:lnTo>
                    <a:pt x="3" y="6"/>
                  </a:lnTo>
                  <a:lnTo>
                    <a:pt x="3" y="6"/>
                  </a:lnTo>
                  <a:lnTo>
                    <a:pt x="3" y="6"/>
                  </a:lnTo>
                  <a:lnTo>
                    <a:pt x="1" y="5"/>
                  </a:lnTo>
                  <a:lnTo>
                    <a:pt x="1" y="5"/>
                  </a:lnTo>
                  <a:lnTo>
                    <a:pt x="1" y="5"/>
                  </a:lnTo>
                  <a:lnTo>
                    <a:pt x="0" y="5"/>
                  </a:lnTo>
                  <a:lnTo>
                    <a:pt x="0" y="4"/>
                  </a:lnTo>
                  <a:lnTo>
                    <a:pt x="0" y="4"/>
                  </a:lnTo>
                  <a:lnTo>
                    <a:pt x="1" y="4"/>
                  </a:lnTo>
                  <a:lnTo>
                    <a:pt x="1" y="4"/>
                  </a:lnTo>
                  <a:lnTo>
                    <a:pt x="1" y="2"/>
                  </a:lnTo>
                  <a:lnTo>
                    <a:pt x="1" y="2"/>
                  </a:lnTo>
                  <a:lnTo>
                    <a:pt x="1" y="2"/>
                  </a:lnTo>
                  <a:lnTo>
                    <a:pt x="1" y="2"/>
                  </a:lnTo>
                  <a:lnTo>
                    <a:pt x="3" y="2"/>
                  </a:lnTo>
                  <a:lnTo>
                    <a:pt x="3" y="2"/>
                  </a:lnTo>
                  <a:lnTo>
                    <a:pt x="3" y="1"/>
                  </a:lnTo>
                  <a:lnTo>
                    <a:pt x="3" y="1"/>
                  </a:lnTo>
                  <a:lnTo>
                    <a:pt x="4" y="1"/>
                  </a:lnTo>
                  <a:lnTo>
                    <a:pt x="4" y="1"/>
                  </a:lnTo>
                  <a:lnTo>
                    <a:pt x="4" y="1"/>
                  </a:lnTo>
                  <a:lnTo>
                    <a:pt x="4" y="1"/>
                  </a:lnTo>
                  <a:lnTo>
                    <a:pt x="4" y="1"/>
                  </a:lnTo>
                  <a:lnTo>
                    <a:pt x="5" y="0"/>
                  </a:lnTo>
                  <a:lnTo>
                    <a:pt x="5" y="0"/>
                  </a:lnTo>
                  <a:lnTo>
                    <a:pt x="5" y="0"/>
                  </a:lnTo>
                  <a:lnTo>
                    <a:pt x="6" y="0"/>
                  </a:lnTo>
                  <a:lnTo>
                    <a:pt x="6" y="0"/>
                  </a:lnTo>
                  <a:lnTo>
                    <a:pt x="6" y="0"/>
                  </a:lnTo>
                  <a:lnTo>
                    <a:pt x="6" y="0"/>
                  </a:lnTo>
                  <a:lnTo>
                    <a:pt x="6" y="0"/>
                  </a:lnTo>
                  <a:lnTo>
                    <a:pt x="6" y="0"/>
                  </a:lnTo>
                  <a:lnTo>
                    <a:pt x="6" y="0"/>
                  </a:lnTo>
                  <a:lnTo>
                    <a:pt x="7" y="0"/>
                  </a:lnTo>
                  <a:lnTo>
                    <a:pt x="7" y="0"/>
                  </a:lnTo>
                  <a:lnTo>
                    <a:pt x="7" y="0"/>
                  </a:lnTo>
                  <a:lnTo>
                    <a:pt x="7" y="0"/>
                  </a:lnTo>
                  <a:lnTo>
                    <a:pt x="7" y="0"/>
                  </a:lnTo>
                  <a:lnTo>
                    <a:pt x="8" y="0"/>
                  </a:lnTo>
                  <a:lnTo>
                    <a:pt x="8" y="0"/>
                  </a:lnTo>
                  <a:lnTo>
                    <a:pt x="8" y="0"/>
                  </a:lnTo>
                  <a:lnTo>
                    <a:pt x="8" y="0"/>
                  </a:lnTo>
                  <a:lnTo>
                    <a:pt x="8" y="0"/>
                  </a:lnTo>
                  <a:lnTo>
                    <a:pt x="8" y="0"/>
                  </a:lnTo>
                  <a:lnTo>
                    <a:pt x="8"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11" name="Freeform 1569">
              <a:extLst>
                <a:ext uri="{FF2B5EF4-FFF2-40B4-BE49-F238E27FC236}">
                  <a16:creationId xmlns:a16="http://schemas.microsoft.com/office/drawing/2014/main" id="{A2ABB7E1-6120-42F7-9498-7B5B01B9E2BD}"/>
                </a:ext>
              </a:extLst>
            </p:cNvPr>
            <p:cNvSpPr>
              <a:spLocks/>
            </p:cNvSpPr>
            <p:nvPr/>
          </p:nvSpPr>
          <p:spPr bwMode="auto">
            <a:xfrm>
              <a:off x="6120267" y="2407009"/>
              <a:ext cx="16026" cy="13355"/>
            </a:xfrm>
            <a:custGeom>
              <a:avLst/>
              <a:gdLst>
                <a:gd name="T0" fmla="*/ 5 w 12"/>
                <a:gd name="T1" fmla="*/ 1 h 10"/>
                <a:gd name="T2" fmla="*/ 5 w 12"/>
                <a:gd name="T3" fmla="*/ 1 h 10"/>
                <a:gd name="T4" fmla="*/ 5 w 12"/>
                <a:gd name="T5" fmla="*/ 2 h 10"/>
                <a:gd name="T6" fmla="*/ 5 w 12"/>
                <a:gd name="T7" fmla="*/ 3 h 10"/>
                <a:gd name="T8" fmla="*/ 5 w 12"/>
                <a:gd name="T9" fmla="*/ 3 h 10"/>
                <a:gd name="T10" fmla="*/ 5 w 12"/>
                <a:gd name="T11" fmla="*/ 4 h 10"/>
                <a:gd name="T12" fmla="*/ 5 w 12"/>
                <a:gd name="T13" fmla="*/ 4 h 10"/>
                <a:gd name="T14" fmla="*/ 6 w 12"/>
                <a:gd name="T15" fmla="*/ 4 h 10"/>
                <a:gd name="T16" fmla="*/ 6 w 12"/>
                <a:gd name="T17" fmla="*/ 6 h 10"/>
                <a:gd name="T18" fmla="*/ 7 w 12"/>
                <a:gd name="T19" fmla="*/ 4 h 10"/>
                <a:gd name="T20" fmla="*/ 7 w 12"/>
                <a:gd name="T21" fmla="*/ 6 h 10"/>
                <a:gd name="T22" fmla="*/ 9 w 12"/>
                <a:gd name="T23" fmla="*/ 6 h 10"/>
                <a:gd name="T24" fmla="*/ 9 w 12"/>
                <a:gd name="T25" fmla="*/ 7 h 10"/>
                <a:gd name="T26" fmla="*/ 10 w 12"/>
                <a:gd name="T27" fmla="*/ 7 h 10"/>
                <a:gd name="T28" fmla="*/ 10 w 12"/>
                <a:gd name="T29" fmla="*/ 7 h 10"/>
                <a:gd name="T30" fmla="*/ 10 w 12"/>
                <a:gd name="T31" fmla="*/ 7 h 10"/>
                <a:gd name="T32" fmla="*/ 10 w 12"/>
                <a:gd name="T33" fmla="*/ 7 h 10"/>
                <a:gd name="T34" fmla="*/ 10 w 12"/>
                <a:gd name="T35" fmla="*/ 8 h 10"/>
                <a:gd name="T36" fmla="*/ 11 w 12"/>
                <a:gd name="T37" fmla="*/ 8 h 10"/>
                <a:gd name="T38" fmla="*/ 11 w 12"/>
                <a:gd name="T39" fmla="*/ 8 h 10"/>
                <a:gd name="T40" fmla="*/ 11 w 12"/>
                <a:gd name="T41" fmla="*/ 8 h 10"/>
                <a:gd name="T42" fmla="*/ 11 w 12"/>
                <a:gd name="T43" fmla="*/ 8 h 10"/>
                <a:gd name="T44" fmla="*/ 12 w 12"/>
                <a:gd name="T45" fmla="*/ 8 h 10"/>
                <a:gd name="T46" fmla="*/ 12 w 12"/>
                <a:gd name="T47" fmla="*/ 9 h 10"/>
                <a:gd name="T48" fmla="*/ 11 w 12"/>
                <a:gd name="T49" fmla="*/ 9 h 10"/>
                <a:gd name="T50" fmla="*/ 11 w 12"/>
                <a:gd name="T51" fmla="*/ 9 h 10"/>
                <a:gd name="T52" fmla="*/ 9 w 12"/>
                <a:gd name="T53" fmla="*/ 9 h 10"/>
                <a:gd name="T54" fmla="*/ 9 w 12"/>
                <a:gd name="T55" fmla="*/ 10 h 10"/>
                <a:gd name="T56" fmla="*/ 9 w 12"/>
                <a:gd name="T57" fmla="*/ 9 h 10"/>
                <a:gd name="T58" fmla="*/ 7 w 12"/>
                <a:gd name="T59" fmla="*/ 9 h 10"/>
                <a:gd name="T60" fmla="*/ 7 w 12"/>
                <a:gd name="T61" fmla="*/ 9 h 10"/>
                <a:gd name="T62" fmla="*/ 7 w 12"/>
                <a:gd name="T63" fmla="*/ 9 h 10"/>
                <a:gd name="T64" fmla="*/ 7 w 12"/>
                <a:gd name="T65" fmla="*/ 10 h 10"/>
                <a:gd name="T66" fmla="*/ 7 w 12"/>
                <a:gd name="T67" fmla="*/ 10 h 10"/>
                <a:gd name="T68" fmla="*/ 7 w 12"/>
                <a:gd name="T69" fmla="*/ 10 h 10"/>
                <a:gd name="T70" fmla="*/ 5 w 12"/>
                <a:gd name="T71" fmla="*/ 9 h 10"/>
                <a:gd name="T72" fmla="*/ 3 w 12"/>
                <a:gd name="T73" fmla="*/ 8 h 10"/>
                <a:gd name="T74" fmla="*/ 0 w 12"/>
                <a:gd name="T75" fmla="*/ 8 h 10"/>
                <a:gd name="T76" fmla="*/ 0 w 12"/>
                <a:gd name="T77" fmla="*/ 7 h 10"/>
                <a:gd name="T78" fmla="*/ 0 w 12"/>
                <a:gd name="T79" fmla="*/ 7 h 10"/>
                <a:gd name="T80" fmla="*/ 2 w 12"/>
                <a:gd name="T81" fmla="*/ 6 h 10"/>
                <a:gd name="T82" fmla="*/ 0 w 12"/>
                <a:gd name="T83" fmla="*/ 4 h 10"/>
                <a:gd name="T84" fmla="*/ 0 w 12"/>
                <a:gd name="T85" fmla="*/ 4 h 10"/>
                <a:gd name="T86" fmla="*/ 0 w 12"/>
                <a:gd name="T87" fmla="*/ 3 h 10"/>
                <a:gd name="T88" fmla="*/ 2 w 12"/>
                <a:gd name="T89" fmla="*/ 3 h 10"/>
                <a:gd name="T90" fmla="*/ 2 w 12"/>
                <a:gd name="T91" fmla="*/ 2 h 10"/>
                <a:gd name="T92" fmla="*/ 3 w 12"/>
                <a:gd name="T93" fmla="*/ 2 h 10"/>
                <a:gd name="T94" fmla="*/ 3 w 12"/>
                <a:gd name="T95" fmla="*/ 2 h 10"/>
                <a:gd name="T96" fmla="*/ 4 w 12"/>
                <a:gd name="T97" fmla="*/ 2 h 10"/>
                <a:gd name="T98" fmla="*/ 4 w 12"/>
                <a:gd name="T99" fmla="*/ 1 h 10"/>
                <a:gd name="T100" fmla="*/ 4 w 12"/>
                <a:gd name="T101" fmla="*/ 0 h 10"/>
                <a:gd name="T102" fmla="*/ 5 w 12"/>
                <a:gd name="T103" fmla="*/ 0 h 10"/>
                <a:gd name="T104" fmla="*/ 5 w 12"/>
                <a:gd name="T105"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 h="10">
                  <a:moveTo>
                    <a:pt x="5" y="1"/>
                  </a:moveTo>
                  <a:lnTo>
                    <a:pt x="5" y="1"/>
                  </a:lnTo>
                  <a:lnTo>
                    <a:pt x="5" y="1"/>
                  </a:lnTo>
                  <a:lnTo>
                    <a:pt x="5" y="1"/>
                  </a:lnTo>
                  <a:lnTo>
                    <a:pt x="5" y="1"/>
                  </a:lnTo>
                  <a:lnTo>
                    <a:pt x="5" y="2"/>
                  </a:lnTo>
                  <a:lnTo>
                    <a:pt x="5" y="2"/>
                  </a:lnTo>
                  <a:lnTo>
                    <a:pt x="5" y="3"/>
                  </a:lnTo>
                  <a:lnTo>
                    <a:pt x="5" y="3"/>
                  </a:lnTo>
                  <a:lnTo>
                    <a:pt x="5" y="3"/>
                  </a:lnTo>
                  <a:lnTo>
                    <a:pt x="5" y="3"/>
                  </a:lnTo>
                  <a:lnTo>
                    <a:pt x="5" y="4"/>
                  </a:lnTo>
                  <a:lnTo>
                    <a:pt x="5" y="4"/>
                  </a:lnTo>
                  <a:lnTo>
                    <a:pt x="5" y="4"/>
                  </a:lnTo>
                  <a:lnTo>
                    <a:pt x="6" y="4"/>
                  </a:lnTo>
                  <a:lnTo>
                    <a:pt x="6" y="4"/>
                  </a:lnTo>
                  <a:lnTo>
                    <a:pt x="6" y="6"/>
                  </a:lnTo>
                  <a:lnTo>
                    <a:pt x="6" y="6"/>
                  </a:lnTo>
                  <a:lnTo>
                    <a:pt x="7" y="6"/>
                  </a:lnTo>
                  <a:lnTo>
                    <a:pt x="7" y="4"/>
                  </a:lnTo>
                  <a:lnTo>
                    <a:pt x="7" y="4"/>
                  </a:lnTo>
                  <a:lnTo>
                    <a:pt x="7" y="6"/>
                  </a:lnTo>
                  <a:lnTo>
                    <a:pt x="7" y="6"/>
                  </a:lnTo>
                  <a:lnTo>
                    <a:pt x="9" y="6"/>
                  </a:lnTo>
                  <a:lnTo>
                    <a:pt x="9" y="6"/>
                  </a:lnTo>
                  <a:lnTo>
                    <a:pt x="9" y="7"/>
                  </a:lnTo>
                  <a:lnTo>
                    <a:pt x="9" y="7"/>
                  </a:lnTo>
                  <a:lnTo>
                    <a:pt x="10" y="7"/>
                  </a:lnTo>
                  <a:lnTo>
                    <a:pt x="10" y="7"/>
                  </a:lnTo>
                  <a:lnTo>
                    <a:pt x="10" y="7"/>
                  </a:lnTo>
                  <a:lnTo>
                    <a:pt x="10" y="7"/>
                  </a:lnTo>
                  <a:lnTo>
                    <a:pt x="10" y="7"/>
                  </a:lnTo>
                  <a:lnTo>
                    <a:pt x="10" y="7"/>
                  </a:lnTo>
                  <a:lnTo>
                    <a:pt x="10" y="7"/>
                  </a:lnTo>
                  <a:lnTo>
                    <a:pt x="10" y="7"/>
                  </a:lnTo>
                  <a:lnTo>
                    <a:pt x="10" y="8"/>
                  </a:lnTo>
                  <a:lnTo>
                    <a:pt x="10" y="8"/>
                  </a:lnTo>
                  <a:lnTo>
                    <a:pt x="11" y="8"/>
                  </a:lnTo>
                  <a:lnTo>
                    <a:pt x="11" y="8"/>
                  </a:lnTo>
                  <a:lnTo>
                    <a:pt x="11" y="8"/>
                  </a:lnTo>
                  <a:lnTo>
                    <a:pt x="11" y="8"/>
                  </a:lnTo>
                  <a:lnTo>
                    <a:pt x="11" y="8"/>
                  </a:lnTo>
                  <a:lnTo>
                    <a:pt x="11" y="8"/>
                  </a:lnTo>
                  <a:lnTo>
                    <a:pt x="11" y="8"/>
                  </a:lnTo>
                  <a:lnTo>
                    <a:pt x="11" y="8"/>
                  </a:lnTo>
                  <a:lnTo>
                    <a:pt x="12" y="8"/>
                  </a:lnTo>
                  <a:lnTo>
                    <a:pt x="12" y="9"/>
                  </a:lnTo>
                  <a:lnTo>
                    <a:pt x="12" y="9"/>
                  </a:lnTo>
                  <a:lnTo>
                    <a:pt x="12" y="9"/>
                  </a:lnTo>
                  <a:lnTo>
                    <a:pt x="11" y="9"/>
                  </a:lnTo>
                  <a:lnTo>
                    <a:pt x="11" y="9"/>
                  </a:lnTo>
                  <a:lnTo>
                    <a:pt x="11" y="9"/>
                  </a:lnTo>
                  <a:lnTo>
                    <a:pt x="10" y="9"/>
                  </a:lnTo>
                  <a:lnTo>
                    <a:pt x="9" y="9"/>
                  </a:lnTo>
                  <a:lnTo>
                    <a:pt x="9" y="10"/>
                  </a:lnTo>
                  <a:lnTo>
                    <a:pt x="9" y="10"/>
                  </a:lnTo>
                  <a:lnTo>
                    <a:pt x="9" y="9"/>
                  </a:lnTo>
                  <a:lnTo>
                    <a:pt x="9" y="9"/>
                  </a:lnTo>
                  <a:lnTo>
                    <a:pt x="7" y="9"/>
                  </a:lnTo>
                  <a:lnTo>
                    <a:pt x="7" y="9"/>
                  </a:lnTo>
                  <a:lnTo>
                    <a:pt x="7" y="9"/>
                  </a:lnTo>
                  <a:lnTo>
                    <a:pt x="7" y="9"/>
                  </a:lnTo>
                  <a:lnTo>
                    <a:pt x="7" y="9"/>
                  </a:lnTo>
                  <a:lnTo>
                    <a:pt x="7" y="9"/>
                  </a:lnTo>
                  <a:lnTo>
                    <a:pt x="7" y="9"/>
                  </a:lnTo>
                  <a:lnTo>
                    <a:pt x="7" y="10"/>
                  </a:lnTo>
                  <a:lnTo>
                    <a:pt x="7" y="10"/>
                  </a:lnTo>
                  <a:lnTo>
                    <a:pt x="7" y="10"/>
                  </a:lnTo>
                  <a:lnTo>
                    <a:pt x="7" y="10"/>
                  </a:lnTo>
                  <a:lnTo>
                    <a:pt x="7" y="10"/>
                  </a:lnTo>
                  <a:lnTo>
                    <a:pt x="6" y="10"/>
                  </a:lnTo>
                  <a:lnTo>
                    <a:pt x="5" y="9"/>
                  </a:lnTo>
                  <a:lnTo>
                    <a:pt x="4" y="9"/>
                  </a:lnTo>
                  <a:lnTo>
                    <a:pt x="3" y="8"/>
                  </a:lnTo>
                  <a:lnTo>
                    <a:pt x="2" y="8"/>
                  </a:lnTo>
                  <a:lnTo>
                    <a:pt x="0" y="8"/>
                  </a:lnTo>
                  <a:lnTo>
                    <a:pt x="0" y="7"/>
                  </a:lnTo>
                  <a:lnTo>
                    <a:pt x="0" y="7"/>
                  </a:lnTo>
                  <a:lnTo>
                    <a:pt x="0" y="7"/>
                  </a:lnTo>
                  <a:lnTo>
                    <a:pt x="0" y="7"/>
                  </a:lnTo>
                  <a:lnTo>
                    <a:pt x="2" y="7"/>
                  </a:lnTo>
                  <a:lnTo>
                    <a:pt x="2" y="6"/>
                  </a:lnTo>
                  <a:lnTo>
                    <a:pt x="0" y="6"/>
                  </a:lnTo>
                  <a:lnTo>
                    <a:pt x="0" y="4"/>
                  </a:lnTo>
                  <a:lnTo>
                    <a:pt x="0" y="4"/>
                  </a:lnTo>
                  <a:lnTo>
                    <a:pt x="0" y="4"/>
                  </a:lnTo>
                  <a:lnTo>
                    <a:pt x="0" y="3"/>
                  </a:lnTo>
                  <a:lnTo>
                    <a:pt x="0" y="3"/>
                  </a:lnTo>
                  <a:lnTo>
                    <a:pt x="2" y="3"/>
                  </a:lnTo>
                  <a:lnTo>
                    <a:pt x="2" y="3"/>
                  </a:lnTo>
                  <a:lnTo>
                    <a:pt x="2" y="3"/>
                  </a:lnTo>
                  <a:lnTo>
                    <a:pt x="2" y="2"/>
                  </a:lnTo>
                  <a:lnTo>
                    <a:pt x="3" y="2"/>
                  </a:lnTo>
                  <a:lnTo>
                    <a:pt x="3" y="2"/>
                  </a:lnTo>
                  <a:lnTo>
                    <a:pt x="3" y="2"/>
                  </a:lnTo>
                  <a:lnTo>
                    <a:pt x="3" y="2"/>
                  </a:lnTo>
                  <a:lnTo>
                    <a:pt x="4" y="2"/>
                  </a:lnTo>
                  <a:lnTo>
                    <a:pt x="4" y="2"/>
                  </a:lnTo>
                  <a:lnTo>
                    <a:pt x="4" y="1"/>
                  </a:lnTo>
                  <a:lnTo>
                    <a:pt x="4" y="1"/>
                  </a:lnTo>
                  <a:lnTo>
                    <a:pt x="4" y="0"/>
                  </a:lnTo>
                  <a:lnTo>
                    <a:pt x="4" y="0"/>
                  </a:lnTo>
                  <a:lnTo>
                    <a:pt x="4" y="0"/>
                  </a:lnTo>
                  <a:lnTo>
                    <a:pt x="5" y="0"/>
                  </a:lnTo>
                  <a:lnTo>
                    <a:pt x="5" y="0"/>
                  </a:lnTo>
                  <a:lnTo>
                    <a:pt x="5" y="1"/>
                  </a:lnTo>
                  <a:lnTo>
                    <a:pt x="5"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12" name="Freeform 1570">
              <a:extLst>
                <a:ext uri="{FF2B5EF4-FFF2-40B4-BE49-F238E27FC236}">
                  <a16:creationId xmlns:a16="http://schemas.microsoft.com/office/drawing/2014/main" id="{713737F2-EF77-408F-91CE-11F5A42A1937}"/>
                </a:ext>
              </a:extLst>
            </p:cNvPr>
            <p:cNvSpPr>
              <a:spLocks noEditPoints="1"/>
            </p:cNvSpPr>
            <p:nvPr/>
          </p:nvSpPr>
          <p:spPr bwMode="auto">
            <a:xfrm>
              <a:off x="6114925" y="2417693"/>
              <a:ext cx="14691" cy="10684"/>
            </a:xfrm>
            <a:custGeom>
              <a:avLst/>
              <a:gdLst>
                <a:gd name="T0" fmla="*/ 1 w 11"/>
                <a:gd name="T1" fmla="*/ 8 h 8"/>
                <a:gd name="T2" fmla="*/ 1 w 11"/>
                <a:gd name="T3" fmla="*/ 7 h 8"/>
                <a:gd name="T4" fmla="*/ 1 w 11"/>
                <a:gd name="T5" fmla="*/ 6 h 8"/>
                <a:gd name="T6" fmla="*/ 2 w 11"/>
                <a:gd name="T7" fmla="*/ 6 h 8"/>
                <a:gd name="T8" fmla="*/ 2 w 11"/>
                <a:gd name="T9" fmla="*/ 7 h 8"/>
                <a:gd name="T10" fmla="*/ 3 w 11"/>
                <a:gd name="T11" fmla="*/ 7 h 8"/>
                <a:gd name="T12" fmla="*/ 2 w 11"/>
                <a:gd name="T13" fmla="*/ 7 h 8"/>
                <a:gd name="T14" fmla="*/ 11 w 11"/>
                <a:gd name="T15" fmla="*/ 3 h 8"/>
                <a:gd name="T16" fmla="*/ 11 w 11"/>
                <a:gd name="T17" fmla="*/ 5 h 8"/>
                <a:gd name="T18" fmla="*/ 10 w 11"/>
                <a:gd name="T19" fmla="*/ 5 h 8"/>
                <a:gd name="T20" fmla="*/ 9 w 11"/>
                <a:gd name="T21" fmla="*/ 5 h 8"/>
                <a:gd name="T22" fmla="*/ 8 w 11"/>
                <a:gd name="T23" fmla="*/ 6 h 8"/>
                <a:gd name="T24" fmla="*/ 7 w 11"/>
                <a:gd name="T25" fmla="*/ 5 h 8"/>
                <a:gd name="T26" fmla="*/ 6 w 11"/>
                <a:gd name="T27" fmla="*/ 5 h 8"/>
                <a:gd name="T28" fmla="*/ 4 w 11"/>
                <a:gd name="T29" fmla="*/ 6 h 8"/>
                <a:gd name="T30" fmla="*/ 4 w 11"/>
                <a:gd name="T31" fmla="*/ 6 h 8"/>
                <a:gd name="T32" fmla="*/ 3 w 11"/>
                <a:gd name="T33" fmla="*/ 6 h 8"/>
                <a:gd name="T34" fmla="*/ 3 w 11"/>
                <a:gd name="T35" fmla="*/ 6 h 8"/>
                <a:gd name="T36" fmla="*/ 2 w 11"/>
                <a:gd name="T37" fmla="*/ 6 h 8"/>
                <a:gd name="T38" fmla="*/ 1 w 11"/>
                <a:gd name="T39" fmla="*/ 6 h 8"/>
                <a:gd name="T40" fmla="*/ 1 w 11"/>
                <a:gd name="T41" fmla="*/ 5 h 8"/>
                <a:gd name="T42" fmla="*/ 1 w 11"/>
                <a:gd name="T43" fmla="*/ 5 h 8"/>
                <a:gd name="T44" fmla="*/ 0 w 11"/>
                <a:gd name="T45" fmla="*/ 3 h 8"/>
                <a:gd name="T46" fmla="*/ 1 w 11"/>
                <a:gd name="T47" fmla="*/ 3 h 8"/>
                <a:gd name="T48" fmla="*/ 2 w 11"/>
                <a:gd name="T49" fmla="*/ 3 h 8"/>
                <a:gd name="T50" fmla="*/ 2 w 11"/>
                <a:gd name="T51" fmla="*/ 3 h 8"/>
                <a:gd name="T52" fmla="*/ 2 w 11"/>
                <a:gd name="T53" fmla="*/ 2 h 8"/>
                <a:gd name="T54" fmla="*/ 2 w 11"/>
                <a:gd name="T55" fmla="*/ 1 h 8"/>
                <a:gd name="T56" fmla="*/ 2 w 11"/>
                <a:gd name="T57" fmla="*/ 1 h 8"/>
                <a:gd name="T58" fmla="*/ 2 w 11"/>
                <a:gd name="T59" fmla="*/ 0 h 8"/>
                <a:gd name="T60" fmla="*/ 3 w 11"/>
                <a:gd name="T61" fmla="*/ 0 h 8"/>
                <a:gd name="T62" fmla="*/ 3 w 11"/>
                <a:gd name="T63" fmla="*/ 0 h 8"/>
                <a:gd name="T64" fmla="*/ 4 w 11"/>
                <a:gd name="T65" fmla="*/ 0 h 8"/>
                <a:gd name="T66" fmla="*/ 7 w 11"/>
                <a:gd name="T67" fmla="*/ 0 h 8"/>
                <a:gd name="T68" fmla="*/ 9 w 11"/>
                <a:gd name="T69" fmla="*/ 1 h 8"/>
                <a:gd name="T70" fmla="*/ 11 w 11"/>
                <a:gd name="T71" fmla="*/ 2 h 8"/>
                <a:gd name="T72" fmla="*/ 11 w 11"/>
                <a:gd name="T7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 h="8">
                  <a:moveTo>
                    <a:pt x="2" y="7"/>
                  </a:moveTo>
                  <a:lnTo>
                    <a:pt x="1" y="8"/>
                  </a:lnTo>
                  <a:lnTo>
                    <a:pt x="1" y="8"/>
                  </a:lnTo>
                  <a:lnTo>
                    <a:pt x="1" y="7"/>
                  </a:lnTo>
                  <a:lnTo>
                    <a:pt x="1" y="7"/>
                  </a:lnTo>
                  <a:lnTo>
                    <a:pt x="1" y="6"/>
                  </a:lnTo>
                  <a:lnTo>
                    <a:pt x="1" y="6"/>
                  </a:lnTo>
                  <a:lnTo>
                    <a:pt x="2" y="6"/>
                  </a:lnTo>
                  <a:lnTo>
                    <a:pt x="2" y="6"/>
                  </a:lnTo>
                  <a:lnTo>
                    <a:pt x="2" y="7"/>
                  </a:lnTo>
                  <a:lnTo>
                    <a:pt x="3" y="7"/>
                  </a:lnTo>
                  <a:lnTo>
                    <a:pt x="3" y="7"/>
                  </a:lnTo>
                  <a:lnTo>
                    <a:pt x="3" y="7"/>
                  </a:lnTo>
                  <a:lnTo>
                    <a:pt x="2" y="7"/>
                  </a:lnTo>
                  <a:lnTo>
                    <a:pt x="2" y="7"/>
                  </a:lnTo>
                  <a:close/>
                  <a:moveTo>
                    <a:pt x="11" y="3"/>
                  </a:moveTo>
                  <a:lnTo>
                    <a:pt x="11" y="5"/>
                  </a:lnTo>
                  <a:lnTo>
                    <a:pt x="11" y="5"/>
                  </a:lnTo>
                  <a:lnTo>
                    <a:pt x="11" y="5"/>
                  </a:lnTo>
                  <a:lnTo>
                    <a:pt x="10" y="5"/>
                  </a:lnTo>
                  <a:lnTo>
                    <a:pt x="10" y="5"/>
                  </a:lnTo>
                  <a:lnTo>
                    <a:pt x="9" y="5"/>
                  </a:lnTo>
                  <a:lnTo>
                    <a:pt x="8" y="5"/>
                  </a:lnTo>
                  <a:lnTo>
                    <a:pt x="8" y="6"/>
                  </a:lnTo>
                  <a:lnTo>
                    <a:pt x="8" y="5"/>
                  </a:lnTo>
                  <a:lnTo>
                    <a:pt x="7" y="5"/>
                  </a:lnTo>
                  <a:lnTo>
                    <a:pt x="6" y="5"/>
                  </a:lnTo>
                  <a:lnTo>
                    <a:pt x="6" y="5"/>
                  </a:lnTo>
                  <a:lnTo>
                    <a:pt x="4" y="6"/>
                  </a:lnTo>
                  <a:lnTo>
                    <a:pt x="4" y="6"/>
                  </a:lnTo>
                  <a:lnTo>
                    <a:pt x="4" y="6"/>
                  </a:lnTo>
                  <a:lnTo>
                    <a:pt x="4" y="6"/>
                  </a:lnTo>
                  <a:lnTo>
                    <a:pt x="4" y="6"/>
                  </a:lnTo>
                  <a:lnTo>
                    <a:pt x="3" y="6"/>
                  </a:lnTo>
                  <a:lnTo>
                    <a:pt x="3" y="6"/>
                  </a:lnTo>
                  <a:lnTo>
                    <a:pt x="3" y="6"/>
                  </a:lnTo>
                  <a:lnTo>
                    <a:pt x="3" y="6"/>
                  </a:lnTo>
                  <a:lnTo>
                    <a:pt x="2" y="6"/>
                  </a:lnTo>
                  <a:lnTo>
                    <a:pt x="2" y="6"/>
                  </a:lnTo>
                  <a:lnTo>
                    <a:pt x="1" y="6"/>
                  </a:lnTo>
                  <a:lnTo>
                    <a:pt x="1" y="6"/>
                  </a:lnTo>
                  <a:lnTo>
                    <a:pt x="1" y="5"/>
                  </a:lnTo>
                  <a:lnTo>
                    <a:pt x="1" y="5"/>
                  </a:lnTo>
                  <a:lnTo>
                    <a:pt x="1" y="5"/>
                  </a:lnTo>
                  <a:lnTo>
                    <a:pt x="1" y="5"/>
                  </a:lnTo>
                  <a:lnTo>
                    <a:pt x="0" y="3"/>
                  </a:lnTo>
                  <a:lnTo>
                    <a:pt x="1" y="3"/>
                  </a:lnTo>
                  <a:lnTo>
                    <a:pt x="1" y="3"/>
                  </a:lnTo>
                  <a:lnTo>
                    <a:pt x="1" y="3"/>
                  </a:lnTo>
                  <a:lnTo>
                    <a:pt x="2" y="3"/>
                  </a:lnTo>
                  <a:lnTo>
                    <a:pt x="2" y="3"/>
                  </a:lnTo>
                  <a:lnTo>
                    <a:pt x="2" y="3"/>
                  </a:lnTo>
                  <a:lnTo>
                    <a:pt x="2" y="3"/>
                  </a:lnTo>
                  <a:lnTo>
                    <a:pt x="2" y="2"/>
                  </a:lnTo>
                  <a:lnTo>
                    <a:pt x="2" y="2"/>
                  </a:lnTo>
                  <a:lnTo>
                    <a:pt x="2" y="1"/>
                  </a:lnTo>
                  <a:lnTo>
                    <a:pt x="2" y="1"/>
                  </a:lnTo>
                  <a:lnTo>
                    <a:pt x="2" y="1"/>
                  </a:lnTo>
                  <a:lnTo>
                    <a:pt x="2" y="1"/>
                  </a:lnTo>
                  <a:lnTo>
                    <a:pt x="2" y="0"/>
                  </a:lnTo>
                  <a:lnTo>
                    <a:pt x="3" y="0"/>
                  </a:lnTo>
                  <a:lnTo>
                    <a:pt x="3" y="0"/>
                  </a:lnTo>
                  <a:lnTo>
                    <a:pt x="3" y="0"/>
                  </a:lnTo>
                  <a:lnTo>
                    <a:pt x="3" y="0"/>
                  </a:lnTo>
                  <a:lnTo>
                    <a:pt x="4" y="0"/>
                  </a:lnTo>
                  <a:lnTo>
                    <a:pt x="4" y="0"/>
                  </a:lnTo>
                  <a:lnTo>
                    <a:pt x="6" y="0"/>
                  </a:lnTo>
                  <a:lnTo>
                    <a:pt x="7" y="0"/>
                  </a:lnTo>
                  <a:lnTo>
                    <a:pt x="8" y="1"/>
                  </a:lnTo>
                  <a:lnTo>
                    <a:pt x="9" y="1"/>
                  </a:lnTo>
                  <a:lnTo>
                    <a:pt x="10" y="2"/>
                  </a:lnTo>
                  <a:lnTo>
                    <a:pt x="11" y="2"/>
                  </a:lnTo>
                  <a:lnTo>
                    <a:pt x="11" y="2"/>
                  </a:lnTo>
                  <a:lnTo>
                    <a:pt x="11" y="3"/>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13" name="Freeform 1571">
              <a:extLst>
                <a:ext uri="{FF2B5EF4-FFF2-40B4-BE49-F238E27FC236}">
                  <a16:creationId xmlns:a16="http://schemas.microsoft.com/office/drawing/2014/main" id="{DB9A4D88-D3A0-4689-84D0-38D76344EE5A}"/>
                </a:ext>
              </a:extLst>
            </p:cNvPr>
            <p:cNvSpPr>
              <a:spLocks/>
            </p:cNvSpPr>
            <p:nvPr/>
          </p:nvSpPr>
          <p:spPr bwMode="auto">
            <a:xfrm>
              <a:off x="6116261" y="2420364"/>
              <a:ext cx="18697" cy="14691"/>
            </a:xfrm>
            <a:custGeom>
              <a:avLst/>
              <a:gdLst>
                <a:gd name="T0" fmla="*/ 9 w 14"/>
                <a:gd name="T1" fmla="*/ 6 h 11"/>
                <a:gd name="T2" fmla="*/ 8 w 14"/>
                <a:gd name="T3" fmla="*/ 7 h 11"/>
                <a:gd name="T4" fmla="*/ 8 w 14"/>
                <a:gd name="T5" fmla="*/ 6 h 11"/>
                <a:gd name="T6" fmla="*/ 7 w 14"/>
                <a:gd name="T7" fmla="*/ 6 h 11"/>
                <a:gd name="T8" fmla="*/ 7 w 14"/>
                <a:gd name="T9" fmla="*/ 7 h 11"/>
                <a:gd name="T10" fmla="*/ 7 w 14"/>
                <a:gd name="T11" fmla="*/ 7 h 11"/>
                <a:gd name="T12" fmla="*/ 7 w 14"/>
                <a:gd name="T13" fmla="*/ 7 h 11"/>
                <a:gd name="T14" fmla="*/ 7 w 14"/>
                <a:gd name="T15" fmla="*/ 8 h 11"/>
                <a:gd name="T16" fmla="*/ 8 w 14"/>
                <a:gd name="T17" fmla="*/ 8 h 11"/>
                <a:gd name="T18" fmla="*/ 9 w 14"/>
                <a:gd name="T19" fmla="*/ 10 h 11"/>
                <a:gd name="T20" fmla="*/ 8 w 14"/>
                <a:gd name="T21" fmla="*/ 11 h 11"/>
                <a:gd name="T22" fmla="*/ 8 w 14"/>
                <a:gd name="T23" fmla="*/ 11 h 11"/>
                <a:gd name="T24" fmla="*/ 8 w 14"/>
                <a:gd name="T25" fmla="*/ 11 h 11"/>
                <a:gd name="T26" fmla="*/ 7 w 14"/>
                <a:gd name="T27" fmla="*/ 10 h 11"/>
                <a:gd name="T28" fmla="*/ 7 w 14"/>
                <a:gd name="T29" fmla="*/ 10 h 11"/>
                <a:gd name="T30" fmla="*/ 6 w 14"/>
                <a:gd name="T31" fmla="*/ 10 h 11"/>
                <a:gd name="T32" fmla="*/ 6 w 14"/>
                <a:gd name="T33" fmla="*/ 10 h 11"/>
                <a:gd name="T34" fmla="*/ 5 w 14"/>
                <a:gd name="T35" fmla="*/ 11 h 11"/>
                <a:gd name="T36" fmla="*/ 3 w 14"/>
                <a:gd name="T37" fmla="*/ 11 h 11"/>
                <a:gd name="T38" fmla="*/ 1 w 14"/>
                <a:gd name="T39" fmla="*/ 10 h 11"/>
                <a:gd name="T40" fmla="*/ 0 w 14"/>
                <a:gd name="T41" fmla="*/ 8 h 11"/>
                <a:gd name="T42" fmla="*/ 0 w 14"/>
                <a:gd name="T43" fmla="*/ 8 h 11"/>
                <a:gd name="T44" fmla="*/ 0 w 14"/>
                <a:gd name="T45" fmla="*/ 7 h 11"/>
                <a:gd name="T46" fmla="*/ 0 w 14"/>
                <a:gd name="T47" fmla="*/ 6 h 11"/>
                <a:gd name="T48" fmla="*/ 0 w 14"/>
                <a:gd name="T49" fmla="*/ 6 h 11"/>
                <a:gd name="T50" fmla="*/ 1 w 14"/>
                <a:gd name="T51" fmla="*/ 5 h 11"/>
                <a:gd name="T52" fmla="*/ 2 w 14"/>
                <a:gd name="T53" fmla="*/ 5 h 11"/>
                <a:gd name="T54" fmla="*/ 3 w 14"/>
                <a:gd name="T55" fmla="*/ 6 h 11"/>
                <a:gd name="T56" fmla="*/ 6 w 14"/>
                <a:gd name="T57" fmla="*/ 6 h 11"/>
                <a:gd name="T58" fmla="*/ 7 w 14"/>
                <a:gd name="T59" fmla="*/ 5 h 11"/>
                <a:gd name="T60" fmla="*/ 8 w 14"/>
                <a:gd name="T61" fmla="*/ 5 h 11"/>
                <a:gd name="T62" fmla="*/ 8 w 14"/>
                <a:gd name="T63" fmla="*/ 4 h 11"/>
                <a:gd name="T64" fmla="*/ 7 w 14"/>
                <a:gd name="T65" fmla="*/ 4 h 11"/>
                <a:gd name="T66" fmla="*/ 8 w 14"/>
                <a:gd name="T67" fmla="*/ 3 h 11"/>
                <a:gd name="T68" fmla="*/ 10 w 14"/>
                <a:gd name="T69" fmla="*/ 3 h 11"/>
                <a:gd name="T70" fmla="*/ 10 w 14"/>
                <a:gd name="T71" fmla="*/ 1 h 11"/>
                <a:gd name="T72" fmla="*/ 10 w 14"/>
                <a:gd name="T73" fmla="*/ 0 h 11"/>
                <a:gd name="T74" fmla="*/ 12 w 14"/>
                <a:gd name="T75" fmla="*/ 1 h 11"/>
                <a:gd name="T76" fmla="*/ 14 w 14"/>
                <a:gd name="T77" fmla="*/ 5 h 11"/>
                <a:gd name="T78" fmla="*/ 14 w 14"/>
                <a:gd name="T79" fmla="*/ 5 h 11"/>
                <a:gd name="T80" fmla="*/ 14 w 14"/>
                <a:gd name="T81" fmla="*/ 6 h 11"/>
                <a:gd name="T82" fmla="*/ 14 w 14"/>
                <a:gd name="T83" fmla="*/ 6 h 11"/>
                <a:gd name="T84" fmla="*/ 13 w 14"/>
                <a:gd name="T85" fmla="*/ 6 h 11"/>
                <a:gd name="T86" fmla="*/ 13 w 14"/>
                <a:gd name="T87" fmla="*/ 6 h 11"/>
                <a:gd name="T88" fmla="*/ 13 w 14"/>
                <a:gd name="T89" fmla="*/ 5 h 11"/>
                <a:gd name="T90" fmla="*/ 12 w 14"/>
                <a:gd name="T91" fmla="*/ 6 h 11"/>
                <a:gd name="T92" fmla="*/ 10 w 14"/>
                <a:gd name="T93" fmla="*/ 6 h 11"/>
                <a:gd name="T94" fmla="*/ 10 w 14"/>
                <a:gd name="T95"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 h="11">
                  <a:moveTo>
                    <a:pt x="10" y="6"/>
                  </a:moveTo>
                  <a:lnTo>
                    <a:pt x="9" y="6"/>
                  </a:lnTo>
                  <a:lnTo>
                    <a:pt x="9" y="6"/>
                  </a:lnTo>
                  <a:lnTo>
                    <a:pt x="9" y="7"/>
                  </a:lnTo>
                  <a:lnTo>
                    <a:pt x="9" y="7"/>
                  </a:lnTo>
                  <a:lnTo>
                    <a:pt x="8" y="7"/>
                  </a:lnTo>
                  <a:lnTo>
                    <a:pt x="8" y="7"/>
                  </a:lnTo>
                  <a:lnTo>
                    <a:pt x="8" y="7"/>
                  </a:lnTo>
                  <a:lnTo>
                    <a:pt x="8" y="6"/>
                  </a:lnTo>
                  <a:lnTo>
                    <a:pt x="8" y="6"/>
                  </a:lnTo>
                  <a:lnTo>
                    <a:pt x="7" y="6"/>
                  </a:lnTo>
                  <a:lnTo>
                    <a:pt x="7" y="6"/>
                  </a:lnTo>
                  <a:lnTo>
                    <a:pt x="7" y="7"/>
                  </a:lnTo>
                  <a:lnTo>
                    <a:pt x="7" y="7"/>
                  </a:lnTo>
                  <a:lnTo>
                    <a:pt x="7" y="7"/>
                  </a:lnTo>
                  <a:lnTo>
                    <a:pt x="7" y="7"/>
                  </a:lnTo>
                  <a:lnTo>
                    <a:pt x="7" y="7"/>
                  </a:lnTo>
                  <a:lnTo>
                    <a:pt x="7" y="7"/>
                  </a:lnTo>
                  <a:lnTo>
                    <a:pt x="7" y="7"/>
                  </a:lnTo>
                  <a:lnTo>
                    <a:pt x="7" y="7"/>
                  </a:lnTo>
                  <a:lnTo>
                    <a:pt x="7" y="7"/>
                  </a:lnTo>
                  <a:lnTo>
                    <a:pt x="7" y="7"/>
                  </a:lnTo>
                  <a:lnTo>
                    <a:pt x="7" y="8"/>
                  </a:lnTo>
                  <a:lnTo>
                    <a:pt x="7" y="8"/>
                  </a:lnTo>
                  <a:lnTo>
                    <a:pt x="7" y="8"/>
                  </a:lnTo>
                  <a:lnTo>
                    <a:pt x="8" y="8"/>
                  </a:lnTo>
                  <a:lnTo>
                    <a:pt x="8" y="8"/>
                  </a:lnTo>
                  <a:lnTo>
                    <a:pt x="8" y="10"/>
                  </a:lnTo>
                  <a:lnTo>
                    <a:pt x="9" y="10"/>
                  </a:lnTo>
                  <a:lnTo>
                    <a:pt x="9" y="10"/>
                  </a:lnTo>
                  <a:lnTo>
                    <a:pt x="8" y="10"/>
                  </a:lnTo>
                  <a:lnTo>
                    <a:pt x="8" y="11"/>
                  </a:lnTo>
                  <a:lnTo>
                    <a:pt x="8" y="11"/>
                  </a:lnTo>
                  <a:lnTo>
                    <a:pt x="8" y="11"/>
                  </a:lnTo>
                  <a:lnTo>
                    <a:pt x="8" y="11"/>
                  </a:lnTo>
                  <a:lnTo>
                    <a:pt x="8" y="11"/>
                  </a:lnTo>
                  <a:lnTo>
                    <a:pt x="8" y="11"/>
                  </a:lnTo>
                  <a:lnTo>
                    <a:pt x="8" y="11"/>
                  </a:lnTo>
                  <a:lnTo>
                    <a:pt x="8" y="11"/>
                  </a:lnTo>
                  <a:lnTo>
                    <a:pt x="8" y="11"/>
                  </a:lnTo>
                  <a:lnTo>
                    <a:pt x="8" y="10"/>
                  </a:lnTo>
                  <a:lnTo>
                    <a:pt x="7" y="10"/>
                  </a:lnTo>
                  <a:lnTo>
                    <a:pt x="7" y="10"/>
                  </a:lnTo>
                  <a:lnTo>
                    <a:pt x="7" y="10"/>
                  </a:lnTo>
                  <a:lnTo>
                    <a:pt x="7" y="10"/>
                  </a:lnTo>
                  <a:lnTo>
                    <a:pt x="7" y="10"/>
                  </a:lnTo>
                  <a:lnTo>
                    <a:pt x="7" y="10"/>
                  </a:lnTo>
                  <a:lnTo>
                    <a:pt x="6" y="10"/>
                  </a:lnTo>
                  <a:lnTo>
                    <a:pt x="6" y="10"/>
                  </a:lnTo>
                  <a:lnTo>
                    <a:pt x="6" y="10"/>
                  </a:lnTo>
                  <a:lnTo>
                    <a:pt x="6" y="10"/>
                  </a:lnTo>
                  <a:lnTo>
                    <a:pt x="6" y="10"/>
                  </a:lnTo>
                  <a:lnTo>
                    <a:pt x="6" y="10"/>
                  </a:lnTo>
                  <a:lnTo>
                    <a:pt x="5" y="11"/>
                  </a:lnTo>
                  <a:lnTo>
                    <a:pt x="3" y="11"/>
                  </a:lnTo>
                  <a:lnTo>
                    <a:pt x="3" y="11"/>
                  </a:lnTo>
                  <a:lnTo>
                    <a:pt x="3" y="11"/>
                  </a:lnTo>
                  <a:lnTo>
                    <a:pt x="2" y="10"/>
                  </a:lnTo>
                  <a:lnTo>
                    <a:pt x="1" y="10"/>
                  </a:lnTo>
                  <a:lnTo>
                    <a:pt x="1" y="10"/>
                  </a:lnTo>
                  <a:lnTo>
                    <a:pt x="0" y="10"/>
                  </a:lnTo>
                  <a:lnTo>
                    <a:pt x="0" y="10"/>
                  </a:lnTo>
                  <a:lnTo>
                    <a:pt x="0" y="8"/>
                  </a:lnTo>
                  <a:lnTo>
                    <a:pt x="0" y="8"/>
                  </a:lnTo>
                  <a:lnTo>
                    <a:pt x="0" y="8"/>
                  </a:lnTo>
                  <a:lnTo>
                    <a:pt x="0" y="8"/>
                  </a:lnTo>
                  <a:lnTo>
                    <a:pt x="0" y="7"/>
                  </a:lnTo>
                  <a:lnTo>
                    <a:pt x="0" y="7"/>
                  </a:lnTo>
                  <a:lnTo>
                    <a:pt x="0" y="7"/>
                  </a:lnTo>
                  <a:lnTo>
                    <a:pt x="0" y="6"/>
                  </a:lnTo>
                  <a:lnTo>
                    <a:pt x="0" y="6"/>
                  </a:lnTo>
                  <a:lnTo>
                    <a:pt x="0" y="6"/>
                  </a:lnTo>
                  <a:lnTo>
                    <a:pt x="0" y="6"/>
                  </a:lnTo>
                  <a:lnTo>
                    <a:pt x="0" y="6"/>
                  </a:lnTo>
                  <a:lnTo>
                    <a:pt x="0" y="6"/>
                  </a:lnTo>
                  <a:lnTo>
                    <a:pt x="0" y="6"/>
                  </a:lnTo>
                  <a:lnTo>
                    <a:pt x="1" y="5"/>
                  </a:lnTo>
                  <a:lnTo>
                    <a:pt x="1" y="5"/>
                  </a:lnTo>
                  <a:lnTo>
                    <a:pt x="2" y="5"/>
                  </a:lnTo>
                  <a:lnTo>
                    <a:pt x="2" y="5"/>
                  </a:lnTo>
                  <a:lnTo>
                    <a:pt x="2" y="5"/>
                  </a:lnTo>
                  <a:lnTo>
                    <a:pt x="2" y="5"/>
                  </a:lnTo>
                  <a:lnTo>
                    <a:pt x="3" y="6"/>
                  </a:lnTo>
                  <a:lnTo>
                    <a:pt x="3" y="6"/>
                  </a:lnTo>
                  <a:lnTo>
                    <a:pt x="5" y="6"/>
                  </a:lnTo>
                  <a:lnTo>
                    <a:pt x="5" y="6"/>
                  </a:lnTo>
                  <a:lnTo>
                    <a:pt x="6" y="6"/>
                  </a:lnTo>
                  <a:lnTo>
                    <a:pt x="6" y="6"/>
                  </a:lnTo>
                  <a:lnTo>
                    <a:pt x="7" y="5"/>
                  </a:lnTo>
                  <a:lnTo>
                    <a:pt x="7" y="5"/>
                  </a:lnTo>
                  <a:lnTo>
                    <a:pt x="7" y="5"/>
                  </a:lnTo>
                  <a:lnTo>
                    <a:pt x="8" y="5"/>
                  </a:lnTo>
                  <a:lnTo>
                    <a:pt x="8" y="5"/>
                  </a:lnTo>
                  <a:lnTo>
                    <a:pt x="8" y="5"/>
                  </a:lnTo>
                  <a:lnTo>
                    <a:pt x="8" y="4"/>
                  </a:lnTo>
                  <a:lnTo>
                    <a:pt x="8" y="4"/>
                  </a:lnTo>
                  <a:lnTo>
                    <a:pt x="8" y="4"/>
                  </a:lnTo>
                  <a:lnTo>
                    <a:pt x="7" y="4"/>
                  </a:lnTo>
                  <a:lnTo>
                    <a:pt x="7" y="4"/>
                  </a:lnTo>
                  <a:lnTo>
                    <a:pt x="7" y="4"/>
                  </a:lnTo>
                  <a:lnTo>
                    <a:pt x="7" y="3"/>
                  </a:lnTo>
                  <a:lnTo>
                    <a:pt x="8" y="3"/>
                  </a:lnTo>
                  <a:lnTo>
                    <a:pt x="9" y="3"/>
                  </a:lnTo>
                  <a:lnTo>
                    <a:pt x="9" y="3"/>
                  </a:lnTo>
                  <a:lnTo>
                    <a:pt x="10" y="3"/>
                  </a:lnTo>
                  <a:lnTo>
                    <a:pt x="10" y="3"/>
                  </a:lnTo>
                  <a:lnTo>
                    <a:pt x="10" y="3"/>
                  </a:lnTo>
                  <a:lnTo>
                    <a:pt x="10" y="1"/>
                  </a:lnTo>
                  <a:lnTo>
                    <a:pt x="10" y="0"/>
                  </a:lnTo>
                  <a:lnTo>
                    <a:pt x="10" y="0"/>
                  </a:lnTo>
                  <a:lnTo>
                    <a:pt x="10" y="0"/>
                  </a:lnTo>
                  <a:lnTo>
                    <a:pt x="10" y="0"/>
                  </a:lnTo>
                  <a:lnTo>
                    <a:pt x="12" y="0"/>
                  </a:lnTo>
                  <a:lnTo>
                    <a:pt x="12" y="1"/>
                  </a:lnTo>
                  <a:lnTo>
                    <a:pt x="13" y="3"/>
                  </a:lnTo>
                  <a:lnTo>
                    <a:pt x="14" y="4"/>
                  </a:lnTo>
                  <a:lnTo>
                    <a:pt x="14" y="5"/>
                  </a:lnTo>
                  <a:lnTo>
                    <a:pt x="14" y="5"/>
                  </a:lnTo>
                  <a:lnTo>
                    <a:pt x="14" y="5"/>
                  </a:lnTo>
                  <a:lnTo>
                    <a:pt x="14" y="5"/>
                  </a:lnTo>
                  <a:lnTo>
                    <a:pt x="14" y="5"/>
                  </a:lnTo>
                  <a:lnTo>
                    <a:pt x="14" y="6"/>
                  </a:lnTo>
                  <a:lnTo>
                    <a:pt x="14" y="6"/>
                  </a:lnTo>
                  <a:lnTo>
                    <a:pt x="14" y="6"/>
                  </a:lnTo>
                  <a:lnTo>
                    <a:pt x="14" y="6"/>
                  </a:lnTo>
                  <a:lnTo>
                    <a:pt x="14" y="6"/>
                  </a:lnTo>
                  <a:lnTo>
                    <a:pt x="14" y="6"/>
                  </a:lnTo>
                  <a:lnTo>
                    <a:pt x="13" y="6"/>
                  </a:lnTo>
                  <a:lnTo>
                    <a:pt x="13" y="6"/>
                  </a:lnTo>
                  <a:lnTo>
                    <a:pt x="13" y="6"/>
                  </a:lnTo>
                  <a:lnTo>
                    <a:pt x="13" y="6"/>
                  </a:lnTo>
                  <a:lnTo>
                    <a:pt x="13" y="6"/>
                  </a:lnTo>
                  <a:lnTo>
                    <a:pt x="13" y="6"/>
                  </a:lnTo>
                  <a:lnTo>
                    <a:pt x="13" y="6"/>
                  </a:lnTo>
                  <a:lnTo>
                    <a:pt x="13" y="5"/>
                  </a:lnTo>
                  <a:lnTo>
                    <a:pt x="12" y="5"/>
                  </a:lnTo>
                  <a:lnTo>
                    <a:pt x="12" y="5"/>
                  </a:lnTo>
                  <a:lnTo>
                    <a:pt x="12" y="6"/>
                  </a:lnTo>
                  <a:lnTo>
                    <a:pt x="12" y="6"/>
                  </a:lnTo>
                  <a:lnTo>
                    <a:pt x="12" y="6"/>
                  </a:lnTo>
                  <a:lnTo>
                    <a:pt x="10" y="6"/>
                  </a:lnTo>
                  <a:lnTo>
                    <a:pt x="10" y="6"/>
                  </a:lnTo>
                  <a:lnTo>
                    <a:pt x="10" y="6"/>
                  </a:lnTo>
                  <a:lnTo>
                    <a:pt x="10" y="6"/>
                  </a:lnTo>
                  <a:lnTo>
                    <a:pt x="10" y="6"/>
                  </a:lnTo>
                  <a:lnTo>
                    <a:pt x="10" y="6"/>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14" name="Freeform 1572">
              <a:extLst>
                <a:ext uri="{FF2B5EF4-FFF2-40B4-BE49-F238E27FC236}">
                  <a16:creationId xmlns:a16="http://schemas.microsoft.com/office/drawing/2014/main" id="{56C6243A-15C9-48AC-8C03-4DD517472D71}"/>
                </a:ext>
              </a:extLst>
            </p:cNvPr>
            <p:cNvSpPr>
              <a:spLocks/>
            </p:cNvSpPr>
            <p:nvPr/>
          </p:nvSpPr>
          <p:spPr bwMode="auto">
            <a:xfrm>
              <a:off x="6109583" y="2431047"/>
              <a:ext cx="13355" cy="17362"/>
            </a:xfrm>
            <a:custGeom>
              <a:avLst/>
              <a:gdLst>
                <a:gd name="T0" fmla="*/ 5 w 10"/>
                <a:gd name="T1" fmla="*/ 0 h 13"/>
                <a:gd name="T2" fmla="*/ 5 w 10"/>
                <a:gd name="T3" fmla="*/ 2 h 13"/>
                <a:gd name="T4" fmla="*/ 6 w 10"/>
                <a:gd name="T5" fmla="*/ 2 h 13"/>
                <a:gd name="T6" fmla="*/ 8 w 10"/>
                <a:gd name="T7" fmla="*/ 3 h 13"/>
                <a:gd name="T8" fmla="*/ 8 w 10"/>
                <a:gd name="T9" fmla="*/ 3 h 13"/>
                <a:gd name="T10" fmla="*/ 8 w 10"/>
                <a:gd name="T11" fmla="*/ 4 h 13"/>
                <a:gd name="T12" fmla="*/ 8 w 10"/>
                <a:gd name="T13" fmla="*/ 5 h 13"/>
                <a:gd name="T14" fmla="*/ 8 w 10"/>
                <a:gd name="T15" fmla="*/ 5 h 13"/>
                <a:gd name="T16" fmla="*/ 8 w 10"/>
                <a:gd name="T17" fmla="*/ 6 h 13"/>
                <a:gd name="T18" fmla="*/ 7 w 10"/>
                <a:gd name="T19" fmla="*/ 6 h 13"/>
                <a:gd name="T20" fmla="*/ 6 w 10"/>
                <a:gd name="T21" fmla="*/ 7 h 13"/>
                <a:gd name="T22" fmla="*/ 6 w 10"/>
                <a:gd name="T23" fmla="*/ 9 h 13"/>
                <a:gd name="T24" fmla="*/ 7 w 10"/>
                <a:gd name="T25" fmla="*/ 9 h 13"/>
                <a:gd name="T26" fmla="*/ 7 w 10"/>
                <a:gd name="T27" fmla="*/ 10 h 13"/>
                <a:gd name="T28" fmla="*/ 6 w 10"/>
                <a:gd name="T29" fmla="*/ 10 h 13"/>
                <a:gd name="T30" fmla="*/ 7 w 10"/>
                <a:gd name="T31" fmla="*/ 11 h 13"/>
                <a:gd name="T32" fmla="*/ 7 w 10"/>
                <a:gd name="T33" fmla="*/ 11 h 13"/>
                <a:gd name="T34" fmla="*/ 8 w 10"/>
                <a:gd name="T35" fmla="*/ 12 h 13"/>
                <a:gd name="T36" fmla="*/ 8 w 10"/>
                <a:gd name="T37" fmla="*/ 13 h 13"/>
                <a:gd name="T38" fmla="*/ 8 w 10"/>
                <a:gd name="T39" fmla="*/ 13 h 13"/>
                <a:gd name="T40" fmla="*/ 7 w 10"/>
                <a:gd name="T41" fmla="*/ 13 h 13"/>
                <a:gd name="T42" fmla="*/ 7 w 10"/>
                <a:gd name="T43" fmla="*/ 13 h 13"/>
                <a:gd name="T44" fmla="*/ 7 w 10"/>
                <a:gd name="T45" fmla="*/ 13 h 13"/>
                <a:gd name="T46" fmla="*/ 7 w 10"/>
                <a:gd name="T47" fmla="*/ 13 h 13"/>
                <a:gd name="T48" fmla="*/ 7 w 10"/>
                <a:gd name="T49" fmla="*/ 13 h 13"/>
                <a:gd name="T50" fmla="*/ 6 w 10"/>
                <a:gd name="T51" fmla="*/ 13 h 13"/>
                <a:gd name="T52" fmla="*/ 6 w 10"/>
                <a:gd name="T53" fmla="*/ 13 h 13"/>
                <a:gd name="T54" fmla="*/ 6 w 10"/>
                <a:gd name="T55" fmla="*/ 12 h 13"/>
                <a:gd name="T56" fmla="*/ 6 w 10"/>
                <a:gd name="T57" fmla="*/ 12 h 13"/>
                <a:gd name="T58" fmla="*/ 5 w 10"/>
                <a:gd name="T59" fmla="*/ 12 h 13"/>
                <a:gd name="T60" fmla="*/ 4 w 10"/>
                <a:gd name="T61" fmla="*/ 11 h 13"/>
                <a:gd name="T62" fmla="*/ 4 w 10"/>
                <a:gd name="T63" fmla="*/ 11 h 13"/>
                <a:gd name="T64" fmla="*/ 4 w 10"/>
                <a:gd name="T65" fmla="*/ 10 h 13"/>
                <a:gd name="T66" fmla="*/ 3 w 10"/>
                <a:gd name="T67" fmla="*/ 10 h 13"/>
                <a:gd name="T68" fmla="*/ 1 w 10"/>
                <a:gd name="T69" fmla="*/ 9 h 13"/>
                <a:gd name="T70" fmla="*/ 1 w 10"/>
                <a:gd name="T71" fmla="*/ 9 h 13"/>
                <a:gd name="T72" fmla="*/ 1 w 10"/>
                <a:gd name="T73" fmla="*/ 9 h 13"/>
                <a:gd name="T74" fmla="*/ 1 w 10"/>
                <a:gd name="T75" fmla="*/ 7 h 13"/>
                <a:gd name="T76" fmla="*/ 1 w 10"/>
                <a:gd name="T77" fmla="*/ 6 h 13"/>
                <a:gd name="T78" fmla="*/ 1 w 10"/>
                <a:gd name="T79" fmla="*/ 6 h 13"/>
                <a:gd name="T80" fmla="*/ 1 w 10"/>
                <a:gd name="T81" fmla="*/ 6 h 13"/>
                <a:gd name="T82" fmla="*/ 1 w 10"/>
                <a:gd name="T83" fmla="*/ 5 h 13"/>
                <a:gd name="T84" fmla="*/ 1 w 10"/>
                <a:gd name="T85" fmla="*/ 5 h 13"/>
                <a:gd name="T86" fmla="*/ 0 w 10"/>
                <a:gd name="T87" fmla="*/ 5 h 13"/>
                <a:gd name="T88" fmla="*/ 0 w 10"/>
                <a:gd name="T89" fmla="*/ 5 h 13"/>
                <a:gd name="T90" fmla="*/ 0 w 10"/>
                <a:gd name="T91" fmla="*/ 5 h 13"/>
                <a:gd name="T92" fmla="*/ 0 w 10"/>
                <a:gd name="T93" fmla="*/ 4 h 13"/>
                <a:gd name="T94" fmla="*/ 1 w 10"/>
                <a:gd name="T95" fmla="*/ 4 h 13"/>
                <a:gd name="T96" fmla="*/ 1 w 10"/>
                <a:gd name="T97" fmla="*/ 3 h 13"/>
                <a:gd name="T98" fmla="*/ 0 w 10"/>
                <a:gd name="T99" fmla="*/ 0 h 13"/>
                <a:gd name="T100" fmla="*/ 0 w 10"/>
                <a:gd name="T101" fmla="*/ 0 h 13"/>
                <a:gd name="T102" fmla="*/ 0 w 10"/>
                <a:gd name="T103" fmla="*/ 0 h 13"/>
                <a:gd name="T104" fmla="*/ 1 w 10"/>
                <a:gd name="T105" fmla="*/ 0 h 13"/>
                <a:gd name="T106" fmla="*/ 4 w 10"/>
                <a:gd name="T10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13">
                  <a:moveTo>
                    <a:pt x="5" y="0"/>
                  </a:moveTo>
                  <a:lnTo>
                    <a:pt x="5" y="0"/>
                  </a:lnTo>
                  <a:lnTo>
                    <a:pt x="5" y="2"/>
                  </a:lnTo>
                  <a:lnTo>
                    <a:pt x="5" y="2"/>
                  </a:lnTo>
                  <a:lnTo>
                    <a:pt x="6" y="2"/>
                  </a:lnTo>
                  <a:lnTo>
                    <a:pt x="6" y="2"/>
                  </a:lnTo>
                  <a:lnTo>
                    <a:pt x="7" y="2"/>
                  </a:lnTo>
                  <a:lnTo>
                    <a:pt x="8" y="3"/>
                  </a:lnTo>
                  <a:lnTo>
                    <a:pt x="8" y="3"/>
                  </a:lnTo>
                  <a:lnTo>
                    <a:pt x="8" y="3"/>
                  </a:lnTo>
                  <a:lnTo>
                    <a:pt x="10" y="4"/>
                  </a:lnTo>
                  <a:lnTo>
                    <a:pt x="8" y="4"/>
                  </a:lnTo>
                  <a:lnTo>
                    <a:pt x="8" y="4"/>
                  </a:lnTo>
                  <a:lnTo>
                    <a:pt x="8" y="5"/>
                  </a:lnTo>
                  <a:lnTo>
                    <a:pt x="8" y="5"/>
                  </a:lnTo>
                  <a:lnTo>
                    <a:pt x="8" y="5"/>
                  </a:lnTo>
                  <a:lnTo>
                    <a:pt x="8" y="6"/>
                  </a:lnTo>
                  <a:lnTo>
                    <a:pt x="8" y="6"/>
                  </a:lnTo>
                  <a:lnTo>
                    <a:pt x="7" y="6"/>
                  </a:lnTo>
                  <a:lnTo>
                    <a:pt x="7" y="6"/>
                  </a:lnTo>
                  <a:lnTo>
                    <a:pt x="6" y="7"/>
                  </a:lnTo>
                  <a:lnTo>
                    <a:pt x="6" y="7"/>
                  </a:lnTo>
                  <a:lnTo>
                    <a:pt x="6" y="7"/>
                  </a:lnTo>
                  <a:lnTo>
                    <a:pt x="6" y="9"/>
                  </a:lnTo>
                  <a:lnTo>
                    <a:pt x="7" y="9"/>
                  </a:lnTo>
                  <a:lnTo>
                    <a:pt x="7" y="9"/>
                  </a:lnTo>
                  <a:lnTo>
                    <a:pt x="7" y="10"/>
                  </a:lnTo>
                  <a:lnTo>
                    <a:pt x="7" y="10"/>
                  </a:lnTo>
                  <a:lnTo>
                    <a:pt x="6" y="10"/>
                  </a:lnTo>
                  <a:lnTo>
                    <a:pt x="6" y="10"/>
                  </a:lnTo>
                  <a:lnTo>
                    <a:pt x="7" y="10"/>
                  </a:lnTo>
                  <a:lnTo>
                    <a:pt x="7" y="11"/>
                  </a:lnTo>
                  <a:lnTo>
                    <a:pt x="7" y="11"/>
                  </a:lnTo>
                  <a:lnTo>
                    <a:pt x="7" y="11"/>
                  </a:lnTo>
                  <a:lnTo>
                    <a:pt x="8" y="12"/>
                  </a:lnTo>
                  <a:lnTo>
                    <a:pt x="8" y="12"/>
                  </a:lnTo>
                  <a:lnTo>
                    <a:pt x="8" y="12"/>
                  </a:lnTo>
                  <a:lnTo>
                    <a:pt x="8" y="13"/>
                  </a:lnTo>
                  <a:lnTo>
                    <a:pt x="8" y="13"/>
                  </a:lnTo>
                  <a:lnTo>
                    <a:pt x="8" y="13"/>
                  </a:lnTo>
                  <a:lnTo>
                    <a:pt x="7" y="13"/>
                  </a:lnTo>
                  <a:lnTo>
                    <a:pt x="7" y="13"/>
                  </a:lnTo>
                  <a:lnTo>
                    <a:pt x="7" y="13"/>
                  </a:lnTo>
                  <a:lnTo>
                    <a:pt x="7" y="13"/>
                  </a:lnTo>
                  <a:lnTo>
                    <a:pt x="7" y="13"/>
                  </a:lnTo>
                  <a:lnTo>
                    <a:pt x="7" y="13"/>
                  </a:lnTo>
                  <a:lnTo>
                    <a:pt x="7" y="13"/>
                  </a:lnTo>
                  <a:lnTo>
                    <a:pt x="7" y="13"/>
                  </a:lnTo>
                  <a:lnTo>
                    <a:pt x="7" y="13"/>
                  </a:lnTo>
                  <a:lnTo>
                    <a:pt x="7" y="13"/>
                  </a:lnTo>
                  <a:lnTo>
                    <a:pt x="7" y="13"/>
                  </a:lnTo>
                  <a:lnTo>
                    <a:pt x="6" y="13"/>
                  </a:lnTo>
                  <a:lnTo>
                    <a:pt x="6" y="13"/>
                  </a:lnTo>
                  <a:lnTo>
                    <a:pt x="6" y="13"/>
                  </a:lnTo>
                  <a:lnTo>
                    <a:pt x="6" y="13"/>
                  </a:lnTo>
                  <a:lnTo>
                    <a:pt x="6" y="12"/>
                  </a:lnTo>
                  <a:lnTo>
                    <a:pt x="6" y="12"/>
                  </a:lnTo>
                  <a:lnTo>
                    <a:pt x="6" y="12"/>
                  </a:lnTo>
                  <a:lnTo>
                    <a:pt x="5" y="12"/>
                  </a:lnTo>
                  <a:lnTo>
                    <a:pt x="5" y="12"/>
                  </a:lnTo>
                  <a:lnTo>
                    <a:pt x="4" y="11"/>
                  </a:lnTo>
                  <a:lnTo>
                    <a:pt x="4" y="11"/>
                  </a:lnTo>
                  <a:lnTo>
                    <a:pt x="4" y="11"/>
                  </a:lnTo>
                  <a:lnTo>
                    <a:pt x="4" y="11"/>
                  </a:lnTo>
                  <a:lnTo>
                    <a:pt x="4" y="11"/>
                  </a:lnTo>
                  <a:lnTo>
                    <a:pt x="4" y="10"/>
                  </a:lnTo>
                  <a:lnTo>
                    <a:pt x="3" y="10"/>
                  </a:lnTo>
                  <a:lnTo>
                    <a:pt x="3" y="10"/>
                  </a:lnTo>
                  <a:lnTo>
                    <a:pt x="1" y="9"/>
                  </a:lnTo>
                  <a:lnTo>
                    <a:pt x="1" y="9"/>
                  </a:lnTo>
                  <a:lnTo>
                    <a:pt x="1" y="9"/>
                  </a:lnTo>
                  <a:lnTo>
                    <a:pt x="1" y="9"/>
                  </a:lnTo>
                  <a:lnTo>
                    <a:pt x="1" y="9"/>
                  </a:lnTo>
                  <a:lnTo>
                    <a:pt x="1" y="9"/>
                  </a:lnTo>
                  <a:lnTo>
                    <a:pt x="1" y="7"/>
                  </a:lnTo>
                  <a:lnTo>
                    <a:pt x="1" y="7"/>
                  </a:lnTo>
                  <a:lnTo>
                    <a:pt x="1" y="7"/>
                  </a:lnTo>
                  <a:lnTo>
                    <a:pt x="1" y="6"/>
                  </a:lnTo>
                  <a:lnTo>
                    <a:pt x="1" y="6"/>
                  </a:lnTo>
                  <a:lnTo>
                    <a:pt x="1" y="6"/>
                  </a:lnTo>
                  <a:lnTo>
                    <a:pt x="1" y="6"/>
                  </a:lnTo>
                  <a:lnTo>
                    <a:pt x="1" y="6"/>
                  </a:lnTo>
                  <a:lnTo>
                    <a:pt x="1" y="5"/>
                  </a:lnTo>
                  <a:lnTo>
                    <a:pt x="1" y="5"/>
                  </a:lnTo>
                  <a:lnTo>
                    <a:pt x="1" y="5"/>
                  </a:lnTo>
                  <a:lnTo>
                    <a:pt x="1" y="5"/>
                  </a:lnTo>
                  <a:lnTo>
                    <a:pt x="1" y="5"/>
                  </a:lnTo>
                  <a:lnTo>
                    <a:pt x="0" y="5"/>
                  </a:lnTo>
                  <a:lnTo>
                    <a:pt x="0" y="5"/>
                  </a:lnTo>
                  <a:lnTo>
                    <a:pt x="0" y="5"/>
                  </a:lnTo>
                  <a:lnTo>
                    <a:pt x="0" y="5"/>
                  </a:lnTo>
                  <a:lnTo>
                    <a:pt x="0" y="5"/>
                  </a:lnTo>
                  <a:lnTo>
                    <a:pt x="0" y="4"/>
                  </a:lnTo>
                  <a:lnTo>
                    <a:pt x="0" y="4"/>
                  </a:lnTo>
                  <a:lnTo>
                    <a:pt x="1" y="4"/>
                  </a:lnTo>
                  <a:lnTo>
                    <a:pt x="1" y="4"/>
                  </a:lnTo>
                  <a:lnTo>
                    <a:pt x="1" y="4"/>
                  </a:lnTo>
                  <a:lnTo>
                    <a:pt x="1" y="3"/>
                  </a:lnTo>
                  <a:lnTo>
                    <a:pt x="1" y="2"/>
                  </a:lnTo>
                  <a:lnTo>
                    <a:pt x="0" y="0"/>
                  </a:lnTo>
                  <a:lnTo>
                    <a:pt x="0" y="0"/>
                  </a:lnTo>
                  <a:lnTo>
                    <a:pt x="0" y="0"/>
                  </a:lnTo>
                  <a:lnTo>
                    <a:pt x="0" y="0"/>
                  </a:lnTo>
                  <a:lnTo>
                    <a:pt x="0" y="0"/>
                  </a:lnTo>
                  <a:lnTo>
                    <a:pt x="0" y="0"/>
                  </a:lnTo>
                  <a:lnTo>
                    <a:pt x="1" y="0"/>
                  </a:lnTo>
                  <a:lnTo>
                    <a:pt x="3" y="0"/>
                  </a:lnTo>
                  <a:lnTo>
                    <a:pt x="4" y="0"/>
                  </a:lnTo>
                  <a:lnTo>
                    <a:pt x="5"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15" name="Freeform 1573">
              <a:extLst>
                <a:ext uri="{FF2B5EF4-FFF2-40B4-BE49-F238E27FC236}">
                  <a16:creationId xmlns:a16="http://schemas.microsoft.com/office/drawing/2014/main" id="{83835754-4124-4FCF-8D80-A634625BED78}"/>
                </a:ext>
              </a:extLst>
            </p:cNvPr>
            <p:cNvSpPr>
              <a:spLocks/>
            </p:cNvSpPr>
            <p:nvPr/>
          </p:nvSpPr>
          <p:spPr bwMode="auto">
            <a:xfrm>
              <a:off x="6118932" y="2400332"/>
              <a:ext cx="5342" cy="2671"/>
            </a:xfrm>
            <a:custGeom>
              <a:avLst/>
              <a:gdLst>
                <a:gd name="T0" fmla="*/ 1 w 4"/>
                <a:gd name="T1" fmla="*/ 0 h 2"/>
                <a:gd name="T2" fmla="*/ 3 w 4"/>
                <a:gd name="T3" fmla="*/ 1 h 2"/>
                <a:gd name="T4" fmla="*/ 3 w 4"/>
                <a:gd name="T5" fmla="*/ 1 h 2"/>
                <a:gd name="T6" fmla="*/ 4 w 4"/>
                <a:gd name="T7" fmla="*/ 1 h 2"/>
                <a:gd name="T8" fmla="*/ 4 w 4"/>
                <a:gd name="T9" fmla="*/ 1 h 2"/>
                <a:gd name="T10" fmla="*/ 4 w 4"/>
                <a:gd name="T11" fmla="*/ 1 h 2"/>
                <a:gd name="T12" fmla="*/ 3 w 4"/>
                <a:gd name="T13" fmla="*/ 1 h 2"/>
                <a:gd name="T14" fmla="*/ 3 w 4"/>
                <a:gd name="T15" fmla="*/ 1 h 2"/>
                <a:gd name="T16" fmla="*/ 3 w 4"/>
                <a:gd name="T17" fmla="*/ 2 h 2"/>
                <a:gd name="T18" fmla="*/ 3 w 4"/>
                <a:gd name="T19" fmla="*/ 2 h 2"/>
                <a:gd name="T20" fmla="*/ 1 w 4"/>
                <a:gd name="T21" fmla="*/ 2 h 2"/>
                <a:gd name="T22" fmla="*/ 1 w 4"/>
                <a:gd name="T23" fmla="*/ 2 h 2"/>
                <a:gd name="T24" fmla="*/ 1 w 4"/>
                <a:gd name="T25" fmla="*/ 2 h 2"/>
                <a:gd name="T26" fmla="*/ 1 w 4"/>
                <a:gd name="T27" fmla="*/ 2 h 2"/>
                <a:gd name="T28" fmla="*/ 1 w 4"/>
                <a:gd name="T29" fmla="*/ 2 h 2"/>
                <a:gd name="T30" fmla="*/ 1 w 4"/>
                <a:gd name="T31" fmla="*/ 2 h 2"/>
                <a:gd name="T32" fmla="*/ 1 w 4"/>
                <a:gd name="T33" fmla="*/ 2 h 2"/>
                <a:gd name="T34" fmla="*/ 1 w 4"/>
                <a:gd name="T35" fmla="*/ 1 h 2"/>
                <a:gd name="T36" fmla="*/ 0 w 4"/>
                <a:gd name="T37" fmla="*/ 1 h 2"/>
                <a:gd name="T38" fmla="*/ 0 w 4"/>
                <a:gd name="T39" fmla="*/ 1 h 2"/>
                <a:gd name="T40" fmla="*/ 1 w 4"/>
                <a:gd name="T41" fmla="*/ 0 h 2"/>
                <a:gd name="T42" fmla="*/ 1 w 4"/>
                <a:gd name="T43" fmla="*/ 0 h 2"/>
                <a:gd name="T44" fmla="*/ 1 w 4"/>
                <a:gd name="T45" fmla="*/ 0 h 2"/>
                <a:gd name="T46" fmla="*/ 1 w 4"/>
                <a:gd name="T47" fmla="*/ 0 h 2"/>
                <a:gd name="T48" fmla="*/ 1 w 4"/>
                <a:gd name="T49" fmla="*/ 1 h 2"/>
                <a:gd name="T50" fmla="*/ 1 w 4"/>
                <a:gd name="T51" fmla="*/ 1 h 2"/>
                <a:gd name="T52" fmla="*/ 1 w 4"/>
                <a:gd name="T53" fmla="*/ 1 h 2"/>
                <a:gd name="T54" fmla="*/ 1 w 4"/>
                <a:gd name="T55" fmla="*/ 1 h 2"/>
                <a:gd name="T56" fmla="*/ 1 w 4"/>
                <a:gd name="T57" fmla="*/ 1 h 2"/>
                <a:gd name="T58" fmla="*/ 1 w 4"/>
                <a:gd name="T59" fmla="*/ 0 h 2"/>
                <a:gd name="T60" fmla="*/ 1 w 4"/>
                <a:gd name="T6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 h="2">
                  <a:moveTo>
                    <a:pt x="1" y="0"/>
                  </a:moveTo>
                  <a:lnTo>
                    <a:pt x="3" y="1"/>
                  </a:lnTo>
                  <a:lnTo>
                    <a:pt x="3" y="1"/>
                  </a:lnTo>
                  <a:lnTo>
                    <a:pt x="4" y="1"/>
                  </a:lnTo>
                  <a:lnTo>
                    <a:pt x="4" y="1"/>
                  </a:lnTo>
                  <a:lnTo>
                    <a:pt x="4" y="1"/>
                  </a:lnTo>
                  <a:lnTo>
                    <a:pt x="3" y="1"/>
                  </a:lnTo>
                  <a:lnTo>
                    <a:pt x="3" y="1"/>
                  </a:lnTo>
                  <a:lnTo>
                    <a:pt x="3" y="2"/>
                  </a:lnTo>
                  <a:lnTo>
                    <a:pt x="3" y="2"/>
                  </a:lnTo>
                  <a:lnTo>
                    <a:pt x="1" y="2"/>
                  </a:lnTo>
                  <a:lnTo>
                    <a:pt x="1" y="2"/>
                  </a:lnTo>
                  <a:lnTo>
                    <a:pt x="1" y="2"/>
                  </a:lnTo>
                  <a:lnTo>
                    <a:pt x="1" y="2"/>
                  </a:lnTo>
                  <a:lnTo>
                    <a:pt x="1" y="2"/>
                  </a:lnTo>
                  <a:lnTo>
                    <a:pt x="1" y="2"/>
                  </a:lnTo>
                  <a:lnTo>
                    <a:pt x="1" y="2"/>
                  </a:lnTo>
                  <a:lnTo>
                    <a:pt x="1" y="1"/>
                  </a:lnTo>
                  <a:lnTo>
                    <a:pt x="0" y="1"/>
                  </a:lnTo>
                  <a:lnTo>
                    <a:pt x="0" y="1"/>
                  </a:lnTo>
                  <a:lnTo>
                    <a:pt x="1" y="0"/>
                  </a:lnTo>
                  <a:lnTo>
                    <a:pt x="1" y="0"/>
                  </a:lnTo>
                  <a:lnTo>
                    <a:pt x="1" y="0"/>
                  </a:lnTo>
                  <a:lnTo>
                    <a:pt x="1" y="0"/>
                  </a:lnTo>
                  <a:lnTo>
                    <a:pt x="1" y="1"/>
                  </a:lnTo>
                  <a:lnTo>
                    <a:pt x="1" y="1"/>
                  </a:lnTo>
                  <a:lnTo>
                    <a:pt x="1" y="1"/>
                  </a:lnTo>
                  <a:lnTo>
                    <a:pt x="1" y="1"/>
                  </a:lnTo>
                  <a:lnTo>
                    <a:pt x="1" y="1"/>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16" name="Freeform 1574">
              <a:extLst>
                <a:ext uri="{FF2B5EF4-FFF2-40B4-BE49-F238E27FC236}">
                  <a16:creationId xmlns:a16="http://schemas.microsoft.com/office/drawing/2014/main" id="{50940778-9A3B-404F-92D2-841283EF37F8}"/>
                </a:ext>
              </a:extLst>
            </p:cNvPr>
            <p:cNvSpPr>
              <a:spLocks/>
            </p:cNvSpPr>
            <p:nvPr/>
          </p:nvSpPr>
          <p:spPr bwMode="auto">
            <a:xfrm>
              <a:off x="6118932" y="2400332"/>
              <a:ext cx="10684" cy="8013"/>
            </a:xfrm>
            <a:custGeom>
              <a:avLst/>
              <a:gdLst>
                <a:gd name="T0" fmla="*/ 8 w 8"/>
                <a:gd name="T1" fmla="*/ 0 h 6"/>
                <a:gd name="T2" fmla="*/ 8 w 8"/>
                <a:gd name="T3" fmla="*/ 0 h 6"/>
                <a:gd name="T4" fmla="*/ 8 w 8"/>
                <a:gd name="T5" fmla="*/ 1 h 6"/>
                <a:gd name="T6" fmla="*/ 8 w 8"/>
                <a:gd name="T7" fmla="*/ 1 h 6"/>
                <a:gd name="T8" fmla="*/ 8 w 8"/>
                <a:gd name="T9" fmla="*/ 2 h 6"/>
                <a:gd name="T10" fmla="*/ 8 w 8"/>
                <a:gd name="T11" fmla="*/ 4 h 6"/>
                <a:gd name="T12" fmla="*/ 7 w 8"/>
                <a:gd name="T13" fmla="*/ 4 h 6"/>
                <a:gd name="T14" fmla="*/ 7 w 8"/>
                <a:gd name="T15" fmla="*/ 5 h 6"/>
                <a:gd name="T16" fmla="*/ 7 w 8"/>
                <a:gd name="T17" fmla="*/ 5 h 6"/>
                <a:gd name="T18" fmla="*/ 6 w 8"/>
                <a:gd name="T19" fmla="*/ 5 h 6"/>
                <a:gd name="T20" fmla="*/ 6 w 8"/>
                <a:gd name="T21" fmla="*/ 6 h 6"/>
                <a:gd name="T22" fmla="*/ 6 w 8"/>
                <a:gd name="T23" fmla="*/ 6 h 6"/>
                <a:gd name="T24" fmla="*/ 6 w 8"/>
                <a:gd name="T25" fmla="*/ 5 h 6"/>
                <a:gd name="T26" fmla="*/ 5 w 8"/>
                <a:gd name="T27" fmla="*/ 5 h 6"/>
                <a:gd name="T28" fmla="*/ 5 w 8"/>
                <a:gd name="T29" fmla="*/ 5 h 6"/>
                <a:gd name="T30" fmla="*/ 5 w 8"/>
                <a:gd name="T31" fmla="*/ 5 h 6"/>
                <a:gd name="T32" fmla="*/ 5 w 8"/>
                <a:gd name="T33" fmla="*/ 5 h 6"/>
                <a:gd name="T34" fmla="*/ 4 w 8"/>
                <a:gd name="T35" fmla="*/ 5 h 6"/>
                <a:gd name="T36" fmla="*/ 4 w 8"/>
                <a:gd name="T37" fmla="*/ 5 h 6"/>
                <a:gd name="T38" fmla="*/ 3 w 8"/>
                <a:gd name="T39" fmla="*/ 6 h 6"/>
                <a:gd name="T40" fmla="*/ 3 w 8"/>
                <a:gd name="T41" fmla="*/ 6 h 6"/>
                <a:gd name="T42" fmla="*/ 1 w 8"/>
                <a:gd name="T43" fmla="*/ 5 h 6"/>
                <a:gd name="T44" fmla="*/ 0 w 8"/>
                <a:gd name="T45" fmla="*/ 5 h 6"/>
                <a:gd name="T46" fmla="*/ 0 w 8"/>
                <a:gd name="T47" fmla="*/ 4 h 6"/>
                <a:gd name="T48" fmla="*/ 1 w 8"/>
                <a:gd name="T49" fmla="*/ 4 h 6"/>
                <a:gd name="T50" fmla="*/ 1 w 8"/>
                <a:gd name="T51" fmla="*/ 2 h 6"/>
                <a:gd name="T52" fmla="*/ 1 w 8"/>
                <a:gd name="T53" fmla="*/ 2 h 6"/>
                <a:gd name="T54" fmla="*/ 3 w 8"/>
                <a:gd name="T55" fmla="*/ 2 h 6"/>
                <a:gd name="T56" fmla="*/ 3 w 8"/>
                <a:gd name="T57" fmla="*/ 1 h 6"/>
                <a:gd name="T58" fmla="*/ 4 w 8"/>
                <a:gd name="T59" fmla="*/ 1 h 6"/>
                <a:gd name="T60" fmla="*/ 4 w 8"/>
                <a:gd name="T61" fmla="*/ 1 h 6"/>
                <a:gd name="T62" fmla="*/ 5 w 8"/>
                <a:gd name="T63" fmla="*/ 0 h 6"/>
                <a:gd name="T64" fmla="*/ 5 w 8"/>
                <a:gd name="T65" fmla="*/ 0 h 6"/>
                <a:gd name="T66" fmla="*/ 6 w 8"/>
                <a:gd name="T67" fmla="*/ 0 h 6"/>
                <a:gd name="T68" fmla="*/ 6 w 8"/>
                <a:gd name="T69" fmla="*/ 0 h 6"/>
                <a:gd name="T70" fmla="*/ 6 w 8"/>
                <a:gd name="T71" fmla="*/ 0 h 6"/>
                <a:gd name="T72" fmla="*/ 7 w 8"/>
                <a:gd name="T73" fmla="*/ 0 h 6"/>
                <a:gd name="T74" fmla="*/ 7 w 8"/>
                <a:gd name="T75" fmla="*/ 0 h 6"/>
                <a:gd name="T76" fmla="*/ 7 w 8"/>
                <a:gd name="T77" fmla="*/ 0 h 6"/>
                <a:gd name="T78" fmla="*/ 8 w 8"/>
                <a:gd name="T79" fmla="*/ 0 h 6"/>
                <a:gd name="T80" fmla="*/ 8 w 8"/>
                <a:gd name="T81" fmla="*/ 0 h 6"/>
                <a:gd name="T82" fmla="*/ 8 w 8"/>
                <a:gd name="T8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6">
                  <a:moveTo>
                    <a:pt x="8" y="0"/>
                  </a:moveTo>
                  <a:lnTo>
                    <a:pt x="8" y="0"/>
                  </a:lnTo>
                  <a:lnTo>
                    <a:pt x="8" y="0"/>
                  </a:lnTo>
                  <a:lnTo>
                    <a:pt x="8" y="0"/>
                  </a:lnTo>
                  <a:lnTo>
                    <a:pt x="8" y="0"/>
                  </a:lnTo>
                  <a:lnTo>
                    <a:pt x="8" y="1"/>
                  </a:lnTo>
                  <a:lnTo>
                    <a:pt x="8" y="1"/>
                  </a:lnTo>
                  <a:lnTo>
                    <a:pt x="8" y="1"/>
                  </a:lnTo>
                  <a:lnTo>
                    <a:pt x="8" y="1"/>
                  </a:lnTo>
                  <a:lnTo>
                    <a:pt x="8" y="2"/>
                  </a:lnTo>
                  <a:lnTo>
                    <a:pt x="8" y="4"/>
                  </a:lnTo>
                  <a:lnTo>
                    <a:pt x="8" y="4"/>
                  </a:lnTo>
                  <a:lnTo>
                    <a:pt x="7" y="4"/>
                  </a:lnTo>
                  <a:lnTo>
                    <a:pt x="7" y="4"/>
                  </a:lnTo>
                  <a:lnTo>
                    <a:pt x="7" y="4"/>
                  </a:lnTo>
                  <a:lnTo>
                    <a:pt x="7" y="5"/>
                  </a:lnTo>
                  <a:lnTo>
                    <a:pt x="7" y="5"/>
                  </a:lnTo>
                  <a:lnTo>
                    <a:pt x="7" y="5"/>
                  </a:lnTo>
                  <a:lnTo>
                    <a:pt x="6" y="5"/>
                  </a:lnTo>
                  <a:lnTo>
                    <a:pt x="6" y="5"/>
                  </a:lnTo>
                  <a:lnTo>
                    <a:pt x="6" y="6"/>
                  </a:lnTo>
                  <a:lnTo>
                    <a:pt x="6" y="6"/>
                  </a:lnTo>
                  <a:lnTo>
                    <a:pt x="6" y="6"/>
                  </a:lnTo>
                  <a:lnTo>
                    <a:pt x="6" y="6"/>
                  </a:lnTo>
                  <a:lnTo>
                    <a:pt x="6" y="6"/>
                  </a:lnTo>
                  <a:lnTo>
                    <a:pt x="6" y="5"/>
                  </a:lnTo>
                  <a:lnTo>
                    <a:pt x="6" y="5"/>
                  </a:lnTo>
                  <a:lnTo>
                    <a:pt x="5" y="5"/>
                  </a:lnTo>
                  <a:lnTo>
                    <a:pt x="5" y="5"/>
                  </a:lnTo>
                  <a:lnTo>
                    <a:pt x="5" y="5"/>
                  </a:lnTo>
                  <a:lnTo>
                    <a:pt x="5" y="6"/>
                  </a:lnTo>
                  <a:lnTo>
                    <a:pt x="5" y="5"/>
                  </a:lnTo>
                  <a:lnTo>
                    <a:pt x="5" y="5"/>
                  </a:lnTo>
                  <a:lnTo>
                    <a:pt x="5" y="5"/>
                  </a:lnTo>
                  <a:lnTo>
                    <a:pt x="4" y="5"/>
                  </a:lnTo>
                  <a:lnTo>
                    <a:pt x="4" y="5"/>
                  </a:lnTo>
                  <a:lnTo>
                    <a:pt x="4" y="5"/>
                  </a:lnTo>
                  <a:lnTo>
                    <a:pt x="4" y="5"/>
                  </a:lnTo>
                  <a:lnTo>
                    <a:pt x="3" y="6"/>
                  </a:lnTo>
                  <a:lnTo>
                    <a:pt x="3" y="6"/>
                  </a:lnTo>
                  <a:lnTo>
                    <a:pt x="3" y="6"/>
                  </a:lnTo>
                  <a:lnTo>
                    <a:pt x="3" y="6"/>
                  </a:lnTo>
                  <a:lnTo>
                    <a:pt x="1" y="5"/>
                  </a:lnTo>
                  <a:lnTo>
                    <a:pt x="1" y="5"/>
                  </a:lnTo>
                  <a:lnTo>
                    <a:pt x="1" y="5"/>
                  </a:lnTo>
                  <a:lnTo>
                    <a:pt x="0" y="5"/>
                  </a:lnTo>
                  <a:lnTo>
                    <a:pt x="0" y="4"/>
                  </a:lnTo>
                  <a:lnTo>
                    <a:pt x="0" y="4"/>
                  </a:lnTo>
                  <a:lnTo>
                    <a:pt x="1" y="4"/>
                  </a:lnTo>
                  <a:lnTo>
                    <a:pt x="1" y="4"/>
                  </a:lnTo>
                  <a:lnTo>
                    <a:pt x="1" y="2"/>
                  </a:lnTo>
                  <a:lnTo>
                    <a:pt x="1" y="2"/>
                  </a:lnTo>
                  <a:lnTo>
                    <a:pt x="1" y="2"/>
                  </a:lnTo>
                  <a:lnTo>
                    <a:pt x="1" y="2"/>
                  </a:lnTo>
                  <a:lnTo>
                    <a:pt x="3" y="2"/>
                  </a:lnTo>
                  <a:lnTo>
                    <a:pt x="3" y="2"/>
                  </a:lnTo>
                  <a:lnTo>
                    <a:pt x="3" y="1"/>
                  </a:lnTo>
                  <a:lnTo>
                    <a:pt x="3" y="1"/>
                  </a:lnTo>
                  <a:lnTo>
                    <a:pt x="4" y="1"/>
                  </a:lnTo>
                  <a:lnTo>
                    <a:pt x="4" y="1"/>
                  </a:lnTo>
                  <a:lnTo>
                    <a:pt x="4" y="1"/>
                  </a:lnTo>
                  <a:lnTo>
                    <a:pt x="4" y="1"/>
                  </a:lnTo>
                  <a:lnTo>
                    <a:pt x="4" y="1"/>
                  </a:lnTo>
                  <a:lnTo>
                    <a:pt x="5" y="0"/>
                  </a:lnTo>
                  <a:lnTo>
                    <a:pt x="5" y="0"/>
                  </a:lnTo>
                  <a:lnTo>
                    <a:pt x="5" y="0"/>
                  </a:lnTo>
                  <a:lnTo>
                    <a:pt x="6" y="0"/>
                  </a:lnTo>
                  <a:lnTo>
                    <a:pt x="6" y="0"/>
                  </a:lnTo>
                  <a:lnTo>
                    <a:pt x="6" y="0"/>
                  </a:lnTo>
                  <a:lnTo>
                    <a:pt x="6" y="0"/>
                  </a:lnTo>
                  <a:lnTo>
                    <a:pt x="6" y="0"/>
                  </a:lnTo>
                  <a:lnTo>
                    <a:pt x="6" y="0"/>
                  </a:lnTo>
                  <a:lnTo>
                    <a:pt x="6" y="0"/>
                  </a:lnTo>
                  <a:lnTo>
                    <a:pt x="7" y="0"/>
                  </a:lnTo>
                  <a:lnTo>
                    <a:pt x="7" y="0"/>
                  </a:lnTo>
                  <a:lnTo>
                    <a:pt x="7" y="0"/>
                  </a:lnTo>
                  <a:lnTo>
                    <a:pt x="7" y="0"/>
                  </a:lnTo>
                  <a:lnTo>
                    <a:pt x="7" y="0"/>
                  </a:lnTo>
                  <a:lnTo>
                    <a:pt x="8" y="0"/>
                  </a:lnTo>
                  <a:lnTo>
                    <a:pt x="8" y="0"/>
                  </a:lnTo>
                  <a:lnTo>
                    <a:pt x="8" y="0"/>
                  </a:lnTo>
                  <a:lnTo>
                    <a:pt x="8" y="0"/>
                  </a:lnTo>
                  <a:lnTo>
                    <a:pt x="8" y="0"/>
                  </a:lnTo>
                  <a:lnTo>
                    <a:pt x="8" y="0"/>
                  </a:lnTo>
                  <a:lnTo>
                    <a:pt x="8"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17" name="Freeform 1575">
              <a:extLst>
                <a:ext uri="{FF2B5EF4-FFF2-40B4-BE49-F238E27FC236}">
                  <a16:creationId xmlns:a16="http://schemas.microsoft.com/office/drawing/2014/main" id="{6EB7A2F6-0038-4F98-895A-B2D13597FCA3}"/>
                </a:ext>
              </a:extLst>
            </p:cNvPr>
            <p:cNvSpPr>
              <a:spLocks/>
            </p:cNvSpPr>
            <p:nvPr/>
          </p:nvSpPr>
          <p:spPr bwMode="auto">
            <a:xfrm>
              <a:off x="6120267" y="2407009"/>
              <a:ext cx="16026" cy="13355"/>
            </a:xfrm>
            <a:custGeom>
              <a:avLst/>
              <a:gdLst>
                <a:gd name="T0" fmla="*/ 5 w 12"/>
                <a:gd name="T1" fmla="*/ 1 h 10"/>
                <a:gd name="T2" fmla="*/ 5 w 12"/>
                <a:gd name="T3" fmla="*/ 1 h 10"/>
                <a:gd name="T4" fmla="*/ 5 w 12"/>
                <a:gd name="T5" fmla="*/ 2 h 10"/>
                <a:gd name="T6" fmla="*/ 5 w 12"/>
                <a:gd name="T7" fmla="*/ 3 h 10"/>
                <a:gd name="T8" fmla="*/ 5 w 12"/>
                <a:gd name="T9" fmla="*/ 3 h 10"/>
                <a:gd name="T10" fmla="*/ 5 w 12"/>
                <a:gd name="T11" fmla="*/ 4 h 10"/>
                <a:gd name="T12" fmla="*/ 5 w 12"/>
                <a:gd name="T13" fmla="*/ 4 h 10"/>
                <a:gd name="T14" fmla="*/ 6 w 12"/>
                <a:gd name="T15" fmla="*/ 4 h 10"/>
                <a:gd name="T16" fmla="*/ 6 w 12"/>
                <a:gd name="T17" fmla="*/ 6 h 10"/>
                <a:gd name="T18" fmla="*/ 7 w 12"/>
                <a:gd name="T19" fmla="*/ 4 h 10"/>
                <a:gd name="T20" fmla="*/ 7 w 12"/>
                <a:gd name="T21" fmla="*/ 6 h 10"/>
                <a:gd name="T22" fmla="*/ 9 w 12"/>
                <a:gd name="T23" fmla="*/ 6 h 10"/>
                <a:gd name="T24" fmla="*/ 9 w 12"/>
                <a:gd name="T25" fmla="*/ 7 h 10"/>
                <a:gd name="T26" fmla="*/ 10 w 12"/>
                <a:gd name="T27" fmla="*/ 7 h 10"/>
                <a:gd name="T28" fmla="*/ 10 w 12"/>
                <a:gd name="T29" fmla="*/ 7 h 10"/>
                <a:gd name="T30" fmla="*/ 10 w 12"/>
                <a:gd name="T31" fmla="*/ 7 h 10"/>
                <a:gd name="T32" fmla="*/ 10 w 12"/>
                <a:gd name="T33" fmla="*/ 7 h 10"/>
                <a:gd name="T34" fmla="*/ 10 w 12"/>
                <a:gd name="T35" fmla="*/ 8 h 10"/>
                <a:gd name="T36" fmla="*/ 11 w 12"/>
                <a:gd name="T37" fmla="*/ 8 h 10"/>
                <a:gd name="T38" fmla="*/ 11 w 12"/>
                <a:gd name="T39" fmla="*/ 8 h 10"/>
                <a:gd name="T40" fmla="*/ 11 w 12"/>
                <a:gd name="T41" fmla="*/ 8 h 10"/>
                <a:gd name="T42" fmla="*/ 11 w 12"/>
                <a:gd name="T43" fmla="*/ 8 h 10"/>
                <a:gd name="T44" fmla="*/ 12 w 12"/>
                <a:gd name="T45" fmla="*/ 8 h 10"/>
                <a:gd name="T46" fmla="*/ 12 w 12"/>
                <a:gd name="T47" fmla="*/ 9 h 10"/>
                <a:gd name="T48" fmla="*/ 11 w 12"/>
                <a:gd name="T49" fmla="*/ 9 h 10"/>
                <a:gd name="T50" fmla="*/ 11 w 12"/>
                <a:gd name="T51" fmla="*/ 9 h 10"/>
                <a:gd name="T52" fmla="*/ 9 w 12"/>
                <a:gd name="T53" fmla="*/ 9 h 10"/>
                <a:gd name="T54" fmla="*/ 9 w 12"/>
                <a:gd name="T55" fmla="*/ 10 h 10"/>
                <a:gd name="T56" fmla="*/ 9 w 12"/>
                <a:gd name="T57" fmla="*/ 9 h 10"/>
                <a:gd name="T58" fmla="*/ 7 w 12"/>
                <a:gd name="T59" fmla="*/ 9 h 10"/>
                <a:gd name="T60" fmla="*/ 7 w 12"/>
                <a:gd name="T61" fmla="*/ 9 h 10"/>
                <a:gd name="T62" fmla="*/ 7 w 12"/>
                <a:gd name="T63" fmla="*/ 9 h 10"/>
                <a:gd name="T64" fmla="*/ 7 w 12"/>
                <a:gd name="T65" fmla="*/ 10 h 10"/>
                <a:gd name="T66" fmla="*/ 7 w 12"/>
                <a:gd name="T67" fmla="*/ 10 h 10"/>
                <a:gd name="T68" fmla="*/ 7 w 12"/>
                <a:gd name="T69" fmla="*/ 10 h 10"/>
                <a:gd name="T70" fmla="*/ 5 w 12"/>
                <a:gd name="T71" fmla="*/ 9 h 10"/>
                <a:gd name="T72" fmla="*/ 3 w 12"/>
                <a:gd name="T73" fmla="*/ 8 h 10"/>
                <a:gd name="T74" fmla="*/ 0 w 12"/>
                <a:gd name="T75" fmla="*/ 8 h 10"/>
                <a:gd name="T76" fmla="*/ 0 w 12"/>
                <a:gd name="T77" fmla="*/ 7 h 10"/>
                <a:gd name="T78" fmla="*/ 0 w 12"/>
                <a:gd name="T79" fmla="*/ 7 h 10"/>
                <a:gd name="T80" fmla="*/ 2 w 12"/>
                <a:gd name="T81" fmla="*/ 6 h 10"/>
                <a:gd name="T82" fmla="*/ 0 w 12"/>
                <a:gd name="T83" fmla="*/ 4 h 10"/>
                <a:gd name="T84" fmla="*/ 0 w 12"/>
                <a:gd name="T85" fmla="*/ 4 h 10"/>
                <a:gd name="T86" fmla="*/ 0 w 12"/>
                <a:gd name="T87" fmla="*/ 3 h 10"/>
                <a:gd name="T88" fmla="*/ 2 w 12"/>
                <a:gd name="T89" fmla="*/ 3 h 10"/>
                <a:gd name="T90" fmla="*/ 2 w 12"/>
                <a:gd name="T91" fmla="*/ 2 h 10"/>
                <a:gd name="T92" fmla="*/ 3 w 12"/>
                <a:gd name="T93" fmla="*/ 2 h 10"/>
                <a:gd name="T94" fmla="*/ 3 w 12"/>
                <a:gd name="T95" fmla="*/ 2 h 10"/>
                <a:gd name="T96" fmla="*/ 4 w 12"/>
                <a:gd name="T97" fmla="*/ 2 h 10"/>
                <a:gd name="T98" fmla="*/ 4 w 12"/>
                <a:gd name="T99" fmla="*/ 1 h 10"/>
                <a:gd name="T100" fmla="*/ 4 w 12"/>
                <a:gd name="T101" fmla="*/ 0 h 10"/>
                <a:gd name="T102" fmla="*/ 5 w 12"/>
                <a:gd name="T103" fmla="*/ 0 h 10"/>
                <a:gd name="T104" fmla="*/ 5 w 12"/>
                <a:gd name="T105"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 h="10">
                  <a:moveTo>
                    <a:pt x="5" y="1"/>
                  </a:moveTo>
                  <a:lnTo>
                    <a:pt x="5" y="1"/>
                  </a:lnTo>
                  <a:lnTo>
                    <a:pt x="5" y="1"/>
                  </a:lnTo>
                  <a:lnTo>
                    <a:pt x="5" y="1"/>
                  </a:lnTo>
                  <a:lnTo>
                    <a:pt x="5" y="1"/>
                  </a:lnTo>
                  <a:lnTo>
                    <a:pt x="5" y="2"/>
                  </a:lnTo>
                  <a:lnTo>
                    <a:pt x="5" y="2"/>
                  </a:lnTo>
                  <a:lnTo>
                    <a:pt x="5" y="3"/>
                  </a:lnTo>
                  <a:lnTo>
                    <a:pt x="5" y="3"/>
                  </a:lnTo>
                  <a:lnTo>
                    <a:pt x="5" y="3"/>
                  </a:lnTo>
                  <a:lnTo>
                    <a:pt x="5" y="3"/>
                  </a:lnTo>
                  <a:lnTo>
                    <a:pt x="5" y="4"/>
                  </a:lnTo>
                  <a:lnTo>
                    <a:pt x="5" y="4"/>
                  </a:lnTo>
                  <a:lnTo>
                    <a:pt x="5" y="4"/>
                  </a:lnTo>
                  <a:lnTo>
                    <a:pt x="6" y="4"/>
                  </a:lnTo>
                  <a:lnTo>
                    <a:pt x="6" y="4"/>
                  </a:lnTo>
                  <a:lnTo>
                    <a:pt x="6" y="6"/>
                  </a:lnTo>
                  <a:lnTo>
                    <a:pt x="6" y="6"/>
                  </a:lnTo>
                  <a:lnTo>
                    <a:pt x="7" y="6"/>
                  </a:lnTo>
                  <a:lnTo>
                    <a:pt x="7" y="4"/>
                  </a:lnTo>
                  <a:lnTo>
                    <a:pt x="7" y="4"/>
                  </a:lnTo>
                  <a:lnTo>
                    <a:pt x="7" y="6"/>
                  </a:lnTo>
                  <a:lnTo>
                    <a:pt x="7" y="6"/>
                  </a:lnTo>
                  <a:lnTo>
                    <a:pt x="9" y="6"/>
                  </a:lnTo>
                  <a:lnTo>
                    <a:pt x="9" y="6"/>
                  </a:lnTo>
                  <a:lnTo>
                    <a:pt x="9" y="7"/>
                  </a:lnTo>
                  <a:lnTo>
                    <a:pt x="9" y="7"/>
                  </a:lnTo>
                  <a:lnTo>
                    <a:pt x="10" y="7"/>
                  </a:lnTo>
                  <a:lnTo>
                    <a:pt x="10" y="7"/>
                  </a:lnTo>
                  <a:lnTo>
                    <a:pt x="10" y="7"/>
                  </a:lnTo>
                  <a:lnTo>
                    <a:pt x="10" y="7"/>
                  </a:lnTo>
                  <a:lnTo>
                    <a:pt x="10" y="7"/>
                  </a:lnTo>
                  <a:lnTo>
                    <a:pt x="10" y="7"/>
                  </a:lnTo>
                  <a:lnTo>
                    <a:pt x="10" y="7"/>
                  </a:lnTo>
                  <a:lnTo>
                    <a:pt x="10" y="7"/>
                  </a:lnTo>
                  <a:lnTo>
                    <a:pt x="10" y="8"/>
                  </a:lnTo>
                  <a:lnTo>
                    <a:pt x="10" y="8"/>
                  </a:lnTo>
                  <a:lnTo>
                    <a:pt x="11" y="8"/>
                  </a:lnTo>
                  <a:lnTo>
                    <a:pt x="11" y="8"/>
                  </a:lnTo>
                  <a:lnTo>
                    <a:pt x="11" y="8"/>
                  </a:lnTo>
                  <a:lnTo>
                    <a:pt x="11" y="8"/>
                  </a:lnTo>
                  <a:lnTo>
                    <a:pt x="11" y="8"/>
                  </a:lnTo>
                  <a:lnTo>
                    <a:pt x="11" y="8"/>
                  </a:lnTo>
                  <a:lnTo>
                    <a:pt x="11" y="8"/>
                  </a:lnTo>
                  <a:lnTo>
                    <a:pt x="11" y="8"/>
                  </a:lnTo>
                  <a:lnTo>
                    <a:pt x="12" y="8"/>
                  </a:lnTo>
                  <a:lnTo>
                    <a:pt x="12" y="9"/>
                  </a:lnTo>
                  <a:lnTo>
                    <a:pt x="12" y="9"/>
                  </a:lnTo>
                  <a:lnTo>
                    <a:pt x="12" y="9"/>
                  </a:lnTo>
                  <a:lnTo>
                    <a:pt x="11" y="9"/>
                  </a:lnTo>
                  <a:lnTo>
                    <a:pt x="11" y="9"/>
                  </a:lnTo>
                  <a:lnTo>
                    <a:pt x="11" y="9"/>
                  </a:lnTo>
                  <a:lnTo>
                    <a:pt x="10" y="9"/>
                  </a:lnTo>
                  <a:lnTo>
                    <a:pt x="9" y="9"/>
                  </a:lnTo>
                  <a:lnTo>
                    <a:pt x="9" y="10"/>
                  </a:lnTo>
                  <a:lnTo>
                    <a:pt x="9" y="10"/>
                  </a:lnTo>
                  <a:lnTo>
                    <a:pt x="9" y="9"/>
                  </a:lnTo>
                  <a:lnTo>
                    <a:pt x="9" y="9"/>
                  </a:lnTo>
                  <a:lnTo>
                    <a:pt x="7" y="9"/>
                  </a:lnTo>
                  <a:lnTo>
                    <a:pt x="7" y="9"/>
                  </a:lnTo>
                  <a:lnTo>
                    <a:pt x="7" y="9"/>
                  </a:lnTo>
                  <a:lnTo>
                    <a:pt x="7" y="9"/>
                  </a:lnTo>
                  <a:lnTo>
                    <a:pt x="7" y="9"/>
                  </a:lnTo>
                  <a:lnTo>
                    <a:pt x="7" y="9"/>
                  </a:lnTo>
                  <a:lnTo>
                    <a:pt x="7" y="9"/>
                  </a:lnTo>
                  <a:lnTo>
                    <a:pt x="7" y="10"/>
                  </a:lnTo>
                  <a:lnTo>
                    <a:pt x="7" y="10"/>
                  </a:lnTo>
                  <a:lnTo>
                    <a:pt x="7" y="10"/>
                  </a:lnTo>
                  <a:lnTo>
                    <a:pt x="7" y="10"/>
                  </a:lnTo>
                  <a:lnTo>
                    <a:pt x="7" y="10"/>
                  </a:lnTo>
                  <a:lnTo>
                    <a:pt x="6" y="10"/>
                  </a:lnTo>
                  <a:lnTo>
                    <a:pt x="5" y="9"/>
                  </a:lnTo>
                  <a:lnTo>
                    <a:pt x="4" y="9"/>
                  </a:lnTo>
                  <a:lnTo>
                    <a:pt x="3" y="8"/>
                  </a:lnTo>
                  <a:lnTo>
                    <a:pt x="2" y="8"/>
                  </a:lnTo>
                  <a:lnTo>
                    <a:pt x="0" y="8"/>
                  </a:lnTo>
                  <a:lnTo>
                    <a:pt x="0" y="7"/>
                  </a:lnTo>
                  <a:lnTo>
                    <a:pt x="0" y="7"/>
                  </a:lnTo>
                  <a:lnTo>
                    <a:pt x="0" y="7"/>
                  </a:lnTo>
                  <a:lnTo>
                    <a:pt x="0" y="7"/>
                  </a:lnTo>
                  <a:lnTo>
                    <a:pt x="2" y="7"/>
                  </a:lnTo>
                  <a:lnTo>
                    <a:pt x="2" y="6"/>
                  </a:lnTo>
                  <a:lnTo>
                    <a:pt x="0" y="6"/>
                  </a:lnTo>
                  <a:lnTo>
                    <a:pt x="0" y="4"/>
                  </a:lnTo>
                  <a:lnTo>
                    <a:pt x="0" y="4"/>
                  </a:lnTo>
                  <a:lnTo>
                    <a:pt x="0" y="4"/>
                  </a:lnTo>
                  <a:lnTo>
                    <a:pt x="0" y="3"/>
                  </a:lnTo>
                  <a:lnTo>
                    <a:pt x="0" y="3"/>
                  </a:lnTo>
                  <a:lnTo>
                    <a:pt x="2" y="3"/>
                  </a:lnTo>
                  <a:lnTo>
                    <a:pt x="2" y="3"/>
                  </a:lnTo>
                  <a:lnTo>
                    <a:pt x="2" y="3"/>
                  </a:lnTo>
                  <a:lnTo>
                    <a:pt x="2" y="2"/>
                  </a:lnTo>
                  <a:lnTo>
                    <a:pt x="3" y="2"/>
                  </a:lnTo>
                  <a:lnTo>
                    <a:pt x="3" y="2"/>
                  </a:lnTo>
                  <a:lnTo>
                    <a:pt x="3" y="2"/>
                  </a:lnTo>
                  <a:lnTo>
                    <a:pt x="3" y="2"/>
                  </a:lnTo>
                  <a:lnTo>
                    <a:pt x="4" y="2"/>
                  </a:lnTo>
                  <a:lnTo>
                    <a:pt x="4" y="2"/>
                  </a:lnTo>
                  <a:lnTo>
                    <a:pt x="4" y="1"/>
                  </a:lnTo>
                  <a:lnTo>
                    <a:pt x="4" y="1"/>
                  </a:lnTo>
                  <a:lnTo>
                    <a:pt x="4" y="0"/>
                  </a:lnTo>
                  <a:lnTo>
                    <a:pt x="4" y="0"/>
                  </a:lnTo>
                  <a:lnTo>
                    <a:pt x="4" y="0"/>
                  </a:lnTo>
                  <a:lnTo>
                    <a:pt x="5" y="0"/>
                  </a:lnTo>
                  <a:lnTo>
                    <a:pt x="5" y="0"/>
                  </a:lnTo>
                  <a:lnTo>
                    <a:pt x="5" y="1"/>
                  </a:lnTo>
                  <a:lnTo>
                    <a:pt x="5"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18" name="Freeform 1576">
              <a:extLst>
                <a:ext uri="{FF2B5EF4-FFF2-40B4-BE49-F238E27FC236}">
                  <a16:creationId xmlns:a16="http://schemas.microsoft.com/office/drawing/2014/main" id="{529252D9-82B4-49F8-8F16-595D919670F2}"/>
                </a:ext>
              </a:extLst>
            </p:cNvPr>
            <p:cNvSpPr>
              <a:spLocks noEditPoints="1"/>
            </p:cNvSpPr>
            <p:nvPr/>
          </p:nvSpPr>
          <p:spPr bwMode="auto">
            <a:xfrm>
              <a:off x="6114925" y="2417693"/>
              <a:ext cx="14691" cy="10684"/>
            </a:xfrm>
            <a:custGeom>
              <a:avLst/>
              <a:gdLst>
                <a:gd name="T0" fmla="*/ 1 w 11"/>
                <a:gd name="T1" fmla="*/ 8 h 8"/>
                <a:gd name="T2" fmla="*/ 1 w 11"/>
                <a:gd name="T3" fmla="*/ 7 h 8"/>
                <a:gd name="T4" fmla="*/ 1 w 11"/>
                <a:gd name="T5" fmla="*/ 6 h 8"/>
                <a:gd name="T6" fmla="*/ 2 w 11"/>
                <a:gd name="T7" fmla="*/ 6 h 8"/>
                <a:gd name="T8" fmla="*/ 2 w 11"/>
                <a:gd name="T9" fmla="*/ 7 h 8"/>
                <a:gd name="T10" fmla="*/ 3 w 11"/>
                <a:gd name="T11" fmla="*/ 7 h 8"/>
                <a:gd name="T12" fmla="*/ 2 w 11"/>
                <a:gd name="T13" fmla="*/ 7 h 8"/>
                <a:gd name="T14" fmla="*/ 11 w 11"/>
                <a:gd name="T15" fmla="*/ 3 h 8"/>
                <a:gd name="T16" fmla="*/ 11 w 11"/>
                <a:gd name="T17" fmla="*/ 5 h 8"/>
                <a:gd name="T18" fmla="*/ 10 w 11"/>
                <a:gd name="T19" fmla="*/ 5 h 8"/>
                <a:gd name="T20" fmla="*/ 9 w 11"/>
                <a:gd name="T21" fmla="*/ 5 h 8"/>
                <a:gd name="T22" fmla="*/ 8 w 11"/>
                <a:gd name="T23" fmla="*/ 6 h 8"/>
                <a:gd name="T24" fmla="*/ 7 w 11"/>
                <a:gd name="T25" fmla="*/ 5 h 8"/>
                <a:gd name="T26" fmla="*/ 6 w 11"/>
                <a:gd name="T27" fmla="*/ 5 h 8"/>
                <a:gd name="T28" fmla="*/ 4 w 11"/>
                <a:gd name="T29" fmla="*/ 6 h 8"/>
                <a:gd name="T30" fmla="*/ 4 w 11"/>
                <a:gd name="T31" fmla="*/ 6 h 8"/>
                <a:gd name="T32" fmla="*/ 3 w 11"/>
                <a:gd name="T33" fmla="*/ 6 h 8"/>
                <a:gd name="T34" fmla="*/ 3 w 11"/>
                <a:gd name="T35" fmla="*/ 6 h 8"/>
                <a:gd name="T36" fmla="*/ 2 w 11"/>
                <a:gd name="T37" fmla="*/ 6 h 8"/>
                <a:gd name="T38" fmla="*/ 1 w 11"/>
                <a:gd name="T39" fmla="*/ 6 h 8"/>
                <a:gd name="T40" fmla="*/ 1 w 11"/>
                <a:gd name="T41" fmla="*/ 5 h 8"/>
                <a:gd name="T42" fmla="*/ 1 w 11"/>
                <a:gd name="T43" fmla="*/ 5 h 8"/>
                <a:gd name="T44" fmla="*/ 0 w 11"/>
                <a:gd name="T45" fmla="*/ 3 h 8"/>
                <a:gd name="T46" fmla="*/ 1 w 11"/>
                <a:gd name="T47" fmla="*/ 3 h 8"/>
                <a:gd name="T48" fmla="*/ 2 w 11"/>
                <a:gd name="T49" fmla="*/ 3 h 8"/>
                <a:gd name="T50" fmla="*/ 2 w 11"/>
                <a:gd name="T51" fmla="*/ 3 h 8"/>
                <a:gd name="T52" fmla="*/ 2 w 11"/>
                <a:gd name="T53" fmla="*/ 2 h 8"/>
                <a:gd name="T54" fmla="*/ 2 w 11"/>
                <a:gd name="T55" fmla="*/ 1 h 8"/>
                <a:gd name="T56" fmla="*/ 2 w 11"/>
                <a:gd name="T57" fmla="*/ 1 h 8"/>
                <a:gd name="T58" fmla="*/ 2 w 11"/>
                <a:gd name="T59" fmla="*/ 0 h 8"/>
                <a:gd name="T60" fmla="*/ 3 w 11"/>
                <a:gd name="T61" fmla="*/ 0 h 8"/>
                <a:gd name="T62" fmla="*/ 3 w 11"/>
                <a:gd name="T63" fmla="*/ 0 h 8"/>
                <a:gd name="T64" fmla="*/ 4 w 11"/>
                <a:gd name="T65" fmla="*/ 0 h 8"/>
                <a:gd name="T66" fmla="*/ 7 w 11"/>
                <a:gd name="T67" fmla="*/ 0 h 8"/>
                <a:gd name="T68" fmla="*/ 9 w 11"/>
                <a:gd name="T69" fmla="*/ 1 h 8"/>
                <a:gd name="T70" fmla="*/ 11 w 11"/>
                <a:gd name="T71" fmla="*/ 2 h 8"/>
                <a:gd name="T72" fmla="*/ 11 w 11"/>
                <a:gd name="T7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 h="8">
                  <a:moveTo>
                    <a:pt x="2" y="7"/>
                  </a:moveTo>
                  <a:lnTo>
                    <a:pt x="1" y="8"/>
                  </a:lnTo>
                  <a:lnTo>
                    <a:pt x="1" y="8"/>
                  </a:lnTo>
                  <a:lnTo>
                    <a:pt x="1" y="7"/>
                  </a:lnTo>
                  <a:lnTo>
                    <a:pt x="1" y="7"/>
                  </a:lnTo>
                  <a:lnTo>
                    <a:pt x="1" y="6"/>
                  </a:lnTo>
                  <a:lnTo>
                    <a:pt x="1" y="6"/>
                  </a:lnTo>
                  <a:lnTo>
                    <a:pt x="2" y="6"/>
                  </a:lnTo>
                  <a:lnTo>
                    <a:pt x="2" y="6"/>
                  </a:lnTo>
                  <a:lnTo>
                    <a:pt x="2" y="7"/>
                  </a:lnTo>
                  <a:lnTo>
                    <a:pt x="3" y="7"/>
                  </a:lnTo>
                  <a:lnTo>
                    <a:pt x="3" y="7"/>
                  </a:lnTo>
                  <a:lnTo>
                    <a:pt x="3" y="7"/>
                  </a:lnTo>
                  <a:lnTo>
                    <a:pt x="2" y="7"/>
                  </a:lnTo>
                  <a:lnTo>
                    <a:pt x="2" y="7"/>
                  </a:lnTo>
                  <a:close/>
                  <a:moveTo>
                    <a:pt x="11" y="3"/>
                  </a:moveTo>
                  <a:lnTo>
                    <a:pt x="11" y="5"/>
                  </a:lnTo>
                  <a:lnTo>
                    <a:pt x="11" y="5"/>
                  </a:lnTo>
                  <a:lnTo>
                    <a:pt x="11" y="5"/>
                  </a:lnTo>
                  <a:lnTo>
                    <a:pt x="10" y="5"/>
                  </a:lnTo>
                  <a:lnTo>
                    <a:pt x="10" y="5"/>
                  </a:lnTo>
                  <a:lnTo>
                    <a:pt x="9" y="5"/>
                  </a:lnTo>
                  <a:lnTo>
                    <a:pt x="8" y="5"/>
                  </a:lnTo>
                  <a:lnTo>
                    <a:pt x="8" y="6"/>
                  </a:lnTo>
                  <a:lnTo>
                    <a:pt x="8" y="5"/>
                  </a:lnTo>
                  <a:lnTo>
                    <a:pt x="7" y="5"/>
                  </a:lnTo>
                  <a:lnTo>
                    <a:pt x="6" y="5"/>
                  </a:lnTo>
                  <a:lnTo>
                    <a:pt x="6" y="5"/>
                  </a:lnTo>
                  <a:lnTo>
                    <a:pt x="4" y="6"/>
                  </a:lnTo>
                  <a:lnTo>
                    <a:pt x="4" y="6"/>
                  </a:lnTo>
                  <a:lnTo>
                    <a:pt x="4" y="6"/>
                  </a:lnTo>
                  <a:lnTo>
                    <a:pt x="4" y="6"/>
                  </a:lnTo>
                  <a:lnTo>
                    <a:pt x="4" y="6"/>
                  </a:lnTo>
                  <a:lnTo>
                    <a:pt x="3" y="6"/>
                  </a:lnTo>
                  <a:lnTo>
                    <a:pt x="3" y="6"/>
                  </a:lnTo>
                  <a:lnTo>
                    <a:pt x="3" y="6"/>
                  </a:lnTo>
                  <a:lnTo>
                    <a:pt x="3" y="6"/>
                  </a:lnTo>
                  <a:lnTo>
                    <a:pt x="2" y="6"/>
                  </a:lnTo>
                  <a:lnTo>
                    <a:pt x="2" y="6"/>
                  </a:lnTo>
                  <a:lnTo>
                    <a:pt x="1" y="6"/>
                  </a:lnTo>
                  <a:lnTo>
                    <a:pt x="1" y="6"/>
                  </a:lnTo>
                  <a:lnTo>
                    <a:pt x="1" y="5"/>
                  </a:lnTo>
                  <a:lnTo>
                    <a:pt x="1" y="5"/>
                  </a:lnTo>
                  <a:lnTo>
                    <a:pt x="1" y="5"/>
                  </a:lnTo>
                  <a:lnTo>
                    <a:pt x="1" y="5"/>
                  </a:lnTo>
                  <a:lnTo>
                    <a:pt x="0" y="3"/>
                  </a:lnTo>
                  <a:lnTo>
                    <a:pt x="1" y="3"/>
                  </a:lnTo>
                  <a:lnTo>
                    <a:pt x="1" y="3"/>
                  </a:lnTo>
                  <a:lnTo>
                    <a:pt x="1" y="3"/>
                  </a:lnTo>
                  <a:lnTo>
                    <a:pt x="2" y="3"/>
                  </a:lnTo>
                  <a:lnTo>
                    <a:pt x="2" y="3"/>
                  </a:lnTo>
                  <a:lnTo>
                    <a:pt x="2" y="3"/>
                  </a:lnTo>
                  <a:lnTo>
                    <a:pt x="2" y="3"/>
                  </a:lnTo>
                  <a:lnTo>
                    <a:pt x="2" y="2"/>
                  </a:lnTo>
                  <a:lnTo>
                    <a:pt x="2" y="2"/>
                  </a:lnTo>
                  <a:lnTo>
                    <a:pt x="2" y="1"/>
                  </a:lnTo>
                  <a:lnTo>
                    <a:pt x="2" y="1"/>
                  </a:lnTo>
                  <a:lnTo>
                    <a:pt x="2" y="1"/>
                  </a:lnTo>
                  <a:lnTo>
                    <a:pt x="2" y="1"/>
                  </a:lnTo>
                  <a:lnTo>
                    <a:pt x="2" y="0"/>
                  </a:lnTo>
                  <a:lnTo>
                    <a:pt x="3" y="0"/>
                  </a:lnTo>
                  <a:lnTo>
                    <a:pt x="3" y="0"/>
                  </a:lnTo>
                  <a:lnTo>
                    <a:pt x="3" y="0"/>
                  </a:lnTo>
                  <a:lnTo>
                    <a:pt x="3" y="0"/>
                  </a:lnTo>
                  <a:lnTo>
                    <a:pt x="4" y="0"/>
                  </a:lnTo>
                  <a:lnTo>
                    <a:pt x="4" y="0"/>
                  </a:lnTo>
                  <a:lnTo>
                    <a:pt x="6" y="0"/>
                  </a:lnTo>
                  <a:lnTo>
                    <a:pt x="7" y="0"/>
                  </a:lnTo>
                  <a:lnTo>
                    <a:pt x="8" y="1"/>
                  </a:lnTo>
                  <a:lnTo>
                    <a:pt x="9" y="1"/>
                  </a:lnTo>
                  <a:lnTo>
                    <a:pt x="10" y="2"/>
                  </a:lnTo>
                  <a:lnTo>
                    <a:pt x="11" y="2"/>
                  </a:lnTo>
                  <a:lnTo>
                    <a:pt x="11" y="2"/>
                  </a:lnTo>
                  <a:lnTo>
                    <a:pt x="11" y="3"/>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19" name="Freeform 1577">
              <a:extLst>
                <a:ext uri="{FF2B5EF4-FFF2-40B4-BE49-F238E27FC236}">
                  <a16:creationId xmlns:a16="http://schemas.microsoft.com/office/drawing/2014/main" id="{CBB57955-1D48-40D4-B1EC-7605FF8AB24E}"/>
                </a:ext>
              </a:extLst>
            </p:cNvPr>
            <p:cNvSpPr>
              <a:spLocks/>
            </p:cNvSpPr>
            <p:nvPr/>
          </p:nvSpPr>
          <p:spPr bwMode="auto">
            <a:xfrm>
              <a:off x="6118932" y="2400332"/>
              <a:ext cx="5342" cy="2671"/>
            </a:xfrm>
            <a:custGeom>
              <a:avLst/>
              <a:gdLst>
                <a:gd name="T0" fmla="*/ 1 w 4"/>
                <a:gd name="T1" fmla="*/ 0 h 2"/>
                <a:gd name="T2" fmla="*/ 3 w 4"/>
                <a:gd name="T3" fmla="*/ 1 h 2"/>
                <a:gd name="T4" fmla="*/ 3 w 4"/>
                <a:gd name="T5" fmla="*/ 1 h 2"/>
                <a:gd name="T6" fmla="*/ 4 w 4"/>
                <a:gd name="T7" fmla="*/ 1 h 2"/>
                <a:gd name="T8" fmla="*/ 4 w 4"/>
                <a:gd name="T9" fmla="*/ 1 h 2"/>
                <a:gd name="T10" fmla="*/ 4 w 4"/>
                <a:gd name="T11" fmla="*/ 1 h 2"/>
                <a:gd name="T12" fmla="*/ 3 w 4"/>
                <a:gd name="T13" fmla="*/ 1 h 2"/>
                <a:gd name="T14" fmla="*/ 3 w 4"/>
                <a:gd name="T15" fmla="*/ 1 h 2"/>
                <a:gd name="T16" fmla="*/ 3 w 4"/>
                <a:gd name="T17" fmla="*/ 2 h 2"/>
                <a:gd name="T18" fmla="*/ 3 w 4"/>
                <a:gd name="T19" fmla="*/ 2 h 2"/>
                <a:gd name="T20" fmla="*/ 1 w 4"/>
                <a:gd name="T21" fmla="*/ 2 h 2"/>
                <a:gd name="T22" fmla="*/ 1 w 4"/>
                <a:gd name="T23" fmla="*/ 2 h 2"/>
                <a:gd name="T24" fmla="*/ 1 w 4"/>
                <a:gd name="T25" fmla="*/ 2 h 2"/>
                <a:gd name="T26" fmla="*/ 1 w 4"/>
                <a:gd name="T27" fmla="*/ 2 h 2"/>
                <a:gd name="T28" fmla="*/ 1 w 4"/>
                <a:gd name="T29" fmla="*/ 2 h 2"/>
                <a:gd name="T30" fmla="*/ 1 w 4"/>
                <a:gd name="T31" fmla="*/ 2 h 2"/>
                <a:gd name="T32" fmla="*/ 1 w 4"/>
                <a:gd name="T33" fmla="*/ 2 h 2"/>
                <a:gd name="T34" fmla="*/ 1 w 4"/>
                <a:gd name="T35" fmla="*/ 1 h 2"/>
                <a:gd name="T36" fmla="*/ 0 w 4"/>
                <a:gd name="T37" fmla="*/ 1 h 2"/>
                <a:gd name="T38" fmla="*/ 0 w 4"/>
                <a:gd name="T39" fmla="*/ 1 h 2"/>
                <a:gd name="T40" fmla="*/ 1 w 4"/>
                <a:gd name="T41" fmla="*/ 0 h 2"/>
                <a:gd name="T42" fmla="*/ 1 w 4"/>
                <a:gd name="T43" fmla="*/ 0 h 2"/>
                <a:gd name="T44" fmla="*/ 1 w 4"/>
                <a:gd name="T45" fmla="*/ 0 h 2"/>
                <a:gd name="T46" fmla="*/ 1 w 4"/>
                <a:gd name="T47" fmla="*/ 0 h 2"/>
                <a:gd name="T48" fmla="*/ 1 w 4"/>
                <a:gd name="T49" fmla="*/ 1 h 2"/>
                <a:gd name="T50" fmla="*/ 1 w 4"/>
                <a:gd name="T51" fmla="*/ 1 h 2"/>
                <a:gd name="T52" fmla="*/ 1 w 4"/>
                <a:gd name="T53" fmla="*/ 1 h 2"/>
                <a:gd name="T54" fmla="*/ 1 w 4"/>
                <a:gd name="T55" fmla="*/ 1 h 2"/>
                <a:gd name="T56" fmla="*/ 1 w 4"/>
                <a:gd name="T57" fmla="*/ 1 h 2"/>
                <a:gd name="T58" fmla="*/ 1 w 4"/>
                <a:gd name="T59" fmla="*/ 0 h 2"/>
                <a:gd name="T60" fmla="*/ 1 w 4"/>
                <a:gd name="T6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 h="2">
                  <a:moveTo>
                    <a:pt x="1" y="0"/>
                  </a:moveTo>
                  <a:lnTo>
                    <a:pt x="3" y="1"/>
                  </a:lnTo>
                  <a:lnTo>
                    <a:pt x="3" y="1"/>
                  </a:lnTo>
                  <a:lnTo>
                    <a:pt x="4" y="1"/>
                  </a:lnTo>
                  <a:lnTo>
                    <a:pt x="4" y="1"/>
                  </a:lnTo>
                  <a:lnTo>
                    <a:pt x="4" y="1"/>
                  </a:lnTo>
                  <a:lnTo>
                    <a:pt x="3" y="1"/>
                  </a:lnTo>
                  <a:lnTo>
                    <a:pt x="3" y="1"/>
                  </a:lnTo>
                  <a:lnTo>
                    <a:pt x="3" y="2"/>
                  </a:lnTo>
                  <a:lnTo>
                    <a:pt x="3" y="2"/>
                  </a:lnTo>
                  <a:lnTo>
                    <a:pt x="1" y="2"/>
                  </a:lnTo>
                  <a:lnTo>
                    <a:pt x="1" y="2"/>
                  </a:lnTo>
                  <a:lnTo>
                    <a:pt x="1" y="2"/>
                  </a:lnTo>
                  <a:lnTo>
                    <a:pt x="1" y="2"/>
                  </a:lnTo>
                  <a:lnTo>
                    <a:pt x="1" y="2"/>
                  </a:lnTo>
                  <a:lnTo>
                    <a:pt x="1" y="2"/>
                  </a:lnTo>
                  <a:lnTo>
                    <a:pt x="1" y="2"/>
                  </a:lnTo>
                  <a:lnTo>
                    <a:pt x="1" y="1"/>
                  </a:lnTo>
                  <a:lnTo>
                    <a:pt x="0" y="1"/>
                  </a:lnTo>
                  <a:lnTo>
                    <a:pt x="0" y="1"/>
                  </a:lnTo>
                  <a:lnTo>
                    <a:pt x="1" y="0"/>
                  </a:lnTo>
                  <a:lnTo>
                    <a:pt x="1" y="0"/>
                  </a:lnTo>
                  <a:lnTo>
                    <a:pt x="1" y="0"/>
                  </a:lnTo>
                  <a:lnTo>
                    <a:pt x="1" y="0"/>
                  </a:lnTo>
                  <a:lnTo>
                    <a:pt x="1" y="1"/>
                  </a:lnTo>
                  <a:lnTo>
                    <a:pt x="1" y="1"/>
                  </a:lnTo>
                  <a:lnTo>
                    <a:pt x="1" y="1"/>
                  </a:lnTo>
                  <a:lnTo>
                    <a:pt x="1" y="1"/>
                  </a:lnTo>
                  <a:lnTo>
                    <a:pt x="1" y="1"/>
                  </a:lnTo>
                  <a:lnTo>
                    <a:pt x="1" y="0"/>
                  </a:lnTo>
                  <a:lnTo>
                    <a:pt x="1"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20" name="Freeform 1578">
              <a:extLst>
                <a:ext uri="{FF2B5EF4-FFF2-40B4-BE49-F238E27FC236}">
                  <a16:creationId xmlns:a16="http://schemas.microsoft.com/office/drawing/2014/main" id="{32330B22-8831-4979-AF09-0B9416F60E0F}"/>
                </a:ext>
              </a:extLst>
            </p:cNvPr>
            <p:cNvSpPr>
              <a:spLocks/>
            </p:cNvSpPr>
            <p:nvPr/>
          </p:nvSpPr>
          <p:spPr bwMode="auto">
            <a:xfrm>
              <a:off x="6118932" y="2400332"/>
              <a:ext cx="10684" cy="8013"/>
            </a:xfrm>
            <a:custGeom>
              <a:avLst/>
              <a:gdLst>
                <a:gd name="T0" fmla="*/ 8 w 8"/>
                <a:gd name="T1" fmla="*/ 0 h 6"/>
                <a:gd name="T2" fmla="*/ 8 w 8"/>
                <a:gd name="T3" fmla="*/ 0 h 6"/>
                <a:gd name="T4" fmla="*/ 8 w 8"/>
                <a:gd name="T5" fmla="*/ 1 h 6"/>
                <a:gd name="T6" fmla="*/ 8 w 8"/>
                <a:gd name="T7" fmla="*/ 1 h 6"/>
                <a:gd name="T8" fmla="*/ 8 w 8"/>
                <a:gd name="T9" fmla="*/ 2 h 6"/>
                <a:gd name="T10" fmla="*/ 8 w 8"/>
                <a:gd name="T11" fmla="*/ 4 h 6"/>
                <a:gd name="T12" fmla="*/ 7 w 8"/>
                <a:gd name="T13" fmla="*/ 4 h 6"/>
                <a:gd name="T14" fmla="*/ 7 w 8"/>
                <a:gd name="T15" fmla="*/ 5 h 6"/>
                <a:gd name="T16" fmla="*/ 7 w 8"/>
                <a:gd name="T17" fmla="*/ 5 h 6"/>
                <a:gd name="T18" fmla="*/ 6 w 8"/>
                <a:gd name="T19" fmla="*/ 5 h 6"/>
                <a:gd name="T20" fmla="*/ 6 w 8"/>
                <a:gd name="T21" fmla="*/ 6 h 6"/>
                <a:gd name="T22" fmla="*/ 6 w 8"/>
                <a:gd name="T23" fmla="*/ 6 h 6"/>
                <a:gd name="T24" fmla="*/ 6 w 8"/>
                <a:gd name="T25" fmla="*/ 5 h 6"/>
                <a:gd name="T26" fmla="*/ 5 w 8"/>
                <a:gd name="T27" fmla="*/ 5 h 6"/>
                <a:gd name="T28" fmla="*/ 5 w 8"/>
                <a:gd name="T29" fmla="*/ 5 h 6"/>
                <a:gd name="T30" fmla="*/ 5 w 8"/>
                <a:gd name="T31" fmla="*/ 5 h 6"/>
                <a:gd name="T32" fmla="*/ 5 w 8"/>
                <a:gd name="T33" fmla="*/ 5 h 6"/>
                <a:gd name="T34" fmla="*/ 4 w 8"/>
                <a:gd name="T35" fmla="*/ 5 h 6"/>
                <a:gd name="T36" fmla="*/ 4 w 8"/>
                <a:gd name="T37" fmla="*/ 5 h 6"/>
                <a:gd name="T38" fmla="*/ 3 w 8"/>
                <a:gd name="T39" fmla="*/ 6 h 6"/>
                <a:gd name="T40" fmla="*/ 3 w 8"/>
                <a:gd name="T41" fmla="*/ 6 h 6"/>
                <a:gd name="T42" fmla="*/ 1 w 8"/>
                <a:gd name="T43" fmla="*/ 5 h 6"/>
                <a:gd name="T44" fmla="*/ 0 w 8"/>
                <a:gd name="T45" fmla="*/ 5 h 6"/>
                <a:gd name="T46" fmla="*/ 0 w 8"/>
                <a:gd name="T47" fmla="*/ 4 h 6"/>
                <a:gd name="T48" fmla="*/ 1 w 8"/>
                <a:gd name="T49" fmla="*/ 4 h 6"/>
                <a:gd name="T50" fmla="*/ 1 w 8"/>
                <a:gd name="T51" fmla="*/ 2 h 6"/>
                <a:gd name="T52" fmla="*/ 1 w 8"/>
                <a:gd name="T53" fmla="*/ 2 h 6"/>
                <a:gd name="T54" fmla="*/ 3 w 8"/>
                <a:gd name="T55" fmla="*/ 2 h 6"/>
                <a:gd name="T56" fmla="*/ 3 w 8"/>
                <a:gd name="T57" fmla="*/ 1 h 6"/>
                <a:gd name="T58" fmla="*/ 4 w 8"/>
                <a:gd name="T59" fmla="*/ 1 h 6"/>
                <a:gd name="T60" fmla="*/ 4 w 8"/>
                <a:gd name="T61" fmla="*/ 1 h 6"/>
                <a:gd name="T62" fmla="*/ 5 w 8"/>
                <a:gd name="T63" fmla="*/ 0 h 6"/>
                <a:gd name="T64" fmla="*/ 5 w 8"/>
                <a:gd name="T65" fmla="*/ 0 h 6"/>
                <a:gd name="T66" fmla="*/ 6 w 8"/>
                <a:gd name="T67" fmla="*/ 0 h 6"/>
                <a:gd name="T68" fmla="*/ 6 w 8"/>
                <a:gd name="T69" fmla="*/ 0 h 6"/>
                <a:gd name="T70" fmla="*/ 6 w 8"/>
                <a:gd name="T71" fmla="*/ 0 h 6"/>
                <a:gd name="T72" fmla="*/ 7 w 8"/>
                <a:gd name="T73" fmla="*/ 0 h 6"/>
                <a:gd name="T74" fmla="*/ 7 w 8"/>
                <a:gd name="T75" fmla="*/ 0 h 6"/>
                <a:gd name="T76" fmla="*/ 7 w 8"/>
                <a:gd name="T77" fmla="*/ 0 h 6"/>
                <a:gd name="T78" fmla="*/ 8 w 8"/>
                <a:gd name="T79" fmla="*/ 0 h 6"/>
                <a:gd name="T80" fmla="*/ 8 w 8"/>
                <a:gd name="T81" fmla="*/ 0 h 6"/>
                <a:gd name="T82" fmla="*/ 8 w 8"/>
                <a:gd name="T8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 h="6">
                  <a:moveTo>
                    <a:pt x="8" y="0"/>
                  </a:moveTo>
                  <a:lnTo>
                    <a:pt x="8" y="0"/>
                  </a:lnTo>
                  <a:lnTo>
                    <a:pt x="8" y="0"/>
                  </a:lnTo>
                  <a:lnTo>
                    <a:pt x="8" y="0"/>
                  </a:lnTo>
                  <a:lnTo>
                    <a:pt x="8" y="0"/>
                  </a:lnTo>
                  <a:lnTo>
                    <a:pt x="8" y="1"/>
                  </a:lnTo>
                  <a:lnTo>
                    <a:pt x="8" y="1"/>
                  </a:lnTo>
                  <a:lnTo>
                    <a:pt x="8" y="1"/>
                  </a:lnTo>
                  <a:lnTo>
                    <a:pt x="8" y="1"/>
                  </a:lnTo>
                  <a:lnTo>
                    <a:pt x="8" y="2"/>
                  </a:lnTo>
                  <a:lnTo>
                    <a:pt x="8" y="4"/>
                  </a:lnTo>
                  <a:lnTo>
                    <a:pt x="8" y="4"/>
                  </a:lnTo>
                  <a:lnTo>
                    <a:pt x="7" y="4"/>
                  </a:lnTo>
                  <a:lnTo>
                    <a:pt x="7" y="4"/>
                  </a:lnTo>
                  <a:lnTo>
                    <a:pt x="7" y="4"/>
                  </a:lnTo>
                  <a:lnTo>
                    <a:pt x="7" y="5"/>
                  </a:lnTo>
                  <a:lnTo>
                    <a:pt x="7" y="5"/>
                  </a:lnTo>
                  <a:lnTo>
                    <a:pt x="7" y="5"/>
                  </a:lnTo>
                  <a:lnTo>
                    <a:pt x="6" y="5"/>
                  </a:lnTo>
                  <a:lnTo>
                    <a:pt x="6" y="5"/>
                  </a:lnTo>
                  <a:lnTo>
                    <a:pt x="6" y="6"/>
                  </a:lnTo>
                  <a:lnTo>
                    <a:pt x="6" y="6"/>
                  </a:lnTo>
                  <a:lnTo>
                    <a:pt x="6" y="6"/>
                  </a:lnTo>
                  <a:lnTo>
                    <a:pt x="6" y="6"/>
                  </a:lnTo>
                  <a:lnTo>
                    <a:pt x="6" y="6"/>
                  </a:lnTo>
                  <a:lnTo>
                    <a:pt x="6" y="5"/>
                  </a:lnTo>
                  <a:lnTo>
                    <a:pt x="6" y="5"/>
                  </a:lnTo>
                  <a:lnTo>
                    <a:pt x="5" y="5"/>
                  </a:lnTo>
                  <a:lnTo>
                    <a:pt x="5" y="5"/>
                  </a:lnTo>
                  <a:lnTo>
                    <a:pt x="5" y="5"/>
                  </a:lnTo>
                  <a:lnTo>
                    <a:pt x="5" y="6"/>
                  </a:lnTo>
                  <a:lnTo>
                    <a:pt x="5" y="5"/>
                  </a:lnTo>
                  <a:lnTo>
                    <a:pt x="5" y="5"/>
                  </a:lnTo>
                  <a:lnTo>
                    <a:pt x="5" y="5"/>
                  </a:lnTo>
                  <a:lnTo>
                    <a:pt x="4" y="5"/>
                  </a:lnTo>
                  <a:lnTo>
                    <a:pt x="4" y="5"/>
                  </a:lnTo>
                  <a:lnTo>
                    <a:pt x="4" y="5"/>
                  </a:lnTo>
                  <a:lnTo>
                    <a:pt x="4" y="5"/>
                  </a:lnTo>
                  <a:lnTo>
                    <a:pt x="3" y="6"/>
                  </a:lnTo>
                  <a:lnTo>
                    <a:pt x="3" y="6"/>
                  </a:lnTo>
                  <a:lnTo>
                    <a:pt x="3" y="6"/>
                  </a:lnTo>
                  <a:lnTo>
                    <a:pt x="3" y="6"/>
                  </a:lnTo>
                  <a:lnTo>
                    <a:pt x="1" y="5"/>
                  </a:lnTo>
                  <a:lnTo>
                    <a:pt x="1" y="5"/>
                  </a:lnTo>
                  <a:lnTo>
                    <a:pt x="1" y="5"/>
                  </a:lnTo>
                  <a:lnTo>
                    <a:pt x="0" y="5"/>
                  </a:lnTo>
                  <a:lnTo>
                    <a:pt x="0" y="4"/>
                  </a:lnTo>
                  <a:lnTo>
                    <a:pt x="0" y="4"/>
                  </a:lnTo>
                  <a:lnTo>
                    <a:pt x="1" y="4"/>
                  </a:lnTo>
                  <a:lnTo>
                    <a:pt x="1" y="4"/>
                  </a:lnTo>
                  <a:lnTo>
                    <a:pt x="1" y="2"/>
                  </a:lnTo>
                  <a:lnTo>
                    <a:pt x="1" y="2"/>
                  </a:lnTo>
                  <a:lnTo>
                    <a:pt x="1" y="2"/>
                  </a:lnTo>
                  <a:lnTo>
                    <a:pt x="1" y="2"/>
                  </a:lnTo>
                  <a:lnTo>
                    <a:pt x="3" y="2"/>
                  </a:lnTo>
                  <a:lnTo>
                    <a:pt x="3" y="2"/>
                  </a:lnTo>
                  <a:lnTo>
                    <a:pt x="3" y="1"/>
                  </a:lnTo>
                  <a:lnTo>
                    <a:pt x="3" y="1"/>
                  </a:lnTo>
                  <a:lnTo>
                    <a:pt x="4" y="1"/>
                  </a:lnTo>
                  <a:lnTo>
                    <a:pt x="4" y="1"/>
                  </a:lnTo>
                  <a:lnTo>
                    <a:pt x="4" y="1"/>
                  </a:lnTo>
                  <a:lnTo>
                    <a:pt x="4" y="1"/>
                  </a:lnTo>
                  <a:lnTo>
                    <a:pt x="4" y="1"/>
                  </a:lnTo>
                  <a:lnTo>
                    <a:pt x="5" y="0"/>
                  </a:lnTo>
                  <a:lnTo>
                    <a:pt x="5" y="0"/>
                  </a:lnTo>
                  <a:lnTo>
                    <a:pt x="5" y="0"/>
                  </a:lnTo>
                  <a:lnTo>
                    <a:pt x="6" y="0"/>
                  </a:lnTo>
                  <a:lnTo>
                    <a:pt x="6" y="0"/>
                  </a:lnTo>
                  <a:lnTo>
                    <a:pt x="6" y="0"/>
                  </a:lnTo>
                  <a:lnTo>
                    <a:pt x="6" y="0"/>
                  </a:lnTo>
                  <a:lnTo>
                    <a:pt x="6" y="0"/>
                  </a:lnTo>
                  <a:lnTo>
                    <a:pt x="6" y="0"/>
                  </a:lnTo>
                  <a:lnTo>
                    <a:pt x="6" y="0"/>
                  </a:lnTo>
                  <a:lnTo>
                    <a:pt x="7" y="0"/>
                  </a:lnTo>
                  <a:lnTo>
                    <a:pt x="7" y="0"/>
                  </a:lnTo>
                  <a:lnTo>
                    <a:pt x="7" y="0"/>
                  </a:lnTo>
                  <a:lnTo>
                    <a:pt x="7" y="0"/>
                  </a:lnTo>
                  <a:lnTo>
                    <a:pt x="7" y="0"/>
                  </a:lnTo>
                  <a:lnTo>
                    <a:pt x="8" y="0"/>
                  </a:lnTo>
                  <a:lnTo>
                    <a:pt x="8" y="0"/>
                  </a:lnTo>
                  <a:lnTo>
                    <a:pt x="8" y="0"/>
                  </a:lnTo>
                  <a:lnTo>
                    <a:pt x="8" y="0"/>
                  </a:lnTo>
                  <a:lnTo>
                    <a:pt x="8" y="0"/>
                  </a:lnTo>
                  <a:lnTo>
                    <a:pt x="8" y="0"/>
                  </a:lnTo>
                  <a:lnTo>
                    <a:pt x="8"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21" name="Freeform 1579">
              <a:extLst>
                <a:ext uri="{FF2B5EF4-FFF2-40B4-BE49-F238E27FC236}">
                  <a16:creationId xmlns:a16="http://schemas.microsoft.com/office/drawing/2014/main" id="{41FA47D5-A292-4723-BB9A-422621A59641}"/>
                </a:ext>
              </a:extLst>
            </p:cNvPr>
            <p:cNvSpPr>
              <a:spLocks/>
            </p:cNvSpPr>
            <p:nvPr/>
          </p:nvSpPr>
          <p:spPr bwMode="auto">
            <a:xfrm>
              <a:off x="6120267" y="2407009"/>
              <a:ext cx="16026" cy="13355"/>
            </a:xfrm>
            <a:custGeom>
              <a:avLst/>
              <a:gdLst>
                <a:gd name="T0" fmla="*/ 5 w 12"/>
                <a:gd name="T1" fmla="*/ 1 h 10"/>
                <a:gd name="T2" fmla="*/ 5 w 12"/>
                <a:gd name="T3" fmla="*/ 1 h 10"/>
                <a:gd name="T4" fmla="*/ 5 w 12"/>
                <a:gd name="T5" fmla="*/ 2 h 10"/>
                <a:gd name="T6" fmla="*/ 5 w 12"/>
                <a:gd name="T7" fmla="*/ 3 h 10"/>
                <a:gd name="T8" fmla="*/ 5 w 12"/>
                <a:gd name="T9" fmla="*/ 3 h 10"/>
                <a:gd name="T10" fmla="*/ 5 w 12"/>
                <a:gd name="T11" fmla="*/ 4 h 10"/>
                <a:gd name="T12" fmla="*/ 5 w 12"/>
                <a:gd name="T13" fmla="*/ 4 h 10"/>
                <a:gd name="T14" fmla="*/ 6 w 12"/>
                <a:gd name="T15" fmla="*/ 4 h 10"/>
                <a:gd name="T16" fmla="*/ 6 w 12"/>
                <a:gd name="T17" fmla="*/ 6 h 10"/>
                <a:gd name="T18" fmla="*/ 7 w 12"/>
                <a:gd name="T19" fmla="*/ 4 h 10"/>
                <a:gd name="T20" fmla="*/ 7 w 12"/>
                <a:gd name="T21" fmla="*/ 6 h 10"/>
                <a:gd name="T22" fmla="*/ 9 w 12"/>
                <a:gd name="T23" fmla="*/ 6 h 10"/>
                <a:gd name="T24" fmla="*/ 9 w 12"/>
                <a:gd name="T25" fmla="*/ 7 h 10"/>
                <a:gd name="T26" fmla="*/ 10 w 12"/>
                <a:gd name="T27" fmla="*/ 7 h 10"/>
                <a:gd name="T28" fmla="*/ 10 w 12"/>
                <a:gd name="T29" fmla="*/ 7 h 10"/>
                <a:gd name="T30" fmla="*/ 10 w 12"/>
                <a:gd name="T31" fmla="*/ 7 h 10"/>
                <a:gd name="T32" fmla="*/ 10 w 12"/>
                <a:gd name="T33" fmla="*/ 7 h 10"/>
                <a:gd name="T34" fmla="*/ 10 w 12"/>
                <a:gd name="T35" fmla="*/ 8 h 10"/>
                <a:gd name="T36" fmla="*/ 11 w 12"/>
                <a:gd name="T37" fmla="*/ 8 h 10"/>
                <a:gd name="T38" fmla="*/ 11 w 12"/>
                <a:gd name="T39" fmla="*/ 8 h 10"/>
                <a:gd name="T40" fmla="*/ 11 w 12"/>
                <a:gd name="T41" fmla="*/ 8 h 10"/>
                <a:gd name="T42" fmla="*/ 11 w 12"/>
                <a:gd name="T43" fmla="*/ 8 h 10"/>
                <a:gd name="T44" fmla="*/ 12 w 12"/>
                <a:gd name="T45" fmla="*/ 8 h 10"/>
                <a:gd name="T46" fmla="*/ 12 w 12"/>
                <a:gd name="T47" fmla="*/ 9 h 10"/>
                <a:gd name="T48" fmla="*/ 11 w 12"/>
                <a:gd name="T49" fmla="*/ 9 h 10"/>
                <a:gd name="T50" fmla="*/ 11 w 12"/>
                <a:gd name="T51" fmla="*/ 9 h 10"/>
                <a:gd name="T52" fmla="*/ 9 w 12"/>
                <a:gd name="T53" fmla="*/ 9 h 10"/>
                <a:gd name="T54" fmla="*/ 9 w 12"/>
                <a:gd name="T55" fmla="*/ 10 h 10"/>
                <a:gd name="T56" fmla="*/ 9 w 12"/>
                <a:gd name="T57" fmla="*/ 9 h 10"/>
                <a:gd name="T58" fmla="*/ 7 w 12"/>
                <a:gd name="T59" fmla="*/ 9 h 10"/>
                <a:gd name="T60" fmla="*/ 7 w 12"/>
                <a:gd name="T61" fmla="*/ 9 h 10"/>
                <a:gd name="T62" fmla="*/ 7 w 12"/>
                <a:gd name="T63" fmla="*/ 9 h 10"/>
                <a:gd name="T64" fmla="*/ 7 w 12"/>
                <a:gd name="T65" fmla="*/ 10 h 10"/>
                <a:gd name="T66" fmla="*/ 7 w 12"/>
                <a:gd name="T67" fmla="*/ 10 h 10"/>
                <a:gd name="T68" fmla="*/ 7 w 12"/>
                <a:gd name="T69" fmla="*/ 10 h 10"/>
                <a:gd name="T70" fmla="*/ 5 w 12"/>
                <a:gd name="T71" fmla="*/ 9 h 10"/>
                <a:gd name="T72" fmla="*/ 3 w 12"/>
                <a:gd name="T73" fmla="*/ 8 h 10"/>
                <a:gd name="T74" fmla="*/ 0 w 12"/>
                <a:gd name="T75" fmla="*/ 8 h 10"/>
                <a:gd name="T76" fmla="*/ 0 w 12"/>
                <a:gd name="T77" fmla="*/ 7 h 10"/>
                <a:gd name="T78" fmla="*/ 0 w 12"/>
                <a:gd name="T79" fmla="*/ 7 h 10"/>
                <a:gd name="T80" fmla="*/ 2 w 12"/>
                <a:gd name="T81" fmla="*/ 6 h 10"/>
                <a:gd name="T82" fmla="*/ 0 w 12"/>
                <a:gd name="T83" fmla="*/ 4 h 10"/>
                <a:gd name="T84" fmla="*/ 0 w 12"/>
                <a:gd name="T85" fmla="*/ 4 h 10"/>
                <a:gd name="T86" fmla="*/ 0 w 12"/>
                <a:gd name="T87" fmla="*/ 3 h 10"/>
                <a:gd name="T88" fmla="*/ 2 w 12"/>
                <a:gd name="T89" fmla="*/ 3 h 10"/>
                <a:gd name="T90" fmla="*/ 2 w 12"/>
                <a:gd name="T91" fmla="*/ 2 h 10"/>
                <a:gd name="T92" fmla="*/ 3 w 12"/>
                <a:gd name="T93" fmla="*/ 2 h 10"/>
                <a:gd name="T94" fmla="*/ 3 w 12"/>
                <a:gd name="T95" fmla="*/ 2 h 10"/>
                <a:gd name="T96" fmla="*/ 4 w 12"/>
                <a:gd name="T97" fmla="*/ 2 h 10"/>
                <a:gd name="T98" fmla="*/ 4 w 12"/>
                <a:gd name="T99" fmla="*/ 1 h 10"/>
                <a:gd name="T100" fmla="*/ 4 w 12"/>
                <a:gd name="T101" fmla="*/ 0 h 10"/>
                <a:gd name="T102" fmla="*/ 5 w 12"/>
                <a:gd name="T103" fmla="*/ 0 h 10"/>
                <a:gd name="T104" fmla="*/ 5 w 12"/>
                <a:gd name="T105"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 h="10">
                  <a:moveTo>
                    <a:pt x="5" y="1"/>
                  </a:moveTo>
                  <a:lnTo>
                    <a:pt x="5" y="1"/>
                  </a:lnTo>
                  <a:lnTo>
                    <a:pt x="5" y="1"/>
                  </a:lnTo>
                  <a:lnTo>
                    <a:pt x="5" y="1"/>
                  </a:lnTo>
                  <a:lnTo>
                    <a:pt x="5" y="1"/>
                  </a:lnTo>
                  <a:lnTo>
                    <a:pt x="5" y="2"/>
                  </a:lnTo>
                  <a:lnTo>
                    <a:pt x="5" y="2"/>
                  </a:lnTo>
                  <a:lnTo>
                    <a:pt x="5" y="3"/>
                  </a:lnTo>
                  <a:lnTo>
                    <a:pt x="5" y="3"/>
                  </a:lnTo>
                  <a:lnTo>
                    <a:pt x="5" y="3"/>
                  </a:lnTo>
                  <a:lnTo>
                    <a:pt x="5" y="3"/>
                  </a:lnTo>
                  <a:lnTo>
                    <a:pt x="5" y="4"/>
                  </a:lnTo>
                  <a:lnTo>
                    <a:pt x="5" y="4"/>
                  </a:lnTo>
                  <a:lnTo>
                    <a:pt x="5" y="4"/>
                  </a:lnTo>
                  <a:lnTo>
                    <a:pt x="6" y="4"/>
                  </a:lnTo>
                  <a:lnTo>
                    <a:pt x="6" y="4"/>
                  </a:lnTo>
                  <a:lnTo>
                    <a:pt x="6" y="6"/>
                  </a:lnTo>
                  <a:lnTo>
                    <a:pt x="6" y="6"/>
                  </a:lnTo>
                  <a:lnTo>
                    <a:pt x="7" y="6"/>
                  </a:lnTo>
                  <a:lnTo>
                    <a:pt x="7" y="4"/>
                  </a:lnTo>
                  <a:lnTo>
                    <a:pt x="7" y="4"/>
                  </a:lnTo>
                  <a:lnTo>
                    <a:pt x="7" y="6"/>
                  </a:lnTo>
                  <a:lnTo>
                    <a:pt x="7" y="6"/>
                  </a:lnTo>
                  <a:lnTo>
                    <a:pt x="9" y="6"/>
                  </a:lnTo>
                  <a:lnTo>
                    <a:pt x="9" y="6"/>
                  </a:lnTo>
                  <a:lnTo>
                    <a:pt x="9" y="7"/>
                  </a:lnTo>
                  <a:lnTo>
                    <a:pt x="9" y="7"/>
                  </a:lnTo>
                  <a:lnTo>
                    <a:pt x="10" y="7"/>
                  </a:lnTo>
                  <a:lnTo>
                    <a:pt x="10" y="7"/>
                  </a:lnTo>
                  <a:lnTo>
                    <a:pt x="10" y="7"/>
                  </a:lnTo>
                  <a:lnTo>
                    <a:pt x="10" y="7"/>
                  </a:lnTo>
                  <a:lnTo>
                    <a:pt x="10" y="7"/>
                  </a:lnTo>
                  <a:lnTo>
                    <a:pt x="10" y="7"/>
                  </a:lnTo>
                  <a:lnTo>
                    <a:pt x="10" y="7"/>
                  </a:lnTo>
                  <a:lnTo>
                    <a:pt x="10" y="7"/>
                  </a:lnTo>
                  <a:lnTo>
                    <a:pt x="10" y="8"/>
                  </a:lnTo>
                  <a:lnTo>
                    <a:pt x="10" y="8"/>
                  </a:lnTo>
                  <a:lnTo>
                    <a:pt x="11" y="8"/>
                  </a:lnTo>
                  <a:lnTo>
                    <a:pt x="11" y="8"/>
                  </a:lnTo>
                  <a:lnTo>
                    <a:pt x="11" y="8"/>
                  </a:lnTo>
                  <a:lnTo>
                    <a:pt x="11" y="8"/>
                  </a:lnTo>
                  <a:lnTo>
                    <a:pt x="11" y="8"/>
                  </a:lnTo>
                  <a:lnTo>
                    <a:pt x="11" y="8"/>
                  </a:lnTo>
                  <a:lnTo>
                    <a:pt x="11" y="8"/>
                  </a:lnTo>
                  <a:lnTo>
                    <a:pt x="11" y="8"/>
                  </a:lnTo>
                  <a:lnTo>
                    <a:pt x="12" y="8"/>
                  </a:lnTo>
                  <a:lnTo>
                    <a:pt x="12" y="9"/>
                  </a:lnTo>
                  <a:lnTo>
                    <a:pt x="12" y="9"/>
                  </a:lnTo>
                  <a:lnTo>
                    <a:pt x="12" y="9"/>
                  </a:lnTo>
                  <a:lnTo>
                    <a:pt x="11" y="9"/>
                  </a:lnTo>
                  <a:lnTo>
                    <a:pt x="11" y="9"/>
                  </a:lnTo>
                  <a:lnTo>
                    <a:pt x="11" y="9"/>
                  </a:lnTo>
                  <a:lnTo>
                    <a:pt x="10" y="9"/>
                  </a:lnTo>
                  <a:lnTo>
                    <a:pt x="9" y="9"/>
                  </a:lnTo>
                  <a:lnTo>
                    <a:pt x="9" y="10"/>
                  </a:lnTo>
                  <a:lnTo>
                    <a:pt x="9" y="10"/>
                  </a:lnTo>
                  <a:lnTo>
                    <a:pt x="9" y="9"/>
                  </a:lnTo>
                  <a:lnTo>
                    <a:pt x="9" y="9"/>
                  </a:lnTo>
                  <a:lnTo>
                    <a:pt x="7" y="9"/>
                  </a:lnTo>
                  <a:lnTo>
                    <a:pt x="7" y="9"/>
                  </a:lnTo>
                  <a:lnTo>
                    <a:pt x="7" y="9"/>
                  </a:lnTo>
                  <a:lnTo>
                    <a:pt x="7" y="9"/>
                  </a:lnTo>
                  <a:lnTo>
                    <a:pt x="7" y="9"/>
                  </a:lnTo>
                  <a:lnTo>
                    <a:pt x="7" y="9"/>
                  </a:lnTo>
                  <a:lnTo>
                    <a:pt x="7" y="9"/>
                  </a:lnTo>
                  <a:lnTo>
                    <a:pt x="7" y="10"/>
                  </a:lnTo>
                  <a:lnTo>
                    <a:pt x="7" y="10"/>
                  </a:lnTo>
                  <a:lnTo>
                    <a:pt x="7" y="10"/>
                  </a:lnTo>
                  <a:lnTo>
                    <a:pt x="7" y="10"/>
                  </a:lnTo>
                  <a:lnTo>
                    <a:pt x="7" y="10"/>
                  </a:lnTo>
                  <a:lnTo>
                    <a:pt x="6" y="10"/>
                  </a:lnTo>
                  <a:lnTo>
                    <a:pt x="5" y="9"/>
                  </a:lnTo>
                  <a:lnTo>
                    <a:pt x="4" y="9"/>
                  </a:lnTo>
                  <a:lnTo>
                    <a:pt x="3" y="8"/>
                  </a:lnTo>
                  <a:lnTo>
                    <a:pt x="2" y="8"/>
                  </a:lnTo>
                  <a:lnTo>
                    <a:pt x="0" y="8"/>
                  </a:lnTo>
                  <a:lnTo>
                    <a:pt x="0" y="7"/>
                  </a:lnTo>
                  <a:lnTo>
                    <a:pt x="0" y="7"/>
                  </a:lnTo>
                  <a:lnTo>
                    <a:pt x="0" y="7"/>
                  </a:lnTo>
                  <a:lnTo>
                    <a:pt x="0" y="7"/>
                  </a:lnTo>
                  <a:lnTo>
                    <a:pt x="2" y="7"/>
                  </a:lnTo>
                  <a:lnTo>
                    <a:pt x="2" y="6"/>
                  </a:lnTo>
                  <a:lnTo>
                    <a:pt x="0" y="6"/>
                  </a:lnTo>
                  <a:lnTo>
                    <a:pt x="0" y="4"/>
                  </a:lnTo>
                  <a:lnTo>
                    <a:pt x="0" y="4"/>
                  </a:lnTo>
                  <a:lnTo>
                    <a:pt x="0" y="4"/>
                  </a:lnTo>
                  <a:lnTo>
                    <a:pt x="0" y="3"/>
                  </a:lnTo>
                  <a:lnTo>
                    <a:pt x="0" y="3"/>
                  </a:lnTo>
                  <a:lnTo>
                    <a:pt x="2" y="3"/>
                  </a:lnTo>
                  <a:lnTo>
                    <a:pt x="2" y="3"/>
                  </a:lnTo>
                  <a:lnTo>
                    <a:pt x="2" y="3"/>
                  </a:lnTo>
                  <a:lnTo>
                    <a:pt x="2" y="2"/>
                  </a:lnTo>
                  <a:lnTo>
                    <a:pt x="3" y="2"/>
                  </a:lnTo>
                  <a:lnTo>
                    <a:pt x="3" y="2"/>
                  </a:lnTo>
                  <a:lnTo>
                    <a:pt x="3" y="2"/>
                  </a:lnTo>
                  <a:lnTo>
                    <a:pt x="3" y="2"/>
                  </a:lnTo>
                  <a:lnTo>
                    <a:pt x="4" y="2"/>
                  </a:lnTo>
                  <a:lnTo>
                    <a:pt x="4" y="2"/>
                  </a:lnTo>
                  <a:lnTo>
                    <a:pt x="4" y="1"/>
                  </a:lnTo>
                  <a:lnTo>
                    <a:pt x="4" y="1"/>
                  </a:lnTo>
                  <a:lnTo>
                    <a:pt x="4" y="0"/>
                  </a:lnTo>
                  <a:lnTo>
                    <a:pt x="4" y="0"/>
                  </a:lnTo>
                  <a:lnTo>
                    <a:pt x="4" y="0"/>
                  </a:lnTo>
                  <a:lnTo>
                    <a:pt x="5" y="0"/>
                  </a:lnTo>
                  <a:lnTo>
                    <a:pt x="5" y="0"/>
                  </a:lnTo>
                  <a:lnTo>
                    <a:pt x="5" y="1"/>
                  </a:lnTo>
                  <a:lnTo>
                    <a:pt x="5" y="1"/>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22" name="Freeform 1580">
              <a:extLst>
                <a:ext uri="{FF2B5EF4-FFF2-40B4-BE49-F238E27FC236}">
                  <a16:creationId xmlns:a16="http://schemas.microsoft.com/office/drawing/2014/main" id="{A4A3D2DB-1B56-4C73-99ED-23B52909103E}"/>
                </a:ext>
              </a:extLst>
            </p:cNvPr>
            <p:cNvSpPr>
              <a:spLocks noEditPoints="1"/>
            </p:cNvSpPr>
            <p:nvPr/>
          </p:nvSpPr>
          <p:spPr bwMode="auto">
            <a:xfrm>
              <a:off x="6114925" y="2417693"/>
              <a:ext cx="14691" cy="10684"/>
            </a:xfrm>
            <a:custGeom>
              <a:avLst/>
              <a:gdLst>
                <a:gd name="T0" fmla="*/ 1 w 11"/>
                <a:gd name="T1" fmla="*/ 8 h 8"/>
                <a:gd name="T2" fmla="*/ 1 w 11"/>
                <a:gd name="T3" fmla="*/ 7 h 8"/>
                <a:gd name="T4" fmla="*/ 1 w 11"/>
                <a:gd name="T5" fmla="*/ 6 h 8"/>
                <a:gd name="T6" fmla="*/ 2 w 11"/>
                <a:gd name="T7" fmla="*/ 6 h 8"/>
                <a:gd name="T8" fmla="*/ 2 w 11"/>
                <a:gd name="T9" fmla="*/ 7 h 8"/>
                <a:gd name="T10" fmla="*/ 3 w 11"/>
                <a:gd name="T11" fmla="*/ 7 h 8"/>
                <a:gd name="T12" fmla="*/ 2 w 11"/>
                <a:gd name="T13" fmla="*/ 7 h 8"/>
                <a:gd name="T14" fmla="*/ 11 w 11"/>
                <a:gd name="T15" fmla="*/ 3 h 8"/>
                <a:gd name="T16" fmla="*/ 11 w 11"/>
                <a:gd name="T17" fmla="*/ 5 h 8"/>
                <a:gd name="T18" fmla="*/ 10 w 11"/>
                <a:gd name="T19" fmla="*/ 5 h 8"/>
                <a:gd name="T20" fmla="*/ 9 w 11"/>
                <a:gd name="T21" fmla="*/ 5 h 8"/>
                <a:gd name="T22" fmla="*/ 8 w 11"/>
                <a:gd name="T23" fmla="*/ 6 h 8"/>
                <a:gd name="T24" fmla="*/ 7 w 11"/>
                <a:gd name="T25" fmla="*/ 5 h 8"/>
                <a:gd name="T26" fmla="*/ 6 w 11"/>
                <a:gd name="T27" fmla="*/ 5 h 8"/>
                <a:gd name="T28" fmla="*/ 4 w 11"/>
                <a:gd name="T29" fmla="*/ 6 h 8"/>
                <a:gd name="T30" fmla="*/ 4 w 11"/>
                <a:gd name="T31" fmla="*/ 6 h 8"/>
                <a:gd name="T32" fmla="*/ 3 w 11"/>
                <a:gd name="T33" fmla="*/ 6 h 8"/>
                <a:gd name="T34" fmla="*/ 3 w 11"/>
                <a:gd name="T35" fmla="*/ 6 h 8"/>
                <a:gd name="T36" fmla="*/ 2 w 11"/>
                <a:gd name="T37" fmla="*/ 6 h 8"/>
                <a:gd name="T38" fmla="*/ 1 w 11"/>
                <a:gd name="T39" fmla="*/ 6 h 8"/>
                <a:gd name="T40" fmla="*/ 1 w 11"/>
                <a:gd name="T41" fmla="*/ 5 h 8"/>
                <a:gd name="T42" fmla="*/ 1 w 11"/>
                <a:gd name="T43" fmla="*/ 5 h 8"/>
                <a:gd name="T44" fmla="*/ 0 w 11"/>
                <a:gd name="T45" fmla="*/ 3 h 8"/>
                <a:gd name="T46" fmla="*/ 1 w 11"/>
                <a:gd name="T47" fmla="*/ 3 h 8"/>
                <a:gd name="T48" fmla="*/ 2 w 11"/>
                <a:gd name="T49" fmla="*/ 3 h 8"/>
                <a:gd name="T50" fmla="*/ 2 w 11"/>
                <a:gd name="T51" fmla="*/ 3 h 8"/>
                <a:gd name="T52" fmla="*/ 2 w 11"/>
                <a:gd name="T53" fmla="*/ 2 h 8"/>
                <a:gd name="T54" fmla="*/ 2 w 11"/>
                <a:gd name="T55" fmla="*/ 1 h 8"/>
                <a:gd name="T56" fmla="*/ 2 w 11"/>
                <a:gd name="T57" fmla="*/ 1 h 8"/>
                <a:gd name="T58" fmla="*/ 2 w 11"/>
                <a:gd name="T59" fmla="*/ 0 h 8"/>
                <a:gd name="T60" fmla="*/ 3 w 11"/>
                <a:gd name="T61" fmla="*/ 0 h 8"/>
                <a:gd name="T62" fmla="*/ 3 w 11"/>
                <a:gd name="T63" fmla="*/ 0 h 8"/>
                <a:gd name="T64" fmla="*/ 4 w 11"/>
                <a:gd name="T65" fmla="*/ 0 h 8"/>
                <a:gd name="T66" fmla="*/ 7 w 11"/>
                <a:gd name="T67" fmla="*/ 0 h 8"/>
                <a:gd name="T68" fmla="*/ 9 w 11"/>
                <a:gd name="T69" fmla="*/ 1 h 8"/>
                <a:gd name="T70" fmla="*/ 11 w 11"/>
                <a:gd name="T71" fmla="*/ 2 h 8"/>
                <a:gd name="T72" fmla="*/ 11 w 11"/>
                <a:gd name="T7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 h="8">
                  <a:moveTo>
                    <a:pt x="2" y="7"/>
                  </a:moveTo>
                  <a:lnTo>
                    <a:pt x="1" y="8"/>
                  </a:lnTo>
                  <a:lnTo>
                    <a:pt x="1" y="8"/>
                  </a:lnTo>
                  <a:lnTo>
                    <a:pt x="1" y="7"/>
                  </a:lnTo>
                  <a:lnTo>
                    <a:pt x="1" y="7"/>
                  </a:lnTo>
                  <a:lnTo>
                    <a:pt x="1" y="6"/>
                  </a:lnTo>
                  <a:lnTo>
                    <a:pt x="1" y="6"/>
                  </a:lnTo>
                  <a:lnTo>
                    <a:pt x="2" y="6"/>
                  </a:lnTo>
                  <a:lnTo>
                    <a:pt x="2" y="6"/>
                  </a:lnTo>
                  <a:lnTo>
                    <a:pt x="2" y="7"/>
                  </a:lnTo>
                  <a:lnTo>
                    <a:pt x="3" y="7"/>
                  </a:lnTo>
                  <a:lnTo>
                    <a:pt x="3" y="7"/>
                  </a:lnTo>
                  <a:lnTo>
                    <a:pt x="3" y="7"/>
                  </a:lnTo>
                  <a:lnTo>
                    <a:pt x="2" y="7"/>
                  </a:lnTo>
                  <a:lnTo>
                    <a:pt x="2" y="7"/>
                  </a:lnTo>
                  <a:close/>
                  <a:moveTo>
                    <a:pt x="11" y="3"/>
                  </a:moveTo>
                  <a:lnTo>
                    <a:pt x="11" y="5"/>
                  </a:lnTo>
                  <a:lnTo>
                    <a:pt x="11" y="5"/>
                  </a:lnTo>
                  <a:lnTo>
                    <a:pt x="11" y="5"/>
                  </a:lnTo>
                  <a:lnTo>
                    <a:pt x="10" y="5"/>
                  </a:lnTo>
                  <a:lnTo>
                    <a:pt x="10" y="5"/>
                  </a:lnTo>
                  <a:lnTo>
                    <a:pt x="9" y="5"/>
                  </a:lnTo>
                  <a:lnTo>
                    <a:pt x="8" y="5"/>
                  </a:lnTo>
                  <a:lnTo>
                    <a:pt x="8" y="6"/>
                  </a:lnTo>
                  <a:lnTo>
                    <a:pt x="8" y="5"/>
                  </a:lnTo>
                  <a:lnTo>
                    <a:pt x="7" y="5"/>
                  </a:lnTo>
                  <a:lnTo>
                    <a:pt x="6" y="5"/>
                  </a:lnTo>
                  <a:lnTo>
                    <a:pt x="6" y="5"/>
                  </a:lnTo>
                  <a:lnTo>
                    <a:pt x="4" y="6"/>
                  </a:lnTo>
                  <a:lnTo>
                    <a:pt x="4" y="6"/>
                  </a:lnTo>
                  <a:lnTo>
                    <a:pt x="4" y="6"/>
                  </a:lnTo>
                  <a:lnTo>
                    <a:pt x="4" y="6"/>
                  </a:lnTo>
                  <a:lnTo>
                    <a:pt x="4" y="6"/>
                  </a:lnTo>
                  <a:lnTo>
                    <a:pt x="3" y="6"/>
                  </a:lnTo>
                  <a:lnTo>
                    <a:pt x="3" y="6"/>
                  </a:lnTo>
                  <a:lnTo>
                    <a:pt x="3" y="6"/>
                  </a:lnTo>
                  <a:lnTo>
                    <a:pt x="3" y="6"/>
                  </a:lnTo>
                  <a:lnTo>
                    <a:pt x="2" y="6"/>
                  </a:lnTo>
                  <a:lnTo>
                    <a:pt x="2" y="6"/>
                  </a:lnTo>
                  <a:lnTo>
                    <a:pt x="1" y="6"/>
                  </a:lnTo>
                  <a:lnTo>
                    <a:pt x="1" y="6"/>
                  </a:lnTo>
                  <a:lnTo>
                    <a:pt x="1" y="5"/>
                  </a:lnTo>
                  <a:lnTo>
                    <a:pt x="1" y="5"/>
                  </a:lnTo>
                  <a:lnTo>
                    <a:pt x="1" y="5"/>
                  </a:lnTo>
                  <a:lnTo>
                    <a:pt x="1" y="5"/>
                  </a:lnTo>
                  <a:lnTo>
                    <a:pt x="0" y="3"/>
                  </a:lnTo>
                  <a:lnTo>
                    <a:pt x="1" y="3"/>
                  </a:lnTo>
                  <a:lnTo>
                    <a:pt x="1" y="3"/>
                  </a:lnTo>
                  <a:lnTo>
                    <a:pt x="1" y="3"/>
                  </a:lnTo>
                  <a:lnTo>
                    <a:pt x="2" y="3"/>
                  </a:lnTo>
                  <a:lnTo>
                    <a:pt x="2" y="3"/>
                  </a:lnTo>
                  <a:lnTo>
                    <a:pt x="2" y="3"/>
                  </a:lnTo>
                  <a:lnTo>
                    <a:pt x="2" y="3"/>
                  </a:lnTo>
                  <a:lnTo>
                    <a:pt x="2" y="2"/>
                  </a:lnTo>
                  <a:lnTo>
                    <a:pt x="2" y="2"/>
                  </a:lnTo>
                  <a:lnTo>
                    <a:pt x="2" y="1"/>
                  </a:lnTo>
                  <a:lnTo>
                    <a:pt x="2" y="1"/>
                  </a:lnTo>
                  <a:lnTo>
                    <a:pt x="2" y="1"/>
                  </a:lnTo>
                  <a:lnTo>
                    <a:pt x="2" y="1"/>
                  </a:lnTo>
                  <a:lnTo>
                    <a:pt x="2" y="0"/>
                  </a:lnTo>
                  <a:lnTo>
                    <a:pt x="3" y="0"/>
                  </a:lnTo>
                  <a:lnTo>
                    <a:pt x="3" y="0"/>
                  </a:lnTo>
                  <a:lnTo>
                    <a:pt x="3" y="0"/>
                  </a:lnTo>
                  <a:lnTo>
                    <a:pt x="3" y="0"/>
                  </a:lnTo>
                  <a:lnTo>
                    <a:pt x="4" y="0"/>
                  </a:lnTo>
                  <a:lnTo>
                    <a:pt x="4" y="0"/>
                  </a:lnTo>
                  <a:lnTo>
                    <a:pt x="6" y="0"/>
                  </a:lnTo>
                  <a:lnTo>
                    <a:pt x="7" y="0"/>
                  </a:lnTo>
                  <a:lnTo>
                    <a:pt x="8" y="1"/>
                  </a:lnTo>
                  <a:lnTo>
                    <a:pt x="9" y="1"/>
                  </a:lnTo>
                  <a:lnTo>
                    <a:pt x="10" y="2"/>
                  </a:lnTo>
                  <a:lnTo>
                    <a:pt x="11" y="2"/>
                  </a:lnTo>
                  <a:lnTo>
                    <a:pt x="11" y="2"/>
                  </a:lnTo>
                  <a:lnTo>
                    <a:pt x="11" y="3"/>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23" name="Freeform 1581">
              <a:extLst>
                <a:ext uri="{FF2B5EF4-FFF2-40B4-BE49-F238E27FC236}">
                  <a16:creationId xmlns:a16="http://schemas.microsoft.com/office/drawing/2014/main" id="{5B9BE2E3-4162-4E5E-8F56-6874B597511B}"/>
                </a:ext>
              </a:extLst>
            </p:cNvPr>
            <p:cNvSpPr>
              <a:spLocks/>
            </p:cNvSpPr>
            <p:nvPr/>
          </p:nvSpPr>
          <p:spPr bwMode="auto">
            <a:xfrm>
              <a:off x="6116261" y="2420364"/>
              <a:ext cx="18697" cy="14691"/>
            </a:xfrm>
            <a:custGeom>
              <a:avLst/>
              <a:gdLst>
                <a:gd name="T0" fmla="*/ 9 w 14"/>
                <a:gd name="T1" fmla="*/ 6 h 11"/>
                <a:gd name="T2" fmla="*/ 8 w 14"/>
                <a:gd name="T3" fmla="*/ 7 h 11"/>
                <a:gd name="T4" fmla="*/ 8 w 14"/>
                <a:gd name="T5" fmla="*/ 6 h 11"/>
                <a:gd name="T6" fmla="*/ 7 w 14"/>
                <a:gd name="T7" fmla="*/ 6 h 11"/>
                <a:gd name="T8" fmla="*/ 7 w 14"/>
                <a:gd name="T9" fmla="*/ 7 h 11"/>
                <a:gd name="T10" fmla="*/ 7 w 14"/>
                <a:gd name="T11" fmla="*/ 7 h 11"/>
                <a:gd name="T12" fmla="*/ 7 w 14"/>
                <a:gd name="T13" fmla="*/ 7 h 11"/>
                <a:gd name="T14" fmla="*/ 7 w 14"/>
                <a:gd name="T15" fmla="*/ 8 h 11"/>
                <a:gd name="T16" fmla="*/ 8 w 14"/>
                <a:gd name="T17" fmla="*/ 8 h 11"/>
                <a:gd name="T18" fmla="*/ 9 w 14"/>
                <a:gd name="T19" fmla="*/ 10 h 11"/>
                <a:gd name="T20" fmla="*/ 8 w 14"/>
                <a:gd name="T21" fmla="*/ 11 h 11"/>
                <a:gd name="T22" fmla="*/ 8 w 14"/>
                <a:gd name="T23" fmla="*/ 11 h 11"/>
                <a:gd name="T24" fmla="*/ 8 w 14"/>
                <a:gd name="T25" fmla="*/ 11 h 11"/>
                <a:gd name="T26" fmla="*/ 7 w 14"/>
                <a:gd name="T27" fmla="*/ 10 h 11"/>
                <a:gd name="T28" fmla="*/ 7 w 14"/>
                <a:gd name="T29" fmla="*/ 10 h 11"/>
                <a:gd name="T30" fmla="*/ 6 w 14"/>
                <a:gd name="T31" fmla="*/ 10 h 11"/>
                <a:gd name="T32" fmla="*/ 6 w 14"/>
                <a:gd name="T33" fmla="*/ 10 h 11"/>
                <a:gd name="T34" fmla="*/ 5 w 14"/>
                <a:gd name="T35" fmla="*/ 11 h 11"/>
                <a:gd name="T36" fmla="*/ 3 w 14"/>
                <a:gd name="T37" fmla="*/ 11 h 11"/>
                <a:gd name="T38" fmla="*/ 1 w 14"/>
                <a:gd name="T39" fmla="*/ 10 h 11"/>
                <a:gd name="T40" fmla="*/ 0 w 14"/>
                <a:gd name="T41" fmla="*/ 8 h 11"/>
                <a:gd name="T42" fmla="*/ 0 w 14"/>
                <a:gd name="T43" fmla="*/ 8 h 11"/>
                <a:gd name="T44" fmla="*/ 0 w 14"/>
                <a:gd name="T45" fmla="*/ 7 h 11"/>
                <a:gd name="T46" fmla="*/ 0 w 14"/>
                <a:gd name="T47" fmla="*/ 6 h 11"/>
                <a:gd name="T48" fmla="*/ 0 w 14"/>
                <a:gd name="T49" fmla="*/ 6 h 11"/>
                <a:gd name="T50" fmla="*/ 1 w 14"/>
                <a:gd name="T51" fmla="*/ 5 h 11"/>
                <a:gd name="T52" fmla="*/ 2 w 14"/>
                <a:gd name="T53" fmla="*/ 5 h 11"/>
                <a:gd name="T54" fmla="*/ 3 w 14"/>
                <a:gd name="T55" fmla="*/ 6 h 11"/>
                <a:gd name="T56" fmla="*/ 6 w 14"/>
                <a:gd name="T57" fmla="*/ 6 h 11"/>
                <a:gd name="T58" fmla="*/ 7 w 14"/>
                <a:gd name="T59" fmla="*/ 5 h 11"/>
                <a:gd name="T60" fmla="*/ 8 w 14"/>
                <a:gd name="T61" fmla="*/ 5 h 11"/>
                <a:gd name="T62" fmla="*/ 8 w 14"/>
                <a:gd name="T63" fmla="*/ 4 h 11"/>
                <a:gd name="T64" fmla="*/ 7 w 14"/>
                <a:gd name="T65" fmla="*/ 4 h 11"/>
                <a:gd name="T66" fmla="*/ 8 w 14"/>
                <a:gd name="T67" fmla="*/ 3 h 11"/>
                <a:gd name="T68" fmla="*/ 10 w 14"/>
                <a:gd name="T69" fmla="*/ 3 h 11"/>
                <a:gd name="T70" fmla="*/ 10 w 14"/>
                <a:gd name="T71" fmla="*/ 1 h 11"/>
                <a:gd name="T72" fmla="*/ 10 w 14"/>
                <a:gd name="T73" fmla="*/ 0 h 11"/>
                <a:gd name="T74" fmla="*/ 12 w 14"/>
                <a:gd name="T75" fmla="*/ 1 h 11"/>
                <a:gd name="T76" fmla="*/ 14 w 14"/>
                <a:gd name="T77" fmla="*/ 5 h 11"/>
                <a:gd name="T78" fmla="*/ 14 w 14"/>
                <a:gd name="T79" fmla="*/ 5 h 11"/>
                <a:gd name="T80" fmla="*/ 14 w 14"/>
                <a:gd name="T81" fmla="*/ 6 h 11"/>
                <a:gd name="T82" fmla="*/ 14 w 14"/>
                <a:gd name="T83" fmla="*/ 6 h 11"/>
                <a:gd name="T84" fmla="*/ 13 w 14"/>
                <a:gd name="T85" fmla="*/ 6 h 11"/>
                <a:gd name="T86" fmla="*/ 13 w 14"/>
                <a:gd name="T87" fmla="*/ 6 h 11"/>
                <a:gd name="T88" fmla="*/ 13 w 14"/>
                <a:gd name="T89" fmla="*/ 5 h 11"/>
                <a:gd name="T90" fmla="*/ 12 w 14"/>
                <a:gd name="T91" fmla="*/ 6 h 11"/>
                <a:gd name="T92" fmla="*/ 10 w 14"/>
                <a:gd name="T93" fmla="*/ 6 h 11"/>
                <a:gd name="T94" fmla="*/ 10 w 14"/>
                <a:gd name="T95"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 h="11">
                  <a:moveTo>
                    <a:pt x="10" y="6"/>
                  </a:moveTo>
                  <a:lnTo>
                    <a:pt x="9" y="6"/>
                  </a:lnTo>
                  <a:lnTo>
                    <a:pt x="9" y="6"/>
                  </a:lnTo>
                  <a:lnTo>
                    <a:pt x="9" y="7"/>
                  </a:lnTo>
                  <a:lnTo>
                    <a:pt x="9" y="7"/>
                  </a:lnTo>
                  <a:lnTo>
                    <a:pt x="8" y="7"/>
                  </a:lnTo>
                  <a:lnTo>
                    <a:pt x="8" y="7"/>
                  </a:lnTo>
                  <a:lnTo>
                    <a:pt x="8" y="7"/>
                  </a:lnTo>
                  <a:lnTo>
                    <a:pt x="8" y="6"/>
                  </a:lnTo>
                  <a:lnTo>
                    <a:pt x="8" y="6"/>
                  </a:lnTo>
                  <a:lnTo>
                    <a:pt x="7" y="6"/>
                  </a:lnTo>
                  <a:lnTo>
                    <a:pt x="7" y="6"/>
                  </a:lnTo>
                  <a:lnTo>
                    <a:pt x="7" y="7"/>
                  </a:lnTo>
                  <a:lnTo>
                    <a:pt x="7" y="7"/>
                  </a:lnTo>
                  <a:lnTo>
                    <a:pt x="7" y="7"/>
                  </a:lnTo>
                  <a:lnTo>
                    <a:pt x="7" y="7"/>
                  </a:lnTo>
                  <a:lnTo>
                    <a:pt x="7" y="7"/>
                  </a:lnTo>
                  <a:lnTo>
                    <a:pt x="7" y="7"/>
                  </a:lnTo>
                  <a:lnTo>
                    <a:pt x="7" y="7"/>
                  </a:lnTo>
                  <a:lnTo>
                    <a:pt x="7" y="7"/>
                  </a:lnTo>
                  <a:lnTo>
                    <a:pt x="7" y="7"/>
                  </a:lnTo>
                  <a:lnTo>
                    <a:pt x="7" y="7"/>
                  </a:lnTo>
                  <a:lnTo>
                    <a:pt x="7" y="8"/>
                  </a:lnTo>
                  <a:lnTo>
                    <a:pt x="7" y="8"/>
                  </a:lnTo>
                  <a:lnTo>
                    <a:pt x="7" y="8"/>
                  </a:lnTo>
                  <a:lnTo>
                    <a:pt x="8" y="8"/>
                  </a:lnTo>
                  <a:lnTo>
                    <a:pt x="8" y="8"/>
                  </a:lnTo>
                  <a:lnTo>
                    <a:pt x="8" y="10"/>
                  </a:lnTo>
                  <a:lnTo>
                    <a:pt x="9" y="10"/>
                  </a:lnTo>
                  <a:lnTo>
                    <a:pt x="9" y="10"/>
                  </a:lnTo>
                  <a:lnTo>
                    <a:pt x="8" y="10"/>
                  </a:lnTo>
                  <a:lnTo>
                    <a:pt x="8" y="11"/>
                  </a:lnTo>
                  <a:lnTo>
                    <a:pt x="8" y="11"/>
                  </a:lnTo>
                  <a:lnTo>
                    <a:pt x="8" y="11"/>
                  </a:lnTo>
                  <a:lnTo>
                    <a:pt x="8" y="11"/>
                  </a:lnTo>
                  <a:lnTo>
                    <a:pt x="8" y="11"/>
                  </a:lnTo>
                  <a:lnTo>
                    <a:pt x="8" y="11"/>
                  </a:lnTo>
                  <a:lnTo>
                    <a:pt x="8" y="11"/>
                  </a:lnTo>
                  <a:lnTo>
                    <a:pt x="8" y="11"/>
                  </a:lnTo>
                  <a:lnTo>
                    <a:pt x="8" y="11"/>
                  </a:lnTo>
                  <a:lnTo>
                    <a:pt x="8" y="10"/>
                  </a:lnTo>
                  <a:lnTo>
                    <a:pt x="7" y="10"/>
                  </a:lnTo>
                  <a:lnTo>
                    <a:pt x="7" y="10"/>
                  </a:lnTo>
                  <a:lnTo>
                    <a:pt x="7" y="10"/>
                  </a:lnTo>
                  <a:lnTo>
                    <a:pt x="7" y="10"/>
                  </a:lnTo>
                  <a:lnTo>
                    <a:pt x="7" y="10"/>
                  </a:lnTo>
                  <a:lnTo>
                    <a:pt x="7" y="10"/>
                  </a:lnTo>
                  <a:lnTo>
                    <a:pt x="6" y="10"/>
                  </a:lnTo>
                  <a:lnTo>
                    <a:pt x="6" y="10"/>
                  </a:lnTo>
                  <a:lnTo>
                    <a:pt x="6" y="10"/>
                  </a:lnTo>
                  <a:lnTo>
                    <a:pt x="6" y="10"/>
                  </a:lnTo>
                  <a:lnTo>
                    <a:pt x="6" y="10"/>
                  </a:lnTo>
                  <a:lnTo>
                    <a:pt x="6" y="10"/>
                  </a:lnTo>
                  <a:lnTo>
                    <a:pt x="5" y="11"/>
                  </a:lnTo>
                  <a:lnTo>
                    <a:pt x="3" y="11"/>
                  </a:lnTo>
                  <a:lnTo>
                    <a:pt x="3" y="11"/>
                  </a:lnTo>
                  <a:lnTo>
                    <a:pt x="3" y="11"/>
                  </a:lnTo>
                  <a:lnTo>
                    <a:pt x="2" y="10"/>
                  </a:lnTo>
                  <a:lnTo>
                    <a:pt x="1" y="10"/>
                  </a:lnTo>
                  <a:lnTo>
                    <a:pt x="1" y="10"/>
                  </a:lnTo>
                  <a:lnTo>
                    <a:pt x="0" y="10"/>
                  </a:lnTo>
                  <a:lnTo>
                    <a:pt x="0" y="10"/>
                  </a:lnTo>
                  <a:lnTo>
                    <a:pt x="0" y="8"/>
                  </a:lnTo>
                  <a:lnTo>
                    <a:pt x="0" y="8"/>
                  </a:lnTo>
                  <a:lnTo>
                    <a:pt x="0" y="8"/>
                  </a:lnTo>
                  <a:lnTo>
                    <a:pt x="0" y="8"/>
                  </a:lnTo>
                  <a:lnTo>
                    <a:pt x="0" y="7"/>
                  </a:lnTo>
                  <a:lnTo>
                    <a:pt x="0" y="7"/>
                  </a:lnTo>
                  <a:lnTo>
                    <a:pt x="0" y="7"/>
                  </a:lnTo>
                  <a:lnTo>
                    <a:pt x="0" y="6"/>
                  </a:lnTo>
                  <a:lnTo>
                    <a:pt x="0" y="6"/>
                  </a:lnTo>
                  <a:lnTo>
                    <a:pt x="0" y="6"/>
                  </a:lnTo>
                  <a:lnTo>
                    <a:pt x="0" y="6"/>
                  </a:lnTo>
                  <a:lnTo>
                    <a:pt x="0" y="6"/>
                  </a:lnTo>
                  <a:lnTo>
                    <a:pt x="0" y="6"/>
                  </a:lnTo>
                  <a:lnTo>
                    <a:pt x="0" y="6"/>
                  </a:lnTo>
                  <a:lnTo>
                    <a:pt x="1" y="5"/>
                  </a:lnTo>
                  <a:lnTo>
                    <a:pt x="1" y="5"/>
                  </a:lnTo>
                  <a:lnTo>
                    <a:pt x="2" y="5"/>
                  </a:lnTo>
                  <a:lnTo>
                    <a:pt x="2" y="5"/>
                  </a:lnTo>
                  <a:lnTo>
                    <a:pt x="2" y="5"/>
                  </a:lnTo>
                  <a:lnTo>
                    <a:pt x="2" y="5"/>
                  </a:lnTo>
                  <a:lnTo>
                    <a:pt x="3" y="6"/>
                  </a:lnTo>
                  <a:lnTo>
                    <a:pt x="3" y="6"/>
                  </a:lnTo>
                  <a:lnTo>
                    <a:pt x="5" y="6"/>
                  </a:lnTo>
                  <a:lnTo>
                    <a:pt x="5" y="6"/>
                  </a:lnTo>
                  <a:lnTo>
                    <a:pt x="6" y="6"/>
                  </a:lnTo>
                  <a:lnTo>
                    <a:pt x="6" y="6"/>
                  </a:lnTo>
                  <a:lnTo>
                    <a:pt x="7" y="5"/>
                  </a:lnTo>
                  <a:lnTo>
                    <a:pt x="7" y="5"/>
                  </a:lnTo>
                  <a:lnTo>
                    <a:pt x="7" y="5"/>
                  </a:lnTo>
                  <a:lnTo>
                    <a:pt x="8" y="5"/>
                  </a:lnTo>
                  <a:lnTo>
                    <a:pt x="8" y="5"/>
                  </a:lnTo>
                  <a:lnTo>
                    <a:pt x="8" y="5"/>
                  </a:lnTo>
                  <a:lnTo>
                    <a:pt x="8" y="4"/>
                  </a:lnTo>
                  <a:lnTo>
                    <a:pt x="8" y="4"/>
                  </a:lnTo>
                  <a:lnTo>
                    <a:pt x="8" y="4"/>
                  </a:lnTo>
                  <a:lnTo>
                    <a:pt x="7" y="4"/>
                  </a:lnTo>
                  <a:lnTo>
                    <a:pt x="7" y="4"/>
                  </a:lnTo>
                  <a:lnTo>
                    <a:pt x="7" y="4"/>
                  </a:lnTo>
                  <a:lnTo>
                    <a:pt x="7" y="3"/>
                  </a:lnTo>
                  <a:lnTo>
                    <a:pt x="8" y="3"/>
                  </a:lnTo>
                  <a:lnTo>
                    <a:pt x="9" y="3"/>
                  </a:lnTo>
                  <a:lnTo>
                    <a:pt x="9" y="3"/>
                  </a:lnTo>
                  <a:lnTo>
                    <a:pt x="10" y="3"/>
                  </a:lnTo>
                  <a:lnTo>
                    <a:pt x="10" y="3"/>
                  </a:lnTo>
                  <a:lnTo>
                    <a:pt x="10" y="3"/>
                  </a:lnTo>
                  <a:lnTo>
                    <a:pt x="10" y="1"/>
                  </a:lnTo>
                  <a:lnTo>
                    <a:pt x="10" y="0"/>
                  </a:lnTo>
                  <a:lnTo>
                    <a:pt x="10" y="0"/>
                  </a:lnTo>
                  <a:lnTo>
                    <a:pt x="10" y="0"/>
                  </a:lnTo>
                  <a:lnTo>
                    <a:pt x="10" y="0"/>
                  </a:lnTo>
                  <a:lnTo>
                    <a:pt x="12" y="0"/>
                  </a:lnTo>
                  <a:lnTo>
                    <a:pt x="12" y="1"/>
                  </a:lnTo>
                  <a:lnTo>
                    <a:pt x="13" y="3"/>
                  </a:lnTo>
                  <a:lnTo>
                    <a:pt x="14" y="4"/>
                  </a:lnTo>
                  <a:lnTo>
                    <a:pt x="14" y="5"/>
                  </a:lnTo>
                  <a:lnTo>
                    <a:pt x="14" y="5"/>
                  </a:lnTo>
                  <a:lnTo>
                    <a:pt x="14" y="5"/>
                  </a:lnTo>
                  <a:lnTo>
                    <a:pt x="14" y="5"/>
                  </a:lnTo>
                  <a:lnTo>
                    <a:pt x="14" y="5"/>
                  </a:lnTo>
                  <a:lnTo>
                    <a:pt x="14" y="6"/>
                  </a:lnTo>
                  <a:lnTo>
                    <a:pt x="14" y="6"/>
                  </a:lnTo>
                  <a:lnTo>
                    <a:pt x="14" y="6"/>
                  </a:lnTo>
                  <a:lnTo>
                    <a:pt x="14" y="6"/>
                  </a:lnTo>
                  <a:lnTo>
                    <a:pt x="14" y="6"/>
                  </a:lnTo>
                  <a:lnTo>
                    <a:pt x="14" y="6"/>
                  </a:lnTo>
                  <a:lnTo>
                    <a:pt x="13" y="6"/>
                  </a:lnTo>
                  <a:lnTo>
                    <a:pt x="13" y="6"/>
                  </a:lnTo>
                  <a:lnTo>
                    <a:pt x="13" y="6"/>
                  </a:lnTo>
                  <a:lnTo>
                    <a:pt x="13" y="6"/>
                  </a:lnTo>
                  <a:lnTo>
                    <a:pt x="13" y="6"/>
                  </a:lnTo>
                  <a:lnTo>
                    <a:pt x="13" y="6"/>
                  </a:lnTo>
                  <a:lnTo>
                    <a:pt x="13" y="6"/>
                  </a:lnTo>
                  <a:lnTo>
                    <a:pt x="13" y="5"/>
                  </a:lnTo>
                  <a:lnTo>
                    <a:pt x="12" y="5"/>
                  </a:lnTo>
                  <a:lnTo>
                    <a:pt x="12" y="5"/>
                  </a:lnTo>
                  <a:lnTo>
                    <a:pt x="12" y="6"/>
                  </a:lnTo>
                  <a:lnTo>
                    <a:pt x="12" y="6"/>
                  </a:lnTo>
                  <a:lnTo>
                    <a:pt x="12" y="6"/>
                  </a:lnTo>
                  <a:lnTo>
                    <a:pt x="10" y="6"/>
                  </a:lnTo>
                  <a:lnTo>
                    <a:pt x="10" y="6"/>
                  </a:lnTo>
                  <a:lnTo>
                    <a:pt x="10" y="6"/>
                  </a:lnTo>
                  <a:lnTo>
                    <a:pt x="10" y="6"/>
                  </a:lnTo>
                  <a:lnTo>
                    <a:pt x="10" y="6"/>
                  </a:lnTo>
                  <a:lnTo>
                    <a:pt x="10" y="6"/>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24" name="Freeform 1582">
              <a:extLst>
                <a:ext uri="{FF2B5EF4-FFF2-40B4-BE49-F238E27FC236}">
                  <a16:creationId xmlns:a16="http://schemas.microsoft.com/office/drawing/2014/main" id="{CA91931F-5E67-41D8-B6CE-E50F4C2420FB}"/>
                </a:ext>
              </a:extLst>
            </p:cNvPr>
            <p:cNvSpPr>
              <a:spLocks/>
            </p:cNvSpPr>
            <p:nvPr/>
          </p:nvSpPr>
          <p:spPr bwMode="auto">
            <a:xfrm>
              <a:off x="6109583" y="2431047"/>
              <a:ext cx="13355" cy="17362"/>
            </a:xfrm>
            <a:custGeom>
              <a:avLst/>
              <a:gdLst>
                <a:gd name="T0" fmla="*/ 5 w 10"/>
                <a:gd name="T1" fmla="*/ 0 h 13"/>
                <a:gd name="T2" fmla="*/ 5 w 10"/>
                <a:gd name="T3" fmla="*/ 2 h 13"/>
                <a:gd name="T4" fmla="*/ 6 w 10"/>
                <a:gd name="T5" fmla="*/ 2 h 13"/>
                <a:gd name="T6" fmla="*/ 8 w 10"/>
                <a:gd name="T7" fmla="*/ 3 h 13"/>
                <a:gd name="T8" fmla="*/ 8 w 10"/>
                <a:gd name="T9" fmla="*/ 3 h 13"/>
                <a:gd name="T10" fmla="*/ 8 w 10"/>
                <a:gd name="T11" fmla="*/ 4 h 13"/>
                <a:gd name="T12" fmla="*/ 8 w 10"/>
                <a:gd name="T13" fmla="*/ 5 h 13"/>
                <a:gd name="T14" fmla="*/ 8 w 10"/>
                <a:gd name="T15" fmla="*/ 5 h 13"/>
                <a:gd name="T16" fmla="*/ 8 w 10"/>
                <a:gd name="T17" fmla="*/ 6 h 13"/>
                <a:gd name="T18" fmla="*/ 7 w 10"/>
                <a:gd name="T19" fmla="*/ 6 h 13"/>
                <a:gd name="T20" fmla="*/ 6 w 10"/>
                <a:gd name="T21" fmla="*/ 7 h 13"/>
                <a:gd name="T22" fmla="*/ 6 w 10"/>
                <a:gd name="T23" fmla="*/ 9 h 13"/>
                <a:gd name="T24" fmla="*/ 7 w 10"/>
                <a:gd name="T25" fmla="*/ 9 h 13"/>
                <a:gd name="T26" fmla="*/ 7 w 10"/>
                <a:gd name="T27" fmla="*/ 10 h 13"/>
                <a:gd name="T28" fmla="*/ 6 w 10"/>
                <a:gd name="T29" fmla="*/ 10 h 13"/>
                <a:gd name="T30" fmla="*/ 7 w 10"/>
                <a:gd name="T31" fmla="*/ 11 h 13"/>
                <a:gd name="T32" fmla="*/ 7 w 10"/>
                <a:gd name="T33" fmla="*/ 11 h 13"/>
                <a:gd name="T34" fmla="*/ 8 w 10"/>
                <a:gd name="T35" fmla="*/ 12 h 13"/>
                <a:gd name="T36" fmla="*/ 8 w 10"/>
                <a:gd name="T37" fmla="*/ 13 h 13"/>
                <a:gd name="T38" fmla="*/ 8 w 10"/>
                <a:gd name="T39" fmla="*/ 13 h 13"/>
                <a:gd name="T40" fmla="*/ 7 w 10"/>
                <a:gd name="T41" fmla="*/ 13 h 13"/>
                <a:gd name="T42" fmla="*/ 7 w 10"/>
                <a:gd name="T43" fmla="*/ 13 h 13"/>
                <a:gd name="T44" fmla="*/ 7 w 10"/>
                <a:gd name="T45" fmla="*/ 13 h 13"/>
                <a:gd name="T46" fmla="*/ 7 w 10"/>
                <a:gd name="T47" fmla="*/ 13 h 13"/>
                <a:gd name="T48" fmla="*/ 7 w 10"/>
                <a:gd name="T49" fmla="*/ 13 h 13"/>
                <a:gd name="T50" fmla="*/ 6 w 10"/>
                <a:gd name="T51" fmla="*/ 13 h 13"/>
                <a:gd name="T52" fmla="*/ 6 w 10"/>
                <a:gd name="T53" fmla="*/ 13 h 13"/>
                <a:gd name="T54" fmla="*/ 6 w 10"/>
                <a:gd name="T55" fmla="*/ 12 h 13"/>
                <a:gd name="T56" fmla="*/ 6 w 10"/>
                <a:gd name="T57" fmla="*/ 12 h 13"/>
                <a:gd name="T58" fmla="*/ 5 w 10"/>
                <a:gd name="T59" fmla="*/ 12 h 13"/>
                <a:gd name="T60" fmla="*/ 4 w 10"/>
                <a:gd name="T61" fmla="*/ 11 h 13"/>
                <a:gd name="T62" fmla="*/ 4 w 10"/>
                <a:gd name="T63" fmla="*/ 11 h 13"/>
                <a:gd name="T64" fmla="*/ 4 w 10"/>
                <a:gd name="T65" fmla="*/ 10 h 13"/>
                <a:gd name="T66" fmla="*/ 3 w 10"/>
                <a:gd name="T67" fmla="*/ 10 h 13"/>
                <a:gd name="T68" fmla="*/ 1 w 10"/>
                <a:gd name="T69" fmla="*/ 9 h 13"/>
                <a:gd name="T70" fmla="*/ 1 w 10"/>
                <a:gd name="T71" fmla="*/ 9 h 13"/>
                <a:gd name="T72" fmla="*/ 1 w 10"/>
                <a:gd name="T73" fmla="*/ 9 h 13"/>
                <a:gd name="T74" fmla="*/ 1 w 10"/>
                <a:gd name="T75" fmla="*/ 7 h 13"/>
                <a:gd name="T76" fmla="*/ 1 w 10"/>
                <a:gd name="T77" fmla="*/ 6 h 13"/>
                <a:gd name="T78" fmla="*/ 1 w 10"/>
                <a:gd name="T79" fmla="*/ 6 h 13"/>
                <a:gd name="T80" fmla="*/ 1 w 10"/>
                <a:gd name="T81" fmla="*/ 6 h 13"/>
                <a:gd name="T82" fmla="*/ 1 w 10"/>
                <a:gd name="T83" fmla="*/ 5 h 13"/>
                <a:gd name="T84" fmla="*/ 1 w 10"/>
                <a:gd name="T85" fmla="*/ 5 h 13"/>
                <a:gd name="T86" fmla="*/ 0 w 10"/>
                <a:gd name="T87" fmla="*/ 5 h 13"/>
                <a:gd name="T88" fmla="*/ 0 w 10"/>
                <a:gd name="T89" fmla="*/ 5 h 13"/>
                <a:gd name="T90" fmla="*/ 0 w 10"/>
                <a:gd name="T91" fmla="*/ 5 h 13"/>
                <a:gd name="T92" fmla="*/ 0 w 10"/>
                <a:gd name="T93" fmla="*/ 4 h 13"/>
                <a:gd name="T94" fmla="*/ 1 w 10"/>
                <a:gd name="T95" fmla="*/ 4 h 13"/>
                <a:gd name="T96" fmla="*/ 1 w 10"/>
                <a:gd name="T97" fmla="*/ 3 h 13"/>
                <a:gd name="T98" fmla="*/ 0 w 10"/>
                <a:gd name="T99" fmla="*/ 0 h 13"/>
                <a:gd name="T100" fmla="*/ 0 w 10"/>
                <a:gd name="T101" fmla="*/ 0 h 13"/>
                <a:gd name="T102" fmla="*/ 0 w 10"/>
                <a:gd name="T103" fmla="*/ 0 h 13"/>
                <a:gd name="T104" fmla="*/ 1 w 10"/>
                <a:gd name="T105" fmla="*/ 0 h 13"/>
                <a:gd name="T106" fmla="*/ 4 w 10"/>
                <a:gd name="T10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 h="13">
                  <a:moveTo>
                    <a:pt x="5" y="0"/>
                  </a:moveTo>
                  <a:lnTo>
                    <a:pt x="5" y="0"/>
                  </a:lnTo>
                  <a:lnTo>
                    <a:pt x="5" y="2"/>
                  </a:lnTo>
                  <a:lnTo>
                    <a:pt x="5" y="2"/>
                  </a:lnTo>
                  <a:lnTo>
                    <a:pt x="6" y="2"/>
                  </a:lnTo>
                  <a:lnTo>
                    <a:pt x="6" y="2"/>
                  </a:lnTo>
                  <a:lnTo>
                    <a:pt x="7" y="2"/>
                  </a:lnTo>
                  <a:lnTo>
                    <a:pt x="8" y="3"/>
                  </a:lnTo>
                  <a:lnTo>
                    <a:pt x="8" y="3"/>
                  </a:lnTo>
                  <a:lnTo>
                    <a:pt x="8" y="3"/>
                  </a:lnTo>
                  <a:lnTo>
                    <a:pt x="10" y="4"/>
                  </a:lnTo>
                  <a:lnTo>
                    <a:pt x="8" y="4"/>
                  </a:lnTo>
                  <a:lnTo>
                    <a:pt x="8" y="4"/>
                  </a:lnTo>
                  <a:lnTo>
                    <a:pt x="8" y="5"/>
                  </a:lnTo>
                  <a:lnTo>
                    <a:pt x="8" y="5"/>
                  </a:lnTo>
                  <a:lnTo>
                    <a:pt x="8" y="5"/>
                  </a:lnTo>
                  <a:lnTo>
                    <a:pt x="8" y="6"/>
                  </a:lnTo>
                  <a:lnTo>
                    <a:pt x="8" y="6"/>
                  </a:lnTo>
                  <a:lnTo>
                    <a:pt x="7" y="6"/>
                  </a:lnTo>
                  <a:lnTo>
                    <a:pt x="7" y="6"/>
                  </a:lnTo>
                  <a:lnTo>
                    <a:pt x="6" y="7"/>
                  </a:lnTo>
                  <a:lnTo>
                    <a:pt x="6" y="7"/>
                  </a:lnTo>
                  <a:lnTo>
                    <a:pt x="6" y="7"/>
                  </a:lnTo>
                  <a:lnTo>
                    <a:pt x="6" y="9"/>
                  </a:lnTo>
                  <a:lnTo>
                    <a:pt x="7" y="9"/>
                  </a:lnTo>
                  <a:lnTo>
                    <a:pt x="7" y="9"/>
                  </a:lnTo>
                  <a:lnTo>
                    <a:pt x="7" y="10"/>
                  </a:lnTo>
                  <a:lnTo>
                    <a:pt x="7" y="10"/>
                  </a:lnTo>
                  <a:lnTo>
                    <a:pt x="6" y="10"/>
                  </a:lnTo>
                  <a:lnTo>
                    <a:pt x="6" y="10"/>
                  </a:lnTo>
                  <a:lnTo>
                    <a:pt x="7" y="10"/>
                  </a:lnTo>
                  <a:lnTo>
                    <a:pt x="7" y="11"/>
                  </a:lnTo>
                  <a:lnTo>
                    <a:pt x="7" y="11"/>
                  </a:lnTo>
                  <a:lnTo>
                    <a:pt x="7" y="11"/>
                  </a:lnTo>
                  <a:lnTo>
                    <a:pt x="8" y="12"/>
                  </a:lnTo>
                  <a:lnTo>
                    <a:pt x="8" y="12"/>
                  </a:lnTo>
                  <a:lnTo>
                    <a:pt x="8" y="12"/>
                  </a:lnTo>
                  <a:lnTo>
                    <a:pt x="8" y="13"/>
                  </a:lnTo>
                  <a:lnTo>
                    <a:pt x="8" y="13"/>
                  </a:lnTo>
                  <a:lnTo>
                    <a:pt x="8" y="13"/>
                  </a:lnTo>
                  <a:lnTo>
                    <a:pt x="7" y="13"/>
                  </a:lnTo>
                  <a:lnTo>
                    <a:pt x="7" y="13"/>
                  </a:lnTo>
                  <a:lnTo>
                    <a:pt x="7" y="13"/>
                  </a:lnTo>
                  <a:lnTo>
                    <a:pt x="7" y="13"/>
                  </a:lnTo>
                  <a:lnTo>
                    <a:pt x="7" y="13"/>
                  </a:lnTo>
                  <a:lnTo>
                    <a:pt x="7" y="13"/>
                  </a:lnTo>
                  <a:lnTo>
                    <a:pt x="7" y="13"/>
                  </a:lnTo>
                  <a:lnTo>
                    <a:pt x="7" y="13"/>
                  </a:lnTo>
                  <a:lnTo>
                    <a:pt x="7" y="13"/>
                  </a:lnTo>
                  <a:lnTo>
                    <a:pt x="7" y="13"/>
                  </a:lnTo>
                  <a:lnTo>
                    <a:pt x="7" y="13"/>
                  </a:lnTo>
                  <a:lnTo>
                    <a:pt x="6" y="13"/>
                  </a:lnTo>
                  <a:lnTo>
                    <a:pt x="6" y="13"/>
                  </a:lnTo>
                  <a:lnTo>
                    <a:pt x="6" y="13"/>
                  </a:lnTo>
                  <a:lnTo>
                    <a:pt x="6" y="13"/>
                  </a:lnTo>
                  <a:lnTo>
                    <a:pt x="6" y="12"/>
                  </a:lnTo>
                  <a:lnTo>
                    <a:pt x="6" y="12"/>
                  </a:lnTo>
                  <a:lnTo>
                    <a:pt x="6" y="12"/>
                  </a:lnTo>
                  <a:lnTo>
                    <a:pt x="5" y="12"/>
                  </a:lnTo>
                  <a:lnTo>
                    <a:pt x="5" y="12"/>
                  </a:lnTo>
                  <a:lnTo>
                    <a:pt x="4" y="11"/>
                  </a:lnTo>
                  <a:lnTo>
                    <a:pt x="4" y="11"/>
                  </a:lnTo>
                  <a:lnTo>
                    <a:pt x="4" y="11"/>
                  </a:lnTo>
                  <a:lnTo>
                    <a:pt x="4" y="11"/>
                  </a:lnTo>
                  <a:lnTo>
                    <a:pt x="4" y="11"/>
                  </a:lnTo>
                  <a:lnTo>
                    <a:pt x="4" y="10"/>
                  </a:lnTo>
                  <a:lnTo>
                    <a:pt x="3" y="10"/>
                  </a:lnTo>
                  <a:lnTo>
                    <a:pt x="3" y="10"/>
                  </a:lnTo>
                  <a:lnTo>
                    <a:pt x="1" y="9"/>
                  </a:lnTo>
                  <a:lnTo>
                    <a:pt x="1" y="9"/>
                  </a:lnTo>
                  <a:lnTo>
                    <a:pt x="1" y="9"/>
                  </a:lnTo>
                  <a:lnTo>
                    <a:pt x="1" y="9"/>
                  </a:lnTo>
                  <a:lnTo>
                    <a:pt x="1" y="9"/>
                  </a:lnTo>
                  <a:lnTo>
                    <a:pt x="1" y="9"/>
                  </a:lnTo>
                  <a:lnTo>
                    <a:pt x="1" y="7"/>
                  </a:lnTo>
                  <a:lnTo>
                    <a:pt x="1" y="7"/>
                  </a:lnTo>
                  <a:lnTo>
                    <a:pt x="1" y="7"/>
                  </a:lnTo>
                  <a:lnTo>
                    <a:pt x="1" y="6"/>
                  </a:lnTo>
                  <a:lnTo>
                    <a:pt x="1" y="6"/>
                  </a:lnTo>
                  <a:lnTo>
                    <a:pt x="1" y="6"/>
                  </a:lnTo>
                  <a:lnTo>
                    <a:pt x="1" y="6"/>
                  </a:lnTo>
                  <a:lnTo>
                    <a:pt x="1" y="6"/>
                  </a:lnTo>
                  <a:lnTo>
                    <a:pt x="1" y="5"/>
                  </a:lnTo>
                  <a:lnTo>
                    <a:pt x="1" y="5"/>
                  </a:lnTo>
                  <a:lnTo>
                    <a:pt x="1" y="5"/>
                  </a:lnTo>
                  <a:lnTo>
                    <a:pt x="1" y="5"/>
                  </a:lnTo>
                  <a:lnTo>
                    <a:pt x="1" y="5"/>
                  </a:lnTo>
                  <a:lnTo>
                    <a:pt x="0" y="5"/>
                  </a:lnTo>
                  <a:lnTo>
                    <a:pt x="0" y="5"/>
                  </a:lnTo>
                  <a:lnTo>
                    <a:pt x="0" y="5"/>
                  </a:lnTo>
                  <a:lnTo>
                    <a:pt x="0" y="5"/>
                  </a:lnTo>
                  <a:lnTo>
                    <a:pt x="0" y="5"/>
                  </a:lnTo>
                  <a:lnTo>
                    <a:pt x="0" y="4"/>
                  </a:lnTo>
                  <a:lnTo>
                    <a:pt x="0" y="4"/>
                  </a:lnTo>
                  <a:lnTo>
                    <a:pt x="1" y="4"/>
                  </a:lnTo>
                  <a:lnTo>
                    <a:pt x="1" y="4"/>
                  </a:lnTo>
                  <a:lnTo>
                    <a:pt x="1" y="4"/>
                  </a:lnTo>
                  <a:lnTo>
                    <a:pt x="1" y="3"/>
                  </a:lnTo>
                  <a:lnTo>
                    <a:pt x="1" y="2"/>
                  </a:lnTo>
                  <a:lnTo>
                    <a:pt x="0" y="0"/>
                  </a:lnTo>
                  <a:lnTo>
                    <a:pt x="0" y="0"/>
                  </a:lnTo>
                  <a:lnTo>
                    <a:pt x="0" y="0"/>
                  </a:lnTo>
                  <a:lnTo>
                    <a:pt x="0" y="0"/>
                  </a:lnTo>
                  <a:lnTo>
                    <a:pt x="0" y="0"/>
                  </a:lnTo>
                  <a:lnTo>
                    <a:pt x="0" y="0"/>
                  </a:lnTo>
                  <a:lnTo>
                    <a:pt x="1" y="0"/>
                  </a:lnTo>
                  <a:lnTo>
                    <a:pt x="3" y="0"/>
                  </a:lnTo>
                  <a:lnTo>
                    <a:pt x="4" y="0"/>
                  </a:lnTo>
                  <a:lnTo>
                    <a:pt x="5" y="0"/>
                  </a:lnTo>
                  <a:close/>
                </a:path>
              </a:pathLst>
            </a:custGeom>
            <a:solidFill>
              <a:srgbClr val="D2D2D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it-IT" dirty="0"/>
            </a:p>
          </p:txBody>
        </p:sp>
        <p:sp>
          <p:nvSpPr>
            <p:cNvPr id="825" name="Freeform 1583">
              <a:extLst>
                <a:ext uri="{FF2B5EF4-FFF2-40B4-BE49-F238E27FC236}">
                  <a16:creationId xmlns:a16="http://schemas.microsoft.com/office/drawing/2014/main" id="{844A7705-1914-4243-B07E-A4CF16F12929}"/>
                </a:ext>
              </a:extLst>
            </p:cNvPr>
            <p:cNvSpPr>
              <a:spLocks/>
            </p:cNvSpPr>
            <p:nvPr/>
          </p:nvSpPr>
          <p:spPr bwMode="auto">
            <a:xfrm>
              <a:off x="6069518" y="2392319"/>
              <a:ext cx="66774" cy="56090"/>
            </a:xfrm>
            <a:custGeom>
              <a:avLst/>
              <a:gdLst>
                <a:gd name="T0" fmla="*/ 15 w 50"/>
                <a:gd name="T1" fmla="*/ 0 h 42"/>
                <a:gd name="T2" fmla="*/ 18 w 50"/>
                <a:gd name="T3" fmla="*/ 3 h 42"/>
                <a:gd name="T4" fmla="*/ 20 w 50"/>
                <a:gd name="T5" fmla="*/ 1 h 42"/>
                <a:gd name="T6" fmla="*/ 22 w 50"/>
                <a:gd name="T7" fmla="*/ 3 h 42"/>
                <a:gd name="T8" fmla="*/ 23 w 50"/>
                <a:gd name="T9" fmla="*/ 3 h 42"/>
                <a:gd name="T10" fmla="*/ 27 w 50"/>
                <a:gd name="T11" fmla="*/ 4 h 42"/>
                <a:gd name="T12" fmla="*/ 30 w 50"/>
                <a:gd name="T13" fmla="*/ 3 h 42"/>
                <a:gd name="T14" fmla="*/ 34 w 50"/>
                <a:gd name="T15" fmla="*/ 3 h 42"/>
                <a:gd name="T16" fmla="*/ 35 w 50"/>
                <a:gd name="T17" fmla="*/ 3 h 42"/>
                <a:gd name="T18" fmla="*/ 37 w 50"/>
                <a:gd name="T19" fmla="*/ 4 h 42"/>
                <a:gd name="T20" fmla="*/ 37 w 50"/>
                <a:gd name="T21" fmla="*/ 6 h 42"/>
                <a:gd name="T22" fmla="*/ 41 w 50"/>
                <a:gd name="T23" fmla="*/ 7 h 42"/>
                <a:gd name="T24" fmla="*/ 44 w 50"/>
                <a:gd name="T25" fmla="*/ 6 h 42"/>
                <a:gd name="T26" fmla="*/ 45 w 50"/>
                <a:gd name="T27" fmla="*/ 8 h 42"/>
                <a:gd name="T28" fmla="*/ 44 w 50"/>
                <a:gd name="T29" fmla="*/ 11 h 42"/>
                <a:gd name="T30" fmla="*/ 43 w 50"/>
                <a:gd name="T31" fmla="*/ 13 h 42"/>
                <a:gd name="T32" fmla="*/ 44 w 50"/>
                <a:gd name="T33" fmla="*/ 15 h 42"/>
                <a:gd name="T34" fmla="*/ 45 w 50"/>
                <a:gd name="T35" fmla="*/ 15 h 42"/>
                <a:gd name="T36" fmla="*/ 47 w 50"/>
                <a:gd name="T37" fmla="*/ 18 h 42"/>
                <a:gd name="T38" fmla="*/ 49 w 50"/>
                <a:gd name="T39" fmla="*/ 19 h 42"/>
                <a:gd name="T40" fmla="*/ 49 w 50"/>
                <a:gd name="T41" fmla="*/ 20 h 42"/>
                <a:gd name="T42" fmla="*/ 47 w 50"/>
                <a:gd name="T43" fmla="*/ 21 h 42"/>
                <a:gd name="T44" fmla="*/ 45 w 50"/>
                <a:gd name="T45" fmla="*/ 21 h 42"/>
                <a:gd name="T46" fmla="*/ 48 w 50"/>
                <a:gd name="T47" fmla="*/ 24 h 42"/>
                <a:gd name="T48" fmla="*/ 49 w 50"/>
                <a:gd name="T49" fmla="*/ 27 h 42"/>
                <a:gd name="T50" fmla="*/ 47 w 50"/>
                <a:gd name="T51" fmla="*/ 26 h 42"/>
                <a:gd name="T52" fmla="*/ 44 w 50"/>
                <a:gd name="T53" fmla="*/ 27 h 42"/>
                <a:gd name="T54" fmla="*/ 43 w 50"/>
                <a:gd name="T55" fmla="*/ 27 h 42"/>
                <a:gd name="T56" fmla="*/ 42 w 50"/>
                <a:gd name="T57" fmla="*/ 29 h 42"/>
                <a:gd name="T58" fmla="*/ 44 w 50"/>
                <a:gd name="T59" fmla="*/ 31 h 42"/>
                <a:gd name="T60" fmla="*/ 43 w 50"/>
                <a:gd name="T61" fmla="*/ 31 h 42"/>
                <a:gd name="T62" fmla="*/ 40 w 50"/>
                <a:gd name="T63" fmla="*/ 32 h 42"/>
                <a:gd name="T64" fmla="*/ 38 w 50"/>
                <a:gd name="T65" fmla="*/ 33 h 42"/>
                <a:gd name="T66" fmla="*/ 37 w 50"/>
                <a:gd name="T67" fmla="*/ 35 h 42"/>
                <a:gd name="T68" fmla="*/ 37 w 50"/>
                <a:gd name="T69" fmla="*/ 38 h 42"/>
                <a:gd name="T70" fmla="*/ 37 w 50"/>
                <a:gd name="T71" fmla="*/ 39 h 42"/>
                <a:gd name="T72" fmla="*/ 38 w 50"/>
                <a:gd name="T73" fmla="*/ 42 h 42"/>
                <a:gd name="T74" fmla="*/ 35 w 50"/>
                <a:gd name="T75" fmla="*/ 42 h 42"/>
                <a:gd name="T76" fmla="*/ 30 w 50"/>
                <a:gd name="T77" fmla="*/ 40 h 42"/>
                <a:gd name="T78" fmla="*/ 29 w 50"/>
                <a:gd name="T79" fmla="*/ 38 h 42"/>
                <a:gd name="T80" fmla="*/ 26 w 50"/>
                <a:gd name="T81" fmla="*/ 36 h 42"/>
                <a:gd name="T82" fmla="*/ 27 w 50"/>
                <a:gd name="T83" fmla="*/ 36 h 42"/>
                <a:gd name="T84" fmla="*/ 23 w 50"/>
                <a:gd name="T85" fmla="*/ 34 h 42"/>
                <a:gd name="T86" fmla="*/ 21 w 50"/>
                <a:gd name="T87" fmla="*/ 31 h 42"/>
                <a:gd name="T88" fmla="*/ 20 w 50"/>
                <a:gd name="T89" fmla="*/ 28 h 42"/>
                <a:gd name="T90" fmla="*/ 18 w 50"/>
                <a:gd name="T91" fmla="*/ 27 h 42"/>
                <a:gd name="T92" fmla="*/ 13 w 50"/>
                <a:gd name="T93" fmla="*/ 24 h 42"/>
                <a:gd name="T94" fmla="*/ 11 w 50"/>
                <a:gd name="T95" fmla="*/ 21 h 42"/>
                <a:gd name="T96" fmla="*/ 9 w 50"/>
                <a:gd name="T97" fmla="*/ 19 h 42"/>
                <a:gd name="T98" fmla="*/ 7 w 50"/>
                <a:gd name="T99" fmla="*/ 18 h 42"/>
                <a:gd name="T100" fmla="*/ 7 w 50"/>
                <a:gd name="T101" fmla="*/ 15 h 42"/>
                <a:gd name="T102" fmla="*/ 6 w 50"/>
                <a:gd name="T103" fmla="*/ 13 h 42"/>
                <a:gd name="T104" fmla="*/ 4 w 50"/>
                <a:gd name="T105" fmla="*/ 11 h 42"/>
                <a:gd name="T106" fmla="*/ 4 w 50"/>
                <a:gd name="T107" fmla="*/ 10 h 42"/>
                <a:gd name="T108" fmla="*/ 2 w 50"/>
                <a:gd name="T109" fmla="*/ 10 h 42"/>
                <a:gd name="T110" fmla="*/ 0 w 50"/>
                <a:gd name="T111" fmla="*/ 8 h 42"/>
                <a:gd name="T112" fmla="*/ 0 w 50"/>
                <a:gd name="T113" fmla="*/ 5 h 42"/>
                <a:gd name="T114" fmla="*/ 0 w 50"/>
                <a:gd name="T115" fmla="*/ 1 h 42"/>
                <a:gd name="T116" fmla="*/ 4 w 50"/>
                <a:gd name="T117" fmla="*/ 1 h 42"/>
                <a:gd name="T118" fmla="*/ 6 w 50"/>
                <a:gd name="T119" fmla="*/ 4 h 42"/>
                <a:gd name="T120" fmla="*/ 7 w 50"/>
                <a:gd name="T121" fmla="*/ 4 h 42"/>
                <a:gd name="T122" fmla="*/ 9 w 50"/>
                <a:gd name="T123" fmla="*/ 1 h 42"/>
                <a:gd name="T124" fmla="*/ 14 w 50"/>
                <a:gd name="T125"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 h="42">
                  <a:moveTo>
                    <a:pt x="14" y="1"/>
                  </a:moveTo>
                  <a:lnTo>
                    <a:pt x="15" y="1"/>
                  </a:lnTo>
                  <a:lnTo>
                    <a:pt x="15" y="0"/>
                  </a:lnTo>
                  <a:lnTo>
                    <a:pt x="15" y="1"/>
                  </a:lnTo>
                  <a:lnTo>
                    <a:pt x="16" y="1"/>
                  </a:lnTo>
                  <a:lnTo>
                    <a:pt x="18" y="3"/>
                  </a:lnTo>
                  <a:lnTo>
                    <a:pt x="19" y="3"/>
                  </a:lnTo>
                  <a:lnTo>
                    <a:pt x="19" y="1"/>
                  </a:lnTo>
                  <a:lnTo>
                    <a:pt x="20" y="1"/>
                  </a:lnTo>
                  <a:lnTo>
                    <a:pt x="20" y="3"/>
                  </a:lnTo>
                  <a:lnTo>
                    <a:pt x="21" y="3"/>
                  </a:lnTo>
                  <a:lnTo>
                    <a:pt x="22" y="3"/>
                  </a:lnTo>
                  <a:lnTo>
                    <a:pt x="21" y="3"/>
                  </a:lnTo>
                  <a:lnTo>
                    <a:pt x="22" y="3"/>
                  </a:lnTo>
                  <a:lnTo>
                    <a:pt x="23" y="3"/>
                  </a:lnTo>
                  <a:lnTo>
                    <a:pt x="25" y="3"/>
                  </a:lnTo>
                  <a:lnTo>
                    <a:pt x="26" y="4"/>
                  </a:lnTo>
                  <a:lnTo>
                    <a:pt x="27" y="4"/>
                  </a:lnTo>
                  <a:lnTo>
                    <a:pt x="28" y="3"/>
                  </a:lnTo>
                  <a:lnTo>
                    <a:pt x="29" y="3"/>
                  </a:lnTo>
                  <a:lnTo>
                    <a:pt x="30" y="3"/>
                  </a:lnTo>
                  <a:lnTo>
                    <a:pt x="31" y="3"/>
                  </a:lnTo>
                  <a:lnTo>
                    <a:pt x="33" y="3"/>
                  </a:lnTo>
                  <a:lnTo>
                    <a:pt x="34" y="3"/>
                  </a:lnTo>
                  <a:lnTo>
                    <a:pt x="34" y="4"/>
                  </a:lnTo>
                  <a:lnTo>
                    <a:pt x="35" y="4"/>
                  </a:lnTo>
                  <a:lnTo>
                    <a:pt x="35" y="3"/>
                  </a:lnTo>
                  <a:lnTo>
                    <a:pt x="36" y="3"/>
                  </a:lnTo>
                  <a:lnTo>
                    <a:pt x="36" y="4"/>
                  </a:lnTo>
                  <a:lnTo>
                    <a:pt x="37" y="4"/>
                  </a:lnTo>
                  <a:lnTo>
                    <a:pt x="37" y="5"/>
                  </a:lnTo>
                  <a:lnTo>
                    <a:pt x="38" y="5"/>
                  </a:lnTo>
                  <a:lnTo>
                    <a:pt x="37" y="6"/>
                  </a:lnTo>
                  <a:lnTo>
                    <a:pt x="38" y="6"/>
                  </a:lnTo>
                  <a:lnTo>
                    <a:pt x="40" y="7"/>
                  </a:lnTo>
                  <a:lnTo>
                    <a:pt x="41" y="7"/>
                  </a:lnTo>
                  <a:lnTo>
                    <a:pt x="42" y="6"/>
                  </a:lnTo>
                  <a:lnTo>
                    <a:pt x="43" y="6"/>
                  </a:lnTo>
                  <a:lnTo>
                    <a:pt x="44" y="6"/>
                  </a:lnTo>
                  <a:lnTo>
                    <a:pt x="45" y="6"/>
                  </a:lnTo>
                  <a:lnTo>
                    <a:pt x="45" y="7"/>
                  </a:lnTo>
                  <a:lnTo>
                    <a:pt x="45" y="8"/>
                  </a:lnTo>
                  <a:lnTo>
                    <a:pt x="45" y="10"/>
                  </a:lnTo>
                  <a:lnTo>
                    <a:pt x="44" y="10"/>
                  </a:lnTo>
                  <a:lnTo>
                    <a:pt x="44" y="11"/>
                  </a:lnTo>
                  <a:lnTo>
                    <a:pt x="43" y="11"/>
                  </a:lnTo>
                  <a:lnTo>
                    <a:pt x="43" y="12"/>
                  </a:lnTo>
                  <a:lnTo>
                    <a:pt x="43" y="13"/>
                  </a:lnTo>
                  <a:lnTo>
                    <a:pt x="43" y="14"/>
                  </a:lnTo>
                  <a:lnTo>
                    <a:pt x="43" y="15"/>
                  </a:lnTo>
                  <a:lnTo>
                    <a:pt x="44" y="15"/>
                  </a:lnTo>
                  <a:lnTo>
                    <a:pt x="44" y="17"/>
                  </a:lnTo>
                  <a:lnTo>
                    <a:pt x="45" y="17"/>
                  </a:lnTo>
                  <a:lnTo>
                    <a:pt x="45" y="15"/>
                  </a:lnTo>
                  <a:lnTo>
                    <a:pt x="45" y="17"/>
                  </a:lnTo>
                  <a:lnTo>
                    <a:pt x="47" y="17"/>
                  </a:lnTo>
                  <a:lnTo>
                    <a:pt x="47" y="18"/>
                  </a:lnTo>
                  <a:lnTo>
                    <a:pt x="48" y="18"/>
                  </a:lnTo>
                  <a:lnTo>
                    <a:pt x="48" y="19"/>
                  </a:lnTo>
                  <a:lnTo>
                    <a:pt x="49" y="19"/>
                  </a:lnTo>
                  <a:lnTo>
                    <a:pt x="50" y="19"/>
                  </a:lnTo>
                  <a:lnTo>
                    <a:pt x="50" y="20"/>
                  </a:lnTo>
                  <a:lnTo>
                    <a:pt x="49" y="20"/>
                  </a:lnTo>
                  <a:lnTo>
                    <a:pt x="48" y="20"/>
                  </a:lnTo>
                  <a:lnTo>
                    <a:pt x="47" y="20"/>
                  </a:lnTo>
                  <a:lnTo>
                    <a:pt x="47" y="21"/>
                  </a:lnTo>
                  <a:lnTo>
                    <a:pt x="47" y="20"/>
                  </a:lnTo>
                  <a:lnTo>
                    <a:pt x="45" y="20"/>
                  </a:lnTo>
                  <a:lnTo>
                    <a:pt x="45" y="21"/>
                  </a:lnTo>
                  <a:lnTo>
                    <a:pt x="47" y="21"/>
                  </a:lnTo>
                  <a:lnTo>
                    <a:pt x="47" y="22"/>
                  </a:lnTo>
                  <a:lnTo>
                    <a:pt x="48" y="24"/>
                  </a:lnTo>
                  <a:lnTo>
                    <a:pt x="49" y="25"/>
                  </a:lnTo>
                  <a:lnTo>
                    <a:pt x="49" y="26"/>
                  </a:lnTo>
                  <a:lnTo>
                    <a:pt x="49" y="27"/>
                  </a:lnTo>
                  <a:lnTo>
                    <a:pt x="48" y="27"/>
                  </a:lnTo>
                  <a:lnTo>
                    <a:pt x="48" y="26"/>
                  </a:lnTo>
                  <a:lnTo>
                    <a:pt x="47" y="26"/>
                  </a:lnTo>
                  <a:lnTo>
                    <a:pt x="47" y="27"/>
                  </a:lnTo>
                  <a:lnTo>
                    <a:pt x="45" y="27"/>
                  </a:lnTo>
                  <a:lnTo>
                    <a:pt x="44" y="27"/>
                  </a:lnTo>
                  <a:lnTo>
                    <a:pt x="44" y="28"/>
                  </a:lnTo>
                  <a:lnTo>
                    <a:pt x="43" y="28"/>
                  </a:lnTo>
                  <a:lnTo>
                    <a:pt x="43" y="27"/>
                  </a:lnTo>
                  <a:lnTo>
                    <a:pt x="42" y="27"/>
                  </a:lnTo>
                  <a:lnTo>
                    <a:pt x="42" y="28"/>
                  </a:lnTo>
                  <a:lnTo>
                    <a:pt x="42" y="29"/>
                  </a:lnTo>
                  <a:lnTo>
                    <a:pt x="43" y="29"/>
                  </a:lnTo>
                  <a:lnTo>
                    <a:pt x="43" y="31"/>
                  </a:lnTo>
                  <a:lnTo>
                    <a:pt x="44" y="31"/>
                  </a:lnTo>
                  <a:lnTo>
                    <a:pt x="43" y="31"/>
                  </a:lnTo>
                  <a:lnTo>
                    <a:pt x="43" y="32"/>
                  </a:lnTo>
                  <a:lnTo>
                    <a:pt x="43" y="31"/>
                  </a:lnTo>
                  <a:lnTo>
                    <a:pt x="42" y="31"/>
                  </a:lnTo>
                  <a:lnTo>
                    <a:pt x="41" y="31"/>
                  </a:lnTo>
                  <a:lnTo>
                    <a:pt x="40" y="32"/>
                  </a:lnTo>
                  <a:lnTo>
                    <a:pt x="38" y="32"/>
                  </a:lnTo>
                  <a:lnTo>
                    <a:pt x="40" y="33"/>
                  </a:lnTo>
                  <a:lnTo>
                    <a:pt x="38" y="33"/>
                  </a:lnTo>
                  <a:lnTo>
                    <a:pt x="38" y="34"/>
                  </a:lnTo>
                  <a:lnTo>
                    <a:pt x="38" y="35"/>
                  </a:lnTo>
                  <a:lnTo>
                    <a:pt x="37" y="35"/>
                  </a:lnTo>
                  <a:lnTo>
                    <a:pt x="36" y="36"/>
                  </a:lnTo>
                  <a:lnTo>
                    <a:pt x="36" y="38"/>
                  </a:lnTo>
                  <a:lnTo>
                    <a:pt x="37" y="38"/>
                  </a:lnTo>
                  <a:lnTo>
                    <a:pt x="37" y="39"/>
                  </a:lnTo>
                  <a:lnTo>
                    <a:pt x="36" y="39"/>
                  </a:lnTo>
                  <a:lnTo>
                    <a:pt x="37" y="39"/>
                  </a:lnTo>
                  <a:lnTo>
                    <a:pt x="37" y="40"/>
                  </a:lnTo>
                  <a:lnTo>
                    <a:pt x="38" y="41"/>
                  </a:lnTo>
                  <a:lnTo>
                    <a:pt x="38" y="42"/>
                  </a:lnTo>
                  <a:lnTo>
                    <a:pt x="37" y="42"/>
                  </a:lnTo>
                  <a:lnTo>
                    <a:pt x="36" y="42"/>
                  </a:lnTo>
                  <a:lnTo>
                    <a:pt x="35" y="42"/>
                  </a:lnTo>
                  <a:lnTo>
                    <a:pt x="34" y="42"/>
                  </a:lnTo>
                  <a:lnTo>
                    <a:pt x="31" y="40"/>
                  </a:lnTo>
                  <a:lnTo>
                    <a:pt x="30" y="40"/>
                  </a:lnTo>
                  <a:lnTo>
                    <a:pt x="30" y="39"/>
                  </a:lnTo>
                  <a:lnTo>
                    <a:pt x="29" y="39"/>
                  </a:lnTo>
                  <a:lnTo>
                    <a:pt x="29" y="38"/>
                  </a:lnTo>
                  <a:lnTo>
                    <a:pt x="28" y="38"/>
                  </a:lnTo>
                  <a:lnTo>
                    <a:pt x="27" y="38"/>
                  </a:lnTo>
                  <a:lnTo>
                    <a:pt x="26" y="36"/>
                  </a:lnTo>
                  <a:lnTo>
                    <a:pt x="26" y="38"/>
                  </a:lnTo>
                  <a:lnTo>
                    <a:pt x="26" y="36"/>
                  </a:lnTo>
                  <a:lnTo>
                    <a:pt x="27" y="36"/>
                  </a:lnTo>
                  <a:lnTo>
                    <a:pt x="26" y="35"/>
                  </a:lnTo>
                  <a:lnTo>
                    <a:pt x="26" y="34"/>
                  </a:lnTo>
                  <a:lnTo>
                    <a:pt x="23" y="34"/>
                  </a:lnTo>
                  <a:lnTo>
                    <a:pt x="23" y="33"/>
                  </a:lnTo>
                  <a:lnTo>
                    <a:pt x="22" y="32"/>
                  </a:lnTo>
                  <a:lnTo>
                    <a:pt x="21" y="31"/>
                  </a:lnTo>
                  <a:lnTo>
                    <a:pt x="21" y="29"/>
                  </a:lnTo>
                  <a:lnTo>
                    <a:pt x="21" y="28"/>
                  </a:lnTo>
                  <a:lnTo>
                    <a:pt x="20" y="28"/>
                  </a:lnTo>
                  <a:lnTo>
                    <a:pt x="19" y="28"/>
                  </a:lnTo>
                  <a:lnTo>
                    <a:pt x="19" y="27"/>
                  </a:lnTo>
                  <a:lnTo>
                    <a:pt x="18" y="27"/>
                  </a:lnTo>
                  <a:lnTo>
                    <a:pt x="15" y="25"/>
                  </a:lnTo>
                  <a:lnTo>
                    <a:pt x="14" y="24"/>
                  </a:lnTo>
                  <a:lnTo>
                    <a:pt x="13" y="24"/>
                  </a:lnTo>
                  <a:lnTo>
                    <a:pt x="13" y="22"/>
                  </a:lnTo>
                  <a:lnTo>
                    <a:pt x="12" y="21"/>
                  </a:lnTo>
                  <a:lnTo>
                    <a:pt x="11" y="21"/>
                  </a:lnTo>
                  <a:lnTo>
                    <a:pt x="11" y="20"/>
                  </a:lnTo>
                  <a:lnTo>
                    <a:pt x="9" y="20"/>
                  </a:lnTo>
                  <a:lnTo>
                    <a:pt x="9" y="19"/>
                  </a:lnTo>
                  <a:lnTo>
                    <a:pt x="8" y="19"/>
                  </a:lnTo>
                  <a:lnTo>
                    <a:pt x="8" y="18"/>
                  </a:lnTo>
                  <a:lnTo>
                    <a:pt x="7" y="18"/>
                  </a:lnTo>
                  <a:lnTo>
                    <a:pt x="7" y="17"/>
                  </a:lnTo>
                  <a:lnTo>
                    <a:pt x="6" y="15"/>
                  </a:lnTo>
                  <a:lnTo>
                    <a:pt x="7" y="15"/>
                  </a:lnTo>
                  <a:lnTo>
                    <a:pt x="7" y="14"/>
                  </a:lnTo>
                  <a:lnTo>
                    <a:pt x="6" y="14"/>
                  </a:lnTo>
                  <a:lnTo>
                    <a:pt x="6" y="13"/>
                  </a:lnTo>
                  <a:lnTo>
                    <a:pt x="5" y="12"/>
                  </a:lnTo>
                  <a:lnTo>
                    <a:pt x="4" y="12"/>
                  </a:lnTo>
                  <a:lnTo>
                    <a:pt x="4" y="11"/>
                  </a:lnTo>
                  <a:lnTo>
                    <a:pt x="5" y="11"/>
                  </a:lnTo>
                  <a:lnTo>
                    <a:pt x="4" y="11"/>
                  </a:lnTo>
                  <a:lnTo>
                    <a:pt x="4" y="10"/>
                  </a:lnTo>
                  <a:lnTo>
                    <a:pt x="2" y="10"/>
                  </a:lnTo>
                  <a:lnTo>
                    <a:pt x="2" y="8"/>
                  </a:lnTo>
                  <a:lnTo>
                    <a:pt x="2" y="10"/>
                  </a:lnTo>
                  <a:lnTo>
                    <a:pt x="1" y="10"/>
                  </a:lnTo>
                  <a:lnTo>
                    <a:pt x="1" y="8"/>
                  </a:lnTo>
                  <a:lnTo>
                    <a:pt x="0" y="8"/>
                  </a:lnTo>
                  <a:lnTo>
                    <a:pt x="0" y="7"/>
                  </a:lnTo>
                  <a:lnTo>
                    <a:pt x="0" y="6"/>
                  </a:lnTo>
                  <a:lnTo>
                    <a:pt x="0" y="5"/>
                  </a:lnTo>
                  <a:lnTo>
                    <a:pt x="0" y="4"/>
                  </a:lnTo>
                  <a:lnTo>
                    <a:pt x="0" y="3"/>
                  </a:lnTo>
                  <a:lnTo>
                    <a:pt x="0" y="1"/>
                  </a:lnTo>
                  <a:lnTo>
                    <a:pt x="1" y="1"/>
                  </a:lnTo>
                  <a:lnTo>
                    <a:pt x="2" y="1"/>
                  </a:lnTo>
                  <a:lnTo>
                    <a:pt x="4" y="1"/>
                  </a:lnTo>
                  <a:lnTo>
                    <a:pt x="4" y="3"/>
                  </a:lnTo>
                  <a:lnTo>
                    <a:pt x="5" y="3"/>
                  </a:lnTo>
                  <a:lnTo>
                    <a:pt x="6" y="4"/>
                  </a:lnTo>
                  <a:lnTo>
                    <a:pt x="6" y="5"/>
                  </a:lnTo>
                  <a:lnTo>
                    <a:pt x="7" y="5"/>
                  </a:lnTo>
                  <a:lnTo>
                    <a:pt x="7" y="4"/>
                  </a:lnTo>
                  <a:lnTo>
                    <a:pt x="8" y="4"/>
                  </a:lnTo>
                  <a:lnTo>
                    <a:pt x="8" y="3"/>
                  </a:lnTo>
                  <a:lnTo>
                    <a:pt x="9" y="1"/>
                  </a:lnTo>
                  <a:lnTo>
                    <a:pt x="11" y="1"/>
                  </a:lnTo>
                  <a:lnTo>
                    <a:pt x="13" y="1"/>
                  </a:lnTo>
                  <a:lnTo>
                    <a:pt x="14" y="1"/>
                  </a:lnTo>
                  <a:lnTo>
                    <a:pt x="14" y="0"/>
                  </a:lnTo>
                  <a:lnTo>
                    <a:pt x="14" y="1"/>
                  </a:lnTo>
                  <a:close/>
                </a:path>
              </a:pathLst>
            </a:custGeom>
            <a:solidFill>
              <a:srgbClr val="D2D2D2"/>
            </a:solidFill>
            <a:ln w="3175"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t-IT" sz="1200" dirty="0"/>
            </a:p>
          </p:txBody>
        </p:sp>
      </p:grpSp>
      <p:grpSp>
        <p:nvGrpSpPr>
          <p:cNvPr id="775" name="Group 774"/>
          <p:cNvGrpSpPr>
            <a:grpSpLocks noChangeAspect="1"/>
          </p:cNvGrpSpPr>
          <p:nvPr/>
        </p:nvGrpSpPr>
        <p:grpSpPr>
          <a:xfrm>
            <a:off x="2902514" y="1064861"/>
            <a:ext cx="213620" cy="3130642"/>
            <a:chOff x="5942914" y="1877259"/>
            <a:chExt cx="306171" cy="4486989"/>
          </a:xfrm>
        </p:grpSpPr>
        <p:cxnSp>
          <p:nvCxnSpPr>
            <p:cNvPr id="776" name="Straight Connector 775"/>
            <p:cNvCxnSpPr/>
            <p:nvPr/>
          </p:nvCxnSpPr>
          <p:spPr>
            <a:xfrm>
              <a:off x="6096000" y="1877259"/>
              <a:ext cx="0" cy="4486989"/>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777" name="Group 776"/>
            <p:cNvGrpSpPr/>
            <p:nvPr/>
          </p:nvGrpSpPr>
          <p:grpSpPr>
            <a:xfrm>
              <a:off x="5942914" y="3967299"/>
              <a:ext cx="306171" cy="306910"/>
              <a:chOff x="5937564" y="3833745"/>
              <a:chExt cx="306171" cy="306910"/>
            </a:xfrm>
          </p:grpSpPr>
          <p:sp>
            <p:nvSpPr>
              <p:cNvPr id="778"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05392"/>
              </a:solidFill>
              <a:ln w="9525" cap="flat" cmpd="sng" algn="ctr">
                <a:solidFill>
                  <a:srgbClr val="005392"/>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endParaRPr lang="it-IT" dirty="0">
                  <a:solidFill>
                    <a:srgbClr val="6E6F73"/>
                  </a:solidFill>
                </a:endParaRPr>
              </a:p>
            </p:txBody>
          </p:sp>
          <p:sp>
            <p:nvSpPr>
              <p:cNvPr id="779"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it-IT" dirty="0">
                  <a:solidFill>
                    <a:srgbClr val="6E6F73"/>
                  </a:solidFill>
                </a:endParaRPr>
              </a:p>
            </p:txBody>
          </p:sp>
        </p:grpSp>
      </p:grpSp>
      <p:sp>
        <p:nvSpPr>
          <p:cNvPr id="836" name="ee4pContent1"/>
          <p:cNvSpPr txBox="1"/>
          <p:nvPr/>
        </p:nvSpPr>
        <p:spPr>
          <a:xfrm>
            <a:off x="251893" y="1076746"/>
            <a:ext cx="2468976" cy="321367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it-IT"/>
            </a:defPPr>
            <a:lvl1pPr>
              <a:buClr>
                <a:srgbClr val="415364"/>
              </a:buClr>
              <a:buSzPct val="100000"/>
              <a:buFont typeface="Trebuchet MS" panose="020B0603020202020204" pitchFamily="34" charset="0"/>
              <a:buChar char="​"/>
              <a:defRPr sz="1000">
                <a:solidFill>
                  <a:srgbClr val="415364"/>
                </a:solidFill>
              </a:defRPr>
            </a:lvl1pPr>
            <a:lvl2pPr marL="324000" lvl="1" indent="-216000">
              <a:buClr>
                <a:srgbClr val="415364"/>
              </a:buClr>
              <a:buSzPct val="100000"/>
              <a:buFont typeface="Trebuchet MS" panose="020B0603020202020204" pitchFamily="34" charset="0"/>
              <a:buChar char="•"/>
              <a:defRPr sz="1000">
                <a:solidFill>
                  <a:srgbClr val="415364"/>
                </a:solidFill>
              </a:defRPr>
            </a:lvl2pPr>
            <a:lvl3pPr marL="648000" lvl="2" indent="-216000">
              <a:buClr>
                <a:srgbClr val="415364"/>
              </a:buClr>
              <a:buSzPct val="100000"/>
              <a:buFont typeface="Trebuchet MS" panose="020B0603020202020204" pitchFamily="34" charset="0"/>
              <a:buChar char="–"/>
              <a:defRPr sz="1000">
                <a:solidFill>
                  <a:srgbClr val="415364"/>
                </a:solidFill>
              </a:defRPr>
            </a:lvl3pPr>
            <a:lvl4pPr marL="0" lvl="3">
              <a:buSzPct val="100000"/>
              <a:buFont typeface="Trebuchet MS" panose="020B0603020202020204" pitchFamily="34" charset="0"/>
              <a:buChar char="​"/>
              <a:defRPr sz="1100" b="1">
                <a:solidFill>
                  <a:srgbClr val="415364"/>
                </a:solidFill>
              </a:defRPr>
            </a:lvl4pPr>
            <a:lvl5pPr marL="0" lvl="4">
              <a:buSzPct val="100000"/>
              <a:buFont typeface="Trebuchet MS" panose="020B0603020202020204" pitchFamily="34" charset="0"/>
              <a:buChar char="​"/>
              <a:defRPr sz="1100" b="1">
                <a:solidFill>
                  <a:srgbClr val="415364"/>
                </a:solidFill>
              </a:defRPr>
            </a:lvl5pPr>
            <a:lvl6pPr marL="324000" lvl="5" indent="-216000">
              <a:buClr>
                <a:srgbClr val="A4A5A4"/>
              </a:buClr>
              <a:buSzPct val="100000"/>
              <a:buFont typeface="Trebuchet MS" panose="020B0603020202020204" pitchFamily="34" charset="0"/>
              <a:buChar char="•"/>
              <a:defRPr sz="1100">
                <a:solidFill>
                  <a:srgbClr val="415364"/>
                </a:solidFill>
              </a:defRPr>
            </a:lvl6pPr>
            <a:lvl7pPr marL="0" lvl="6">
              <a:buSzPct val="100000"/>
              <a:buFont typeface="Trebuchet MS" panose="020B0603020202020204" pitchFamily="34" charset="0"/>
              <a:buChar char="​"/>
              <a:defRPr sz="3200">
                <a:solidFill>
                  <a:srgbClr val="415364"/>
                </a:solidFill>
              </a:defRPr>
            </a:lvl7pPr>
            <a:lvl8pPr marL="0" lvl="7">
              <a:buSzPct val="100000"/>
              <a:buFont typeface="Trebuchet MS" panose="020B0603020202020204" pitchFamily="34" charset="0"/>
              <a:buChar char="​"/>
              <a:defRPr sz="4000">
                <a:solidFill>
                  <a:srgbClr val="415364"/>
                </a:solidFill>
              </a:defRPr>
            </a:lvl8pPr>
            <a:lvl9pPr marL="0" lvl="8">
              <a:buSzPct val="100000"/>
              <a:buFont typeface="Trebuchet MS" panose="020B0603020202020204" pitchFamily="34" charset="0"/>
              <a:buChar char="​"/>
              <a:defRPr sz="1600">
                <a:solidFill>
                  <a:srgbClr val="415364"/>
                </a:solidFill>
              </a:defRPr>
            </a:lvl9pPr>
          </a:lstStyle>
          <a:p>
            <a:r>
              <a:rPr lang="it-IT" dirty="0">
                <a:solidFill>
                  <a:srgbClr val="415364">
                    <a:lumMod val="100000"/>
                  </a:srgbClr>
                </a:solidFill>
                <a:latin typeface="Arial" panose="020B0604020202020204" pitchFamily="34" charset="0"/>
              </a:rPr>
              <a:t>28 Paesi prioritari dal punto di vista dell'impatto indiretto per le imprese italiane</a:t>
            </a:r>
          </a:p>
          <a:p>
            <a:pPr lvl="1">
              <a:lnSpc>
                <a:spcPct val="90000"/>
              </a:lnSpc>
              <a:spcBef>
                <a:spcPts val="600"/>
              </a:spcBef>
              <a:buClr>
                <a:srgbClr val="415364">
                  <a:lumMod val="100000"/>
                </a:srgbClr>
              </a:buClr>
            </a:pPr>
            <a:endParaRPr lang="it-IT" dirty="0">
              <a:solidFill>
                <a:srgbClr val="415364">
                  <a:lumMod val="100000"/>
                </a:srgbClr>
              </a:solidFill>
              <a:latin typeface="Arial" panose="020B0604020202020204" pitchFamily="34" charset="0"/>
            </a:endParaRPr>
          </a:p>
          <a:p>
            <a:pPr lvl="1">
              <a:lnSpc>
                <a:spcPct val="90000"/>
              </a:lnSpc>
              <a:spcBef>
                <a:spcPts val="600"/>
              </a:spcBef>
              <a:buClr>
                <a:srgbClr val="415364">
                  <a:lumMod val="100000"/>
                </a:srgbClr>
              </a:buClr>
            </a:pPr>
            <a:r>
              <a:rPr lang="it-IT" dirty="0">
                <a:solidFill>
                  <a:srgbClr val="415364">
                    <a:lumMod val="100000"/>
                  </a:srgbClr>
                </a:solidFill>
                <a:latin typeface="Arial" panose="020B0604020202020204" pitchFamily="34" charset="0"/>
              </a:rPr>
              <a:t>Angola</a:t>
            </a:r>
          </a:p>
          <a:p>
            <a:pPr lvl="1">
              <a:lnSpc>
                <a:spcPct val="90000"/>
              </a:lnSpc>
              <a:spcBef>
                <a:spcPts val="600"/>
              </a:spcBef>
              <a:buClr>
                <a:srgbClr val="415364">
                  <a:lumMod val="100000"/>
                </a:srgbClr>
              </a:buClr>
            </a:pPr>
            <a:r>
              <a:rPr lang="it-IT" dirty="0">
                <a:solidFill>
                  <a:srgbClr val="415364">
                    <a:lumMod val="100000"/>
                  </a:srgbClr>
                </a:solidFill>
                <a:latin typeface="Arial" panose="020B0604020202020204" pitchFamily="34" charset="0"/>
              </a:rPr>
              <a:t>Costa d'avorio</a:t>
            </a:r>
          </a:p>
          <a:p>
            <a:pPr lvl="1">
              <a:lnSpc>
                <a:spcPct val="90000"/>
              </a:lnSpc>
              <a:spcBef>
                <a:spcPts val="600"/>
              </a:spcBef>
              <a:buClr>
                <a:srgbClr val="415364">
                  <a:lumMod val="100000"/>
                </a:srgbClr>
              </a:buClr>
            </a:pPr>
            <a:r>
              <a:rPr lang="it-IT" dirty="0">
                <a:solidFill>
                  <a:srgbClr val="415364">
                    <a:lumMod val="100000"/>
                  </a:srgbClr>
                </a:solidFill>
                <a:latin typeface="Arial" panose="020B0604020202020204" pitchFamily="34" charset="0"/>
              </a:rPr>
              <a:t>Egitto</a:t>
            </a:r>
          </a:p>
          <a:p>
            <a:pPr lvl="1">
              <a:lnSpc>
                <a:spcPct val="90000"/>
              </a:lnSpc>
              <a:spcBef>
                <a:spcPts val="600"/>
              </a:spcBef>
              <a:buClr>
                <a:srgbClr val="415364">
                  <a:lumMod val="100000"/>
                </a:srgbClr>
              </a:buClr>
            </a:pPr>
            <a:r>
              <a:rPr lang="it-IT" dirty="0">
                <a:solidFill>
                  <a:srgbClr val="415364">
                    <a:lumMod val="100000"/>
                  </a:srgbClr>
                </a:solidFill>
                <a:latin typeface="Arial" panose="020B0604020202020204" pitchFamily="34" charset="0"/>
              </a:rPr>
              <a:t>Etiopia</a:t>
            </a:r>
          </a:p>
          <a:p>
            <a:pPr lvl="1">
              <a:lnSpc>
                <a:spcPct val="90000"/>
              </a:lnSpc>
              <a:spcBef>
                <a:spcPts val="600"/>
              </a:spcBef>
              <a:buClr>
                <a:srgbClr val="415364">
                  <a:lumMod val="100000"/>
                </a:srgbClr>
              </a:buClr>
            </a:pPr>
            <a:r>
              <a:rPr lang="it-IT" dirty="0">
                <a:solidFill>
                  <a:srgbClr val="415364">
                    <a:lumMod val="100000"/>
                  </a:srgbClr>
                </a:solidFill>
                <a:latin typeface="Arial" panose="020B0604020202020204" pitchFamily="34" charset="0"/>
              </a:rPr>
              <a:t>Ghana</a:t>
            </a:r>
          </a:p>
          <a:p>
            <a:pPr lvl="1">
              <a:lnSpc>
                <a:spcPct val="90000"/>
              </a:lnSpc>
              <a:spcBef>
                <a:spcPts val="600"/>
              </a:spcBef>
              <a:buClr>
                <a:srgbClr val="415364">
                  <a:lumMod val="100000"/>
                </a:srgbClr>
              </a:buClr>
            </a:pPr>
            <a:r>
              <a:rPr lang="it-IT" dirty="0">
                <a:solidFill>
                  <a:srgbClr val="415364">
                    <a:lumMod val="100000"/>
                  </a:srgbClr>
                </a:solidFill>
                <a:latin typeface="Arial" panose="020B0604020202020204" pitchFamily="34" charset="0"/>
              </a:rPr>
              <a:t>Kenya</a:t>
            </a:r>
          </a:p>
          <a:p>
            <a:pPr lvl="1">
              <a:lnSpc>
                <a:spcPct val="90000"/>
              </a:lnSpc>
              <a:spcBef>
                <a:spcPts val="600"/>
              </a:spcBef>
              <a:buClr>
                <a:srgbClr val="415364">
                  <a:lumMod val="100000"/>
                </a:srgbClr>
              </a:buClr>
            </a:pPr>
            <a:r>
              <a:rPr lang="it-IT" dirty="0">
                <a:solidFill>
                  <a:srgbClr val="415364">
                    <a:lumMod val="100000"/>
                  </a:srgbClr>
                </a:solidFill>
                <a:latin typeface="Arial" panose="020B0604020202020204" pitchFamily="34" charset="0"/>
              </a:rPr>
              <a:t>Marocco</a:t>
            </a:r>
          </a:p>
          <a:p>
            <a:pPr lvl="1">
              <a:lnSpc>
                <a:spcPct val="90000"/>
              </a:lnSpc>
              <a:spcBef>
                <a:spcPts val="600"/>
              </a:spcBef>
              <a:buClr>
                <a:srgbClr val="415364">
                  <a:lumMod val="100000"/>
                </a:srgbClr>
              </a:buClr>
            </a:pPr>
            <a:r>
              <a:rPr lang="it-IT" dirty="0">
                <a:solidFill>
                  <a:srgbClr val="415364">
                    <a:lumMod val="100000"/>
                  </a:srgbClr>
                </a:solidFill>
                <a:latin typeface="Arial" panose="020B0604020202020204" pitchFamily="34" charset="0"/>
              </a:rPr>
              <a:t>Mozambico</a:t>
            </a:r>
          </a:p>
          <a:p>
            <a:pPr lvl="1">
              <a:lnSpc>
                <a:spcPct val="90000"/>
              </a:lnSpc>
              <a:spcBef>
                <a:spcPts val="600"/>
              </a:spcBef>
              <a:buClr>
                <a:srgbClr val="415364">
                  <a:lumMod val="100000"/>
                </a:srgbClr>
              </a:buClr>
            </a:pPr>
            <a:r>
              <a:rPr lang="it-IT" dirty="0">
                <a:solidFill>
                  <a:srgbClr val="415364">
                    <a:lumMod val="100000"/>
                  </a:srgbClr>
                </a:solidFill>
                <a:latin typeface="Arial" panose="020B0604020202020204" pitchFamily="34" charset="0"/>
              </a:rPr>
              <a:t>Nigeria</a:t>
            </a:r>
          </a:p>
          <a:p>
            <a:pPr lvl="1">
              <a:lnSpc>
                <a:spcPct val="90000"/>
              </a:lnSpc>
              <a:spcBef>
                <a:spcPts val="600"/>
              </a:spcBef>
              <a:buClr>
                <a:srgbClr val="415364">
                  <a:lumMod val="100000"/>
                </a:srgbClr>
              </a:buClr>
            </a:pPr>
            <a:r>
              <a:rPr lang="it-IT" dirty="0">
                <a:solidFill>
                  <a:srgbClr val="415364">
                    <a:lumMod val="100000"/>
                  </a:srgbClr>
                </a:solidFill>
                <a:latin typeface="Arial" panose="020B0604020202020204" pitchFamily="34" charset="0"/>
              </a:rPr>
              <a:t>Rwanda</a:t>
            </a:r>
          </a:p>
          <a:p>
            <a:pPr lvl="1">
              <a:lnSpc>
                <a:spcPct val="90000"/>
              </a:lnSpc>
              <a:spcBef>
                <a:spcPts val="600"/>
              </a:spcBef>
              <a:buClr>
                <a:srgbClr val="415364">
                  <a:lumMod val="100000"/>
                </a:srgbClr>
              </a:buClr>
            </a:pPr>
            <a:r>
              <a:rPr lang="it-IT" dirty="0">
                <a:solidFill>
                  <a:srgbClr val="415364">
                    <a:lumMod val="100000"/>
                  </a:srgbClr>
                </a:solidFill>
                <a:latin typeface="Arial" panose="020B0604020202020204" pitchFamily="34" charset="0"/>
              </a:rPr>
              <a:t>Senegal</a:t>
            </a:r>
          </a:p>
          <a:p>
            <a:pPr lvl="1">
              <a:lnSpc>
                <a:spcPct val="90000"/>
              </a:lnSpc>
              <a:spcBef>
                <a:spcPts val="600"/>
              </a:spcBef>
              <a:buClr>
                <a:srgbClr val="415364">
                  <a:lumMod val="100000"/>
                </a:srgbClr>
              </a:buClr>
            </a:pPr>
            <a:r>
              <a:rPr lang="it-IT" dirty="0">
                <a:solidFill>
                  <a:srgbClr val="415364">
                    <a:lumMod val="100000"/>
                  </a:srgbClr>
                </a:solidFill>
                <a:latin typeface="Arial" panose="020B0604020202020204" pitchFamily="34" charset="0"/>
              </a:rPr>
              <a:t>Sudafrica</a:t>
            </a:r>
          </a:p>
          <a:p>
            <a:pPr lvl="1">
              <a:lnSpc>
                <a:spcPct val="90000"/>
              </a:lnSpc>
              <a:spcBef>
                <a:spcPts val="600"/>
              </a:spcBef>
              <a:buClr>
                <a:srgbClr val="415364">
                  <a:lumMod val="100000"/>
                </a:srgbClr>
              </a:buClr>
            </a:pPr>
            <a:r>
              <a:rPr lang="it-IT" dirty="0">
                <a:solidFill>
                  <a:srgbClr val="415364">
                    <a:lumMod val="100000"/>
                  </a:srgbClr>
                </a:solidFill>
                <a:latin typeface="Arial" panose="020B0604020202020204" pitchFamily="34" charset="0"/>
              </a:rPr>
              <a:t>Tunisia</a:t>
            </a:r>
          </a:p>
          <a:p>
            <a:pPr lvl="1">
              <a:lnSpc>
                <a:spcPct val="90000"/>
              </a:lnSpc>
              <a:spcBef>
                <a:spcPts val="600"/>
              </a:spcBef>
              <a:buClr>
                <a:srgbClr val="415364">
                  <a:lumMod val="100000"/>
                </a:srgbClr>
              </a:buClr>
            </a:pPr>
            <a:r>
              <a:rPr lang="it-IT" dirty="0">
                <a:solidFill>
                  <a:srgbClr val="415364">
                    <a:lumMod val="100000"/>
                  </a:srgbClr>
                </a:solidFill>
                <a:latin typeface="Arial" panose="020B0604020202020204" pitchFamily="34" charset="0"/>
              </a:rPr>
              <a:t>Uganda</a:t>
            </a:r>
          </a:p>
          <a:p>
            <a:pPr lvl="1">
              <a:lnSpc>
                <a:spcPct val="90000"/>
              </a:lnSpc>
              <a:spcBef>
                <a:spcPts val="600"/>
              </a:spcBef>
              <a:buClr>
                <a:srgbClr val="415364">
                  <a:lumMod val="100000"/>
                </a:srgbClr>
              </a:buClr>
            </a:pPr>
            <a:endParaRPr lang="it-IT" dirty="0">
              <a:solidFill>
                <a:srgbClr val="415364">
                  <a:lumMod val="100000"/>
                </a:srgbClr>
              </a:solidFill>
              <a:latin typeface="Arial" panose="020B0604020202020204" pitchFamily="34" charset="0"/>
            </a:endParaRPr>
          </a:p>
        </p:txBody>
      </p:sp>
      <p:sp>
        <p:nvSpPr>
          <p:cNvPr id="837" name="ee4pContent1"/>
          <p:cNvSpPr txBox="1"/>
          <p:nvPr/>
        </p:nvSpPr>
        <p:spPr>
          <a:xfrm>
            <a:off x="1526864" y="1460541"/>
            <a:ext cx="1194005" cy="2783946"/>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it-IT"/>
            </a:defPPr>
            <a:lvl1pPr>
              <a:buClr>
                <a:srgbClr val="415364"/>
              </a:buClr>
              <a:buSzPct val="100000"/>
              <a:buFont typeface="Trebuchet MS" panose="020B0603020202020204" pitchFamily="34" charset="0"/>
              <a:buChar char="​"/>
              <a:defRPr sz="1000">
                <a:solidFill>
                  <a:srgbClr val="415364"/>
                </a:solidFill>
              </a:defRPr>
            </a:lvl1pPr>
            <a:lvl2pPr marL="324000" lvl="1" indent="-216000">
              <a:buClr>
                <a:srgbClr val="415364"/>
              </a:buClr>
              <a:buSzPct val="100000"/>
              <a:buFont typeface="Trebuchet MS" panose="020B0603020202020204" pitchFamily="34" charset="0"/>
              <a:buChar char="•"/>
              <a:defRPr sz="1000">
                <a:solidFill>
                  <a:srgbClr val="415364"/>
                </a:solidFill>
              </a:defRPr>
            </a:lvl2pPr>
            <a:lvl3pPr marL="648000" lvl="2" indent="-216000">
              <a:buClr>
                <a:srgbClr val="415364"/>
              </a:buClr>
              <a:buSzPct val="100000"/>
              <a:buFont typeface="Trebuchet MS" panose="020B0603020202020204" pitchFamily="34" charset="0"/>
              <a:buChar char="–"/>
              <a:defRPr sz="1000">
                <a:solidFill>
                  <a:srgbClr val="415364"/>
                </a:solidFill>
              </a:defRPr>
            </a:lvl3pPr>
            <a:lvl4pPr marL="0" lvl="3">
              <a:buSzPct val="100000"/>
              <a:buFont typeface="Trebuchet MS" panose="020B0603020202020204" pitchFamily="34" charset="0"/>
              <a:buChar char="​"/>
              <a:defRPr sz="1100" b="1">
                <a:solidFill>
                  <a:srgbClr val="415364"/>
                </a:solidFill>
              </a:defRPr>
            </a:lvl4pPr>
            <a:lvl5pPr marL="0" lvl="4">
              <a:buSzPct val="100000"/>
              <a:buFont typeface="Trebuchet MS" panose="020B0603020202020204" pitchFamily="34" charset="0"/>
              <a:buChar char="​"/>
              <a:defRPr sz="1100" b="1">
                <a:solidFill>
                  <a:srgbClr val="415364"/>
                </a:solidFill>
              </a:defRPr>
            </a:lvl5pPr>
            <a:lvl6pPr marL="324000" lvl="5" indent="-216000">
              <a:buClr>
                <a:srgbClr val="A4A5A4"/>
              </a:buClr>
              <a:buSzPct val="100000"/>
              <a:buFont typeface="Trebuchet MS" panose="020B0603020202020204" pitchFamily="34" charset="0"/>
              <a:buChar char="•"/>
              <a:defRPr sz="1100">
                <a:solidFill>
                  <a:srgbClr val="415364"/>
                </a:solidFill>
              </a:defRPr>
            </a:lvl6pPr>
            <a:lvl7pPr marL="0" lvl="6">
              <a:buSzPct val="100000"/>
              <a:buFont typeface="Trebuchet MS" panose="020B0603020202020204" pitchFamily="34" charset="0"/>
              <a:buChar char="​"/>
              <a:defRPr sz="3200">
                <a:solidFill>
                  <a:srgbClr val="415364"/>
                </a:solidFill>
              </a:defRPr>
            </a:lvl7pPr>
            <a:lvl8pPr marL="0" lvl="7">
              <a:buSzPct val="100000"/>
              <a:buFont typeface="Trebuchet MS" panose="020B0603020202020204" pitchFamily="34" charset="0"/>
              <a:buChar char="​"/>
              <a:defRPr sz="4000">
                <a:solidFill>
                  <a:srgbClr val="415364"/>
                </a:solidFill>
              </a:defRPr>
            </a:lvl8pPr>
            <a:lvl9pPr marL="0" lvl="8">
              <a:buSzPct val="100000"/>
              <a:buFont typeface="Trebuchet MS" panose="020B0603020202020204" pitchFamily="34" charset="0"/>
              <a:buChar char="​"/>
              <a:defRPr sz="1600">
                <a:solidFill>
                  <a:srgbClr val="415364"/>
                </a:solidFill>
              </a:defRPr>
            </a:lvl9pPr>
          </a:lstStyle>
          <a:p>
            <a:pPr lvl="1">
              <a:lnSpc>
                <a:spcPct val="90000"/>
              </a:lnSpc>
              <a:spcBef>
                <a:spcPts val="600"/>
              </a:spcBef>
              <a:buClr>
                <a:srgbClr val="415364">
                  <a:lumMod val="100000"/>
                </a:srgbClr>
              </a:buClr>
            </a:pPr>
            <a:endParaRPr lang="it-IT" dirty="0">
              <a:solidFill>
                <a:srgbClr val="415364">
                  <a:lumMod val="100000"/>
                </a:srgbClr>
              </a:solidFill>
              <a:latin typeface="Arial" panose="020B0604020202020204" pitchFamily="34" charset="0"/>
            </a:endParaRPr>
          </a:p>
          <a:p>
            <a:pPr lvl="1">
              <a:lnSpc>
                <a:spcPct val="90000"/>
              </a:lnSpc>
              <a:spcBef>
                <a:spcPts val="600"/>
              </a:spcBef>
              <a:buClr>
                <a:srgbClr val="415364">
                  <a:lumMod val="100000"/>
                </a:srgbClr>
              </a:buClr>
            </a:pPr>
            <a:r>
              <a:rPr lang="it-IT" dirty="0">
                <a:solidFill>
                  <a:srgbClr val="415364">
                    <a:lumMod val="100000"/>
                  </a:srgbClr>
                </a:solidFill>
                <a:latin typeface="Arial" panose="020B0604020202020204" pitchFamily="34" charset="0"/>
              </a:rPr>
              <a:t>Bangladesh</a:t>
            </a:r>
          </a:p>
          <a:p>
            <a:pPr lvl="1">
              <a:lnSpc>
                <a:spcPct val="90000"/>
              </a:lnSpc>
              <a:spcBef>
                <a:spcPts val="600"/>
              </a:spcBef>
              <a:buClr>
                <a:srgbClr val="415364">
                  <a:lumMod val="100000"/>
                </a:srgbClr>
              </a:buClr>
            </a:pPr>
            <a:r>
              <a:rPr lang="it-IT" dirty="0">
                <a:solidFill>
                  <a:srgbClr val="415364">
                    <a:lumMod val="100000"/>
                  </a:srgbClr>
                </a:solidFill>
                <a:latin typeface="Arial" panose="020B0604020202020204" pitchFamily="34" charset="0"/>
              </a:rPr>
              <a:t>Cina</a:t>
            </a:r>
          </a:p>
          <a:p>
            <a:pPr lvl="1">
              <a:lnSpc>
                <a:spcPct val="90000"/>
              </a:lnSpc>
              <a:spcBef>
                <a:spcPts val="600"/>
              </a:spcBef>
              <a:buClr>
                <a:srgbClr val="415364">
                  <a:lumMod val="100000"/>
                </a:srgbClr>
              </a:buClr>
            </a:pPr>
            <a:r>
              <a:rPr lang="it-IT" dirty="0">
                <a:solidFill>
                  <a:srgbClr val="415364">
                    <a:lumMod val="100000"/>
                  </a:srgbClr>
                </a:solidFill>
                <a:latin typeface="Arial" panose="020B0604020202020204" pitchFamily="34" charset="0"/>
              </a:rPr>
              <a:t>Filippine</a:t>
            </a:r>
          </a:p>
          <a:p>
            <a:pPr lvl="1">
              <a:lnSpc>
                <a:spcPct val="90000"/>
              </a:lnSpc>
              <a:spcBef>
                <a:spcPts val="600"/>
              </a:spcBef>
              <a:buClr>
                <a:srgbClr val="415364">
                  <a:lumMod val="100000"/>
                </a:srgbClr>
              </a:buClr>
            </a:pPr>
            <a:r>
              <a:rPr lang="it-IT" dirty="0">
                <a:solidFill>
                  <a:srgbClr val="415364">
                    <a:lumMod val="100000"/>
                  </a:srgbClr>
                </a:solidFill>
                <a:latin typeface="Arial" panose="020B0604020202020204" pitchFamily="34" charset="0"/>
              </a:rPr>
              <a:t>Indonesia</a:t>
            </a:r>
          </a:p>
          <a:p>
            <a:pPr lvl="1">
              <a:lnSpc>
                <a:spcPct val="90000"/>
              </a:lnSpc>
              <a:spcBef>
                <a:spcPts val="600"/>
              </a:spcBef>
              <a:buClr>
                <a:srgbClr val="415364">
                  <a:lumMod val="100000"/>
                </a:srgbClr>
              </a:buClr>
            </a:pPr>
            <a:r>
              <a:rPr lang="it-IT" dirty="0">
                <a:solidFill>
                  <a:srgbClr val="415364">
                    <a:lumMod val="100000"/>
                  </a:srgbClr>
                </a:solidFill>
                <a:latin typeface="Arial" panose="020B0604020202020204" pitchFamily="34" charset="0"/>
              </a:rPr>
              <a:t>India</a:t>
            </a:r>
          </a:p>
          <a:p>
            <a:pPr lvl="1">
              <a:lnSpc>
                <a:spcPct val="90000"/>
              </a:lnSpc>
              <a:spcBef>
                <a:spcPts val="600"/>
              </a:spcBef>
              <a:buClr>
                <a:srgbClr val="415364">
                  <a:lumMod val="100000"/>
                </a:srgbClr>
              </a:buClr>
            </a:pPr>
            <a:r>
              <a:rPr lang="it-IT" dirty="0"/>
              <a:t>Kazakistan</a:t>
            </a:r>
            <a:endParaRPr lang="it-IT" dirty="0">
              <a:solidFill>
                <a:srgbClr val="415364">
                  <a:lumMod val="100000"/>
                </a:srgbClr>
              </a:solidFill>
              <a:latin typeface="Arial" panose="020B0604020202020204" pitchFamily="34" charset="0"/>
            </a:endParaRPr>
          </a:p>
          <a:p>
            <a:pPr lvl="1">
              <a:lnSpc>
                <a:spcPct val="90000"/>
              </a:lnSpc>
              <a:spcBef>
                <a:spcPts val="600"/>
              </a:spcBef>
              <a:buClr>
                <a:srgbClr val="415364">
                  <a:lumMod val="100000"/>
                </a:srgbClr>
              </a:buClr>
            </a:pPr>
            <a:r>
              <a:rPr lang="it-IT" dirty="0">
                <a:solidFill>
                  <a:srgbClr val="415364">
                    <a:lumMod val="100000"/>
                  </a:srgbClr>
                </a:solidFill>
                <a:latin typeface="Arial" panose="020B0604020202020204" pitchFamily="34" charset="0"/>
              </a:rPr>
              <a:t>Turchia</a:t>
            </a:r>
          </a:p>
          <a:p>
            <a:pPr lvl="1">
              <a:lnSpc>
                <a:spcPct val="90000"/>
              </a:lnSpc>
              <a:spcBef>
                <a:spcPts val="600"/>
              </a:spcBef>
              <a:buClr>
                <a:srgbClr val="415364">
                  <a:lumMod val="100000"/>
                </a:srgbClr>
              </a:buClr>
            </a:pPr>
            <a:r>
              <a:rPr lang="it-IT" dirty="0">
                <a:solidFill>
                  <a:srgbClr val="415364">
                    <a:lumMod val="100000"/>
                  </a:srgbClr>
                </a:solidFill>
                <a:latin typeface="Arial" panose="020B0604020202020204" pitchFamily="34" charset="0"/>
              </a:rPr>
              <a:t>Vietnam</a:t>
            </a:r>
          </a:p>
          <a:p>
            <a:pPr lvl="1">
              <a:lnSpc>
                <a:spcPct val="90000"/>
              </a:lnSpc>
              <a:spcBef>
                <a:spcPts val="600"/>
              </a:spcBef>
              <a:buClr>
                <a:srgbClr val="415364">
                  <a:lumMod val="100000"/>
                </a:srgbClr>
              </a:buClr>
            </a:pPr>
            <a:endParaRPr lang="it-IT" dirty="0">
              <a:solidFill>
                <a:srgbClr val="415364">
                  <a:lumMod val="100000"/>
                </a:srgbClr>
              </a:solidFill>
              <a:latin typeface="Arial" panose="020B0604020202020204" pitchFamily="34" charset="0"/>
            </a:endParaRPr>
          </a:p>
          <a:p>
            <a:pPr lvl="1">
              <a:lnSpc>
                <a:spcPct val="90000"/>
              </a:lnSpc>
              <a:spcBef>
                <a:spcPts val="600"/>
              </a:spcBef>
              <a:buClr>
                <a:srgbClr val="415364">
                  <a:lumMod val="100000"/>
                </a:srgbClr>
              </a:buClr>
            </a:pPr>
            <a:r>
              <a:rPr lang="it-IT" dirty="0">
                <a:solidFill>
                  <a:srgbClr val="415364">
                    <a:lumMod val="100000"/>
                  </a:srgbClr>
                </a:solidFill>
                <a:latin typeface="Arial" panose="020B0604020202020204" pitchFamily="34" charset="0"/>
              </a:rPr>
              <a:t>Albania</a:t>
            </a:r>
          </a:p>
          <a:p>
            <a:pPr lvl="1">
              <a:lnSpc>
                <a:spcPct val="90000"/>
              </a:lnSpc>
              <a:spcBef>
                <a:spcPts val="600"/>
              </a:spcBef>
              <a:buClr>
                <a:srgbClr val="415364">
                  <a:lumMod val="100000"/>
                </a:srgbClr>
              </a:buClr>
            </a:pPr>
            <a:r>
              <a:rPr lang="it-IT" dirty="0">
                <a:solidFill>
                  <a:srgbClr val="415364">
                    <a:lumMod val="100000"/>
                  </a:srgbClr>
                </a:solidFill>
                <a:latin typeface="Arial" panose="020B0604020202020204" pitchFamily="34" charset="0"/>
              </a:rPr>
              <a:t>Serbia</a:t>
            </a:r>
          </a:p>
          <a:p>
            <a:pPr lvl="1">
              <a:lnSpc>
                <a:spcPct val="90000"/>
              </a:lnSpc>
              <a:spcBef>
                <a:spcPts val="600"/>
              </a:spcBef>
              <a:buClr>
                <a:srgbClr val="415364">
                  <a:lumMod val="100000"/>
                </a:srgbClr>
              </a:buClr>
            </a:pPr>
            <a:endParaRPr lang="it-IT" dirty="0">
              <a:solidFill>
                <a:srgbClr val="415364">
                  <a:lumMod val="100000"/>
                </a:srgbClr>
              </a:solidFill>
              <a:latin typeface="Arial" panose="020B0604020202020204" pitchFamily="34" charset="0"/>
            </a:endParaRPr>
          </a:p>
          <a:p>
            <a:pPr lvl="1">
              <a:lnSpc>
                <a:spcPct val="90000"/>
              </a:lnSpc>
              <a:spcBef>
                <a:spcPts val="600"/>
              </a:spcBef>
              <a:buClr>
                <a:srgbClr val="415364">
                  <a:lumMod val="100000"/>
                </a:srgbClr>
              </a:buClr>
            </a:pPr>
            <a:r>
              <a:rPr lang="it-IT" dirty="0">
                <a:solidFill>
                  <a:srgbClr val="415364">
                    <a:lumMod val="100000"/>
                  </a:srgbClr>
                </a:solidFill>
                <a:latin typeface="Arial" panose="020B0604020202020204" pitchFamily="34" charset="0"/>
              </a:rPr>
              <a:t>Brasile</a:t>
            </a:r>
          </a:p>
          <a:p>
            <a:pPr lvl="1">
              <a:lnSpc>
                <a:spcPct val="90000"/>
              </a:lnSpc>
              <a:spcBef>
                <a:spcPts val="600"/>
              </a:spcBef>
              <a:buClr>
                <a:srgbClr val="415364">
                  <a:lumMod val="100000"/>
                </a:srgbClr>
              </a:buClr>
            </a:pPr>
            <a:r>
              <a:rPr lang="it-IT" dirty="0">
                <a:solidFill>
                  <a:srgbClr val="415364">
                    <a:lumMod val="100000"/>
                  </a:srgbClr>
                </a:solidFill>
                <a:latin typeface="Arial" panose="020B0604020202020204" pitchFamily="34" charset="0"/>
              </a:rPr>
              <a:t>Colombia</a:t>
            </a:r>
          </a:p>
          <a:p>
            <a:pPr lvl="1">
              <a:lnSpc>
                <a:spcPct val="90000"/>
              </a:lnSpc>
              <a:spcBef>
                <a:spcPts val="600"/>
              </a:spcBef>
              <a:buClr>
                <a:srgbClr val="415364">
                  <a:lumMod val="100000"/>
                </a:srgbClr>
              </a:buClr>
            </a:pPr>
            <a:r>
              <a:rPr lang="it-IT" dirty="0">
                <a:solidFill>
                  <a:srgbClr val="415364">
                    <a:lumMod val="100000"/>
                  </a:srgbClr>
                </a:solidFill>
                <a:latin typeface="Arial" panose="020B0604020202020204" pitchFamily="34" charset="0"/>
              </a:rPr>
              <a:t>Messico</a:t>
            </a:r>
          </a:p>
          <a:p>
            <a:pPr lvl="1">
              <a:lnSpc>
                <a:spcPct val="90000"/>
              </a:lnSpc>
              <a:spcBef>
                <a:spcPts val="600"/>
              </a:spcBef>
              <a:buClr>
                <a:srgbClr val="415364">
                  <a:lumMod val="100000"/>
                </a:srgbClr>
              </a:buClr>
            </a:pPr>
            <a:r>
              <a:rPr lang="it-IT" dirty="0">
                <a:solidFill>
                  <a:srgbClr val="415364">
                    <a:lumMod val="100000"/>
                  </a:srgbClr>
                </a:solidFill>
                <a:latin typeface="Arial" panose="020B0604020202020204" pitchFamily="34" charset="0"/>
              </a:rPr>
              <a:t>Perù</a:t>
            </a:r>
          </a:p>
          <a:p>
            <a:pPr lvl="1">
              <a:lnSpc>
                <a:spcPct val="90000"/>
              </a:lnSpc>
              <a:spcBef>
                <a:spcPts val="600"/>
              </a:spcBef>
              <a:buClr>
                <a:srgbClr val="415364">
                  <a:lumMod val="100000"/>
                </a:srgbClr>
              </a:buClr>
            </a:pPr>
            <a:endParaRPr lang="it-IT" dirty="0">
              <a:solidFill>
                <a:srgbClr val="415364">
                  <a:lumMod val="100000"/>
                </a:srgbClr>
              </a:solidFill>
              <a:latin typeface="Arial" panose="020B0604020202020204" pitchFamily="34" charset="0"/>
            </a:endParaRPr>
          </a:p>
          <a:p>
            <a:pPr lvl="1">
              <a:lnSpc>
                <a:spcPct val="90000"/>
              </a:lnSpc>
              <a:spcBef>
                <a:spcPts val="600"/>
              </a:spcBef>
              <a:buClr>
                <a:srgbClr val="415364">
                  <a:lumMod val="100000"/>
                </a:srgbClr>
              </a:buClr>
            </a:pPr>
            <a:endParaRPr lang="it-IT" dirty="0">
              <a:solidFill>
                <a:srgbClr val="415364">
                  <a:lumMod val="100000"/>
                </a:srgbClr>
              </a:solidFill>
              <a:latin typeface="Arial" panose="020B0604020202020204" pitchFamily="34" charset="0"/>
            </a:endParaRPr>
          </a:p>
          <a:p>
            <a:pPr lvl="1">
              <a:lnSpc>
                <a:spcPct val="90000"/>
              </a:lnSpc>
              <a:spcBef>
                <a:spcPts val="600"/>
              </a:spcBef>
              <a:buClr>
                <a:srgbClr val="415364">
                  <a:lumMod val="100000"/>
                </a:srgbClr>
              </a:buClr>
            </a:pPr>
            <a:endParaRPr lang="it-IT" dirty="0">
              <a:solidFill>
                <a:srgbClr val="415364">
                  <a:lumMod val="100000"/>
                </a:srgbClr>
              </a:solidFill>
              <a:latin typeface="Arial" panose="020B0604020202020204" pitchFamily="34" charset="0"/>
            </a:endParaRPr>
          </a:p>
        </p:txBody>
      </p:sp>
      <p:pic>
        <p:nvPicPr>
          <p:cNvPr id="863" name="flag_angola"/>
          <p:cNvPicPr>
            <a:picLocks noChangeAspect="1" noChangeArrowheads="1"/>
          </p:cNvPicPr>
          <p:nvPr/>
        </p:nvPicPr>
        <p:blipFill>
          <a:blip r:embed="rId8"/>
          <a:srcRect/>
          <a:stretch>
            <a:fillRect/>
          </a:stretch>
        </p:blipFill>
        <p:spPr bwMode="auto">
          <a:xfrm>
            <a:off x="266226" y="1640758"/>
            <a:ext cx="245898" cy="163932"/>
          </a:xfrm>
          <a:prstGeom prst="rect">
            <a:avLst/>
          </a:prstGeom>
          <a:noFill/>
          <a:ln>
            <a:noFill/>
          </a:ln>
        </p:spPr>
      </p:pic>
      <p:pic>
        <p:nvPicPr>
          <p:cNvPr id="848" name="flag_egypt"/>
          <p:cNvPicPr>
            <a:picLocks noChangeAspect="1" noChangeArrowheads="1"/>
          </p:cNvPicPr>
          <p:nvPr/>
        </p:nvPicPr>
        <p:blipFill>
          <a:blip r:embed="rId9"/>
          <a:srcRect/>
          <a:stretch>
            <a:fillRect/>
          </a:stretch>
        </p:blipFill>
        <p:spPr bwMode="auto">
          <a:xfrm>
            <a:off x="266226" y="2067001"/>
            <a:ext cx="245496" cy="163561"/>
          </a:xfrm>
          <a:prstGeom prst="rect">
            <a:avLst/>
          </a:prstGeom>
          <a:noFill/>
          <a:ln w="3175">
            <a:noFill/>
          </a:ln>
        </p:spPr>
      </p:pic>
      <p:pic>
        <p:nvPicPr>
          <p:cNvPr id="850" name="flag_ethiopia"/>
          <p:cNvPicPr>
            <a:picLocks noChangeAspect="1" noChangeArrowheads="1"/>
          </p:cNvPicPr>
          <p:nvPr/>
        </p:nvPicPr>
        <p:blipFill>
          <a:blip r:embed="rId10"/>
          <a:srcRect l="12496" r="12504"/>
          <a:stretch>
            <a:fillRect/>
          </a:stretch>
        </p:blipFill>
        <p:spPr bwMode="auto">
          <a:xfrm>
            <a:off x="266226" y="2279791"/>
            <a:ext cx="245342" cy="163561"/>
          </a:xfrm>
          <a:prstGeom prst="rect">
            <a:avLst/>
          </a:prstGeom>
          <a:noFill/>
          <a:ln>
            <a:noFill/>
          </a:ln>
        </p:spPr>
      </p:pic>
      <p:pic>
        <p:nvPicPr>
          <p:cNvPr id="855" name="flag_ghana"/>
          <p:cNvPicPr>
            <a:picLocks noChangeAspect="1" noChangeArrowheads="1"/>
          </p:cNvPicPr>
          <p:nvPr/>
        </p:nvPicPr>
        <p:blipFill>
          <a:blip r:embed="rId11"/>
          <a:srcRect/>
          <a:stretch>
            <a:fillRect/>
          </a:stretch>
        </p:blipFill>
        <p:spPr bwMode="auto">
          <a:xfrm>
            <a:off x="266226" y="2492581"/>
            <a:ext cx="245342" cy="163561"/>
          </a:xfrm>
          <a:prstGeom prst="rect">
            <a:avLst/>
          </a:prstGeom>
          <a:noFill/>
          <a:ln>
            <a:noFill/>
          </a:ln>
        </p:spPr>
      </p:pic>
      <p:pic>
        <p:nvPicPr>
          <p:cNvPr id="882" name="flag_brazil"/>
          <p:cNvPicPr>
            <a:picLocks noChangeAspect="1" noChangeArrowheads="1"/>
          </p:cNvPicPr>
          <p:nvPr/>
        </p:nvPicPr>
        <p:blipFill>
          <a:blip r:embed="rId12"/>
          <a:srcRect t="2324" b="2438"/>
          <a:stretch>
            <a:fillRect/>
          </a:stretch>
        </p:blipFill>
        <p:spPr bwMode="auto">
          <a:xfrm>
            <a:off x="1552260" y="4218819"/>
            <a:ext cx="245780" cy="163853"/>
          </a:xfrm>
          <a:prstGeom prst="rect">
            <a:avLst/>
          </a:prstGeom>
          <a:noFill/>
          <a:ln>
            <a:noFill/>
          </a:ln>
        </p:spPr>
      </p:pic>
      <p:pic>
        <p:nvPicPr>
          <p:cNvPr id="886" name="flag_colombia"/>
          <p:cNvPicPr>
            <a:picLocks noChangeAspect="1" noChangeArrowheads="1"/>
          </p:cNvPicPr>
          <p:nvPr/>
        </p:nvPicPr>
        <p:blipFill>
          <a:blip r:embed="rId13"/>
          <a:srcRect/>
          <a:stretch>
            <a:fillRect/>
          </a:stretch>
        </p:blipFill>
        <p:spPr bwMode="auto">
          <a:xfrm>
            <a:off x="1552260" y="4424511"/>
            <a:ext cx="245945" cy="163861"/>
          </a:xfrm>
          <a:prstGeom prst="rect">
            <a:avLst/>
          </a:prstGeom>
          <a:noFill/>
          <a:ln>
            <a:noFill/>
          </a:ln>
        </p:spPr>
      </p:pic>
      <p:pic>
        <p:nvPicPr>
          <p:cNvPr id="880" name="Picture 879"/>
          <p:cNvPicPr preferRelativeResize="0">
            <a:picLocks/>
          </p:cNvPicPr>
          <p:nvPr/>
        </p:nvPicPr>
        <p:blipFill>
          <a:blip r:embed="rId14">
            <a:extLst>
              <a:ext uri="{28A0092B-C50C-407E-A947-70E740481C1C}">
                <a14:useLocalDpi xmlns:a14="http://schemas.microsoft.com/office/drawing/2010/main" val="0"/>
              </a:ext>
            </a:extLst>
          </a:blip>
          <a:stretch>
            <a:fillRect/>
          </a:stretch>
        </p:blipFill>
        <p:spPr>
          <a:xfrm>
            <a:off x="1552260" y="1659086"/>
            <a:ext cx="245778" cy="163852"/>
          </a:xfrm>
          <a:prstGeom prst="rect">
            <a:avLst/>
          </a:prstGeom>
          <a:noFill/>
          <a:ln>
            <a:noFill/>
          </a:ln>
        </p:spPr>
      </p:pic>
      <p:pic>
        <p:nvPicPr>
          <p:cNvPr id="888" name="flag_ivorycoast"/>
          <p:cNvPicPr>
            <a:picLocks noChangeAspect="1" noChangeArrowheads="1"/>
          </p:cNvPicPr>
          <p:nvPr/>
        </p:nvPicPr>
        <p:blipFill>
          <a:blip r:embed="rId15"/>
          <a:srcRect/>
          <a:stretch>
            <a:fillRect/>
          </a:stretch>
        </p:blipFill>
        <p:spPr bwMode="auto">
          <a:xfrm>
            <a:off x="266226" y="1853919"/>
            <a:ext cx="245780" cy="163853"/>
          </a:xfrm>
          <a:prstGeom prst="rect">
            <a:avLst/>
          </a:prstGeom>
          <a:noFill/>
          <a:ln w="3175" cap="flat" cmpd="sng" algn="ctr">
            <a:solidFill>
              <a:srgbClr val="9A9A9A"/>
            </a:solidFill>
            <a:prstDash val="solid"/>
            <a:round/>
            <a:headEnd type="none" w="med" len="med"/>
            <a:tailEnd type="none" w="med" len="med"/>
          </a:ln>
        </p:spPr>
      </p:pic>
      <p:pic>
        <p:nvPicPr>
          <p:cNvPr id="884" name="flag_china"/>
          <p:cNvPicPr>
            <a:picLocks noChangeAspect="1" noChangeArrowheads="1"/>
          </p:cNvPicPr>
          <p:nvPr/>
        </p:nvPicPr>
        <p:blipFill>
          <a:blip r:embed="rId16"/>
          <a:srcRect/>
          <a:stretch>
            <a:fillRect/>
          </a:stretch>
        </p:blipFill>
        <p:spPr bwMode="auto">
          <a:xfrm>
            <a:off x="1552260" y="1872426"/>
            <a:ext cx="245778" cy="163750"/>
          </a:xfrm>
          <a:prstGeom prst="rect">
            <a:avLst/>
          </a:prstGeom>
          <a:noFill/>
          <a:ln>
            <a:noFill/>
          </a:ln>
        </p:spPr>
      </p:pic>
      <p:pic>
        <p:nvPicPr>
          <p:cNvPr id="846" name="flag_albania"/>
          <p:cNvPicPr>
            <a:picLocks noChangeAspect="1" noChangeArrowheads="1"/>
          </p:cNvPicPr>
          <p:nvPr/>
        </p:nvPicPr>
        <p:blipFill>
          <a:blip r:embed="rId17"/>
          <a:srcRect t="3535" b="3132"/>
          <a:stretch>
            <a:fillRect/>
          </a:stretch>
        </p:blipFill>
        <p:spPr bwMode="auto">
          <a:xfrm>
            <a:off x="1552260" y="3584720"/>
            <a:ext cx="245341" cy="163561"/>
          </a:xfrm>
          <a:prstGeom prst="rect">
            <a:avLst/>
          </a:prstGeom>
          <a:noFill/>
          <a:ln>
            <a:noFill/>
          </a:ln>
        </p:spPr>
      </p:pic>
      <p:pic>
        <p:nvPicPr>
          <p:cNvPr id="892" name="flag_indonesia"/>
          <p:cNvPicPr>
            <a:picLocks noChangeAspect="1" noChangeArrowheads="1"/>
          </p:cNvPicPr>
          <p:nvPr/>
        </p:nvPicPr>
        <p:blipFill>
          <a:blip r:embed="rId18"/>
          <a:srcRect/>
          <a:stretch>
            <a:fillRect/>
          </a:stretch>
        </p:blipFill>
        <p:spPr bwMode="auto">
          <a:xfrm>
            <a:off x="1552260" y="2297152"/>
            <a:ext cx="245933" cy="163853"/>
          </a:xfrm>
          <a:prstGeom prst="rect">
            <a:avLst/>
          </a:prstGeom>
          <a:noFill/>
          <a:ln w="3175" cap="flat" cmpd="sng" algn="ctr">
            <a:solidFill>
              <a:srgbClr val="9A9A9A"/>
            </a:solidFill>
            <a:prstDash val="solid"/>
            <a:round/>
            <a:headEnd type="none" w="med" len="med"/>
            <a:tailEnd type="none" w="med" len="med"/>
          </a:ln>
        </p:spPr>
      </p:pic>
      <p:pic>
        <p:nvPicPr>
          <p:cNvPr id="890" name="flag_india"/>
          <p:cNvPicPr>
            <a:picLocks noChangeAspect="1" noChangeArrowheads="1"/>
          </p:cNvPicPr>
          <p:nvPr/>
        </p:nvPicPr>
        <p:blipFill>
          <a:blip r:embed="rId19"/>
          <a:srcRect/>
          <a:stretch>
            <a:fillRect/>
          </a:stretch>
        </p:blipFill>
        <p:spPr bwMode="auto">
          <a:xfrm>
            <a:off x="1552260" y="2510493"/>
            <a:ext cx="245933" cy="163853"/>
          </a:xfrm>
          <a:prstGeom prst="rect">
            <a:avLst/>
          </a:prstGeom>
          <a:noFill/>
          <a:ln w="3175">
            <a:noFill/>
          </a:ln>
        </p:spPr>
      </p:pic>
      <p:pic>
        <p:nvPicPr>
          <p:cNvPr id="856" name="flag_kenya"/>
          <p:cNvPicPr>
            <a:picLocks noChangeAspect="1" noChangeArrowheads="1"/>
          </p:cNvPicPr>
          <p:nvPr/>
        </p:nvPicPr>
        <p:blipFill>
          <a:blip r:embed="rId20"/>
          <a:srcRect/>
          <a:stretch>
            <a:fillRect/>
          </a:stretch>
        </p:blipFill>
        <p:spPr bwMode="auto">
          <a:xfrm>
            <a:off x="266226" y="2705371"/>
            <a:ext cx="245495" cy="163561"/>
          </a:xfrm>
          <a:prstGeom prst="rect">
            <a:avLst/>
          </a:prstGeom>
          <a:noFill/>
          <a:ln>
            <a:noFill/>
          </a:ln>
        </p:spPr>
      </p:pic>
      <p:pic>
        <p:nvPicPr>
          <p:cNvPr id="914" name="flag_vietnam"/>
          <p:cNvPicPr>
            <a:picLocks noChangeAspect="1" noChangeArrowheads="1"/>
          </p:cNvPicPr>
          <p:nvPr/>
        </p:nvPicPr>
        <p:blipFill>
          <a:blip r:embed="rId21"/>
          <a:srcRect/>
          <a:stretch>
            <a:fillRect/>
          </a:stretch>
        </p:blipFill>
        <p:spPr bwMode="auto">
          <a:xfrm>
            <a:off x="1552260" y="3148368"/>
            <a:ext cx="245341" cy="163561"/>
          </a:xfrm>
          <a:prstGeom prst="rect">
            <a:avLst/>
          </a:prstGeom>
          <a:noFill/>
          <a:ln>
            <a:noFill/>
          </a:ln>
        </p:spPr>
      </p:pic>
      <p:pic>
        <p:nvPicPr>
          <p:cNvPr id="908" name="flag_serbia"/>
          <p:cNvPicPr>
            <a:picLocks noChangeAspect="1" noChangeArrowheads="1"/>
          </p:cNvPicPr>
          <p:nvPr/>
        </p:nvPicPr>
        <p:blipFill>
          <a:blip r:embed="rId22"/>
          <a:srcRect/>
          <a:stretch>
            <a:fillRect/>
          </a:stretch>
        </p:blipFill>
        <p:spPr bwMode="auto">
          <a:xfrm>
            <a:off x="1552260" y="3812328"/>
            <a:ext cx="245494" cy="163561"/>
          </a:xfrm>
          <a:prstGeom prst="rect">
            <a:avLst/>
          </a:prstGeom>
          <a:noFill/>
          <a:ln w="3175" cap="flat" cmpd="sng" algn="ctr">
            <a:solidFill>
              <a:srgbClr val="9A9A9A"/>
            </a:solidFill>
            <a:prstDash val="solid"/>
            <a:round/>
            <a:headEnd type="none" w="med" len="med"/>
            <a:tailEnd type="none" w="med" len="med"/>
          </a:ln>
        </p:spPr>
      </p:pic>
      <p:pic>
        <p:nvPicPr>
          <p:cNvPr id="857" name="flag_mozambique"/>
          <p:cNvPicPr>
            <a:picLocks noChangeAspect="1" noChangeArrowheads="1"/>
          </p:cNvPicPr>
          <p:nvPr/>
        </p:nvPicPr>
        <p:blipFill>
          <a:blip r:embed="rId23"/>
          <a:srcRect/>
          <a:stretch>
            <a:fillRect/>
          </a:stretch>
        </p:blipFill>
        <p:spPr bwMode="auto">
          <a:xfrm>
            <a:off x="266226" y="3131321"/>
            <a:ext cx="245495" cy="163561"/>
          </a:xfrm>
          <a:prstGeom prst="rect">
            <a:avLst/>
          </a:prstGeom>
          <a:noFill/>
          <a:ln>
            <a:noFill/>
          </a:ln>
        </p:spPr>
      </p:pic>
      <p:pic>
        <p:nvPicPr>
          <p:cNvPr id="859" name="flag_senegal"/>
          <p:cNvPicPr>
            <a:picLocks noChangeAspect="1" noChangeArrowheads="1"/>
          </p:cNvPicPr>
          <p:nvPr/>
        </p:nvPicPr>
        <p:blipFill>
          <a:blip r:embed="rId24"/>
          <a:srcRect/>
          <a:stretch>
            <a:fillRect/>
          </a:stretch>
        </p:blipFill>
        <p:spPr bwMode="auto">
          <a:xfrm>
            <a:off x="266226" y="3770069"/>
            <a:ext cx="245495" cy="163561"/>
          </a:xfrm>
          <a:prstGeom prst="rect">
            <a:avLst/>
          </a:prstGeom>
          <a:noFill/>
          <a:ln>
            <a:noFill/>
          </a:ln>
        </p:spPr>
      </p:pic>
      <p:pic>
        <p:nvPicPr>
          <p:cNvPr id="902" name="flag_rwanda"/>
          <p:cNvPicPr>
            <a:picLocks noChangeAspect="1" noChangeArrowheads="1"/>
          </p:cNvPicPr>
          <p:nvPr/>
        </p:nvPicPr>
        <p:blipFill>
          <a:blip r:embed="rId25"/>
          <a:srcRect/>
          <a:stretch>
            <a:fillRect/>
          </a:stretch>
        </p:blipFill>
        <p:spPr bwMode="auto">
          <a:xfrm>
            <a:off x="266226" y="3557090"/>
            <a:ext cx="245778" cy="163750"/>
          </a:xfrm>
          <a:prstGeom prst="rect">
            <a:avLst/>
          </a:prstGeom>
          <a:noFill/>
          <a:ln>
            <a:noFill/>
          </a:ln>
        </p:spPr>
      </p:pic>
      <p:pic>
        <p:nvPicPr>
          <p:cNvPr id="898" name="flag_nigeria"/>
          <p:cNvPicPr>
            <a:picLocks noChangeAspect="1" noChangeArrowheads="1"/>
          </p:cNvPicPr>
          <p:nvPr/>
        </p:nvPicPr>
        <p:blipFill>
          <a:blip r:embed="rId26"/>
          <a:srcRect/>
          <a:stretch>
            <a:fillRect/>
          </a:stretch>
        </p:blipFill>
        <p:spPr bwMode="auto">
          <a:xfrm>
            <a:off x="266226" y="3344111"/>
            <a:ext cx="246064" cy="163750"/>
          </a:xfrm>
          <a:prstGeom prst="rect">
            <a:avLst/>
          </a:prstGeom>
          <a:noFill/>
          <a:ln w="3175" cap="flat" cmpd="sng" algn="ctr">
            <a:solidFill>
              <a:srgbClr val="9A9A9A"/>
            </a:solidFill>
            <a:prstDash val="solid"/>
            <a:round/>
            <a:headEnd type="none" w="med" len="med"/>
            <a:tailEnd type="none" w="med" len="med"/>
          </a:ln>
        </p:spPr>
      </p:pic>
      <p:pic>
        <p:nvPicPr>
          <p:cNvPr id="894" name="flag_morocco"/>
          <p:cNvPicPr>
            <a:picLocks noChangeAspect="1" noChangeArrowheads="1"/>
          </p:cNvPicPr>
          <p:nvPr/>
        </p:nvPicPr>
        <p:blipFill>
          <a:blip r:embed="rId27"/>
          <a:srcRect/>
          <a:stretch>
            <a:fillRect/>
          </a:stretch>
        </p:blipFill>
        <p:spPr bwMode="auto">
          <a:xfrm>
            <a:off x="266226" y="2918161"/>
            <a:ext cx="246050" cy="163931"/>
          </a:xfrm>
          <a:prstGeom prst="rect">
            <a:avLst/>
          </a:prstGeom>
          <a:noFill/>
          <a:ln>
            <a:noFill/>
          </a:ln>
        </p:spPr>
      </p:pic>
      <p:pic>
        <p:nvPicPr>
          <p:cNvPr id="896" name="flag_mexico"/>
          <p:cNvPicPr>
            <a:picLocks noChangeAspect="1" noChangeArrowheads="1"/>
          </p:cNvPicPr>
          <p:nvPr/>
        </p:nvPicPr>
        <p:blipFill>
          <a:blip r:embed="rId28"/>
          <a:srcRect l="7211" r="7102"/>
          <a:stretch>
            <a:fillRect/>
          </a:stretch>
        </p:blipFill>
        <p:spPr bwMode="auto">
          <a:xfrm>
            <a:off x="1552260" y="4630211"/>
            <a:ext cx="245780" cy="163853"/>
          </a:xfrm>
          <a:prstGeom prst="rect">
            <a:avLst/>
          </a:prstGeom>
          <a:noFill/>
          <a:ln w="3175" cap="flat" cmpd="sng" algn="ctr">
            <a:solidFill>
              <a:srgbClr val="9A9A9A"/>
            </a:solidFill>
            <a:prstDash val="solid"/>
            <a:round/>
            <a:headEnd type="none" w="med" len="med"/>
            <a:tailEnd type="none" w="med" len="med"/>
          </a:ln>
        </p:spPr>
      </p:pic>
      <p:pic>
        <p:nvPicPr>
          <p:cNvPr id="900" name="Picture 899"/>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552260" y="4862028"/>
            <a:ext cx="245687" cy="163750"/>
          </a:xfrm>
          <a:prstGeom prst="rect">
            <a:avLst/>
          </a:prstGeom>
          <a:ln w="9525" cap="flat" cmpd="sng" algn="ctr">
            <a:solidFill>
              <a:srgbClr val="9A9A9A"/>
            </a:solidFill>
            <a:prstDash val="solid"/>
            <a:round/>
            <a:headEnd type="none" w="med" len="med"/>
            <a:tailEnd type="none" w="med" len="med"/>
          </a:ln>
        </p:spPr>
      </p:pic>
      <p:pic>
        <p:nvPicPr>
          <p:cNvPr id="912" name="flag_turkey"/>
          <p:cNvPicPr>
            <a:picLocks noChangeAspect="1" noChangeArrowheads="1"/>
          </p:cNvPicPr>
          <p:nvPr/>
        </p:nvPicPr>
        <p:blipFill>
          <a:blip r:embed="rId30"/>
          <a:srcRect/>
          <a:stretch>
            <a:fillRect/>
          </a:stretch>
        </p:blipFill>
        <p:spPr bwMode="auto">
          <a:xfrm>
            <a:off x="1552260" y="2935322"/>
            <a:ext cx="245494" cy="163561"/>
          </a:xfrm>
          <a:prstGeom prst="rect">
            <a:avLst/>
          </a:prstGeom>
          <a:noFill/>
          <a:ln>
            <a:noFill/>
          </a:ln>
        </p:spPr>
      </p:pic>
      <p:pic>
        <p:nvPicPr>
          <p:cNvPr id="910" name="flag_southafrica"/>
          <p:cNvPicPr>
            <a:picLocks noChangeAspect="1" noChangeArrowheads="1"/>
          </p:cNvPicPr>
          <p:nvPr/>
        </p:nvPicPr>
        <p:blipFill>
          <a:blip r:embed="rId31"/>
          <a:srcRect/>
          <a:stretch>
            <a:fillRect/>
          </a:stretch>
        </p:blipFill>
        <p:spPr bwMode="auto">
          <a:xfrm>
            <a:off x="266226" y="3982859"/>
            <a:ext cx="245514" cy="163574"/>
          </a:xfrm>
          <a:prstGeom prst="rect">
            <a:avLst/>
          </a:prstGeom>
          <a:noFill/>
          <a:ln>
            <a:noFill/>
          </a:ln>
        </p:spPr>
      </p:pic>
      <p:pic>
        <p:nvPicPr>
          <p:cNvPr id="844" name="flag_tunisia"/>
          <p:cNvPicPr>
            <a:picLocks noChangeAspect="1" noChangeArrowheads="1"/>
          </p:cNvPicPr>
          <p:nvPr/>
        </p:nvPicPr>
        <p:blipFill>
          <a:blip r:embed="rId32"/>
          <a:srcRect/>
          <a:stretch>
            <a:fillRect/>
          </a:stretch>
        </p:blipFill>
        <p:spPr bwMode="auto">
          <a:xfrm>
            <a:off x="266226" y="4195662"/>
            <a:ext cx="245778" cy="163750"/>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7B7C7B"/>
                </a:solidFill>
                <a:prstDash val="solid"/>
                <a:round/>
                <a:headEnd type="none" w="med" len="med"/>
                <a:tailEnd type="none" w="med" len="med"/>
              </a14:hiddenLine>
            </a:ext>
          </a:extLst>
        </p:spPr>
      </p:pic>
      <p:pic>
        <p:nvPicPr>
          <p:cNvPr id="826" name="flag_uganda">
            <a:extLst>
              <a:ext uri="{FF2B5EF4-FFF2-40B4-BE49-F238E27FC236}">
                <a16:creationId xmlns:a16="http://schemas.microsoft.com/office/drawing/2014/main" id="{D432FE76-7701-49A8-B6FB-C1C72B85F9C8}"/>
              </a:ext>
            </a:extLst>
          </p:cNvPr>
          <p:cNvPicPr>
            <a:picLocks noChangeAspect="1" noChangeArrowheads="1"/>
          </p:cNvPicPr>
          <p:nvPr/>
        </p:nvPicPr>
        <p:blipFill>
          <a:blip r:embed="rId33"/>
          <a:srcRect/>
          <a:stretch>
            <a:fillRect/>
          </a:stretch>
        </p:blipFill>
        <p:spPr bwMode="auto">
          <a:xfrm>
            <a:off x="266226" y="4408638"/>
            <a:ext cx="245494" cy="163561"/>
          </a:xfrm>
          <a:prstGeom prst="rect">
            <a:avLst/>
          </a:prstGeom>
          <a:noFill/>
          <a:ln w="9525" cap="flat" cmpd="sng" algn="ctr">
            <a:solidFill>
              <a:srgbClr val="7B7C7B"/>
            </a:solidFill>
            <a:prstDash val="solid"/>
            <a:round/>
            <a:headEnd type="none" w="med" len="med"/>
            <a:tailEnd type="none" w="med" len="med"/>
          </a:ln>
        </p:spPr>
      </p:pic>
      <p:pic>
        <p:nvPicPr>
          <p:cNvPr id="827" name="Immagine 826">
            <a:extLst>
              <a:ext uri="{FF2B5EF4-FFF2-40B4-BE49-F238E27FC236}">
                <a16:creationId xmlns:a16="http://schemas.microsoft.com/office/drawing/2014/main" id="{8B3610BA-13D0-44B5-8161-A2089DE14F73}"/>
              </a:ext>
            </a:extLst>
          </p:cNvPr>
          <p:cNvPicPr>
            <a:picLocks/>
          </p:cNvPicPr>
          <p:nvPr/>
        </p:nvPicPr>
        <p:blipFill>
          <a:blip r:embed="rId34"/>
          <a:stretch>
            <a:fillRect/>
          </a:stretch>
        </p:blipFill>
        <p:spPr>
          <a:xfrm>
            <a:off x="1552260" y="2723834"/>
            <a:ext cx="244800" cy="162000"/>
          </a:xfrm>
          <a:prstGeom prst="rect">
            <a:avLst/>
          </a:prstGeom>
          <a:noFill/>
          <a:ln>
            <a:noFill/>
          </a:ln>
        </p:spPr>
      </p:pic>
      <p:pic>
        <p:nvPicPr>
          <p:cNvPr id="6" name="Immagine 5">
            <a:extLst>
              <a:ext uri="{FF2B5EF4-FFF2-40B4-BE49-F238E27FC236}">
                <a16:creationId xmlns:a16="http://schemas.microsoft.com/office/drawing/2014/main" id="{878AB9AB-4339-4DC3-B48E-EB58CA301AE7}"/>
              </a:ext>
            </a:extLst>
          </p:cNvPr>
          <p:cNvPicPr>
            <a:picLocks/>
          </p:cNvPicPr>
          <p:nvPr/>
        </p:nvPicPr>
        <p:blipFill>
          <a:blip r:embed="rId35"/>
          <a:stretch>
            <a:fillRect/>
          </a:stretch>
        </p:blipFill>
        <p:spPr>
          <a:xfrm>
            <a:off x="1552260" y="2085664"/>
            <a:ext cx="244800" cy="162000"/>
          </a:xfrm>
          <a:prstGeom prst="rect">
            <a:avLst/>
          </a:prstGeom>
          <a:noFill/>
          <a:ln w="3175" cap="flat" cmpd="sng" algn="ctr">
            <a:solidFill>
              <a:srgbClr val="9A9A9A"/>
            </a:solidFill>
            <a:prstDash val="solid"/>
            <a:round/>
            <a:headEnd type="none" w="med" len="med"/>
            <a:tailEnd type="none" w="med" len="med"/>
          </a:ln>
        </p:spPr>
      </p:pic>
      <p:sp>
        <p:nvSpPr>
          <p:cNvPr id="830" name="Rettangolo 829">
            <a:extLst>
              <a:ext uri="{FF2B5EF4-FFF2-40B4-BE49-F238E27FC236}">
                <a16:creationId xmlns:a16="http://schemas.microsoft.com/office/drawing/2014/main" id="{851FBBF8-2124-4FC2-B276-EACBB94BD6DF}"/>
              </a:ext>
            </a:extLst>
          </p:cNvPr>
          <p:cNvSpPr/>
          <p:nvPr/>
        </p:nvSpPr>
        <p:spPr>
          <a:xfrm>
            <a:off x="1552624" y="1464720"/>
            <a:ext cx="1050331" cy="122942"/>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it-IT" sz="1000" b="1" kern="0" dirty="0">
                <a:solidFill>
                  <a:schemeClr val="tx1"/>
                </a:solidFill>
                <a:latin typeface="Arial" panose="020B0604020202020204"/>
              </a:rPr>
              <a:t>Asia</a:t>
            </a:r>
            <a:endParaRPr kumimoji="0" lang="it-IT" sz="1000" b="0" i="0" u="none" strike="noStrike" kern="0" cap="none" spc="0" normalizeH="0" baseline="0" noProof="0" dirty="0">
              <a:ln>
                <a:noFill/>
              </a:ln>
              <a:solidFill>
                <a:schemeClr val="tx1"/>
              </a:solidFill>
              <a:effectLst/>
              <a:uLnTx/>
              <a:uFillTx/>
              <a:latin typeface="Arial" panose="020B0604020202020204"/>
            </a:endParaRPr>
          </a:p>
        </p:txBody>
      </p:sp>
      <p:cxnSp>
        <p:nvCxnSpPr>
          <p:cNvPr id="7" name="Connettore diritto 6">
            <a:extLst>
              <a:ext uri="{FF2B5EF4-FFF2-40B4-BE49-F238E27FC236}">
                <a16:creationId xmlns:a16="http://schemas.microsoft.com/office/drawing/2014/main" id="{EFF4365B-B905-4293-94DF-B74D895914E8}"/>
              </a:ext>
            </a:extLst>
          </p:cNvPr>
          <p:cNvCxnSpPr>
            <a:cxnSpLocks/>
          </p:cNvCxnSpPr>
          <p:nvPr/>
        </p:nvCxnSpPr>
        <p:spPr>
          <a:xfrm flipH="1">
            <a:off x="1552259" y="1593776"/>
            <a:ext cx="988467" cy="0"/>
          </a:xfrm>
          <a:prstGeom prst="line">
            <a:avLst/>
          </a:prstGeom>
        </p:spPr>
        <p:style>
          <a:lnRef idx="1">
            <a:schemeClr val="accent1"/>
          </a:lnRef>
          <a:fillRef idx="0">
            <a:schemeClr val="accent1"/>
          </a:fillRef>
          <a:effectRef idx="0">
            <a:schemeClr val="accent1"/>
          </a:effectRef>
          <a:fontRef idx="minor">
            <a:schemeClr val="tx1"/>
          </a:fontRef>
        </p:style>
      </p:cxnSp>
      <p:sp>
        <p:nvSpPr>
          <p:cNvPr id="833" name="Rettangolo 832">
            <a:extLst>
              <a:ext uri="{FF2B5EF4-FFF2-40B4-BE49-F238E27FC236}">
                <a16:creationId xmlns:a16="http://schemas.microsoft.com/office/drawing/2014/main" id="{E53685EC-3EE4-43FD-A3E1-6A35453A986A}"/>
              </a:ext>
            </a:extLst>
          </p:cNvPr>
          <p:cNvSpPr/>
          <p:nvPr/>
        </p:nvSpPr>
        <p:spPr>
          <a:xfrm>
            <a:off x="266226" y="1464720"/>
            <a:ext cx="1050331" cy="122942"/>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it-IT" sz="1000" b="1" kern="0" dirty="0">
                <a:solidFill>
                  <a:schemeClr val="tx1"/>
                </a:solidFill>
                <a:latin typeface="Arial" panose="020B0604020202020204"/>
              </a:rPr>
              <a:t>Africa</a:t>
            </a:r>
            <a:endParaRPr kumimoji="0" lang="it-IT" sz="1000" b="0" i="0" u="none" strike="noStrike" kern="0" cap="none" spc="0" normalizeH="0" baseline="0" noProof="0" dirty="0">
              <a:ln>
                <a:noFill/>
              </a:ln>
              <a:solidFill>
                <a:schemeClr val="tx1"/>
              </a:solidFill>
              <a:effectLst/>
              <a:uLnTx/>
              <a:uFillTx/>
              <a:latin typeface="Arial" panose="020B0604020202020204"/>
            </a:endParaRPr>
          </a:p>
        </p:txBody>
      </p:sp>
      <p:cxnSp>
        <p:nvCxnSpPr>
          <p:cNvPr id="834" name="Connettore diritto 833">
            <a:extLst>
              <a:ext uri="{FF2B5EF4-FFF2-40B4-BE49-F238E27FC236}">
                <a16:creationId xmlns:a16="http://schemas.microsoft.com/office/drawing/2014/main" id="{22FCCCCA-5D2A-4519-84AB-FD97BCF96AFE}"/>
              </a:ext>
            </a:extLst>
          </p:cNvPr>
          <p:cNvCxnSpPr>
            <a:cxnSpLocks/>
          </p:cNvCxnSpPr>
          <p:nvPr/>
        </p:nvCxnSpPr>
        <p:spPr>
          <a:xfrm flipH="1">
            <a:off x="265861" y="1593776"/>
            <a:ext cx="988467" cy="0"/>
          </a:xfrm>
          <a:prstGeom prst="line">
            <a:avLst/>
          </a:prstGeom>
        </p:spPr>
        <p:style>
          <a:lnRef idx="1">
            <a:schemeClr val="accent1"/>
          </a:lnRef>
          <a:fillRef idx="0">
            <a:schemeClr val="accent1"/>
          </a:fillRef>
          <a:effectRef idx="0">
            <a:schemeClr val="accent1"/>
          </a:effectRef>
          <a:fontRef idx="minor">
            <a:schemeClr val="tx1"/>
          </a:fontRef>
        </p:style>
      </p:cxnSp>
      <p:sp>
        <p:nvSpPr>
          <p:cNvPr id="835" name="Rettangolo 834">
            <a:extLst>
              <a:ext uri="{FF2B5EF4-FFF2-40B4-BE49-F238E27FC236}">
                <a16:creationId xmlns:a16="http://schemas.microsoft.com/office/drawing/2014/main" id="{224585A6-11B3-4169-A54E-9A83EBDA6D7F}"/>
              </a:ext>
            </a:extLst>
          </p:cNvPr>
          <p:cNvSpPr/>
          <p:nvPr/>
        </p:nvSpPr>
        <p:spPr>
          <a:xfrm>
            <a:off x="1563120" y="3400109"/>
            <a:ext cx="1050331" cy="122942"/>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it-IT" sz="1000" b="1" kern="0" dirty="0">
                <a:solidFill>
                  <a:schemeClr val="tx1"/>
                </a:solidFill>
                <a:latin typeface="Arial" panose="020B0604020202020204"/>
              </a:rPr>
              <a:t>Europa</a:t>
            </a:r>
            <a:endParaRPr kumimoji="0" lang="it-IT" sz="1000" b="0" i="0" u="none" strike="noStrike" kern="0" cap="none" spc="0" normalizeH="0" baseline="0" noProof="0" dirty="0">
              <a:ln>
                <a:noFill/>
              </a:ln>
              <a:solidFill>
                <a:schemeClr val="tx1"/>
              </a:solidFill>
              <a:effectLst/>
              <a:uLnTx/>
              <a:uFillTx/>
              <a:latin typeface="Arial" panose="020B0604020202020204"/>
            </a:endParaRPr>
          </a:p>
        </p:txBody>
      </p:sp>
      <p:cxnSp>
        <p:nvCxnSpPr>
          <p:cNvPr id="838" name="Connettore diritto 837">
            <a:extLst>
              <a:ext uri="{FF2B5EF4-FFF2-40B4-BE49-F238E27FC236}">
                <a16:creationId xmlns:a16="http://schemas.microsoft.com/office/drawing/2014/main" id="{B31CFCCA-ED08-4AC7-B14C-98D5C5B826F8}"/>
              </a:ext>
            </a:extLst>
          </p:cNvPr>
          <p:cNvCxnSpPr>
            <a:cxnSpLocks/>
          </p:cNvCxnSpPr>
          <p:nvPr/>
        </p:nvCxnSpPr>
        <p:spPr>
          <a:xfrm flipH="1">
            <a:off x="1556217" y="3529165"/>
            <a:ext cx="988467" cy="0"/>
          </a:xfrm>
          <a:prstGeom prst="line">
            <a:avLst/>
          </a:prstGeom>
        </p:spPr>
        <p:style>
          <a:lnRef idx="1">
            <a:schemeClr val="accent1"/>
          </a:lnRef>
          <a:fillRef idx="0">
            <a:schemeClr val="accent1"/>
          </a:fillRef>
          <a:effectRef idx="0">
            <a:schemeClr val="accent1"/>
          </a:effectRef>
          <a:fontRef idx="minor">
            <a:schemeClr val="tx1"/>
          </a:fontRef>
        </p:style>
      </p:cxnSp>
      <p:sp>
        <p:nvSpPr>
          <p:cNvPr id="839" name="Rettangolo 838">
            <a:extLst>
              <a:ext uri="{FF2B5EF4-FFF2-40B4-BE49-F238E27FC236}">
                <a16:creationId xmlns:a16="http://schemas.microsoft.com/office/drawing/2014/main" id="{D249B1F5-839E-45D6-8470-D0DA221B10D5}"/>
              </a:ext>
            </a:extLst>
          </p:cNvPr>
          <p:cNvSpPr/>
          <p:nvPr/>
        </p:nvSpPr>
        <p:spPr>
          <a:xfrm>
            <a:off x="1550607" y="4044522"/>
            <a:ext cx="1050331" cy="122942"/>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0" cap="none" spc="0" normalizeH="0" baseline="0" noProof="0" dirty="0">
                <a:ln>
                  <a:noFill/>
                </a:ln>
                <a:solidFill>
                  <a:schemeClr val="tx1"/>
                </a:solidFill>
                <a:effectLst/>
                <a:uLnTx/>
                <a:uFillTx/>
                <a:latin typeface="Arial" panose="020B0604020202020204"/>
              </a:rPr>
              <a:t>LATAM</a:t>
            </a:r>
            <a:endParaRPr kumimoji="0" lang="it-IT" sz="1000" b="0" i="0" u="none" strike="noStrike" kern="0" cap="none" spc="0" normalizeH="0" baseline="0" noProof="0" dirty="0">
              <a:ln>
                <a:noFill/>
              </a:ln>
              <a:solidFill>
                <a:schemeClr val="tx1"/>
              </a:solidFill>
              <a:effectLst/>
              <a:uLnTx/>
              <a:uFillTx/>
              <a:latin typeface="Arial" panose="020B0604020202020204"/>
            </a:endParaRPr>
          </a:p>
        </p:txBody>
      </p:sp>
      <p:cxnSp>
        <p:nvCxnSpPr>
          <p:cNvPr id="840" name="Connettore diritto 839">
            <a:extLst>
              <a:ext uri="{FF2B5EF4-FFF2-40B4-BE49-F238E27FC236}">
                <a16:creationId xmlns:a16="http://schemas.microsoft.com/office/drawing/2014/main" id="{3ACF5C39-0F16-472C-865C-9F0A82396729}"/>
              </a:ext>
            </a:extLst>
          </p:cNvPr>
          <p:cNvCxnSpPr>
            <a:cxnSpLocks/>
          </p:cNvCxnSpPr>
          <p:nvPr/>
        </p:nvCxnSpPr>
        <p:spPr>
          <a:xfrm flipH="1">
            <a:off x="1550242" y="4173578"/>
            <a:ext cx="988467" cy="0"/>
          </a:xfrm>
          <a:prstGeom prst="line">
            <a:avLst/>
          </a:prstGeom>
        </p:spPr>
        <p:style>
          <a:lnRef idx="1">
            <a:schemeClr val="accent1"/>
          </a:lnRef>
          <a:fillRef idx="0">
            <a:schemeClr val="accent1"/>
          </a:fillRef>
          <a:effectRef idx="0">
            <a:schemeClr val="accent1"/>
          </a:effectRef>
          <a:fontRef idx="minor">
            <a:schemeClr val="tx1"/>
          </a:fontRef>
        </p:style>
      </p:cxnSp>
      <p:sp>
        <p:nvSpPr>
          <p:cNvPr id="831" name="Rectangle 2">
            <a:extLst>
              <a:ext uri="{FF2B5EF4-FFF2-40B4-BE49-F238E27FC236}">
                <a16:creationId xmlns:a16="http://schemas.microsoft.com/office/drawing/2014/main" id="{B84CD5F4-A855-4423-A8F9-46FB2CC73603}"/>
              </a:ext>
            </a:extLst>
          </p:cNvPr>
          <p:cNvSpPr>
            <a:spLocks/>
          </p:cNvSpPr>
          <p:nvPr/>
        </p:nvSpPr>
        <p:spPr>
          <a:xfrm>
            <a:off x="1" y="3"/>
            <a:ext cx="9143999" cy="163396"/>
          </a:xfrm>
          <a:prstGeom prst="rect">
            <a:avLst/>
          </a:prstGeom>
          <a:solidFill>
            <a:srgbClr val="415064"/>
          </a:solidFill>
          <a:ln w="9525" cap="flat" cmpd="sng" algn="ctr">
            <a:noFill/>
            <a:prstDash val="solid"/>
          </a:ln>
          <a:effectLst/>
        </p:spPr>
        <p:txBody>
          <a:bodyPr rot="0" spcFirstLastPara="0" vert="horz" wrap="square" lIns="121920" tIns="60960" rIns="121920" bIns="6096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224" kern="1200">
                <a:solidFill>
                  <a:schemeClr val="lt1"/>
                </a:solidFill>
                <a:latin typeface="+mn-lt"/>
                <a:ea typeface="+mn-ea"/>
                <a:cs typeface="+mn-cs"/>
              </a:defRPr>
            </a:lvl1pPr>
            <a:lvl2pPr marL="349849" algn="l" rtl="0" fontAlgn="base">
              <a:spcBef>
                <a:spcPct val="0"/>
              </a:spcBef>
              <a:spcAft>
                <a:spcPct val="0"/>
              </a:spcAft>
              <a:defRPr sz="1224" kern="1200">
                <a:solidFill>
                  <a:schemeClr val="lt1"/>
                </a:solidFill>
                <a:latin typeface="+mn-lt"/>
                <a:ea typeface="+mn-ea"/>
                <a:cs typeface="+mn-cs"/>
              </a:defRPr>
            </a:lvl2pPr>
            <a:lvl3pPr marL="699699" algn="l" rtl="0" fontAlgn="base">
              <a:spcBef>
                <a:spcPct val="0"/>
              </a:spcBef>
              <a:spcAft>
                <a:spcPct val="0"/>
              </a:spcAft>
              <a:defRPr sz="1224" kern="1200">
                <a:solidFill>
                  <a:schemeClr val="lt1"/>
                </a:solidFill>
                <a:latin typeface="+mn-lt"/>
                <a:ea typeface="+mn-ea"/>
                <a:cs typeface="+mn-cs"/>
              </a:defRPr>
            </a:lvl3pPr>
            <a:lvl4pPr marL="1049548" algn="l" rtl="0" fontAlgn="base">
              <a:spcBef>
                <a:spcPct val="0"/>
              </a:spcBef>
              <a:spcAft>
                <a:spcPct val="0"/>
              </a:spcAft>
              <a:defRPr sz="1224" kern="1200">
                <a:solidFill>
                  <a:schemeClr val="lt1"/>
                </a:solidFill>
                <a:latin typeface="+mn-lt"/>
                <a:ea typeface="+mn-ea"/>
                <a:cs typeface="+mn-cs"/>
              </a:defRPr>
            </a:lvl4pPr>
            <a:lvl5pPr marL="1399398" algn="l" rtl="0" fontAlgn="base">
              <a:spcBef>
                <a:spcPct val="0"/>
              </a:spcBef>
              <a:spcAft>
                <a:spcPct val="0"/>
              </a:spcAft>
              <a:defRPr sz="1224" kern="1200">
                <a:solidFill>
                  <a:schemeClr val="lt1"/>
                </a:solidFill>
                <a:latin typeface="+mn-lt"/>
                <a:ea typeface="+mn-ea"/>
                <a:cs typeface="+mn-cs"/>
              </a:defRPr>
            </a:lvl5pPr>
            <a:lvl6pPr marL="1749247" algn="l" defTabSz="699699" rtl="0" eaLnBrk="1" latinLnBrk="0" hangingPunct="1">
              <a:defRPr sz="1224" kern="1200">
                <a:solidFill>
                  <a:schemeClr val="lt1"/>
                </a:solidFill>
                <a:latin typeface="+mn-lt"/>
                <a:ea typeface="+mn-ea"/>
                <a:cs typeface="+mn-cs"/>
              </a:defRPr>
            </a:lvl6pPr>
            <a:lvl7pPr marL="2099097" algn="l" defTabSz="699699" rtl="0" eaLnBrk="1" latinLnBrk="0" hangingPunct="1">
              <a:defRPr sz="1224" kern="1200">
                <a:solidFill>
                  <a:schemeClr val="lt1"/>
                </a:solidFill>
                <a:latin typeface="+mn-lt"/>
                <a:ea typeface="+mn-ea"/>
                <a:cs typeface="+mn-cs"/>
              </a:defRPr>
            </a:lvl7pPr>
            <a:lvl8pPr marL="2448946" algn="l" defTabSz="699699" rtl="0" eaLnBrk="1" latinLnBrk="0" hangingPunct="1">
              <a:defRPr sz="1224" kern="1200">
                <a:solidFill>
                  <a:schemeClr val="lt1"/>
                </a:solidFill>
                <a:latin typeface="+mn-lt"/>
                <a:ea typeface="+mn-ea"/>
                <a:cs typeface="+mn-cs"/>
              </a:defRPr>
            </a:lvl8pPr>
            <a:lvl9pPr marL="2798796" algn="l" defTabSz="699699" rtl="0" eaLnBrk="1" latinLnBrk="0" hangingPunct="1">
              <a:defRPr sz="1224" kern="1200">
                <a:solidFill>
                  <a:schemeClr val="lt1"/>
                </a:solidFill>
                <a:latin typeface="+mn-lt"/>
                <a:ea typeface="+mn-ea"/>
                <a:cs typeface="+mn-cs"/>
              </a:defRPr>
            </a:lvl9pPr>
          </a:lstStyle>
          <a:p>
            <a:pPr defTabSz="1219079">
              <a:defRPr/>
            </a:pPr>
            <a:r>
              <a:rPr lang="it-IT" sz="1000" b="1" dirty="0">
                <a:solidFill>
                  <a:srgbClr val="FFFFFF"/>
                </a:solidFill>
                <a:latin typeface="Arial"/>
              </a:rPr>
              <a:t>CDP Cooperazione Internazionale allo Sviluppo</a:t>
            </a:r>
            <a:endParaRPr lang="it-IT" sz="1000" b="1" i="1" dirty="0">
              <a:solidFill>
                <a:srgbClr val="FFFFFF"/>
              </a:solidFill>
              <a:latin typeface="Arial"/>
            </a:endParaRPr>
          </a:p>
        </p:txBody>
      </p:sp>
    </p:spTree>
    <p:extLst>
      <p:ext uri="{BB962C8B-B14F-4D97-AF65-F5344CB8AC3E}">
        <p14:creationId xmlns:p14="http://schemas.microsoft.com/office/powerpoint/2010/main" val="7442069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09B2B456-7FB8-43C6-A58F-07B342AD72F2}"/>
              </a:ext>
            </a:extLst>
          </p:cNvPr>
          <p:cNvSpPr>
            <a:spLocks noGrp="1"/>
          </p:cNvSpPr>
          <p:nvPr>
            <p:ph type="sldNum" sz="quarter" idx="12"/>
          </p:nvPr>
        </p:nvSpPr>
        <p:spPr>
          <a:xfrm>
            <a:off x="250825" y="4723393"/>
            <a:ext cx="1008062" cy="183687"/>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608DA0FE-9C19-F746-8419-6700E348BF78}" type="slidenum">
              <a:rPr lang="it-IT" smtClean="0"/>
              <a:pPr/>
              <a:t>16</a:t>
            </a:fld>
            <a:endParaRPr lang="it-IT" dirty="0"/>
          </a:p>
        </p:txBody>
      </p:sp>
      <p:cxnSp>
        <p:nvCxnSpPr>
          <p:cNvPr id="25" name="Connettore diritto 74">
            <a:extLst>
              <a:ext uri="{FF2B5EF4-FFF2-40B4-BE49-F238E27FC236}">
                <a16:creationId xmlns:a16="http://schemas.microsoft.com/office/drawing/2014/main" id="{A800838A-662B-472C-90B5-759EC3220870}"/>
              </a:ext>
            </a:extLst>
          </p:cNvPr>
          <p:cNvCxnSpPr>
            <a:cxnSpLocks/>
          </p:cNvCxnSpPr>
          <p:nvPr/>
        </p:nvCxnSpPr>
        <p:spPr>
          <a:xfrm flipH="1">
            <a:off x="-6107" y="2736773"/>
            <a:ext cx="9180000" cy="0"/>
          </a:xfrm>
          <a:prstGeom prst="line">
            <a:avLst/>
          </a:prstGeom>
          <a:noFill/>
          <a:ln w="12700" cap="flat" cmpd="sng" algn="ctr">
            <a:solidFill>
              <a:schemeClr val="accent3">
                <a:lumMod val="20000"/>
                <a:lumOff val="80000"/>
              </a:schemeClr>
            </a:solidFill>
            <a:prstDash val="sysDash"/>
          </a:ln>
          <a:effectLst/>
        </p:spPr>
      </p:cxnSp>
      <p:sp>
        <p:nvSpPr>
          <p:cNvPr id="26" name="Arrow: Pentagon 35">
            <a:extLst>
              <a:ext uri="{FF2B5EF4-FFF2-40B4-BE49-F238E27FC236}">
                <a16:creationId xmlns:a16="http://schemas.microsoft.com/office/drawing/2014/main" id="{D6BA6411-BE43-456D-A901-66DA057D8C4C}"/>
              </a:ext>
            </a:extLst>
          </p:cNvPr>
          <p:cNvSpPr>
            <a:spLocks/>
          </p:cNvSpPr>
          <p:nvPr/>
        </p:nvSpPr>
        <p:spPr>
          <a:xfrm rot="5400000">
            <a:off x="-427611" y="2239711"/>
            <a:ext cx="3702208" cy="1101058"/>
          </a:xfrm>
          <a:prstGeom prst="homePlate">
            <a:avLst>
              <a:gd name="adj" fmla="val 0"/>
            </a:avLst>
          </a:prstGeom>
          <a:gradFill>
            <a:gsLst>
              <a:gs pos="0">
                <a:schemeClr val="bg1"/>
              </a:gs>
              <a:gs pos="3000">
                <a:srgbClr val="D9D9D9">
                  <a:lumMod val="45000"/>
                  <a:lumOff val="55000"/>
                </a:srgbClr>
              </a:gs>
              <a:gs pos="100000">
                <a:srgbClr val="D9D9D9">
                  <a:lumMod val="45000"/>
                  <a:lumOff val="55000"/>
                </a:srgbClr>
              </a:gs>
              <a:gs pos="100000">
                <a:schemeClr val="bg1">
                  <a:lumMod val="90000"/>
                </a:schemeClr>
              </a:gs>
            </a:gsLst>
            <a:lin ang="0" scaled="1"/>
          </a:gradFill>
          <a:ln w="9525" cap="flat" cmpd="sng" algn="ctr">
            <a:gradFill flip="none" rotWithShape="1">
              <a:gsLst>
                <a:gs pos="0">
                  <a:srgbClr val="D9D9D9">
                    <a:lumMod val="5000"/>
                    <a:lumOff val="95000"/>
                  </a:srgbClr>
                </a:gs>
                <a:gs pos="74000">
                  <a:srgbClr val="D9D9D9">
                    <a:lumMod val="45000"/>
                    <a:lumOff val="55000"/>
                  </a:srgbClr>
                </a:gs>
                <a:gs pos="83000">
                  <a:srgbClr val="D9D9D9">
                    <a:lumMod val="45000"/>
                    <a:lumOff val="55000"/>
                  </a:srgbClr>
                </a:gs>
                <a:gs pos="100000">
                  <a:srgbClr val="D9D9D9">
                    <a:lumMod val="30000"/>
                    <a:lumOff val="70000"/>
                  </a:srgbClr>
                </a:gs>
              </a:gsLst>
              <a:lin ang="0" scaled="1"/>
              <a:tileRect/>
            </a:gradFill>
            <a:prstDash val="solid"/>
          </a:ln>
          <a:effectLst/>
        </p:spPr>
        <p:txBody>
          <a:bodyPr rtlCol="0" anchor="ctr">
            <a:noAutofit/>
          </a:bodyPr>
          <a:lstStyle/>
          <a:p>
            <a:pPr algn="ctr" defTabSz="685800" fontAlgn="auto">
              <a:spcBef>
                <a:spcPts val="0"/>
              </a:spcBef>
              <a:spcAft>
                <a:spcPts val="0"/>
              </a:spcAft>
              <a:defRPr/>
            </a:pPr>
            <a:endParaRPr lang="it-IT" sz="1050" kern="0" dirty="0" err="1">
              <a:solidFill>
                <a:srgbClr val="000000"/>
              </a:solidFill>
              <a:latin typeface="Arial"/>
            </a:endParaRPr>
          </a:p>
        </p:txBody>
      </p:sp>
      <p:sp>
        <p:nvSpPr>
          <p:cNvPr id="27" name="CasellaDiTesto 1">
            <a:extLst>
              <a:ext uri="{FF2B5EF4-FFF2-40B4-BE49-F238E27FC236}">
                <a16:creationId xmlns:a16="http://schemas.microsoft.com/office/drawing/2014/main" id="{D386D243-0652-43DF-A1FD-32773B53113A}"/>
              </a:ext>
            </a:extLst>
          </p:cNvPr>
          <p:cNvSpPr txBox="1">
            <a:spLocks/>
          </p:cNvSpPr>
          <p:nvPr>
            <p:custDataLst>
              <p:tags r:id="rId1"/>
            </p:custDataLst>
          </p:nvPr>
        </p:nvSpPr>
        <p:spPr bwMode="gray">
          <a:xfrm>
            <a:off x="250824" y="3407205"/>
            <a:ext cx="1467870" cy="1366628"/>
          </a:xfrm>
          <a:prstGeom prst="rect">
            <a:avLst/>
          </a:prstGeom>
          <a:solidFill>
            <a:srgbClr val="B4C7E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a:defRPr>
                <a:solidFill>
                  <a:schemeClr val="tx1"/>
                </a:solidFil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defTabSz="914355">
              <a:defRPr/>
            </a:pPr>
            <a:r>
              <a:rPr lang="it-IT" sz="1275" b="1" dirty="0">
                <a:solidFill>
                  <a:srgbClr val="FFFFFF"/>
                </a:solidFill>
                <a:latin typeface="Arial"/>
              </a:rPr>
              <a:t>Sostegno </a:t>
            </a:r>
          </a:p>
          <a:p>
            <a:pPr defTabSz="914355">
              <a:defRPr/>
            </a:pPr>
            <a:r>
              <a:rPr lang="it-IT" sz="1275" b="1" dirty="0">
                <a:solidFill>
                  <a:srgbClr val="FFFFFF"/>
                </a:solidFill>
                <a:latin typeface="Arial"/>
              </a:rPr>
              <a:t>al Settore Privato</a:t>
            </a:r>
            <a:endParaRPr lang="it-IT" sz="900" i="1" dirty="0">
              <a:solidFill>
                <a:srgbClr val="FFFFFF"/>
              </a:solidFill>
              <a:latin typeface="Arial"/>
            </a:endParaRPr>
          </a:p>
        </p:txBody>
      </p:sp>
      <p:sp>
        <p:nvSpPr>
          <p:cNvPr id="28" name="CasellaDiTesto 1">
            <a:extLst>
              <a:ext uri="{FF2B5EF4-FFF2-40B4-BE49-F238E27FC236}">
                <a16:creationId xmlns:a16="http://schemas.microsoft.com/office/drawing/2014/main" id="{7891A79B-5587-4869-AA46-26DD3C3D08AE}"/>
              </a:ext>
            </a:extLst>
          </p:cNvPr>
          <p:cNvSpPr txBox="1">
            <a:spLocks/>
          </p:cNvSpPr>
          <p:nvPr>
            <p:custDataLst>
              <p:tags r:id="rId2"/>
            </p:custDataLst>
          </p:nvPr>
        </p:nvSpPr>
        <p:spPr bwMode="gray">
          <a:xfrm>
            <a:off x="250824" y="802052"/>
            <a:ext cx="1462039" cy="1243038"/>
          </a:xfrm>
          <a:prstGeom prst="rect">
            <a:avLst/>
          </a:prstGeom>
          <a:solidFill>
            <a:srgbClr val="4153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marL="0" marR="0" lvl="0" indent="0" algn="ctr" defTabSz="914400" eaLnBrk="1" latinLnBrk="0" hangingPunct="1">
              <a:lnSpc>
                <a:spcPct val="100000"/>
              </a:lnSpc>
              <a:buClrTx/>
              <a:buSzTx/>
              <a:buFontTx/>
              <a:buNone/>
              <a:tabLst/>
              <a:defRPr kumimoji="0" sz="1700" b="1" i="0" u="none" strike="noStrike" cap="none" spc="0" normalizeH="0" baseline="0">
                <a:ln>
                  <a:noFill/>
                </a:ln>
                <a:solidFill>
                  <a:srgbClr val="FFFFFF"/>
                </a:solidFill>
                <a:effectLst/>
                <a:uLnTx/>
                <a:uFillTx/>
                <a:latin typeface="Aria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it-IT" sz="1275" dirty="0"/>
              <a:t>Sostegno al Settore Pubblico</a:t>
            </a:r>
          </a:p>
        </p:txBody>
      </p:sp>
      <p:sp>
        <p:nvSpPr>
          <p:cNvPr id="29" name="TextBox 22">
            <a:extLst>
              <a:ext uri="{FF2B5EF4-FFF2-40B4-BE49-F238E27FC236}">
                <a16:creationId xmlns:a16="http://schemas.microsoft.com/office/drawing/2014/main" id="{E927D318-9A4D-4EDF-97D4-B15D1FAB40A4}"/>
              </a:ext>
            </a:extLst>
          </p:cNvPr>
          <p:cNvSpPr txBox="1">
            <a:spLocks/>
          </p:cNvSpPr>
          <p:nvPr>
            <p:custDataLst>
              <p:tags r:id="rId3"/>
            </p:custDataLst>
          </p:nvPr>
        </p:nvSpPr>
        <p:spPr bwMode="gray">
          <a:xfrm>
            <a:off x="2259223" y="864877"/>
            <a:ext cx="6605070" cy="1076898"/>
          </a:xfrm>
          <a:prstGeom prst="rect">
            <a:avLst/>
          </a:prstGeom>
        </p:spPr>
        <p:txBody>
          <a:bodyPr vert="horz" wrap="square" lIns="0" tIns="0" rIns="0" bIns="0" rtlCol="0">
            <a:spAutoFit/>
          </a:bodyPr>
          <a:lstStyle>
            <a:lvl1pPr marL="0" lvl="0" indent="0" defTabSz="685122" eaLnBrk="1" latinLnBrk="0" hangingPunct="1">
              <a:buClr>
                <a:schemeClr val="tx2"/>
              </a:buClr>
              <a:buSzPct val="100000"/>
              <a:defRPr lang="it-IT" sz="1200" baseline="0" dirty="0">
                <a:solidFill>
                  <a:srgbClr val="001548"/>
                </a:solidFill>
                <a:latin typeface="+mn-lt"/>
              </a:defRPr>
            </a:lvl1pPr>
            <a:lvl2pPr marL="148755" lvl="1" indent="-146000" defTabSz="685122" eaLnBrk="1" latinLnBrk="0" hangingPunct="1">
              <a:buClr>
                <a:srgbClr val="001548"/>
              </a:buClr>
              <a:buSzPct val="100000"/>
              <a:buFont typeface="Arial" panose="020B0604020202020204" pitchFamily="34" charset="0"/>
              <a:buChar char="•"/>
              <a:defRPr lang="it-IT" sz="1200" baseline="0" dirty="0">
                <a:solidFill>
                  <a:srgbClr val="001548"/>
                </a:solidFill>
                <a:latin typeface="+mn-lt"/>
              </a:defRPr>
            </a:lvl2pPr>
            <a:lvl3pPr marL="341585" lvl="2" indent="-190076" defTabSz="685122" eaLnBrk="1" latinLnBrk="0" hangingPunct="1">
              <a:buClr>
                <a:srgbClr val="001548"/>
              </a:buClr>
              <a:buSzPct val="100000"/>
              <a:buFont typeface="Arial" panose="020B0604020202020204" pitchFamily="34" charset="0"/>
              <a:buChar char="–"/>
              <a:defRPr lang="it-IT" sz="1200" baseline="0" dirty="0">
                <a:solidFill>
                  <a:srgbClr val="001548"/>
                </a:solidFill>
                <a:latin typeface="+mn-lt"/>
              </a:defRPr>
            </a:lvl3pPr>
            <a:lvl4pPr marL="471057" lvl="3" indent="-118453" defTabSz="685122" eaLnBrk="1" latinLnBrk="0" hangingPunct="1">
              <a:buClr>
                <a:srgbClr val="001548"/>
              </a:buClr>
              <a:buSzPct val="80000"/>
              <a:buFont typeface="Arial" panose="020B0604020202020204" pitchFamily="34" charset="0"/>
              <a:buChar char="•"/>
              <a:defRPr lang="it-IT" sz="1200" baseline="0" dirty="0">
                <a:solidFill>
                  <a:srgbClr val="001548"/>
                </a:solidFill>
                <a:latin typeface="+mn-lt"/>
              </a:defRPr>
            </a:lvl4pPr>
            <a:lvl5pPr marL="572982" lvl="4" indent="-99170" defTabSz="685122" eaLnBrk="1" latinLnBrk="0" hangingPunct="1">
              <a:buClr>
                <a:srgbClr val="001548"/>
              </a:buClr>
              <a:buSzPct val="89000"/>
              <a:buFont typeface="Arial" charset="0"/>
              <a:buChar char="-"/>
              <a:defRPr lang="it-IT" sz="1200" baseline="0" dirty="0">
                <a:solidFill>
                  <a:srgbClr val="001548"/>
                </a:solidFill>
                <a:latin typeface="+mn-lt"/>
              </a:defRPr>
            </a:lvl5pPr>
            <a:lvl6pPr marL="765042" indent="-132820" defTabSz="913542" fontAlgn="base">
              <a:spcBef>
                <a:spcPct val="0"/>
              </a:spcBef>
              <a:spcAft>
                <a:spcPct val="0"/>
              </a:spcAft>
              <a:buClr>
                <a:schemeClr val="tx2"/>
              </a:buClr>
              <a:buSzPct val="89000"/>
              <a:buFont typeface="Arial" charset="0"/>
              <a:buChar char="-"/>
              <a:defRPr sz="1632" baseline="0">
                <a:latin typeface="+mn-lt"/>
              </a:defRPr>
            </a:lvl6pPr>
            <a:lvl7pPr marL="765042" indent="-132820" defTabSz="913542" fontAlgn="base">
              <a:spcBef>
                <a:spcPct val="0"/>
              </a:spcBef>
              <a:spcAft>
                <a:spcPct val="0"/>
              </a:spcAft>
              <a:buClr>
                <a:schemeClr val="tx2"/>
              </a:buClr>
              <a:buSzPct val="89000"/>
              <a:buFont typeface="Arial" charset="0"/>
              <a:buChar char="-"/>
              <a:defRPr sz="1632" baseline="0">
                <a:latin typeface="+mn-lt"/>
              </a:defRPr>
            </a:lvl7pPr>
            <a:lvl8pPr marL="765042" indent="-132820" defTabSz="913542" fontAlgn="base">
              <a:spcBef>
                <a:spcPct val="0"/>
              </a:spcBef>
              <a:spcAft>
                <a:spcPct val="0"/>
              </a:spcAft>
              <a:buClr>
                <a:schemeClr val="tx2"/>
              </a:buClr>
              <a:buSzPct val="89000"/>
              <a:buFont typeface="Arial" charset="0"/>
              <a:buChar char="-"/>
              <a:defRPr sz="1632" baseline="0">
                <a:latin typeface="+mn-lt"/>
              </a:defRPr>
            </a:lvl8pPr>
            <a:lvl9pPr marL="765042" indent="-132820" defTabSz="913542" fontAlgn="base">
              <a:spcBef>
                <a:spcPct val="0"/>
              </a:spcBef>
              <a:spcAft>
                <a:spcPct val="0"/>
              </a:spcAft>
              <a:buClr>
                <a:schemeClr val="tx2"/>
              </a:buClr>
              <a:buSzPct val="89000"/>
              <a:buFont typeface="Arial" charset="0"/>
              <a:buChar char="-"/>
              <a:defRPr sz="1632" baseline="0">
                <a:latin typeface="+mn-lt"/>
              </a:defRPr>
            </a:lvl9pPr>
          </a:lstStyle>
          <a:p>
            <a:pPr marL="2433" lvl="1" indent="0" algn="just" defTabSz="685071">
              <a:lnSpc>
                <a:spcPct val="110000"/>
              </a:lnSpc>
              <a:spcBef>
                <a:spcPts val="600"/>
              </a:spcBef>
              <a:buNone/>
              <a:defRPr/>
            </a:pPr>
            <a:r>
              <a:rPr lang="it-IT" b="1" dirty="0">
                <a:solidFill>
                  <a:schemeClr val="tx1"/>
                </a:solidFill>
              </a:rPr>
              <a:t>Soggetti sovrani </a:t>
            </a:r>
            <a:r>
              <a:rPr lang="it-IT" dirty="0">
                <a:solidFill>
                  <a:schemeClr val="tx1"/>
                </a:solidFill>
              </a:rPr>
              <a:t>(Stati, Banche centrali, Enti pubblici di Stati):</a:t>
            </a:r>
            <a:r>
              <a:rPr lang="it-IT" b="1" dirty="0">
                <a:solidFill>
                  <a:schemeClr val="tx1"/>
                </a:solidFill>
              </a:rPr>
              <a:t> </a:t>
            </a:r>
            <a:r>
              <a:rPr lang="it-IT" dirty="0">
                <a:solidFill>
                  <a:schemeClr val="tx1"/>
                </a:solidFill>
              </a:rPr>
              <a:t>finanziamenti concessionali sulla base di accordi Italia-PVS, sia attraverso risorse esclusivamente pubbliche (i.e. Fondo Rotativo per la Cooperazione allo Sviluppo) sia attraverso il </a:t>
            </a:r>
            <a:r>
              <a:rPr lang="it-IT" i="1" dirty="0">
                <a:solidFill>
                  <a:schemeClr val="tx1"/>
                </a:solidFill>
              </a:rPr>
              <a:t>blending</a:t>
            </a:r>
            <a:r>
              <a:rPr lang="it-IT" dirty="0">
                <a:solidFill>
                  <a:schemeClr val="tx1"/>
                </a:solidFill>
              </a:rPr>
              <a:t> con risorse CDP</a:t>
            </a:r>
          </a:p>
          <a:p>
            <a:pPr marL="2433" lvl="1" indent="0" algn="just" defTabSz="685071">
              <a:lnSpc>
                <a:spcPct val="110000"/>
              </a:lnSpc>
              <a:spcBef>
                <a:spcPts val="600"/>
              </a:spcBef>
              <a:buNone/>
              <a:defRPr/>
            </a:pPr>
            <a:r>
              <a:rPr lang="it-IT" b="1" dirty="0">
                <a:solidFill>
                  <a:schemeClr val="tx1"/>
                </a:solidFill>
              </a:rPr>
              <a:t>Istituzioni finanziarie multilaterali</a:t>
            </a:r>
            <a:r>
              <a:rPr lang="it-IT" b="1" baseline="30000" dirty="0">
                <a:solidFill>
                  <a:schemeClr val="tx1"/>
                </a:solidFill>
                <a:cs typeface="Times New Roman" panose="02020603050405020304" pitchFamily="18" charset="0"/>
              </a:rPr>
              <a:t> 1</a:t>
            </a:r>
            <a:r>
              <a:rPr lang="it-IT" b="1" dirty="0">
                <a:solidFill>
                  <a:schemeClr val="tx1"/>
                </a:solidFill>
              </a:rPr>
              <a:t>:</a:t>
            </a:r>
            <a:r>
              <a:rPr lang="it-IT" dirty="0">
                <a:solidFill>
                  <a:schemeClr val="tx1"/>
                </a:solidFill>
              </a:rPr>
              <a:t> finanziamenti / garanzie a multilaterali per supportare il finanziamento di specifici programmi di investimento nei Paesi target</a:t>
            </a:r>
          </a:p>
        </p:txBody>
      </p:sp>
      <p:sp>
        <p:nvSpPr>
          <p:cNvPr id="35" name="TextBox 22">
            <a:extLst>
              <a:ext uri="{FF2B5EF4-FFF2-40B4-BE49-F238E27FC236}">
                <a16:creationId xmlns:a16="http://schemas.microsoft.com/office/drawing/2014/main" id="{5E481D61-5D67-4331-9A35-CAF69DC61917}"/>
              </a:ext>
            </a:extLst>
          </p:cNvPr>
          <p:cNvSpPr txBox="1">
            <a:spLocks/>
          </p:cNvSpPr>
          <p:nvPr>
            <p:custDataLst>
              <p:tags r:id="rId4"/>
            </p:custDataLst>
          </p:nvPr>
        </p:nvSpPr>
        <p:spPr bwMode="gray">
          <a:xfrm>
            <a:off x="2268865" y="3435442"/>
            <a:ext cx="6595428" cy="1096634"/>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lang="it-IT" sz="1200" baseline="0" dirty="0">
                <a:solidFill>
                  <a:srgbClr val="001548"/>
                </a:solidFill>
                <a:latin typeface="+mn-lt"/>
              </a:defRPr>
            </a:lvl1pPr>
            <a:lvl2pPr marL="148755" lvl="1" indent="-146000" defTabSz="685122" eaLnBrk="1" latinLnBrk="0" hangingPunct="1">
              <a:buClr>
                <a:srgbClr val="001548"/>
              </a:buClr>
              <a:buSzPct val="100000"/>
              <a:buFont typeface="Arial" panose="020B0604020202020204" pitchFamily="34" charset="0"/>
              <a:buChar char="•"/>
              <a:defRPr lang="it-IT" sz="1200" baseline="0" dirty="0">
                <a:solidFill>
                  <a:srgbClr val="001548"/>
                </a:solidFill>
                <a:latin typeface="+mn-lt"/>
              </a:defRPr>
            </a:lvl2pPr>
            <a:lvl3pPr marL="341585" lvl="2" indent="-190076" defTabSz="685122" eaLnBrk="1" latinLnBrk="0" hangingPunct="1">
              <a:buClr>
                <a:srgbClr val="001548"/>
              </a:buClr>
              <a:buSzPct val="100000"/>
              <a:buFont typeface="Arial" panose="020B0604020202020204" pitchFamily="34" charset="0"/>
              <a:buChar char="–"/>
              <a:defRPr lang="it-IT" sz="1200" baseline="0" dirty="0">
                <a:solidFill>
                  <a:srgbClr val="001548"/>
                </a:solidFill>
                <a:latin typeface="+mn-lt"/>
              </a:defRPr>
            </a:lvl3pPr>
            <a:lvl4pPr marL="471057" lvl="3" indent="-118453" defTabSz="685122" eaLnBrk="1" latinLnBrk="0" hangingPunct="1">
              <a:buClr>
                <a:srgbClr val="001548"/>
              </a:buClr>
              <a:buSzPct val="80000"/>
              <a:buFont typeface="Arial" panose="020B0604020202020204" pitchFamily="34" charset="0"/>
              <a:buChar char="•"/>
              <a:defRPr lang="it-IT" sz="1200" baseline="0" dirty="0">
                <a:solidFill>
                  <a:srgbClr val="001548"/>
                </a:solidFill>
                <a:latin typeface="+mn-lt"/>
              </a:defRPr>
            </a:lvl4pPr>
            <a:lvl5pPr marL="572982" lvl="4" indent="-99170" defTabSz="685122" eaLnBrk="1" latinLnBrk="0" hangingPunct="1">
              <a:buClr>
                <a:srgbClr val="001548"/>
              </a:buClr>
              <a:buSzPct val="89000"/>
              <a:buFont typeface="Arial" charset="0"/>
              <a:buChar char="-"/>
              <a:defRPr lang="it-IT" sz="1200" baseline="0" dirty="0">
                <a:solidFill>
                  <a:srgbClr val="001548"/>
                </a:solidFill>
                <a:latin typeface="+mn-lt"/>
              </a:defRPr>
            </a:lvl5pPr>
            <a:lvl6pPr marL="765042" indent="-132820" defTabSz="913542" fontAlgn="base">
              <a:spcBef>
                <a:spcPct val="0"/>
              </a:spcBef>
              <a:spcAft>
                <a:spcPct val="0"/>
              </a:spcAft>
              <a:buClr>
                <a:schemeClr val="tx2"/>
              </a:buClr>
              <a:buSzPct val="89000"/>
              <a:buFont typeface="Arial" charset="0"/>
              <a:buChar char="-"/>
              <a:defRPr sz="1632" baseline="0">
                <a:latin typeface="+mn-lt"/>
              </a:defRPr>
            </a:lvl6pPr>
            <a:lvl7pPr marL="765042" indent="-132820" defTabSz="913542" fontAlgn="base">
              <a:spcBef>
                <a:spcPct val="0"/>
              </a:spcBef>
              <a:spcAft>
                <a:spcPct val="0"/>
              </a:spcAft>
              <a:buClr>
                <a:schemeClr val="tx2"/>
              </a:buClr>
              <a:buSzPct val="89000"/>
              <a:buFont typeface="Arial" charset="0"/>
              <a:buChar char="-"/>
              <a:defRPr sz="1632" baseline="0">
                <a:latin typeface="+mn-lt"/>
              </a:defRPr>
            </a:lvl7pPr>
            <a:lvl8pPr marL="765042" indent="-132820" defTabSz="913542" fontAlgn="base">
              <a:spcBef>
                <a:spcPct val="0"/>
              </a:spcBef>
              <a:spcAft>
                <a:spcPct val="0"/>
              </a:spcAft>
              <a:buClr>
                <a:schemeClr val="tx2"/>
              </a:buClr>
              <a:buSzPct val="89000"/>
              <a:buFont typeface="Arial" charset="0"/>
              <a:buChar char="-"/>
              <a:defRPr sz="1632" baseline="0">
                <a:latin typeface="+mn-lt"/>
              </a:defRPr>
            </a:lvl8pPr>
            <a:lvl9pPr marL="765042" indent="-132820" defTabSz="913542" fontAlgn="base">
              <a:spcBef>
                <a:spcPct val="0"/>
              </a:spcBef>
              <a:spcAft>
                <a:spcPct val="0"/>
              </a:spcAft>
              <a:buClr>
                <a:schemeClr val="tx2"/>
              </a:buClr>
              <a:buSzPct val="89000"/>
              <a:buFont typeface="Arial" charset="0"/>
              <a:buChar char="-"/>
              <a:defRPr sz="1632" baseline="0">
                <a:latin typeface="+mn-lt"/>
              </a:defRPr>
            </a:lvl9pPr>
          </a:lstStyle>
          <a:p>
            <a:pPr algn="just">
              <a:lnSpc>
                <a:spcPct val="110000"/>
              </a:lnSpc>
              <a:spcBef>
                <a:spcPts val="600"/>
              </a:spcBef>
              <a:buClr>
                <a:srgbClr val="002960"/>
              </a:buClr>
              <a:defRPr/>
            </a:pPr>
            <a:r>
              <a:rPr lang="it-IT" b="1" dirty="0">
                <a:solidFill>
                  <a:schemeClr val="tx1"/>
                </a:solidFill>
              </a:rPr>
              <a:t>Imprese: </a:t>
            </a:r>
            <a:r>
              <a:rPr lang="it-IT" dirty="0">
                <a:solidFill>
                  <a:schemeClr val="tx1"/>
                </a:solidFill>
              </a:rPr>
              <a:t>finanziamento a mercato per progetti di sviluppo in Paesi target</a:t>
            </a:r>
          </a:p>
          <a:p>
            <a:pPr algn="just">
              <a:lnSpc>
                <a:spcPct val="110000"/>
              </a:lnSpc>
              <a:spcBef>
                <a:spcPts val="600"/>
              </a:spcBef>
              <a:buClr>
                <a:srgbClr val="002960"/>
              </a:buClr>
              <a:defRPr/>
            </a:pPr>
            <a:r>
              <a:rPr lang="it-IT" b="1" dirty="0">
                <a:solidFill>
                  <a:schemeClr val="tx1"/>
                </a:solidFill>
              </a:rPr>
              <a:t>Progetti: </a:t>
            </a:r>
            <a:r>
              <a:rPr lang="it-IT" dirty="0">
                <a:solidFill>
                  <a:schemeClr val="tx1"/>
                </a:solidFill>
              </a:rPr>
              <a:t>finanziamento a mercato di società di progetto per la realizzazione di specifiche iniziative in particolare in ambito infrastrutturale (e.g. energie rinnovabili)</a:t>
            </a:r>
          </a:p>
          <a:p>
            <a:pPr algn="just">
              <a:lnSpc>
                <a:spcPct val="110000"/>
              </a:lnSpc>
              <a:spcBef>
                <a:spcPts val="600"/>
              </a:spcBef>
              <a:buClr>
                <a:srgbClr val="002960"/>
              </a:buClr>
              <a:defRPr/>
            </a:pPr>
            <a:r>
              <a:rPr lang="it-IT" b="1" dirty="0">
                <a:solidFill>
                  <a:schemeClr val="tx1"/>
                </a:solidFill>
              </a:rPr>
              <a:t>Intermediari Finanziari (IF) e altri veicoli di intermediazione: </a:t>
            </a:r>
            <a:r>
              <a:rPr lang="it-IT" dirty="0">
                <a:solidFill>
                  <a:schemeClr val="tx1"/>
                </a:solidFill>
              </a:rPr>
              <a:t>finanziamento a mercato a  IF con target rappresentato prioritariamente da Micro, Piccole e Medie Imprese locali e interventi indiretti in equity (e.g. Funds of Funds)</a:t>
            </a:r>
          </a:p>
        </p:txBody>
      </p:sp>
      <p:grpSp>
        <p:nvGrpSpPr>
          <p:cNvPr id="36" name="Gruppo 35">
            <a:extLst>
              <a:ext uri="{FF2B5EF4-FFF2-40B4-BE49-F238E27FC236}">
                <a16:creationId xmlns:a16="http://schemas.microsoft.com/office/drawing/2014/main" id="{D94D0E20-933A-4089-925F-3BF23F8E728B}"/>
              </a:ext>
            </a:extLst>
          </p:cNvPr>
          <p:cNvGrpSpPr>
            <a:grpSpLocks noChangeAspect="1"/>
          </p:cNvGrpSpPr>
          <p:nvPr/>
        </p:nvGrpSpPr>
        <p:grpSpPr>
          <a:xfrm>
            <a:off x="1778866" y="1260850"/>
            <a:ext cx="287549" cy="324000"/>
            <a:chOff x="1816540" y="3028242"/>
            <a:chExt cx="287550" cy="324000"/>
          </a:xfrm>
          <a:solidFill>
            <a:srgbClr val="415364"/>
          </a:solidFill>
        </p:grpSpPr>
        <p:sp>
          <p:nvSpPr>
            <p:cNvPr id="37" name="Chevron1">
              <a:extLst>
                <a:ext uri="{FF2B5EF4-FFF2-40B4-BE49-F238E27FC236}">
                  <a16:creationId xmlns:a16="http://schemas.microsoft.com/office/drawing/2014/main" id="{429B8A85-A054-4586-8B73-A2C679D3CC75}"/>
                </a:ext>
              </a:extLst>
            </p:cNvPr>
            <p:cNvSpPr>
              <a:spLocks noChangeAspect="1"/>
            </p:cNvSpPr>
            <p:nvPr/>
          </p:nvSpPr>
          <p:spPr>
            <a:xfrm>
              <a:off x="1816540" y="3060642"/>
              <a:ext cx="152280" cy="2592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rgbClr val="86868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dirty="0" err="1">
                <a:solidFill>
                  <a:srgbClr val="003F81"/>
                </a:solidFill>
                <a:latin typeface="Arial"/>
              </a:endParaRPr>
            </a:p>
          </p:txBody>
        </p:sp>
        <p:sp>
          <p:nvSpPr>
            <p:cNvPr id="38" name="Chevron2">
              <a:extLst>
                <a:ext uri="{FF2B5EF4-FFF2-40B4-BE49-F238E27FC236}">
                  <a16:creationId xmlns:a16="http://schemas.microsoft.com/office/drawing/2014/main" id="{669687EA-5383-4D70-A440-7D7507321920}"/>
                </a:ext>
              </a:extLst>
            </p:cNvPr>
            <p:cNvSpPr>
              <a:spLocks noChangeAspect="1"/>
            </p:cNvSpPr>
            <p:nvPr/>
          </p:nvSpPr>
          <p:spPr>
            <a:xfrm>
              <a:off x="1913740" y="3028242"/>
              <a:ext cx="190350" cy="324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dirty="0" err="1">
                <a:solidFill>
                  <a:srgbClr val="003F81"/>
                </a:solidFill>
                <a:latin typeface="Arial"/>
              </a:endParaRPr>
            </a:p>
          </p:txBody>
        </p:sp>
      </p:grpSp>
      <p:grpSp>
        <p:nvGrpSpPr>
          <p:cNvPr id="39" name="Gruppo 38">
            <a:extLst>
              <a:ext uri="{FF2B5EF4-FFF2-40B4-BE49-F238E27FC236}">
                <a16:creationId xmlns:a16="http://schemas.microsoft.com/office/drawing/2014/main" id="{DF67BE21-5773-4F99-9FA8-1423D5CD7812}"/>
              </a:ext>
            </a:extLst>
          </p:cNvPr>
          <p:cNvGrpSpPr>
            <a:grpSpLocks noChangeAspect="1"/>
          </p:cNvGrpSpPr>
          <p:nvPr/>
        </p:nvGrpSpPr>
        <p:grpSpPr>
          <a:xfrm>
            <a:off x="1778866" y="3923183"/>
            <a:ext cx="287549" cy="324000"/>
            <a:chOff x="1816540" y="3028242"/>
            <a:chExt cx="287550" cy="324000"/>
          </a:xfrm>
          <a:solidFill>
            <a:srgbClr val="415364"/>
          </a:solidFill>
        </p:grpSpPr>
        <p:sp>
          <p:nvSpPr>
            <p:cNvPr id="41" name="Chevron1">
              <a:extLst>
                <a:ext uri="{FF2B5EF4-FFF2-40B4-BE49-F238E27FC236}">
                  <a16:creationId xmlns:a16="http://schemas.microsoft.com/office/drawing/2014/main" id="{5993F81A-1A4E-4A21-8484-F727FF314E33}"/>
                </a:ext>
              </a:extLst>
            </p:cNvPr>
            <p:cNvSpPr>
              <a:spLocks noChangeAspect="1"/>
            </p:cNvSpPr>
            <p:nvPr/>
          </p:nvSpPr>
          <p:spPr>
            <a:xfrm>
              <a:off x="1816540" y="3060642"/>
              <a:ext cx="152280" cy="2592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rgbClr val="86868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dirty="0" err="1">
                <a:solidFill>
                  <a:srgbClr val="003F81"/>
                </a:solidFill>
                <a:latin typeface="Arial"/>
              </a:endParaRPr>
            </a:p>
          </p:txBody>
        </p:sp>
        <p:sp>
          <p:nvSpPr>
            <p:cNvPr id="42" name="Chevron2">
              <a:extLst>
                <a:ext uri="{FF2B5EF4-FFF2-40B4-BE49-F238E27FC236}">
                  <a16:creationId xmlns:a16="http://schemas.microsoft.com/office/drawing/2014/main" id="{FDEEB74B-094C-4160-B124-E298FB716575}"/>
                </a:ext>
              </a:extLst>
            </p:cNvPr>
            <p:cNvSpPr>
              <a:spLocks noChangeAspect="1"/>
            </p:cNvSpPr>
            <p:nvPr/>
          </p:nvSpPr>
          <p:spPr>
            <a:xfrm>
              <a:off x="1913740" y="3028242"/>
              <a:ext cx="190350" cy="324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rgbClr val="B4C7E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dirty="0" err="1">
                <a:solidFill>
                  <a:srgbClr val="003F81"/>
                </a:solidFill>
                <a:latin typeface="Arial"/>
              </a:endParaRPr>
            </a:p>
          </p:txBody>
        </p:sp>
      </p:grpSp>
      <p:sp>
        <p:nvSpPr>
          <p:cNvPr id="6" name="Rettangolo 5">
            <a:extLst>
              <a:ext uri="{FF2B5EF4-FFF2-40B4-BE49-F238E27FC236}">
                <a16:creationId xmlns:a16="http://schemas.microsoft.com/office/drawing/2014/main" id="{D60D7B2F-5DE3-4439-BC9E-D6F12FF64A6F}"/>
              </a:ext>
            </a:extLst>
          </p:cNvPr>
          <p:cNvSpPr/>
          <p:nvPr/>
        </p:nvSpPr>
        <p:spPr>
          <a:xfrm>
            <a:off x="511319" y="4843176"/>
            <a:ext cx="8002876" cy="207749"/>
          </a:xfrm>
          <a:prstGeom prst="rect">
            <a:avLst/>
          </a:prstGeom>
        </p:spPr>
        <p:txBody>
          <a:bodyPr wrap="square">
            <a:spAutoFit/>
          </a:bodyPr>
          <a:lstStyle/>
          <a:p>
            <a:r>
              <a:rPr lang="it-IT" sz="750" dirty="0">
                <a:solidFill>
                  <a:srgbClr val="415064"/>
                </a:solidFill>
              </a:rPr>
              <a:t>1. Istituzioni partecipate da Stati che promuovono interventi di Cooperazione allo Sviluppo (e.g. World Bank, </a:t>
            </a:r>
            <a:r>
              <a:rPr lang="it-IT" sz="750" dirty="0" err="1">
                <a:solidFill>
                  <a:srgbClr val="415064"/>
                </a:solidFill>
              </a:rPr>
              <a:t>African</a:t>
            </a:r>
            <a:r>
              <a:rPr lang="it-IT" sz="750" dirty="0">
                <a:solidFill>
                  <a:srgbClr val="415064"/>
                </a:solidFill>
              </a:rPr>
              <a:t> Development Bank,</a:t>
            </a:r>
            <a:r>
              <a:rPr lang="en-US" sz="750" dirty="0">
                <a:solidFill>
                  <a:srgbClr val="415064"/>
                </a:solidFill>
              </a:rPr>
              <a:t> CAF – Development Bank of Latin America)</a:t>
            </a:r>
            <a:endParaRPr lang="it-IT" sz="750" dirty="0"/>
          </a:p>
        </p:txBody>
      </p:sp>
      <p:sp>
        <p:nvSpPr>
          <p:cNvPr id="18" name="TextBox 22">
            <a:extLst>
              <a:ext uri="{FF2B5EF4-FFF2-40B4-BE49-F238E27FC236}">
                <a16:creationId xmlns:a16="http://schemas.microsoft.com/office/drawing/2014/main" id="{A6360FA3-C6F8-46B7-94AE-FF74532888FA}"/>
              </a:ext>
            </a:extLst>
          </p:cNvPr>
          <p:cNvSpPr txBox="1">
            <a:spLocks/>
          </p:cNvSpPr>
          <p:nvPr>
            <p:custDataLst>
              <p:tags r:id="rId5"/>
            </p:custDataLst>
          </p:nvPr>
        </p:nvSpPr>
        <p:spPr bwMode="gray">
          <a:xfrm>
            <a:off x="2250252" y="2445693"/>
            <a:ext cx="6614041" cy="548321"/>
          </a:xfrm>
          <a:prstGeom prst="rect">
            <a:avLst/>
          </a:prstGeom>
          <a:solidFill>
            <a:schemeClr val="bg1"/>
          </a:solidFill>
        </p:spPr>
        <p:txBody>
          <a:bodyPr vert="horz" wrap="square" lIns="0" tIns="0" rIns="0" bIns="0" rtlCol="0">
            <a:spAutoFit/>
          </a:bodyPr>
          <a:lstStyle>
            <a:defPPr>
              <a:defRPr lang="it-IT"/>
            </a:defPPr>
            <a:lvl1pPr lvl="0" indent="0" defTabSz="685122">
              <a:buClr>
                <a:schemeClr val="tx2"/>
              </a:buClr>
              <a:buSzPct val="100000"/>
              <a:defRPr sz="1200" baseline="0">
                <a:solidFill>
                  <a:srgbClr val="001548"/>
                </a:solidFill>
              </a:defRPr>
            </a:lvl1pPr>
            <a:lvl2pPr marL="2433" lvl="1" indent="0" algn="just" defTabSz="685071">
              <a:lnSpc>
                <a:spcPct val="110000"/>
              </a:lnSpc>
              <a:spcBef>
                <a:spcPts val="600"/>
              </a:spcBef>
              <a:buClr>
                <a:srgbClr val="001548"/>
              </a:buClr>
              <a:buSzPct val="100000"/>
              <a:buFont typeface="Arial" panose="020B0604020202020204" pitchFamily="34" charset="0"/>
              <a:buNone/>
              <a:defRPr sz="1200" b="1" baseline="0">
                <a:solidFill>
                  <a:srgbClr val="415064"/>
                </a:solidFill>
              </a:defRPr>
            </a:lvl2pPr>
            <a:lvl3pPr marL="341585" lvl="2" indent="-190076" defTabSz="685122">
              <a:buClr>
                <a:srgbClr val="001548"/>
              </a:buClr>
              <a:buSzPct val="100000"/>
              <a:buFont typeface="Arial" panose="020B0604020202020204" pitchFamily="34" charset="0"/>
              <a:buChar char="–"/>
              <a:defRPr sz="1200" baseline="0">
                <a:solidFill>
                  <a:srgbClr val="001548"/>
                </a:solidFill>
              </a:defRPr>
            </a:lvl3pPr>
            <a:lvl4pPr marL="471057" lvl="3" indent="-118453" defTabSz="685122">
              <a:buClr>
                <a:srgbClr val="001548"/>
              </a:buClr>
              <a:buSzPct val="80000"/>
              <a:buFont typeface="Arial" panose="020B0604020202020204" pitchFamily="34" charset="0"/>
              <a:buChar char="•"/>
              <a:defRPr sz="1200" baseline="0">
                <a:solidFill>
                  <a:srgbClr val="001548"/>
                </a:solidFill>
              </a:defRPr>
            </a:lvl4pPr>
            <a:lvl5pPr marL="572982" lvl="4" indent="-99170" defTabSz="685122">
              <a:buClr>
                <a:srgbClr val="001548"/>
              </a:buClr>
              <a:buSzPct val="89000"/>
              <a:buFont typeface="Arial" charset="0"/>
              <a:buChar char="-"/>
              <a:defRPr sz="1200" baseline="0">
                <a:solidFill>
                  <a:srgbClr val="001548"/>
                </a:solidFill>
              </a:defRPr>
            </a:lvl5pPr>
            <a:lvl6pPr marL="765042" indent="-132820" defTabSz="913542" fontAlgn="base">
              <a:spcBef>
                <a:spcPct val="0"/>
              </a:spcBef>
              <a:spcAft>
                <a:spcPct val="0"/>
              </a:spcAft>
              <a:buClr>
                <a:schemeClr val="tx2"/>
              </a:buClr>
              <a:buSzPct val="89000"/>
              <a:buFont typeface="Arial" charset="0"/>
              <a:buChar char="-"/>
              <a:defRPr sz="1632" baseline="0"/>
            </a:lvl6pPr>
            <a:lvl7pPr marL="765042" indent="-132820" defTabSz="913542" fontAlgn="base">
              <a:spcBef>
                <a:spcPct val="0"/>
              </a:spcBef>
              <a:spcAft>
                <a:spcPct val="0"/>
              </a:spcAft>
              <a:buClr>
                <a:schemeClr val="tx2"/>
              </a:buClr>
              <a:buSzPct val="89000"/>
              <a:buFont typeface="Arial" charset="0"/>
              <a:buChar char="-"/>
              <a:defRPr sz="1632" baseline="0"/>
            </a:lvl7pPr>
            <a:lvl8pPr marL="765042" indent="-132820" defTabSz="913542" fontAlgn="base">
              <a:spcBef>
                <a:spcPct val="0"/>
              </a:spcBef>
              <a:spcAft>
                <a:spcPct val="0"/>
              </a:spcAft>
              <a:buClr>
                <a:schemeClr val="tx2"/>
              </a:buClr>
              <a:buSzPct val="89000"/>
              <a:buFont typeface="Arial" charset="0"/>
              <a:buChar char="-"/>
              <a:defRPr sz="1632" baseline="0"/>
            </a:lvl8pPr>
            <a:lvl9pPr marL="765042" indent="-132820" defTabSz="913542" fontAlgn="base">
              <a:spcBef>
                <a:spcPct val="0"/>
              </a:spcBef>
              <a:spcAft>
                <a:spcPct val="0"/>
              </a:spcAft>
              <a:buClr>
                <a:schemeClr val="tx2"/>
              </a:buClr>
              <a:buSzPct val="89000"/>
              <a:buFont typeface="Arial" charset="0"/>
              <a:buChar char="-"/>
              <a:defRPr sz="1632" baseline="0"/>
            </a:lvl9pPr>
          </a:lstStyle>
          <a:p>
            <a:r>
              <a:rPr lang="en-US" b="1" dirty="0">
                <a:solidFill>
                  <a:schemeClr val="tx1"/>
                </a:solidFill>
              </a:rPr>
              <a:t>Blended Finance: </a:t>
            </a:r>
            <a:r>
              <a:rPr lang="en-US" dirty="0">
                <a:solidFill>
                  <a:schemeClr val="tx1"/>
                </a:solidFill>
              </a:rPr>
              <a:t>CDP </a:t>
            </a:r>
            <a:r>
              <a:rPr lang="en-US" dirty="0" err="1">
                <a:solidFill>
                  <a:schemeClr val="tx1"/>
                </a:solidFill>
              </a:rPr>
              <a:t>può</a:t>
            </a:r>
            <a:r>
              <a:rPr lang="en-US" dirty="0">
                <a:solidFill>
                  <a:schemeClr val="tx1"/>
                </a:solidFill>
              </a:rPr>
              <a:t> </a:t>
            </a:r>
            <a:r>
              <a:rPr lang="en-US" dirty="0" err="1">
                <a:solidFill>
                  <a:schemeClr val="tx1"/>
                </a:solidFill>
              </a:rPr>
              <a:t>finanziare</a:t>
            </a:r>
            <a:r>
              <a:rPr lang="en-US" dirty="0">
                <a:solidFill>
                  <a:schemeClr val="tx1"/>
                </a:solidFill>
              </a:rPr>
              <a:t> </a:t>
            </a:r>
            <a:r>
              <a:rPr lang="en-US" dirty="0" err="1">
                <a:solidFill>
                  <a:schemeClr val="tx1"/>
                </a:solidFill>
              </a:rPr>
              <a:t>progetti</a:t>
            </a:r>
            <a:r>
              <a:rPr lang="en-US" dirty="0">
                <a:solidFill>
                  <a:schemeClr val="tx1"/>
                </a:solidFill>
              </a:rPr>
              <a:t> con un blending di Risorse </a:t>
            </a:r>
            <a:r>
              <a:rPr lang="en-US" dirty="0" err="1">
                <a:solidFill>
                  <a:schemeClr val="tx1"/>
                </a:solidFill>
              </a:rPr>
              <a:t>proprie</a:t>
            </a:r>
            <a:r>
              <a:rPr lang="en-US" dirty="0">
                <a:solidFill>
                  <a:schemeClr val="tx1"/>
                </a:solidFill>
              </a:rPr>
              <a:t> e di Risorse di </a:t>
            </a:r>
            <a:r>
              <a:rPr lang="en-US" dirty="0" err="1">
                <a:solidFill>
                  <a:schemeClr val="tx1"/>
                </a:solidFill>
              </a:rPr>
              <a:t>terzi</a:t>
            </a:r>
            <a:r>
              <a:rPr lang="en-US" dirty="0">
                <a:solidFill>
                  <a:schemeClr val="tx1"/>
                </a:solidFill>
              </a:rPr>
              <a:t>  (e.g. EIP - External Investment Plan and Green Climate Fund) in partnership con </a:t>
            </a:r>
            <a:r>
              <a:rPr lang="en-US" dirty="0" err="1">
                <a:solidFill>
                  <a:schemeClr val="tx1"/>
                </a:solidFill>
              </a:rPr>
              <a:t>Banche</a:t>
            </a:r>
            <a:r>
              <a:rPr lang="en-US" dirty="0">
                <a:solidFill>
                  <a:schemeClr val="tx1"/>
                </a:solidFill>
              </a:rPr>
              <a:t> </a:t>
            </a:r>
            <a:r>
              <a:rPr lang="en-US" dirty="0" err="1">
                <a:solidFill>
                  <a:schemeClr val="tx1"/>
                </a:solidFill>
              </a:rPr>
              <a:t>Multilaterali</a:t>
            </a:r>
            <a:r>
              <a:rPr lang="en-US" dirty="0">
                <a:solidFill>
                  <a:schemeClr val="tx1"/>
                </a:solidFill>
              </a:rPr>
              <a:t> e </a:t>
            </a:r>
            <a:r>
              <a:rPr lang="en-US" dirty="0" err="1">
                <a:solidFill>
                  <a:schemeClr val="tx1"/>
                </a:solidFill>
              </a:rPr>
              <a:t>Bilaterali</a:t>
            </a:r>
            <a:r>
              <a:rPr lang="en-US" dirty="0">
                <a:solidFill>
                  <a:schemeClr val="tx1"/>
                </a:solidFill>
              </a:rPr>
              <a:t>, a support </a:t>
            </a:r>
            <a:r>
              <a:rPr lang="en-US" dirty="0" err="1">
                <a:solidFill>
                  <a:schemeClr val="tx1"/>
                </a:solidFill>
              </a:rPr>
              <a:t>sia</a:t>
            </a:r>
            <a:r>
              <a:rPr lang="en-US" dirty="0">
                <a:solidFill>
                  <a:schemeClr val="tx1"/>
                </a:solidFill>
              </a:rPr>
              <a:t> del </a:t>
            </a:r>
            <a:r>
              <a:rPr lang="en-US" dirty="0" err="1">
                <a:solidFill>
                  <a:schemeClr val="tx1"/>
                </a:solidFill>
              </a:rPr>
              <a:t>settore</a:t>
            </a:r>
            <a:r>
              <a:rPr lang="en-US" dirty="0">
                <a:solidFill>
                  <a:schemeClr val="tx1"/>
                </a:solidFill>
              </a:rPr>
              <a:t> private </a:t>
            </a:r>
            <a:r>
              <a:rPr lang="en-US" dirty="0" err="1">
                <a:solidFill>
                  <a:schemeClr val="tx1"/>
                </a:solidFill>
              </a:rPr>
              <a:t>sia</a:t>
            </a:r>
            <a:r>
              <a:rPr lang="en-US" dirty="0">
                <a:solidFill>
                  <a:schemeClr val="tx1"/>
                </a:solidFill>
              </a:rPr>
              <a:t> del </a:t>
            </a:r>
            <a:r>
              <a:rPr lang="en-US" dirty="0" err="1">
                <a:solidFill>
                  <a:schemeClr val="tx1"/>
                </a:solidFill>
              </a:rPr>
              <a:t>settore</a:t>
            </a:r>
            <a:r>
              <a:rPr lang="en-US" dirty="0">
                <a:solidFill>
                  <a:schemeClr val="tx1"/>
                </a:solidFill>
              </a:rPr>
              <a:t> </a:t>
            </a:r>
            <a:r>
              <a:rPr lang="en-US" dirty="0" err="1">
                <a:solidFill>
                  <a:schemeClr val="tx1"/>
                </a:solidFill>
              </a:rPr>
              <a:t>pubblico</a:t>
            </a:r>
            <a:endParaRPr lang="en-US" dirty="0">
              <a:solidFill>
                <a:schemeClr val="tx1"/>
              </a:solidFill>
            </a:endParaRPr>
          </a:p>
        </p:txBody>
      </p:sp>
      <p:sp>
        <p:nvSpPr>
          <p:cNvPr id="19" name="CasellaDiTesto 1">
            <a:extLst>
              <a:ext uri="{FF2B5EF4-FFF2-40B4-BE49-F238E27FC236}">
                <a16:creationId xmlns:a16="http://schemas.microsoft.com/office/drawing/2014/main" id="{CC189396-8FEC-4E4D-9CFC-15744F344A9B}"/>
              </a:ext>
            </a:extLst>
          </p:cNvPr>
          <p:cNvSpPr txBox="1">
            <a:spLocks/>
          </p:cNvSpPr>
          <p:nvPr>
            <p:custDataLst>
              <p:tags r:id="rId6"/>
            </p:custDataLst>
          </p:nvPr>
        </p:nvSpPr>
        <p:spPr bwMode="gray">
          <a:xfrm>
            <a:off x="250823" y="2235813"/>
            <a:ext cx="1462039" cy="98067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marL="0" marR="0" lvl="0" indent="0" algn="ctr" defTabSz="914400" eaLnBrk="1" latinLnBrk="0" hangingPunct="1">
              <a:lnSpc>
                <a:spcPct val="100000"/>
              </a:lnSpc>
              <a:buClrTx/>
              <a:buSzTx/>
              <a:buFontTx/>
              <a:buNone/>
              <a:tabLst/>
              <a:defRPr kumimoji="0" sz="1700" b="1" i="0" u="none" strike="noStrike" cap="none" spc="0" normalizeH="0" baseline="0">
                <a:ln>
                  <a:noFill/>
                </a:ln>
                <a:solidFill>
                  <a:srgbClr val="FFFFFF"/>
                </a:solidFill>
                <a:effectLst/>
                <a:uLnTx/>
                <a:uFillTx/>
                <a:latin typeface="Aria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it-IT" sz="1275" dirty="0" err="1"/>
              <a:t>Blending</a:t>
            </a:r>
            <a:endParaRPr lang="it-IT" sz="1275" dirty="0"/>
          </a:p>
        </p:txBody>
      </p:sp>
      <p:grpSp>
        <p:nvGrpSpPr>
          <p:cNvPr id="20" name="Gruppo 19">
            <a:extLst>
              <a:ext uri="{FF2B5EF4-FFF2-40B4-BE49-F238E27FC236}">
                <a16:creationId xmlns:a16="http://schemas.microsoft.com/office/drawing/2014/main" id="{0DFCE8EE-6AAB-4AAB-A778-80A27DFCD893}"/>
              </a:ext>
            </a:extLst>
          </p:cNvPr>
          <p:cNvGrpSpPr>
            <a:grpSpLocks noChangeAspect="1"/>
          </p:cNvGrpSpPr>
          <p:nvPr/>
        </p:nvGrpSpPr>
        <p:grpSpPr>
          <a:xfrm>
            <a:off x="1821743" y="2564147"/>
            <a:ext cx="287549" cy="324000"/>
            <a:chOff x="1816540" y="3028242"/>
            <a:chExt cx="287550" cy="324000"/>
          </a:xfrm>
          <a:solidFill>
            <a:srgbClr val="415364"/>
          </a:solidFill>
        </p:grpSpPr>
        <p:sp>
          <p:nvSpPr>
            <p:cNvPr id="21" name="Chevron1">
              <a:extLst>
                <a:ext uri="{FF2B5EF4-FFF2-40B4-BE49-F238E27FC236}">
                  <a16:creationId xmlns:a16="http://schemas.microsoft.com/office/drawing/2014/main" id="{F60ED4EC-7EF4-4E42-BD1D-6F949220E2C8}"/>
                </a:ext>
              </a:extLst>
            </p:cNvPr>
            <p:cNvSpPr>
              <a:spLocks noChangeAspect="1"/>
            </p:cNvSpPr>
            <p:nvPr/>
          </p:nvSpPr>
          <p:spPr>
            <a:xfrm>
              <a:off x="1816540" y="3060642"/>
              <a:ext cx="152280" cy="2592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rgbClr val="86868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dirty="0" err="1">
                <a:solidFill>
                  <a:srgbClr val="003F81"/>
                </a:solidFill>
                <a:latin typeface="Arial"/>
              </a:endParaRPr>
            </a:p>
          </p:txBody>
        </p:sp>
        <p:sp>
          <p:nvSpPr>
            <p:cNvPr id="22" name="Chevron2">
              <a:extLst>
                <a:ext uri="{FF2B5EF4-FFF2-40B4-BE49-F238E27FC236}">
                  <a16:creationId xmlns:a16="http://schemas.microsoft.com/office/drawing/2014/main" id="{2E5FD9CC-FA1D-410E-B111-A4FF0F280476}"/>
                </a:ext>
              </a:extLst>
            </p:cNvPr>
            <p:cNvSpPr>
              <a:spLocks noChangeAspect="1"/>
            </p:cNvSpPr>
            <p:nvPr/>
          </p:nvSpPr>
          <p:spPr>
            <a:xfrm>
              <a:off x="1913740" y="3028242"/>
              <a:ext cx="190350" cy="324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dirty="0" err="1">
                <a:solidFill>
                  <a:srgbClr val="003F81"/>
                </a:solidFill>
                <a:latin typeface="Arial"/>
              </a:endParaRPr>
            </a:p>
          </p:txBody>
        </p:sp>
      </p:grpSp>
      <p:sp>
        <p:nvSpPr>
          <p:cNvPr id="24" name="Segnaposto testo 1">
            <a:extLst>
              <a:ext uri="{FF2B5EF4-FFF2-40B4-BE49-F238E27FC236}">
                <a16:creationId xmlns:a16="http://schemas.microsoft.com/office/drawing/2014/main" id="{018A2D4D-C8E4-44D4-8804-B214EEF30083}"/>
              </a:ext>
            </a:extLst>
          </p:cNvPr>
          <p:cNvSpPr>
            <a:spLocks noGrp="1"/>
          </p:cNvSpPr>
          <p:nvPr>
            <p:ph type="body" idx="13"/>
          </p:nvPr>
        </p:nvSpPr>
        <p:spPr>
          <a:xfrm>
            <a:off x="250824" y="268288"/>
            <a:ext cx="8104137" cy="287337"/>
          </a:xfrm>
        </p:spPr>
        <p:txBody>
          <a:bodyPr/>
          <a:lstStyle/>
          <a:p>
            <a:r>
              <a:rPr lang="it-IT" dirty="0"/>
              <a:t>Gli ambiti di attività di CDP Cooperazione: il supporto al Settore Pubblico e al Settore Privato</a:t>
            </a:r>
          </a:p>
        </p:txBody>
      </p:sp>
      <p:sp>
        <p:nvSpPr>
          <p:cNvPr id="30" name="Rectangle 2">
            <a:extLst>
              <a:ext uri="{FF2B5EF4-FFF2-40B4-BE49-F238E27FC236}">
                <a16:creationId xmlns:a16="http://schemas.microsoft.com/office/drawing/2014/main" id="{06497999-538D-448D-BDCF-FA7BD2E3C4B6}"/>
              </a:ext>
            </a:extLst>
          </p:cNvPr>
          <p:cNvSpPr>
            <a:spLocks/>
          </p:cNvSpPr>
          <p:nvPr/>
        </p:nvSpPr>
        <p:spPr>
          <a:xfrm>
            <a:off x="1" y="3"/>
            <a:ext cx="9143999" cy="163396"/>
          </a:xfrm>
          <a:prstGeom prst="rect">
            <a:avLst/>
          </a:prstGeom>
          <a:solidFill>
            <a:srgbClr val="415064"/>
          </a:solidFill>
          <a:ln w="9525" cap="flat" cmpd="sng" algn="ctr">
            <a:noFill/>
            <a:prstDash val="solid"/>
          </a:ln>
          <a:effectLst/>
        </p:spPr>
        <p:txBody>
          <a:bodyPr rot="0" spcFirstLastPara="0" vert="horz" wrap="square" lIns="121920" tIns="60960" rIns="121920" bIns="6096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224" kern="1200">
                <a:solidFill>
                  <a:schemeClr val="lt1"/>
                </a:solidFill>
                <a:latin typeface="+mn-lt"/>
                <a:ea typeface="+mn-ea"/>
                <a:cs typeface="+mn-cs"/>
              </a:defRPr>
            </a:lvl1pPr>
            <a:lvl2pPr marL="349849" algn="l" rtl="0" fontAlgn="base">
              <a:spcBef>
                <a:spcPct val="0"/>
              </a:spcBef>
              <a:spcAft>
                <a:spcPct val="0"/>
              </a:spcAft>
              <a:defRPr sz="1224" kern="1200">
                <a:solidFill>
                  <a:schemeClr val="lt1"/>
                </a:solidFill>
                <a:latin typeface="+mn-lt"/>
                <a:ea typeface="+mn-ea"/>
                <a:cs typeface="+mn-cs"/>
              </a:defRPr>
            </a:lvl2pPr>
            <a:lvl3pPr marL="699699" algn="l" rtl="0" fontAlgn="base">
              <a:spcBef>
                <a:spcPct val="0"/>
              </a:spcBef>
              <a:spcAft>
                <a:spcPct val="0"/>
              </a:spcAft>
              <a:defRPr sz="1224" kern="1200">
                <a:solidFill>
                  <a:schemeClr val="lt1"/>
                </a:solidFill>
                <a:latin typeface="+mn-lt"/>
                <a:ea typeface="+mn-ea"/>
                <a:cs typeface="+mn-cs"/>
              </a:defRPr>
            </a:lvl3pPr>
            <a:lvl4pPr marL="1049548" algn="l" rtl="0" fontAlgn="base">
              <a:spcBef>
                <a:spcPct val="0"/>
              </a:spcBef>
              <a:spcAft>
                <a:spcPct val="0"/>
              </a:spcAft>
              <a:defRPr sz="1224" kern="1200">
                <a:solidFill>
                  <a:schemeClr val="lt1"/>
                </a:solidFill>
                <a:latin typeface="+mn-lt"/>
                <a:ea typeface="+mn-ea"/>
                <a:cs typeface="+mn-cs"/>
              </a:defRPr>
            </a:lvl4pPr>
            <a:lvl5pPr marL="1399398" algn="l" rtl="0" fontAlgn="base">
              <a:spcBef>
                <a:spcPct val="0"/>
              </a:spcBef>
              <a:spcAft>
                <a:spcPct val="0"/>
              </a:spcAft>
              <a:defRPr sz="1224" kern="1200">
                <a:solidFill>
                  <a:schemeClr val="lt1"/>
                </a:solidFill>
                <a:latin typeface="+mn-lt"/>
                <a:ea typeface="+mn-ea"/>
                <a:cs typeface="+mn-cs"/>
              </a:defRPr>
            </a:lvl5pPr>
            <a:lvl6pPr marL="1749247" algn="l" defTabSz="699699" rtl="0" eaLnBrk="1" latinLnBrk="0" hangingPunct="1">
              <a:defRPr sz="1224" kern="1200">
                <a:solidFill>
                  <a:schemeClr val="lt1"/>
                </a:solidFill>
                <a:latin typeface="+mn-lt"/>
                <a:ea typeface="+mn-ea"/>
                <a:cs typeface="+mn-cs"/>
              </a:defRPr>
            </a:lvl6pPr>
            <a:lvl7pPr marL="2099097" algn="l" defTabSz="699699" rtl="0" eaLnBrk="1" latinLnBrk="0" hangingPunct="1">
              <a:defRPr sz="1224" kern="1200">
                <a:solidFill>
                  <a:schemeClr val="lt1"/>
                </a:solidFill>
                <a:latin typeface="+mn-lt"/>
                <a:ea typeface="+mn-ea"/>
                <a:cs typeface="+mn-cs"/>
              </a:defRPr>
            </a:lvl7pPr>
            <a:lvl8pPr marL="2448946" algn="l" defTabSz="699699" rtl="0" eaLnBrk="1" latinLnBrk="0" hangingPunct="1">
              <a:defRPr sz="1224" kern="1200">
                <a:solidFill>
                  <a:schemeClr val="lt1"/>
                </a:solidFill>
                <a:latin typeface="+mn-lt"/>
                <a:ea typeface="+mn-ea"/>
                <a:cs typeface="+mn-cs"/>
              </a:defRPr>
            </a:lvl8pPr>
            <a:lvl9pPr marL="2798796" algn="l" defTabSz="699699" rtl="0" eaLnBrk="1" latinLnBrk="0" hangingPunct="1">
              <a:defRPr sz="1224" kern="1200">
                <a:solidFill>
                  <a:schemeClr val="lt1"/>
                </a:solidFill>
                <a:latin typeface="+mn-lt"/>
                <a:ea typeface="+mn-ea"/>
                <a:cs typeface="+mn-cs"/>
              </a:defRPr>
            </a:lvl9pPr>
          </a:lstStyle>
          <a:p>
            <a:pPr defTabSz="1219079">
              <a:defRPr/>
            </a:pPr>
            <a:r>
              <a:rPr lang="it-IT" sz="1000" b="1" dirty="0">
                <a:solidFill>
                  <a:srgbClr val="FFFFFF"/>
                </a:solidFill>
                <a:latin typeface="Arial"/>
              </a:rPr>
              <a:t>CDP Cooperazione Internazionale allo Sviluppo</a:t>
            </a:r>
            <a:endParaRPr lang="it-IT" sz="1000" b="1" i="1" dirty="0">
              <a:solidFill>
                <a:srgbClr val="FFFFFF"/>
              </a:solidFill>
              <a:latin typeface="Arial"/>
            </a:endParaRPr>
          </a:p>
        </p:txBody>
      </p:sp>
    </p:spTree>
    <p:extLst>
      <p:ext uri="{BB962C8B-B14F-4D97-AF65-F5344CB8AC3E}">
        <p14:creationId xmlns:p14="http://schemas.microsoft.com/office/powerpoint/2010/main" val="18525881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ttangolo 33">
            <a:extLst>
              <a:ext uri="{FF2B5EF4-FFF2-40B4-BE49-F238E27FC236}">
                <a16:creationId xmlns:a16="http://schemas.microsoft.com/office/drawing/2014/main" id="{3C7DEC34-CFD3-4D47-A140-152C006EB132}"/>
              </a:ext>
            </a:extLst>
          </p:cNvPr>
          <p:cNvSpPr/>
          <p:nvPr/>
        </p:nvSpPr>
        <p:spPr>
          <a:xfrm>
            <a:off x="1401398" y="2400435"/>
            <a:ext cx="7045434" cy="54102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graphicFrame>
        <p:nvGraphicFramePr>
          <p:cNvPr id="7" name="Oggetto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704" name="Diapositiva think-cell" r:id="rId5" imgW="270" imgH="270" progId="TCLayout.ActiveDocument.1">
                  <p:embed/>
                </p:oleObj>
              </mc:Choice>
              <mc:Fallback>
                <p:oleObj name="Diapositiva think-cell" r:id="rId5" imgW="270" imgH="270" progId="TCLayout.ActiveDocument.1">
                  <p:embed/>
                  <p:pic>
                    <p:nvPicPr>
                      <p:cNvPr id="7" name="Oggetto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egnaposto numero diapositiva 3">
            <a:extLst>
              <a:ext uri="{FF2B5EF4-FFF2-40B4-BE49-F238E27FC236}">
                <a16:creationId xmlns:a16="http://schemas.microsoft.com/office/drawing/2014/main" id="{52C954B1-B0F4-4E12-BE66-48509ABAF6A1}"/>
              </a:ext>
            </a:extLst>
          </p:cNvPr>
          <p:cNvSpPr>
            <a:spLocks noGrp="1"/>
          </p:cNvSpPr>
          <p:nvPr>
            <p:ph type="sldNum" sz="quarter" idx="12"/>
          </p:nvPr>
        </p:nvSpPr>
        <p:spPr>
          <a:xfrm>
            <a:off x="142527" y="4842165"/>
            <a:ext cx="1008062" cy="183687"/>
          </a:xfrm>
        </p:spPr>
        <p:txBody>
          <a:bodyPr/>
          <a:lstStyle/>
          <a:p>
            <a:fld id="{608DA0FE-9C19-F746-8419-6700E348BF78}" type="slidenum">
              <a:rPr lang="it-IT" smtClean="0"/>
              <a:pPr/>
              <a:t>17</a:t>
            </a:fld>
            <a:endParaRPr lang="it-IT" dirty="0"/>
          </a:p>
        </p:txBody>
      </p:sp>
      <p:grpSp>
        <p:nvGrpSpPr>
          <p:cNvPr id="11" name="Gruppo 10">
            <a:extLst>
              <a:ext uri="{FF2B5EF4-FFF2-40B4-BE49-F238E27FC236}">
                <a16:creationId xmlns:a16="http://schemas.microsoft.com/office/drawing/2014/main" id="{6C4B42DC-B68F-4946-BF63-B142C09F86D0}"/>
              </a:ext>
            </a:extLst>
          </p:cNvPr>
          <p:cNvGrpSpPr/>
          <p:nvPr/>
        </p:nvGrpSpPr>
        <p:grpSpPr>
          <a:xfrm>
            <a:off x="795937" y="745276"/>
            <a:ext cx="7271691" cy="437581"/>
            <a:chOff x="795937" y="669076"/>
            <a:chExt cx="7271691" cy="437581"/>
          </a:xfrm>
        </p:grpSpPr>
        <p:sp>
          <p:nvSpPr>
            <p:cNvPr id="12" name="object 4"/>
            <p:cNvSpPr>
              <a:spLocks noChangeAspect="1"/>
            </p:cNvSpPr>
            <p:nvPr/>
          </p:nvSpPr>
          <p:spPr>
            <a:xfrm>
              <a:off x="795937" y="745738"/>
              <a:ext cx="360000" cy="360919"/>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1</a:t>
              </a:r>
              <a:endParaRPr sz="1600" b="1" dirty="0">
                <a:solidFill>
                  <a:schemeClr val="bg1"/>
                </a:solidFill>
              </a:endParaRPr>
            </a:p>
          </p:txBody>
        </p:sp>
        <p:sp>
          <p:nvSpPr>
            <p:cNvPr id="14" name="object 7"/>
            <p:cNvSpPr txBox="1"/>
            <p:nvPr/>
          </p:nvSpPr>
          <p:spPr>
            <a:xfrm>
              <a:off x="1401398" y="669076"/>
              <a:ext cx="6666230" cy="369332"/>
            </a:xfrm>
            <a:prstGeom prst="rect">
              <a:avLst/>
            </a:prstGeom>
            <a:noFill/>
          </p:spPr>
          <p:txBody>
            <a:bodyPr vert="horz" wrap="square" lIns="0" tIns="91440" rIns="0" bIns="0" rtlCol="0">
              <a:spAutoFit/>
            </a:bodyPr>
            <a:lstStyle/>
            <a:p>
              <a:pPr>
                <a:lnSpc>
                  <a:spcPct val="100000"/>
                </a:lnSpc>
                <a:spcBef>
                  <a:spcPts val="0"/>
                </a:spcBef>
              </a:pPr>
              <a:r>
                <a:rPr lang="it-IT" sz="1800" spc="-5" dirty="0">
                  <a:solidFill>
                    <a:srgbClr val="001547"/>
                  </a:solidFill>
                  <a:latin typeface="Arial"/>
                  <a:cs typeface="Arial"/>
                </a:rPr>
                <a:t> </a:t>
              </a:r>
              <a:r>
                <a:rPr sz="1600" spc="-5" dirty="0">
                  <a:latin typeface="Arial"/>
                  <a:cs typeface="Arial"/>
                </a:rPr>
                <a:t>CDP</a:t>
              </a:r>
              <a:r>
                <a:rPr sz="1600" spc="-30" dirty="0">
                  <a:latin typeface="Arial"/>
                  <a:cs typeface="Arial"/>
                </a:rPr>
                <a:t> </a:t>
              </a:r>
              <a:r>
                <a:rPr sz="1600" spc="-10" dirty="0">
                  <a:latin typeface="Arial"/>
                  <a:cs typeface="Arial"/>
                </a:rPr>
                <a:t>Overview</a:t>
              </a:r>
              <a:endParaRPr sz="1600" dirty="0">
                <a:latin typeface="Arial"/>
                <a:cs typeface="Arial"/>
              </a:endParaRPr>
            </a:p>
          </p:txBody>
        </p:sp>
      </p:grpSp>
      <p:grpSp>
        <p:nvGrpSpPr>
          <p:cNvPr id="2" name="Gruppo 1">
            <a:extLst>
              <a:ext uri="{FF2B5EF4-FFF2-40B4-BE49-F238E27FC236}">
                <a16:creationId xmlns:a16="http://schemas.microsoft.com/office/drawing/2014/main" id="{E502234F-E738-41AD-B385-69C8188B1564}"/>
              </a:ext>
            </a:extLst>
          </p:cNvPr>
          <p:cNvGrpSpPr/>
          <p:nvPr/>
        </p:nvGrpSpPr>
        <p:grpSpPr>
          <a:xfrm>
            <a:off x="795937" y="1401111"/>
            <a:ext cx="8101601" cy="350016"/>
            <a:chOff x="795937" y="1411283"/>
            <a:chExt cx="8101601" cy="350016"/>
          </a:xfrm>
        </p:grpSpPr>
        <p:sp>
          <p:nvSpPr>
            <p:cNvPr id="24" name="object 4">
              <a:extLst>
                <a:ext uri="{FF2B5EF4-FFF2-40B4-BE49-F238E27FC236}">
                  <a16:creationId xmlns:a16="http://schemas.microsoft.com/office/drawing/2014/main" id="{31171484-AEF4-4A18-A2B8-EF83B60007DA}"/>
                </a:ext>
              </a:extLst>
            </p:cNvPr>
            <p:cNvSpPr>
              <a:spLocks noChangeAspect="1"/>
            </p:cNvSpPr>
            <p:nvPr/>
          </p:nvSpPr>
          <p:spPr>
            <a:xfrm>
              <a:off x="795937" y="1411283"/>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2</a:t>
              </a:r>
              <a:endParaRPr sz="1600" b="1" dirty="0">
                <a:solidFill>
                  <a:schemeClr val="bg1"/>
                </a:solidFill>
              </a:endParaRPr>
            </a:p>
          </p:txBody>
        </p:sp>
        <p:sp>
          <p:nvSpPr>
            <p:cNvPr id="28" name="object 8">
              <a:extLst>
                <a:ext uri="{FF2B5EF4-FFF2-40B4-BE49-F238E27FC236}">
                  <a16:creationId xmlns:a16="http://schemas.microsoft.com/office/drawing/2014/main" id="{CE1AB38F-AFA0-4DCB-B72C-577467D31C3B}"/>
                </a:ext>
              </a:extLst>
            </p:cNvPr>
            <p:cNvSpPr txBox="1"/>
            <p:nvPr/>
          </p:nvSpPr>
          <p:spPr>
            <a:xfrm>
              <a:off x="1455338" y="1411283"/>
              <a:ext cx="7442200" cy="277512"/>
            </a:xfrm>
            <a:prstGeom prst="rect">
              <a:avLst/>
            </a:prstGeom>
          </p:spPr>
          <p:txBody>
            <a:bodyPr vert="horz" wrap="square" lIns="0" tIns="0" rIns="0" bIns="0" rtlCol="0">
              <a:spAutoFit/>
            </a:bodyPr>
            <a:lstStyle/>
            <a:p>
              <a:pPr>
                <a:lnSpc>
                  <a:spcPts val="2360"/>
                </a:lnSpc>
                <a:tabLst>
                  <a:tab pos="575945" algn="l"/>
                </a:tabLst>
              </a:pPr>
              <a:r>
                <a:rPr lang="it-IT" sz="2400" spc="-7" baseline="1543" dirty="0">
                  <a:latin typeface="Arial"/>
                  <a:cs typeface="Arial"/>
                </a:rPr>
                <a:t>Il contesto di riferimento</a:t>
              </a:r>
              <a:endParaRPr sz="2400" baseline="1543" dirty="0">
                <a:latin typeface="Arial"/>
                <a:cs typeface="Arial"/>
              </a:endParaRPr>
            </a:p>
          </p:txBody>
        </p:sp>
      </p:grpSp>
      <p:grpSp>
        <p:nvGrpSpPr>
          <p:cNvPr id="3" name="Gruppo 2">
            <a:extLst>
              <a:ext uri="{FF2B5EF4-FFF2-40B4-BE49-F238E27FC236}">
                <a16:creationId xmlns:a16="http://schemas.microsoft.com/office/drawing/2014/main" id="{DA3D8320-7280-406D-A541-2EE4C7B48E1B}"/>
              </a:ext>
            </a:extLst>
          </p:cNvPr>
          <p:cNvGrpSpPr/>
          <p:nvPr/>
        </p:nvGrpSpPr>
        <p:grpSpPr>
          <a:xfrm>
            <a:off x="795937" y="1948278"/>
            <a:ext cx="8101601" cy="350016"/>
            <a:chOff x="795937" y="1892478"/>
            <a:chExt cx="8101601" cy="350016"/>
          </a:xfrm>
        </p:grpSpPr>
        <p:sp>
          <p:nvSpPr>
            <p:cNvPr id="20" name="object 8"/>
            <p:cNvSpPr txBox="1"/>
            <p:nvPr/>
          </p:nvSpPr>
          <p:spPr>
            <a:xfrm>
              <a:off x="1455338" y="1892478"/>
              <a:ext cx="7442200" cy="307777"/>
            </a:xfrm>
            <a:prstGeom prst="rect">
              <a:avLst/>
            </a:prstGeom>
          </p:spPr>
          <p:txBody>
            <a:bodyPr vert="horz" wrap="square" lIns="0" tIns="0" rIns="0" bIns="0" rtlCol="0">
              <a:spAutoFit/>
            </a:bodyPr>
            <a:lstStyle/>
            <a:p>
              <a:pPr>
                <a:lnSpc>
                  <a:spcPts val="2360"/>
                </a:lnSpc>
                <a:tabLst>
                  <a:tab pos="575945" algn="l"/>
                </a:tabLst>
              </a:pPr>
              <a:r>
                <a:rPr sz="2400" spc="-7" baseline="1543" dirty="0">
                  <a:latin typeface="Arial"/>
                  <a:cs typeface="Arial"/>
                </a:rPr>
                <a:t>CDP</a:t>
              </a:r>
              <a:r>
                <a:rPr lang="it-IT" sz="2400" spc="-7" baseline="1543" dirty="0">
                  <a:latin typeface="Arial"/>
                  <a:cs typeface="Arial"/>
                </a:rPr>
                <a:t>:</a:t>
              </a:r>
              <a:r>
                <a:rPr sz="2400" spc="-7" baseline="1543" dirty="0">
                  <a:latin typeface="Arial"/>
                  <a:cs typeface="Arial"/>
                </a:rPr>
                <a:t> </a:t>
              </a:r>
              <a:r>
                <a:rPr lang="it-IT" sz="2400" spc="-7" baseline="1543" dirty="0">
                  <a:latin typeface="Arial"/>
                  <a:cs typeface="Arial"/>
                </a:rPr>
                <a:t>Istituzione</a:t>
              </a:r>
              <a:r>
                <a:rPr lang="it-IT" sz="2400" spc="-7" dirty="0">
                  <a:latin typeface="Arial"/>
                  <a:cs typeface="Arial"/>
                </a:rPr>
                <a:t> </a:t>
              </a:r>
              <a:r>
                <a:rPr lang="it-IT" sz="2400" spc="-7" baseline="1543" dirty="0">
                  <a:latin typeface="Arial"/>
                  <a:cs typeface="Arial"/>
                </a:rPr>
                <a:t>Finanziaria per la Cooperazione allo Sviluppo </a:t>
              </a:r>
              <a:endParaRPr sz="2400" baseline="1543" dirty="0">
                <a:latin typeface="Arial"/>
                <a:cs typeface="Arial"/>
              </a:endParaRPr>
            </a:p>
          </p:txBody>
        </p:sp>
        <p:sp>
          <p:nvSpPr>
            <p:cNvPr id="29" name="object 4">
              <a:extLst>
                <a:ext uri="{FF2B5EF4-FFF2-40B4-BE49-F238E27FC236}">
                  <a16:creationId xmlns:a16="http://schemas.microsoft.com/office/drawing/2014/main" id="{73493036-224A-4125-B2E8-DFCCA91E97EC}"/>
                </a:ext>
              </a:extLst>
            </p:cNvPr>
            <p:cNvSpPr>
              <a:spLocks noChangeAspect="1"/>
            </p:cNvSpPr>
            <p:nvPr/>
          </p:nvSpPr>
          <p:spPr>
            <a:xfrm>
              <a:off x="795937" y="1892478"/>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3</a:t>
              </a:r>
              <a:endParaRPr sz="1600" b="1" dirty="0">
                <a:solidFill>
                  <a:schemeClr val="bg1"/>
                </a:solidFill>
              </a:endParaRPr>
            </a:p>
          </p:txBody>
        </p:sp>
      </p:grpSp>
      <p:grpSp>
        <p:nvGrpSpPr>
          <p:cNvPr id="5" name="Gruppo 4">
            <a:extLst>
              <a:ext uri="{FF2B5EF4-FFF2-40B4-BE49-F238E27FC236}">
                <a16:creationId xmlns:a16="http://schemas.microsoft.com/office/drawing/2014/main" id="{E83A3AF0-A544-4520-A333-78BB77D585DE}"/>
              </a:ext>
            </a:extLst>
          </p:cNvPr>
          <p:cNvGrpSpPr/>
          <p:nvPr/>
        </p:nvGrpSpPr>
        <p:grpSpPr>
          <a:xfrm>
            <a:off x="795937" y="2495445"/>
            <a:ext cx="7526272" cy="350016"/>
            <a:chOff x="795937" y="2448333"/>
            <a:chExt cx="7526272" cy="350016"/>
          </a:xfrm>
        </p:grpSpPr>
        <p:sp>
          <p:nvSpPr>
            <p:cNvPr id="16" name="object 8"/>
            <p:cNvSpPr txBox="1"/>
            <p:nvPr/>
          </p:nvSpPr>
          <p:spPr>
            <a:xfrm>
              <a:off x="904193" y="2448333"/>
              <a:ext cx="7418016" cy="307777"/>
            </a:xfrm>
            <a:prstGeom prst="rect">
              <a:avLst/>
            </a:prstGeom>
          </p:spPr>
          <p:txBody>
            <a:bodyPr vert="horz" wrap="square" lIns="0" tIns="0" rIns="0" bIns="0" rtlCol="0">
              <a:spAutoFit/>
            </a:bodyPr>
            <a:lstStyle/>
            <a:p>
              <a:pPr marL="12700">
                <a:lnSpc>
                  <a:spcPts val="2360"/>
                </a:lnSpc>
                <a:tabLst>
                  <a:tab pos="575945" algn="l"/>
                </a:tabLst>
              </a:pPr>
              <a:r>
                <a:rPr lang="it-IT" sz="2000" b="1" spc="-5" dirty="0">
                  <a:solidFill>
                    <a:srgbClr val="FFFFFF"/>
                  </a:solidFill>
                  <a:latin typeface="Arial"/>
                  <a:cs typeface="Arial"/>
                </a:rPr>
                <a:t>4</a:t>
              </a:r>
              <a:r>
                <a:rPr sz="2400" b="1" spc="-5" dirty="0">
                  <a:solidFill>
                    <a:srgbClr val="FFFFFF"/>
                  </a:solidFill>
                  <a:latin typeface="Arial"/>
                  <a:cs typeface="Arial"/>
                </a:rPr>
                <a:t>	</a:t>
              </a:r>
              <a:r>
                <a:rPr lang="it-IT" sz="2400" b="1" spc="-7" baseline="1543" dirty="0">
                  <a:cs typeface="Arial"/>
                </a:rPr>
                <a:t>Supporto al Settore Pubblico</a:t>
              </a:r>
              <a:endParaRPr lang="it-IT" sz="2400" b="1" spc="-7" baseline="1543" dirty="0">
                <a:latin typeface="Arial"/>
                <a:cs typeface="Arial"/>
              </a:endParaRPr>
            </a:p>
          </p:txBody>
        </p:sp>
        <p:sp>
          <p:nvSpPr>
            <p:cNvPr id="30" name="object 4">
              <a:extLst>
                <a:ext uri="{FF2B5EF4-FFF2-40B4-BE49-F238E27FC236}">
                  <a16:creationId xmlns:a16="http://schemas.microsoft.com/office/drawing/2014/main" id="{4EABFC6E-86FA-4787-991A-9B2860F0BFDE}"/>
                </a:ext>
              </a:extLst>
            </p:cNvPr>
            <p:cNvSpPr>
              <a:spLocks noChangeAspect="1"/>
            </p:cNvSpPr>
            <p:nvPr/>
          </p:nvSpPr>
          <p:spPr>
            <a:xfrm>
              <a:off x="795937" y="2448333"/>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4</a:t>
              </a:r>
              <a:endParaRPr sz="1600" b="1" dirty="0">
                <a:solidFill>
                  <a:schemeClr val="bg1"/>
                </a:solidFill>
              </a:endParaRPr>
            </a:p>
          </p:txBody>
        </p:sp>
      </p:grpSp>
      <p:grpSp>
        <p:nvGrpSpPr>
          <p:cNvPr id="6" name="Gruppo 5">
            <a:extLst>
              <a:ext uri="{FF2B5EF4-FFF2-40B4-BE49-F238E27FC236}">
                <a16:creationId xmlns:a16="http://schemas.microsoft.com/office/drawing/2014/main" id="{0A27A17E-C8CC-4056-9926-9709E507348F}"/>
              </a:ext>
            </a:extLst>
          </p:cNvPr>
          <p:cNvGrpSpPr/>
          <p:nvPr/>
        </p:nvGrpSpPr>
        <p:grpSpPr>
          <a:xfrm>
            <a:off x="795937" y="3042612"/>
            <a:ext cx="7550456" cy="350016"/>
            <a:chOff x="795937" y="3101581"/>
            <a:chExt cx="7550456" cy="350016"/>
          </a:xfrm>
        </p:grpSpPr>
        <p:sp>
          <p:nvSpPr>
            <p:cNvPr id="23" name="object 8">
              <a:extLst>
                <a:ext uri="{FF2B5EF4-FFF2-40B4-BE49-F238E27FC236}">
                  <a16:creationId xmlns:a16="http://schemas.microsoft.com/office/drawing/2014/main" id="{C694991B-2CA3-4265-A383-810EA881A649}"/>
                </a:ext>
              </a:extLst>
            </p:cNvPr>
            <p:cNvSpPr txBox="1"/>
            <p:nvPr/>
          </p:nvSpPr>
          <p:spPr>
            <a:xfrm>
              <a:off x="904193" y="3101581"/>
              <a:ext cx="7442200" cy="307777"/>
            </a:xfrm>
            <a:prstGeom prst="rect">
              <a:avLst/>
            </a:prstGeom>
          </p:spPr>
          <p:txBody>
            <a:bodyPr vert="horz" wrap="square" lIns="0" tIns="0" rIns="0" bIns="0" rtlCol="0">
              <a:spAutoFit/>
            </a:bodyPr>
            <a:lstStyle/>
            <a:p>
              <a:pPr marL="12700">
                <a:lnSpc>
                  <a:spcPts val="2360"/>
                </a:lnSpc>
                <a:tabLst>
                  <a:tab pos="575945" algn="l"/>
                </a:tabLst>
              </a:pPr>
              <a:r>
                <a:rPr lang="it-IT" sz="2000" b="1" spc="-5" dirty="0">
                  <a:solidFill>
                    <a:srgbClr val="FFFFFF"/>
                  </a:solidFill>
                  <a:latin typeface="Arial"/>
                  <a:cs typeface="Arial"/>
                </a:rPr>
                <a:t>5</a:t>
              </a:r>
              <a:r>
                <a:rPr sz="2000" spc="-5" dirty="0">
                  <a:solidFill>
                    <a:srgbClr val="FFFFFF"/>
                  </a:solidFill>
                  <a:latin typeface="Arial"/>
                  <a:cs typeface="Arial"/>
                </a:rPr>
                <a:t>	</a:t>
              </a:r>
              <a:r>
                <a:rPr lang="it-IT" sz="1600" spc="-10" dirty="0">
                  <a:latin typeface="Arial"/>
                  <a:cs typeface="Arial"/>
                </a:rPr>
                <a:t>Supporto al Settore Privato</a:t>
              </a:r>
            </a:p>
          </p:txBody>
        </p:sp>
        <p:sp>
          <p:nvSpPr>
            <p:cNvPr id="31" name="object 4">
              <a:extLst>
                <a:ext uri="{FF2B5EF4-FFF2-40B4-BE49-F238E27FC236}">
                  <a16:creationId xmlns:a16="http://schemas.microsoft.com/office/drawing/2014/main" id="{E71654FD-123B-4386-9800-2227621A6B4A}"/>
                </a:ext>
              </a:extLst>
            </p:cNvPr>
            <p:cNvSpPr>
              <a:spLocks noChangeAspect="1"/>
            </p:cNvSpPr>
            <p:nvPr/>
          </p:nvSpPr>
          <p:spPr>
            <a:xfrm>
              <a:off x="795937" y="3101581"/>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5</a:t>
              </a:r>
              <a:endParaRPr sz="1600" b="1" dirty="0">
                <a:solidFill>
                  <a:schemeClr val="bg1"/>
                </a:solidFill>
              </a:endParaRPr>
            </a:p>
          </p:txBody>
        </p:sp>
      </p:grpSp>
      <p:grpSp>
        <p:nvGrpSpPr>
          <p:cNvPr id="8" name="Gruppo 7">
            <a:extLst>
              <a:ext uri="{FF2B5EF4-FFF2-40B4-BE49-F238E27FC236}">
                <a16:creationId xmlns:a16="http://schemas.microsoft.com/office/drawing/2014/main" id="{B8F38F40-C37C-4DA7-93A7-3006DAE87134}"/>
              </a:ext>
            </a:extLst>
          </p:cNvPr>
          <p:cNvGrpSpPr/>
          <p:nvPr/>
        </p:nvGrpSpPr>
        <p:grpSpPr>
          <a:xfrm>
            <a:off x="795937" y="3589779"/>
            <a:ext cx="7538364" cy="350016"/>
            <a:chOff x="795937" y="3921579"/>
            <a:chExt cx="7538364" cy="350016"/>
          </a:xfrm>
        </p:grpSpPr>
        <p:sp>
          <p:nvSpPr>
            <p:cNvPr id="18" name="object 8"/>
            <p:cNvSpPr txBox="1"/>
            <p:nvPr/>
          </p:nvSpPr>
          <p:spPr>
            <a:xfrm>
              <a:off x="892101" y="3921579"/>
              <a:ext cx="7442200" cy="307777"/>
            </a:xfrm>
            <a:prstGeom prst="rect">
              <a:avLst/>
            </a:prstGeom>
          </p:spPr>
          <p:txBody>
            <a:bodyPr vert="horz" wrap="square" lIns="0" tIns="0" rIns="0" bIns="0" rtlCol="0">
              <a:spAutoFit/>
            </a:bodyPr>
            <a:lstStyle/>
            <a:p>
              <a:pPr marL="12700">
                <a:lnSpc>
                  <a:spcPts val="2360"/>
                </a:lnSpc>
                <a:tabLst>
                  <a:tab pos="575945" algn="l"/>
                </a:tabLst>
              </a:pPr>
              <a:r>
                <a:rPr lang="it-IT" sz="2000" b="1" spc="-5" dirty="0">
                  <a:solidFill>
                    <a:srgbClr val="FFFFFF"/>
                  </a:solidFill>
                  <a:latin typeface="Arial"/>
                  <a:cs typeface="Arial"/>
                </a:rPr>
                <a:t>6</a:t>
              </a:r>
              <a:r>
                <a:rPr sz="2400" b="1" spc="-5" dirty="0">
                  <a:solidFill>
                    <a:srgbClr val="FFFFFF"/>
                  </a:solidFill>
                  <a:latin typeface="Arial"/>
                  <a:cs typeface="Arial"/>
                </a:rPr>
                <a:t>	</a:t>
              </a:r>
              <a:r>
                <a:rPr lang="en-US" sz="1600" spc="-10" dirty="0">
                  <a:cs typeface="Arial"/>
                </a:rPr>
                <a:t>Global Partnership</a:t>
              </a:r>
              <a:endParaRPr sz="1600" spc="-10" dirty="0">
                <a:latin typeface="Arial"/>
                <a:cs typeface="Arial"/>
              </a:endParaRPr>
            </a:p>
          </p:txBody>
        </p:sp>
        <p:sp>
          <p:nvSpPr>
            <p:cNvPr id="32" name="object 4">
              <a:extLst>
                <a:ext uri="{FF2B5EF4-FFF2-40B4-BE49-F238E27FC236}">
                  <a16:creationId xmlns:a16="http://schemas.microsoft.com/office/drawing/2014/main" id="{C06F2CB3-480C-4A0A-B658-70C4569EE028}"/>
                </a:ext>
              </a:extLst>
            </p:cNvPr>
            <p:cNvSpPr>
              <a:spLocks noChangeAspect="1"/>
            </p:cNvSpPr>
            <p:nvPr/>
          </p:nvSpPr>
          <p:spPr>
            <a:xfrm>
              <a:off x="795937" y="3921579"/>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6</a:t>
              </a:r>
              <a:endParaRPr sz="1600" b="1" dirty="0">
                <a:solidFill>
                  <a:schemeClr val="bg1"/>
                </a:solidFill>
              </a:endParaRPr>
            </a:p>
          </p:txBody>
        </p:sp>
      </p:grpSp>
    </p:spTree>
    <p:extLst>
      <p:ext uri="{BB962C8B-B14F-4D97-AF65-F5344CB8AC3E}">
        <p14:creationId xmlns:p14="http://schemas.microsoft.com/office/powerpoint/2010/main" val="15597499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81ECFAAD-76ED-429A-857A-0B8034FD6880}"/>
              </a:ext>
            </a:extLst>
          </p:cNvPr>
          <p:cNvSpPr>
            <a:spLocks noGrp="1"/>
          </p:cNvSpPr>
          <p:nvPr>
            <p:ph type="body" idx="13"/>
          </p:nvPr>
        </p:nvSpPr>
        <p:spPr>
          <a:xfrm>
            <a:off x="250824" y="268288"/>
            <a:ext cx="8893175" cy="207155"/>
          </a:xfrm>
        </p:spPr>
        <p:txBody>
          <a:bodyPr/>
          <a:lstStyle/>
          <a:p>
            <a:r>
              <a:rPr lang="it-IT" dirty="0"/>
              <a:t>Le ragioni del sostegno finanziario di CDP al settore pubblico</a:t>
            </a:r>
          </a:p>
        </p:txBody>
      </p:sp>
      <p:sp>
        <p:nvSpPr>
          <p:cNvPr id="4" name="Segnaposto numero diapositiva 3">
            <a:extLst>
              <a:ext uri="{FF2B5EF4-FFF2-40B4-BE49-F238E27FC236}">
                <a16:creationId xmlns:a16="http://schemas.microsoft.com/office/drawing/2014/main" id="{09B2B456-7FB8-43C6-A58F-07B342AD72F2}"/>
              </a:ext>
            </a:extLst>
          </p:cNvPr>
          <p:cNvSpPr>
            <a:spLocks noGrp="1"/>
          </p:cNvSpPr>
          <p:nvPr>
            <p:ph type="sldNum" sz="quarter" idx="12"/>
          </p:nvPr>
        </p:nvSpPr>
        <p:spPr>
          <a:xfrm>
            <a:off x="316141" y="4830397"/>
            <a:ext cx="1008062" cy="183687"/>
          </a:xfrm>
        </p:spPr>
        <p:txBody>
          <a:bodyPr/>
          <a:lstStyle/>
          <a:p>
            <a:fld id="{608DA0FE-9C19-F746-8419-6700E348BF78}" type="slidenum">
              <a:rPr lang="it-IT" smtClean="0"/>
              <a:pPr/>
              <a:t>18</a:t>
            </a:fld>
            <a:endParaRPr lang="it-IT" dirty="0"/>
          </a:p>
        </p:txBody>
      </p:sp>
      <p:sp>
        <p:nvSpPr>
          <p:cNvPr id="24" name="Rectangle 2">
            <a:extLst>
              <a:ext uri="{FF2B5EF4-FFF2-40B4-BE49-F238E27FC236}">
                <a16:creationId xmlns:a16="http://schemas.microsoft.com/office/drawing/2014/main" id="{E0269A4A-0FA5-4648-8B26-A9B7C2962331}"/>
              </a:ext>
            </a:extLst>
          </p:cNvPr>
          <p:cNvSpPr>
            <a:spLocks/>
          </p:cNvSpPr>
          <p:nvPr/>
        </p:nvSpPr>
        <p:spPr>
          <a:xfrm>
            <a:off x="1" y="3"/>
            <a:ext cx="9143999" cy="163396"/>
          </a:xfrm>
          <a:prstGeom prst="rect">
            <a:avLst/>
          </a:prstGeom>
          <a:solidFill>
            <a:srgbClr val="415064"/>
          </a:solidFill>
          <a:ln w="9525" cap="flat" cmpd="sng" algn="ctr">
            <a:noFill/>
            <a:prstDash val="solid"/>
          </a:ln>
          <a:effectLst/>
        </p:spPr>
        <p:txBody>
          <a:bodyPr rot="0" spcFirstLastPara="0" vert="horz" wrap="square" lIns="121920" tIns="60960" rIns="121920" bIns="6096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224" kern="1200">
                <a:solidFill>
                  <a:schemeClr val="lt1"/>
                </a:solidFill>
                <a:latin typeface="+mn-lt"/>
                <a:ea typeface="+mn-ea"/>
                <a:cs typeface="+mn-cs"/>
              </a:defRPr>
            </a:lvl1pPr>
            <a:lvl2pPr marL="349849" algn="l" rtl="0" fontAlgn="base">
              <a:spcBef>
                <a:spcPct val="0"/>
              </a:spcBef>
              <a:spcAft>
                <a:spcPct val="0"/>
              </a:spcAft>
              <a:defRPr sz="1224" kern="1200">
                <a:solidFill>
                  <a:schemeClr val="lt1"/>
                </a:solidFill>
                <a:latin typeface="+mn-lt"/>
                <a:ea typeface="+mn-ea"/>
                <a:cs typeface="+mn-cs"/>
              </a:defRPr>
            </a:lvl2pPr>
            <a:lvl3pPr marL="699699" algn="l" rtl="0" fontAlgn="base">
              <a:spcBef>
                <a:spcPct val="0"/>
              </a:spcBef>
              <a:spcAft>
                <a:spcPct val="0"/>
              </a:spcAft>
              <a:defRPr sz="1224" kern="1200">
                <a:solidFill>
                  <a:schemeClr val="lt1"/>
                </a:solidFill>
                <a:latin typeface="+mn-lt"/>
                <a:ea typeface="+mn-ea"/>
                <a:cs typeface="+mn-cs"/>
              </a:defRPr>
            </a:lvl3pPr>
            <a:lvl4pPr marL="1049548" algn="l" rtl="0" fontAlgn="base">
              <a:spcBef>
                <a:spcPct val="0"/>
              </a:spcBef>
              <a:spcAft>
                <a:spcPct val="0"/>
              </a:spcAft>
              <a:defRPr sz="1224" kern="1200">
                <a:solidFill>
                  <a:schemeClr val="lt1"/>
                </a:solidFill>
                <a:latin typeface="+mn-lt"/>
                <a:ea typeface="+mn-ea"/>
                <a:cs typeface="+mn-cs"/>
              </a:defRPr>
            </a:lvl4pPr>
            <a:lvl5pPr marL="1399398" algn="l" rtl="0" fontAlgn="base">
              <a:spcBef>
                <a:spcPct val="0"/>
              </a:spcBef>
              <a:spcAft>
                <a:spcPct val="0"/>
              </a:spcAft>
              <a:defRPr sz="1224" kern="1200">
                <a:solidFill>
                  <a:schemeClr val="lt1"/>
                </a:solidFill>
                <a:latin typeface="+mn-lt"/>
                <a:ea typeface="+mn-ea"/>
                <a:cs typeface="+mn-cs"/>
              </a:defRPr>
            </a:lvl5pPr>
            <a:lvl6pPr marL="1749247" algn="l" defTabSz="699699" rtl="0" eaLnBrk="1" latinLnBrk="0" hangingPunct="1">
              <a:defRPr sz="1224" kern="1200">
                <a:solidFill>
                  <a:schemeClr val="lt1"/>
                </a:solidFill>
                <a:latin typeface="+mn-lt"/>
                <a:ea typeface="+mn-ea"/>
                <a:cs typeface="+mn-cs"/>
              </a:defRPr>
            </a:lvl6pPr>
            <a:lvl7pPr marL="2099097" algn="l" defTabSz="699699" rtl="0" eaLnBrk="1" latinLnBrk="0" hangingPunct="1">
              <a:defRPr sz="1224" kern="1200">
                <a:solidFill>
                  <a:schemeClr val="lt1"/>
                </a:solidFill>
                <a:latin typeface="+mn-lt"/>
                <a:ea typeface="+mn-ea"/>
                <a:cs typeface="+mn-cs"/>
              </a:defRPr>
            </a:lvl7pPr>
            <a:lvl8pPr marL="2448946" algn="l" defTabSz="699699" rtl="0" eaLnBrk="1" latinLnBrk="0" hangingPunct="1">
              <a:defRPr sz="1224" kern="1200">
                <a:solidFill>
                  <a:schemeClr val="lt1"/>
                </a:solidFill>
                <a:latin typeface="+mn-lt"/>
                <a:ea typeface="+mn-ea"/>
                <a:cs typeface="+mn-cs"/>
              </a:defRPr>
            </a:lvl8pPr>
            <a:lvl9pPr marL="2798796" algn="l" defTabSz="699699" rtl="0" eaLnBrk="1" latinLnBrk="0" hangingPunct="1">
              <a:defRPr sz="1224" kern="1200">
                <a:solidFill>
                  <a:schemeClr val="lt1"/>
                </a:solidFill>
                <a:latin typeface="+mn-lt"/>
                <a:ea typeface="+mn-ea"/>
                <a:cs typeface="+mn-cs"/>
              </a:defRPr>
            </a:lvl9pPr>
          </a:lstStyle>
          <a:p>
            <a:pPr defTabSz="1219079">
              <a:defRPr/>
            </a:pPr>
            <a:r>
              <a:rPr lang="it-IT" sz="1000" b="1" dirty="0">
                <a:solidFill>
                  <a:srgbClr val="FFFFFF"/>
                </a:solidFill>
                <a:latin typeface="Arial"/>
              </a:rPr>
              <a:t>Supporto al settore pubblico</a:t>
            </a:r>
            <a:endParaRPr lang="it-IT" sz="1000" b="1" i="1" dirty="0">
              <a:solidFill>
                <a:srgbClr val="FFFFFF"/>
              </a:solidFill>
              <a:latin typeface="Arial"/>
            </a:endParaRPr>
          </a:p>
        </p:txBody>
      </p:sp>
      <p:sp>
        <p:nvSpPr>
          <p:cNvPr id="25" name="Rettangolo 24">
            <a:extLst>
              <a:ext uri="{FF2B5EF4-FFF2-40B4-BE49-F238E27FC236}">
                <a16:creationId xmlns:a16="http://schemas.microsoft.com/office/drawing/2014/main" id="{48810F06-2458-4416-AEB1-6B4B583A7A20}"/>
              </a:ext>
            </a:extLst>
          </p:cNvPr>
          <p:cNvSpPr/>
          <p:nvPr/>
        </p:nvSpPr>
        <p:spPr>
          <a:xfrm>
            <a:off x="279707" y="535031"/>
            <a:ext cx="8613470" cy="955518"/>
          </a:xfrm>
          <a:prstGeom prst="rect">
            <a:avLst/>
          </a:prstGeom>
        </p:spPr>
        <p:txBody>
          <a:bodyPr wrap="square">
            <a:spAutoFit/>
          </a:bodyPr>
          <a:lstStyle/>
          <a:p>
            <a:pPr algn="just">
              <a:lnSpc>
                <a:spcPct val="110000"/>
              </a:lnSpc>
              <a:buClr>
                <a:srgbClr val="415064"/>
              </a:buClr>
            </a:pPr>
            <a:r>
              <a:rPr lang="it-IT" sz="1300" dirty="0">
                <a:solidFill>
                  <a:srgbClr val="415064"/>
                </a:solidFill>
              </a:rPr>
              <a:t>Gli interventi di CDP in favore di soggetti pubblici sono costituiti sostanzialmente da finanziamenti </a:t>
            </a:r>
            <a:r>
              <a:rPr lang="it-IT" sz="1300" b="1" dirty="0">
                <a:solidFill>
                  <a:srgbClr val="415064"/>
                </a:solidFill>
              </a:rPr>
              <a:t>di natura concessionale</a:t>
            </a:r>
            <a:r>
              <a:rPr lang="it-IT" sz="1300" dirty="0">
                <a:solidFill>
                  <a:srgbClr val="415064"/>
                </a:solidFill>
              </a:rPr>
              <a:t> a Sovrani o a Istituzioni Multilaterali</a:t>
            </a:r>
          </a:p>
          <a:p>
            <a:pPr algn="just">
              <a:lnSpc>
                <a:spcPct val="110000"/>
              </a:lnSpc>
              <a:buClr>
                <a:srgbClr val="415064"/>
              </a:buClr>
            </a:pPr>
            <a:r>
              <a:rPr lang="it-IT" sz="1300" dirty="0">
                <a:solidFill>
                  <a:srgbClr val="415064"/>
                </a:solidFill>
              </a:rPr>
              <a:t>I finanziamenti concessionali accordati da CDP contengono una componente di aiuto che </a:t>
            </a:r>
            <a:r>
              <a:rPr lang="it-IT" sz="1300" b="1" dirty="0">
                <a:solidFill>
                  <a:srgbClr val="415064"/>
                </a:solidFill>
              </a:rPr>
              <a:t>contribuisce al volume complessivo degli Aiuti Pubblici allo Sviluppo </a:t>
            </a:r>
            <a:r>
              <a:rPr lang="it-IT" sz="1300" dirty="0">
                <a:solidFill>
                  <a:srgbClr val="415064"/>
                </a:solidFill>
              </a:rPr>
              <a:t>(APS) dell'Italia</a:t>
            </a:r>
          </a:p>
        </p:txBody>
      </p:sp>
      <p:sp>
        <p:nvSpPr>
          <p:cNvPr id="32" name="TextBox 149">
            <a:extLst>
              <a:ext uri="{FF2B5EF4-FFF2-40B4-BE49-F238E27FC236}">
                <a16:creationId xmlns:a16="http://schemas.microsoft.com/office/drawing/2014/main" id="{038A6FE2-9FDF-44AA-8A67-F35ED9F746E8}"/>
              </a:ext>
            </a:extLst>
          </p:cNvPr>
          <p:cNvSpPr txBox="1">
            <a:spLocks/>
          </p:cNvSpPr>
          <p:nvPr/>
        </p:nvSpPr>
        <p:spPr>
          <a:xfrm>
            <a:off x="2269686" y="1787129"/>
            <a:ext cx="6623490" cy="30054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342900" lvl="0" indent="-342900" algn="l" defTabSz="895350" eaLnBrk="0" hangingPunct="0">
              <a:buClr>
                <a:schemeClr val="tx2"/>
              </a:buClr>
              <a:defRPr sz="1600">
                <a:solidFill>
                  <a:srgbClr val="17375E"/>
                </a:solidFill>
                <a:latin typeface="+mn-lt"/>
                <a:ea typeface="Verdana" panose="020B0604030504040204" pitchFamily="34" charset="0"/>
                <a:cs typeface="Verdana" panose="020B0604030504040204" pitchFamily="34" charset="0"/>
              </a:defRPr>
            </a:lvl1pPr>
            <a:lvl2pPr marL="193675" indent="-192088" algn="l" defTabSz="895350" eaLnBrk="0" hangingPunct="0">
              <a:buClr>
                <a:schemeClr val="tx2"/>
              </a:buClr>
              <a:buSzPct val="125000"/>
              <a:buFont typeface="Arial" pitchFamily="34" charset="0"/>
              <a:buChar char="▪"/>
              <a:defRPr sz="1600">
                <a:solidFill>
                  <a:srgbClr val="17375E"/>
                </a:solidFill>
                <a:latin typeface="+mn-lt"/>
              </a:defRPr>
            </a:lvl2pPr>
            <a:lvl3pPr marL="457200" indent="-261938" algn="l" defTabSz="895350" eaLnBrk="0" hangingPunct="0">
              <a:buClr>
                <a:schemeClr val="tx2"/>
              </a:buClr>
              <a:buSzPct val="120000"/>
              <a:buFont typeface="Arial" pitchFamily="34" charset="0"/>
              <a:buChar char="–"/>
              <a:defRPr sz="1600">
                <a:solidFill>
                  <a:srgbClr val="17375E"/>
                </a:solidFill>
                <a:latin typeface="+mn-lt"/>
              </a:defRPr>
            </a:lvl3pPr>
            <a:lvl4pPr marL="614363" indent="-155575" algn="l" defTabSz="895350" eaLnBrk="0" hangingPunct="0">
              <a:buClr>
                <a:schemeClr val="tx2"/>
              </a:buClr>
              <a:buSzPct val="120000"/>
              <a:buFont typeface="Arial" pitchFamily="34" charset="0"/>
              <a:buChar char="▫"/>
              <a:defRPr sz="1600">
                <a:solidFill>
                  <a:srgbClr val="17375E"/>
                </a:solidFill>
                <a:latin typeface="+mn-lt"/>
              </a:defRPr>
            </a:lvl4pPr>
            <a:lvl5pPr marL="746125" indent="-130175" algn="l" defTabSz="895350" eaLnBrk="0" hangingPunct="0">
              <a:buClr>
                <a:schemeClr val="tx2"/>
              </a:buClr>
              <a:buSzPct val="89000"/>
              <a:buFont typeface="Arial" pitchFamily="34" charset="0"/>
              <a:buChar char="-"/>
              <a:defRPr sz="1600">
                <a:solidFill>
                  <a:srgbClr val="17375E"/>
                </a:solidFill>
                <a:latin typeface="+mn-lt"/>
              </a:defRPr>
            </a:lvl5pPr>
            <a:lvl6pPr marL="1203325" indent="-130175" defTabSz="895350" fontAlgn="base">
              <a:spcBef>
                <a:spcPct val="0"/>
              </a:spcBef>
              <a:spcAft>
                <a:spcPct val="0"/>
              </a:spcAft>
              <a:buClr>
                <a:schemeClr val="tx2"/>
              </a:buClr>
              <a:buSzPct val="89000"/>
              <a:buFont typeface="Arial" charset="0"/>
              <a:buChar char="-"/>
              <a:defRPr sz="1600">
                <a:solidFill>
                  <a:srgbClr val="17375E"/>
                </a:solidFill>
                <a:latin typeface="+mn-lt"/>
              </a:defRPr>
            </a:lvl6pPr>
            <a:lvl7pPr marL="1660525" indent="-130175" defTabSz="895350" fontAlgn="base">
              <a:spcBef>
                <a:spcPct val="0"/>
              </a:spcBef>
              <a:spcAft>
                <a:spcPct val="0"/>
              </a:spcAft>
              <a:buClr>
                <a:schemeClr val="tx2"/>
              </a:buClr>
              <a:buSzPct val="89000"/>
              <a:buFont typeface="Arial" charset="0"/>
              <a:buChar char="-"/>
              <a:defRPr sz="1600">
                <a:solidFill>
                  <a:srgbClr val="17375E"/>
                </a:solidFill>
                <a:latin typeface="+mn-lt"/>
              </a:defRPr>
            </a:lvl7pPr>
            <a:lvl8pPr marL="2117725" indent="-130175" defTabSz="895350" fontAlgn="base">
              <a:spcBef>
                <a:spcPct val="0"/>
              </a:spcBef>
              <a:spcAft>
                <a:spcPct val="0"/>
              </a:spcAft>
              <a:buClr>
                <a:schemeClr val="tx2"/>
              </a:buClr>
              <a:buSzPct val="89000"/>
              <a:buFont typeface="Arial" charset="0"/>
              <a:buChar char="-"/>
              <a:defRPr sz="1600">
                <a:solidFill>
                  <a:srgbClr val="17375E"/>
                </a:solidFill>
                <a:latin typeface="+mn-lt"/>
              </a:defRPr>
            </a:lvl8pPr>
            <a:lvl9pPr marL="2574925" indent="-130175" defTabSz="895350" fontAlgn="base">
              <a:spcBef>
                <a:spcPct val="0"/>
              </a:spcBef>
              <a:spcAft>
                <a:spcPct val="0"/>
              </a:spcAft>
              <a:buClr>
                <a:schemeClr val="tx2"/>
              </a:buClr>
              <a:buSzPct val="89000"/>
              <a:buFont typeface="Arial" charset="0"/>
              <a:buChar char="-"/>
              <a:defRPr sz="1600">
                <a:solidFill>
                  <a:srgbClr val="17375E"/>
                </a:solidFill>
                <a:latin typeface="+mn-lt"/>
              </a:defRPr>
            </a:lvl9pPr>
          </a:lstStyle>
          <a:p>
            <a:pPr marL="182563" indent="-182563" algn="just">
              <a:lnSpc>
                <a:spcPct val="110000"/>
              </a:lnSpc>
              <a:spcAft>
                <a:spcPts val="600"/>
              </a:spcAft>
              <a:buClr>
                <a:srgbClr val="415064"/>
              </a:buClr>
              <a:buFont typeface="Arial" panose="020B0604020202020204" pitchFamily="34" charset="0"/>
              <a:buChar char="•"/>
            </a:pPr>
            <a:r>
              <a:rPr lang="it-IT" sz="1300" dirty="0">
                <a:solidFill>
                  <a:srgbClr val="415064"/>
                </a:solidFill>
              </a:rPr>
              <a:t>Incrementare</a:t>
            </a:r>
            <a:r>
              <a:rPr lang="it-IT" sz="1300" b="1" dirty="0">
                <a:solidFill>
                  <a:srgbClr val="415064"/>
                </a:solidFill>
              </a:rPr>
              <a:t> l</a:t>
            </a:r>
            <a:r>
              <a:rPr lang="it-IT" sz="1300" dirty="0">
                <a:solidFill>
                  <a:srgbClr val="415064"/>
                </a:solidFill>
              </a:rPr>
              <a:t>’</a:t>
            </a:r>
            <a:r>
              <a:rPr lang="it-IT" sz="1300" b="1" dirty="0">
                <a:solidFill>
                  <a:srgbClr val="415064"/>
                </a:solidFill>
              </a:rPr>
              <a:t>APS dell'Italia</a:t>
            </a:r>
            <a:r>
              <a:rPr lang="it-IT" sz="1300" dirty="0">
                <a:solidFill>
                  <a:srgbClr val="415064"/>
                </a:solidFill>
              </a:rPr>
              <a:t> sfruttando modalità efficienti di impiego delle risorse disponibili (</a:t>
            </a:r>
            <a:r>
              <a:rPr lang="it-IT" sz="1300" i="1" dirty="0">
                <a:solidFill>
                  <a:srgbClr val="415064"/>
                </a:solidFill>
              </a:rPr>
              <a:t>blending</a:t>
            </a:r>
            <a:r>
              <a:rPr lang="it-IT" sz="1300" dirty="0">
                <a:solidFill>
                  <a:srgbClr val="415064"/>
                </a:solidFill>
              </a:rPr>
              <a:t> finanziario)</a:t>
            </a:r>
            <a:endParaRPr lang="it-IT" sz="1300" b="1" dirty="0">
              <a:solidFill>
                <a:srgbClr val="415064"/>
              </a:solidFill>
            </a:endParaRPr>
          </a:p>
          <a:p>
            <a:pPr marL="182563" indent="-182563" algn="just">
              <a:lnSpc>
                <a:spcPct val="110000"/>
              </a:lnSpc>
              <a:spcAft>
                <a:spcPts val="600"/>
              </a:spcAft>
              <a:buClr>
                <a:srgbClr val="415064"/>
              </a:buClr>
              <a:buFont typeface="Arial" panose="020B0604020202020204" pitchFamily="34" charset="0"/>
              <a:buChar char="•"/>
            </a:pPr>
            <a:r>
              <a:rPr lang="it-IT" sz="1300" dirty="0">
                <a:solidFill>
                  <a:srgbClr val="415364"/>
                </a:solidFill>
                <a:ea typeface="Calibri" panose="020F0502020204030204" pitchFamily="34" charset="0"/>
                <a:cs typeface="Times New Roman" panose="02020603050405020304" pitchFamily="18" charset="0"/>
              </a:rPr>
              <a:t>Contribuire all'individuazione di </a:t>
            </a:r>
            <a:r>
              <a:rPr lang="it-IT" sz="1300" b="1" dirty="0">
                <a:solidFill>
                  <a:srgbClr val="415364"/>
                </a:solidFill>
                <a:ea typeface="Calibri" panose="020F0502020204030204" pitchFamily="34" charset="0"/>
                <a:cs typeface="Times New Roman" panose="02020603050405020304" pitchFamily="18" charset="0"/>
              </a:rPr>
              <a:t>progetti ad elevato impatto economico, sociale e ambientale</a:t>
            </a:r>
            <a:r>
              <a:rPr lang="it-IT" sz="1300" dirty="0">
                <a:solidFill>
                  <a:srgbClr val="415364"/>
                </a:solidFill>
                <a:ea typeface="Calibri" panose="020F0502020204030204" pitchFamily="34" charset="0"/>
                <a:cs typeface="Times New Roman" panose="02020603050405020304" pitchFamily="18" charset="0"/>
              </a:rPr>
              <a:t>, anche attraverso la valorizzazione delle competenze italiane in settori di eccellenza (ad es. agroalimentare, energia, manifatturiero)</a:t>
            </a:r>
          </a:p>
          <a:p>
            <a:pPr marL="182563" indent="-182563" algn="just">
              <a:lnSpc>
                <a:spcPct val="110000"/>
              </a:lnSpc>
              <a:spcAft>
                <a:spcPts val="600"/>
              </a:spcAft>
              <a:buClr>
                <a:srgbClr val="415064"/>
              </a:buClr>
              <a:buFont typeface="Arial" panose="020B0604020202020204" pitchFamily="34" charset="0"/>
              <a:buChar char="•"/>
            </a:pPr>
            <a:r>
              <a:rPr lang="it-IT" sz="1300" dirty="0">
                <a:solidFill>
                  <a:srgbClr val="415364"/>
                </a:solidFill>
              </a:rPr>
              <a:t>Supportare finanziariamente i </a:t>
            </a:r>
            <a:r>
              <a:rPr lang="it-IT" sz="1300" b="1" dirty="0">
                <a:solidFill>
                  <a:srgbClr val="415364"/>
                </a:solidFill>
              </a:rPr>
              <a:t>PVS con una rilevante valenza strategica per il Paese</a:t>
            </a:r>
          </a:p>
          <a:p>
            <a:pPr marL="182563" indent="-182563" algn="just">
              <a:lnSpc>
                <a:spcPct val="110000"/>
              </a:lnSpc>
              <a:spcAft>
                <a:spcPts val="600"/>
              </a:spcAft>
              <a:buClr>
                <a:srgbClr val="415064"/>
              </a:buClr>
              <a:buFont typeface="Arial" panose="020B0604020202020204" pitchFamily="34" charset="0"/>
              <a:buChar char="•"/>
            </a:pPr>
            <a:r>
              <a:rPr lang="it-IT" sz="1300" dirty="0">
                <a:solidFill>
                  <a:srgbClr val="415064"/>
                </a:solidFill>
              </a:rPr>
              <a:t>Contribuire al sostegno finanziario che </a:t>
            </a:r>
            <a:r>
              <a:rPr lang="it-IT" sz="1300" b="1" dirty="0">
                <a:solidFill>
                  <a:srgbClr val="415064"/>
                </a:solidFill>
              </a:rPr>
              <a:t>l'Italia si è impegnata </a:t>
            </a:r>
            <a:r>
              <a:rPr lang="it-IT" sz="1300" dirty="0">
                <a:solidFill>
                  <a:srgbClr val="415064"/>
                </a:solidFill>
              </a:rPr>
              <a:t>a fornire in favore delle </a:t>
            </a:r>
            <a:r>
              <a:rPr lang="it-IT" sz="1300" b="1" dirty="0">
                <a:solidFill>
                  <a:srgbClr val="415064"/>
                </a:solidFill>
              </a:rPr>
              <a:t>Istituzioni multilaterali</a:t>
            </a:r>
            <a:r>
              <a:rPr lang="it-IT" sz="1300" dirty="0">
                <a:solidFill>
                  <a:srgbClr val="415064"/>
                </a:solidFill>
              </a:rPr>
              <a:t> </a:t>
            </a:r>
          </a:p>
          <a:p>
            <a:pPr marL="182563" indent="-182563" algn="just">
              <a:lnSpc>
                <a:spcPct val="110000"/>
              </a:lnSpc>
              <a:spcAft>
                <a:spcPts val="600"/>
              </a:spcAft>
              <a:buClr>
                <a:srgbClr val="415064"/>
              </a:buClr>
              <a:buFont typeface="Arial" panose="020B0604020202020204" pitchFamily="34" charset="0"/>
              <a:buChar char="•"/>
            </a:pPr>
            <a:r>
              <a:rPr lang="it-IT" sz="1300" b="1" dirty="0">
                <a:solidFill>
                  <a:srgbClr val="415064"/>
                </a:solidFill>
              </a:rPr>
              <a:t>Supportare, </a:t>
            </a:r>
            <a:r>
              <a:rPr lang="it-IT" sz="1300" dirty="0">
                <a:solidFill>
                  <a:srgbClr val="415064"/>
                </a:solidFill>
              </a:rPr>
              <a:t>attraverso il finanziamento alle Istituzioni multilaterali,</a:t>
            </a:r>
            <a:r>
              <a:rPr lang="it-IT" sz="1300" b="1" dirty="0">
                <a:solidFill>
                  <a:srgbClr val="415064"/>
                </a:solidFill>
              </a:rPr>
              <a:t> progetti di interesse strategico </a:t>
            </a:r>
            <a:r>
              <a:rPr lang="it-IT" sz="1300" dirty="0">
                <a:solidFill>
                  <a:srgbClr val="415064"/>
                </a:solidFill>
              </a:rPr>
              <a:t>e</a:t>
            </a:r>
            <a:r>
              <a:rPr lang="it-IT" sz="1300" b="1" dirty="0">
                <a:solidFill>
                  <a:srgbClr val="415064"/>
                </a:solidFill>
              </a:rPr>
              <a:t> </a:t>
            </a:r>
            <a:r>
              <a:rPr lang="it-IT" sz="1300" dirty="0">
                <a:solidFill>
                  <a:srgbClr val="415064"/>
                </a:solidFill>
              </a:rPr>
              <a:t>rivolti </a:t>
            </a:r>
            <a:r>
              <a:rPr lang="it-IT" sz="1300" b="1" dirty="0">
                <a:solidFill>
                  <a:srgbClr val="415064"/>
                </a:solidFill>
              </a:rPr>
              <a:t>ad aree geografiche di particolare rilievo </a:t>
            </a:r>
            <a:r>
              <a:rPr lang="it-IT" sz="1300" dirty="0">
                <a:solidFill>
                  <a:srgbClr val="415064"/>
                </a:solidFill>
              </a:rPr>
              <a:t>per la politica estera italiana</a:t>
            </a:r>
            <a:endParaRPr lang="it-IT" sz="1300" dirty="0">
              <a:solidFill>
                <a:srgbClr val="415364"/>
              </a:solidFill>
              <a:cs typeface="Times New Roman" panose="02020603050405020304" pitchFamily="18" charset="0"/>
            </a:endParaRPr>
          </a:p>
          <a:p>
            <a:pPr marL="182563" indent="-182563" algn="just">
              <a:spcAft>
                <a:spcPts val="300"/>
              </a:spcAft>
              <a:buClr>
                <a:srgbClr val="415064"/>
              </a:buClr>
              <a:buFont typeface="Arial" panose="020B0604020202020204" pitchFamily="34" charset="0"/>
              <a:buChar char="•"/>
            </a:pPr>
            <a:endParaRPr lang="it-IT" sz="1300" b="1" dirty="0">
              <a:solidFill>
                <a:srgbClr val="415364"/>
              </a:solidFill>
            </a:endParaRPr>
          </a:p>
        </p:txBody>
      </p:sp>
      <p:sp>
        <p:nvSpPr>
          <p:cNvPr id="51" name="Arrow: Pentagon 35">
            <a:extLst>
              <a:ext uri="{FF2B5EF4-FFF2-40B4-BE49-F238E27FC236}">
                <a16:creationId xmlns:a16="http://schemas.microsoft.com/office/drawing/2014/main" id="{0BE0C850-8E1F-4D11-9350-9BD160431B5E}"/>
              </a:ext>
            </a:extLst>
          </p:cNvPr>
          <p:cNvSpPr>
            <a:spLocks/>
          </p:cNvSpPr>
          <p:nvPr/>
        </p:nvSpPr>
        <p:spPr>
          <a:xfrm rot="5400000">
            <a:off x="-84087" y="2521400"/>
            <a:ext cx="3191479" cy="1277378"/>
          </a:xfrm>
          <a:prstGeom prst="homePlate">
            <a:avLst>
              <a:gd name="adj" fmla="val 0"/>
            </a:avLst>
          </a:prstGeom>
          <a:gradFill>
            <a:gsLst>
              <a:gs pos="0">
                <a:schemeClr val="bg1"/>
              </a:gs>
              <a:gs pos="3000">
                <a:srgbClr val="D9D9D9">
                  <a:lumMod val="45000"/>
                  <a:lumOff val="55000"/>
                </a:srgbClr>
              </a:gs>
              <a:gs pos="100000">
                <a:srgbClr val="D9D9D9">
                  <a:lumMod val="45000"/>
                  <a:lumOff val="55000"/>
                </a:srgbClr>
              </a:gs>
              <a:gs pos="100000">
                <a:schemeClr val="bg1">
                  <a:lumMod val="90000"/>
                </a:schemeClr>
              </a:gs>
            </a:gsLst>
            <a:lin ang="0" scaled="1"/>
          </a:gradFill>
          <a:ln w="9525" cap="flat" cmpd="sng" algn="ctr">
            <a:gradFill flip="none" rotWithShape="1">
              <a:gsLst>
                <a:gs pos="0">
                  <a:srgbClr val="D9D9D9">
                    <a:lumMod val="5000"/>
                    <a:lumOff val="95000"/>
                  </a:srgbClr>
                </a:gs>
                <a:gs pos="74000">
                  <a:srgbClr val="D9D9D9">
                    <a:lumMod val="45000"/>
                    <a:lumOff val="55000"/>
                  </a:srgbClr>
                </a:gs>
                <a:gs pos="83000">
                  <a:srgbClr val="D9D9D9">
                    <a:lumMod val="45000"/>
                    <a:lumOff val="55000"/>
                  </a:srgbClr>
                </a:gs>
                <a:gs pos="100000">
                  <a:srgbClr val="D9D9D9">
                    <a:lumMod val="30000"/>
                    <a:lumOff val="70000"/>
                  </a:srgbClr>
                </a:gs>
              </a:gsLst>
              <a:lin ang="0" scaled="1"/>
              <a:tileRect/>
            </a:gradFill>
            <a:prstDash val="solid"/>
          </a:ln>
          <a:effectLst/>
        </p:spPr>
        <p:txBody>
          <a:bodyPr rtlCol="0" anchor="ctr">
            <a:noAutofit/>
          </a:bodyPr>
          <a:lstStyle/>
          <a:p>
            <a:pPr algn="ctr" defTabSz="685800" fontAlgn="auto">
              <a:spcBef>
                <a:spcPts val="0"/>
              </a:spcBef>
              <a:spcAft>
                <a:spcPts val="0"/>
              </a:spcAft>
              <a:defRPr/>
            </a:pPr>
            <a:endParaRPr lang="it-IT" sz="1050" kern="0" dirty="0" err="1">
              <a:solidFill>
                <a:srgbClr val="000000"/>
              </a:solidFill>
              <a:latin typeface="Arial"/>
            </a:endParaRPr>
          </a:p>
        </p:txBody>
      </p:sp>
      <p:sp>
        <p:nvSpPr>
          <p:cNvPr id="52" name="CasellaDiTesto 1">
            <a:extLst>
              <a:ext uri="{FF2B5EF4-FFF2-40B4-BE49-F238E27FC236}">
                <a16:creationId xmlns:a16="http://schemas.microsoft.com/office/drawing/2014/main" id="{98378F48-8319-46A3-AA68-EE3B9F224BFC}"/>
              </a:ext>
            </a:extLst>
          </p:cNvPr>
          <p:cNvSpPr txBox="1">
            <a:spLocks/>
          </p:cNvSpPr>
          <p:nvPr>
            <p:custDataLst>
              <p:tags r:id="rId1"/>
            </p:custDataLst>
          </p:nvPr>
        </p:nvSpPr>
        <p:spPr bwMode="gray">
          <a:xfrm>
            <a:off x="250824" y="1867099"/>
            <a:ext cx="1462039" cy="2607574"/>
          </a:xfrm>
          <a:prstGeom prst="rect">
            <a:avLst/>
          </a:prstGeom>
          <a:solidFill>
            <a:srgbClr val="4153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marL="0" marR="0" lvl="0" indent="0" algn="ctr" defTabSz="914400" eaLnBrk="1" latinLnBrk="0" hangingPunct="1">
              <a:lnSpc>
                <a:spcPct val="100000"/>
              </a:lnSpc>
              <a:buClrTx/>
              <a:buSzTx/>
              <a:buFontTx/>
              <a:buNone/>
              <a:tabLst/>
              <a:defRPr kumimoji="0" sz="1700" b="1" i="0" u="none" strike="noStrike" cap="none" spc="0" normalizeH="0" baseline="0">
                <a:ln>
                  <a:noFill/>
                </a:ln>
                <a:solidFill>
                  <a:srgbClr val="FFFFFF"/>
                </a:solidFill>
                <a:effectLst/>
                <a:uLnTx/>
                <a:uFillTx/>
                <a:latin typeface="Aria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nSpc>
                <a:spcPct val="110000"/>
              </a:lnSpc>
            </a:pPr>
            <a:r>
              <a:rPr lang="it-IT" sz="1400" dirty="0"/>
              <a:t>Obiettivi del supporto al settore pubblico</a:t>
            </a:r>
          </a:p>
        </p:txBody>
      </p:sp>
      <p:grpSp>
        <p:nvGrpSpPr>
          <p:cNvPr id="53" name="Gruppo 52">
            <a:extLst>
              <a:ext uri="{FF2B5EF4-FFF2-40B4-BE49-F238E27FC236}">
                <a16:creationId xmlns:a16="http://schemas.microsoft.com/office/drawing/2014/main" id="{7E7DEE10-DDC5-401D-BC77-20B793C93E39}"/>
              </a:ext>
            </a:extLst>
          </p:cNvPr>
          <p:cNvGrpSpPr>
            <a:grpSpLocks noChangeAspect="1"/>
          </p:cNvGrpSpPr>
          <p:nvPr/>
        </p:nvGrpSpPr>
        <p:grpSpPr>
          <a:xfrm>
            <a:off x="1778866" y="2873816"/>
            <a:ext cx="287549" cy="324000"/>
            <a:chOff x="1816540" y="3028242"/>
            <a:chExt cx="287550" cy="324000"/>
          </a:xfrm>
          <a:solidFill>
            <a:srgbClr val="415364"/>
          </a:solidFill>
        </p:grpSpPr>
        <p:sp>
          <p:nvSpPr>
            <p:cNvPr id="54" name="Chevron1">
              <a:extLst>
                <a:ext uri="{FF2B5EF4-FFF2-40B4-BE49-F238E27FC236}">
                  <a16:creationId xmlns:a16="http://schemas.microsoft.com/office/drawing/2014/main" id="{479F2107-A4EE-45A2-8490-B8E87DA4986A}"/>
                </a:ext>
              </a:extLst>
            </p:cNvPr>
            <p:cNvSpPr>
              <a:spLocks noChangeAspect="1"/>
            </p:cNvSpPr>
            <p:nvPr/>
          </p:nvSpPr>
          <p:spPr>
            <a:xfrm>
              <a:off x="1816540" y="3060642"/>
              <a:ext cx="152280" cy="2592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rgbClr val="86868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dirty="0" err="1">
                <a:solidFill>
                  <a:srgbClr val="003F81"/>
                </a:solidFill>
                <a:latin typeface="Arial"/>
              </a:endParaRPr>
            </a:p>
          </p:txBody>
        </p:sp>
        <p:sp>
          <p:nvSpPr>
            <p:cNvPr id="55" name="Chevron2">
              <a:extLst>
                <a:ext uri="{FF2B5EF4-FFF2-40B4-BE49-F238E27FC236}">
                  <a16:creationId xmlns:a16="http://schemas.microsoft.com/office/drawing/2014/main" id="{A2B1F2C3-B24A-4211-80C3-F57E675A47D5}"/>
                </a:ext>
              </a:extLst>
            </p:cNvPr>
            <p:cNvSpPr>
              <a:spLocks noChangeAspect="1"/>
            </p:cNvSpPr>
            <p:nvPr/>
          </p:nvSpPr>
          <p:spPr>
            <a:xfrm>
              <a:off x="1913740" y="3028242"/>
              <a:ext cx="190350" cy="324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dirty="0" err="1">
                <a:solidFill>
                  <a:srgbClr val="003F81"/>
                </a:solidFill>
                <a:latin typeface="Arial"/>
              </a:endParaRPr>
            </a:p>
          </p:txBody>
        </p:sp>
      </p:grpSp>
    </p:spTree>
    <p:extLst>
      <p:ext uri="{BB962C8B-B14F-4D97-AF65-F5344CB8AC3E}">
        <p14:creationId xmlns:p14="http://schemas.microsoft.com/office/powerpoint/2010/main" val="19654940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81ECFAAD-76ED-429A-857A-0B8034FD6880}"/>
              </a:ext>
            </a:extLst>
          </p:cNvPr>
          <p:cNvSpPr>
            <a:spLocks noGrp="1"/>
          </p:cNvSpPr>
          <p:nvPr>
            <p:ph type="body" idx="13"/>
          </p:nvPr>
        </p:nvSpPr>
        <p:spPr>
          <a:xfrm>
            <a:off x="250824" y="268288"/>
            <a:ext cx="8629941" cy="287337"/>
          </a:xfrm>
        </p:spPr>
        <p:txBody>
          <a:bodyPr/>
          <a:lstStyle/>
          <a:p>
            <a:r>
              <a:rPr lang="it-IT" dirty="0"/>
              <a:t>CDP interviene sia attraverso fondi pubblici sia attraverso il </a:t>
            </a:r>
            <a:r>
              <a:rPr lang="it-IT" i="1" dirty="0"/>
              <a:t>blending</a:t>
            </a:r>
            <a:r>
              <a:rPr lang="it-IT" dirty="0"/>
              <a:t> di risorse proprie e risorse pubbliche </a:t>
            </a:r>
          </a:p>
        </p:txBody>
      </p:sp>
      <p:sp>
        <p:nvSpPr>
          <p:cNvPr id="4" name="Segnaposto numero diapositiva 3">
            <a:extLst>
              <a:ext uri="{FF2B5EF4-FFF2-40B4-BE49-F238E27FC236}">
                <a16:creationId xmlns:a16="http://schemas.microsoft.com/office/drawing/2014/main" id="{09B2B456-7FB8-43C6-A58F-07B342AD72F2}"/>
              </a:ext>
            </a:extLst>
          </p:cNvPr>
          <p:cNvSpPr>
            <a:spLocks noGrp="1"/>
          </p:cNvSpPr>
          <p:nvPr>
            <p:ph type="sldNum" sz="quarter" idx="12"/>
          </p:nvPr>
        </p:nvSpPr>
        <p:spPr/>
        <p:txBody>
          <a:bodyPr/>
          <a:lstStyle/>
          <a:p>
            <a:fld id="{608DA0FE-9C19-F746-8419-6700E348BF78}" type="slidenum">
              <a:rPr lang="it-IT" smtClean="0"/>
              <a:pPr/>
              <a:t>19</a:t>
            </a:fld>
            <a:endParaRPr lang="it-IT" dirty="0"/>
          </a:p>
        </p:txBody>
      </p:sp>
      <p:sp>
        <p:nvSpPr>
          <p:cNvPr id="12" name="Rectangle 2">
            <a:extLst>
              <a:ext uri="{FF2B5EF4-FFF2-40B4-BE49-F238E27FC236}">
                <a16:creationId xmlns:a16="http://schemas.microsoft.com/office/drawing/2014/main" id="{2B575E3C-D61C-4543-B7F3-0BA6AF61AEC3}"/>
              </a:ext>
            </a:extLst>
          </p:cNvPr>
          <p:cNvSpPr>
            <a:spLocks/>
          </p:cNvSpPr>
          <p:nvPr/>
        </p:nvSpPr>
        <p:spPr>
          <a:xfrm>
            <a:off x="1" y="3"/>
            <a:ext cx="9143999" cy="163396"/>
          </a:xfrm>
          <a:prstGeom prst="rect">
            <a:avLst/>
          </a:prstGeom>
          <a:solidFill>
            <a:srgbClr val="415064"/>
          </a:solidFill>
          <a:ln w="9525" cap="flat" cmpd="sng" algn="ctr">
            <a:noFill/>
            <a:prstDash val="solid"/>
          </a:ln>
          <a:effectLst/>
        </p:spPr>
        <p:txBody>
          <a:bodyPr rot="0" spcFirstLastPara="0" vert="horz" wrap="square" lIns="121920" tIns="60960" rIns="121920" bIns="6096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224" kern="1200">
                <a:solidFill>
                  <a:schemeClr val="lt1"/>
                </a:solidFill>
                <a:latin typeface="+mn-lt"/>
                <a:ea typeface="+mn-ea"/>
                <a:cs typeface="+mn-cs"/>
              </a:defRPr>
            </a:lvl1pPr>
            <a:lvl2pPr marL="349849" algn="l" rtl="0" fontAlgn="base">
              <a:spcBef>
                <a:spcPct val="0"/>
              </a:spcBef>
              <a:spcAft>
                <a:spcPct val="0"/>
              </a:spcAft>
              <a:defRPr sz="1224" kern="1200">
                <a:solidFill>
                  <a:schemeClr val="lt1"/>
                </a:solidFill>
                <a:latin typeface="+mn-lt"/>
                <a:ea typeface="+mn-ea"/>
                <a:cs typeface="+mn-cs"/>
              </a:defRPr>
            </a:lvl2pPr>
            <a:lvl3pPr marL="699699" algn="l" rtl="0" fontAlgn="base">
              <a:spcBef>
                <a:spcPct val="0"/>
              </a:spcBef>
              <a:spcAft>
                <a:spcPct val="0"/>
              </a:spcAft>
              <a:defRPr sz="1224" kern="1200">
                <a:solidFill>
                  <a:schemeClr val="lt1"/>
                </a:solidFill>
                <a:latin typeface="+mn-lt"/>
                <a:ea typeface="+mn-ea"/>
                <a:cs typeface="+mn-cs"/>
              </a:defRPr>
            </a:lvl3pPr>
            <a:lvl4pPr marL="1049548" algn="l" rtl="0" fontAlgn="base">
              <a:spcBef>
                <a:spcPct val="0"/>
              </a:spcBef>
              <a:spcAft>
                <a:spcPct val="0"/>
              </a:spcAft>
              <a:defRPr sz="1224" kern="1200">
                <a:solidFill>
                  <a:schemeClr val="lt1"/>
                </a:solidFill>
                <a:latin typeface="+mn-lt"/>
                <a:ea typeface="+mn-ea"/>
                <a:cs typeface="+mn-cs"/>
              </a:defRPr>
            </a:lvl4pPr>
            <a:lvl5pPr marL="1399398" algn="l" rtl="0" fontAlgn="base">
              <a:spcBef>
                <a:spcPct val="0"/>
              </a:spcBef>
              <a:spcAft>
                <a:spcPct val="0"/>
              </a:spcAft>
              <a:defRPr sz="1224" kern="1200">
                <a:solidFill>
                  <a:schemeClr val="lt1"/>
                </a:solidFill>
                <a:latin typeface="+mn-lt"/>
                <a:ea typeface="+mn-ea"/>
                <a:cs typeface="+mn-cs"/>
              </a:defRPr>
            </a:lvl5pPr>
            <a:lvl6pPr marL="1749247" algn="l" defTabSz="699699" rtl="0" eaLnBrk="1" latinLnBrk="0" hangingPunct="1">
              <a:defRPr sz="1224" kern="1200">
                <a:solidFill>
                  <a:schemeClr val="lt1"/>
                </a:solidFill>
                <a:latin typeface="+mn-lt"/>
                <a:ea typeface="+mn-ea"/>
                <a:cs typeface="+mn-cs"/>
              </a:defRPr>
            </a:lvl6pPr>
            <a:lvl7pPr marL="2099097" algn="l" defTabSz="699699" rtl="0" eaLnBrk="1" latinLnBrk="0" hangingPunct="1">
              <a:defRPr sz="1224" kern="1200">
                <a:solidFill>
                  <a:schemeClr val="lt1"/>
                </a:solidFill>
                <a:latin typeface="+mn-lt"/>
                <a:ea typeface="+mn-ea"/>
                <a:cs typeface="+mn-cs"/>
              </a:defRPr>
            </a:lvl7pPr>
            <a:lvl8pPr marL="2448946" algn="l" defTabSz="699699" rtl="0" eaLnBrk="1" latinLnBrk="0" hangingPunct="1">
              <a:defRPr sz="1224" kern="1200">
                <a:solidFill>
                  <a:schemeClr val="lt1"/>
                </a:solidFill>
                <a:latin typeface="+mn-lt"/>
                <a:ea typeface="+mn-ea"/>
                <a:cs typeface="+mn-cs"/>
              </a:defRPr>
            </a:lvl8pPr>
            <a:lvl9pPr marL="2798796" algn="l" defTabSz="699699" rtl="0" eaLnBrk="1" latinLnBrk="0" hangingPunct="1">
              <a:defRPr sz="1224" kern="1200">
                <a:solidFill>
                  <a:schemeClr val="lt1"/>
                </a:solidFill>
                <a:latin typeface="+mn-lt"/>
                <a:ea typeface="+mn-ea"/>
                <a:cs typeface="+mn-cs"/>
              </a:defRPr>
            </a:lvl9pPr>
          </a:lstStyle>
          <a:p>
            <a:pPr defTabSz="1219079">
              <a:defRPr/>
            </a:pPr>
            <a:r>
              <a:rPr lang="it-IT" sz="1000" b="1" dirty="0">
                <a:solidFill>
                  <a:srgbClr val="FFFFFF"/>
                </a:solidFill>
                <a:latin typeface="Arial"/>
              </a:rPr>
              <a:t>Supporto al settore pubblico</a:t>
            </a:r>
            <a:endParaRPr lang="it-IT" sz="1000" b="1" i="1" dirty="0">
              <a:solidFill>
                <a:srgbClr val="FFFFFF"/>
              </a:solidFill>
              <a:latin typeface="Arial"/>
            </a:endParaRPr>
          </a:p>
        </p:txBody>
      </p:sp>
      <p:cxnSp>
        <p:nvCxnSpPr>
          <p:cNvPr id="13" name="Connettore diritto 74">
            <a:extLst>
              <a:ext uri="{FF2B5EF4-FFF2-40B4-BE49-F238E27FC236}">
                <a16:creationId xmlns:a16="http://schemas.microsoft.com/office/drawing/2014/main" id="{4692B268-4C88-41DB-925F-3AD22541B58C}"/>
              </a:ext>
            </a:extLst>
          </p:cNvPr>
          <p:cNvCxnSpPr>
            <a:cxnSpLocks/>
          </p:cNvCxnSpPr>
          <p:nvPr/>
        </p:nvCxnSpPr>
        <p:spPr>
          <a:xfrm flipH="1">
            <a:off x="1296705" y="2882831"/>
            <a:ext cx="7538092" cy="0"/>
          </a:xfrm>
          <a:prstGeom prst="line">
            <a:avLst/>
          </a:prstGeom>
          <a:noFill/>
          <a:ln w="12700" cap="flat" cmpd="sng" algn="ctr">
            <a:solidFill>
              <a:schemeClr val="accent3">
                <a:lumMod val="20000"/>
                <a:lumOff val="80000"/>
              </a:schemeClr>
            </a:solidFill>
            <a:prstDash val="sysDash"/>
          </a:ln>
          <a:effectLst/>
        </p:spPr>
      </p:cxnSp>
      <p:sp>
        <p:nvSpPr>
          <p:cNvPr id="14" name="Arrow: Pentagon 35">
            <a:extLst>
              <a:ext uri="{FF2B5EF4-FFF2-40B4-BE49-F238E27FC236}">
                <a16:creationId xmlns:a16="http://schemas.microsoft.com/office/drawing/2014/main" id="{AE848B07-A5AC-49A4-B7BD-65BF3E379DC2}"/>
              </a:ext>
            </a:extLst>
          </p:cNvPr>
          <p:cNvSpPr>
            <a:spLocks/>
          </p:cNvSpPr>
          <p:nvPr/>
        </p:nvSpPr>
        <p:spPr>
          <a:xfrm rot="5400000">
            <a:off x="-171547" y="2354020"/>
            <a:ext cx="3366400" cy="1277378"/>
          </a:xfrm>
          <a:prstGeom prst="homePlate">
            <a:avLst>
              <a:gd name="adj" fmla="val 0"/>
            </a:avLst>
          </a:prstGeom>
          <a:gradFill>
            <a:gsLst>
              <a:gs pos="0">
                <a:schemeClr val="bg1"/>
              </a:gs>
              <a:gs pos="3000">
                <a:srgbClr val="D9D9D9">
                  <a:lumMod val="45000"/>
                  <a:lumOff val="55000"/>
                </a:srgbClr>
              </a:gs>
              <a:gs pos="100000">
                <a:srgbClr val="D9D9D9">
                  <a:lumMod val="45000"/>
                  <a:lumOff val="55000"/>
                </a:srgbClr>
              </a:gs>
              <a:gs pos="100000">
                <a:schemeClr val="bg1">
                  <a:lumMod val="90000"/>
                </a:schemeClr>
              </a:gs>
            </a:gsLst>
            <a:lin ang="0" scaled="1"/>
          </a:gradFill>
          <a:ln w="9525" cap="flat" cmpd="sng" algn="ctr">
            <a:gradFill flip="none" rotWithShape="1">
              <a:gsLst>
                <a:gs pos="0">
                  <a:srgbClr val="D9D9D9">
                    <a:lumMod val="5000"/>
                    <a:lumOff val="95000"/>
                  </a:srgbClr>
                </a:gs>
                <a:gs pos="74000">
                  <a:srgbClr val="D9D9D9">
                    <a:lumMod val="45000"/>
                    <a:lumOff val="55000"/>
                  </a:srgbClr>
                </a:gs>
                <a:gs pos="83000">
                  <a:srgbClr val="D9D9D9">
                    <a:lumMod val="45000"/>
                    <a:lumOff val="55000"/>
                  </a:srgbClr>
                </a:gs>
                <a:gs pos="100000">
                  <a:srgbClr val="D9D9D9">
                    <a:lumMod val="30000"/>
                    <a:lumOff val="70000"/>
                  </a:srgbClr>
                </a:gs>
              </a:gsLst>
              <a:lin ang="0" scaled="1"/>
              <a:tileRect/>
            </a:gradFill>
            <a:prstDash val="solid"/>
          </a:ln>
          <a:effectLst/>
        </p:spPr>
        <p:txBody>
          <a:bodyPr rtlCol="0" anchor="ctr">
            <a:noAutofit/>
          </a:bodyPr>
          <a:lstStyle/>
          <a:p>
            <a:pPr algn="ctr" defTabSz="685800" fontAlgn="auto">
              <a:spcBef>
                <a:spcPts val="0"/>
              </a:spcBef>
              <a:spcAft>
                <a:spcPts val="0"/>
              </a:spcAft>
              <a:defRPr/>
            </a:pPr>
            <a:endParaRPr lang="it-IT" sz="1050" kern="0" dirty="0" err="1">
              <a:solidFill>
                <a:srgbClr val="000000"/>
              </a:solidFill>
              <a:latin typeface="Arial"/>
            </a:endParaRPr>
          </a:p>
        </p:txBody>
      </p:sp>
      <p:sp>
        <p:nvSpPr>
          <p:cNvPr id="15" name="CasellaDiTesto 1">
            <a:extLst>
              <a:ext uri="{FF2B5EF4-FFF2-40B4-BE49-F238E27FC236}">
                <a16:creationId xmlns:a16="http://schemas.microsoft.com/office/drawing/2014/main" id="{7D4CCC9A-4834-4906-A7CC-C02B2B50E43C}"/>
              </a:ext>
            </a:extLst>
          </p:cNvPr>
          <p:cNvSpPr txBox="1">
            <a:spLocks/>
          </p:cNvSpPr>
          <p:nvPr>
            <p:custDataLst>
              <p:tags r:id="rId1"/>
            </p:custDataLst>
          </p:nvPr>
        </p:nvSpPr>
        <p:spPr bwMode="gray">
          <a:xfrm>
            <a:off x="250824" y="3094029"/>
            <a:ext cx="1467870" cy="1366628"/>
          </a:xfrm>
          <a:prstGeom prst="rect">
            <a:avLst/>
          </a:prstGeom>
          <a:solidFill>
            <a:srgbClr val="B4C7E7"/>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a:defRPr>
                <a:solidFill>
                  <a:schemeClr val="tx1"/>
                </a:solidFil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defTabSz="914355">
              <a:defRPr/>
            </a:pPr>
            <a:r>
              <a:rPr lang="it-IT" sz="1400" b="1" dirty="0">
                <a:solidFill>
                  <a:srgbClr val="FFFFFF"/>
                </a:solidFill>
                <a:latin typeface="Arial"/>
              </a:rPr>
              <a:t>Finanziamento in </a:t>
            </a:r>
            <a:r>
              <a:rPr lang="it-IT" sz="1400" b="1" i="1" dirty="0">
                <a:solidFill>
                  <a:srgbClr val="FFFFFF"/>
                </a:solidFill>
                <a:latin typeface="Arial"/>
              </a:rPr>
              <a:t>blending</a:t>
            </a:r>
            <a:endParaRPr lang="it-IT" sz="1400" i="1" dirty="0">
              <a:solidFill>
                <a:srgbClr val="FFFFFF"/>
              </a:solidFill>
              <a:latin typeface="Arial"/>
            </a:endParaRPr>
          </a:p>
        </p:txBody>
      </p:sp>
      <p:sp>
        <p:nvSpPr>
          <p:cNvPr id="16" name="CasellaDiTesto 1">
            <a:extLst>
              <a:ext uri="{FF2B5EF4-FFF2-40B4-BE49-F238E27FC236}">
                <a16:creationId xmlns:a16="http://schemas.microsoft.com/office/drawing/2014/main" id="{92C380B8-2380-4E70-B2E7-24C4CEE7522B}"/>
              </a:ext>
            </a:extLst>
          </p:cNvPr>
          <p:cNvSpPr txBox="1">
            <a:spLocks/>
          </p:cNvSpPr>
          <p:nvPr>
            <p:custDataLst>
              <p:tags r:id="rId2"/>
            </p:custDataLst>
          </p:nvPr>
        </p:nvSpPr>
        <p:spPr bwMode="gray">
          <a:xfrm>
            <a:off x="244993" y="1513849"/>
            <a:ext cx="1467870" cy="1368000"/>
          </a:xfrm>
          <a:prstGeom prst="rect">
            <a:avLst/>
          </a:prstGeom>
          <a:solidFill>
            <a:srgbClr val="4153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marL="0" marR="0" lvl="0" indent="0" algn="ctr" defTabSz="914400" eaLnBrk="1" latinLnBrk="0" hangingPunct="1">
              <a:lnSpc>
                <a:spcPct val="100000"/>
              </a:lnSpc>
              <a:buClrTx/>
              <a:buSzTx/>
              <a:buFontTx/>
              <a:buNone/>
              <a:tabLst/>
              <a:defRPr kumimoji="0" sz="1700" b="1" i="0" u="none" strike="noStrike" cap="none" spc="0" normalizeH="0" baseline="0">
                <a:ln>
                  <a:noFill/>
                </a:ln>
                <a:solidFill>
                  <a:srgbClr val="FFFFFF"/>
                </a:solidFill>
                <a:effectLst/>
                <a:uLnTx/>
                <a:uFillTx/>
                <a:latin typeface="Aria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it-IT" sz="1400" dirty="0"/>
              <a:t>Finanziamento con risorse pubbliche (FRCS)</a:t>
            </a:r>
            <a:endParaRPr lang="it-IT" sz="1400" b="0" dirty="0"/>
          </a:p>
        </p:txBody>
      </p:sp>
      <p:sp>
        <p:nvSpPr>
          <p:cNvPr id="17" name="TextBox 22">
            <a:extLst>
              <a:ext uri="{FF2B5EF4-FFF2-40B4-BE49-F238E27FC236}">
                <a16:creationId xmlns:a16="http://schemas.microsoft.com/office/drawing/2014/main" id="{CEB013F8-5DE3-4E65-BE82-D2E850C286F8}"/>
              </a:ext>
            </a:extLst>
          </p:cNvPr>
          <p:cNvSpPr txBox="1">
            <a:spLocks/>
          </p:cNvSpPr>
          <p:nvPr>
            <p:custDataLst>
              <p:tags r:id="rId3"/>
            </p:custDataLst>
          </p:nvPr>
        </p:nvSpPr>
        <p:spPr bwMode="gray">
          <a:xfrm>
            <a:off x="2259223" y="1524073"/>
            <a:ext cx="6605070" cy="1229824"/>
          </a:xfrm>
          <a:prstGeom prst="rect">
            <a:avLst/>
          </a:prstGeom>
        </p:spPr>
        <p:txBody>
          <a:bodyPr vert="horz" wrap="square" lIns="0" tIns="0" rIns="0" bIns="0" rtlCol="0">
            <a:spAutoFit/>
          </a:bodyPr>
          <a:lstStyle>
            <a:lvl1pPr marL="0" lvl="0" indent="0" defTabSz="685122" eaLnBrk="1" latinLnBrk="0" hangingPunct="1">
              <a:buClr>
                <a:schemeClr val="tx2"/>
              </a:buClr>
              <a:buSzPct val="100000"/>
              <a:defRPr lang="it-IT" sz="1200" baseline="0" dirty="0">
                <a:solidFill>
                  <a:srgbClr val="001548"/>
                </a:solidFill>
                <a:latin typeface="+mn-lt"/>
              </a:defRPr>
            </a:lvl1pPr>
            <a:lvl2pPr marL="148755" lvl="1" indent="-146000" defTabSz="685122" eaLnBrk="1" latinLnBrk="0" hangingPunct="1">
              <a:buClr>
                <a:srgbClr val="001548"/>
              </a:buClr>
              <a:buSzPct val="100000"/>
              <a:buFont typeface="Arial" panose="020B0604020202020204" pitchFamily="34" charset="0"/>
              <a:buChar char="•"/>
              <a:defRPr lang="it-IT" sz="1200" baseline="0" dirty="0">
                <a:solidFill>
                  <a:srgbClr val="001548"/>
                </a:solidFill>
                <a:latin typeface="+mn-lt"/>
              </a:defRPr>
            </a:lvl2pPr>
            <a:lvl3pPr marL="341585" lvl="2" indent="-190076" defTabSz="685122" eaLnBrk="1" latinLnBrk="0" hangingPunct="1">
              <a:buClr>
                <a:srgbClr val="001548"/>
              </a:buClr>
              <a:buSzPct val="100000"/>
              <a:buFont typeface="Arial" panose="020B0604020202020204" pitchFamily="34" charset="0"/>
              <a:buChar char="–"/>
              <a:defRPr lang="it-IT" sz="1200" baseline="0" dirty="0">
                <a:solidFill>
                  <a:srgbClr val="001548"/>
                </a:solidFill>
                <a:latin typeface="+mn-lt"/>
              </a:defRPr>
            </a:lvl3pPr>
            <a:lvl4pPr marL="471057" lvl="3" indent="-118453" defTabSz="685122" eaLnBrk="1" latinLnBrk="0" hangingPunct="1">
              <a:buClr>
                <a:srgbClr val="001548"/>
              </a:buClr>
              <a:buSzPct val="80000"/>
              <a:buFont typeface="Arial" panose="020B0604020202020204" pitchFamily="34" charset="0"/>
              <a:buChar char="•"/>
              <a:defRPr lang="it-IT" sz="1200" baseline="0" dirty="0">
                <a:solidFill>
                  <a:srgbClr val="001548"/>
                </a:solidFill>
                <a:latin typeface="+mn-lt"/>
              </a:defRPr>
            </a:lvl4pPr>
            <a:lvl5pPr marL="572982" lvl="4" indent="-99170" defTabSz="685122" eaLnBrk="1" latinLnBrk="0" hangingPunct="1">
              <a:buClr>
                <a:srgbClr val="001548"/>
              </a:buClr>
              <a:buSzPct val="89000"/>
              <a:buFont typeface="Arial" charset="0"/>
              <a:buChar char="-"/>
              <a:defRPr lang="it-IT" sz="1200" baseline="0" dirty="0">
                <a:solidFill>
                  <a:srgbClr val="001548"/>
                </a:solidFill>
                <a:latin typeface="+mn-lt"/>
              </a:defRPr>
            </a:lvl5pPr>
            <a:lvl6pPr marL="765042" indent="-132820" defTabSz="913542" fontAlgn="base">
              <a:spcBef>
                <a:spcPct val="0"/>
              </a:spcBef>
              <a:spcAft>
                <a:spcPct val="0"/>
              </a:spcAft>
              <a:buClr>
                <a:schemeClr val="tx2"/>
              </a:buClr>
              <a:buSzPct val="89000"/>
              <a:buFont typeface="Arial" charset="0"/>
              <a:buChar char="-"/>
              <a:defRPr sz="1632" baseline="0">
                <a:latin typeface="+mn-lt"/>
              </a:defRPr>
            </a:lvl6pPr>
            <a:lvl7pPr marL="765042" indent="-132820" defTabSz="913542" fontAlgn="base">
              <a:spcBef>
                <a:spcPct val="0"/>
              </a:spcBef>
              <a:spcAft>
                <a:spcPct val="0"/>
              </a:spcAft>
              <a:buClr>
                <a:schemeClr val="tx2"/>
              </a:buClr>
              <a:buSzPct val="89000"/>
              <a:buFont typeface="Arial" charset="0"/>
              <a:buChar char="-"/>
              <a:defRPr sz="1632" baseline="0">
                <a:latin typeface="+mn-lt"/>
              </a:defRPr>
            </a:lvl7pPr>
            <a:lvl8pPr marL="765042" indent="-132820" defTabSz="913542" fontAlgn="base">
              <a:spcBef>
                <a:spcPct val="0"/>
              </a:spcBef>
              <a:spcAft>
                <a:spcPct val="0"/>
              </a:spcAft>
              <a:buClr>
                <a:schemeClr val="tx2"/>
              </a:buClr>
              <a:buSzPct val="89000"/>
              <a:buFont typeface="Arial" charset="0"/>
              <a:buChar char="-"/>
              <a:defRPr sz="1632" baseline="0">
                <a:latin typeface="+mn-lt"/>
              </a:defRPr>
            </a:lvl8pPr>
            <a:lvl9pPr marL="765042" indent="-132820" defTabSz="913542" fontAlgn="base">
              <a:spcBef>
                <a:spcPct val="0"/>
              </a:spcBef>
              <a:spcAft>
                <a:spcPct val="0"/>
              </a:spcAft>
              <a:buClr>
                <a:schemeClr val="tx2"/>
              </a:buClr>
              <a:buSzPct val="89000"/>
              <a:buFont typeface="Arial" charset="0"/>
              <a:buChar char="-"/>
              <a:defRPr sz="1632" baseline="0">
                <a:latin typeface="+mn-lt"/>
              </a:defRPr>
            </a:lvl9pPr>
          </a:lstStyle>
          <a:p>
            <a:pPr marL="2433" lvl="1" indent="0" algn="just" defTabSz="685071">
              <a:lnSpc>
                <a:spcPct val="110000"/>
              </a:lnSpc>
              <a:spcBef>
                <a:spcPts val="600"/>
              </a:spcBef>
              <a:buNone/>
              <a:defRPr/>
            </a:pPr>
            <a:r>
              <a:rPr lang="it-IT" sz="1150" dirty="0">
                <a:solidFill>
                  <a:srgbClr val="3E5265"/>
                </a:solidFill>
              </a:rPr>
              <a:t>Il FRCS è il </a:t>
            </a:r>
            <a:r>
              <a:rPr lang="it-IT" sz="1150" b="1" dirty="0">
                <a:solidFill>
                  <a:srgbClr val="3E5265"/>
                </a:solidFill>
              </a:rPr>
              <a:t>principale strumento finanziario </a:t>
            </a:r>
            <a:r>
              <a:rPr lang="it-IT" sz="1150" dirty="0">
                <a:solidFill>
                  <a:srgbClr val="3E5265"/>
                </a:solidFill>
              </a:rPr>
              <a:t>utilizzato dal Ministero degli Affari Esteri e della Cooperazione allo Sviluppo (sotto la sorveglianza del MEF) per finalità di Cooperazione allo Sviluppo</a:t>
            </a:r>
          </a:p>
          <a:p>
            <a:pPr marL="2433" lvl="1" indent="0" algn="just" defTabSz="685071">
              <a:lnSpc>
                <a:spcPct val="110000"/>
              </a:lnSpc>
              <a:spcBef>
                <a:spcPts val="600"/>
              </a:spcBef>
              <a:buNone/>
              <a:defRPr/>
            </a:pPr>
            <a:r>
              <a:rPr lang="it-IT" sz="1150" dirty="0">
                <a:solidFill>
                  <a:srgbClr val="3E5265"/>
                </a:solidFill>
              </a:rPr>
              <a:t>È prevalentemente utilizzato per </a:t>
            </a:r>
            <a:r>
              <a:rPr lang="it-IT" sz="1150" b="1" dirty="0">
                <a:solidFill>
                  <a:srgbClr val="3E5265"/>
                </a:solidFill>
              </a:rPr>
              <a:t>finanziamenti concessionali </a:t>
            </a:r>
            <a:r>
              <a:rPr lang="it-IT" sz="1150" dirty="0">
                <a:solidFill>
                  <a:srgbClr val="3E5265"/>
                </a:solidFill>
              </a:rPr>
              <a:t>a lungo termine quasi esclusivamente </a:t>
            </a:r>
            <a:r>
              <a:rPr lang="it-IT" sz="1150" b="1" dirty="0">
                <a:solidFill>
                  <a:srgbClr val="3E5265"/>
                </a:solidFill>
              </a:rPr>
              <a:t>indirizzati a controparti sovrane </a:t>
            </a:r>
            <a:r>
              <a:rPr lang="it-IT" sz="1150" dirty="0">
                <a:solidFill>
                  <a:srgbClr val="3E5265"/>
                </a:solidFill>
              </a:rPr>
              <a:t>e finalizzati al sostegno di iniziative in settori strategici per i PVS (ad es. la realizzazione o il potenziamento delle infrastrutture locali, il sostegno del settore educativo, dell’agroindustria, della sanità) </a:t>
            </a:r>
          </a:p>
        </p:txBody>
      </p:sp>
      <p:sp>
        <p:nvSpPr>
          <p:cNvPr id="20" name="TextBox 22">
            <a:extLst>
              <a:ext uri="{FF2B5EF4-FFF2-40B4-BE49-F238E27FC236}">
                <a16:creationId xmlns:a16="http://schemas.microsoft.com/office/drawing/2014/main" id="{B6C6F5F5-C8FE-4138-97DF-3A66AC4B97BA}"/>
              </a:ext>
            </a:extLst>
          </p:cNvPr>
          <p:cNvSpPr txBox="1">
            <a:spLocks/>
          </p:cNvSpPr>
          <p:nvPr>
            <p:custDataLst>
              <p:tags r:id="rId4"/>
            </p:custDataLst>
          </p:nvPr>
        </p:nvSpPr>
        <p:spPr bwMode="gray">
          <a:xfrm>
            <a:off x="2268865" y="2962245"/>
            <a:ext cx="6595428" cy="1851999"/>
          </a:xfrm>
          <a:prstGeom prst="rect">
            <a:avLst/>
          </a:prstGeom>
        </p:spPr>
        <p:txBody>
          <a:bodyPr vert="horz" wrap="square" lIns="0" tIns="0" rIns="0" bIns="0" rtlCol="0">
            <a:noAutofit/>
          </a:bodyPr>
          <a:lstStyle>
            <a:lvl1pPr marL="0" lvl="0" indent="0" defTabSz="685122" eaLnBrk="1" latinLnBrk="0" hangingPunct="1">
              <a:buClr>
                <a:schemeClr val="tx2"/>
              </a:buClr>
              <a:buSzPct val="100000"/>
              <a:defRPr lang="it-IT" sz="1200" baseline="0" dirty="0">
                <a:solidFill>
                  <a:srgbClr val="001548"/>
                </a:solidFill>
                <a:latin typeface="+mn-lt"/>
              </a:defRPr>
            </a:lvl1pPr>
            <a:lvl2pPr marL="148755" lvl="1" indent="-146000" defTabSz="685122" eaLnBrk="1" latinLnBrk="0" hangingPunct="1">
              <a:buClr>
                <a:srgbClr val="001548"/>
              </a:buClr>
              <a:buSzPct val="100000"/>
              <a:buFont typeface="Arial" panose="020B0604020202020204" pitchFamily="34" charset="0"/>
              <a:buChar char="•"/>
              <a:defRPr lang="it-IT" sz="1200" baseline="0" dirty="0">
                <a:solidFill>
                  <a:srgbClr val="001548"/>
                </a:solidFill>
                <a:latin typeface="+mn-lt"/>
              </a:defRPr>
            </a:lvl2pPr>
            <a:lvl3pPr marL="341585" lvl="2" indent="-190076" defTabSz="685122" eaLnBrk="1" latinLnBrk="0" hangingPunct="1">
              <a:buClr>
                <a:srgbClr val="001548"/>
              </a:buClr>
              <a:buSzPct val="100000"/>
              <a:buFont typeface="Arial" panose="020B0604020202020204" pitchFamily="34" charset="0"/>
              <a:buChar char="–"/>
              <a:defRPr lang="it-IT" sz="1200" baseline="0" dirty="0">
                <a:solidFill>
                  <a:srgbClr val="001548"/>
                </a:solidFill>
                <a:latin typeface="+mn-lt"/>
              </a:defRPr>
            </a:lvl3pPr>
            <a:lvl4pPr marL="471057" lvl="3" indent="-118453" defTabSz="685122" eaLnBrk="1" latinLnBrk="0" hangingPunct="1">
              <a:buClr>
                <a:srgbClr val="001548"/>
              </a:buClr>
              <a:buSzPct val="80000"/>
              <a:buFont typeface="Arial" panose="020B0604020202020204" pitchFamily="34" charset="0"/>
              <a:buChar char="•"/>
              <a:defRPr lang="it-IT" sz="1200" baseline="0" dirty="0">
                <a:solidFill>
                  <a:srgbClr val="001548"/>
                </a:solidFill>
                <a:latin typeface="+mn-lt"/>
              </a:defRPr>
            </a:lvl4pPr>
            <a:lvl5pPr marL="572982" lvl="4" indent="-99170" defTabSz="685122" eaLnBrk="1" latinLnBrk="0" hangingPunct="1">
              <a:buClr>
                <a:srgbClr val="001548"/>
              </a:buClr>
              <a:buSzPct val="89000"/>
              <a:buFont typeface="Arial" charset="0"/>
              <a:buChar char="-"/>
              <a:defRPr lang="it-IT" sz="1200" baseline="0" dirty="0">
                <a:solidFill>
                  <a:srgbClr val="001548"/>
                </a:solidFill>
                <a:latin typeface="+mn-lt"/>
              </a:defRPr>
            </a:lvl5pPr>
            <a:lvl6pPr marL="765042" indent="-132820" defTabSz="913542" fontAlgn="base">
              <a:spcBef>
                <a:spcPct val="0"/>
              </a:spcBef>
              <a:spcAft>
                <a:spcPct val="0"/>
              </a:spcAft>
              <a:buClr>
                <a:schemeClr val="tx2"/>
              </a:buClr>
              <a:buSzPct val="89000"/>
              <a:buFont typeface="Arial" charset="0"/>
              <a:buChar char="-"/>
              <a:defRPr sz="1632" baseline="0">
                <a:latin typeface="+mn-lt"/>
              </a:defRPr>
            </a:lvl6pPr>
            <a:lvl7pPr marL="765042" indent="-132820" defTabSz="913542" fontAlgn="base">
              <a:spcBef>
                <a:spcPct val="0"/>
              </a:spcBef>
              <a:spcAft>
                <a:spcPct val="0"/>
              </a:spcAft>
              <a:buClr>
                <a:schemeClr val="tx2"/>
              </a:buClr>
              <a:buSzPct val="89000"/>
              <a:buFont typeface="Arial" charset="0"/>
              <a:buChar char="-"/>
              <a:defRPr sz="1632" baseline="0">
                <a:latin typeface="+mn-lt"/>
              </a:defRPr>
            </a:lvl7pPr>
            <a:lvl8pPr marL="765042" indent="-132820" defTabSz="913542" fontAlgn="base">
              <a:spcBef>
                <a:spcPct val="0"/>
              </a:spcBef>
              <a:spcAft>
                <a:spcPct val="0"/>
              </a:spcAft>
              <a:buClr>
                <a:schemeClr val="tx2"/>
              </a:buClr>
              <a:buSzPct val="89000"/>
              <a:buFont typeface="Arial" charset="0"/>
              <a:buChar char="-"/>
              <a:defRPr sz="1632" baseline="0">
                <a:latin typeface="+mn-lt"/>
              </a:defRPr>
            </a:lvl8pPr>
            <a:lvl9pPr marL="765042" indent="-132820" defTabSz="913542" fontAlgn="base">
              <a:spcBef>
                <a:spcPct val="0"/>
              </a:spcBef>
              <a:spcAft>
                <a:spcPct val="0"/>
              </a:spcAft>
              <a:buClr>
                <a:schemeClr val="tx2"/>
              </a:buClr>
              <a:buSzPct val="89000"/>
              <a:buFont typeface="Arial" charset="0"/>
              <a:buChar char="-"/>
              <a:defRPr sz="1632" baseline="0">
                <a:latin typeface="+mn-lt"/>
              </a:defRPr>
            </a:lvl9pPr>
          </a:lstStyle>
          <a:p>
            <a:pPr algn="just">
              <a:lnSpc>
                <a:spcPct val="110000"/>
              </a:lnSpc>
              <a:spcBef>
                <a:spcPts val="600"/>
              </a:spcBef>
              <a:buClr>
                <a:srgbClr val="002960"/>
              </a:buClr>
              <a:defRPr/>
            </a:pPr>
            <a:r>
              <a:rPr lang="it-IT" sz="1150" b="1" dirty="0">
                <a:solidFill>
                  <a:srgbClr val="3E5265"/>
                </a:solidFill>
              </a:rPr>
              <a:t>CDP può combinare </a:t>
            </a:r>
            <a:r>
              <a:rPr lang="it-IT" sz="1150" dirty="0">
                <a:solidFill>
                  <a:srgbClr val="3E5265"/>
                </a:solidFill>
              </a:rPr>
              <a:t>risorse proprie</a:t>
            </a:r>
            <a:r>
              <a:rPr lang="it-IT" sz="1150" baseline="30000" dirty="0">
                <a:solidFill>
                  <a:srgbClr val="3E5265"/>
                </a:solidFill>
              </a:rPr>
              <a:t> </a:t>
            </a:r>
            <a:r>
              <a:rPr lang="it-IT" sz="1150" dirty="0">
                <a:solidFill>
                  <a:srgbClr val="3E5265"/>
                </a:solidFill>
              </a:rPr>
              <a:t>con fondi pubblici (</a:t>
            </a:r>
            <a:r>
              <a:rPr lang="it-IT" sz="1150" b="1" i="1" dirty="0">
                <a:solidFill>
                  <a:srgbClr val="3E5265"/>
                </a:solidFill>
              </a:rPr>
              <a:t>blending</a:t>
            </a:r>
            <a:r>
              <a:rPr lang="it-IT" sz="1150" dirty="0">
                <a:solidFill>
                  <a:srgbClr val="3E5265"/>
                </a:solidFill>
              </a:rPr>
              <a:t>) al fine di </a:t>
            </a:r>
            <a:r>
              <a:rPr lang="it-IT" sz="1150" b="1" dirty="0">
                <a:solidFill>
                  <a:srgbClr val="3E5265"/>
                </a:solidFill>
              </a:rPr>
              <a:t>moltiplicare le risorse complessivamente mobilitate</a:t>
            </a:r>
            <a:r>
              <a:rPr lang="it-IT" sz="1150" dirty="0">
                <a:solidFill>
                  <a:srgbClr val="3E5265"/>
                </a:solidFill>
              </a:rPr>
              <a:t> attraverso diverse modalità, ad es. </a:t>
            </a:r>
            <a:r>
              <a:rPr lang="it-IT" sz="1150" i="1" dirty="0">
                <a:solidFill>
                  <a:srgbClr val="3E5265"/>
                </a:solidFill>
              </a:rPr>
              <a:t>(i) </a:t>
            </a:r>
            <a:r>
              <a:rPr lang="it-IT" sz="1150" dirty="0">
                <a:solidFill>
                  <a:srgbClr val="3E5265"/>
                </a:solidFill>
              </a:rPr>
              <a:t>co-finanziamento CDP/FRCS, </a:t>
            </a:r>
            <a:r>
              <a:rPr lang="it-IT" sz="1150" i="1" dirty="0">
                <a:solidFill>
                  <a:srgbClr val="3E5265"/>
                </a:solidFill>
              </a:rPr>
              <a:t>(ii) </a:t>
            </a:r>
            <a:r>
              <a:rPr lang="it-IT" sz="1150" dirty="0">
                <a:solidFill>
                  <a:srgbClr val="3E5265"/>
                </a:solidFill>
              </a:rPr>
              <a:t>finanziamento CDP + garanzia </a:t>
            </a:r>
            <a:r>
              <a:rPr lang="it-IT" sz="1150" i="1" dirty="0">
                <a:solidFill>
                  <a:srgbClr val="3E5265"/>
                </a:solidFill>
              </a:rPr>
              <a:t>(iii) </a:t>
            </a:r>
            <a:r>
              <a:rPr lang="it-IT" sz="1150" dirty="0">
                <a:solidFill>
                  <a:srgbClr val="3E5265"/>
                </a:solidFill>
              </a:rPr>
              <a:t>finanziamento CDP + garanzia + </a:t>
            </a:r>
            <a:r>
              <a:rPr lang="it-IT" sz="1150" i="1" dirty="0" err="1">
                <a:solidFill>
                  <a:srgbClr val="3E5265"/>
                </a:solidFill>
              </a:rPr>
              <a:t>interest</a:t>
            </a:r>
            <a:r>
              <a:rPr lang="it-IT" sz="1150" i="1" dirty="0">
                <a:solidFill>
                  <a:srgbClr val="3E5265"/>
                </a:solidFill>
              </a:rPr>
              <a:t> make-up</a:t>
            </a:r>
          </a:p>
          <a:p>
            <a:pPr algn="just">
              <a:lnSpc>
                <a:spcPct val="110000"/>
              </a:lnSpc>
              <a:spcBef>
                <a:spcPts val="600"/>
              </a:spcBef>
              <a:buClr>
                <a:srgbClr val="002960"/>
              </a:buClr>
              <a:defRPr/>
            </a:pPr>
            <a:r>
              <a:rPr lang="it-IT" sz="1150" dirty="0">
                <a:solidFill>
                  <a:srgbClr val="3E5265"/>
                </a:solidFill>
              </a:rPr>
              <a:t>CDP nell'impiego di risorse proprie </a:t>
            </a:r>
            <a:r>
              <a:rPr lang="it-IT" sz="1150" b="1" dirty="0">
                <a:solidFill>
                  <a:srgbClr val="3E5265"/>
                </a:solidFill>
              </a:rPr>
              <a:t>è tenuta al rispetto di regole fissate dalla normativa</a:t>
            </a:r>
            <a:r>
              <a:rPr lang="it-IT" sz="1150" baseline="30000" dirty="0">
                <a:solidFill>
                  <a:srgbClr val="3E5265"/>
                </a:solidFill>
              </a:rPr>
              <a:t>1</a:t>
            </a:r>
          </a:p>
          <a:p>
            <a:pPr marL="171450" indent="-171450" algn="just">
              <a:lnSpc>
                <a:spcPct val="110000"/>
              </a:lnSpc>
              <a:spcBef>
                <a:spcPts val="100"/>
              </a:spcBef>
              <a:buClr>
                <a:srgbClr val="002960"/>
              </a:buClr>
              <a:buFont typeface="Arial" panose="020B0604020202020204" pitchFamily="34" charset="0"/>
              <a:buChar char="•"/>
              <a:defRPr/>
            </a:pPr>
            <a:r>
              <a:rPr lang="it-IT" sz="1150" dirty="0">
                <a:solidFill>
                  <a:srgbClr val="3E5265"/>
                </a:solidFill>
              </a:rPr>
              <a:t>Coerenza con le priorità nazionali di politica estera</a:t>
            </a:r>
          </a:p>
          <a:p>
            <a:pPr marL="171450" indent="-171450" algn="just">
              <a:lnSpc>
                <a:spcPct val="110000"/>
              </a:lnSpc>
              <a:spcBef>
                <a:spcPts val="100"/>
              </a:spcBef>
              <a:buClr>
                <a:srgbClr val="002960"/>
              </a:buClr>
              <a:buFont typeface="Arial" panose="020B0604020202020204" pitchFamily="34" charset="0"/>
              <a:buChar char="•"/>
              <a:defRPr/>
            </a:pPr>
            <a:r>
              <a:rPr lang="it-IT" sz="1150" dirty="0">
                <a:solidFill>
                  <a:srgbClr val="3E5265"/>
                </a:solidFill>
              </a:rPr>
              <a:t>Parere del Comitato Congiunto, finalizzato a garantire la conformità delle iniziative agli obiettivi della Cooperazione italiana</a:t>
            </a:r>
          </a:p>
          <a:p>
            <a:pPr marL="171450" indent="-171450" algn="just">
              <a:lnSpc>
                <a:spcPct val="110000"/>
              </a:lnSpc>
              <a:spcBef>
                <a:spcPts val="100"/>
              </a:spcBef>
              <a:buClr>
                <a:srgbClr val="002960"/>
              </a:buClr>
              <a:buFont typeface="Arial" panose="020B0604020202020204" pitchFamily="34" charset="0"/>
              <a:buChar char="•"/>
              <a:defRPr/>
            </a:pPr>
            <a:r>
              <a:rPr lang="it-IT" sz="1150" dirty="0">
                <a:solidFill>
                  <a:srgbClr val="3E5265"/>
                </a:solidFill>
              </a:rPr>
              <a:t>Co-finanziamento con altre Istituzioni Finanziarie per operazioni in favore di "Paesi meno sviluppati / altri paesi a basso reddito" </a:t>
            </a:r>
          </a:p>
        </p:txBody>
      </p:sp>
      <p:grpSp>
        <p:nvGrpSpPr>
          <p:cNvPr id="21" name="Gruppo 20">
            <a:extLst>
              <a:ext uri="{FF2B5EF4-FFF2-40B4-BE49-F238E27FC236}">
                <a16:creationId xmlns:a16="http://schemas.microsoft.com/office/drawing/2014/main" id="{A18BAF6F-3187-4936-89A8-51708B25CA60}"/>
              </a:ext>
            </a:extLst>
          </p:cNvPr>
          <p:cNvGrpSpPr>
            <a:grpSpLocks noChangeAspect="1"/>
          </p:cNvGrpSpPr>
          <p:nvPr/>
        </p:nvGrpSpPr>
        <p:grpSpPr>
          <a:xfrm>
            <a:off x="1778866" y="2010749"/>
            <a:ext cx="287549" cy="324000"/>
            <a:chOff x="1816540" y="3028242"/>
            <a:chExt cx="287550" cy="324000"/>
          </a:xfrm>
          <a:solidFill>
            <a:srgbClr val="415364"/>
          </a:solidFill>
        </p:grpSpPr>
        <p:sp>
          <p:nvSpPr>
            <p:cNvPr id="22" name="Chevron1">
              <a:extLst>
                <a:ext uri="{FF2B5EF4-FFF2-40B4-BE49-F238E27FC236}">
                  <a16:creationId xmlns:a16="http://schemas.microsoft.com/office/drawing/2014/main" id="{8EA7794A-1634-4050-B266-15FB0E3646BE}"/>
                </a:ext>
              </a:extLst>
            </p:cNvPr>
            <p:cNvSpPr>
              <a:spLocks noChangeAspect="1"/>
            </p:cNvSpPr>
            <p:nvPr/>
          </p:nvSpPr>
          <p:spPr>
            <a:xfrm>
              <a:off x="1816540" y="3060642"/>
              <a:ext cx="152280" cy="2592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rgbClr val="86868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dirty="0" err="1">
                <a:solidFill>
                  <a:srgbClr val="003F81"/>
                </a:solidFill>
                <a:latin typeface="Arial"/>
              </a:endParaRPr>
            </a:p>
          </p:txBody>
        </p:sp>
        <p:sp>
          <p:nvSpPr>
            <p:cNvPr id="23" name="Chevron2">
              <a:extLst>
                <a:ext uri="{FF2B5EF4-FFF2-40B4-BE49-F238E27FC236}">
                  <a16:creationId xmlns:a16="http://schemas.microsoft.com/office/drawing/2014/main" id="{220CF0BE-BDCA-47B5-8C5C-504B4CBD1669}"/>
                </a:ext>
              </a:extLst>
            </p:cNvPr>
            <p:cNvSpPr>
              <a:spLocks noChangeAspect="1"/>
            </p:cNvSpPr>
            <p:nvPr/>
          </p:nvSpPr>
          <p:spPr>
            <a:xfrm>
              <a:off x="1913740" y="3028242"/>
              <a:ext cx="190350" cy="324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dirty="0" err="1">
                <a:solidFill>
                  <a:srgbClr val="003F81"/>
                </a:solidFill>
                <a:latin typeface="Arial"/>
              </a:endParaRPr>
            </a:p>
          </p:txBody>
        </p:sp>
      </p:grpSp>
      <p:grpSp>
        <p:nvGrpSpPr>
          <p:cNvPr id="24" name="Gruppo 23">
            <a:extLst>
              <a:ext uri="{FF2B5EF4-FFF2-40B4-BE49-F238E27FC236}">
                <a16:creationId xmlns:a16="http://schemas.microsoft.com/office/drawing/2014/main" id="{A40BB86E-7762-44BA-A6EB-B4C217F31FAF}"/>
              </a:ext>
            </a:extLst>
          </p:cNvPr>
          <p:cNvGrpSpPr>
            <a:grpSpLocks noChangeAspect="1"/>
          </p:cNvGrpSpPr>
          <p:nvPr/>
        </p:nvGrpSpPr>
        <p:grpSpPr>
          <a:xfrm>
            <a:off x="1778866" y="3629349"/>
            <a:ext cx="287549" cy="324000"/>
            <a:chOff x="1816540" y="3028242"/>
            <a:chExt cx="287550" cy="324000"/>
          </a:xfrm>
          <a:solidFill>
            <a:srgbClr val="415364"/>
          </a:solidFill>
        </p:grpSpPr>
        <p:sp>
          <p:nvSpPr>
            <p:cNvPr id="25" name="Chevron1">
              <a:extLst>
                <a:ext uri="{FF2B5EF4-FFF2-40B4-BE49-F238E27FC236}">
                  <a16:creationId xmlns:a16="http://schemas.microsoft.com/office/drawing/2014/main" id="{34CDA25A-EF0A-4430-9C97-4ABBFC248C60}"/>
                </a:ext>
              </a:extLst>
            </p:cNvPr>
            <p:cNvSpPr>
              <a:spLocks noChangeAspect="1"/>
            </p:cNvSpPr>
            <p:nvPr/>
          </p:nvSpPr>
          <p:spPr>
            <a:xfrm>
              <a:off x="1816540" y="3060642"/>
              <a:ext cx="152280" cy="2592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rgbClr val="86868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dirty="0" err="1">
                <a:solidFill>
                  <a:srgbClr val="003F81"/>
                </a:solidFill>
                <a:latin typeface="Arial"/>
              </a:endParaRPr>
            </a:p>
          </p:txBody>
        </p:sp>
        <p:sp>
          <p:nvSpPr>
            <p:cNvPr id="27" name="Chevron2">
              <a:extLst>
                <a:ext uri="{FF2B5EF4-FFF2-40B4-BE49-F238E27FC236}">
                  <a16:creationId xmlns:a16="http://schemas.microsoft.com/office/drawing/2014/main" id="{D0367B54-F02B-48F9-A005-3519E9156C54}"/>
                </a:ext>
              </a:extLst>
            </p:cNvPr>
            <p:cNvSpPr>
              <a:spLocks noChangeAspect="1"/>
            </p:cNvSpPr>
            <p:nvPr/>
          </p:nvSpPr>
          <p:spPr>
            <a:xfrm>
              <a:off x="1913740" y="3028242"/>
              <a:ext cx="190350" cy="324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rgbClr val="B4C7E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dirty="0" err="1">
                <a:solidFill>
                  <a:srgbClr val="003F81"/>
                </a:solidFill>
                <a:latin typeface="Arial"/>
              </a:endParaRPr>
            </a:p>
          </p:txBody>
        </p:sp>
      </p:grpSp>
      <p:sp>
        <p:nvSpPr>
          <p:cNvPr id="3" name="Rettangolo 2">
            <a:extLst>
              <a:ext uri="{FF2B5EF4-FFF2-40B4-BE49-F238E27FC236}">
                <a16:creationId xmlns:a16="http://schemas.microsoft.com/office/drawing/2014/main" id="{4FFAD989-04B4-4D26-90CF-83CB297E1858}"/>
              </a:ext>
            </a:extLst>
          </p:cNvPr>
          <p:cNvSpPr/>
          <p:nvPr/>
        </p:nvSpPr>
        <p:spPr>
          <a:xfrm>
            <a:off x="279706" y="794111"/>
            <a:ext cx="8734753" cy="515398"/>
          </a:xfrm>
          <a:prstGeom prst="rect">
            <a:avLst/>
          </a:prstGeom>
        </p:spPr>
        <p:txBody>
          <a:bodyPr wrap="square">
            <a:spAutoFit/>
          </a:bodyPr>
          <a:lstStyle/>
          <a:p>
            <a:pPr>
              <a:lnSpc>
                <a:spcPct val="110000"/>
              </a:lnSpc>
              <a:buClr>
                <a:srgbClr val="415064"/>
              </a:buClr>
            </a:pPr>
            <a:r>
              <a:rPr lang="it-IT" sz="1300" dirty="0">
                <a:solidFill>
                  <a:srgbClr val="415064"/>
                </a:solidFill>
              </a:rPr>
              <a:t>Gli strumenti finanziari offerti da CDP a sostegno del settore pubblico si basano sulla </a:t>
            </a:r>
            <a:r>
              <a:rPr lang="it-IT" sz="1300" b="1" dirty="0">
                <a:solidFill>
                  <a:srgbClr val="415064"/>
                </a:solidFill>
              </a:rPr>
              <a:t>gestione di fondi di terzi </a:t>
            </a:r>
            <a:r>
              <a:rPr lang="it-IT" sz="1300" dirty="0">
                <a:solidFill>
                  <a:srgbClr val="415064"/>
                </a:solidFill>
              </a:rPr>
              <a:t>(i.e. Fondo Rotativo per la Cooperazione allo Sviluppo - FRCS) o sul </a:t>
            </a:r>
            <a:r>
              <a:rPr lang="it-IT" sz="1300" b="1" i="1" dirty="0">
                <a:solidFill>
                  <a:srgbClr val="415064"/>
                </a:solidFill>
              </a:rPr>
              <a:t>blending</a:t>
            </a:r>
            <a:r>
              <a:rPr lang="it-IT" sz="1300" dirty="0">
                <a:solidFill>
                  <a:srgbClr val="415064"/>
                </a:solidFill>
              </a:rPr>
              <a:t> di risorse CDP con risorse pubbliche</a:t>
            </a:r>
          </a:p>
        </p:txBody>
      </p:sp>
      <p:sp>
        <p:nvSpPr>
          <p:cNvPr id="31" name="Rettangolo 30">
            <a:extLst>
              <a:ext uri="{FF2B5EF4-FFF2-40B4-BE49-F238E27FC236}">
                <a16:creationId xmlns:a16="http://schemas.microsoft.com/office/drawing/2014/main" id="{E257410F-6870-489E-B7C9-B48421989C8E}"/>
              </a:ext>
            </a:extLst>
          </p:cNvPr>
          <p:cNvSpPr/>
          <p:nvPr/>
        </p:nvSpPr>
        <p:spPr>
          <a:xfrm>
            <a:off x="511319" y="5014912"/>
            <a:ext cx="8002876" cy="115416"/>
          </a:xfrm>
          <a:prstGeom prst="rect">
            <a:avLst/>
          </a:prstGeom>
        </p:spPr>
        <p:txBody>
          <a:bodyPr wrap="square" tIns="0" bIns="0">
            <a:spAutoFit/>
          </a:bodyPr>
          <a:lstStyle/>
          <a:p>
            <a:r>
              <a:rPr lang="it-IT" sz="750" dirty="0">
                <a:solidFill>
                  <a:srgbClr val="415064"/>
                </a:solidFill>
              </a:rPr>
              <a:t>1. In particolare, decreto MEF-MAECI del 28 settembre 2016</a:t>
            </a:r>
            <a:endParaRPr lang="it-IT" sz="750" dirty="0"/>
          </a:p>
        </p:txBody>
      </p:sp>
    </p:spTree>
    <p:extLst>
      <p:ext uri="{BB962C8B-B14F-4D97-AF65-F5344CB8AC3E}">
        <p14:creationId xmlns:p14="http://schemas.microsoft.com/office/powerpoint/2010/main" val="19825207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62" name="Diapositiva think-cell" r:id="rId5" imgW="270" imgH="270" progId="TCLayout.ActiveDocument.1">
                  <p:embed/>
                </p:oleObj>
              </mc:Choice>
              <mc:Fallback>
                <p:oleObj name="Diapositiva think-cell" r:id="rId5" imgW="270" imgH="270" progId="TCLayout.ActiveDocument.1">
                  <p:embed/>
                  <p:pic>
                    <p:nvPicPr>
                      <p:cNvPr id="7" name="Oggetto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egnaposto numero diapositiva 3">
            <a:extLst>
              <a:ext uri="{FF2B5EF4-FFF2-40B4-BE49-F238E27FC236}">
                <a16:creationId xmlns:a16="http://schemas.microsoft.com/office/drawing/2014/main" id="{52C954B1-B0F4-4E12-BE66-48509ABAF6A1}"/>
              </a:ext>
            </a:extLst>
          </p:cNvPr>
          <p:cNvSpPr>
            <a:spLocks noGrp="1"/>
          </p:cNvSpPr>
          <p:nvPr>
            <p:ph type="sldNum" sz="quarter" idx="12"/>
          </p:nvPr>
        </p:nvSpPr>
        <p:spPr>
          <a:xfrm>
            <a:off x="142527" y="4842165"/>
            <a:ext cx="1008062" cy="183687"/>
          </a:xfrm>
        </p:spPr>
        <p:txBody>
          <a:bodyPr/>
          <a:lstStyle/>
          <a:p>
            <a:fld id="{608DA0FE-9C19-F746-8419-6700E348BF78}" type="slidenum">
              <a:rPr lang="it-IT" smtClean="0"/>
              <a:pPr/>
              <a:t>2</a:t>
            </a:fld>
            <a:endParaRPr lang="it-IT" dirty="0"/>
          </a:p>
        </p:txBody>
      </p:sp>
      <p:sp>
        <p:nvSpPr>
          <p:cNvPr id="10" name="object 3"/>
          <p:cNvSpPr txBox="1">
            <a:spLocks/>
          </p:cNvSpPr>
          <p:nvPr/>
        </p:nvSpPr>
        <p:spPr>
          <a:xfrm>
            <a:off x="191104" y="183754"/>
            <a:ext cx="959485" cy="290464"/>
          </a:xfrm>
          <a:prstGeom prst="rect">
            <a:avLst/>
          </a:prstGeom>
        </p:spPr>
        <p:txBody>
          <a:bodyPr vert="horz" wrap="square" lIns="0" tIns="13335" rIns="0" bIns="0" rtlCol="0" anchor="t" anchorCtr="0">
            <a:spAutoFit/>
          </a:bodyPr>
          <a:lstStyle>
            <a:lvl1pPr algn="l" defTabSz="685800" rtl="0" eaLnBrk="1" latinLnBrk="0" hangingPunct="1">
              <a:lnSpc>
                <a:spcPct val="100000"/>
              </a:lnSpc>
              <a:spcBef>
                <a:spcPts val="600"/>
              </a:spcBef>
              <a:spcAft>
                <a:spcPts val="600"/>
              </a:spcAft>
              <a:buNone/>
              <a:defRPr sz="1400" b="0" i="0" kern="120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marL="12700">
              <a:spcBef>
                <a:spcPts val="105"/>
              </a:spcBef>
            </a:pPr>
            <a:r>
              <a:rPr lang="en-US" sz="1800" b="1" dirty="0">
                <a:solidFill>
                  <a:schemeClr val="tx1"/>
                </a:solidFill>
              </a:rPr>
              <a:t>Agenda</a:t>
            </a:r>
          </a:p>
        </p:txBody>
      </p:sp>
      <p:grpSp>
        <p:nvGrpSpPr>
          <p:cNvPr id="11" name="Gruppo 10">
            <a:extLst>
              <a:ext uri="{FF2B5EF4-FFF2-40B4-BE49-F238E27FC236}">
                <a16:creationId xmlns:a16="http://schemas.microsoft.com/office/drawing/2014/main" id="{6C4B42DC-B68F-4946-BF63-B142C09F86D0}"/>
              </a:ext>
            </a:extLst>
          </p:cNvPr>
          <p:cNvGrpSpPr/>
          <p:nvPr/>
        </p:nvGrpSpPr>
        <p:grpSpPr>
          <a:xfrm>
            <a:off x="795937" y="762000"/>
            <a:ext cx="7650895" cy="541020"/>
            <a:chOff x="795937" y="662940"/>
            <a:chExt cx="7650895" cy="541020"/>
          </a:xfrm>
        </p:grpSpPr>
        <p:sp>
          <p:nvSpPr>
            <p:cNvPr id="27" name="Rettangolo 26">
              <a:extLst>
                <a:ext uri="{FF2B5EF4-FFF2-40B4-BE49-F238E27FC236}">
                  <a16:creationId xmlns:a16="http://schemas.microsoft.com/office/drawing/2014/main" id="{27F8CBB2-346A-4490-947B-47D315D6BBA9}"/>
                </a:ext>
              </a:extLst>
            </p:cNvPr>
            <p:cNvSpPr/>
            <p:nvPr/>
          </p:nvSpPr>
          <p:spPr>
            <a:xfrm>
              <a:off x="1401398" y="662940"/>
              <a:ext cx="7045434" cy="54102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12" name="object 4"/>
            <p:cNvSpPr>
              <a:spLocks noChangeAspect="1"/>
            </p:cNvSpPr>
            <p:nvPr/>
          </p:nvSpPr>
          <p:spPr>
            <a:xfrm>
              <a:off x="795937" y="745738"/>
              <a:ext cx="360000" cy="360919"/>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1</a:t>
              </a:r>
              <a:endParaRPr sz="1600" b="1" dirty="0">
                <a:solidFill>
                  <a:schemeClr val="bg1"/>
                </a:solidFill>
              </a:endParaRPr>
            </a:p>
          </p:txBody>
        </p:sp>
        <p:sp>
          <p:nvSpPr>
            <p:cNvPr id="14" name="object 7"/>
            <p:cNvSpPr txBox="1"/>
            <p:nvPr/>
          </p:nvSpPr>
          <p:spPr>
            <a:xfrm>
              <a:off x="1401398" y="669076"/>
              <a:ext cx="6666230" cy="369332"/>
            </a:xfrm>
            <a:prstGeom prst="rect">
              <a:avLst/>
            </a:prstGeom>
            <a:noFill/>
          </p:spPr>
          <p:txBody>
            <a:bodyPr vert="horz" wrap="square" lIns="0" tIns="91440" rIns="0" bIns="0" rtlCol="0">
              <a:spAutoFit/>
            </a:bodyPr>
            <a:lstStyle/>
            <a:p>
              <a:pPr>
                <a:lnSpc>
                  <a:spcPct val="100000"/>
                </a:lnSpc>
                <a:spcBef>
                  <a:spcPts val="0"/>
                </a:spcBef>
              </a:pPr>
              <a:r>
                <a:rPr lang="it-IT" sz="1800" spc="-5" dirty="0">
                  <a:solidFill>
                    <a:srgbClr val="001547"/>
                  </a:solidFill>
                  <a:latin typeface="Arial"/>
                  <a:cs typeface="Arial"/>
                </a:rPr>
                <a:t> </a:t>
              </a:r>
              <a:r>
                <a:rPr sz="1600" b="1" spc="-5" dirty="0">
                  <a:latin typeface="Arial"/>
                  <a:cs typeface="Arial"/>
                </a:rPr>
                <a:t>CDP</a:t>
              </a:r>
              <a:r>
                <a:rPr sz="1600" b="1" spc="-30" dirty="0">
                  <a:latin typeface="Arial"/>
                  <a:cs typeface="Arial"/>
                </a:rPr>
                <a:t> </a:t>
              </a:r>
              <a:r>
                <a:rPr sz="1600" b="1" spc="-10" dirty="0">
                  <a:latin typeface="Arial"/>
                  <a:cs typeface="Arial"/>
                </a:rPr>
                <a:t>Overview</a:t>
              </a:r>
              <a:endParaRPr sz="1600" b="1" dirty="0">
                <a:latin typeface="Arial"/>
                <a:cs typeface="Arial"/>
              </a:endParaRPr>
            </a:p>
          </p:txBody>
        </p:sp>
      </p:grpSp>
      <p:grpSp>
        <p:nvGrpSpPr>
          <p:cNvPr id="2" name="Gruppo 1">
            <a:extLst>
              <a:ext uri="{FF2B5EF4-FFF2-40B4-BE49-F238E27FC236}">
                <a16:creationId xmlns:a16="http://schemas.microsoft.com/office/drawing/2014/main" id="{E502234F-E738-41AD-B385-69C8188B1564}"/>
              </a:ext>
            </a:extLst>
          </p:cNvPr>
          <p:cNvGrpSpPr/>
          <p:nvPr/>
        </p:nvGrpSpPr>
        <p:grpSpPr>
          <a:xfrm>
            <a:off x="795937" y="1401111"/>
            <a:ext cx="8101601" cy="350016"/>
            <a:chOff x="795937" y="1411283"/>
            <a:chExt cx="8101601" cy="350016"/>
          </a:xfrm>
        </p:grpSpPr>
        <p:sp>
          <p:nvSpPr>
            <p:cNvPr id="24" name="object 4">
              <a:extLst>
                <a:ext uri="{FF2B5EF4-FFF2-40B4-BE49-F238E27FC236}">
                  <a16:creationId xmlns:a16="http://schemas.microsoft.com/office/drawing/2014/main" id="{31171484-AEF4-4A18-A2B8-EF83B60007DA}"/>
                </a:ext>
              </a:extLst>
            </p:cNvPr>
            <p:cNvSpPr>
              <a:spLocks noChangeAspect="1"/>
            </p:cNvSpPr>
            <p:nvPr/>
          </p:nvSpPr>
          <p:spPr>
            <a:xfrm>
              <a:off x="795937" y="1411283"/>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2</a:t>
              </a:r>
              <a:endParaRPr sz="1600" b="1" dirty="0">
                <a:solidFill>
                  <a:schemeClr val="bg1"/>
                </a:solidFill>
              </a:endParaRPr>
            </a:p>
          </p:txBody>
        </p:sp>
        <p:sp>
          <p:nvSpPr>
            <p:cNvPr id="28" name="object 8">
              <a:extLst>
                <a:ext uri="{FF2B5EF4-FFF2-40B4-BE49-F238E27FC236}">
                  <a16:creationId xmlns:a16="http://schemas.microsoft.com/office/drawing/2014/main" id="{CE1AB38F-AFA0-4DCB-B72C-577467D31C3B}"/>
                </a:ext>
              </a:extLst>
            </p:cNvPr>
            <p:cNvSpPr txBox="1"/>
            <p:nvPr/>
          </p:nvSpPr>
          <p:spPr>
            <a:xfrm>
              <a:off x="1455338" y="1411283"/>
              <a:ext cx="7442200" cy="277512"/>
            </a:xfrm>
            <a:prstGeom prst="rect">
              <a:avLst/>
            </a:prstGeom>
          </p:spPr>
          <p:txBody>
            <a:bodyPr vert="horz" wrap="square" lIns="0" tIns="0" rIns="0" bIns="0" rtlCol="0">
              <a:spAutoFit/>
            </a:bodyPr>
            <a:lstStyle/>
            <a:p>
              <a:pPr>
                <a:lnSpc>
                  <a:spcPts val="2360"/>
                </a:lnSpc>
                <a:tabLst>
                  <a:tab pos="575945" algn="l"/>
                </a:tabLst>
              </a:pPr>
              <a:r>
                <a:rPr lang="it-IT" sz="2400" spc="-7" baseline="1543" dirty="0">
                  <a:latin typeface="Arial"/>
                  <a:cs typeface="Arial"/>
                </a:rPr>
                <a:t>Il contesto di riferimento</a:t>
              </a:r>
              <a:endParaRPr sz="2400" baseline="1543" dirty="0">
                <a:latin typeface="Arial"/>
                <a:cs typeface="Arial"/>
              </a:endParaRPr>
            </a:p>
          </p:txBody>
        </p:sp>
      </p:grpSp>
      <p:grpSp>
        <p:nvGrpSpPr>
          <p:cNvPr id="3" name="Gruppo 2">
            <a:extLst>
              <a:ext uri="{FF2B5EF4-FFF2-40B4-BE49-F238E27FC236}">
                <a16:creationId xmlns:a16="http://schemas.microsoft.com/office/drawing/2014/main" id="{DA3D8320-7280-406D-A541-2EE4C7B48E1B}"/>
              </a:ext>
            </a:extLst>
          </p:cNvPr>
          <p:cNvGrpSpPr/>
          <p:nvPr/>
        </p:nvGrpSpPr>
        <p:grpSpPr>
          <a:xfrm>
            <a:off x="795937" y="1948278"/>
            <a:ext cx="8101601" cy="350016"/>
            <a:chOff x="795937" y="1892478"/>
            <a:chExt cx="8101601" cy="350016"/>
          </a:xfrm>
        </p:grpSpPr>
        <p:sp>
          <p:nvSpPr>
            <p:cNvPr id="20" name="object 8"/>
            <p:cNvSpPr txBox="1"/>
            <p:nvPr/>
          </p:nvSpPr>
          <p:spPr>
            <a:xfrm>
              <a:off x="1455338" y="1892478"/>
              <a:ext cx="7442200" cy="307777"/>
            </a:xfrm>
            <a:prstGeom prst="rect">
              <a:avLst/>
            </a:prstGeom>
          </p:spPr>
          <p:txBody>
            <a:bodyPr vert="horz" wrap="square" lIns="0" tIns="0" rIns="0" bIns="0" rtlCol="0">
              <a:spAutoFit/>
            </a:bodyPr>
            <a:lstStyle/>
            <a:p>
              <a:pPr>
                <a:lnSpc>
                  <a:spcPts val="2360"/>
                </a:lnSpc>
                <a:tabLst>
                  <a:tab pos="575945" algn="l"/>
                </a:tabLst>
              </a:pPr>
              <a:r>
                <a:rPr sz="2400" spc="-7" baseline="1543" dirty="0">
                  <a:latin typeface="Arial"/>
                  <a:cs typeface="Arial"/>
                </a:rPr>
                <a:t>CDP</a:t>
              </a:r>
              <a:r>
                <a:rPr lang="it-IT" sz="2400" spc="-7" baseline="1543" dirty="0">
                  <a:latin typeface="Arial"/>
                  <a:cs typeface="Arial"/>
                </a:rPr>
                <a:t>:</a:t>
              </a:r>
              <a:r>
                <a:rPr sz="2400" spc="-7" baseline="1543" dirty="0">
                  <a:latin typeface="Arial"/>
                  <a:cs typeface="Arial"/>
                </a:rPr>
                <a:t> </a:t>
              </a:r>
              <a:r>
                <a:rPr lang="it-IT" sz="2400" spc="-7" baseline="1543" dirty="0">
                  <a:latin typeface="Arial"/>
                  <a:cs typeface="Arial"/>
                </a:rPr>
                <a:t>Istituzione</a:t>
              </a:r>
              <a:r>
                <a:rPr lang="it-IT" sz="2400" spc="-7" dirty="0">
                  <a:latin typeface="Arial"/>
                  <a:cs typeface="Arial"/>
                </a:rPr>
                <a:t> </a:t>
              </a:r>
              <a:r>
                <a:rPr lang="it-IT" sz="2400" spc="-7" baseline="1543" dirty="0">
                  <a:latin typeface="Arial"/>
                  <a:cs typeface="Arial"/>
                </a:rPr>
                <a:t>Finanziaria per la Cooperazione allo Sviluppo </a:t>
              </a:r>
              <a:endParaRPr sz="2400" baseline="1543" dirty="0">
                <a:latin typeface="Arial"/>
                <a:cs typeface="Arial"/>
              </a:endParaRPr>
            </a:p>
          </p:txBody>
        </p:sp>
        <p:sp>
          <p:nvSpPr>
            <p:cNvPr id="29" name="object 4">
              <a:extLst>
                <a:ext uri="{FF2B5EF4-FFF2-40B4-BE49-F238E27FC236}">
                  <a16:creationId xmlns:a16="http://schemas.microsoft.com/office/drawing/2014/main" id="{73493036-224A-4125-B2E8-DFCCA91E97EC}"/>
                </a:ext>
              </a:extLst>
            </p:cNvPr>
            <p:cNvSpPr>
              <a:spLocks noChangeAspect="1"/>
            </p:cNvSpPr>
            <p:nvPr/>
          </p:nvSpPr>
          <p:spPr>
            <a:xfrm>
              <a:off x="795937" y="1892478"/>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3</a:t>
              </a:r>
              <a:endParaRPr sz="1600" b="1" dirty="0">
                <a:solidFill>
                  <a:schemeClr val="bg1"/>
                </a:solidFill>
              </a:endParaRPr>
            </a:p>
          </p:txBody>
        </p:sp>
      </p:grpSp>
      <p:grpSp>
        <p:nvGrpSpPr>
          <p:cNvPr id="5" name="Gruppo 4">
            <a:extLst>
              <a:ext uri="{FF2B5EF4-FFF2-40B4-BE49-F238E27FC236}">
                <a16:creationId xmlns:a16="http://schemas.microsoft.com/office/drawing/2014/main" id="{E83A3AF0-A544-4520-A333-78BB77D585DE}"/>
              </a:ext>
            </a:extLst>
          </p:cNvPr>
          <p:cNvGrpSpPr/>
          <p:nvPr/>
        </p:nvGrpSpPr>
        <p:grpSpPr>
          <a:xfrm>
            <a:off x="795937" y="2495445"/>
            <a:ext cx="7526272" cy="350016"/>
            <a:chOff x="795937" y="2448333"/>
            <a:chExt cx="7526272" cy="350016"/>
          </a:xfrm>
        </p:grpSpPr>
        <p:sp>
          <p:nvSpPr>
            <p:cNvPr id="16" name="object 8"/>
            <p:cNvSpPr txBox="1"/>
            <p:nvPr/>
          </p:nvSpPr>
          <p:spPr>
            <a:xfrm>
              <a:off x="904193" y="2448333"/>
              <a:ext cx="7418016" cy="307777"/>
            </a:xfrm>
            <a:prstGeom prst="rect">
              <a:avLst/>
            </a:prstGeom>
          </p:spPr>
          <p:txBody>
            <a:bodyPr vert="horz" wrap="square" lIns="0" tIns="0" rIns="0" bIns="0" rtlCol="0">
              <a:spAutoFit/>
            </a:bodyPr>
            <a:lstStyle/>
            <a:p>
              <a:pPr marL="12700">
                <a:lnSpc>
                  <a:spcPts val="2360"/>
                </a:lnSpc>
                <a:tabLst>
                  <a:tab pos="575945" algn="l"/>
                </a:tabLst>
              </a:pPr>
              <a:r>
                <a:rPr lang="it-IT" sz="2000" b="1" spc="-5" dirty="0">
                  <a:solidFill>
                    <a:srgbClr val="FFFFFF"/>
                  </a:solidFill>
                  <a:latin typeface="Arial"/>
                  <a:cs typeface="Arial"/>
                </a:rPr>
                <a:t>4</a:t>
              </a:r>
              <a:r>
                <a:rPr sz="2400" b="1" spc="-5" dirty="0">
                  <a:solidFill>
                    <a:srgbClr val="FFFFFF"/>
                  </a:solidFill>
                  <a:latin typeface="Arial"/>
                  <a:cs typeface="Arial"/>
                </a:rPr>
                <a:t>	</a:t>
              </a:r>
              <a:r>
                <a:rPr lang="en-US" sz="2400" spc="-7" baseline="1543" dirty="0" err="1">
                  <a:cs typeface="Arial"/>
                </a:rPr>
                <a:t>Supporto</a:t>
              </a:r>
              <a:r>
                <a:rPr lang="en-US" sz="2400" spc="-7" baseline="1543" dirty="0">
                  <a:cs typeface="Arial"/>
                </a:rPr>
                <a:t> al </a:t>
              </a:r>
              <a:r>
                <a:rPr lang="en-US" sz="2400" spc="-7" baseline="1543" dirty="0" err="1">
                  <a:cs typeface="Arial"/>
                </a:rPr>
                <a:t>Settore</a:t>
              </a:r>
              <a:r>
                <a:rPr lang="en-US" sz="2400" spc="-7" baseline="1543" dirty="0">
                  <a:cs typeface="Arial"/>
                </a:rPr>
                <a:t> </a:t>
              </a:r>
              <a:r>
                <a:rPr lang="en-US" sz="2400" spc="-7" baseline="1543" dirty="0" err="1">
                  <a:cs typeface="Arial"/>
                </a:rPr>
                <a:t>Pubblico</a:t>
              </a:r>
              <a:endParaRPr sz="2400" spc="-7" baseline="1543" dirty="0">
                <a:latin typeface="Arial"/>
                <a:cs typeface="Arial"/>
              </a:endParaRPr>
            </a:p>
          </p:txBody>
        </p:sp>
        <p:sp>
          <p:nvSpPr>
            <p:cNvPr id="30" name="object 4">
              <a:extLst>
                <a:ext uri="{FF2B5EF4-FFF2-40B4-BE49-F238E27FC236}">
                  <a16:creationId xmlns:a16="http://schemas.microsoft.com/office/drawing/2014/main" id="{4EABFC6E-86FA-4787-991A-9B2860F0BFDE}"/>
                </a:ext>
              </a:extLst>
            </p:cNvPr>
            <p:cNvSpPr>
              <a:spLocks noChangeAspect="1"/>
            </p:cNvSpPr>
            <p:nvPr/>
          </p:nvSpPr>
          <p:spPr>
            <a:xfrm>
              <a:off x="795937" y="2448333"/>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4</a:t>
              </a:r>
              <a:endParaRPr sz="1600" b="1" dirty="0">
                <a:solidFill>
                  <a:schemeClr val="bg1"/>
                </a:solidFill>
              </a:endParaRPr>
            </a:p>
          </p:txBody>
        </p:sp>
      </p:grpSp>
      <p:grpSp>
        <p:nvGrpSpPr>
          <p:cNvPr id="6" name="Gruppo 5">
            <a:extLst>
              <a:ext uri="{FF2B5EF4-FFF2-40B4-BE49-F238E27FC236}">
                <a16:creationId xmlns:a16="http://schemas.microsoft.com/office/drawing/2014/main" id="{0A27A17E-C8CC-4056-9926-9709E507348F}"/>
              </a:ext>
            </a:extLst>
          </p:cNvPr>
          <p:cNvGrpSpPr/>
          <p:nvPr/>
        </p:nvGrpSpPr>
        <p:grpSpPr>
          <a:xfrm>
            <a:off x="795937" y="3042612"/>
            <a:ext cx="7550456" cy="350016"/>
            <a:chOff x="795937" y="3101581"/>
            <a:chExt cx="7550456" cy="350016"/>
          </a:xfrm>
        </p:grpSpPr>
        <p:sp>
          <p:nvSpPr>
            <p:cNvPr id="23" name="object 8">
              <a:extLst>
                <a:ext uri="{FF2B5EF4-FFF2-40B4-BE49-F238E27FC236}">
                  <a16:creationId xmlns:a16="http://schemas.microsoft.com/office/drawing/2014/main" id="{C694991B-2CA3-4265-A383-810EA881A649}"/>
                </a:ext>
              </a:extLst>
            </p:cNvPr>
            <p:cNvSpPr txBox="1"/>
            <p:nvPr/>
          </p:nvSpPr>
          <p:spPr>
            <a:xfrm>
              <a:off x="904193" y="3101581"/>
              <a:ext cx="7442200" cy="307777"/>
            </a:xfrm>
            <a:prstGeom prst="rect">
              <a:avLst/>
            </a:prstGeom>
          </p:spPr>
          <p:txBody>
            <a:bodyPr vert="horz" wrap="square" lIns="0" tIns="0" rIns="0" bIns="0" rtlCol="0">
              <a:spAutoFit/>
            </a:bodyPr>
            <a:lstStyle/>
            <a:p>
              <a:pPr marL="12700">
                <a:lnSpc>
                  <a:spcPts val="2360"/>
                </a:lnSpc>
                <a:tabLst>
                  <a:tab pos="575945" algn="l"/>
                </a:tabLst>
              </a:pPr>
              <a:r>
                <a:rPr lang="it-IT" sz="2000" b="1" spc="-5" dirty="0">
                  <a:solidFill>
                    <a:srgbClr val="FFFFFF"/>
                  </a:solidFill>
                  <a:latin typeface="Arial"/>
                  <a:cs typeface="Arial"/>
                </a:rPr>
                <a:t>5</a:t>
              </a:r>
              <a:r>
                <a:rPr sz="2000" spc="-5" dirty="0">
                  <a:solidFill>
                    <a:srgbClr val="FFFFFF"/>
                  </a:solidFill>
                  <a:latin typeface="Arial"/>
                  <a:cs typeface="Arial"/>
                </a:rPr>
                <a:t>	</a:t>
              </a:r>
              <a:r>
                <a:rPr lang="en-US" sz="1600" spc="-10" dirty="0" err="1">
                  <a:latin typeface="Arial"/>
                  <a:cs typeface="Arial"/>
                </a:rPr>
                <a:t>Supporto</a:t>
              </a:r>
              <a:r>
                <a:rPr lang="en-US" sz="1600" spc="-10" dirty="0">
                  <a:latin typeface="Arial"/>
                  <a:cs typeface="Arial"/>
                </a:rPr>
                <a:t> al </a:t>
              </a:r>
              <a:r>
                <a:rPr lang="en-US" sz="1600" spc="-10" dirty="0" err="1">
                  <a:latin typeface="Arial"/>
                  <a:cs typeface="Arial"/>
                </a:rPr>
                <a:t>Settore</a:t>
              </a:r>
              <a:r>
                <a:rPr lang="en-US" sz="1600" spc="-10" dirty="0">
                  <a:latin typeface="Arial"/>
                  <a:cs typeface="Arial"/>
                </a:rPr>
                <a:t> </a:t>
              </a:r>
              <a:r>
                <a:rPr lang="en-US" sz="1600" spc="-10" dirty="0" err="1">
                  <a:latin typeface="Arial"/>
                  <a:cs typeface="Arial"/>
                </a:rPr>
                <a:t>Privato</a:t>
              </a:r>
              <a:endParaRPr sz="1600" spc="-10" dirty="0">
                <a:latin typeface="Arial"/>
                <a:cs typeface="Arial"/>
              </a:endParaRPr>
            </a:p>
          </p:txBody>
        </p:sp>
        <p:sp>
          <p:nvSpPr>
            <p:cNvPr id="31" name="object 4">
              <a:extLst>
                <a:ext uri="{FF2B5EF4-FFF2-40B4-BE49-F238E27FC236}">
                  <a16:creationId xmlns:a16="http://schemas.microsoft.com/office/drawing/2014/main" id="{E71654FD-123B-4386-9800-2227621A6B4A}"/>
                </a:ext>
              </a:extLst>
            </p:cNvPr>
            <p:cNvSpPr>
              <a:spLocks noChangeAspect="1"/>
            </p:cNvSpPr>
            <p:nvPr/>
          </p:nvSpPr>
          <p:spPr>
            <a:xfrm>
              <a:off x="795937" y="3101581"/>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5</a:t>
              </a:r>
              <a:endParaRPr sz="1600" b="1" dirty="0">
                <a:solidFill>
                  <a:schemeClr val="bg1"/>
                </a:solidFill>
              </a:endParaRPr>
            </a:p>
          </p:txBody>
        </p:sp>
      </p:grpSp>
      <p:grpSp>
        <p:nvGrpSpPr>
          <p:cNvPr id="8" name="Gruppo 7">
            <a:extLst>
              <a:ext uri="{FF2B5EF4-FFF2-40B4-BE49-F238E27FC236}">
                <a16:creationId xmlns:a16="http://schemas.microsoft.com/office/drawing/2014/main" id="{B8F38F40-C37C-4DA7-93A7-3006DAE87134}"/>
              </a:ext>
            </a:extLst>
          </p:cNvPr>
          <p:cNvGrpSpPr/>
          <p:nvPr/>
        </p:nvGrpSpPr>
        <p:grpSpPr>
          <a:xfrm>
            <a:off x="795937" y="3589779"/>
            <a:ext cx="7538364" cy="350016"/>
            <a:chOff x="795937" y="3921579"/>
            <a:chExt cx="7538364" cy="350016"/>
          </a:xfrm>
        </p:grpSpPr>
        <p:sp>
          <p:nvSpPr>
            <p:cNvPr id="18" name="object 8"/>
            <p:cNvSpPr txBox="1"/>
            <p:nvPr/>
          </p:nvSpPr>
          <p:spPr>
            <a:xfrm>
              <a:off x="892101" y="3921579"/>
              <a:ext cx="7442200" cy="307777"/>
            </a:xfrm>
            <a:prstGeom prst="rect">
              <a:avLst/>
            </a:prstGeom>
          </p:spPr>
          <p:txBody>
            <a:bodyPr vert="horz" wrap="square" lIns="0" tIns="0" rIns="0" bIns="0" rtlCol="0">
              <a:spAutoFit/>
            </a:bodyPr>
            <a:lstStyle/>
            <a:p>
              <a:pPr marL="12700">
                <a:lnSpc>
                  <a:spcPts val="2360"/>
                </a:lnSpc>
                <a:tabLst>
                  <a:tab pos="575945" algn="l"/>
                </a:tabLst>
              </a:pPr>
              <a:r>
                <a:rPr lang="it-IT" sz="2000" b="1" spc="-5" dirty="0">
                  <a:solidFill>
                    <a:srgbClr val="FFFFFF"/>
                  </a:solidFill>
                  <a:latin typeface="Arial"/>
                  <a:cs typeface="Arial"/>
                </a:rPr>
                <a:t>6</a:t>
              </a:r>
              <a:r>
                <a:rPr sz="2400" b="1" spc="-5" dirty="0">
                  <a:solidFill>
                    <a:srgbClr val="FFFFFF"/>
                  </a:solidFill>
                  <a:latin typeface="Arial"/>
                  <a:cs typeface="Arial"/>
                </a:rPr>
                <a:t>	</a:t>
              </a:r>
              <a:r>
                <a:rPr lang="en-US" sz="1600" spc="-10" dirty="0">
                  <a:cs typeface="Arial"/>
                </a:rPr>
                <a:t>Global Partnership</a:t>
              </a:r>
              <a:endParaRPr sz="1600" spc="-10" dirty="0">
                <a:latin typeface="Arial"/>
                <a:cs typeface="Arial"/>
              </a:endParaRPr>
            </a:p>
          </p:txBody>
        </p:sp>
        <p:sp>
          <p:nvSpPr>
            <p:cNvPr id="32" name="object 4">
              <a:extLst>
                <a:ext uri="{FF2B5EF4-FFF2-40B4-BE49-F238E27FC236}">
                  <a16:creationId xmlns:a16="http://schemas.microsoft.com/office/drawing/2014/main" id="{C06F2CB3-480C-4A0A-B658-70C4569EE028}"/>
                </a:ext>
              </a:extLst>
            </p:cNvPr>
            <p:cNvSpPr>
              <a:spLocks noChangeAspect="1"/>
            </p:cNvSpPr>
            <p:nvPr/>
          </p:nvSpPr>
          <p:spPr>
            <a:xfrm>
              <a:off x="795937" y="3921579"/>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6</a:t>
              </a:r>
              <a:endParaRPr sz="1600" b="1" dirty="0">
                <a:solidFill>
                  <a:schemeClr val="bg1"/>
                </a:solidFill>
              </a:endParaRPr>
            </a:p>
          </p:txBody>
        </p:sp>
      </p:grpSp>
    </p:spTree>
    <p:extLst>
      <p:ext uri="{BB962C8B-B14F-4D97-AF65-F5344CB8AC3E}">
        <p14:creationId xmlns:p14="http://schemas.microsoft.com/office/powerpoint/2010/main" val="37536787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a:extLst>
              <a:ext uri="{FF2B5EF4-FFF2-40B4-BE49-F238E27FC236}">
                <a16:creationId xmlns:a16="http://schemas.microsoft.com/office/drawing/2014/main" id="{E137993F-F346-4B5E-894E-03CC843FCEFA}"/>
              </a:ext>
            </a:extLst>
          </p:cNvPr>
          <p:cNvSpPr>
            <a:spLocks noGrp="1"/>
          </p:cNvSpPr>
          <p:nvPr>
            <p:ph type="sldNum" sz="quarter" idx="12"/>
          </p:nvPr>
        </p:nvSpPr>
        <p:spPr>
          <a:xfrm>
            <a:off x="159384" y="4941443"/>
            <a:ext cx="1008062" cy="183687"/>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800"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Tx/>
                <a:buNone/>
                <a:tabLst/>
                <a:defRPr/>
              </a:pPr>
              <a:t>20</a:t>
            </a:fld>
            <a:endParaRPr kumimoji="0" lang="it-IT" sz="800"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endParaRPr>
          </a:p>
        </p:txBody>
      </p:sp>
      <p:sp>
        <p:nvSpPr>
          <p:cNvPr id="7" name="Title 1">
            <a:extLst>
              <a:ext uri="{FF2B5EF4-FFF2-40B4-BE49-F238E27FC236}">
                <a16:creationId xmlns:a16="http://schemas.microsoft.com/office/drawing/2014/main" id="{23206182-A628-41C7-9BF8-A3537815A8AF}"/>
              </a:ext>
            </a:extLst>
          </p:cNvPr>
          <p:cNvSpPr txBox="1">
            <a:spLocks/>
          </p:cNvSpPr>
          <p:nvPr/>
        </p:nvSpPr>
        <p:spPr bwMode="gray">
          <a:xfrm>
            <a:off x="159384" y="145710"/>
            <a:ext cx="775859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42" rtl="0" eaLnBrk="1" fontAlgn="base" hangingPunct="1">
              <a:spcBef>
                <a:spcPct val="0"/>
              </a:spcBef>
              <a:spcAft>
                <a:spcPct val="0"/>
              </a:spcAft>
              <a:tabLst>
                <a:tab pos="275358" algn="l"/>
              </a:tabLst>
              <a:defRPr sz="1600" b="1" baseline="0">
                <a:solidFill>
                  <a:srgbClr val="C90026"/>
                </a:solidFill>
                <a:latin typeface="+mj-lt"/>
                <a:ea typeface="+mj-ea"/>
                <a:cs typeface="+mj-cs"/>
              </a:defRPr>
            </a:lvl1pPr>
            <a:lvl2pPr algn="l" defTabSz="913542" rtl="0" eaLnBrk="1" fontAlgn="base" hangingPunct="1">
              <a:spcBef>
                <a:spcPct val="0"/>
              </a:spcBef>
              <a:spcAft>
                <a:spcPct val="0"/>
              </a:spcAft>
              <a:defRPr sz="1938" b="1">
                <a:solidFill>
                  <a:schemeClr val="tx2"/>
                </a:solidFill>
                <a:latin typeface="Arial" charset="0"/>
              </a:defRPr>
            </a:lvl2pPr>
            <a:lvl3pPr algn="l" defTabSz="913542" rtl="0" eaLnBrk="1" fontAlgn="base" hangingPunct="1">
              <a:spcBef>
                <a:spcPct val="0"/>
              </a:spcBef>
              <a:spcAft>
                <a:spcPct val="0"/>
              </a:spcAft>
              <a:defRPr sz="1938" b="1">
                <a:solidFill>
                  <a:schemeClr val="tx2"/>
                </a:solidFill>
                <a:latin typeface="Arial" charset="0"/>
              </a:defRPr>
            </a:lvl3pPr>
            <a:lvl4pPr algn="l" defTabSz="913542" rtl="0" eaLnBrk="1" fontAlgn="base" hangingPunct="1">
              <a:spcBef>
                <a:spcPct val="0"/>
              </a:spcBef>
              <a:spcAft>
                <a:spcPct val="0"/>
              </a:spcAft>
              <a:defRPr sz="1938" b="1">
                <a:solidFill>
                  <a:schemeClr val="tx2"/>
                </a:solidFill>
                <a:latin typeface="Arial" charset="0"/>
              </a:defRPr>
            </a:lvl4pPr>
            <a:lvl5pPr algn="l" defTabSz="913542" rtl="0" eaLnBrk="1" fontAlgn="base" hangingPunct="1">
              <a:spcBef>
                <a:spcPct val="0"/>
              </a:spcBef>
              <a:spcAft>
                <a:spcPct val="0"/>
              </a:spcAft>
              <a:defRPr sz="1938" b="1">
                <a:solidFill>
                  <a:schemeClr val="tx2"/>
                </a:solidFill>
                <a:latin typeface="Arial" charset="0"/>
              </a:defRPr>
            </a:lvl5pPr>
            <a:lvl6pPr marL="466489" algn="l" defTabSz="913542" rtl="0" eaLnBrk="1" fontAlgn="base" hangingPunct="1">
              <a:spcBef>
                <a:spcPct val="0"/>
              </a:spcBef>
              <a:spcAft>
                <a:spcPct val="0"/>
              </a:spcAft>
              <a:defRPr sz="1938" b="1">
                <a:solidFill>
                  <a:schemeClr val="tx2"/>
                </a:solidFill>
                <a:latin typeface="Arial" charset="0"/>
              </a:defRPr>
            </a:lvl6pPr>
            <a:lvl7pPr marL="932979" algn="l" defTabSz="913542" rtl="0" eaLnBrk="1" fontAlgn="base" hangingPunct="1">
              <a:spcBef>
                <a:spcPct val="0"/>
              </a:spcBef>
              <a:spcAft>
                <a:spcPct val="0"/>
              </a:spcAft>
              <a:defRPr sz="1938" b="1">
                <a:solidFill>
                  <a:schemeClr val="tx2"/>
                </a:solidFill>
                <a:latin typeface="Arial" charset="0"/>
              </a:defRPr>
            </a:lvl7pPr>
            <a:lvl8pPr marL="1399467" algn="l" defTabSz="913542" rtl="0" eaLnBrk="1" fontAlgn="base" hangingPunct="1">
              <a:spcBef>
                <a:spcPct val="0"/>
              </a:spcBef>
              <a:spcAft>
                <a:spcPct val="0"/>
              </a:spcAft>
              <a:defRPr sz="1938" b="1">
                <a:solidFill>
                  <a:schemeClr val="tx2"/>
                </a:solidFill>
                <a:latin typeface="Arial" charset="0"/>
              </a:defRPr>
            </a:lvl8pPr>
            <a:lvl9pPr marL="1865957" algn="l" defTabSz="913542" rtl="0" eaLnBrk="1" fontAlgn="base" hangingPunct="1">
              <a:spcBef>
                <a:spcPct val="0"/>
              </a:spcBef>
              <a:spcAft>
                <a:spcPct val="0"/>
              </a:spcAft>
              <a:defRPr sz="1938" b="1">
                <a:solidFill>
                  <a:schemeClr val="tx2"/>
                </a:solidFill>
                <a:latin typeface="Arial" charset="0"/>
              </a:defRPr>
            </a:lvl9pPr>
          </a:lstStyle>
          <a:p>
            <a:pPr lvl="0">
              <a:defRPr/>
            </a:pPr>
            <a:r>
              <a:rPr lang="en-US" sz="1800" dirty="0" err="1">
                <a:solidFill>
                  <a:srgbClr val="415064"/>
                </a:solidFill>
                <a:latin typeface="Arial" panose="020B0604020202020204" pitchFamily="34" charset="0"/>
                <a:cs typeface="Arial" panose="020B0604020202020204" pitchFamily="34" charset="0"/>
              </a:rPr>
              <a:t>Sostegno</a:t>
            </a:r>
            <a:r>
              <a:rPr lang="en-US" sz="1800" dirty="0">
                <a:solidFill>
                  <a:srgbClr val="415064"/>
                </a:solidFill>
                <a:latin typeface="Arial" panose="020B0604020202020204" pitchFamily="34" charset="0"/>
                <a:cs typeface="Arial" panose="020B0604020202020204" pitchFamily="34" charset="0"/>
              </a:rPr>
              <a:t> al </a:t>
            </a:r>
            <a:r>
              <a:rPr lang="en-US" sz="1800" dirty="0" err="1">
                <a:solidFill>
                  <a:srgbClr val="415064"/>
                </a:solidFill>
                <a:latin typeface="Arial" panose="020B0604020202020204" pitchFamily="34" charset="0"/>
                <a:cs typeface="Arial" panose="020B0604020202020204" pitchFamily="34" charset="0"/>
              </a:rPr>
              <a:t>Settore</a:t>
            </a:r>
            <a:r>
              <a:rPr lang="en-US" sz="1800" dirty="0">
                <a:solidFill>
                  <a:srgbClr val="415064"/>
                </a:solidFill>
                <a:latin typeface="Arial" panose="020B0604020202020204" pitchFamily="34" charset="0"/>
                <a:cs typeface="Arial" panose="020B0604020202020204" pitchFamily="34" charset="0"/>
              </a:rPr>
              <a:t> </a:t>
            </a:r>
            <a:r>
              <a:rPr lang="en-US" sz="1800" dirty="0" err="1">
                <a:solidFill>
                  <a:srgbClr val="415064"/>
                </a:solidFill>
                <a:latin typeface="Arial" panose="020B0604020202020204" pitchFamily="34" charset="0"/>
                <a:cs typeface="Arial" panose="020B0604020202020204" pitchFamily="34" charset="0"/>
              </a:rPr>
              <a:t>Pubblico</a:t>
            </a:r>
            <a:r>
              <a:rPr lang="en-US" sz="1800" dirty="0">
                <a:solidFill>
                  <a:srgbClr val="415064"/>
                </a:solidFill>
                <a:latin typeface="Arial" panose="020B0604020202020204" pitchFamily="34" charset="0"/>
                <a:cs typeface="Arial" panose="020B0604020202020204" pitchFamily="34" charset="0"/>
              </a:rPr>
              <a:t> – </a:t>
            </a:r>
            <a:r>
              <a:rPr lang="en-US" sz="1800" dirty="0" err="1">
                <a:solidFill>
                  <a:srgbClr val="415064"/>
                </a:solidFill>
                <a:latin typeface="Arial" panose="020B0604020202020204" pitchFamily="34" charset="0"/>
                <a:cs typeface="Arial" panose="020B0604020202020204" pitchFamily="34" charset="0"/>
              </a:rPr>
              <a:t>principali</a:t>
            </a:r>
            <a:r>
              <a:rPr lang="en-US" sz="1800" dirty="0">
                <a:solidFill>
                  <a:srgbClr val="415064"/>
                </a:solidFill>
                <a:latin typeface="Arial" panose="020B0604020202020204" pitchFamily="34" charset="0"/>
                <a:cs typeface="Arial" panose="020B0604020202020204" pitchFamily="34" charset="0"/>
              </a:rPr>
              <a:t> </a:t>
            </a:r>
            <a:r>
              <a:rPr lang="en-US" sz="1800" dirty="0" err="1">
                <a:solidFill>
                  <a:srgbClr val="415064"/>
                </a:solidFill>
                <a:latin typeface="Arial" panose="020B0604020202020204" pitchFamily="34" charset="0"/>
                <a:cs typeface="Arial" panose="020B0604020202020204" pitchFamily="34" charset="0"/>
              </a:rPr>
              <a:t>schemi</a:t>
            </a:r>
            <a:r>
              <a:rPr lang="en-US" sz="1800" dirty="0">
                <a:solidFill>
                  <a:srgbClr val="415064"/>
                </a:solidFill>
                <a:latin typeface="Arial" panose="020B0604020202020204" pitchFamily="34" charset="0"/>
                <a:cs typeface="Arial" panose="020B0604020202020204" pitchFamily="34" charset="0"/>
              </a:rPr>
              <a:t> di </a:t>
            </a:r>
            <a:r>
              <a:rPr lang="en-US" sz="1800" dirty="0" err="1">
                <a:solidFill>
                  <a:srgbClr val="415064"/>
                </a:solidFill>
                <a:latin typeface="Arial" panose="020B0604020202020204" pitchFamily="34" charset="0"/>
                <a:cs typeface="Arial" panose="020B0604020202020204" pitchFamily="34" charset="0"/>
              </a:rPr>
              <a:t>intervento</a:t>
            </a:r>
            <a:endParaRPr lang="en-US" sz="1800" dirty="0">
              <a:solidFill>
                <a:srgbClr val="415064"/>
              </a:solidFill>
              <a:latin typeface="Arial" panose="020B0604020202020204" pitchFamily="34" charset="0"/>
              <a:cs typeface="Arial" panose="020B0604020202020204" pitchFamily="34" charset="0"/>
            </a:endParaRPr>
          </a:p>
        </p:txBody>
      </p:sp>
      <p:sp>
        <p:nvSpPr>
          <p:cNvPr id="34" name="CasellaDiTesto 33">
            <a:extLst>
              <a:ext uri="{FF2B5EF4-FFF2-40B4-BE49-F238E27FC236}">
                <a16:creationId xmlns:a16="http://schemas.microsoft.com/office/drawing/2014/main" id="{2692837B-B990-4676-8627-D9C1AA56C2E2}"/>
              </a:ext>
            </a:extLst>
          </p:cNvPr>
          <p:cNvSpPr txBox="1"/>
          <p:nvPr/>
        </p:nvSpPr>
        <p:spPr>
          <a:xfrm>
            <a:off x="4798500" y="286641"/>
            <a:ext cx="2339429" cy="548322"/>
          </a:xfrm>
          <a:prstGeom prst="rect">
            <a:avLst/>
          </a:prstGeom>
        </p:spPr>
        <p:txBody>
          <a:bodyPr vert="horz" wrap="square" lIns="68580" tIns="34290" rIns="68580" bIns="34290" rtlCol="0" anchor="ctr">
            <a:norm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200" b="1" i="1" u="none" strike="noStrike" kern="1200" cap="none" spc="0" normalizeH="0" baseline="0" noProof="0" dirty="0">
                <a:ln>
                  <a:noFill/>
                </a:ln>
                <a:solidFill>
                  <a:srgbClr val="415364"/>
                </a:solidFill>
                <a:effectLst/>
                <a:uLnTx/>
                <a:uFillTx/>
                <a:latin typeface="Arial" panose="020B0604020202020204"/>
                <a:ea typeface="+mn-ea"/>
                <a:cs typeface="+mn-cs"/>
              </a:rPr>
              <a:t>Schemi di intervento </a:t>
            </a:r>
          </a:p>
        </p:txBody>
      </p:sp>
      <p:grpSp>
        <p:nvGrpSpPr>
          <p:cNvPr id="36" name="Gruppo 35">
            <a:extLst>
              <a:ext uri="{FF2B5EF4-FFF2-40B4-BE49-F238E27FC236}">
                <a16:creationId xmlns:a16="http://schemas.microsoft.com/office/drawing/2014/main" id="{34E5D270-C3F8-43AB-B4A5-D022C86ACE77}"/>
              </a:ext>
            </a:extLst>
          </p:cNvPr>
          <p:cNvGrpSpPr/>
          <p:nvPr/>
        </p:nvGrpSpPr>
        <p:grpSpPr>
          <a:xfrm>
            <a:off x="3549902" y="759599"/>
            <a:ext cx="2339429" cy="1960307"/>
            <a:chOff x="3328865" y="2506629"/>
            <a:chExt cx="2339429" cy="2135097"/>
          </a:xfrm>
        </p:grpSpPr>
        <p:sp>
          <p:nvSpPr>
            <p:cNvPr id="37" name="Rettangolo con angoli arrotondati 36">
              <a:extLst>
                <a:ext uri="{FF2B5EF4-FFF2-40B4-BE49-F238E27FC236}">
                  <a16:creationId xmlns:a16="http://schemas.microsoft.com/office/drawing/2014/main" id="{BA6FA94C-8017-482B-A75D-294AF83D5FFC}"/>
                </a:ext>
              </a:extLst>
            </p:cNvPr>
            <p:cNvSpPr/>
            <p:nvPr/>
          </p:nvSpPr>
          <p:spPr>
            <a:xfrm>
              <a:off x="3328865" y="2639364"/>
              <a:ext cx="2339429" cy="2002362"/>
            </a:xfrm>
            <a:prstGeom prst="round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135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38" name="Rettangolo con angoli arrotondati 37">
              <a:extLst>
                <a:ext uri="{FF2B5EF4-FFF2-40B4-BE49-F238E27FC236}">
                  <a16:creationId xmlns:a16="http://schemas.microsoft.com/office/drawing/2014/main" id="{4F747FCB-EF78-4437-BAD4-4B2946256284}"/>
                </a:ext>
              </a:extLst>
            </p:cNvPr>
            <p:cNvSpPr/>
            <p:nvPr/>
          </p:nvSpPr>
          <p:spPr>
            <a:xfrm>
              <a:off x="3775810" y="2506629"/>
              <a:ext cx="1445537" cy="265470"/>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rPr>
                <a:t>Finanziamenti sovrani</a:t>
              </a:r>
            </a:p>
          </p:txBody>
        </p:sp>
        <p:sp>
          <p:nvSpPr>
            <p:cNvPr id="39" name="Rettangolo 38">
              <a:extLst>
                <a:ext uri="{FF2B5EF4-FFF2-40B4-BE49-F238E27FC236}">
                  <a16:creationId xmlns:a16="http://schemas.microsoft.com/office/drawing/2014/main" id="{0D88892C-4D42-4CFB-B51C-5396D254B214}"/>
                </a:ext>
              </a:extLst>
            </p:cNvPr>
            <p:cNvSpPr/>
            <p:nvPr/>
          </p:nvSpPr>
          <p:spPr>
            <a:xfrm>
              <a:off x="3688520" y="3011412"/>
              <a:ext cx="678426" cy="347546"/>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800" b="1"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41" name="Rettangolo 40">
              <a:extLst>
                <a:ext uri="{FF2B5EF4-FFF2-40B4-BE49-F238E27FC236}">
                  <a16:creationId xmlns:a16="http://schemas.microsoft.com/office/drawing/2014/main" id="{6503B570-8936-4342-96F7-161DA12036F2}"/>
                </a:ext>
              </a:extLst>
            </p:cNvPr>
            <p:cNvSpPr/>
            <p:nvPr/>
          </p:nvSpPr>
          <p:spPr>
            <a:xfrm>
              <a:off x="3558241" y="3977233"/>
              <a:ext cx="953384" cy="370791"/>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Arial" panose="020B0604020202020204"/>
                  <a:ea typeface="+mn-ea"/>
                  <a:cs typeface="+mn-cs"/>
                </a:rPr>
                <a:t>Governi locali</a:t>
              </a:r>
            </a:p>
          </p:txBody>
        </p:sp>
        <p:cxnSp>
          <p:nvCxnSpPr>
            <p:cNvPr id="42" name="Connettore 2 41">
              <a:extLst>
                <a:ext uri="{FF2B5EF4-FFF2-40B4-BE49-F238E27FC236}">
                  <a16:creationId xmlns:a16="http://schemas.microsoft.com/office/drawing/2014/main" id="{3F6B17A1-F99E-41FE-ABF3-FC1351E35194}"/>
                </a:ext>
              </a:extLst>
            </p:cNvPr>
            <p:cNvCxnSpPr>
              <a:cxnSpLocks/>
              <a:stCxn id="39" idx="2"/>
            </p:cNvCxnSpPr>
            <p:nvPr/>
          </p:nvCxnSpPr>
          <p:spPr>
            <a:xfrm>
              <a:off x="4027733" y="3358958"/>
              <a:ext cx="0" cy="6182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43" name="Immagine 42" descr="cid:image001.jpg@01D518C3.3A9880E0">
              <a:extLst>
                <a:ext uri="{FF2B5EF4-FFF2-40B4-BE49-F238E27FC236}">
                  <a16:creationId xmlns:a16="http://schemas.microsoft.com/office/drawing/2014/main" id="{69DBC7C1-0F1E-442A-ABCD-A21C70591B6E}"/>
                </a:ext>
              </a:extLst>
            </p:cNvPr>
            <p:cNvPicPr>
              <a:picLocks noChangeAspect="1"/>
            </p:cNvPicPr>
            <p:nvPr/>
          </p:nvPicPr>
          <p:blipFill>
            <a:blip r:embed="rId3">
              <a:clrChange>
                <a:clrFrom>
                  <a:srgbClr val="FEFFFF"/>
                </a:clrFrom>
                <a:clrTo>
                  <a:srgbClr val="FEFFFF">
                    <a:alpha val="0"/>
                  </a:srgbClr>
                </a:clrTo>
              </a:clrChange>
              <a:extLst>
                <a:ext uri="{28A0092B-C50C-407E-A947-70E740481C1C}">
                  <a14:useLocalDpi xmlns:a14="http://schemas.microsoft.com/office/drawing/2010/main" val="0"/>
                </a:ext>
              </a:extLst>
            </a:blip>
            <a:srcRect/>
            <a:stretch>
              <a:fillRect/>
            </a:stretch>
          </p:blipFill>
          <p:spPr bwMode="auto">
            <a:xfrm>
              <a:off x="3831215" y="3037284"/>
              <a:ext cx="443092" cy="279210"/>
            </a:xfrm>
            <a:prstGeom prst="rect">
              <a:avLst/>
            </a:prstGeom>
            <a:noFill/>
            <a:ln>
              <a:noFill/>
            </a:ln>
          </p:spPr>
        </p:pic>
        <p:sp>
          <p:nvSpPr>
            <p:cNvPr id="44" name="Rettangolo 43">
              <a:extLst>
                <a:ext uri="{FF2B5EF4-FFF2-40B4-BE49-F238E27FC236}">
                  <a16:creationId xmlns:a16="http://schemas.microsoft.com/office/drawing/2014/main" id="{DF54986F-038F-463A-9F53-C2E28CCC98D2}"/>
                </a:ext>
              </a:extLst>
            </p:cNvPr>
            <p:cNvSpPr/>
            <p:nvPr/>
          </p:nvSpPr>
          <p:spPr>
            <a:xfrm>
              <a:off x="4635083" y="3010585"/>
              <a:ext cx="836525" cy="349200"/>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Risorse di </a:t>
              </a:r>
              <a:r>
                <a:rPr kumimoji="0" lang="it-IT" sz="800" b="0" i="1" u="none" strike="noStrike" kern="1200" cap="none" spc="0" normalizeH="0" baseline="0" noProof="0" dirty="0" err="1">
                  <a:ln>
                    <a:noFill/>
                  </a:ln>
                  <a:solidFill>
                    <a:srgbClr val="415364"/>
                  </a:solidFill>
                  <a:effectLst/>
                  <a:uLnTx/>
                  <a:uFillTx/>
                  <a:latin typeface="Arial" panose="020B0604020202020204"/>
                  <a:ea typeface="+mn-ea"/>
                  <a:cs typeface="+mn-cs"/>
                </a:rPr>
                <a:t>Donor</a:t>
              </a:r>
              <a:endPar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endParaRPr>
            </a:p>
          </p:txBody>
        </p:sp>
        <p:cxnSp>
          <p:nvCxnSpPr>
            <p:cNvPr id="45" name="Connettore 1 5">
              <a:extLst>
                <a:ext uri="{FF2B5EF4-FFF2-40B4-BE49-F238E27FC236}">
                  <a16:creationId xmlns:a16="http://schemas.microsoft.com/office/drawing/2014/main" id="{55162C43-75ED-484C-83D8-8550E0273539}"/>
                </a:ext>
              </a:extLst>
            </p:cNvPr>
            <p:cNvCxnSpPr>
              <a:stCxn id="44" idx="1"/>
              <a:endCxn id="39" idx="3"/>
            </p:cNvCxnSpPr>
            <p:nvPr/>
          </p:nvCxnSpPr>
          <p:spPr>
            <a:xfrm flipH="1">
              <a:off x="4366946" y="3185185"/>
              <a:ext cx="268137"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46" name="CasellaDiTesto 45">
              <a:extLst>
                <a:ext uri="{FF2B5EF4-FFF2-40B4-BE49-F238E27FC236}">
                  <a16:creationId xmlns:a16="http://schemas.microsoft.com/office/drawing/2014/main" id="{C73CC2C7-19AA-4C7E-A6F9-921791D837E1}"/>
                </a:ext>
              </a:extLst>
            </p:cNvPr>
            <p:cNvSpPr txBox="1"/>
            <p:nvPr/>
          </p:nvSpPr>
          <p:spPr>
            <a:xfrm>
              <a:off x="4101941" y="3449020"/>
              <a:ext cx="911604" cy="180338"/>
            </a:xfrm>
            <a:prstGeom prst="rect">
              <a:avLst/>
            </a:prstGeom>
          </p:spPr>
          <p:txBody>
            <a:bodyPr vert="horz" wrap="square" lIns="91440" tIns="45720" rIns="91440" bIns="45720" rtlCol="0" anchor="b">
              <a:normAutofit fontScale="47500" lnSpcReduction="20000"/>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it-IT" sz="1350" b="0" i="1" u="none" strike="noStrike" kern="1200" cap="none" spc="0" normalizeH="0" baseline="0" noProof="0" dirty="0">
                  <a:ln>
                    <a:noFill/>
                  </a:ln>
                  <a:solidFill>
                    <a:srgbClr val="415364"/>
                  </a:solidFill>
                  <a:effectLst/>
                  <a:uLnTx/>
                  <a:uFillTx/>
                  <a:latin typeface="Arial" panose="020B0604020202020204"/>
                  <a:ea typeface="+mn-ea"/>
                  <a:cs typeface="+mn-cs"/>
                </a:rPr>
                <a:t>Potenziale </a:t>
              </a:r>
              <a:r>
                <a:rPr kumimoji="0" lang="it-IT" sz="1350" b="0" i="1" u="none" strike="noStrike" kern="1200" cap="none" spc="0" normalizeH="0" baseline="0" noProof="0" dirty="0" err="1">
                  <a:ln>
                    <a:noFill/>
                  </a:ln>
                  <a:solidFill>
                    <a:srgbClr val="415364"/>
                  </a:solidFill>
                  <a:effectLst/>
                  <a:uLnTx/>
                  <a:uFillTx/>
                  <a:latin typeface="Arial" panose="020B0604020202020204"/>
                  <a:ea typeface="+mn-ea"/>
                  <a:cs typeface="+mn-cs"/>
                </a:rPr>
                <a:t>blending</a:t>
              </a:r>
              <a:endParaRPr kumimoji="0" lang="it-IT" sz="1350" b="0" i="1" u="none" strike="noStrike" kern="1200" cap="none" spc="0" normalizeH="0" baseline="0" noProof="0" dirty="0">
                <a:ln>
                  <a:noFill/>
                </a:ln>
                <a:solidFill>
                  <a:srgbClr val="415364"/>
                </a:solidFill>
                <a:effectLst/>
                <a:uLnTx/>
                <a:uFillTx/>
                <a:latin typeface="Arial" panose="020B0604020202020204"/>
                <a:ea typeface="+mn-ea"/>
                <a:cs typeface="+mn-cs"/>
              </a:endParaRPr>
            </a:p>
          </p:txBody>
        </p:sp>
      </p:grpSp>
      <p:grpSp>
        <p:nvGrpSpPr>
          <p:cNvPr id="47" name="Gruppo 46">
            <a:extLst>
              <a:ext uri="{FF2B5EF4-FFF2-40B4-BE49-F238E27FC236}">
                <a16:creationId xmlns:a16="http://schemas.microsoft.com/office/drawing/2014/main" id="{2520DC00-398D-4DFD-8E16-F4728ABF43B0}"/>
              </a:ext>
            </a:extLst>
          </p:cNvPr>
          <p:cNvGrpSpPr/>
          <p:nvPr/>
        </p:nvGrpSpPr>
        <p:grpSpPr>
          <a:xfrm>
            <a:off x="6021206" y="765192"/>
            <a:ext cx="2942213" cy="1950036"/>
            <a:chOff x="5784213" y="2506629"/>
            <a:chExt cx="3013200" cy="2123910"/>
          </a:xfrm>
        </p:grpSpPr>
        <p:sp>
          <p:nvSpPr>
            <p:cNvPr id="48" name="Rettangolo con angoli arrotondati 47">
              <a:extLst>
                <a:ext uri="{FF2B5EF4-FFF2-40B4-BE49-F238E27FC236}">
                  <a16:creationId xmlns:a16="http://schemas.microsoft.com/office/drawing/2014/main" id="{ECABE8DD-B27C-4AE8-B4CE-68FDCC497F49}"/>
                </a:ext>
              </a:extLst>
            </p:cNvPr>
            <p:cNvSpPr/>
            <p:nvPr/>
          </p:nvSpPr>
          <p:spPr>
            <a:xfrm>
              <a:off x="5784213" y="2628177"/>
              <a:ext cx="3013200" cy="2002362"/>
            </a:xfrm>
            <a:prstGeom prst="round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135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49" name="Rettangolo con angoli arrotondati 48">
              <a:extLst>
                <a:ext uri="{FF2B5EF4-FFF2-40B4-BE49-F238E27FC236}">
                  <a16:creationId xmlns:a16="http://schemas.microsoft.com/office/drawing/2014/main" id="{B7744732-F83B-4B06-B71C-5F8BA8BED39A}"/>
                </a:ext>
              </a:extLst>
            </p:cNvPr>
            <p:cNvSpPr/>
            <p:nvPr/>
          </p:nvSpPr>
          <p:spPr>
            <a:xfrm>
              <a:off x="6427145" y="2506629"/>
              <a:ext cx="1727335" cy="265470"/>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900" b="1" dirty="0">
                  <a:solidFill>
                    <a:srgbClr val="415364"/>
                  </a:solidFill>
                  <a:latin typeface="Arial" panose="020B0604020202020204"/>
                </a:rPr>
                <a:t>Finanziamenti multilaterali </a:t>
              </a:r>
              <a:endPar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50" name="Rettangolo 49">
              <a:extLst>
                <a:ext uri="{FF2B5EF4-FFF2-40B4-BE49-F238E27FC236}">
                  <a16:creationId xmlns:a16="http://schemas.microsoft.com/office/drawing/2014/main" id="{533A545A-D550-43D7-BA00-DC7957EEAB1C}"/>
                </a:ext>
              </a:extLst>
            </p:cNvPr>
            <p:cNvSpPr/>
            <p:nvPr/>
          </p:nvSpPr>
          <p:spPr>
            <a:xfrm>
              <a:off x="6845681" y="2893029"/>
              <a:ext cx="678426" cy="347546"/>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800" b="1" i="0" u="none" strike="noStrike" kern="1200" cap="none" spc="0" normalizeH="0" baseline="0" noProof="0">
                <a:ln>
                  <a:noFill/>
                </a:ln>
                <a:solidFill>
                  <a:srgbClr val="415364"/>
                </a:solidFill>
                <a:effectLst/>
                <a:uLnTx/>
                <a:uFillTx/>
                <a:latin typeface="Arial" panose="020B0604020202020204"/>
                <a:ea typeface="+mn-ea"/>
                <a:cs typeface="+mn-cs"/>
              </a:endParaRPr>
            </a:p>
          </p:txBody>
        </p:sp>
        <p:pic>
          <p:nvPicPr>
            <p:cNvPr id="51" name="Immagine 50" descr="cid:image001.jpg@01D518C3.3A9880E0">
              <a:extLst>
                <a:ext uri="{FF2B5EF4-FFF2-40B4-BE49-F238E27FC236}">
                  <a16:creationId xmlns:a16="http://schemas.microsoft.com/office/drawing/2014/main" id="{6A6AC51A-7583-4971-AFA1-04F9090E1BB4}"/>
                </a:ext>
              </a:extLst>
            </p:cNvPr>
            <p:cNvPicPr>
              <a:picLocks noChangeAspect="1"/>
            </p:cNvPicPr>
            <p:nvPr/>
          </p:nvPicPr>
          <p:blipFill>
            <a:blip r:embed="rId3">
              <a:clrChange>
                <a:clrFrom>
                  <a:srgbClr val="FEFFFF"/>
                </a:clrFrom>
                <a:clrTo>
                  <a:srgbClr val="FEFFFF">
                    <a:alpha val="0"/>
                  </a:srgbClr>
                </a:clrTo>
              </a:clrChange>
              <a:extLst>
                <a:ext uri="{28A0092B-C50C-407E-A947-70E740481C1C}">
                  <a14:useLocalDpi xmlns:a14="http://schemas.microsoft.com/office/drawing/2010/main" val="0"/>
                </a:ext>
              </a:extLst>
            </a:blip>
            <a:srcRect/>
            <a:stretch>
              <a:fillRect/>
            </a:stretch>
          </p:blipFill>
          <p:spPr bwMode="auto">
            <a:xfrm>
              <a:off x="6999785" y="2939275"/>
              <a:ext cx="432000" cy="255055"/>
            </a:xfrm>
            <a:prstGeom prst="rect">
              <a:avLst/>
            </a:prstGeom>
            <a:noFill/>
            <a:ln>
              <a:noFill/>
            </a:ln>
          </p:spPr>
        </p:pic>
        <p:sp>
          <p:nvSpPr>
            <p:cNvPr id="52" name="Rettangolo 51">
              <a:extLst>
                <a:ext uri="{FF2B5EF4-FFF2-40B4-BE49-F238E27FC236}">
                  <a16:creationId xmlns:a16="http://schemas.microsoft.com/office/drawing/2014/main" id="{0AEE1575-A925-4598-8221-53D57E110207}"/>
                </a:ext>
              </a:extLst>
            </p:cNvPr>
            <p:cNvSpPr/>
            <p:nvPr/>
          </p:nvSpPr>
          <p:spPr>
            <a:xfrm>
              <a:off x="6793076" y="3403541"/>
              <a:ext cx="783635" cy="256952"/>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a:ln>
                    <a:noFill/>
                  </a:ln>
                  <a:solidFill>
                    <a:srgbClr val="415364"/>
                  </a:solidFill>
                  <a:effectLst/>
                  <a:uLnTx/>
                  <a:uFillTx/>
                  <a:latin typeface="Arial" panose="020B0604020202020204"/>
                  <a:ea typeface="+mn-ea"/>
                  <a:cs typeface="+mn-cs"/>
                </a:rPr>
                <a:t>MDB</a:t>
              </a:r>
            </a:p>
          </p:txBody>
        </p:sp>
        <p:cxnSp>
          <p:nvCxnSpPr>
            <p:cNvPr id="53" name="Connettore 2 52">
              <a:extLst>
                <a:ext uri="{FF2B5EF4-FFF2-40B4-BE49-F238E27FC236}">
                  <a16:creationId xmlns:a16="http://schemas.microsoft.com/office/drawing/2014/main" id="{6419B770-12C5-4833-8BFE-98C837FD0DFC}"/>
                </a:ext>
              </a:extLst>
            </p:cNvPr>
            <p:cNvCxnSpPr>
              <a:cxnSpLocks/>
              <a:stCxn id="50" idx="2"/>
              <a:endCxn id="52" idx="0"/>
            </p:cNvCxnSpPr>
            <p:nvPr/>
          </p:nvCxnSpPr>
          <p:spPr>
            <a:xfrm>
              <a:off x="7184894" y="3240575"/>
              <a:ext cx="0" cy="16296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4" name="Rettangolo 53">
              <a:extLst>
                <a:ext uri="{FF2B5EF4-FFF2-40B4-BE49-F238E27FC236}">
                  <a16:creationId xmlns:a16="http://schemas.microsoft.com/office/drawing/2014/main" id="{EFAED9E8-7EEB-4A08-9AB2-7113CA06A965}"/>
                </a:ext>
              </a:extLst>
            </p:cNvPr>
            <p:cNvSpPr/>
            <p:nvPr/>
          </p:nvSpPr>
          <p:spPr>
            <a:xfrm>
              <a:off x="5914661" y="4103739"/>
              <a:ext cx="783635" cy="311864"/>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Arial" panose="020B0604020202020204"/>
                  <a:ea typeface="+mn-ea"/>
                  <a:cs typeface="+mn-cs"/>
                </a:rPr>
                <a:t>Progetto 1</a:t>
              </a:r>
            </a:p>
          </p:txBody>
        </p:sp>
        <p:sp>
          <p:nvSpPr>
            <p:cNvPr id="55" name="Rettangolo 54">
              <a:extLst>
                <a:ext uri="{FF2B5EF4-FFF2-40B4-BE49-F238E27FC236}">
                  <a16:creationId xmlns:a16="http://schemas.microsoft.com/office/drawing/2014/main" id="{610B58BC-0530-433B-BAD1-42B9111FF8F5}"/>
                </a:ext>
              </a:extLst>
            </p:cNvPr>
            <p:cNvSpPr/>
            <p:nvPr/>
          </p:nvSpPr>
          <p:spPr>
            <a:xfrm>
              <a:off x="6793076" y="4107698"/>
              <a:ext cx="783635" cy="307904"/>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defRPr/>
              </a:pPr>
              <a:r>
                <a:rPr lang="it-IT" sz="800" b="1" dirty="0">
                  <a:solidFill>
                    <a:srgbClr val="415364"/>
                  </a:solidFill>
                </a:rPr>
                <a:t>Progetto </a:t>
              </a:r>
              <a:r>
                <a:rPr kumimoji="0" lang="it-IT" sz="800" b="1" i="0" u="none" strike="noStrike" kern="1200" cap="none" spc="0" normalizeH="0" baseline="0" noProof="0" dirty="0">
                  <a:ln>
                    <a:noFill/>
                  </a:ln>
                  <a:solidFill>
                    <a:srgbClr val="415364"/>
                  </a:solidFill>
                  <a:effectLst/>
                  <a:uLnTx/>
                  <a:uFillTx/>
                  <a:latin typeface="Arial" panose="020B0604020202020204"/>
                  <a:ea typeface="+mn-ea"/>
                  <a:cs typeface="+mn-cs"/>
                </a:rPr>
                <a:t>2</a:t>
              </a:r>
            </a:p>
          </p:txBody>
        </p:sp>
        <p:sp>
          <p:nvSpPr>
            <p:cNvPr id="56" name="Rettangolo 55">
              <a:extLst>
                <a:ext uri="{FF2B5EF4-FFF2-40B4-BE49-F238E27FC236}">
                  <a16:creationId xmlns:a16="http://schemas.microsoft.com/office/drawing/2014/main" id="{147979A0-C0B1-4E33-9A9F-34782B4935FB}"/>
                </a:ext>
              </a:extLst>
            </p:cNvPr>
            <p:cNvSpPr/>
            <p:nvPr/>
          </p:nvSpPr>
          <p:spPr>
            <a:xfrm>
              <a:off x="7671491" y="4107697"/>
              <a:ext cx="783635" cy="307905"/>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defRPr/>
              </a:pPr>
              <a:r>
                <a:rPr lang="it-IT" sz="800" b="1" dirty="0">
                  <a:solidFill>
                    <a:srgbClr val="415364"/>
                  </a:solidFill>
                </a:rPr>
                <a:t>Progetto </a:t>
              </a:r>
              <a:r>
                <a:rPr kumimoji="0" lang="it-IT" sz="800" b="1" i="0" u="none" strike="noStrike" kern="1200" cap="none" spc="0" normalizeH="0" baseline="0" noProof="0" dirty="0">
                  <a:ln>
                    <a:noFill/>
                  </a:ln>
                  <a:solidFill>
                    <a:srgbClr val="415364"/>
                  </a:solidFill>
                  <a:effectLst/>
                  <a:uLnTx/>
                  <a:uFillTx/>
                  <a:latin typeface="Arial" panose="020B0604020202020204"/>
                  <a:ea typeface="+mn-ea"/>
                  <a:cs typeface="+mn-cs"/>
                </a:rPr>
                <a:t>3</a:t>
              </a:r>
            </a:p>
          </p:txBody>
        </p:sp>
        <p:cxnSp>
          <p:nvCxnSpPr>
            <p:cNvPr id="57" name="Connettore 2 56">
              <a:extLst>
                <a:ext uri="{FF2B5EF4-FFF2-40B4-BE49-F238E27FC236}">
                  <a16:creationId xmlns:a16="http://schemas.microsoft.com/office/drawing/2014/main" id="{6868FCF8-1E98-4051-9B31-3F8DC21FCAC6}"/>
                </a:ext>
              </a:extLst>
            </p:cNvPr>
            <p:cNvCxnSpPr>
              <a:cxnSpLocks/>
              <a:stCxn id="52" idx="2"/>
              <a:endCxn id="55" idx="0"/>
            </p:cNvCxnSpPr>
            <p:nvPr/>
          </p:nvCxnSpPr>
          <p:spPr>
            <a:xfrm>
              <a:off x="7184894" y="3660493"/>
              <a:ext cx="0" cy="4472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Connettore a gomito 57">
              <a:extLst>
                <a:ext uri="{FF2B5EF4-FFF2-40B4-BE49-F238E27FC236}">
                  <a16:creationId xmlns:a16="http://schemas.microsoft.com/office/drawing/2014/main" id="{77C10690-66E2-4DAE-876A-A498A3B01276}"/>
                </a:ext>
              </a:extLst>
            </p:cNvPr>
            <p:cNvCxnSpPr>
              <a:stCxn id="52" idx="1"/>
              <a:endCxn id="54" idx="0"/>
            </p:cNvCxnSpPr>
            <p:nvPr/>
          </p:nvCxnSpPr>
          <p:spPr>
            <a:xfrm rot="10800000" flipV="1">
              <a:off x="6306480" y="3532017"/>
              <a:ext cx="486597" cy="57172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Connettore a gomito 58">
              <a:extLst>
                <a:ext uri="{FF2B5EF4-FFF2-40B4-BE49-F238E27FC236}">
                  <a16:creationId xmlns:a16="http://schemas.microsoft.com/office/drawing/2014/main" id="{B3C633D4-87B9-4304-977C-F05E2DF7B7DC}"/>
                </a:ext>
              </a:extLst>
            </p:cNvPr>
            <p:cNvCxnSpPr>
              <a:stCxn id="52" idx="3"/>
              <a:endCxn id="56" idx="0"/>
            </p:cNvCxnSpPr>
            <p:nvPr/>
          </p:nvCxnSpPr>
          <p:spPr>
            <a:xfrm>
              <a:off x="7576711" y="3532017"/>
              <a:ext cx="486598" cy="57568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60" name="Rettangolo 59">
              <a:extLst>
                <a:ext uri="{FF2B5EF4-FFF2-40B4-BE49-F238E27FC236}">
                  <a16:creationId xmlns:a16="http://schemas.microsoft.com/office/drawing/2014/main" id="{8B52F5EE-1F9B-4236-A0B5-8A768B35F090}"/>
                </a:ext>
              </a:extLst>
            </p:cNvPr>
            <p:cNvSpPr/>
            <p:nvPr/>
          </p:nvSpPr>
          <p:spPr>
            <a:xfrm>
              <a:off x="7808794" y="2891375"/>
              <a:ext cx="836525" cy="349200"/>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800" i="1" dirty="0">
                  <a:solidFill>
                    <a:srgbClr val="415364"/>
                  </a:solidFill>
                </a:rPr>
                <a:t>Risorse di </a:t>
              </a:r>
              <a:r>
                <a:rPr lang="it-IT" sz="800" i="1" dirty="0" err="1">
                  <a:solidFill>
                    <a:srgbClr val="415364"/>
                  </a:solidFill>
                </a:rPr>
                <a:t>Donor</a:t>
              </a:r>
              <a:endParaRPr lang="it-IT" sz="800" i="1" dirty="0">
                <a:solidFill>
                  <a:srgbClr val="415364"/>
                </a:solidFill>
              </a:endParaRPr>
            </a:p>
          </p:txBody>
        </p:sp>
        <p:cxnSp>
          <p:nvCxnSpPr>
            <p:cNvPr id="61" name="Connettore 1 53">
              <a:extLst>
                <a:ext uri="{FF2B5EF4-FFF2-40B4-BE49-F238E27FC236}">
                  <a16:creationId xmlns:a16="http://schemas.microsoft.com/office/drawing/2014/main" id="{D31C151D-9ABA-4E48-B992-30EE96CE0462}"/>
                </a:ext>
              </a:extLst>
            </p:cNvPr>
            <p:cNvCxnSpPr>
              <a:stCxn id="60" idx="1"/>
            </p:cNvCxnSpPr>
            <p:nvPr/>
          </p:nvCxnSpPr>
          <p:spPr>
            <a:xfrm flipH="1">
              <a:off x="7540657" y="3065975"/>
              <a:ext cx="268137"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62" name="CasellaDiTesto 61">
              <a:extLst>
                <a:ext uri="{FF2B5EF4-FFF2-40B4-BE49-F238E27FC236}">
                  <a16:creationId xmlns:a16="http://schemas.microsoft.com/office/drawing/2014/main" id="{613C5CE3-15A1-4A42-8285-F09517D396ED}"/>
                </a:ext>
              </a:extLst>
            </p:cNvPr>
            <p:cNvSpPr txBox="1"/>
            <p:nvPr/>
          </p:nvSpPr>
          <p:spPr>
            <a:xfrm>
              <a:off x="7650918" y="3285312"/>
              <a:ext cx="911604" cy="180338"/>
            </a:xfrm>
            <a:prstGeom prst="rect">
              <a:avLst/>
            </a:prstGeom>
          </p:spPr>
          <p:txBody>
            <a:bodyPr vert="horz" wrap="square" lIns="91440" tIns="45720" rIns="91440" bIns="45720" rtlCol="0" anchor="b">
              <a:normAutofit fontScale="47500" lnSpcReduction="20000"/>
            </a:bodyPr>
            <a:lstStyle/>
            <a:p>
              <a:pPr lvl="0">
                <a:defRPr/>
              </a:pPr>
              <a:r>
                <a:rPr lang="it-IT" i="1" dirty="0">
                  <a:solidFill>
                    <a:srgbClr val="415364"/>
                  </a:solidFill>
                </a:rPr>
                <a:t>Potenziale </a:t>
              </a:r>
              <a:r>
                <a:rPr lang="it-IT" i="1" dirty="0" err="1">
                  <a:solidFill>
                    <a:srgbClr val="415364"/>
                  </a:solidFill>
                </a:rPr>
                <a:t>blending</a:t>
              </a:r>
              <a:endParaRPr lang="it-IT" i="1" dirty="0">
                <a:solidFill>
                  <a:srgbClr val="415364"/>
                </a:solidFill>
              </a:endParaRPr>
            </a:p>
          </p:txBody>
        </p:sp>
      </p:grpSp>
      <p:grpSp>
        <p:nvGrpSpPr>
          <p:cNvPr id="63" name="Gruppo 62">
            <a:extLst>
              <a:ext uri="{FF2B5EF4-FFF2-40B4-BE49-F238E27FC236}">
                <a16:creationId xmlns:a16="http://schemas.microsoft.com/office/drawing/2014/main" id="{CEB33F1F-7474-430C-A3B6-750740592AA7}"/>
              </a:ext>
            </a:extLst>
          </p:cNvPr>
          <p:cNvGrpSpPr/>
          <p:nvPr/>
        </p:nvGrpSpPr>
        <p:grpSpPr>
          <a:xfrm>
            <a:off x="4374513" y="2833187"/>
            <a:ext cx="3014375" cy="2002362"/>
            <a:chOff x="166659" y="2497643"/>
            <a:chExt cx="3014375" cy="2144083"/>
          </a:xfrm>
        </p:grpSpPr>
        <p:sp>
          <p:nvSpPr>
            <p:cNvPr id="64" name="Rettangolo con angoli arrotondati 63">
              <a:extLst>
                <a:ext uri="{FF2B5EF4-FFF2-40B4-BE49-F238E27FC236}">
                  <a16:creationId xmlns:a16="http://schemas.microsoft.com/office/drawing/2014/main" id="{F08E0368-145D-4B29-B0AE-7933B415D8E1}"/>
                </a:ext>
              </a:extLst>
            </p:cNvPr>
            <p:cNvSpPr/>
            <p:nvPr/>
          </p:nvSpPr>
          <p:spPr>
            <a:xfrm>
              <a:off x="166659" y="2639364"/>
              <a:ext cx="3014375" cy="2002362"/>
            </a:xfrm>
            <a:prstGeom prst="round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135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65" name="Rettangolo con angoli arrotondati 64">
              <a:extLst>
                <a:ext uri="{FF2B5EF4-FFF2-40B4-BE49-F238E27FC236}">
                  <a16:creationId xmlns:a16="http://schemas.microsoft.com/office/drawing/2014/main" id="{7ABFD09D-40D5-4023-B4E2-2AAB53C5E5C0}"/>
                </a:ext>
              </a:extLst>
            </p:cNvPr>
            <p:cNvSpPr/>
            <p:nvPr/>
          </p:nvSpPr>
          <p:spPr>
            <a:xfrm>
              <a:off x="1006482" y="2497643"/>
              <a:ext cx="1334729" cy="265470"/>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rPr>
                <a:t>Fondo Rotativo</a:t>
              </a:r>
            </a:p>
          </p:txBody>
        </p:sp>
        <p:sp>
          <p:nvSpPr>
            <p:cNvPr id="66" name="Rettangolo 65">
              <a:extLst>
                <a:ext uri="{FF2B5EF4-FFF2-40B4-BE49-F238E27FC236}">
                  <a16:creationId xmlns:a16="http://schemas.microsoft.com/office/drawing/2014/main" id="{ED4BD4DD-1DCA-4CC5-8ABE-ABC3E0E4F949}"/>
                </a:ext>
              </a:extLst>
            </p:cNvPr>
            <p:cNvSpPr/>
            <p:nvPr/>
          </p:nvSpPr>
          <p:spPr>
            <a:xfrm>
              <a:off x="325117" y="2969751"/>
              <a:ext cx="976252" cy="347546"/>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800" b="1" dirty="0">
                  <a:solidFill>
                    <a:srgbClr val="415364"/>
                  </a:solidFill>
                </a:rPr>
                <a:t>Fondo Rotativo</a:t>
              </a:r>
            </a:p>
          </p:txBody>
        </p:sp>
        <p:sp>
          <p:nvSpPr>
            <p:cNvPr id="67" name="Rettangolo 66">
              <a:extLst>
                <a:ext uri="{FF2B5EF4-FFF2-40B4-BE49-F238E27FC236}">
                  <a16:creationId xmlns:a16="http://schemas.microsoft.com/office/drawing/2014/main" id="{201E0EDD-8B6F-4E99-9C3F-2F81CAD88FCE}"/>
                </a:ext>
              </a:extLst>
            </p:cNvPr>
            <p:cNvSpPr/>
            <p:nvPr/>
          </p:nvSpPr>
          <p:spPr>
            <a:xfrm>
              <a:off x="1334551" y="3498745"/>
              <a:ext cx="693235" cy="347546"/>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900" b="1" i="0" u="none" strike="noStrike" kern="1200" cap="none" spc="0" normalizeH="0" baseline="0" noProof="0">
                <a:ln>
                  <a:noFill/>
                </a:ln>
                <a:solidFill>
                  <a:srgbClr val="415364"/>
                </a:solidFill>
                <a:effectLst/>
                <a:uLnTx/>
                <a:uFillTx/>
                <a:latin typeface="Arial" panose="020B0604020202020204"/>
                <a:ea typeface="+mn-ea"/>
                <a:cs typeface="+mn-cs"/>
              </a:endParaRPr>
            </a:p>
          </p:txBody>
        </p:sp>
        <p:cxnSp>
          <p:nvCxnSpPr>
            <p:cNvPr id="68" name="Connettore a gomito 67">
              <a:extLst>
                <a:ext uri="{FF2B5EF4-FFF2-40B4-BE49-F238E27FC236}">
                  <a16:creationId xmlns:a16="http://schemas.microsoft.com/office/drawing/2014/main" id="{9F929A04-8DE7-431D-AAA0-9E45EDEA99E6}"/>
                </a:ext>
              </a:extLst>
            </p:cNvPr>
            <p:cNvCxnSpPr>
              <a:cxnSpLocks/>
            </p:cNvCxnSpPr>
            <p:nvPr/>
          </p:nvCxnSpPr>
          <p:spPr>
            <a:xfrm rot="5400000">
              <a:off x="1351549" y="3797194"/>
              <a:ext cx="296807" cy="376834"/>
            </a:xfrm>
            <a:prstGeom prst="bentConnector2">
              <a:avLst/>
            </a:prstGeom>
            <a:ln>
              <a:prstDash val="dash"/>
              <a:tailEnd type="triangle"/>
            </a:ln>
          </p:spPr>
          <p:style>
            <a:lnRef idx="1">
              <a:schemeClr val="accent1"/>
            </a:lnRef>
            <a:fillRef idx="0">
              <a:schemeClr val="accent1"/>
            </a:fillRef>
            <a:effectRef idx="0">
              <a:schemeClr val="accent1"/>
            </a:effectRef>
            <a:fontRef idx="minor">
              <a:schemeClr val="tx1"/>
            </a:fontRef>
          </p:style>
        </p:cxnSp>
        <p:sp>
          <p:nvSpPr>
            <p:cNvPr id="69" name="Rettangolo 68">
              <a:extLst>
                <a:ext uri="{FF2B5EF4-FFF2-40B4-BE49-F238E27FC236}">
                  <a16:creationId xmlns:a16="http://schemas.microsoft.com/office/drawing/2014/main" id="{DAB523BD-8773-4668-AFCC-4410EF3B7431}"/>
                </a:ext>
              </a:extLst>
            </p:cNvPr>
            <p:cNvSpPr/>
            <p:nvPr/>
          </p:nvSpPr>
          <p:spPr>
            <a:xfrm>
              <a:off x="336551" y="3941419"/>
              <a:ext cx="953384" cy="370791"/>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r>
                <a:rPr lang="it-IT" sz="800" b="1" dirty="0">
                  <a:solidFill>
                    <a:srgbClr val="415364"/>
                  </a:solidFill>
                </a:rPr>
                <a:t>Governi locali</a:t>
              </a:r>
            </a:p>
          </p:txBody>
        </p:sp>
        <p:cxnSp>
          <p:nvCxnSpPr>
            <p:cNvPr id="70" name="Connettore 2 69">
              <a:extLst>
                <a:ext uri="{FF2B5EF4-FFF2-40B4-BE49-F238E27FC236}">
                  <a16:creationId xmlns:a16="http://schemas.microsoft.com/office/drawing/2014/main" id="{0BFB167F-E405-4B56-A49F-6319231CAD96}"/>
                </a:ext>
              </a:extLst>
            </p:cNvPr>
            <p:cNvCxnSpPr>
              <a:stCxn id="66" idx="2"/>
              <a:endCxn id="69" idx="0"/>
            </p:cNvCxnSpPr>
            <p:nvPr/>
          </p:nvCxnSpPr>
          <p:spPr>
            <a:xfrm>
              <a:off x="813243" y="3317297"/>
              <a:ext cx="0" cy="6241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71" name="Immagine 70" descr="cid:image001.jpg@01D518C3.3A9880E0">
              <a:extLst>
                <a:ext uri="{FF2B5EF4-FFF2-40B4-BE49-F238E27FC236}">
                  <a16:creationId xmlns:a16="http://schemas.microsoft.com/office/drawing/2014/main" id="{1D9AEE95-1D8A-413B-8082-3AAEE6E3CDE8}"/>
                </a:ext>
              </a:extLst>
            </p:cNvPr>
            <p:cNvPicPr>
              <a:picLocks noChangeAspect="1"/>
            </p:cNvPicPr>
            <p:nvPr/>
          </p:nvPicPr>
          <p:blipFill>
            <a:blip r:embed="rId3">
              <a:clrChange>
                <a:clrFrom>
                  <a:srgbClr val="FEFFFF"/>
                </a:clrFrom>
                <a:clrTo>
                  <a:srgbClr val="FEFFFF">
                    <a:alpha val="0"/>
                  </a:srgbClr>
                </a:clrTo>
              </a:clrChange>
              <a:extLst>
                <a:ext uri="{28A0092B-C50C-407E-A947-70E740481C1C}">
                  <a14:useLocalDpi xmlns:a14="http://schemas.microsoft.com/office/drawing/2010/main" val="0"/>
                </a:ext>
              </a:extLst>
            </a:blip>
            <a:srcRect/>
            <a:stretch>
              <a:fillRect/>
            </a:stretch>
          </p:blipFill>
          <p:spPr bwMode="auto">
            <a:xfrm>
              <a:off x="1473385" y="3523622"/>
              <a:ext cx="478724" cy="279210"/>
            </a:xfrm>
            <a:prstGeom prst="rect">
              <a:avLst/>
            </a:prstGeom>
            <a:noFill/>
            <a:ln>
              <a:noFill/>
            </a:ln>
          </p:spPr>
        </p:pic>
        <p:sp>
          <p:nvSpPr>
            <p:cNvPr id="72" name="CasellaDiTesto 71">
              <a:extLst>
                <a:ext uri="{FF2B5EF4-FFF2-40B4-BE49-F238E27FC236}">
                  <a16:creationId xmlns:a16="http://schemas.microsoft.com/office/drawing/2014/main" id="{52360933-B589-44B6-8F5E-361BADB34726}"/>
                </a:ext>
              </a:extLst>
            </p:cNvPr>
            <p:cNvSpPr txBox="1"/>
            <p:nvPr/>
          </p:nvSpPr>
          <p:spPr>
            <a:xfrm>
              <a:off x="1741101" y="3924834"/>
              <a:ext cx="911604" cy="180338"/>
            </a:xfrm>
            <a:prstGeom prst="rect">
              <a:avLst/>
            </a:prstGeom>
          </p:spPr>
          <p:txBody>
            <a:bodyPr vert="horz" wrap="square" lIns="91440" tIns="45720" rIns="91440" bIns="45720" rtlCol="0" anchor="b">
              <a:normAutofit fontScale="47500" lnSpcReduction="20000"/>
            </a:bodyPr>
            <a:lstStyle/>
            <a:p>
              <a:pPr lvl="0">
                <a:defRPr/>
              </a:pPr>
              <a:r>
                <a:rPr lang="it-IT" i="1" dirty="0">
                  <a:solidFill>
                    <a:srgbClr val="415364"/>
                  </a:solidFill>
                </a:rPr>
                <a:t>Potenziale </a:t>
              </a:r>
              <a:r>
                <a:rPr lang="it-IT" i="1" dirty="0" err="1">
                  <a:solidFill>
                    <a:srgbClr val="415364"/>
                  </a:solidFill>
                </a:rPr>
                <a:t>blending</a:t>
              </a:r>
              <a:endParaRPr lang="it-IT" i="1" dirty="0">
                <a:solidFill>
                  <a:srgbClr val="415364"/>
                </a:solidFill>
              </a:endParaRPr>
            </a:p>
          </p:txBody>
        </p:sp>
        <p:sp>
          <p:nvSpPr>
            <p:cNvPr id="73" name="Rettangolo 72">
              <a:extLst>
                <a:ext uri="{FF2B5EF4-FFF2-40B4-BE49-F238E27FC236}">
                  <a16:creationId xmlns:a16="http://schemas.microsoft.com/office/drawing/2014/main" id="{90B7B315-7A85-4764-9DD7-BB107AE0AD2E}"/>
                </a:ext>
              </a:extLst>
            </p:cNvPr>
            <p:cNvSpPr/>
            <p:nvPr/>
          </p:nvSpPr>
          <p:spPr>
            <a:xfrm>
              <a:off x="2292887" y="3497918"/>
              <a:ext cx="729019" cy="349200"/>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800" i="1" dirty="0">
                  <a:solidFill>
                    <a:srgbClr val="415364"/>
                  </a:solidFill>
                </a:rPr>
                <a:t>Risorse di </a:t>
              </a:r>
              <a:r>
                <a:rPr lang="it-IT" sz="800" i="1" dirty="0" err="1">
                  <a:solidFill>
                    <a:srgbClr val="415364"/>
                  </a:solidFill>
                </a:rPr>
                <a:t>Donor</a:t>
              </a:r>
              <a:endParaRPr lang="it-IT" sz="800" i="1" dirty="0">
                <a:solidFill>
                  <a:srgbClr val="415364"/>
                </a:solidFill>
              </a:endParaRPr>
            </a:p>
          </p:txBody>
        </p:sp>
        <p:cxnSp>
          <p:nvCxnSpPr>
            <p:cNvPr id="74" name="Connettore 1 29">
              <a:extLst>
                <a:ext uri="{FF2B5EF4-FFF2-40B4-BE49-F238E27FC236}">
                  <a16:creationId xmlns:a16="http://schemas.microsoft.com/office/drawing/2014/main" id="{1C49B123-C8DB-4878-8FF1-84738C3A5531}"/>
                </a:ext>
              </a:extLst>
            </p:cNvPr>
            <p:cNvCxnSpPr>
              <a:stCxn id="67" idx="3"/>
              <a:endCxn id="73" idx="1"/>
            </p:cNvCxnSpPr>
            <p:nvPr/>
          </p:nvCxnSpPr>
          <p:spPr>
            <a:xfrm>
              <a:off x="2027786" y="3672518"/>
              <a:ext cx="265101"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sp>
        <p:nvSpPr>
          <p:cNvPr id="76" name="CasellaDiTesto 75">
            <a:extLst>
              <a:ext uri="{FF2B5EF4-FFF2-40B4-BE49-F238E27FC236}">
                <a16:creationId xmlns:a16="http://schemas.microsoft.com/office/drawing/2014/main" id="{385C8DBF-DBCB-48A2-BE90-DB4E6ACCC6F7}"/>
              </a:ext>
            </a:extLst>
          </p:cNvPr>
          <p:cNvSpPr txBox="1"/>
          <p:nvPr/>
        </p:nvSpPr>
        <p:spPr>
          <a:xfrm>
            <a:off x="1457701" y="1201288"/>
            <a:ext cx="1747476" cy="1631899"/>
          </a:xfrm>
          <a:prstGeom prst="rect">
            <a:avLst/>
          </a:prstGeom>
        </p:spPr>
        <p:txBody>
          <a:bodyPr vert="horz" wrap="square" lIns="91440" tIns="45720" rIns="91440" bIns="45720" rtlCol="0" anchor="ctr" anchorCtr="0">
            <a:normAutofit fontScale="92500"/>
          </a:bodyPr>
          <a:lstStyle/>
          <a:p>
            <a:pPr lvl="0">
              <a:lnSpc>
                <a:spcPct val="120000"/>
              </a:lnSpc>
              <a:spcBef>
                <a:spcPts val="600"/>
              </a:spcBef>
              <a:spcAft>
                <a:spcPts val="600"/>
              </a:spcAft>
              <a:defRPr/>
            </a:pPr>
            <a:r>
              <a:rPr lang="it-IT" sz="1000" b="1" dirty="0">
                <a:ea typeface="Calibri" panose="020F0502020204030204" pitchFamily="34" charset="0"/>
                <a:cs typeface="Times New Roman" panose="02020603050405020304" pitchFamily="18" charset="0"/>
              </a:rPr>
              <a:t>Co-finanziamento con</a:t>
            </a:r>
            <a:r>
              <a:rPr lang="it-IT" sz="1000" dirty="0">
                <a:ea typeface="Calibri" panose="020F0502020204030204" pitchFamily="34" charset="0"/>
                <a:cs typeface="Times New Roman" panose="02020603050405020304" pitchFamily="18" charset="0"/>
              </a:rPr>
              <a:t> </a:t>
            </a:r>
            <a:r>
              <a:rPr lang="it-IT" sz="1000" b="1" dirty="0">
                <a:ea typeface="Calibri" panose="020F0502020204030204" pitchFamily="34" charset="0"/>
                <a:cs typeface="Times New Roman" panose="02020603050405020304" pitchFamily="18" charset="0"/>
              </a:rPr>
              <a:t>altre Istituzioni Finanziarie </a:t>
            </a:r>
            <a:r>
              <a:rPr lang="it-IT" sz="1000" dirty="0">
                <a:ea typeface="Calibri" panose="020F0502020204030204" pitchFamily="34" charset="0"/>
                <a:cs typeface="Times New Roman" panose="02020603050405020304" pitchFamily="18" charset="0"/>
              </a:rPr>
              <a:t>per operazioni con risorse CDP in favore di "Paesi meno sviluppati / altri paesi a basso reddito</a:t>
            </a:r>
            <a:r>
              <a:rPr lang="it-IT" sz="1000" dirty="0">
                <a:solidFill>
                  <a:srgbClr val="415064"/>
                </a:solidFill>
                <a:ea typeface="Calibri" panose="020F0502020204030204" pitchFamily="34" charset="0"/>
                <a:cs typeface="Times New Roman" panose="02020603050405020304" pitchFamily="18" charset="0"/>
              </a:rPr>
              <a:t>"</a:t>
            </a:r>
          </a:p>
          <a:p>
            <a:pPr lvl="0">
              <a:lnSpc>
                <a:spcPct val="120000"/>
              </a:lnSpc>
              <a:spcBef>
                <a:spcPts val="600"/>
              </a:spcBef>
              <a:spcAft>
                <a:spcPts val="600"/>
              </a:spcAft>
              <a:defRPr/>
            </a:pPr>
            <a:r>
              <a:rPr lang="it-IT" sz="1000" b="1" dirty="0">
                <a:ea typeface="Calibri" panose="020F0502020204030204" pitchFamily="34" charset="0"/>
                <a:cs typeface="Times New Roman" panose="02020603050405020304" pitchFamily="18" charset="0"/>
              </a:rPr>
              <a:t>Coerenza</a:t>
            </a:r>
            <a:r>
              <a:rPr lang="it-IT" sz="1000" dirty="0">
                <a:ea typeface="Calibri" panose="020F0502020204030204" pitchFamily="34" charset="0"/>
                <a:cs typeface="Times New Roman" panose="02020603050405020304" pitchFamily="18" charset="0"/>
              </a:rPr>
              <a:t> </a:t>
            </a:r>
            <a:r>
              <a:rPr lang="it-IT" sz="1000" b="1" dirty="0">
                <a:cs typeface="Times New Roman" panose="02020603050405020304" pitchFamily="18" charset="0"/>
              </a:rPr>
              <a:t>con le priorità nazionali di politica estera</a:t>
            </a:r>
          </a:p>
        </p:txBody>
      </p:sp>
      <p:sp>
        <p:nvSpPr>
          <p:cNvPr id="77" name="object 34">
            <a:extLst>
              <a:ext uri="{FF2B5EF4-FFF2-40B4-BE49-F238E27FC236}">
                <a16:creationId xmlns:a16="http://schemas.microsoft.com/office/drawing/2014/main" id="{2B2307DA-11BC-4BE1-8022-45CCFFE322F7}"/>
              </a:ext>
            </a:extLst>
          </p:cNvPr>
          <p:cNvSpPr/>
          <p:nvPr/>
        </p:nvSpPr>
        <p:spPr>
          <a:xfrm rot="16200000" flipV="1">
            <a:off x="1259810" y="2741419"/>
            <a:ext cx="4011747" cy="45719"/>
          </a:xfrm>
          <a:custGeom>
            <a:avLst/>
            <a:gdLst/>
            <a:ahLst/>
            <a:cxnLst/>
            <a:rect l="l" t="t" r="r" b="b"/>
            <a:pathLst>
              <a:path w="8640445">
                <a:moveTo>
                  <a:pt x="0" y="0"/>
                </a:moveTo>
                <a:lnTo>
                  <a:pt x="8639937" y="0"/>
                </a:lnTo>
              </a:path>
            </a:pathLst>
          </a:custGeom>
          <a:ln w="12192">
            <a:solidFill>
              <a:srgbClr val="B4C7E7"/>
            </a:solidFill>
          </a:ln>
        </p:spPr>
        <p:txBody>
          <a:bodyPr wrap="square" lIns="0" tIns="0" rIns="0" bIns="0" rtlCol="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1548"/>
              </a:solidFill>
              <a:effectLst/>
              <a:uLnTx/>
              <a:uFillTx/>
              <a:latin typeface="Arial"/>
              <a:ea typeface="+mn-ea"/>
              <a:cs typeface="+mn-cs"/>
            </a:endParaRPr>
          </a:p>
        </p:txBody>
      </p:sp>
      <p:sp>
        <p:nvSpPr>
          <p:cNvPr id="79" name="Arrow: Pentagon 35">
            <a:extLst>
              <a:ext uri="{FF2B5EF4-FFF2-40B4-BE49-F238E27FC236}">
                <a16:creationId xmlns:a16="http://schemas.microsoft.com/office/drawing/2014/main" id="{7750F7E2-B03F-456D-A4AF-AB820A18C1A0}"/>
              </a:ext>
            </a:extLst>
          </p:cNvPr>
          <p:cNvSpPr>
            <a:spLocks/>
          </p:cNvSpPr>
          <p:nvPr/>
        </p:nvSpPr>
        <p:spPr>
          <a:xfrm rot="5400000">
            <a:off x="146462" y="1611700"/>
            <a:ext cx="1631900" cy="811075"/>
          </a:xfrm>
          <a:prstGeom prst="homePlate">
            <a:avLst>
              <a:gd name="adj" fmla="val 0"/>
            </a:avLst>
          </a:prstGeom>
          <a:solidFill>
            <a:schemeClr val="accent5">
              <a:lumMod val="20000"/>
              <a:lumOff val="80000"/>
            </a:schemeClr>
          </a:solidFill>
          <a:ln w="9525" cap="flat" cmpd="sng" algn="ctr">
            <a:noFill/>
            <a:prstDash val="solid"/>
          </a:ln>
          <a:effectLst/>
        </p:spPr>
        <p:txBody>
          <a:bodyPr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1050" b="0" i="0" u="none" strike="noStrike" kern="0" cap="none" spc="0" normalizeH="0" baseline="0" noProof="0" err="1">
              <a:ln>
                <a:noFill/>
              </a:ln>
              <a:solidFill>
                <a:srgbClr val="000000"/>
              </a:solidFill>
              <a:effectLst/>
              <a:uLnTx/>
              <a:uFillTx/>
              <a:latin typeface="Arial"/>
              <a:ea typeface="+mn-ea"/>
              <a:cs typeface="+mn-cs"/>
            </a:endParaRPr>
          </a:p>
        </p:txBody>
      </p:sp>
      <p:grpSp>
        <p:nvGrpSpPr>
          <p:cNvPr id="80" name="Gruppo 79">
            <a:extLst>
              <a:ext uri="{FF2B5EF4-FFF2-40B4-BE49-F238E27FC236}">
                <a16:creationId xmlns:a16="http://schemas.microsoft.com/office/drawing/2014/main" id="{9257CB84-1625-40D1-9B44-B7A8DC6335EB}"/>
              </a:ext>
            </a:extLst>
          </p:cNvPr>
          <p:cNvGrpSpPr/>
          <p:nvPr/>
        </p:nvGrpSpPr>
        <p:grpSpPr>
          <a:xfrm>
            <a:off x="1167385" y="1493755"/>
            <a:ext cx="180584" cy="1000725"/>
            <a:chOff x="-142203" y="3831856"/>
            <a:chExt cx="284405" cy="320458"/>
          </a:xfrm>
        </p:grpSpPr>
        <p:sp>
          <p:nvSpPr>
            <p:cNvPr id="82" name="Chevron1">
              <a:extLst>
                <a:ext uri="{FF2B5EF4-FFF2-40B4-BE49-F238E27FC236}">
                  <a16:creationId xmlns:a16="http://schemas.microsoft.com/office/drawing/2014/main" id="{C27008B0-0BF8-4BF5-94E0-175859DDFC1A}"/>
                </a:ext>
              </a:extLst>
            </p:cNvPr>
            <p:cNvSpPr>
              <a:spLocks noChangeAspect="1"/>
            </p:cNvSpPr>
            <p:nvPr/>
          </p:nvSpPr>
          <p:spPr>
            <a:xfrm>
              <a:off x="-142203" y="3863902"/>
              <a:ext cx="150614" cy="256366"/>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rgbClr val="86868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it-IT" sz="1013" b="0" i="0" u="none" strike="noStrike" kern="1200" cap="none" spc="0" normalizeH="0" baseline="0" noProof="0">
                <a:ln>
                  <a:noFill/>
                </a:ln>
                <a:solidFill>
                  <a:srgbClr val="003F81"/>
                </a:solidFill>
                <a:effectLst/>
                <a:uLnTx/>
                <a:uFillTx/>
                <a:latin typeface="Arial"/>
                <a:ea typeface="+mn-ea"/>
                <a:cs typeface="+mn-cs"/>
              </a:endParaRPr>
            </a:p>
          </p:txBody>
        </p:sp>
        <p:sp>
          <p:nvSpPr>
            <p:cNvPr id="83" name="Chevron2">
              <a:extLst>
                <a:ext uri="{FF2B5EF4-FFF2-40B4-BE49-F238E27FC236}">
                  <a16:creationId xmlns:a16="http://schemas.microsoft.com/office/drawing/2014/main" id="{5A4EDC69-580F-424C-8B27-31F8D0846027}"/>
                </a:ext>
              </a:extLst>
            </p:cNvPr>
            <p:cNvSpPr>
              <a:spLocks noChangeAspect="1"/>
            </p:cNvSpPr>
            <p:nvPr/>
          </p:nvSpPr>
          <p:spPr>
            <a:xfrm>
              <a:off x="-46065" y="3831856"/>
              <a:ext cx="188267" cy="320458"/>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it-IT" sz="1013" b="0" i="0" u="none" strike="noStrike" kern="1200" cap="none" spc="0" normalizeH="0" baseline="0" noProof="0">
                <a:ln>
                  <a:noFill/>
                </a:ln>
                <a:solidFill>
                  <a:srgbClr val="003F81"/>
                </a:solidFill>
                <a:effectLst/>
                <a:uLnTx/>
                <a:uFillTx/>
                <a:latin typeface="Arial"/>
                <a:ea typeface="+mn-ea"/>
                <a:cs typeface="+mn-cs"/>
              </a:endParaRPr>
            </a:p>
          </p:txBody>
        </p:sp>
      </p:grpSp>
      <p:sp>
        <p:nvSpPr>
          <p:cNvPr id="81" name="CasellaDiTesto 1">
            <a:extLst>
              <a:ext uri="{FF2B5EF4-FFF2-40B4-BE49-F238E27FC236}">
                <a16:creationId xmlns:a16="http://schemas.microsoft.com/office/drawing/2014/main" id="{06B9D3BC-2836-4125-8D1E-CD6681D09C50}"/>
              </a:ext>
            </a:extLst>
          </p:cNvPr>
          <p:cNvSpPr txBox="1">
            <a:spLocks/>
          </p:cNvSpPr>
          <p:nvPr>
            <p:custDataLst>
              <p:tags r:id="rId1"/>
            </p:custDataLst>
          </p:nvPr>
        </p:nvSpPr>
        <p:spPr bwMode="gray">
          <a:xfrm>
            <a:off x="97326" y="1519090"/>
            <a:ext cx="1006061" cy="95005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a:defRPr>
                <a:solidFill>
                  <a:schemeClr val="tx1"/>
                </a:solidFil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dirty="0">
                <a:ln>
                  <a:noFill/>
                </a:ln>
                <a:solidFill>
                  <a:srgbClr val="FFFFFF"/>
                </a:solidFill>
                <a:effectLst/>
                <a:uLnTx/>
                <a:uFillTx/>
                <a:latin typeface="Arial" panose="020B0604020202020204"/>
                <a:ea typeface="+mn-ea"/>
                <a:cs typeface="+mn-cs"/>
              </a:rPr>
              <a:t>Criteri di intervento</a:t>
            </a:r>
          </a:p>
        </p:txBody>
      </p:sp>
      <p:sp>
        <p:nvSpPr>
          <p:cNvPr id="75" name="Rectangle 2">
            <a:extLst>
              <a:ext uri="{FF2B5EF4-FFF2-40B4-BE49-F238E27FC236}">
                <a16:creationId xmlns:a16="http://schemas.microsoft.com/office/drawing/2014/main" id="{F2E7A0AF-2489-4BEF-9196-322102F44986}"/>
              </a:ext>
            </a:extLst>
          </p:cNvPr>
          <p:cNvSpPr>
            <a:spLocks/>
          </p:cNvSpPr>
          <p:nvPr/>
        </p:nvSpPr>
        <p:spPr>
          <a:xfrm>
            <a:off x="1" y="3"/>
            <a:ext cx="9143999" cy="163396"/>
          </a:xfrm>
          <a:prstGeom prst="rect">
            <a:avLst/>
          </a:prstGeom>
          <a:solidFill>
            <a:srgbClr val="415064"/>
          </a:solidFill>
          <a:ln w="9525" cap="flat" cmpd="sng" algn="ctr">
            <a:noFill/>
            <a:prstDash val="solid"/>
          </a:ln>
          <a:effectLst/>
        </p:spPr>
        <p:txBody>
          <a:bodyPr rot="0" spcFirstLastPara="0" vert="horz" wrap="square" lIns="121920" tIns="60960" rIns="121920" bIns="6096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224" kern="1200">
                <a:solidFill>
                  <a:schemeClr val="lt1"/>
                </a:solidFill>
                <a:latin typeface="+mn-lt"/>
                <a:ea typeface="+mn-ea"/>
                <a:cs typeface="+mn-cs"/>
              </a:defRPr>
            </a:lvl1pPr>
            <a:lvl2pPr marL="349849" algn="l" rtl="0" fontAlgn="base">
              <a:spcBef>
                <a:spcPct val="0"/>
              </a:spcBef>
              <a:spcAft>
                <a:spcPct val="0"/>
              </a:spcAft>
              <a:defRPr sz="1224" kern="1200">
                <a:solidFill>
                  <a:schemeClr val="lt1"/>
                </a:solidFill>
                <a:latin typeface="+mn-lt"/>
                <a:ea typeface="+mn-ea"/>
                <a:cs typeface="+mn-cs"/>
              </a:defRPr>
            </a:lvl2pPr>
            <a:lvl3pPr marL="699699" algn="l" rtl="0" fontAlgn="base">
              <a:spcBef>
                <a:spcPct val="0"/>
              </a:spcBef>
              <a:spcAft>
                <a:spcPct val="0"/>
              </a:spcAft>
              <a:defRPr sz="1224" kern="1200">
                <a:solidFill>
                  <a:schemeClr val="lt1"/>
                </a:solidFill>
                <a:latin typeface="+mn-lt"/>
                <a:ea typeface="+mn-ea"/>
                <a:cs typeface="+mn-cs"/>
              </a:defRPr>
            </a:lvl3pPr>
            <a:lvl4pPr marL="1049548" algn="l" rtl="0" fontAlgn="base">
              <a:spcBef>
                <a:spcPct val="0"/>
              </a:spcBef>
              <a:spcAft>
                <a:spcPct val="0"/>
              </a:spcAft>
              <a:defRPr sz="1224" kern="1200">
                <a:solidFill>
                  <a:schemeClr val="lt1"/>
                </a:solidFill>
                <a:latin typeface="+mn-lt"/>
                <a:ea typeface="+mn-ea"/>
                <a:cs typeface="+mn-cs"/>
              </a:defRPr>
            </a:lvl4pPr>
            <a:lvl5pPr marL="1399398" algn="l" rtl="0" fontAlgn="base">
              <a:spcBef>
                <a:spcPct val="0"/>
              </a:spcBef>
              <a:spcAft>
                <a:spcPct val="0"/>
              </a:spcAft>
              <a:defRPr sz="1224" kern="1200">
                <a:solidFill>
                  <a:schemeClr val="lt1"/>
                </a:solidFill>
                <a:latin typeface="+mn-lt"/>
                <a:ea typeface="+mn-ea"/>
                <a:cs typeface="+mn-cs"/>
              </a:defRPr>
            </a:lvl5pPr>
            <a:lvl6pPr marL="1749247" algn="l" defTabSz="699699" rtl="0" eaLnBrk="1" latinLnBrk="0" hangingPunct="1">
              <a:defRPr sz="1224" kern="1200">
                <a:solidFill>
                  <a:schemeClr val="lt1"/>
                </a:solidFill>
                <a:latin typeface="+mn-lt"/>
                <a:ea typeface="+mn-ea"/>
                <a:cs typeface="+mn-cs"/>
              </a:defRPr>
            </a:lvl6pPr>
            <a:lvl7pPr marL="2099097" algn="l" defTabSz="699699" rtl="0" eaLnBrk="1" latinLnBrk="0" hangingPunct="1">
              <a:defRPr sz="1224" kern="1200">
                <a:solidFill>
                  <a:schemeClr val="lt1"/>
                </a:solidFill>
                <a:latin typeface="+mn-lt"/>
                <a:ea typeface="+mn-ea"/>
                <a:cs typeface="+mn-cs"/>
              </a:defRPr>
            </a:lvl7pPr>
            <a:lvl8pPr marL="2448946" algn="l" defTabSz="699699" rtl="0" eaLnBrk="1" latinLnBrk="0" hangingPunct="1">
              <a:defRPr sz="1224" kern="1200">
                <a:solidFill>
                  <a:schemeClr val="lt1"/>
                </a:solidFill>
                <a:latin typeface="+mn-lt"/>
                <a:ea typeface="+mn-ea"/>
                <a:cs typeface="+mn-cs"/>
              </a:defRPr>
            </a:lvl8pPr>
            <a:lvl9pPr marL="2798796" algn="l" defTabSz="699699" rtl="0" eaLnBrk="1" latinLnBrk="0" hangingPunct="1">
              <a:defRPr sz="1224" kern="1200">
                <a:solidFill>
                  <a:schemeClr val="lt1"/>
                </a:solidFill>
                <a:latin typeface="+mn-lt"/>
                <a:ea typeface="+mn-ea"/>
                <a:cs typeface="+mn-cs"/>
              </a:defRPr>
            </a:lvl9pPr>
          </a:lstStyle>
          <a:p>
            <a:pPr defTabSz="1219079">
              <a:defRPr/>
            </a:pPr>
            <a:r>
              <a:rPr lang="it-IT" sz="1000" b="1" dirty="0">
                <a:solidFill>
                  <a:srgbClr val="FFFFFF"/>
                </a:solidFill>
                <a:latin typeface="Arial"/>
              </a:rPr>
              <a:t>Supporto al settore pubblico</a:t>
            </a:r>
            <a:endParaRPr lang="it-IT" sz="1000" b="1" i="1" dirty="0">
              <a:solidFill>
                <a:srgbClr val="FFFFFF"/>
              </a:solidFill>
              <a:latin typeface="Arial"/>
            </a:endParaRPr>
          </a:p>
        </p:txBody>
      </p:sp>
      <p:sp>
        <p:nvSpPr>
          <p:cNvPr id="2" name="Rectangle 1">
            <a:extLst>
              <a:ext uri="{FF2B5EF4-FFF2-40B4-BE49-F238E27FC236}">
                <a16:creationId xmlns:a16="http://schemas.microsoft.com/office/drawing/2014/main" id="{E77D71DA-0563-42B9-A7E1-6940CA45CC4A}"/>
              </a:ext>
            </a:extLst>
          </p:cNvPr>
          <p:cNvSpPr/>
          <p:nvPr/>
        </p:nvSpPr>
        <p:spPr>
          <a:xfrm>
            <a:off x="347742" y="3357256"/>
            <a:ext cx="2717020" cy="1401602"/>
          </a:xfrm>
          <a:prstGeom prst="rect">
            <a:avLst/>
          </a:prstGeom>
        </p:spPr>
        <p:txBody>
          <a:bodyPr wrap="square">
            <a:spAutoFit/>
          </a:bodyPr>
          <a:lstStyle/>
          <a:p>
            <a:pPr lvl="0">
              <a:lnSpc>
                <a:spcPct val="120000"/>
              </a:lnSpc>
              <a:spcBef>
                <a:spcPts val="600"/>
              </a:spcBef>
              <a:spcAft>
                <a:spcPts val="600"/>
              </a:spcAft>
              <a:defRPr/>
            </a:pPr>
            <a:r>
              <a:rPr lang="it-IT" sz="1200" i="1" dirty="0">
                <a:solidFill>
                  <a:srgbClr val="415364"/>
                </a:solidFill>
              </a:rPr>
              <a:t>Dal 1° gennaio 2016, CDP gestisce per conto del Ministero dell'Economia e delle Finanze il </a:t>
            </a:r>
            <a:r>
              <a:rPr lang="it-IT" sz="1200" b="1" i="1" dirty="0">
                <a:solidFill>
                  <a:srgbClr val="415364"/>
                </a:solidFill>
              </a:rPr>
              <a:t>Fondo rotativo per la cooperazione allo sviluppo </a:t>
            </a:r>
            <a:r>
              <a:rPr lang="it-IT" sz="1200" i="1" dirty="0">
                <a:solidFill>
                  <a:srgbClr val="415364"/>
                </a:solidFill>
              </a:rPr>
              <a:t>(FRCS), istituito dall'articolo 26 della legge 227/1977</a:t>
            </a:r>
            <a:endParaRPr lang="en-US" sz="1200" i="1" dirty="0">
              <a:solidFill>
                <a:srgbClr val="415364"/>
              </a:solidFill>
            </a:endParaRPr>
          </a:p>
        </p:txBody>
      </p:sp>
    </p:spTree>
    <p:extLst>
      <p:ext uri="{BB962C8B-B14F-4D97-AF65-F5344CB8AC3E}">
        <p14:creationId xmlns:p14="http://schemas.microsoft.com/office/powerpoint/2010/main" val="9659175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ttangolo 33">
            <a:extLst>
              <a:ext uri="{FF2B5EF4-FFF2-40B4-BE49-F238E27FC236}">
                <a16:creationId xmlns:a16="http://schemas.microsoft.com/office/drawing/2014/main" id="{3C7DEC34-CFD3-4D47-A140-152C006EB132}"/>
              </a:ext>
            </a:extLst>
          </p:cNvPr>
          <p:cNvSpPr/>
          <p:nvPr/>
        </p:nvSpPr>
        <p:spPr>
          <a:xfrm>
            <a:off x="1401398" y="2937036"/>
            <a:ext cx="7045434" cy="54102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graphicFrame>
        <p:nvGraphicFramePr>
          <p:cNvPr id="7" name="Oggetto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727" name="Diapositiva think-cell" r:id="rId5" imgW="270" imgH="270" progId="TCLayout.ActiveDocument.1">
                  <p:embed/>
                </p:oleObj>
              </mc:Choice>
              <mc:Fallback>
                <p:oleObj name="Diapositiva think-cell" r:id="rId5" imgW="270" imgH="270" progId="TCLayout.ActiveDocument.1">
                  <p:embed/>
                  <p:pic>
                    <p:nvPicPr>
                      <p:cNvPr id="7" name="Oggetto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egnaposto numero diapositiva 3">
            <a:extLst>
              <a:ext uri="{FF2B5EF4-FFF2-40B4-BE49-F238E27FC236}">
                <a16:creationId xmlns:a16="http://schemas.microsoft.com/office/drawing/2014/main" id="{52C954B1-B0F4-4E12-BE66-48509ABAF6A1}"/>
              </a:ext>
            </a:extLst>
          </p:cNvPr>
          <p:cNvSpPr>
            <a:spLocks noGrp="1"/>
          </p:cNvSpPr>
          <p:nvPr>
            <p:ph type="sldNum" sz="quarter" idx="12"/>
          </p:nvPr>
        </p:nvSpPr>
        <p:spPr>
          <a:xfrm>
            <a:off x="142527" y="4842165"/>
            <a:ext cx="1008062" cy="183687"/>
          </a:xfrm>
        </p:spPr>
        <p:txBody>
          <a:bodyPr/>
          <a:lstStyle/>
          <a:p>
            <a:fld id="{608DA0FE-9C19-F746-8419-6700E348BF78}" type="slidenum">
              <a:rPr lang="it-IT" smtClean="0"/>
              <a:pPr/>
              <a:t>21</a:t>
            </a:fld>
            <a:endParaRPr lang="it-IT" dirty="0"/>
          </a:p>
        </p:txBody>
      </p:sp>
      <p:grpSp>
        <p:nvGrpSpPr>
          <p:cNvPr id="11" name="Gruppo 10">
            <a:extLst>
              <a:ext uri="{FF2B5EF4-FFF2-40B4-BE49-F238E27FC236}">
                <a16:creationId xmlns:a16="http://schemas.microsoft.com/office/drawing/2014/main" id="{6C4B42DC-B68F-4946-BF63-B142C09F86D0}"/>
              </a:ext>
            </a:extLst>
          </p:cNvPr>
          <p:cNvGrpSpPr/>
          <p:nvPr/>
        </p:nvGrpSpPr>
        <p:grpSpPr>
          <a:xfrm>
            <a:off x="795937" y="745276"/>
            <a:ext cx="7271691" cy="437581"/>
            <a:chOff x="795937" y="669076"/>
            <a:chExt cx="7271691" cy="437581"/>
          </a:xfrm>
        </p:grpSpPr>
        <p:sp>
          <p:nvSpPr>
            <p:cNvPr id="12" name="object 4"/>
            <p:cNvSpPr>
              <a:spLocks noChangeAspect="1"/>
            </p:cNvSpPr>
            <p:nvPr/>
          </p:nvSpPr>
          <p:spPr>
            <a:xfrm>
              <a:off x="795937" y="745738"/>
              <a:ext cx="360000" cy="360919"/>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1</a:t>
              </a:r>
              <a:endParaRPr sz="1600" b="1" dirty="0">
                <a:solidFill>
                  <a:schemeClr val="bg1"/>
                </a:solidFill>
              </a:endParaRPr>
            </a:p>
          </p:txBody>
        </p:sp>
        <p:sp>
          <p:nvSpPr>
            <p:cNvPr id="14" name="object 7"/>
            <p:cNvSpPr txBox="1"/>
            <p:nvPr/>
          </p:nvSpPr>
          <p:spPr>
            <a:xfrm>
              <a:off x="1401398" y="669076"/>
              <a:ext cx="6666230" cy="369332"/>
            </a:xfrm>
            <a:prstGeom prst="rect">
              <a:avLst/>
            </a:prstGeom>
            <a:noFill/>
          </p:spPr>
          <p:txBody>
            <a:bodyPr vert="horz" wrap="square" lIns="0" tIns="91440" rIns="0" bIns="0" rtlCol="0">
              <a:spAutoFit/>
            </a:bodyPr>
            <a:lstStyle/>
            <a:p>
              <a:pPr>
                <a:lnSpc>
                  <a:spcPct val="100000"/>
                </a:lnSpc>
                <a:spcBef>
                  <a:spcPts val="0"/>
                </a:spcBef>
              </a:pPr>
              <a:r>
                <a:rPr lang="it-IT" sz="1800" spc="-5" dirty="0">
                  <a:solidFill>
                    <a:srgbClr val="001547"/>
                  </a:solidFill>
                  <a:latin typeface="Arial"/>
                  <a:cs typeface="Arial"/>
                </a:rPr>
                <a:t> </a:t>
              </a:r>
              <a:r>
                <a:rPr sz="1600" spc="-5" dirty="0">
                  <a:latin typeface="Arial"/>
                  <a:cs typeface="Arial"/>
                </a:rPr>
                <a:t>CDP</a:t>
              </a:r>
              <a:r>
                <a:rPr sz="1600" spc="-30" dirty="0">
                  <a:latin typeface="Arial"/>
                  <a:cs typeface="Arial"/>
                </a:rPr>
                <a:t> </a:t>
              </a:r>
              <a:r>
                <a:rPr sz="1600" spc="-10" dirty="0">
                  <a:latin typeface="Arial"/>
                  <a:cs typeface="Arial"/>
                </a:rPr>
                <a:t>Overview</a:t>
              </a:r>
              <a:endParaRPr sz="1600" dirty="0">
                <a:latin typeface="Arial"/>
                <a:cs typeface="Arial"/>
              </a:endParaRPr>
            </a:p>
          </p:txBody>
        </p:sp>
      </p:grpSp>
      <p:grpSp>
        <p:nvGrpSpPr>
          <p:cNvPr id="2" name="Gruppo 1">
            <a:extLst>
              <a:ext uri="{FF2B5EF4-FFF2-40B4-BE49-F238E27FC236}">
                <a16:creationId xmlns:a16="http://schemas.microsoft.com/office/drawing/2014/main" id="{E502234F-E738-41AD-B385-69C8188B1564}"/>
              </a:ext>
            </a:extLst>
          </p:cNvPr>
          <p:cNvGrpSpPr/>
          <p:nvPr/>
        </p:nvGrpSpPr>
        <p:grpSpPr>
          <a:xfrm>
            <a:off x="795937" y="1401111"/>
            <a:ext cx="8101601" cy="350016"/>
            <a:chOff x="795937" y="1411283"/>
            <a:chExt cx="8101601" cy="350016"/>
          </a:xfrm>
        </p:grpSpPr>
        <p:sp>
          <p:nvSpPr>
            <p:cNvPr id="24" name="object 4">
              <a:extLst>
                <a:ext uri="{FF2B5EF4-FFF2-40B4-BE49-F238E27FC236}">
                  <a16:creationId xmlns:a16="http://schemas.microsoft.com/office/drawing/2014/main" id="{31171484-AEF4-4A18-A2B8-EF83B60007DA}"/>
                </a:ext>
              </a:extLst>
            </p:cNvPr>
            <p:cNvSpPr>
              <a:spLocks noChangeAspect="1"/>
            </p:cNvSpPr>
            <p:nvPr/>
          </p:nvSpPr>
          <p:spPr>
            <a:xfrm>
              <a:off x="795937" y="1411283"/>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2</a:t>
              </a:r>
              <a:endParaRPr sz="1600" b="1" dirty="0">
                <a:solidFill>
                  <a:schemeClr val="bg1"/>
                </a:solidFill>
              </a:endParaRPr>
            </a:p>
          </p:txBody>
        </p:sp>
        <p:sp>
          <p:nvSpPr>
            <p:cNvPr id="28" name="object 8">
              <a:extLst>
                <a:ext uri="{FF2B5EF4-FFF2-40B4-BE49-F238E27FC236}">
                  <a16:creationId xmlns:a16="http://schemas.microsoft.com/office/drawing/2014/main" id="{CE1AB38F-AFA0-4DCB-B72C-577467D31C3B}"/>
                </a:ext>
              </a:extLst>
            </p:cNvPr>
            <p:cNvSpPr txBox="1"/>
            <p:nvPr/>
          </p:nvSpPr>
          <p:spPr>
            <a:xfrm>
              <a:off x="1455338" y="1411283"/>
              <a:ext cx="7442200" cy="277512"/>
            </a:xfrm>
            <a:prstGeom prst="rect">
              <a:avLst/>
            </a:prstGeom>
          </p:spPr>
          <p:txBody>
            <a:bodyPr vert="horz" wrap="square" lIns="0" tIns="0" rIns="0" bIns="0" rtlCol="0">
              <a:spAutoFit/>
            </a:bodyPr>
            <a:lstStyle/>
            <a:p>
              <a:pPr>
                <a:lnSpc>
                  <a:spcPts val="2360"/>
                </a:lnSpc>
                <a:tabLst>
                  <a:tab pos="575945" algn="l"/>
                </a:tabLst>
              </a:pPr>
              <a:r>
                <a:rPr lang="it-IT" sz="2400" spc="-7" baseline="1543" dirty="0">
                  <a:latin typeface="Arial"/>
                  <a:cs typeface="Arial"/>
                </a:rPr>
                <a:t>Il contesto di riferimento</a:t>
              </a:r>
              <a:endParaRPr sz="2400" baseline="1543" dirty="0">
                <a:latin typeface="Arial"/>
                <a:cs typeface="Arial"/>
              </a:endParaRPr>
            </a:p>
          </p:txBody>
        </p:sp>
      </p:grpSp>
      <p:grpSp>
        <p:nvGrpSpPr>
          <p:cNvPr id="3" name="Gruppo 2">
            <a:extLst>
              <a:ext uri="{FF2B5EF4-FFF2-40B4-BE49-F238E27FC236}">
                <a16:creationId xmlns:a16="http://schemas.microsoft.com/office/drawing/2014/main" id="{DA3D8320-7280-406D-A541-2EE4C7B48E1B}"/>
              </a:ext>
            </a:extLst>
          </p:cNvPr>
          <p:cNvGrpSpPr/>
          <p:nvPr/>
        </p:nvGrpSpPr>
        <p:grpSpPr>
          <a:xfrm>
            <a:off x="795937" y="1948278"/>
            <a:ext cx="8101601" cy="350016"/>
            <a:chOff x="795937" y="1892478"/>
            <a:chExt cx="8101601" cy="350016"/>
          </a:xfrm>
        </p:grpSpPr>
        <p:sp>
          <p:nvSpPr>
            <p:cNvPr id="20" name="object 8"/>
            <p:cNvSpPr txBox="1"/>
            <p:nvPr/>
          </p:nvSpPr>
          <p:spPr>
            <a:xfrm>
              <a:off x="1455338" y="1892478"/>
              <a:ext cx="7442200" cy="307777"/>
            </a:xfrm>
            <a:prstGeom prst="rect">
              <a:avLst/>
            </a:prstGeom>
          </p:spPr>
          <p:txBody>
            <a:bodyPr vert="horz" wrap="square" lIns="0" tIns="0" rIns="0" bIns="0" rtlCol="0">
              <a:spAutoFit/>
            </a:bodyPr>
            <a:lstStyle/>
            <a:p>
              <a:pPr>
                <a:lnSpc>
                  <a:spcPts val="2360"/>
                </a:lnSpc>
                <a:tabLst>
                  <a:tab pos="575945" algn="l"/>
                </a:tabLst>
              </a:pPr>
              <a:r>
                <a:rPr sz="2400" spc="-7" baseline="1543" dirty="0">
                  <a:latin typeface="Arial"/>
                  <a:cs typeface="Arial"/>
                </a:rPr>
                <a:t>CDP</a:t>
              </a:r>
              <a:r>
                <a:rPr lang="it-IT" sz="2400" spc="-7" baseline="1543" dirty="0">
                  <a:latin typeface="Arial"/>
                  <a:cs typeface="Arial"/>
                </a:rPr>
                <a:t>:</a:t>
              </a:r>
              <a:r>
                <a:rPr sz="2400" spc="-7" baseline="1543" dirty="0">
                  <a:latin typeface="Arial"/>
                  <a:cs typeface="Arial"/>
                </a:rPr>
                <a:t> </a:t>
              </a:r>
              <a:r>
                <a:rPr lang="it-IT" sz="2400" spc="-7" baseline="1543" dirty="0">
                  <a:latin typeface="Arial"/>
                  <a:cs typeface="Arial"/>
                </a:rPr>
                <a:t>Istituzione</a:t>
              </a:r>
              <a:r>
                <a:rPr lang="it-IT" sz="2400" spc="-7" dirty="0">
                  <a:latin typeface="Arial"/>
                  <a:cs typeface="Arial"/>
                </a:rPr>
                <a:t> </a:t>
              </a:r>
              <a:r>
                <a:rPr lang="it-IT" sz="2400" spc="-7" baseline="1543" dirty="0">
                  <a:latin typeface="Arial"/>
                  <a:cs typeface="Arial"/>
                </a:rPr>
                <a:t>Finanziaria per la Cooperazione allo Sviluppo </a:t>
              </a:r>
              <a:endParaRPr sz="2400" baseline="1543" dirty="0">
                <a:latin typeface="Arial"/>
                <a:cs typeface="Arial"/>
              </a:endParaRPr>
            </a:p>
          </p:txBody>
        </p:sp>
        <p:sp>
          <p:nvSpPr>
            <p:cNvPr id="29" name="object 4">
              <a:extLst>
                <a:ext uri="{FF2B5EF4-FFF2-40B4-BE49-F238E27FC236}">
                  <a16:creationId xmlns:a16="http://schemas.microsoft.com/office/drawing/2014/main" id="{73493036-224A-4125-B2E8-DFCCA91E97EC}"/>
                </a:ext>
              </a:extLst>
            </p:cNvPr>
            <p:cNvSpPr>
              <a:spLocks noChangeAspect="1"/>
            </p:cNvSpPr>
            <p:nvPr/>
          </p:nvSpPr>
          <p:spPr>
            <a:xfrm>
              <a:off x="795937" y="1892478"/>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3</a:t>
              </a:r>
              <a:endParaRPr sz="1600" b="1" dirty="0">
                <a:solidFill>
                  <a:schemeClr val="bg1"/>
                </a:solidFill>
              </a:endParaRPr>
            </a:p>
          </p:txBody>
        </p:sp>
      </p:grpSp>
      <p:grpSp>
        <p:nvGrpSpPr>
          <p:cNvPr id="5" name="Gruppo 4">
            <a:extLst>
              <a:ext uri="{FF2B5EF4-FFF2-40B4-BE49-F238E27FC236}">
                <a16:creationId xmlns:a16="http://schemas.microsoft.com/office/drawing/2014/main" id="{E83A3AF0-A544-4520-A333-78BB77D585DE}"/>
              </a:ext>
            </a:extLst>
          </p:cNvPr>
          <p:cNvGrpSpPr/>
          <p:nvPr/>
        </p:nvGrpSpPr>
        <p:grpSpPr>
          <a:xfrm>
            <a:off x="795937" y="2495445"/>
            <a:ext cx="7526272" cy="350016"/>
            <a:chOff x="795937" y="2448333"/>
            <a:chExt cx="7526272" cy="350016"/>
          </a:xfrm>
        </p:grpSpPr>
        <p:sp>
          <p:nvSpPr>
            <p:cNvPr id="16" name="object 8"/>
            <p:cNvSpPr txBox="1"/>
            <p:nvPr/>
          </p:nvSpPr>
          <p:spPr>
            <a:xfrm>
              <a:off x="904193" y="2448333"/>
              <a:ext cx="7418016" cy="307777"/>
            </a:xfrm>
            <a:prstGeom prst="rect">
              <a:avLst/>
            </a:prstGeom>
          </p:spPr>
          <p:txBody>
            <a:bodyPr vert="horz" wrap="square" lIns="0" tIns="0" rIns="0" bIns="0" rtlCol="0">
              <a:spAutoFit/>
            </a:bodyPr>
            <a:lstStyle/>
            <a:p>
              <a:pPr marL="12700">
                <a:lnSpc>
                  <a:spcPts val="2360"/>
                </a:lnSpc>
                <a:tabLst>
                  <a:tab pos="575945" algn="l"/>
                </a:tabLst>
              </a:pPr>
              <a:r>
                <a:rPr lang="it-IT" sz="2000" spc="-5" dirty="0">
                  <a:solidFill>
                    <a:srgbClr val="FFFFFF"/>
                  </a:solidFill>
                  <a:latin typeface="Arial"/>
                  <a:cs typeface="Arial"/>
                </a:rPr>
                <a:t>4</a:t>
              </a:r>
              <a:r>
                <a:rPr sz="2400" spc="-5" dirty="0">
                  <a:solidFill>
                    <a:srgbClr val="FFFFFF"/>
                  </a:solidFill>
                  <a:latin typeface="Arial"/>
                  <a:cs typeface="Arial"/>
                </a:rPr>
                <a:t>	</a:t>
              </a:r>
              <a:r>
                <a:rPr lang="en-US" sz="2400" spc="-7" baseline="1543" dirty="0" err="1">
                  <a:cs typeface="Arial"/>
                </a:rPr>
                <a:t>Supporto</a:t>
              </a:r>
              <a:r>
                <a:rPr lang="en-US" sz="2400" spc="-7" baseline="1543" dirty="0">
                  <a:cs typeface="Arial"/>
                </a:rPr>
                <a:t> al </a:t>
              </a:r>
              <a:r>
                <a:rPr lang="en-US" sz="2400" spc="-7" baseline="1543" dirty="0" err="1">
                  <a:cs typeface="Arial"/>
                </a:rPr>
                <a:t>Settore</a:t>
              </a:r>
              <a:r>
                <a:rPr lang="en-US" sz="2400" spc="-7" baseline="1543" dirty="0">
                  <a:cs typeface="Arial"/>
                </a:rPr>
                <a:t> </a:t>
              </a:r>
              <a:r>
                <a:rPr lang="en-US" sz="2400" spc="-7" baseline="1543" dirty="0" err="1">
                  <a:cs typeface="Arial"/>
                </a:rPr>
                <a:t>Pubblico</a:t>
              </a:r>
              <a:endParaRPr sz="2400" spc="-7" baseline="1543" dirty="0">
                <a:latin typeface="Arial"/>
                <a:cs typeface="Arial"/>
              </a:endParaRPr>
            </a:p>
          </p:txBody>
        </p:sp>
        <p:sp>
          <p:nvSpPr>
            <p:cNvPr id="30" name="object 4">
              <a:extLst>
                <a:ext uri="{FF2B5EF4-FFF2-40B4-BE49-F238E27FC236}">
                  <a16:creationId xmlns:a16="http://schemas.microsoft.com/office/drawing/2014/main" id="{4EABFC6E-86FA-4787-991A-9B2860F0BFDE}"/>
                </a:ext>
              </a:extLst>
            </p:cNvPr>
            <p:cNvSpPr>
              <a:spLocks noChangeAspect="1"/>
            </p:cNvSpPr>
            <p:nvPr/>
          </p:nvSpPr>
          <p:spPr>
            <a:xfrm>
              <a:off x="795937" y="2448333"/>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4</a:t>
              </a:r>
              <a:endParaRPr sz="1600" b="1" dirty="0">
                <a:solidFill>
                  <a:schemeClr val="bg1"/>
                </a:solidFill>
              </a:endParaRPr>
            </a:p>
          </p:txBody>
        </p:sp>
      </p:grpSp>
      <p:grpSp>
        <p:nvGrpSpPr>
          <p:cNvPr id="6" name="Gruppo 5">
            <a:extLst>
              <a:ext uri="{FF2B5EF4-FFF2-40B4-BE49-F238E27FC236}">
                <a16:creationId xmlns:a16="http://schemas.microsoft.com/office/drawing/2014/main" id="{0A27A17E-C8CC-4056-9926-9709E507348F}"/>
              </a:ext>
            </a:extLst>
          </p:cNvPr>
          <p:cNvGrpSpPr/>
          <p:nvPr/>
        </p:nvGrpSpPr>
        <p:grpSpPr>
          <a:xfrm>
            <a:off x="795937" y="3042612"/>
            <a:ext cx="7550456" cy="350016"/>
            <a:chOff x="795937" y="3101581"/>
            <a:chExt cx="7550456" cy="350016"/>
          </a:xfrm>
        </p:grpSpPr>
        <p:sp>
          <p:nvSpPr>
            <p:cNvPr id="23" name="object 8">
              <a:extLst>
                <a:ext uri="{FF2B5EF4-FFF2-40B4-BE49-F238E27FC236}">
                  <a16:creationId xmlns:a16="http://schemas.microsoft.com/office/drawing/2014/main" id="{C694991B-2CA3-4265-A383-810EA881A649}"/>
                </a:ext>
              </a:extLst>
            </p:cNvPr>
            <p:cNvSpPr txBox="1"/>
            <p:nvPr/>
          </p:nvSpPr>
          <p:spPr>
            <a:xfrm>
              <a:off x="904193" y="3101581"/>
              <a:ext cx="7442200" cy="307777"/>
            </a:xfrm>
            <a:prstGeom prst="rect">
              <a:avLst/>
            </a:prstGeom>
          </p:spPr>
          <p:txBody>
            <a:bodyPr vert="horz" wrap="square" lIns="0" tIns="0" rIns="0" bIns="0" rtlCol="0">
              <a:spAutoFit/>
            </a:bodyPr>
            <a:lstStyle/>
            <a:p>
              <a:pPr marL="12700">
                <a:lnSpc>
                  <a:spcPts val="2360"/>
                </a:lnSpc>
                <a:tabLst>
                  <a:tab pos="575945" algn="l"/>
                </a:tabLst>
              </a:pPr>
              <a:r>
                <a:rPr lang="it-IT" sz="2000" b="1" spc="-5" dirty="0">
                  <a:solidFill>
                    <a:srgbClr val="FFFFFF"/>
                  </a:solidFill>
                  <a:latin typeface="Arial"/>
                  <a:cs typeface="Arial"/>
                </a:rPr>
                <a:t>5</a:t>
              </a:r>
              <a:r>
                <a:rPr sz="2000" b="1" spc="-5" dirty="0">
                  <a:solidFill>
                    <a:srgbClr val="FFFFFF"/>
                  </a:solidFill>
                  <a:latin typeface="Arial"/>
                  <a:cs typeface="Arial"/>
                </a:rPr>
                <a:t>	</a:t>
              </a:r>
              <a:r>
                <a:rPr lang="en-US" sz="1600" b="1" spc="-10" dirty="0" err="1">
                  <a:latin typeface="Arial"/>
                  <a:cs typeface="Arial"/>
                </a:rPr>
                <a:t>Supporto</a:t>
              </a:r>
              <a:r>
                <a:rPr lang="en-US" sz="1600" b="1" spc="-10" dirty="0">
                  <a:latin typeface="Arial"/>
                  <a:cs typeface="Arial"/>
                </a:rPr>
                <a:t> al </a:t>
              </a:r>
              <a:r>
                <a:rPr lang="en-US" sz="1600" b="1" spc="-10" dirty="0" err="1">
                  <a:latin typeface="Arial"/>
                  <a:cs typeface="Arial"/>
                </a:rPr>
                <a:t>Settore</a:t>
              </a:r>
              <a:r>
                <a:rPr lang="en-US" sz="1600" b="1" spc="-10" dirty="0">
                  <a:latin typeface="Arial"/>
                  <a:cs typeface="Arial"/>
                </a:rPr>
                <a:t> </a:t>
              </a:r>
              <a:r>
                <a:rPr lang="en-US" sz="1600" b="1" spc="-10" dirty="0" err="1">
                  <a:latin typeface="Arial"/>
                  <a:cs typeface="Arial"/>
                </a:rPr>
                <a:t>Privato</a:t>
              </a:r>
              <a:endParaRPr sz="1600" b="1" spc="-10" dirty="0">
                <a:latin typeface="Arial"/>
                <a:cs typeface="Arial"/>
              </a:endParaRPr>
            </a:p>
          </p:txBody>
        </p:sp>
        <p:sp>
          <p:nvSpPr>
            <p:cNvPr id="31" name="object 4">
              <a:extLst>
                <a:ext uri="{FF2B5EF4-FFF2-40B4-BE49-F238E27FC236}">
                  <a16:creationId xmlns:a16="http://schemas.microsoft.com/office/drawing/2014/main" id="{E71654FD-123B-4386-9800-2227621A6B4A}"/>
                </a:ext>
              </a:extLst>
            </p:cNvPr>
            <p:cNvSpPr>
              <a:spLocks noChangeAspect="1"/>
            </p:cNvSpPr>
            <p:nvPr/>
          </p:nvSpPr>
          <p:spPr>
            <a:xfrm>
              <a:off x="795937" y="3101581"/>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5</a:t>
              </a:r>
              <a:endParaRPr sz="1600" b="1" dirty="0">
                <a:solidFill>
                  <a:schemeClr val="bg1"/>
                </a:solidFill>
              </a:endParaRPr>
            </a:p>
          </p:txBody>
        </p:sp>
      </p:grpSp>
      <p:grpSp>
        <p:nvGrpSpPr>
          <p:cNvPr id="8" name="Gruppo 7">
            <a:extLst>
              <a:ext uri="{FF2B5EF4-FFF2-40B4-BE49-F238E27FC236}">
                <a16:creationId xmlns:a16="http://schemas.microsoft.com/office/drawing/2014/main" id="{B8F38F40-C37C-4DA7-93A7-3006DAE87134}"/>
              </a:ext>
            </a:extLst>
          </p:cNvPr>
          <p:cNvGrpSpPr/>
          <p:nvPr/>
        </p:nvGrpSpPr>
        <p:grpSpPr>
          <a:xfrm>
            <a:off x="795937" y="3589779"/>
            <a:ext cx="7538364" cy="350016"/>
            <a:chOff x="795937" y="3921579"/>
            <a:chExt cx="7538364" cy="350016"/>
          </a:xfrm>
        </p:grpSpPr>
        <p:sp>
          <p:nvSpPr>
            <p:cNvPr id="18" name="object 8"/>
            <p:cNvSpPr txBox="1"/>
            <p:nvPr/>
          </p:nvSpPr>
          <p:spPr>
            <a:xfrm>
              <a:off x="892101" y="3921579"/>
              <a:ext cx="7442200" cy="307777"/>
            </a:xfrm>
            <a:prstGeom prst="rect">
              <a:avLst/>
            </a:prstGeom>
          </p:spPr>
          <p:txBody>
            <a:bodyPr vert="horz" wrap="square" lIns="0" tIns="0" rIns="0" bIns="0" rtlCol="0">
              <a:spAutoFit/>
            </a:bodyPr>
            <a:lstStyle/>
            <a:p>
              <a:pPr marL="12700">
                <a:lnSpc>
                  <a:spcPts val="2360"/>
                </a:lnSpc>
                <a:tabLst>
                  <a:tab pos="575945" algn="l"/>
                </a:tabLst>
              </a:pPr>
              <a:r>
                <a:rPr lang="it-IT" sz="2000" b="1" spc="-5" dirty="0">
                  <a:solidFill>
                    <a:srgbClr val="FFFFFF"/>
                  </a:solidFill>
                  <a:latin typeface="Arial"/>
                  <a:cs typeface="Arial"/>
                </a:rPr>
                <a:t>6</a:t>
              </a:r>
              <a:r>
                <a:rPr sz="2400" b="1" spc="-5" dirty="0">
                  <a:solidFill>
                    <a:srgbClr val="FFFFFF"/>
                  </a:solidFill>
                  <a:latin typeface="Arial"/>
                  <a:cs typeface="Arial"/>
                </a:rPr>
                <a:t>	</a:t>
              </a:r>
              <a:r>
                <a:rPr lang="en-US" sz="1600" spc="-10" dirty="0">
                  <a:cs typeface="Arial"/>
                </a:rPr>
                <a:t>Global Partnership</a:t>
              </a:r>
              <a:endParaRPr sz="1600" spc="-10" dirty="0">
                <a:latin typeface="Arial"/>
                <a:cs typeface="Arial"/>
              </a:endParaRPr>
            </a:p>
          </p:txBody>
        </p:sp>
        <p:sp>
          <p:nvSpPr>
            <p:cNvPr id="32" name="object 4">
              <a:extLst>
                <a:ext uri="{FF2B5EF4-FFF2-40B4-BE49-F238E27FC236}">
                  <a16:creationId xmlns:a16="http://schemas.microsoft.com/office/drawing/2014/main" id="{C06F2CB3-480C-4A0A-B658-70C4569EE028}"/>
                </a:ext>
              </a:extLst>
            </p:cNvPr>
            <p:cNvSpPr>
              <a:spLocks noChangeAspect="1"/>
            </p:cNvSpPr>
            <p:nvPr/>
          </p:nvSpPr>
          <p:spPr>
            <a:xfrm>
              <a:off x="795937" y="3921579"/>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6</a:t>
              </a:r>
              <a:endParaRPr sz="1600" b="1" dirty="0">
                <a:solidFill>
                  <a:schemeClr val="bg1"/>
                </a:solidFill>
              </a:endParaRPr>
            </a:p>
          </p:txBody>
        </p:sp>
      </p:grpSp>
    </p:spTree>
    <p:extLst>
      <p:ext uri="{BB962C8B-B14F-4D97-AF65-F5344CB8AC3E}">
        <p14:creationId xmlns:p14="http://schemas.microsoft.com/office/powerpoint/2010/main" val="16957395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81ECFAAD-76ED-429A-857A-0B8034FD6880}"/>
              </a:ext>
            </a:extLst>
          </p:cNvPr>
          <p:cNvSpPr>
            <a:spLocks noGrp="1"/>
          </p:cNvSpPr>
          <p:nvPr>
            <p:ph type="body" idx="13"/>
          </p:nvPr>
        </p:nvSpPr>
        <p:spPr>
          <a:xfrm>
            <a:off x="250824" y="268288"/>
            <a:ext cx="8893175" cy="207155"/>
          </a:xfrm>
        </p:spPr>
        <p:txBody>
          <a:bodyPr/>
          <a:lstStyle/>
          <a:p>
            <a:r>
              <a:rPr lang="it-IT" dirty="0"/>
              <a:t>Il sostegno finanziario di CDP al settore privato: contesto internazionale</a:t>
            </a:r>
          </a:p>
        </p:txBody>
      </p:sp>
      <p:sp>
        <p:nvSpPr>
          <p:cNvPr id="4" name="Segnaposto numero diapositiva 3">
            <a:extLst>
              <a:ext uri="{FF2B5EF4-FFF2-40B4-BE49-F238E27FC236}">
                <a16:creationId xmlns:a16="http://schemas.microsoft.com/office/drawing/2014/main" id="{09B2B456-7FB8-43C6-A58F-07B342AD72F2}"/>
              </a:ext>
            </a:extLst>
          </p:cNvPr>
          <p:cNvSpPr>
            <a:spLocks noGrp="1"/>
          </p:cNvSpPr>
          <p:nvPr>
            <p:ph type="sldNum" sz="quarter" idx="12"/>
          </p:nvPr>
        </p:nvSpPr>
        <p:spPr>
          <a:xfrm>
            <a:off x="316141" y="4830397"/>
            <a:ext cx="1008062" cy="183687"/>
          </a:xfrm>
        </p:spPr>
        <p:txBody>
          <a:bodyPr/>
          <a:lstStyle/>
          <a:p>
            <a:fld id="{608DA0FE-9C19-F746-8419-6700E348BF78}" type="slidenum">
              <a:rPr lang="it-IT" smtClean="0"/>
              <a:pPr/>
              <a:t>22</a:t>
            </a:fld>
            <a:endParaRPr lang="it-IT" dirty="0"/>
          </a:p>
        </p:txBody>
      </p:sp>
      <p:sp>
        <p:nvSpPr>
          <p:cNvPr id="24" name="Rectangle 2">
            <a:extLst>
              <a:ext uri="{FF2B5EF4-FFF2-40B4-BE49-F238E27FC236}">
                <a16:creationId xmlns:a16="http://schemas.microsoft.com/office/drawing/2014/main" id="{E0269A4A-0FA5-4648-8B26-A9B7C2962331}"/>
              </a:ext>
            </a:extLst>
          </p:cNvPr>
          <p:cNvSpPr>
            <a:spLocks/>
          </p:cNvSpPr>
          <p:nvPr/>
        </p:nvSpPr>
        <p:spPr>
          <a:xfrm>
            <a:off x="1" y="3"/>
            <a:ext cx="9143999" cy="163396"/>
          </a:xfrm>
          <a:prstGeom prst="rect">
            <a:avLst/>
          </a:prstGeom>
          <a:solidFill>
            <a:srgbClr val="415064"/>
          </a:solidFill>
          <a:ln w="9525" cap="flat" cmpd="sng" algn="ctr">
            <a:noFill/>
            <a:prstDash val="solid"/>
          </a:ln>
          <a:effectLst/>
        </p:spPr>
        <p:txBody>
          <a:bodyPr rot="0" spcFirstLastPara="0" vert="horz" wrap="square" lIns="121920" tIns="60960" rIns="121920" bIns="6096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224" kern="1200">
                <a:solidFill>
                  <a:schemeClr val="lt1"/>
                </a:solidFill>
                <a:latin typeface="+mn-lt"/>
                <a:ea typeface="+mn-ea"/>
                <a:cs typeface="+mn-cs"/>
              </a:defRPr>
            </a:lvl1pPr>
            <a:lvl2pPr marL="349849" algn="l" rtl="0" fontAlgn="base">
              <a:spcBef>
                <a:spcPct val="0"/>
              </a:spcBef>
              <a:spcAft>
                <a:spcPct val="0"/>
              </a:spcAft>
              <a:defRPr sz="1224" kern="1200">
                <a:solidFill>
                  <a:schemeClr val="lt1"/>
                </a:solidFill>
                <a:latin typeface="+mn-lt"/>
                <a:ea typeface="+mn-ea"/>
                <a:cs typeface="+mn-cs"/>
              </a:defRPr>
            </a:lvl2pPr>
            <a:lvl3pPr marL="699699" algn="l" rtl="0" fontAlgn="base">
              <a:spcBef>
                <a:spcPct val="0"/>
              </a:spcBef>
              <a:spcAft>
                <a:spcPct val="0"/>
              </a:spcAft>
              <a:defRPr sz="1224" kern="1200">
                <a:solidFill>
                  <a:schemeClr val="lt1"/>
                </a:solidFill>
                <a:latin typeface="+mn-lt"/>
                <a:ea typeface="+mn-ea"/>
                <a:cs typeface="+mn-cs"/>
              </a:defRPr>
            </a:lvl3pPr>
            <a:lvl4pPr marL="1049548" algn="l" rtl="0" fontAlgn="base">
              <a:spcBef>
                <a:spcPct val="0"/>
              </a:spcBef>
              <a:spcAft>
                <a:spcPct val="0"/>
              </a:spcAft>
              <a:defRPr sz="1224" kern="1200">
                <a:solidFill>
                  <a:schemeClr val="lt1"/>
                </a:solidFill>
                <a:latin typeface="+mn-lt"/>
                <a:ea typeface="+mn-ea"/>
                <a:cs typeface="+mn-cs"/>
              </a:defRPr>
            </a:lvl4pPr>
            <a:lvl5pPr marL="1399398" algn="l" rtl="0" fontAlgn="base">
              <a:spcBef>
                <a:spcPct val="0"/>
              </a:spcBef>
              <a:spcAft>
                <a:spcPct val="0"/>
              </a:spcAft>
              <a:defRPr sz="1224" kern="1200">
                <a:solidFill>
                  <a:schemeClr val="lt1"/>
                </a:solidFill>
                <a:latin typeface="+mn-lt"/>
                <a:ea typeface="+mn-ea"/>
                <a:cs typeface="+mn-cs"/>
              </a:defRPr>
            </a:lvl5pPr>
            <a:lvl6pPr marL="1749247" algn="l" defTabSz="699699" rtl="0" eaLnBrk="1" latinLnBrk="0" hangingPunct="1">
              <a:defRPr sz="1224" kern="1200">
                <a:solidFill>
                  <a:schemeClr val="lt1"/>
                </a:solidFill>
                <a:latin typeface="+mn-lt"/>
                <a:ea typeface="+mn-ea"/>
                <a:cs typeface="+mn-cs"/>
              </a:defRPr>
            </a:lvl6pPr>
            <a:lvl7pPr marL="2099097" algn="l" defTabSz="699699" rtl="0" eaLnBrk="1" latinLnBrk="0" hangingPunct="1">
              <a:defRPr sz="1224" kern="1200">
                <a:solidFill>
                  <a:schemeClr val="lt1"/>
                </a:solidFill>
                <a:latin typeface="+mn-lt"/>
                <a:ea typeface="+mn-ea"/>
                <a:cs typeface="+mn-cs"/>
              </a:defRPr>
            </a:lvl7pPr>
            <a:lvl8pPr marL="2448946" algn="l" defTabSz="699699" rtl="0" eaLnBrk="1" latinLnBrk="0" hangingPunct="1">
              <a:defRPr sz="1224" kern="1200">
                <a:solidFill>
                  <a:schemeClr val="lt1"/>
                </a:solidFill>
                <a:latin typeface="+mn-lt"/>
                <a:ea typeface="+mn-ea"/>
                <a:cs typeface="+mn-cs"/>
              </a:defRPr>
            </a:lvl8pPr>
            <a:lvl9pPr marL="2798796" algn="l" defTabSz="699699" rtl="0" eaLnBrk="1" latinLnBrk="0" hangingPunct="1">
              <a:defRPr sz="1224" kern="1200">
                <a:solidFill>
                  <a:schemeClr val="lt1"/>
                </a:solidFill>
                <a:latin typeface="+mn-lt"/>
                <a:ea typeface="+mn-ea"/>
                <a:cs typeface="+mn-cs"/>
              </a:defRPr>
            </a:lvl9pPr>
          </a:lstStyle>
          <a:p>
            <a:pPr defTabSz="1219079">
              <a:defRPr/>
            </a:pPr>
            <a:r>
              <a:rPr lang="it-IT" sz="1000" b="1" dirty="0">
                <a:solidFill>
                  <a:srgbClr val="FFFFFF"/>
                </a:solidFill>
                <a:latin typeface="Arial"/>
              </a:rPr>
              <a:t>Supporto al settore privato</a:t>
            </a:r>
            <a:endParaRPr lang="it-IT" sz="1000" b="1" i="1" dirty="0">
              <a:solidFill>
                <a:srgbClr val="FFFFFF"/>
              </a:solidFill>
              <a:latin typeface="Arial"/>
            </a:endParaRPr>
          </a:p>
        </p:txBody>
      </p:sp>
      <p:sp>
        <p:nvSpPr>
          <p:cNvPr id="25" name="Rettangolo 24">
            <a:extLst>
              <a:ext uri="{FF2B5EF4-FFF2-40B4-BE49-F238E27FC236}">
                <a16:creationId xmlns:a16="http://schemas.microsoft.com/office/drawing/2014/main" id="{48810F06-2458-4416-AEB1-6B4B583A7A20}"/>
              </a:ext>
            </a:extLst>
          </p:cNvPr>
          <p:cNvSpPr/>
          <p:nvPr/>
        </p:nvSpPr>
        <p:spPr>
          <a:xfrm>
            <a:off x="279706" y="756011"/>
            <a:ext cx="8689033" cy="735458"/>
          </a:xfrm>
          <a:prstGeom prst="rect">
            <a:avLst/>
          </a:prstGeom>
        </p:spPr>
        <p:txBody>
          <a:bodyPr wrap="square">
            <a:spAutoFit/>
          </a:bodyPr>
          <a:lstStyle/>
          <a:p>
            <a:pPr>
              <a:lnSpc>
                <a:spcPct val="110000"/>
              </a:lnSpc>
              <a:buClr>
                <a:srgbClr val="415064"/>
              </a:buClr>
            </a:pPr>
            <a:r>
              <a:rPr lang="it-IT" sz="1300" dirty="0">
                <a:solidFill>
                  <a:srgbClr val="415064"/>
                </a:solidFill>
              </a:rPr>
              <a:t>Nell’ultimo decennio gli obiettivi e gli impegni assunti a livello nazionale e internazionale dai Paesi donatori (ad es., raggiungimento </a:t>
            </a:r>
            <a:r>
              <a:rPr lang="it-IT" sz="1300" dirty="0" err="1">
                <a:solidFill>
                  <a:srgbClr val="415064"/>
                </a:solidFill>
              </a:rPr>
              <a:t>SDGs</a:t>
            </a:r>
            <a:r>
              <a:rPr lang="it-IT" sz="1300" dirty="0">
                <a:solidFill>
                  <a:srgbClr val="415064"/>
                </a:solidFill>
              </a:rPr>
              <a:t>, accordo COP 21) </a:t>
            </a:r>
            <a:r>
              <a:rPr lang="it-IT" sz="1300" dirty="0"/>
              <a:t>hanno generato un significativo </a:t>
            </a:r>
            <a:r>
              <a:rPr lang="it-IT" sz="1300" b="1" dirty="0"/>
              <a:t>incremento del fabbisogno di risorse </a:t>
            </a:r>
            <a:r>
              <a:rPr lang="it-IT" sz="1300" dirty="0"/>
              <a:t>da veicolare verso lo sviluppo sostenibile </a:t>
            </a:r>
            <a:endParaRPr lang="it-IT" sz="1300" dirty="0">
              <a:solidFill>
                <a:srgbClr val="415064"/>
              </a:solidFill>
            </a:endParaRPr>
          </a:p>
        </p:txBody>
      </p:sp>
      <p:sp>
        <p:nvSpPr>
          <p:cNvPr id="32" name="TextBox 149">
            <a:extLst>
              <a:ext uri="{FF2B5EF4-FFF2-40B4-BE49-F238E27FC236}">
                <a16:creationId xmlns:a16="http://schemas.microsoft.com/office/drawing/2014/main" id="{038A6FE2-9FDF-44AA-8A67-F35ED9F746E8}"/>
              </a:ext>
            </a:extLst>
          </p:cNvPr>
          <p:cNvSpPr txBox="1">
            <a:spLocks/>
          </p:cNvSpPr>
          <p:nvPr/>
        </p:nvSpPr>
        <p:spPr>
          <a:xfrm>
            <a:off x="2269686" y="1582257"/>
            <a:ext cx="6462834" cy="32284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342900" lvl="0" indent="-342900" algn="l" defTabSz="895350" eaLnBrk="0" hangingPunct="0">
              <a:buClr>
                <a:schemeClr val="tx2"/>
              </a:buClr>
              <a:defRPr sz="1600">
                <a:solidFill>
                  <a:srgbClr val="17375E"/>
                </a:solidFill>
                <a:latin typeface="+mn-lt"/>
                <a:ea typeface="Verdana" panose="020B0604030504040204" pitchFamily="34" charset="0"/>
                <a:cs typeface="Verdana" panose="020B0604030504040204" pitchFamily="34" charset="0"/>
              </a:defRPr>
            </a:lvl1pPr>
            <a:lvl2pPr marL="193675" indent="-192088" algn="l" defTabSz="895350" eaLnBrk="0" hangingPunct="0">
              <a:buClr>
                <a:schemeClr val="tx2"/>
              </a:buClr>
              <a:buSzPct val="125000"/>
              <a:buFont typeface="Arial" pitchFamily="34" charset="0"/>
              <a:buChar char="▪"/>
              <a:defRPr sz="1600">
                <a:solidFill>
                  <a:srgbClr val="17375E"/>
                </a:solidFill>
                <a:latin typeface="+mn-lt"/>
              </a:defRPr>
            </a:lvl2pPr>
            <a:lvl3pPr marL="457200" indent="-261938" algn="l" defTabSz="895350" eaLnBrk="0" hangingPunct="0">
              <a:buClr>
                <a:schemeClr val="tx2"/>
              </a:buClr>
              <a:buSzPct val="120000"/>
              <a:buFont typeface="Arial" pitchFamily="34" charset="0"/>
              <a:buChar char="–"/>
              <a:defRPr sz="1600">
                <a:solidFill>
                  <a:srgbClr val="17375E"/>
                </a:solidFill>
                <a:latin typeface="+mn-lt"/>
              </a:defRPr>
            </a:lvl3pPr>
            <a:lvl4pPr marL="614363" indent="-155575" algn="l" defTabSz="895350" eaLnBrk="0" hangingPunct="0">
              <a:buClr>
                <a:schemeClr val="tx2"/>
              </a:buClr>
              <a:buSzPct val="120000"/>
              <a:buFont typeface="Arial" pitchFamily="34" charset="0"/>
              <a:buChar char="▫"/>
              <a:defRPr sz="1600">
                <a:solidFill>
                  <a:srgbClr val="17375E"/>
                </a:solidFill>
                <a:latin typeface="+mn-lt"/>
              </a:defRPr>
            </a:lvl4pPr>
            <a:lvl5pPr marL="746125" indent="-130175" algn="l" defTabSz="895350" eaLnBrk="0" hangingPunct="0">
              <a:buClr>
                <a:schemeClr val="tx2"/>
              </a:buClr>
              <a:buSzPct val="89000"/>
              <a:buFont typeface="Arial" pitchFamily="34" charset="0"/>
              <a:buChar char="-"/>
              <a:defRPr sz="1600">
                <a:solidFill>
                  <a:srgbClr val="17375E"/>
                </a:solidFill>
                <a:latin typeface="+mn-lt"/>
              </a:defRPr>
            </a:lvl5pPr>
            <a:lvl6pPr marL="1203325" indent="-130175" defTabSz="895350" fontAlgn="base">
              <a:spcBef>
                <a:spcPct val="0"/>
              </a:spcBef>
              <a:spcAft>
                <a:spcPct val="0"/>
              </a:spcAft>
              <a:buClr>
                <a:schemeClr val="tx2"/>
              </a:buClr>
              <a:buSzPct val="89000"/>
              <a:buFont typeface="Arial" charset="0"/>
              <a:buChar char="-"/>
              <a:defRPr sz="1600">
                <a:solidFill>
                  <a:srgbClr val="17375E"/>
                </a:solidFill>
                <a:latin typeface="+mn-lt"/>
              </a:defRPr>
            </a:lvl6pPr>
            <a:lvl7pPr marL="1660525" indent="-130175" defTabSz="895350" fontAlgn="base">
              <a:spcBef>
                <a:spcPct val="0"/>
              </a:spcBef>
              <a:spcAft>
                <a:spcPct val="0"/>
              </a:spcAft>
              <a:buClr>
                <a:schemeClr val="tx2"/>
              </a:buClr>
              <a:buSzPct val="89000"/>
              <a:buFont typeface="Arial" charset="0"/>
              <a:buChar char="-"/>
              <a:defRPr sz="1600">
                <a:solidFill>
                  <a:srgbClr val="17375E"/>
                </a:solidFill>
                <a:latin typeface="+mn-lt"/>
              </a:defRPr>
            </a:lvl7pPr>
            <a:lvl8pPr marL="2117725" indent="-130175" defTabSz="895350" fontAlgn="base">
              <a:spcBef>
                <a:spcPct val="0"/>
              </a:spcBef>
              <a:spcAft>
                <a:spcPct val="0"/>
              </a:spcAft>
              <a:buClr>
                <a:schemeClr val="tx2"/>
              </a:buClr>
              <a:buSzPct val="89000"/>
              <a:buFont typeface="Arial" charset="0"/>
              <a:buChar char="-"/>
              <a:defRPr sz="1600">
                <a:solidFill>
                  <a:srgbClr val="17375E"/>
                </a:solidFill>
                <a:latin typeface="+mn-lt"/>
              </a:defRPr>
            </a:lvl8pPr>
            <a:lvl9pPr marL="2574925" indent="-130175" defTabSz="895350" fontAlgn="base">
              <a:spcBef>
                <a:spcPct val="0"/>
              </a:spcBef>
              <a:spcAft>
                <a:spcPct val="0"/>
              </a:spcAft>
              <a:buClr>
                <a:schemeClr val="tx2"/>
              </a:buClr>
              <a:buSzPct val="89000"/>
              <a:buFont typeface="Arial" charset="0"/>
              <a:buChar char="-"/>
              <a:defRPr sz="1600">
                <a:solidFill>
                  <a:srgbClr val="17375E"/>
                </a:solidFill>
                <a:latin typeface="+mn-lt"/>
              </a:defRPr>
            </a:lvl9pPr>
          </a:lstStyle>
          <a:p>
            <a:pPr marL="182563" indent="-182563">
              <a:lnSpc>
                <a:spcPct val="110000"/>
              </a:lnSpc>
              <a:spcAft>
                <a:spcPts val="600"/>
              </a:spcAft>
              <a:buClr>
                <a:srgbClr val="415064"/>
              </a:buClr>
              <a:buFont typeface="Arial" panose="020B0604020202020204" pitchFamily="34" charset="0"/>
              <a:buChar char="•"/>
            </a:pPr>
            <a:r>
              <a:rPr lang="it-IT" sz="1300" dirty="0">
                <a:solidFill>
                  <a:srgbClr val="415064"/>
                </a:solidFill>
              </a:rPr>
              <a:t>Il fabbisogno di risorse è coperto solo in minima parte dal settore pubblico</a:t>
            </a:r>
            <a:endParaRPr lang="it-IT" sz="1300" b="1" dirty="0">
              <a:solidFill>
                <a:srgbClr val="415064"/>
              </a:solidFill>
            </a:endParaRPr>
          </a:p>
          <a:p>
            <a:pPr marL="182563" indent="-182563">
              <a:lnSpc>
                <a:spcPct val="110000"/>
              </a:lnSpc>
              <a:spcAft>
                <a:spcPts val="600"/>
              </a:spcAft>
              <a:buClr>
                <a:srgbClr val="415064"/>
              </a:buClr>
              <a:buFont typeface="Arial" panose="020B0604020202020204" pitchFamily="34" charset="0"/>
              <a:buChar char="•"/>
            </a:pPr>
            <a:r>
              <a:rPr lang="it-IT" sz="1300" dirty="0">
                <a:solidFill>
                  <a:srgbClr val="415364"/>
                </a:solidFill>
                <a:ea typeface="Calibri" panose="020F0502020204030204" pitchFamily="34" charset="0"/>
                <a:cs typeface="Times New Roman" panose="02020603050405020304" pitchFamily="18" charset="0"/>
              </a:rPr>
              <a:t>Esiste pertanto un </a:t>
            </a:r>
            <a:r>
              <a:rPr lang="it-IT" sz="1300" b="1" dirty="0">
                <a:solidFill>
                  <a:srgbClr val="415364"/>
                </a:solidFill>
                <a:ea typeface="Calibri" panose="020F0502020204030204" pitchFamily="34" charset="0"/>
                <a:cs typeface="Times New Roman" panose="02020603050405020304" pitchFamily="18" charset="0"/>
              </a:rPr>
              <a:t>gap finanziario </a:t>
            </a:r>
            <a:r>
              <a:rPr lang="it-IT" sz="1300" dirty="0">
                <a:solidFill>
                  <a:srgbClr val="415364"/>
                </a:solidFill>
                <a:ea typeface="Calibri" panose="020F0502020204030204" pitchFamily="34" charset="0"/>
                <a:cs typeface="Times New Roman" panose="02020603050405020304" pitchFamily="18" charset="0"/>
              </a:rPr>
              <a:t>che ha determinato la necessità di promuovere in misura crescente l’intervento di capitali provenienti dal settore privato</a:t>
            </a:r>
          </a:p>
          <a:p>
            <a:pPr marL="182563" indent="-182563">
              <a:lnSpc>
                <a:spcPct val="110000"/>
              </a:lnSpc>
              <a:spcAft>
                <a:spcPts val="600"/>
              </a:spcAft>
              <a:buClr>
                <a:srgbClr val="415064"/>
              </a:buClr>
              <a:buFont typeface="Arial" panose="020B0604020202020204" pitchFamily="34" charset="0"/>
              <a:buChar char="•"/>
            </a:pPr>
            <a:r>
              <a:rPr lang="it-IT" sz="1300" dirty="0">
                <a:solidFill>
                  <a:srgbClr val="415364"/>
                </a:solidFill>
              </a:rPr>
              <a:t>Per massimizzare la mobilitazione di capitali privati molti Paesi donatori si sono dotati di istituzioni dedicate, le </a:t>
            </a:r>
            <a:r>
              <a:rPr lang="it-IT" sz="1300" b="1" dirty="0">
                <a:solidFill>
                  <a:srgbClr val="415364"/>
                </a:solidFill>
              </a:rPr>
              <a:t>Development Finance Institutions </a:t>
            </a:r>
            <a:r>
              <a:rPr lang="it-IT" sz="1300" dirty="0">
                <a:solidFill>
                  <a:srgbClr val="415364"/>
                </a:solidFill>
              </a:rPr>
              <a:t>(DFI)</a:t>
            </a:r>
            <a:endParaRPr lang="it-IT" sz="1300" b="1" dirty="0">
              <a:solidFill>
                <a:srgbClr val="415364"/>
              </a:solidFill>
            </a:endParaRPr>
          </a:p>
          <a:p>
            <a:pPr marL="182563" indent="-182563">
              <a:lnSpc>
                <a:spcPct val="110000"/>
              </a:lnSpc>
              <a:spcAft>
                <a:spcPts val="600"/>
              </a:spcAft>
              <a:buClr>
                <a:srgbClr val="415064"/>
              </a:buClr>
              <a:buFont typeface="Arial" panose="020B0604020202020204" pitchFamily="34" charset="0"/>
              <a:buChar char="•"/>
            </a:pPr>
            <a:r>
              <a:rPr lang="it-IT" sz="1300" dirty="0">
                <a:solidFill>
                  <a:srgbClr val="415064"/>
                </a:solidFill>
              </a:rPr>
              <a:t>Le DFI investono principalmente in </a:t>
            </a:r>
            <a:r>
              <a:rPr lang="it-IT" sz="1300" b="1" dirty="0">
                <a:solidFill>
                  <a:srgbClr val="415064"/>
                </a:solidFill>
              </a:rPr>
              <a:t>progetti promossi da soggetti privati </a:t>
            </a:r>
            <a:r>
              <a:rPr lang="it-IT" sz="1300" dirty="0">
                <a:solidFill>
                  <a:srgbClr val="415064"/>
                </a:solidFill>
              </a:rPr>
              <a:t>nei mercati emergenti che producano un </a:t>
            </a:r>
            <a:r>
              <a:rPr lang="it-IT" sz="1300" b="1" dirty="0">
                <a:solidFill>
                  <a:srgbClr val="415064"/>
                </a:solidFill>
              </a:rPr>
              <a:t>impatto positivo </a:t>
            </a:r>
            <a:r>
              <a:rPr lang="it-IT" sz="1300" dirty="0">
                <a:solidFill>
                  <a:srgbClr val="415064"/>
                </a:solidFill>
              </a:rPr>
              <a:t>in termini di crescita economico-sociale del Paese beneficiario e salvaguardando la </a:t>
            </a:r>
            <a:r>
              <a:rPr lang="it-IT" sz="1300" b="1" dirty="0">
                <a:solidFill>
                  <a:srgbClr val="415064"/>
                </a:solidFill>
              </a:rPr>
              <a:t>sostenibilità economico-finanziaria</a:t>
            </a:r>
            <a:r>
              <a:rPr lang="it-IT" sz="1300" dirty="0">
                <a:solidFill>
                  <a:srgbClr val="415064"/>
                </a:solidFill>
              </a:rPr>
              <a:t> delle operazioni</a:t>
            </a:r>
            <a:endParaRPr lang="it-IT" sz="1300" dirty="0">
              <a:solidFill>
                <a:srgbClr val="FF0000"/>
              </a:solidFill>
            </a:endParaRPr>
          </a:p>
          <a:p>
            <a:pPr marL="182563" indent="-182563">
              <a:lnSpc>
                <a:spcPct val="110000"/>
              </a:lnSpc>
              <a:spcAft>
                <a:spcPts val="600"/>
              </a:spcAft>
              <a:buClr>
                <a:srgbClr val="415064"/>
              </a:buClr>
              <a:buFont typeface="Arial" panose="020B0604020202020204" pitchFamily="34" charset="0"/>
              <a:buChar char="•"/>
            </a:pPr>
            <a:r>
              <a:rPr lang="it-IT" sz="1300" dirty="0">
                <a:solidFill>
                  <a:srgbClr val="415064"/>
                </a:solidFill>
              </a:rPr>
              <a:t>Le principali DFI sono </a:t>
            </a:r>
            <a:r>
              <a:rPr lang="it-IT" sz="1300" b="1" dirty="0">
                <a:solidFill>
                  <a:srgbClr val="415064"/>
                </a:solidFill>
              </a:rPr>
              <a:t>partecipate dai Governi nazionali</a:t>
            </a:r>
            <a:r>
              <a:rPr lang="it-IT" sz="1300" dirty="0">
                <a:solidFill>
                  <a:srgbClr val="415064"/>
                </a:solidFill>
              </a:rPr>
              <a:t>, che ne detengono la totalità o la maggioranza del capitale</a:t>
            </a:r>
          </a:p>
          <a:p>
            <a:pPr marL="182563" indent="-182563">
              <a:lnSpc>
                <a:spcPct val="110000"/>
              </a:lnSpc>
              <a:spcAft>
                <a:spcPts val="600"/>
              </a:spcAft>
              <a:buClr>
                <a:srgbClr val="415064"/>
              </a:buClr>
              <a:buFont typeface="Arial" panose="020B0604020202020204" pitchFamily="34" charset="0"/>
              <a:buChar char="•"/>
            </a:pPr>
            <a:r>
              <a:rPr lang="it-IT" sz="1300" dirty="0">
                <a:solidFill>
                  <a:srgbClr val="415064"/>
                </a:solidFill>
              </a:rPr>
              <a:t>Le DFI </a:t>
            </a:r>
            <a:r>
              <a:rPr lang="it-IT" sz="1300" b="1" dirty="0">
                <a:solidFill>
                  <a:srgbClr val="415064"/>
                </a:solidFill>
              </a:rPr>
              <a:t>godono di forme di supporto finanziario pubblico </a:t>
            </a:r>
            <a:r>
              <a:rPr lang="it-IT" sz="1300" dirty="0">
                <a:solidFill>
                  <a:srgbClr val="415064"/>
                </a:solidFill>
              </a:rPr>
              <a:t>al fine di favorire impieghi diversificati anche su aree caratterizzate da più elevati profili di rischio</a:t>
            </a:r>
            <a:endParaRPr lang="it-IT" sz="1300" dirty="0">
              <a:solidFill>
                <a:srgbClr val="415364"/>
              </a:solidFill>
            </a:endParaRPr>
          </a:p>
        </p:txBody>
      </p:sp>
      <p:sp>
        <p:nvSpPr>
          <p:cNvPr id="51" name="Arrow: Pentagon 35">
            <a:extLst>
              <a:ext uri="{FF2B5EF4-FFF2-40B4-BE49-F238E27FC236}">
                <a16:creationId xmlns:a16="http://schemas.microsoft.com/office/drawing/2014/main" id="{0BE0C850-8E1F-4D11-9350-9BD160431B5E}"/>
              </a:ext>
            </a:extLst>
          </p:cNvPr>
          <p:cNvSpPr>
            <a:spLocks/>
          </p:cNvSpPr>
          <p:nvPr/>
        </p:nvSpPr>
        <p:spPr>
          <a:xfrm rot="5400000">
            <a:off x="-114691" y="2526646"/>
            <a:ext cx="3252688" cy="1277378"/>
          </a:xfrm>
          <a:prstGeom prst="homePlate">
            <a:avLst>
              <a:gd name="adj" fmla="val 0"/>
            </a:avLst>
          </a:prstGeom>
          <a:gradFill>
            <a:gsLst>
              <a:gs pos="0">
                <a:schemeClr val="bg1"/>
              </a:gs>
              <a:gs pos="3000">
                <a:srgbClr val="D9D9D9">
                  <a:lumMod val="45000"/>
                  <a:lumOff val="55000"/>
                </a:srgbClr>
              </a:gs>
              <a:gs pos="100000">
                <a:srgbClr val="D9D9D9">
                  <a:lumMod val="45000"/>
                  <a:lumOff val="55000"/>
                </a:srgbClr>
              </a:gs>
              <a:gs pos="100000">
                <a:schemeClr val="bg1">
                  <a:lumMod val="90000"/>
                </a:schemeClr>
              </a:gs>
            </a:gsLst>
            <a:lin ang="0" scaled="1"/>
          </a:gradFill>
          <a:ln w="9525" cap="flat" cmpd="sng" algn="ctr">
            <a:gradFill flip="none" rotWithShape="1">
              <a:gsLst>
                <a:gs pos="0">
                  <a:srgbClr val="D9D9D9">
                    <a:lumMod val="5000"/>
                    <a:lumOff val="95000"/>
                  </a:srgbClr>
                </a:gs>
                <a:gs pos="74000">
                  <a:srgbClr val="D9D9D9">
                    <a:lumMod val="45000"/>
                    <a:lumOff val="55000"/>
                  </a:srgbClr>
                </a:gs>
                <a:gs pos="83000">
                  <a:srgbClr val="D9D9D9">
                    <a:lumMod val="45000"/>
                    <a:lumOff val="55000"/>
                  </a:srgbClr>
                </a:gs>
                <a:gs pos="100000">
                  <a:srgbClr val="D9D9D9">
                    <a:lumMod val="30000"/>
                    <a:lumOff val="70000"/>
                  </a:srgbClr>
                </a:gs>
              </a:gsLst>
              <a:lin ang="0" scaled="1"/>
              <a:tileRect/>
            </a:gradFill>
            <a:prstDash val="solid"/>
          </a:ln>
          <a:effectLst/>
        </p:spPr>
        <p:txBody>
          <a:bodyPr rtlCol="0" anchor="ctr">
            <a:noAutofit/>
          </a:bodyPr>
          <a:lstStyle/>
          <a:p>
            <a:pPr algn="ctr" defTabSz="685800" fontAlgn="auto">
              <a:spcBef>
                <a:spcPts val="0"/>
              </a:spcBef>
              <a:spcAft>
                <a:spcPts val="0"/>
              </a:spcAft>
              <a:defRPr/>
            </a:pPr>
            <a:endParaRPr lang="it-IT" sz="1050" kern="0" dirty="0" err="1">
              <a:solidFill>
                <a:srgbClr val="000000"/>
              </a:solidFill>
              <a:latin typeface="Arial"/>
            </a:endParaRPr>
          </a:p>
        </p:txBody>
      </p:sp>
      <p:sp>
        <p:nvSpPr>
          <p:cNvPr id="52" name="CasellaDiTesto 1">
            <a:extLst>
              <a:ext uri="{FF2B5EF4-FFF2-40B4-BE49-F238E27FC236}">
                <a16:creationId xmlns:a16="http://schemas.microsoft.com/office/drawing/2014/main" id="{98378F48-8319-46A3-AA68-EE3B9F224BFC}"/>
              </a:ext>
            </a:extLst>
          </p:cNvPr>
          <p:cNvSpPr txBox="1">
            <a:spLocks/>
          </p:cNvSpPr>
          <p:nvPr>
            <p:custDataLst>
              <p:tags r:id="rId1"/>
            </p:custDataLst>
          </p:nvPr>
        </p:nvSpPr>
        <p:spPr bwMode="gray">
          <a:xfrm>
            <a:off x="250824" y="1902949"/>
            <a:ext cx="1462039" cy="2607574"/>
          </a:xfrm>
          <a:prstGeom prst="rect">
            <a:avLst/>
          </a:prstGeom>
          <a:solidFill>
            <a:srgbClr val="4153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marL="0" marR="0" lvl="0" indent="0" algn="ctr" defTabSz="914400" eaLnBrk="1" latinLnBrk="0" hangingPunct="1">
              <a:lnSpc>
                <a:spcPct val="100000"/>
              </a:lnSpc>
              <a:buClrTx/>
              <a:buSzTx/>
              <a:buFontTx/>
              <a:buNone/>
              <a:tabLst/>
              <a:defRPr kumimoji="0" sz="1700" b="1" i="0" u="none" strike="noStrike" cap="none" spc="0" normalizeH="0" baseline="0">
                <a:ln>
                  <a:noFill/>
                </a:ln>
                <a:solidFill>
                  <a:srgbClr val="FFFFFF"/>
                </a:solidFill>
                <a:effectLst/>
                <a:uLnTx/>
                <a:uFillTx/>
                <a:latin typeface="Aria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nSpc>
                <a:spcPct val="110000"/>
              </a:lnSpc>
            </a:pPr>
            <a:r>
              <a:rPr lang="it-IT" sz="1400" dirty="0"/>
              <a:t>Il contesto internazionale</a:t>
            </a:r>
          </a:p>
        </p:txBody>
      </p:sp>
      <p:grpSp>
        <p:nvGrpSpPr>
          <p:cNvPr id="53" name="Gruppo 52">
            <a:extLst>
              <a:ext uri="{FF2B5EF4-FFF2-40B4-BE49-F238E27FC236}">
                <a16:creationId xmlns:a16="http://schemas.microsoft.com/office/drawing/2014/main" id="{7E7DEE10-DDC5-401D-BC77-20B793C93E39}"/>
              </a:ext>
            </a:extLst>
          </p:cNvPr>
          <p:cNvGrpSpPr>
            <a:grpSpLocks noChangeAspect="1"/>
          </p:cNvGrpSpPr>
          <p:nvPr/>
        </p:nvGrpSpPr>
        <p:grpSpPr>
          <a:xfrm>
            <a:off x="1778866" y="2909666"/>
            <a:ext cx="287549" cy="324000"/>
            <a:chOff x="1816540" y="3028242"/>
            <a:chExt cx="287550" cy="324000"/>
          </a:xfrm>
          <a:solidFill>
            <a:srgbClr val="415364"/>
          </a:solidFill>
        </p:grpSpPr>
        <p:sp>
          <p:nvSpPr>
            <p:cNvPr id="54" name="Chevron1">
              <a:extLst>
                <a:ext uri="{FF2B5EF4-FFF2-40B4-BE49-F238E27FC236}">
                  <a16:creationId xmlns:a16="http://schemas.microsoft.com/office/drawing/2014/main" id="{479F2107-A4EE-45A2-8490-B8E87DA4986A}"/>
                </a:ext>
              </a:extLst>
            </p:cNvPr>
            <p:cNvSpPr>
              <a:spLocks noChangeAspect="1"/>
            </p:cNvSpPr>
            <p:nvPr/>
          </p:nvSpPr>
          <p:spPr>
            <a:xfrm>
              <a:off x="1816540" y="3060642"/>
              <a:ext cx="152280" cy="2592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rgbClr val="86868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dirty="0" err="1">
                <a:solidFill>
                  <a:srgbClr val="003F81"/>
                </a:solidFill>
                <a:latin typeface="Arial"/>
              </a:endParaRPr>
            </a:p>
          </p:txBody>
        </p:sp>
        <p:sp>
          <p:nvSpPr>
            <p:cNvPr id="55" name="Chevron2">
              <a:extLst>
                <a:ext uri="{FF2B5EF4-FFF2-40B4-BE49-F238E27FC236}">
                  <a16:creationId xmlns:a16="http://schemas.microsoft.com/office/drawing/2014/main" id="{A2B1F2C3-B24A-4211-80C3-F57E675A47D5}"/>
                </a:ext>
              </a:extLst>
            </p:cNvPr>
            <p:cNvSpPr>
              <a:spLocks noChangeAspect="1"/>
            </p:cNvSpPr>
            <p:nvPr/>
          </p:nvSpPr>
          <p:spPr>
            <a:xfrm>
              <a:off x="1913740" y="3028242"/>
              <a:ext cx="190350" cy="324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dirty="0" err="1">
                <a:solidFill>
                  <a:srgbClr val="003F81"/>
                </a:solidFill>
                <a:latin typeface="Arial"/>
              </a:endParaRPr>
            </a:p>
          </p:txBody>
        </p:sp>
      </p:grpSp>
    </p:spTree>
    <p:extLst>
      <p:ext uri="{BB962C8B-B14F-4D97-AF65-F5344CB8AC3E}">
        <p14:creationId xmlns:p14="http://schemas.microsoft.com/office/powerpoint/2010/main" val="2578035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Connettore diritto 74">
            <a:extLst>
              <a:ext uri="{FF2B5EF4-FFF2-40B4-BE49-F238E27FC236}">
                <a16:creationId xmlns:a16="http://schemas.microsoft.com/office/drawing/2014/main" id="{4DDCE5DE-7A2E-490E-9807-736CC4D1CC0E}"/>
              </a:ext>
            </a:extLst>
          </p:cNvPr>
          <p:cNvCxnSpPr>
            <a:cxnSpLocks/>
          </p:cNvCxnSpPr>
          <p:nvPr/>
        </p:nvCxnSpPr>
        <p:spPr>
          <a:xfrm flipH="1">
            <a:off x="1296705" y="3148648"/>
            <a:ext cx="7538092" cy="0"/>
          </a:xfrm>
          <a:prstGeom prst="line">
            <a:avLst/>
          </a:prstGeom>
          <a:noFill/>
          <a:ln w="12700" cap="flat" cmpd="sng" algn="ctr">
            <a:solidFill>
              <a:schemeClr val="accent3">
                <a:lumMod val="20000"/>
                <a:lumOff val="80000"/>
              </a:schemeClr>
            </a:solidFill>
            <a:prstDash val="sysDash"/>
          </a:ln>
          <a:effectLst/>
        </p:spPr>
      </p:cxnSp>
      <p:sp>
        <p:nvSpPr>
          <p:cNvPr id="2" name="Segnaposto testo 1">
            <a:extLst>
              <a:ext uri="{FF2B5EF4-FFF2-40B4-BE49-F238E27FC236}">
                <a16:creationId xmlns:a16="http://schemas.microsoft.com/office/drawing/2014/main" id="{DFF78E3E-8CD8-4716-87C3-1C7C63CA5CC3}"/>
              </a:ext>
            </a:extLst>
          </p:cNvPr>
          <p:cNvSpPr>
            <a:spLocks noGrp="1"/>
          </p:cNvSpPr>
          <p:nvPr>
            <p:ph type="body" idx="13"/>
          </p:nvPr>
        </p:nvSpPr>
        <p:spPr>
          <a:xfrm>
            <a:off x="250825" y="268289"/>
            <a:ext cx="8654024" cy="287337"/>
          </a:xfrm>
        </p:spPr>
        <p:txBody>
          <a:bodyPr/>
          <a:lstStyle/>
          <a:p>
            <a:r>
              <a:rPr lang="it-IT" dirty="0"/>
              <a:t>Le ragioni del sostegno finanziario di CDP al settore privato</a:t>
            </a:r>
          </a:p>
        </p:txBody>
      </p:sp>
      <p:sp>
        <p:nvSpPr>
          <p:cNvPr id="5" name="Segnaposto numero diapositiva 4">
            <a:extLst>
              <a:ext uri="{FF2B5EF4-FFF2-40B4-BE49-F238E27FC236}">
                <a16:creationId xmlns:a16="http://schemas.microsoft.com/office/drawing/2014/main" id="{70D7524F-F089-4277-933C-C7C40BECD481}"/>
              </a:ext>
            </a:extLst>
          </p:cNvPr>
          <p:cNvSpPr>
            <a:spLocks noGrp="1"/>
          </p:cNvSpPr>
          <p:nvPr>
            <p:ph type="sldNum" sz="quarter" idx="12"/>
          </p:nvPr>
        </p:nvSpPr>
        <p:spPr>
          <a:xfrm>
            <a:off x="250825" y="4789762"/>
            <a:ext cx="1008062" cy="183687"/>
          </a:xfrm>
        </p:spPr>
        <p:txBody>
          <a:bodyPr/>
          <a:lstStyle/>
          <a:p>
            <a:fld id="{608DA0FE-9C19-F746-8419-6700E348BF78}" type="slidenum">
              <a:rPr lang="it-IT" smtClean="0"/>
              <a:pPr/>
              <a:t>23</a:t>
            </a:fld>
            <a:endParaRPr lang="it-IT" dirty="0"/>
          </a:p>
        </p:txBody>
      </p:sp>
      <p:sp>
        <p:nvSpPr>
          <p:cNvPr id="6" name="object 21">
            <a:extLst>
              <a:ext uri="{FF2B5EF4-FFF2-40B4-BE49-F238E27FC236}">
                <a16:creationId xmlns:a16="http://schemas.microsoft.com/office/drawing/2014/main" id="{EF50B751-AA86-4227-BA69-8366DD7DDF98}"/>
              </a:ext>
            </a:extLst>
          </p:cNvPr>
          <p:cNvSpPr txBox="1"/>
          <p:nvPr/>
        </p:nvSpPr>
        <p:spPr>
          <a:xfrm>
            <a:off x="2242319" y="769862"/>
            <a:ext cx="6592478" cy="3956852"/>
          </a:xfrm>
          <a:prstGeom prst="rect">
            <a:avLst/>
          </a:prstGeom>
        </p:spPr>
        <p:txBody>
          <a:bodyPr vert="horz" wrap="square" lIns="0" tIns="13335" rIns="0" bIns="0" rtlCol="0">
            <a:spAutoFit/>
          </a:bodyPr>
          <a:lstStyle/>
          <a:p>
            <a:pPr marL="12700" marR="5080" algn="just" defTabSz="457189">
              <a:spcBef>
                <a:spcPts val="105"/>
              </a:spcBef>
              <a:buClr>
                <a:srgbClr val="C80025"/>
              </a:buClr>
              <a:tabLst>
                <a:tab pos="183511" algn="l"/>
              </a:tabLst>
              <a:defRPr/>
            </a:pPr>
            <a:endParaRPr lang="it-IT" sz="1250" spc="-5" dirty="0">
              <a:solidFill>
                <a:srgbClr val="415064"/>
              </a:solidFill>
              <a:latin typeface="Arial"/>
              <a:cs typeface="Arial"/>
            </a:endParaRPr>
          </a:p>
          <a:p>
            <a:pPr marL="12700" marR="5080" indent="-169859" algn="just" defTabSz="457189">
              <a:lnSpc>
                <a:spcPct val="110000"/>
              </a:lnSpc>
              <a:spcBef>
                <a:spcPts val="105"/>
              </a:spcBef>
              <a:spcAft>
                <a:spcPts val="300"/>
              </a:spcAft>
              <a:buClr>
                <a:srgbClr val="C80025"/>
              </a:buClr>
              <a:tabLst>
                <a:tab pos="183511" algn="l"/>
              </a:tabLst>
              <a:defRPr/>
            </a:pPr>
            <a:r>
              <a:rPr lang="it-IT" sz="1250" spc="-5" dirty="0">
                <a:solidFill>
                  <a:srgbClr val="415064"/>
                </a:solidFill>
                <a:latin typeface="Arial"/>
                <a:cs typeface="Arial"/>
              </a:rPr>
              <a:t>Supportare le iniziative di imprese private per sostenere la crescita sostenibile nei PVS. Coinvolgere il settore privato vuol dire:</a:t>
            </a:r>
          </a:p>
          <a:p>
            <a:pPr marL="182563" marR="5080" indent="-182563" algn="just" defTabSz="457189">
              <a:lnSpc>
                <a:spcPct val="110000"/>
              </a:lnSpc>
              <a:spcBef>
                <a:spcPts val="300"/>
              </a:spcBef>
              <a:buClr>
                <a:srgbClr val="17375E"/>
              </a:buClr>
              <a:buFont typeface="Arial" panose="020B0604020202020204" pitchFamily="34" charset="0"/>
              <a:buChar char="•"/>
              <a:tabLst>
                <a:tab pos="183511" algn="l"/>
              </a:tabLst>
              <a:defRPr/>
            </a:pPr>
            <a:r>
              <a:rPr lang="it-IT" sz="1250" spc="-5" dirty="0">
                <a:solidFill>
                  <a:srgbClr val="3E5265"/>
                </a:solidFill>
                <a:cs typeface="Arial"/>
              </a:rPr>
              <a:t>Contribuire allo sviluppo del sistema delle imprese nei PVS soprattutto attraverso interventi a beneficio delle </a:t>
            </a:r>
            <a:r>
              <a:rPr lang="it-IT" sz="1250" b="1" spc="-5" dirty="0">
                <a:solidFill>
                  <a:srgbClr val="3E5265"/>
                </a:solidFill>
                <a:cs typeface="Arial"/>
              </a:rPr>
              <a:t>PMI locali </a:t>
            </a:r>
          </a:p>
          <a:p>
            <a:pPr marL="182563" marR="5080" indent="-182563" algn="just" defTabSz="457189">
              <a:lnSpc>
                <a:spcPct val="110000"/>
              </a:lnSpc>
              <a:spcBef>
                <a:spcPts val="300"/>
              </a:spcBef>
              <a:buClr>
                <a:srgbClr val="17375E"/>
              </a:buClr>
              <a:buFont typeface="Arial" panose="020B0604020202020204" pitchFamily="34" charset="0"/>
              <a:buChar char="•"/>
              <a:tabLst>
                <a:tab pos="183511" algn="l"/>
              </a:tabLst>
              <a:defRPr/>
            </a:pPr>
            <a:r>
              <a:rPr lang="it-IT" sz="1250" spc="-5" dirty="0">
                <a:solidFill>
                  <a:srgbClr val="3E5265"/>
                </a:solidFill>
                <a:cs typeface="Arial"/>
              </a:rPr>
              <a:t>Potenziare l'impatto di iniziative che prevedono anche l'impiego di risorse pubbliche attraverso il coinvolgimento di imprese private per il </a:t>
            </a:r>
            <a:r>
              <a:rPr lang="it-IT" sz="1250" b="1" spc="-5" dirty="0">
                <a:solidFill>
                  <a:srgbClr val="3E5265"/>
                </a:solidFill>
                <a:cs typeface="Arial"/>
              </a:rPr>
              <a:t>trasferimento di </a:t>
            </a:r>
            <a:r>
              <a:rPr lang="it-IT" sz="1250" b="1" i="1" spc="-5" dirty="0">
                <a:solidFill>
                  <a:srgbClr val="3E5265"/>
                </a:solidFill>
                <a:cs typeface="Arial"/>
              </a:rPr>
              <a:t>best </a:t>
            </a:r>
            <a:r>
              <a:rPr lang="it-IT" sz="1250" b="1" i="1" spc="-5" dirty="0" err="1">
                <a:solidFill>
                  <a:srgbClr val="3E5265"/>
                </a:solidFill>
                <a:cs typeface="Arial"/>
              </a:rPr>
              <a:t>practice</a:t>
            </a:r>
            <a:r>
              <a:rPr lang="it-IT" sz="1250" b="1" i="1" spc="-5" dirty="0">
                <a:solidFill>
                  <a:srgbClr val="3E5265"/>
                </a:solidFill>
                <a:cs typeface="Arial"/>
              </a:rPr>
              <a:t> </a:t>
            </a:r>
            <a:r>
              <a:rPr lang="it-IT" sz="1250" b="1" spc="-5" dirty="0">
                <a:solidFill>
                  <a:srgbClr val="3E5265"/>
                </a:solidFill>
                <a:cs typeface="Arial"/>
              </a:rPr>
              <a:t>e tecnologie</a:t>
            </a:r>
            <a:r>
              <a:rPr lang="it-IT" sz="1250" spc="-5" dirty="0">
                <a:solidFill>
                  <a:srgbClr val="3E5265"/>
                </a:solidFill>
                <a:cs typeface="Arial"/>
              </a:rPr>
              <a:t>, anche valorizzando le competenze di campioni nazionali in settori strategici</a:t>
            </a:r>
            <a:r>
              <a:rPr lang="it-IT" sz="1250" spc="-5" baseline="30000" dirty="0">
                <a:solidFill>
                  <a:srgbClr val="3E5265"/>
                </a:solidFill>
                <a:cs typeface="Arial"/>
              </a:rPr>
              <a:t>1</a:t>
            </a:r>
            <a:r>
              <a:rPr lang="it-IT" sz="1250" spc="-5" dirty="0">
                <a:solidFill>
                  <a:srgbClr val="3E5265"/>
                </a:solidFill>
                <a:cs typeface="Arial"/>
              </a:rPr>
              <a:t> </a:t>
            </a:r>
          </a:p>
          <a:p>
            <a:pPr marL="182563" marR="5080" indent="-182563" algn="just" defTabSz="457189">
              <a:lnSpc>
                <a:spcPct val="110000"/>
              </a:lnSpc>
              <a:spcBef>
                <a:spcPts val="300"/>
              </a:spcBef>
              <a:buClr>
                <a:srgbClr val="17375E"/>
              </a:buClr>
              <a:buFont typeface="Arial" panose="020B0604020202020204" pitchFamily="34" charset="0"/>
              <a:buChar char="•"/>
              <a:tabLst>
                <a:tab pos="183511" algn="l"/>
              </a:tabLst>
              <a:defRPr/>
            </a:pPr>
            <a:r>
              <a:rPr lang="it-IT" sz="1250" spc="-5" dirty="0">
                <a:solidFill>
                  <a:srgbClr val="3E5265"/>
                </a:solidFill>
                <a:cs typeface="Arial"/>
              </a:rPr>
              <a:t>Fare leva su capitali di terzi utilizzando le risorse pubbliche attraverso forme di mitigazione dei rischi finalizzate a </a:t>
            </a:r>
            <a:r>
              <a:rPr lang="it-IT" sz="1250" b="1" spc="-5" dirty="0">
                <a:solidFill>
                  <a:srgbClr val="3E5265"/>
                </a:solidFill>
                <a:cs typeface="Arial"/>
              </a:rPr>
              <a:t>massimizzare le risorse complessivamente mobilitate</a:t>
            </a:r>
          </a:p>
          <a:p>
            <a:pPr marL="12700" marR="5080" algn="just" defTabSz="457189">
              <a:lnSpc>
                <a:spcPct val="110000"/>
              </a:lnSpc>
              <a:spcBef>
                <a:spcPts val="105"/>
              </a:spcBef>
              <a:buClr>
                <a:srgbClr val="C80025"/>
              </a:buClr>
              <a:tabLst>
                <a:tab pos="183511" algn="l"/>
              </a:tabLst>
              <a:defRPr/>
            </a:pPr>
            <a:endParaRPr lang="it-IT" sz="1250" b="1" spc="-5" dirty="0">
              <a:solidFill>
                <a:srgbClr val="415064"/>
              </a:solidFill>
              <a:latin typeface="Arial"/>
              <a:cs typeface="Arial"/>
            </a:endParaRPr>
          </a:p>
          <a:p>
            <a:pPr marR="5080" algn="just" defTabSz="457189">
              <a:lnSpc>
                <a:spcPct val="110000"/>
              </a:lnSpc>
              <a:spcBef>
                <a:spcPts val="300"/>
              </a:spcBef>
              <a:buClr>
                <a:srgbClr val="17375E"/>
              </a:buClr>
              <a:tabLst>
                <a:tab pos="183511" algn="l"/>
              </a:tabLst>
              <a:defRPr/>
            </a:pPr>
            <a:r>
              <a:rPr lang="it-IT" sz="1250" spc="-5" dirty="0">
                <a:solidFill>
                  <a:srgbClr val="3E5265"/>
                </a:solidFill>
                <a:cs typeface="Arial"/>
              </a:rPr>
              <a:t>Tipologia di strumenti finanziari:</a:t>
            </a:r>
          </a:p>
          <a:p>
            <a:pPr marL="173038" marR="5080" indent="-173038" algn="just" defTabSz="457189">
              <a:lnSpc>
                <a:spcPct val="110000"/>
              </a:lnSpc>
              <a:spcBef>
                <a:spcPts val="300"/>
              </a:spcBef>
              <a:buClr>
                <a:srgbClr val="17375E"/>
              </a:buClr>
              <a:buFont typeface="Arial" panose="020B0604020202020204" pitchFamily="34" charset="0"/>
              <a:buChar char="•"/>
              <a:tabLst>
                <a:tab pos="183511" algn="l"/>
              </a:tabLst>
              <a:defRPr/>
            </a:pPr>
            <a:r>
              <a:rPr lang="it-IT" sz="1250" spc="-5" dirty="0">
                <a:solidFill>
                  <a:srgbClr val="3E5265"/>
                </a:solidFill>
                <a:cs typeface="Arial"/>
              </a:rPr>
              <a:t>Strumenti di </a:t>
            </a:r>
            <a:r>
              <a:rPr lang="it-IT" sz="1250" b="1" spc="-5" dirty="0">
                <a:solidFill>
                  <a:srgbClr val="3E5265"/>
                </a:solidFill>
                <a:cs typeface="Arial"/>
              </a:rPr>
              <a:t>debito</a:t>
            </a:r>
            <a:r>
              <a:rPr lang="it-IT" sz="1250" spc="-5" dirty="0">
                <a:solidFill>
                  <a:srgbClr val="3E5265"/>
                </a:solidFill>
                <a:cs typeface="Arial"/>
              </a:rPr>
              <a:t>: prestiti, </a:t>
            </a:r>
            <a:r>
              <a:rPr lang="it-IT" sz="1250" i="1" spc="-5" dirty="0">
                <a:solidFill>
                  <a:srgbClr val="3E5265"/>
                </a:solidFill>
                <a:cs typeface="Arial"/>
              </a:rPr>
              <a:t>project </a:t>
            </a:r>
            <a:r>
              <a:rPr lang="it-IT" sz="1250" i="1" spc="-5" dirty="0" err="1">
                <a:solidFill>
                  <a:srgbClr val="3E5265"/>
                </a:solidFill>
                <a:cs typeface="Arial"/>
              </a:rPr>
              <a:t>finance</a:t>
            </a:r>
            <a:r>
              <a:rPr lang="it-IT" sz="1250" spc="-5" dirty="0">
                <a:solidFill>
                  <a:srgbClr val="3E5265"/>
                </a:solidFill>
                <a:cs typeface="Arial"/>
              </a:rPr>
              <a:t>, finanza strutturata</a:t>
            </a:r>
          </a:p>
          <a:p>
            <a:pPr marL="173038" marR="5080" indent="-173038" algn="just" defTabSz="457189">
              <a:lnSpc>
                <a:spcPct val="110000"/>
              </a:lnSpc>
              <a:spcBef>
                <a:spcPts val="300"/>
              </a:spcBef>
              <a:buClr>
                <a:srgbClr val="17375E"/>
              </a:buClr>
              <a:buFont typeface="Arial" panose="020B0604020202020204" pitchFamily="34" charset="0"/>
              <a:buChar char="•"/>
              <a:defRPr/>
            </a:pPr>
            <a:r>
              <a:rPr lang="it-IT" sz="1250" spc="-5" dirty="0">
                <a:solidFill>
                  <a:srgbClr val="3E5265"/>
                </a:solidFill>
                <a:cs typeface="Arial"/>
              </a:rPr>
              <a:t>Strumenti di </a:t>
            </a:r>
            <a:r>
              <a:rPr lang="it-IT" sz="1250" b="1" i="1" spc="-5" dirty="0">
                <a:solidFill>
                  <a:srgbClr val="3E5265"/>
                </a:solidFill>
                <a:cs typeface="Arial"/>
              </a:rPr>
              <a:t>equity</a:t>
            </a:r>
            <a:r>
              <a:rPr lang="it-IT" sz="1250" i="1" spc="-5" dirty="0">
                <a:solidFill>
                  <a:srgbClr val="3E5265"/>
                </a:solidFill>
                <a:cs typeface="Arial"/>
              </a:rPr>
              <a:t> </a:t>
            </a:r>
            <a:r>
              <a:rPr lang="it-IT" sz="1250" spc="-5" dirty="0">
                <a:solidFill>
                  <a:srgbClr val="3E5265"/>
                </a:solidFill>
                <a:cs typeface="Arial"/>
              </a:rPr>
              <a:t>(in corso di implementazione): partecipazione al capitale di rischio attraverso strumenti di </a:t>
            </a:r>
            <a:r>
              <a:rPr lang="it-IT" sz="1250" i="1" spc="-5" dirty="0">
                <a:solidFill>
                  <a:srgbClr val="3E5265"/>
                </a:solidFill>
                <a:cs typeface="Arial"/>
              </a:rPr>
              <a:t>equity </a:t>
            </a:r>
            <a:r>
              <a:rPr lang="it-IT" sz="1250" spc="-5" dirty="0">
                <a:solidFill>
                  <a:srgbClr val="3E5265"/>
                </a:solidFill>
                <a:cs typeface="Arial"/>
              </a:rPr>
              <a:t>e </a:t>
            </a:r>
            <a:r>
              <a:rPr lang="it-IT" sz="1250" i="1" spc="-5" dirty="0">
                <a:solidFill>
                  <a:srgbClr val="3E5265"/>
                </a:solidFill>
                <a:cs typeface="Arial"/>
              </a:rPr>
              <a:t>quasi-equity</a:t>
            </a:r>
          </a:p>
          <a:p>
            <a:pPr marL="173038" marR="5080" indent="-173038" algn="just" defTabSz="457189">
              <a:lnSpc>
                <a:spcPct val="110000"/>
              </a:lnSpc>
              <a:spcBef>
                <a:spcPts val="300"/>
              </a:spcBef>
              <a:buClr>
                <a:srgbClr val="17375E"/>
              </a:buClr>
              <a:buFont typeface="Arial" panose="020B0604020202020204" pitchFamily="34" charset="0"/>
              <a:buChar char="•"/>
              <a:tabLst>
                <a:tab pos="183511" algn="l"/>
              </a:tabLst>
              <a:defRPr/>
            </a:pPr>
            <a:r>
              <a:rPr lang="it-IT" sz="1250" b="1" spc="-5" dirty="0">
                <a:solidFill>
                  <a:srgbClr val="3E5265"/>
                </a:solidFill>
                <a:cs typeface="Arial"/>
              </a:rPr>
              <a:t>Garanzie </a:t>
            </a:r>
            <a:r>
              <a:rPr lang="it-IT" sz="1250" spc="-5" dirty="0">
                <a:solidFill>
                  <a:srgbClr val="3E5265"/>
                </a:solidFill>
                <a:cs typeface="Arial"/>
              </a:rPr>
              <a:t>(in corso di implementazione)</a:t>
            </a:r>
            <a:endParaRPr lang="it-IT" sz="1250" b="1" spc="-5" dirty="0">
              <a:solidFill>
                <a:srgbClr val="3E5265"/>
              </a:solidFill>
              <a:cs typeface="Arial"/>
            </a:endParaRPr>
          </a:p>
          <a:p>
            <a:pPr marL="182558" marR="5080" indent="-169859" algn="just" defTabSz="457189">
              <a:spcBef>
                <a:spcPts val="105"/>
              </a:spcBef>
              <a:buClr>
                <a:srgbClr val="C80025"/>
              </a:buClr>
              <a:tabLst>
                <a:tab pos="183511" algn="l"/>
              </a:tabLst>
              <a:defRPr/>
            </a:pPr>
            <a:endParaRPr lang="it-IT" sz="1250" b="1" spc="-5" dirty="0">
              <a:solidFill>
                <a:srgbClr val="415064"/>
              </a:solidFill>
              <a:latin typeface="Arial"/>
              <a:cs typeface="Arial"/>
            </a:endParaRPr>
          </a:p>
        </p:txBody>
      </p:sp>
      <p:sp>
        <p:nvSpPr>
          <p:cNvPr id="11" name="Rectangle 2">
            <a:extLst>
              <a:ext uri="{FF2B5EF4-FFF2-40B4-BE49-F238E27FC236}">
                <a16:creationId xmlns:a16="http://schemas.microsoft.com/office/drawing/2014/main" id="{AED7D059-2630-49DD-88F9-2A10714C4B01}"/>
              </a:ext>
            </a:extLst>
          </p:cNvPr>
          <p:cNvSpPr>
            <a:spLocks/>
          </p:cNvSpPr>
          <p:nvPr/>
        </p:nvSpPr>
        <p:spPr>
          <a:xfrm>
            <a:off x="2" y="3"/>
            <a:ext cx="9143999" cy="163396"/>
          </a:xfrm>
          <a:prstGeom prst="rect">
            <a:avLst/>
          </a:prstGeom>
          <a:solidFill>
            <a:srgbClr val="415064"/>
          </a:solidFill>
          <a:ln w="9525" cap="flat" cmpd="sng" algn="ctr">
            <a:noFill/>
            <a:prstDash val="solid"/>
          </a:ln>
          <a:effectLst/>
        </p:spPr>
        <p:txBody>
          <a:bodyPr rot="0" spcFirstLastPara="0" vert="horz" wrap="square" lIns="121920" tIns="60960" rIns="121920" bIns="6096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224" kern="1200">
                <a:solidFill>
                  <a:schemeClr val="lt1"/>
                </a:solidFill>
                <a:latin typeface="+mn-lt"/>
                <a:ea typeface="+mn-ea"/>
                <a:cs typeface="+mn-cs"/>
              </a:defRPr>
            </a:lvl1pPr>
            <a:lvl2pPr marL="349849" algn="l" rtl="0" fontAlgn="base">
              <a:spcBef>
                <a:spcPct val="0"/>
              </a:spcBef>
              <a:spcAft>
                <a:spcPct val="0"/>
              </a:spcAft>
              <a:defRPr sz="1224" kern="1200">
                <a:solidFill>
                  <a:schemeClr val="lt1"/>
                </a:solidFill>
                <a:latin typeface="+mn-lt"/>
                <a:ea typeface="+mn-ea"/>
                <a:cs typeface="+mn-cs"/>
              </a:defRPr>
            </a:lvl2pPr>
            <a:lvl3pPr marL="699699" algn="l" rtl="0" fontAlgn="base">
              <a:spcBef>
                <a:spcPct val="0"/>
              </a:spcBef>
              <a:spcAft>
                <a:spcPct val="0"/>
              </a:spcAft>
              <a:defRPr sz="1224" kern="1200">
                <a:solidFill>
                  <a:schemeClr val="lt1"/>
                </a:solidFill>
                <a:latin typeface="+mn-lt"/>
                <a:ea typeface="+mn-ea"/>
                <a:cs typeface="+mn-cs"/>
              </a:defRPr>
            </a:lvl3pPr>
            <a:lvl4pPr marL="1049548" algn="l" rtl="0" fontAlgn="base">
              <a:spcBef>
                <a:spcPct val="0"/>
              </a:spcBef>
              <a:spcAft>
                <a:spcPct val="0"/>
              </a:spcAft>
              <a:defRPr sz="1224" kern="1200">
                <a:solidFill>
                  <a:schemeClr val="lt1"/>
                </a:solidFill>
                <a:latin typeface="+mn-lt"/>
                <a:ea typeface="+mn-ea"/>
                <a:cs typeface="+mn-cs"/>
              </a:defRPr>
            </a:lvl4pPr>
            <a:lvl5pPr marL="1399398" algn="l" rtl="0" fontAlgn="base">
              <a:spcBef>
                <a:spcPct val="0"/>
              </a:spcBef>
              <a:spcAft>
                <a:spcPct val="0"/>
              </a:spcAft>
              <a:defRPr sz="1224" kern="1200">
                <a:solidFill>
                  <a:schemeClr val="lt1"/>
                </a:solidFill>
                <a:latin typeface="+mn-lt"/>
                <a:ea typeface="+mn-ea"/>
                <a:cs typeface="+mn-cs"/>
              </a:defRPr>
            </a:lvl5pPr>
            <a:lvl6pPr marL="1749247" algn="l" defTabSz="699699" rtl="0" eaLnBrk="1" latinLnBrk="0" hangingPunct="1">
              <a:defRPr sz="1224" kern="1200">
                <a:solidFill>
                  <a:schemeClr val="lt1"/>
                </a:solidFill>
                <a:latin typeface="+mn-lt"/>
                <a:ea typeface="+mn-ea"/>
                <a:cs typeface="+mn-cs"/>
              </a:defRPr>
            </a:lvl6pPr>
            <a:lvl7pPr marL="2099097" algn="l" defTabSz="699699" rtl="0" eaLnBrk="1" latinLnBrk="0" hangingPunct="1">
              <a:defRPr sz="1224" kern="1200">
                <a:solidFill>
                  <a:schemeClr val="lt1"/>
                </a:solidFill>
                <a:latin typeface="+mn-lt"/>
                <a:ea typeface="+mn-ea"/>
                <a:cs typeface="+mn-cs"/>
              </a:defRPr>
            </a:lvl7pPr>
            <a:lvl8pPr marL="2448946" algn="l" defTabSz="699699" rtl="0" eaLnBrk="1" latinLnBrk="0" hangingPunct="1">
              <a:defRPr sz="1224" kern="1200">
                <a:solidFill>
                  <a:schemeClr val="lt1"/>
                </a:solidFill>
                <a:latin typeface="+mn-lt"/>
                <a:ea typeface="+mn-ea"/>
                <a:cs typeface="+mn-cs"/>
              </a:defRPr>
            </a:lvl8pPr>
            <a:lvl9pPr marL="2798796" algn="l" defTabSz="699699" rtl="0" eaLnBrk="1" latinLnBrk="0" hangingPunct="1">
              <a:defRPr sz="1224" kern="1200">
                <a:solidFill>
                  <a:schemeClr val="lt1"/>
                </a:solidFill>
                <a:latin typeface="+mn-lt"/>
                <a:ea typeface="+mn-ea"/>
                <a:cs typeface="+mn-cs"/>
              </a:defRPr>
            </a:lvl9pPr>
          </a:lstStyle>
          <a:p>
            <a:pPr defTabSz="1219049">
              <a:defRPr/>
            </a:pPr>
            <a:r>
              <a:rPr lang="it-IT" sz="1000" b="1" dirty="0">
                <a:solidFill>
                  <a:srgbClr val="FFFFFF"/>
                </a:solidFill>
                <a:latin typeface="Arial"/>
              </a:rPr>
              <a:t>Supporto al settore privato</a:t>
            </a:r>
            <a:endParaRPr lang="it-IT" sz="1000" b="1" i="1" dirty="0">
              <a:solidFill>
                <a:srgbClr val="FFFFFF"/>
              </a:solidFill>
              <a:latin typeface="Arial"/>
            </a:endParaRPr>
          </a:p>
        </p:txBody>
      </p:sp>
      <p:grpSp>
        <p:nvGrpSpPr>
          <p:cNvPr id="17" name="Gruppo 16">
            <a:extLst>
              <a:ext uri="{FF2B5EF4-FFF2-40B4-BE49-F238E27FC236}">
                <a16:creationId xmlns:a16="http://schemas.microsoft.com/office/drawing/2014/main" id="{8B0A3E32-F3F0-4458-86CD-32445479C088}"/>
              </a:ext>
            </a:extLst>
          </p:cNvPr>
          <p:cNvGrpSpPr>
            <a:grpSpLocks noChangeAspect="1"/>
          </p:cNvGrpSpPr>
          <p:nvPr/>
        </p:nvGrpSpPr>
        <p:grpSpPr>
          <a:xfrm>
            <a:off x="1797398" y="2604731"/>
            <a:ext cx="287549" cy="324000"/>
            <a:chOff x="1816540" y="3028242"/>
            <a:chExt cx="287550" cy="324000"/>
          </a:xfrm>
          <a:solidFill>
            <a:srgbClr val="415364"/>
          </a:solidFill>
        </p:grpSpPr>
        <p:sp>
          <p:nvSpPr>
            <p:cNvPr id="18" name="Chevron1">
              <a:extLst>
                <a:ext uri="{FF2B5EF4-FFF2-40B4-BE49-F238E27FC236}">
                  <a16:creationId xmlns:a16="http://schemas.microsoft.com/office/drawing/2014/main" id="{955F259A-FF5E-4886-917E-8AB51B856734}"/>
                </a:ext>
              </a:extLst>
            </p:cNvPr>
            <p:cNvSpPr>
              <a:spLocks noChangeAspect="1"/>
            </p:cNvSpPr>
            <p:nvPr/>
          </p:nvSpPr>
          <p:spPr>
            <a:xfrm>
              <a:off x="1816540" y="3060642"/>
              <a:ext cx="152280" cy="2592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rgbClr val="86868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dirty="0" err="1">
                <a:solidFill>
                  <a:srgbClr val="003F81"/>
                </a:solidFill>
                <a:latin typeface="Arial"/>
              </a:endParaRPr>
            </a:p>
          </p:txBody>
        </p:sp>
        <p:sp>
          <p:nvSpPr>
            <p:cNvPr id="19" name="Chevron2">
              <a:extLst>
                <a:ext uri="{FF2B5EF4-FFF2-40B4-BE49-F238E27FC236}">
                  <a16:creationId xmlns:a16="http://schemas.microsoft.com/office/drawing/2014/main" id="{8DF8BA43-B975-4042-86F0-ADB98F90CC87}"/>
                </a:ext>
              </a:extLst>
            </p:cNvPr>
            <p:cNvSpPr>
              <a:spLocks noChangeAspect="1"/>
            </p:cNvSpPr>
            <p:nvPr/>
          </p:nvSpPr>
          <p:spPr>
            <a:xfrm>
              <a:off x="1913740" y="3028242"/>
              <a:ext cx="190350" cy="324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dirty="0" err="1">
                <a:solidFill>
                  <a:srgbClr val="003F81"/>
                </a:solidFill>
                <a:latin typeface="Arial"/>
              </a:endParaRPr>
            </a:p>
          </p:txBody>
        </p:sp>
      </p:grpSp>
      <p:grpSp>
        <p:nvGrpSpPr>
          <p:cNvPr id="24" name="Gruppo 23">
            <a:extLst>
              <a:ext uri="{FF2B5EF4-FFF2-40B4-BE49-F238E27FC236}">
                <a16:creationId xmlns:a16="http://schemas.microsoft.com/office/drawing/2014/main" id="{B3E86A58-5729-4C3E-A539-2729FACF13E4}"/>
              </a:ext>
            </a:extLst>
          </p:cNvPr>
          <p:cNvGrpSpPr>
            <a:grpSpLocks noChangeAspect="1"/>
          </p:cNvGrpSpPr>
          <p:nvPr/>
        </p:nvGrpSpPr>
        <p:grpSpPr>
          <a:xfrm>
            <a:off x="1797398" y="1071912"/>
            <a:ext cx="287549" cy="324000"/>
            <a:chOff x="1816540" y="3028242"/>
            <a:chExt cx="287550" cy="324000"/>
          </a:xfrm>
          <a:solidFill>
            <a:srgbClr val="415364"/>
          </a:solidFill>
        </p:grpSpPr>
        <p:sp>
          <p:nvSpPr>
            <p:cNvPr id="25" name="Chevron1">
              <a:extLst>
                <a:ext uri="{FF2B5EF4-FFF2-40B4-BE49-F238E27FC236}">
                  <a16:creationId xmlns:a16="http://schemas.microsoft.com/office/drawing/2014/main" id="{A0AD5840-4B3D-4A0A-BF90-087AE1300988}"/>
                </a:ext>
              </a:extLst>
            </p:cNvPr>
            <p:cNvSpPr>
              <a:spLocks noChangeAspect="1"/>
            </p:cNvSpPr>
            <p:nvPr/>
          </p:nvSpPr>
          <p:spPr>
            <a:xfrm>
              <a:off x="1816540" y="3060642"/>
              <a:ext cx="152280" cy="2592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rgbClr val="86868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dirty="0" err="1">
                <a:solidFill>
                  <a:srgbClr val="003F81"/>
                </a:solidFill>
                <a:latin typeface="Arial"/>
              </a:endParaRPr>
            </a:p>
          </p:txBody>
        </p:sp>
        <p:sp>
          <p:nvSpPr>
            <p:cNvPr id="26" name="Chevron2">
              <a:extLst>
                <a:ext uri="{FF2B5EF4-FFF2-40B4-BE49-F238E27FC236}">
                  <a16:creationId xmlns:a16="http://schemas.microsoft.com/office/drawing/2014/main" id="{B82C9EFA-CF8F-4099-99F9-042E179854E5}"/>
                </a:ext>
              </a:extLst>
            </p:cNvPr>
            <p:cNvSpPr>
              <a:spLocks noChangeAspect="1"/>
            </p:cNvSpPr>
            <p:nvPr/>
          </p:nvSpPr>
          <p:spPr>
            <a:xfrm>
              <a:off x="1913740" y="3028242"/>
              <a:ext cx="190350" cy="324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rgbClr val="B4C7E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dirty="0" err="1">
                <a:solidFill>
                  <a:srgbClr val="003F81"/>
                </a:solidFill>
                <a:latin typeface="Arial"/>
              </a:endParaRPr>
            </a:p>
          </p:txBody>
        </p:sp>
      </p:grpSp>
      <p:sp>
        <p:nvSpPr>
          <p:cNvPr id="8" name="Rettangolo 7">
            <a:extLst>
              <a:ext uri="{FF2B5EF4-FFF2-40B4-BE49-F238E27FC236}">
                <a16:creationId xmlns:a16="http://schemas.microsoft.com/office/drawing/2014/main" id="{6FA616E3-1662-40EB-B5AC-13414461B4A6}"/>
              </a:ext>
            </a:extLst>
          </p:cNvPr>
          <p:cNvSpPr/>
          <p:nvPr/>
        </p:nvSpPr>
        <p:spPr>
          <a:xfrm>
            <a:off x="792819" y="4940704"/>
            <a:ext cx="2954014" cy="200055"/>
          </a:xfrm>
          <a:prstGeom prst="rect">
            <a:avLst/>
          </a:prstGeom>
        </p:spPr>
        <p:txBody>
          <a:bodyPr wrap="none">
            <a:spAutoFit/>
          </a:bodyPr>
          <a:lstStyle/>
          <a:p>
            <a:pPr marR="5080" algn="just" defTabSz="457189">
              <a:spcBef>
                <a:spcPts val="200"/>
              </a:spcBef>
              <a:buClr>
                <a:srgbClr val="17375E"/>
              </a:buClr>
              <a:tabLst>
                <a:tab pos="183511" algn="l"/>
              </a:tabLst>
              <a:defRPr/>
            </a:pPr>
            <a:r>
              <a:rPr lang="it-IT" sz="700" spc="-5" dirty="0">
                <a:solidFill>
                  <a:srgbClr val="3E5265"/>
                </a:solidFill>
                <a:cs typeface="Arial"/>
              </a:rPr>
              <a:t>1. Ad esempio energie rinnovabili, agribusiness, trasporti, infrastrutture</a:t>
            </a:r>
          </a:p>
        </p:txBody>
      </p:sp>
      <p:sp>
        <p:nvSpPr>
          <p:cNvPr id="31" name="Arrow: Pentagon 35">
            <a:extLst>
              <a:ext uri="{FF2B5EF4-FFF2-40B4-BE49-F238E27FC236}">
                <a16:creationId xmlns:a16="http://schemas.microsoft.com/office/drawing/2014/main" id="{FA117496-1D79-4991-B9ED-066499644E81}"/>
              </a:ext>
            </a:extLst>
          </p:cNvPr>
          <p:cNvSpPr>
            <a:spLocks/>
          </p:cNvSpPr>
          <p:nvPr/>
        </p:nvSpPr>
        <p:spPr>
          <a:xfrm rot="5400000">
            <a:off x="-428301" y="2085875"/>
            <a:ext cx="3879908" cy="1277378"/>
          </a:xfrm>
          <a:prstGeom prst="homePlate">
            <a:avLst>
              <a:gd name="adj" fmla="val 0"/>
            </a:avLst>
          </a:prstGeom>
          <a:gradFill>
            <a:gsLst>
              <a:gs pos="0">
                <a:schemeClr val="bg1"/>
              </a:gs>
              <a:gs pos="3000">
                <a:srgbClr val="D9D9D9">
                  <a:lumMod val="45000"/>
                  <a:lumOff val="55000"/>
                </a:srgbClr>
              </a:gs>
              <a:gs pos="100000">
                <a:srgbClr val="D9D9D9">
                  <a:lumMod val="45000"/>
                  <a:lumOff val="55000"/>
                </a:srgbClr>
              </a:gs>
              <a:gs pos="100000">
                <a:schemeClr val="bg1">
                  <a:lumMod val="90000"/>
                </a:schemeClr>
              </a:gs>
            </a:gsLst>
            <a:lin ang="0" scaled="1"/>
          </a:gradFill>
          <a:ln w="9525" cap="flat" cmpd="sng" algn="ctr">
            <a:gradFill flip="none" rotWithShape="1">
              <a:gsLst>
                <a:gs pos="0">
                  <a:srgbClr val="D9D9D9">
                    <a:lumMod val="5000"/>
                    <a:lumOff val="95000"/>
                  </a:srgbClr>
                </a:gs>
                <a:gs pos="74000">
                  <a:srgbClr val="D9D9D9">
                    <a:lumMod val="45000"/>
                    <a:lumOff val="55000"/>
                  </a:srgbClr>
                </a:gs>
                <a:gs pos="83000">
                  <a:srgbClr val="D9D9D9">
                    <a:lumMod val="45000"/>
                    <a:lumOff val="55000"/>
                  </a:srgbClr>
                </a:gs>
                <a:gs pos="100000">
                  <a:srgbClr val="D9D9D9">
                    <a:lumMod val="30000"/>
                    <a:lumOff val="70000"/>
                  </a:srgbClr>
                </a:gs>
              </a:gsLst>
              <a:lin ang="0" scaled="1"/>
              <a:tileRect/>
            </a:gradFill>
            <a:prstDash val="solid"/>
          </a:ln>
          <a:effectLst/>
        </p:spPr>
        <p:txBody>
          <a:bodyPr rtlCol="0" anchor="ctr">
            <a:noAutofit/>
          </a:bodyPr>
          <a:lstStyle/>
          <a:p>
            <a:pPr algn="ctr" defTabSz="685800" fontAlgn="auto">
              <a:spcBef>
                <a:spcPts val="0"/>
              </a:spcBef>
              <a:spcAft>
                <a:spcPts val="0"/>
              </a:spcAft>
              <a:defRPr/>
            </a:pPr>
            <a:endParaRPr lang="it-IT" sz="1050" kern="0" dirty="0" err="1">
              <a:solidFill>
                <a:srgbClr val="000000"/>
              </a:solidFill>
              <a:latin typeface="Arial"/>
            </a:endParaRPr>
          </a:p>
        </p:txBody>
      </p:sp>
      <p:sp>
        <p:nvSpPr>
          <p:cNvPr id="32" name="CasellaDiTesto 1">
            <a:extLst>
              <a:ext uri="{FF2B5EF4-FFF2-40B4-BE49-F238E27FC236}">
                <a16:creationId xmlns:a16="http://schemas.microsoft.com/office/drawing/2014/main" id="{6E413F08-05B2-4AF7-A15C-82ADCC0AD90E}"/>
              </a:ext>
            </a:extLst>
          </p:cNvPr>
          <p:cNvSpPr txBox="1">
            <a:spLocks/>
          </p:cNvSpPr>
          <p:nvPr>
            <p:custDataLst>
              <p:tags r:id="rId1"/>
            </p:custDataLst>
          </p:nvPr>
        </p:nvSpPr>
        <p:spPr bwMode="gray">
          <a:xfrm>
            <a:off x="250824" y="983320"/>
            <a:ext cx="1462039" cy="3507568"/>
          </a:xfrm>
          <a:prstGeom prst="rect">
            <a:avLst/>
          </a:prstGeom>
          <a:solidFill>
            <a:srgbClr val="4153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marL="0" marR="0" lvl="0" indent="0" algn="ctr" defTabSz="914400" eaLnBrk="1" latinLnBrk="0" hangingPunct="1">
              <a:lnSpc>
                <a:spcPct val="100000"/>
              </a:lnSpc>
              <a:buClrTx/>
              <a:buSzTx/>
              <a:buFontTx/>
              <a:buNone/>
              <a:tabLst/>
              <a:defRPr kumimoji="0" sz="1700" b="1" i="0" u="none" strike="noStrike" cap="none" spc="0" normalizeH="0" baseline="0">
                <a:ln>
                  <a:noFill/>
                </a:ln>
                <a:solidFill>
                  <a:srgbClr val="FFFFFF"/>
                </a:solidFill>
                <a:effectLst/>
                <a:uLnTx/>
                <a:uFillTx/>
                <a:latin typeface="Aria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a:lnSpc>
                <a:spcPct val="110000"/>
              </a:lnSpc>
            </a:pPr>
            <a:r>
              <a:rPr lang="it-IT" sz="1400" dirty="0"/>
              <a:t>Obiettivi del supporto al settore privato e strumenti</a:t>
            </a:r>
          </a:p>
        </p:txBody>
      </p:sp>
      <p:grpSp>
        <p:nvGrpSpPr>
          <p:cNvPr id="33" name="Gruppo 32">
            <a:extLst>
              <a:ext uri="{FF2B5EF4-FFF2-40B4-BE49-F238E27FC236}">
                <a16:creationId xmlns:a16="http://schemas.microsoft.com/office/drawing/2014/main" id="{859035E9-D6C1-482A-98B6-408F648BFA21}"/>
              </a:ext>
            </a:extLst>
          </p:cNvPr>
          <p:cNvGrpSpPr>
            <a:grpSpLocks noChangeAspect="1"/>
          </p:cNvGrpSpPr>
          <p:nvPr/>
        </p:nvGrpSpPr>
        <p:grpSpPr>
          <a:xfrm>
            <a:off x="1778866" y="2622069"/>
            <a:ext cx="287549" cy="324000"/>
            <a:chOff x="1816540" y="3028242"/>
            <a:chExt cx="287550" cy="324000"/>
          </a:xfrm>
          <a:solidFill>
            <a:srgbClr val="415364"/>
          </a:solidFill>
        </p:grpSpPr>
        <p:sp>
          <p:nvSpPr>
            <p:cNvPr id="34" name="Chevron1">
              <a:extLst>
                <a:ext uri="{FF2B5EF4-FFF2-40B4-BE49-F238E27FC236}">
                  <a16:creationId xmlns:a16="http://schemas.microsoft.com/office/drawing/2014/main" id="{10C9E7C8-FCD5-4E7D-9333-9F8E21EE8842}"/>
                </a:ext>
              </a:extLst>
            </p:cNvPr>
            <p:cNvSpPr>
              <a:spLocks noChangeAspect="1"/>
            </p:cNvSpPr>
            <p:nvPr/>
          </p:nvSpPr>
          <p:spPr>
            <a:xfrm>
              <a:off x="1816540" y="3060642"/>
              <a:ext cx="152280" cy="2592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rgbClr val="86868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dirty="0" err="1">
                <a:solidFill>
                  <a:srgbClr val="003F81"/>
                </a:solidFill>
                <a:latin typeface="Arial"/>
              </a:endParaRPr>
            </a:p>
          </p:txBody>
        </p:sp>
        <p:sp>
          <p:nvSpPr>
            <p:cNvPr id="35" name="Chevron2">
              <a:extLst>
                <a:ext uri="{FF2B5EF4-FFF2-40B4-BE49-F238E27FC236}">
                  <a16:creationId xmlns:a16="http://schemas.microsoft.com/office/drawing/2014/main" id="{D86D00FE-0AE5-4189-92C7-0A79D717D075}"/>
                </a:ext>
              </a:extLst>
            </p:cNvPr>
            <p:cNvSpPr>
              <a:spLocks noChangeAspect="1"/>
            </p:cNvSpPr>
            <p:nvPr/>
          </p:nvSpPr>
          <p:spPr>
            <a:xfrm>
              <a:off x="1913740" y="3028242"/>
              <a:ext cx="190350" cy="324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it-IT" dirty="0" err="1">
                <a:solidFill>
                  <a:srgbClr val="003F81"/>
                </a:solidFill>
                <a:latin typeface="Arial"/>
              </a:endParaRPr>
            </a:p>
          </p:txBody>
        </p:sp>
      </p:grpSp>
    </p:spTree>
    <p:extLst>
      <p:ext uri="{BB962C8B-B14F-4D97-AF65-F5344CB8AC3E}">
        <p14:creationId xmlns:p14="http://schemas.microsoft.com/office/powerpoint/2010/main" val="17782815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a:extLst>
              <a:ext uri="{FF2B5EF4-FFF2-40B4-BE49-F238E27FC236}">
                <a16:creationId xmlns:a16="http://schemas.microsoft.com/office/drawing/2014/main" id="{C4A35B48-218B-4149-8678-15D1FF785EAE}"/>
              </a:ext>
            </a:extLst>
          </p:cNvPr>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800"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Tx/>
                <a:buNone/>
                <a:tabLst/>
                <a:defRPr/>
              </a:pPr>
              <a:t>24</a:t>
            </a:fld>
            <a:endParaRPr kumimoji="0" lang="it-IT" sz="800"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endParaRPr>
          </a:p>
        </p:txBody>
      </p:sp>
      <p:sp>
        <p:nvSpPr>
          <p:cNvPr id="18" name="CasellaDiTesto 17">
            <a:extLst>
              <a:ext uri="{FF2B5EF4-FFF2-40B4-BE49-F238E27FC236}">
                <a16:creationId xmlns:a16="http://schemas.microsoft.com/office/drawing/2014/main" id="{B522F075-ACF0-4D10-8AFA-74C11C0D4161}"/>
              </a:ext>
            </a:extLst>
          </p:cNvPr>
          <p:cNvSpPr txBox="1"/>
          <p:nvPr/>
        </p:nvSpPr>
        <p:spPr>
          <a:xfrm>
            <a:off x="1484598" y="693816"/>
            <a:ext cx="1747476" cy="3441258"/>
          </a:xfrm>
          <a:prstGeom prst="rect">
            <a:avLst/>
          </a:prstGeom>
        </p:spPr>
        <p:txBody>
          <a:bodyPr vert="horz" wrap="square" lIns="91440" tIns="45720" rIns="91440" bIns="45720" rtlCol="0" anchor="b">
            <a:noAutofit/>
          </a:bodyPr>
          <a:lstStyle/>
          <a:p>
            <a:pPr lvl="0">
              <a:lnSpc>
                <a:spcPct val="120000"/>
              </a:lnSpc>
              <a:spcBef>
                <a:spcPts val="600"/>
              </a:spcBef>
              <a:spcAft>
                <a:spcPts val="600"/>
              </a:spcAft>
              <a:defRPr/>
            </a:pPr>
            <a:r>
              <a:rPr lang="it-IT" sz="1000" b="1" dirty="0">
                <a:solidFill>
                  <a:srgbClr val="415364"/>
                </a:solidFill>
                <a:latin typeface="Arial corpo"/>
              </a:rPr>
              <a:t>Co-finanziamento con altre Istituzioni Finanziarie </a:t>
            </a:r>
            <a:r>
              <a:rPr lang="it-IT" sz="1000" dirty="0">
                <a:solidFill>
                  <a:srgbClr val="415364"/>
                </a:solidFill>
                <a:latin typeface="Arial corpo"/>
              </a:rPr>
              <a:t>(</a:t>
            </a:r>
            <a:r>
              <a:rPr lang="en-US" sz="1000" dirty="0">
                <a:solidFill>
                  <a:srgbClr val="415364"/>
                </a:solidFill>
                <a:latin typeface="Arial corpo"/>
              </a:rPr>
              <a:t>e.g. </a:t>
            </a:r>
            <a:r>
              <a:rPr lang="it-IT" sz="1000" dirty="0">
                <a:solidFill>
                  <a:srgbClr val="415364"/>
                </a:solidFill>
                <a:latin typeface="Arial corpo"/>
              </a:rPr>
              <a:t>Development Finance Institution, Banche di Sviluppo Multilaterale</a:t>
            </a:r>
            <a:r>
              <a:rPr lang="en-US" sz="1000" dirty="0">
                <a:solidFill>
                  <a:srgbClr val="415364"/>
                </a:solidFill>
                <a:latin typeface="Arial corpo"/>
              </a:rPr>
              <a:t>) </a:t>
            </a:r>
            <a:r>
              <a:rPr lang="it-IT" sz="1000" dirty="0">
                <a:solidFill>
                  <a:srgbClr val="415364"/>
                </a:solidFill>
                <a:latin typeface="Arial corpo"/>
              </a:rPr>
              <a:t>con una quota CDP </a:t>
            </a:r>
            <a:r>
              <a:rPr lang="it-IT" sz="1000" b="1" dirty="0">
                <a:solidFill>
                  <a:srgbClr val="415364"/>
                </a:solidFill>
                <a:latin typeface="Arial corpo"/>
              </a:rPr>
              <a:t>≤ 50%</a:t>
            </a:r>
          </a:p>
          <a:p>
            <a:pPr marL="0" marR="0" lvl="0" indent="0" algn="l" defTabSz="685800" rtl="0" eaLnBrk="1" fontAlgn="auto" latinLnBrk="0" hangingPunct="1">
              <a:lnSpc>
                <a:spcPct val="120000"/>
              </a:lnSpc>
              <a:spcBef>
                <a:spcPts val="0"/>
              </a:spcBef>
              <a:spcAft>
                <a:spcPts val="0"/>
              </a:spcAft>
              <a:buClrTx/>
              <a:buSzTx/>
              <a:buFontTx/>
              <a:buNone/>
              <a:tabLst/>
              <a:defRPr/>
            </a:pPr>
            <a:endParaRPr kumimoji="0" lang="it-IT" sz="1000" b="0" i="0" u="none" strike="noStrike" kern="1200" cap="none" spc="0" normalizeH="0" baseline="0" noProof="0" dirty="0">
              <a:ln>
                <a:noFill/>
              </a:ln>
              <a:solidFill>
                <a:srgbClr val="415364"/>
              </a:solidFill>
              <a:effectLst/>
              <a:uLnTx/>
              <a:uFillTx/>
              <a:latin typeface="Arial corpo"/>
            </a:endParaRPr>
          </a:p>
          <a:p>
            <a:pPr>
              <a:lnSpc>
                <a:spcPct val="120000"/>
              </a:lnSpc>
              <a:spcBef>
                <a:spcPts val="600"/>
              </a:spcBef>
              <a:spcAft>
                <a:spcPts val="600"/>
              </a:spcAft>
              <a:defRPr/>
            </a:pPr>
            <a:r>
              <a:rPr lang="it-IT" sz="1000" b="1" dirty="0">
                <a:cs typeface="Times New Roman" panose="02020603050405020304" pitchFamily="18" charset="0"/>
              </a:rPr>
              <a:t>Intermediazione </a:t>
            </a:r>
            <a:r>
              <a:rPr lang="it-IT" sz="1000" dirty="0">
                <a:cs typeface="Times New Roman" panose="02020603050405020304" pitchFamily="18" charset="0"/>
              </a:rPr>
              <a:t>per il finanziamento di </a:t>
            </a:r>
            <a:r>
              <a:rPr lang="it-IT" sz="1000" b="1" dirty="0">
                <a:cs typeface="Times New Roman" panose="02020603050405020304" pitchFamily="18" charset="0"/>
              </a:rPr>
              <a:t>micro, piccole e medie imprese</a:t>
            </a:r>
            <a:r>
              <a:rPr lang="it-IT" sz="1000" dirty="0">
                <a:cs typeface="Times New Roman" panose="02020603050405020304" pitchFamily="18" charset="0"/>
              </a:rPr>
              <a:t> (MPMI)</a:t>
            </a:r>
            <a:r>
              <a:rPr lang="it-IT" sz="1000" b="1" dirty="0">
                <a:cs typeface="Times New Roman" panose="02020603050405020304" pitchFamily="18" charset="0"/>
              </a:rPr>
              <a:t> </a:t>
            </a:r>
            <a:r>
              <a:rPr lang="it-IT" sz="1000" dirty="0">
                <a:cs typeface="Times New Roman" panose="02020603050405020304" pitchFamily="18" charset="0"/>
              </a:rPr>
              <a:t>e per interventi in </a:t>
            </a:r>
            <a:r>
              <a:rPr lang="it-IT" sz="1000" b="1" dirty="0">
                <a:cs typeface="Times New Roman" panose="02020603050405020304" pitchFamily="18" charset="0"/>
              </a:rPr>
              <a:t>equity</a:t>
            </a:r>
            <a:r>
              <a:rPr lang="it-IT" sz="1000" dirty="0">
                <a:cs typeface="Times New Roman" panose="02020603050405020304" pitchFamily="18" charset="0"/>
              </a:rPr>
              <a:t>, attraverso intermediari finanziari (e.g. banche commerciali, fondi o veicoli di investimento)</a:t>
            </a:r>
          </a:p>
        </p:txBody>
      </p:sp>
      <p:sp>
        <p:nvSpPr>
          <p:cNvPr id="114" name="object 34">
            <a:extLst>
              <a:ext uri="{FF2B5EF4-FFF2-40B4-BE49-F238E27FC236}">
                <a16:creationId xmlns:a16="http://schemas.microsoft.com/office/drawing/2014/main" id="{ACF58A1E-8993-4870-8C18-16BCDD715B96}"/>
              </a:ext>
            </a:extLst>
          </p:cNvPr>
          <p:cNvSpPr/>
          <p:nvPr/>
        </p:nvSpPr>
        <p:spPr>
          <a:xfrm rot="16200000" flipV="1">
            <a:off x="1301250" y="2566150"/>
            <a:ext cx="4011747" cy="45719"/>
          </a:xfrm>
          <a:custGeom>
            <a:avLst/>
            <a:gdLst/>
            <a:ahLst/>
            <a:cxnLst/>
            <a:rect l="l" t="t" r="r" b="b"/>
            <a:pathLst>
              <a:path w="8640445">
                <a:moveTo>
                  <a:pt x="0" y="0"/>
                </a:moveTo>
                <a:lnTo>
                  <a:pt x="8639937" y="0"/>
                </a:lnTo>
              </a:path>
            </a:pathLst>
          </a:custGeom>
          <a:ln w="12192">
            <a:solidFill>
              <a:srgbClr val="B4C7E7"/>
            </a:solidFill>
          </a:ln>
        </p:spPr>
        <p:txBody>
          <a:bodyPr wrap="square" lIns="0" tIns="0" rIns="0" bIns="0" rtlCol="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1548"/>
              </a:solidFill>
              <a:effectLst/>
              <a:uLnTx/>
              <a:uFillTx/>
              <a:latin typeface="Arial"/>
              <a:ea typeface="+mn-ea"/>
              <a:cs typeface="+mn-cs"/>
            </a:endParaRPr>
          </a:p>
        </p:txBody>
      </p:sp>
      <p:sp>
        <p:nvSpPr>
          <p:cNvPr id="51" name="Segnaposto testo 1">
            <a:extLst>
              <a:ext uri="{FF2B5EF4-FFF2-40B4-BE49-F238E27FC236}">
                <a16:creationId xmlns:a16="http://schemas.microsoft.com/office/drawing/2014/main" id="{FC5B3132-209D-435C-8B37-6C9484A49304}"/>
              </a:ext>
            </a:extLst>
          </p:cNvPr>
          <p:cNvSpPr txBox="1">
            <a:spLocks/>
          </p:cNvSpPr>
          <p:nvPr/>
        </p:nvSpPr>
        <p:spPr>
          <a:xfrm>
            <a:off x="258601" y="236527"/>
            <a:ext cx="7601404" cy="287337"/>
          </a:xfrm>
          <a:prstGeom prst="rect">
            <a:avLst/>
          </a:prstGeom>
        </p:spPr>
        <p:txBody>
          <a:bodyPr vert="horz" lIns="0" tIns="0" rIns="0" bIns="0" rtlCol="0" anchor="t" anchorCtr="0">
            <a:noAutofit/>
          </a:bodyPr>
          <a:lstStyle>
            <a:lvl1pPr indent="0">
              <a:lnSpc>
                <a:spcPct val="90000"/>
              </a:lnSpc>
              <a:spcBef>
                <a:spcPts val="750"/>
              </a:spcBef>
              <a:buFont typeface="Arial" panose="020B0604020202020204" pitchFamily="34" charset="0"/>
              <a:buNone/>
              <a:defRPr sz="18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indent="0">
              <a:lnSpc>
                <a:spcPct val="90000"/>
              </a:lnSpc>
              <a:spcBef>
                <a:spcPts val="375"/>
              </a:spcBef>
              <a:buFont typeface="Arial" panose="020B0604020202020204" pitchFamily="34" charset="0"/>
              <a:buNone/>
              <a:defRPr sz="1500" b="0" i="0">
                <a:solidFill>
                  <a:schemeClr val="tx1">
                    <a:tint val="75000"/>
                  </a:schemeClr>
                </a:solidFill>
                <a:latin typeface="Arial" panose="020B0604020202020204" pitchFamily="34" charset="0"/>
                <a:cs typeface="Arial" panose="020B0604020202020204" pitchFamily="34" charset="0"/>
              </a:defRPr>
            </a:lvl2pPr>
            <a:lvl3pPr indent="0">
              <a:lnSpc>
                <a:spcPct val="90000"/>
              </a:lnSpc>
              <a:spcBef>
                <a:spcPts val="375"/>
              </a:spcBef>
              <a:buFont typeface="Arial" panose="020B0604020202020204" pitchFamily="34" charset="0"/>
              <a:buNone/>
              <a:defRPr b="0" i="0">
                <a:solidFill>
                  <a:schemeClr val="tx1">
                    <a:tint val="75000"/>
                  </a:schemeClr>
                </a:solidFill>
                <a:latin typeface="Arial" panose="020B0604020202020204" pitchFamily="34" charset="0"/>
                <a:cs typeface="Arial" panose="020B0604020202020204" pitchFamily="34" charset="0"/>
              </a:defRPr>
            </a:lvl3pPr>
            <a:lvl4pPr indent="0">
              <a:lnSpc>
                <a:spcPct val="90000"/>
              </a:lnSpc>
              <a:spcBef>
                <a:spcPts val="375"/>
              </a:spcBef>
              <a:buFont typeface="Arial" panose="020B0604020202020204" pitchFamily="34" charset="0"/>
              <a:buNone/>
              <a:defRPr sz="1200" b="0" i="0">
                <a:solidFill>
                  <a:schemeClr val="tx1">
                    <a:tint val="75000"/>
                  </a:schemeClr>
                </a:solidFill>
                <a:latin typeface="Arial" panose="020B0604020202020204" pitchFamily="34" charset="0"/>
                <a:cs typeface="Arial" panose="020B0604020202020204" pitchFamily="34" charset="0"/>
              </a:defRPr>
            </a:lvl4pPr>
            <a:lvl5pPr indent="0">
              <a:lnSpc>
                <a:spcPct val="90000"/>
              </a:lnSpc>
              <a:spcBef>
                <a:spcPts val="375"/>
              </a:spcBef>
              <a:buFont typeface="Arial" panose="020B0604020202020204" pitchFamily="34" charset="0"/>
              <a:buNone/>
              <a:defRPr sz="1200" b="0" i="0">
                <a:solidFill>
                  <a:schemeClr val="tx1">
                    <a:tint val="75000"/>
                  </a:schemeClr>
                </a:solidFill>
                <a:latin typeface="Arial" panose="020B0604020202020204" pitchFamily="34" charset="0"/>
                <a:cs typeface="Arial" panose="020B0604020202020204" pitchFamily="34" charset="0"/>
              </a:defRPr>
            </a:lvl5pPr>
            <a:lvl6pPr indent="0">
              <a:lnSpc>
                <a:spcPct val="90000"/>
              </a:lnSpc>
              <a:spcBef>
                <a:spcPts val="375"/>
              </a:spcBef>
              <a:buFont typeface="Arial" panose="020B0604020202020204" pitchFamily="34" charset="0"/>
              <a:buNone/>
              <a:defRPr sz="1200">
                <a:solidFill>
                  <a:schemeClr val="tx1">
                    <a:tint val="75000"/>
                  </a:schemeClr>
                </a:solidFill>
              </a:defRPr>
            </a:lvl6pPr>
            <a:lvl7pPr indent="0">
              <a:lnSpc>
                <a:spcPct val="90000"/>
              </a:lnSpc>
              <a:spcBef>
                <a:spcPts val="375"/>
              </a:spcBef>
              <a:buFont typeface="Arial" panose="020B0604020202020204" pitchFamily="34" charset="0"/>
              <a:buNone/>
              <a:defRPr sz="1200">
                <a:solidFill>
                  <a:schemeClr val="tx1">
                    <a:tint val="75000"/>
                  </a:schemeClr>
                </a:solidFill>
              </a:defRPr>
            </a:lvl7pPr>
            <a:lvl8pPr indent="0">
              <a:lnSpc>
                <a:spcPct val="90000"/>
              </a:lnSpc>
              <a:spcBef>
                <a:spcPts val="375"/>
              </a:spcBef>
              <a:buFont typeface="Arial" panose="020B0604020202020204" pitchFamily="34" charset="0"/>
              <a:buNone/>
              <a:defRPr sz="1200">
                <a:solidFill>
                  <a:schemeClr val="tx1">
                    <a:tint val="75000"/>
                  </a:schemeClr>
                </a:solidFill>
              </a:defRPr>
            </a:lvl8pPr>
            <a:lvl9pPr indent="0">
              <a:lnSpc>
                <a:spcPct val="90000"/>
              </a:lnSpc>
              <a:spcBef>
                <a:spcPts val="375"/>
              </a:spcBef>
              <a:buFont typeface="Arial" panose="020B0604020202020204" pitchFamily="34" charset="0"/>
              <a:buNone/>
              <a:defRPr sz="1200">
                <a:solidFill>
                  <a:schemeClr val="tx1">
                    <a:tint val="75000"/>
                  </a:schemeClr>
                </a:solidFill>
              </a:defRPr>
            </a:lvl9pPr>
          </a:lstStyle>
          <a:p>
            <a:pPr lvl="0">
              <a:defRPr/>
            </a:pPr>
            <a:r>
              <a:rPr lang="it-IT" dirty="0"/>
              <a:t>Sostegno al Settore Privato</a:t>
            </a:r>
          </a:p>
        </p:txBody>
      </p:sp>
      <p:grpSp>
        <p:nvGrpSpPr>
          <p:cNvPr id="4" name="Gruppo 3">
            <a:extLst>
              <a:ext uri="{FF2B5EF4-FFF2-40B4-BE49-F238E27FC236}">
                <a16:creationId xmlns:a16="http://schemas.microsoft.com/office/drawing/2014/main" id="{65643F00-F678-4C40-9796-EBCBBD168373}"/>
              </a:ext>
            </a:extLst>
          </p:cNvPr>
          <p:cNvGrpSpPr/>
          <p:nvPr/>
        </p:nvGrpSpPr>
        <p:grpSpPr>
          <a:xfrm>
            <a:off x="168427" y="653727"/>
            <a:ext cx="1270626" cy="3846244"/>
            <a:chOff x="-1827460" y="3436684"/>
            <a:chExt cx="2001133" cy="1231667"/>
          </a:xfrm>
        </p:grpSpPr>
        <p:sp>
          <p:nvSpPr>
            <p:cNvPr id="125" name="Arrow: Pentagon 35">
              <a:extLst>
                <a:ext uri="{FF2B5EF4-FFF2-40B4-BE49-F238E27FC236}">
                  <a16:creationId xmlns:a16="http://schemas.microsoft.com/office/drawing/2014/main" id="{C2E6C88A-53F3-4401-B025-B0DAFDAF91A7}"/>
                </a:ext>
              </a:extLst>
            </p:cNvPr>
            <p:cNvSpPr>
              <a:spLocks/>
            </p:cNvSpPr>
            <p:nvPr/>
          </p:nvSpPr>
          <p:spPr>
            <a:xfrm rot="5400000">
              <a:off x="-1080850" y="3413829"/>
              <a:ext cx="1231667" cy="1277378"/>
            </a:xfrm>
            <a:prstGeom prst="homePlate">
              <a:avLst>
                <a:gd name="adj" fmla="val 0"/>
              </a:avLst>
            </a:prstGeom>
            <a:solidFill>
              <a:schemeClr val="accent5">
                <a:lumMod val="20000"/>
                <a:lumOff val="80000"/>
              </a:schemeClr>
            </a:solidFill>
            <a:ln w="9525" cap="flat" cmpd="sng" algn="ctr">
              <a:noFill/>
              <a:prstDash val="solid"/>
            </a:ln>
            <a:effectLst/>
          </p:spPr>
          <p:txBody>
            <a:bodyPr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1050" b="0" i="0" u="none" strike="noStrike" kern="0" cap="none" spc="0" normalizeH="0" baseline="0" noProof="0" err="1">
                <a:ln>
                  <a:noFill/>
                </a:ln>
                <a:solidFill>
                  <a:srgbClr val="000000"/>
                </a:solidFill>
                <a:effectLst/>
                <a:uLnTx/>
                <a:uFillTx/>
                <a:latin typeface="Arial"/>
                <a:ea typeface="+mn-ea"/>
                <a:cs typeface="+mn-cs"/>
              </a:endParaRPr>
            </a:p>
          </p:txBody>
        </p:sp>
        <p:grpSp>
          <p:nvGrpSpPr>
            <p:cNvPr id="2" name="Gruppo 1">
              <a:extLst>
                <a:ext uri="{FF2B5EF4-FFF2-40B4-BE49-F238E27FC236}">
                  <a16:creationId xmlns:a16="http://schemas.microsoft.com/office/drawing/2014/main" id="{ACEA47F1-BBC1-47CD-BB32-C3DFD399FA23}"/>
                </a:ext>
              </a:extLst>
            </p:cNvPr>
            <p:cNvGrpSpPr/>
            <p:nvPr/>
          </p:nvGrpSpPr>
          <p:grpSpPr>
            <a:xfrm>
              <a:off x="-142203" y="3892289"/>
              <a:ext cx="284405" cy="320458"/>
              <a:chOff x="-142203" y="3831856"/>
              <a:chExt cx="284405" cy="320458"/>
            </a:xfrm>
          </p:grpSpPr>
          <p:sp>
            <p:nvSpPr>
              <p:cNvPr id="11" name="Chevron1">
                <a:extLst>
                  <a:ext uri="{FF2B5EF4-FFF2-40B4-BE49-F238E27FC236}">
                    <a16:creationId xmlns:a16="http://schemas.microsoft.com/office/drawing/2014/main" id="{02203093-87D6-4750-B764-616794CC2AC5}"/>
                  </a:ext>
                </a:extLst>
              </p:cNvPr>
              <p:cNvSpPr>
                <a:spLocks noChangeAspect="1"/>
              </p:cNvSpPr>
              <p:nvPr/>
            </p:nvSpPr>
            <p:spPr>
              <a:xfrm>
                <a:off x="-142203" y="3863902"/>
                <a:ext cx="150614" cy="256366"/>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rgbClr val="86868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it-IT" sz="1013" b="0" i="0" u="none" strike="noStrike" kern="1200" cap="none" spc="0" normalizeH="0" baseline="0" noProof="0">
                  <a:ln>
                    <a:noFill/>
                  </a:ln>
                  <a:solidFill>
                    <a:srgbClr val="003F81"/>
                  </a:solidFill>
                  <a:effectLst/>
                  <a:uLnTx/>
                  <a:uFillTx/>
                  <a:latin typeface="Arial"/>
                  <a:ea typeface="+mn-ea"/>
                  <a:cs typeface="+mn-cs"/>
                </a:endParaRPr>
              </a:p>
            </p:txBody>
          </p:sp>
          <p:sp>
            <p:nvSpPr>
              <p:cNvPr id="12" name="Chevron2">
                <a:extLst>
                  <a:ext uri="{FF2B5EF4-FFF2-40B4-BE49-F238E27FC236}">
                    <a16:creationId xmlns:a16="http://schemas.microsoft.com/office/drawing/2014/main" id="{17939633-567D-48BF-AE63-636DB3ADE906}"/>
                  </a:ext>
                </a:extLst>
              </p:cNvPr>
              <p:cNvSpPr>
                <a:spLocks noChangeAspect="1"/>
              </p:cNvSpPr>
              <p:nvPr/>
            </p:nvSpPr>
            <p:spPr>
              <a:xfrm>
                <a:off x="-46065" y="3831856"/>
                <a:ext cx="188267" cy="320458"/>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50" rtl="0" eaLnBrk="1" fontAlgn="auto" latinLnBrk="0" hangingPunct="1">
                  <a:lnSpc>
                    <a:spcPct val="100000"/>
                  </a:lnSpc>
                  <a:spcBef>
                    <a:spcPts val="0"/>
                  </a:spcBef>
                  <a:spcAft>
                    <a:spcPts val="0"/>
                  </a:spcAft>
                  <a:buClrTx/>
                  <a:buSzTx/>
                  <a:buFontTx/>
                  <a:buNone/>
                  <a:tabLst/>
                  <a:defRPr/>
                </a:pPr>
                <a:endParaRPr kumimoji="0" lang="it-IT" sz="1013" b="0" i="0" u="none" strike="noStrike" kern="1200" cap="none" spc="0" normalizeH="0" baseline="0" noProof="0">
                  <a:ln>
                    <a:noFill/>
                  </a:ln>
                  <a:solidFill>
                    <a:srgbClr val="003F81"/>
                  </a:solidFill>
                  <a:effectLst/>
                  <a:uLnTx/>
                  <a:uFillTx/>
                  <a:latin typeface="Arial"/>
                  <a:ea typeface="+mn-ea"/>
                  <a:cs typeface="+mn-cs"/>
                </a:endParaRPr>
              </a:p>
            </p:txBody>
          </p:sp>
        </p:grpSp>
        <p:sp>
          <p:nvSpPr>
            <p:cNvPr id="124" name="CasellaDiTesto 1">
              <a:extLst>
                <a:ext uri="{FF2B5EF4-FFF2-40B4-BE49-F238E27FC236}">
                  <a16:creationId xmlns:a16="http://schemas.microsoft.com/office/drawing/2014/main" id="{178696FD-4476-4F95-9FD3-BFE1B7590CB8}"/>
                </a:ext>
              </a:extLst>
            </p:cNvPr>
            <p:cNvSpPr txBox="1">
              <a:spLocks/>
            </p:cNvSpPr>
            <p:nvPr>
              <p:custDataLst>
                <p:tags r:id="rId1"/>
              </p:custDataLst>
            </p:nvPr>
          </p:nvSpPr>
          <p:spPr bwMode="gray">
            <a:xfrm>
              <a:off x="-1827460" y="3900402"/>
              <a:ext cx="1584465" cy="304233"/>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lgn="ctr">
                <a:defRPr>
                  <a:solidFill>
                    <a:schemeClr val="tx1"/>
                  </a:solidFill>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lvl="0" defTabSz="914400">
                <a:defRPr/>
              </a:pPr>
              <a:r>
                <a:rPr lang="it-IT" sz="1050" b="1" dirty="0">
                  <a:solidFill>
                    <a:srgbClr val="FFFFFF"/>
                  </a:solidFill>
                </a:rPr>
                <a:t>Criteri di intervento</a:t>
              </a:r>
            </a:p>
          </p:txBody>
        </p:sp>
      </p:grpSp>
      <p:grpSp>
        <p:nvGrpSpPr>
          <p:cNvPr id="65" name="Gruppo 64">
            <a:extLst>
              <a:ext uri="{FF2B5EF4-FFF2-40B4-BE49-F238E27FC236}">
                <a16:creationId xmlns:a16="http://schemas.microsoft.com/office/drawing/2014/main" id="{615E065F-2682-499C-9EF0-ECED7C6F2FF9}"/>
              </a:ext>
            </a:extLst>
          </p:cNvPr>
          <p:cNvGrpSpPr/>
          <p:nvPr/>
        </p:nvGrpSpPr>
        <p:grpSpPr>
          <a:xfrm>
            <a:off x="6216627" y="2757493"/>
            <a:ext cx="2470255" cy="1993451"/>
            <a:chOff x="5706322" y="2139136"/>
            <a:chExt cx="3013200" cy="2141863"/>
          </a:xfrm>
        </p:grpSpPr>
        <p:sp>
          <p:nvSpPr>
            <p:cNvPr id="66" name="Rettangolo con angoli arrotondati 65">
              <a:extLst>
                <a:ext uri="{FF2B5EF4-FFF2-40B4-BE49-F238E27FC236}">
                  <a16:creationId xmlns:a16="http://schemas.microsoft.com/office/drawing/2014/main" id="{F1B2C452-F716-404E-97EB-5C8D4918A3B3}"/>
                </a:ext>
              </a:extLst>
            </p:cNvPr>
            <p:cNvSpPr/>
            <p:nvPr/>
          </p:nvSpPr>
          <p:spPr>
            <a:xfrm>
              <a:off x="5706322" y="2278637"/>
              <a:ext cx="3013200" cy="2002362"/>
            </a:xfrm>
            <a:prstGeom prst="round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800" b="0" i="0" u="none" strike="noStrike" kern="1200" cap="none" spc="0" normalizeH="0" baseline="0" noProof="0">
                <a:ln>
                  <a:noFill/>
                </a:ln>
                <a:solidFill>
                  <a:srgbClr val="FFFEFD"/>
                </a:solidFill>
                <a:effectLst/>
                <a:uLnTx/>
                <a:uFillTx/>
                <a:latin typeface="Arial" panose="020B0604020202020204" pitchFamily="34" charset="0"/>
                <a:ea typeface="+mn-ea"/>
                <a:cs typeface="Arial" panose="020B0604020202020204" pitchFamily="34" charset="0"/>
              </a:endParaRPr>
            </a:p>
          </p:txBody>
        </p:sp>
        <p:sp>
          <p:nvSpPr>
            <p:cNvPr id="67" name="Rettangolo con angoli arrotondati 66">
              <a:extLst>
                <a:ext uri="{FF2B5EF4-FFF2-40B4-BE49-F238E27FC236}">
                  <a16:creationId xmlns:a16="http://schemas.microsoft.com/office/drawing/2014/main" id="{8B416013-2340-4158-B24B-4B7D7EB28B86}"/>
                </a:ext>
              </a:extLst>
            </p:cNvPr>
            <p:cNvSpPr/>
            <p:nvPr/>
          </p:nvSpPr>
          <p:spPr>
            <a:xfrm>
              <a:off x="6545558" y="2139136"/>
              <a:ext cx="1334729" cy="265470"/>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15364"/>
                  </a:solidFill>
                  <a:effectLst/>
                  <a:uLnTx/>
                  <a:uFillTx/>
                  <a:latin typeface="Arial" panose="020B0604020202020204"/>
                  <a:ea typeface="+mn-ea"/>
                  <a:cs typeface="+mn-cs"/>
                </a:rPr>
                <a:t>Equity</a:t>
              </a:r>
            </a:p>
          </p:txBody>
        </p:sp>
        <p:grpSp>
          <p:nvGrpSpPr>
            <p:cNvPr id="68" name="Group 41">
              <a:extLst>
                <a:ext uri="{FF2B5EF4-FFF2-40B4-BE49-F238E27FC236}">
                  <a16:creationId xmlns:a16="http://schemas.microsoft.com/office/drawing/2014/main" id="{7EB154F3-6486-47C5-8915-749293A9E717}"/>
                </a:ext>
              </a:extLst>
            </p:cNvPr>
            <p:cNvGrpSpPr/>
            <p:nvPr/>
          </p:nvGrpSpPr>
          <p:grpSpPr>
            <a:xfrm>
              <a:off x="6133051" y="2525536"/>
              <a:ext cx="783635" cy="347546"/>
              <a:chOff x="6133051" y="2894129"/>
              <a:chExt cx="783635" cy="347546"/>
            </a:xfrm>
          </p:grpSpPr>
          <p:sp>
            <p:nvSpPr>
              <p:cNvPr id="81" name="Rettangolo 80">
                <a:extLst>
                  <a:ext uri="{FF2B5EF4-FFF2-40B4-BE49-F238E27FC236}">
                    <a16:creationId xmlns:a16="http://schemas.microsoft.com/office/drawing/2014/main" id="{006C6E0D-B000-47D4-A2DD-1734EE5106C2}"/>
                  </a:ext>
                </a:extLst>
              </p:cNvPr>
              <p:cNvSpPr/>
              <p:nvPr/>
            </p:nvSpPr>
            <p:spPr>
              <a:xfrm>
                <a:off x="6133051" y="2894129"/>
                <a:ext cx="783635" cy="347546"/>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800" b="1" i="0" u="none" strike="noStrike" kern="1200" cap="none" spc="0" normalizeH="0" baseline="0" noProof="0">
                  <a:ln>
                    <a:noFill/>
                  </a:ln>
                  <a:solidFill>
                    <a:srgbClr val="415364"/>
                  </a:solidFill>
                  <a:effectLst/>
                  <a:uLnTx/>
                  <a:uFillTx/>
                  <a:latin typeface="Arial" panose="020B0604020202020204" pitchFamily="34" charset="0"/>
                  <a:ea typeface="+mn-ea"/>
                  <a:cs typeface="Arial" panose="020B0604020202020204" pitchFamily="34" charset="0"/>
                </a:endParaRPr>
              </a:p>
            </p:txBody>
          </p:sp>
          <p:pic>
            <p:nvPicPr>
              <p:cNvPr id="82" name="Immagine 81" descr="cid:image001.jpg@01D518C3.3A9880E0">
                <a:extLst>
                  <a:ext uri="{FF2B5EF4-FFF2-40B4-BE49-F238E27FC236}">
                    <a16:creationId xmlns:a16="http://schemas.microsoft.com/office/drawing/2014/main" id="{DC16F754-870A-4E77-AC0D-070EBB34A647}"/>
                  </a:ext>
                </a:extLst>
              </p:cNvPr>
              <p:cNvPicPr>
                <a:picLocks noChangeAspect="1"/>
              </p:cNvPicPr>
              <p:nvPr/>
            </p:nvPicPr>
            <p:blipFill>
              <a:blip r:embed="rId4">
                <a:clrChange>
                  <a:clrFrom>
                    <a:srgbClr val="FEFFFF"/>
                  </a:clrFrom>
                  <a:clrTo>
                    <a:srgbClr val="FEFFFF">
                      <a:alpha val="0"/>
                    </a:srgbClr>
                  </a:clrTo>
                </a:clrChange>
                <a:extLst>
                  <a:ext uri="{28A0092B-C50C-407E-A947-70E740481C1C}">
                    <a14:useLocalDpi xmlns:a14="http://schemas.microsoft.com/office/drawing/2010/main" val="0"/>
                  </a:ext>
                </a:extLst>
              </a:blip>
              <a:srcRect/>
              <a:stretch>
                <a:fillRect/>
              </a:stretch>
            </p:blipFill>
            <p:spPr bwMode="auto">
              <a:xfrm>
                <a:off x="6301870" y="2925846"/>
                <a:ext cx="539189" cy="279211"/>
              </a:xfrm>
              <a:prstGeom prst="rect">
                <a:avLst/>
              </a:prstGeom>
              <a:noFill/>
              <a:ln>
                <a:noFill/>
              </a:ln>
            </p:spPr>
          </p:pic>
        </p:grpSp>
        <p:sp>
          <p:nvSpPr>
            <p:cNvPr id="69" name="Rettangolo 68">
              <a:extLst>
                <a:ext uri="{FF2B5EF4-FFF2-40B4-BE49-F238E27FC236}">
                  <a16:creationId xmlns:a16="http://schemas.microsoft.com/office/drawing/2014/main" id="{36ABFC17-6903-48AC-9811-EBE40DB61471}"/>
                </a:ext>
              </a:extLst>
            </p:cNvPr>
            <p:cNvSpPr/>
            <p:nvPr/>
          </p:nvSpPr>
          <p:spPr>
            <a:xfrm>
              <a:off x="6664249" y="3250049"/>
              <a:ext cx="1041289" cy="298751"/>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Fondo/SPV</a:t>
              </a:r>
            </a:p>
          </p:txBody>
        </p:sp>
        <p:sp>
          <p:nvSpPr>
            <p:cNvPr id="70" name="Rettangolo 69">
              <a:extLst>
                <a:ext uri="{FF2B5EF4-FFF2-40B4-BE49-F238E27FC236}">
                  <a16:creationId xmlns:a16="http://schemas.microsoft.com/office/drawing/2014/main" id="{FDFF96AD-D044-4DCF-B745-C918E6896C57}"/>
                </a:ext>
              </a:extLst>
            </p:cNvPr>
            <p:cNvSpPr/>
            <p:nvPr/>
          </p:nvSpPr>
          <p:spPr>
            <a:xfrm>
              <a:off x="5914660" y="3745199"/>
              <a:ext cx="783635" cy="311863"/>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Progetto 1</a:t>
              </a:r>
            </a:p>
          </p:txBody>
        </p:sp>
        <p:sp>
          <p:nvSpPr>
            <p:cNvPr id="71" name="Rettangolo 70">
              <a:extLst>
                <a:ext uri="{FF2B5EF4-FFF2-40B4-BE49-F238E27FC236}">
                  <a16:creationId xmlns:a16="http://schemas.microsoft.com/office/drawing/2014/main" id="{FEA2C50B-57A6-4245-8D04-F30BA8F3DAF0}"/>
                </a:ext>
              </a:extLst>
            </p:cNvPr>
            <p:cNvSpPr/>
            <p:nvPr/>
          </p:nvSpPr>
          <p:spPr>
            <a:xfrm>
              <a:off x="6793076" y="3747179"/>
              <a:ext cx="783635" cy="307904"/>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defRPr/>
              </a:pPr>
              <a:r>
                <a:rPr lang="it-IT" sz="800" b="1" dirty="0">
                  <a:solidFill>
                    <a:srgbClr val="415364"/>
                  </a:solidFill>
                  <a:latin typeface="Arial" panose="020B0604020202020204" pitchFamily="34" charset="0"/>
                  <a:cs typeface="Arial" panose="020B0604020202020204" pitchFamily="34" charset="0"/>
                </a:rPr>
                <a:t>Progetto </a:t>
              </a:r>
              <a:r>
                <a:rPr kumimoji="0" lang="it-IT" sz="8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2</a:t>
              </a:r>
            </a:p>
          </p:txBody>
        </p:sp>
        <p:sp>
          <p:nvSpPr>
            <p:cNvPr id="72" name="Rettangolo 71">
              <a:extLst>
                <a:ext uri="{FF2B5EF4-FFF2-40B4-BE49-F238E27FC236}">
                  <a16:creationId xmlns:a16="http://schemas.microsoft.com/office/drawing/2014/main" id="{0E0F3E56-AD25-4C77-92F4-2A8B32D5B989}"/>
                </a:ext>
              </a:extLst>
            </p:cNvPr>
            <p:cNvSpPr/>
            <p:nvPr/>
          </p:nvSpPr>
          <p:spPr>
            <a:xfrm>
              <a:off x="7765316" y="3747178"/>
              <a:ext cx="783635" cy="307905"/>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defRPr/>
              </a:pPr>
              <a:r>
                <a:rPr lang="it-IT" sz="800" b="1" dirty="0">
                  <a:solidFill>
                    <a:srgbClr val="415364"/>
                  </a:solidFill>
                  <a:latin typeface="Arial" panose="020B0604020202020204" pitchFamily="34" charset="0"/>
                  <a:cs typeface="Arial" panose="020B0604020202020204" pitchFamily="34" charset="0"/>
                </a:rPr>
                <a:t>Progetto </a:t>
              </a:r>
              <a:r>
                <a:rPr kumimoji="0" lang="it-IT" sz="800" b="1"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3…</a:t>
              </a:r>
            </a:p>
          </p:txBody>
        </p:sp>
        <p:cxnSp>
          <p:nvCxnSpPr>
            <p:cNvPr id="73" name="Connettore 2 72">
              <a:extLst>
                <a:ext uri="{FF2B5EF4-FFF2-40B4-BE49-F238E27FC236}">
                  <a16:creationId xmlns:a16="http://schemas.microsoft.com/office/drawing/2014/main" id="{BCD8FACF-07E3-4A98-956D-64D8418EC356}"/>
                </a:ext>
              </a:extLst>
            </p:cNvPr>
            <p:cNvCxnSpPr>
              <a:cxnSpLocks/>
              <a:stCxn id="69" idx="2"/>
              <a:endCxn id="71" idx="0"/>
            </p:cNvCxnSpPr>
            <p:nvPr/>
          </p:nvCxnSpPr>
          <p:spPr>
            <a:xfrm>
              <a:off x="7184894" y="3548800"/>
              <a:ext cx="0" cy="1983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Connettore a gomito 73">
              <a:extLst>
                <a:ext uri="{FF2B5EF4-FFF2-40B4-BE49-F238E27FC236}">
                  <a16:creationId xmlns:a16="http://schemas.microsoft.com/office/drawing/2014/main" id="{828CD53D-3D24-4E9E-AC8D-18FD74B7A9CA}"/>
                </a:ext>
              </a:extLst>
            </p:cNvPr>
            <p:cNvCxnSpPr>
              <a:cxnSpLocks/>
              <a:stCxn id="69" idx="1"/>
              <a:endCxn id="70" idx="0"/>
            </p:cNvCxnSpPr>
            <p:nvPr/>
          </p:nvCxnSpPr>
          <p:spPr>
            <a:xfrm rot="10800000" flipV="1">
              <a:off x="6306478" y="3399424"/>
              <a:ext cx="357771" cy="34577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Connettore a gomito 74">
              <a:extLst>
                <a:ext uri="{FF2B5EF4-FFF2-40B4-BE49-F238E27FC236}">
                  <a16:creationId xmlns:a16="http://schemas.microsoft.com/office/drawing/2014/main" id="{43FF7E5B-918A-4266-8135-C4CAF7EF3588}"/>
                </a:ext>
              </a:extLst>
            </p:cNvPr>
            <p:cNvCxnSpPr>
              <a:cxnSpLocks/>
              <a:stCxn id="69" idx="3"/>
              <a:endCxn id="72" idx="0"/>
            </p:cNvCxnSpPr>
            <p:nvPr/>
          </p:nvCxnSpPr>
          <p:spPr>
            <a:xfrm>
              <a:off x="7705538" y="3399425"/>
              <a:ext cx="451596" cy="34775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76" name="Rettangolo 75">
              <a:extLst>
                <a:ext uri="{FF2B5EF4-FFF2-40B4-BE49-F238E27FC236}">
                  <a16:creationId xmlns:a16="http://schemas.microsoft.com/office/drawing/2014/main" id="{2A205C06-A377-425D-BA1B-E3F4998ECACD}"/>
                </a:ext>
              </a:extLst>
            </p:cNvPr>
            <p:cNvSpPr/>
            <p:nvPr/>
          </p:nvSpPr>
          <p:spPr>
            <a:xfrm>
              <a:off x="7475696" y="2523882"/>
              <a:ext cx="836525" cy="349201"/>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800" i="1" dirty="0">
                  <a:solidFill>
                    <a:srgbClr val="415364"/>
                  </a:solidFill>
                </a:rPr>
                <a:t>Partner finanziari</a:t>
              </a:r>
              <a:r>
                <a:rPr lang="it-IT" sz="800" i="1" baseline="30000" dirty="0">
                  <a:solidFill>
                    <a:srgbClr val="415364"/>
                  </a:solidFill>
                </a:rPr>
                <a:t>1</a:t>
              </a:r>
            </a:p>
          </p:txBody>
        </p:sp>
        <p:cxnSp>
          <p:nvCxnSpPr>
            <p:cNvPr id="77" name="Connector: Elbow 44">
              <a:extLst>
                <a:ext uri="{FF2B5EF4-FFF2-40B4-BE49-F238E27FC236}">
                  <a16:creationId xmlns:a16="http://schemas.microsoft.com/office/drawing/2014/main" id="{936B885C-451E-41AD-BC76-3D4C1289C848}"/>
                </a:ext>
              </a:extLst>
            </p:cNvPr>
            <p:cNvCxnSpPr>
              <a:cxnSpLocks/>
              <a:stCxn id="81" idx="2"/>
              <a:endCxn id="69" idx="0"/>
            </p:cNvCxnSpPr>
            <p:nvPr/>
          </p:nvCxnSpPr>
          <p:spPr>
            <a:xfrm rot="16200000" flipH="1">
              <a:off x="6666398" y="2731552"/>
              <a:ext cx="376967" cy="66002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Connector: Elbow 82">
              <a:extLst>
                <a:ext uri="{FF2B5EF4-FFF2-40B4-BE49-F238E27FC236}">
                  <a16:creationId xmlns:a16="http://schemas.microsoft.com/office/drawing/2014/main" id="{216BCBC3-3EDA-4E6B-BFAD-D71F637C0DC2}"/>
                </a:ext>
              </a:extLst>
            </p:cNvPr>
            <p:cNvCxnSpPr>
              <a:cxnSpLocks/>
              <a:stCxn id="76" idx="2"/>
              <a:endCxn id="69" idx="0"/>
            </p:cNvCxnSpPr>
            <p:nvPr/>
          </p:nvCxnSpPr>
          <p:spPr>
            <a:xfrm rot="5400000">
              <a:off x="7350943" y="2707033"/>
              <a:ext cx="376967" cy="70906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80" name="CasellaDiTesto 51">
              <a:extLst>
                <a:ext uri="{FF2B5EF4-FFF2-40B4-BE49-F238E27FC236}">
                  <a16:creationId xmlns:a16="http://schemas.microsoft.com/office/drawing/2014/main" id="{7DC2B7CA-65F8-4BE6-82C5-E9F9B374AF8A}"/>
                </a:ext>
              </a:extLst>
            </p:cNvPr>
            <p:cNvSpPr txBox="1"/>
            <p:nvPr/>
          </p:nvSpPr>
          <p:spPr>
            <a:xfrm>
              <a:off x="6900734" y="2740195"/>
              <a:ext cx="709067" cy="349199"/>
            </a:xfrm>
            <a:prstGeom prst="rect">
              <a:avLst/>
            </a:prstGeom>
          </p:spPr>
          <p:txBody>
            <a:bodyPr vert="horz" wrap="square" lIns="91440" tIns="45720" rIns="91440" bIns="45720" rtlCol="0" anchor="b">
              <a:normAutofit/>
            </a:bodyPr>
            <a:lstStyle>
              <a:defPPr>
                <a:defRPr lang="it-IT"/>
              </a:defPPr>
              <a:lvl1pPr>
                <a:defRPr i="1"/>
              </a:lvl1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a:ln>
                    <a:noFill/>
                  </a:ln>
                  <a:solidFill>
                    <a:srgbClr val="415364"/>
                  </a:solidFill>
                  <a:effectLst/>
                  <a:uLnTx/>
                  <a:uFillTx/>
                  <a:latin typeface="Arial" panose="020B0604020202020204"/>
                  <a:ea typeface="+mn-ea"/>
                  <a:cs typeface="+mn-cs"/>
                </a:rPr>
                <a:t>Equity</a:t>
              </a:r>
            </a:p>
          </p:txBody>
        </p:sp>
      </p:grpSp>
      <p:grpSp>
        <p:nvGrpSpPr>
          <p:cNvPr id="131" name="Group 130">
            <a:extLst>
              <a:ext uri="{FF2B5EF4-FFF2-40B4-BE49-F238E27FC236}">
                <a16:creationId xmlns:a16="http://schemas.microsoft.com/office/drawing/2014/main" id="{D5A370E1-EF0A-4B77-B9EB-375875298C38}"/>
              </a:ext>
            </a:extLst>
          </p:cNvPr>
          <p:cNvGrpSpPr/>
          <p:nvPr/>
        </p:nvGrpSpPr>
        <p:grpSpPr>
          <a:xfrm>
            <a:off x="3472865" y="784040"/>
            <a:ext cx="2467047" cy="1915458"/>
            <a:chOff x="3141732" y="2280675"/>
            <a:chExt cx="2339429" cy="2135097"/>
          </a:xfrm>
        </p:grpSpPr>
        <p:sp>
          <p:nvSpPr>
            <p:cNvPr id="132" name="CasellaDiTesto 51">
              <a:extLst>
                <a:ext uri="{FF2B5EF4-FFF2-40B4-BE49-F238E27FC236}">
                  <a16:creationId xmlns:a16="http://schemas.microsoft.com/office/drawing/2014/main" id="{780F3E89-06DF-4AD6-B609-C18275362AB6}"/>
                </a:ext>
              </a:extLst>
            </p:cNvPr>
            <p:cNvSpPr txBox="1"/>
            <p:nvPr/>
          </p:nvSpPr>
          <p:spPr>
            <a:xfrm>
              <a:off x="3790719" y="3164283"/>
              <a:ext cx="1038867" cy="252000"/>
            </a:xfrm>
            <a:prstGeom prst="rect">
              <a:avLst/>
            </a:prstGeom>
          </p:spPr>
          <p:txBody>
            <a:bodyPr vert="horz" wrap="square" lIns="91440" tIns="45720" rIns="91440" bIns="45720" rtlCol="0" anchor="b">
              <a:normAutofit/>
            </a:bodyPr>
            <a:lstStyle>
              <a:defPPr>
                <a:defRPr lang="it-IT"/>
              </a:defPPr>
              <a:lvl1pPr marR="0" lvl="0" indent="0" fontAlgn="auto">
                <a:lnSpc>
                  <a:spcPct val="100000"/>
                </a:lnSpc>
                <a:spcBef>
                  <a:spcPts val="0"/>
                </a:spcBef>
                <a:spcAft>
                  <a:spcPts val="0"/>
                </a:spcAft>
                <a:buClrTx/>
                <a:buSzTx/>
                <a:buFontTx/>
                <a:buNone/>
                <a:tabLst/>
                <a:defRPr kumimoji="0" sz="800" b="0" i="1" u="none" strike="noStrike" cap="none" spc="0" normalizeH="0" baseline="0">
                  <a:ln>
                    <a:noFill/>
                  </a:ln>
                  <a:solidFill>
                    <a:srgbClr val="415364"/>
                  </a:solidFill>
                  <a:effectLst/>
                  <a:uLnTx/>
                  <a:uFillTx/>
                  <a:latin typeface="Arial" panose="020B0604020202020204"/>
                </a:defRPr>
              </a:lvl1pPr>
            </a:lstStyle>
            <a:p>
              <a:pPr algn="ctr"/>
              <a:r>
                <a:rPr lang="it-IT" dirty="0"/>
                <a:t>Prestiti/Garanzie</a:t>
              </a:r>
            </a:p>
          </p:txBody>
        </p:sp>
        <p:grpSp>
          <p:nvGrpSpPr>
            <p:cNvPr id="133" name="Group 132">
              <a:extLst>
                <a:ext uri="{FF2B5EF4-FFF2-40B4-BE49-F238E27FC236}">
                  <a16:creationId xmlns:a16="http://schemas.microsoft.com/office/drawing/2014/main" id="{BC97C430-0768-4612-8D8C-09D80963F35B}"/>
                </a:ext>
              </a:extLst>
            </p:cNvPr>
            <p:cNvGrpSpPr/>
            <p:nvPr/>
          </p:nvGrpSpPr>
          <p:grpSpPr>
            <a:xfrm>
              <a:off x="3141732" y="2280675"/>
              <a:ext cx="2339429" cy="2135097"/>
              <a:chOff x="3141732" y="2280675"/>
              <a:chExt cx="2339429" cy="2135097"/>
            </a:xfrm>
          </p:grpSpPr>
          <p:grpSp>
            <p:nvGrpSpPr>
              <p:cNvPr id="134" name="Group 133">
                <a:extLst>
                  <a:ext uri="{FF2B5EF4-FFF2-40B4-BE49-F238E27FC236}">
                    <a16:creationId xmlns:a16="http://schemas.microsoft.com/office/drawing/2014/main" id="{99371D4E-EF24-44FB-9932-A4FBD49C21E3}"/>
                  </a:ext>
                </a:extLst>
              </p:cNvPr>
              <p:cNvGrpSpPr/>
              <p:nvPr/>
            </p:nvGrpSpPr>
            <p:grpSpPr>
              <a:xfrm>
                <a:off x="3141732" y="2280675"/>
                <a:ext cx="2339429" cy="2135097"/>
                <a:chOff x="3141732" y="2280675"/>
                <a:chExt cx="2339429" cy="2135097"/>
              </a:xfrm>
            </p:grpSpPr>
            <p:sp>
              <p:nvSpPr>
                <p:cNvPr id="142" name="Rettangolo con angoli arrotondati 23">
                  <a:extLst>
                    <a:ext uri="{FF2B5EF4-FFF2-40B4-BE49-F238E27FC236}">
                      <a16:creationId xmlns:a16="http://schemas.microsoft.com/office/drawing/2014/main" id="{236E4DB3-BEDA-4429-8D06-E9D9BA83413A}"/>
                    </a:ext>
                  </a:extLst>
                </p:cNvPr>
                <p:cNvSpPr/>
                <p:nvPr/>
              </p:nvSpPr>
              <p:spPr>
                <a:xfrm>
                  <a:off x="3141732" y="2413410"/>
                  <a:ext cx="2339429" cy="2002362"/>
                </a:xfrm>
                <a:prstGeom prst="round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135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143" name="Rettangolo con angoli arrotondati 26">
                  <a:extLst>
                    <a:ext uri="{FF2B5EF4-FFF2-40B4-BE49-F238E27FC236}">
                      <a16:creationId xmlns:a16="http://schemas.microsoft.com/office/drawing/2014/main" id="{EAD9EA3E-E722-4641-8FD9-D5ED346F3DF2}"/>
                    </a:ext>
                  </a:extLst>
                </p:cNvPr>
                <p:cNvSpPr/>
                <p:nvPr/>
              </p:nvSpPr>
              <p:spPr>
                <a:xfrm>
                  <a:off x="3644082" y="2280675"/>
                  <a:ext cx="1334729" cy="265470"/>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rPr>
                    <a:t>Imprese</a:t>
                  </a:r>
                </a:p>
              </p:txBody>
            </p:sp>
          </p:grpSp>
          <p:sp>
            <p:nvSpPr>
              <p:cNvPr id="135" name="Rettangolo 59">
                <a:extLst>
                  <a:ext uri="{FF2B5EF4-FFF2-40B4-BE49-F238E27FC236}">
                    <a16:creationId xmlns:a16="http://schemas.microsoft.com/office/drawing/2014/main" id="{ADBC99EE-D630-4689-AECC-7B86D2381A6C}"/>
                  </a:ext>
                </a:extLst>
              </p:cNvPr>
              <p:cNvSpPr/>
              <p:nvPr/>
            </p:nvSpPr>
            <p:spPr>
              <a:xfrm>
                <a:off x="3835980" y="3751279"/>
                <a:ext cx="953384" cy="370791"/>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Arial" panose="020B0604020202020204"/>
                    <a:ea typeface="+mn-ea"/>
                    <a:cs typeface="+mn-cs"/>
                  </a:rPr>
                  <a:t>Imprese</a:t>
                </a:r>
              </a:p>
            </p:txBody>
          </p:sp>
          <p:grpSp>
            <p:nvGrpSpPr>
              <p:cNvPr id="136" name="Group 135">
                <a:extLst>
                  <a:ext uri="{FF2B5EF4-FFF2-40B4-BE49-F238E27FC236}">
                    <a16:creationId xmlns:a16="http://schemas.microsoft.com/office/drawing/2014/main" id="{8212CA9A-521D-4EFD-A15A-9424F143785B}"/>
                  </a:ext>
                </a:extLst>
              </p:cNvPr>
              <p:cNvGrpSpPr/>
              <p:nvPr/>
            </p:nvGrpSpPr>
            <p:grpSpPr>
              <a:xfrm>
                <a:off x="3501387" y="2694023"/>
                <a:ext cx="678426" cy="347546"/>
                <a:chOff x="3501387" y="3006919"/>
                <a:chExt cx="678426" cy="347546"/>
              </a:xfrm>
            </p:grpSpPr>
            <p:sp>
              <p:nvSpPr>
                <p:cNvPr id="140" name="Rettangolo 56">
                  <a:extLst>
                    <a:ext uri="{FF2B5EF4-FFF2-40B4-BE49-F238E27FC236}">
                      <a16:creationId xmlns:a16="http://schemas.microsoft.com/office/drawing/2014/main" id="{D568493F-44A5-421F-B84E-684CA4D0E842}"/>
                    </a:ext>
                  </a:extLst>
                </p:cNvPr>
                <p:cNvSpPr/>
                <p:nvPr/>
              </p:nvSpPr>
              <p:spPr>
                <a:xfrm>
                  <a:off x="3501387" y="3006919"/>
                  <a:ext cx="678426" cy="347546"/>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800" b="1" i="0" u="none" strike="noStrike" kern="1200" cap="none" spc="0" normalizeH="0" baseline="0" noProof="0">
                    <a:ln>
                      <a:noFill/>
                    </a:ln>
                    <a:solidFill>
                      <a:srgbClr val="415364"/>
                    </a:solidFill>
                    <a:effectLst/>
                    <a:uLnTx/>
                    <a:uFillTx/>
                    <a:latin typeface="Arial" panose="020B0604020202020204"/>
                    <a:ea typeface="+mn-ea"/>
                    <a:cs typeface="+mn-cs"/>
                  </a:endParaRPr>
                </a:p>
              </p:txBody>
            </p:sp>
            <p:pic>
              <p:nvPicPr>
                <p:cNvPr id="141" name="Immagine 61" descr="cid:image001.jpg@01D518C3.3A9880E0">
                  <a:extLst>
                    <a:ext uri="{FF2B5EF4-FFF2-40B4-BE49-F238E27FC236}">
                      <a16:creationId xmlns:a16="http://schemas.microsoft.com/office/drawing/2014/main" id="{C8B6241E-0B97-4DAF-9B81-B4D3E0CE67B6}"/>
                    </a:ext>
                  </a:extLst>
                </p:cNvPr>
                <p:cNvPicPr>
                  <a:picLocks noChangeAspect="1"/>
                </p:cNvPicPr>
                <p:nvPr/>
              </p:nvPicPr>
              <p:blipFill>
                <a:blip r:embed="rId4">
                  <a:clrChange>
                    <a:clrFrom>
                      <a:srgbClr val="FEFFFF"/>
                    </a:clrFrom>
                    <a:clrTo>
                      <a:srgbClr val="FEFFFF">
                        <a:alpha val="0"/>
                      </a:srgbClr>
                    </a:clrTo>
                  </a:clrChange>
                  <a:extLst>
                    <a:ext uri="{28A0092B-C50C-407E-A947-70E740481C1C}">
                      <a14:useLocalDpi xmlns:a14="http://schemas.microsoft.com/office/drawing/2010/main" val="0"/>
                    </a:ext>
                  </a:extLst>
                </a:blip>
                <a:srcRect/>
                <a:stretch>
                  <a:fillRect/>
                </a:stretch>
              </p:blipFill>
              <p:spPr bwMode="auto">
                <a:xfrm>
                  <a:off x="3644082" y="3032791"/>
                  <a:ext cx="443092" cy="279210"/>
                </a:xfrm>
                <a:prstGeom prst="rect">
                  <a:avLst/>
                </a:prstGeom>
                <a:noFill/>
                <a:ln>
                  <a:noFill/>
                </a:ln>
              </p:spPr>
            </p:pic>
          </p:grpSp>
          <p:sp>
            <p:nvSpPr>
              <p:cNvPr id="137" name="Rettangolo 46">
                <a:extLst>
                  <a:ext uri="{FF2B5EF4-FFF2-40B4-BE49-F238E27FC236}">
                    <a16:creationId xmlns:a16="http://schemas.microsoft.com/office/drawing/2014/main" id="{020A992A-0792-47B2-B9C3-1032C1D46255}"/>
                  </a:ext>
                </a:extLst>
              </p:cNvPr>
              <p:cNvSpPr/>
              <p:nvPr/>
            </p:nvSpPr>
            <p:spPr>
              <a:xfrm>
                <a:off x="4408149" y="2679650"/>
                <a:ext cx="836525" cy="349200"/>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dirty="0">
                    <a:ln>
                      <a:noFill/>
                    </a:ln>
                    <a:solidFill>
                      <a:srgbClr val="415364"/>
                    </a:solidFill>
                    <a:effectLst/>
                    <a:uLnTx/>
                    <a:uFillTx/>
                    <a:latin typeface="Arial" panose="020B0604020202020204"/>
                    <a:ea typeface="+mn-ea"/>
                    <a:cs typeface="+mn-cs"/>
                  </a:rPr>
                  <a:t>Partner finanziari</a:t>
                </a:r>
                <a:r>
                  <a:rPr kumimoji="0" lang="it-IT" sz="800" b="0" i="1" u="none" strike="noStrike" kern="1200" cap="none" spc="0" normalizeH="0" baseline="30000" noProof="0" dirty="0">
                    <a:ln>
                      <a:noFill/>
                    </a:ln>
                    <a:solidFill>
                      <a:srgbClr val="415364"/>
                    </a:solidFill>
                    <a:effectLst/>
                    <a:uLnTx/>
                    <a:uFillTx/>
                    <a:latin typeface="Arial" panose="020B0604020202020204"/>
                    <a:ea typeface="+mn-ea"/>
                    <a:cs typeface="+mn-cs"/>
                  </a:rPr>
                  <a:t>1</a:t>
                </a:r>
              </a:p>
            </p:txBody>
          </p:sp>
          <p:cxnSp>
            <p:nvCxnSpPr>
              <p:cNvPr id="138" name="Connector: Elbow 137">
                <a:extLst>
                  <a:ext uri="{FF2B5EF4-FFF2-40B4-BE49-F238E27FC236}">
                    <a16:creationId xmlns:a16="http://schemas.microsoft.com/office/drawing/2014/main" id="{F530CDB6-2E74-4DD1-90FF-F754AFC0F49C}"/>
                  </a:ext>
                </a:extLst>
              </p:cNvPr>
              <p:cNvCxnSpPr>
                <a:stCxn id="140" idx="2"/>
                <a:endCxn id="135" idx="0"/>
              </p:cNvCxnSpPr>
              <p:nvPr/>
            </p:nvCxnSpPr>
            <p:spPr>
              <a:xfrm rot="16200000" flipH="1">
                <a:off x="3721781" y="3160388"/>
                <a:ext cx="709710" cy="47207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9" name="Connector: Elbow 138">
                <a:extLst>
                  <a:ext uri="{FF2B5EF4-FFF2-40B4-BE49-F238E27FC236}">
                    <a16:creationId xmlns:a16="http://schemas.microsoft.com/office/drawing/2014/main" id="{A33039C2-FF0B-42FF-B681-2344BBC87C1B}"/>
                  </a:ext>
                </a:extLst>
              </p:cNvPr>
              <p:cNvCxnSpPr>
                <a:cxnSpLocks/>
                <a:stCxn id="137" idx="2"/>
              </p:cNvCxnSpPr>
              <p:nvPr/>
            </p:nvCxnSpPr>
            <p:spPr>
              <a:xfrm rot="5400000">
                <a:off x="4205062" y="3136460"/>
                <a:ext cx="728960" cy="51374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grpSp>
      </p:grpSp>
      <p:sp>
        <p:nvSpPr>
          <p:cNvPr id="144" name="CasellaDiTesto 18">
            <a:extLst>
              <a:ext uri="{FF2B5EF4-FFF2-40B4-BE49-F238E27FC236}">
                <a16:creationId xmlns:a16="http://schemas.microsoft.com/office/drawing/2014/main" id="{999DC1E8-0E1D-44E1-8D22-2A17307815D2}"/>
              </a:ext>
            </a:extLst>
          </p:cNvPr>
          <p:cNvSpPr txBox="1"/>
          <p:nvPr/>
        </p:nvSpPr>
        <p:spPr>
          <a:xfrm>
            <a:off x="5013087" y="208550"/>
            <a:ext cx="2189751" cy="606900"/>
          </a:xfrm>
          <a:prstGeom prst="rect">
            <a:avLst/>
          </a:prstGeom>
        </p:spPr>
        <p:txBody>
          <a:bodyPr vert="horz" wrap="square" lIns="68580" tIns="34290" rIns="68580" bIns="34290" rtlCol="0" anchor="ctr">
            <a:normAutofit/>
          </a:bodyPr>
          <a:lstStyle/>
          <a:p>
            <a:pPr lvl="0" algn="ctr">
              <a:defRPr/>
            </a:pPr>
            <a:r>
              <a:rPr lang="it-IT" sz="1200" b="1" i="1" dirty="0">
                <a:solidFill>
                  <a:srgbClr val="415364"/>
                </a:solidFill>
              </a:rPr>
              <a:t>Schemi di intervento </a:t>
            </a:r>
          </a:p>
        </p:txBody>
      </p:sp>
      <p:grpSp>
        <p:nvGrpSpPr>
          <p:cNvPr id="145" name="Group 144">
            <a:extLst>
              <a:ext uri="{FF2B5EF4-FFF2-40B4-BE49-F238E27FC236}">
                <a16:creationId xmlns:a16="http://schemas.microsoft.com/office/drawing/2014/main" id="{12ECC110-CF95-4784-995E-CCCEA4B542EE}"/>
              </a:ext>
            </a:extLst>
          </p:cNvPr>
          <p:cNvGrpSpPr/>
          <p:nvPr/>
        </p:nvGrpSpPr>
        <p:grpSpPr>
          <a:xfrm>
            <a:off x="6216627" y="750379"/>
            <a:ext cx="2470255" cy="1949119"/>
            <a:chOff x="498681" y="2276182"/>
            <a:chExt cx="2340000" cy="2144083"/>
          </a:xfrm>
        </p:grpSpPr>
        <p:cxnSp>
          <p:nvCxnSpPr>
            <p:cNvPr id="146" name="Connettore 2 85">
              <a:extLst>
                <a:ext uri="{FF2B5EF4-FFF2-40B4-BE49-F238E27FC236}">
                  <a16:creationId xmlns:a16="http://schemas.microsoft.com/office/drawing/2014/main" id="{93C925B7-7578-4DF5-B455-7302BE8E4F6A}"/>
                </a:ext>
              </a:extLst>
            </p:cNvPr>
            <p:cNvCxnSpPr>
              <a:cxnSpLocks/>
              <a:stCxn id="152" idx="2"/>
              <a:endCxn id="153" idx="0"/>
            </p:cNvCxnSpPr>
            <p:nvPr/>
          </p:nvCxnSpPr>
          <p:spPr>
            <a:xfrm>
              <a:off x="1600759" y="3795746"/>
              <a:ext cx="2369" cy="1654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47" name="Group 146">
              <a:extLst>
                <a:ext uri="{FF2B5EF4-FFF2-40B4-BE49-F238E27FC236}">
                  <a16:creationId xmlns:a16="http://schemas.microsoft.com/office/drawing/2014/main" id="{DE3B12E5-B310-476B-B2B9-41DC5EF10F33}"/>
                </a:ext>
              </a:extLst>
            </p:cNvPr>
            <p:cNvGrpSpPr/>
            <p:nvPr/>
          </p:nvGrpSpPr>
          <p:grpSpPr>
            <a:xfrm>
              <a:off x="498681" y="2276182"/>
              <a:ext cx="2340000" cy="2144083"/>
              <a:chOff x="498681" y="2276182"/>
              <a:chExt cx="2340000" cy="2144083"/>
            </a:xfrm>
          </p:grpSpPr>
          <p:sp>
            <p:nvSpPr>
              <p:cNvPr id="148" name="CasellaDiTesto 51">
                <a:extLst>
                  <a:ext uri="{FF2B5EF4-FFF2-40B4-BE49-F238E27FC236}">
                    <a16:creationId xmlns:a16="http://schemas.microsoft.com/office/drawing/2014/main" id="{DA258A34-5C50-4386-9617-898C5C458753}"/>
                  </a:ext>
                </a:extLst>
              </p:cNvPr>
              <p:cNvSpPr txBox="1"/>
              <p:nvPr/>
            </p:nvSpPr>
            <p:spPr>
              <a:xfrm>
                <a:off x="1095012" y="3056132"/>
                <a:ext cx="1086734" cy="242524"/>
              </a:xfrm>
              <a:prstGeom prst="rect">
                <a:avLst/>
              </a:prstGeom>
            </p:spPr>
            <p:txBody>
              <a:bodyPr vert="horz" wrap="square" lIns="91440" tIns="45720" rIns="91440" bIns="45720" rtlCol="0" anchor="b">
                <a:normAutofit/>
              </a:bodyPr>
              <a:lstStyle>
                <a:defPPr>
                  <a:defRPr lang="it-IT"/>
                </a:defPPr>
                <a:lvl1pPr>
                  <a:defRPr i="1"/>
                </a:lvl1pPr>
              </a:lstStyle>
              <a:p>
                <a:pPr algn="ctr"/>
                <a:r>
                  <a:rPr lang="it-IT" sz="800" dirty="0"/>
                  <a:t>Prestiti/Garanzie</a:t>
                </a:r>
              </a:p>
            </p:txBody>
          </p:sp>
          <p:sp>
            <p:nvSpPr>
              <p:cNvPr id="149" name="Rettangolo con angoli arrotondati 19">
                <a:extLst>
                  <a:ext uri="{FF2B5EF4-FFF2-40B4-BE49-F238E27FC236}">
                    <a16:creationId xmlns:a16="http://schemas.microsoft.com/office/drawing/2014/main" id="{C5ED448C-A3B1-4339-ABA3-1B3688265765}"/>
                  </a:ext>
                </a:extLst>
              </p:cNvPr>
              <p:cNvSpPr/>
              <p:nvPr/>
            </p:nvSpPr>
            <p:spPr>
              <a:xfrm>
                <a:off x="498681" y="2417903"/>
                <a:ext cx="2340000" cy="2002362"/>
              </a:xfrm>
              <a:prstGeom prst="round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135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150" name="Rettangolo con angoli arrotondati 25">
                <a:extLst>
                  <a:ext uri="{FF2B5EF4-FFF2-40B4-BE49-F238E27FC236}">
                    <a16:creationId xmlns:a16="http://schemas.microsoft.com/office/drawing/2014/main" id="{9057DDC1-76C4-498E-8709-2FDC075870F7}"/>
                  </a:ext>
                </a:extLst>
              </p:cNvPr>
              <p:cNvSpPr/>
              <p:nvPr/>
            </p:nvSpPr>
            <p:spPr>
              <a:xfrm>
                <a:off x="1006481" y="2276182"/>
                <a:ext cx="1368000" cy="265470"/>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rPr>
                  <a:t>Istituzioni finanziarie</a:t>
                </a:r>
              </a:p>
            </p:txBody>
          </p:sp>
          <p:grpSp>
            <p:nvGrpSpPr>
              <p:cNvPr id="151" name="Group 150">
                <a:extLst>
                  <a:ext uri="{FF2B5EF4-FFF2-40B4-BE49-F238E27FC236}">
                    <a16:creationId xmlns:a16="http://schemas.microsoft.com/office/drawing/2014/main" id="{69698D70-F618-437A-9C31-DAEC87DCF0C0}"/>
                  </a:ext>
                </a:extLst>
              </p:cNvPr>
              <p:cNvGrpSpPr/>
              <p:nvPr/>
            </p:nvGrpSpPr>
            <p:grpSpPr>
              <a:xfrm>
                <a:off x="754464" y="2681190"/>
                <a:ext cx="678426" cy="347546"/>
                <a:chOff x="1263916" y="2894129"/>
                <a:chExt cx="678426" cy="347546"/>
              </a:xfrm>
            </p:grpSpPr>
            <p:sp>
              <p:nvSpPr>
                <p:cNvPr id="156" name="Rettangolo 66">
                  <a:extLst>
                    <a:ext uri="{FF2B5EF4-FFF2-40B4-BE49-F238E27FC236}">
                      <a16:creationId xmlns:a16="http://schemas.microsoft.com/office/drawing/2014/main" id="{4D373D7A-8903-4DEF-AB37-F7D96056276A}"/>
                    </a:ext>
                  </a:extLst>
                </p:cNvPr>
                <p:cNvSpPr/>
                <p:nvPr/>
              </p:nvSpPr>
              <p:spPr>
                <a:xfrm>
                  <a:off x="1263916" y="2894129"/>
                  <a:ext cx="678426" cy="347546"/>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800" b="1" i="0" u="none" strike="noStrike" kern="1200" cap="none" spc="0" normalizeH="0" baseline="0" noProof="0">
                    <a:ln>
                      <a:noFill/>
                    </a:ln>
                    <a:solidFill>
                      <a:srgbClr val="415364"/>
                    </a:solidFill>
                    <a:effectLst/>
                    <a:uLnTx/>
                    <a:uFillTx/>
                    <a:latin typeface="Arial" panose="020B0604020202020204"/>
                    <a:ea typeface="+mn-ea"/>
                    <a:cs typeface="+mn-cs"/>
                  </a:endParaRPr>
                </a:p>
              </p:txBody>
            </p:sp>
            <p:pic>
              <p:nvPicPr>
                <p:cNvPr id="157" name="Immagine 67" descr="cid:image001.jpg@01D518C3.3A9880E0">
                  <a:extLst>
                    <a:ext uri="{FF2B5EF4-FFF2-40B4-BE49-F238E27FC236}">
                      <a16:creationId xmlns:a16="http://schemas.microsoft.com/office/drawing/2014/main" id="{6010E021-8229-4643-BB12-19AC972FF5A0}"/>
                    </a:ext>
                  </a:extLst>
                </p:cNvPr>
                <p:cNvPicPr>
                  <a:picLocks noChangeAspect="1"/>
                </p:cNvPicPr>
                <p:nvPr/>
              </p:nvPicPr>
              <p:blipFill>
                <a:blip r:embed="rId4">
                  <a:clrChange>
                    <a:clrFrom>
                      <a:srgbClr val="FEFFFF"/>
                    </a:clrFrom>
                    <a:clrTo>
                      <a:srgbClr val="FEFFFF">
                        <a:alpha val="0"/>
                      </a:srgbClr>
                    </a:clrTo>
                  </a:clrChange>
                  <a:extLst>
                    <a:ext uri="{28A0092B-C50C-407E-A947-70E740481C1C}">
                      <a14:useLocalDpi xmlns:a14="http://schemas.microsoft.com/office/drawing/2010/main" val="0"/>
                    </a:ext>
                  </a:extLst>
                </a:blip>
                <a:srcRect/>
                <a:stretch>
                  <a:fillRect/>
                </a:stretch>
              </p:blipFill>
              <p:spPr bwMode="auto">
                <a:xfrm>
                  <a:off x="1370979" y="2925848"/>
                  <a:ext cx="478724" cy="279210"/>
                </a:xfrm>
                <a:prstGeom prst="rect">
                  <a:avLst/>
                </a:prstGeom>
                <a:noFill/>
                <a:ln>
                  <a:noFill/>
                </a:ln>
              </p:spPr>
            </p:pic>
          </p:grpSp>
          <p:sp>
            <p:nvSpPr>
              <p:cNvPr id="152" name="Rettangolo 68">
                <a:extLst>
                  <a:ext uri="{FF2B5EF4-FFF2-40B4-BE49-F238E27FC236}">
                    <a16:creationId xmlns:a16="http://schemas.microsoft.com/office/drawing/2014/main" id="{0C730661-E08F-46EC-AFA0-41AAE54C7017}"/>
                  </a:ext>
                </a:extLst>
              </p:cNvPr>
              <p:cNvSpPr/>
              <p:nvPr/>
            </p:nvSpPr>
            <p:spPr>
              <a:xfrm>
                <a:off x="970759" y="3471746"/>
                <a:ext cx="1260000" cy="324000"/>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defRPr/>
                </a:pPr>
                <a:r>
                  <a:rPr lang="it-IT" sz="800" b="1" dirty="0">
                    <a:solidFill>
                      <a:srgbClr val="415364"/>
                    </a:solidFill>
                  </a:rPr>
                  <a:t>Istituzioni finanziari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Arial" panose="020B0604020202020204"/>
                    <a:ea typeface="+mn-ea"/>
                    <a:cs typeface="+mn-cs"/>
                  </a:rPr>
                  <a:t>/Micro-Finanza</a:t>
                </a:r>
              </a:p>
            </p:txBody>
          </p:sp>
          <p:sp>
            <p:nvSpPr>
              <p:cNvPr id="153" name="Rettangolo 80">
                <a:extLst>
                  <a:ext uri="{FF2B5EF4-FFF2-40B4-BE49-F238E27FC236}">
                    <a16:creationId xmlns:a16="http://schemas.microsoft.com/office/drawing/2014/main" id="{DF25637F-5142-4A05-8009-F2683FEF77A5}"/>
                  </a:ext>
                </a:extLst>
              </p:cNvPr>
              <p:cNvSpPr/>
              <p:nvPr/>
            </p:nvSpPr>
            <p:spPr>
              <a:xfrm>
                <a:off x="1211311" y="3961182"/>
                <a:ext cx="783635" cy="307904"/>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415364"/>
                    </a:solidFill>
                    <a:effectLst/>
                    <a:uLnTx/>
                    <a:uFillTx/>
                    <a:latin typeface="Arial" panose="020B0604020202020204"/>
                    <a:ea typeface="+mn-ea"/>
                    <a:cs typeface="+mn-cs"/>
                  </a:rPr>
                  <a:t>MPMI</a:t>
                </a:r>
              </a:p>
            </p:txBody>
          </p:sp>
          <p:sp>
            <p:nvSpPr>
              <p:cNvPr id="154" name="Rettangolo 46">
                <a:extLst>
                  <a:ext uri="{FF2B5EF4-FFF2-40B4-BE49-F238E27FC236}">
                    <a16:creationId xmlns:a16="http://schemas.microsoft.com/office/drawing/2014/main" id="{13C83881-CFB9-40D2-929D-BD4BECF2709A}"/>
                  </a:ext>
                </a:extLst>
              </p:cNvPr>
              <p:cNvSpPr/>
              <p:nvPr/>
            </p:nvSpPr>
            <p:spPr>
              <a:xfrm>
                <a:off x="1743919" y="2679650"/>
                <a:ext cx="836525" cy="349200"/>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800" i="1" dirty="0">
                    <a:solidFill>
                      <a:srgbClr val="415364"/>
                    </a:solidFill>
                  </a:rPr>
                  <a:t>Partner finanziari</a:t>
                </a:r>
                <a:r>
                  <a:rPr lang="it-IT" sz="800" i="1" baseline="30000" dirty="0">
                    <a:solidFill>
                      <a:srgbClr val="415364"/>
                    </a:solidFill>
                  </a:rPr>
                  <a:t>1</a:t>
                </a:r>
              </a:p>
            </p:txBody>
          </p:sp>
          <p:cxnSp>
            <p:nvCxnSpPr>
              <p:cNvPr id="155" name="Connector: Elbow 154">
                <a:extLst>
                  <a:ext uri="{FF2B5EF4-FFF2-40B4-BE49-F238E27FC236}">
                    <a16:creationId xmlns:a16="http://schemas.microsoft.com/office/drawing/2014/main" id="{24EDBA90-5456-435A-8A07-BDD8D6D1730D}"/>
                  </a:ext>
                </a:extLst>
              </p:cNvPr>
              <p:cNvCxnSpPr>
                <a:cxnSpLocks/>
                <a:stCxn id="154" idx="2"/>
                <a:endCxn id="152" idx="0"/>
              </p:cNvCxnSpPr>
              <p:nvPr/>
            </p:nvCxnSpPr>
            <p:spPr>
              <a:xfrm rot="5400000">
                <a:off x="1660023" y="2969586"/>
                <a:ext cx="442896" cy="561423"/>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grpSp>
      <p:grpSp>
        <p:nvGrpSpPr>
          <p:cNvPr id="158" name="Group 157">
            <a:extLst>
              <a:ext uri="{FF2B5EF4-FFF2-40B4-BE49-F238E27FC236}">
                <a16:creationId xmlns:a16="http://schemas.microsoft.com/office/drawing/2014/main" id="{A20A8CBA-104C-4D6C-A657-94AC99D15C57}"/>
              </a:ext>
            </a:extLst>
          </p:cNvPr>
          <p:cNvGrpSpPr/>
          <p:nvPr/>
        </p:nvGrpSpPr>
        <p:grpSpPr>
          <a:xfrm>
            <a:off x="3472865" y="2757493"/>
            <a:ext cx="2467047" cy="1993451"/>
            <a:chOff x="5784213" y="2286268"/>
            <a:chExt cx="3013200" cy="2123910"/>
          </a:xfrm>
        </p:grpSpPr>
        <p:cxnSp>
          <p:nvCxnSpPr>
            <p:cNvPr id="160" name="Connector: Elbow 159">
              <a:extLst>
                <a:ext uri="{FF2B5EF4-FFF2-40B4-BE49-F238E27FC236}">
                  <a16:creationId xmlns:a16="http://schemas.microsoft.com/office/drawing/2014/main" id="{D5624A34-3B9C-499B-8EAD-86B42953D9C8}"/>
                </a:ext>
              </a:extLst>
            </p:cNvPr>
            <p:cNvCxnSpPr>
              <a:cxnSpLocks/>
              <a:stCxn id="175" idx="2"/>
              <a:endCxn id="168" idx="0"/>
            </p:cNvCxnSpPr>
            <p:nvPr/>
          </p:nvCxnSpPr>
          <p:spPr>
            <a:xfrm rot="16200000" flipH="1">
              <a:off x="6383171" y="3178436"/>
              <a:ext cx="844602" cy="52815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61" name="Group 160">
              <a:extLst>
                <a:ext uri="{FF2B5EF4-FFF2-40B4-BE49-F238E27FC236}">
                  <a16:creationId xmlns:a16="http://schemas.microsoft.com/office/drawing/2014/main" id="{8DCD9605-15D6-488E-AEAA-7B96D0A4EE6B}"/>
                </a:ext>
              </a:extLst>
            </p:cNvPr>
            <p:cNvGrpSpPr/>
            <p:nvPr/>
          </p:nvGrpSpPr>
          <p:grpSpPr>
            <a:xfrm>
              <a:off x="5784213" y="2286268"/>
              <a:ext cx="3013200" cy="2123910"/>
              <a:chOff x="5784213" y="2286268"/>
              <a:chExt cx="3013200" cy="2123910"/>
            </a:xfrm>
          </p:grpSpPr>
          <p:cxnSp>
            <p:nvCxnSpPr>
              <p:cNvPr id="162" name="Connettore 2 85">
                <a:extLst>
                  <a:ext uri="{FF2B5EF4-FFF2-40B4-BE49-F238E27FC236}">
                    <a16:creationId xmlns:a16="http://schemas.microsoft.com/office/drawing/2014/main" id="{417B9D2E-B927-41BF-9484-36041A2C288C}"/>
                  </a:ext>
                </a:extLst>
              </p:cNvPr>
              <p:cNvCxnSpPr>
                <a:cxnSpLocks/>
                <a:stCxn id="170" idx="1"/>
                <a:endCxn id="168" idx="3"/>
              </p:cNvCxnSpPr>
              <p:nvPr/>
            </p:nvCxnSpPr>
            <p:spPr>
              <a:xfrm flipH="1">
                <a:off x="7461367" y="3992003"/>
                <a:ext cx="305378" cy="12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3" name="Connector: Elbow 162">
                <a:extLst>
                  <a:ext uri="{FF2B5EF4-FFF2-40B4-BE49-F238E27FC236}">
                    <a16:creationId xmlns:a16="http://schemas.microsoft.com/office/drawing/2014/main" id="{808B6713-ACF1-4118-A6E3-900548F21111}"/>
                  </a:ext>
                </a:extLst>
              </p:cNvPr>
              <p:cNvCxnSpPr>
                <a:cxnSpLocks/>
                <a:stCxn id="173" idx="2"/>
                <a:endCxn id="168" idx="0"/>
              </p:cNvCxnSpPr>
              <p:nvPr/>
            </p:nvCxnSpPr>
            <p:spPr>
              <a:xfrm rot="5400000">
                <a:off x="7059455" y="3030310"/>
                <a:ext cx="844602" cy="824410"/>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64" name="Group 163">
                <a:extLst>
                  <a:ext uri="{FF2B5EF4-FFF2-40B4-BE49-F238E27FC236}">
                    <a16:creationId xmlns:a16="http://schemas.microsoft.com/office/drawing/2014/main" id="{129716C4-9129-4CAC-8A9D-FE306EE4730B}"/>
                  </a:ext>
                </a:extLst>
              </p:cNvPr>
              <p:cNvGrpSpPr/>
              <p:nvPr/>
            </p:nvGrpSpPr>
            <p:grpSpPr>
              <a:xfrm>
                <a:off x="5784213" y="2286268"/>
                <a:ext cx="3013200" cy="2123910"/>
                <a:chOff x="5784213" y="2286268"/>
                <a:chExt cx="3013200" cy="2123910"/>
              </a:xfrm>
            </p:grpSpPr>
            <p:sp>
              <p:nvSpPr>
                <p:cNvPr id="165" name="Rettangolo con angoli arrotondati 24">
                  <a:extLst>
                    <a:ext uri="{FF2B5EF4-FFF2-40B4-BE49-F238E27FC236}">
                      <a16:creationId xmlns:a16="http://schemas.microsoft.com/office/drawing/2014/main" id="{C1EE2D7F-0F2F-4B07-BEF5-4777A472BF23}"/>
                    </a:ext>
                  </a:extLst>
                </p:cNvPr>
                <p:cNvSpPr/>
                <p:nvPr/>
              </p:nvSpPr>
              <p:spPr>
                <a:xfrm>
                  <a:off x="5784213" y="2407816"/>
                  <a:ext cx="3013200" cy="2002362"/>
                </a:xfrm>
                <a:prstGeom prst="round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135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166" name="Rettangolo con angoli arrotondati 27">
                  <a:extLst>
                    <a:ext uri="{FF2B5EF4-FFF2-40B4-BE49-F238E27FC236}">
                      <a16:creationId xmlns:a16="http://schemas.microsoft.com/office/drawing/2014/main" id="{F22B6021-8C8A-4CAC-B07B-E45440447C35}"/>
                    </a:ext>
                  </a:extLst>
                </p:cNvPr>
                <p:cNvSpPr/>
                <p:nvPr/>
              </p:nvSpPr>
              <p:spPr>
                <a:xfrm>
                  <a:off x="6623449" y="2286268"/>
                  <a:ext cx="1334729" cy="265470"/>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415364"/>
                      </a:solidFill>
                      <a:effectLst/>
                      <a:uLnTx/>
                      <a:uFillTx/>
                      <a:latin typeface="Arial" panose="020B0604020202020204"/>
                      <a:ea typeface="+mn-ea"/>
                      <a:cs typeface="+mn-cs"/>
                    </a:rPr>
                    <a:t>Project Finance</a:t>
                  </a:r>
                </a:p>
              </p:txBody>
            </p:sp>
            <p:grpSp>
              <p:nvGrpSpPr>
                <p:cNvPr id="167" name="Group 166">
                  <a:extLst>
                    <a:ext uri="{FF2B5EF4-FFF2-40B4-BE49-F238E27FC236}">
                      <a16:creationId xmlns:a16="http://schemas.microsoft.com/office/drawing/2014/main" id="{68374215-8BF8-40AD-BF8F-98169BF3AFAC}"/>
                    </a:ext>
                  </a:extLst>
                </p:cNvPr>
                <p:cNvGrpSpPr/>
                <p:nvPr/>
              </p:nvGrpSpPr>
              <p:grpSpPr>
                <a:xfrm>
                  <a:off x="6166100" y="2672668"/>
                  <a:ext cx="750586" cy="347546"/>
                  <a:chOff x="6166100" y="2894129"/>
                  <a:chExt cx="750586" cy="347546"/>
                </a:xfrm>
              </p:grpSpPr>
              <p:sp>
                <p:nvSpPr>
                  <p:cNvPr id="175" name="Rettangolo 66">
                    <a:extLst>
                      <a:ext uri="{FF2B5EF4-FFF2-40B4-BE49-F238E27FC236}">
                        <a16:creationId xmlns:a16="http://schemas.microsoft.com/office/drawing/2014/main" id="{80A0BFD6-A83F-4617-B30C-EFEEFF66BC63}"/>
                      </a:ext>
                    </a:extLst>
                  </p:cNvPr>
                  <p:cNvSpPr/>
                  <p:nvPr/>
                </p:nvSpPr>
                <p:spPr>
                  <a:xfrm>
                    <a:off x="6166100" y="2894129"/>
                    <a:ext cx="750586" cy="347546"/>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800" b="1" i="0" u="none" strike="noStrike" kern="1200" cap="none" spc="0" normalizeH="0" baseline="0" noProof="0">
                      <a:ln>
                        <a:noFill/>
                      </a:ln>
                      <a:solidFill>
                        <a:srgbClr val="415364"/>
                      </a:solidFill>
                      <a:effectLst/>
                      <a:uLnTx/>
                      <a:uFillTx/>
                      <a:latin typeface="Arial" panose="020B0604020202020204"/>
                      <a:ea typeface="+mn-ea"/>
                      <a:cs typeface="+mn-cs"/>
                    </a:endParaRPr>
                  </a:p>
                </p:txBody>
              </p:sp>
              <p:pic>
                <p:nvPicPr>
                  <p:cNvPr id="176" name="Immagine 67" descr="cid:image001.jpg@01D518C3.3A9880E0">
                    <a:extLst>
                      <a:ext uri="{FF2B5EF4-FFF2-40B4-BE49-F238E27FC236}">
                        <a16:creationId xmlns:a16="http://schemas.microsoft.com/office/drawing/2014/main" id="{56664316-DC1F-4CCE-BECC-DBC1CC77067C}"/>
                      </a:ext>
                    </a:extLst>
                  </p:cNvPr>
                  <p:cNvPicPr>
                    <a:picLocks noChangeAspect="1"/>
                  </p:cNvPicPr>
                  <p:nvPr/>
                </p:nvPicPr>
                <p:blipFill>
                  <a:blip r:embed="rId4">
                    <a:clrChange>
                      <a:clrFrom>
                        <a:srgbClr val="FEFFFF"/>
                      </a:clrFrom>
                      <a:clrTo>
                        <a:srgbClr val="FEFFFF">
                          <a:alpha val="0"/>
                        </a:srgbClr>
                      </a:clrTo>
                    </a:clrChange>
                    <a:extLst>
                      <a:ext uri="{28A0092B-C50C-407E-A947-70E740481C1C}">
                        <a14:useLocalDpi xmlns:a14="http://schemas.microsoft.com/office/drawing/2010/main" val="0"/>
                      </a:ext>
                    </a:extLst>
                  </a:blip>
                  <a:srcRect/>
                  <a:stretch>
                    <a:fillRect/>
                  </a:stretch>
                </p:blipFill>
                <p:spPr bwMode="auto">
                  <a:xfrm>
                    <a:off x="6295889" y="2925848"/>
                    <a:ext cx="528157" cy="279210"/>
                  </a:xfrm>
                  <a:prstGeom prst="rect">
                    <a:avLst/>
                  </a:prstGeom>
                  <a:noFill/>
                  <a:ln>
                    <a:noFill/>
                  </a:ln>
                </p:spPr>
              </p:pic>
            </p:grpSp>
            <p:sp>
              <p:nvSpPr>
                <p:cNvPr id="168" name="Rettangolo 68">
                  <a:extLst>
                    <a:ext uri="{FF2B5EF4-FFF2-40B4-BE49-F238E27FC236}">
                      <a16:creationId xmlns:a16="http://schemas.microsoft.com/office/drawing/2014/main" id="{CD7B6D70-A638-4FE4-A675-8F4334299F1D}"/>
                    </a:ext>
                  </a:extLst>
                </p:cNvPr>
                <p:cNvSpPr/>
                <p:nvPr/>
              </p:nvSpPr>
              <p:spPr>
                <a:xfrm>
                  <a:off x="6677733" y="3864816"/>
                  <a:ext cx="783634" cy="256952"/>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a:ln>
                        <a:noFill/>
                      </a:ln>
                      <a:solidFill>
                        <a:srgbClr val="415364"/>
                      </a:solidFill>
                      <a:effectLst/>
                      <a:uLnTx/>
                      <a:uFillTx/>
                      <a:latin typeface="Arial" panose="020B0604020202020204"/>
                      <a:ea typeface="+mn-ea"/>
                      <a:cs typeface="+mn-cs"/>
                    </a:rPr>
                    <a:t>SPV</a:t>
                  </a:r>
                </a:p>
              </p:txBody>
            </p:sp>
            <p:sp>
              <p:nvSpPr>
                <p:cNvPr id="170" name="Rettangolo 80">
                  <a:extLst>
                    <a:ext uri="{FF2B5EF4-FFF2-40B4-BE49-F238E27FC236}">
                      <a16:creationId xmlns:a16="http://schemas.microsoft.com/office/drawing/2014/main" id="{5A058495-1275-404E-82BB-71AA0C84C0E6}"/>
                    </a:ext>
                  </a:extLst>
                </p:cNvPr>
                <p:cNvSpPr/>
                <p:nvPr/>
              </p:nvSpPr>
              <p:spPr>
                <a:xfrm>
                  <a:off x="7766745" y="3838051"/>
                  <a:ext cx="783634" cy="307904"/>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800" b="0" i="1" u="none" strike="noStrike" kern="1200" cap="none" spc="0" normalizeH="0" baseline="0" noProof="0">
                      <a:ln>
                        <a:noFill/>
                      </a:ln>
                      <a:solidFill>
                        <a:srgbClr val="415364"/>
                      </a:solidFill>
                      <a:effectLst/>
                      <a:uLnTx/>
                      <a:uFillTx/>
                      <a:latin typeface="Arial" panose="020B0604020202020204"/>
                      <a:ea typeface="+mn-ea"/>
                      <a:cs typeface="+mn-cs"/>
                    </a:rPr>
                    <a:t>Sponsor</a:t>
                  </a:r>
                </a:p>
              </p:txBody>
            </p:sp>
            <p:sp>
              <p:nvSpPr>
                <p:cNvPr id="173" name="Rettangolo 52">
                  <a:extLst>
                    <a:ext uri="{FF2B5EF4-FFF2-40B4-BE49-F238E27FC236}">
                      <a16:creationId xmlns:a16="http://schemas.microsoft.com/office/drawing/2014/main" id="{AB0CF080-B774-4B4D-8F1C-309140418677}"/>
                    </a:ext>
                  </a:extLst>
                </p:cNvPr>
                <p:cNvSpPr/>
                <p:nvPr/>
              </p:nvSpPr>
              <p:spPr>
                <a:xfrm>
                  <a:off x="7475697" y="2671014"/>
                  <a:ext cx="836525" cy="349200"/>
                </a:xfrm>
                <a:prstGeom prst="rect">
                  <a:avLst/>
                </a:prstGeom>
                <a:solidFill>
                  <a:schemeClr val="bg1"/>
                </a:solidFill>
                <a:ln>
                  <a:solidFill>
                    <a:schemeClr val="bg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800" i="1" dirty="0">
                      <a:solidFill>
                        <a:srgbClr val="415364"/>
                      </a:solidFill>
                    </a:rPr>
                    <a:t>Partner finanziari</a:t>
                  </a:r>
                  <a:r>
                    <a:rPr lang="it-IT" sz="800" i="1" baseline="30000" dirty="0">
                      <a:solidFill>
                        <a:srgbClr val="415364"/>
                      </a:solidFill>
                    </a:rPr>
                    <a:t>1</a:t>
                  </a:r>
                </a:p>
              </p:txBody>
            </p:sp>
            <p:sp>
              <p:nvSpPr>
                <p:cNvPr id="174" name="CasellaDiTesto 48">
                  <a:extLst>
                    <a:ext uri="{FF2B5EF4-FFF2-40B4-BE49-F238E27FC236}">
                      <a16:creationId xmlns:a16="http://schemas.microsoft.com/office/drawing/2014/main" id="{2E58F70D-A196-4442-9F34-D20EBC9BAC55}"/>
                    </a:ext>
                  </a:extLst>
                </p:cNvPr>
                <p:cNvSpPr txBox="1"/>
                <p:nvPr/>
              </p:nvSpPr>
              <p:spPr>
                <a:xfrm>
                  <a:off x="6652972" y="3160447"/>
                  <a:ext cx="1169364" cy="303428"/>
                </a:xfrm>
                <a:prstGeom prst="rect">
                  <a:avLst/>
                </a:prstGeom>
              </p:spPr>
              <p:txBody>
                <a:bodyPr vert="horz" wrap="square" lIns="91440" tIns="45720" rIns="91440" bIns="45720" rtlCol="0" anchor="b">
                  <a:normAutofit fontScale="62500" lnSpcReduction="20000"/>
                </a:bodyPr>
                <a:lstStyle>
                  <a:defPPr>
                    <a:defRPr lang="it-IT"/>
                  </a:defPPr>
                  <a:lvl1pPr>
                    <a:defRPr i="1"/>
                  </a:lvl1pPr>
                </a:lstStyle>
                <a:p>
                  <a:pPr algn="ctr"/>
                  <a:r>
                    <a:rPr lang="it-IT" dirty="0"/>
                    <a:t>Prestiti/Garanzie</a:t>
                  </a:r>
                </a:p>
              </p:txBody>
            </p:sp>
          </p:grpSp>
        </p:grpSp>
      </p:grpSp>
      <p:sp>
        <p:nvSpPr>
          <p:cNvPr id="177" name="CasellaDiTesto 17">
            <a:extLst>
              <a:ext uri="{FF2B5EF4-FFF2-40B4-BE49-F238E27FC236}">
                <a16:creationId xmlns:a16="http://schemas.microsoft.com/office/drawing/2014/main" id="{A7C53C67-C58E-48F7-B062-4608ADFE9675}"/>
              </a:ext>
            </a:extLst>
          </p:cNvPr>
          <p:cNvSpPr txBox="1"/>
          <p:nvPr/>
        </p:nvSpPr>
        <p:spPr>
          <a:xfrm>
            <a:off x="363202" y="4652878"/>
            <a:ext cx="6473613" cy="432000"/>
          </a:xfrm>
          <a:prstGeom prst="rect">
            <a:avLst/>
          </a:prstGeom>
        </p:spPr>
        <p:txBody>
          <a:bodyPr vert="horz" wrap="square" lIns="91440" tIns="45720" rIns="91440" bIns="45720" rtlCol="0" anchor="b">
            <a:normAutofit/>
          </a:bodyPr>
          <a:lstStyle>
            <a:defPPr>
              <a:defRPr lang="it-IT"/>
            </a:defPPr>
            <a:lvl1pPr marL="228600" marR="0" lvl="0" indent="-228600" fontAlgn="auto">
              <a:lnSpc>
                <a:spcPct val="100000"/>
              </a:lnSpc>
              <a:spcBef>
                <a:spcPts val="300"/>
              </a:spcBef>
              <a:spcAft>
                <a:spcPts val="0"/>
              </a:spcAft>
              <a:buClrTx/>
              <a:buSzTx/>
              <a:buFont typeface="+mj-lt"/>
              <a:buAutoNum type="arabicPeriod"/>
              <a:tabLst/>
              <a:defRPr kumimoji="0" sz="700" b="0" u="none" strike="noStrike" cap="none" spc="0" normalizeH="0" baseline="0">
                <a:ln>
                  <a:noFill/>
                </a:ln>
                <a:solidFill>
                  <a:schemeClr val="accent6"/>
                </a:solidFill>
                <a:effectLst/>
                <a:uLnTx/>
                <a:uFillTx/>
                <a:latin typeface="Arial" panose="020B0604020202020204"/>
              </a:defRPr>
            </a:lvl1pPr>
          </a:lstStyle>
          <a:p>
            <a:pPr marL="228600" marR="0" lvl="0" indent="-228600" algn="l" defTabSz="685800" rtl="0" eaLnBrk="1" fontAlgn="auto" latinLnBrk="0" hangingPunct="1">
              <a:lnSpc>
                <a:spcPct val="100000"/>
              </a:lnSpc>
              <a:spcBef>
                <a:spcPts val="300"/>
              </a:spcBef>
              <a:spcAft>
                <a:spcPts val="0"/>
              </a:spcAft>
              <a:buClrTx/>
              <a:buSzTx/>
              <a:buFont typeface="+mj-lt"/>
              <a:buAutoNum type="arabicPeriod"/>
              <a:tabLst/>
              <a:defRPr/>
            </a:pPr>
            <a:r>
              <a:rPr kumimoji="0" lang="it-IT" sz="700" b="0" i="0" u="none" strike="noStrike" kern="1200" cap="none" spc="0" normalizeH="0" baseline="0">
                <a:ln>
                  <a:noFill/>
                </a:ln>
                <a:solidFill>
                  <a:srgbClr val="797979"/>
                </a:solidFill>
                <a:effectLst/>
                <a:uLnTx/>
                <a:uFillTx/>
                <a:latin typeface="Arial" panose="020B0604020202020204"/>
                <a:ea typeface="+mn-ea"/>
                <a:cs typeface="+mn-cs"/>
              </a:rPr>
              <a:t>Banche commerciali, Fondi di investimento, Istituzioni finanziarie multilaterali, DFIs….</a:t>
            </a:r>
          </a:p>
        </p:txBody>
      </p:sp>
      <p:cxnSp>
        <p:nvCxnSpPr>
          <p:cNvPr id="178" name="Connector: Elbow 177">
            <a:extLst>
              <a:ext uri="{FF2B5EF4-FFF2-40B4-BE49-F238E27FC236}">
                <a16:creationId xmlns:a16="http://schemas.microsoft.com/office/drawing/2014/main" id="{96FA22A9-34AA-4CA7-A558-932F846C8C2D}"/>
              </a:ext>
            </a:extLst>
          </p:cNvPr>
          <p:cNvCxnSpPr>
            <a:cxnSpLocks/>
            <a:stCxn id="156" idx="2"/>
            <a:endCxn id="152" idx="0"/>
          </p:cNvCxnSpPr>
          <p:nvPr/>
        </p:nvCxnSpPr>
        <p:spPr>
          <a:xfrm rot="16200000" flipH="1">
            <a:off x="6911034" y="1368210"/>
            <a:ext cx="402727" cy="53530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79" name="Rectangle 2">
            <a:extLst>
              <a:ext uri="{FF2B5EF4-FFF2-40B4-BE49-F238E27FC236}">
                <a16:creationId xmlns:a16="http://schemas.microsoft.com/office/drawing/2014/main" id="{926D1305-25CD-4776-A9BB-088F6C066C39}"/>
              </a:ext>
            </a:extLst>
          </p:cNvPr>
          <p:cNvSpPr>
            <a:spLocks/>
          </p:cNvSpPr>
          <p:nvPr/>
        </p:nvSpPr>
        <p:spPr>
          <a:xfrm>
            <a:off x="2" y="3"/>
            <a:ext cx="9143999" cy="163396"/>
          </a:xfrm>
          <a:prstGeom prst="rect">
            <a:avLst/>
          </a:prstGeom>
          <a:solidFill>
            <a:srgbClr val="415064"/>
          </a:solidFill>
          <a:ln w="9525" cap="flat" cmpd="sng" algn="ctr">
            <a:noFill/>
            <a:prstDash val="solid"/>
          </a:ln>
          <a:effectLst/>
        </p:spPr>
        <p:txBody>
          <a:bodyPr rot="0" spcFirstLastPara="0" vert="horz" wrap="square" lIns="121920" tIns="60960" rIns="121920" bIns="6096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224" kern="1200">
                <a:solidFill>
                  <a:schemeClr val="lt1"/>
                </a:solidFill>
                <a:latin typeface="+mn-lt"/>
                <a:ea typeface="+mn-ea"/>
                <a:cs typeface="+mn-cs"/>
              </a:defRPr>
            </a:lvl1pPr>
            <a:lvl2pPr marL="349849" algn="l" rtl="0" fontAlgn="base">
              <a:spcBef>
                <a:spcPct val="0"/>
              </a:spcBef>
              <a:spcAft>
                <a:spcPct val="0"/>
              </a:spcAft>
              <a:defRPr sz="1224" kern="1200">
                <a:solidFill>
                  <a:schemeClr val="lt1"/>
                </a:solidFill>
                <a:latin typeface="+mn-lt"/>
                <a:ea typeface="+mn-ea"/>
                <a:cs typeface="+mn-cs"/>
              </a:defRPr>
            </a:lvl2pPr>
            <a:lvl3pPr marL="699699" algn="l" rtl="0" fontAlgn="base">
              <a:spcBef>
                <a:spcPct val="0"/>
              </a:spcBef>
              <a:spcAft>
                <a:spcPct val="0"/>
              </a:spcAft>
              <a:defRPr sz="1224" kern="1200">
                <a:solidFill>
                  <a:schemeClr val="lt1"/>
                </a:solidFill>
                <a:latin typeface="+mn-lt"/>
                <a:ea typeface="+mn-ea"/>
                <a:cs typeface="+mn-cs"/>
              </a:defRPr>
            </a:lvl3pPr>
            <a:lvl4pPr marL="1049548" algn="l" rtl="0" fontAlgn="base">
              <a:spcBef>
                <a:spcPct val="0"/>
              </a:spcBef>
              <a:spcAft>
                <a:spcPct val="0"/>
              </a:spcAft>
              <a:defRPr sz="1224" kern="1200">
                <a:solidFill>
                  <a:schemeClr val="lt1"/>
                </a:solidFill>
                <a:latin typeface="+mn-lt"/>
                <a:ea typeface="+mn-ea"/>
                <a:cs typeface="+mn-cs"/>
              </a:defRPr>
            </a:lvl4pPr>
            <a:lvl5pPr marL="1399398" algn="l" rtl="0" fontAlgn="base">
              <a:spcBef>
                <a:spcPct val="0"/>
              </a:spcBef>
              <a:spcAft>
                <a:spcPct val="0"/>
              </a:spcAft>
              <a:defRPr sz="1224" kern="1200">
                <a:solidFill>
                  <a:schemeClr val="lt1"/>
                </a:solidFill>
                <a:latin typeface="+mn-lt"/>
                <a:ea typeface="+mn-ea"/>
                <a:cs typeface="+mn-cs"/>
              </a:defRPr>
            </a:lvl5pPr>
            <a:lvl6pPr marL="1749247" algn="l" defTabSz="699699" rtl="0" eaLnBrk="1" latinLnBrk="0" hangingPunct="1">
              <a:defRPr sz="1224" kern="1200">
                <a:solidFill>
                  <a:schemeClr val="lt1"/>
                </a:solidFill>
                <a:latin typeface="+mn-lt"/>
                <a:ea typeface="+mn-ea"/>
                <a:cs typeface="+mn-cs"/>
              </a:defRPr>
            </a:lvl6pPr>
            <a:lvl7pPr marL="2099097" algn="l" defTabSz="699699" rtl="0" eaLnBrk="1" latinLnBrk="0" hangingPunct="1">
              <a:defRPr sz="1224" kern="1200">
                <a:solidFill>
                  <a:schemeClr val="lt1"/>
                </a:solidFill>
                <a:latin typeface="+mn-lt"/>
                <a:ea typeface="+mn-ea"/>
                <a:cs typeface="+mn-cs"/>
              </a:defRPr>
            </a:lvl7pPr>
            <a:lvl8pPr marL="2448946" algn="l" defTabSz="699699" rtl="0" eaLnBrk="1" latinLnBrk="0" hangingPunct="1">
              <a:defRPr sz="1224" kern="1200">
                <a:solidFill>
                  <a:schemeClr val="lt1"/>
                </a:solidFill>
                <a:latin typeface="+mn-lt"/>
                <a:ea typeface="+mn-ea"/>
                <a:cs typeface="+mn-cs"/>
              </a:defRPr>
            </a:lvl8pPr>
            <a:lvl9pPr marL="2798796" algn="l" defTabSz="699699" rtl="0" eaLnBrk="1" latinLnBrk="0" hangingPunct="1">
              <a:defRPr sz="1224" kern="1200">
                <a:solidFill>
                  <a:schemeClr val="lt1"/>
                </a:solidFill>
                <a:latin typeface="+mn-lt"/>
                <a:ea typeface="+mn-ea"/>
                <a:cs typeface="+mn-cs"/>
              </a:defRPr>
            </a:lvl9pPr>
          </a:lstStyle>
          <a:p>
            <a:pPr defTabSz="1219049">
              <a:defRPr/>
            </a:pPr>
            <a:r>
              <a:rPr lang="it-IT" sz="1000" b="1" dirty="0">
                <a:solidFill>
                  <a:srgbClr val="FFFFFF"/>
                </a:solidFill>
                <a:latin typeface="Arial"/>
              </a:rPr>
              <a:t>Supporto al settore privato</a:t>
            </a:r>
            <a:endParaRPr lang="it-IT" sz="1000" b="1" i="1" dirty="0">
              <a:solidFill>
                <a:srgbClr val="FFFFFF"/>
              </a:solidFill>
              <a:latin typeface="Arial"/>
            </a:endParaRPr>
          </a:p>
        </p:txBody>
      </p:sp>
    </p:spTree>
    <p:extLst>
      <p:ext uri="{BB962C8B-B14F-4D97-AF65-F5344CB8AC3E}">
        <p14:creationId xmlns:p14="http://schemas.microsoft.com/office/powerpoint/2010/main" val="19772984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ttangolo 26">
            <a:extLst>
              <a:ext uri="{FF2B5EF4-FFF2-40B4-BE49-F238E27FC236}">
                <a16:creationId xmlns:a16="http://schemas.microsoft.com/office/drawing/2014/main" id="{EDE2F5B9-CF09-40DF-9FB2-61FC07C25C05}"/>
              </a:ext>
            </a:extLst>
          </p:cNvPr>
          <p:cNvSpPr/>
          <p:nvPr/>
        </p:nvSpPr>
        <p:spPr>
          <a:xfrm>
            <a:off x="1385031" y="3494277"/>
            <a:ext cx="7045434" cy="54102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graphicFrame>
        <p:nvGraphicFramePr>
          <p:cNvPr id="7" name="Oggetto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751" name="Diapositiva think-cell" r:id="rId5" imgW="270" imgH="270" progId="TCLayout.ActiveDocument.1">
                  <p:embed/>
                </p:oleObj>
              </mc:Choice>
              <mc:Fallback>
                <p:oleObj name="Diapositiva think-cell" r:id="rId5" imgW="270" imgH="270" progId="TCLayout.ActiveDocument.1">
                  <p:embed/>
                  <p:pic>
                    <p:nvPicPr>
                      <p:cNvPr id="7" name="Oggetto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egnaposto numero diapositiva 3">
            <a:extLst>
              <a:ext uri="{FF2B5EF4-FFF2-40B4-BE49-F238E27FC236}">
                <a16:creationId xmlns:a16="http://schemas.microsoft.com/office/drawing/2014/main" id="{52C954B1-B0F4-4E12-BE66-48509ABAF6A1}"/>
              </a:ext>
            </a:extLst>
          </p:cNvPr>
          <p:cNvSpPr>
            <a:spLocks noGrp="1"/>
          </p:cNvSpPr>
          <p:nvPr>
            <p:ph type="sldNum" sz="quarter" idx="12"/>
          </p:nvPr>
        </p:nvSpPr>
        <p:spPr>
          <a:xfrm>
            <a:off x="142527" y="4842165"/>
            <a:ext cx="1008062" cy="183687"/>
          </a:xfrm>
        </p:spPr>
        <p:txBody>
          <a:bodyPr/>
          <a:lstStyle/>
          <a:p>
            <a:fld id="{608DA0FE-9C19-F746-8419-6700E348BF78}" type="slidenum">
              <a:rPr lang="it-IT" smtClean="0"/>
              <a:pPr/>
              <a:t>25</a:t>
            </a:fld>
            <a:endParaRPr lang="it-IT" dirty="0"/>
          </a:p>
        </p:txBody>
      </p:sp>
      <p:grpSp>
        <p:nvGrpSpPr>
          <p:cNvPr id="11" name="Gruppo 10">
            <a:extLst>
              <a:ext uri="{FF2B5EF4-FFF2-40B4-BE49-F238E27FC236}">
                <a16:creationId xmlns:a16="http://schemas.microsoft.com/office/drawing/2014/main" id="{6C4B42DC-B68F-4946-BF63-B142C09F86D0}"/>
              </a:ext>
            </a:extLst>
          </p:cNvPr>
          <p:cNvGrpSpPr/>
          <p:nvPr/>
        </p:nvGrpSpPr>
        <p:grpSpPr>
          <a:xfrm>
            <a:off x="795937" y="745276"/>
            <a:ext cx="7271691" cy="437581"/>
            <a:chOff x="795937" y="669076"/>
            <a:chExt cx="7271691" cy="437581"/>
          </a:xfrm>
        </p:grpSpPr>
        <p:sp>
          <p:nvSpPr>
            <p:cNvPr id="12" name="object 4"/>
            <p:cNvSpPr>
              <a:spLocks noChangeAspect="1"/>
            </p:cNvSpPr>
            <p:nvPr/>
          </p:nvSpPr>
          <p:spPr>
            <a:xfrm>
              <a:off x="795937" y="745738"/>
              <a:ext cx="360000" cy="360919"/>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1</a:t>
              </a:r>
              <a:endParaRPr sz="1600" b="1" dirty="0">
                <a:solidFill>
                  <a:schemeClr val="bg1"/>
                </a:solidFill>
              </a:endParaRPr>
            </a:p>
          </p:txBody>
        </p:sp>
        <p:sp>
          <p:nvSpPr>
            <p:cNvPr id="14" name="object 7"/>
            <p:cNvSpPr txBox="1"/>
            <p:nvPr/>
          </p:nvSpPr>
          <p:spPr>
            <a:xfrm>
              <a:off x="1401398" y="669076"/>
              <a:ext cx="6666230" cy="369332"/>
            </a:xfrm>
            <a:prstGeom prst="rect">
              <a:avLst/>
            </a:prstGeom>
            <a:noFill/>
          </p:spPr>
          <p:txBody>
            <a:bodyPr vert="horz" wrap="square" lIns="0" tIns="91440" rIns="0" bIns="0" rtlCol="0">
              <a:spAutoFit/>
            </a:bodyPr>
            <a:lstStyle/>
            <a:p>
              <a:pPr>
                <a:lnSpc>
                  <a:spcPct val="100000"/>
                </a:lnSpc>
                <a:spcBef>
                  <a:spcPts val="0"/>
                </a:spcBef>
              </a:pPr>
              <a:r>
                <a:rPr lang="it-IT" sz="1800" spc="-5" dirty="0">
                  <a:solidFill>
                    <a:srgbClr val="001547"/>
                  </a:solidFill>
                  <a:latin typeface="Arial"/>
                  <a:cs typeface="Arial"/>
                </a:rPr>
                <a:t> </a:t>
              </a:r>
              <a:r>
                <a:rPr sz="1600" spc="-5" dirty="0">
                  <a:latin typeface="Arial"/>
                  <a:cs typeface="Arial"/>
                </a:rPr>
                <a:t>CDP</a:t>
              </a:r>
              <a:r>
                <a:rPr sz="1600" spc="-30" dirty="0">
                  <a:latin typeface="Arial"/>
                  <a:cs typeface="Arial"/>
                </a:rPr>
                <a:t> </a:t>
              </a:r>
              <a:r>
                <a:rPr sz="1600" spc="-10" dirty="0">
                  <a:latin typeface="Arial"/>
                  <a:cs typeface="Arial"/>
                </a:rPr>
                <a:t>Overview</a:t>
              </a:r>
              <a:endParaRPr sz="1600" dirty="0">
                <a:latin typeface="Arial"/>
                <a:cs typeface="Arial"/>
              </a:endParaRPr>
            </a:p>
          </p:txBody>
        </p:sp>
      </p:grpSp>
      <p:grpSp>
        <p:nvGrpSpPr>
          <p:cNvPr id="2" name="Gruppo 1">
            <a:extLst>
              <a:ext uri="{FF2B5EF4-FFF2-40B4-BE49-F238E27FC236}">
                <a16:creationId xmlns:a16="http://schemas.microsoft.com/office/drawing/2014/main" id="{E502234F-E738-41AD-B385-69C8188B1564}"/>
              </a:ext>
            </a:extLst>
          </p:cNvPr>
          <p:cNvGrpSpPr/>
          <p:nvPr/>
        </p:nvGrpSpPr>
        <p:grpSpPr>
          <a:xfrm>
            <a:off x="795937" y="1401111"/>
            <a:ext cx="8101601" cy="350016"/>
            <a:chOff x="795937" y="1411283"/>
            <a:chExt cx="8101601" cy="350016"/>
          </a:xfrm>
        </p:grpSpPr>
        <p:sp>
          <p:nvSpPr>
            <p:cNvPr id="24" name="object 4">
              <a:extLst>
                <a:ext uri="{FF2B5EF4-FFF2-40B4-BE49-F238E27FC236}">
                  <a16:creationId xmlns:a16="http://schemas.microsoft.com/office/drawing/2014/main" id="{31171484-AEF4-4A18-A2B8-EF83B60007DA}"/>
                </a:ext>
              </a:extLst>
            </p:cNvPr>
            <p:cNvSpPr>
              <a:spLocks noChangeAspect="1"/>
            </p:cNvSpPr>
            <p:nvPr/>
          </p:nvSpPr>
          <p:spPr>
            <a:xfrm>
              <a:off x="795937" y="1411283"/>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2</a:t>
              </a:r>
              <a:endParaRPr sz="1600" b="1" dirty="0">
                <a:solidFill>
                  <a:schemeClr val="bg1"/>
                </a:solidFill>
              </a:endParaRPr>
            </a:p>
          </p:txBody>
        </p:sp>
        <p:sp>
          <p:nvSpPr>
            <p:cNvPr id="28" name="object 8">
              <a:extLst>
                <a:ext uri="{FF2B5EF4-FFF2-40B4-BE49-F238E27FC236}">
                  <a16:creationId xmlns:a16="http://schemas.microsoft.com/office/drawing/2014/main" id="{CE1AB38F-AFA0-4DCB-B72C-577467D31C3B}"/>
                </a:ext>
              </a:extLst>
            </p:cNvPr>
            <p:cNvSpPr txBox="1"/>
            <p:nvPr/>
          </p:nvSpPr>
          <p:spPr>
            <a:xfrm>
              <a:off x="1455338" y="1411283"/>
              <a:ext cx="7442200" cy="277512"/>
            </a:xfrm>
            <a:prstGeom prst="rect">
              <a:avLst/>
            </a:prstGeom>
          </p:spPr>
          <p:txBody>
            <a:bodyPr vert="horz" wrap="square" lIns="0" tIns="0" rIns="0" bIns="0" rtlCol="0">
              <a:spAutoFit/>
            </a:bodyPr>
            <a:lstStyle/>
            <a:p>
              <a:pPr>
                <a:lnSpc>
                  <a:spcPts val="2360"/>
                </a:lnSpc>
                <a:tabLst>
                  <a:tab pos="575945" algn="l"/>
                </a:tabLst>
              </a:pPr>
              <a:r>
                <a:rPr lang="it-IT" sz="2400" spc="-7" baseline="1543" dirty="0">
                  <a:latin typeface="Arial"/>
                  <a:cs typeface="Arial"/>
                </a:rPr>
                <a:t>Il contesto di riferimento</a:t>
              </a:r>
              <a:endParaRPr sz="2400" baseline="1543" dirty="0">
                <a:latin typeface="Arial"/>
                <a:cs typeface="Arial"/>
              </a:endParaRPr>
            </a:p>
          </p:txBody>
        </p:sp>
      </p:grpSp>
      <p:grpSp>
        <p:nvGrpSpPr>
          <p:cNvPr id="3" name="Gruppo 2">
            <a:extLst>
              <a:ext uri="{FF2B5EF4-FFF2-40B4-BE49-F238E27FC236}">
                <a16:creationId xmlns:a16="http://schemas.microsoft.com/office/drawing/2014/main" id="{DA3D8320-7280-406D-A541-2EE4C7B48E1B}"/>
              </a:ext>
            </a:extLst>
          </p:cNvPr>
          <p:cNvGrpSpPr/>
          <p:nvPr/>
        </p:nvGrpSpPr>
        <p:grpSpPr>
          <a:xfrm>
            <a:off x="795937" y="1948278"/>
            <a:ext cx="8101601" cy="350016"/>
            <a:chOff x="795937" y="1892478"/>
            <a:chExt cx="8101601" cy="350016"/>
          </a:xfrm>
        </p:grpSpPr>
        <p:sp>
          <p:nvSpPr>
            <p:cNvPr id="20" name="object 8"/>
            <p:cNvSpPr txBox="1"/>
            <p:nvPr/>
          </p:nvSpPr>
          <p:spPr>
            <a:xfrm>
              <a:off x="1455338" y="1892478"/>
              <a:ext cx="7442200" cy="307777"/>
            </a:xfrm>
            <a:prstGeom prst="rect">
              <a:avLst/>
            </a:prstGeom>
          </p:spPr>
          <p:txBody>
            <a:bodyPr vert="horz" wrap="square" lIns="0" tIns="0" rIns="0" bIns="0" rtlCol="0">
              <a:spAutoFit/>
            </a:bodyPr>
            <a:lstStyle/>
            <a:p>
              <a:pPr>
                <a:lnSpc>
                  <a:spcPts val="2360"/>
                </a:lnSpc>
                <a:tabLst>
                  <a:tab pos="575945" algn="l"/>
                </a:tabLst>
              </a:pPr>
              <a:r>
                <a:rPr sz="2400" spc="-7" baseline="1543" dirty="0">
                  <a:latin typeface="Arial"/>
                  <a:cs typeface="Arial"/>
                </a:rPr>
                <a:t>CDP</a:t>
              </a:r>
              <a:r>
                <a:rPr lang="it-IT" sz="2400" spc="-7" baseline="1543" dirty="0">
                  <a:latin typeface="Arial"/>
                  <a:cs typeface="Arial"/>
                </a:rPr>
                <a:t>:</a:t>
              </a:r>
              <a:r>
                <a:rPr sz="2400" spc="-7" baseline="1543" dirty="0">
                  <a:latin typeface="Arial"/>
                  <a:cs typeface="Arial"/>
                </a:rPr>
                <a:t> </a:t>
              </a:r>
              <a:r>
                <a:rPr lang="it-IT" sz="2400" spc="-7" baseline="1543" dirty="0">
                  <a:latin typeface="Arial"/>
                  <a:cs typeface="Arial"/>
                </a:rPr>
                <a:t>Istituzione</a:t>
              </a:r>
              <a:r>
                <a:rPr lang="it-IT" sz="2400" spc="-7" dirty="0">
                  <a:latin typeface="Arial"/>
                  <a:cs typeface="Arial"/>
                </a:rPr>
                <a:t> </a:t>
              </a:r>
              <a:r>
                <a:rPr lang="it-IT" sz="2400" spc="-7" baseline="1543" dirty="0">
                  <a:latin typeface="Arial"/>
                  <a:cs typeface="Arial"/>
                </a:rPr>
                <a:t>Finanziaria per la Cooperazione allo Sviluppo </a:t>
              </a:r>
              <a:endParaRPr sz="2400" baseline="1543" dirty="0">
                <a:latin typeface="Arial"/>
                <a:cs typeface="Arial"/>
              </a:endParaRPr>
            </a:p>
          </p:txBody>
        </p:sp>
        <p:sp>
          <p:nvSpPr>
            <p:cNvPr id="29" name="object 4">
              <a:extLst>
                <a:ext uri="{FF2B5EF4-FFF2-40B4-BE49-F238E27FC236}">
                  <a16:creationId xmlns:a16="http://schemas.microsoft.com/office/drawing/2014/main" id="{73493036-224A-4125-B2E8-DFCCA91E97EC}"/>
                </a:ext>
              </a:extLst>
            </p:cNvPr>
            <p:cNvSpPr>
              <a:spLocks noChangeAspect="1"/>
            </p:cNvSpPr>
            <p:nvPr/>
          </p:nvSpPr>
          <p:spPr>
            <a:xfrm>
              <a:off x="795937" y="1892478"/>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3</a:t>
              </a:r>
              <a:endParaRPr sz="1600" b="1" dirty="0">
                <a:solidFill>
                  <a:schemeClr val="bg1"/>
                </a:solidFill>
              </a:endParaRPr>
            </a:p>
          </p:txBody>
        </p:sp>
      </p:grpSp>
      <p:grpSp>
        <p:nvGrpSpPr>
          <p:cNvPr id="5" name="Gruppo 4">
            <a:extLst>
              <a:ext uri="{FF2B5EF4-FFF2-40B4-BE49-F238E27FC236}">
                <a16:creationId xmlns:a16="http://schemas.microsoft.com/office/drawing/2014/main" id="{E83A3AF0-A544-4520-A333-78BB77D585DE}"/>
              </a:ext>
            </a:extLst>
          </p:cNvPr>
          <p:cNvGrpSpPr/>
          <p:nvPr/>
        </p:nvGrpSpPr>
        <p:grpSpPr>
          <a:xfrm>
            <a:off x="795937" y="2495445"/>
            <a:ext cx="7526272" cy="350016"/>
            <a:chOff x="795937" y="2448333"/>
            <a:chExt cx="7526272" cy="350016"/>
          </a:xfrm>
        </p:grpSpPr>
        <p:sp>
          <p:nvSpPr>
            <p:cNvPr id="16" name="object 8"/>
            <p:cNvSpPr txBox="1"/>
            <p:nvPr/>
          </p:nvSpPr>
          <p:spPr>
            <a:xfrm>
              <a:off x="904193" y="2448333"/>
              <a:ext cx="7418016" cy="307777"/>
            </a:xfrm>
            <a:prstGeom prst="rect">
              <a:avLst/>
            </a:prstGeom>
          </p:spPr>
          <p:txBody>
            <a:bodyPr vert="horz" wrap="square" lIns="0" tIns="0" rIns="0" bIns="0" rtlCol="0">
              <a:spAutoFit/>
            </a:bodyPr>
            <a:lstStyle/>
            <a:p>
              <a:pPr marL="12700">
                <a:lnSpc>
                  <a:spcPts val="2360"/>
                </a:lnSpc>
                <a:tabLst>
                  <a:tab pos="575945" algn="l"/>
                </a:tabLst>
              </a:pPr>
              <a:r>
                <a:rPr lang="it-IT" sz="2000" spc="-5" dirty="0">
                  <a:solidFill>
                    <a:srgbClr val="FFFFFF"/>
                  </a:solidFill>
                  <a:latin typeface="Arial"/>
                  <a:cs typeface="Arial"/>
                </a:rPr>
                <a:t>4</a:t>
              </a:r>
              <a:r>
                <a:rPr sz="2400" spc="-5" dirty="0">
                  <a:solidFill>
                    <a:srgbClr val="FFFFFF"/>
                  </a:solidFill>
                  <a:latin typeface="Arial"/>
                  <a:cs typeface="Arial"/>
                </a:rPr>
                <a:t>	</a:t>
              </a:r>
              <a:r>
                <a:rPr lang="en-US" sz="2400" spc="-7" baseline="1543" dirty="0" err="1">
                  <a:cs typeface="Arial"/>
                </a:rPr>
                <a:t>Supporto</a:t>
              </a:r>
              <a:r>
                <a:rPr lang="en-US" sz="2400" spc="-7" baseline="1543" dirty="0">
                  <a:cs typeface="Arial"/>
                </a:rPr>
                <a:t> al </a:t>
              </a:r>
              <a:r>
                <a:rPr lang="en-US" sz="2400" spc="-7" baseline="1543" dirty="0" err="1">
                  <a:cs typeface="Arial"/>
                </a:rPr>
                <a:t>Settore</a:t>
              </a:r>
              <a:r>
                <a:rPr lang="en-US" sz="2400" spc="-7" baseline="1543" dirty="0">
                  <a:cs typeface="Arial"/>
                </a:rPr>
                <a:t> </a:t>
              </a:r>
              <a:r>
                <a:rPr lang="en-US" sz="2400" spc="-7" baseline="1543" dirty="0" err="1">
                  <a:cs typeface="Arial"/>
                </a:rPr>
                <a:t>Pubblico</a:t>
              </a:r>
              <a:endParaRPr sz="2400" spc="-7" baseline="1543" dirty="0">
                <a:latin typeface="Arial"/>
                <a:cs typeface="Arial"/>
              </a:endParaRPr>
            </a:p>
          </p:txBody>
        </p:sp>
        <p:sp>
          <p:nvSpPr>
            <p:cNvPr id="30" name="object 4">
              <a:extLst>
                <a:ext uri="{FF2B5EF4-FFF2-40B4-BE49-F238E27FC236}">
                  <a16:creationId xmlns:a16="http://schemas.microsoft.com/office/drawing/2014/main" id="{4EABFC6E-86FA-4787-991A-9B2860F0BFDE}"/>
                </a:ext>
              </a:extLst>
            </p:cNvPr>
            <p:cNvSpPr>
              <a:spLocks noChangeAspect="1"/>
            </p:cNvSpPr>
            <p:nvPr/>
          </p:nvSpPr>
          <p:spPr>
            <a:xfrm>
              <a:off x="795937" y="2448333"/>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4</a:t>
              </a:r>
              <a:endParaRPr sz="1600" b="1" dirty="0">
                <a:solidFill>
                  <a:schemeClr val="bg1"/>
                </a:solidFill>
              </a:endParaRPr>
            </a:p>
          </p:txBody>
        </p:sp>
      </p:grpSp>
      <p:grpSp>
        <p:nvGrpSpPr>
          <p:cNvPr id="6" name="Gruppo 5">
            <a:extLst>
              <a:ext uri="{FF2B5EF4-FFF2-40B4-BE49-F238E27FC236}">
                <a16:creationId xmlns:a16="http://schemas.microsoft.com/office/drawing/2014/main" id="{0A27A17E-C8CC-4056-9926-9709E507348F}"/>
              </a:ext>
            </a:extLst>
          </p:cNvPr>
          <p:cNvGrpSpPr/>
          <p:nvPr/>
        </p:nvGrpSpPr>
        <p:grpSpPr>
          <a:xfrm>
            <a:off x="795937" y="3042612"/>
            <a:ext cx="7550456" cy="350016"/>
            <a:chOff x="795937" y="3101581"/>
            <a:chExt cx="7550456" cy="350016"/>
          </a:xfrm>
        </p:grpSpPr>
        <p:sp>
          <p:nvSpPr>
            <p:cNvPr id="23" name="object 8">
              <a:extLst>
                <a:ext uri="{FF2B5EF4-FFF2-40B4-BE49-F238E27FC236}">
                  <a16:creationId xmlns:a16="http://schemas.microsoft.com/office/drawing/2014/main" id="{C694991B-2CA3-4265-A383-810EA881A649}"/>
                </a:ext>
              </a:extLst>
            </p:cNvPr>
            <p:cNvSpPr txBox="1"/>
            <p:nvPr/>
          </p:nvSpPr>
          <p:spPr>
            <a:xfrm>
              <a:off x="904193" y="3101581"/>
              <a:ext cx="7442200" cy="307777"/>
            </a:xfrm>
            <a:prstGeom prst="rect">
              <a:avLst/>
            </a:prstGeom>
          </p:spPr>
          <p:txBody>
            <a:bodyPr vert="horz" wrap="square" lIns="0" tIns="0" rIns="0" bIns="0" rtlCol="0">
              <a:spAutoFit/>
            </a:bodyPr>
            <a:lstStyle/>
            <a:p>
              <a:pPr marL="12700">
                <a:lnSpc>
                  <a:spcPts val="2360"/>
                </a:lnSpc>
                <a:tabLst>
                  <a:tab pos="575945" algn="l"/>
                </a:tabLst>
              </a:pPr>
              <a:r>
                <a:rPr lang="it-IT" sz="2000" b="1" spc="-5" dirty="0">
                  <a:solidFill>
                    <a:srgbClr val="FFFFFF"/>
                  </a:solidFill>
                  <a:latin typeface="Arial"/>
                  <a:cs typeface="Arial"/>
                </a:rPr>
                <a:t>5</a:t>
              </a:r>
              <a:r>
                <a:rPr sz="2000" b="1" spc="-5" dirty="0">
                  <a:solidFill>
                    <a:srgbClr val="FFFFFF"/>
                  </a:solidFill>
                  <a:latin typeface="Arial"/>
                  <a:cs typeface="Arial"/>
                </a:rPr>
                <a:t>	</a:t>
              </a:r>
              <a:r>
                <a:rPr lang="en-US" sz="1600" spc="-10" dirty="0" err="1">
                  <a:latin typeface="Arial"/>
                  <a:cs typeface="Arial"/>
                </a:rPr>
                <a:t>Supporto</a:t>
              </a:r>
              <a:r>
                <a:rPr lang="en-US" sz="1600" spc="-10" dirty="0">
                  <a:latin typeface="Arial"/>
                  <a:cs typeface="Arial"/>
                </a:rPr>
                <a:t> al </a:t>
              </a:r>
              <a:r>
                <a:rPr lang="en-US" sz="1600" spc="-10" dirty="0" err="1">
                  <a:latin typeface="Arial"/>
                  <a:cs typeface="Arial"/>
                </a:rPr>
                <a:t>Settore</a:t>
              </a:r>
              <a:r>
                <a:rPr lang="en-US" sz="1600" spc="-10" dirty="0">
                  <a:latin typeface="Arial"/>
                  <a:cs typeface="Arial"/>
                </a:rPr>
                <a:t> </a:t>
              </a:r>
              <a:r>
                <a:rPr lang="en-US" sz="1600" spc="-10" dirty="0" err="1">
                  <a:latin typeface="Arial"/>
                  <a:cs typeface="Arial"/>
                </a:rPr>
                <a:t>Privato</a:t>
              </a:r>
              <a:endParaRPr sz="1600" spc="-10" dirty="0">
                <a:latin typeface="Arial"/>
                <a:cs typeface="Arial"/>
              </a:endParaRPr>
            </a:p>
          </p:txBody>
        </p:sp>
        <p:sp>
          <p:nvSpPr>
            <p:cNvPr id="31" name="object 4">
              <a:extLst>
                <a:ext uri="{FF2B5EF4-FFF2-40B4-BE49-F238E27FC236}">
                  <a16:creationId xmlns:a16="http://schemas.microsoft.com/office/drawing/2014/main" id="{E71654FD-123B-4386-9800-2227621A6B4A}"/>
                </a:ext>
              </a:extLst>
            </p:cNvPr>
            <p:cNvSpPr>
              <a:spLocks noChangeAspect="1"/>
            </p:cNvSpPr>
            <p:nvPr/>
          </p:nvSpPr>
          <p:spPr>
            <a:xfrm>
              <a:off x="795937" y="3101581"/>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5</a:t>
              </a:r>
              <a:endParaRPr sz="1600" b="1" dirty="0">
                <a:solidFill>
                  <a:schemeClr val="bg1"/>
                </a:solidFill>
              </a:endParaRPr>
            </a:p>
          </p:txBody>
        </p:sp>
      </p:grpSp>
      <p:grpSp>
        <p:nvGrpSpPr>
          <p:cNvPr id="8" name="Gruppo 7">
            <a:extLst>
              <a:ext uri="{FF2B5EF4-FFF2-40B4-BE49-F238E27FC236}">
                <a16:creationId xmlns:a16="http://schemas.microsoft.com/office/drawing/2014/main" id="{B8F38F40-C37C-4DA7-93A7-3006DAE87134}"/>
              </a:ext>
            </a:extLst>
          </p:cNvPr>
          <p:cNvGrpSpPr/>
          <p:nvPr/>
        </p:nvGrpSpPr>
        <p:grpSpPr>
          <a:xfrm>
            <a:off x="795937" y="3589779"/>
            <a:ext cx="7538364" cy="350016"/>
            <a:chOff x="795937" y="3921579"/>
            <a:chExt cx="7538364" cy="350016"/>
          </a:xfrm>
        </p:grpSpPr>
        <p:sp>
          <p:nvSpPr>
            <p:cNvPr id="18" name="object 8"/>
            <p:cNvSpPr txBox="1"/>
            <p:nvPr/>
          </p:nvSpPr>
          <p:spPr>
            <a:xfrm>
              <a:off x="892101" y="3921579"/>
              <a:ext cx="7442200" cy="307777"/>
            </a:xfrm>
            <a:prstGeom prst="rect">
              <a:avLst/>
            </a:prstGeom>
          </p:spPr>
          <p:txBody>
            <a:bodyPr vert="horz" wrap="square" lIns="0" tIns="0" rIns="0" bIns="0" rtlCol="0">
              <a:spAutoFit/>
            </a:bodyPr>
            <a:lstStyle/>
            <a:p>
              <a:pPr marL="12700">
                <a:lnSpc>
                  <a:spcPts val="2360"/>
                </a:lnSpc>
                <a:tabLst>
                  <a:tab pos="575945" algn="l"/>
                </a:tabLst>
              </a:pPr>
              <a:r>
                <a:rPr lang="it-IT" sz="2000" b="1" spc="-5" dirty="0">
                  <a:solidFill>
                    <a:srgbClr val="FFFFFF"/>
                  </a:solidFill>
                  <a:latin typeface="Arial"/>
                  <a:cs typeface="Arial"/>
                </a:rPr>
                <a:t>6</a:t>
              </a:r>
              <a:r>
                <a:rPr sz="2400" b="1" spc="-5" dirty="0">
                  <a:solidFill>
                    <a:srgbClr val="FFFFFF"/>
                  </a:solidFill>
                  <a:latin typeface="Arial"/>
                  <a:cs typeface="Arial"/>
                </a:rPr>
                <a:t>	</a:t>
              </a:r>
              <a:r>
                <a:rPr lang="en-US" sz="1600" b="1" spc="-10" dirty="0">
                  <a:cs typeface="Arial"/>
                </a:rPr>
                <a:t>Global Partnership</a:t>
              </a:r>
              <a:endParaRPr sz="1600" b="1" spc="-10" dirty="0">
                <a:latin typeface="Arial"/>
                <a:cs typeface="Arial"/>
              </a:endParaRPr>
            </a:p>
          </p:txBody>
        </p:sp>
        <p:sp>
          <p:nvSpPr>
            <p:cNvPr id="32" name="object 4">
              <a:extLst>
                <a:ext uri="{FF2B5EF4-FFF2-40B4-BE49-F238E27FC236}">
                  <a16:creationId xmlns:a16="http://schemas.microsoft.com/office/drawing/2014/main" id="{C06F2CB3-480C-4A0A-B658-70C4569EE028}"/>
                </a:ext>
              </a:extLst>
            </p:cNvPr>
            <p:cNvSpPr>
              <a:spLocks noChangeAspect="1"/>
            </p:cNvSpPr>
            <p:nvPr/>
          </p:nvSpPr>
          <p:spPr>
            <a:xfrm>
              <a:off x="795937" y="3921579"/>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6</a:t>
              </a:r>
              <a:endParaRPr sz="1600" b="1" dirty="0">
                <a:solidFill>
                  <a:schemeClr val="bg1"/>
                </a:solidFill>
              </a:endParaRPr>
            </a:p>
          </p:txBody>
        </p:sp>
      </p:grpSp>
    </p:spTree>
    <p:extLst>
      <p:ext uri="{BB962C8B-B14F-4D97-AF65-F5344CB8AC3E}">
        <p14:creationId xmlns:p14="http://schemas.microsoft.com/office/powerpoint/2010/main" val="20372069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348" name="Diapositiva think-cell" r:id="rId4" imgW="270" imgH="270" progId="TCLayout.ActiveDocument.1">
                  <p:embed/>
                </p:oleObj>
              </mc:Choice>
              <mc:Fallback>
                <p:oleObj name="Diapositiva think-cell" r:id="rId4" imgW="270" imgH="270" progId="TCLayout.ActiveDocument.1">
                  <p:embed/>
                  <p:pic>
                    <p:nvPicPr>
                      <p:cNvPr id="2" name="Oggetto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egnaposto numero diapositiva 4"/>
          <p:cNvSpPr>
            <a:spLocks noGrp="1"/>
          </p:cNvSpPr>
          <p:nvPr>
            <p:ph type="sldNum" sz="quarter" idx="12"/>
          </p:nvPr>
        </p:nvSpPr>
        <p:spPr/>
        <p:txBody>
          <a:bodyPr/>
          <a:lstStyle/>
          <a:p>
            <a:fld id="{608DA0FE-9C19-F746-8419-6700E348BF78}" type="slidenum">
              <a:rPr lang="it-IT" smtClean="0"/>
              <a:pPr/>
              <a:t>26</a:t>
            </a:fld>
            <a:endParaRPr lang="it-IT" dirty="0"/>
          </a:p>
        </p:txBody>
      </p:sp>
      <p:sp>
        <p:nvSpPr>
          <p:cNvPr id="7" name="object 7"/>
          <p:cNvSpPr txBox="1">
            <a:spLocks/>
          </p:cNvSpPr>
          <p:nvPr/>
        </p:nvSpPr>
        <p:spPr>
          <a:xfrm>
            <a:off x="165812" y="142705"/>
            <a:ext cx="6418726" cy="318837"/>
          </a:xfrm>
          <a:prstGeom prst="rect">
            <a:avLst/>
          </a:prstGeom>
        </p:spPr>
        <p:txBody>
          <a:bodyPr vert="horz" wrap="square" lIns="0" tIns="10953" rIns="0" bIns="0" rtlCol="0" anchor="t" anchorCtr="0">
            <a:spAutoFit/>
          </a:bodyPr>
          <a:lstStyle>
            <a:lvl1pPr algn="l" defTabSz="685800" rtl="0" eaLnBrk="1" latinLnBrk="0" hangingPunct="1">
              <a:lnSpc>
                <a:spcPct val="100000"/>
              </a:lnSpc>
              <a:spcBef>
                <a:spcPts val="600"/>
              </a:spcBef>
              <a:spcAft>
                <a:spcPts val="600"/>
              </a:spcAft>
              <a:buNone/>
              <a:defRPr sz="14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pPr marL="9525">
              <a:spcBef>
                <a:spcPts val="86"/>
              </a:spcBef>
            </a:pPr>
            <a:r>
              <a:rPr lang="en-US" sz="2000" b="1" kern="0" spc="4" dirty="0">
                <a:solidFill>
                  <a:srgbClr val="415364"/>
                </a:solidFill>
                <a:latin typeface="+mj-lt"/>
                <a:ea typeface="+mj-ea"/>
                <a:cs typeface="+mj-cs"/>
              </a:rPr>
              <a:t>European External Investment Plan (EIP)</a:t>
            </a:r>
          </a:p>
        </p:txBody>
      </p:sp>
      <p:sp>
        <p:nvSpPr>
          <p:cNvPr id="9" name="object 56"/>
          <p:cNvSpPr txBox="1"/>
          <p:nvPr/>
        </p:nvSpPr>
        <p:spPr>
          <a:xfrm>
            <a:off x="295046" y="689361"/>
            <a:ext cx="840105" cy="193803"/>
          </a:xfrm>
          <a:prstGeom prst="rect">
            <a:avLst/>
          </a:prstGeom>
        </p:spPr>
        <p:txBody>
          <a:bodyPr vert="horz" wrap="square" lIns="0" tIns="9049" rIns="0" bIns="0" rtlCol="0">
            <a:spAutoFit/>
          </a:bodyPr>
          <a:lstStyle/>
          <a:p>
            <a:pPr marL="9525">
              <a:spcBef>
                <a:spcPts val="71"/>
              </a:spcBef>
            </a:pPr>
            <a:r>
              <a:rPr sz="1200" b="1" spc="-4" dirty="0">
                <a:solidFill>
                  <a:srgbClr val="415064"/>
                </a:solidFill>
                <a:latin typeface="Arial"/>
                <a:cs typeface="Arial"/>
              </a:rPr>
              <a:t>EIP:</a:t>
            </a:r>
            <a:r>
              <a:rPr sz="1200" b="1" spc="-34" dirty="0">
                <a:solidFill>
                  <a:srgbClr val="415064"/>
                </a:solidFill>
                <a:latin typeface="Arial"/>
                <a:cs typeface="Arial"/>
              </a:rPr>
              <a:t> </a:t>
            </a:r>
            <a:r>
              <a:rPr sz="1200" b="1" spc="-8" dirty="0">
                <a:solidFill>
                  <a:srgbClr val="415064"/>
                </a:solidFill>
                <a:latin typeface="Arial"/>
                <a:cs typeface="Arial"/>
              </a:rPr>
              <a:t>cos’è?</a:t>
            </a:r>
            <a:endParaRPr sz="1200" dirty="0">
              <a:solidFill>
                <a:srgbClr val="415064"/>
              </a:solidFill>
              <a:latin typeface="Arial"/>
              <a:cs typeface="Arial"/>
            </a:endParaRPr>
          </a:p>
        </p:txBody>
      </p:sp>
      <p:sp>
        <p:nvSpPr>
          <p:cNvPr id="11" name="object 53"/>
          <p:cNvSpPr txBox="1"/>
          <p:nvPr/>
        </p:nvSpPr>
        <p:spPr>
          <a:xfrm>
            <a:off x="276157" y="1001869"/>
            <a:ext cx="4716000" cy="360131"/>
          </a:xfrm>
          <a:prstGeom prst="rect">
            <a:avLst/>
          </a:prstGeom>
          <a:noFill/>
        </p:spPr>
        <p:txBody>
          <a:bodyPr vert="horz" wrap="square" lIns="0" tIns="43339" rIns="0" bIns="0" rtlCol="0">
            <a:noAutofit/>
          </a:bodyPr>
          <a:lstStyle/>
          <a:p>
            <a:pPr marL="35243" marR="60960">
              <a:lnSpc>
                <a:spcPct val="101200"/>
              </a:lnSpc>
              <a:spcBef>
                <a:spcPts val="341"/>
              </a:spcBef>
            </a:pPr>
            <a:r>
              <a:rPr lang="it-IT" sz="950" spc="4" dirty="0">
                <a:solidFill>
                  <a:srgbClr val="415064"/>
                </a:solidFill>
                <a:latin typeface="Arial"/>
                <a:cs typeface="Arial"/>
              </a:rPr>
              <a:t>EIP è il programma a lungo termine dell'UE volto a sostenere gli investimenti nei PVS dell’</a:t>
            </a:r>
            <a:r>
              <a:rPr lang="it-IT" sz="950" b="1" spc="-4" dirty="0">
                <a:solidFill>
                  <a:srgbClr val="FC4A8E"/>
                </a:solidFill>
                <a:latin typeface="Arial"/>
                <a:cs typeface="Arial"/>
              </a:rPr>
              <a:t>Africa </a:t>
            </a:r>
            <a:r>
              <a:rPr lang="it-IT" sz="950" b="1" spc="4" dirty="0">
                <a:solidFill>
                  <a:srgbClr val="FC4A8E"/>
                </a:solidFill>
                <a:latin typeface="Arial"/>
                <a:cs typeface="Arial"/>
              </a:rPr>
              <a:t>sub-sahariana </a:t>
            </a:r>
            <a:r>
              <a:rPr lang="it-IT" sz="950" spc="4" dirty="0">
                <a:solidFill>
                  <a:srgbClr val="415064"/>
                </a:solidFill>
                <a:latin typeface="Arial"/>
                <a:cs typeface="Arial"/>
              </a:rPr>
              <a:t>e del</a:t>
            </a:r>
            <a:r>
              <a:rPr lang="it-IT" sz="950" b="1" spc="4" dirty="0">
                <a:solidFill>
                  <a:srgbClr val="415064"/>
                </a:solidFill>
                <a:latin typeface="Arial"/>
                <a:cs typeface="Arial"/>
              </a:rPr>
              <a:t> </a:t>
            </a:r>
            <a:r>
              <a:rPr lang="it-IT" sz="950" b="1" dirty="0">
                <a:solidFill>
                  <a:srgbClr val="02B8DC"/>
                </a:solidFill>
                <a:latin typeface="Arial"/>
                <a:cs typeface="Arial"/>
              </a:rPr>
              <a:t>Vicinato </a:t>
            </a:r>
            <a:r>
              <a:rPr lang="it-IT" sz="950" b="1" spc="4" dirty="0">
                <a:solidFill>
                  <a:srgbClr val="02B8DC"/>
                </a:solidFill>
                <a:latin typeface="Arial"/>
                <a:cs typeface="Arial"/>
              </a:rPr>
              <a:t>europeo </a:t>
            </a:r>
            <a:r>
              <a:rPr lang="it-IT" sz="950" spc="4" dirty="0">
                <a:solidFill>
                  <a:srgbClr val="415064"/>
                </a:solidFill>
                <a:latin typeface="Arial"/>
                <a:cs typeface="Arial"/>
              </a:rPr>
              <a:t>(bacino del</a:t>
            </a:r>
            <a:r>
              <a:rPr lang="it-IT" sz="950" spc="8" dirty="0">
                <a:solidFill>
                  <a:srgbClr val="415064"/>
                </a:solidFill>
                <a:latin typeface="Arial"/>
                <a:cs typeface="Arial"/>
              </a:rPr>
              <a:t> </a:t>
            </a:r>
            <a:r>
              <a:rPr lang="it-IT" sz="950" spc="4" dirty="0">
                <a:solidFill>
                  <a:srgbClr val="415064"/>
                </a:solidFill>
                <a:latin typeface="Arial"/>
                <a:cs typeface="Arial"/>
              </a:rPr>
              <a:t>Mediterraneo)</a:t>
            </a:r>
            <a:endParaRPr lang="it-IT" sz="950" dirty="0">
              <a:solidFill>
                <a:srgbClr val="415064"/>
              </a:solidFill>
              <a:latin typeface="Arial"/>
              <a:cs typeface="Arial"/>
            </a:endParaRPr>
          </a:p>
        </p:txBody>
      </p:sp>
      <p:sp>
        <p:nvSpPr>
          <p:cNvPr id="13" name="object 8"/>
          <p:cNvSpPr txBox="1"/>
          <p:nvPr/>
        </p:nvSpPr>
        <p:spPr>
          <a:xfrm>
            <a:off x="1228239" y="1583424"/>
            <a:ext cx="3857232" cy="641522"/>
          </a:xfrm>
          <a:prstGeom prst="rect">
            <a:avLst/>
          </a:prstGeom>
        </p:spPr>
        <p:txBody>
          <a:bodyPr vert="horz" wrap="square" lIns="0" tIns="8573" rIns="0" bIns="0" rtlCol="0">
            <a:spAutoFit/>
          </a:bodyPr>
          <a:lstStyle/>
          <a:p>
            <a:pPr marL="182563" marR="3810" indent="-182563" algn="just">
              <a:lnSpc>
                <a:spcPct val="101200"/>
              </a:lnSpc>
              <a:spcBef>
                <a:spcPts val="100"/>
              </a:spcBef>
              <a:spcAft>
                <a:spcPts val="300"/>
              </a:spcAft>
              <a:buClr>
                <a:schemeClr val="accent2"/>
              </a:buClr>
              <a:buSzPct val="110344"/>
              <a:buFont typeface="Arial" panose="020B0604020202020204" pitchFamily="34" charset="0"/>
              <a:buChar char="•"/>
              <a:tabLst>
                <a:tab pos="269875" algn="l"/>
              </a:tabLst>
            </a:pPr>
            <a:r>
              <a:rPr sz="950" spc="4" dirty="0">
                <a:solidFill>
                  <a:srgbClr val="415064"/>
                </a:solidFill>
                <a:cs typeface="Arial"/>
              </a:rPr>
              <a:t>Promuovere lo </a:t>
            </a:r>
            <a:r>
              <a:rPr lang="it-IT" sz="950" b="1" spc="4" dirty="0">
                <a:solidFill>
                  <a:srgbClr val="415064"/>
                </a:solidFill>
                <a:cs typeface="Arial"/>
              </a:rPr>
              <a:t>s</a:t>
            </a:r>
            <a:r>
              <a:rPr sz="950" b="1" spc="4" dirty="0" err="1">
                <a:solidFill>
                  <a:srgbClr val="415064"/>
                </a:solidFill>
                <a:cs typeface="Arial"/>
              </a:rPr>
              <a:t>viluppo</a:t>
            </a:r>
            <a:r>
              <a:rPr sz="950" b="1" spc="4" dirty="0">
                <a:solidFill>
                  <a:srgbClr val="415064"/>
                </a:solidFill>
                <a:cs typeface="Arial"/>
              </a:rPr>
              <a:t> </a:t>
            </a:r>
            <a:r>
              <a:rPr lang="it-IT" sz="950" b="1" spc="4" dirty="0">
                <a:solidFill>
                  <a:srgbClr val="415064"/>
                </a:solidFill>
                <a:cs typeface="Arial"/>
              </a:rPr>
              <a:t>s</a:t>
            </a:r>
            <a:r>
              <a:rPr sz="950" b="1" spc="4" dirty="0" err="1">
                <a:solidFill>
                  <a:srgbClr val="415064"/>
                </a:solidFill>
                <a:cs typeface="Arial"/>
              </a:rPr>
              <a:t>ostenibile</a:t>
            </a:r>
            <a:r>
              <a:rPr lang="it-IT" sz="950" b="1" spc="4" dirty="0">
                <a:solidFill>
                  <a:srgbClr val="415064"/>
                </a:solidFill>
                <a:cs typeface="Arial"/>
              </a:rPr>
              <a:t>, creare occupazione, supportare la crescita economica </a:t>
            </a:r>
            <a:r>
              <a:rPr lang="it-IT" sz="950" spc="4" dirty="0">
                <a:solidFill>
                  <a:srgbClr val="415064"/>
                </a:solidFill>
                <a:cs typeface="Arial"/>
              </a:rPr>
              <a:t>e affrontare le cause profonde delle </a:t>
            </a:r>
            <a:r>
              <a:rPr lang="it-IT" sz="950" b="1" spc="4" dirty="0">
                <a:solidFill>
                  <a:srgbClr val="415064"/>
                </a:solidFill>
                <a:cs typeface="Arial"/>
              </a:rPr>
              <a:t>migrazioni irregolari </a:t>
            </a:r>
            <a:r>
              <a:rPr lang="it-IT" sz="950" spc="4" dirty="0">
                <a:solidFill>
                  <a:srgbClr val="415064"/>
                </a:solidFill>
                <a:cs typeface="Arial"/>
              </a:rPr>
              <a:t>nei paesi target</a:t>
            </a:r>
          </a:p>
          <a:p>
            <a:pPr marL="182563" marR="3810" indent="-182563" algn="just">
              <a:lnSpc>
                <a:spcPct val="101200"/>
              </a:lnSpc>
              <a:spcBef>
                <a:spcPts val="100"/>
              </a:spcBef>
              <a:buClr>
                <a:schemeClr val="accent2"/>
              </a:buClr>
              <a:buSzPct val="110344"/>
              <a:buFont typeface="Arial" panose="020B0604020202020204" pitchFamily="34" charset="0"/>
              <a:buChar char="•"/>
              <a:tabLst>
                <a:tab pos="269875" algn="l"/>
              </a:tabLst>
            </a:pPr>
            <a:r>
              <a:rPr lang="it-IT" sz="950" spc="4" dirty="0">
                <a:solidFill>
                  <a:srgbClr val="415064"/>
                </a:solidFill>
                <a:cs typeface="Arial"/>
              </a:rPr>
              <a:t>Target risorse mobilitate: </a:t>
            </a:r>
            <a:r>
              <a:rPr lang="it-IT" sz="950" b="1" spc="4" dirty="0">
                <a:solidFill>
                  <a:srgbClr val="415064"/>
                </a:solidFill>
                <a:cs typeface="Arial"/>
              </a:rPr>
              <a:t>44 €/mld </a:t>
            </a:r>
            <a:r>
              <a:rPr lang="it-IT" sz="950" spc="4" dirty="0">
                <a:solidFill>
                  <a:srgbClr val="415064"/>
                </a:solidFill>
                <a:cs typeface="Arial"/>
              </a:rPr>
              <a:t>entro il </a:t>
            </a:r>
            <a:r>
              <a:rPr lang="it-IT" sz="950" b="1" spc="4" dirty="0">
                <a:solidFill>
                  <a:srgbClr val="415064"/>
                </a:solidFill>
                <a:cs typeface="Arial"/>
              </a:rPr>
              <a:t>2020</a:t>
            </a:r>
            <a:endParaRPr sz="950" b="1" spc="4" dirty="0">
              <a:solidFill>
                <a:srgbClr val="415064"/>
              </a:solidFill>
              <a:cs typeface="Arial"/>
            </a:endParaRPr>
          </a:p>
        </p:txBody>
      </p:sp>
      <p:sp>
        <p:nvSpPr>
          <p:cNvPr id="18" name="object 9"/>
          <p:cNvSpPr txBox="1"/>
          <p:nvPr/>
        </p:nvSpPr>
        <p:spPr>
          <a:xfrm>
            <a:off x="1228239" y="2425917"/>
            <a:ext cx="3842248" cy="942021"/>
          </a:xfrm>
          <a:prstGeom prst="rect">
            <a:avLst/>
          </a:prstGeom>
        </p:spPr>
        <p:txBody>
          <a:bodyPr vert="horz" wrap="square" lIns="0" tIns="9049" rIns="0" bIns="0" rtlCol="0">
            <a:spAutoFit/>
          </a:bodyPr>
          <a:lstStyle/>
          <a:p>
            <a:pPr marL="182563" marR="3810" indent="-182563" algn="just">
              <a:lnSpc>
                <a:spcPct val="101000"/>
              </a:lnSpc>
              <a:spcBef>
                <a:spcPts val="400"/>
              </a:spcBef>
              <a:buClr>
                <a:srgbClr val="005392"/>
              </a:buClr>
              <a:buFont typeface="+mj-lt"/>
              <a:buAutoNum type="romanUcPeriod"/>
              <a:tabLst>
                <a:tab pos="237649" algn="l"/>
                <a:tab pos="238125" algn="l"/>
              </a:tabLst>
            </a:pPr>
            <a:r>
              <a:rPr sz="950" b="1" spc="4" dirty="0">
                <a:solidFill>
                  <a:srgbClr val="415064"/>
                </a:solidFill>
                <a:latin typeface="Arial"/>
                <a:cs typeface="Arial"/>
              </a:rPr>
              <a:t>EFSD</a:t>
            </a:r>
            <a:r>
              <a:rPr sz="950" spc="4" dirty="0">
                <a:solidFill>
                  <a:srgbClr val="415064"/>
                </a:solidFill>
                <a:latin typeface="Arial"/>
                <a:cs typeface="Arial"/>
              </a:rPr>
              <a:t> </a:t>
            </a:r>
            <a:r>
              <a:rPr sz="950" dirty="0">
                <a:solidFill>
                  <a:srgbClr val="415064"/>
                </a:solidFill>
                <a:latin typeface="Arial"/>
                <a:cs typeface="Arial"/>
              </a:rPr>
              <a:t>- </a:t>
            </a:r>
            <a:r>
              <a:rPr sz="950" spc="4" dirty="0">
                <a:solidFill>
                  <a:srgbClr val="415064"/>
                </a:solidFill>
                <a:latin typeface="Arial"/>
                <a:cs typeface="Arial"/>
              </a:rPr>
              <a:t>Fondo di</a:t>
            </a:r>
            <a:r>
              <a:rPr sz="950" spc="-34" dirty="0">
                <a:solidFill>
                  <a:srgbClr val="415064"/>
                </a:solidFill>
                <a:latin typeface="Arial"/>
                <a:cs typeface="Arial"/>
              </a:rPr>
              <a:t> </a:t>
            </a:r>
            <a:r>
              <a:rPr sz="950" spc="4" dirty="0" err="1">
                <a:solidFill>
                  <a:srgbClr val="415064"/>
                </a:solidFill>
                <a:latin typeface="Arial"/>
                <a:cs typeface="Arial"/>
              </a:rPr>
              <a:t>Garanzia</a:t>
            </a:r>
            <a:r>
              <a:rPr sz="950" spc="4" dirty="0">
                <a:solidFill>
                  <a:srgbClr val="415064"/>
                </a:solidFill>
                <a:latin typeface="Arial"/>
                <a:cs typeface="Arial"/>
              </a:rPr>
              <a:t> </a:t>
            </a:r>
            <a:r>
              <a:rPr sz="950" spc="4" dirty="0" err="1">
                <a:solidFill>
                  <a:srgbClr val="415064"/>
                </a:solidFill>
                <a:latin typeface="Arial"/>
                <a:cs typeface="Arial"/>
              </a:rPr>
              <a:t>europeo</a:t>
            </a:r>
            <a:r>
              <a:rPr sz="950" spc="4" dirty="0">
                <a:solidFill>
                  <a:srgbClr val="415064"/>
                </a:solidFill>
                <a:latin typeface="Arial"/>
                <a:cs typeface="Arial"/>
              </a:rPr>
              <a:t> </a:t>
            </a:r>
            <a:r>
              <a:rPr lang="it-IT" sz="950" b="1" spc="4" dirty="0">
                <a:solidFill>
                  <a:srgbClr val="415064"/>
                </a:solidFill>
                <a:latin typeface="Arial"/>
                <a:cs typeface="Arial"/>
              </a:rPr>
              <a:t>con accesso diretto alla garanzia UE</a:t>
            </a:r>
            <a:r>
              <a:rPr lang="it-IT" sz="950" spc="4" dirty="0">
                <a:solidFill>
                  <a:srgbClr val="415064"/>
                </a:solidFill>
                <a:latin typeface="Arial"/>
                <a:cs typeface="Arial"/>
              </a:rPr>
              <a:t> per </a:t>
            </a:r>
            <a:r>
              <a:rPr lang="it-IT" sz="950" spc="4" dirty="0">
                <a:solidFill>
                  <a:srgbClr val="415064"/>
                </a:solidFill>
                <a:cs typeface="Arial"/>
              </a:rPr>
              <a:t>le Istituzioni Finanziarie Internazionali e le </a:t>
            </a:r>
            <a:r>
              <a:rPr lang="it-IT" sz="950" i="1" spc="4" dirty="0">
                <a:solidFill>
                  <a:srgbClr val="415064"/>
                </a:solidFill>
                <a:cs typeface="Arial"/>
              </a:rPr>
              <a:t>Development Financial Institutions </a:t>
            </a:r>
            <a:r>
              <a:rPr lang="it-IT" sz="950" spc="4" dirty="0">
                <a:solidFill>
                  <a:srgbClr val="415064"/>
                </a:solidFill>
                <a:cs typeface="Arial"/>
              </a:rPr>
              <a:t>- stanziamento di </a:t>
            </a:r>
            <a:r>
              <a:rPr lang="it-IT" sz="950" b="1" spc="4" dirty="0">
                <a:solidFill>
                  <a:srgbClr val="415064"/>
                </a:solidFill>
                <a:cs typeface="Arial"/>
              </a:rPr>
              <a:t>1,5 €/mld </a:t>
            </a:r>
            <a:endParaRPr sz="950" dirty="0">
              <a:solidFill>
                <a:srgbClr val="415064"/>
              </a:solidFill>
              <a:latin typeface="Arial"/>
              <a:cs typeface="Arial"/>
            </a:endParaRPr>
          </a:p>
          <a:p>
            <a:pPr marL="182563" indent="-182563" algn="just">
              <a:spcBef>
                <a:spcPts val="400"/>
              </a:spcBef>
              <a:buClr>
                <a:srgbClr val="005392"/>
              </a:buClr>
              <a:buFont typeface="+mj-lt"/>
              <a:buAutoNum type="romanUcPeriod"/>
              <a:tabLst>
                <a:tab pos="237649" algn="l"/>
                <a:tab pos="238125" algn="l"/>
              </a:tabLst>
            </a:pPr>
            <a:r>
              <a:rPr sz="950" b="1" spc="4" dirty="0" err="1">
                <a:solidFill>
                  <a:srgbClr val="415064"/>
                </a:solidFill>
                <a:latin typeface="Arial"/>
                <a:cs typeface="Arial"/>
              </a:rPr>
              <a:t>Assistenza</a:t>
            </a:r>
            <a:r>
              <a:rPr sz="950" b="1" spc="15" dirty="0">
                <a:solidFill>
                  <a:srgbClr val="415064"/>
                </a:solidFill>
                <a:latin typeface="Arial"/>
                <a:cs typeface="Arial"/>
              </a:rPr>
              <a:t> </a:t>
            </a:r>
            <a:r>
              <a:rPr sz="950" b="1" spc="4" dirty="0" err="1">
                <a:solidFill>
                  <a:srgbClr val="415064"/>
                </a:solidFill>
                <a:latin typeface="Arial"/>
                <a:cs typeface="Arial"/>
              </a:rPr>
              <a:t>tecnica</a:t>
            </a:r>
            <a:r>
              <a:rPr lang="it-IT" sz="950" spc="4" dirty="0">
                <a:solidFill>
                  <a:srgbClr val="415064"/>
                </a:solidFill>
                <a:latin typeface="Arial"/>
                <a:cs typeface="Arial"/>
              </a:rPr>
              <a:t> per la preparazione dei progetti</a:t>
            </a:r>
            <a:r>
              <a:rPr lang="it-IT" sz="950" b="1" dirty="0">
                <a:solidFill>
                  <a:srgbClr val="415064"/>
                </a:solidFill>
                <a:latin typeface="Arial"/>
                <a:cs typeface="Arial"/>
              </a:rPr>
              <a:t> </a:t>
            </a:r>
            <a:r>
              <a:rPr lang="it-IT" sz="950" dirty="0">
                <a:solidFill>
                  <a:srgbClr val="415064"/>
                </a:solidFill>
                <a:latin typeface="Arial"/>
                <a:cs typeface="Arial"/>
              </a:rPr>
              <a:t>e </a:t>
            </a:r>
            <a:r>
              <a:rPr lang="it-IT" sz="950" spc="4" dirty="0">
                <a:solidFill>
                  <a:srgbClr val="415064"/>
                </a:solidFill>
                <a:latin typeface="Arial"/>
                <a:cs typeface="Arial"/>
              </a:rPr>
              <a:t>ai governi locali per il</a:t>
            </a:r>
            <a:r>
              <a:rPr lang="it-IT" sz="950" b="1" spc="4" dirty="0">
                <a:solidFill>
                  <a:srgbClr val="415064"/>
                </a:solidFill>
                <a:latin typeface="Arial"/>
                <a:cs typeface="Arial"/>
              </a:rPr>
              <a:t> </a:t>
            </a:r>
            <a:r>
              <a:rPr lang="it-IT" sz="950" spc="4" dirty="0">
                <a:solidFill>
                  <a:srgbClr val="415064"/>
                </a:solidFill>
                <a:latin typeface="Arial"/>
                <a:cs typeface="Arial"/>
              </a:rPr>
              <a:t>miglioramento dell’assetto </a:t>
            </a:r>
            <a:r>
              <a:rPr lang="it-IT" sz="950" spc="4" dirty="0">
                <a:solidFill>
                  <a:srgbClr val="415064"/>
                </a:solidFill>
                <a:cs typeface="Arial"/>
              </a:rPr>
              <a:t>regolatorio - stanziamento di </a:t>
            </a:r>
            <a:r>
              <a:rPr lang="it-IT" sz="950" b="1" spc="4" dirty="0">
                <a:solidFill>
                  <a:srgbClr val="415064"/>
                </a:solidFill>
                <a:cs typeface="Arial"/>
              </a:rPr>
              <a:t>2,6 €/mld </a:t>
            </a:r>
            <a:endParaRPr sz="950" b="1" dirty="0">
              <a:latin typeface="Arial"/>
              <a:cs typeface="Arial"/>
            </a:endParaRPr>
          </a:p>
        </p:txBody>
      </p:sp>
      <p:pic>
        <p:nvPicPr>
          <p:cNvPr id="27" name="Immagine 26">
            <a:extLst>
              <a:ext uri="{FF2B5EF4-FFF2-40B4-BE49-F238E27FC236}">
                <a16:creationId xmlns:a16="http://schemas.microsoft.com/office/drawing/2014/main" id="{76BCBCCE-1912-43FE-8E80-5A14E0362E1B}"/>
              </a:ext>
            </a:extLst>
          </p:cNvPr>
          <p:cNvPicPr>
            <a:picLocks noChangeAspect="1"/>
          </p:cNvPicPr>
          <p:nvPr/>
        </p:nvPicPr>
        <p:blipFill>
          <a:blip r:embed="rId6"/>
          <a:stretch>
            <a:fillRect/>
          </a:stretch>
        </p:blipFill>
        <p:spPr>
          <a:xfrm>
            <a:off x="5568134" y="60819"/>
            <a:ext cx="3330368" cy="4895849"/>
          </a:xfrm>
          <a:prstGeom prst="rect">
            <a:avLst/>
          </a:prstGeom>
        </p:spPr>
      </p:pic>
      <p:sp>
        <p:nvSpPr>
          <p:cNvPr id="28" name="object 56">
            <a:extLst>
              <a:ext uri="{FF2B5EF4-FFF2-40B4-BE49-F238E27FC236}">
                <a16:creationId xmlns:a16="http://schemas.microsoft.com/office/drawing/2014/main" id="{DF270517-CE3C-4D71-B9B4-184A33567C6E}"/>
              </a:ext>
            </a:extLst>
          </p:cNvPr>
          <p:cNvSpPr txBox="1"/>
          <p:nvPr/>
        </p:nvSpPr>
        <p:spPr>
          <a:xfrm>
            <a:off x="5172088" y="689361"/>
            <a:ext cx="1332000" cy="193803"/>
          </a:xfrm>
          <a:prstGeom prst="rect">
            <a:avLst/>
          </a:prstGeom>
        </p:spPr>
        <p:txBody>
          <a:bodyPr vert="horz" wrap="square" lIns="0" tIns="9049" rIns="0" bIns="0" rtlCol="0">
            <a:spAutoFit/>
          </a:bodyPr>
          <a:lstStyle/>
          <a:p>
            <a:pPr marL="9525">
              <a:spcBef>
                <a:spcPts val="71"/>
              </a:spcBef>
            </a:pPr>
            <a:r>
              <a:rPr sz="1200" b="1" spc="-4" dirty="0">
                <a:solidFill>
                  <a:srgbClr val="415064"/>
                </a:solidFill>
                <a:latin typeface="Arial"/>
                <a:cs typeface="Arial"/>
              </a:rPr>
              <a:t>EIP:</a:t>
            </a:r>
            <a:r>
              <a:rPr sz="1200" b="1" spc="-34" dirty="0">
                <a:solidFill>
                  <a:srgbClr val="415064"/>
                </a:solidFill>
                <a:latin typeface="Arial"/>
                <a:cs typeface="Arial"/>
              </a:rPr>
              <a:t> </a:t>
            </a:r>
            <a:r>
              <a:rPr lang="it-IT" sz="1200" b="1" spc="-8" dirty="0">
                <a:solidFill>
                  <a:srgbClr val="415064"/>
                </a:solidFill>
                <a:latin typeface="Arial"/>
                <a:cs typeface="Arial"/>
              </a:rPr>
              <a:t>dove opera?</a:t>
            </a:r>
            <a:endParaRPr sz="1200" dirty="0">
              <a:solidFill>
                <a:srgbClr val="415064"/>
              </a:solidFill>
              <a:latin typeface="Arial"/>
              <a:cs typeface="Arial"/>
            </a:endParaRPr>
          </a:p>
        </p:txBody>
      </p:sp>
      <p:cxnSp>
        <p:nvCxnSpPr>
          <p:cNvPr id="4" name="Connettore diritto 3"/>
          <p:cNvCxnSpPr/>
          <p:nvPr/>
        </p:nvCxnSpPr>
        <p:spPr>
          <a:xfrm>
            <a:off x="276157" y="883637"/>
            <a:ext cx="891490" cy="1"/>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9" name="Connettore diritto 28"/>
          <p:cNvCxnSpPr/>
          <p:nvPr/>
        </p:nvCxnSpPr>
        <p:spPr>
          <a:xfrm>
            <a:off x="5172088" y="891377"/>
            <a:ext cx="1189106" cy="0"/>
          </a:xfrm>
          <a:prstGeom prst="line">
            <a:avLst/>
          </a:prstGeom>
          <a:ln w="19050">
            <a:solidFill>
              <a:srgbClr val="0070C0"/>
            </a:solidFill>
          </a:ln>
        </p:spPr>
        <p:style>
          <a:lnRef idx="1">
            <a:schemeClr val="accent1"/>
          </a:lnRef>
          <a:fillRef idx="0">
            <a:schemeClr val="accent1"/>
          </a:fillRef>
          <a:effectRef idx="0">
            <a:schemeClr val="accent1"/>
          </a:effectRef>
          <a:fontRef idx="minor">
            <a:schemeClr val="tx1"/>
          </a:fontRef>
        </p:style>
      </p:cxnSp>
      <p:sp>
        <p:nvSpPr>
          <p:cNvPr id="30" name="Rectangle 2">
            <a:extLst>
              <a:ext uri="{FF2B5EF4-FFF2-40B4-BE49-F238E27FC236}">
                <a16:creationId xmlns:a16="http://schemas.microsoft.com/office/drawing/2014/main" id="{A053D749-0C33-4725-A737-636D80E2BD1C}"/>
              </a:ext>
            </a:extLst>
          </p:cNvPr>
          <p:cNvSpPr>
            <a:spLocks/>
          </p:cNvSpPr>
          <p:nvPr/>
        </p:nvSpPr>
        <p:spPr>
          <a:xfrm>
            <a:off x="1" y="3"/>
            <a:ext cx="9143999" cy="163396"/>
          </a:xfrm>
          <a:prstGeom prst="rect">
            <a:avLst/>
          </a:prstGeom>
          <a:solidFill>
            <a:srgbClr val="415064"/>
          </a:solidFill>
          <a:ln w="9525" cap="flat" cmpd="sng" algn="ctr">
            <a:noFill/>
            <a:prstDash val="solid"/>
          </a:ln>
          <a:effectLst/>
        </p:spPr>
        <p:txBody>
          <a:bodyPr rot="0" spcFirstLastPara="0" vert="horz" wrap="square" lIns="121920" tIns="60960" rIns="121920" bIns="6096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224" kern="1200">
                <a:solidFill>
                  <a:schemeClr val="lt1"/>
                </a:solidFill>
                <a:latin typeface="+mn-lt"/>
                <a:ea typeface="+mn-ea"/>
                <a:cs typeface="+mn-cs"/>
              </a:defRPr>
            </a:lvl1pPr>
            <a:lvl2pPr marL="349849" algn="l" rtl="0" fontAlgn="base">
              <a:spcBef>
                <a:spcPct val="0"/>
              </a:spcBef>
              <a:spcAft>
                <a:spcPct val="0"/>
              </a:spcAft>
              <a:defRPr sz="1224" kern="1200">
                <a:solidFill>
                  <a:schemeClr val="lt1"/>
                </a:solidFill>
                <a:latin typeface="+mn-lt"/>
                <a:ea typeface="+mn-ea"/>
                <a:cs typeface="+mn-cs"/>
              </a:defRPr>
            </a:lvl2pPr>
            <a:lvl3pPr marL="699699" algn="l" rtl="0" fontAlgn="base">
              <a:spcBef>
                <a:spcPct val="0"/>
              </a:spcBef>
              <a:spcAft>
                <a:spcPct val="0"/>
              </a:spcAft>
              <a:defRPr sz="1224" kern="1200">
                <a:solidFill>
                  <a:schemeClr val="lt1"/>
                </a:solidFill>
                <a:latin typeface="+mn-lt"/>
                <a:ea typeface="+mn-ea"/>
                <a:cs typeface="+mn-cs"/>
              </a:defRPr>
            </a:lvl3pPr>
            <a:lvl4pPr marL="1049548" algn="l" rtl="0" fontAlgn="base">
              <a:spcBef>
                <a:spcPct val="0"/>
              </a:spcBef>
              <a:spcAft>
                <a:spcPct val="0"/>
              </a:spcAft>
              <a:defRPr sz="1224" kern="1200">
                <a:solidFill>
                  <a:schemeClr val="lt1"/>
                </a:solidFill>
                <a:latin typeface="+mn-lt"/>
                <a:ea typeface="+mn-ea"/>
                <a:cs typeface="+mn-cs"/>
              </a:defRPr>
            </a:lvl4pPr>
            <a:lvl5pPr marL="1399398" algn="l" rtl="0" fontAlgn="base">
              <a:spcBef>
                <a:spcPct val="0"/>
              </a:spcBef>
              <a:spcAft>
                <a:spcPct val="0"/>
              </a:spcAft>
              <a:defRPr sz="1224" kern="1200">
                <a:solidFill>
                  <a:schemeClr val="lt1"/>
                </a:solidFill>
                <a:latin typeface="+mn-lt"/>
                <a:ea typeface="+mn-ea"/>
                <a:cs typeface="+mn-cs"/>
              </a:defRPr>
            </a:lvl5pPr>
            <a:lvl6pPr marL="1749247" algn="l" defTabSz="699699" rtl="0" eaLnBrk="1" latinLnBrk="0" hangingPunct="1">
              <a:defRPr sz="1224" kern="1200">
                <a:solidFill>
                  <a:schemeClr val="lt1"/>
                </a:solidFill>
                <a:latin typeface="+mn-lt"/>
                <a:ea typeface="+mn-ea"/>
                <a:cs typeface="+mn-cs"/>
              </a:defRPr>
            </a:lvl6pPr>
            <a:lvl7pPr marL="2099097" algn="l" defTabSz="699699" rtl="0" eaLnBrk="1" latinLnBrk="0" hangingPunct="1">
              <a:defRPr sz="1224" kern="1200">
                <a:solidFill>
                  <a:schemeClr val="lt1"/>
                </a:solidFill>
                <a:latin typeface="+mn-lt"/>
                <a:ea typeface="+mn-ea"/>
                <a:cs typeface="+mn-cs"/>
              </a:defRPr>
            </a:lvl7pPr>
            <a:lvl8pPr marL="2448946" algn="l" defTabSz="699699" rtl="0" eaLnBrk="1" latinLnBrk="0" hangingPunct="1">
              <a:defRPr sz="1224" kern="1200">
                <a:solidFill>
                  <a:schemeClr val="lt1"/>
                </a:solidFill>
                <a:latin typeface="+mn-lt"/>
                <a:ea typeface="+mn-ea"/>
                <a:cs typeface="+mn-cs"/>
              </a:defRPr>
            </a:lvl8pPr>
            <a:lvl9pPr marL="2798796" algn="l" defTabSz="699699" rtl="0" eaLnBrk="1" latinLnBrk="0" hangingPunct="1">
              <a:defRPr sz="1224" kern="1200">
                <a:solidFill>
                  <a:schemeClr val="lt1"/>
                </a:solidFill>
                <a:latin typeface="+mn-lt"/>
                <a:ea typeface="+mn-ea"/>
                <a:cs typeface="+mn-cs"/>
              </a:defRPr>
            </a:lvl9pPr>
          </a:lstStyle>
          <a:p>
            <a:pPr defTabSz="1219079">
              <a:defRPr/>
            </a:pPr>
            <a:r>
              <a:rPr lang="en-US" sz="1000" b="1" spc="-10" dirty="0">
                <a:cs typeface="Arial"/>
              </a:rPr>
              <a:t>Global Partnership</a:t>
            </a:r>
            <a:r>
              <a:rPr lang="it-IT" sz="1000" b="1" dirty="0">
                <a:solidFill>
                  <a:srgbClr val="FFFFFF"/>
                </a:solidFill>
                <a:latin typeface="Arial"/>
              </a:rPr>
              <a:t>: EIP</a:t>
            </a:r>
            <a:endParaRPr lang="it-IT" sz="1000" b="1" i="1" dirty="0">
              <a:solidFill>
                <a:srgbClr val="FFFFFF"/>
              </a:solidFill>
              <a:latin typeface="Arial"/>
            </a:endParaRPr>
          </a:p>
        </p:txBody>
      </p:sp>
      <p:sp>
        <p:nvSpPr>
          <p:cNvPr id="31" name="Rettangolo 30">
            <a:extLst>
              <a:ext uri="{FF2B5EF4-FFF2-40B4-BE49-F238E27FC236}">
                <a16:creationId xmlns:a16="http://schemas.microsoft.com/office/drawing/2014/main" id="{6E927669-4E78-402D-8329-C0894D3E81D5}"/>
              </a:ext>
            </a:extLst>
          </p:cNvPr>
          <p:cNvSpPr/>
          <p:nvPr/>
        </p:nvSpPr>
        <p:spPr>
          <a:xfrm>
            <a:off x="165812" y="1590435"/>
            <a:ext cx="969339" cy="612789"/>
          </a:xfrm>
          <a:prstGeom prst="rect">
            <a:avLst/>
          </a:prstGeom>
          <a:ln>
            <a:solidFill>
              <a:srgbClr val="4150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00" b="1" dirty="0"/>
              <a:t>Obiettivo</a:t>
            </a:r>
          </a:p>
        </p:txBody>
      </p:sp>
      <p:sp>
        <p:nvSpPr>
          <p:cNvPr id="32" name="Rettangolo 31">
            <a:extLst>
              <a:ext uri="{FF2B5EF4-FFF2-40B4-BE49-F238E27FC236}">
                <a16:creationId xmlns:a16="http://schemas.microsoft.com/office/drawing/2014/main" id="{6ADD0CFD-0F47-43FA-A218-8198A7729A7E}"/>
              </a:ext>
            </a:extLst>
          </p:cNvPr>
          <p:cNvSpPr/>
          <p:nvPr/>
        </p:nvSpPr>
        <p:spPr>
          <a:xfrm>
            <a:off x="165812" y="2427283"/>
            <a:ext cx="969339" cy="985766"/>
          </a:xfrm>
          <a:prstGeom prst="rect">
            <a:avLst/>
          </a:prstGeom>
          <a:ln>
            <a:solidFill>
              <a:srgbClr val="4150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00" b="1" dirty="0"/>
              <a:t>Pilastri</a:t>
            </a:r>
          </a:p>
        </p:txBody>
      </p:sp>
      <p:cxnSp>
        <p:nvCxnSpPr>
          <p:cNvPr id="34" name="Straight Connector 139">
            <a:extLst>
              <a:ext uri="{FF2B5EF4-FFF2-40B4-BE49-F238E27FC236}">
                <a16:creationId xmlns:a16="http://schemas.microsoft.com/office/drawing/2014/main" id="{7FFCCE9A-5C4D-469F-AC92-9A0C442BEA2A}"/>
              </a:ext>
            </a:extLst>
          </p:cNvPr>
          <p:cNvCxnSpPr>
            <a:cxnSpLocks/>
          </p:cNvCxnSpPr>
          <p:nvPr/>
        </p:nvCxnSpPr>
        <p:spPr>
          <a:xfrm>
            <a:off x="165812" y="2319798"/>
            <a:ext cx="4860000" cy="0"/>
          </a:xfrm>
          <a:prstGeom prst="line">
            <a:avLst/>
          </a:prstGeom>
          <a:ln w="9525">
            <a:solidFill>
              <a:schemeClr val="accent6">
                <a:lumMod val="60000"/>
                <a:lumOff val="40000"/>
              </a:schemeClr>
            </a:solidFill>
            <a:prstDash val="soli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35" name="Straight Connector 139">
            <a:extLst>
              <a:ext uri="{FF2B5EF4-FFF2-40B4-BE49-F238E27FC236}">
                <a16:creationId xmlns:a16="http://schemas.microsoft.com/office/drawing/2014/main" id="{C95D7868-8061-4C92-A84F-ECFB65EE029B}"/>
              </a:ext>
            </a:extLst>
          </p:cNvPr>
          <p:cNvCxnSpPr>
            <a:cxnSpLocks/>
          </p:cNvCxnSpPr>
          <p:nvPr/>
        </p:nvCxnSpPr>
        <p:spPr>
          <a:xfrm>
            <a:off x="165812" y="3522586"/>
            <a:ext cx="4860000" cy="0"/>
          </a:xfrm>
          <a:prstGeom prst="line">
            <a:avLst/>
          </a:prstGeom>
          <a:ln w="9525">
            <a:solidFill>
              <a:schemeClr val="accent6">
                <a:lumMod val="60000"/>
                <a:lumOff val="40000"/>
              </a:schemeClr>
            </a:solidFill>
            <a:prstDash val="soli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36" name="Rettangolo 35">
            <a:extLst>
              <a:ext uri="{FF2B5EF4-FFF2-40B4-BE49-F238E27FC236}">
                <a16:creationId xmlns:a16="http://schemas.microsoft.com/office/drawing/2014/main" id="{28865326-AA98-482A-9522-B36AE3A2C156}"/>
              </a:ext>
            </a:extLst>
          </p:cNvPr>
          <p:cNvSpPr/>
          <p:nvPr/>
        </p:nvSpPr>
        <p:spPr>
          <a:xfrm>
            <a:off x="165812" y="3651172"/>
            <a:ext cx="969339" cy="971075"/>
          </a:xfrm>
          <a:prstGeom prst="rect">
            <a:avLst/>
          </a:prstGeom>
          <a:ln>
            <a:solidFill>
              <a:srgbClr val="4150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00" b="1" dirty="0"/>
              <a:t>Iniziative CDP approvate</a:t>
            </a:r>
          </a:p>
        </p:txBody>
      </p:sp>
      <p:sp>
        <p:nvSpPr>
          <p:cNvPr id="38" name="object 8">
            <a:extLst>
              <a:ext uri="{FF2B5EF4-FFF2-40B4-BE49-F238E27FC236}">
                <a16:creationId xmlns:a16="http://schemas.microsoft.com/office/drawing/2014/main" id="{012D62C9-6755-4AC8-8155-0CBA794860E3}"/>
              </a:ext>
            </a:extLst>
          </p:cNvPr>
          <p:cNvSpPr txBox="1"/>
          <p:nvPr/>
        </p:nvSpPr>
        <p:spPr>
          <a:xfrm>
            <a:off x="1228239" y="3685387"/>
            <a:ext cx="3857232" cy="936860"/>
          </a:xfrm>
          <a:prstGeom prst="rect">
            <a:avLst/>
          </a:prstGeom>
        </p:spPr>
        <p:txBody>
          <a:bodyPr vert="horz" wrap="square" lIns="0" tIns="8573" rIns="0" bIns="0" rtlCol="0">
            <a:spAutoFit/>
          </a:bodyPr>
          <a:lstStyle/>
          <a:p>
            <a:pPr marL="182563" marR="3810" indent="-182563" algn="just">
              <a:lnSpc>
                <a:spcPct val="101200"/>
              </a:lnSpc>
              <a:spcBef>
                <a:spcPts val="100"/>
              </a:spcBef>
              <a:spcAft>
                <a:spcPts val="300"/>
              </a:spcAft>
              <a:buClr>
                <a:schemeClr val="accent2"/>
              </a:buClr>
              <a:buSzPct val="110344"/>
              <a:buFont typeface="Arial" panose="020B0604020202020204" pitchFamily="34" charset="0"/>
              <a:buChar char="•"/>
              <a:tabLst>
                <a:tab pos="269875" algn="l"/>
              </a:tabLst>
            </a:pPr>
            <a:r>
              <a:rPr lang="it-IT" sz="950" b="1" spc="4" dirty="0">
                <a:solidFill>
                  <a:srgbClr val="415064"/>
                </a:solidFill>
                <a:cs typeface="Arial"/>
              </a:rPr>
              <a:t>3 iniziative </a:t>
            </a:r>
            <a:r>
              <a:rPr lang="it-IT" sz="950" spc="4" dirty="0">
                <a:solidFill>
                  <a:srgbClr val="415064"/>
                </a:solidFill>
                <a:cs typeface="Arial"/>
              </a:rPr>
              <a:t>proposte da CDP approvate dalla CE: </a:t>
            </a:r>
            <a:r>
              <a:rPr lang="it-IT" sz="950" spc="4" dirty="0" err="1">
                <a:solidFill>
                  <a:srgbClr val="415064"/>
                </a:solidFill>
                <a:cs typeface="Arial"/>
              </a:rPr>
              <a:t>Archipelagos</a:t>
            </a:r>
            <a:r>
              <a:rPr lang="it-IT" sz="950" spc="4" dirty="0">
                <a:solidFill>
                  <a:srgbClr val="415064"/>
                </a:solidFill>
                <a:cs typeface="Arial"/>
              </a:rPr>
              <a:t>, </a:t>
            </a:r>
            <a:r>
              <a:rPr lang="it-IT" sz="950" spc="4" dirty="0" err="1">
                <a:solidFill>
                  <a:srgbClr val="415064"/>
                </a:solidFill>
                <a:cs typeface="Arial"/>
              </a:rPr>
              <a:t>InclusiFI</a:t>
            </a:r>
            <a:r>
              <a:rPr lang="it-IT" sz="950" spc="4" dirty="0">
                <a:solidFill>
                  <a:srgbClr val="415064"/>
                </a:solidFill>
                <a:cs typeface="Arial"/>
              </a:rPr>
              <a:t> e EGRE. </a:t>
            </a:r>
          </a:p>
          <a:p>
            <a:pPr marL="182563" marR="3810" indent="-182563" algn="just">
              <a:lnSpc>
                <a:spcPct val="101200"/>
              </a:lnSpc>
              <a:spcBef>
                <a:spcPts val="100"/>
              </a:spcBef>
              <a:spcAft>
                <a:spcPts val="300"/>
              </a:spcAft>
              <a:buClr>
                <a:schemeClr val="accent2"/>
              </a:buClr>
              <a:buSzPct val="110344"/>
              <a:buFont typeface="Arial" panose="020B0604020202020204" pitchFamily="34" charset="0"/>
              <a:buChar char="•"/>
              <a:tabLst>
                <a:tab pos="269875" algn="l"/>
              </a:tabLst>
            </a:pPr>
            <a:r>
              <a:rPr lang="it-IT" sz="950" b="1" spc="4" dirty="0" err="1">
                <a:solidFill>
                  <a:srgbClr val="415064"/>
                </a:solidFill>
                <a:cs typeface="Arial"/>
              </a:rPr>
              <a:t>Archipelagos</a:t>
            </a:r>
            <a:r>
              <a:rPr lang="it-IT" sz="950" spc="4" dirty="0">
                <a:solidFill>
                  <a:srgbClr val="415064"/>
                </a:solidFill>
                <a:cs typeface="Arial"/>
              </a:rPr>
              <a:t>: primo progetto in fase di avvio, considerato dalla CE come </a:t>
            </a:r>
            <a:r>
              <a:rPr lang="it-IT" sz="950" b="1" spc="4" dirty="0">
                <a:solidFill>
                  <a:srgbClr val="415064"/>
                </a:solidFill>
                <a:cs typeface="Arial"/>
              </a:rPr>
              <a:t>iniziativa </a:t>
            </a:r>
            <a:r>
              <a:rPr lang="it-IT" sz="950" b="1" i="1" spc="4" dirty="0" err="1">
                <a:solidFill>
                  <a:srgbClr val="415064"/>
                </a:solidFill>
                <a:cs typeface="Arial"/>
              </a:rPr>
              <a:t>flagship</a:t>
            </a:r>
            <a:r>
              <a:rPr lang="it-IT" sz="950" b="1" i="1" spc="4" dirty="0">
                <a:solidFill>
                  <a:srgbClr val="415064"/>
                </a:solidFill>
                <a:cs typeface="Arial"/>
              </a:rPr>
              <a:t> </a:t>
            </a:r>
            <a:r>
              <a:rPr lang="it-IT" sz="950" b="1" spc="4" dirty="0">
                <a:solidFill>
                  <a:srgbClr val="415064"/>
                </a:solidFill>
                <a:cs typeface="Arial"/>
              </a:rPr>
              <a:t>a livello europeo</a:t>
            </a:r>
            <a:r>
              <a:rPr lang="it-IT" sz="950" i="1" spc="4" dirty="0">
                <a:solidFill>
                  <a:srgbClr val="415064"/>
                </a:solidFill>
                <a:cs typeface="Arial"/>
              </a:rPr>
              <a:t>.</a:t>
            </a:r>
            <a:r>
              <a:rPr lang="it-IT" sz="950" spc="4" dirty="0">
                <a:solidFill>
                  <a:srgbClr val="415064"/>
                </a:solidFill>
                <a:cs typeface="Arial"/>
              </a:rPr>
              <a:t> Il relativo accordo di garanzia CDP-CE è il </a:t>
            </a:r>
            <a:r>
              <a:rPr lang="it-IT" sz="950" b="1" spc="4" dirty="0">
                <a:solidFill>
                  <a:srgbClr val="415064"/>
                </a:solidFill>
                <a:cs typeface="Arial"/>
              </a:rPr>
              <a:t>secondo</a:t>
            </a:r>
            <a:r>
              <a:rPr lang="it-IT" sz="950" spc="4" dirty="0">
                <a:solidFill>
                  <a:srgbClr val="415064"/>
                </a:solidFill>
                <a:cs typeface="Arial"/>
              </a:rPr>
              <a:t> siglato dalla CE nell’ambito del programma EIP</a:t>
            </a:r>
          </a:p>
        </p:txBody>
      </p:sp>
      <p:sp>
        <p:nvSpPr>
          <p:cNvPr id="3" name="Rettangolo 2">
            <a:extLst>
              <a:ext uri="{FF2B5EF4-FFF2-40B4-BE49-F238E27FC236}">
                <a16:creationId xmlns:a16="http://schemas.microsoft.com/office/drawing/2014/main" id="{19A8FE65-1B77-479C-9133-23660481D07D}"/>
              </a:ext>
            </a:extLst>
          </p:cNvPr>
          <p:cNvSpPr/>
          <p:nvPr/>
        </p:nvSpPr>
        <p:spPr>
          <a:xfrm>
            <a:off x="1348946" y="4018936"/>
            <a:ext cx="3801020" cy="618058"/>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it-IT"/>
          </a:p>
        </p:txBody>
      </p:sp>
    </p:spTree>
    <p:extLst>
      <p:ext uri="{BB962C8B-B14F-4D97-AF65-F5344CB8AC3E}">
        <p14:creationId xmlns:p14="http://schemas.microsoft.com/office/powerpoint/2010/main" val="13077071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object 11">
            <a:extLst>
              <a:ext uri="{FF2B5EF4-FFF2-40B4-BE49-F238E27FC236}">
                <a16:creationId xmlns:a16="http://schemas.microsoft.com/office/drawing/2014/main" id="{AF2A3350-E977-490B-8A7A-DEA271050A69}"/>
              </a:ext>
            </a:extLst>
          </p:cNvPr>
          <p:cNvSpPr/>
          <p:nvPr/>
        </p:nvSpPr>
        <p:spPr>
          <a:xfrm>
            <a:off x="1614867" y="2022996"/>
            <a:ext cx="5443369" cy="1728668"/>
          </a:xfrm>
          <a:custGeom>
            <a:avLst/>
            <a:gdLst/>
            <a:ahLst/>
            <a:cxnLst/>
            <a:rect l="l" t="t" r="r" b="b"/>
            <a:pathLst>
              <a:path w="10187940" h="3841750">
                <a:moveTo>
                  <a:pt x="0" y="3841369"/>
                </a:moveTo>
                <a:lnTo>
                  <a:pt x="10187686" y="3841369"/>
                </a:lnTo>
                <a:lnTo>
                  <a:pt x="10187686" y="0"/>
                </a:lnTo>
                <a:lnTo>
                  <a:pt x="0" y="0"/>
                </a:lnTo>
                <a:lnTo>
                  <a:pt x="0" y="3841369"/>
                </a:lnTo>
                <a:close/>
              </a:path>
            </a:pathLst>
          </a:custGeom>
          <a:ln w="12700">
            <a:solidFill>
              <a:schemeClr val="tx1"/>
            </a:solidFill>
            <a:prstDash val="sysDash"/>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1548"/>
              </a:solidFill>
              <a:effectLst/>
              <a:uLnTx/>
              <a:uFillTx/>
              <a:latin typeface="Arial" panose="020B0604020202020204"/>
              <a:ea typeface="+mn-ea"/>
              <a:cs typeface="+mn-cs"/>
            </a:endParaRPr>
          </a:p>
        </p:txBody>
      </p:sp>
      <p:sp>
        <p:nvSpPr>
          <p:cNvPr id="84" name="object 11">
            <a:extLst>
              <a:ext uri="{FF2B5EF4-FFF2-40B4-BE49-F238E27FC236}">
                <a16:creationId xmlns:a16="http://schemas.microsoft.com/office/drawing/2014/main" id="{20FF4363-7BF3-4908-8006-BF7F843854A6}"/>
              </a:ext>
            </a:extLst>
          </p:cNvPr>
          <p:cNvSpPr/>
          <p:nvPr/>
        </p:nvSpPr>
        <p:spPr>
          <a:xfrm>
            <a:off x="1446232" y="1008431"/>
            <a:ext cx="5616963" cy="837860"/>
          </a:xfrm>
          <a:custGeom>
            <a:avLst/>
            <a:gdLst/>
            <a:ahLst/>
            <a:cxnLst/>
            <a:rect l="l" t="t" r="r" b="b"/>
            <a:pathLst>
              <a:path w="10187940" h="3841750">
                <a:moveTo>
                  <a:pt x="0" y="3841369"/>
                </a:moveTo>
                <a:lnTo>
                  <a:pt x="10187686" y="3841369"/>
                </a:lnTo>
                <a:lnTo>
                  <a:pt x="10187686" y="0"/>
                </a:lnTo>
                <a:lnTo>
                  <a:pt x="0" y="0"/>
                </a:lnTo>
                <a:lnTo>
                  <a:pt x="0" y="3841369"/>
                </a:lnTo>
                <a:close/>
              </a:path>
            </a:pathLst>
          </a:custGeom>
          <a:ln w="12700">
            <a:solidFill>
              <a:schemeClr val="tx1"/>
            </a:solidFill>
            <a:prstDash val="sysDash"/>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1548"/>
              </a:solidFill>
              <a:effectLst/>
              <a:uLnTx/>
              <a:uFillTx/>
              <a:latin typeface="Arial" panose="020B0604020202020204"/>
              <a:ea typeface="+mn-ea"/>
              <a:cs typeface="+mn-cs"/>
            </a:endParaRPr>
          </a:p>
        </p:txBody>
      </p:sp>
      <p:sp>
        <p:nvSpPr>
          <p:cNvPr id="125" name="Arco a tutto sesto 7">
            <a:extLst>
              <a:ext uri="{FF2B5EF4-FFF2-40B4-BE49-F238E27FC236}">
                <a16:creationId xmlns:a16="http://schemas.microsoft.com/office/drawing/2014/main" id="{7CE0A384-6BBB-42F5-BFB1-9399DA034F3C}"/>
              </a:ext>
            </a:extLst>
          </p:cNvPr>
          <p:cNvSpPr/>
          <p:nvPr/>
        </p:nvSpPr>
        <p:spPr>
          <a:xfrm rot="4808612">
            <a:off x="-1808048" y="1167123"/>
            <a:ext cx="4191349" cy="3102046"/>
          </a:xfrm>
          <a:prstGeom prst="blockArc">
            <a:avLst>
              <a:gd name="adj1" fmla="val 12692655"/>
              <a:gd name="adj2" fmla="val 21134036"/>
              <a:gd name="adj3" fmla="val 8818"/>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351" b="0" i="0" u="none" strike="noStrike" kern="1200" cap="none" spc="0" normalizeH="0" baseline="0" noProof="0">
              <a:ln>
                <a:noFill/>
              </a:ln>
              <a:solidFill>
                <a:srgbClr val="001548"/>
              </a:solidFill>
              <a:effectLst/>
              <a:uLnTx/>
              <a:uFillTx/>
              <a:latin typeface="Arial"/>
              <a:ea typeface="+mn-ea"/>
              <a:cs typeface="+mn-cs"/>
            </a:endParaRPr>
          </a:p>
        </p:txBody>
      </p:sp>
      <p:graphicFrame>
        <p:nvGraphicFramePr>
          <p:cNvPr id="3" name="Oggetto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42" name="Diapositiva think-cell" r:id="rId5" imgW="270" imgH="270" progId="TCLayout.ActiveDocument.1">
                  <p:embed/>
                </p:oleObj>
              </mc:Choice>
              <mc:Fallback>
                <p:oleObj name="Diapositiva think-cell" r:id="rId5" imgW="270" imgH="270" progId="TCLayout.ActiveDocument.1">
                  <p:embed/>
                  <p:pic>
                    <p:nvPicPr>
                      <p:cNvPr id="3" name="Oggetto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9" name="Segnaposto numero diapositiva 2">
            <a:extLst>
              <a:ext uri="{FF2B5EF4-FFF2-40B4-BE49-F238E27FC236}">
                <a16:creationId xmlns:a16="http://schemas.microsoft.com/office/drawing/2014/main" id="{5EC9A73F-60D0-47D3-BD85-54A27BC7CB76}"/>
              </a:ext>
            </a:extLst>
          </p:cNvPr>
          <p:cNvSpPr>
            <a:spLocks noGrp="1"/>
          </p:cNvSpPr>
          <p:nvPr>
            <p:ph type="sldNum" sz="quarter" idx="12"/>
          </p:nvPr>
        </p:nvSpPr>
        <p:spPr>
          <a:xfrm>
            <a:off x="217156" y="4791213"/>
            <a:ext cx="1008062" cy="183687"/>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800"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Tx/>
                <a:buNone/>
                <a:tabLst/>
                <a:defRPr/>
              </a:pPr>
              <a:t>27</a:t>
            </a:fld>
            <a:endParaRPr kumimoji="0" lang="it-IT" sz="800"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endParaRPr>
          </a:p>
        </p:txBody>
      </p:sp>
      <p:sp>
        <p:nvSpPr>
          <p:cNvPr id="82" name="Rettangolo 81"/>
          <p:cNvSpPr/>
          <p:nvPr/>
        </p:nvSpPr>
        <p:spPr>
          <a:xfrm>
            <a:off x="998642" y="2939684"/>
            <a:ext cx="582929" cy="4132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86" name="object 4"/>
          <p:cNvSpPr/>
          <p:nvPr/>
        </p:nvSpPr>
        <p:spPr>
          <a:xfrm>
            <a:off x="-197182" y="509575"/>
            <a:ext cx="9144000" cy="4572"/>
          </a:xfrm>
          <a:prstGeom prst="rect">
            <a:avLst/>
          </a:prstGeom>
          <a:blipFill>
            <a:blip r:embed="rId7"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1548"/>
              </a:solidFill>
              <a:effectLst/>
              <a:uLnTx/>
              <a:uFillTx/>
              <a:latin typeface="Arial" panose="020B0604020202020204"/>
              <a:ea typeface="+mn-ea"/>
              <a:cs typeface="+mn-cs"/>
            </a:endParaRPr>
          </a:p>
        </p:txBody>
      </p:sp>
      <p:sp>
        <p:nvSpPr>
          <p:cNvPr id="117" name="Rettangolo 116">
            <a:extLst>
              <a:ext uri="{FF2B5EF4-FFF2-40B4-BE49-F238E27FC236}">
                <a16:creationId xmlns:a16="http://schemas.microsoft.com/office/drawing/2014/main" id="{B9D6AE5B-B968-4860-953A-87D4E809A6E6}"/>
              </a:ext>
            </a:extLst>
          </p:cNvPr>
          <p:cNvSpPr/>
          <p:nvPr/>
        </p:nvSpPr>
        <p:spPr>
          <a:xfrm>
            <a:off x="6008757" y="550848"/>
            <a:ext cx="952751" cy="288000"/>
          </a:xfrm>
          <a:prstGeom prst="rect">
            <a:avLst/>
          </a:prstGeom>
          <a:solidFill>
            <a:sysClr val="window" lastClr="FFFFFF"/>
          </a:solidFill>
          <a:ln>
            <a:solidFill>
              <a:srgbClr val="D9D9D9"/>
            </a:solidFill>
            <a:prstDash val="sysDot"/>
          </a:ln>
          <a:effectLst>
            <a:outerShdw blurRad="50800" dist="76200" dir="2700000" algn="tl" rotWithShape="0">
              <a:prstClr val="black">
                <a:alpha val="40000"/>
              </a:prstClr>
            </a:outerShdw>
          </a:effectLst>
        </p:spPr>
        <p:txBody>
          <a:bodyPr wrap="none" lIns="36000" tIns="36000" rIns="36000" bIns="36000" anchor="ctr" anchorCtr="0">
            <a:noAutofit/>
          </a:bodyPr>
          <a:lstStyle/>
          <a:p>
            <a:pPr marL="0" marR="0" lvl="0" indent="0" algn="ctr" defTabSz="895306" rtl="0" eaLnBrk="1" fontAlgn="auto" latinLnBrk="0" hangingPunct="1">
              <a:lnSpc>
                <a:spcPct val="100000"/>
              </a:lnSpc>
              <a:spcBef>
                <a:spcPts val="0"/>
              </a:spcBef>
              <a:spcAft>
                <a:spcPts val="0"/>
              </a:spcAft>
              <a:buClr>
                <a:srgbClr val="C90026"/>
              </a:buClr>
              <a:buSzTx/>
              <a:buFontTx/>
              <a:buNone/>
              <a:tabLst/>
              <a:defRPr/>
            </a:pPr>
            <a:r>
              <a:rPr kumimoji="0" lang="en-US" sz="1000" b="1" i="0" u="none" strike="noStrike" kern="0" cap="none" spc="0" normalizeH="0" baseline="0" noProof="0">
                <a:ln>
                  <a:noFill/>
                </a:ln>
                <a:solidFill>
                  <a:srgbClr val="415364"/>
                </a:solidFill>
                <a:effectLst/>
                <a:uLnTx/>
                <a:uFillTx/>
                <a:latin typeface="Arial" panose="020B0604020202020204"/>
                <a:ea typeface="+mn-ea"/>
                <a:cs typeface="+mn-cs"/>
              </a:rPr>
              <a:t>Partners</a:t>
            </a:r>
            <a:endParaRPr kumimoji="0" lang="en-US" sz="1000" b="0" i="0" u="none" strike="noStrike" kern="0" cap="none" spc="0" normalizeH="0" baseline="0" noProof="0">
              <a:ln>
                <a:noFill/>
              </a:ln>
              <a:solidFill>
                <a:srgbClr val="415364"/>
              </a:solidFill>
              <a:effectLst/>
              <a:uLnTx/>
              <a:uFillTx/>
              <a:latin typeface="Arial" panose="020B0604020202020204"/>
              <a:ea typeface="+mn-ea"/>
              <a:cs typeface="+mn-cs"/>
            </a:endParaRPr>
          </a:p>
        </p:txBody>
      </p:sp>
      <p:sp>
        <p:nvSpPr>
          <p:cNvPr id="121" name="Rettangolo 120">
            <a:extLst>
              <a:ext uri="{FF2B5EF4-FFF2-40B4-BE49-F238E27FC236}">
                <a16:creationId xmlns:a16="http://schemas.microsoft.com/office/drawing/2014/main" id="{A304EA60-E45D-4CB5-955F-3E4D4C34DD42}"/>
              </a:ext>
            </a:extLst>
          </p:cNvPr>
          <p:cNvSpPr/>
          <p:nvPr/>
        </p:nvSpPr>
        <p:spPr>
          <a:xfrm>
            <a:off x="1956867" y="550848"/>
            <a:ext cx="952751" cy="288000"/>
          </a:xfrm>
          <a:prstGeom prst="rect">
            <a:avLst/>
          </a:prstGeom>
          <a:solidFill>
            <a:sysClr val="window" lastClr="FFFFFF"/>
          </a:solidFill>
          <a:ln>
            <a:solidFill>
              <a:srgbClr val="D9D9D9"/>
            </a:solidFill>
            <a:prstDash val="sysDot"/>
          </a:ln>
          <a:effectLst>
            <a:outerShdw blurRad="50800" dist="76200" dir="2700000" algn="tl" rotWithShape="0">
              <a:prstClr val="black">
                <a:alpha val="40000"/>
              </a:prstClr>
            </a:outerShdw>
          </a:effectLst>
        </p:spPr>
        <p:txBody>
          <a:bodyPr wrap="none" lIns="36000" tIns="36000" rIns="36000" bIns="36000" anchor="ctr" anchorCtr="0">
            <a:noAutofit/>
          </a:bodyPr>
          <a:lstStyle/>
          <a:p>
            <a:pPr marL="0" marR="0" lvl="0" indent="0" algn="ctr" defTabSz="895306" rtl="0" eaLnBrk="1" fontAlgn="auto" latinLnBrk="0" hangingPunct="1">
              <a:lnSpc>
                <a:spcPct val="100000"/>
              </a:lnSpc>
              <a:spcBef>
                <a:spcPts val="0"/>
              </a:spcBef>
              <a:spcAft>
                <a:spcPts val="0"/>
              </a:spcAft>
              <a:buClr>
                <a:srgbClr val="C90026"/>
              </a:buClr>
              <a:buSzTx/>
              <a:buFontTx/>
              <a:buNone/>
              <a:tabLst/>
              <a:defRPr/>
            </a:pPr>
            <a:r>
              <a:rPr kumimoji="0" lang="en-US" sz="1000" b="1" i="0" u="none" strike="noStrike" kern="0" cap="none" spc="0" normalizeH="0" baseline="0" noProof="0" dirty="0" err="1">
                <a:ln>
                  <a:noFill/>
                </a:ln>
                <a:solidFill>
                  <a:srgbClr val="415364"/>
                </a:solidFill>
                <a:effectLst/>
                <a:uLnTx/>
                <a:uFillTx/>
                <a:latin typeface="Arial" panose="020B0604020202020204"/>
                <a:ea typeface="+mn-ea"/>
                <a:cs typeface="+mn-cs"/>
              </a:rPr>
              <a:t>Iniziative</a:t>
            </a:r>
            <a:endParaRPr kumimoji="0" lang="en-US" sz="1000" b="0" i="0" u="none" strike="noStrike" kern="0" cap="none" spc="0" normalizeH="0" baseline="0" noProof="0" dirty="0">
              <a:ln>
                <a:noFill/>
              </a:ln>
              <a:solidFill>
                <a:srgbClr val="415364"/>
              </a:solidFill>
              <a:effectLst/>
              <a:uLnTx/>
              <a:uFillTx/>
              <a:latin typeface="Arial" panose="020B0604020202020204"/>
              <a:ea typeface="+mn-ea"/>
              <a:cs typeface="+mn-cs"/>
            </a:endParaRPr>
          </a:p>
        </p:txBody>
      </p:sp>
      <p:grpSp>
        <p:nvGrpSpPr>
          <p:cNvPr id="122" name="Gruppo 121"/>
          <p:cNvGrpSpPr/>
          <p:nvPr/>
        </p:nvGrpSpPr>
        <p:grpSpPr>
          <a:xfrm>
            <a:off x="-40065" y="2159164"/>
            <a:ext cx="1560871" cy="1347186"/>
            <a:chOff x="508112" y="2190471"/>
            <a:chExt cx="1312331" cy="1097889"/>
          </a:xfrm>
        </p:grpSpPr>
        <p:sp>
          <p:nvSpPr>
            <p:cNvPr id="123" name="Rettangolo 122">
              <a:extLst>
                <a:ext uri="{FF2B5EF4-FFF2-40B4-BE49-F238E27FC236}">
                  <a16:creationId xmlns:a16="http://schemas.microsoft.com/office/drawing/2014/main" id="{CA3F987B-4F2B-4EE6-9EEA-255591F88850}"/>
                </a:ext>
              </a:extLst>
            </p:cNvPr>
            <p:cNvSpPr/>
            <p:nvPr/>
          </p:nvSpPr>
          <p:spPr>
            <a:xfrm>
              <a:off x="508112" y="2627861"/>
              <a:ext cx="1312331" cy="660499"/>
            </a:xfrm>
            <a:prstGeom prst="rect">
              <a:avLst/>
            </a:prstGeom>
          </p:spPr>
          <p:txBody>
            <a:bodyPr wrap="square">
              <a:spAutoFit/>
            </a:bodyPr>
            <a:lstStyle/>
            <a:p>
              <a:pPr marL="0" marR="0" lvl="0" indent="0" algn="ctr" defTabSz="457200" rtl="0" eaLnBrk="1" fontAlgn="auto" latinLnBrk="0" hangingPunct="1">
                <a:lnSpc>
                  <a:spcPct val="100000"/>
                </a:lnSpc>
                <a:spcBef>
                  <a:spcPts val="400"/>
                </a:spcBef>
                <a:spcAft>
                  <a:spcPts val="0"/>
                </a:spcAft>
                <a:buClr>
                  <a:srgbClr val="C00000"/>
                </a:buClr>
                <a:buSzTx/>
                <a:buFontTx/>
                <a:buNone/>
                <a:tabLst/>
                <a:defRPr/>
              </a:pPr>
              <a:r>
                <a:rPr kumimoji="0" lang="it-IT" sz="1000" b="1" i="0" u="sng" strike="noStrike" kern="0" cap="none" spc="-4" normalizeH="0" baseline="0" noProof="0" dirty="0">
                  <a:ln>
                    <a:noFill/>
                  </a:ln>
                  <a:solidFill>
                    <a:srgbClr val="005392"/>
                  </a:solidFill>
                  <a:effectLst/>
                  <a:uLnTx/>
                  <a:uFillTx/>
                  <a:latin typeface="Arial" panose="020B0604020202020204"/>
                  <a:ea typeface="+mn-ea"/>
                  <a:cs typeface="Arial"/>
                </a:rPr>
                <a:t>3 proposte approvate</a:t>
              </a:r>
            </a:p>
            <a:p>
              <a:pPr marL="0" marR="0" lvl="0" indent="0" algn="ctr" defTabSz="457200" rtl="0" eaLnBrk="1" fontAlgn="auto" latinLnBrk="0" hangingPunct="1">
                <a:lnSpc>
                  <a:spcPct val="100000"/>
                </a:lnSpc>
                <a:spcBef>
                  <a:spcPts val="400"/>
                </a:spcBef>
                <a:spcAft>
                  <a:spcPts val="0"/>
                </a:spcAft>
                <a:buClr>
                  <a:srgbClr val="C00000"/>
                </a:buClr>
                <a:buSzTx/>
                <a:buFontTx/>
                <a:buNone/>
                <a:tabLst/>
                <a:defRPr/>
              </a:pPr>
              <a:r>
                <a:rPr lang="it-IT" sz="1000" b="1" kern="0" spc="-4" dirty="0">
                  <a:solidFill>
                    <a:srgbClr val="005392"/>
                  </a:solidFill>
                  <a:latin typeface="Arial" panose="020B0604020202020204"/>
                  <a:cs typeface="Arial"/>
                </a:rPr>
                <a:t>+</a:t>
              </a:r>
              <a:endParaRPr kumimoji="0" lang="it-IT" sz="1000" b="1" i="0" strike="noStrike" kern="0" cap="none" spc="-4" normalizeH="0" baseline="0" noProof="0" dirty="0">
                <a:ln>
                  <a:noFill/>
                </a:ln>
                <a:solidFill>
                  <a:srgbClr val="005392"/>
                </a:solidFill>
                <a:effectLst/>
                <a:uLnTx/>
                <a:uFillTx/>
                <a:latin typeface="Arial" panose="020B0604020202020204"/>
                <a:ea typeface="+mn-ea"/>
                <a:cs typeface="Arial"/>
              </a:endParaRPr>
            </a:p>
            <a:p>
              <a:pPr marL="0" marR="0" lvl="0" indent="0" algn="ctr" defTabSz="457200" rtl="0" eaLnBrk="1" fontAlgn="auto" latinLnBrk="0" hangingPunct="1">
                <a:lnSpc>
                  <a:spcPct val="100000"/>
                </a:lnSpc>
                <a:spcBef>
                  <a:spcPts val="400"/>
                </a:spcBef>
                <a:spcAft>
                  <a:spcPts val="0"/>
                </a:spcAft>
                <a:buClr>
                  <a:srgbClr val="C00000"/>
                </a:buClr>
                <a:buSzTx/>
                <a:buFontTx/>
                <a:buNone/>
                <a:tabLst/>
                <a:defRPr/>
              </a:pPr>
              <a:r>
                <a:rPr kumimoji="0" lang="it-IT" sz="1000" b="1" i="0" u="none" strike="noStrike" kern="0" cap="none" spc="-4" normalizeH="0" baseline="0" noProof="0" dirty="0">
                  <a:ln>
                    <a:noFill/>
                  </a:ln>
                  <a:solidFill>
                    <a:srgbClr val="415364"/>
                  </a:solidFill>
                  <a:effectLst/>
                  <a:uLnTx/>
                  <a:uFillTx/>
                  <a:latin typeface="Arial" panose="020B0604020202020204"/>
                  <a:ea typeface="+mn-ea"/>
                  <a:cs typeface="Arial"/>
                </a:rPr>
                <a:t>1 manifestazione di interesse</a:t>
              </a:r>
            </a:p>
          </p:txBody>
        </p:sp>
        <p:pic>
          <p:nvPicPr>
            <p:cNvPr id="124" name="Immagine 123">
              <a:extLst>
                <a:ext uri="{FF2B5EF4-FFF2-40B4-BE49-F238E27FC236}">
                  <a16:creationId xmlns:a16="http://schemas.microsoft.com/office/drawing/2014/main" id="{803C21CE-C14C-4DBE-9F8E-2352CBCF202E}"/>
                </a:ext>
              </a:extLst>
            </p:cNvPr>
            <p:cNvPicPr>
              <a:picLocks noChangeAspect="1"/>
            </p:cNvPicPr>
            <p:nvPr/>
          </p:nvPicPr>
          <p:blipFill>
            <a:blip r:embed="rId8"/>
            <a:stretch>
              <a:fillRect/>
            </a:stretch>
          </p:blipFill>
          <p:spPr>
            <a:xfrm>
              <a:off x="785537" y="2190471"/>
              <a:ext cx="757481" cy="419375"/>
            </a:xfrm>
            <a:prstGeom prst="rect">
              <a:avLst/>
            </a:prstGeom>
          </p:spPr>
        </p:pic>
      </p:grpSp>
      <p:sp>
        <p:nvSpPr>
          <p:cNvPr id="105" name="Segnaposto testo 6">
            <a:extLst>
              <a:ext uri="{FF2B5EF4-FFF2-40B4-BE49-F238E27FC236}">
                <a16:creationId xmlns:a16="http://schemas.microsoft.com/office/drawing/2014/main" id="{812E0EEC-2B06-4284-A91F-332775DFC788}"/>
              </a:ext>
            </a:extLst>
          </p:cNvPr>
          <p:cNvSpPr txBox="1">
            <a:spLocks/>
          </p:cNvSpPr>
          <p:nvPr/>
        </p:nvSpPr>
        <p:spPr>
          <a:xfrm>
            <a:off x="2132604" y="3052711"/>
            <a:ext cx="1619618" cy="259110"/>
          </a:xfrm>
          <a:prstGeom prst="rect">
            <a:avLst/>
          </a:prstGeom>
          <a:solidFill>
            <a:sysClr val="window" lastClr="FFFFFF"/>
          </a:solidFill>
          <a:ln>
            <a:noFill/>
          </a:ln>
        </p:spPr>
        <p:txBody>
          <a:bodyPr wrap="square">
            <a:spAutoFit/>
          </a:bodyPr>
          <a:lstStyle>
            <a:lvl1pPr marL="342900" indent="-342900" algn="l" defTabSz="457200" rtl="0" eaLnBrk="1" latinLnBrk="0" hangingPunct="1">
              <a:spcBef>
                <a:spcPct val="20000"/>
              </a:spcBef>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895306" rtl="0" eaLnBrk="1" fontAlgn="auto" latinLnBrk="0" hangingPunct="1">
              <a:lnSpc>
                <a:spcPts val="1400"/>
              </a:lnSpc>
              <a:spcBef>
                <a:spcPct val="20000"/>
              </a:spcBef>
              <a:spcAft>
                <a:spcPts val="0"/>
              </a:spcAft>
              <a:buClr>
                <a:srgbClr val="C90026"/>
              </a:buClr>
              <a:buSzTx/>
              <a:buFont typeface="Arial"/>
              <a:buNone/>
              <a:tabLst/>
              <a:defRPr/>
            </a:pPr>
            <a:r>
              <a:rPr kumimoji="0" lang="en-US" sz="1100" b="1" i="0" u="none" strike="noStrike" kern="1200" cap="none" spc="0" normalizeH="0" baseline="0" noProof="0">
                <a:ln>
                  <a:noFill/>
                </a:ln>
                <a:solidFill>
                  <a:srgbClr val="005392"/>
                </a:solidFill>
                <a:effectLst/>
                <a:uLnTx/>
                <a:uFillTx/>
                <a:latin typeface="Arial"/>
                <a:ea typeface="+mn-ea"/>
                <a:cs typeface="+mn-cs"/>
              </a:rPr>
              <a:t>Archipelagos-ONE4A</a:t>
            </a:r>
            <a:endParaRPr kumimoji="0" lang="en-US" sz="1100" b="0" i="0" u="none" strike="noStrike" kern="1200" cap="none" spc="0" normalizeH="0" baseline="0" noProof="0">
              <a:ln>
                <a:noFill/>
              </a:ln>
              <a:solidFill>
                <a:srgbClr val="005392"/>
              </a:solidFill>
              <a:effectLst/>
              <a:uLnTx/>
              <a:uFillTx/>
              <a:latin typeface="Arial"/>
              <a:ea typeface="+mn-ea"/>
              <a:cs typeface="+mn-cs"/>
            </a:endParaRPr>
          </a:p>
        </p:txBody>
      </p:sp>
      <p:sp>
        <p:nvSpPr>
          <p:cNvPr id="106" name="Segnaposto testo 6">
            <a:extLst>
              <a:ext uri="{FF2B5EF4-FFF2-40B4-BE49-F238E27FC236}">
                <a16:creationId xmlns:a16="http://schemas.microsoft.com/office/drawing/2014/main" id="{A990B001-2EE8-405D-AA73-9EB63BAE8883}"/>
              </a:ext>
            </a:extLst>
          </p:cNvPr>
          <p:cNvSpPr txBox="1">
            <a:spLocks/>
          </p:cNvSpPr>
          <p:nvPr/>
        </p:nvSpPr>
        <p:spPr>
          <a:xfrm>
            <a:off x="2088000" y="2150297"/>
            <a:ext cx="914450" cy="259110"/>
          </a:xfrm>
          <a:prstGeom prst="rect">
            <a:avLst/>
          </a:prstGeom>
          <a:solidFill>
            <a:sysClr val="window" lastClr="FFFFFF"/>
          </a:solidFill>
          <a:ln>
            <a:noFill/>
          </a:ln>
        </p:spPr>
        <p:txBody>
          <a:bodyPr wrap="square">
            <a:spAutoFit/>
          </a:bodyPr>
          <a:lstStyle>
            <a:lvl1pPr marL="342900" indent="-342900" algn="l" defTabSz="457200" rtl="0" eaLnBrk="1" latinLnBrk="0" hangingPunct="1">
              <a:spcBef>
                <a:spcPct val="20000"/>
              </a:spcBef>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895306" rtl="0" eaLnBrk="1" fontAlgn="auto" latinLnBrk="0" hangingPunct="1">
              <a:lnSpc>
                <a:spcPts val="1400"/>
              </a:lnSpc>
              <a:spcBef>
                <a:spcPct val="20000"/>
              </a:spcBef>
              <a:spcAft>
                <a:spcPts val="0"/>
              </a:spcAft>
              <a:buClr>
                <a:srgbClr val="C90026"/>
              </a:buClr>
              <a:buSzTx/>
              <a:buFont typeface="Arial"/>
              <a:buNone/>
              <a:tabLst/>
              <a:defRPr/>
            </a:pPr>
            <a:r>
              <a:rPr kumimoji="0" lang="en-US" sz="1100" b="1" i="0" u="none" strike="noStrike" kern="1200" cap="none" spc="0" normalizeH="0" baseline="0" noProof="0" dirty="0" err="1">
                <a:ln>
                  <a:noFill/>
                </a:ln>
                <a:solidFill>
                  <a:srgbClr val="005392"/>
                </a:solidFill>
                <a:effectLst/>
                <a:uLnTx/>
                <a:uFillTx/>
                <a:latin typeface="Arial"/>
                <a:ea typeface="+mn-ea"/>
                <a:cs typeface="+mn-cs"/>
              </a:rPr>
              <a:t>InclusiFI</a:t>
            </a:r>
            <a:endParaRPr kumimoji="0" lang="en-US" sz="1100" b="0" i="0" u="none" strike="noStrike" kern="1200" cap="none" spc="0" normalizeH="0" baseline="0" noProof="0" dirty="0">
              <a:ln>
                <a:noFill/>
              </a:ln>
              <a:solidFill>
                <a:srgbClr val="005392"/>
              </a:solidFill>
              <a:effectLst/>
              <a:uLnTx/>
              <a:uFillTx/>
              <a:latin typeface="Arial"/>
              <a:ea typeface="+mn-ea"/>
              <a:cs typeface="+mn-cs"/>
            </a:endParaRPr>
          </a:p>
        </p:txBody>
      </p:sp>
      <p:sp>
        <p:nvSpPr>
          <p:cNvPr id="107" name="Rettangolo 106">
            <a:extLst>
              <a:ext uri="{FF2B5EF4-FFF2-40B4-BE49-F238E27FC236}">
                <a16:creationId xmlns:a16="http://schemas.microsoft.com/office/drawing/2014/main" id="{06F2EB05-D749-4E0E-BF4B-640574331E70}"/>
              </a:ext>
            </a:extLst>
          </p:cNvPr>
          <p:cNvSpPr/>
          <p:nvPr/>
        </p:nvSpPr>
        <p:spPr>
          <a:xfrm>
            <a:off x="2176031" y="2381688"/>
            <a:ext cx="4233508" cy="246221"/>
          </a:xfrm>
          <a:prstGeom prst="rect">
            <a:avLst/>
          </a:prstGeom>
          <a:noFill/>
        </p:spPr>
        <p:txBody>
          <a:bodyPr wrap="square">
            <a:spAutoFit/>
          </a:bodyPr>
          <a:lstStyle/>
          <a:p>
            <a:pPr lvl="0" defTabSz="457200">
              <a:buClr>
                <a:srgbClr val="C00000"/>
              </a:buClr>
              <a:defRPr/>
            </a:pPr>
            <a:r>
              <a:rPr lang="it-IT" sz="1000" spc="-4" dirty="0">
                <a:solidFill>
                  <a:srgbClr val="415364"/>
                </a:solidFill>
                <a:cs typeface="Arial"/>
              </a:rPr>
              <a:t>Inclusione Finanziaria guidata dalla diaspora</a:t>
            </a:r>
          </a:p>
        </p:txBody>
      </p:sp>
      <p:sp>
        <p:nvSpPr>
          <p:cNvPr id="110" name="object 31">
            <a:extLst>
              <a:ext uri="{FF2B5EF4-FFF2-40B4-BE49-F238E27FC236}">
                <a16:creationId xmlns:a16="http://schemas.microsoft.com/office/drawing/2014/main" id="{6928E21D-6F8C-4FB7-8380-0525FA91B636}"/>
              </a:ext>
            </a:extLst>
          </p:cNvPr>
          <p:cNvSpPr/>
          <p:nvPr/>
        </p:nvSpPr>
        <p:spPr>
          <a:xfrm>
            <a:off x="6246104" y="2070557"/>
            <a:ext cx="564216" cy="295553"/>
          </a:xfrm>
          <a:prstGeom prst="rect">
            <a:avLst/>
          </a:prstGeom>
          <a:blipFill>
            <a:blip r:embed="rId9" cstate="print"/>
            <a:stretch>
              <a:fillRect/>
            </a:stretch>
          </a:blip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srgbClr val="001547"/>
              </a:solidFill>
              <a:effectLst/>
              <a:uLnTx/>
              <a:uFillTx/>
              <a:latin typeface="Calibri"/>
              <a:ea typeface="+mn-ea"/>
              <a:cs typeface="+mn-cs"/>
            </a:endParaRPr>
          </a:p>
        </p:txBody>
      </p:sp>
      <p:pic>
        <p:nvPicPr>
          <p:cNvPr id="111" name="Picture 11" descr="ADB logo double (300 dpi).jpg">
            <a:extLst>
              <a:ext uri="{FF2B5EF4-FFF2-40B4-BE49-F238E27FC236}">
                <a16:creationId xmlns:a16="http://schemas.microsoft.com/office/drawing/2014/main" id="{FEC9C91D-C2E1-44BE-B31A-8880A8F71895}"/>
              </a:ext>
            </a:extLst>
          </p:cNvPr>
          <p:cNvPicPr/>
          <p:nvPr/>
        </p:nvPicPr>
        <p:blipFill>
          <a:blip r:embed="rId10" cstate="print"/>
          <a:stretch>
            <a:fillRect/>
          </a:stretch>
        </p:blipFill>
        <p:spPr>
          <a:xfrm>
            <a:off x="6286192" y="3199220"/>
            <a:ext cx="614778" cy="287346"/>
          </a:xfrm>
          <a:prstGeom prst="rect">
            <a:avLst/>
          </a:prstGeom>
        </p:spPr>
      </p:pic>
      <p:sp>
        <p:nvSpPr>
          <p:cNvPr id="114" name="Rettangolo 113">
            <a:extLst>
              <a:ext uri="{FF2B5EF4-FFF2-40B4-BE49-F238E27FC236}">
                <a16:creationId xmlns:a16="http://schemas.microsoft.com/office/drawing/2014/main" id="{74BB21ED-1E9B-4683-B20F-0FB3B9D2E480}"/>
              </a:ext>
            </a:extLst>
          </p:cNvPr>
          <p:cNvSpPr/>
          <p:nvPr/>
        </p:nvSpPr>
        <p:spPr>
          <a:xfrm>
            <a:off x="2132604" y="3266613"/>
            <a:ext cx="4161374" cy="246221"/>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
                <a:srgbClr val="C00000"/>
              </a:buClr>
              <a:buSzTx/>
              <a:buFontTx/>
              <a:buNone/>
              <a:tabLst/>
              <a:defRPr/>
            </a:pPr>
            <a:r>
              <a:rPr kumimoji="0" lang="it-IT" sz="1000" b="0" i="0" u="none" strike="noStrike" kern="1200" cap="none" spc="-4" normalizeH="0" baseline="0" noProof="0" dirty="0">
                <a:ln>
                  <a:noFill/>
                </a:ln>
                <a:solidFill>
                  <a:srgbClr val="415364"/>
                </a:solidFill>
                <a:effectLst/>
                <a:uLnTx/>
                <a:uFillTx/>
                <a:latin typeface="Arial" panose="020B0604020202020204"/>
                <a:ea typeface="+mn-ea"/>
                <a:cs typeface="Arial"/>
              </a:rPr>
              <a:t>Sviluppo e crescita</a:t>
            </a:r>
          </a:p>
        </p:txBody>
      </p:sp>
      <p:pic>
        <p:nvPicPr>
          <p:cNvPr id="119" name="Picture 2" descr="Risultati immagini per cofides logo">
            <a:extLst>
              <a:ext uri="{FF2B5EF4-FFF2-40B4-BE49-F238E27FC236}">
                <a16:creationId xmlns:a16="http://schemas.microsoft.com/office/drawing/2014/main" id="{58C940FB-9D3C-4DC3-9128-1AB74E461D1F}"/>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195435" y="2375739"/>
            <a:ext cx="728938" cy="222406"/>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4" descr="Risultati immagini per ifad logo">
            <a:extLst>
              <a:ext uri="{FF2B5EF4-FFF2-40B4-BE49-F238E27FC236}">
                <a16:creationId xmlns:a16="http://schemas.microsoft.com/office/drawing/2014/main" id="{25C9429F-E3D2-40BC-9BA6-8A0EA41AB69F}"/>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378539" y="2595408"/>
            <a:ext cx="363566" cy="266615"/>
          </a:xfrm>
          <a:prstGeom prst="rect">
            <a:avLst/>
          </a:prstGeom>
          <a:noFill/>
          <a:extLst>
            <a:ext uri="{909E8E84-426E-40DD-AFC4-6F175D3DCCD1}">
              <a14:hiddenFill xmlns:a14="http://schemas.microsoft.com/office/drawing/2010/main">
                <a:solidFill>
                  <a:srgbClr val="FFFFFF"/>
                </a:solidFill>
              </a14:hiddenFill>
            </a:ext>
          </a:extLst>
        </p:spPr>
      </p:pic>
      <p:sp>
        <p:nvSpPr>
          <p:cNvPr id="126" name="Ovale 125">
            <a:extLst>
              <a:ext uri="{FF2B5EF4-FFF2-40B4-BE49-F238E27FC236}">
                <a16:creationId xmlns:a16="http://schemas.microsoft.com/office/drawing/2014/main" id="{874C142F-93C1-44EF-9D0F-48E40654AB30}"/>
              </a:ext>
            </a:extLst>
          </p:cNvPr>
          <p:cNvSpPr/>
          <p:nvPr/>
        </p:nvSpPr>
        <p:spPr>
          <a:xfrm>
            <a:off x="1446232" y="2087685"/>
            <a:ext cx="684000" cy="684000"/>
          </a:xfrm>
          <a:prstGeom prst="ellipse">
            <a:avLst/>
          </a:prstGeom>
          <a:solidFill>
            <a:sysClr val="window" lastClr="FFFFFF"/>
          </a:solidFill>
          <a:ln w="9525" cap="flat" cmpd="sng" algn="ctr">
            <a:solidFill>
              <a:schemeClr val="accent2"/>
            </a:solidFill>
            <a:prstDash val="solid"/>
          </a:ln>
          <a:effectLst>
            <a:outerShdw blurRad="50800" dist="76200" dir="8100000" algn="tr" rotWithShape="0">
              <a:prstClr val="black">
                <a:alpha val="40000"/>
              </a:prstClr>
            </a:outerShdw>
          </a:effectLst>
        </p:spPr>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200" b="1" i="0" u="none" strike="noStrike" kern="0" cap="none" spc="0" normalizeH="0" baseline="0" noProof="0">
              <a:ln>
                <a:noFill/>
              </a:ln>
              <a:solidFill>
                <a:prstClr val="white"/>
              </a:solidFill>
              <a:effectLst/>
              <a:uLnTx/>
              <a:uFillTx/>
              <a:latin typeface="Arial"/>
              <a:ea typeface="+mn-ea"/>
              <a:cs typeface="+mn-cs"/>
            </a:endParaRPr>
          </a:p>
        </p:txBody>
      </p:sp>
      <p:sp>
        <p:nvSpPr>
          <p:cNvPr id="127" name="Ovale 126">
            <a:extLst>
              <a:ext uri="{FF2B5EF4-FFF2-40B4-BE49-F238E27FC236}">
                <a16:creationId xmlns:a16="http://schemas.microsoft.com/office/drawing/2014/main" id="{15483039-218D-4239-B663-59BE6E6198E5}"/>
              </a:ext>
            </a:extLst>
          </p:cNvPr>
          <p:cNvSpPr/>
          <p:nvPr/>
        </p:nvSpPr>
        <p:spPr>
          <a:xfrm>
            <a:off x="1437346" y="2952543"/>
            <a:ext cx="684000" cy="684000"/>
          </a:xfrm>
          <a:prstGeom prst="ellipse">
            <a:avLst/>
          </a:prstGeom>
          <a:solidFill>
            <a:sysClr val="window" lastClr="FFFFFF"/>
          </a:solidFill>
          <a:ln w="9525" cap="flat" cmpd="sng" algn="ctr">
            <a:solidFill>
              <a:schemeClr val="accent2"/>
            </a:solidFill>
            <a:prstDash val="solid"/>
          </a:ln>
          <a:effectLst>
            <a:outerShdw blurRad="50800" dist="76200" dir="8100000" algn="tr" rotWithShape="0">
              <a:prstClr val="black">
                <a:alpha val="40000"/>
              </a:prstClr>
            </a:outerShdw>
          </a:effectLst>
        </p:spPr>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a:ln>
                <a:noFill/>
              </a:ln>
              <a:solidFill>
                <a:prstClr val="white"/>
              </a:solidFill>
              <a:effectLst/>
              <a:uLnTx/>
              <a:uFillTx/>
              <a:latin typeface="Arial"/>
              <a:ea typeface="+mn-ea"/>
              <a:cs typeface="+mn-cs"/>
            </a:endParaRPr>
          </a:p>
        </p:txBody>
      </p:sp>
      <p:pic>
        <p:nvPicPr>
          <p:cNvPr id="131" name="Immagine 130">
            <a:extLst>
              <a:ext uri="{FF2B5EF4-FFF2-40B4-BE49-F238E27FC236}">
                <a16:creationId xmlns:a16="http://schemas.microsoft.com/office/drawing/2014/main" id="{BB73CAF5-5241-438E-95F8-DAEC4F618C45}"/>
              </a:ext>
            </a:extLst>
          </p:cNvPr>
          <p:cNvPicPr>
            <a:picLocks noChangeAspect="1"/>
          </p:cNvPicPr>
          <p:nvPr/>
        </p:nvPicPr>
        <p:blipFill>
          <a:blip r:embed="rId13"/>
          <a:stretch>
            <a:fillRect/>
          </a:stretch>
        </p:blipFill>
        <p:spPr>
          <a:xfrm>
            <a:off x="1570745" y="2181802"/>
            <a:ext cx="419629" cy="522839"/>
          </a:xfrm>
          <a:prstGeom prst="rect">
            <a:avLst/>
          </a:prstGeom>
        </p:spPr>
      </p:pic>
      <p:pic>
        <p:nvPicPr>
          <p:cNvPr id="132" name="Immagine 131">
            <a:extLst>
              <a:ext uri="{FF2B5EF4-FFF2-40B4-BE49-F238E27FC236}">
                <a16:creationId xmlns:a16="http://schemas.microsoft.com/office/drawing/2014/main" id="{D0459F36-1957-46A2-9ABA-71DBC01E5802}"/>
              </a:ext>
            </a:extLst>
          </p:cNvPr>
          <p:cNvPicPr>
            <a:picLocks noChangeAspect="1"/>
          </p:cNvPicPr>
          <p:nvPr/>
        </p:nvPicPr>
        <p:blipFill>
          <a:blip r:embed="rId13"/>
          <a:stretch>
            <a:fillRect/>
          </a:stretch>
        </p:blipFill>
        <p:spPr>
          <a:xfrm>
            <a:off x="1569625" y="3055239"/>
            <a:ext cx="419629" cy="522839"/>
          </a:xfrm>
          <a:prstGeom prst="rect">
            <a:avLst/>
          </a:prstGeom>
        </p:spPr>
      </p:pic>
      <p:grpSp>
        <p:nvGrpSpPr>
          <p:cNvPr id="4" name="Gruppo 3"/>
          <p:cNvGrpSpPr/>
          <p:nvPr/>
        </p:nvGrpSpPr>
        <p:grpSpPr>
          <a:xfrm>
            <a:off x="7129610" y="2612429"/>
            <a:ext cx="1167002" cy="549802"/>
            <a:chOff x="7772462" y="1456820"/>
            <a:chExt cx="1167002" cy="549802"/>
          </a:xfrm>
        </p:grpSpPr>
        <p:sp>
          <p:nvSpPr>
            <p:cNvPr id="60" name="object 48"/>
            <p:cNvSpPr/>
            <p:nvPr/>
          </p:nvSpPr>
          <p:spPr>
            <a:xfrm>
              <a:off x="7783892" y="1456820"/>
              <a:ext cx="1114425" cy="534943"/>
            </a:xfrm>
            <a:prstGeom prst="rect">
              <a:avLst/>
            </a:prstGeom>
            <a:blipFill>
              <a:blip r:embed="rId14"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1548"/>
                </a:solidFill>
                <a:effectLst/>
                <a:uLnTx/>
                <a:uFillTx/>
                <a:latin typeface="Arial" panose="020B0604020202020204"/>
                <a:ea typeface="+mn-ea"/>
                <a:cs typeface="+mn-cs"/>
              </a:endParaRPr>
            </a:p>
          </p:txBody>
        </p:sp>
        <p:sp>
          <p:nvSpPr>
            <p:cNvPr id="61" name="object 49"/>
            <p:cNvSpPr/>
            <p:nvPr/>
          </p:nvSpPr>
          <p:spPr>
            <a:xfrm>
              <a:off x="7772462" y="1471679"/>
              <a:ext cx="1167002" cy="534943"/>
            </a:xfrm>
            <a:prstGeom prst="rect">
              <a:avLst/>
            </a:prstGeom>
            <a:blipFill>
              <a:blip r:embed="rId15"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1548"/>
                </a:solidFill>
                <a:effectLst/>
                <a:uLnTx/>
                <a:uFillTx/>
                <a:latin typeface="Arial" panose="020B0604020202020204"/>
                <a:ea typeface="+mn-ea"/>
                <a:cs typeface="+mn-cs"/>
              </a:endParaRPr>
            </a:p>
          </p:txBody>
        </p:sp>
        <p:sp>
          <p:nvSpPr>
            <p:cNvPr id="62" name="object 50"/>
            <p:cNvSpPr/>
            <p:nvPr/>
          </p:nvSpPr>
          <p:spPr>
            <a:xfrm>
              <a:off x="7787321" y="1460267"/>
              <a:ext cx="1031081" cy="451485"/>
            </a:xfrm>
            <a:custGeom>
              <a:avLst/>
              <a:gdLst/>
              <a:ahLst/>
              <a:cxnLst/>
              <a:rect l="l" t="t" r="r" b="b"/>
              <a:pathLst>
                <a:path w="1374775" h="601979">
                  <a:moveTo>
                    <a:pt x="0" y="601979"/>
                  </a:moveTo>
                  <a:lnTo>
                    <a:pt x="1374648" y="601979"/>
                  </a:lnTo>
                  <a:lnTo>
                    <a:pt x="1374648" y="0"/>
                  </a:lnTo>
                  <a:lnTo>
                    <a:pt x="0" y="0"/>
                  </a:lnTo>
                  <a:lnTo>
                    <a:pt x="0" y="601979"/>
                  </a:lnTo>
                  <a:close/>
                </a:path>
              </a:pathLst>
            </a:custGeom>
            <a:solidFill>
              <a:schemeClr val="bg2"/>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1548"/>
                </a:solidFill>
                <a:effectLst/>
                <a:uLnTx/>
                <a:uFillTx/>
                <a:latin typeface="Arial" panose="020B0604020202020204"/>
                <a:ea typeface="+mn-ea"/>
                <a:cs typeface="+mn-cs"/>
              </a:endParaRPr>
            </a:p>
          </p:txBody>
        </p:sp>
        <p:sp>
          <p:nvSpPr>
            <p:cNvPr id="63" name="object 51"/>
            <p:cNvSpPr/>
            <p:nvPr/>
          </p:nvSpPr>
          <p:spPr>
            <a:xfrm>
              <a:off x="7787321" y="1460267"/>
              <a:ext cx="1031081" cy="451485"/>
            </a:xfrm>
            <a:custGeom>
              <a:avLst/>
              <a:gdLst/>
              <a:ahLst/>
              <a:cxnLst/>
              <a:rect l="l" t="t" r="r" b="b"/>
              <a:pathLst>
                <a:path w="1374775" h="601979">
                  <a:moveTo>
                    <a:pt x="0" y="601979"/>
                  </a:moveTo>
                  <a:lnTo>
                    <a:pt x="1374648" y="601979"/>
                  </a:lnTo>
                  <a:lnTo>
                    <a:pt x="1374648" y="0"/>
                  </a:lnTo>
                  <a:lnTo>
                    <a:pt x="0" y="0"/>
                  </a:lnTo>
                  <a:lnTo>
                    <a:pt x="0" y="601979"/>
                  </a:lnTo>
                  <a:close/>
                </a:path>
              </a:pathLst>
            </a:custGeom>
            <a:ln w="9143">
              <a:solidFill>
                <a:srgbClr val="D9D9D9"/>
              </a:solidFill>
              <a:prstDash val="sysDot"/>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1548"/>
                </a:solidFill>
                <a:effectLst/>
                <a:uLnTx/>
                <a:uFillTx/>
                <a:latin typeface="Arial" panose="020B0604020202020204"/>
                <a:ea typeface="+mn-ea"/>
                <a:cs typeface="+mn-cs"/>
              </a:endParaRPr>
            </a:p>
          </p:txBody>
        </p:sp>
        <p:sp>
          <p:nvSpPr>
            <p:cNvPr id="64" name="object 52"/>
            <p:cNvSpPr txBox="1"/>
            <p:nvPr/>
          </p:nvSpPr>
          <p:spPr>
            <a:xfrm>
              <a:off x="7787328" y="1552581"/>
              <a:ext cx="1031081" cy="269337"/>
            </a:xfrm>
            <a:prstGeom prst="rect">
              <a:avLst/>
            </a:prstGeom>
          </p:spPr>
          <p:txBody>
            <a:bodyPr vert="horz" wrap="square" lIns="0" tIns="9049" rIns="0" bIns="0" rtlCol="0">
              <a:spAutoFit/>
            </a:bodyPr>
            <a:lstStyle/>
            <a:p>
              <a:pPr marL="9525" marR="3810" lvl="0" indent="-3334" algn="ctr" defTabSz="457200" rtl="0" eaLnBrk="1" fontAlgn="auto" latinLnBrk="0" hangingPunct="1">
                <a:lnSpc>
                  <a:spcPct val="101899"/>
                </a:lnSpc>
                <a:spcBef>
                  <a:spcPts val="71"/>
                </a:spcBef>
                <a:spcAft>
                  <a:spcPts val="0"/>
                </a:spcAft>
                <a:buClrTx/>
                <a:buSzTx/>
                <a:buFontTx/>
                <a:buNone/>
                <a:tabLst/>
                <a:defRPr/>
              </a:pPr>
              <a:r>
                <a:rPr kumimoji="0" lang="en-US" sz="788" b="1" i="0" u="none" strike="noStrike" kern="1200" cap="none" spc="4" normalizeH="0" baseline="0" noProof="0" dirty="0">
                  <a:ln>
                    <a:noFill/>
                  </a:ln>
                  <a:solidFill>
                    <a:prstClr val="white"/>
                  </a:solidFill>
                  <a:effectLst/>
                  <a:uLnTx/>
                  <a:uFillTx/>
                  <a:latin typeface="Arial" panose="020B0604020202020204"/>
                  <a:ea typeface="+mn-ea"/>
                  <a:cs typeface="Arial"/>
                </a:rPr>
                <a:t>Finestra:</a:t>
              </a:r>
            </a:p>
            <a:p>
              <a:pPr marL="9525" marR="3810" lvl="0" indent="-3334" algn="ctr" defTabSz="457200" rtl="0" eaLnBrk="1" fontAlgn="auto" latinLnBrk="0" hangingPunct="1">
                <a:lnSpc>
                  <a:spcPct val="101899"/>
                </a:lnSpc>
                <a:spcBef>
                  <a:spcPts val="71"/>
                </a:spcBef>
                <a:spcAft>
                  <a:spcPts val="0"/>
                </a:spcAft>
                <a:buClrTx/>
                <a:buSzTx/>
                <a:buFontTx/>
                <a:buNone/>
                <a:tabLst/>
                <a:defRPr/>
              </a:pPr>
              <a:r>
                <a:rPr kumimoji="0" lang="en-US" sz="788" b="1" i="0" u="none" strike="noStrike" kern="1200" cap="none" spc="4" normalizeH="0" baseline="0" noProof="0" dirty="0">
                  <a:ln>
                    <a:noFill/>
                  </a:ln>
                  <a:solidFill>
                    <a:prstClr val="white"/>
                  </a:solidFill>
                  <a:effectLst/>
                  <a:uLnTx/>
                  <a:uFillTx/>
                  <a:latin typeface="Arial" panose="020B0604020202020204"/>
                  <a:ea typeface="+mn-ea"/>
                  <a:cs typeface="Arial"/>
                </a:rPr>
                <a:t>MPMIs</a:t>
              </a:r>
            </a:p>
          </p:txBody>
        </p:sp>
      </p:grpSp>
      <p:sp>
        <p:nvSpPr>
          <p:cNvPr id="85" name="Rettangolo 84">
            <a:extLst>
              <a:ext uri="{FF2B5EF4-FFF2-40B4-BE49-F238E27FC236}">
                <a16:creationId xmlns:a16="http://schemas.microsoft.com/office/drawing/2014/main" id="{57E58431-A2AD-479C-93C1-1BA1625C37BB}"/>
              </a:ext>
            </a:extLst>
          </p:cNvPr>
          <p:cNvSpPr/>
          <p:nvPr/>
        </p:nvSpPr>
        <p:spPr>
          <a:xfrm>
            <a:off x="1595575" y="4005458"/>
            <a:ext cx="5484957" cy="697491"/>
          </a:xfrm>
          <a:prstGeom prst="rect">
            <a:avLst/>
          </a:prstGeom>
          <a:solidFill>
            <a:sysClr val="window" lastClr="FFFFFF">
              <a:lumMod val="95000"/>
            </a:sysClr>
          </a:solidFill>
          <a:ln w="9525" cap="flat"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900" b="1" i="1" u="none" strike="noStrike" kern="0" cap="none" spc="0" normalizeH="0" baseline="0" noProof="0" dirty="0">
              <a:ln>
                <a:noFill/>
              </a:ln>
              <a:solidFill>
                <a:srgbClr val="001548"/>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900" b="1" i="1" u="none" strike="noStrike" kern="0" cap="none" spc="0" normalizeH="0" baseline="0" noProof="0" dirty="0">
              <a:ln>
                <a:noFill/>
              </a:ln>
              <a:solidFill>
                <a:srgbClr val="001548"/>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900" b="1" i="1" u="none" strike="noStrike" kern="0" cap="none" spc="0" normalizeH="0" baseline="0" noProof="0" dirty="0">
              <a:ln>
                <a:noFill/>
              </a:ln>
              <a:solidFill>
                <a:srgbClr val="001548"/>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900" b="1" i="1" u="none" strike="noStrike" kern="0" cap="none" spc="0" normalizeH="0" baseline="0" noProof="0" dirty="0">
              <a:ln>
                <a:noFill/>
              </a:ln>
              <a:solidFill>
                <a:srgbClr val="001548"/>
              </a:solidFill>
              <a:effectLst/>
              <a:uLnTx/>
              <a:uFillTx/>
              <a:latin typeface="Arial"/>
              <a:ea typeface="+mn-ea"/>
              <a:cs typeface="+mn-cs"/>
            </a:endParaRPr>
          </a:p>
          <a:p>
            <a:pPr marL="360363" lvl="0" defTabSz="457200">
              <a:defRPr/>
            </a:pPr>
            <a:r>
              <a:rPr lang="en-US" sz="800" b="1" i="1" kern="0" dirty="0" err="1">
                <a:solidFill>
                  <a:srgbClr val="415364"/>
                </a:solidFill>
              </a:rPr>
              <a:t>Iniziativa</a:t>
            </a:r>
            <a:r>
              <a:rPr lang="en-US" sz="800" b="1" i="1" kern="0" dirty="0">
                <a:solidFill>
                  <a:srgbClr val="415364"/>
                </a:solidFill>
              </a:rPr>
              <a:t> </a:t>
            </a:r>
            <a:r>
              <a:rPr lang="en-US" sz="800" b="1" i="1" kern="0" dirty="0" err="1">
                <a:solidFill>
                  <a:srgbClr val="415364"/>
                </a:solidFill>
              </a:rPr>
              <a:t>presentata</a:t>
            </a:r>
            <a:r>
              <a:rPr lang="en-US" sz="800" b="1" i="1" kern="0" dirty="0">
                <a:solidFill>
                  <a:srgbClr val="415364"/>
                </a:solidFill>
              </a:rPr>
              <a:t> </a:t>
            </a:r>
            <a:r>
              <a:rPr lang="en-US" sz="800" b="1" i="1" kern="0" dirty="0" err="1">
                <a:solidFill>
                  <a:srgbClr val="415364"/>
                </a:solidFill>
              </a:rPr>
              <a:t>congiuntamente</a:t>
            </a:r>
            <a:r>
              <a:rPr lang="en-US" sz="800" b="1" i="1" kern="0" dirty="0">
                <a:solidFill>
                  <a:srgbClr val="415364"/>
                </a:solidFill>
              </a:rPr>
              <a:t> da BEI e  BMGF. CDP ha </a:t>
            </a:r>
            <a:r>
              <a:rPr lang="en-US" sz="800" b="1" i="1" kern="0" dirty="0" err="1">
                <a:solidFill>
                  <a:srgbClr val="415364"/>
                </a:solidFill>
              </a:rPr>
              <a:t>maifestato</a:t>
            </a:r>
            <a:r>
              <a:rPr lang="en-US" sz="800" b="1" i="1" kern="0" dirty="0">
                <a:solidFill>
                  <a:srgbClr val="415364"/>
                </a:solidFill>
              </a:rPr>
              <a:t> interesse a </a:t>
            </a:r>
            <a:r>
              <a:rPr lang="en-US" sz="800" b="1" i="1" kern="0" dirty="0" err="1">
                <a:solidFill>
                  <a:srgbClr val="415364"/>
                </a:solidFill>
              </a:rPr>
              <a:t>partecipare</a:t>
            </a:r>
            <a:endParaRPr lang="en-US" sz="800" b="1" i="1" kern="0" dirty="0">
              <a:solidFill>
                <a:srgbClr val="415364"/>
              </a:solidFill>
            </a:endParaRPr>
          </a:p>
        </p:txBody>
      </p:sp>
      <p:sp>
        <p:nvSpPr>
          <p:cNvPr id="108" name="object 11">
            <a:extLst>
              <a:ext uri="{FF2B5EF4-FFF2-40B4-BE49-F238E27FC236}">
                <a16:creationId xmlns:a16="http://schemas.microsoft.com/office/drawing/2014/main" id="{936BC951-E1F5-46F5-A63F-9C091BE0618F}"/>
              </a:ext>
            </a:extLst>
          </p:cNvPr>
          <p:cNvSpPr/>
          <p:nvPr/>
        </p:nvSpPr>
        <p:spPr>
          <a:xfrm>
            <a:off x="1498601" y="4005141"/>
            <a:ext cx="5564898" cy="518853"/>
          </a:xfrm>
          <a:custGeom>
            <a:avLst/>
            <a:gdLst/>
            <a:ahLst/>
            <a:cxnLst/>
            <a:rect l="l" t="t" r="r" b="b"/>
            <a:pathLst>
              <a:path w="10187940" h="3841750">
                <a:moveTo>
                  <a:pt x="0" y="3841369"/>
                </a:moveTo>
                <a:lnTo>
                  <a:pt x="10187686" y="3841369"/>
                </a:lnTo>
                <a:lnTo>
                  <a:pt x="10187686" y="0"/>
                </a:lnTo>
                <a:lnTo>
                  <a:pt x="0" y="0"/>
                </a:lnTo>
                <a:lnTo>
                  <a:pt x="0" y="3841369"/>
                </a:lnTo>
                <a:close/>
              </a:path>
            </a:pathLst>
          </a:custGeom>
          <a:ln w="12700">
            <a:solidFill>
              <a:sysClr val="window" lastClr="FFFFFF">
                <a:lumMod val="50000"/>
              </a:sysClr>
            </a:solidFill>
            <a:prstDash val="sysDash"/>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solidFill>
                <a:srgbClr val="001548"/>
              </a:solidFill>
              <a:effectLst/>
              <a:uLnTx/>
              <a:uFillTx/>
              <a:latin typeface="Arial" panose="020B0604020202020204"/>
              <a:ea typeface="+mn-ea"/>
              <a:cs typeface="+mn-cs"/>
            </a:endParaRPr>
          </a:p>
        </p:txBody>
      </p:sp>
      <p:sp>
        <p:nvSpPr>
          <p:cNvPr id="109" name="Segnaposto testo 6">
            <a:extLst>
              <a:ext uri="{FF2B5EF4-FFF2-40B4-BE49-F238E27FC236}">
                <a16:creationId xmlns:a16="http://schemas.microsoft.com/office/drawing/2014/main" id="{7D754691-6B7F-407F-905D-9C93118942D0}"/>
              </a:ext>
            </a:extLst>
          </p:cNvPr>
          <p:cNvSpPr txBox="1">
            <a:spLocks/>
          </p:cNvSpPr>
          <p:nvPr/>
        </p:nvSpPr>
        <p:spPr>
          <a:xfrm>
            <a:off x="1969213" y="4072856"/>
            <a:ext cx="4646442" cy="453970"/>
          </a:xfrm>
          <a:prstGeom prst="rect">
            <a:avLst/>
          </a:prstGeom>
        </p:spPr>
        <p:txBody>
          <a:bodyPr wrap="square">
            <a:spAutoFit/>
          </a:bodyPr>
          <a:lstStyle>
            <a:lvl1pPr marL="342900" indent="-342900" algn="l" defTabSz="457200" rtl="0" eaLnBrk="1" latinLnBrk="0" hangingPunct="1">
              <a:spcBef>
                <a:spcPct val="20000"/>
              </a:spcBef>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just" defTabSz="457200" rtl="0" eaLnBrk="1" fontAlgn="auto" latinLnBrk="0" hangingPunct="1">
              <a:lnSpc>
                <a:spcPct val="100000"/>
              </a:lnSpc>
              <a:spcBef>
                <a:spcPts val="300"/>
              </a:spcBef>
              <a:spcAft>
                <a:spcPts val="0"/>
              </a:spcAft>
              <a:buClr>
                <a:srgbClr val="C00000"/>
              </a:buClr>
              <a:buSzTx/>
              <a:buFont typeface="Arial"/>
              <a:buNone/>
              <a:tabLst/>
              <a:defRPr/>
            </a:pPr>
            <a:r>
              <a:rPr kumimoji="0" lang="en-US" sz="1100" b="1" i="0" u="none" strike="noStrike" kern="1200" cap="none" spc="0" normalizeH="0" baseline="0" noProof="0" dirty="0">
                <a:ln>
                  <a:noFill/>
                </a:ln>
                <a:solidFill>
                  <a:srgbClr val="005392"/>
                </a:solidFill>
                <a:effectLst/>
                <a:uLnTx/>
                <a:uFillTx/>
                <a:latin typeface="Arial"/>
                <a:ea typeface="+mn-ea"/>
                <a:cs typeface="+mn-cs"/>
              </a:rPr>
              <a:t>European Health Guarantee Platform for Africa </a:t>
            </a:r>
          </a:p>
          <a:p>
            <a:pPr marL="0" lvl="0" indent="0" algn="just">
              <a:spcBef>
                <a:spcPts val="300"/>
              </a:spcBef>
              <a:buClr>
                <a:srgbClr val="C00000"/>
              </a:buClr>
              <a:buNone/>
              <a:defRPr/>
            </a:pPr>
            <a:r>
              <a:rPr lang="en-US" sz="1000" spc="-4" dirty="0" err="1">
                <a:solidFill>
                  <a:srgbClr val="415364"/>
                </a:solidFill>
                <a:cs typeface="Arial"/>
              </a:rPr>
              <a:t>Sistemi</a:t>
            </a:r>
            <a:r>
              <a:rPr lang="en-US" sz="1000" spc="-4" dirty="0">
                <a:solidFill>
                  <a:srgbClr val="415364"/>
                </a:solidFill>
                <a:cs typeface="Arial"/>
              </a:rPr>
              <a:t> </a:t>
            </a:r>
            <a:r>
              <a:rPr lang="en-US" sz="1000" spc="-4" dirty="0" err="1">
                <a:solidFill>
                  <a:srgbClr val="415364"/>
                </a:solidFill>
                <a:cs typeface="Arial"/>
              </a:rPr>
              <a:t>diagnostici</a:t>
            </a:r>
            <a:r>
              <a:rPr lang="en-US" sz="1000" spc="-4" dirty="0">
                <a:solidFill>
                  <a:srgbClr val="415364"/>
                </a:solidFill>
                <a:cs typeface="Arial"/>
              </a:rPr>
              <a:t> </a:t>
            </a:r>
            <a:r>
              <a:rPr lang="en-US" sz="1000" spc="-4" dirty="0" err="1">
                <a:solidFill>
                  <a:srgbClr val="415364"/>
                </a:solidFill>
                <a:cs typeface="Arial"/>
              </a:rPr>
              <a:t>dedicati</a:t>
            </a:r>
            <a:r>
              <a:rPr lang="en-US" sz="1000" spc="-4" dirty="0">
                <a:solidFill>
                  <a:srgbClr val="415364"/>
                </a:solidFill>
                <a:cs typeface="Arial"/>
              </a:rPr>
              <a:t> </a:t>
            </a:r>
            <a:r>
              <a:rPr lang="en-US" sz="1000" spc="-4" dirty="0" err="1">
                <a:solidFill>
                  <a:srgbClr val="415364"/>
                </a:solidFill>
                <a:cs typeface="Arial"/>
              </a:rPr>
              <a:t>alla</a:t>
            </a:r>
            <a:r>
              <a:rPr lang="en-US" sz="1000" spc="-4" dirty="0">
                <a:solidFill>
                  <a:srgbClr val="415364"/>
                </a:solidFill>
                <a:cs typeface="Arial"/>
              </a:rPr>
              <a:t> </a:t>
            </a:r>
            <a:r>
              <a:rPr lang="en-US" sz="1000" spc="-4" dirty="0" err="1">
                <a:solidFill>
                  <a:srgbClr val="415364"/>
                </a:solidFill>
                <a:cs typeface="Arial"/>
              </a:rPr>
              <a:t>popolazione</a:t>
            </a:r>
            <a:r>
              <a:rPr lang="en-US" sz="1000" spc="-4" dirty="0">
                <a:solidFill>
                  <a:srgbClr val="415364"/>
                </a:solidFill>
                <a:cs typeface="Arial"/>
              </a:rPr>
              <a:t> a basso-medio </a:t>
            </a:r>
            <a:r>
              <a:rPr lang="en-US" sz="1000" spc="-4" dirty="0" err="1">
                <a:solidFill>
                  <a:srgbClr val="415364"/>
                </a:solidFill>
                <a:cs typeface="Arial"/>
              </a:rPr>
              <a:t>reddito</a:t>
            </a:r>
            <a:endParaRPr lang="en-US" sz="1000" spc="-4" dirty="0">
              <a:solidFill>
                <a:srgbClr val="415364"/>
              </a:solidFill>
              <a:cs typeface="Arial"/>
            </a:endParaRPr>
          </a:p>
        </p:txBody>
      </p:sp>
      <p:sp>
        <p:nvSpPr>
          <p:cNvPr id="129" name="Ovale 128">
            <a:extLst>
              <a:ext uri="{FF2B5EF4-FFF2-40B4-BE49-F238E27FC236}">
                <a16:creationId xmlns:a16="http://schemas.microsoft.com/office/drawing/2014/main" id="{22300653-9908-4ADC-88C3-020589D06F74}"/>
              </a:ext>
            </a:extLst>
          </p:cNvPr>
          <p:cNvSpPr/>
          <p:nvPr/>
        </p:nvSpPr>
        <p:spPr>
          <a:xfrm>
            <a:off x="1147289" y="3928368"/>
            <a:ext cx="684000" cy="684000"/>
          </a:xfrm>
          <a:prstGeom prst="ellipse">
            <a:avLst/>
          </a:prstGeom>
          <a:solidFill>
            <a:sysClr val="window" lastClr="FFFFFF"/>
          </a:solidFill>
          <a:ln w="9525" cap="flat" cmpd="sng" algn="ctr">
            <a:solidFill>
              <a:schemeClr val="accent2"/>
            </a:solidFill>
            <a:prstDash val="dash"/>
          </a:ln>
          <a:effectLst>
            <a:outerShdw blurRad="50800" dist="76200" dir="8100000" algn="tr" rotWithShape="0">
              <a:prstClr val="black">
                <a:alpha val="40000"/>
              </a:prstClr>
            </a:outerShdw>
          </a:effectLst>
        </p:spPr>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200" b="0" i="1" u="none" strike="noStrike" kern="0" cap="none" spc="0" normalizeH="0" baseline="0" noProof="0">
              <a:ln>
                <a:noFill/>
              </a:ln>
              <a:solidFill>
                <a:prstClr val="white"/>
              </a:solidFill>
              <a:effectLst/>
              <a:uLnTx/>
              <a:uFillTx/>
              <a:latin typeface="Arial"/>
              <a:ea typeface="+mn-ea"/>
              <a:cs typeface="+mn-cs"/>
            </a:endParaRPr>
          </a:p>
        </p:txBody>
      </p:sp>
      <p:pic>
        <p:nvPicPr>
          <p:cNvPr id="133" name="Immagine 132">
            <a:extLst>
              <a:ext uri="{FF2B5EF4-FFF2-40B4-BE49-F238E27FC236}">
                <a16:creationId xmlns:a16="http://schemas.microsoft.com/office/drawing/2014/main" id="{B016F0CC-5A6C-4D53-A43F-6664A9EC0797}"/>
              </a:ext>
            </a:extLst>
          </p:cNvPr>
          <p:cNvPicPr>
            <a:picLocks noChangeAspect="1"/>
          </p:cNvPicPr>
          <p:nvPr/>
        </p:nvPicPr>
        <p:blipFill>
          <a:blip r:embed="rId16"/>
          <a:stretch>
            <a:fillRect/>
          </a:stretch>
        </p:blipFill>
        <p:spPr>
          <a:xfrm>
            <a:off x="1219518" y="4045479"/>
            <a:ext cx="539433" cy="514032"/>
          </a:xfrm>
          <a:prstGeom prst="rect">
            <a:avLst/>
          </a:prstGeom>
        </p:spPr>
      </p:pic>
      <p:grpSp>
        <p:nvGrpSpPr>
          <p:cNvPr id="6" name="Gruppo 5"/>
          <p:cNvGrpSpPr/>
          <p:nvPr/>
        </p:nvGrpSpPr>
        <p:grpSpPr>
          <a:xfrm>
            <a:off x="7129610" y="3989666"/>
            <a:ext cx="1167002" cy="549802"/>
            <a:chOff x="7817430" y="3989666"/>
            <a:chExt cx="1167002" cy="549802"/>
          </a:xfrm>
        </p:grpSpPr>
        <p:sp>
          <p:nvSpPr>
            <p:cNvPr id="65" name="object 48"/>
            <p:cNvSpPr/>
            <p:nvPr/>
          </p:nvSpPr>
          <p:spPr>
            <a:xfrm>
              <a:off x="7828860" y="3989666"/>
              <a:ext cx="1114425" cy="534943"/>
            </a:xfrm>
            <a:prstGeom prst="rect">
              <a:avLst/>
            </a:prstGeom>
            <a:blipFill>
              <a:blip r:embed="rId14"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1548"/>
                </a:solidFill>
                <a:effectLst/>
                <a:uLnTx/>
                <a:uFillTx/>
                <a:latin typeface="Arial" panose="020B0604020202020204"/>
                <a:ea typeface="+mn-ea"/>
                <a:cs typeface="+mn-cs"/>
              </a:endParaRPr>
            </a:p>
          </p:txBody>
        </p:sp>
        <p:sp>
          <p:nvSpPr>
            <p:cNvPr id="66" name="object 49"/>
            <p:cNvSpPr/>
            <p:nvPr/>
          </p:nvSpPr>
          <p:spPr>
            <a:xfrm>
              <a:off x="7817430" y="4004525"/>
              <a:ext cx="1167002" cy="534943"/>
            </a:xfrm>
            <a:prstGeom prst="rect">
              <a:avLst/>
            </a:prstGeom>
            <a:blipFill>
              <a:blip r:embed="rId15"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1548"/>
                </a:solidFill>
                <a:effectLst/>
                <a:uLnTx/>
                <a:uFillTx/>
                <a:latin typeface="Arial" panose="020B0604020202020204"/>
                <a:ea typeface="+mn-ea"/>
                <a:cs typeface="+mn-cs"/>
              </a:endParaRPr>
            </a:p>
          </p:txBody>
        </p:sp>
        <p:sp>
          <p:nvSpPr>
            <p:cNvPr id="67" name="object 50"/>
            <p:cNvSpPr/>
            <p:nvPr/>
          </p:nvSpPr>
          <p:spPr>
            <a:xfrm>
              <a:off x="7832289" y="3993113"/>
              <a:ext cx="1031081" cy="451485"/>
            </a:xfrm>
            <a:custGeom>
              <a:avLst/>
              <a:gdLst/>
              <a:ahLst/>
              <a:cxnLst/>
              <a:rect l="l" t="t" r="r" b="b"/>
              <a:pathLst>
                <a:path w="1374775" h="601979">
                  <a:moveTo>
                    <a:pt x="0" y="601979"/>
                  </a:moveTo>
                  <a:lnTo>
                    <a:pt x="1374648" y="601979"/>
                  </a:lnTo>
                  <a:lnTo>
                    <a:pt x="1374648" y="0"/>
                  </a:lnTo>
                  <a:lnTo>
                    <a:pt x="0" y="0"/>
                  </a:lnTo>
                  <a:lnTo>
                    <a:pt x="0" y="601979"/>
                  </a:lnTo>
                  <a:close/>
                </a:path>
              </a:pathLst>
            </a:custGeom>
            <a:solidFill>
              <a:schemeClr val="bg2"/>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1548"/>
                </a:solidFill>
                <a:effectLst/>
                <a:uLnTx/>
                <a:uFillTx/>
                <a:latin typeface="Arial" panose="020B0604020202020204"/>
                <a:ea typeface="+mn-ea"/>
                <a:cs typeface="+mn-cs"/>
              </a:endParaRPr>
            </a:p>
          </p:txBody>
        </p:sp>
        <p:sp>
          <p:nvSpPr>
            <p:cNvPr id="68" name="object 51"/>
            <p:cNvSpPr/>
            <p:nvPr/>
          </p:nvSpPr>
          <p:spPr>
            <a:xfrm>
              <a:off x="7832289" y="3993113"/>
              <a:ext cx="1031081" cy="451485"/>
            </a:xfrm>
            <a:custGeom>
              <a:avLst/>
              <a:gdLst/>
              <a:ahLst/>
              <a:cxnLst/>
              <a:rect l="l" t="t" r="r" b="b"/>
              <a:pathLst>
                <a:path w="1374775" h="601979">
                  <a:moveTo>
                    <a:pt x="0" y="601979"/>
                  </a:moveTo>
                  <a:lnTo>
                    <a:pt x="1374648" y="601979"/>
                  </a:lnTo>
                  <a:lnTo>
                    <a:pt x="1374648" y="0"/>
                  </a:lnTo>
                  <a:lnTo>
                    <a:pt x="0" y="0"/>
                  </a:lnTo>
                  <a:lnTo>
                    <a:pt x="0" y="601979"/>
                  </a:lnTo>
                  <a:close/>
                </a:path>
              </a:pathLst>
            </a:custGeom>
            <a:ln w="9143">
              <a:solidFill>
                <a:srgbClr val="D9D9D9"/>
              </a:solidFill>
              <a:prstDash val="sysDot"/>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1548"/>
                </a:solidFill>
                <a:effectLst/>
                <a:uLnTx/>
                <a:uFillTx/>
                <a:latin typeface="Arial" panose="020B0604020202020204"/>
                <a:ea typeface="+mn-ea"/>
                <a:cs typeface="+mn-cs"/>
              </a:endParaRPr>
            </a:p>
          </p:txBody>
        </p:sp>
        <p:sp>
          <p:nvSpPr>
            <p:cNvPr id="69" name="object 52"/>
            <p:cNvSpPr txBox="1"/>
            <p:nvPr/>
          </p:nvSpPr>
          <p:spPr>
            <a:xfrm>
              <a:off x="7839624" y="4023404"/>
              <a:ext cx="1031081" cy="385138"/>
            </a:xfrm>
            <a:prstGeom prst="rect">
              <a:avLst/>
            </a:prstGeom>
          </p:spPr>
          <p:txBody>
            <a:bodyPr vert="horz" wrap="square" lIns="0" tIns="9049" rIns="0" bIns="0" rtlCol="0">
              <a:spAutoFit/>
            </a:bodyPr>
            <a:lstStyle/>
            <a:p>
              <a:pPr marL="9525" marR="3810" lvl="0" indent="-3334" algn="ctr" defTabSz="457200">
                <a:lnSpc>
                  <a:spcPct val="101899"/>
                </a:lnSpc>
                <a:spcBef>
                  <a:spcPts val="71"/>
                </a:spcBef>
                <a:defRPr/>
              </a:pPr>
              <a:r>
                <a:rPr lang="en-US" sz="788" b="1" spc="4" dirty="0">
                  <a:solidFill>
                    <a:prstClr val="white"/>
                  </a:solidFill>
                  <a:cs typeface="Arial"/>
                </a:rPr>
                <a:t>Finestra </a:t>
              </a:r>
              <a:r>
                <a:rPr kumimoji="0" sz="788" b="1" i="0" u="none" strike="noStrike" kern="1200" cap="none" spc="0" normalizeH="0" baseline="0" noProof="0" dirty="0">
                  <a:ln>
                    <a:noFill/>
                  </a:ln>
                  <a:solidFill>
                    <a:prstClr val="white"/>
                  </a:solidFill>
                  <a:effectLst/>
                  <a:uLnTx/>
                  <a:uFillTx/>
                  <a:latin typeface="Arial" panose="020B0604020202020204"/>
                  <a:ea typeface="+mn-ea"/>
                  <a:cs typeface="Arial"/>
                </a:rPr>
                <a:t>:  </a:t>
              </a:r>
              <a:endParaRPr kumimoji="0" lang="it-IT" sz="788" b="1" i="0" u="none" strike="noStrike" kern="1200" cap="none" spc="0" normalizeH="0" baseline="0" noProof="0" dirty="0">
                <a:ln>
                  <a:noFill/>
                </a:ln>
                <a:solidFill>
                  <a:prstClr val="white"/>
                </a:solidFill>
                <a:effectLst/>
                <a:uLnTx/>
                <a:uFillTx/>
                <a:latin typeface="Arial" panose="020B0604020202020204"/>
                <a:ea typeface="+mn-ea"/>
                <a:cs typeface="Arial"/>
              </a:endParaRPr>
            </a:p>
            <a:p>
              <a:pPr marL="0" marR="3810" lvl="0" indent="0" algn="ctr" defTabSz="457200" rtl="0" eaLnBrk="1" fontAlgn="auto" latinLnBrk="0" hangingPunct="1">
                <a:lnSpc>
                  <a:spcPct val="101899"/>
                </a:lnSpc>
                <a:spcBef>
                  <a:spcPts val="71"/>
                </a:spcBef>
                <a:spcAft>
                  <a:spcPts val="0"/>
                </a:spcAft>
                <a:buClrTx/>
                <a:buSzTx/>
                <a:buFontTx/>
                <a:buNone/>
                <a:tabLst/>
                <a:defRPr/>
              </a:pPr>
              <a:r>
                <a:rPr kumimoji="0" lang="it-IT" sz="788" b="1" i="0" u="none" strike="noStrike" kern="1200" cap="none" spc="4" normalizeH="0" baseline="0" noProof="0" dirty="0">
                  <a:ln>
                    <a:noFill/>
                  </a:ln>
                  <a:solidFill>
                    <a:prstClr val="white"/>
                  </a:solidFill>
                  <a:effectLst/>
                  <a:uLnTx/>
                  <a:uFillTx/>
                  <a:latin typeface="Arial" panose="020B0604020202020204"/>
                  <a:ea typeface="+mn-ea"/>
                  <a:cs typeface="Arial"/>
                </a:rPr>
                <a:t>Digitale per lo Sviluppo</a:t>
              </a:r>
            </a:p>
          </p:txBody>
        </p:sp>
      </p:grpSp>
      <p:pic>
        <p:nvPicPr>
          <p:cNvPr id="52231" name="Picture 7" descr="The Bill &amp; Melinda Gates Foundation (BMGF) was launched in 2000 ...">
            <a:extLst>
              <a:ext uri="{FF2B5EF4-FFF2-40B4-BE49-F238E27FC236}">
                <a16:creationId xmlns:a16="http://schemas.microsoft.com/office/drawing/2014/main" id="{077754F3-8252-4202-BDCD-AA2621EFD493}"/>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883420" y="4158580"/>
            <a:ext cx="411391" cy="298800"/>
          </a:xfrm>
          <a:prstGeom prst="rect">
            <a:avLst/>
          </a:prstGeom>
          <a:noFill/>
          <a:extLst>
            <a:ext uri="{909E8E84-426E-40DD-AFC4-6F175D3DCCD1}">
              <a14:hiddenFill xmlns:a14="http://schemas.microsoft.com/office/drawing/2010/main">
                <a:solidFill>
                  <a:srgbClr val="FFFFFF"/>
                </a:solidFill>
              </a14:hiddenFill>
            </a:ext>
          </a:extLst>
        </p:spPr>
      </p:pic>
      <p:pic>
        <p:nvPicPr>
          <p:cNvPr id="52233" name="Picture 9" descr="European Investment Bank Logo Vector (.EPS) Free Download">
            <a:extLst>
              <a:ext uri="{FF2B5EF4-FFF2-40B4-BE49-F238E27FC236}">
                <a16:creationId xmlns:a16="http://schemas.microsoft.com/office/drawing/2014/main" id="{7FC26F1D-8A3D-4FE5-917D-7DFE7E99E0B5}"/>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339799" y="4181024"/>
            <a:ext cx="641250" cy="273600"/>
          </a:xfrm>
          <a:prstGeom prst="rect">
            <a:avLst/>
          </a:prstGeom>
          <a:noFill/>
          <a:extLst>
            <a:ext uri="{909E8E84-426E-40DD-AFC4-6F175D3DCCD1}">
              <a14:hiddenFill xmlns:a14="http://schemas.microsoft.com/office/drawing/2010/main">
                <a:solidFill>
                  <a:srgbClr val="FFFFFF"/>
                </a:solidFill>
              </a14:hiddenFill>
            </a:ext>
          </a:extLst>
        </p:spPr>
      </p:pic>
      <p:sp>
        <p:nvSpPr>
          <p:cNvPr id="78" name="Rettangolo 77">
            <a:extLst>
              <a:ext uri="{FF2B5EF4-FFF2-40B4-BE49-F238E27FC236}">
                <a16:creationId xmlns:a16="http://schemas.microsoft.com/office/drawing/2014/main" id="{E18631BD-5F14-47C1-BED9-857D9201D765}"/>
              </a:ext>
            </a:extLst>
          </p:cNvPr>
          <p:cNvSpPr/>
          <p:nvPr/>
        </p:nvSpPr>
        <p:spPr>
          <a:xfrm>
            <a:off x="1998792" y="1375405"/>
            <a:ext cx="3969815" cy="246221"/>
          </a:xfrm>
          <a:prstGeom prst="rect">
            <a:avLst/>
          </a:prstGeom>
        </p:spPr>
        <p:txBody>
          <a:bodyPr wrap="square">
            <a:spAutoFit/>
          </a:bodyPr>
          <a:lstStyle/>
          <a:p>
            <a:pPr lvl="0" defTabSz="457200">
              <a:buClr>
                <a:srgbClr val="C00000"/>
              </a:buClr>
              <a:defRPr/>
            </a:pPr>
            <a:r>
              <a:rPr lang="it-IT" sz="1000" spc="-4" dirty="0">
                <a:solidFill>
                  <a:srgbClr val="415364"/>
                </a:solidFill>
                <a:cs typeface="Arial"/>
              </a:rPr>
              <a:t>Sviluppo di piccoli impianti di energie rinnovabili</a:t>
            </a:r>
          </a:p>
        </p:txBody>
      </p:sp>
      <p:grpSp>
        <p:nvGrpSpPr>
          <p:cNvPr id="5" name="Gruppo 4"/>
          <p:cNvGrpSpPr/>
          <p:nvPr/>
        </p:nvGrpSpPr>
        <p:grpSpPr>
          <a:xfrm>
            <a:off x="7129610" y="1152460"/>
            <a:ext cx="1167002" cy="549802"/>
            <a:chOff x="7786478" y="3067360"/>
            <a:chExt cx="1167002" cy="549802"/>
          </a:xfrm>
        </p:grpSpPr>
        <p:sp>
          <p:nvSpPr>
            <p:cNvPr id="93" name="object 48"/>
            <p:cNvSpPr/>
            <p:nvPr/>
          </p:nvSpPr>
          <p:spPr>
            <a:xfrm>
              <a:off x="7797908" y="3067360"/>
              <a:ext cx="1114425" cy="534943"/>
            </a:xfrm>
            <a:prstGeom prst="rect">
              <a:avLst/>
            </a:prstGeom>
            <a:blipFill>
              <a:blip r:embed="rId14"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1548"/>
                </a:solidFill>
                <a:effectLst/>
                <a:uLnTx/>
                <a:uFillTx/>
                <a:latin typeface="Arial" panose="020B0604020202020204"/>
                <a:ea typeface="+mn-ea"/>
                <a:cs typeface="+mn-cs"/>
              </a:endParaRPr>
            </a:p>
          </p:txBody>
        </p:sp>
        <p:sp>
          <p:nvSpPr>
            <p:cNvPr id="94" name="object 49"/>
            <p:cNvSpPr/>
            <p:nvPr/>
          </p:nvSpPr>
          <p:spPr>
            <a:xfrm>
              <a:off x="7786478" y="3082219"/>
              <a:ext cx="1167002" cy="534943"/>
            </a:xfrm>
            <a:prstGeom prst="rect">
              <a:avLst/>
            </a:prstGeom>
            <a:blipFill>
              <a:blip r:embed="rId15"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1548"/>
                </a:solidFill>
                <a:effectLst/>
                <a:uLnTx/>
                <a:uFillTx/>
                <a:latin typeface="Arial" panose="020B0604020202020204"/>
                <a:ea typeface="+mn-ea"/>
                <a:cs typeface="+mn-cs"/>
              </a:endParaRPr>
            </a:p>
          </p:txBody>
        </p:sp>
        <p:sp>
          <p:nvSpPr>
            <p:cNvPr id="95" name="object 50"/>
            <p:cNvSpPr/>
            <p:nvPr/>
          </p:nvSpPr>
          <p:spPr>
            <a:xfrm>
              <a:off x="7801337" y="3070807"/>
              <a:ext cx="1031081" cy="451485"/>
            </a:xfrm>
            <a:custGeom>
              <a:avLst/>
              <a:gdLst/>
              <a:ahLst/>
              <a:cxnLst/>
              <a:rect l="l" t="t" r="r" b="b"/>
              <a:pathLst>
                <a:path w="1374775" h="601979">
                  <a:moveTo>
                    <a:pt x="0" y="601979"/>
                  </a:moveTo>
                  <a:lnTo>
                    <a:pt x="1374648" y="601979"/>
                  </a:lnTo>
                  <a:lnTo>
                    <a:pt x="1374648" y="0"/>
                  </a:lnTo>
                  <a:lnTo>
                    <a:pt x="0" y="0"/>
                  </a:lnTo>
                  <a:lnTo>
                    <a:pt x="0" y="601979"/>
                  </a:lnTo>
                  <a:close/>
                </a:path>
              </a:pathLst>
            </a:custGeom>
            <a:solidFill>
              <a:srgbClr val="0C5D4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1548"/>
                </a:solidFill>
                <a:effectLst/>
                <a:uLnTx/>
                <a:uFillTx/>
                <a:latin typeface="Arial" panose="020B0604020202020204"/>
                <a:ea typeface="+mn-ea"/>
                <a:cs typeface="+mn-cs"/>
              </a:endParaRPr>
            </a:p>
          </p:txBody>
        </p:sp>
        <p:sp>
          <p:nvSpPr>
            <p:cNvPr id="96" name="object 51"/>
            <p:cNvSpPr/>
            <p:nvPr/>
          </p:nvSpPr>
          <p:spPr>
            <a:xfrm>
              <a:off x="7801337" y="3070807"/>
              <a:ext cx="1031081" cy="451485"/>
            </a:xfrm>
            <a:custGeom>
              <a:avLst/>
              <a:gdLst/>
              <a:ahLst/>
              <a:cxnLst/>
              <a:rect l="l" t="t" r="r" b="b"/>
              <a:pathLst>
                <a:path w="1374775" h="601979">
                  <a:moveTo>
                    <a:pt x="0" y="601979"/>
                  </a:moveTo>
                  <a:lnTo>
                    <a:pt x="1374648" y="601979"/>
                  </a:lnTo>
                  <a:lnTo>
                    <a:pt x="1374648" y="0"/>
                  </a:lnTo>
                  <a:lnTo>
                    <a:pt x="0" y="0"/>
                  </a:lnTo>
                  <a:lnTo>
                    <a:pt x="0" y="601979"/>
                  </a:lnTo>
                  <a:close/>
                </a:path>
              </a:pathLst>
            </a:custGeom>
            <a:solidFill>
              <a:schemeClr val="bg2"/>
            </a:solidFill>
            <a:ln w="9143">
              <a:solidFill>
                <a:srgbClr val="D9D9D9"/>
              </a:solidFill>
              <a:prstDash val="sysDot"/>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1548"/>
                </a:solidFill>
                <a:effectLst/>
                <a:uLnTx/>
                <a:uFillTx/>
                <a:latin typeface="Arial" panose="020B0604020202020204"/>
                <a:ea typeface="+mn-ea"/>
                <a:cs typeface="+mn-cs"/>
              </a:endParaRPr>
            </a:p>
          </p:txBody>
        </p:sp>
        <p:sp>
          <p:nvSpPr>
            <p:cNvPr id="97" name="object 52"/>
            <p:cNvSpPr txBox="1"/>
            <p:nvPr/>
          </p:nvSpPr>
          <p:spPr>
            <a:xfrm>
              <a:off x="7808672" y="3101098"/>
              <a:ext cx="1031081" cy="385138"/>
            </a:xfrm>
            <a:prstGeom prst="rect">
              <a:avLst/>
            </a:prstGeom>
          </p:spPr>
          <p:txBody>
            <a:bodyPr vert="horz" wrap="square" lIns="0" tIns="9049" rIns="0" bIns="0" rtlCol="0">
              <a:spAutoFit/>
            </a:bodyPr>
            <a:lstStyle/>
            <a:p>
              <a:pPr marL="9525" marR="3810" lvl="0" indent="-3334" algn="ctr" defTabSz="457200">
                <a:lnSpc>
                  <a:spcPct val="101899"/>
                </a:lnSpc>
                <a:spcBef>
                  <a:spcPts val="71"/>
                </a:spcBef>
                <a:defRPr/>
              </a:pPr>
              <a:r>
                <a:rPr lang="en-US" sz="788" b="1" spc="4" dirty="0">
                  <a:solidFill>
                    <a:prstClr val="white"/>
                  </a:solidFill>
                  <a:cs typeface="Arial"/>
                </a:rPr>
                <a:t>Finestra</a:t>
              </a:r>
              <a:r>
                <a:rPr kumimoji="0" lang="en-US" sz="788" b="1" i="0" u="none" strike="noStrike" kern="1200" cap="none" spc="0" normalizeH="0" baseline="0" noProof="0" dirty="0">
                  <a:ln>
                    <a:noFill/>
                  </a:ln>
                  <a:solidFill>
                    <a:prstClr val="white"/>
                  </a:solidFill>
                  <a:effectLst/>
                  <a:uLnTx/>
                  <a:uFillTx/>
                  <a:latin typeface="Arial" panose="020B0604020202020204"/>
                  <a:ea typeface="+mn-ea"/>
                  <a:cs typeface="Arial"/>
                </a:rPr>
                <a:t>:  </a:t>
              </a:r>
            </a:p>
            <a:p>
              <a:pPr marL="0" marR="3810" lvl="0" indent="0" algn="ctr" defTabSz="457200" rtl="0" eaLnBrk="1" fontAlgn="auto" latinLnBrk="0" hangingPunct="1">
                <a:lnSpc>
                  <a:spcPct val="101899"/>
                </a:lnSpc>
                <a:spcBef>
                  <a:spcPts val="71"/>
                </a:spcBef>
                <a:spcAft>
                  <a:spcPts val="0"/>
                </a:spcAft>
                <a:buClrTx/>
                <a:buSzTx/>
                <a:buFontTx/>
                <a:buNone/>
                <a:tabLst/>
                <a:defRPr/>
              </a:pPr>
              <a:r>
                <a:rPr kumimoji="0" lang="en-US" sz="788" b="1" i="0" u="none" strike="noStrike" kern="1200" cap="none" spc="4" normalizeH="0" baseline="0" noProof="0" dirty="0" err="1">
                  <a:ln>
                    <a:noFill/>
                  </a:ln>
                  <a:solidFill>
                    <a:prstClr val="white"/>
                  </a:solidFill>
                  <a:effectLst/>
                  <a:uLnTx/>
                  <a:uFillTx/>
                  <a:latin typeface="Arial" panose="020B0604020202020204"/>
                  <a:ea typeface="+mn-ea"/>
                  <a:cs typeface="Arial"/>
                </a:rPr>
                <a:t>Energia</a:t>
              </a:r>
              <a:r>
                <a:rPr kumimoji="0" lang="en-US" sz="788" b="1" i="0" u="none" strike="noStrike" kern="1200" cap="none" spc="4" normalizeH="0" baseline="0" noProof="0" dirty="0">
                  <a:ln>
                    <a:noFill/>
                  </a:ln>
                  <a:solidFill>
                    <a:prstClr val="white"/>
                  </a:solidFill>
                  <a:effectLst/>
                  <a:uLnTx/>
                  <a:uFillTx/>
                  <a:latin typeface="Arial" panose="020B0604020202020204"/>
                  <a:ea typeface="+mn-ea"/>
                  <a:cs typeface="Arial"/>
                </a:rPr>
                <a:t> </a:t>
              </a:r>
              <a:r>
                <a:rPr kumimoji="0" lang="en-US" sz="788" b="1" i="0" u="none" strike="noStrike" kern="1200" cap="none" spc="4" normalizeH="0" baseline="0" noProof="0" dirty="0" err="1">
                  <a:ln>
                    <a:noFill/>
                  </a:ln>
                  <a:solidFill>
                    <a:prstClr val="white"/>
                  </a:solidFill>
                  <a:effectLst/>
                  <a:uLnTx/>
                  <a:uFillTx/>
                  <a:latin typeface="Arial" panose="020B0604020202020204"/>
                  <a:ea typeface="+mn-ea"/>
                  <a:cs typeface="Arial"/>
                </a:rPr>
                <a:t>Sostenibile</a:t>
              </a:r>
              <a:r>
                <a:rPr kumimoji="0" lang="en-US" sz="788" b="1" i="0" u="none" strike="noStrike" kern="1200" cap="none" spc="4" normalizeH="0" baseline="0" noProof="0" dirty="0">
                  <a:ln>
                    <a:noFill/>
                  </a:ln>
                  <a:solidFill>
                    <a:prstClr val="white"/>
                  </a:solidFill>
                  <a:effectLst/>
                  <a:uLnTx/>
                  <a:uFillTx/>
                  <a:latin typeface="Arial" panose="020B0604020202020204"/>
                  <a:ea typeface="+mn-ea"/>
                  <a:cs typeface="Arial"/>
                </a:rPr>
                <a:t> e </a:t>
              </a:r>
              <a:r>
                <a:rPr kumimoji="0" lang="en-US" sz="788" b="1" i="0" u="none" strike="noStrike" kern="1200" cap="none" spc="4" normalizeH="0" baseline="0" noProof="0" dirty="0" err="1">
                  <a:ln>
                    <a:noFill/>
                  </a:ln>
                  <a:solidFill>
                    <a:prstClr val="white"/>
                  </a:solidFill>
                  <a:effectLst/>
                  <a:uLnTx/>
                  <a:uFillTx/>
                  <a:latin typeface="Arial" panose="020B0604020202020204"/>
                  <a:ea typeface="+mn-ea"/>
                  <a:cs typeface="Arial"/>
                </a:rPr>
                <a:t>Connettività</a:t>
              </a:r>
              <a:endParaRPr kumimoji="0" lang="en-US" sz="788" b="1" i="0" u="none" strike="noStrike" kern="1200" cap="none" spc="4" normalizeH="0" baseline="0" noProof="0" dirty="0">
                <a:ln>
                  <a:noFill/>
                </a:ln>
                <a:solidFill>
                  <a:prstClr val="white"/>
                </a:solidFill>
                <a:effectLst/>
                <a:uLnTx/>
                <a:uFillTx/>
                <a:latin typeface="Arial" panose="020B0604020202020204"/>
                <a:ea typeface="+mn-ea"/>
                <a:cs typeface="Arial"/>
              </a:endParaRPr>
            </a:p>
          </p:txBody>
        </p:sp>
      </p:grpSp>
      <p:sp>
        <p:nvSpPr>
          <p:cNvPr id="104" name="Segnaposto testo 6">
            <a:extLst>
              <a:ext uri="{FF2B5EF4-FFF2-40B4-BE49-F238E27FC236}">
                <a16:creationId xmlns:a16="http://schemas.microsoft.com/office/drawing/2014/main" id="{3F53B2F7-A82D-458A-BD80-E60C453AC280}"/>
              </a:ext>
            </a:extLst>
          </p:cNvPr>
          <p:cNvSpPr txBox="1">
            <a:spLocks/>
          </p:cNvSpPr>
          <p:nvPr/>
        </p:nvSpPr>
        <p:spPr>
          <a:xfrm>
            <a:off x="1961622" y="1135053"/>
            <a:ext cx="3824142" cy="259110"/>
          </a:xfrm>
          <a:prstGeom prst="rect">
            <a:avLst/>
          </a:prstGeom>
          <a:solidFill>
            <a:sysClr val="window" lastClr="FFFFFF"/>
          </a:solidFill>
          <a:ln>
            <a:noFill/>
          </a:ln>
        </p:spPr>
        <p:txBody>
          <a:bodyPr wrap="square">
            <a:spAutoFit/>
          </a:bodyPr>
          <a:lstStyle>
            <a:lvl1pPr marL="342900" indent="-342900" algn="l" defTabSz="457200" rtl="0" eaLnBrk="1" latinLnBrk="0" hangingPunct="1">
              <a:spcBef>
                <a:spcPct val="20000"/>
              </a:spcBef>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defTabSz="895306" rtl="0" eaLnBrk="1" fontAlgn="auto" latinLnBrk="0" hangingPunct="1">
              <a:lnSpc>
                <a:spcPts val="1400"/>
              </a:lnSpc>
              <a:spcBef>
                <a:spcPct val="20000"/>
              </a:spcBef>
              <a:spcAft>
                <a:spcPts val="0"/>
              </a:spcAft>
              <a:buClr>
                <a:srgbClr val="C90026"/>
              </a:buClr>
              <a:buSzTx/>
              <a:buFont typeface="Arial"/>
              <a:buNone/>
              <a:tabLst/>
              <a:defRPr/>
            </a:pPr>
            <a:r>
              <a:rPr kumimoji="0" lang="en-US" sz="1100" b="1" i="0" u="none" strike="noStrike" kern="1200" cap="none" spc="0" normalizeH="0" baseline="0" noProof="0" dirty="0">
                <a:ln>
                  <a:noFill/>
                </a:ln>
                <a:solidFill>
                  <a:srgbClr val="005392"/>
                </a:solidFill>
                <a:effectLst/>
                <a:uLnTx/>
                <a:uFillTx/>
                <a:latin typeface="Arial"/>
                <a:ea typeface="+mn-ea"/>
                <a:cs typeface="+mn-cs"/>
              </a:rPr>
              <a:t>EGRE - European Guarantee for Renewable Energy</a:t>
            </a:r>
            <a:endParaRPr kumimoji="0" lang="en-US" sz="1100" b="0" i="0" u="none" strike="noStrike" kern="1200" cap="none" spc="0" normalizeH="0" baseline="0" noProof="0" dirty="0">
              <a:ln>
                <a:noFill/>
              </a:ln>
              <a:solidFill>
                <a:srgbClr val="005392"/>
              </a:solidFill>
              <a:effectLst/>
              <a:uLnTx/>
              <a:uFillTx/>
              <a:latin typeface="Arial"/>
              <a:ea typeface="+mn-ea"/>
              <a:cs typeface="+mn-cs"/>
            </a:endParaRPr>
          </a:p>
        </p:txBody>
      </p:sp>
      <p:sp>
        <p:nvSpPr>
          <p:cNvPr id="113" name="object 22">
            <a:extLst>
              <a:ext uri="{FF2B5EF4-FFF2-40B4-BE49-F238E27FC236}">
                <a16:creationId xmlns:a16="http://schemas.microsoft.com/office/drawing/2014/main" id="{309EF9FE-525D-4252-8C27-42ADBCD455C0}"/>
              </a:ext>
            </a:extLst>
          </p:cNvPr>
          <p:cNvSpPr/>
          <p:nvPr/>
        </p:nvSpPr>
        <p:spPr>
          <a:xfrm>
            <a:off x="6177536" y="1319409"/>
            <a:ext cx="564569" cy="273235"/>
          </a:xfrm>
          <a:prstGeom prst="rect">
            <a:avLst/>
          </a:prstGeom>
          <a:blipFill>
            <a:blip r:embed="rId19"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1548"/>
              </a:solidFill>
              <a:effectLst/>
              <a:uLnTx/>
              <a:uFillTx/>
              <a:latin typeface="Arial" panose="020B0604020202020204"/>
              <a:ea typeface="+mn-ea"/>
              <a:cs typeface="+mn-cs"/>
            </a:endParaRPr>
          </a:p>
        </p:txBody>
      </p:sp>
      <p:pic>
        <p:nvPicPr>
          <p:cNvPr id="115" name="Picture 2" descr="Immagine correlata">
            <a:extLst>
              <a:ext uri="{FF2B5EF4-FFF2-40B4-BE49-F238E27FC236}">
                <a16:creationId xmlns:a16="http://schemas.microsoft.com/office/drawing/2014/main" id="{2580F693-B16A-449A-84BE-6008007A9E52}"/>
              </a:ext>
            </a:extLst>
          </p:cNvPr>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b="22406"/>
          <a:stretch/>
        </p:blipFill>
        <p:spPr bwMode="auto">
          <a:xfrm>
            <a:off x="6209211" y="1569199"/>
            <a:ext cx="540486" cy="211476"/>
          </a:xfrm>
          <a:prstGeom prst="rect">
            <a:avLst/>
          </a:prstGeom>
          <a:noFill/>
          <a:extLst>
            <a:ext uri="{909E8E84-426E-40DD-AFC4-6F175D3DCCD1}">
              <a14:hiddenFill xmlns:a14="http://schemas.microsoft.com/office/drawing/2010/main">
                <a:solidFill>
                  <a:srgbClr val="FFFFFF"/>
                </a:solidFill>
              </a14:hiddenFill>
            </a:ext>
          </a:extLst>
        </p:spPr>
      </p:pic>
      <p:sp>
        <p:nvSpPr>
          <p:cNvPr id="128" name="Ovale 127">
            <a:extLst>
              <a:ext uri="{FF2B5EF4-FFF2-40B4-BE49-F238E27FC236}">
                <a16:creationId xmlns:a16="http://schemas.microsoft.com/office/drawing/2014/main" id="{960C05B5-A7EE-44C8-A39F-57468B7E8F25}"/>
              </a:ext>
            </a:extLst>
          </p:cNvPr>
          <p:cNvSpPr/>
          <p:nvPr/>
        </p:nvSpPr>
        <p:spPr>
          <a:xfrm>
            <a:off x="1168821" y="1045717"/>
            <a:ext cx="684000" cy="684000"/>
          </a:xfrm>
          <a:prstGeom prst="ellipse">
            <a:avLst/>
          </a:prstGeom>
          <a:solidFill>
            <a:sysClr val="window" lastClr="FFFFFF"/>
          </a:solidFill>
          <a:ln w="9525" cap="flat" cmpd="sng" algn="ctr">
            <a:solidFill>
              <a:schemeClr val="accent2"/>
            </a:solidFill>
            <a:prstDash val="solid"/>
          </a:ln>
          <a:effectLst>
            <a:outerShdw blurRad="50800" dist="76200" dir="8100000" algn="tr" rotWithShape="0">
              <a:prstClr val="black">
                <a:alpha val="40000"/>
              </a:prstClr>
            </a:outerShdw>
          </a:effectLst>
        </p:spPr>
        <p:txBody>
          <a:bodyPr lIns="0" r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200" b="0" i="0" u="none" strike="noStrike" kern="0" cap="none" spc="0" normalizeH="0" baseline="0" noProof="0">
              <a:ln>
                <a:noFill/>
              </a:ln>
              <a:solidFill>
                <a:prstClr val="white"/>
              </a:solidFill>
              <a:effectLst/>
              <a:uLnTx/>
              <a:uFillTx/>
              <a:latin typeface="Arial"/>
              <a:ea typeface="+mn-ea"/>
              <a:cs typeface="+mn-cs"/>
            </a:endParaRPr>
          </a:p>
        </p:txBody>
      </p:sp>
      <p:pic>
        <p:nvPicPr>
          <p:cNvPr id="130" name="Immagine 129">
            <a:extLst>
              <a:ext uri="{FF2B5EF4-FFF2-40B4-BE49-F238E27FC236}">
                <a16:creationId xmlns:a16="http://schemas.microsoft.com/office/drawing/2014/main" id="{1352B9F6-EF55-451B-854A-AA33F3A1B43A}"/>
              </a:ext>
            </a:extLst>
          </p:cNvPr>
          <p:cNvPicPr>
            <a:picLocks noChangeAspect="1"/>
          </p:cNvPicPr>
          <p:nvPr/>
        </p:nvPicPr>
        <p:blipFill>
          <a:blip r:embed="rId16"/>
          <a:stretch>
            <a:fillRect/>
          </a:stretch>
        </p:blipFill>
        <p:spPr>
          <a:xfrm>
            <a:off x="1250269" y="1160090"/>
            <a:ext cx="539433" cy="514032"/>
          </a:xfrm>
          <a:prstGeom prst="rect">
            <a:avLst/>
          </a:prstGeom>
        </p:spPr>
      </p:pic>
      <p:pic>
        <p:nvPicPr>
          <p:cNvPr id="70" name="Picture 9" descr="European Investment Bank Logo Vector (.EPS) Free Download">
            <a:extLst>
              <a:ext uri="{FF2B5EF4-FFF2-40B4-BE49-F238E27FC236}">
                <a16:creationId xmlns:a16="http://schemas.microsoft.com/office/drawing/2014/main" id="{8A15EAE0-3DD1-4DEB-8A70-0F04A48A61E8}"/>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209211" y="1079211"/>
            <a:ext cx="540486" cy="230607"/>
          </a:xfrm>
          <a:prstGeom prst="rect">
            <a:avLst/>
          </a:prstGeom>
          <a:noFill/>
          <a:extLst>
            <a:ext uri="{909E8E84-426E-40DD-AFC4-6F175D3DCCD1}">
              <a14:hiddenFill xmlns:a14="http://schemas.microsoft.com/office/drawing/2010/main">
                <a:solidFill>
                  <a:srgbClr val="FFFFFF"/>
                </a:solidFill>
              </a14:hiddenFill>
            </a:ext>
          </a:extLst>
        </p:spPr>
      </p:pic>
      <p:sp>
        <p:nvSpPr>
          <p:cNvPr id="71" name="Segnaposto testo 1">
            <a:extLst>
              <a:ext uri="{FF2B5EF4-FFF2-40B4-BE49-F238E27FC236}">
                <a16:creationId xmlns:a16="http://schemas.microsoft.com/office/drawing/2014/main" id="{C9A8A397-D8F8-4D12-99A8-2ACFEC26BC6C}"/>
              </a:ext>
            </a:extLst>
          </p:cNvPr>
          <p:cNvSpPr>
            <a:spLocks noGrp="1"/>
          </p:cNvSpPr>
          <p:nvPr>
            <p:ph type="body" idx="13"/>
          </p:nvPr>
        </p:nvSpPr>
        <p:spPr>
          <a:xfrm>
            <a:off x="206181" y="173698"/>
            <a:ext cx="6445250" cy="287337"/>
          </a:xfrm>
        </p:spPr>
        <p:txBody>
          <a:bodyPr/>
          <a:lstStyle/>
          <a:p>
            <a:r>
              <a:rPr lang="it-IT" sz="2000" spc="4" dirty="0">
                <a:solidFill>
                  <a:schemeClr val="tx1"/>
                </a:solidFill>
              </a:rPr>
              <a:t>EIP – </a:t>
            </a:r>
            <a:r>
              <a:rPr lang="en-US" sz="2000" spc="4" dirty="0">
                <a:solidFill>
                  <a:schemeClr val="tx1"/>
                </a:solidFill>
              </a:rPr>
              <a:t>Iniziative CDP</a:t>
            </a:r>
            <a:endParaRPr lang="en-US" sz="2000" dirty="0">
              <a:solidFill>
                <a:schemeClr val="tx1"/>
              </a:solidFill>
            </a:endParaRPr>
          </a:p>
        </p:txBody>
      </p:sp>
      <p:sp>
        <p:nvSpPr>
          <p:cNvPr id="72" name="Rectangle 2">
            <a:extLst>
              <a:ext uri="{FF2B5EF4-FFF2-40B4-BE49-F238E27FC236}">
                <a16:creationId xmlns:a16="http://schemas.microsoft.com/office/drawing/2014/main" id="{937C3FF5-29FA-4EDD-99D3-6DDD02A58D6F}"/>
              </a:ext>
            </a:extLst>
          </p:cNvPr>
          <p:cNvSpPr>
            <a:spLocks/>
          </p:cNvSpPr>
          <p:nvPr/>
        </p:nvSpPr>
        <p:spPr>
          <a:xfrm>
            <a:off x="1" y="3"/>
            <a:ext cx="9143999" cy="163396"/>
          </a:xfrm>
          <a:prstGeom prst="rect">
            <a:avLst/>
          </a:prstGeom>
          <a:solidFill>
            <a:srgbClr val="415064"/>
          </a:solidFill>
          <a:ln w="9525" cap="flat" cmpd="sng" algn="ctr">
            <a:noFill/>
            <a:prstDash val="solid"/>
          </a:ln>
          <a:effectLst/>
        </p:spPr>
        <p:txBody>
          <a:bodyPr rot="0" spcFirstLastPara="0" vert="horz" wrap="square" lIns="121920" tIns="60960" rIns="121920" bIns="6096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224" kern="1200">
                <a:solidFill>
                  <a:schemeClr val="lt1"/>
                </a:solidFill>
                <a:latin typeface="+mn-lt"/>
                <a:ea typeface="+mn-ea"/>
                <a:cs typeface="+mn-cs"/>
              </a:defRPr>
            </a:lvl1pPr>
            <a:lvl2pPr marL="349849" algn="l" rtl="0" fontAlgn="base">
              <a:spcBef>
                <a:spcPct val="0"/>
              </a:spcBef>
              <a:spcAft>
                <a:spcPct val="0"/>
              </a:spcAft>
              <a:defRPr sz="1224" kern="1200">
                <a:solidFill>
                  <a:schemeClr val="lt1"/>
                </a:solidFill>
                <a:latin typeface="+mn-lt"/>
                <a:ea typeface="+mn-ea"/>
                <a:cs typeface="+mn-cs"/>
              </a:defRPr>
            </a:lvl2pPr>
            <a:lvl3pPr marL="699699" algn="l" rtl="0" fontAlgn="base">
              <a:spcBef>
                <a:spcPct val="0"/>
              </a:spcBef>
              <a:spcAft>
                <a:spcPct val="0"/>
              </a:spcAft>
              <a:defRPr sz="1224" kern="1200">
                <a:solidFill>
                  <a:schemeClr val="lt1"/>
                </a:solidFill>
                <a:latin typeface="+mn-lt"/>
                <a:ea typeface="+mn-ea"/>
                <a:cs typeface="+mn-cs"/>
              </a:defRPr>
            </a:lvl3pPr>
            <a:lvl4pPr marL="1049548" algn="l" rtl="0" fontAlgn="base">
              <a:spcBef>
                <a:spcPct val="0"/>
              </a:spcBef>
              <a:spcAft>
                <a:spcPct val="0"/>
              </a:spcAft>
              <a:defRPr sz="1224" kern="1200">
                <a:solidFill>
                  <a:schemeClr val="lt1"/>
                </a:solidFill>
                <a:latin typeface="+mn-lt"/>
                <a:ea typeface="+mn-ea"/>
                <a:cs typeface="+mn-cs"/>
              </a:defRPr>
            </a:lvl4pPr>
            <a:lvl5pPr marL="1399398" algn="l" rtl="0" fontAlgn="base">
              <a:spcBef>
                <a:spcPct val="0"/>
              </a:spcBef>
              <a:spcAft>
                <a:spcPct val="0"/>
              </a:spcAft>
              <a:defRPr sz="1224" kern="1200">
                <a:solidFill>
                  <a:schemeClr val="lt1"/>
                </a:solidFill>
                <a:latin typeface="+mn-lt"/>
                <a:ea typeface="+mn-ea"/>
                <a:cs typeface="+mn-cs"/>
              </a:defRPr>
            </a:lvl5pPr>
            <a:lvl6pPr marL="1749247" algn="l" defTabSz="699699" rtl="0" eaLnBrk="1" latinLnBrk="0" hangingPunct="1">
              <a:defRPr sz="1224" kern="1200">
                <a:solidFill>
                  <a:schemeClr val="lt1"/>
                </a:solidFill>
                <a:latin typeface="+mn-lt"/>
                <a:ea typeface="+mn-ea"/>
                <a:cs typeface="+mn-cs"/>
              </a:defRPr>
            </a:lvl6pPr>
            <a:lvl7pPr marL="2099097" algn="l" defTabSz="699699" rtl="0" eaLnBrk="1" latinLnBrk="0" hangingPunct="1">
              <a:defRPr sz="1224" kern="1200">
                <a:solidFill>
                  <a:schemeClr val="lt1"/>
                </a:solidFill>
                <a:latin typeface="+mn-lt"/>
                <a:ea typeface="+mn-ea"/>
                <a:cs typeface="+mn-cs"/>
              </a:defRPr>
            </a:lvl7pPr>
            <a:lvl8pPr marL="2448946" algn="l" defTabSz="699699" rtl="0" eaLnBrk="1" latinLnBrk="0" hangingPunct="1">
              <a:defRPr sz="1224" kern="1200">
                <a:solidFill>
                  <a:schemeClr val="lt1"/>
                </a:solidFill>
                <a:latin typeface="+mn-lt"/>
                <a:ea typeface="+mn-ea"/>
                <a:cs typeface="+mn-cs"/>
              </a:defRPr>
            </a:lvl8pPr>
            <a:lvl9pPr marL="2798796" algn="l" defTabSz="699699" rtl="0" eaLnBrk="1" latinLnBrk="0" hangingPunct="1">
              <a:defRPr sz="1224" kern="1200">
                <a:solidFill>
                  <a:schemeClr val="lt1"/>
                </a:solidFill>
                <a:latin typeface="+mn-lt"/>
                <a:ea typeface="+mn-ea"/>
                <a:cs typeface="+mn-cs"/>
              </a:defRPr>
            </a:lvl9pPr>
          </a:lstStyle>
          <a:p>
            <a:pPr defTabSz="1219079">
              <a:defRPr/>
            </a:pPr>
            <a:r>
              <a:rPr lang="en-US" sz="1000" b="1" spc="-10" dirty="0">
                <a:cs typeface="Arial"/>
              </a:rPr>
              <a:t>Global Partnership</a:t>
            </a:r>
            <a:r>
              <a:rPr lang="it-IT" sz="1000" b="1" dirty="0">
                <a:solidFill>
                  <a:srgbClr val="FFFFFF"/>
                </a:solidFill>
              </a:rPr>
              <a:t>: EIP</a:t>
            </a:r>
            <a:endParaRPr lang="it-IT" sz="1000" b="1" i="1" dirty="0">
              <a:solidFill>
                <a:srgbClr val="FFFFFF"/>
              </a:solidFill>
            </a:endParaRPr>
          </a:p>
        </p:txBody>
      </p:sp>
      <p:pic>
        <p:nvPicPr>
          <p:cNvPr id="73" name="Immagine 102">
            <a:extLst>
              <a:ext uri="{FF2B5EF4-FFF2-40B4-BE49-F238E27FC236}">
                <a16:creationId xmlns:a16="http://schemas.microsoft.com/office/drawing/2014/main" id="{EA4A0FD3-E71F-4818-9E12-D653CF8E081E}"/>
              </a:ext>
            </a:extLst>
          </p:cNvPr>
          <p:cNvPicPr>
            <a:picLocks/>
          </p:cNvPicPr>
          <p:nvPr/>
        </p:nvPicPr>
        <p:blipFill>
          <a:blip r:embed="rId21"/>
          <a:stretch>
            <a:fillRect/>
          </a:stretch>
        </p:blipFill>
        <p:spPr>
          <a:xfrm>
            <a:off x="8411328" y="864085"/>
            <a:ext cx="522000" cy="469997"/>
          </a:xfrm>
          <a:prstGeom prst="rect">
            <a:avLst/>
          </a:prstGeom>
        </p:spPr>
      </p:pic>
      <p:pic>
        <p:nvPicPr>
          <p:cNvPr id="74" name="Immagine 133">
            <a:extLst>
              <a:ext uri="{FF2B5EF4-FFF2-40B4-BE49-F238E27FC236}">
                <a16:creationId xmlns:a16="http://schemas.microsoft.com/office/drawing/2014/main" id="{CCF0A9BF-636E-46D2-89E3-6DF0C2389856}"/>
              </a:ext>
            </a:extLst>
          </p:cNvPr>
          <p:cNvPicPr>
            <a:picLocks/>
          </p:cNvPicPr>
          <p:nvPr/>
        </p:nvPicPr>
        <p:blipFill>
          <a:blip r:embed="rId22"/>
          <a:stretch>
            <a:fillRect/>
          </a:stretch>
        </p:blipFill>
        <p:spPr>
          <a:xfrm>
            <a:off x="8411328" y="1375937"/>
            <a:ext cx="522000" cy="469997"/>
          </a:xfrm>
          <a:prstGeom prst="rect">
            <a:avLst/>
          </a:prstGeom>
        </p:spPr>
      </p:pic>
      <p:pic>
        <p:nvPicPr>
          <p:cNvPr id="75" name="Immagine 134">
            <a:extLst>
              <a:ext uri="{FF2B5EF4-FFF2-40B4-BE49-F238E27FC236}">
                <a16:creationId xmlns:a16="http://schemas.microsoft.com/office/drawing/2014/main" id="{1B09FC61-DD6E-4073-BA20-344363321131}"/>
              </a:ext>
            </a:extLst>
          </p:cNvPr>
          <p:cNvPicPr>
            <a:picLocks/>
          </p:cNvPicPr>
          <p:nvPr/>
        </p:nvPicPr>
        <p:blipFill>
          <a:blip r:embed="rId23"/>
          <a:stretch>
            <a:fillRect/>
          </a:stretch>
        </p:blipFill>
        <p:spPr>
          <a:xfrm>
            <a:off x="8411328" y="1887789"/>
            <a:ext cx="522000" cy="469997"/>
          </a:xfrm>
          <a:prstGeom prst="rect">
            <a:avLst/>
          </a:prstGeom>
        </p:spPr>
      </p:pic>
      <p:pic>
        <p:nvPicPr>
          <p:cNvPr id="76" name="Imagen 81">
            <a:extLst>
              <a:ext uri="{FF2B5EF4-FFF2-40B4-BE49-F238E27FC236}">
                <a16:creationId xmlns:a16="http://schemas.microsoft.com/office/drawing/2014/main" id="{5F8A1A5F-2B87-4713-8C6E-6C93FBCE2AC4}"/>
              </a:ext>
            </a:extLst>
          </p:cNvPr>
          <p:cNvPicPr>
            <a:picLocks/>
          </p:cNvPicPr>
          <p:nvPr/>
        </p:nvPicPr>
        <p:blipFill>
          <a:blip r:embed="rId24" cstate="print">
            <a:extLst>
              <a:ext uri="{28A0092B-C50C-407E-A947-70E740481C1C}">
                <a14:useLocalDpi xmlns:a14="http://schemas.microsoft.com/office/drawing/2010/main" val="0"/>
              </a:ext>
            </a:extLst>
          </a:blip>
          <a:stretch>
            <a:fillRect/>
          </a:stretch>
        </p:blipFill>
        <p:spPr>
          <a:xfrm>
            <a:off x="8411328" y="2399641"/>
            <a:ext cx="522000" cy="469997"/>
          </a:xfrm>
          <a:prstGeom prst="rect">
            <a:avLst/>
          </a:prstGeom>
        </p:spPr>
      </p:pic>
      <p:pic>
        <p:nvPicPr>
          <p:cNvPr id="77" name="Immagine 136">
            <a:extLst>
              <a:ext uri="{FF2B5EF4-FFF2-40B4-BE49-F238E27FC236}">
                <a16:creationId xmlns:a16="http://schemas.microsoft.com/office/drawing/2014/main" id="{FEC6EEA8-9C9E-420A-932F-051B30EBA29B}"/>
              </a:ext>
            </a:extLst>
          </p:cNvPr>
          <p:cNvPicPr>
            <a:picLocks/>
          </p:cNvPicPr>
          <p:nvPr/>
        </p:nvPicPr>
        <p:blipFill>
          <a:blip r:embed="rId25"/>
          <a:stretch>
            <a:fillRect/>
          </a:stretch>
        </p:blipFill>
        <p:spPr>
          <a:xfrm>
            <a:off x="8411328" y="2911493"/>
            <a:ext cx="522000" cy="469997"/>
          </a:xfrm>
          <a:prstGeom prst="rect">
            <a:avLst/>
          </a:prstGeom>
        </p:spPr>
      </p:pic>
      <p:pic>
        <p:nvPicPr>
          <p:cNvPr id="80" name="Imagen 82">
            <a:extLst>
              <a:ext uri="{FF2B5EF4-FFF2-40B4-BE49-F238E27FC236}">
                <a16:creationId xmlns:a16="http://schemas.microsoft.com/office/drawing/2014/main" id="{0B1709A0-CF0E-49D3-9209-6552B28964E3}"/>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8411328" y="3423345"/>
            <a:ext cx="540000" cy="540000"/>
          </a:xfrm>
          <a:prstGeom prst="rect">
            <a:avLst/>
          </a:prstGeom>
        </p:spPr>
      </p:pic>
      <p:pic>
        <p:nvPicPr>
          <p:cNvPr id="87" name="Immagine 138">
            <a:extLst>
              <a:ext uri="{FF2B5EF4-FFF2-40B4-BE49-F238E27FC236}">
                <a16:creationId xmlns:a16="http://schemas.microsoft.com/office/drawing/2014/main" id="{89D904A2-5E9E-40BD-9F0F-A0647AA67F15}"/>
              </a:ext>
            </a:extLst>
          </p:cNvPr>
          <p:cNvPicPr>
            <a:picLocks/>
          </p:cNvPicPr>
          <p:nvPr/>
        </p:nvPicPr>
        <p:blipFill>
          <a:blip r:embed="rId27"/>
          <a:stretch>
            <a:fillRect/>
          </a:stretch>
        </p:blipFill>
        <p:spPr>
          <a:xfrm>
            <a:off x="8411328" y="4517049"/>
            <a:ext cx="522000" cy="469997"/>
          </a:xfrm>
          <a:prstGeom prst="rect">
            <a:avLst/>
          </a:prstGeom>
        </p:spPr>
      </p:pic>
      <p:pic>
        <p:nvPicPr>
          <p:cNvPr id="88" name="Immagine 77">
            <a:extLst>
              <a:ext uri="{FF2B5EF4-FFF2-40B4-BE49-F238E27FC236}">
                <a16:creationId xmlns:a16="http://schemas.microsoft.com/office/drawing/2014/main" id="{336AEF54-C6BE-40EA-8DBF-D76849F3C374}"/>
              </a:ext>
            </a:extLst>
          </p:cNvPr>
          <p:cNvPicPr>
            <a:picLocks/>
          </p:cNvPicPr>
          <p:nvPr/>
        </p:nvPicPr>
        <p:blipFill>
          <a:blip r:embed="rId28"/>
          <a:stretch>
            <a:fillRect/>
          </a:stretch>
        </p:blipFill>
        <p:spPr>
          <a:xfrm>
            <a:off x="8411328" y="4005200"/>
            <a:ext cx="522000" cy="469997"/>
          </a:xfrm>
          <a:prstGeom prst="rect">
            <a:avLst/>
          </a:prstGeom>
        </p:spPr>
      </p:pic>
      <p:sp>
        <p:nvSpPr>
          <p:cNvPr id="89" name="Rettangolo 61">
            <a:extLst>
              <a:ext uri="{FF2B5EF4-FFF2-40B4-BE49-F238E27FC236}">
                <a16:creationId xmlns:a16="http://schemas.microsoft.com/office/drawing/2014/main" id="{69880D99-4C67-4311-AEEE-4C98DE2076E7}"/>
              </a:ext>
            </a:extLst>
          </p:cNvPr>
          <p:cNvSpPr/>
          <p:nvPr/>
        </p:nvSpPr>
        <p:spPr>
          <a:xfrm rot="5400000">
            <a:off x="6337217" y="2406036"/>
            <a:ext cx="4674294" cy="638026"/>
          </a:xfrm>
          <a:prstGeom prst="rect">
            <a:avLst/>
          </a:prstGeom>
          <a:noFill/>
          <a:ln w="12700" cap="flat" cmpd="sng" algn="ctr">
            <a:solidFill>
              <a:schemeClr val="accent4"/>
            </a:solidFill>
            <a:prstDash val="solid"/>
          </a:ln>
          <a:effectLst/>
        </p:spPr>
        <p:txBody>
          <a:bodyPr rtlCol="0" anchor="ctr"/>
          <a:lstStyle/>
          <a:p>
            <a:pPr marL="0" marR="0" lvl="0" indent="0" algn="ctr" defTabSz="685766" rtl="0" eaLnBrk="1" fontAlgn="base" latinLnBrk="0" hangingPunct="1">
              <a:lnSpc>
                <a:spcPct val="100000"/>
              </a:lnSpc>
              <a:spcBef>
                <a:spcPct val="0"/>
              </a:spcBef>
              <a:spcAft>
                <a:spcPct val="0"/>
              </a:spcAft>
              <a:buClrTx/>
              <a:buSzTx/>
              <a:buFontTx/>
              <a:buNone/>
              <a:tabLst/>
              <a:defRPr/>
            </a:pPr>
            <a:endParaRPr kumimoji="0" lang="it-IT" sz="918" b="0" i="0" u="none" strike="noStrike" kern="0" cap="none" spc="0" normalizeH="0" baseline="0" noProof="0" dirty="0">
              <a:ln>
                <a:noFill/>
              </a:ln>
              <a:solidFill>
                <a:prstClr val="white"/>
              </a:solidFill>
              <a:effectLst/>
              <a:uLnTx/>
              <a:uFillTx/>
              <a:latin typeface="Calibri"/>
              <a:ea typeface="+mn-ea"/>
              <a:cs typeface="+mn-cs"/>
            </a:endParaRPr>
          </a:p>
        </p:txBody>
      </p:sp>
      <p:sp>
        <p:nvSpPr>
          <p:cNvPr id="90" name="object 54">
            <a:extLst>
              <a:ext uri="{FF2B5EF4-FFF2-40B4-BE49-F238E27FC236}">
                <a16:creationId xmlns:a16="http://schemas.microsoft.com/office/drawing/2014/main" id="{C59381A6-C459-4A6D-A53A-7E2B4FA643A0}"/>
              </a:ext>
            </a:extLst>
          </p:cNvPr>
          <p:cNvSpPr txBox="1"/>
          <p:nvPr/>
        </p:nvSpPr>
        <p:spPr>
          <a:xfrm>
            <a:off x="8381832" y="434509"/>
            <a:ext cx="711752" cy="325089"/>
          </a:xfrm>
          <a:prstGeom prst="rect">
            <a:avLst/>
          </a:prstGeom>
        </p:spPr>
        <p:txBody>
          <a:bodyPr vert="horz" wrap="square" lIns="0" tIns="24765" rIns="0" bIns="0" rtlCol="0">
            <a:spAutoFit/>
          </a:bodyPr>
          <a:lstStyle/>
          <a:p>
            <a:pPr marL="0" marR="0" lvl="0" indent="0" algn="just" defTabSz="685766" rtl="0" eaLnBrk="1" fontAlgn="base" latinLnBrk="0" hangingPunct="1">
              <a:lnSpc>
                <a:spcPct val="100000"/>
              </a:lnSpc>
              <a:spcBef>
                <a:spcPct val="0"/>
              </a:spcBef>
              <a:spcAft>
                <a:spcPct val="0"/>
              </a:spcAft>
              <a:buClrTx/>
              <a:buSzTx/>
              <a:buFontTx/>
              <a:buNone/>
              <a:tabLst/>
              <a:defRPr/>
            </a:pPr>
            <a:r>
              <a:rPr kumimoji="0" lang="en-US" sz="975" b="1" i="0" u="none" strike="noStrike" kern="0" cap="none" spc="0" normalizeH="0" baseline="0" noProof="0" dirty="0">
                <a:ln>
                  <a:noFill/>
                </a:ln>
                <a:solidFill>
                  <a:srgbClr val="001548"/>
                </a:solidFill>
                <a:effectLst/>
                <a:uLnTx/>
                <a:uFillTx/>
                <a:latin typeface="Arial" panose="020B0604020202020204"/>
                <a:ea typeface="+mn-ea"/>
                <a:cs typeface="Arial" panose="020B0604020202020204" pitchFamily="34" charset="0"/>
              </a:rPr>
              <a:t>Target </a:t>
            </a:r>
          </a:p>
          <a:p>
            <a:pPr marL="0" marR="0" lvl="0" indent="0" algn="just" defTabSz="685766" rtl="0" eaLnBrk="1" fontAlgn="base" latinLnBrk="0" hangingPunct="1">
              <a:lnSpc>
                <a:spcPct val="100000"/>
              </a:lnSpc>
              <a:spcBef>
                <a:spcPct val="0"/>
              </a:spcBef>
              <a:spcAft>
                <a:spcPct val="0"/>
              </a:spcAft>
              <a:buClrTx/>
              <a:buSzTx/>
              <a:buFontTx/>
              <a:buNone/>
              <a:tabLst/>
              <a:defRPr/>
            </a:pPr>
            <a:r>
              <a:rPr kumimoji="0" lang="en-US" sz="975" b="1" i="0" u="none" strike="noStrike" kern="0" cap="none" spc="0" normalizeH="0" baseline="0" noProof="0" dirty="0">
                <a:ln>
                  <a:noFill/>
                </a:ln>
                <a:solidFill>
                  <a:srgbClr val="001548"/>
                </a:solidFill>
                <a:effectLst/>
                <a:uLnTx/>
                <a:uFillTx/>
                <a:latin typeface="Arial" panose="020B0604020202020204"/>
                <a:ea typeface="+mn-ea"/>
                <a:cs typeface="Arial" panose="020B0604020202020204" pitchFamily="34" charset="0"/>
              </a:rPr>
              <a:t>UN SDGs</a:t>
            </a:r>
          </a:p>
        </p:txBody>
      </p:sp>
    </p:spTree>
    <p:extLst>
      <p:ext uri="{BB962C8B-B14F-4D97-AF65-F5344CB8AC3E}">
        <p14:creationId xmlns:p14="http://schemas.microsoft.com/office/powerpoint/2010/main" val="4154535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ggetto 9"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6" name="Diapositiva think-cell" r:id="rId5" imgW="270" imgH="270" progId="TCLayout.ActiveDocument.1">
                  <p:embed/>
                </p:oleObj>
              </mc:Choice>
              <mc:Fallback>
                <p:oleObj name="Diapositiva think-cell" r:id="rId5" imgW="270" imgH="270" progId="TCLayout.ActiveDocument.1">
                  <p:embed/>
                  <p:pic>
                    <p:nvPicPr>
                      <p:cNvPr id="10" name="Oggetto 9"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Segnaposto numero diapositiva 2">
            <a:extLst>
              <a:ext uri="{FF2B5EF4-FFF2-40B4-BE49-F238E27FC236}">
                <a16:creationId xmlns:a16="http://schemas.microsoft.com/office/drawing/2014/main" id="{5EC9A73F-60D0-47D3-BD85-54A27BC7CB76}"/>
              </a:ext>
            </a:extLst>
          </p:cNvPr>
          <p:cNvSpPr>
            <a:spLocks noGrp="1"/>
          </p:cNvSpPr>
          <p:nvPr>
            <p:ph type="sldNum" sz="quarter" idx="12"/>
          </p:nvPr>
        </p:nvSpPr>
        <p:spPr>
          <a:xfrm>
            <a:off x="211053" y="4791675"/>
            <a:ext cx="1008062" cy="183687"/>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800"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Tx/>
                <a:buNone/>
                <a:tabLst/>
                <a:defRPr/>
              </a:pPr>
              <a:t>28</a:t>
            </a:fld>
            <a:endParaRPr kumimoji="0" lang="it-IT" sz="800" b="0" i="0" u="none" strike="noStrike" kern="1200" cap="none" spc="0" normalizeH="0" baseline="0" noProof="0">
              <a:ln>
                <a:noFill/>
              </a:ln>
              <a:solidFill>
                <a:srgbClr val="415064"/>
              </a:solidFill>
              <a:effectLst/>
              <a:uLnTx/>
              <a:uFillTx/>
              <a:latin typeface="Arial" panose="020B0604020202020204" pitchFamily="34" charset="0"/>
              <a:cs typeface="Arial" panose="020B0604020202020204" pitchFamily="34" charset="0"/>
            </a:endParaRPr>
          </a:p>
        </p:txBody>
      </p:sp>
      <p:sp>
        <p:nvSpPr>
          <p:cNvPr id="57" name="Ovale 56">
            <a:extLst>
              <a:ext uri="{FF2B5EF4-FFF2-40B4-BE49-F238E27FC236}">
                <a16:creationId xmlns:a16="http://schemas.microsoft.com/office/drawing/2014/main" id="{F7C592EA-8052-4294-BCD0-CE143486B7F4}"/>
              </a:ext>
            </a:extLst>
          </p:cNvPr>
          <p:cNvSpPr>
            <a:spLocks noChangeAspect="1"/>
          </p:cNvSpPr>
          <p:nvPr/>
        </p:nvSpPr>
        <p:spPr>
          <a:xfrm>
            <a:off x="7600302" y="560209"/>
            <a:ext cx="720000" cy="720000"/>
          </a:xfrm>
          <a:prstGeom prst="ellipse">
            <a:avLst/>
          </a:prstGeom>
          <a:solidFill>
            <a:schemeClr val="bg2">
              <a:lumMod val="90000"/>
            </a:schemeClr>
          </a:solidFill>
          <a:ln w="19050" cap="flat" cmpd="sng" algn="ctr">
            <a:noFill/>
            <a:prstDash val="soli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altLang="ja-JP" sz="1100" b="1" i="0" u="none" strike="noStrike" kern="0" cap="none" spc="0" normalizeH="0" baseline="0" noProof="0">
              <a:ln>
                <a:noFill/>
              </a:ln>
              <a:solidFill>
                <a:srgbClr val="FFFFFF"/>
              </a:solidFill>
              <a:effectLst/>
              <a:uLnTx/>
              <a:uFillTx/>
              <a:latin typeface="Arial"/>
              <a:ea typeface="ＭＳ Ｐゴシック" panose="020B0600070205080204" pitchFamily="34" charset="-128"/>
              <a:cs typeface="Arial" panose="020B0604020202020204" pitchFamily="34" charset="0"/>
            </a:endParaRPr>
          </a:p>
        </p:txBody>
      </p:sp>
      <p:sp>
        <p:nvSpPr>
          <p:cNvPr id="58" name="CasellaDiTesto 57">
            <a:extLst>
              <a:ext uri="{FF2B5EF4-FFF2-40B4-BE49-F238E27FC236}">
                <a16:creationId xmlns:a16="http://schemas.microsoft.com/office/drawing/2014/main" id="{829A0C68-50D4-478C-B41D-970F000491CF}"/>
              </a:ext>
            </a:extLst>
          </p:cNvPr>
          <p:cNvSpPr txBox="1"/>
          <p:nvPr/>
        </p:nvSpPr>
        <p:spPr>
          <a:xfrm>
            <a:off x="7432871" y="689740"/>
            <a:ext cx="1080120" cy="43088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Arial" panose="020B0604020202020204"/>
                <a:ea typeface="+mn-ea"/>
                <a:cs typeface="+mn-cs"/>
              </a:rPr>
              <a:t>Come </a:t>
            </a:r>
            <a:r>
              <a:rPr kumimoji="0" lang="en-US" sz="1100" b="1" i="0" u="none" strike="noStrike" kern="0" cap="none" spc="0" normalizeH="0" baseline="0" noProof="0" dirty="0" err="1">
                <a:ln>
                  <a:noFill/>
                </a:ln>
                <a:solidFill>
                  <a:prstClr val="white"/>
                </a:solidFill>
                <a:effectLst/>
                <a:uLnTx/>
                <a:uFillTx/>
                <a:latin typeface="Arial" panose="020B0604020202020204"/>
                <a:ea typeface="+mn-ea"/>
                <a:cs typeface="+mn-cs"/>
              </a:rPr>
              <a:t>accedere</a:t>
            </a:r>
            <a:endParaRPr kumimoji="0" lang="en-US" sz="1100" b="1"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60" name="Ovale 59">
            <a:extLst>
              <a:ext uri="{FF2B5EF4-FFF2-40B4-BE49-F238E27FC236}">
                <a16:creationId xmlns:a16="http://schemas.microsoft.com/office/drawing/2014/main" id="{510A6DBB-1AA2-4140-B9C7-8404773FA36F}"/>
              </a:ext>
            </a:extLst>
          </p:cNvPr>
          <p:cNvSpPr>
            <a:spLocks noChangeAspect="1"/>
          </p:cNvSpPr>
          <p:nvPr/>
        </p:nvSpPr>
        <p:spPr>
          <a:xfrm>
            <a:off x="3661322" y="545183"/>
            <a:ext cx="720000" cy="720000"/>
          </a:xfrm>
          <a:prstGeom prst="ellipse">
            <a:avLst/>
          </a:prstGeom>
          <a:solidFill>
            <a:schemeClr val="bg2">
              <a:lumMod val="90000"/>
            </a:schemeClr>
          </a:solidFill>
          <a:ln w="19050" cap="flat" cmpd="sng" algn="ctr">
            <a:noFill/>
            <a:prstDash val="soli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altLang="ja-JP" sz="1100" b="1" i="0" u="none" strike="noStrike" kern="0" cap="none" spc="0" normalizeH="0" baseline="0" noProof="0">
              <a:ln>
                <a:noFill/>
              </a:ln>
              <a:solidFill>
                <a:srgbClr val="FFFFFF"/>
              </a:solidFill>
              <a:effectLst/>
              <a:uLnTx/>
              <a:uFillTx/>
              <a:latin typeface="Arial"/>
              <a:ea typeface="ＭＳ Ｐゴシック" panose="020B0600070205080204" pitchFamily="34" charset="-128"/>
              <a:cs typeface="Arial" panose="020B0604020202020204" pitchFamily="34" charset="0"/>
            </a:endParaRPr>
          </a:p>
        </p:txBody>
      </p:sp>
      <p:sp>
        <p:nvSpPr>
          <p:cNvPr id="61" name="CasellaDiTesto 60">
            <a:extLst>
              <a:ext uri="{FF2B5EF4-FFF2-40B4-BE49-F238E27FC236}">
                <a16:creationId xmlns:a16="http://schemas.microsoft.com/office/drawing/2014/main" id="{E917A8BC-1A5D-426A-B97C-16207AE94251}"/>
              </a:ext>
            </a:extLst>
          </p:cNvPr>
          <p:cNvSpPr txBox="1"/>
          <p:nvPr/>
        </p:nvSpPr>
        <p:spPr>
          <a:xfrm>
            <a:off x="3481262" y="709006"/>
            <a:ext cx="1080120" cy="43088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Arial" panose="020B0604020202020204"/>
                <a:ea typeface="+mn-ea"/>
                <a:cs typeface="+mn-cs"/>
              </a:rPr>
              <a:t>Come e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Arial" panose="020B0604020202020204"/>
                <a:ea typeface="+mn-ea"/>
                <a:cs typeface="+mn-cs"/>
              </a:rPr>
              <a:t>Dove</a:t>
            </a:r>
          </a:p>
        </p:txBody>
      </p:sp>
      <p:sp>
        <p:nvSpPr>
          <p:cNvPr id="63" name="Ovale 62">
            <a:extLst>
              <a:ext uri="{FF2B5EF4-FFF2-40B4-BE49-F238E27FC236}">
                <a16:creationId xmlns:a16="http://schemas.microsoft.com/office/drawing/2014/main" id="{5758A10B-1B0C-4C25-816B-0F19CEDFBF04}"/>
              </a:ext>
            </a:extLst>
          </p:cNvPr>
          <p:cNvSpPr>
            <a:spLocks noChangeAspect="1"/>
          </p:cNvSpPr>
          <p:nvPr/>
        </p:nvSpPr>
        <p:spPr>
          <a:xfrm>
            <a:off x="5720842" y="545183"/>
            <a:ext cx="720000" cy="720000"/>
          </a:xfrm>
          <a:prstGeom prst="ellipse">
            <a:avLst/>
          </a:prstGeom>
          <a:solidFill>
            <a:schemeClr val="bg2">
              <a:lumMod val="90000"/>
            </a:schemeClr>
          </a:solidFill>
          <a:ln w="19050" cap="flat" cmpd="sng" algn="ctr">
            <a:noFill/>
            <a:prstDash val="soli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altLang="ja-JP" sz="1100" b="1" i="0" u="none" strike="noStrike" kern="0" cap="none" spc="0" normalizeH="0" baseline="0" noProof="0">
              <a:ln>
                <a:noFill/>
              </a:ln>
              <a:solidFill>
                <a:srgbClr val="FFFFFF"/>
              </a:solidFill>
              <a:effectLst/>
              <a:uLnTx/>
              <a:uFillTx/>
              <a:latin typeface="Arial"/>
              <a:ea typeface="ＭＳ Ｐゴシック" panose="020B0600070205080204" pitchFamily="34" charset="-128"/>
              <a:cs typeface="Arial" panose="020B0604020202020204" pitchFamily="34" charset="0"/>
            </a:endParaRPr>
          </a:p>
        </p:txBody>
      </p:sp>
      <p:sp>
        <p:nvSpPr>
          <p:cNvPr id="64" name="CasellaDiTesto 63">
            <a:extLst>
              <a:ext uri="{FF2B5EF4-FFF2-40B4-BE49-F238E27FC236}">
                <a16:creationId xmlns:a16="http://schemas.microsoft.com/office/drawing/2014/main" id="{92936F18-929E-4F0A-B6D6-0A45B6DE657E}"/>
              </a:ext>
            </a:extLst>
          </p:cNvPr>
          <p:cNvSpPr txBox="1"/>
          <p:nvPr/>
        </p:nvSpPr>
        <p:spPr>
          <a:xfrm>
            <a:off x="5540782" y="772864"/>
            <a:ext cx="1080120" cy="26161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Arial" panose="020B0604020202020204"/>
                <a:ea typeface="+mn-ea"/>
                <a:cs typeface="+mn-cs"/>
              </a:rPr>
              <a:t>Per chi</a:t>
            </a:r>
          </a:p>
        </p:txBody>
      </p:sp>
      <p:sp>
        <p:nvSpPr>
          <p:cNvPr id="66" name="Ovale 65">
            <a:extLst>
              <a:ext uri="{FF2B5EF4-FFF2-40B4-BE49-F238E27FC236}">
                <a16:creationId xmlns:a16="http://schemas.microsoft.com/office/drawing/2014/main" id="{AF2146EE-055B-4D82-9C7B-762EB63BB49D}"/>
              </a:ext>
            </a:extLst>
          </p:cNvPr>
          <p:cNvSpPr>
            <a:spLocks noChangeAspect="1"/>
          </p:cNvSpPr>
          <p:nvPr/>
        </p:nvSpPr>
        <p:spPr>
          <a:xfrm>
            <a:off x="1626174" y="545183"/>
            <a:ext cx="720000" cy="720000"/>
          </a:xfrm>
          <a:prstGeom prst="ellipse">
            <a:avLst/>
          </a:prstGeom>
          <a:solidFill>
            <a:schemeClr val="bg2">
              <a:lumMod val="90000"/>
            </a:schemeClr>
          </a:solidFill>
          <a:ln w="19050" cap="flat" cmpd="sng" algn="ctr">
            <a:noFill/>
            <a:prstDash val="solid"/>
          </a:ln>
          <a:effectLst/>
        </p:spPr>
        <p:txBody>
          <a:bodyPr rot="0" spcFirstLastPara="0" vertOverflow="overflow" horzOverflow="overflow" vert="horz" wrap="non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altLang="ja-JP" sz="1100" b="1" i="0" u="none" strike="noStrike" kern="0" cap="none" spc="0" normalizeH="0" baseline="0" noProof="0">
              <a:ln>
                <a:noFill/>
              </a:ln>
              <a:solidFill>
                <a:srgbClr val="FFFFFF"/>
              </a:solidFill>
              <a:effectLst/>
              <a:uLnTx/>
              <a:uFillTx/>
              <a:latin typeface="Arial"/>
              <a:ea typeface="ＭＳ Ｐゴシック" panose="020B0600070205080204" pitchFamily="34" charset="-128"/>
              <a:cs typeface="Arial" panose="020B0604020202020204" pitchFamily="34" charset="0"/>
            </a:endParaRPr>
          </a:p>
        </p:txBody>
      </p:sp>
      <p:sp>
        <p:nvSpPr>
          <p:cNvPr id="67" name="CasellaDiTesto 66">
            <a:extLst>
              <a:ext uri="{FF2B5EF4-FFF2-40B4-BE49-F238E27FC236}">
                <a16:creationId xmlns:a16="http://schemas.microsoft.com/office/drawing/2014/main" id="{3AF2228B-6EAF-41E1-9DC4-72CD6B1BA4C0}"/>
              </a:ext>
            </a:extLst>
          </p:cNvPr>
          <p:cNvSpPr txBox="1"/>
          <p:nvPr/>
        </p:nvSpPr>
        <p:spPr>
          <a:xfrm>
            <a:off x="1446114" y="774378"/>
            <a:ext cx="1080120" cy="26161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Arial" panose="020B0604020202020204"/>
                <a:ea typeface="+mn-ea"/>
                <a:cs typeface="+mn-cs"/>
              </a:rPr>
              <a:t>Cosa</a:t>
            </a:r>
          </a:p>
        </p:txBody>
      </p:sp>
      <p:sp>
        <p:nvSpPr>
          <p:cNvPr id="29" name="object 20"/>
          <p:cNvSpPr/>
          <p:nvPr/>
        </p:nvSpPr>
        <p:spPr>
          <a:xfrm>
            <a:off x="4676052" y="3363289"/>
            <a:ext cx="4170045" cy="65246"/>
          </a:xfrm>
          <a:custGeom>
            <a:avLst/>
            <a:gdLst/>
            <a:ahLst/>
            <a:cxnLst/>
            <a:rect l="l" t="t" r="r" b="b"/>
            <a:pathLst>
              <a:path w="5560059" h="86995">
                <a:moveTo>
                  <a:pt x="0" y="86867"/>
                </a:moveTo>
                <a:lnTo>
                  <a:pt x="5559552" y="86867"/>
                </a:lnTo>
                <a:lnTo>
                  <a:pt x="5559552" y="0"/>
                </a:lnTo>
                <a:lnTo>
                  <a:pt x="0" y="0"/>
                </a:lnTo>
                <a:lnTo>
                  <a:pt x="0" y="86867"/>
                </a:lnTo>
                <a:close/>
              </a:path>
            </a:pathLst>
          </a:custGeom>
          <a:solidFill>
            <a:srgbClr val="FDFDFD"/>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918"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53" name="Rettangolo 52">
            <a:extLst>
              <a:ext uri="{FF2B5EF4-FFF2-40B4-BE49-F238E27FC236}">
                <a16:creationId xmlns:a16="http://schemas.microsoft.com/office/drawing/2014/main" id="{E5FE71DA-ECAE-4747-BF1F-D78DDBD18239}"/>
              </a:ext>
            </a:extLst>
          </p:cNvPr>
          <p:cNvSpPr/>
          <p:nvPr/>
        </p:nvSpPr>
        <p:spPr>
          <a:xfrm>
            <a:off x="1098467" y="3435736"/>
            <a:ext cx="7730906" cy="942109"/>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it-IT" sz="1224" b="0" i="0" u="none" strike="noStrike" kern="0" cap="none" spc="0" normalizeH="0" baseline="0" noProof="0">
              <a:ln>
                <a:noFill/>
              </a:ln>
              <a:solidFill>
                <a:srgbClr val="001548"/>
              </a:solidFill>
              <a:effectLst/>
              <a:uLnTx/>
              <a:uFillTx/>
              <a:latin typeface="Arial"/>
              <a:ea typeface="+mn-ea"/>
              <a:cs typeface="+mn-cs"/>
            </a:endParaRPr>
          </a:p>
        </p:txBody>
      </p:sp>
      <p:sp>
        <p:nvSpPr>
          <p:cNvPr id="71" name="CasellaDiTesto 70">
            <a:extLst>
              <a:ext uri="{FF2B5EF4-FFF2-40B4-BE49-F238E27FC236}">
                <a16:creationId xmlns:a16="http://schemas.microsoft.com/office/drawing/2014/main" id="{DB14F59E-6775-48EB-9B81-939D46A4909B}"/>
              </a:ext>
            </a:extLst>
          </p:cNvPr>
          <p:cNvSpPr txBox="1"/>
          <p:nvPr/>
        </p:nvSpPr>
        <p:spPr>
          <a:xfrm>
            <a:off x="53570" y="2757153"/>
            <a:ext cx="955964" cy="261610"/>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100" b="1" i="0" u="none" strike="noStrike" kern="0" cap="none" spc="0" normalizeH="0" baseline="0" noProof="0" err="1">
                <a:ln>
                  <a:noFill/>
                </a:ln>
                <a:solidFill>
                  <a:srgbClr val="415364"/>
                </a:solidFill>
                <a:effectLst/>
                <a:uLnTx/>
                <a:uFillTx/>
                <a:latin typeface="Arial" panose="020B0604020202020204"/>
                <a:ea typeface="+mn-ea"/>
                <a:cs typeface="+mn-cs"/>
              </a:rPr>
              <a:t>InclusiFI</a:t>
            </a:r>
            <a:endParaRPr kumimoji="0" lang="it-IT" sz="1100" b="1" i="0" u="none" strike="noStrike" kern="0" cap="none" spc="0" normalizeH="0" baseline="0" noProof="0">
              <a:ln>
                <a:noFill/>
              </a:ln>
              <a:solidFill>
                <a:srgbClr val="415364"/>
              </a:solidFill>
              <a:effectLst/>
              <a:uLnTx/>
              <a:uFillTx/>
              <a:latin typeface="Arial" panose="020B0604020202020204"/>
              <a:ea typeface="+mn-ea"/>
              <a:cs typeface="+mn-cs"/>
            </a:endParaRPr>
          </a:p>
        </p:txBody>
      </p:sp>
      <p:sp>
        <p:nvSpPr>
          <p:cNvPr id="73" name="Rettangolo 72">
            <a:extLst>
              <a:ext uri="{FF2B5EF4-FFF2-40B4-BE49-F238E27FC236}">
                <a16:creationId xmlns:a16="http://schemas.microsoft.com/office/drawing/2014/main" id="{09234EEF-8A6B-4B14-93A5-13A3EDCF5830}"/>
              </a:ext>
            </a:extLst>
          </p:cNvPr>
          <p:cNvSpPr/>
          <p:nvPr/>
        </p:nvSpPr>
        <p:spPr>
          <a:xfrm>
            <a:off x="1112894" y="2444461"/>
            <a:ext cx="1806839" cy="707886"/>
          </a:xfrm>
          <a:prstGeom prst="rect">
            <a:avLst/>
          </a:prstGeom>
        </p:spPr>
        <p:txBody>
          <a:bodyPr wrap="square">
            <a:spAutoFit/>
          </a:bodyPr>
          <a:lstStyle/>
          <a:p>
            <a:pPr lvl="0" defTabSz="914400" fontAlgn="base">
              <a:spcBef>
                <a:spcPct val="0"/>
              </a:spcBef>
              <a:spcAft>
                <a:spcPct val="0"/>
              </a:spcAft>
              <a:defRPr/>
            </a:pPr>
            <a:r>
              <a:rPr lang="it-IT" sz="1000" kern="0" dirty="0">
                <a:solidFill>
                  <a:srgbClr val="415364"/>
                </a:solidFill>
                <a:cs typeface="Arial"/>
              </a:rPr>
              <a:t>Sostegno all'inclusione finanziaria e all'imprenditorialità nei paesi di origine della diaspora</a:t>
            </a:r>
            <a:endParaRPr lang="it-IT" sz="1000" kern="0" dirty="0">
              <a:solidFill>
                <a:srgbClr val="415364"/>
              </a:solidFill>
            </a:endParaRPr>
          </a:p>
        </p:txBody>
      </p:sp>
      <p:sp>
        <p:nvSpPr>
          <p:cNvPr id="74" name="Rettangolo 73">
            <a:extLst>
              <a:ext uri="{FF2B5EF4-FFF2-40B4-BE49-F238E27FC236}">
                <a16:creationId xmlns:a16="http://schemas.microsoft.com/office/drawing/2014/main" id="{D0EB29AD-B1C0-424C-8C15-3E4ABAB5EF51}"/>
              </a:ext>
            </a:extLst>
          </p:cNvPr>
          <p:cNvSpPr/>
          <p:nvPr/>
        </p:nvSpPr>
        <p:spPr>
          <a:xfrm>
            <a:off x="3001609" y="2444461"/>
            <a:ext cx="1013317" cy="861774"/>
          </a:xfrm>
          <a:prstGeom prst="rect">
            <a:avLst/>
          </a:prstGeom>
        </p:spPr>
        <p:txBody>
          <a:bodyPr wrap="square">
            <a:spAutoFit/>
          </a:bodyPr>
          <a:lstStyle/>
          <a:p>
            <a:pPr marL="171450" marR="0" lvl="0" indent="-171450" algn="l" defTabSz="914400" rtl="0" eaLnBrk="1" fontAlgn="base" latinLnBrk="0" hangingPunct="1">
              <a:lnSpc>
                <a:spcPct val="100000"/>
              </a:lnSpc>
              <a:spcBef>
                <a:spcPts val="600"/>
              </a:spcBef>
              <a:spcAft>
                <a:spcPts val="600"/>
              </a:spcAft>
              <a:buClr>
                <a:srgbClr val="005392"/>
              </a:buClr>
              <a:buSzTx/>
              <a:buFont typeface="Wingdings" panose="05000000000000000000" pitchFamily="2" charset="2"/>
              <a:buChar char="§"/>
              <a:tabLst/>
              <a:defRPr/>
            </a:pPr>
            <a:r>
              <a:rPr kumimoji="0" lang="it-IT" sz="1000" b="0" i="0" u="none" strike="noStrike" kern="0" cap="none" spc="0" normalizeH="0" baseline="0" noProof="0" dirty="0">
                <a:ln>
                  <a:noFill/>
                </a:ln>
                <a:solidFill>
                  <a:srgbClr val="415364"/>
                </a:solidFill>
                <a:effectLst/>
                <a:uLnTx/>
                <a:uFillTx/>
                <a:latin typeface="Arial" panose="020B0604020202020204"/>
                <a:ea typeface="+mn-ea"/>
                <a:cs typeface="Arial"/>
              </a:rPr>
              <a:t>Prestiti</a:t>
            </a:r>
          </a:p>
          <a:p>
            <a:pPr marL="171450" marR="0" lvl="0" indent="-171450" algn="l" defTabSz="914400" rtl="0" eaLnBrk="1" fontAlgn="base" latinLnBrk="0" hangingPunct="1">
              <a:lnSpc>
                <a:spcPct val="100000"/>
              </a:lnSpc>
              <a:spcBef>
                <a:spcPts val="600"/>
              </a:spcBef>
              <a:spcAft>
                <a:spcPts val="600"/>
              </a:spcAft>
              <a:buClr>
                <a:srgbClr val="005392"/>
              </a:buClr>
              <a:buSzTx/>
              <a:buFont typeface="Wingdings" panose="05000000000000000000" pitchFamily="2" charset="2"/>
              <a:buChar char="§"/>
              <a:tabLst/>
              <a:defRPr/>
            </a:pPr>
            <a:r>
              <a:rPr kumimoji="0" lang="en-US" sz="1000" b="0" i="0" u="none" strike="noStrike" kern="0" cap="none" spc="0" normalizeH="0" baseline="0" noProof="0" dirty="0" err="1">
                <a:ln>
                  <a:noFill/>
                </a:ln>
                <a:solidFill>
                  <a:srgbClr val="415364"/>
                </a:solidFill>
                <a:effectLst/>
                <a:uLnTx/>
                <a:uFillTx/>
                <a:latin typeface="Arial" panose="020B0604020202020204"/>
                <a:ea typeface="+mn-ea"/>
                <a:cs typeface="Arial"/>
              </a:rPr>
              <a:t>Garanzie</a:t>
            </a:r>
            <a:endParaRPr kumimoji="0" lang="en-US" sz="1000" b="0" i="0" u="none" strike="noStrike" kern="0" cap="none" spc="0" normalizeH="0" baseline="0" noProof="0" dirty="0">
              <a:ln>
                <a:noFill/>
              </a:ln>
              <a:solidFill>
                <a:srgbClr val="415364"/>
              </a:solidFill>
              <a:effectLst/>
              <a:uLnTx/>
              <a:uFillTx/>
              <a:latin typeface="Arial" panose="020B0604020202020204"/>
              <a:ea typeface="+mn-ea"/>
              <a:cs typeface="Arial"/>
            </a:endParaRPr>
          </a:p>
          <a:p>
            <a:pPr marL="0" marR="0" lvl="0" indent="0" algn="l" defTabSz="914400" rtl="0" eaLnBrk="1" fontAlgn="base" latinLnBrk="0" hangingPunct="1">
              <a:lnSpc>
                <a:spcPct val="100000"/>
              </a:lnSpc>
              <a:spcBef>
                <a:spcPts val="600"/>
              </a:spcBef>
              <a:spcAft>
                <a:spcPts val="600"/>
              </a:spcAft>
              <a:buClr>
                <a:srgbClr val="005392"/>
              </a:buClr>
              <a:buSzTx/>
              <a:buFontTx/>
              <a:buNone/>
              <a:tabLst/>
              <a:defRPr/>
            </a:pPr>
            <a:endParaRPr kumimoji="0" lang="it-IT" sz="1000" b="0" i="0" u="none" strike="noStrike" kern="0" cap="none" spc="0" normalizeH="0" baseline="0" noProof="0" dirty="0">
              <a:ln>
                <a:noFill/>
              </a:ln>
              <a:solidFill>
                <a:srgbClr val="415364"/>
              </a:solidFill>
              <a:effectLst/>
              <a:uLnTx/>
              <a:uFillTx/>
              <a:latin typeface="Arial" panose="020B0604020202020204"/>
              <a:ea typeface="+mn-ea"/>
              <a:cs typeface="+mn-cs"/>
            </a:endParaRPr>
          </a:p>
        </p:txBody>
      </p:sp>
      <p:sp>
        <p:nvSpPr>
          <p:cNvPr id="75" name="Rettangolo 74">
            <a:extLst>
              <a:ext uri="{FF2B5EF4-FFF2-40B4-BE49-F238E27FC236}">
                <a16:creationId xmlns:a16="http://schemas.microsoft.com/office/drawing/2014/main" id="{766832D5-7999-4B28-8121-A47EA6ECA84E}"/>
              </a:ext>
            </a:extLst>
          </p:cNvPr>
          <p:cNvSpPr/>
          <p:nvPr/>
        </p:nvSpPr>
        <p:spPr>
          <a:xfrm>
            <a:off x="4963256" y="2444461"/>
            <a:ext cx="2022672" cy="759182"/>
          </a:xfrm>
          <a:prstGeom prst="rect">
            <a:avLst/>
          </a:prstGeom>
        </p:spPr>
        <p:txBody>
          <a:bodyPr wrap="square">
            <a:spAutoFit/>
          </a:bodyPr>
          <a:lstStyle/>
          <a:p>
            <a:pPr marL="171450" lvl="0" indent="-171450" defTabSz="914400" fontAlgn="base">
              <a:spcBef>
                <a:spcPts val="100"/>
              </a:spcBef>
              <a:spcAft>
                <a:spcPts val="100"/>
              </a:spcAft>
              <a:buClr>
                <a:srgbClr val="005392"/>
              </a:buClr>
              <a:buFont typeface="Wingdings" panose="05000000000000000000" pitchFamily="2" charset="2"/>
              <a:buChar char="§"/>
              <a:defRPr/>
            </a:pPr>
            <a:r>
              <a:rPr lang="it-IT" sz="1000" dirty="0">
                <a:solidFill>
                  <a:srgbClr val="415364"/>
                </a:solidFill>
                <a:cs typeface="Arial"/>
              </a:rPr>
              <a:t>Micro, piccole e medie imprese locali (MPMI)</a:t>
            </a:r>
          </a:p>
          <a:p>
            <a:pPr marL="171450" lvl="0" indent="-171450" defTabSz="914400" fontAlgn="base">
              <a:spcBef>
                <a:spcPts val="100"/>
              </a:spcBef>
              <a:spcAft>
                <a:spcPts val="100"/>
              </a:spcAft>
              <a:buClr>
                <a:srgbClr val="005392"/>
              </a:buClr>
              <a:buFont typeface="Wingdings" panose="05000000000000000000" pitchFamily="2" charset="2"/>
              <a:buChar char="§"/>
              <a:defRPr/>
            </a:pPr>
            <a:endParaRPr lang="it-IT" sz="1000" dirty="0">
              <a:solidFill>
                <a:srgbClr val="415364"/>
              </a:solidFill>
              <a:cs typeface="Arial"/>
            </a:endParaRPr>
          </a:p>
          <a:p>
            <a:pPr marL="171450" lvl="0" indent="-171450" defTabSz="914400" fontAlgn="base">
              <a:spcBef>
                <a:spcPts val="100"/>
              </a:spcBef>
              <a:spcAft>
                <a:spcPts val="100"/>
              </a:spcAft>
              <a:buClr>
                <a:srgbClr val="005392"/>
              </a:buClr>
              <a:buFont typeface="Wingdings" panose="05000000000000000000" pitchFamily="2" charset="2"/>
              <a:buChar char="§"/>
              <a:defRPr/>
            </a:pPr>
            <a:r>
              <a:rPr lang="it-IT" sz="1000" dirty="0">
                <a:solidFill>
                  <a:srgbClr val="415364"/>
                </a:solidFill>
                <a:cs typeface="Arial"/>
              </a:rPr>
              <a:t>Fondi di garanzia locali</a:t>
            </a:r>
          </a:p>
        </p:txBody>
      </p:sp>
      <p:sp>
        <p:nvSpPr>
          <p:cNvPr id="76" name="Rettangolo 75">
            <a:extLst>
              <a:ext uri="{FF2B5EF4-FFF2-40B4-BE49-F238E27FC236}">
                <a16:creationId xmlns:a16="http://schemas.microsoft.com/office/drawing/2014/main" id="{66CA8DE8-70C4-4278-B34D-12890CA73F8E}"/>
              </a:ext>
            </a:extLst>
          </p:cNvPr>
          <p:cNvSpPr/>
          <p:nvPr/>
        </p:nvSpPr>
        <p:spPr>
          <a:xfrm>
            <a:off x="3999420" y="2444461"/>
            <a:ext cx="883115" cy="246221"/>
          </a:xfrm>
          <a:prstGeom prst="rect">
            <a:avLst/>
          </a:prstGeom>
        </p:spPr>
        <p:txBody>
          <a:bodyPr wrap="square">
            <a:spAutoFit/>
          </a:bodyPr>
          <a:lstStyle/>
          <a:p>
            <a:pPr marL="171450" marR="0" lvl="0" indent="-171450" algn="l" defTabSz="914400" rtl="0" eaLnBrk="1" fontAlgn="base" latinLnBrk="0" hangingPunct="1">
              <a:lnSpc>
                <a:spcPct val="100000"/>
              </a:lnSpc>
              <a:spcBef>
                <a:spcPts val="100"/>
              </a:spcBef>
              <a:spcAft>
                <a:spcPts val="100"/>
              </a:spcAft>
              <a:buClr>
                <a:srgbClr val="005392"/>
              </a:buClr>
              <a:buSzTx/>
              <a:buFont typeface="Wingdings" panose="05000000000000000000" pitchFamily="2" charset="2"/>
              <a:buChar char="§"/>
              <a:tabLst/>
              <a:defRPr/>
            </a:pPr>
            <a:r>
              <a:rPr lang="it-IT" sz="1000" kern="0" dirty="0">
                <a:solidFill>
                  <a:srgbClr val="415364"/>
                </a:solidFill>
                <a:latin typeface="Arial" panose="020B0604020202020204"/>
                <a:cs typeface="Arial"/>
              </a:rPr>
              <a:t>Africa</a:t>
            </a:r>
            <a:endParaRPr lang="it-IT" sz="1000" kern="0" dirty="0">
              <a:solidFill>
                <a:srgbClr val="415364"/>
              </a:solidFill>
            </a:endParaRPr>
          </a:p>
        </p:txBody>
      </p:sp>
      <p:sp>
        <p:nvSpPr>
          <p:cNvPr id="77" name="Rettangolo 76">
            <a:extLst>
              <a:ext uri="{FF2B5EF4-FFF2-40B4-BE49-F238E27FC236}">
                <a16:creationId xmlns:a16="http://schemas.microsoft.com/office/drawing/2014/main" id="{417A05A1-34CE-4B91-A18A-2ABB13911FED}"/>
              </a:ext>
            </a:extLst>
          </p:cNvPr>
          <p:cNvSpPr/>
          <p:nvPr/>
        </p:nvSpPr>
        <p:spPr>
          <a:xfrm>
            <a:off x="7056758" y="2444461"/>
            <a:ext cx="1787044" cy="246221"/>
          </a:xfrm>
          <a:prstGeom prst="rect">
            <a:avLst/>
          </a:prstGeom>
        </p:spPr>
        <p:txBody>
          <a:bodyPr wrap="square">
            <a:spAutoFit/>
          </a:bodyPr>
          <a:lstStyle/>
          <a:p>
            <a:pPr marL="171450" marR="0" lvl="0" indent="-171450" algn="l" defTabSz="914400" rtl="0" eaLnBrk="1" fontAlgn="base" latinLnBrk="0" hangingPunct="1">
              <a:lnSpc>
                <a:spcPct val="100000"/>
              </a:lnSpc>
              <a:spcBef>
                <a:spcPts val="600"/>
              </a:spcBef>
              <a:spcAft>
                <a:spcPts val="600"/>
              </a:spcAft>
              <a:buClr>
                <a:srgbClr val="005392"/>
              </a:buClr>
              <a:buSzTx/>
              <a:buFont typeface="Wingdings" panose="05000000000000000000" pitchFamily="2" charset="2"/>
              <a:buChar char="§"/>
              <a:tabLst/>
              <a:defRPr/>
            </a:pPr>
            <a:r>
              <a:rPr kumimoji="0" lang="en-US" sz="1000" b="0" i="0" u="none" strike="noStrike" kern="0" cap="none" spc="0" normalizeH="0" baseline="0" noProof="0" dirty="0" err="1">
                <a:ln>
                  <a:noFill/>
                </a:ln>
                <a:solidFill>
                  <a:srgbClr val="415364"/>
                </a:solidFill>
                <a:effectLst/>
                <a:uLnTx/>
                <a:uFillTx/>
                <a:latin typeface="Arial" panose="020B0604020202020204"/>
                <a:ea typeface="+mn-ea"/>
                <a:cs typeface="Arial"/>
              </a:rPr>
              <a:t>Attraverso</a:t>
            </a:r>
            <a:r>
              <a:rPr kumimoji="0" lang="en-US" sz="1000" b="0" i="0" u="none" strike="noStrike" kern="0" cap="none" spc="0" normalizeH="0" baseline="0" noProof="0" dirty="0">
                <a:ln>
                  <a:noFill/>
                </a:ln>
                <a:solidFill>
                  <a:srgbClr val="415364"/>
                </a:solidFill>
                <a:effectLst/>
                <a:uLnTx/>
                <a:uFillTx/>
                <a:latin typeface="Arial" panose="020B0604020202020204"/>
                <a:ea typeface="+mn-ea"/>
                <a:cs typeface="Arial"/>
              </a:rPr>
              <a:t> </a:t>
            </a:r>
            <a:r>
              <a:rPr kumimoji="0" lang="en-US" sz="1000" b="0" i="0" u="none" strike="noStrike" kern="0" cap="none" spc="0" normalizeH="0" baseline="0" noProof="0" dirty="0" err="1">
                <a:ln>
                  <a:noFill/>
                </a:ln>
                <a:solidFill>
                  <a:srgbClr val="415364"/>
                </a:solidFill>
                <a:effectLst/>
                <a:uLnTx/>
                <a:uFillTx/>
                <a:latin typeface="Arial" panose="020B0604020202020204"/>
                <a:ea typeface="+mn-ea"/>
                <a:cs typeface="Arial"/>
              </a:rPr>
              <a:t>banche</a:t>
            </a:r>
            <a:r>
              <a:rPr kumimoji="0" lang="en-US" sz="1000" b="0" i="0" u="none" strike="noStrike" kern="0" cap="none" spc="0" normalizeH="0" baseline="0" noProof="0" dirty="0">
                <a:ln>
                  <a:noFill/>
                </a:ln>
                <a:solidFill>
                  <a:srgbClr val="415364"/>
                </a:solidFill>
                <a:effectLst/>
                <a:uLnTx/>
                <a:uFillTx/>
                <a:latin typeface="Arial" panose="020B0604020202020204"/>
                <a:ea typeface="+mn-ea"/>
                <a:cs typeface="Arial"/>
              </a:rPr>
              <a:t> </a:t>
            </a:r>
            <a:r>
              <a:rPr kumimoji="0" lang="en-US" sz="1000" b="0" i="0" u="none" strike="noStrike" kern="0" cap="none" spc="0" normalizeH="0" baseline="0" noProof="0" dirty="0" err="1">
                <a:ln>
                  <a:noFill/>
                </a:ln>
                <a:solidFill>
                  <a:srgbClr val="415364"/>
                </a:solidFill>
                <a:effectLst/>
                <a:uLnTx/>
                <a:uFillTx/>
                <a:latin typeface="Arial" panose="020B0604020202020204"/>
                <a:ea typeface="+mn-ea"/>
                <a:cs typeface="Arial"/>
              </a:rPr>
              <a:t>locali</a:t>
            </a:r>
            <a:endParaRPr kumimoji="0" lang="en-US" sz="1000" b="0" i="0" u="none" strike="noStrike" kern="0" cap="none" spc="0" normalizeH="0" baseline="0" noProof="0" dirty="0">
              <a:ln>
                <a:noFill/>
              </a:ln>
              <a:solidFill>
                <a:srgbClr val="415364"/>
              </a:solidFill>
              <a:effectLst/>
              <a:uLnTx/>
              <a:uFillTx/>
              <a:latin typeface="Arial" panose="020B0604020202020204"/>
              <a:ea typeface="+mn-ea"/>
              <a:cs typeface="+mn-cs"/>
            </a:endParaRPr>
          </a:p>
        </p:txBody>
      </p:sp>
      <p:pic>
        <p:nvPicPr>
          <p:cNvPr id="90" name="Immagine 89">
            <a:extLst>
              <a:ext uri="{FF2B5EF4-FFF2-40B4-BE49-F238E27FC236}">
                <a16:creationId xmlns:a16="http://schemas.microsoft.com/office/drawing/2014/main" id="{7E9E6D68-FE0F-4E74-8422-1B99FBFD529A}"/>
              </a:ext>
            </a:extLst>
          </p:cNvPr>
          <p:cNvPicPr>
            <a:picLocks noChangeAspect="1"/>
          </p:cNvPicPr>
          <p:nvPr/>
        </p:nvPicPr>
        <p:blipFill>
          <a:blip r:embed="rId7"/>
          <a:stretch>
            <a:fillRect/>
          </a:stretch>
        </p:blipFill>
        <p:spPr>
          <a:xfrm>
            <a:off x="7431357" y="2836485"/>
            <a:ext cx="1152112" cy="339539"/>
          </a:xfrm>
          <a:prstGeom prst="rect">
            <a:avLst/>
          </a:prstGeom>
        </p:spPr>
      </p:pic>
      <p:sp>
        <p:nvSpPr>
          <p:cNvPr id="54" name="Rettangolo 53">
            <a:extLst>
              <a:ext uri="{FF2B5EF4-FFF2-40B4-BE49-F238E27FC236}">
                <a16:creationId xmlns:a16="http://schemas.microsoft.com/office/drawing/2014/main" id="{B7F7ABCD-D867-4E24-B2E2-B886F562FC96}"/>
              </a:ext>
            </a:extLst>
          </p:cNvPr>
          <p:cNvSpPr/>
          <p:nvPr/>
        </p:nvSpPr>
        <p:spPr>
          <a:xfrm>
            <a:off x="1098467" y="3418999"/>
            <a:ext cx="7730906" cy="942109"/>
          </a:xfrm>
          <a:prstGeom prst="rect">
            <a:avLst/>
          </a:prstGeom>
          <a:noFill/>
          <a:ln w="9525"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it-IT" sz="1224" b="0" i="0" u="none" strike="noStrike" kern="0" cap="none" spc="0" normalizeH="0" baseline="0" noProof="0">
              <a:ln>
                <a:noFill/>
              </a:ln>
              <a:solidFill>
                <a:srgbClr val="001548"/>
              </a:solidFill>
              <a:effectLst/>
              <a:uLnTx/>
              <a:uFillTx/>
              <a:latin typeface="Arial"/>
              <a:ea typeface="+mn-ea"/>
              <a:cs typeface="+mn-cs"/>
            </a:endParaRPr>
          </a:p>
        </p:txBody>
      </p:sp>
      <p:sp>
        <p:nvSpPr>
          <p:cNvPr id="72" name="CasellaDiTesto 71">
            <a:extLst>
              <a:ext uri="{FF2B5EF4-FFF2-40B4-BE49-F238E27FC236}">
                <a16:creationId xmlns:a16="http://schemas.microsoft.com/office/drawing/2014/main" id="{D4E69456-8E0B-4FAE-9A7C-55378B3F1B3A}"/>
              </a:ext>
            </a:extLst>
          </p:cNvPr>
          <p:cNvSpPr txBox="1"/>
          <p:nvPr/>
        </p:nvSpPr>
        <p:spPr>
          <a:xfrm>
            <a:off x="-57266" y="3706214"/>
            <a:ext cx="1177637" cy="43088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100" b="1" i="0" u="none" strike="noStrike" kern="0" cap="none" spc="0" normalizeH="0" baseline="0" noProof="0" err="1">
                <a:ln>
                  <a:noFill/>
                </a:ln>
                <a:solidFill>
                  <a:srgbClr val="415364"/>
                </a:solidFill>
                <a:effectLst/>
                <a:uLnTx/>
                <a:uFillTx/>
                <a:latin typeface="Arial" panose="020B0604020202020204"/>
                <a:ea typeface="+mn-ea"/>
                <a:cs typeface="+mn-cs"/>
              </a:rPr>
              <a:t>Archipelagos</a:t>
            </a:r>
            <a:r>
              <a:rPr kumimoji="0" lang="it-IT" sz="1100" b="1" i="0" u="none" strike="noStrike" kern="0" cap="none" spc="0" normalizeH="0" baseline="0" noProof="0">
                <a:ln>
                  <a:noFill/>
                </a:ln>
                <a:solidFill>
                  <a:srgbClr val="415364"/>
                </a:solidFill>
                <a:effectLst/>
                <a:uLnTx/>
                <a:uFillTx/>
                <a:latin typeface="Arial" panose="020B0604020202020204"/>
                <a:ea typeface="+mn-ea"/>
                <a:cs typeface="+mn-cs"/>
              </a:rPr>
              <a:t>- ONE4A</a:t>
            </a:r>
          </a:p>
        </p:txBody>
      </p:sp>
      <p:sp>
        <p:nvSpPr>
          <p:cNvPr id="78" name="Rettangolo 77">
            <a:extLst>
              <a:ext uri="{FF2B5EF4-FFF2-40B4-BE49-F238E27FC236}">
                <a16:creationId xmlns:a16="http://schemas.microsoft.com/office/drawing/2014/main" id="{CD682015-A3D2-4E95-9141-0627930BCF83}"/>
              </a:ext>
            </a:extLst>
          </p:cNvPr>
          <p:cNvSpPr/>
          <p:nvPr/>
        </p:nvSpPr>
        <p:spPr>
          <a:xfrm>
            <a:off x="1112894" y="3442655"/>
            <a:ext cx="1806839" cy="861774"/>
          </a:xfrm>
          <a:prstGeom prst="rect">
            <a:avLst/>
          </a:prstGeom>
        </p:spPr>
        <p:txBody>
          <a:bodyPr wrap="square">
            <a:spAutoFit/>
          </a:bodyPr>
          <a:lstStyle/>
          <a:p>
            <a:pPr lvl="0" defTabSz="914400" fontAlgn="base">
              <a:spcBef>
                <a:spcPct val="0"/>
              </a:spcBef>
              <a:spcAft>
                <a:spcPct val="0"/>
              </a:spcAft>
              <a:defRPr/>
            </a:pPr>
            <a:r>
              <a:rPr lang="it-IT" sz="1000" kern="0" dirty="0">
                <a:solidFill>
                  <a:srgbClr val="415364"/>
                </a:solidFill>
                <a:cs typeface="Arial"/>
              </a:rPr>
              <a:t>Supporto alla crescita di imprese africane ad alto potenziale tramiti strumenti di finanza innovativa (mercato dei capitali)</a:t>
            </a:r>
            <a:endParaRPr lang="it-IT" sz="1000" kern="0" dirty="0">
              <a:solidFill>
                <a:srgbClr val="415364"/>
              </a:solidFill>
            </a:endParaRPr>
          </a:p>
        </p:txBody>
      </p:sp>
      <p:sp>
        <p:nvSpPr>
          <p:cNvPr id="79" name="Rettangolo 78">
            <a:extLst>
              <a:ext uri="{FF2B5EF4-FFF2-40B4-BE49-F238E27FC236}">
                <a16:creationId xmlns:a16="http://schemas.microsoft.com/office/drawing/2014/main" id="{B6D3EA73-521E-4858-A714-06B7D18628A9}"/>
              </a:ext>
            </a:extLst>
          </p:cNvPr>
          <p:cNvSpPr/>
          <p:nvPr/>
        </p:nvSpPr>
        <p:spPr>
          <a:xfrm>
            <a:off x="3007249" y="3442655"/>
            <a:ext cx="1141118" cy="553998"/>
          </a:xfrm>
          <a:prstGeom prst="rect">
            <a:avLst/>
          </a:prstGeom>
        </p:spPr>
        <p:txBody>
          <a:bodyPr wrap="square">
            <a:spAutoFit/>
          </a:bodyPr>
          <a:lstStyle/>
          <a:p>
            <a:pPr marL="171450" lvl="0" indent="-171450" defTabSz="914400" fontAlgn="base">
              <a:spcBef>
                <a:spcPts val="600"/>
              </a:spcBef>
              <a:spcAft>
                <a:spcPts val="600"/>
              </a:spcAft>
              <a:buClr>
                <a:srgbClr val="005392"/>
              </a:buClr>
              <a:buFont typeface="Wingdings" panose="05000000000000000000" pitchFamily="2" charset="2"/>
              <a:buChar char="§"/>
              <a:defRPr/>
            </a:pPr>
            <a:r>
              <a:rPr lang="it-IT" sz="1000" kern="0" dirty="0">
                <a:solidFill>
                  <a:srgbClr val="415364"/>
                </a:solidFill>
                <a:cs typeface="Arial"/>
              </a:rPr>
              <a:t>Prestiti</a:t>
            </a:r>
          </a:p>
          <a:p>
            <a:pPr marL="171450" lvl="0" indent="-171450" defTabSz="914400" fontAlgn="base">
              <a:spcBef>
                <a:spcPts val="600"/>
              </a:spcBef>
              <a:spcAft>
                <a:spcPts val="600"/>
              </a:spcAft>
              <a:buClr>
                <a:srgbClr val="005392"/>
              </a:buClr>
              <a:buFont typeface="Wingdings" panose="05000000000000000000" pitchFamily="2" charset="2"/>
              <a:buChar char="§"/>
              <a:defRPr/>
            </a:pPr>
            <a:r>
              <a:rPr lang="en-US" sz="1000" kern="0" dirty="0" err="1">
                <a:solidFill>
                  <a:srgbClr val="415364"/>
                </a:solidFill>
                <a:cs typeface="Arial"/>
              </a:rPr>
              <a:t>Garanzie</a:t>
            </a:r>
            <a:endParaRPr lang="en-US" sz="1000" kern="0" dirty="0">
              <a:solidFill>
                <a:srgbClr val="415364"/>
              </a:solidFill>
              <a:cs typeface="Arial"/>
            </a:endParaRPr>
          </a:p>
        </p:txBody>
      </p:sp>
      <p:sp>
        <p:nvSpPr>
          <p:cNvPr id="80" name="Rettangolo 79">
            <a:extLst>
              <a:ext uri="{FF2B5EF4-FFF2-40B4-BE49-F238E27FC236}">
                <a16:creationId xmlns:a16="http://schemas.microsoft.com/office/drawing/2014/main" id="{34B1DB90-8A76-41C0-8DC1-0FAA09B09EA5}"/>
              </a:ext>
            </a:extLst>
          </p:cNvPr>
          <p:cNvSpPr/>
          <p:nvPr/>
        </p:nvSpPr>
        <p:spPr>
          <a:xfrm>
            <a:off x="3999420" y="3442655"/>
            <a:ext cx="985024" cy="246221"/>
          </a:xfrm>
          <a:prstGeom prst="rect">
            <a:avLst/>
          </a:prstGeom>
        </p:spPr>
        <p:txBody>
          <a:bodyPr wrap="square">
            <a:spAutoFit/>
          </a:bodyPr>
          <a:lstStyle/>
          <a:p>
            <a:pPr marL="171450" marR="0" lvl="0" indent="-171450" algn="l" defTabSz="914400" rtl="0" eaLnBrk="1" fontAlgn="base" latinLnBrk="0" hangingPunct="1">
              <a:lnSpc>
                <a:spcPct val="100000"/>
              </a:lnSpc>
              <a:spcBef>
                <a:spcPts val="100"/>
              </a:spcBef>
              <a:spcAft>
                <a:spcPts val="100"/>
              </a:spcAft>
              <a:buClr>
                <a:srgbClr val="005392"/>
              </a:buClr>
              <a:buSzTx/>
              <a:buFont typeface="Wingdings" panose="05000000000000000000" pitchFamily="2" charset="2"/>
              <a:buChar char="§"/>
              <a:tabLst/>
              <a:defRPr/>
            </a:pPr>
            <a:r>
              <a:rPr kumimoji="0" lang="it-IT" sz="1000" b="0" i="0" u="none" strike="noStrike" kern="0" cap="none" spc="0" normalizeH="0" baseline="0" noProof="0" dirty="0">
                <a:ln>
                  <a:noFill/>
                </a:ln>
                <a:solidFill>
                  <a:srgbClr val="415364"/>
                </a:solidFill>
                <a:effectLst/>
                <a:uLnTx/>
                <a:uFillTx/>
                <a:latin typeface="Arial" panose="020B0604020202020204"/>
                <a:ea typeface="+mn-ea"/>
                <a:cs typeface="Arial"/>
              </a:rPr>
              <a:t>Africa</a:t>
            </a:r>
            <a:endParaRPr kumimoji="0" lang="it-IT" sz="1000" b="0" i="0" u="none" strike="noStrike" kern="0" cap="none" spc="0" normalizeH="0" baseline="0" noProof="0" dirty="0">
              <a:ln>
                <a:noFill/>
              </a:ln>
              <a:solidFill>
                <a:srgbClr val="415364"/>
              </a:solidFill>
              <a:effectLst/>
              <a:uLnTx/>
              <a:uFillTx/>
              <a:latin typeface="Arial" panose="020B0604020202020204"/>
              <a:ea typeface="+mn-ea"/>
              <a:cs typeface="+mn-cs"/>
            </a:endParaRPr>
          </a:p>
        </p:txBody>
      </p:sp>
      <p:sp>
        <p:nvSpPr>
          <p:cNvPr id="81" name="Rettangolo 80">
            <a:extLst>
              <a:ext uri="{FF2B5EF4-FFF2-40B4-BE49-F238E27FC236}">
                <a16:creationId xmlns:a16="http://schemas.microsoft.com/office/drawing/2014/main" id="{AC02C309-9247-426C-920E-A656BD815716}"/>
              </a:ext>
            </a:extLst>
          </p:cNvPr>
          <p:cNvSpPr/>
          <p:nvPr/>
        </p:nvSpPr>
        <p:spPr>
          <a:xfrm>
            <a:off x="7066228" y="3442655"/>
            <a:ext cx="1755499" cy="400110"/>
          </a:xfrm>
          <a:prstGeom prst="rect">
            <a:avLst/>
          </a:prstGeom>
        </p:spPr>
        <p:txBody>
          <a:bodyPr wrap="square">
            <a:spAutoFit/>
          </a:bodyPr>
          <a:lstStyle/>
          <a:p>
            <a:pPr marL="171450" indent="-171450" defTabSz="914400" fontAlgn="base">
              <a:spcBef>
                <a:spcPts val="600"/>
              </a:spcBef>
              <a:spcAft>
                <a:spcPts val="600"/>
              </a:spcAft>
              <a:buClr>
                <a:srgbClr val="005392"/>
              </a:buClr>
              <a:buFont typeface="Wingdings" panose="05000000000000000000" pitchFamily="2" charset="2"/>
              <a:buChar char="§"/>
              <a:defRPr/>
            </a:pPr>
            <a:r>
              <a:rPr lang="en-US" sz="1000" kern="0" dirty="0" err="1">
                <a:solidFill>
                  <a:srgbClr val="415364"/>
                </a:solidFill>
                <a:cs typeface="Arial"/>
              </a:rPr>
              <a:t>Attraverso</a:t>
            </a:r>
            <a:r>
              <a:rPr lang="en-US" sz="1000" kern="0" dirty="0">
                <a:solidFill>
                  <a:srgbClr val="415364"/>
                </a:solidFill>
                <a:cs typeface="Arial"/>
              </a:rPr>
              <a:t> </a:t>
            </a:r>
            <a:r>
              <a:rPr lang="en-US" sz="1000" kern="0" dirty="0" err="1">
                <a:solidFill>
                  <a:srgbClr val="415364"/>
                </a:solidFill>
                <a:cs typeface="Arial"/>
              </a:rPr>
              <a:t>banche</a:t>
            </a:r>
            <a:r>
              <a:rPr lang="en-US" sz="1000" kern="0" dirty="0">
                <a:solidFill>
                  <a:srgbClr val="415364"/>
                </a:solidFill>
                <a:cs typeface="Arial"/>
              </a:rPr>
              <a:t> </a:t>
            </a:r>
            <a:r>
              <a:rPr lang="en-US" sz="1000" kern="0" dirty="0" err="1">
                <a:solidFill>
                  <a:srgbClr val="415364"/>
                </a:solidFill>
                <a:cs typeface="Arial"/>
              </a:rPr>
              <a:t>locali</a:t>
            </a:r>
            <a:r>
              <a:rPr lang="en-US" sz="1000" kern="0" dirty="0">
                <a:solidFill>
                  <a:srgbClr val="415364"/>
                </a:solidFill>
              </a:rPr>
              <a:t> e </a:t>
            </a:r>
            <a:r>
              <a:rPr kumimoji="0" lang="en-US" sz="1000" b="0" i="0" u="none" strike="noStrike" kern="0" cap="none" spc="0" normalizeH="0" baseline="0" noProof="0" dirty="0" err="1">
                <a:ln>
                  <a:noFill/>
                </a:ln>
                <a:solidFill>
                  <a:srgbClr val="415364"/>
                </a:solidFill>
                <a:effectLst/>
                <a:uLnTx/>
                <a:uFillTx/>
                <a:latin typeface="Arial" panose="020B0604020202020204"/>
                <a:ea typeface="+mn-ea"/>
                <a:cs typeface="Arial"/>
              </a:rPr>
              <a:t>Borse</a:t>
            </a:r>
            <a:r>
              <a:rPr kumimoji="0" lang="en-US" sz="1000" b="0" i="0" u="none" strike="noStrike" kern="0" cap="none" spc="0" normalizeH="0" baseline="0" noProof="0" dirty="0">
                <a:ln>
                  <a:noFill/>
                </a:ln>
                <a:solidFill>
                  <a:srgbClr val="415364"/>
                </a:solidFill>
                <a:effectLst/>
                <a:uLnTx/>
                <a:uFillTx/>
                <a:latin typeface="Arial" panose="020B0604020202020204"/>
                <a:ea typeface="+mn-ea"/>
                <a:cs typeface="Arial"/>
              </a:rPr>
              <a:t> </a:t>
            </a:r>
            <a:r>
              <a:rPr kumimoji="0" lang="en-US" sz="1000" b="0" i="0" u="none" strike="noStrike" kern="0" cap="none" spc="0" normalizeH="0" baseline="0" noProof="0" dirty="0" err="1">
                <a:ln>
                  <a:noFill/>
                </a:ln>
                <a:solidFill>
                  <a:srgbClr val="415364"/>
                </a:solidFill>
                <a:effectLst/>
                <a:uLnTx/>
                <a:uFillTx/>
                <a:latin typeface="Arial" panose="020B0604020202020204"/>
                <a:ea typeface="+mn-ea"/>
                <a:cs typeface="Arial"/>
              </a:rPr>
              <a:t>Valori</a:t>
            </a:r>
            <a:r>
              <a:rPr kumimoji="0" lang="en-US" sz="1000" b="0" i="0" u="none" strike="noStrike" kern="0" cap="none" spc="0" normalizeH="0" baseline="0" noProof="0" dirty="0">
                <a:ln>
                  <a:noFill/>
                </a:ln>
                <a:solidFill>
                  <a:srgbClr val="415364"/>
                </a:solidFill>
                <a:effectLst/>
                <a:uLnTx/>
                <a:uFillTx/>
                <a:latin typeface="Arial" panose="020B0604020202020204"/>
                <a:ea typeface="+mn-ea"/>
                <a:cs typeface="Arial"/>
              </a:rPr>
              <a:t> </a:t>
            </a:r>
            <a:r>
              <a:rPr kumimoji="0" lang="en-US" sz="1000" b="0" i="0" u="none" strike="noStrike" kern="0" cap="none" spc="0" normalizeH="0" baseline="0" noProof="0" dirty="0" err="1">
                <a:ln>
                  <a:noFill/>
                </a:ln>
                <a:solidFill>
                  <a:srgbClr val="415364"/>
                </a:solidFill>
                <a:effectLst/>
                <a:uLnTx/>
                <a:uFillTx/>
                <a:latin typeface="Arial" panose="020B0604020202020204"/>
                <a:ea typeface="+mn-ea"/>
                <a:cs typeface="Arial"/>
              </a:rPr>
              <a:t>locali</a:t>
            </a:r>
            <a:endParaRPr kumimoji="0" lang="en-US" sz="1000" b="0" i="0" u="none" strike="noStrike" kern="0" cap="none" spc="0" normalizeH="0" baseline="0" noProof="0" dirty="0">
              <a:ln>
                <a:noFill/>
              </a:ln>
              <a:solidFill>
                <a:srgbClr val="415364"/>
              </a:solidFill>
              <a:effectLst/>
              <a:uLnTx/>
              <a:uFillTx/>
              <a:latin typeface="Arial" panose="020B0604020202020204"/>
              <a:ea typeface="+mn-ea"/>
              <a:cs typeface="+mn-cs"/>
            </a:endParaRPr>
          </a:p>
        </p:txBody>
      </p:sp>
      <p:sp>
        <p:nvSpPr>
          <p:cNvPr id="82" name="Rettangolo 81">
            <a:extLst>
              <a:ext uri="{FF2B5EF4-FFF2-40B4-BE49-F238E27FC236}">
                <a16:creationId xmlns:a16="http://schemas.microsoft.com/office/drawing/2014/main" id="{C6B14950-B947-45BB-AA41-F64BAC781F25}"/>
              </a:ext>
            </a:extLst>
          </p:cNvPr>
          <p:cNvSpPr/>
          <p:nvPr/>
        </p:nvSpPr>
        <p:spPr>
          <a:xfrm>
            <a:off x="4964462" y="3442655"/>
            <a:ext cx="2136217" cy="707886"/>
          </a:xfrm>
          <a:prstGeom prst="rect">
            <a:avLst/>
          </a:prstGeom>
        </p:spPr>
        <p:txBody>
          <a:bodyPr wrap="square">
            <a:spAutoFit/>
          </a:bodyPr>
          <a:lstStyle/>
          <a:p>
            <a:pPr marL="171450" lvl="0" indent="-171450" defTabSz="914400" fontAlgn="base">
              <a:spcBef>
                <a:spcPts val="100"/>
              </a:spcBef>
              <a:spcAft>
                <a:spcPts val="100"/>
              </a:spcAft>
              <a:buClr>
                <a:srgbClr val="005392"/>
              </a:buClr>
              <a:buFont typeface="Wingdings" panose="05000000000000000000" pitchFamily="2" charset="2"/>
              <a:buChar char="§"/>
              <a:defRPr/>
            </a:pPr>
            <a:r>
              <a:rPr lang="it-IT" sz="1000" kern="0" dirty="0">
                <a:solidFill>
                  <a:srgbClr val="415364"/>
                </a:solidFill>
                <a:cs typeface="Arial"/>
              </a:rPr>
              <a:t>Piccole e medie imprese locali (PMI) ad alto potenziale di crescita e con una proiezione verso i mercati internazionali</a:t>
            </a:r>
          </a:p>
        </p:txBody>
      </p:sp>
      <p:pic>
        <p:nvPicPr>
          <p:cNvPr id="91" name="Immagine 90">
            <a:extLst>
              <a:ext uri="{FF2B5EF4-FFF2-40B4-BE49-F238E27FC236}">
                <a16:creationId xmlns:a16="http://schemas.microsoft.com/office/drawing/2014/main" id="{EC86DAD9-6A38-4A5B-8413-7E3D9E52B656}"/>
              </a:ext>
            </a:extLst>
          </p:cNvPr>
          <p:cNvPicPr>
            <a:picLocks noChangeAspect="1"/>
          </p:cNvPicPr>
          <p:nvPr/>
        </p:nvPicPr>
        <p:blipFill>
          <a:blip r:embed="rId8"/>
          <a:stretch>
            <a:fillRect/>
          </a:stretch>
        </p:blipFill>
        <p:spPr>
          <a:xfrm>
            <a:off x="7331210" y="3864102"/>
            <a:ext cx="1225534" cy="528610"/>
          </a:xfrm>
          <a:prstGeom prst="rect">
            <a:avLst/>
          </a:prstGeom>
        </p:spPr>
      </p:pic>
      <p:sp>
        <p:nvSpPr>
          <p:cNvPr id="55" name="Rettangolo 54">
            <a:extLst>
              <a:ext uri="{FF2B5EF4-FFF2-40B4-BE49-F238E27FC236}">
                <a16:creationId xmlns:a16="http://schemas.microsoft.com/office/drawing/2014/main" id="{40340A66-2453-431B-99D9-AFE4E9087B4A}"/>
              </a:ext>
            </a:extLst>
          </p:cNvPr>
          <p:cNvSpPr/>
          <p:nvPr/>
        </p:nvSpPr>
        <p:spPr>
          <a:xfrm>
            <a:off x="1098467" y="1462385"/>
            <a:ext cx="7730906" cy="942109"/>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it-IT" sz="1224" b="0" i="0" u="none" strike="noStrike" kern="0" cap="none" spc="0" normalizeH="0" baseline="0" noProof="0">
              <a:ln>
                <a:noFill/>
              </a:ln>
              <a:solidFill>
                <a:srgbClr val="FFFFFF"/>
              </a:solidFill>
              <a:effectLst/>
              <a:uLnTx/>
              <a:uFillTx/>
              <a:latin typeface="Arial"/>
              <a:ea typeface="+mn-ea"/>
              <a:cs typeface="+mn-cs"/>
            </a:endParaRPr>
          </a:p>
        </p:txBody>
      </p:sp>
      <p:sp>
        <p:nvSpPr>
          <p:cNvPr id="83" name="Rettangolo 82">
            <a:extLst>
              <a:ext uri="{FF2B5EF4-FFF2-40B4-BE49-F238E27FC236}">
                <a16:creationId xmlns:a16="http://schemas.microsoft.com/office/drawing/2014/main" id="{4890A609-22E7-4738-B2FC-4AAD4B5D4A19}"/>
              </a:ext>
            </a:extLst>
          </p:cNvPr>
          <p:cNvSpPr/>
          <p:nvPr/>
        </p:nvSpPr>
        <p:spPr>
          <a:xfrm>
            <a:off x="1125501" y="1578683"/>
            <a:ext cx="1806839" cy="400110"/>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0" cap="none" spc="0" normalizeH="0" baseline="0" noProof="0" dirty="0" err="1">
                <a:ln>
                  <a:noFill/>
                </a:ln>
                <a:solidFill>
                  <a:srgbClr val="415364"/>
                </a:solidFill>
                <a:effectLst/>
                <a:uLnTx/>
                <a:uFillTx/>
                <a:latin typeface="Arial" panose="020B0604020202020204"/>
                <a:ea typeface="+mn-ea"/>
                <a:cs typeface="+mn-cs"/>
              </a:rPr>
              <a:t>Sviluppo</a:t>
            </a:r>
            <a:r>
              <a:rPr kumimoji="0" lang="en-US" sz="1000" b="0" i="0" u="none" strike="noStrike" kern="0" cap="none" spc="0" normalizeH="0" baseline="0" noProof="0" dirty="0">
                <a:ln>
                  <a:noFill/>
                </a:ln>
                <a:solidFill>
                  <a:srgbClr val="415364"/>
                </a:solidFill>
                <a:effectLst/>
                <a:uLnTx/>
                <a:uFillTx/>
                <a:latin typeface="Arial" panose="020B0604020202020204"/>
                <a:ea typeface="+mn-ea"/>
                <a:cs typeface="+mn-cs"/>
              </a:rPr>
              <a:t> di piccolo </a:t>
            </a:r>
            <a:r>
              <a:rPr kumimoji="0" lang="en-US" sz="1000" b="0" i="0" u="none" strike="noStrike" kern="0" cap="none" spc="0" normalizeH="0" baseline="0" noProof="0" dirty="0" err="1">
                <a:ln>
                  <a:noFill/>
                </a:ln>
                <a:solidFill>
                  <a:srgbClr val="415364"/>
                </a:solidFill>
                <a:effectLst/>
                <a:uLnTx/>
                <a:uFillTx/>
                <a:latin typeface="Arial" panose="020B0604020202020204"/>
                <a:ea typeface="+mn-ea"/>
                <a:cs typeface="+mn-cs"/>
              </a:rPr>
              <a:t>impianti</a:t>
            </a:r>
            <a:r>
              <a:rPr kumimoji="0" lang="en-US" sz="1000" b="0" i="0" u="none" strike="noStrike" kern="0" cap="none" spc="0" normalizeH="0" baseline="0" noProof="0" dirty="0">
                <a:ln>
                  <a:noFill/>
                </a:ln>
                <a:solidFill>
                  <a:srgbClr val="415364"/>
                </a:solidFill>
                <a:effectLst/>
                <a:uLnTx/>
                <a:uFillTx/>
                <a:latin typeface="Arial" panose="020B0604020202020204"/>
                <a:ea typeface="+mn-ea"/>
                <a:cs typeface="+mn-cs"/>
              </a:rPr>
              <a:t> di </a:t>
            </a:r>
            <a:r>
              <a:rPr kumimoji="0" lang="en-US" sz="1000" b="0" i="0" u="none" strike="noStrike" kern="0" cap="none" spc="0" normalizeH="0" baseline="0" noProof="0" dirty="0" err="1">
                <a:ln>
                  <a:noFill/>
                </a:ln>
                <a:solidFill>
                  <a:srgbClr val="415364"/>
                </a:solidFill>
                <a:effectLst/>
                <a:uLnTx/>
                <a:uFillTx/>
                <a:latin typeface="Arial" panose="020B0604020202020204"/>
                <a:ea typeface="+mn-ea"/>
                <a:cs typeface="+mn-cs"/>
              </a:rPr>
              <a:t>energia</a:t>
            </a:r>
            <a:r>
              <a:rPr kumimoji="0" lang="en-US" sz="1000" b="0" i="0" u="none" strike="noStrike" kern="0" cap="none" spc="0" normalizeH="0" baseline="0" noProof="0" dirty="0">
                <a:ln>
                  <a:noFill/>
                </a:ln>
                <a:solidFill>
                  <a:srgbClr val="415364"/>
                </a:solidFill>
                <a:effectLst/>
                <a:uLnTx/>
                <a:uFillTx/>
                <a:latin typeface="Arial" panose="020B0604020202020204"/>
                <a:ea typeface="+mn-ea"/>
                <a:cs typeface="+mn-cs"/>
              </a:rPr>
              <a:t> </a:t>
            </a:r>
            <a:r>
              <a:rPr kumimoji="0" lang="en-US" sz="1000" b="0" i="0" u="none" strike="noStrike" kern="0" cap="none" spc="0" normalizeH="0" baseline="0" noProof="0" dirty="0" err="1">
                <a:ln>
                  <a:noFill/>
                </a:ln>
                <a:solidFill>
                  <a:srgbClr val="415364"/>
                </a:solidFill>
                <a:effectLst/>
                <a:uLnTx/>
                <a:uFillTx/>
                <a:latin typeface="Arial" panose="020B0604020202020204"/>
                <a:ea typeface="+mn-ea"/>
                <a:cs typeface="+mn-cs"/>
              </a:rPr>
              <a:t>rinnovabile</a:t>
            </a:r>
            <a:endParaRPr kumimoji="0" lang="en-US" sz="1000" b="0" i="0" u="none" strike="noStrike" kern="0" cap="none" spc="0" normalizeH="0" baseline="0" noProof="0" dirty="0">
              <a:ln>
                <a:noFill/>
              </a:ln>
              <a:solidFill>
                <a:srgbClr val="415364"/>
              </a:solidFill>
              <a:effectLst/>
              <a:uLnTx/>
              <a:uFillTx/>
              <a:latin typeface="Arial" panose="020B0604020202020204"/>
              <a:ea typeface="+mn-ea"/>
              <a:cs typeface="+mn-cs"/>
            </a:endParaRPr>
          </a:p>
        </p:txBody>
      </p:sp>
      <p:sp>
        <p:nvSpPr>
          <p:cNvPr id="84" name="Rettangolo 83">
            <a:extLst>
              <a:ext uri="{FF2B5EF4-FFF2-40B4-BE49-F238E27FC236}">
                <a16:creationId xmlns:a16="http://schemas.microsoft.com/office/drawing/2014/main" id="{953D97FA-A365-4A39-A01E-62DA20A3E7F1}"/>
              </a:ext>
            </a:extLst>
          </p:cNvPr>
          <p:cNvSpPr/>
          <p:nvPr/>
        </p:nvSpPr>
        <p:spPr>
          <a:xfrm>
            <a:off x="3013465" y="1510458"/>
            <a:ext cx="1014940" cy="246221"/>
          </a:xfrm>
          <a:prstGeom prst="rect">
            <a:avLst/>
          </a:prstGeom>
        </p:spPr>
        <p:txBody>
          <a:bodyPr wrap="square">
            <a:spAutoFit/>
          </a:bodyPr>
          <a:lstStyle/>
          <a:p>
            <a:pPr marL="171450" lvl="0" indent="-171450" defTabSz="914400" fontAlgn="base">
              <a:spcBef>
                <a:spcPts val="600"/>
              </a:spcBef>
              <a:spcAft>
                <a:spcPts val="600"/>
              </a:spcAft>
              <a:buClr>
                <a:srgbClr val="005392"/>
              </a:buClr>
              <a:buFont typeface="Wingdings" panose="05000000000000000000" pitchFamily="2" charset="2"/>
              <a:buChar char="§"/>
              <a:defRPr/>
            </a:pPr>
            <a:r>
              <a:rPr lang="en-US" sz="1000" kern="0" dirty="0" err="1">
                <a:solidFill>
                  <a:srgbClr val="415364"/>
                </a:solidFill>
                <a:cs typeface="Arial"/>
              </a:rPr>
              <a:t>Garanzie</a:t>
            </a:r>
            <a:endParaRPr kumimoji="0" lang="it-IT" sz="1000" b="0" i="0" u="none" strike="noStrike" kern="1200" cap="none" spc="0" normalizeH="0" baseline="0" noProof="0" dirty="0">
              <a:ln>
                <a:noFill/>
              </a:ln>
              <a:solidFill>
                <a:srgbClr val="415364"/>
              </a:solidFill>
              <a:effectLst/>
              <a:uLnTx/>
              <a:uFillTx/>
              <a:latin typeface="Arial" panose="020B0604020202020204"/>
              <a:ea typeface="+mn-ea"/>
              <a:cs typeface="Arial"/>
            </a:endParaRPr>
          </a:p>
        </p:txBody>
      </p:sp>
      <p:sp>
        <p:nvSpPr>
          <p:cNvPr id="85" name="Rettangolo 84">
            <a:extLst>
              <a:ext uri="{FF2B5EF4-FFF2-40B4-BE49-F238E27FC236}">
                <a16:creationId xmlns:a16="http://schemas.microsoft.com/office/drawing/2014/main" id="{7C02579A-573B-439D-BD95-EF5178D46714}"/>
              </a:ext>
            </a:extLst>
          </p:cNvPr>
          <p:cNvSpPr/>
          <p:nvPr/>
        </p:nvSpPr>
        <p:spPr>
          <a:xfrm>
            <a:off x="4000295" y="1516153"/>
            <a:ext cx="984149" cy="400110"/>
          </a:xfrm>
          <a:prstGeom prst="rect">
            <a:avLst/>
          </a:prstGeom>
        </p:spPr>
        <p:txBody>
          <a:bodyPr wrap="square">
            <a:spAutoFit/>
          </a:bodyPr>
          <a:lstStyle/>
          <a:p>
            <a:pPr marL="171450" marR="0" lvl="0" indent="-171450" algn="l" defTabSz="914400" rtl="0" eaLnBrk="1" fontAlgn="base" latinLnBrk="0" hangingPunct="1">
              <a:lnSpc>
                <a:spcPct val="100000"/>
              </a:lnSpc>
              <a:spcBef>
                <a:spcPts val="100"/>
              </a:spcBef>
              <a:spcAft>
                <a:spcPts val="100"/>
              </a:spcAft>
              <a:buClr>
                <a:srgbClr val="005392"/>
              </a:buClr>
              <a:buSzTx/>
              <a:buFont typeface="Wingdings" panose="05000000000000000000" pitchFamily="2" charset="2"/>
              <a:buChar char="§"/>
              <a:tabLst/>
              <a:defRPr/>
            </a:pPr>
            <a:r>
              <a:rPr kumimoji="0" lang="en-US" sz="1000" b="0" i="0" u="none" strike="noStrike" kern="0" cap="none" spc="0" normalizeH="0" baseline="0" noProof="0" dirty="0">
                <a:ln>
                  <a:noFill/>
                </a:ln>
                <a:solidFill>
                  <a:srgbClr val="415364"/>
                </a:solidFill>
                <a:effectLst/>
                <a:uLnTx/>
                <a:uFillTx/>
                <a:latin typeface="Arial" panose="020B0604020202020204"/>
                <a:ea typeface="+mn-ea"/>
                <a:cs typeface="Arial"/>
              </a:rPr>
              <a:t>Africa sub-</a:t>
            </a:r>
            <a:r>
              <a:rPr kumimoji="0" lang="en-US" sz="1000" b="0" i="0" u="none" strike="noStrike" kern="0" cap="none" spc="0" normalizeH="0" baseline="0" noProof="0" dirty="0" err="1">
                <a:ln>
                  <a:noFill/>
                </a:ln>
                <a:solidFill>
                  <a:srgbClr val="415364"/>
                </a:solidFill>
                <a:effectLst/>
                <a:uLnTx/>
                <a:uFillTx/>
                <a:latin typeface="Arial" panose="020B0604020202020204"/>
                <a:ea typeface="+mn-ea"/>
                <a:cs typeface="Arial"/>
              </a:rPr>
              <a:t>sahariana</a:t>
            </a:r>
            <a:endParaRPr kumimoji="0" lang="en-US" sz="1000" b="0" i="0" u="none" strike="noStrike" kern="0" cap="none" spc="0" normalizeH="0" baseline="0" noProof="0" dirty="0">
              <a:ln>
                <a:noFill/>
              </a:ln>
              <a:solidFill>
                <a:srgbClr val="415364"/>
              </a:solidFill>
              <a:effectLst/>
              <a:uLnTx/>
              <a:uFillTx/>
              <a:latin typeface="Arial" panose="020B0604020202020204"/>
              <a:ea typeface="+mn-ea"/>
              <a:cs typeface="+mn-cs"/>
            </a:endParaRPr>
          </a:p>
        </p:txBody>
      </p:sp>
      <p:sp>
        <p:nvSpPr>
          <p:cNvPr id="86" name="Rettangolo 85">
            <a:extLst>
              <a:ext uri="{FF2B5EF4-FFF2-40B4-BE49-F238E27FC236}">
                <a16:creationId xmlns:a16="http://schemas.microsoft.com/office/drawing/2014/main" id="{930E0341-DAA2-491B-861D-6B1625F9C978}"/>
              </a:ext>
            </a:extLst>
          </p:cNvPr>
          <p:cNvSpPr/>
          <p:nvPr/>
        </p:nvSpPr>
        <p:spPr>
          <a:xfrm>
            <a:off x="4971566" y="1503877"/>
            <a:ext cx="2014361" cy="707886"/>
          </a:xfrm>
          <a:prstGeom prst="rect">
            <a:avLst/>
          </a:prstGeom>
        </p:spPr>
        <p:txBody>
          <a:bodyPr wrap="square">
            <a:spAutoFit/>
          </a:bodyPr>
          <a:lstStyle/>
          <a:p>
            <a:pPr marL="171450" lvl="0" indent="-171450" defTabSz="914400" fontAlgn="base">
              <a:spcBef>
                <a:spcPts val="100"/>
              </a:spcBef>
              <a:spcAft>
                <a:spcPts val="100"/>
              </a:spcAft>
              <a:buClr>
                <a:srgbClr val="005392"/>
              </a:buClr>
              <a:buFont typeface="Wingdings" panose="05000000000000000000" pitchFamily="2" charset="2"/>
              <a:buChar char="§"/>
              <a:defRPr/>
            </a:pPr>
            <a:r>
              <a:rPr lang="it-IT" sz="1000" dirty="0">
                <a:solidFill>
                  <a:srgbClr val="415364"/>
                </a:solidFill>
                <a:cs typeface="Arial"/>
              </a:rPr>
              <a:t>Imprese italiane o estere che operano nel settore delle energie rinnovabili a livello internazionale </a:t>
            </a:r>
          </a:p>
        </p:txBody>
      </p:sp>
      <p:sp>
        <p:nvSpPr>
          <p:cNvPr id="87" name="Rettangolo 86">
            <a:extLst>
              <a:ext uri="{FF2B5EF4-FFF2-40B4-BE49-F238E27FC236}">
                <a16:creationId xmlns:a16="http://schemas.microsoft.com/office/drawing/2014/main" id="{E44E7155-9949-4D36-8649-669D68C72D42}"/>
              </a:ext>
            </a:extLst>
          </p:cNvPr>
          <p:cNvSpPr/>
          <p:nvPr/>
        </p:nvSpPr>
        <p:spPr>
          <a:xfrm>
            <a:off x="7066228" y="1510458"/>
            <a:ext cx="2014361" cy="246221"/>
          </a:xfrm>
          <a:prstGeom prst="rect">
            <a:avLst/>
          </a:prstGeom>
        </p:spPr>
        <p:txBody>
          <a:bodyPr wrap="square">
            <a:spAutoFit/>
          </a:bodyPr>
          <a:lstStyle/>
          <a:p>
            <a:pPr marL="171450" marR="0" lvl="0" indent="-171450" algn="l" defTabSz="914400" rtl="0" eaLnBrk="1" fontAlgn="base" latinLnBrk="0" hangingPunct="1">
              <a:lnSpc>
                <a:spcPct val="100000"/>
              </a:lnSpc>
              <a:spcBef>
                <a:spcPts val="100"/>
              </a:spcBef>
              <a:spcAft>
                <a:spcPts val="100"/>
              </a:spcAft>
              <a:buClr>
                <a:srgbClr val="005392"/>
              </a:buClr>
              <a:buSzTx/>
              <a:buFont typeface="Wingdings" panose="05000000000000000000" pitchFamily="2" charset="2"/>
              <a:buChar char="§"/>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Arial"/>
              </a:rPr>
              <a:t>Attraverso CDP o i partner</a:t>
            </a:r>
          </a:p>
        </p:txBody>
      </p:sp>
      <p:pic>
        <p:nvPicPr>
          <p:cNvPr id="92" name="Immagine 91">
            <a:extLst>
              <a:ext uri="{FF2B5EF4-FFF2-40B4-BE49-F238E27FC236}">
                <a16:creationId xmlns:a16="http://schemas.microsoft.com/office/drawing/2014/main" id="{A274DC3A-C04E-471A-A1A9-CFA8CD11FC0A}"/>
              </a:ext>
            </a:extLst>
          </p:cNvPr>
          <p:cNvPicPr>
            <a:picLocks noChangeAspect="1"/>
          </p:cNvPicPr>
          <p:nvPr/>
        </p:nvPicPr>
        <p:blipFill rotWithShape="1">
          <a:blip r:embed="rId9"/>
          <a:srcRect l="32427"/>
          <a:stretch/>
        </p:blipFill>
        <p:spPr>
          <a:xfrm>
            <a:off x="7895128" y="1782901"/>
            <a:ext cx="896694" cy="429977"/>
          </a:xfrm>
          <a:prstGeom prst="rect">
            <a:avLst/>
          </a:prstGeom>
        </p:spPr>
      </p:pic>
      <p:sp>
        <p:nvSpPr>
          <p:cNvPr id="48" name="CasellaDiTesto 47">
            <a:extLst>
              <a:ext uri="{FF2B5EF4-FFF2-40B4-BE49-F238E27FC236}">
                <a16:creationId xmlns:a16="http://schemas.microsoft.com/office/drawing/2014/main" id="{A857CADD-490A-4735-A870-E9C116224535}"/>
              </a:ext>
            </a:extLst>
          </p:cNvPr>
          <p:cNvSpPr txBox="1"/>
          <p:nvPr/>
        </p:nvSpPr>
        <p:spPr>
          <a:xfrm>
            <a:off x="-171563" y="1797721"/>
            <a:ext cx="1406229" cy="26161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Arial" panose="020B0604020202020204"/>
                <a:ea typeface="+mn-ea"/>
                <a:cs typeface="+mn-cs"/>
              </a:rPr>
              <a:t>EGRE</a:t>
            </a:r>
          </a:p>
        </p:txBody>
      </p:sp>
      <p:sp>
        <p:nvSpPr>
          <p:cNvPr id="2" name="CasellaDiTesto 1"/>
          <p:cNvSpPr txBox="1"/>
          <p:nvPr/>
        </p:nvSpPr>
        <p:spPr>
          <a:xfrm>
            <a:off x="7321173" y="1804752"/>
            <a:ext cx="675308" cy="363421"/>
          </a:xfrm>
          <a:prstGeom prst="rect">
            <a:avLst/>
          </a:prstGeom>
        </p:spPr>
        <p:txBody>
          <a:bodyPr vert="horz" wrap="square" lIns="91440" tIns="45720" rIns="91440" bIns="45720" rtlCol="0" anchor="b">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50" b="1" i="0" u="none" strike="noStrike" kern="1200" cap="none" spc="0" normalizeH="0" baseline="0" noProof="0" dirty="0">
                <a:ln>
                  <a:noFill/>
                </a:ln>
                <a:solidFill>
                  <a:srgbClr val="000050"/>
                </a:solidFill>
                <a:effectLst/>
                <a:uLnTx/>
                <a:uFillTx/>
                <a:latin typeface="Arial" panose="020B0604020202020204"/>
                <a:ea typeface="+mn-ea"/>
                <a:cs typeface="+mn-cs"/>
              </a:rPr>
              <a:t>Promoting Financial Institutions</a:t>
            </a:r>
          </a:p>
        </p:txBody>
      </p:sp>
      <p:sp>
        <p:nvSpPr>
          <p:cNvPr id="43" name="CasellaDiTesto 42">
            <a:extLst>
              <a:ext uri="{FF2B5EF4-FFF2-40B4-BE49-F238E27FC236}">
                <a16:creationId xmlns:a16="http://schemas.microsoft.com/office/drawing/2014/main" id="{D213CDDF-A7AF-4C3B-9088-C7D90107D9E9}"/>
              </a:ext>
            </a:extLst>
          </p:cNvPr>
          <p:cNvSpPr txBox="1"/>
          <p:nvPr/>
        </p:nvSpPr>
        <p:spPr>
          <a:xfrm>
            <a:off x="725177" y="4582040"/>
            <a:ext cx="7901750" cy="461665"/>
          </a:xfrm>
          <a:prstGeom prst="rect">
            <a:avLst/>
          </a:prstGeom>
          <a:noFill/>
        </p:spPr>
        <p:txBody>
          <a:bodyPr wrap="square" rtlCol="0">
            <a:spAutoFit/>
          </a:bodyPr>
          <a:lstStyle/>
          <a:p>
            <a:pPr algn="ctr"/>
            <a:r>
              <a:rPr lang="it-IT" sz="1200" b="1" dirty="0"/>
              <a:t>Il settore privato </a:t>
            </a:r>
            <a:r>
              <a:rPr lang="it-IT" sz="1200" b="1" u="sng" dirty="0">
                <a:solidFill>
                  <a:schemeClr val="accent2"/>
                </a:solidFill>
              </a:rPr>
              <a:t>NON PUO’</a:t>
            </a:r>
            <a:r>
              <a:rPr lang="it-IT" sz="1200" b="1" dirty="0"/>
              <a:t> accedere direttamente alle risorse UE ma potrà beneficiarne indirettamente tramite i programmi promossi dalle Istituzioni accreditate alla Commissione Europea, come CDP</a:t>
            </a:r>
          </a:p>
        </p:txBody>
      </p:sp>
      <p:cxnSp>
        <p:nvCxnSpPr>
          <p:cNvPr id="68" name="Connettore diritto 67">
            <a:extLst>
              <a:ext uri="{FF2B5EF4-FFF2-40B4-BE49-F238E27FC236}">
                <a16:creationId xmlns:a16="http://schemas.microsoft.com/office/drawing/2014/main" id="{0A60984B-0C98-41DC-AB0F-2D104F0BC2A5}"/>
              </a:ext>
            </a:extLst>
          </p:cNvPr>
          <p:cNvCxnSpPr>
            <a:cxnSpLocks/>
          </p:cNvCxnSpPr>
          <p:nvPr/>
        </p:nvCxnSpPr>
        <p:spPr>
          <a:xfrm>
            <a:off x="2904225" y="1287245"/>
            <a:ext cx="0" cy="3132000"/>
          </a:xfrm>
          <a:prstGeom prst="line">
            <a:avLst/>
          </a:prstGeom>
          <a:noFill/>
          <a:ln w="12700" cap="flat" cmpd="sng" algn="ctr">
            <a:solidFill>
              <a:schemeClr val="accent2"/>
            </a:solidFill>
            <a:prstDash val="solid"/>
          </a:ln>
          <a:effectLst/>
        </p:spPr>
      </p:cxnSp>
      <p:cxnSp>
        <p:nvCxnSpPr>
          <p:cNvPr id="69" name="Connettore diritto 68">
            <a:extLst>
              <a:ext uri="{FF2B5EF4-FFF2-40B4-BE49-F238E27FC236}">
                <a16:creationId xmlns:a16="http://schemas.microsoft.com/office/drawing/2014/main" id="{45271E7C-E60A-4CBA-B7BC-C13C86F98418}"/>
              </a:ext>
            </a:extLst>
          </p:cNvPr>
          <p:cNvCxnSpPr>
            <a:cxnSpLocks/>
          </p:cNvCxnSpPr>
          <p:nvPr/>
        </p:nvCxnSpPr>
        <p:spPr>
          <a:xfrm>
            <a:off x="4963660" y="1287245"/>
            <a:ext cx="0" cy="3132000"/>
          </a:xfrm>
          <a:prstGeom prst="line">
            <a:avLst/>
          </a:prstGeom>
          <a:noFill/>
          <a:ln w="12700" cap="flat" cmpd="sng" algn="ctr">
            <a:solidFill>
              <a:schemeClr val="accent2"/>
            </a:solidFill>
            <a:prstDash val="solid"/>
          </a:ln>
          <a:effectLst/>
        </p:spPr>
      </p:cxnSp>
      <p:cxnSp>
        <p:nvCxnSpPr>
          <p:cNvPr id="70" name="Connettore diritto 69">
            <a:extLst>
              <a:ext uri="{FF2B5EF4-FFF2-40B4-BE49-F238E27FC236}">
                <a16:creationId xmlns:a16="http://schemas.microsoft.com/office/drawing/2014/main" id="{64F5DA15-492D-4DBF-8287-ABF6E9AD2902}"/>
              </a:ext>
            </a:extLst>
          </p:cNvPr>
          <p:cNvCxnSpPr>
            <a:cxnSpLocks/>
          </p:cNvCxnSpPr>
          <p:nvPr/>
        </p:nvCxnSpPr>
        <p:spPr>
          <a:xfrm>
            <a:off x="7056757" y="1287245"/>
            <a:ext cx="0" cy="3132000"/>
          </a:xfrm>
          <a:prstGeom prst="line">
            <a:avLst/>
          </a:prstGeom>
          <a:noFill/>
          <a:ln w="12700" cap="flat" cmpd="sng" algn="ctr">
            <a:solidFill>
              <a:schemeClr val="accent2"/>
            </a:solidFill>
            <a:prstDash val="solid"/>
          </a:ln>
          <a:effectLst/>
        </p:spPr>
      </p:cxnSp>
      <p:sp>
        <p:nvSpPr>
          <p:cNvPr id="44" name="object 7">
            <a:extLst>
              <a:ext uri="{FF2B5EF4-FFF2-40B4-BE49-F238E27FC236}">
                <a16:creationId xmlns:a16="http://schemas.microsoft.com/office/drawing/2014/main" id="{011EE549-EC66-42DB-BFA0-D38A9C6A1C4B}"/>
              </a:ext>
            </a:extLst>
          </p:cNvPr>
          <p:cNvSpPr txBox="1">
            <a:spLocks/>
          </p:cNvSpPr>
          <p:nvPr/>
        </p:nvSpPr>
        <p:spPr bwMode="gray">
          <a:xfrm>
            <a:off x="192100" y="155877"/>
            <a:ext cx="7943232" cy="2803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10953" rIns="0" bIns="0" numCol="1" rtlCol="0" anchor="t" anchorCtr="0" compatLnSpc="1">
            <a:prstTxWarp prst="textNoShape">
              <a:avLst/>
            </a:prstTxWarp>
            <a:spAutoFit/>
          </a:bodyPr>
          <a:lstStyle>
            <a:lvl1pPr algn="l" defTabSz="913542" rtl="0" eaLnBrk="1" fontAlgn="base" hangingPunct="1">
              <a:spcBef>
                <a:spcPct val="0"/>
              </a:spcBef>
              <a:spcAft>
                <a:spcPct val="0"/>
              </a:spcAft>
              <a:tabLst>
                <a:tab pos="275358" algn="l"/>
              </a:tabLst>
              <a:defRPr sz="1600" b="1" baseline="0">
                <a:solidFill>
                  <a:srgbClr val="C90026"/>
                </a:solidFill>
                <a:latin typeface="+mj-lt"/>
                <a:ea typeface="+mj-ea"/>
                <a:cs typeface="+mj-cs"/>
              </a:defRPr>
            </a:lvl1pPr>
            <a:lvl2pPr algn="l" defTabSz="913542" rtl="0" eaLnBrk="1" fontAlgn="base" hangingPunct="1">
              <a:spcBef>
                <a:spcPct val="0"/>
              </a:spcBef>
              <a:spcAft>
                <a:spcPct val="0"/>
              </a:spcAft>
              <a:defRPr sz="1938" b="1">
                <a:solidFill>
                  <a:schemeClr val="tx2"/>
                </a:solidFill>
                <a:latin typeface="Arial" charset="0"/>
              </a:defRPr>
            </a:lvl2pPr>
            <a:lvl3pPr algn="l" defTabSz="913542" rtl="0" eaLnBrk="1" fontAlgn="base" hangingPunct="1">
              <a:spcBef>
                <a:spcPct val="0"/>
              </a:spcBef>
              <a:spcAft>
                <a:spcPct val="0"/>
              </a:spcAft>
              <a:defRPr sz="1938" b="1">
                <a:solidFill>
                  <a:schemeClr val="tx2"/>
                </a:solidFill>
                <a:latin typeface="Arial" charset="0"/>
              </a:defRPr>
            </a:lvl3pPr>
            <a:lvl4pPr algn="l" defTabSz="913542" rtl="0" eaLnBrk="1" fontAlgn="base" hangingPunct="1">
              <a:spcBef>
                <a:spcPct val="0"/>
              </a:spcBef>
              <a:spcAft>
                <a:spcPct val="0"/>
              </a:spcAft>
              <a:defRPr sz="1938" b="1">
                <a:solidFill>
                  <a:schemeClr val="tx2"/>
                </a:solidFill>
                <a:latin typeface="Arial" charset="0"/>
              </a:defRPr>
            </a:lvl4pPr>
            <a:lvl5pPr algn="l" defTabSz="913542" rtl="0" eaLnBrk="1" fontAlgn="base" hangingPunct="1">
              <a:spcBef>
                <a:spcPct val="0"/>
              </a:spcBef>
              <a:spcAft>
                <a:spcPct val="0"/>
              </a:spcAft>
              <a:defRPr sz="1938" b="1">
                <a:solidFill>
                  <a:schemeClr val="tx2"/>
                </a:solidFill>
                <a:latin typeface="Arial" charset="0"/>
              </a:defRPr>
            </a:lvl5pPr>
            <a:lvl6pPr marL="466489" algn="l" defTabSz="913542" rtl="0" eaLnBrk="1" fontAlgn="base" hangingPunct="1">
              <a:spcBef>
                <a:spcPct val="0"/>
              </a:spcBef>
              <a:spcAft>
                <a:spcPct val="0"/>
              </a:spcAft>
              <a:defRPr sz="1938" b="1">
                <a:solidFill>
                  <a:schemeClr val="tx2"/>
                </a:solidFill>
                <a:latin typeface="Arial" charset="0"/>
              </a:defRPr>
            </a:lvl6pPr>
            <a:lvl7pPr marL="932979" algn="l" defTabSz="913542" rtl="0" eaLnBrk="1" fontAlgn="base" hangingPunct="1">
              <a:spcBef>
                <a:spcPct val="0"/>
              </a:spcBef>
              <a:spcAft>
                <a:spcPct val="0"/>
              </a:spcAft>
              <a:defRPr sz="1938" b="1">
                <a:solidFill>
                  <a:schemeClr val="tx2"/>
                </a:solidFill>
                <a:latin typeface="Arial" charset="0"/>
              </a:defRPr>
            </a:lvl7pPr>
            <a:lvl8pPr marL="1399467" algn="l" defTabSz="913542" rtl="0" eaLnBrk="1" fontAlgn="base" hangingPunct="1">
              <a:spcBef>
                <a:spcPct val="0"/>
              </a:spcBef>
              <a:spcAft>
                <a:spcPct val="0"/>
              </a:spcAft>
              <a:defRPr sz="1938" b="1">
                <a:solidFill>
                  <a:schemeClr val="tx2"/>
                </a:solidFill>
                <a:latin typeface="Arial" charset="0"/>
              </a:defRPr>
            </a:lvl8pPr>
            <a:lvl9pPr marL="1865957" algn="l" defTabSz="913542" rtl="0" eaLnBrk="1" fontAlgn="base" hangingPunct="1">
              <a:spcBef>
                <a:spcPct val="0"/>
              </a:spcBef>
              <a:spcAft>
                <a:spcPct val="0"/>
              </a:spcAft>
              <a:defRPr sz="1938" b="1">
                <a:solidFill>
                  <a:schemeClr val="tx2"/>
                </a:solidFill>
                <a:latin typeface="Arial" charset="0"/>
              </a:defRPr>
            </a:lvl9pPr>
          </a:lstStyle>
          <a:p>
            <a:pPr lvl="0">
              <a:lnSpc>
                <a:spcPts val="2100"/>
              </a:lnSpc>
              <a:defRPr/>
            </a:pPr>
            <a:r>
              <a:rPr lang="it-IT" sz="2000" kern="0" spc="4" dirty="0">
                <a:solidFill>
                  <a:srgbClr val="415364"/>
                </a:solidFill>
              </a:rPr>
              <a:t>Le iniziative di CDP nell'ambito dell'External Investment Plan</a:t>
            </a:r>
            <a:endParaRPr kumimoji="0" lang="it-IT" sz="2000" b="1" i="0" u="none" strike="noStrike" kern="0" cap="none" spc="0" normalizeH="0" baseline="0" noProof="0" dirty="0">
              <a:ln>
                <a:noFill/>
              </a:ln>
              <a:solidFill>
                <a:srgbClr val="415364"/>
              </a:solidFill>
              <a:effectLst/>
              <a:uLnTx/>
              <a:uFillTx/>
              <a:latin typeface="Arial"/>
              <a:ea typeface="+mj-ea"/>
              <a:cs typeface="+mj-cs"/>
            </a:endParaRPr>
          </a:p>
        </p:txBody>
      </p:sp>
      <p:sp>
        <p:nvSpPr>
          <p:cNvPr id="45" name="Rectangle 2">
            <a:extLst>
              <a:ext uri="{FF2B5EF4-FFF2-40B4-BE49-F238E27FC236}">
                <a16:creationId xmlns:a16="http://schemas.microsoft.com/office/drawing/2014/main" id="{384CA66F-9A0B-4A95-9627-27E3BC97E4DE}"/>
              </a:ext>
            </a:extLst>
          </p:cNvPr>
          <p:cNvSpPr>
            <a:spLocks/>
          </p:cNvSpPr>
          <p:nvPr/>
        </p:nvSpPr>
        <p:spPr>
          <a:xfrm>
            <a:off x="1" y="3"/>
            <a:ext cx="9143999" cy="163396"/>
          </a:xfrm>
          <a:prstGeom prst="rect">
            <a:avLst/>
          </a:prstGeom>
          <a:solidFill>
            <a:srgbClr val="415064"/>
          </a:solidFill>
          <a:ln w="9525" cap="flat" cmpd="sng" algn="ctr">
            <a:noFill/>
            <a:prstDash val="solid"/>
          </a:ln>
          <a:effectLst/>
        </p:spPr>
        <p:txBody>
          <a:bodyPr rot="0" spcFirstLastPara="0" vert="horz" wrap="square" lIns="121920" tIns="60960" rIns="121920" bIns="6096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224" kern="1200">
                <a:solidFill>
                  <a:schemeClr val="lt1"/>
                </a:solidFill>
                <a:latin typeface="+mn-lt"/>
                <a:ea typeface="+mn-ea"/>
                <a:cs typeface="+mn-cs"/>
              </a:defRPr>
            </a:lvl1pPr>
            <a:lvl2pPr marL="349849" algn="l" rtl="0" fontAlgn="base">
              <a:spcBef>
                <a:spcPct val="0"/>
              </a:spcBef>
              <a:spcAft>
                <a:spcPct val="0"/>
              </a:spcAft>
              <a:defRPr sz="1224" kern="1200">
                <a:solidFill>
                  <a:schemeClr val="lt1"/>
                </a:solidFill>
                <a:latin typeface="+mn-lt"/>
                <a:ea typeface="+mn-ea"/>
                <a:cs typeface="+mn-cs"/>
              </a:defRPr>
            </a:lvl2pPr>
            <a:lvl3pPr marL="699699" algn="l" rtl="0" fontAlgn="base">
              <a:spcBef>
                <a:spcPct val="0"/>
              </a:spcBef>
              <a:spcAft>
                <a:spcPct val="0"/>
              </a:spcAft>
              <a:defRPr sz="1224" kern="1200">
                <a:solidFill>
                  <a:schemeClr val="lt1"/>
                </a:solidFill>
                <a:latin typeface="+mn-lt"/>
                <a:ea typeface="+mn-ea"/>
                <a:cs typeface="+mn-cs"/>
              </a:defRPr>
            </a:lvl3pPr>
            <a:lvl4pPr marL="1049548" algn="l" rtl="0" fontAlgn="base">
              <a:spcBef>
                <a:spcPct val="0"/>
              </a:spcBef>
              <a:spcAft>
                <a:spcPct val="0"/>
              </a:spcAft>
              <a:defRPr sz="1224" kern="1200">
                <a:solidFill>
                  <a:schemeClr val="lt1"/>
                </a:solidFill>
                <a:latin typeface="+mn-lt"/>
                <a:ea typeface="+mn-ea"/>
                <a:cs typeface="+mn-cs"/>
              </a:defRPr>
            </a:lvl4pPr>
            <a:lvl5pPr marL="1399398" algn="l" rtl="0" fontAlgn="base">
              <a:spcBef>
                <a:spcPct val="0"/>
              </a:spcBef>
              <a:spcAft>
                <a:spcPct val="0"/>
              </a:spcAft>
              <a:defRPr sz="1224" kern="1200">
                <a:solidFill>
                  <a:schemeClr val="lt1"/>
                </a:solidFill>
                <a:latin typeface="+mn-lt"/>
                <a:ea typeface="+mn-ea"/>
                <a:cs typeface="+mn-cs"/>
              </a:defRPr>
            </a:lvl5pPr>
            <a:lvl6pPr marL="1749247" algn="l" defTabSz="699699" rtl="0" eaLnBrk="1" latinLnBrk="0" hangingPunct="1">
              <a:defRPr sz="1224" kern="1200">
                <a:solidFill>
                  <a:schemeClr val="lt1"/>
                </a:solidFill>
                <a:latin typeface="+mn-lt"/>
                <a:ea typeface="+mn-ea"/>
                <a:cs typeface="+mn-cs"/>
              </a:defRPr>
            </a:lvl6pPr>
            <a:lvl7pPr marL="2099097" algn="l" defTabSz="699699" rtl="0" eaLnBrk="1" latinLnBrk="0" hangingPunct="1">
              <a:defRPr sz="1224" kern="1200">
                <a:solidFill>
                  <a:schemeClr val="lt1"/>
                </a:solidFill>
                <a:latin typeface="+mn-lt"/>
                <a:ea typeface="+mn-ea"/>
                <a:cs typeface="+mn-cs"/>
              </a:defRPr>
            </a:lvl7pPr>
            <a:lvl8pPr marL="2448946" algn="l" defTabSz="699699" rtl="0" eaLnBrk="1" latinLnBrk="0" hangingPunct="1">
              <a:defRPr sz="1224" kern="1200">
                <a:solidFill>
                  <a:schemeClr val="lt1"/>
                </a:solidFill>
                <a:latin typeface="+mn-lt"/>
                <a:ea typeface="+mn-ea"/>
                <a:cs typeface="+mn-cs"/>
              </a:defRPr>
            </a:lvl8pPr>
            <a:lvl9pPr marL="2798796" algn="l" defTabSz="699699" rtl="0" eaLnBrk="1" latinLnBrk="0" hangingPunct="1">
              <a:defRPr sz="1224" kern="1200">
                <a:solidFill>
                  <a:schemeClr val="lt1"/>
                </a:solidFill>
                <a:latin typeface="+mn-lt"/>
                <a:ea typeface="+mn-ea"/>
                <a:cs typeface="+mn-cs"/>
              </a:defRPr>
            </a:lvl9pPr>
          </a:lstStyle>
          <a:p>
            <a:pPr defTabSz="1219079">
              <a:defRPr/>
            </a:pPr>
            <a:r>
              <a:rPr lang="en-US" sz="1000" b="1" spc="-10" dirty="0">
                <a:cs typeface="Arial"/>
              </a:rPr>
              <a:t>Global Partnership</a:t>
            </a:r>
            <a:r>
              <a:rPr lang="it-IT" sz="1000" b="1" dirty="0">
                <a:solidFill>
                  <a:srgbClr val="FFFFFF"/>
                </a:solidFill>
              </a:rPr>
              <a:t>: EIP</a:t>
            </a:r>
            <a:endParaRPr lang="it-IT" sz="1000" b="1" i="1" dirty="0">
              <a:solidFill>
                <a:srgbClr val="FFFFFF"/>
              </a:solidFill>
            </a:endParaRPr>
          </a:p>
        </p:txBody>
      </p:sp>
    </p:spTree>
    <p:extLst>
      <p:ext uri="{BB962C8B-B14F-4D97-AF65-F5344CB8AC3E}">
        <p14:creationId xmlns:p14="http://schemas.microsoft.com/office/powerpoint/2010/main" val="96886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ggetto 46" hidden="1"/>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9374" name="Diapositiva think-cell" r:id="rId5" imgW="270" imgH="270" progId="TCLayout.ActiveDocument.1">
                  <p:embed/>
                </p:oleObj>
              </mc:Choice>
              <mc:Fallback>
                <p:oleObj name="Diapositiva think-cell" r:id="rId5" imgW="270" imgH="270" progId="TCLayout.ActiveDocument.1">
                  <p:embed/>
                  <p:pic>
                    <p:nvPicPr>
                      <p:cNvPr id="47" name="Oggetto 46" hidden="1"/>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2" name="Rectangle 2">
            <a:extLst>
              <a:ext uri="{FF2B5EF4-FFF2-40B4-BE49-F238E27FC236}">
                <a16:creationId xmlns:a16="http://schemas.microsoft.com/office/drawing/2014/main" id="{E0740ACE-288F-4BBB-AB65-372D2237B21C}"/>
              </a:ext>
            </a:extLst>
          </p:cNvPr>
          <p:cNvSpPr>
            <a:spLocks/>
          </p:cNvSpPr>
          <p:nvPr/>
        </p:nvSpPr>
        <p:spPr>
          <a:xfrm>
            <a:off x="1" y="3"/>
            <a:ext cx="9143999" cy="163396"/>
          </a:xfrm>
          <a:prstGeom prst="rect">
            <a:avLst/>
          </a:prstGeom>
          <a:solidFill>
            <a:srgbClr val="415064"/>
          </a:solidFill>
          <a:ln w="9525" cap="flat" cmpd="sng" algn="ctr">
            <a:noFill/>
            <a:prstDash val="solid"/>
          </a:ln>
          <a:effectLst/>
        </p:spPr>
        <p:txBody>
          <a:bodyPr rot="0" spcFirstLastPara="0" vert="horz" wrap="square" lIns="121920" tIns="60960" rIns="121920" bIns="6096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224" kern="1200">
                <a:solidFill>
                  <a:schemeClr val="lt1"/>
                </a:solidFill>
                <a:latin typeface="+mn-lt"/>
                <a:ea typeface="+mn-ea"/>
                <a:cs typeface="+mn-cs"/>
              </a:defRPr>
            </a:lvl1pPr>
            <a:lvl2pPr marL="349849" algn="l" rtl="0" fontAlgn="base">
              <a:spcBef>
                <a:spcPct val="0"/>
              </a:spcBef>
              <a:spcAft>
                <a:spcPct val="0"/>
              </a:spcAft>
              <a:defRPr sz="1224" kern="1200">
                <a:solidFill>
                  <a:schemeClr val="lt1"/>
                </a:solidFill>
                <a:latin typeface="+mn-lt"/>
                <a:ea typeface="+mn-ea"/>
                <a:cs typeface="+mn-cs"/>
              </a:defRPr>
            </a:lvl2pPr>
            <a:lvl3pPr marL="699699" algn="l" rtl="0" fontAlgn="base">
              <a:spcBef>
                <a:spcPct val="0"/>
              </a:spcBef>
              <a:spcAft>
                <a:spcPct val="0"/>
              </a:spcAft>
              <a:defRPr sz="1224" kern="1200">
                <a:solidFill>
                  <a:schemeClr val="lt1"/>
                </a:solidFill>
                <a:latin typeface="+mn-lt"/>
                <a:ea typeface="+mn-ea"/>
                <a:cs typeface="+mn-cs"/>
              </a:defRPr>
            </a:lvl3pPr>
            <a:lvl4pPr marL="1049548" algn="l" rtl="0" fontAlgn="base">
              <a:spcBef>
                <a:spcPct val="0"/>
              </a:spcBef>
              <a:spcAft>
                <a:spcPct val="0"/>
              </a:spcAft>
              <a:defRPr sz="1224" kern="1200">
                <a:solidFill>
                  <a:schemeClr val="lt1"/>
                </a:solidFill>
                <a:latin typeface="+mn-lt"/>
                <a:ea typeface="+mn-ea"/>
                <a:cs typeface="+mn-cs"/>
              </a:defRPr>
            </a:lvl4pPr>
            <a:lvl5pPr marL="1399398" algn="l" rtl="0" fontAlgn="base">
              <a:spcBef>
                <a:spcPct val="0"/>
              </a:spcBef>
              <a:spcAft>
                <a:spcPct val="0"/>
              </a:spcAft>
              <a:defRPr sz="1224" kern="1200">
                <a:solidFill>
                  <a:schemeClr val="lt1"/>
                </a:solidFill>
                <a:latin typeface="+mn-lt"/>
                <a:ea typeface="+mn-ea"/>
                <a:cs typeface="+mn-cs"/>
              </a:defRPr>
            </a:lvl5pPr>
            <a:lvl6pPr marL="1749247" algn="l" defTabSz="699699" rtl="0" eaLnBrk="1" latinLnBrk="0" hangingPunct="1">
              <a:defRPr sz="1224" kern="1200">
                <a:solidFill>
                  <a:schemeClr val="lt1"/>
                </a:solidFill>
                <a:latin typeface="+mn-lt"/>
                <a:ea typeface="+mn-ea"/>
                <a:cs typeface="+mn-cs"/>
              </a:defRPr>
            </a:lvl6pPr>
            <a:lvl7pPr marL="2099097" algn="l" defTabSz="699699" rtl="0" eaLnBrk="1" latinLnBrk="0" hangingPunct="1">
              <a:defRPr sz="1224" kern="1200">
                <a:solidFill>
                  <a:schemeClr val="lt1"/>
                </a:solidFill>
                <a:latin typeface="+mn-lt"/>
                <a:ea typeface="+mn-ea"/>
                <a:cs typeface="+mn-cs"/>
              </a:defRPr>
            </a:lvl7pPr>
            <a:lvl8pPr marL="2448946" algn="l" defTabSz="699699" rtl="0" eaLnBrk="1" latinLnBrk="0" hangingPunct="1">
              <a:defRPr sz="1224" kern="1200">
                <a:solidFill>
                  <a:schemeClr val="lt1"/>
                </a:solidFill>
                <a:latin typeface="+mn-lt"/>
                <a:ea typeface="+mn-ea"/>
                <a:cs typeface="+mn-cs"/>
              </a:defRPr>
            </a:lvl8pPr>
            <a:lvl9pPr marL="2798796" algn="l" defTabSz="699699" rtl="0" eaLnBrk="1" latinLnBrk="0" hangingPunct="1">
              <a:defRPr sz="1224" kern="1200">
                <a:solidFill>
                  <a:schemeClr val="lt1"/>
                </a:solidFill>
                <a:latin typeface="+mn-lt"/>
                <a:ea typeface="+mn-ea"/>
                <a:cs typeface="+mn-cs"/>
              </a:defRPr>
            </a:lvl9pPr>
          </a:lstStyle>
          <a:p>
            <a:pPr defTabSz="1219079">
              <a:defRPr/>
            </a:pPr>
            <a:r>
              <a:rPr lang="en-US" sz="1000" b="1" spc="-10" dirty="0">
                <a:cs typeface="Arial"/>
              </a:rPr>
              <a:t>Global Partnership</a:t>
            </a:r>
            <a:r>
              <a:rPr lang="it-IT" sz="1000" b="1" spc="-10" dirty="0">
                <a:cs typeface="Arial"/>
              </a:rPr>
              <a:t>: Green </a:t>
            </a:r>
            <a:r>
              <a:rPr lang="it-IT" sz="1000" b="1" spc="-10" dirty="0" err="1">
                <a:cs typeface="Arial"/>
              </a:rPr>
              <a:t>Climate</a:t>
            </a:r>
            <a:r>
              <a:rPr lang="it-IT" sz="1000" b="1" spc="-10" dirty="0">
                <a:cs typeface="Arial"/>
              </a:rPr>
              <a:t> Fund </a:t>
            </a:r>
          </a:p>
        </p:txBody>
      </p:sp>
      <p:sp>
        <p:nvSpPr>
          <p:cNvPr id="25" name="Segnaposto numero diapositiva 4">
            <a:extLst>
              <a:ext uri="{FF2B5EF4-FFF2-40B4-BE49-F238E27FC236}">
                <a16:creationId xmlns:a16="http://schemas.microsoft.com/office/drawing/2014/main" id="{28CDA383-D76E-4005-A3D7-E2CE6148A2F2}"/>
              </a:ext>
            </a:extLst>
          </p:cNvPr>
          <p:cNvSpPr>
            <a:spLocks noGrp="1"/>
          </p:cNvSpPr>
          <p:nvPr>
            <p:ph type="sldNum" sz="quarter" idx="12"/>
          </p:nvPr>
        </p:nvSpPr>
        <p:spPr>
          <a:xfrm>
            <a:off x="250825" y="4723393"/>
            <a:ext cx="1008062" cy="183687"/>
          </a:xfrm>
        </p:spPr>
        <p:txBody>
          <a:bodyPr/>
          <a:lstStyle/>
          <a:p>
            <a:fld id="{608DA0FE-9C19-F746-8419-6700E348BF78}" type="slidenum">
              <a:rPr lang="it-IT" smtClean="0"/>
              <a:pPr/>
              <a:t>29</a:t>
            </a:fld>
            <a:endParaRPr lang="it-IT" dirty="0"/>
          </a:p>
        </p:txBody>
      </p:sp>
      <p:sp>
        <p:nvSpPr>
          <p:cNvPr id="24" name="Segnaposto testo 4">
            <a:extLst>
              <a:ext uri="{FF2B5EF4-FFF2-40B4-BE49-F238E27FC236}">
                <a16:creationId xmlns:a16="http://schemas.microsoft.com/office/drawing/2014/main" id="{60D6D188-95E2-464E-920A-CFB9E857F11F}"/>
              </a:ext>
            </a:extLst>
          </p:cNvPr>
          <p:cNvSpPr>
            <a:spLocks noGrp="1"/>
          </p:cNvSpPr>
          <p:nvPr>
            <p:ph type="body" idx="13"/>
          </p:nvPr>
        </p:nvSpPr>
        <p:spPr>
          <a:xfrm>
            <a:off x="106490" y="195972"/>
            <a:ext cx="8642350" cy="287337"/>
          </a:xfrm>
        </p:spPr>
        <p:txBody>
          <a:bodyPr/>
          <a:lstStyle/>
          <a:p>
            <a:r>
              <a:rPr lang="it-IT" dirty="0"/>
              <a:t>Green Climate Fund (GCF) – Caratteristiche principali</a:t>
            </a:r>
          </a:p>
        </p:txBody>
      </p:sp>
      <p:sp>
        <p:nvSpPr>
          <p:cNvPr id="93" name="Rettangolo 92">
            <a:extLst>
              <a:ext uri="{FF2B5EF4-FFF2-40B4-BE49-F238E27FC236}">
                <a16:creationId xmlns:a16="http://schemas.microsoft.com/office/drawing/2014/main" id="{67CFBB4B-DE0C-4504-B856-671688AA71DA}"/>
              </a:ext>
            </a:extLst>
          </p:cNvPr>
          <p:cNvSpPr/>
          <p:nvPr/>
        </p:nvSpPr>
        <p:spPr>
          <a:xfrm>
            <a:off x="1554482" y="641263"/>
            <a:ext cx="7345728" cy="400110"/>
          </a:xfrm>
          <a:prstGeom prst="rect">
            <a:avLst/>
          </a:prstGeom>
        </p:spPr>
        <p:txBody>
          <a:bodyPr wrap="square">
            <a:spAutoFit/>
          </a:bodyPr>
          <a:lstStyle/>
          <a:p>
            <a:pPr marL="182563" indent="-182563" defTabSz="914377">
              <a:lnSpc>
                <a:spcPts val="1200"/>
              </a:lnSpc>
              <a:spcAft>
                <a:spcPts val="600"/>
              </a:spcAft>
              <a:buFont typeface="Arial" panose="020B0604020202020204" pitchFamily="34" charset="0"/>
              <a:buChar char="•"/>
            </a:pPr>
            <a:r>
              <a:rPr lang="it-IT" sz="1050" b="1" dirty="0">
                <a:solidFill>
                  <a:srgbClr val="415064"/>
                </a:solidFill>
              </a:rPr>
              <a:t>Fondo </a:t>
            </a:r>
            <a:r>
              <a:rPr lang="it-IT" sz="1050" dirty="0">
                <a:solidFill>
                  <a:srgbClr val="415064"/>
                </a:solidFill>
              </a:rPr>
              <a:t>multilaterale istituito</a:t>
            </a:r>
            <a:r>
              <a:rPr lang="it-IT" sz="1050" b="1" dirty="0">
                <a:solidFill>
                  <a:srgbClr val="415064"/>
                </a:solidFill>
              </a:rPr>
              <a:t> </a:t>
            </a:r>
            <a:r>
              <a:rPr lang="it-IT" sz="1050" dirty="0">
                <a:solidFill>
                  <a:srgbClr val="415064"/>
                </a:solidFill>
              </a:rPr>
              <a:t>nel 2010 dalle</a:t>
            </a:r>
            <a:r>
              <a:rPr lang="it-IT" sz="1050" b="1" dirty="0">
                <a:solidFill>
                  <a:srgbClr val="415064"/>
                </a:solidFill>
              </a:rPr>
              <a:t> Nazioni Unite </a:t>
            </a:r>
            <a:r>
              <a:rPr lang="it-IT" sz="1050" dirty="0">
                <a:solidFill>
                  <a:srgbClr val="415064"/>
                </a:solidFill>
              </a:rPr>
              <a:t>(operativo dal 2015) per </a:t>
            </a:r>
            <a:r>
              <a:rPr lang="it-IT" sz="1050" b="1" dirty="0">
                <a:solidFill>
                  <a:srgbClr val="415064"/>
                </a:solidFill>
              </a:rPr>
              <a:t>sostenere progetti nei PVS </a:t>
            </a:r>
            <a:r>
              <a:rPr lang="it-IT" sz="1050" dirty="0">
                <a:solidFill>
                  <a:srgbClr val="415064"/>
                </a:solidFill>
              </a:rPr>
              <a:t>di </a:t>
            </a:r>
            <a:r>
              <a:rPr lang="it-IT" sz="1050" b="1" dirty="0">
                <a:solidFill>
                  <a:srgbClr val="415064"/>
                </a:solidFill>
              </a:rPr>
              <a:t>contrasto</a:t>
            </a:r>
            <a:r>
              <a:rPr lang="it-IT" sz="1050" dirty="0">
                <a:solidFill>
                  <a:srgbClr val="415064"/>
                </a:solidFill>
              </a:rPr>
              <a:t> al </a:t>
            </a:r>
            <a:r>
              <a:rPr lang="it-IT" sz="1050" b="1" dirty="0">
                <a:solidFill>
                  <a:srgbClr val="415064"/>
                </a:solidFill>
              </a:rPr>
              <a:t>surriscaldamento globale</a:t>
            </a:r>
          </a:p>
        </p:txBody>
      </p:sp>
      <p:sp>
        <p:nvSpPr>
          <p:cNvPr id="6" name="Rettangolo 5">
            <a:extLst>
              <a:ext uri="{FF2B5EF4-FFF2-40B4-BE49-F238E27FC236}">
                <a16:creationId xmlns:a16="http://schemas.microsoft.com/office/drawing/2014/main" id="{420FEBE6-13D0-412A-AE46-AC74AB1F89BF}"/>
              </a:ext>
            </a:extLst>
          </p:cNvPr>
          <p:cNvSpPr/>
          <p:nvPr/>
        </p:nvSpPr>
        <p:spPr>
          <a:xfrm>
            <a:off x="243791" y="692296"/>
            <a:ext cx="1155945" cy="287337"/>
          </a:xfrm>
          <a:prstGeom prst="rect">
            <a:avLst/>
          </a:prstGeom>
          <a:ln>
            <a:solidFill>
              <a:srgbClr val="4150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00" b="1" dirty="0"/>
              <a:t>Obiettivo</a:t>
            </a:r>
          </a:p>
        </p:txBody>
      </p:sp>
      <p:cxnSp>
        <p:nvCxnSpPr>
          <p:cNvPr id="96" name="Straight Connector 139">
            <a:extLst>
              <a:ext uri="{FF2B5EF4-FFF2-40B4-BE49-F238E27FC236}">
                <a16:creationId xmlns:a16="http://schemas.microsoft.com/office/drawing/2014/main" id="{9099E13C-DFF3-4088-90D0-81BC3BF900FE}"/>
              </a:ext>
            </a:extLst>
          </p:cNvPr>
          <p:cNvCxnSpPr>
            <a:cxnSpLocks/>
          </p:cNvCxnSpPr>
          <p:nvPr/>
        </p:nvCxnSpPr>
        <p:spPr>
          <a:xfrm>
            <a:off x="229722" y="2257004"/>
            <a:ext cx="8640000" cy="0"/>
          </a:xfrm>
          <a:prstGeom prst="line">
            <a:avLst/>
          </a:prstGeom>
          <a:ln w="9525">
            <a:solidFill>
              <a:schemeClr val="accent6">
                <a:lumMod val="60000"/>
                <a:lumOff val="40000"/>
              </a:schemeClr>
            </a:solidFill>
            <a:prstDash val="soli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97" name="Rettangolo 96">
            <a:extLst>
              <a:ext uri="{FF2B5EF4-FFF2-40B4-BE49-F238E27FC236}">
                <a16:creationId xmlns:a16="http://schemas.microsoft.com/office/drawing/2014/main" id="{30B2F6E3-C38D-4A78-93DD-AA9EF4282D75}"/>
              </a:ext>
            </a:extLst>
          </p:cNvPr>
          <p:cNvSpPr/>
          <p:nvPr/>
        </p:nvSpPr>
        <p:spPr>
          <a:xfrm>
            <a:off x="250825" y="2350799"/>
            <a:ext cx="1155945" cy="466424"/>
          </a:xfrm>
          <a:prstGeom prst="rect">
            <a:avLst/>
          </a:prstGeom>
          <a:ln>
            <a:solidFill>
              <a:srgbClr val="4150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00" b="1" dirty="0"/>
              <a:t>Modalità di accesso alle risorse</a:t>
            </a:r>
          </a:p>
        </p:txBody>
      </p:sp>
      <p:cxnSp>
        <p:nvCxnSpPr>
          <p:cNvPr id="98" name="Straight Connector 139">
            <a:extLst>
              <a:ext uri="{FF2B5EF4-FFF2-40B4-BE49-F238E27FC236}">
                <a16:creationId xmlns:a16="http://schemas.microsoft.com/office/drawing/2014/main" id="{A95A7175-E2C3-472C-8731-A4FCD8D465F0}"/>
              </a:ext>
            </a:extLst>
          </p:cNvPr>
          <p:cNvCxnSpPr>
            <a:cxnSpLocks/>
          </p:cNvCxnSpPr>
          <p:nvPr/>
        </p:nvCxnSpPr>
        <p:spPr>
          <a:xfrm>
            <a:off x="229722" y="1064127"/>
            <a:ext cx="8640000" cy="0"/>
          </a:xfrm>
          <a:prstGeom prst="line">
            <a:avLst/>
          </a:prstGeom>
          <a:ln w="9525">
            <a:solidFill>
              <a:schemeClr val="accent6">
                <a:lumMod val="60000"/>
                <a:lumOff val="40000"/>
              </a:schemeClr>
            </a:solidFill>
            <a:prstDash val="soli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99" name="Rettangolo 98">
            <a:extLst>
              <a:ext uri="{FF2B5EF4-FFF2-40B4-BE49-F238E27FC236}">
                <a16:creationId xmlns:a16="http://schemas.microsoft.com/office/drawing/2014/main" id="{A691B2C8-A98A-4772-9171-F058FD24DF3B}"/>
              </a:ext>
            </a:extLst>
          </p:cNvPr>
          <p:cNvSpPr/>
          <p:nvPr/>
        </p:nvSpPr>
        <p:spPr>
          <a:xfrm>
            <a:off x="243791" y="1163834"/>
            <a:ext cx="1155945" cy="457706"/>
          </a:xfrm>
          <a:prstGeom prst="rect">
            <a:avLst/>
          </a:prstGeom>
          <a:ln>
            <a:solidFill>
              <a:srgbClr val="4150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00" b="1" dirty="0"/>
              <a:t>Funding</a:t>
            </a:r>
          </a:p>
        </p:txBody>
      </p:sp>
      <p:sp>
        <p:nvSpPr>
          <p:cNvPr id="100" name="Rettangolo 99">
            <a:extLst>
              <a:ext uri="{FF2B5EF4-FFF2-40B4-BE49-F238E27FC236}">
                <a16:creationId xmlns:a16="http://schemas.microsoft.com/office/drawing/2014/main" id="{9887F7B7-75AF-45CC-A11F-F16A1CCA1BB8}"/>
              </a:ext>
            </a:extLst>
          </p:cNvPr>
          <p:cNvSpPr/>
          <p:nvPr/>
        </p:nvSpPr>
        <p:spPr>
          <a:xfrm>
            <a:off x="1554482" y="1101806"/>
            <a:ext cx="7345728" cy="612284"/>
          </a:xfrm>
          <a:prstGeom prst="rect">
            <a:avLst/>
          </a:prstGeom>
        </p:spPr>
        <p:txBody>
          <a:bodyPr wrap="square">
            <a:spAutoFit/>
          </a:bodyPr>
          <a:lstStyle/>
          <a:p>
            <a:pPr marL="182563" indent="-182563" defTabSz="914377">
              <a:lnSpc>
                <a:spcPts val="1200"/>
              </a:lnSpc>
              <a:spcAft>
                <a:spcPts val="300"/>
              </a:spcAft>
              <a:buFont typeface="Arial" panose="020B0604020202020204" pitchFamily="34" charset="0"/>
              <a:buChar char="•"/>
            </a:pPr>
            <a:r>
              <a:rPr lang="it-IT" sz="1050" dirty="0">
                <a:solidFill>
                  <a:srgbClr val="415064"/>
                </a:solidFill>
              </a:rPr>
              <a:t>Risorse attualmente impegnate dai Paesi donatori: </a:t>
            </a:r>
            <a:r>
              <a:rPr lang="it-IT" sz="1050" b="1" dirty="0">
                <a:solidFill>
                  <a:srgbClr val="415064"/>
                </a:solidFill>
              </a:rPr>
              <a:t>10,3 $/mld</a:t>
            </a:r>
          </a:p>
          <a:p>
            <a:pPr marL="182563" indent="-182563" defTabSz="914377">
              <a:lnSpc>
                <a:spcPct val="105000"/>
              </a:lnSpc>
              <a:spcAft>
                <a:spcPts val="600"/>
              </a:spcAft>
              <a:buFont typeface="Arial" panose="020B0604020202020204" pitchFamily="34" charset="0"/>
              <a:buChar char="•"/>
            </a:pPr>
            <a:r>
              <a:rPr lang="it-IT" sz="1050" dirty="0">
                <a:solidFill>
                  <a:srgbClr val="415064"/>
                </a:solidFill>
              </a:rPr>
              <a:t>L’Italia (</a:t>
            </a:r>
            <a:r>
              <a:rPr lang="it-IT" sz="1050" b="1" dirty="0">
                <a:solidFill>
                  <a:srgbClr val="415064"/>
                </a:solidFill>
              </a:rPr>
              <a:t>MEF</a:t>
            </a:r>
            <a:r>
              <a:rPr lang="it-IT" sz="1050" dirty="0">
                <a:solidFill>
                  <a:srgbClr val="415064"/>
                </a:solidFill>
              </a:rPr>
              <a:t> e </a:t>
            </a:r>
            <a:r>
              <a:rPr lang="it-IT" sz="1050" b="1" dirty="0">
                <a:solidFill>
                  <a:srgbClr val="415064"/>
                </a:solidFill>
              </a:rPr>
              <a:t>MATTM</a:t>
            </a:r>
            <a:r>
              <a:rPr lang="it-IT" sz="1050" dirty="0">
                <a:solidFill>
                  <a:srgbClr val="415064"/>
                </a:solidFill>
              </a:rPr>
              <a:t>) è il 7° Paese contributore alla capitalizzazione del Fondo con </a:t>
            </a:r>
            <a:r>
              <a:rPr lang="it-IT" sz="1050" b="1" dirty="0">
                <a:solidFill>
                  <a:srgbClr val="415064"/>
                </a:solidFill>
              </a:rPr>
              <a:t>200 €/mln</a:t>
            </a:r>
            <a:r>
              <a:rPr lang="it-IT" sz="1050" dirty="0">
                <a:solidFill>
                  <a:srgbClr val="415064"/>
                </a:solidFill>
              </a:rPr>
              <a:t> (nel 2020 è previsto un ulteriore contributo italiano per </a:t>
            </a:r>
            <a:r>
              <a:rPr lang="it-IT" sz="1050" b="1" dirty="0">
                <a:solidFill>
                  <a:srgbClr val="415064"/>
                </a:solidFill>
              </a:rPr>
              <a:t>250 €/mln</a:t>
            </a:r>
            <a:r>
              <a:rPr lang="it-IT" sz="1050" dirty="0">
                <a:solidFill>
                  <a:srgbClr val="415064"/>
                </a:solidFill>
              </a:rPr>
              <a:t>)</a:t>
            </a:r>
          </a:p>
        </p:txBody>
      </p:sp>
      <p:sp>
        <p:nvSpPr>
          <p:cNvPr id="102" name="Rettangolo 101">
            <a:extLst>
              <a:ext uri="{FF2B5EF4-FFF2-40B4-BE49-F238E27FC236}">
                <a16:creationId xmlns:a16="http://schemas.microsoft.com/office/drawing/2014/main" id="{AD27221A-CC71-4144-8436-D781D614739B}"/>
              </a:ext>
            </a:extLst>
          </p:cNvPr>
          <p:cNvSpPr/>
          <p:nvPr/>
        </p:nvSpPr>
        <p:spPr>
          <a:xfrm>
            <a:off x="243791" y="3140488"/>
            <a:ext cx="1155945" cy="1072368"/>
          </a:xfrm>
          <a:prstGeom prst="rect">
            <a:avLst/>
          </a:prstGeom>
          <a:ln>
            <a:solidFill>
              <a:srgbClr val="4150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00" b="1" dirty="0"/>
              <a:t>Modalità di intervento</a:t>
            </a:r>
          </a:p>
        </p:txBody>
      </p:sp>
      <p:sp>
        <p:nvSpPr>
          <p:cNvPr id="103" name="Rettangolo 102">
            <a:extLst>
              <a:ext uri="{FF2B5EF4-FFF2-40B4-BE49-F238E27FC236}">
                <a16:creationId xmlns:a16="http://schemas.microsoft.com/office/drawing/2014/main" id="{202A1508-12EA-4355-86D3-E460150E602C}"/>
              </a:ext>
            </a:extLst>
          </p:cNvPr>
          <p:cNvSpPr/>
          <p:nvPr/>
        </p:nvSpPr>
        <p:spPr>
          <a:xfrm>
            <a:off x="1554481" y="2358046"/>
            <a:ext cx="7484055" cy="438582"/>
          </a:xfrm>
          <a:prstGeom prst="rect">
            <a:avLst/>
          </a:prstGeom>
        </p:spPr>
        <p:txBody>
          <a:bodyPr wrap="square">
            <a:spAutoFit/>
          </a:bodyPr>
          <a:lstStyle/>
          <a:p>
            <a:pPr marL="182563" indent="-182563" defTabSz="914377">
              <a:lnSpc>
                <a:spcPts val="1200"/>
              </a:lnSpc>
              <a:spcAft>
                <a:spcPts val="300"/>
              </a:spcAft>
              <a:buFont typeface="Arial" panose="020B0604020202020204" pitchFamily="34" charset="0"/>
              <a:buChar char="•"/>
            </a:pPr>
            <a:r>
              <a:rPr lang="it-IT" sz="1050" dirty="0">
                <a:solidFill>
                  <a:srgbClr val="415064"/>
                </a:solidFill>
              </a:rPr>
              <a:t>I Paesi possono accedere alle risorse tramite </a:t>
            </a:r>
            <a:r>
              <a:rPr lang="it-IT" sz="1050" b="1" dirty="0">
                <a:solidFill>
                  <a:srgbClr val="415064"/>
                </a:solidFill>
              </a:rPr>
              <a:t>istituzioni</a:t>
            </a:r>
            <a:r>
              <a:rPr lang="it-IT" sz="1050" dirty="0">
                <a:solidFill>
                  <a:srgbClr val="415064"/>
                </a:solidFill>
              </a:rPr>
              <a:t> </a:t>
            </a:r>
            <a:r>
              <a:rPr lang="it-IT" sz="1050" b="1" dirty="0">
                <a:solidFill>
                  <a:srgbClr val="415064"/>
                </a:solidFill>
              </a:rPr>
              <a:t>accreditate</a:t>
            </a:r>
          </a:p>
          <a:p>
            <a:pPr marL="182563" indent="-182563" defTabSz="914377">
              <a:lnSpc>
                <a:spcPts val="1200"/>
              </a:lnSpc>
              <a:spcAft>
                <a:spcPts val="300"/>
              </a:spcAft>
              <a:buFont typeface="Arial" panose="020B0604020202020204" pitchFamily="34" charset="0"/>
              <a:buChar char="•"/>
            </a:pPr>
            <a:r>
              <a:rPr lang="it-IT" sz="1050" dirty="0">
                <a:solidFill>
                  <a:srgbClr val="415364"/>
                </a:solidFill>
              </a:rPr>
              <a:t>Al momento </a:t>
            </a:r>
            <a:r>
              <a:rPr lang="it-IT" sz="1050" b="1" dirty="0">
                <a:solidFill>
                  <a:srgbClr val="415364"/>
                </a:solidFill>
              </a:rPr>
              <a:t>CDP è la prima e unica istituzione italiana accreditata</a:t>
            </a:r>
            <a:endParaRPr lang="it-IT" sz="1050" b="1" dirty="0">
              <a:solidFill>
                <a:srgbClr val="415064"/>
              </a:solidFill>
            </a:endParaRPr>
          </a:p>
        </p:txBody>
      </p:sp>
      <p:sp>
        <p:nvSpPr>
          <p:cNvPr id="104" name="Rettangolo 103">
            <a:extLst>
              <a:ext uri="{FF2B5EF4-FFF2-40B4-BE49-F238E27FC236}">
                <a16:creationId xmlns:a16="http://schemas.microsoft.com/office/drawing/2014/main" id="{DE83C96D-BCCD-4873-A313-7F5313E16EF4}"/>
              </a:ext>
            </a:extLst>
          </p:cNvPr>
          <p:cNvSpPr/>
          <p:nvPr/>
        </p:nvSpPr>
        <p:spPr>
          <a:xfrm>
            <a:off x="1554480" y="3278345"/>
            <a:ext cx="2841673" cy="759247"/>
          </a:xfrm>
          <a:prstGeom prst="rect">
            <a:avLst/>
          </a:prstGeom>
        </p:spPr>
        <p:txBody>
          <a:bodyPr wrap="square">
            <a:spAutoFit/>
          </a:bodyPr>
          <a:lstStyle/>
          <a:p>
            <a:pPr marL="182563" indent="-182563" defTabSz="914377">
              <a:lnSpc>
                <a:spcPct val="105000"/>
              </a:lnSpc>
              <a:spcAft>
                <a:spcPts val="300"/>
              </a:spcAft>
              <a:buFont typeface="Arial" panose="020B0604020202020204" pitchFamily="34" charset="0"/>
              <a:buChar char="•"/>
            </a:pPr>
            <a:r>
              <a:rPr lang="it-IT" sz="1050" dirty="0">
                <a:solidFill>
                  <a:srgbClr val="415064"/>
                </a:solidFill>
              </a:rPr>
              <a:t>Il Fondo può investire nei progetti presentati dalla istituzioni accreditate nella forma di </a:t>
            </a:r>
            <a:r>
              <a:rPr lang="it-IT" sz="1050" b="1" i="1" dirty="0" err="1">
                <a:solidFill>
                  <a:srgbClr val="415064"/>
                </a:solidFill>
              </a:rPr>
              <a:t>grant</a:t>
            </a:r>
            <a:r>
              <a:rPr lang="it-IT" sz="1050" dirty="0">
                <a:solidFill>
                  <a:srgbClr val="415064"/>
                </a:solidFill>
              </a:rPr>
              <a:t>, </a:t>
            </a:r>
            <a:r>
              <a:rPr lang="it-IT" sz="1050" b="1" dirty="0">
                <a:solidFill>
                  <a:srgbClr val="415064"/>
                </a:solidFill>
              </a:rPr>
              <a:t>prestiti</a:t>
            </a:r>
            <a:r>
              <a:rPr lang="it-IT" sz="1050" dirty="0">
                <a:solidFill>
                  <a:srgbClr val="415064"/>
                </a:solidFill>
              </a:rPr>
              <a:t>, </a:t>
            </a:r>
            <a:r>
              <a:rPr lang="it-IT" sz="1050" b="1" i="1" dirty="0">
                <a:solidFill>
                  <a:srgbClr val="415064"/>
                </a:solidFill>
              </a:rPr>
              <a:t>equity</a:t>
            </a:r>
            <a:r>
              <a:rPr lang="it-IT" sz="1050" dirty="0">
                <a:solidFill>
                  <a:srgbClr val="415064"/>
                </a:solidFill>
              </a:rPr>
              <a:t> o </a:t>
            </a:r>
            <a:r>
              <a:rPr lang="it-IT" sz="1050" b="1" dirty="0">
                <a:solidFill>
                  <a:srgbClr val="415064"/>
                </a:solidFill>
              </a:rPr>
              <a:t>garanzia</a:t>
            </a:r>
            <a:endParaRPr lang="it-IT" sz="1050" dirty="0">
              <a:solidFill>
                <a:srgbClr val="415064"/>
              </a:solidFill>
            </a:endParaRPr>
          </a:p>
        </p:txBody>
      </p:sp>
      <p:cxnSp>
        <p:nvCxnSpPr>
          <p:cNvPr id="135" name="Straight Connector 139">
            <a:extLst>
              <a:ext uri="{FF2B5EF4-FFF2-40B4-BE49-F238E27FC236}">
                <a16:creationId xmlns:a16="http://schemas.microsoft.com/office/drawing/2014/main" id="{C6BACA76-64BF-4BC9-8C12-30D243154E3B}"/>
              </a:ext>
            </a:extLst>
          </p:cNvPr>
          <p:cNvCxnSpPr>
            <a:cxnSpLocks/>
          </p:cNvCxnSpPr>
          <p:nvPr/>
        </p:nvCxnSpPr>
        <p:spPr>
          <a:xfrm>
            <a:off x="229722" y="4320004"/>
            <a:ext cx="8640000" cy="0"/>
          </a:xfrm>
          <a:prstGeom prst="line">
            <a:avLst/>
          </a:prstGeom>
          <a:ln w="9525">
            <a:solidFill>
              <a:schemeClr val="accent6">
                <a:lumMod val="60000"/>
                <a:lumOff val="40000"/>
              </a:schemeClr>
            </a:solidFill>
            <a:prstDash val="soli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36" name="Rettangolo 135">
            <a:extLst>
              <a:ext uri="{FF2B5EF4-FFF2-40B4-BE49-F238E27FC236}">
                <a16:creationId xmlns:a16="http://schemas.microsoft.com/office/drawing/2014/main" id="{931561E9-8F60-45B3-8826-B9648894C300}"/>
              </a:ext>
            </a:extLst>
          </p:cNvPr>
          <p:cNvSpPr/>
          <p:nvPr/>
        </p:nvSpPr>
        <p:spPr>
          <a:xfrm>
            <a:off x="243791" y="4427152"/>
            <a:ext cx="1155945" cy="389402"/>
          </a:xfrm>
          <a:prstGeom prst="rect">
            <a:avLst/>
          </a:prstGeom>
          <a:ln>
            <a:solidFill>
              <a:srgbClr val="4150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00" b="1" dirty="0"/>
              <a:t>Possibile ruolo CDP</a:t>
            </a:r>
          </a:p>
        </p:txBody>
      </p:sp>
      <p:sp>
        <p:nvSpPr>
          <p:cNvPr id="137" name="Rettangolo 136">
            <a:extLst>
              <a:ext uri="{FF2B5EF4-FFF2-40B4-BE49-F238E27FC236}">
                <a16:creationId xmlns:a16="http://schemas.microsoft.com/office/drawing/2014/main" id="{8FEEC4DB-E9A8-4723-B00E-BECBF205B1C1}"/>
              </a:ext>
            </a:extLst>
          </p:cNvPr>
          <p:cNvSpPr/>
          <p:nvPr/>
        </p:nvSpPr>
        <p:spPr>
          <a:xfrm>
            <a:off x="1554482" y="4427152"/>
            <a:ext cx="7345728" cy="419923"/>
          </a:xfrm>
          <a:prstGeom prst="rect">
            <a:avLst/>
          </a:prstGeom>
        </p:spPr>
        <p:txBody>
          <a:bodyPr wrap="square">
            <a:spAutoFit/>
          </a:bodyPr>
          <a:lstStyle/>
          <a:p>
            <a:pPr marL="182563" indent="-182563" defTabSz="914377">
              <a:lnSpc>
                <a:spcPct val="105000"/>
              </a:lnSpc>
              <a:spcAft>
                <a:spcPts val="300"/>
              </a:spcAft>
              <a:buFont typeface="Arial" panose="020B0604020202020204" pitchFamily="34" charset="0"/>
              <a:buChar char="•"/>
            </a:pPr>
            <a:r>
              <a:rPr lang="it-IT" sz="1050" dirty="0">
                <a:solidFill>
                  <a:srgbClr val="415064"/>
                </a:solidFill>
              </a:rPr>
              <a:t>CDP rappresenterà la </a:t>
            </a:r>
            <a:r>
              <a:rPr lang="it-IT" sz="1050" b="1" dirty="0">
                <a:solidFill>
                  <a:srgbClr val="415064"/>
                </a:solidFill>
              </a:rPr>
              <a:t>porta d'accesso per l'Italia </a:t>
            </a:r>
            <a:r>
              <a:rPr lang="it-IT" sz="1050" dirty="0">
                <a:solidFill>
                  <a:srgbClr val="415064"/>
                </a:solidFill>
              </a:rPr>
              <a:t>ai fondi del GCF per progetti legati al </a:t>
            </a:r>
            <a:r>
              <a:rPr lang="it-IT" sz="1050" i="1" dirty="0" err="1">
                <a:solidFill>
                  <a:srgbClr val="415064"/>
                </a:solidFill>
              </a:rPr>
              <a:t>climate</a:t>
            </a:r>
            <a:r>
              <a:rPr lang="it-IT" sz="1050" i="1" dirty="0">
                <a:solidFill>
                  <a:srgbClr val="415064"/>
                </a:solidFill>
              </a:rPr>
              <a:t> </a:t>
            </a:r>
            <a:r>
              <a:rPr lang="it-IT" sz="1050" i="1" dirty="0" err="1">
                <a:solidFill>
                  <a:srgbClr val="415064"/>
                </a:solidFill>
              </a:rPr>
              <a:t>change</a:t>
            </a:r>
            <a:r>
              <a:rPr lang="it-IT" sz="1050" dirty="0">
                <a:solidFill>
                  <a:srgbClr val="415064"/>
                </a:solidFill>
              </a:rPr>
              <a:t> del </a:t>
            </a:r>
            <a:r>
              <a:rPr lang="it-IT" sz="1050" b="1" dirty="0">
                <a:solidFill>
                  <a:srgbClr val="415064"/>
                </a:solidFill>
              </a:rPr>
              <a:t>settore pubblico o privato </a:t>
            </a:r>
            <a:r>
              <a:rPr lang="it-IT" sz="1050" dirty="0">
                <a:solidFill>
                  <a:srgbClr val="415064"/>
                </a:solidFill>
              </a:rPr>
              <a:t>nei PVS  </a:t>
            </a:r>
          </a:p>
        </p:txBody>
      </p:sp>
      <p:sp>
        <p:nvSpPr>
          <p:cNvPr id="61" name="CasellaDiTesto 60">
            <a:extLst>
              <a:ext uri="{FF2B5EF4-FFF2-40B4-BE49-F238E27FC236}">
                <a16:creationId xmlns:a16="http://schemas.microsoft.com/office/drawing/2014/main" id="{FD9D90F6-0092-40D2-A292-615E32E8FC57}"/>
              </a:ext>
            </a:extLst>
          </p:cNvPr>
          <p:cNvSpPr txBox="1"/>
          <p:nvPr/>
        </p:nvSpPr>
        <p:spPr>
          <a:xfrm>
            <a:off x="5324665" y="2998491"/>
            <a:ext cx="3439466" cy="246542"/>
          </a:xfrm>
          <a:prstGeom prst="rect">
            <a:avLst/>
          </a:prstGeom>
        </p:spPr>
        <p:txBody>
          <a:bodyPr wrap="square">
            <a:spAutoFit/>
          </a:bodyPr>
          <a:lstStyle>
            <a:defPPr>
              <a:defRPr lang="it-IT"/>
            </a:defPPr>
            <a:lvl1pPr marL="182563" indent="-182563" defTabSz="914377">
              <a:lnSpc>
                <a:spcPts val="1300"/>
              </a:lnSpc>
              <a:spcAft>
                <a:spcPts val="300"/>
              </a:spcAft>
              <a:buFont typeface="Arial" panose="020B0604020202020204" pitchFamily="34" charset="0"/>
              <a:buChar char="•"/>
              <a:defRPr sz="1000">
                <a:solidFill>
                  <a:srgbClr val="415064"/>
                </a:solidFill>
              </a:defRPr>
            </a:lvl1pPr>
          </a:lstStyle>
          <a:p>
            <a:pPr marL="0" indent="0" algn="ctr">
              <a:buNone/>
            </a:pPr>
            <a:r>
              <a:rPr lang="it-IT" sz="950" b="1" dirty="0"/>
              <a:t>Distribuzione investimenti GCF per forma tecnica</a:t>
            </a:r>
          </a:p>
        </p:txBody>
      </p:sp>
      <p:cxnSp>
        <p:nvCxnSpPr>
          <p:cNvPr id="62" name="Straight Connector 139">
            <a:extLst>
              <a:ext uri="{FF2B5EF4-FFF2-40B4-BE49-F238E27FC236}">
                <a16:creationId xmlns:a16="http://schemas.microsoft.com/office/drawing/2014/main" id="{599304B8-268C-4E0E-8E23-EEB12855C19E}"/>
              </a:ext>
            </a:extLst>
          </p:cNvPr>
          <p:cNvCxnSpPr>
            <a:cxnSpLocks/>
          </p:cNvCxnSpPr>
          <p:nvPr/>
        </p:nvCxnSpPr>
        <p:spPr>
          <a:xfrm>
            <a:off x="229722" y="1718472"/>
            <a:ext cx="8640000" cy="0"/>
          </a:xfrm>
          <a:prstGeom prst="line">
            <a:avLst/>
          </a:prstGeom>
          <a:ln w="9525">
            <a:solidFill>
              <a:schemeClr val="accent6">
                <a:lumMod val="60000"/>
                <a:lumOff val="40000"/>
              </a:schemeClr>
            </a:solidFill>
            <a:prstDash val="soli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63" name="Rettangolo 62">
            <a:extLst>
              <a:ext uri="{FF2B5EF4-FFF2-40B4-BE49-F238E27FC236}">
                <a16:creationId xmlns:a16="http://schemas.microsoft.com/office/drawing/2014/main" id="{B254E7EE-F95E-449C-84E8-210504A0F1CE}"/>
              </a:ext>
            </a:extLst>
          </p:cNvPr>
          <p:cNvSpPr/>
          <p:nvPr/>
        </p:nvSpPr>
        <p:spPr>
          <a:xfrm>
            <a:off x="243791" y="1806878"/>
            <a:ext cx="1155945" cy="372959"/>
          </a:xfrm>
          <a:prstGeom prst="rect">
            <a:avLst/>
          </a:prstGeom>
          <a:ln>
            <a:solidFill>
              <a:srgbClr val="4150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000" b="1" dirty="0"/>
              <a:t>Risorse impegnate</a:t>
            </a:r>
          </a:p>
        </p:txBody>
      </p:sp>
      <p:sp>
        <p:nvSpPr>
          <p:cNvPr id="64" name="Rettangolo 63">
            <a:extLst>
              <a:ext uri="{FF2B5EF4-FFF2-40B4-BE49-F238E27FC236}">
                <a16:creationId xmlns:a16="http://schemas.microsoft.com/office/drawing/2014/main" id="{722D9631-AEE4-4319-BD97-E338B50A6FB7}"/>
              </a:ext>
            </a:extLst>
          </p:cNvPr>
          <p:cNvSpPr/>
          <p:nvPr/>
        </p:nvSpPr>
        <p:spPr>
          <a:xfrm>
            <a:off x="1554482" y="1790960"/>
            <a:ext cx="7345728" cy="438582"/>
          </a:xfrm>
          <a:prstGeom prst="rect">
            <a:avLst/>
          </a:prstGeom>
        </p:spPr>
        <p:txBody>
          <a:bodyPr wrap="square">
            <a:spAutoFit/>
          </a:bodyPr>
          <a:lstStyle/>
          <a:p>
            <a:pPr marL="182563" indent="-182563" defTabSz="914377">
              <a:lnSpc>
                <a:spcPts val="1200"/>
              </a:lnSpc>
              <a:spcAft>
                <a:spcPts val="300"/>
              </a:spcAft>
              <a:buFont typeface="Arial" panose="020B0604020202020204" pitchFamily="34" charset="0"/>
              <a:buChar char="•"/>
            </a:pPr>
            <a:r>
              <a:rPr lang="it-IT" sz="1050" dirty="0">
                <a:solidFill>
                  <a:srgbClr val="415064"/>
                </a:solidFill>
              </a:rPr>
              <a:t>Risorse del Fondo attualmente impegnate per progetti approvati:</a:t>
            </a:r>
            <a:r>
              <a:rPr lang="it-IT" sz="1050" b="1" dirty="0">
                <a:solidFill>
                  <a:srgbClr val="415064"/>
                </a:solidFill>
              </a:rPr>
              <a:t> 5,2 $/mld </a:t>
            </a:r>
            <a:r>
              <a:rPr lang="it-IT" sz="1050" dirty="0">
                <a:solidFill>
                  <a:srgbClr val="415064"/>
                </a:solidFill>
              </a:rPr>
              <a:t>(~</a:t>
            </a:r>
            <a:r>
              <a:rPr lang="it-IT" sz="1050" b="1" dirty="0">
                <a:solidFill>
                  <a:srgbClr val="415064"/>
                </a:solidFill>
              </a:rPr>
              <a:t>50%</a:t>
            </a:r>
            <a:r>
              <a:rPr lang="it-IT" sz="1050" dirty="0">
                <a:solidFill>
                  <a:srgbClr val="415064"/>
                </a:solidFill>
              </a:rPr>
              <a:t> delle risorse totali del Fondo)</a:t>
            </a:r>
          </a:p>
          <a:p>
            <a:pPr marL="182563" indent="-182563" defTabSz="914377">
              <a:lnSpc>
                <a:spcPts val="1200"/>
              </a:lnSpc>
              <a:spcAft>
                <a:spcPts val="300"/>
              </a:spcAft>
              <a:buFont typeface="Arial" panose="020B0604020202020204" pitchFamily="34" charset="0"/>
              <a:buChar char="•"/>
            </a:pPr>
            <a:r>
              <a:rPr lang="it-IT" sz="1050" dirty="0">
                <a:solidFill>
                  <a:srgbClr val="415064"/>
                </a:solidFill>
              </a:rPr>
              <a:t># progetti approvati</a:t>
            </a:r>
            <a:r>
              <a:rPr lang="it-IT" sz="1050" b="1" dirty="0">
                <a:solidFill>
                  <a:srgbClr val="415064"/>
                </a:solidFill>
              </a:rPr>
              <a:t> 111 </a:t>
            </a:r>
            <a:r>
              <a:rPr lang="it-IT" sz="1050" dirty="0">
                <a:solidFill>
                  <a:srgbClr val="415064"/>
                </a:solidFill>
              </a:rPr>
              <a:t>di un valore complessivo pari a </a:t>
            </a:r>
            <a:r>
              <a:rPr lang="it-IT" sz="1050" b="1" dirty="0">
                <a:solidFill>
                  <a:srgbClr val="415064"/>
                </a:solidFill>
              </a:rPr>
              <a:t>18,7 $/mld </a:t>
            </a:r>
            <a:r>
              <a:rPr lang="it-IT" sz="1050" dirty="0">
                <a:solidFill>
                  <a:srgbClr val="415064"/>
                </a:solidFill>
              </a:rPr>
              <a:t>(leva di </a:t>
            </a:r>
            <a:r>
              <a:rPr lang="it-IT" sz="1050" b="1" dirty="0">
                <a:solidFill>
                  <a:srgbClr val="415064"/>
                </a:solidFill>
              </a:rPr>
              <a:t>3,6x</a:t>
            </a:r>
            <a:r>
              <a:rPr lang="it-IT" sz="1050" dirty="0">
                <a:solidFill>
                  <a:srgbClr val="415064"/>
                </a:solidFill>
              </a:rPr>
              <a:t> rispetto a risorse del GCF)</a:t>
            </a:r>
          </a:p>
        </p:txBody>
      </p:sp>
      <p:sp>
        <p:nvSpPr>
          <p:cNvPr id="69" name="Estrazione 68">
            <a:extLst>
              <a:ext uri="{FF2B5EF4-FFF2-40B4-BE49-F238E27FC236}">
                <a16:creationId xmlns:a16="http://schemas.microsoft.com/office/drawing/2014/main" id="{695DC46E-5422-4347-9ADB-5C36848A8572}"/>
              </a:ext>
            </a:extLst>
          </p:cNvPr>
          <p:cNvSpPr/>
          <p:nvPr/>
        </p:nvSpPr>
        <p:spPr>
          <a:xfrm rot="5400000">
            <a:off x="4298099" y="3427128"/>
            <a:ext cx="1412960" cy="372791"/>
          </a:xfrm>
          <a:prstGeom prst="flowChartExtract">
            <a:avLst/>
          </a:prstGeom>
          <a:gradFill>
            <a:gsLst>
              <a:gs pos="100000">
                <a:sysClr val="window" lastClr="FFFFFF"/>
              </a:gs>
              <a:gs pos="0">
                <a:sysClr val="window" lastClr="FFFFFF">
                  <a:lumMod val="75000"/>
                </a:sysClr>
              </a:gs>
            </a:gsLst>
            <a:lin ang="5400000" scaled="1"/>
          </a:gradFill>
          <a:ln w="25400"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prstClr val="white"/>
              </a:solidFill>
              <a:effectLst/>
              <a:uLnTx/>
              <a:uFillTx/>
              <a:latin typeface="Arial (corpo)"/>
              <a:ea typeface="+mn-ea"/>
              <a:cs typeface="+mn-cs"/>
            </a:endParaRPr>
          </a:p>
        </p:txBody>
      </p:sp>
      <p:grpSp>
        <p:nvGrpSpPr>
          <p:cNvPr id="32" name="Gruppo 31">
            <a:extLst>
              <a:ext uri="{FF2B5EF4-FFF2-40B4-BE49-F238E27FC236}">
                <a16:creationId xmlns:a16="http://schemas.microsoft.com/office/drawing/2014/main" id="{A2B29978-96CD-4BE7-8783-5FAECC4F1E6C}"/>
              </a:ext>
            </a:extLst>
          </p:cNvPr>
          <p:cNvGrpSpPr/>
          <p:nvPr/>
        </p:nvGrpSpPr>
        <p:grpSpPr>
          <a:xfrm>
            <a:off x="6052836" y="3154683"/>
            <a:ext cx="2085324" cy="1318186"/>
            <a:chOff x="6052836" y="3108963"/>
            <a:chExt cx="2085324" cy="1318186"/>
          </a:xfrm>
        </p:grpSpPr>
        <p:graphicFrame>
          <p:nvGraphicFramePr>
            <p:cNvPr id="33" name="Grafico 32">
              <a:extLst>
                <a:ext uri="{FF2B5EF4-FFF2-40B4-BE49-F238E27FC236}">
                  <a16:creationId xmlns:a16="http://schemas.microsoft.com/office/drawing/2014/main" id="{82BF9A03-0810-44B0-ADC8-A151F321E1AB}"/>
                </a:ext>
              </a:extLst>
            </p:cNvPr>
            <p:cNvGraphicFramePr>
              <a:graphicFrameLocks/>
            </p:cNvGraphicFramePr>
            <p:nvPr/>
          </p:nvGraphicFramePr>
          <p:xfrm>
            <a:off x="6052836" y="3108963"/>
            <a:ext cx="2085324" cy="1318186"/>
          </p:xfrm>
          <a:graphic>
            <a:graphicData uri="http://schemas.openxmlformats.org/drawingml/2006/chart">
              <c:chart xmlns:c="http://schemas.openxmlformats.org/drawingml/2006/chart" xmlns:r="http://schemas.openxmlformats.org/officeDocument/2006/relationships" r:id="rId7"/>
            </a:graphicData>
          </a:graphic>
        </p:graphicFrame>
        <p:sp>
          <p:nvSpPr>
            <p:cNvPr id="34" name="Rettangolo 33">
              <a:extLst>
                <a:ext uri="{FF2B5EF4-FFF2-40B4-BE49-F238E27FC236}">
                  <a16:creationId xmlns:a16="http://schemas.microsoft.com/office/drawing/2014/main" id="{226C8405-6275-4714-AFA5-DCECDE28F48F}"/>
                </a:ext>
              </a:extLst>
            </p:cNvPr>
            <p:cNvSpPr/>
            <p:nvPr/>
          </p:nvSpPr>
          <p:spPr>
            <a:xfrm>
              <a:off x="7477741" y="3441415"/>
              <a:ext cx="85544" cy="82622"/>
            </a:xfrm>
            <a:prstGeom prst="rect">
              <a:avLst/>
            </a:prstGeom>
            <a:solidFill>
              <a:srgbClr val="415364"/>
            </a:solidFill>
            <a:ln>
              <a:solidFill>
                <a:srgbClr val="4150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000" b="1" dirty="0"/>
            </a:p>
          </p:txBody>
        </p:sp>
        <p:sp>
          <p:nvSpPr>
            <p:cNvPr id="35" name="Rettangolo 34">
              <a:extLst>
                <a:ext uri="{FF2B5EF4-FFF2-40B4-BE49-F238E27FC236}">
                  <a16:creationId xmlns:a16="http://schemas.microsoft.com/office/drawing/2014/main" id="{4E7A2EC2-472E-4851-862C-5C758BAA068E}"/>
                </a:ext>
              </a:extLst>
            </p:cNvPr>
            <p:cNvSpPr/>
            <p:nvPr/>
          </p:nvSpPr>
          <p:spPr>
            <a:xfrm>
              <a:off x="7477741" y="3630087"/>
              <a:ext cx="85544" cy="82622"/>
            </a:xfrm>
            <a:prstGeom prst="rect">
              <a:avLst/>
            </a:prstGeom>
            <a:solidFill>
              <a:srgbClr val="005392"/>
            </a:solidFill>
            <a:ln>
              <a:solidFill>
                <a:srgbClr val="0053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000" b="1" dirty="0"/>
            </a:p>
          </p:txBody>
        </p:sp>
        <p:sp>
          <p:nvSpPr>
            <p:cNvPr id="36" name="Rettangolo 35">
              <a:extLst>
                <a:ext uri="{FF2B5EF4-FFF2-40B4-BE49-F238E27FC236}">
                  <a16:creationId xmlns:a16="http://schemas.microsoft.com/office/drawing/2014/main" id="{017533E0-D71E-436B-960A-AB32EB316E06}"/>
                </a:ext>
              </a:extLst>
            </p:cNvPr>
            <p:cNvSpPr/>
            <p:nvPr/>
          </p:nvSpPr>
          <p:spPr>
            <a:xfrm>
              <a:off x="7477741" y="3820638"/>
              <a:ext cx="85544" cy="82622"/>
            </a:xfrm>
            <a:prstGeom prst="rect">
              <a:avLst/>
            </a:prstGeom>
            <a:solidFill>
              <a:srgbClr val="5F85B1"/>
            </a:solidFill>
            <a:ln>
              <a:solidFill>
                <a:srgbClr val="5F85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000" b="1" dirty="0"/>
            </a:p>
          </p:txBody>
        </p:sp>
        <p:sp>
          <p:nvSpPr>
            <p:cNvPr id="37" name="Rettangolo 36">
              <a:extLst>
                <a:ext uri="{FF2B5EF4-FFF2-40B4-BE49-F238E27FC236}">
                  <a16:creationId xmlns:a16="http://schemas.microsoft.com/office/drawing/2014/main" id="{70DCDD04-58A5-4AE7-8B11-CF78FC0EE295}"/>
                </a:ext>
              </a:extLst>
            </p:cNvPr>
            <p:cNvSpPr/>
            <p:nvPr/>
          </p:nvSpPr>
          <p:spPr>
            <a:xfrm>
              <a:off x="7477741" y="4003937"/>
              <a:ext cx="85544" cy="82622"/>
            </a:xfrm>
            <a:prstGeom prst="rect">
              <a:avLst/>
            </a:prstGeom>
            <a:solidFill>
              <a:srgbClr val="B5C8E5"/>
            </a:solidFill>
            <a:ln>
              <a:solidFill>
                <a:srgbClr val="B5C8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000" b="1" dirty="0"/>
            </a:p>
          </p:txBody>
        </p:sp>
      </p:grpSp>
      <p:cxnSp>
        <p:nvCxnSpPr>
          <p:cNvPr id="101" name="Straight Connector 139">
            <a:extLst>
              <a:ext uri="{FF2B5EF4-FFF2-40B4-BE49-F238E27FC236}">
                <a16:creationId xmlns:a16="http://schemas.microsoft.com/office/drawing/2014/main" id="{5A6E41B1-3480-4535-B002-C5B11F7BEC11}"/>
              </a:ext>
            </a:extLst>
          </p:cNvPr>
          <p:cNvCxnSpPr>
            <a:cxnSpLocks/>
          </p:cNvCxnSpPr>
          <p:nvPr/>
        </p:nvCxnSpPr>
        <p:spPr>
          <a:xfrm>
            <a:off x="229722" y="2960382"/>
            <a:ext cx="8640000" cy="0"/>
          </a:xfrm>
          <a:prstGeom prst="line">
            <a:avLst/>
          </a:prstGeom>
          <a:ln w="9525">
            <a:solidFill>
              <a:schemeClr val="accent6">
                <a:lumMod val="60000"/>
                <a:lumOff val="40000"/>
              </a:schemeClr>
            </a:solidFill>
            <a:prstDash val="soli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12533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4">
            <a:extLst>
              <a:ext uri="{FF2B5EF4-FFF2-40B4-BE49-F238E27FC236}">
                <a16:creationId xmlns:a16="http://schemas.microsoft.com/office/drawing/2014/main" id="{6C869143-6E28-4943-BE17-96F97E969E4B}"/>
              </a:ext>
            </a:extLst>
          </p:cNvPr>
          <p:cNvSpPr>
            <a:spLocks noGrp="1"/>
          </p:cNvSpPr>
          <p:nvPr>
            <p:ph type="body" idx="13"/>
          </p:nvPr>
        </p:nvSpPr>
        <p:spPr>
          <a:xfrm>
            <a:off x="250825" y="268289"/>
            <a:ext cx="7514201" cy="279854"/>
          </a:xfrm>
        </p:spPr>
        <p:txBody>
          <a:bodyPr/>
          <a:lstStyle/>
          <a:p>
            <a:r>
              <a:rPr lang="it-IT" dirty="0"/>
              <a:t>Il gruppo CDP: un gruppo unico in Italia</a:t>
            </a:r>
          </a:p>
        </p:txBody>
      </p:sp>
      <p:sp>
        <p:nvSpPr>
          <p:cNvPr id="32" name="Segnaposto numero diapositiva 3">
            <a:extLst>
              <a:ext uri="{FF2B5EF4-FFF2-40B4-BE49-F238E27FC236}">
                <a16:creationId xmlns:a16="http://schemas.microsoft.com/office/drawing/2014/main" id="{8E062D89-1FC3-42B6-99CC-9FD85876B28B}"/>
              </a:ext>
            </a:extLst>
          </p:cNvPr>
          <p:cNvSpPr>
            <a:spLocks noGrp="1"/>
          </p:cNvSpPr>
          <p:nvPr>
            <p:ph type="sldNum" sz="quarter" idx="12"/>
          </p:nvPr>
        </p:nvSpPr>
        <p:spPr>
          <a:xfrm>
            <a:off x="250825" y="4723393"/>
            <a:ext cx="1008062" cy="183687"/>
          </a:xfrm>
        </p:spPr>
        <p:txBody>
          <a:bodyPr/>
          <a:lstStyle/>
          <a:p>
            <a:fld id="{608DA0FE-9C19-F746-8419-6700E348BF78}" type="slidenum">
              <a:rPr lang="it-IT" smtClean="0"/>
              <a:pPr/>
              <a:t>3</a:t>
            </a:fld>
            <a:endParaRPr lang="it-IT" dirty="0"/>
          </a:p>
        </p:txBody>
      </p:sp>
      <p:sp>
        <p:nvSpPr>
          <p:cNvPr id="16" name="object 6">
            <a:extLst>
              <a:ext uri="{FF2B5EF4-FFF2-40B4-BE49-F238E27FC236}">
                <a16:creationId xmlns:a16="http://schemas.microsoft.com/office/drawing/2014/main" id="{1B949C3E-59EC-412A-A982-66D8D6E7BF32}"/>
              </a:ext>
            </a:extLst>
          </p:cNvPr>
          <p:cNvSpPr txBox="1"/>
          <p:nvPr/>
        </p:nvSpPr>
        <p:spPr>
          <a:xfrm>
            <a:off x="2180844" y="3048908"/>
            <a:ext cx="1651635" cy="665567"/>
          </a:xfrm>
          <a:prstGeom prst="rect">
            <a:avLst/>
          </a:prstGeom>
          <a:solidFill>
            <a:srgbClr val="00356F"/>
          </a:solidFill>
        </p:spPr>
        <p:txBody>
          <a:bodyPr vert="horz" wrap="square" lIns="0" tIns="87630" rIns="0" bIns="0" rtlCol="0">
            <a:spAutoFit/>
          </a:bodyPr>
          <a:lstStyle/>
          <a:p>
            <a:pPr marL="65723">
              <a:lnSpc>
                <a:spcPts val="1170"/>
              </a:lnSpc>
              <a:spcBef>
                <a:spcPts val="690"/>
              </a:spcBef>
            </a:pPr>
            <a:r>
              <a:rPr lang="it-IT" sz="1200" dirty="0">
                <a:solidFill>
                  <a:srgbClr val="FDFDFD"/>
                </a:solidFill>
                <a:latin typeface="Arial"/>
                <a:cs typeface="Arial"/>
              </a:rPr>
              <a:t>Crediti</a:t>
            </a:r>
            <a:r>
              <a:rPr sz="1181" baseline="26455" dirty="0">
                <a:solidFill>
                  <a:srgbClr val="FDFDFD"/>
                </a:solidFill>
                <a:latin typeface="Arial"/>
                <a:cs typeface="Arial"/>
              </a:rPr>
              <a:t>2</a:t>
            </a:r>
            <a:endParaRPr sz="1181" baseline="26455" dirty="0">
              <a:latin typeface="Arial"/>
              <a:cs typeface="Arial"/>
            </a:endParaRPr>
          </a:p>
          <a:p>
            <a:pPr marL="65723">
              <a:lnSpc>
                <a:spcPts val="3330"/>
              </a:lnSpc>
            </a:pPr>
            <a:r>
              <a:rPr sz="3000" b="1" spc="-4" dirty="0">
                <a:solidFill>
                  <a:srgbClr val="FDFDFD"/>
                </a:solidFill>
                <a:latin typeface="Arial"/>
                <a:cs typeface="Arial"/>
              </a:rPr>
              <a:t>10</a:t>
            </a:r>
            <a:r>
              <a:rPr lang="it-IT" sz="3000" b="1" spc="-4" dirty="0">
                <a:solidFill>
                  <a:srgbClr val="FDFDFD"/>
                </a:solidFill>
                <a:latin typeface="Arial"/>
                <a:cs typeface="Arial"/>
              </a:rPr>
              <a:t>0</a:t>
            </a:r>
            <a:r>
              <a:rPr sz="3000" b="1" spc="-270" dirty="0">
                <a:solidFill>
                  <a:srgbClr val="FDFDFD"/>
                </a:solidFill>
                <a:latin typeface="Arial"/>
                <a:cs typeface="Arial"/>
              </a:rPr>
              <a:t> </a:t>
            </a:r>
            <a:r>
              <a:rPr sz="1350" b="1" spc="-4" dirty="0">
                <a:solidFill>
                  <a:srgbClr val="FDFDFD"/>
                </a:solidFill>
                <a:latin typeface="Arial"/>
                <a:cs typeface="Arial"/>
              </a:rPr>
              <a:t>EUR </a:t>
            </a:r>
            <a:r>
              <a:rPr lang="it-IT" sz="1350" b="1" spc="-4" dirty="0" err="1">
                <a:solidFill>
                  <a:srgbClr val="FDFDFD"/>
                </a:solidFill>
                <a:latin typeface="Arial"/>
                <a:cs typeface="Arial"/>
              </a:rPr>
              <a:t>Mld</a:t>
            </a:r>
            <a:endParaRPr sz="1350" dirty="0">
              <a:latin typeface="Arial"/>
              <a:cs typeface="Arial"/>
            </a:endParaRPr>
          </a:p>
        </p:txBody>
      </p:sp>
      <p:sp>
        <p:nvSpPr>
          <p:cNvPr id="17" name="object 7">
            <a:extLst>
              <a:ext uri="{FF2B5EF4-FFF2-40B4-BE49-F238E27FC236}">
                <a16:creationId xmlns:a16="http://schemas.microsoft.com/office/drawing/2014/main" id="{C41DF765-D33F-4722-B68C-010A558AF43E}"/>
              </a:ext>
            </a:extLst>
          </p:cNvPr>
          <p:cNvSpPr txBox="1"/>
          <p:nvPr/>
        </p:nvSpPr>
        <p:spPr>
          <a:xfrm>
            <a:off x="2180844" y="3810147"/>
            <a:ext cx="1651635" cy="620843"/>
          </a:xfrm>
          <a:prstGeom prst="rect">
            <a:avLst/>
          </a:prstGeom>
          <a:solidFill>
            <a:srgbClr val="00356F"/>
          </a:solidFill>
        </p:spPr>
        <p:txBody>
          <a:bodyPr vert="horz" wrap="square" lIns="0" tIns="43339" rIns="0" bIns="0" rtlCol="0">
            <a:spAutoFit/>
          </a:bodyPr>
          <a:lstStyle/>
          <a:p>
            <a:pPr marL="65723">
              <a:lnSpc>
                <a:spcPts val="1170"/>
              </a:lnSpc>
              <a:spcBef>
                <a:spcPts val="341"/>
              </a:spcBef>
            </a:pPr>
            <a:r>
              <a:rPr lang="it-IT" sz="1200" spc="-4" dirty="0">
                <a:solidFill>
                  <a:srgbClr val="FDFDFD"/>
                </a:solidFill>
                <a:latin typeface="Arial"/>
                <a:cs typeface="Arial"/>
              </a:rPr>
              <a:t>Partecipazioni</a:t>
            </a:r>
            <a:r>
              <a:rPr sz="1181" baseline="26455" dirty="0">
                <a:solidFill>
                  <a:srgbClr val="FDFDFD"/>
                </a:solidFill>
                <a:latin typeface="Arial"/>
                <a:cs typeface="Arial"/>
              </a:rPr>
              <a:t>2</a:t>
            </a:r>
            <a:endParaRPr sz="1181" baseline="26455" dirty="0">
              <a:latin typeface="Arial"/>
              <a:cs typeface="Arial"/>
            </a:endParaRPr>
          </a:p>
          <a:p>
            <a:pPr marL="65723">
              <a:lnSpc>
                <a:spcPts val="3330"/>
              </a:lnSpc>
            </a:pPr>
            <a:r>
              <a:rPr sz="3000" b="1" spc="-4" dirty="0">
                <a:solidFill>
                  <a:srgbClr val="FDFDFD"/>
                </a:solidFill>
                <a:latin typeface="Arial"/>
                <a:cs typeface="Arial"/>
              </a:rPr>
              <a:t>3</a:t>
            </a:r>
            <a:r>
              <a:rPr lang="it-IT" sz="3000" b="1" spc="-4" dirty="0">
                <a:solidFill>
                  <a:srgbClr val="FDFDFD"/>
                </a:solidFill>
                <a:latin typeface="Arial"/>
                <a:cs typeface="Arial"/>
              </a:rPr>
              <a:t>4</a:t>
            </a:r>
            <a:r>
              <a:rPr sz="3000" b="1" spc="-4" dirty="0">
                <a:solidFill>
                  <a:srgbClr val="FDFDFD"/>
                </a:solidFill>
                <a:latin typeface="Arial"/>
                <a:cs typeface="Arial"/>
              </a:rPr>
              <a:t> </a:t>
            </a:r>
            <a:r>
              <a:rPr sz="1350" b="1" spc="-4" dirty="0">
                <a:solidFill>
                  <a:srgbClr val="FDFDFD"/>
                </a:solidFill>
                <a:latin typeface="Arial"/>
                <a:cs typeface="Arial"/>
              </a:rPr>
              <a:t>EUR</a:t>
            </a:r>
            <a:r>
              <a:rPr lang="it-IT" sz="1350" b="1" spc="-259" dirty="0">
                <a:solidFill>
                  <a:srgbClr val="FDFDFD"/>
                </a:solidFill>
                <a:latin typeface="Arial"/>
                <a:cs typeface="Arial"/>
              </a:rPr>
              <a:t>  </a:t>
            </a:r>
            <a:r>
              <a:rPr lang="it-IT" sz="1350" b="1" spc="-4" dirty="0" err="1">
                <a:solidFill>
                  <a:srgbClr val="FDFDFD"/>
                </a:solidFill>
                <a:latin typeface="Arial"/>
                <a:cs typeface="Arial"/>
              </a:rPr>
              <a:t>Mld</a:t>
            </a:r>
            <a:endParaRPr sz="1350" b="1" spc="-4" dirty="0">
              <a:solidFill>
                <a:srgbClr val="FDFDFD"/>
              </a:solidFill>
              <a:latin typeface="Arial"/>
              <a:cs typeface="Arial"/>
            </a:endParaRPr>
          </a:p>
        </p:txBody>
      </p:sp>
      <p:sp>
        <p:nvSpPr>
          <p:cNvPr id="18" name="object 8">
            <a:extLst>
              <a:ext uri="{FF2B5EF4-FFF2-40B4-BE49-F238E27FC236}">
                <a16:creationId xmlns:a16="http://schemas.microsoft.com/office/drawing/2014/main" id="{1FD532E1-00E6-483C-8595-0AF881F53099}"/>
              </a:ext>
            </a:extLst>
          </p:cNvPr>
          <p:cNvSpPr txBox="1"/>
          <p:nvPr/>
        </p:nvSpPr>
        <p:spPr>
          <a:xfrm>
            <a:off x="4037075" y="3811290"/>
            <a:ext cx="1650683" cy="619881"/>
          </a:xfrm>
          <a:prstGeom prst="rect">
            <a:avLst/>
          </a:prstGeom>
          <a:solidFill>
            <a:srgbClr val="3366CC"/>
          </a:solidFill>
        </p:spPr>
        <p:txBody>
          <a:bodyPr vert="horz" wrap="square" lIns="0" tIns="42386" rIns="0" bIns="0" rtlCol="0">
            <a:spAutoFit/>
          </a:bodyPr>
          <a:lstStyle/>
          <a:p>
            <a:pPr marL="68580">
              <a:lnSpc>
                <a:spcPts val="1170"/>
              </a:lnSpc>
              <a:spcBef>
                <a:spcPts val="334"/>
              </a:spcBef>
            </a:pPr>
            <a:r>
              <a:rPr lang="it-IT" sz="1200" dirty="0">
                <a:solidFill>
                  <a:srgbClr val="FDFDFD"/>
                </a:solidFill>
                <a:latin typeface="Arial"/>
                <a:cs typeface="Arial"/>
              </a:rPr>
              <a:t>Raccolta di Mercato</a:t>
            </a:r>
            <a:r>
              <a:rPr sz="1181" baseline="26455" dirty="0">
                <a:solidFill>
                  <a:srgbClr val="FDFDFD"/>
                </a:solidFill>
                <a:latin typeface="Arial"/>
                <a:cs typeface="Arial"/>
              </a:rPr>
              <a:t>2</a:t>
            </a:r>
            <a:endParaRPr sz="1181" baseline="26455" dirty="0">
              <a:latin typeface="Arial"/>
              <a:cs typeface="Arial"/>
            </a:endParaRPr>
          </a:p>
          <a:p>
            <a:pPr marL="68580">
              <a:lnSpc>
                <a:spcPts val="3330"/>
              </a:lnSpc>
            </a:pPr>
            <a:r>
              <a:rPr lang="it-IT" sz="3000" b="1" spc="-8" dirty="0">
                <a:solidFill>
                  <a:srgbClr val="FDFDFD"/>
                </a:solidFill>
                <a:latin typeface="Arial"/>
                <a:cs typeface="Arial"/>
              </a:rPr>
              <a:t>93</a:t>
            </a:r>
            <a:r>
              <a:rPr sz="3000" b="1" spc="-8" dirty="0">
                <a:solidFill>
                  <a:srgbClr val="FDFDFD"/>
                </a:solidFill>
                <a:latin typeface="Arial"/>
                <a:cs typeface="Arial"/>
              </a:rPr>
              <a:t> </a:t>
            </a:r>
            <a:r>
              <a:rPr sz="1350" b="1" spc="-4" dirty="0">
                <a:solidFill>
                  <a:srgbClr val="FDFDFD"/>
                </a:solidFill>
                <a:latin typeface="Arial"/>
                <a:cs typeface="Arial"/>
              </a:rPr>
              <a:t>EUR</a:t>
            </a:r>
            <a:r>
              <a:rPr sz="1350" b="1" spc="-255" dirty="0">
                <a:solidFill>
                  <a:srgbClr val="FDFDFD"/>
                </a:solidFill>
                <a:latin typeface="Arial"/>
                <a:cs typeface="Arial"/>
              </a:rPr>
              <a:t> </a:t>
            </a:r>
            <a:r>
              <a:rPr lang="it-IT" sz="1350" b="1" spc="-255" dirty="0">
                <a:solidFill>
                  <a:srgbClr val="FDFDFD"/>
                </a:solidFill>
                <a:latin typeface="Arial"/>
                <a:cs typeface="Arial"/>
              </a:rPr>
              <a:t> </a:t>
            </a:r>
            <a:r>
              <a:rPr lang="it-IT" sz="1350" b="1" spc="-4" dirty="0" err="1">
                <a:solidFill>
                  <a:srgbClr val="FDFDFD"/>
                </a:solidFill>
                <a:latin typeface="Arial"/>
                <a:cs typeface="Arial"/>
              </a:rPr>
              <a:t>Mld</a:t>
            </a:r>
            <a:endParaRPr sz="1350" dirty="0">
              <a:latin typeface="Arial"/>
              <a:cs typeface="Arial"/>
            </a:endParaRPr>
          </a:p>
        </p:txBody>
      </p:sp>
      <p:sp>
        <p:nvSpPr>
          <p:cNvPr id="19" name="object 10">
            <a:extLst>
              <a:ext uri="{FF2B5EF4-FFF2-40B4-BE49-F238E27FC236}">
                <a16:creationId xmlns:a16="http://schemas.microsoft.com/office/drawing/2014/main" id="{A772E841-0C29-4E31-8DD8-1843CAA8327D}"/>
              </a:ext>
            </a:extLst>
          </p:cNvPr>
          <p:cNvSpPr txBox="1"/>
          <p:nvPr/>
        </p:nvSpPr>
        <p:spPr>
          <a:xfrm>
            <a:off x="4026789" y="3038622"/>
            <a:ext cx="1651635" cy="654506"/>
          </a:xfrm>
          <a:prstGeom prst="rect">
            <a:avLst/>
          </a:prstGeom>
          <a:solidFill>
            <a:srgbClr val="3366CC"/>
          </a:solidFill>
        </p:spPr>
        <p:txBody>
          <a:bodyPr vert="horz" wrap="square" lIns="0" tIns="76676" rIns="0" bIns="0" rtlCol="0">
            <a:spAutoFit/>
          </a:bodyPr>
          <a:lstStyle/>
          <a:p>
            <a:pPr marL="78104">
              <a:lnSpc>
                <a:spcPts val="1170"/>
              </a:lnSpc>
              <a:spcBef>
                <a:spcPts val="604"/>
              </a:spcBef>
            </a:pPr>
            <a:r>
              <a:rPr lang="it-IT" sz="1200" spc="-4" dirty="0">
                <a:solidFill>
                  <a:srgbClr val="FDFDFD"/>
                </a:solidFill>
                <a:latin typeface="Arial"/>
                <a:cs typeface="Arial"/>
              </a:rPr>
              <a:t>Risparmi Postali</a:t>
            </a:r>
            <a:r>
              <a:rPr sz="1181" baseline="26455" dirty="0">
                <a:solidFill>
                  <a:srgbClr val="FDFDFD"/>
                </a:solidFill>
                <a:latin typeface="Arial"/>
                <a:cs typeface="Arial"/>
              </a:rPr>
              <a:t>2</a:t>
            </a:r>
            <a:endParaRPr sz="1181" baseline="26455" dirty="0">
              <a:latin typeface="Arial"/>
              <a:cs typeface="Arial"/>
            </a:endParaRPr>
          </a:p>
          <a:p>
            <a:pPr marL="78104">
              <a:lnSpc>
                <a:spcPts val="3330"/>
              </a:lnSpc>
            </a:pPr>
            <a:r>
              <a:rPr sz="3000" b="1" spc="-8" dirty="0">
                <a:solidFill>
                  <a:srgbClr val="FDFDFD"/>
                </a:solidFill>
                <a:latin typeface="Arial"/>
                <a:cs typeface="Arial"/>
              </a:rPr>
              <a:t>2</a:t>
            </a:r>
            <a:r>
              <a:rPr lang="it-IT" sz="3000" b="1" spc="-8" dirty="0">
                <a:solidFill>
                  <a:srgbClr val="FDFDFD"/>
                </a:solidFill>
                <a:latin typeface="Arial"/>
                <a:cs typeface="Arial"/>
              </a:rPr>
              <a:t>60</a:t>
            </a:r>
            <a:r>
              <a:rPr sz="3000" b="1" spc="-8" dirty="0">
                <a:solidFill>
                  <a:srgbClr val="FDFDFD"/>
                </a:solidFill>
                <a:latin typeface="Arial"/>
                <a:cs typeface="Arial"/>
              </a:rPr>
              <a:t> </a:t>
            </a:r>
            <a:r>
              <a:rPr sz="1350" b="1" spc="-4" dirty="0">
                <a:solidFill>
                  <a:srgbClr val="FDFDFD"/>
                </a:solidFill>
                <a:latin typeface="Arial"/>
                <a:cs typeface="Arial"/>
              </a:rPr>
              <a:t>EUR</a:t>
            </a:r>
            <a:r>
              <a:rPr sz="1350" b="1" spc="-263" dirty="0">
                <a:solidFill>
                  <a:srgbClr val="FDFDFD"/>
                </a:solidFill>
                <a:latin typeface="Arial"/>
                <a:cs typeface="Arial"/>
              </a:rPr>
              <a:t> </a:t>
            </a:r>
            <a:r>
              <a:rPr lang="it-IT" sz="1350" b="1" spc="-263" dirty="0">
                <a:solidFill>
                  <a:srgbClr val="FDFDFD"/>
                </a:solidFill>
                <a:latin typeface="Arial"/>
                <a:cs typeface="Arial"/>
              </a:rPr>
              <a:t> </a:t>
            </a:r>
            <a:r>
              <a:rPr lang="it-IT" sz="1350" b="1" spc="-4" dirty="0" err="1">
                <a:solidFill>
                  <a:srgbClr val="FDFDFD"/>
                </a:solidFill>
                <a:latin typeface="Arial"/>
                <a:cs typeface="Arial"/>
              </a:rPr>
              <a:t>Mld</a:t>
            </a:r>
            <a:endParaRPr sz="1350" dirty="0">
              <a:latin typeface="Arial"/>
              <a:cs typeface="Arial"/>
            </a:endParaRPr>
          </a:p>
        </p:txBody>
      </p:sp>
      <p:sp>
        <p:nvSpPr>
          <p:cNvPr id="20" name="object 11">
            <a:extLst>
              <a:ext uri="{FF2B5EF4-FFF2-40B4-BE49-F238E27FC236}">
                <a16:creationId xmlns:a16="http://schemas.microsoft.com/office/drawing/2014/main" id="{73806A81-1ECE-40E5-8557-D3AA5EAE4F21}"/>
              </a:ext>
            </a:extLst>
          </p:cNvPr>
          <p:cNvSpPr txBox="1"/>
          <p:nvPr/>
        </p:nvSpPr>
        <p:spPr>
          <a:xfrm>
            <a:off x="366903" y="3048909"/>
            <a:ext cx="1650683" cy="666047"/>
          </a:xfrm>
          <a:prstGeom prst="rect">
            <a:avLst/>
          </a:prstGeom>
          <a:solidFill>
            <a:srgbClr val="00356F"/>
          </a:solidFill>
        </p:spPr>
        <p:txBody>
          <a:bodyPr vert="horz" wrap="square" lIns="0" tIns="88106" rIns="0" bIns="0" rtlCol="0">
            <a:spAutoFit/>
          </a:bodyPr>
          <a:lstStyle/>
          <a:p>
            <a:pPr marL="64770">
              <a:lnSpc>
                <a:spcPts val="1170"/>
              </a:lnSpc>
              <a:spcBef>
                <a:spcPts val="694"/>
              </a:spcBef>
            </a:pPr>
            <a:r>
              <a:rPr sz="1200" spc="-30" dirty="0">
                <a:solidFill>
                  <a:srgbClr val="FDFDFD"/>
                </a:solidFill>
                <a:latin typeface="Arial"/>
                <a:cs typeface="Arial"/>
              </a:rPr>
              <a:t>Total</a:t>
            </a:r>
            <a:r>
              <a:rPr lang="it-IT" sz="1200" spc="8" dirty="0">
                <a:solidFill>
                  <a:srgbClr val="FDFDFD"/>
                </a:solidFill>
                <a:latin typeface="Arial"/>
                <a:cs typeface="Arial"/>
              </a:rPr>
              <a:t>e Attivo</a:t>
            </a:r>
            <a:r>
              <a:rPr sz="1181" baseline="26455" dirty="0">
                <a:solidFill>
                  <a:srgbClr val="FDFDFD"/>
                </a:solidFill>
                <a:latin typeface="Arial"/>
                <a:cs typeface="Arial"/>
              </a:rPr>
              <a:t>1</a:t>
            </a:r>
            <a:endParaRPr sz="1181" baseline="26455" dirty="0">
              <a:latin typeface="Arial"/>
              <a:cs typeface="Arial"/>
            </a:endParaRPr>
          </a:p>
          <a:p>
            <a:pPr marL="64770">
              <a:lnSpc>
                <a:spcPts val="3330"/>
              </a:lnSpc>
            </a:pPr>
            <a:r>
              <a:rPr sz="3000" b="1" spc="-8" dirty="0">
                <a:solidFill>
                  <a:srgbClr val="FDFDFD"/>
                </a:solidFill>
                <a:latin typeface="Arial"/>
                <a:cs typeface="Arial"/>
              </a:rPr>
              <a:t>4</a:t>
            </a:r>
            <a:r>
              <a:rPr lang="it-IT" sz="3000" b="1" spc="-8" dirty="0">
                <a:solidFill>
                  <a:srgbClr val="FDFDFD"/>
                </a:solidFill>
                <a:latin typeface="Arial"/>
                <a:cs typeface="Arial"/>
              </a:rPr>
              <a:t>38</a:t>
            </a:r>
            <a:r>
              <a:rPr sz="3000" b="1" spc="-8" dirty="0">
                <a:solidFill>
                  <a:srgbClr val="FDFDFD"/>
                </a:solidFill>
                <a:latin typeface="Arial"/>
                <a:cs typeface="Arial"/>
              </a:rPr>
              <a:t> </a:t>
            </a:r>
            <a:r>
              <a:rPr sz="1350" b="1" spc="-4" dirty="0">
                <a:solidFill>
                  <a:srgbClr val="FDFDFD"/>
                </a:solidFill>
                <a:latin typeface="Arial"/>
                <a:cs typeface="Arial"/>
              </a:rPr>
              <a:t>EUR</a:t>
            </a:r>
            <a:r>
              <a:rPr sz="1350" b="1" spc="-255" dirty="0">
                <a:solidFill>
                  <a:srgbClr val="FDFDFD"/>
                </a:solidFill>
                <a:latin typeface="Arial"/>
                <a:cs typeface="Arial"/>
              </a:rPr>
              <a:t> </a:t>
            </a:r>
            <a:r>
              <a:rPr lang="it-IT" sz="1350" b="1" spc="-255" dirty="0">
                <a:solidFill>
                  <a:srgbClr val="FDFDFD"/>
                </a:solidFill>
                <a:latin typeface="Arial"/>
                <a:cs typeface="Arial"/>
              </a:rPr>
              <a:t> </a:t>
            </a:r>
            <a:r>
              <a:rPr lang="it-IT" sz="1350" b="1" spc="-4" dirty="0" err="1">
                <a:solidFill>
                  <a:srgbClr val="FDFDFD"/>
                </a:solidFill>
                <a:latin typeface="Arial"/>
                <a:cs typeface="Arial"/>
              </a:rPr>
              <a:t>Mld</a:t>
            </a:r>
            <a:endParaRPr sz="1350" dirty="0">
              <a:latin typeface="Arial"/>
              <a:cs typeface="Arial"/>
            </a:endParaRPr>
          </a:p>
        </p:txBody>
      </p:sp>
      <p:sp>
        <p:nvSpPr>
          <p:cNvPr id="21" name="object 12">
            <a:extLst>
              <a:ext uri="{FF2B5EF4-FFF2-40B4-BE49-F238E27FC236}">
                <a16:creationId xmlns:a16="http://schemas.microsoft.com/office/drawing/2014/main" id="{E248BE68-9E2C-4CB1-86E8-5429C109A31B}"/>
              </a:ext>
            </a:extLst>
          </p:cNvPr>
          <p:cNvSpPr txBox="1"/>
          <p:nvPr/>
        </p:nvSpPr>
        <p:spPr>
          <a:xfrm>
            <a:off x="366903" y="3811290"/>
            <a:ext cx="1650683" cy="620363"/>
          </a:xfrm>
          <a:prstGeom prst="rect">
            <a:avLst/>
          </a:prstGeom>
          <a:solidFill>
            <a:srgbClr val="00356F"/>
          </a:solidFill>
        </p:spPr>
        <p:txBody>
          <a:bodyPr vert="horz" wrap="square" lIns="0" tIns="42863" rIns="0" bIns="0" rtlCol="0">
            <a:spAutoFit/>
          </a:bodyPr>
          <a:lstStyle/>
          <a:p>
            <a:pPr marL="64770">
              <a:lnSpc>
                <a:spcPts val="1170"/>
              </a:lnSpc>
              <a:spcBef>
                <a:spcPts val="338"/>
              </a:spcBef>
            </a:pPr>
            <a:r>
              <a:rPr lang="it-IT" sz="1200" spc="-4" dirty="0">
                <a:solidFill>
                  <a:srgbClr val="FDFDFD"/>
                </a:solidFill>
                <a:latin typeface="Arial"/>
                <a:cs typeface="Arial"/>
              </a:rPr>
              <a:t>Patrimonio Netto </a:t>
            </a:r>
            <a:r>
              <a:rPr sz="1181" spc="-5" baseline="26455" dirty="0">
                <a:solidFill>
                  <a:srgbClr val="FDFDFD"/>
                </a:solidFill>
                <a:latin typeface="Arial"/>
                <a:cs typeface="Arial"/>
              </a:rPr>
              <a:t>1</a:t>
            </a:r>
            <a:endParaRPr sz="1181" baseline="26455" dirty="0">
              <a:latin typeface="Arial"/>
              <a:cs typeface="Arial"/>
            </a:endParaRPr>
          </a:p>
          <a:p>
            <a:pPr marL="64770">
              <a:lnSpc>
                <a:spcPts val="3330"/>
              </a:lnSpc>
            </a:pPr>
            <a:r>
              <a:rPr sz="3000" b="1" spc="-8" dirty="0">
                <a:solidFill>
                  <a:srgbClr val="FDFDFD"/>
                </a:solidFill>
                <a:latin typeface="Arial"/>
                <a:cs typeface="Arial"/>
              </a:rPr>
              <a:t>3</a:t>
            </a:r>
            <a:r>
              <a:rPr lang="it-IT" sz="3000" b="1" spc="-8" dirty="0">
                <a:solidFill>
                  <a:srgbClr val="FDFDFD"/>
                </a:solidFill>
                <a:latin typeface="Arial"/>
                <a:cs typeface="Arial"/>
              </a:rPr>
              <a:t>6</a:t>
            </a:r>
            <a:r>
              <a:rPr sz="3000" b="1" spc="-8" dirty="0">
                <a:solidFill>
                  <a:srgbClr val="FDFDFD"/>
                </a:solidFill>
                <a:latin typeface="Arial"/>
                <a:cs typeface="Arial"/>
              </a:rPr>
              <a:t> </a:t>
            </a:r>
            <a:r>
              <a:rPr sz="1350" b="1" spc="-4" dirty="0">
                <a:solidFill>
                  <a:srgbClr val="FDFDFD"/>
                </a:solidFill>
                <a:latin typeface="Arial"/>
                <a:cs typeface="Arial"/>
              </a:rPr>
              <a:t>EUR</a:t>
            </a:r>
            <a:r>
              <a:rPr sz="1350" b="1" spc="-255" dirty="0">
                <a:solidFill>
                  <a:srgbClr val="FDFDFD"/>
                </a:solidFill>
                <a:latin typeface="Arial"/>
                <a:cs typeface="Arial"/>
              </a:rPr>
              <a:t> </a:t>
            </a:r>
            <a:r>
              <a:rPr lang="it-IT" sz="1350" b="1" spc="-255" dirty="0">
                <a:solidFill>
                  <a:srgbClr val="FDFDFD"/>
                </a:solidFill>
                <a:latin typeface="Arial"/>
                <a:cs typeface="Arial"/>
              </a:rPr>
              <a:t> </a:t>
            </a:r>
            <a:r>
              <a:rPr lang="it-IT" sz="1350" b="1" spc="-4" dirty="0" err="1">
                <a:solidFill>
                  <a:srgbClr val="FDFDFD"/>
                </a:solidFill>
                <a:latin typeface="Arial"/>
                <a:cs typeface="Arial"/>
              </a:rPr>
              <a:t>Mld</a:t>
            </a:r>
            <a:endParaRPr sz="1350" dirty="0">
              <a:latin typeface="Arial"/>
              <a:cs typeface="Arial"/>
            </a:endParaRPr>
          </a:p>
        </p:txBody>
      </p:sp>
      <p:sp>
        <p:nvSpPr>
          <p:cNvPr id="22" name="object 15">
            <a:extLst>
              <a:ext uri="{FF2B5EF4-FFF2-40B4-BE49-F238E27FC236}">
                <a16:creationId xmlns:a16="http://schemas.microsoft.com/office/drawing/2014/main" id="{D1825CFE-5272-467D-8A56-D84939F0B0DF}"/>
              </a:ext>
            </a:extLst>
          </p:cNvPr>
          <p:cNvSpPr/>
          <p:nvPr/>
        </p:nvSpPr>
        <p:spPr>
          <a:xfrm>
            <a:off x="6565392" y="3365044"/>
            <a:ext cx="1089660" cy="1089660"/>
          </a:xfrm>
          <a:custGeom>
            <a:avLst/>
            <a:gdLst/>
            <a:ahLst/>
            <a:cxnLst/>
            <a:rect l="l" t="t" r="r" b="b"/>
            <a:pathLst>
              <a:path w="1452879" h="1452879">
                <a:moveTo>
                  <a:pt x="89789" y="376300"/>
                </a:moveTo>
                <a:lnTo>
                  <a:pt x="66260" y="423014"/>
                </a:lnTo>
                <a:lnTo>
                  <a:pt x="46218" y="471147"/>
                </a:lnTo>
                <a:lnTo>
                  <a:pt x="29709" y="520502"/>
                </a:lnTo>
                <a:lnTo>
                  <a:pt x="16785" y="570881"/>
                </a:lnTo>
                <a:lnTo>
                  <a:pt x="7492" y="622086"/>
                </a:lnTo>
                <a:lnTo>
                  <a:pt x="1881" y="673920"/>
                </a:lnTo>
                <a:lnTo>
                  <a:pt x="0" y="726185"/>
                </a:lnTo>
                <a:lnTo>
                  <a:pt x="1544" y="773933"/>
                </a:lnTo>
                <a:lnTo>
                  <a:pt x="6114" y="820855"/>
                </a:lnTo>
                <a:lnTo>
                  <a:pt x="13614" y="866857"/>
                </a:lnTo>
                <a:lnTo>
                  <a:pt x="23948" y="911843"/>
                </a:lnTo>
                <a:lnTo>
                  <a:pt x="37021" y="955717"/>
                </a:lnTo>
                <a:lnTo>
                  <a:pt x="52736" y="998383"/>
                </a:lnTo>
                <a:lnTo>
                  <a:pt x="70998" y="1039746"/>
                </a:lnTo>
                <a:lnTo>
                  <a:pt x="91711" y="1079710"/>
                </a:lnTo>
                <a:lnTo>
                  <a:pt x="114781" y="1118180"/>
                </a:lnTo>
                <a:lnTo>
                  <a:pt x="140110" y="1155059"/>
                </a:lnTo>
                <a:lnTo>
                  <a:pt x="167604" y="1190252"/>
                </a:lnTo>
                <a:lnTo>
                  <a:pt x="197166" y="1223664"/>
                </a:lnTo>
                <a:lnTo>
                  <a:pt x="228701" y="1255198"/>
                </a:lnTo>
                <a:lnTo>
                  <a:pt x="262113" y="1284760"/>
                </a:lnTo>
                <a:lnTo>
                  <a:pt x="297308" y="1312253"/>
                </a:lnTo>
                <a:lnTo>
                  <a:pt x="334187" y="1337581"/>
                </a:lnTo>
                <a:lnTo>
                  <a:pt x="372658" y="1360650"/>
                </a:lnTo>
                <a:lnTo>
                  <a:pt x="412622" y="1381363"/>
                </a:lnTo>
                <a:lnTo>
                  <a:pt x="453986" y="1399624"/>
                </a:lnTo>
                <a:lnTo>
                  <a:pt x="496653" y="1415339"/>
                </a:lnTo>
                <a:lnTo>
                  <a:pt x="540527" y="1428411"/>
                </a:lnTo>
                <a:lnTo>
                  <a:pt x="585513" y="1438745"/>
                </a:lnTo>
                <a:lnTo>
                  <a:pt x="631515" y="1446244"/>
                </a:lnTo>
                <a:lnTo>
                  <a:pt x="678438" y="1450814"/>
                </a:lnTo>
                <a:lnTo>
                  <a:pt x="726186" y="1452359"/>
                </a:lnTo>
                <a:lnTo>
                  <a:pt x="773933" y="1450814"/>
                </a:lnTo>
                <a:lnTo>
                  <a:pt x="820856" y="1446244"/>
                </a:lnTo>
                <a:lnTo>
                  <a:pt x="866858" y="1438745"/>
                </a:lnTo>
                <a:lnTo>
                  <a:pt x="911844" y="1428411"/>
                </a:lnTo>
                <a:lnTo>
                  <a:pt x="955718" y="1415339"/>
                </a:lnTo>
                <a:lnTo>
                  <a:pt x="998385" y="1399624"/>
                </a:lnTo>
                <a:lnTo>
                  <a:pt x="1039749" y="1381363"/>
                </a:lnTo>
                <a:lnTo>
                  <a:pt x="1079713" y="1360650"/>
                </a:lnTo>
                <a:lnTo>
                  <a:pt x="1118184" y="1337581"/>
                </a:lnTo>
                <a:lnTo>
                  <a:pt x="1155063" y="1312253"/>
                </a:lnTo>
                <a:lnTo>
                  <a:pt x="1190258" y="1284760"/>
                </a:lnTo>
                <a:lnTo>
                  <a:pt x="1223670" y="1255198"/>
                </a:lnTo>
                <a:lnTo>
                  <a:pt x="1229918" y="1248950"/>
                </a:lnTo>
                <a:lnTo>
                  <a:pt x="739902" y="1248950"/>
                </a:lnTo>
                <a:lnTo>
                  <a:pt x="694918" y="1248239"/>
                </a:lnTo>
                <a:lnTo>
                  <a:pt x="649882" y="1243606"/>
                </a:lnTo>
                <a:lnTo>
                  <a:pt x="605043" y="1234978"/>
                </a:lnTo>
                <a:lnTo>
                  <a:pt x="560653" y="1222283"/>
                </a:lnTo>
                <a:lnTo>
                  <a:pt x="516961" y="1205449"/>
                </a:lnTo>
                <a:lnTo>
                  <a:pt x="474218" y="1184401"/>
                </a:lnTo>
                <a:lnTo>
                  <a:pt x="433553" y="1159590"/>
                </a:lnTo>
                <a:lnTo>
                  <a:pt x="395937" y="1131720"/>
                </a:lnTo>
                <a:lnTo>
                  <a:pt x="361441" y="1101042"/>
                </a:lnTo>
                <a:lnTo>
                  <a:pt x="330139" y="1067806"/>
                </a:lnTo>
                <a:lnTo>
                  <a:pt x="302102" y="1032263"/>
                </a:lnTo>
                <a:lnTo>
                  <a:pt x="277405" y="994663"/>
                </a:lnTo>
                <a:lnTo>
                  <a:pt x="256120" y="955258"/>
                </a:lnTo>
                <a:lnTo>
                  <a:pt x="238319" y="914296"/>
                </a:lnTo>
                <a:lnTo>
                  <a:pt x="224075" y="872029"/>
                </a:lnTo>
                <a:lnTo>
                  <a:pt x="213462" y="828707"/>
                </a:lnTo>
                <a:lnTo>
                  <a:pt x="206551" y="784581"/>
                </a:lnTo>
                <a:lnTo>
                  <a:pt x="203416" y="739901"/>
                </a:lnTo>
                <a:lnTo>
                  <a:pt x="204129" y="694918"/>
                </a:lnTo>
                <a:lnTo>
                  <a:pt x="208764" y="649882"/>
                </a:lnTo>
                <a:lnTo>
                  <a:pt x="217392" y="605043"/>
                </a:lnTo>
                <a:lnTo>
                  <a:pt x="230088" y="560653"/>
                </a:lnTo>
                <a:lnTo>
                  <a:pt x="246922" y="516961"/>
                </a:lnTo>
                <a:lnTo>
                  <a:pt x="267970" y="474217"/>
                </a:lnTo>
                <a:lnTo>
                  <a:pt x="89789" y="376300"/>
                </a:lnTo>
                <a:close/>
              </a:path>
              <a:path w="1452879" h="1452879">
                <a:moveTo>
                  <a:pt x="726186" y="0"/>
                </a:moveTo>
                <a:lnTo>
                  <a:pt x="726186" y="203326"/>
                </a:lnTo>
                <a:lnTo>
                  <a:pt x="778773" y="205977"/>
                </a:lnTo>
                <a:lnTo>
                  <a:pt x="830653" y="213864"/>
                </a:lnTo>
                <a:lnTo>
                  <a:pt x="881423" y="226891"/>
                </a:lnTo>
                <a:lnTo>
                  <a:pt x="930682" y="244958"/>
                </a:lnTo>
                <a:lnTo>
                  <a:pt x="978026" y="267969"/>
                </a:lnTo>
                <a:lnTo>
                  <a:pt x="1018711" y="292762"/>
                </a:lnTo>
                <a:lnTo>
                  <a:pt x="1056345" y="320617"/>
                </a:lnTo>
                <a:lnTo>
                  <a:pt x="1090857" y="351284"/>
                </a:lnTo>
                <a:lnTo>
                  <a:pt x="1122173" y="384512"/>
                </a:lnTo>
                <a:lnTo>
                  <a:pt x="1150221" y="420050"/>
                </a:lnTo>
                <a:lnTo>
                  <a:pt x="1174928" y="457646"/>
                </a:lnTo>
                <a:lnTo>
                  <a:pt x="1196222" y="497051"/>
                </a:lnTo>
                <a:lnTo>
                  <a:pt x="1214030" y="538012"/>
                </a:lnTo>
                <a:lnTo>
                  <a:pt x="1228280" y="580278"/>
                </a:lnTo>
                <a:lnTo>
                  <a:pt x="1238898" y="623600"/>
                </a:lnTo>
                <a:lnTo>
                  <a:pt x="1245813" y="667725"/>
                </a:lnTo>
                <a:lnTo>
                  <a:pt x="1248950" y="712404"/>
                </a:lnTo>
                <a:lnTo>
                  <a:pt x="1248239" y="757384"/>
                </a:lnTo>
                <a:lnTo>
                  <a:pt x="1243606" y="802415"/>
                </a:lnTo>
                <a:lnTo>
                  <a:pt x="1234978" y="847245"/>
                </a:lnTo>
                <a:lnTo>
                  <a:pt x="1222283" y="891625"/>
                </a:lnTo>
                <a:lnTo>
                  <a:pt x="1205449" y="935302"/>
                </a:lnTo>
                <a:lnTo>
                  <a:pt x="1184402" y="978026"/>
                </a:lnTo>
                <a:lnTo>
                  <a:pt x="1159590" y="1018711"/>
                </a:lnTo>
                <a:lnTo>
                  <a:pt x="1131720" y="1056345"/>
                </a:lnTo>
                <a:lnTo>
                  <a:pt x="1101042" y="1090857"/>
                </a:lnTo>
                <a:lnTo>
                  <a:pt x="1067806" y="1122173"/>
                </a:lnTo>
                <a:lnTo>
                  <a:pt x="1032263" y="1150221"/>
                </a:lnTo>
                <a:lnTo>
                  <a:pt x="994664" y="1174928"/>
                </a:lnTo>
                <a:lnTo>
                  <a:pt x="955258" y="1196222"/>
                </a:lnTo>
                <a:lnTo>
                  <a:pt x="914296" y="1214030"/>
                </a:lnTo>
                <a:lnTo>
                  <a:pt x="872029" y="1228280"/>
                </a:lnTo>
                <a:lnTo>
                  <a:pt x="828707" y="1238898"/>
                </a:lnTo>
                <a:lnTo>
                  <a:pt x="784581" y="1245813"/>
                </a:lnTo>
                <a:lnTo>
                  <a:pt x="739902" y="1248950"/>
                </a:lnTo>
                <a:lnTo>
                  <a:pt x="1229918" y="1248950"/>
                </a:lnTo>
                <a:lnTo>
                  <a:pt x="1284767" y="1190252"/>
                </a:lnTo>
                <a:lnTo>
                  <a:pt x="1312261" y="1155059"/>
                </a:lnTo>
                <a:lnTo>
                  <a:pt x="1337590" y="1118180"/>
                </a:lnTo>
                <a:lnTo>
                  <a:pt x="1360660" y="1079710"/>
                </a:lnTo>
                <a:lnTo>
                  <a:pt x="1381373" y="1039746"/>
                </a:lnTo>
                <a:lnTo>
                  <a:pt x="1399635" y="998383"/>
                </a:lnTo>
                <a:lnTo>
                  <a:pt x="1415350" y="955717"/>
                </a:lnTo>
                <a:lnTo>
                  <a:pt x="1428423" y="911843"/>
                </a:lnTo>
                <a:lnTo>
                  <a:pt x="1438757" y="866857"/>
                </a:lnTo>
                <a:lnTo>
                  <a:pt x="1446257" y="820855"/>
                </a:lnTo>
                <a:lnTo>
                  <a:pt x="1450827" y="773933"/>
                </a:lnTo>
                <a:lnTo>
                  <a:pt x="1452372" y="726185"/>
                </a:lnTo>
                <a:lnTo>
                  <a:pt x="1450827" y="678438"/>
                </a:lnTo>
                <a:lnTo>
                  <a:pt x="1446257" y="631515"/>
                </a:lnTo>
                <a:lnTo>
                  <a:pt x="1438757" y="585513"/>
                </a:lnTo>
                <a:lnTo>
                  <a:pt x="1428423" y="540527"/>
                </a:lnTo>
                <a:lnTo>
                  <a:pt x="1415350" y="496653"/>
                </a:lnTo>
                <a:lnTo>
                  <a:pt x="1399635" y="453986"/>
                </a:lnTo>
                <a:lnTo>
                  <a:pt x="1381373" y="412622"/>
                </a:lnTo>
                <a:lnTo>
                  <a:pt x="1360660" y="372658"/>
                </a:lnTo>
                <a:lnTo>
                  <a:pt x="1337590" y="334187"/>
                </a:lnTo>
                <a:lnTo>
                  <a:pt x="1312261" y="297308"/>
                </a:lnTo>
                <a:lnTo>
                  <a:pt x="1284767" y="262113"/>
                </a:lnTo>
                <a:lnTo>
                  <a:pt x="1255205" y="228701"/>
                </a:lnTo>
                <a:lnTo>
                  <a:pt x="1223670" y="197166"/>
                </a:lnTo>
                <a:lnTo>
                  <a:pt x="1190258" y="167604"/>
                </a:lnTo>
                <a:lnTo>
                  <a:pt x="1155063" y="140110"/>
                </a:lnTo>
                <a:lnTo>
                  <a:pt x="1118184" y="114781"/>
                </a:lnTo>
                <a:lnTo>
                  <a:pt x="1079713" y="91711"/>
                </a:lnTo>
                <a:lnTo>
                  <a:pt x="1039749" y="70998"/>
                </a:lnTo>
                <a:lnTo>
                  <a:pt x="998385" y="52736"/>
                </a:lnTo>
                <a:lnTo>
                  <a:pt x="955718" y="37021"/>
                </a:lnTo>
                <a:lnTo>
                  <a:pt x="911844" y="23948"/>
                </a:lnTo>
                <a:lnTo>
                  <a:pt x="866858" y="13614"/>
                </a:lnTo>
                <a:lnTo>
                  <a:pt x="820856" y="6114"/>
                </a:lnTo>
                <a:lnTo>
                  <a:pt x="773933" y="1544"/>
                </a:lnTo>
                <a:lnTo>
                  <a:pt x="726186" y="0"/>
                </a:lnTo>
                <a:close/>
              </a:path>
            </a:pathLst>
          </a:custGeom>
          <a:solidFill>
            <a:srgbClr val="003E81"/>
          </a:solidFill>
        </p:spPr>
        <p:txBody>
          <a:bodyPr wrap="square" lIns="0" tIns="0" rIns="0" bIns="0" rtlCol="0"/>
          <a:lstStyle/>
          <a:p>
            <a:endParaRPr sz="918"/>
          </a:p>
        </p:txBody>
      </p:sp>
      <p:sp>
        <p:nvSpPr>
          <p:cNvPr id="23" name="object 16">
            <a:extLst>
              <a:ext uri="{FF2B5EF4-FFF2-40B4-BE49-F238E27FC236}">
                <a16:creationId xmlns:a16="http://schemas.microsoft.com/office/drawing/2014/main" id="{11B56C24-FE62-4F43-8A3A-8EC2B7E1BB08}"/>
              </a:ext>
            </a:extLst>
          </p:cNvPr>
          <p:cNvSpPr/>
          <p:nvPr/>
        </p:nvSpPr>
        <p:spPr>
          <a:xfrm>
            <a:off x="6632733" y="3366091"/>
            <a:ext cx="452914" cy="354806"/>
          </a:xfrm>
          <a:custGeom>
            <a:avLst/>
            <a:gdLst/>
            <a:ahLst/>
            <a:cxnLst/>
            <a:rect l="l" t="t" r="r" b="b"/>
            <a:pathLst>
              <a:path w="603884" h="473075">
                <a:moveTo>
                  <a:pt x="590803" y="0"/>
                </a:moveTo>
                <a:lnTo>
                  <a:pt x="541532" y="4787"/>
                </a:lnTo>
                <a:lnTo>
                  <a:pt x="493073" y="12843"/>
                </a:lnTo>
                <a:lnTo>
                  <a:pt x="445564" y="24079"/>
                </a:lnTo>
                <a:lnTo>
                  <a:pt x="399145" y="38407"/>
                </a:lnTo>
                <a:lnTo>
                  <a:pt x="353953" y="55738"/>
                </a:lnTo>
                <a:lnTo>
                  <a:pt x="310127" y="75986"/>
                </a:lnTo>
                <a:lnTo>
                  <a:pt x="267806" y="99062"/>
                </a:lnTo>
                <a:lnTo>
                  <a:pt x="227127" y="124877"/>
                </a:lnTo>
                <a:lnTo>
                  <a:pt x="188230" y="153344"/>
                </a:lnTo>
                <a:lnTo>
                  <a:pt x="151252" y="184375"/>
                </a:lnTo>
                <a:lnTo>
                  <a:pt x="116332" y="217882"/>
                </a:lnTo>
                <a:lnTo>
                  <a:pt x="83608" y="253776"/>
                </a:lnTo>
                <a:lnTo>
                  <a:pt x="53219" y="291970"/>
                </a:lnTo>
                <a:lnTo>
                  <a:pt x="25304" y="332375"/>
                </a:lnTo>
                <a:lnTo>
                  <a:pt x="0" y="374903"/>
                </a:lnTo>
                <a:lnTo>
                  <a:pt x="178180" y="472820"/>
                </a:lnTo>
                <a:lnTo>
                  <a:pt x="203498" y="431435"/>
                </a:lnTo>
                <a:lnTo>
                  <a:pt x="232247" y="392937"/>
                </a:lnTo>
                <a:lnTo>
                  <a:pt x="264172" y="357487"/>
                </a:lnTo>
                <a:lnTo>
                  <a:pt x="299020" y="325247"/>
                </a:lnTo>
                <a:lnTo>
                  <a:pt x="336538" y="296378"/>
                </a:lnTo>
                <a:lnTo>
                  <a:pt x="376472" y="271039"/>
                </a:lnTo>
                <a:lnTo>
                  <a:pt x="418568" y="249393"/>
                </a:lnTo>
                <a:lnTo>
                  <a:pt x="462573" y="231600"/>
                </a:lnTo>
                <a:lnTo>
                  <a:pt x="508233" y="217820"/>
                </a:lnTo>
                <a:lnTo>
                  <a:pt x="555294" y="208215"/>
                </a:lnTo>
                <a:lnTo>
                  <a:pt x="603503" y="202945"/>
                </a:lnTo>
                <a:lnTo>
                  <a:pt x="590803" y="0"/>
                </a:lnTo>
                <a:close/>
              </a:path>
            </a:pathLst>
          </a:custGeom>
          <a:solidFill>
            <a:srgbClr val="CFCFCF"/>
          </a:solidFill>
        </p:spPr>
        <p:txBody>
          <a:bodyPr wrap="square" lIns="0" tIns="0" rIns="0" bIns="0" rtlCol="0"/>
          <a:lstStyle/>
          <a:p>
            <a:endParaRPr sz="918"/>
          </a:p>
        </p:txBody>
      </p:sp>
      <p:sp>
        <p:nvSpPr>
          <p:cNvPr id="24" name="object 17">
            <a:extLst>
              <a:ext uri="{FF2B5EF4-FFF2-40B4-BE49-F238E27FC236}">
                <a16:creationId xmlns:a16="http://schemas.microsoft.com/office/drawing/2014/main" id="{BBC56797-97BE-4402-B0DA-7CADDA66A566}"/>
              </a:ext>
            </a:extLst>
          </p:cNvPr>
          <p:cNvSpPr/>
          <p:nvPr/>
        </p:nvSpPr>
        <p:spPr>
          <a:xfrm>
            <a:off x="7075836" y="3365044"/>
            <a:ext cx="34290" cy="153353"/>
          </a:xfrm>
          <a:custGeom>
            <a:avLst/>
            <a:gdLst/>
            <a:ahLst/>
            <a:cxnLst/>
            <a:rect l="l" t="t" r="r" b="b"/>
            <a:pathLst>
              <a:path w="45720" h="204470">
                <a:moveTo>
                  <a:pt x="45593" y="0"/>
                </a:moveTo>
                <a:lnTo>
                  <a:pt x="34164" y="93"/>
                </a:lnTo>
                <a:lnTo>
                  <a:pt x="22748" y="365"/>
                </a:lnTo>
                <a:lnTo>
                  <a:pt x="11356" y="803"/>
                </a:lnTo>
                <a:lnTo>
                  <a:pt x="0" y="1396"/>
                </a:lnTo>
                <a:lnTo>
                  <a:pt x="12700" y="204342"/>
                </a:lnTo>
                <a:lnTo>
                  <a:pt x="20911" y="203916"/>
                </a:lnTo>
                <a:lnTo>
                  <a:pt x="29146" y="203596"/>
                </a:lnTo>
                <a:lnTo>
                  <a:pt x="37381" y="203396"/>
                </a:lnTo>
                <a:lnTo>
                  <a:pt x="45593" y="203326"/>
                </a:lnTo>
                <a:lnTo>
                  <a:pt x="45593" y="0"/>
                </a:lnTo>
                <a:close/>
              </a:path>
            </a:pathLst>
          </a:custGeom>
          <a:solidFill>
            <a:srgbClr val="F4F4F4"/>
          </a:solidFill>
        </p:spPr>
        <p:txBody>
          <a:bodyPr wrap="square" lIns="0" tIns="0" rIns="0" bIns="0" rtlCol="0"/>
          <a:lstStyle/>
          <a:p>
            <a:endParaRPr sz="918"/>
          </a:p>
        </p:txBody>
      </p:sp>
      <p:sp>
        <p:nvSpPr>
          <p:cNvPr id="25" name="object 18">
            <a:extLst>
              <a:ext uri="{FF2B5EF4-FFF2-40B4-BE49-F238E27FC236}">
                <a16:creationId xmlns:a16="http://schemas.microsoft.com/office/drawing/2014/main" id="{1BA3522A-B412-47F9-95DE-6DED48B658FF}"/>
              </a:ext>
            </a:extLst>
          </p:cNvPr>
          <p:cNvSpPr txBox="1"/>
          <p:nvPr/>
        </p:nvSpPr>
        <p:spPr>
          <a:xfrm>
            <a:off x="7856078" y="3971349"/>
            <a:ext cx="704850" cy="586218"/>
          </a:xfrm>
          <a:prstGeom prst="rect">
            <a:avLst/>
          </a:prstGeom>
        </p:spPr>
        <p:txBody>
          <a:bodyPr vert="horz" wrap="square" lIns="0" tIns="9049" rIns="0" bIns="0" rtlCol="0">
            <a:spAutoFit/>
          </a:bodyPr>
          <a:lstStyle/>
          <a:p>
            <a:pPr marL="9525">
              <a:lnSpc>
                <a:spcPts val="3525"/>
              </a:lnSpc>
              <a:spcBef>
                <a:spcPts val="71"/>
              </a:spcBef>
            </a:pPr>
            <a:r>
              <a:rPr sz="3000" b="1" spc="-4" dirty="0">
                <a:solidFill>
                  <a:srgbClr val="BDBDBD"/>
                </a:solidFill>
                <a:latin typeface="Arial"/>
                <a:cs typeface="Arial"/>
              </a:rPr>
              <a:t>16</a:t>
            </a:r>
            <a:r>
              <a:rPr sz="1800" b="1" spc="-4" dirty="0">
                <a:solidFill>
                  <a:srgbClr val="BDBDBD"/>
                </a:solidFill>
                <a:latin typeface="Arial"/>
                <a:cs typeface="Arial"/>
              </a:rPr>
              <a:t>%</a:t>
            </a:r>
            <a:endParaRPr sz="1800" dirty="0">
              <a:latin typeface="Arial"/>
              <a:cs typeface="Arial"/>
            </a:endParaRPr>
          </a:p>
          <a:p>
            <a:pPr marL="9525">
              <a:lnSpc>
                <a:spcPts val="1005"/>
              </a:lnSpc>
            </a:pPr>
            <a:r>
              <a:rPr lang="it-IT" sz="900" b="1" spc="-4" dirty="0">
                <a:solidFill>
                  <a:srgbClr val="BDBDBD"/>
                </a:solidFill>
                <a:latin typeface="Arial"/>
                <a:cs typeface="Arial"/>
              </a:rPr>
              <a:t>Fondazioni</a:t>
            </a:r>
            <a:endParaRPr sz="900" dirty="0">
              <a:latin typeface="Arial"/>
              <a:cs typeface="Arial"/>
            </a:endParaRPr>
          </a:p>
        </p:txBody>
      </p:sp>
      <p:sp>
        <p:nvSpPr>
          <p:cNvPr id="26" name="object 19">
            <a:extLst>
              <a:ext uri="{FF2B5EF4-FFF2-40B4-BE49-F238E27FC236}">
                <a16:creationId xmlns:a16="http://schemas.microsoft.com/office/drawing/2014/main" id="{2DC0A61F-4A73-4EEA-B3AA-32AA67E6AD30}"/>
              </a:ext>
            </a:extLst>
          </p:cNvPr>
          <p:cNvSpPr txBox="1"/>
          <p:nvPr/>
        </p:nvSpPr>
        <p:spPr>
          <a:xfrm>
            <a:off x="6485666" y="3022143"/>
            <a:ext cx="2925614" cy="842378"/>
          </a:xfrm>
          <a:prstGeom prst="rect">
            <a:avLst/>
          </a:prstGeom>
        </p:spPr>
        <p:txBody>
          <a:bodyPr vert="horz" wrap="square" lIns="0" tIns="29051" rIns="0" bIns="0" rtlCol="0">
            <a:spAutoFit/>
          </a:bodyPr>
          <a:lstStyle/>
          <a:p>
            <a:pPr marL="9525">
              <a:spcBef>
                <a:spcPts val="229"/>
              </a:spcBef>
            </a:pPr>
            <a:r>
              <a:rPr lang="en-US" sz="1200" spc="-4" dirty="0" err="1">
                <a:solidFill>
                  <a:srgbClr val="415064"/>
                </a:solidFill>
                <a:latin typeface="Arial"/>
                <a:cs typeface="Arial"/>
              </a:rPr>
              <a:t>Azionariato</a:t>
            </a:r>
            <a:r>
              <a:rPr lang="en-US" sz="1200" spc="-4" dirty="0">
                <a:solidFill>
                  <a:srgbClr val="415064"/>
                </a:solidFill>
                <a:latin typeface="Arial"/>
                <a:cs typeface="Arial"/>
              </a:rPr>
              <a:t> </a:t>
            </a:r>
            <a:r>
              <a:rPr sz="1181" baseline="26455" dirty="0">
                <a:solidFill>
                  <a:srgbClr val="415064"/>
                </a:solidFill>
                <a:latin typeface="Arial"/>
                <a:cs typeface="Arial"/>
              </a:rPr>
              <a:t>3</a:t>
            </a:r>
          </a:p>
          <a:p>
            <a:pPr marL="1371600">
              <a:lnSpc>
                <a:spcPts val="3525"/>
              </a:lnSpc>
              <a:spcBef>
                <a:spcPts val="390"/>
              </a:spcBef>
            </a:pPr>
            <a:r>
              <a:rPr sz="3000" b="1" spc="-8" dirty="0">
                <a:solidFill>
                  <a:srgbClr val="003E81"/>
                </a:solidFill>
                <a:latin typeface="Arial"/>
                <a:cs typeface="Arial"/>
              </a:rPr>
              <a:t>83</a:t>
            </a:r>
            <a:r>
              <a:rPr sz="1800" b="1" spc="-8" dirty="0">
                <a:solidFill>
                  <a:srgbClr val="003E81"/>
                </a:solidFill>
                <a:latin typeface="Arial"/>
                <a:cs typeface="Arial"/>
              </a:rPr>
              <a:t>%</a:t>
            </a:r>
            <a:endParaRPr sz="1800" dirty="0">
              <a:latin typeface="Arial"/>
              <a:cs typeface="Arial"/>
            </a:endParaRPr>
          </a:p>
          <a:p>
            <a:pPr marL="1371600">
              <a:lnSpc>
                <a:spcPts val="1005"/>
              </a:lnSpc>
            </a:pPr>
            <a:r>
              <a:rPr lang="it-IT" sz="900" b="1" dirty="0">
                <a:solidFill>
                  <a:srgbClr val="003E81"/>
                </a:solidFill>
                <a:latin typeface="Arial"/>
                <a:cs typeface="Arial"/>
              </a:rPr>
              <a:t>MEF</a:t>
            </a:r>
            <a:endParaRPr sz="900" dirty="0">
              <a:latin typeface="Arial"/>
              <a:cs typeface="Arial"/>
            </a:endParaRPr>
          </a:p>
        </p:txBody>
      </p:sp>
      <p:sp>
        <p:nvSpPr>
          <p:cNvPr id="27" name="object 20">
            <a:extLst>
              <a:ext uri="{FF2B5EF4-FFF2-40B4-BE49-F238E27FC236}">
                <a16:creationId xmlns:a16="http://schemas.microsoft.com/office/drawing/2014/main" id="{7796D31C-0E5A-49DD-B675-0FF7F73163DA}"/>
              </a:ext>
            </a:extLst>
          </p:cNvPr>
          <p:cNvSpPr txBox="1"/>
          <p:nvPr/>
        </p:nvSpPr>
        <p:spPr>
          <a:xfrm>
            <a:off x="954691" y="4703521"/>
            <a:ext cx="2379821" cy="381034"/>
          </a:xfrm>
          <a:prstGeom prst="rect">
            <a:avLst/>
          </a:prstGeom>
        </p:spPr>
        <p:txBody>
          <a:bodyPr vert="horz" wrap="square" lIns="0" tIns="9049" rIns="0" bIns="0" rtlCol="0">
            <a:spAutoFit/>
          </a:bodyPr>
          <a:lstStyle/>
          <a:p>
            <a:pPr marL="114300" indent="-104775">
              <a:spcBef>
                <a:spcPts val="71"/>
              </a:spcBef>
              <a:buAutoNum type="arabicPeriod"/>
              <a:tabLst>
                <a:tab pos="114776" algn="l"/>
              </a:tabLst>
            </a:pPr>
            <a:r>
              <a:rPr lang="it-IT" sz="750" spc="-4" dirty="0">
                <a:solidFill>
                  <a:srgbClr val="858585"/>
                </a:solidFill>
                <a:latin typeface="Arial"/>
                <a:cs typeface="Arial"/>
              </a:rPr>
              <a:t>Bilancio consolidato CDP al 30 giugno 2019</a:t>
            </a:r>
          </a:p>
          <a:p>
            <a:pPr marL="114300" indent="-104775">
              <a:spcBef>
                <a:spcPts val="71"/>
              </a:spcBef>
              <a:buAutoNum type="arabicPeriod"/>
              <a:tabLst>
                <a:tab pos="114776" algn="l"/>
              </a:tabLst>
            </a:pPr>
            <a:r>
              <a:rPr lang="it-IT" sz="750" spc="-4" dirty="0">
                <a:solidFill>
                  <a:srgbClr val="858585"/>
                </a:solidFill>
                <a:latin typeface="Arial"/>
                <a:cs typeface="Arial"/>
              </a:rPr>
              <a:t>Bilancio individuale CDP S.p.A. al 30 giugno 2019</a:t>
            </a:r>
          </a:p>
          <a:p>
            <a:pPr marL="114300" indent="-104775">
              <a:spcBef>
                <a:spcPts val="71"/>
              </a:spcBef>
              <a:buAutoNum type="arabicPeriod"/>
              <a:tabLst>
                <a:tab pos="114776" algn="l"/>
              </a:tabLst>
            </a:pPr>
            <a:r>
              <a:rPr lang="it-IT" sz="750" spc="-4" dirty="0">
                <a:solidFill>
                  <a:srgbClr val="858585"/>
                </a:solidFill>
                <a:latin typeface="Arial"/>
                <a:cs typeface="Arial"/>
              </a:rPr>
              <a:t>Rimanente 1% di azioni proprie</a:t>
            </a:r>
            <a:endParaRPr sz="750" spc="-4" dirty="0">
              <a:solidFill>
                <a:srgbClr val="858585"/>
              </a:solidFill>
              <a:latin typeface="Arial"/>
              <a:cs typeface="Arial"/>
            </a:endParaRPr>
          </a:p>
        </p:txBody>
      </p:sp>
      <p:sp>
        <p:nvSpPr>
          <p:cNvPr id="28" name="object 3">
            <a:extLst>
              <a:ext uri="{FF2B5EF4-FFF2-40B4-BE49-F238E27FC236}">
                <a16:creationId xmlns:a16="http://schemas.microsoft.com/office/drawing/2014/main" id="{A9213DF7-A19C-4067-A44C-6EE761ADEABF}"/>
              </a:ext>
            </a:extLst>
          </p:cNvPr>
          <p:cNvSpPr txBox="1"/>
          <p:nvPr/>
        </p:nvSpPr>
        <p:spPr>
          <a:xfrm>
            <a:off x="2960354" y="836143"/>
            <a:ext cx="3820478" cy="1790555"/>
          </a:xfrm>
          <a:prstGeom prst="rect">
            <a:avLst/>
          </a:prstGeom>
        </p:spPr>
        <p:txBody>
          <a:bodyPr vert="horz" wrap="square" lIns="0" tIns="94298" rIns="0" bIns="0" rtlCol="0">
            <a:spAutoFit/>
          </a:bodyPr>
          <a:lstStyle/>
          <a:p>
            <a:pPr marL="9525">
              <a:spcBef>
                <a:spcPts val="743"/>
              </a:spcBef>
            </a:pPr>
            <a:r>
              <a:rPr lang="it-IT" sz="1350" b="1" spc="-4" dirty="0">
                <a:solidFill>
                  <a:srgbClr val="629629"/>
                </a:solidFill>
                <a:latin typeface="Arial"/>
                <a:cs typeface="Arial"/>
              </a:rPr>
              <a:t>LA MISSIONE DEL GRUPPO CDP</a:t>
            </a:r>
          </a:p>
          <a:p>
            <a:pPr marL="9525">
              <a:spcBef>
                <a:spcPts val="746"/>
              </a:spcBef>
            </a:pPr>
            <a:r>
              <a:rPr lang="it-IT" sz="1350" b="1" spc="-4" dirty="0">
                <a:solidFill>
                  <a:srgbClr val="629629"/>
                </a:solidFill>
                <a:latin typeface="Arial"/>
                <a:cs typeface="Arial"/>
              </a:rPr>
              <a:t>Promuovere lo sviluppo dell’Italia,</a:t>
            </a:r>
          </a:p>
          <a:p>
            <a:pPr marL="9525">
              <a:spcBef>
                <a:spcPts val="746"/>
              </a:spcBef>
            </a:pPr>
            <a:r>
              <a:rPr lang="it-IT" sz="1350" b="1" spc="-4" dirty="0">
                <a:solidFill>
                  <a:srgbClr val="629629"/>
                </a:solidFill>
                <a:latin typeface="Arial"/>
                <a:cs typeface="Arial"/>
              </a:rPr>
              <a:t>impiegando responsabilmente il risparmio del</a:t>
            </a:r>
          </a:p>
          <a:p>
            <a:pPr marL="9525">
              <a:spcBef>
                <a:spcPts val="746"/>
              </a:spcBef>
            </a:pPr>
            <a:r>
              <a:rPr lang="it-IT" sz="1350" b="1" spc="-4" dirty="0">
                <a:solidFill>
                  <a:srgbClr val="629629"/>
                </a:solidFill>
                <a:latin typeface="Arial"/>
                <a:cs typeface="Arial"/>
              </a:rPr>
              <a:t>Paese per favorire crescita e occupazione,</a:t>
            </a:r>
          </a:p>
          <a:p>
            <a:pPr marL="9525">
              <a:spcBef>
                <a:spcPts val="746"/>
              </a:spcBef>
            </a:pPr>
            <a:r>
              <a:rPr lang="it-IT" sz="1350" b="1" spc="-4" dirty="0">
                <a:solidFill>
                  <a:srgbClr val="629629"/>
                </a:solidFill>
                <a:latin typeface="Arial"/>
                <a:cs typeface="Arial"/>
              </a:rPr>
              <a:t>sostenendo l'innovazione e la competitività</a:t>
            </a:r>
          </a:p>
          <a:p>
            <a:pPr marL="9525">
              <a:spcBef>
                <a:spcPts val="746"/>
              </a:spcBef>
            </a:pPr>
            <a:r>
              <a:rPr lang="it-IT" sz="1350" b="1" spc="-4" dirty="0">
                <a:solidFill>
                  <a:srgbClr val="629629"/>
                </a:solidFill>
                <a:latin typeface="Arial"/>
                <a:cs typeface="Arial"/>
              </a:rPr>
              <a:t>delle imprese, le infrastrutture e il territorio</a:t>
            </a:r>
          </a:p>
        </p:txBody>
      </p:sp>
      <p:sp>
        <p:nvSpPr>
          <p:cNvPr id="29" name="object 14">
            <a:extLst>
              <a:ext uri="{FF2B5EF4-FFF2-40B4-BE49-F238E27FC236}">
                <a16:creationId xmlns:a16="http://schemas.microsoft.com/office/drawing/2014/main" id="{FC7516A7-DEA1-4BEC-8D00-7FF423ABD986}"/>
              </a:ext>
            </a:extLst>
          </p:cNvPr>
          <p:cNvSpPr/>
          <p:nvPr/>
        </p:nvSpPr>
        <p:spPr>
          <a:xfrm>
            <a:off x="1645401" y="1051025"/>
            <a:ext cx="1228915" cy="1510760"/>
          </a:xfrm>
          <a:prstGeom prst="rect">
            <a:avLst/>
          </a:prstGeom>
          <a:blipFill>
            <a:blip r:embed="rId3" cstate="print"/>
            <a:stretch>
              <a:fillRect/>
            </a:stretch>
          </a:blipFill>
        </p:spPr>
        <p:txBody>
          <a:bodyPr wrap="square" lIns="0" tIns="0" rIns="0" bIns="0" rtlCol="0"/>
          <a:lstStyle/>
          <a:p>
            <a:endParaRPr sz="918"/>
          </a:p>
        </p:txBody>
      </p:sp>
      <p:sp>
        <p:nvSpPr>
          <p:cNvPr id="30" name="Rectangle 2">
            <a:extLst>
              <a:ext uri="{FF2B5EF4-FFF2-40B4-BE49-F238E27FC236}">
                <a16:creationId xmlns:a16="http://schemas.microsoft.com/office/drawing/2014/main" id="{2744466A-5D2F-4F17-BDB4-67170788E299}"/>
              </a:ext>
            </a:extLst>
          </p:cNvPr>
          <p:cNvSpPr>
            <a:spLocks/>
          </p:cNvSpPr>
          <p:nvPr/>
        </p:nvSpPr>
        <p:spPr>
          <a:xfrm>
            <a:off x="1" y="3"/>
            <a:ext cx="9143999" cy="163396"/>
          </a:xfrm>
          <a:prstGeom prst="rect">
            <a:avLst/>
          </a:prstGeom>
          <a:solidFill>
            <a:srgbClr val="415064"/>
          </a:solidFill>
          <a:ln w="9525" cap="flat" cmpd="sng" algn="ctr">
            <a:noFill/>
            <a:prstDash val="solid"/>
          </a:ln>
          <a:effectLst/>
        </p:spPr>
        <p:txBody>
          <a:bodyPr rot="0" spcFirstLastPara="0" vert="horz" wrap="square" lIns="121920" tIns="60960" rIns="121920" bIns="6096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224" kern="1200">
                <a:solidFill>
                  <a:schemeClr val="lt1"/>
                </a:solidFill>
                <a:latin typeface="+mn-lt"/>
                <a:ea typeface="+mn-ea"/>
                <a:cs typeface="+mn-cs"/>
              </a:defRPr>
            </a:lvl1pPr>
            <a:lvl2pPr marL="349849" algn="l" rtl="0" fontAlgn="base">
              <a:spcBef>
                <a:spcPct val="0"/>
              </a:spcBef>
              <a:spcAft>
                <a:spcPct val="0"/>
              </a:spcAft>
              <a:defRPr sz="1224" kern="1200">
                <a:solidFill>
                  <a:schemeClr val="lt1"/>
                </a:solidFill>
                <a:latin typeface="+mn-lt"/>
                <a:ea typeface="+mn-ea"/>
                <a:cs typeface="+mn-cs"/>
              </a:defRPr>
            </a:lvl2pPr>
            <a:lvl3pPr marL="699699" algn="l" rtl="0" fontAlgn="base">
              <a:spcBef>
                <a:spcPct val="0"/>
              </a:spcBef>
              <a:spcAft>
                <a:spcPct val="0"/>
              </a:spcAft>
              <a:defRPr sz="1224" kern="1200">
                <a:solidFill>
                  <a:schemeClr val="lt1"/>
                </a:solidFill>
                <a:latin typeface="+mn-lt"/>
                <a:ea typeface="+mn-ea"/>
                <a:cs typeface="+mn-cs"/>
              </a:defRPr>
            </a:lvl3pPr>
            <a:lvl4pPr marL="1049548" algn="l" rtl="0" fontAlgn="base">
              <a:spcBef>
                <a:spcPct val="0"/>
              </a:spcBef>
              <a:spcAft>
                <a:spcPct val="0"/>
              </a:spcAft>
              <a:defRPr sz="1224" kern="1200">
                <a:solidFill>
                  <a:schemeClr val="lt1"/>
                </a:solidFill>
                <a:latin typeface="+mn-lt"/>
                <a:ea typeface="+mn-ea"/>
                <a:cs typeface="+mn-cs"/>
              </a:defRPr>
            </a:lvl4pPr>
            <a:lvl5pPr marL="1399398" algn="l" rtl="0" fontAlgn="base">
              <a:spcBef>
                <a:spcPct val="0"/>
              </a:spcBef>
              <a:spcAft>
                <a:spcPct val="0"/>
              </a:spcAft>
              <a:defRPr sz="1224" kern="1200">
                <a:solidFill>
                  <a:schemeClr val="lt1"/>
                </a:solidFill>
                <a:latin typeface="+mn-lt"/>
                <a:ea typeface="+mn-ea"/>
                <a:cs typeface="+mn-cs"/>
              </a:defRPr>
            </a:lvl5pPr>
            <a:lvl6pPr marL="1749247" algn="l" defTabSz="699699" rtl="0" eaLnBrk="1" latinLnBrk="0" hangingPunct="1">
              <a:defRPr sz="1224" kern="1200">
                <a:solidFill>
                  <a:schemeClr val="lt1"/>
                </a:solidFill>
                <a:latin typeface="+mn-lt"/>
                <a:ea typeface="+mn-ea"/>
                <a:cs typeface="+mn-cs"/>
              </a:defRPr>
            </a:lvl6pPr>
            <a:lvl7pPr marL="2099097" algn="l" defTabSz="699699" rtl="0" eaLnBrk="1" latinLnBrk="0" hangingPunct="1">
              <a:defRPr sz="1224" kern="1200">
                <a:solidFill>
                  <a:schemeClr val="lt1"/>
                </a:solidFill>
                <a:latin typeface="+mn-lt"/>
                <a:ea typeface="+mn-ea"/>
                <a:cs typeface="+mn-cs"/>
              </a:defRPr>
            </a:lvl7pPr>
            <a:lvl8pPr marL="2448946" algn="l" defTabSz="699699" rtl="0" eaLnBrk="1" latinLnBrk="0" hangingPunct="1">
              <a:defRPr sz="1224" kern="1200">
                <a:solidFill>
                  <a:schemeClr val="lt1"/>
                </a:solidFill>
                <a:latin typeface="+mn-lt"/>
                <a:ea typeface="+mn-ea"/>
                <a:cs typeface="+mn-cs"/>
              </a:defRPr>
            </a:lvl8pPr>
            <a:lvl9pPr marL="2798796" algn="l" defTabSz="699699" rtl="0" eaLnBrk="1" latinLnBrk="0" hangingPunct="1">
              <a:defRPr sz="1224" kern="1200">
                <a:solidFill>
                  <a:schemeClr val="lt1"/>
                </a:solidFill>
                <a:latin typeface="+mn-lt"/>
                <a:ea typeface="+mn-ea"/>
                <a:cs typeface="+mn-cs"/>
              </a:defRPr>
            </a:lvl9pPr>
          </a:lstStyle>
          <a:p>
            <a:pPr defTabSz="1219079">
              <a:defRPr/>
            </a:pPr>
            <a:r>
              <a:rPr lang="it-IT" sz="1000" b="1" dirty="0">
                <a:solidFill>
                  <a:srgbClr val="FFFFFF"/>
                </a:solidFill>
                <a:latin typeface="Arial"/>
              </a:rPr>
              <a:t>CDP </a:t>
            </a:r>
            <a:r>
              <a:rPr lang="it-IT" sz="1000" b="1" dirty="0" err="1">
                <a:solidFill>
                  <a:srgbClr val="FFFFFF"/>
                </a:solidFill>
                <a:latin typeface="Arial"/>
              </a:rPr>
              <a:t>Overview</a:t>
            </a:r>
            <a:endParaRPr lang="it-IT" sz="1000" b="1" i="1" dirty="0">
              <a:solidFill>
                <a:srgbClr val="FFFFFF"/>
              </a:solidFill>
              <a:latin typeface="Arial"/>
            </a:endParaRPr>
          </a:p>
        </p:txBody>
      </p:sp>
    </p:spTree>
    <p:extLst>
      <p:ext uri="{BB962C8B-B14F-4D97-AF65-F5344CB8AC3E}">
        <p14:creationId xmlns:p14="http://schemas.microsoft.com/office/powerpoint/2010/main" val="13282177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uppo 12">
            <a:extLst>
              <a:ext uri="{FF2B5EF4-FFF2-40B4-BE49-F238E27FC236}">
                <a16:creationId xmlns:a16="http://schemas.microsoft.com/office/drawing/2014/main" id="{27AD7F45-E29B-4BE2-B826-915F24FECC30}"/>
              </a:ext>
            </a:extLst>
          </p:cNvPr>
          <p:cNvGrpSpPr>
            <a:grpSpLocks noChangeAspect="1"/>
          </p:cNvGrpSpPr>
          <p:nvPr/>
        </p:nvGrpSpPr>
        <p:grpSpPr>
          <a:xfrm>
            <a:off x="2416288" y="1354562"/>
            <a:ext cx="1720259" cy="2250993"/>
            <a:chOff x="3188742" y="949997"/>
            <a:chExt cx="2878384" cy="2906559"/>
          </a:xfrm>
        </p:grpSpPr>
        <p:sp>
          <p:nvSpPr>
            <p:cNvPr id="27" name="Triangolo isoscele 26">
              <a:extLst>
                <a:ext uri="{FF2B5EF4-FFF2-40B4-BE49-F238E27FC236}">
                  <a16:creationId xmlns:a16="http://schemas.microsoft.com/office/drawing/2014/main" id="{46D597F2-32CD-415E-8BDD-E9A8380455DC}"/>
                </a:ext>
              </a:extLst>
            </p:cNvPr>
            <p:cNvSpPr/>
            <p:nvPr/>
          </p:nvSpPr>
          <p:spPr>
            <a:xfrm rot="5400000">
              <a:off x="3174654" y="964085"/>
              <a:ext cx="2906559" cy="2878384"/>
            </a:xfrm>
            <a:prstGeom prst="triangle">
              <a:avLst>
                <a:gd name="adj" fmla="val 50629"/>
              </a:avLst>
            </a:prstGeom>
            <a:gradFill>
              <a:gsLst>
                <a:gs pos="0">
                  <a:srgbClr val="CAD7EB"/>
                </a:gs>
                <a:gs pos="77000">
                  <a:schemeClr val="accent1">
                    <a:lumMod val="5000"/>
                    <a:lumOff val="9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endParaRPr lang="it-IT" sz="1013" dirty="0">
                <a:solidFill>
                  <a:srgbClr val="FFFEFD"/>
                </a:solidFill>
                <a:latin typeface="Arial" panose="020B0604020202020204"/>
              </a:endParaRPr>
            </a:p>
          </p:txBody>
        </p:sp>
        <p:pic>
          <p:nvPicPr>
            <p:cNvPr id="12" name="Immagine 11">
              <a:extLst>
                <a:ext uri="{FF2B5EF4-FFF2-40B4-BE49-F238E27FC236}">
                  <a16:creationId xmlns:a16="http://schemas.microsoft.com/office/drawing/2014/main" id="{FD1E391B-3B62-438D-A31B-C33E50694626}"/>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531255" y="2744625"/>
              <a:ext cx="848222" cy="848222"/>
            </a:xfrm>
            <a:prstGeom prst="rect">
              <a:avLst/>
            </a:prstGeom>
          </p:spPr>
        </p:pic>
        <p:pic>
          <p:nvPicPr>
            <p:cNvPr id="14" name="Immagine 13">
              <a:extLst>
                <a:ext uri="{FF2B5EF4-FFF2-40B4-BE49-F238E27FC236}">
                  <a16:creationId xmlns:a16="http://schemas.microsoft.com/office/drawing/2014/main" id="{4CA45E63-FC39-4953-9E32-AE4826113F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79724" y="1948055"/>
              <a:ext cx="1301992" cy="197607"/>
            </a:xfrm>
            <a:prstGeom prst="rect">
              <a:avLst/>
            </a:prstGeom>
          </p:spPr>
        </p:pic>
        <p:pic>
          <p:nvPicPr>
            <p:cNvPr id="16" name="Immagine 15">
              <a:extLst>
                <a:ext uri="{FF2B5EF4-FFF2-40B4-BE49-F238E27FC236}">
                  <a16:creationId xmlns:a16="http://schemas.microsoft.com/office/drawing/2014/main" id="{7FE3D377-91B0-4B6E-84BC-7C969F4B6122}"/>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554809" y="1473440"/>
              <a:ext cx="824668" cy="289118"/>
            </a:xfrm>
            <a:prstGeom prst="rect">
              <a:avLst/>
            </a:prstGeom>
          </p:spPr>
        </p:pic>
        <p:pic>
          <p:nvPicPr>
            <p:cNvPr id="18" name="Immagine 17">
              <a:extLst>
                <a:ext uri="{FF2B5EF4-FFF2-40B4-BE49-F238E27FC236}">
                  <a16:creationId xmlns:a16="http://schemas.microsoft.com/office/drawing/2014/main" id="{5EE980CC-835B-4263-B18F-ECCD7689DEEF}"/>
                </a:ext>
              </a:extLst>
            </p:cNvPr>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962737" y="2337206"/>
              <a:ext cx="547013" cy="547013"/>
            </a:xfrm>
            <a:prstGeom prst="rect">
              <a:avLst/>
            </a:prstGeom>
          </p:spPr>
        </p:pic>
        <p:pic>
          <p:nvPicPr>
            <p:cNvPr id="20" name="Immagine 19">
              <a:extLst>
                <a:ext uri="{FF2B5EF4-FFF2-40B4-BE49-F238E27FC236}">
                  <a16:creationId xmlns:a16="http://schemas.microsoft.com/office/drawing/2014/main" id="{37517C08-1641-4E7C-96AE-A520907405C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48992" y="2299974"/>
              <a:ext cx="782632" cy="343595"/>
            </a:xfrm>
            <a:prstGeom prst="rect">
              <a:avLst/>
            </a:prstGeom>
          </p:spPr>
        </p:pic>
      </p:grpSp>
      <p:sp>
        <p:nvSpPr>
          <p:cNvPr id="2" name="Segnaposto testo 1">
            <a:extLst>
              <a:ext uri="{FF2B5EF4-FFF2-40B4-BE49-F238E27FC236}">
                <a16:creationId xmlns:a16="http://schemas.microsoft.com/office/drawing/2014/main" id="{34D0EF7A-D580-4EBA-BADF-C9A2E67A3AA6}"/>
              </a:ext>
            </a:extLst>
          </p:cNvPr>
          <p:cNvSpPr>
            <a:spLocks noGrp="1"/>
          </p:cNvSpPr>
          <p:nvPr>
            <p:ph type="body" idx="13"/>
          </p:nvPr>
        </p:nvSpPr>
        <p:spPr>
          <a:xfrm>
            <a:off x="250825" y="268289"/>
            <a:ext cx="6445250" cy="287337"/>
          </a:xfrm>
        </p:spPr>
        <p:txBody>
          <a:bodyPr/>
          <a:lstStyle/>
          <a:p>
            <a:r>
              <a:rPr lang="it-IT" dirty="0"/>
              <a:t>Focus 2X Challenge: G7 </a:t>
            </a:r>
            <a:r>
              <a:rPr lang="it-IT" dirty="0" err="1"/>
              <a:t>DFIs</a:t>
            </a:r>
            <a:r>
              <a:rPr lang="it-IT" dirty="0"/>
              <a:t> </a:t>
            </a:r>
            <a:r>
              <a:rPr lang="it-IT" dirty="0" err="1"/>
              <a:t>Financing</a:t>
            </a:r>
            <a:r>
              <a:rPr lang="it-IT" dirty="0"/>
              <a:t> for </a:t>
            </a:r>
            <a:r>
              <a:rPr lang="it-IT" dirty="0" err="1"/>
              <a:t>Women</a:t>
            </a:r>
            <a:endParaRPr lang="it-IT" dirty="0"/>
          </a:p>
        </p:txBody>
      </p:sp>
      <p:sp>
        <p:nvSpPr>
          <p:cNvPr id="4" name="Segnaposto numero diapositiva 3">
            <a:extLst>
              <a:ext uri="{FF2B5EF4-FFF2-40B4-BE49-F238E27FC236}">
                <a16:creationId xmlns:a16="http://schemas.microsoft.com/office/drawing/2014/main" id="{1182F6E3-DA4C-404D-88F8-32DBA35D897E}"/>
              </a:ext>
            </a:extLst>
          </p:cNvPr>
          <p:cNvSpPr>
            <a:spLocks noGrp="1"/>
          </p:cNvSpPr>
          <p:nvPr>
            <p:ph type="sldNum" sz="quarter" idx="12"/>
          </p:nvPr>
        </p:nvSpPr>
        <p:spPr>
          <a:xfrm>
            <a:off x="250825" y="4723394"/>
            <a:ext cx="1008062" cy="183687"/>
          </a:xfrm>
        </p:spPr>
        <p:txBody>
          <a:bodyPr/>
          <a:lstStyle/>
          <a:p>
            <a:pPr defTabSz="685766">
              <a:defRPr/>
            </a:pPr>
            <a:fld id="{608DA0FE-9C19-F746-8419-6700E348BF78}" type="slidenum">
              <a:rPr lang="it-IT"/>
              <a:pPr defTabSz="685766">
                <a:defRPr/>
              </a:pPr>
              <a:t>30</a:t>
            </a:fld>
            <a:endParaRPr lang="it-IT" dirty="0"/>
          </a:p>
        </p:txBody>
      </p:sp>
      <p:sp>
        <p:nvSpPr>
          <p:cNvPr id="6" name="Rectangle 2">
            <a:extLst>
              <a:ext uri="{FF2B5EF4-FFF2-40B4-BE49-F238E27FC236}">
                <a16:creationId xmlns:a16="http://schemas.microsoft.com/office/drawing/2014/main" id="{E5AC4F6D-EF79-4070-B374-42DB21859EA9}"/>
              </a:ext>
            </a:extLst>
          </p:cNvPr>
          <p:cNvSpPr>
            <a:spLocks/>
          </p:cNvSpPr>
          <p:nvPr/>
        </p:nvSpPr>
        <p:spPr>
          <a:xfrm>
            <a:off x="3" y="3"/>
            <a:ext cx="9143999" cy="163396"/>
          </a:xfrm>
          <a:prstGeom prst="rect">
            <a:avLst/>
          </a:prstGeom>
          <a:solidFill>
            <a:srgbClr val="415064"/>
          </a:solidFill>
          <a:ln w="9525" cap="flat" cmpd="sng" algn="ctr">
            <a:noFill/>
            <a:prstDash val="solid"/>
          </a:ln>
          <a:effectLst/>
        </p:spPr>
        <p:txBody>
          <a:bodyPr rot="0" spcFirstLastPara="0" vert="horz" wrap="square" lIns="121920" tIns="60960" rIns="121920" bIns="6096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224" kern="1200">
                <a:solidFill>
                  <a:schemeClr val="lt1"/>
                </a:solidFill>
                <a:latin typeface="+mn-lt"/>
                <a:ea typeface="+mn-ea"/>
                <a:cs typeface="+mn-cs"/>
              </a:defRPr>
            </a:lvl1pPr>
            <a:lvl2pPr marL="349849" algn="l" rtl="0" fontAlgn="base">
              <a:spcBef>
                <a:spcPct val="0"/>
              </a:spcBef>
              <a:spcAft>
                <a:spcPct val="0"/>
              </a:spcAft>
              <a:defRPr sz="1224" kern="1200">
                <a:solidFill>
                  <a:schemeClr val="lt1"/>
                </a:solidFill>
                <a:latin typeface="+mn-lt"/>
                <a:ea typeface="+mn-ea"/>
                <a:cs typeface="+mn-cs"/>
              </a:defRPr>
            </a:lvl2pPr>
            <a:lvl3pPr marL="699699" algn="l" rtl="0" fontAlgn="base">
              <a:spcBef>
                <a:spcPct val="0"/>
              </a:spcBef>
              <a:spcAft>
                <a:spcPct val="0"/>
              </a:spcAft>
              <a:defRPr sz="1224" kern="1200">
                <a:solidFill>
                  <a:schemeClr val="lt1"/>
                </a:solidFill>
                <a:latin typeface="+mn-lt"/>
                <a:ea typeface="+mn-ea"/>
                <a:cs typeface="+mn-cs"/>
              </a:defRPr>
            </a:lvl3pPr>
            <a:lvl4pPr marL="1049548" algn="l" rtl="0" fontAlgn="base">
              <a:spcBef>
                <a:spcPct val="0"/>
              </a:spcBef>
              <a:spcAft>
                <a:spcPct val="0"/>
              </a:spcAft>
              <a:defRPr sz="1224" kern="1200">
                <a:solidFill>
                  <a:schemeClr val="lt1"/>
                </a:solidFill>
                <a:latin typeface="+mn-lt"/>
                <a:ea typeface="+mn-ea"/>
                <a:cs typeface="+mn-cs"/>
              </a:defRPr>
            </a:lvl4pPr>
            <a:lvl5pPr marL="1399398" algn="l" rtl="0" fontAlgn="base">
              <a:spcBef>
                <a:spcPct val="0"/>
              </a:spcBef>
              <a:spcAft>
                <a:spcPct val="0"/>
              </a:spcAft>
              <a:defRPr sz="1224" kern="1200">
                <a:solidFill>
                  <a:schemeClr val="lt1"/>
                </a:solidFill>
                <a:latin typeface="+mn-lt"/>
                <a:ea typeface="+mn-ea"/>
                <a:cs typeface="+mn-cs"/>
              </a:defRPr>
            </a:lvl5pPr>
            <a:lvl6pPr marL="1749247" algn="l" defTabSz="699699" rtl="0" eaLnBrk="1" latinLnBrk="0" hangingPunct="1">
              <a:defRPr sz="1224" kern="1200">
                <a:solidFill>
                  <a:schemeClr val="lt1"/>
                </a:solidFill>
                <a:latin typeface="+mn-lt"/>
                <a:ea typeface="+mn-ea"/>
                <a:cs typeface="+mn-cs"/>
              </a:defRPr>
            </a:lvl6pPr>
            <a:lvl7pPr marL="2099097" algn="l" defTabSz="699699" rtl="0" eaLnBrk="1" latinLnBrk="0" hangingPunct="1">
              <a:defRPr sz="1224" kern="1200">
                <a:solidFill>
                  <a:schemeClr val="lt1"/>
                </a:solidFill>
                <a:latin typeface="+mn-lt"/>
                <a:ea typeface="+mn-ea"/>
                <a:cs typeface="+mn-cs"/>
              </a:defRPr>
            </a:lvl7pPr>
            <a:lvl8pPr marL="2448946" algn="l" defTabSz="699699" rtl="0" eaLnBrk="1" latinLnBrk="0" hangingPunct="1">
              <a:defRPr sz="1224" kern="1200">
                <a:solidFill>
                  <a:schemeClr val="lt1"/>
                </a:solidFill>
                <a:latin typeface="+mn-lt"/>
                <a:ea typeface="+mn-ea"/>
                <a:cs typeface="+mn-cs"/>
              </a:defRPr>
            </a:lvl8pPr>
            <a:lvl9pPr marL="2798796" algn="l" defTabSz="699699" rtl="0" eaLnBrk="1" latinLnBrk="0" hangingPunct="1">
              <a:defRPr sz="1224" kern="1200">
                <a:solidFill>
                  <a:schemeClr val="lt1"/>
                </a:solidFill>
                <a:latin typeface="+mn-lt"/>
                <a:ea typeface="+mn-ea"/>
                <a:cs typeface="+mn-cs"/>
              </a:defRPr>
            </a:lvl9pPr>
          </a:lstStyle>
          <a:p>
            <a:pPr defTabSz="1219079">
              <a:defRPr/>
            </a:pPr>
            <a:r>
              <a:rPr lang="en-US" sz="1000" b="1" spc="-10" dirty="0">
                <a:cs typeface="Arial"/>
              </a:rPr>
              <a:t>Global Partnership</a:t>
            </a:r>
            <a:r>
              <a:rPr lang="it-IT" sz="1000" b="1" spc="-10" dirty="0">
                <a:cs typeface="Arial"/>
              </a:rPr>
              <a:t>: 2X Challenge</a:t>
            </a:r>
          </a:p>
        </p:txBody>
      </p:sp>
      <p:grpSp>
        <p:nvGrpSpPr>
          <p:cNvPr id="52" name="Gruppo 51">
            <a:extLst>
              <a:ext uri="{FF2B5EF4-FFF2-40B4-BE49-F238E27FC236}">
                <a16:creationId xmlns:a16="http://schemas.microsoft.com/office/drawing/2014/main" id="{7C9F944C-E257-461E-86FA-B88644F752EA}"/>
              </a:ext>
            </a:extLst>
          </p:cNvPr>
          <p:cNvGrpSpPr>
            <a:grpSpLocks noChangeAspect="1"/>
          </p:cNvGrpSpPr>
          <p:nvPr/>
        </p:nvGrpSpPr>
        <p:grpSpPr>
          <a:xfrm>
            <a:off x="462399" y="1435214"/>
            <a:ext cx="2204395" cy="1964976"/>
            <a:chOff x="-106248" y="1003324"/>
            <a:chExt cx="3075680" cy="2741626"/>
          </a:xfrm>
        </p:grpSpPr>
        <p:grpSp>
          <p:nvGrpSpPr>
            <p:cNvPr id="7" name="Gruppo 6">
              <a:extLst>
                <a:ext uri="{FF2B5EF4-FFF2-40B4-BE49-F238E27FC236}">
                  <a16:creationId xmlns:a16="http://schemas.microsoft.com/office/drawing/2014/main" id="{022C582A-4C2E-4ABB-961C-D9A9D9B3797D}"/>
                </a:ext>
              </a:extLst>
            </p:cNvPr>
            <p:cNvGrpSpPr>
              <a:grpSpLocks noChangeAspect="1"/>
            </p:cNvGrpSpPr>
            <p:nvPr/>
          </p:nvGrpSpPr>
          <p:grpSpPr>
            <a:xfrm>
              <a:off x="294851" y="1498395"/>
              <a:ext cx="2201921" cy="2201919"/>
              <a:chOff x="3815563" y="3207037"/>
              <a:chExt cx="1152000" cy="1152000"/>
            </a:xfrm>
          </p:grpSpPr>
          <p:sp>
            <p:nvSpPr>
              <p:cNvPr id="8" name="Ovale 7">
                <a:extLst>
                  <a:ext uri="{FF2B5EF4-FFF2-40B4-BE49-F238E27FC236}">
                    <a16:creationId xmlns:a16="http://schemas.microsoft.com/office/drawing/2014/main" id="{9E7599C5-899B-409B-ABDB-EB3BC971339B}"/>
                  </a:ext>
                </a:extLst>
              </p:cNvPr>
              <p:cNvSpPr>
                <a:spLocks noChangeAspect="1"/>
              </p:cNvSpPr>
              <p:nvPr/>
            </p:nvSpPr>
            <p:spPr>
              <a:xfrm>
                <a:off x="3815563" y="3207037"/>
                <a:ext cx="1152000" cy="1152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it-IT" sz="1013">
                  <a:solidFill>
                    <a:srgbClr val="FFFEFD"/>
                  </a:solidFill>
                  <a:latin typeface="Arial" panose="020B0604020202020204"/>
                </a:endParaRPr>
              </a:p>
            </p:txBody>
          </p:sp>
          <p:sp>
            <p:nvSpPr>
              <p:cNvPr id="9" name="Ovale 8">
                <a:extLst>
                  <a:ext uri="{FF2B5EF4-FFF2-40B4-BE49-F238E27FC236}">
                    <a16:creationId xmlns:a16="http://schemas.microsoft.com/office/drawing/2014/main" id="{BB4993C4-8CB1-4F42-896B-876C8913634E}"/>
                  </a:ext>
                </a:extLst>
              </p:cNvPr>
              <p:cNvSpPr/>
              <p:nvPr/>
            </p:nvSpPr>
            <p:spPr>
              <a:xfrm>
                <a:off x="3851563" y="3239122"/>
                <a:ext cx="1080000" cy="1080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it-IT" sz="1013">
                  <a:solidFill>
                    <a:srgbClr val="FFFEFD"/>
                  </a:solidFill>
                  <a:latin typeface="Arial" panose="020B0604020202020204"/>
                </a:endParaRPr>
              </a:p>
            </p:txBody>
          </p:sp>
        </p:grpSp>
        <p:grpSp>
          <p:nvGrpSpPr>
            <p:cNvPr id="45" name="Gruppo 44">
              <a:extLst>
                <a:ext uri="{FF2B5EF4-FFF2-40B4-BE49-F238E27FC236}">
                  <a16:creationId xmlns:a16="http://schemas.microsoft.com/office/drawing/2014/main" id="{4D40BA00-07DA-40BC-8DC7-962AC47CEAA0}"/>
                </a:ext>
              </a:extLst>
            </p:cNvPr>
            <p:cNvGrpSpPr/>
            <p:nvPr/>
          </p:nvGrpSpPr>
          <p:grpSpPr>
            <a:xfrm>
              <a:off x="1001801" y="1003324"/>
              <a:ext cx="697335" cy="695845"/>
              <a:chOff x="3770726" y="1123604"/>
              <a:chExt cx="697335" cy="695845"/>
            </a:xfrm>
          </p:grpSpPr>
          <p:sp>
            <p:nvSpPr>
              <p:cNvPr id="10" name="Oval 36">
                <a:extLst>
                  <a:ext uri="{FF2B5EF4-FFF2-40B4-BE49-F238E27FC236}">
                    <a16:creationId xmlns:a16="http://schemas.microsoft.com/office/drawing/2014/main" id="{EACE2C2E-8BB1-48A9-909F-B28F401609C0}"/>
                  </a:ext>
                </a:extLst>
              </p:cNvPr>
              <p:cNvSpPr>
                <a:spLocks noChangeAspect="1"/>
              </p:cNvSpPr>
              <p:nvPr/>
            </p:nvSpPr>
            <p:spPr bwMode="gray">
              <a:xfrm>
                <a:off x="3770726" y="1123604"/>
                <a:ext cx="695845" cy="695845"/>
              </a:xfrm>
              <a:prstGeom prst="ellipse">
                <a:avLst/>
              </a:prstGeom>
              <a:solidFill>
                <a:schemeClr val="bg1"/>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8032">
                  <a:defRPr/>
                </a:pPr>
                <a:endParaRPr lang="it-IT" sz="1000" b="1" dirty="0">
                  <a:solidFill>
                    <a:srgbClr val="FFFFFF"/>
                  </a:solidFill>
                  <a:latin typeface="Arial"/>
                </a:endParaRPr>
              </a:p>
            </p:txBody>
          </p:sp>
          <p:pic>
            <p:nvPicPr>
              <p:cNvPr id="28" name="Elemento grafico 27">
                <a:extLst>
                  <a:ext uri="{FF2B5EF4-FFF2-40B4-BE49-F238E27FC236}">
                    <a16:creationId xmlns:a16="http://schemas.microsoft.com/office/drawing/2014/main" id="{8902E19E-CAD7-49E1-B9F9-430B04D35CC4}"/>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31600" t="48974" r="25224" b="1"/>
              <a:stretch/>
            </p:blipFill>
            <p:spPr>
              <a:xfrm>
                <a:off x="3854417" y="1282728"/>
                <a:ext cx="613644" cy="362598"/>
              </a:xfrm>
              <a:prstGeom prst="rect">
                <a:avLst/>
              </a:prstGeom>
            </p:spPr>
          </p:pic>
        </p:grpSp>
        <p:grpSp>
          <p:nvGrpSpPr>
            <p:cNvPr id="46" name="Gruppo 45">
              <a:extLst>
                <a:ext uri="{FF2B5EF4-FFF2-40B4-BE49-F238E27FC236}">
                  <a16:creationId xmlns:a16="http://schemas.microsoft.com/office/drawing/2014/main" id="{80D088F3-DB91-4A71-83E6-6A9C81A1F4A1}"/>
                </a:ext>
              </a:extLst>
            </p:cNvPr>
            <p:cNvGrpSpPr/>
            <p:nvPr/>
          </p:nvGrpSpPr>
          <p:grpSpPr>
            <a:xfrm>
              <a:off x="1904633" y="1455021"/>
              <a:ext cx="765221" cy="698708"/>
              <a:chOff x="4454191" y="1465326"/>
              <a:chExt cx="765221" cy="698708"/>
            </a:xfrm>
          </p:grpSpPr>
          <p:sp>
            <p:nvSpPr>
              <p:cNvPr id="21" name="Oval 36">
                <a:extLst>
                  <a:ext uri="{FF2B5EF4-FFF2-40B4-BE49-F238E27FC236}">
                    <a16:creationId xmlns:a16="http://schemas.microsoft.com/office/drawing/2014/main" id="{DBDFBB4D-657D-4DAA-8DF0-8CB7401DE131}"/>
                  </a:ext>
                </a:extLst>
              </p:cNvPr>
              <p:cNvSpPr>
                <a:spLocks noChangeAspect="1"/>
              </p:cNvSpPr>
              <p:nvPr/>
            </p:nvSpPr>
            <p:spPr bwMode="gray">
              <a:xfrm>
                <a:off x="4483776" y="1465326"/>
                <a:ext cx="698708" cy="698708"/>
              </a:xfrm>
              <a:prstGeom prst="ellipse">
                <a:avLst/>
              </a:prstGeom>
              <a:solidFill>
                <a:schemeClr val="bg1"/>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8032">
                  <a:defRPr/>
                </a:pPr>
                <a:endParaRPr lang="it-IT" sz="1000" b="1" dirty="0">
                  <a:solidFill>
                    <a:srgbClr val="FFFFFF"/>
                  </a:solidFill>
                  <a:latin typeface="Arial"/>
                </a:endParaRPr>
              </a:p>
            </p:txBody>
          </p:sp>
          <p:pic>
            <p:nvPicPr>
              <p:cNvPr id="30" name="Immagine 29">
                <a:extLst>
                  <a:ext uri="{FF2B5EF4-FFF2-40B4-BE49-F238E27FC236}">
                    <a16:creationId xmlns:a16="http://schemas.microsoft.com/office/drawing/2014/main" id="{0B7BB5F5-BBEF-463B-9123-0BA9E494B207}"/>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4454191" y="1605377"/>
                <a:ext cx="765221" cy="401742"/>
              </a:xfrm>
              <a:prstGeom prst="rect">
                <a:avLst/>
              </a:prstGeom>
            </p:spPr>
          </p:pic>
        </p:grpSp>
        <p:grpSp>
          <p:nvGrpSpPr>
            <p:cNvPr id="47" name="Gruppo 46">
              <a:extLst>
                <a:ext uri="{FF2B5EF4-FFF2-40B4-BE49-F238E27FC236}">
                  <a16:creationId xmlns:a16="http://schemas.microsoft.com/office/drawing/2014/main" id="{E6FD3BEA-7A3F-47DF-8444-1C19BFD384C1}"/>
                </a:ext>
              </a:extLst>
            </p:cNvPr>
            <p:cNvGrpSpPr/>
            <p:nvPr/>
          </p:nvGrpSpPr>
          <p:grpSpPr>
            <a:xfrm>
              <a:off x="2270724" y="2375323"/>
              <a:ext cx="698708" cy="698708"/>
              <a:chOff x="4792365" y="2182914"/>
              <a:chExt cx="698708" cy="698708"/>
            </a:xfrm>
          </p:grpSpPr>
          <p:sp>
            <p:nvSpPr>
              <p:cNvPr id="23" name="Oval 36">
                <a:extLst>
                  <a:ext uri="{FF2B5EF4-FFF2-40B4-BE49-F238E27FC236}">
                    <a16:creationId xmlns:a16="http://schemas.microsoft.com/office/drawing/2014/main" id="{A3D5B898-5463-42E2-AF35-2054B726CC3A}"/>
                  </a:ext>
                </a:extLst>
              </p:cNvPr>
              <p:cNvSpPr>
                <a:spLocks noChangeAspect="1"/>
              </p:cNvSpPr>
              <p:nvPr/>
            </p:nvSpPr>
            <p:spPr bwMode="gray">
              <a:xfrm>
                <a:off x="4792365" y="2182914"/>
                <a:ext cx="698708" cy="698708"/>
              </a:xfrm>
              <a:prstGeom prst="ellipse">
                <a:avLst/>
              </a:prstGeom>
              <a:solidFill>
                <a:schemeClr val="bg1"/>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8032">
                  <a:defRPr/>
                </a:pPr>
                <a:endParaRPr lang="it-IT" sz="1000" b="1" dirty="0">
                  <a:solidFill>
                    <a:srgbClr val="FFFFFF"/>
                  </a:solidFill>
                  <a:latin typeface="Arial"/>
                </a:endParaRPr>
              </a:p>
            </p:txBody>
          </p:sp>
          <p:pic>
            <p:nvPicPr>
              <p:cNvPr id="32" name="Immagine 31">
                <a:extLst>
                  <a:ext uri="{FF2B5EF4-FFF2-40B4-BE49-F238E27FC236}">
                    <a16:creationId xmlns:a16="http://schemas.microsoft.com/office/drawing/2014/main" id="{C9021D8A-DE7A-419C-8303-B0B2A5BF76B9}"/>
                  </a:ext>
                </a:extLst>
              </p:cNvPr>
              <p:cNvPicPr>
                <a:picLocks noChangeAspect="1"/>
              </p:cNvPicPr>
              <p:nvPr/>
            </p:nvPicPr>
            <p:blipFill>
              <a:blip r:embed="rId10">
                <a:clrChange>
                  <a:clrFrom>
                    <a:srgbClr val="FFFFFF"/>
                  </a:clrFrom>
                  <a:clrTo>
                    <a:srgbClr val="FFFFFF">
                      <a:alpha val="0"/>
                    </a:srgbClr>
                  </a:clrTo>
                </a:clrChange>
              </a:blip>
              <a:stretch>
                <a:fillRect/>
              </a:stretch>
            </p:blipFill>
            <p:spPr>
              <a:xfrm>
                <a:off x="4928040" y="2353076"/>
                <a:ext cx="427355" cy="429265"/>
              </a:xfrm>
              <a:prstGeom prst="rect">
                <a:avLst/>
              </a:prstGeom>
            </p:spPr>
          </p:pic>
        </p:grpSp>
        <p:grpSp>
          <p:nvGrpSpPr>
            <p:cNvPr id="48" name="Gruppo 47">
              <a:extLst>
                <a:ext uri="{FF2B5EF4-FFF2-40B4-BE49-F238E27FC236}">
                  <a16:creationId xmlns:a16="http://schemas.microsoft.com/office/drawing/2014/main" id="{AAEEBF85-92EA-4507-98F2-C00A034657B8}"/>
                </a:ext>
              </a:extLst>
            </p:cNvPr>
            <p:cNvGrpSpPr/>
            <p:nvPr/>
          </p:nvGrpSpPr>
          <p:grpSpPr>
            <a:xfrm>
              <a:off x="552541" y="3046242"/>
              <a:ext cx="738606" cy="698708"/>
              <a:chOff x="4116561" y="2792804"/>
              <a:chExt cx="738606" cy="698708"/>
            </a:xfrm>
          </p:grpSpPr>
          <p:sp>
            <p:nvSpPr>
              <p:cNvPr id="24" name="Oval 36">
                <a:extLst>
                  <a:ext uri="{FF2B5EF4-FFF2-40B4-BE49-F238E27FC236}">
                    <a16:creationId xmlns:a16="http://schemas.microsoft.com/office/drawing/2014/main" id="{CE3D61BE-214F-4A2C-9BE4-FA2FF50511D4}"/>
                  </a:ext>
                </a:extLst>
              </p:cNvPr>
              <p:cNvSpPr>
                <a:spLocks noChangeAspect="1"/>
              </p:cNvSpPr>
              <p:nvPr/>
            </p:nvSpPr>
            <p:spPr bwMode="gray">
              <a:xfrm>
                <a:off x="4116561" y="2792804"/>
                <a:ext cx="698707" cy="698708"/>
              </a:xfrm>
              <a:prstGeom prst="ellipse">
                <a:avLst/>
              </a:prstGeom>
              <a:solidFill>
                <a:schemeClr val="bg1"/>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8032">
                  <a:defRPr/>
                </a:pPr>
                <a:endParaRPr lang="it-IT" sz="1000" b="1" dirty="0">
                  <a:solidFill>
                    <a:srgbClr val="FFFFFF"/>
                  </a:solidFill>
                  <a:latin typeface="Arial"/>
                </a:endParaRPr>
              </a:p>
            </p:txBody>
          </p:sp>
          <p:pic>
            <p:nvPicPr>
              <p:cNvPr id="34" name="Immagine 33">
                <a:extLst>
                  <a:ext uri="{FF2B5EF4-FFF2-40B4-BE49-F238E27FC236}">
                    <a16:creationId xmlns:a16="http://schemas.microsoft.com/office/drawing/2014/main" id="{1D1FAF94-312A-476E-A759-8261D659C152}"/>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4144280" y="2856997"/>
                <a:ext cx="710887" cy="477383"/>
              </a:xfrm>
              <a:prstGeom prst="rect">
                <a:avLst/>
              </a:prstGeom>
            </p:spPr>
          </p:pic>
        </p:grpSp>
        <p:grpSp>
          <p:nvGrpSpPr>
            <p:cNvPr id="49" name="Gruppo 48">
              <a:extLst>
                <a:ext uri="{FF2B5EF4-FFF2-40B4-BE49-F238E27FC236}">
                  <a16:creationId xmlns:a16="http://schemas.microsoft.com/office/drawing/2014/main" id="{88FC2584-B2A6-44BF-8C57-8928E92980A8}"/>
                </a:ext>
              </a:extLst>
            </p:cNvPr>
            <p:cNvGrpSpPr/>
            <p:nvPr/>
          </p:nvGrpSpPr>
          <p:grpSpPr>
            <a:xfrm>
              <a:off x="1683863" y="3046241"/>
              <a:ext cx="698708" cy="698708"/>
              <a:chOff x="3509058" y="2739510"/>
              <a:chExt cx="698708" cy="698708"/>
            </a:xfrm>
          </p:grpSpPr>
          <p:sp>
            <p:nvSpPr>
              <p:cNvPr id="26" name="Oval 36">
                <a:extLst>
                  <a:ext uri="{FF2B5EF4-FFF2-40B4-BE49-F238E27FC236}">
                    <a16:creationId xmlns:a16="http://schemas.microsoft.com/office/drawing/2014/main" id="{8576BF0E-D0F5-424A-AB6B-8B60918A3877}"/>
                  </a:ext>
                </a:extLst>
              </p:cNvPr>
              <p:cNvSpPr>
                <a:spLocks noChangeAspect="1"/>
              </p:cNvSpPr>
              <p:nvPr/>
            </p:nvSpPr>
            <p:spPr bwMode="gray">
              <a:xfrm>
                <a:off x="3509058" y="2739510"/>
                <a:ext cx="698708" cy="698708"/>
              </a:xfrm>
              <a:prstGeom prst="ellipse">
                <a:avLst/>
              </a:prstGeom>
              <a:solidFill>
                <a:schemeClr val="bg1"/>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8032">
                  <a:defRPr/>
                </a:pPr>
                <a:endParaRPr lang="it-IT" sz="1000" b="1" dirty="0">
                  <a:solidFill>
                    <a:srgbClr val="FFFFFF"/>
                  </a:solidFill>
                  <a:latin typeface="Arial"/>
                </a:endParaRPr>
              </a:p>
            </p:txBody>
          </p:sp>
          <p:pic>
            <p:nvPicPr>
              <p:cNvPr id="36" name="Immagine 35">
                <a:extLst>
                  <a:ext uri="{FF2B5EF4-FFF2-40B4-BE49-F238E27FC236}">
                    <a16:creationId xmlns:a16="http://schemas.microsoft.com/office/drawing/2014/main" id="{F2BD6F3C-DE4F-44A9-B0DD-D8E12618E4C6}"/>
                  </a:ext>
                </a:extLst>
              </p:cNvPr>
              <p:cNvPicPr>
                <a:picLocks noChangeAspect="1"/>
              </p:cNvPicPr>
              <p:nvPr/>
            </p:nvPicPr>
            <p:blipFill>
              <a:blip r:embed="rId12"/>
              <a:stretch>
                <a:fillRect/>
              </a:stretch>
            </p:blipFill>
            <p:spPr>
              <a:xfrm>
                <a:off x="3586971" y="3012002"/>
                <a:ext cx="600880" cy="143310"/>
              </a:xfrm>
              <a:prstGeom prst="rect">
                <a:avLst/>
              </a:prstGeom>
            </p:spPr>
          </p:pic>
        </p:grpSp>
        <p:grpSp>
          <p:nvGrpSpPr>
            <p:cNvPr id="50" name="Gruppo 49">
              <a:extLst>
                <a:ext uri="{FF2B5EF4-FFF2-40B4-BE49-F238E27FC236}">
                  <a16:creationId xmlns:a16="http://schemas.microsoft.com/office/drawing/2014/main" id="{26E57554-85F5-4C81-9425-A07A193B49EE}"/>
                </a:ext>
              </a:extLst>
            </p:cNvPr>
            <p:cNvGrpSpPr/>
            <p:nvPr/>
          </p:nvGrpSpPr>
          <p:grpSpPr>
            <a:xfrm>
              <a:off x="-106248" y="2375323"/>
              <a:ext cx="698708" cy="698708"/>
              <a:chOff x="2871954" y="2189069"/>
              <a:chExt cx="698708" cy="698708"/>
            </a:xfrm>
          </p:grpSpPr>
          <p:sp>
            <p:nvSpPr>
              <p:cNvPr id="25" name="Oval 36">
                <a:extLst>
                  <a:ext uri="{FF2B5EF4-FFF2-40B4-BE49-F238E27FC236}">
                    <a16:creationId xmlns:a16="http://schemas.microsoft.com/office/drawing/2014/main" id="{8BD2F902-3974-4C6D-A856-32C700EFFDC2}"/>
                  </a:ext>
                </a:extLst>
              </p:cNvPr>
              <p:cNvSpPr>
                <a:spLocks noChangeAspect="1"/>
              </p:cNvSpPr>
              <p:nvPr/>
            </p:nvSpPr>
            <p:spPr bwMode="gray">
              <a:xfrm>
                <a:off x="2871954" y="2189069"/>
                <a:ext cx="698708" cy="698708"/>
              </a:xfrm>
              <a:prstGeom prst="ellipse">
                <a:avLst/>
              </a:prstGeom>
              <a:solidFill>
                <a:schemeClr val="bg1"/>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8032">
                  <a:defRPr/>
                </a:pPr>
                <a:endParaRPr lang="it-IT" sz="1000" b="1" dirty="0">
                  <a:solidFill>
                    <a:srgbClr val="FFFFFF"/>
                  </a:solidFill>
                  <a:latin typeface="Arial"/>
                </a:endParaRPr>
              </a:p>
            </p:txBody>
          </p:sp>
          <p:pic>
            <p:nvPicPr>
              <p:cNvPr id="38" name="Immagine 37">
                <a:extLst>
                  <a:ext uri="{FF2B5EF4-FFF2-40B4-BE49-F238E27FC236}">
                    <a16:creationId xmlns:a16="http://schemas.microsoft.com/office/drawing/2014/main" id="{40B15330-EA1D-43F0-9869-F723C2C828F6}"/>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2895788" y="2405130"/>
                <a:ext cx="616109" cy="302650"/>
              </a:xfrm>
              <a:prstGeom prst="rect">
                <a:avLst/>
              </a:prstGeom>
            </p:spPr>
          </p:pic>
        </p:grpSp>
        <p:grpSp>
          <p:nvGrpSpPr>
            <p:cNvPr id="51" name="Gruppo 50">
              <a:extLst>
                <a:ext uri="{FF2B5EF4-FFF2-40B4-BE49-F238E27FC236}">
                  <a16:creationId xmlns:a16="http://schemas.microsoft.com/office/drawing/2014/main" id="{579474AD-F281-46BB-849D-35F58063E7C0}"/>
                </a:ext>
              </a:extLst>
            </p:cNvPr>
            <p:cNvGrpSpPr/>
            <p:nvPr/>
          </p:nvGrpSpPr>
          <p:grpSpPr>
            <a:xfrm>
              <a:off x="32440" y="1450501"/>
              <a:ext cx="789822" cy="698708"/>
              <a:chOff x="2986725" y="1465109"/>
              <a:chExt cx="789822" cy="698708"/>
            </a:xfrm>
          </p:grpSpPr>
          <p:sp>
            <p:nvSpPr>
              <p:cNvPr id="22" name="Oval 36">
                <a:extLst>
                  <a:ext uri="{FF2B5EF4-FFF2-40B4-BE49-F238E27FC236}">
                    <a16:creationId xmlns:a16="http://schemas.microsoft.com/office/drawing/2014/main" id="{C71ECE61-BFED-4745-9368-376332E824B3}"/>
                  </a:ext>
                </a:extLst>
              </p:cNvPr>
              <p:cNvSpPr>
                <a:spLocks noChangeAspect="1"/>
              </p:cNvSpPr>
              <p:nvPr/>
            </p:nvSpPr>
            <p:spPr bwMode="gray">
              <a:xfrm>
                <a:off x="3077840" y="1465109"/>
                <a:ext cx="698707" cy="698708"/>
              </a:xfrm>
              <a:prstGeom prst="ellipse">
                <a:avLst/>
              </a:prstGeom>
              <a:solidFill>
                <a:schemeClr val="bg1"/>
              </a:solid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08032">
                  <a:defRPr/>
                </a:pPr>
                <a:endParaRPr lang="it-IT" sz="1000" b="1" dirty="0">
                  <a:solidFill>
                    <a:srgbClr val="FFFFFF"/>
                  </a:solidFill>
                  <a:latin typeface="Arial"/>
                </a:endParaRPr>
              </a:p>
            </p:txBody>
          </p:sp>
          <p:pic>
            <p:nvPicPr>
              <p:cNvPr id="40" name="Immagine 39">
                <a:extLst>
                  <a:ext uri="{FF2B5EF4-FFF2-40B4-BE49-F238E27FC236}">
                    <a16:creationId xmlns:a16="http://schemas.microsoft.com/office/drawing/2014/main" id="{1812A61A-2E81-4B1E-94CF-E4EA6636C3E5}"/>
                  </a:ext>
                </a:extLst>
              </p:cNvPr>
              <p:cNvPicPr>
                <a:picLocks noChangeAspect="1"/>
              </p:cNvPicPr>
              <p:nvPr/>
            </p:nvPicPr>
            <p:blipFill>
              <a:blip r:embed="rId14"/>
              <a:stretch>
                <a:fillRect/>
              </a:stretch>
            </p:blipFill>
            <p:spPr>
              <a:xfrm>
                <a:off x="3335107" y="1806851"/>
                <a:ext cx="388140" cy="313098"/>
              </a:xfrm>
              <a:prstGeom prst="rect">
                <a:avLst/>
              </a:prstGeom>
            </p:spPr>
          </p:pic>
          <p:pic>
            <p:nvPicPr>
              <p:cNvPr id="42" name="Immagine 41">
                <a:extLst>
                  <a:ext uri="{FF2B5EF4-FFF2-40B4-BE49-F238E27FC236}">
                    <a16:creationId xmlns:a16="http://schemas.microsoft.com/office/drawing/2014/main" id="{A868B219-CB6E-4FF7-A38A-251108DB60F8}"/>
                  </a:ext>
                </a:extLst>
              </p:cNvPr>
              <p:cNvPicPr>
                <a:picLocks noChangeAspect="1"/>
              </p:cNvPicPr>
              <p:nvPr/>
            </p:nvPicPr>
            <p:blipFill>
              <a:blip r:embed="rId15">
                <a:clrChange>
                  <a:clrFrom>
                    <a:srgbClr val="FFFEFD"/>
                  </a:clrFrom>
                  <a:clrTo>
                    <a:srgbClr val="FFFEFD">
                      <a:alpha val="0"/>
                    </a:srgbClr>
                  </a:clrTo>
                </a:clrChange>
              </a:blip>
              <a:stretch>
                <a:fillRect/>
              </a:stretch>
            </p:blipFill>
            <p:spPr>
              <a:xfrm>
                <a:off x="2986725" y="1480211"/>
                <a:ext cx="706524" cy="353263"/>
              </a:xfrm>
              <a:prstGeom prst="rect">
                <a:avLst/>
              </a:prstGeom>
            </p:spPr>
          </p:pic>
        </p:grpSp>
        <p:sp>
          <p:nvSpPr>
            <p:cNvPr id="44" name="Rettangolo 43">
              <a:extLst>
                <a:ext uri="{FF2B5EF4-FFF2-40B4-BE49-F238E27FC236}">
                  <a16:creationId xmlns:a16="http://schemas.microsoft.com/office/drawing/2014/main" id="{C20A99DF-4768-46B6-AA17-6177CA9D0338}"/>
                </a:ext>
              </a:extLst>
            </p:cNvPr>
            <p:cNvSpPr/>
            <p:nvPr/>
          </p:nvSpPr>
          <p:spPr>
            <a:xfrm>
              <a:off x="626672" y="2105421"/>
              <a:ext cx="1538279" cy="974704"/>
            </a:xfrm>
            <a:prstGeom prst="rect">
              <a:avLst/>
            </a:prstGeom>
          </p:spPr>
          <p:txBody>
            <a:bodyPr wrap="square">
              <a:spAutoFit/>
            </a:bodyPr>
            <a:lstStyle/>
            <a:p>
              <a:pPr algn="ctr" defTabSz="685766">
                <a:tabLst>
                  <a:tab pos="107945" algn="l"/>
                </a:tabLst>
                <a:defRPr/>
              </a:pPr>
              <a:r>
                <a:rPr lang="it-IT" sz="788" i="1" dirty="0">
                  <a:solidFill>
                    <a:srgbClr val="415064"/>
                  </a:solidFill>
                  <a:uFill>
                    <a:solidFill>
                      <a:srgbClr val="000000"/>
                    </a:solidFill>
                  </a:uFill>
                  <a:latin typeface="Arial" panose="020B0604020202020204" pitchFamily="34" charset="0"/>
                  <a:ea typeface="Arial" panose="020B0604020202020204" pitchFamily="34" charset="0"/>
                  <a:cs typeface="MinionPro-Regular"/>
                </a:rPr>
                <a:t>Giugno 2018: </a:t>
              </a:r>
            </a:p>
            <a:p>
              <a:pPr algn="ctr" defTabSz="685766">
                <a:tabLst>
                  <a:tab pos="107945" algn="l"/>
                </a:tabLst>
                <a:defRPr/>
              </a:pPr>
              <a:r>
                <a:rPr lang="it-IT" sz="788" i="1" dirty="0">
                  <a:solidFill>
                    <a:srgbClr val="415064"/>
                  </a:solidFill>
                  <a:uFill>
                    <a:solidFill>
                      <a:srgbClr val="000000"/>
                    </a:solidFill>
                  </a:uFill>
                  <a:latin typeface="Arial" panose="020B0604020202020204" pitchFamily="34" charset="0"/>
                  <a:ea typeface="Arial" panose="020B0604020202020204" pitchFamily="34" charset="0"/>
                  <a:cs typeface="MinionPro-Regular"/>
                </a:rPr>
                <a:t>le DFI dei paesi del </a:t>
              </a:r>
              <a:r>
                <a:rPr lang="it-IT" sz="788" b="1" i="1" dirty="0">
                  <a:solidFill>
                    <a:srgbClr val="415064"/>
                  </a:solidFill>
                  <a:uFill>
                    <a:solidFill>
                      <a:srgbClr val="000000"/>
                    </a:solidFill>
                  </a:uFill>
                  <a:latin typeface="Arial" panose="020B0604020202020204" pitchFamily="34" charset="0"/>
                  <a:ea typeface="Arial" panose="020B0604020202020204" pitchFamily="34" charset="0"/>
                  <a:cs typeface="MinionPro-Regular"/>
                </a:rPr>
                <a:t>G7</a:t>
              </a:r>
              <a:r>
                <a:rPr lang="it-IT" sz="788" i="1" dirty="0">
                  <a:solidFill>
                    <a:srgbClr val="415064"/>
                  </a:solidFill>
                  <a:uFill>
                    <a:solidFill>
                      <a:srgbClr val="000000"/>
                    </a:solidFill>
                  </a:uFill>
                  <a:latin typeface="Arial" panose="020B0604020202020204" pitchFamily="34" charset="0"/>
                  <a:ea typeface="Arial" panose="020B0604020202020204" pitchFamily="34" charset="0"/>
                  <a:cs typeface="MinionPro-Regular"/>
                </a:rPr>
                <a:t> lanciano l’iniziativa 2X Challenge</a:t>
              </a:r>
              <a:endParaRPr lang="it-IT" sz="825" i="1" dirty="0">
                <a:solidFill>
                  <a:srgbClr val="415064"/>
                </a:solidFill>
                <a:uFill>
                  <a:solidFill>
                    <a:srgbClr val="000000"/>
                  </a:solidFill>
                </a:uFill>
                <a:latin typeface="MinionPro-Regular"/>
                <a:ea typeface="Arial" panose="020B0604020202020204" pitchFamily="34" charset="0"/>
                <a:cs typeface="MinionPro-Regular"/>
              </a:endParaRPr>
            </a:p>
          </p:txBody>
        </p:sp>
      </p:grpSp>
      <p:grpSp>
        <p:nvGrpSpPr>
          <p:cNvPr id="11" name="Gruppo 10">
            <a:extLst>
              <a:ext uri="{FF2B5EF4-FFF2-40B4-BE49-F238E27FC236}">
                <a16:creationId xmlns:a16="http://schemas.microsoft.com/office/drawing/2014/main" id="{4B139BB1-8D85-4975-94C3-AC357EB407CC}"/>
              </a:ext>
            </a:extLst>
          </p:cNvPr>
          <p:cNvGrpSpPr/>
          <p:nvPr/>
        </p:nvGrpSpPr>
        <p:grpSpPr>
          <a:xfrm>
            <a:off x="5299020" y="1871005"/>
            <a:ext cx="3539237" cy="325083"/>
            <a:chOff x="7295681" y="1577454"/>
            <a:chExt cx="4534135" cy="433443"/>
          </a:xfrm>
        </p:grpSpPr>
        <p:sp>
          <p:nvSpPr>
            <p:cNvPr id="54" name="Rettangolo con angoli arrotondati 53">
              <a:extLst>
                <a:ext uri="{FF2B5EF4-FFF2-40B4-BE49-F238E27FC236}">
                  <a16:creationId xmlns:a16="http://schemas.microsoft.com/office/drawing/2014/main" id="{22630213-EEBC-4A1C-8FD4-A4BE00DC56E2}"/>
                </a:ext>
              </a:extLst>
            </p:cNvPr>
            <p:cNvSpPr/>
            <p:nvPr/>
          </p:nvSpPr>
          <p:spPr>
            <a:xfrm>
              <a:off x="7560437" y="1577454"/>
              <a:ext cx="4269379" cy="433443"/>
            </a:xfrm>
            <a:prstGeom prst="round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36000" bIns="36000" rtlCol="0" anchor="ctr"/>
            <a:lstStyle/>
            <a:p>
              <a:pPr algn="ctr" defTabSz="685766">
                <a:defRPr/>
              </a:pPr>
              <a:r>
                <a:rPr lang="it-IT" sz="800" b="1" dirty="0">
                  <a:solidFill>
                    <a:srgbClr val="415364"/>
                  </a:solidFill>
                  <a:latin typeface="Arial" panose="020B0604020202020204"/>
                </a:rPr>
                <a:t>Facilitare l’accesso al credito per l’imprenditoria femminile</a:t>
              </a:r>
            </a:p>
          </p:txBody>
        </p:sp>
        <p:sp>
          <p:nvSpPr>
            <p:cNvPr id="55" name="Connettore 54">
              <a:extLst>
                <a:ext uri="{FF2B5EF4-FFF2-40B4-BE49-F238E27FC236}">
                  <a16:creationId xmlns:a16="http://schemas.microsoft.com/office/drawing/2014/main" id="{23E8FB57-36D8-4C84-80B3-D37FFC8CA60F}"/>
                </a:ext>
              </a:extLst>
            </p:cNvPr>
            <p:cNvSpPr>
              <a:spLocks noChangeAspect="1"/>
            </p:cNvSpPr>
            <p:nvPr/>
          </p:nvSpPr>
          <p:spPr>
            <a:xfrm>
              <a:off x="7295681" y="1584991"/>
              <a:ext cx="389929" cy="389946"/>
            </a:xfrm>
            <a:prstGeom prst="flowChartConnector">
              <a:avLst/>
            </a:prstGeom>
            <a:solidFill>
              <a:schemeClr val="bg1"/>
            </a:solidFill>
            <a:ln w="28575" cap="flat" cmpd="sng" algn="ctr">
              <a:solidFill>
                <a:schemeClr val="accent4"/>
              </a:solidFill>
              <a:prstDash val="solid"/>
            </a:ln>
            <a:effectLst>
              <a:outerShdw blurRad="50800" dist="38100" dir="2700000" sx="102000" sy="102000" algn="tl" rotWithShape="0">
                <a:prstClr val="black">
                  <a:alpha val="25000"/>
                </a:prstClr>
              </a:outerShdw>
            </a:effectLst>
          </p:spPr>
          <p:txBody>
            <a:bodyPr lIns="0" tIns="0" rIns="0" bIns="0" rtlCol="0" anchor="ctr"/>
            <a:lstStyle/>
            <a:p>
              <a:pPr algn="ctr" defTabSz="457178">
                <a:defRPr/>
              </a:pPr>
              <a:r>
                <a:rPr lang="it-IT" sz="1200" b="1" kern="0" dirty="0">
                  <a:solidFill>
                    <a:srgbClr val="415364"/>
                  </a:solidFill>
                  <a:latin typeface="Arial"/>
                </a:rPr>
                <a:t>1</a:t>
              </a:r>
            </a:p>
          </p:txBody>
        </p:sp>
      </p:grpSp>
      <p:grpSp>
        <p:nvGrpSpPr>
          <p:cNvPr id="5" name="Gruppo 4">
            <a:extLst>
              <a:ext uri="{FF2B5EF4-FFF2-40B4-BE49-F238E27FC236}">
                <a16:creationId xmlns:a16="http://schemas.microsoft.com/office/drawing/2014/main" id="{0592059F-76F7-4468-8131-534F0F9E7177}"/>
              </a:ext>
            </a:extLst>
          </p:cNvPr>
          <p:cNvGrpSpPr/>
          <p:nvPr/>
        </p:nvGrpSpPr>
        <p:grpSpPr>
          <a:xfrm>
            <a:off x="5299879" y="2334710"/>
            <a:ext cx="3538378" cy="307303"/>
            <a:chOff x="7296827" y="2467034"/>
            <a:chExt cx="4532990" cy="409737"/>
          </a:xfrm>
        </p:grpSpPr>
        <p:sp>
          <p:nvSpPr>
            <p:cNvPr id="56" name="Rettangolo con angoli arrotondati 55">
              <a:extLst>
                <a:ext uri="{FF2B5EF4-FFF2-40B4-BE49-F238E27FC236}">
                  <a16:creationId xmlns:a16="http://schemas.microsoft.com/office/drawing/2014/main" id="{618A8DB5-D863-47CB-B079-6C1DA9C210B9}"/>
                </a:ext>
              </a:extLst>
            </p:cNvPr>
            <p:cNvSpPr/>
            <p:nvPr/>
          </p:nvSpPr>
          <p:spPr>
            <a:xfrm>
              <a:off x="7560438" y="2468098"/>
              <a:ext cx="4269379" cy="408673"/>
            </a:xfrm>
            <a:prstGeom prst="round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80000" tIns="36000" bIns="36000" rtlCol="0" anchor="ctr"/>
            <a:lstStyle/>
            <a:p>
              <a:pPr algn="ctr" defTabSz="685766">
                <a:defRPr/>
              </a:pPr>
              <a:r>
                <a:rPr lang="it-IT" sz="800" b="1" dirty="0">
                  <a:solidFill>
                    <a:srgbClr val="415364"/>
                  </a:solidFill>
                  <a:latin typeface="Arial" panose="020B0604020202020204"/>
                </a:rPr>
                <a:t>Garantire alle donne occupazione di qualità</a:t>
              </a:r>
            </a:p>
          </p:txBody>
        </p:sp>
        <p:sp>
          <p:nvSpPr>
            <p:cNvPr id="57" name="Connettore 56">
              <a:extLst>
                <a:ext uri="{FF2B5EF4-FFF2-40B4-BE49-F238E27FC236}">
                  <a16:creationId xmlns:a16="http://schemas.microsoft.com/office/drawing/2014/main" id="{81D59363-9BC1-41D2-8CAF-6C80AF02B0A9}"/>
                </a:ext>
              </a:extLst>
            </p:cNvPr>
            <p:cNvSpPr>
              <a:spLocks noChangeAspect="1"/>
            </p:cNvSpPr>
            <p:nvPr/>
          </p:nvSpPr>
          <p:spPr>
            <a:xfrm>
              <a:off x="7296827" y="2467034"/>
              <a:ext cx="388783" cy="388800"/>
            </a:xfrm>
            <a:prstGeom prst="flowChartConnector">
              <a:avLst/>
            </a:prstGeom>
            <a:solidFill>
              <a:schemeClr val="bg1"/>
            </a:solidFill>
            <a:ln w="28575" cap="flat" cmpd="sng" algn="ctr">
              <a:solidFill>
                <a:schemeClr val="accent4"/>
              </a:solidFill>
              <a:prstDash val="solid"/>
            </a:ln>
            <a:effectLst>
              <a:outerShdw blurRad="50800" dist="38100" dir="2700000" sx="102000" sy="102000" algn="tl" rotWithShape="0">
                <a:prstClr val="black">
                  <a:alpha val="25000"/>
                </a:prstClr>
              </a:outerShdw>
            </a:effectLst>
          </p:spPr>
          <p:txBody>
            <a:bodyPr lIns="0" tIns="0" rIns="0" bIns="0" rtlCol="0" anchor="ctr"/>
            <a:lstStyle/>
            <a:p>
              <a:pPr algn="ctr" defTabSz="457178">
                <a:defRPr/>
              </a:pPr>
              <a:r>
                <a:rPr lang="it-IT" sz="1200" b="1" kern="0" dirty="0">
                  <a:solidFill>
                    <a:srgbClr val="415364"/>
                  </a:solidFill>
                  <a:latin typeface="Arial"/>
                </a:rPr>
                <a:t>2</a:t>
              </a:r>
            </a:p>
          </p:txBody>
        </p:sp>
      </p:grpSp>
      <p:grpSp>
        <p:nvGrpSpPr>
          <p:cNvPr id="3" name="Gruppo 2">
            <a:extLst>
              <a:ext uri="{FF2B5EF4-FFF2-40B4-BE49-F238E27FC236}">
                <a16:creationId xmlns:a16="http://schemas.microsoft.com/office/drawing/2014/main" id="{AC339CA8-EF0C-4663-B0B3-0A76AF9A3D9D}"/>
              </a:ext>
            </a:extLst>
          </p:cNvPr>
          <p:cNvGrpSpPr>
            <a:grpSpLocks noChangeAspect="1"/>
          </p:cNvGrpSpPr>
          <p:nvPr/>
        </p:nvGrpSpPr>
        <p:grpSpPr>
          <a:xfrm>
            <a:off x="5299879" y="2790325"/>
            <a:ext cx="3538378" cy="355562"/>
            <a:chOff x="7296827" y="3287637"/>
            <a:chExt cx="4717837" cy="474082"/>
          </a:xfrm>
        </p:grpSpPr>
        <p:sp>
          <p:nvSpPr>
            <p:cNvPr id="58" name="Rettangolo con angoli arrotondati 57">
              <a:extLst>
                <a:ext uri="{FF2B5EF4-FFF2-40B4-BE49-F238E27FC236}">
                  <a16:creationId xmlns:a16="http://schemas.microsoft.com/office/drawing/2014/main" id="{EAE802EF-EFFE-4BBC-93E7-AD4D2CC07B30}"/>
                </a:ext>
              </a:extLst>
            </p:cNvPr>
            <p:cNvSpPr/>
            <p:nvPr/>
          </p:nvSpPr>
          <p:spPr>
            <a:xfrm>
              <a:off x="7560438" y="3287637"/>
              <a:ext cx="4454226" cy="474082"/>
            </a:xfrm>
            <a:prstGeom prst="round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80000" tIns="36000" bIns="36000" rtlCol="0" anchor="ctr"/>
            <a:lstStyle/>
            <a:p>
              <a:pPr algn="ctr" defTabSz="685766">
                <a:defRPr/>
              </a:pPr>
              <a:r>
                <a:rPr lang="it-IT" sz="800" b="1" dirty="0">
                  <a:solidFill>
                    <a:srgbClr val="415364"/>
                  </a:solidFill>
                  <a:latin typeface="Arial" panose="020B0604020202020204"/>
                </a:rPr>
                <a:t>Prodotti/servizi in grado di generare una maggiore inclusione e partecipazione economica femminile</a:t>
              </a:r>
            </a:p>
          </p:txBody>
        </p:sp>
        <p:sp>
          <p:nvSpPr>
            <p:cNvPr id="59" name="Connettore 58">
              <a:extLst>
                <a:ext uri="{FF2B5EF4-FFF2-40B4-BE49-F238E27FC236}">
                  <a16:creationId xmlns:a16="http://schemas.microsoft.com/office/drawing/2014/main" id="{FEC82111-11C8-4A51-8B17-62DAF055E9DC}"/>
                </a:ext>
              </a:extLst>
            </p:cNvPr>
            <p:cNvSpPr>
              <a:spLocks noChangeAspect="1"/>
            </p:cNvSpPr>
            <p:nvPr/>
          </p:nvSpPr>
          <p:spPr>
            <a:xfrm>
              <a:off x="7296827" y="3336637"/>
              <a:ext cx="388783" cy="388799"/>
            </a:xfrm>
            <a:prstGeom prst="flowChartConnector">
              <a:avLst/>
            </a:prstGeom>
            <a:solidFill>
              <a:schemeClr val="bg1"/>
            </a:solidFill>
            <a:ln w="28575" cap="flat" cmpd="sng" algn="ctr">
              <a:solidFill>
                <a:schemeClr val="accent4"/>
              </a:solidFill>
              <a:prstDash val="solid"/>
            </a:ln>
            <a:effectLst>
              <a:outerShdw blurRad="50800" dist="38100" dir="2700000" sx="102000" sy="102000" algn="tl" rotWithShape="0">
                <a:prstClr val="black">
                  <a:alpha val="25000"/>
                </a:prstClr>
              </a:outerShdw>
            </a:effectLst>
          </p:spPr>
          <p:txBody>
            <a:bodyPr lIns="0" tIns="0" rIns="0" bIns="0" rtlCol="0" anchor="ctr"/>
            <a:lstStyle/>
            <a:p>
              <a:pPr algn="ctr" defTabSz="457178">
                <a:defRPr/>
              </a:pPr>
              <a:r>
                <a:rPr lang="it-IT" sz="1200" b="1" kern="0" dirty="0">
                  <a:solidFill>
                    <a:srgbClr val="415364"/>
                  </a:solidFill>
                  <a:latin typeface="Arial"/>
                </a:rPr>
                <a:t>3</a:t>
              </a:r>
            </a:p>
          </p:txBody>
        </p:sp>
      </p:grpSp>
      <p:sp>
        <p:nvSpPr>
          <p:cNvPr id="65" name="Rettangolo con angoli arrotondati 64">
            <a:extLst>
              <a:ext uri="{FF2B5EF4-FFF2-40B4-BE49-F238E27FC236}">
                <a16:creationId xmlns:a16="http://schemas.microsoft.com/office/drawing/2014/main" id="{F50534C8-92F3-49C9-B521-C14C076AC5ED}"/>
              </a:ext>
            </a:extLst>
          </p:cNvPr>
          <p:cNvSpPr/>
          <p:nvPr/>
        </p:nvSpPr>
        <p:spPr>
          <a:xfrm>
            <a:off x="586545" y="665118"/>
            <a:ext cx="8251712" cy="590968"/>
          </a:xfrm>
          <a:prstGeom prst="round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288000" rIns="46800" rtlCol="0" anchor="ctr"/>
          <a:lstStyle/>
          <a:p>
            <a:pPr marL="171450" indent="-171450" defTabSz="685766">
              <a:spcAft>
                <a:spcPts val="300"/>
              </a:spcAft>
              <a:buFont typeface="Arial" panose="020B0604020202020204" pitchFamily="34" charset="0"/>
              <a:buChar char="•"/>
              <a:defRPr/>
            </a:pPr>
            <a:r>
              <a:rPr lang="it-IT" sz="1000" dirty="0">
                <a:solidFill>
                  <a:srgbClr val="415364"/>
                </a:solidFill>
                <a:latin typeface="Arial" panose="020B0604020202020204"/>
              </a:rPr>
              <a:t>Incoraggiare investimenti </a:t>
            </a:r>
            <a:r>
              <a:rPr lang="it-IT" sz="1000" i="1" dirty="0">
                <a:solidFill>
                  <a:srgbClr val="415064"/>
                </a:solidFill>
                <a:uFill>
                  <a:solidFill>
                    <a:srgbClr val="000000"/>
                  </a:solidFill>
                </a:uFill>
                <a:latin typeface="Arial" panose="020B0604020202020204" pitchFamily="34" charset="0"/>
                <a:ea typeface="Arial" panose="020B0604020202020204" pitchFamily="34" charset="0"/>
                <a:cs typeface="MinionPro-Regular"/>
              </a:rPr>
              <a:t>a sostegno del ruolo delle </a:t>
            </a:r>
            <a:r>
              <a:rPr lang="it-IT" sz="1000" b="1" i="1" dirty="0">
                <a:solidFill>
                  <a:srgbClr val="415064"/>
                </a:solidFill>
                <a:uFill>
                  <a:solidFill>
                    <a:srgbClr val="000000"/>
                  </a:solidFill>
                </a:uFill>
                <a:latin typeface="Arial" panose="020B0604020202020204" pitchFamily="34" charset="0"/>
                <a:ea typeface="Arial" panose="020B0604020202020204" pitchFamily="34" charset="0"/>
                <a:cs typeface="MinionPro-Regular"/>
              </a:rPr>
              <a:t>donne e dell’imprenditoria femminile </a:t>
            </a:r>
            <a:r>
              <a:rPr lang="it-IT" sz="1000" i="1" dirty="0">
                <a:solidFill>
                  <a:srgbClr val="415064"/>
                </a:solidFill>
                <a:uFill>
                  <a:solidFill>
                    <a:srgbClr val="000000"/>
                  </a:solidFill>
                </a:uFill>
                <a:latin typeface="Arial" panose="020B0604020202020204" pitchFamily="34" charset="0"/>
                <a:ea typeface="Arial" panose="020B0604020202020204" pitchFamily="34" charset="0"/>
                <a:cs typeface="MinionPro-Regular"/>
              </a:rPr>
              <a:t>nei PVS</a:t>
            </a:r>
          </a:p>
          <a:p>
            <a:pPr marL="171450" indent="-171450" defTabSz="685766">
              <a:spcAft>
                <a:spcPts val="300"/>
              </a:spcAft>
              <a:buFont typeface="Arial" panose="020B0604020202020204" pitchFamily="34" charset="0"/>
              <a:buChar char="•"/>
              <a:defRPr/>
            </a:pPr>
            <a:r>
              <a:rPr lang="it-IT" sz="1000" dirty="0">
                <a:solidFill>
                  <a:srgbClr val="415364"/>
                </a:solidFill>
                <a:latin typeface="Arial" panose="020B0604020202020204"/>
              </a:rPr>
              <a:t>Realizzare un effetto moltiplicativo in grado di </a:t>
            </a:r>
            <a:r>
              <a:rPr lang="it-IT" sz="1000" b="1" dirty="0">
                <a:solidFill>
                  <a:srgbClr val="415364"/>
                </a:solidFill>
                <a:latin typeface="Arial" panose="020B0604020202020204"/>
              </a:rPr>
              <a:t>raddoppiare (2X) i volumi </a:t>
            </a:r>
            <a:r>
              <a:rPr lang="it-IT" sz="1000" dirty="0">
                <a:solidFill>
                  <a:srgbClr val="415364"/>
                </a:solidFill>
                <a:latin typeface="Arial" panose="020B0604020202020204"/>
              </a:rPr>
              <a:t>messi a disposizione da ciascuna DFI </a:t>
            </a:r>
          </a:p>
          <a:p>
            <a:pPr marL="172800" indent="-171450" defTabSz="685766">
              <a:spcAft>
                <a:spcPts val="300"/>
              </a:spcAft>
              <a:buFont typeface="Arial" panose="020B0604020202020204" pitchFamily="34" charset="0"/>
              <a:buChar char="•"/>
              <a:defRPr/>
            </a:pPr>
            <a:r>
              <a:rPr lang="it-IT" sz="1000" dirty="0">
                <a:solidFill>
                  <a:srgbClr val="415364"/>
                </a:solidFill>
                <a:latin typeface="Arial" panose="020B0604020202020204"/>
              </a:rPr>
              <a:t>Obiettivo: mobilitare complessivamente </a:t>
            </a:r>
            <a:r>
              <a:rPr lang="it-IT" sz="1000" b="1" dirty="0">
                <a:solidFill>
                  <a:srgbClr val="415364"/>
                </a:solidFill>
                <a:latin typeface="Arial" panose="020B0604020202020204"/>
              </a:rPr>
              <a:t>$ 3 miliardi entro il 2020</a:t>
            </a:r>
            <a:endParaRPr lang="it-IT" sz="1000" dirty="0">
              <a:solidFill>
                <a:srgbClr val="415364"/>
              </a:solidFill>
              <a:latin typeface="Arial" panose="020B0604020202020204"/>
            </a:endParaRPr>
          </a:p>
        </p:txBody>
      </p:sp>
      <p:grpSp>
        <p:nvGrpSpPr>
          <p:cNvPr id="15" name="Gruppo 14">
            <a:extLst>
              <a:ext uri="{FF2B5EF4-FFF2-40B4-BE49-F238E27FC236}">
                <a16:creationId xmlns:a16="http://schemas.microsoft.com/office/drawing/2014/main" id="{0929B8C0-ED92-4AB4-8F0C-ADD43BF1BE94}"/>
              </a:ext>
            </a:extLst>
          </p:cNvPr>
          <p:cNvGrpSpPr>
            <a:grpSpLocks noChangeAspect="1"/>
          </p:cNvGrpSpPr>
          <p:nvPr/>
        </p:nvGrpSpPr>
        <p:grpSpPr>
          <a:xfrm>
            <a:off x="140677" y="622133"/>
            <a:ext cx="687713" cy="687713"/>
            <a:chOff x="238999" y="4933476"/>
            <a:chExt cx="907648" cy="907648"/>
          </a:xfrm>
        </p:grpSpPr>
        <p:sp>
          <p:nvSpPr>
            <p:cNvPr id="66" name="Connettore 65">
              <a:extLst>
                <a:ext uri="{FF2B5EF4-FFF2-40B4-BE49-F238E27FC236}">
                  <a16:creationId xmlns:a16="http://schemas.microsoft.com/office/drawing/2014/main" id="{64255265-EAA8-4B0E-8F10-56D64C1EBF24}"/>
                </a:ext>
              </a:extLst>
            </p:cNvPr>
            <p:cNvSpPr>
              <a:spLocks noChangeAspect="1"/>
            </p:cNvSpPr>
            <p:nvPr/>
          </p:nvSpPr>
          <p:spPr>
            <a:xfrm>
              <a:off x="238999" y="4933476"/>
              <a:ext cx="907648" cy="907648"/>
            </a:xfrm>
            <a:prstGeom prst="flowChartConnector">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it-IT" sz="1013">
                <a:solidFill>
                  <a:srgbClr val="FFFEFD"/>
                </a:solidFill>
                <a:latin typeface="Arial" panose="020B0604020202020204"/>
              </a:endParaRPr>
            </a:p>
          </p:txBody>
        </p:sp>
        <p:grpSp>
          <p:nvGrpSpPr>
            <p:cNvPr id="68" name="Gruppieren 95">
              <a:extLst>
                <a:ext uri="{FF2B5EF4-FFF2-40B4-BE49-F238E27FC236}">
                  <a16:creationId xmlns:a16="http://schemas.microsoft.com/office/drawing/2014/main" id="{D24CD6B8-9307-4937-8836-BFD9AD516C7E}"/>
                </a:ext>
              </a:extLst>
            </p:cNvPr>
            <p:cNvGrpSpPr>
              <a:grpSpLocks noChangeAspect="1"/>
            </p:cNvGrpSpPr>
            <p:nvPr/>
          </p:nvGrpSpPr>
          <p:grpSpPr>
            <a:xfrm>
              <a:off x="403752" y="5113076"/>
              <a:ext cx="578145" cy="532144"/>
              <a:chOff x="4489450" y="1100138"/>
              <a:chExt cx="5826125" cy="5362575"/>
            </a:xfrm>
            <a:solidFill>
              <a:schemeClr val="tx1"/>
            </a:solidFill>
          </p:grpSpPr>
          <p:sp>
            <p:nvSpPr>
              <p:cNvPr id="69" name="Freeform 57">
                <a:extLst>
                  <a:ext uri="{FF2B5EF4-FFF2-40B4-BE49-F238E27FC236}">
                    <a16:creationId xmlns:a16="http://schemas.microsoft.com/office/drawing/2014/main" id="{29CB69EE-B2A9-47C7-BCD9-2592C02D435C}"/>
                  </a:ext>
                </a:extLst>
              </p:cNvPr>
              <p:cNvSpPr>
                <a:spLocks/>
              </p:cNvSpPr>
              <p:nvPr/>
            </p:nvSpPr>
            <p:spPr bwMode="auto">
              <a:xfrm>
                <a:off x="8778875" y="1484313"/>
                <a:ext cx="654050" cy="876300"/>
              </a:xfrm>
              <a:custGeom>
                <a:avLst/>
                <a:gdLst>
                  <a:gd name="T0" fmla="*/ 82 w 412"/>
                  <a:gd name="T1" fmla="*/ 460 h 552"/>
                  <a:gd name="T2" fmla="*/ 114 w 412"/>
                  <a:gd name="T3" fmla="*/ 502 h 552"/>
                  <a:gd name="T4" fmla="*/ 140 w 412"/>
                  <a:gd name="T5" fmla="*/ 524 h 552"/>
                  <a:gd name="T6" fmla="*/ 170 w 412"/>
                  <a:gd name="T7" fmla="*/ 540 h 552"/>
                  <a:gd name="T8" fmla="*/ 222 w 412"/>
                  <a:gd name="T9" fmla="*/ 552 h 552"/>
                  <a:gd name="T10" fmla="*/ 272 w 412"/>
                  <a:gd name="T11" fmla="*/ 550 h 552"/>
                  <a:gd name="T12" fmla="*/ 302 w 412"/>
                  <a:gd name="T13" fmla="*/ 544 h 552"/>
                  <a:gd name="T14" fmla="*/ 348 w 412"/>
                  <a:gd name="T15" fmla="*/ 520 h 552"/>
                  <a:gd name="T16" fmla="*/ 384 w 412"/>
                  <a:gd name="T17" fmla="*/ 482 h 552"/>
                  <a:gd name="T18" fmla="*/ 328 w 412"/>
                  <a:gd name="T19" fmla="*/ 394 h 552"/>
                  <a:gd name="T20" fmla="*/ 310 w 412"/>
                  <a:gd name="T21" fmla="*/ 426 h 552"/>
                  <a:gd name="T22" fmla="*/ 292 w 412"/>
                  <a:gd name="T23" fmla="*/ 448 h 552"/>
                  <a:gd name="T24" fmla="*/ 270 w 412"/>
                  <a:gd name="T25" fmla="*/ 460 h 552"/>
                  <a:gd name="T26" fmla="*/ 242 w 412"/>
                  <a:gd name="T27" fmla="*/ 464 h 552"/>
                  <a:gd name="T28" fmla="*/ 216 w 412"/>
                  <a:gd name="T29" fmla="*/ 460 h 552"/>
                  <a:gd name="T30" fmla="*/ 190 w 412"/>
                  <a:gd name="T31" fmla="*/ 444 h 552"/>
                  <a:gd name="T32" fmla="*/ 170 w 412"/>
                  <a:gd name="T33" fmla="*/ 412 h 552"/>
                  <a:gd name="T34" fmla="*/ 286 w 412"/>
                  <a:gd name="T35" fmla="*/ 364 h 552"/>
                  <a:gd name="T36" fmla="*/ 150 w 412"/>
                  <a:gd name="T37" fmla="*/ 300 h 552"/>
                  <a:gd name="T38" fmla="*/ 150 w 412"/>
                  <a:gd name="T39" fmla="*/ 276 h 552"/>
                  <a:gd name="T40" fmla="*/ 150 w 412"/>
                  <a:gd name="T41" fmla="*/ 264 h 552"/>
                  <a:gd name="T42" fmla="*/ 286 w 412"/>
                  <a:gd name="T43" fmla="*/ 190 h 552"/>
                  <a:gd name="T44" fmla="*/ 160 w 412"/>
                  <a:gd name="T45" fmla="*/ 164 h 552"/>
                  <a:gd name="T46" fmla="*/ 176 w 412"/>
                  <a:gd name="T47" fmla="*/ 124 h 552"/>
                  <a:gd name="T48" fmla="*/ 198 w 412"/>
                  <a:gd name="T49" fmla="*/ 100 h 552"/>
                  <a:gd name="T50" fmla="*/ 226 w 412"/>
                  <a:gd name="T51" fmla="*/ 90 h 552"/>
                  <a:gd name="T52" fmla="*/ 256 w 412"/>
                  <a:gd name="T53" fmla="*/ 88 h 552"/>
                  <a:gd name="T54" fmla="*/ 280 w 412"/>
                  <a:gd name="T55" fmla="*/ 96 h 552"/>
                  <a:gd name="T56" fmla="*/ 300 w 412"/>
                  <a:gd name="T57" fmla="*/ 112 h 552"/>
                  <a:gd name="T58" fmla="*/ 316 w 412"/>
                  <a:gd name="T59" fmla="*/ 140 h 552"/>
                  <a:gd name="T60" fmla="*/ 412 w 412"/>
                  <a:gd name="T61" fmla="*/ 120 h 552"/>
                  <a:gd name="T62" fmla="*/ 384 w 412"/>
                  <a:gd name="T63" fmla="*/ 70 h 552"/>
                  <a:gd name="T64" fmla="*/ 350 w 412"/>
                  <a:gd name="T65" fmla="*/ 32 h 552"/>
                  <a:gd name="T66" fmla="*/ 304 w 412"/>
                  <a:gd name="T67" fmla="*/ 8 h 552"/>
                  <a:gd name="T68" fmla="*/ 244 w 412"/>
                  <a:gd name="T69" fmla="*/ 0 h 552"/>
                  <a:gd name="T70" fmla="*/ 206 w 412"/>
                  <a:gd name="T71" fmla="*/ 4 h 552"/>
                  <a:gd name="T72" fmla="*/ 158 w 412"/>
                  <a:gd name="T73" fmla="*/ 18 h 552"/>
                  <a:gd name="T74" fmla="*/ 116 w 412"/>
                  <a:gd name="T75" fmla="*/ 48 h 552"/>
                  <a:gd name="T76" fmla="*/ 94 w 412"/>
                  <a:gd name="T77" fmla="*/ 74 h 552"/>
                  <a:gd name="T78" fmla="*/ 68 w 412"/>
                  <a:gd name="T79" fmla="*/ 126 h 552"/>
                  <a:gd name="T80" fmla="*/ 50 w 412"/>
                  <a:gd name="T81" fmla="*/ 190 h 552"/>
                  <a:gd name="T82" fmla="*/ 44 w 412"/>
                  <a:gd name="T83" fmla="*/ 252 h 552"/>
                  <a:gd name="T84" fmla="*/ 44 w 412"/>
                  <a:gd name="T85" fmla="*/ 276 h 552"/>
                  <a:gd name="T86" fmla="*/ 0 w 412"/>
                  <a:gd name="T87" fmla="*/ 364 h 552"/>
                  <a:gd name="T88" fmla="*/ 56 w 412"/>
                  <a:gd name="T89" fmla="*/ 386 h 552"/>
                  <a:gd name="T90" fmla="*/ 74 w 412"/>
                  <a:gd name="T91" fmla="*/ 444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2" h="552">
                    <a:moveTo>
                      <a:pt x="74" y="444"/>
                    </a:moveTo>
                    <a:lnTo>
                      <a:pt x="74" y="444"/>
                    </a:lnTo>
                    <a:lnTo>
                      <a:pt x="82" y="460"/>
                    </a:lnTo>
                    <a:lnTo>
                      <a:pt x="92" y="476"/>
                    </a:lnTo>
                    <a:lnTo>
                      <a:pt x="102" y="490"/>
                    </a:lnTo>
                    <a:lnTo>
                      <a:pt x="114" y="502"/>
                    </a:lnTo>
                    <a:lnTo>
                      <a:pt x="114" y="502"/>
                    </a:lnTo>
                    <a:lnTo>
                      <a:pt x="126" y="514"/>
                    </a:lnTo>
                    <a:lnTo>
                      <a:pt x="140" y="524"/>
                    </a:lnTo>
                    <a:lnTo>
                      <a:pt x="154" y="532"/>
                    </a:lnTo>
                    <a:lnTo>
                      <a:pt x="170" y="540"/>
                    </a:lnTo>
                    <a:lnTo>
                      <a:pt x="170" y="540"/>
                    </a:lnTo>
                    <a:lnTo>
                      <a:pt x="186" y="544"/>
                    </a:lnTo>
                    <a:lnTo>
                      <a:pt x="202" y="548"/>
                    </a:lnTo>
                    <a:lnTo>
                      <a:pt x="222" y="552"/>
                    </a:lnTo>
                    <a:lnTo>
                      <a:pt x="240" y="552"/>
                    </a:lnTo>
                    <a:lnTo>
                      <a:pt x="240" y="552"/>
                    </a:lnTo>
                    <a:lnTo>
                      <a:pt x="272" y="550"/>
                    </a:lnTo>
                    <a:lnTo>
                      <a:pt x="288" y="548"/>
                    </a:lnTo>
                    <a:lnTo>
                      <a:pt x="302" y="544"/>
                    </a:lnTo>
                    <a:lnTo>
                      <a:pt x="302" y="544"/>
                    </a:lnTo>
                    <a:lnTo>
                      <a:pt x="326" y="532"/>
                    </a:lnTo>
                    <a:lnTo>
                      <a:pt x="348" y="520"/>
                    </a:lnTo>
                    <a:lnTo>
                      <a:pt x="348" y="520"/>
                    </a:lnTo>
                    <a:lnTo>
                      <a:pt x="368" y="502"/>
                    </a:lnTo>
                    <a:lnTo>
                      <a:pt x="384" y="482"/>
                    </a:lnTo>
                    <a:lnTo>
                      <a:pt x="384" y="482"/>
                    </a:lnTo>
                    <a:lnTo>
                      <a:pt x="398" y="460"/>
                    </a:lnTo>
                    <a:lnTo>
                      <a:pt x="412" y="438"/>
                    </a:lnTo>
                    <a:lnTo>
                      <a:pt x="328" y="394"/>
                    </a:lnTo>
                    <a:lnTo>
                      <a:pt x="328" y="394"/>
                    </a:lnTo>
                    <a:lnTo>
                      <a:pt x="310" y="426"/>
                    </a:lnTo>
                    <a:lnTo>
                      <a:pt x="310" y="426"/>
                    </a:lnTo>
                    <a:lnTo>
                      <a:pt x="300" y="438"/>
                    </a:lnTo>
                    <a:lnTo>
                      <a:pt x="292" y="448"/>
                    </a:lnTo>
                    <a:lnTo>
                      <a:pt x="292" y="448"/>
                    </a:lnTo>
                    <a:lnTo>
                      <a:pt x="280" y="454"/>
                    </a:lnTo>
                    <a:lnTo>
                      <a:pt x="270" y="460"/>
                    </a:lnTo>
                    <a:lnTo>
                      <a:pt x="270" y="460"/>
                    </a:lnTo>
                    <a:lnTo>
                      <a:pt x="256" y="462"/>
                    </a:lnTo>
                    <a:lnTo>
                      <a:pt x="242" y="464"/>
                    </a:lnTo>
                    <a:lnTo>
                      <a:pt x="242" y="464"/>
                    </a:lnTo>
                    <a:lnTo>
                      <a:pt x="228" y="462"/>
                    </a:lnTo>
                    <a:lnTo>
                      <a:pt x="216" y="460"/>
                    </a:lnTo>
                    <a:lnTo>
                      <a:pt x="216" y="460"/>
                    </a:lnTo>
                    <a:lnTo>
                      <a:pt x="202" y="454"/>
                    </a:lnTo>
                    <a:lnTo>
                      <a:pt x="190" y="444"/>
                    </a:lnTo>
                    <a:lnTo>
                      <a:pt x="190" y="444"/>
                    </a:lnTo>
                    <a:lnTo>
                      <a:pt x="178" y="430"/>
                    </a:lnTo>
                    <a:lnTo>
                      <a:pt x="170" y="412"/>
                    </a:lnTo>
                    <a:lnTo>
                      <a:pt x="170" y="412"/>
                    </a:lnTo>
                    <a:lnTo>
                      <a:pt x="160" y="390"/>
                    </a:lnTo>
                    <a:lnTo>
                      <a:pt x="156" y="364"/>
                    </a:lnTo>
                    <a:lnTo>
                      <a:pt x="286" y="364"/>
                    </a:lnTo>
                    <a:lnTo>
                      <a:pt x="286" y="300"/>
                    </a:lnTo>
                    <a:lnTo>
                      <a:pt x="150" y="300"/>
                    </a:lnTo>
                    <a:lnTo>
                      <a:pt x="150" y="300"/>
                    </a:lnTo>
                    <a:lnTo>
                      <a:pt x="150" y="288"/>
                    </a:lnTo>
                    <a:lnTo>
                      <a:pt x="150" y="288"/>
                    </a:lnTo>
                    <a:lnTo>
                      <a:pt x="150" y="276"/>
                    </a:lnTo>
                    <a:lnTo>
                      <a:pt x="150" y="276"/>
                    </a:lnTo>
                    <a:lnTo>
                      <a:pt x="150" y="264"/>
                    </a:lnTo>
                    <a:lnTo>
                      <a:pt x="150" y="264"/>
                    </a:lnTo>
                    <a:lnTo>
                      <a:pt x="150" y="252"/>
                    </a:lnTo>
                    <a:lnTo>
                      <a:pt x="286" y="252"/>
                    </a:lnTo>
                    <a:lnTo>
                      <a:pt x="286" y="190"/>
                    </a:lnTo>
                    <a:lnTo>
                      <a:pt x="156" y="190"/>
                    </a:lnTo>
                    <a:lnTo>
                      <a:pt x="156" y="190"/>
                    </a:lnTo>
                    <a:lnTo>
                      <a:pt x="160" y="164"/>
                    </a:lnTo>
                    <a:lnTo>
                      <a:pt x="168" y="142"/>
                    </a:lnTo>
                    <a:lnTo>
                      <a:pt x="168" y="142"/>
                    </a:lnTo>
                    <a:lnTo>
                      <a:pt x="176" y="124"/>
                    </a:lnTo>
                    <a:lnTo>
                      <a:pt x="186" y="110"/>
                    </a:lnTo>
                    <a:lnTo>
                      <a:pt x="186" y="110"/>
                    </a:lnTo>
                    <a:lnTo>
                      <a:pt x="198" y="100"/>
                    </a:lnTo>
                    <a:lnTo>
                      <a:pt x="212" y="94"/>
                    </a:lnTo>
                    <a:lnTo>
                      <a:pt x="212" y="94"/>
                    </a:lnTo>
                    <a:lnTo>
                      <a:pt x="226" y="90"/>
                    </a:lnTo>
                    <a:lnTo>
                      <a:pt x="240" y="88"/>
                    </a:lnTo>
                    <a:lnTo>
                      <a:pt x="240" y="88"/>
                    </a:lnTo>
                    <a:lnTo>
                      <a:pt x="256" y="88"/>
                    </a:lnTo>
                    <a:lnTo>
                      <a:pt x="268" y="92"/>
                    </a:lnTo>
                    <a:lnTo>
                      <a:pt x="268" y="92"/>
                    </a:lnTo>
                    <a:lnTo>
                      <a:pt x="280" y="96"/>
                    </a:lnTo>
                    <a:lnTo>
                      <a:pt x="290" y="102"/>
                    </a:lnTo>
                    <a:lnTo>
                      <a:pt x="290" y="102"/>
                    </a:lnTo>
                    <a:lnTo>
                      <a:pt x="300" y="112"/>
                    </a:lnTo>
                    <a:lnTo>
                      <a:pt x="308" y="126"/>
                    </a:lnTo>
                    <a:lnTo>
                      <a:pt x="308" y="126"/>
                    </a:lnTo>
                    <a:lnTo>
                      <a:pt x="316" y="140"/>
                    </a:lnTo>
                    <a:lnTo>
                      <a:pt x="322" y="160"/>
                    </a:lnTo>
                    <a:lnTo>
                      <a:pt x="412" y="120"/>
                    </a:lnTo>
                    <a:lnTo>
                      <a:pt x="412" y="120"/>
                    </a:lnTo>
                    <a:lnTo>
                      <a:pt x="398" y="94"/>
                    </a:lnTo>
                    <a:lnTo>
                      <a:pt x="384" y="70"/>
                    </a:lnTo>
                    <a:lnTo>
                      <a:pt x="384" y="70"/>
                    </a:lnTo>
                    <a:lnTo>
                      <a:pt x="368" y="50"/>
                    </a:lnTo>
                    <a:lnTo>
                      <a:pt x="350" y="32"/>
                    </a:lnTo>
                    <a:lnTo>
                      <a:pt x="350" y="32"/>
                    </a:lnTo>
                    <a:lnTo>
                      <a:pt x="340" y="24"/>
                    </a:lnTo>
                    <a:lnTo>
                      <a:pt x="328" y="18"/>
                    </a:lnTo>
                    <a:lnTo>
                      <a:pt x="304" y="8"/>
                    </a:lnTo>
                    <a:lnTo>
                      <a:pt x="304" y="8"/>
                    </a:lnTo>
                    <a:lnTo>
                      <a:pt x="276" y="2"/>
                    </a:lnTo>
                    <a:lnTo>
                      <a:pt x="244" y="0"/>
                    </a:lnTo>
                    <a:lnTo>
                      <a:pt x="244" y="0"/>
                    </a:lnTo>
                    <a:lnTo>
                      <a:pt x="224" y="0"/>
                    </a:lnTo>
                    <a:lnTo>
                      <a:pt x="206" y="4"/>
                    </a:lnTo>
                    <a:lnTo>
                      <a:pt x="190" y="6"/>
                    </a:lnTo>
                    <a:lnTo>
                      <a:pt x="172" y="12"/>
                    </a:lnTo>
                    <a:lnTo>
                      <a:pt x="158" y="18"/>
                    </a:lnTo>
                    <a:lnTo>
                      <a:pt x="144" y="26"/>
                    </a:lnTo>
                    <a:lnTo>
                      <a:pt x="130" y="36"/>
                    </a:lnTo>
                    <a:lnTo>
                      <a:pt x="116" y="48"/>
                    </a:lnTo>
                    <a:lnTo>
                      <a:pt x="116" y="48"/>
                    </a:lnTo>
                    <a:lnTo>
                      <a:pt x="104" y="60"/>
                    </a:lnTo>
                    <a:lnTo>
                      <a:pt x="94" y="74"/>
                    </a:lnTo>
                    <a:lnTo>
                      <a:pt x="84" y="90"/>
                    </a:lnTo>
                    <a:lnTo>
                      <a:pt x="76" y="106"/>
                    </a:lnTo>
                    <a:lnTo>
                      <a:pt x="68" y="126"/>
                    </a:lnTo>
                    <a:lnTo>
                      <a:pt x="62" y="146"/>
                    </a:lnTo>
                    <a:lnTo>
                      <a:pt x="56" y="166"/>
                    </a:lnTo>
                    <a:lnTo>
                      <a:pt x="50" y="190"/>
                    </a:lnTo>
                    <a:lnTo>
                      <a:pt x="0" y="190"/>
                    </a:lnTo>
                    <a:lnTo>
                      <a:pt x="0" y="252"/>
                    </a:lnTo>
                    <a:lnTo>
                      <a:pt x="44" y="252"/>
                    </a:lnTo>
                    <a:lnTo>
                      <a:pt x="44" y="252"/>
                    </a:lnTo>
                    <a:lnTo>
                      <a:pt x="44" y="276"/>
                    </a:lnTo>
                    <a:lnTo>
                      <a:pt x="44" y="276"/>
                    </a:lnTo>
                    <a:lnTo>
                      <a:pt x="44" y="300"/>
                    </a:lnTo>
                    <a:lnTo>
                      <a:pt x="0" y="300"/>
                    </a:lnTo>
                    <a:lnTo>
                      <a:pt x="0" y="364"/>
                    </a:lnTo>
                    <a:lnTo>
                      <a:pt x="52" y="364"/>
                    </a:lnTo>
                    <a:lnTo>
                      <a:pt x="52" y="364"/>
                    </a:lnTo>
                    <a:lnTo>
                      <a:pt x="56" y="386"/>
                    </a:lnTo>
                    <a:lnTo>
                      <a:pt x="60" y="406"/>
                    </a:lnTo>
                    <a:lnTo>
                      <a:pt x="66" y="426"/>
                    </a:lnTo>
                    <a:lnTo>
                      <a:pt x="74" y="444"/>
                    </a:lnTo>
                    <a:lnTo>
                      <a:pt x="74" y="4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201" tIns="31101" rIns="62201" bIns="31101" numCol="1" anchor="t" anchorCtr="0" compatLnSpc="1">
                <a:prstTxWarp prst="textNoShape">
                  <a:avLst/>
                </a:prstTxWarp>
              </a:bodyPr>
              <a:lstStyle/>
              <a:p>
                <a:pPr defTabSz="709451">
                  <a:defRPr/>
                </a:pPr>
                <a:endParaRPr lang="de-DE" sz="1428">
                  <a:solidFill>
                    <a:srgbClr val="000000"/>
                  </a:solidFill>
                  <a:latin typeface="Arial"/>
                </a:endParaRPr>
              </a:p>
            </p:txBody>
          </p:sp>
          <p:sp>
            <p:nvSpPr>
              <p:cNvPr id="70" name="Freeform 58">
                <a:extLst>
                  <a:ext uri="{FF2B5EF4-FFF2-40B4-BE49-F238E27FC236}">
                    <a16:creationId xmlns:a16="http://schemas.microsoft.com/office/drawing/2014/main" id="{243A7E3E-45BE-44DA-B804-AF5A6C6DC476}"/>
                  </a:ext>
                </a:extLst>
              </p:cNvPr>
              <p:cNvSpPr>
                <a:spLocks noEditPoints="1"/>
              </p:cNvSpPr>
              <p:nvPr/>
            </p:nvSpPr>
            <p:spPr bwMode="auto">
              <a:xfrm>
                <a:off x="8232775" y="1100138"/>
                <a:ext cx="1736725" cy="3133725"/>
              </a:xfrm>
              <a:custGeom>
                <a:avLst/>
                <a:gdLst>
                  <a:gd name="T0" fmla="*/ 258 w 1094"/>
                  <a:gd name="T1" fmla="*/ 1598 h 1974"/>
                  <a:gd name="T2" fmla="*/ 426 w 1094"/>
                  <a:gd name="T3" fmla="*/ 1624 h 1974"/>
                  <a:gd name="T4" fmla="*/ 564 w 1094"/>
                  <a:gd name="T5" fmla="*/ 1578 h 1974"/>
                  <a:gd name="T6" fmla="*/ 704 w 1094"/>
                  <a:gd name="T7" fmla="*/ 1434 h 1974"/>
                  <a:gd name="T8" fmla="*/ 744 w 1094"/>
                  <a:gd name="T9" fmla="*/ 1278 h 1974"/>
                  <a:gd name="T10" fmla="*/ 562 w 1094"/>
                  <a:gd name="T11" fmla="*/ 1226 h 1974"/>
                  <a:gd name="T12" fmla="*/ 408 w 1094"/>
                  <a:gd name="T13" fmla="*/ 1222 h 1974"/>
                  <a:gd name="T14" fmla="*/ 274 w 1094"/>
                  <a:gd name="T15" fmla="*/ 1268 h 1974"/>
                  <a:gd name="T16" fmla="*/ 176 w 1094"/>
                  <a:gd name="T17" fmla="*/ 1376 h 1974"/>
                  <a:gd name="T18" fmla="*/ 202 w 1094"/>
                  <a:gd name="T19" fmla="*/ 1160 h 1974"/>
                  <a:gd name="T20" fmla="*/ 280 w 1094"/>
                  <a:gd name="T21" fmla="*/ 922 h 1974"/>
                  <a:gd name="T22" fmla="*/ 460 w 1094"/>
                  <a:gd name="T23" fmla="*/ 1008 h 1974"/>
                  <a:gd name="T24" fmla="*/ 636 w 1094"/>
                  <a:gd name="T25" fmla="*/ 1020 h 1974"/>
                  <a:gd name="T26" fmla="*/ 782 w 1094"/>
                  <a:gd name="T27" fmla="*/ 982 h 1974"/>
                  <a:gd name="T28" fmla="*/ 978 w 1094"/>
                  <a:gd name="T29" fmla="*/ 836 h 1974"/>
                  <a:gd name="T30" fmla="*/ 1072 w 1094"/>
                  <a:gd name="T31" fmla="*/ 664 h 1974"/>
                  <a:gd name="T32" fmla="*/ 1094 w 1094"/>
                  <a:gd name="T33" fmla="*/ 512 h 1974"/>
                  <a:gd name="T34" fmla="*/ 1078 w 1094"/>
                  <a:gd name="T35" fmla="*/ 384 h 1974"/>
                  <a:gd name="T36" fmla="*/ 1006 w 1094"/>
                  <a:gd name="T37" fmla="*/ 226 h 1974"/>
                  <a:gd name="T38" fmla="*/ 804 w 1094"/>
                  <a:gd name="T39" fmla="*/ 52 h 1974"/>
                  <a:gd name="T40" fmla="*/ 660 w 1094"/>
                  <a:gd name="T41" fmla="*/ 6 h 1974"/>
                  <a:gd name="T42" fmla="*/ 530 w 1094"/>
                  <a:gd name="T43" fmla="*/ 4 h 1974"/>
                  <a:gd name="T44" fmla="*/ 384 w 1094"/>
                  <a:gd name="T45" fmla="*/ 42 h 1974"/>
                  <a:gd name="T46" fmla="*/ 188 w 1094"/>
                  <a:gd name="T47" fmla="*/ 186 h 1974"/>
                  <a:gd name="T48" fmla="*/ 96 w 1094"/>
                  <a:gd name="T49" fmla="*/ 360 h 1974"/>
                  <a:gd name="T50" fmla="*/ 72 w 1094"/>
                  <a:gd name="T51" fmla="*/ 512 h 1974"/>
                  <a:gd name="T52" fmla="*/ 88 w 1094"/>
                  <a:gd name="T53" fmla="*/ 640 h 1974"/>
                  <a:gd name="T54" fmla="*/ 146 w 1094"/>
                  <a:gd name="T55" fmla="*/ 778 h 1974"/>
                  <a:gd name="T56" fmla="*/ 168 w 1094"/>
                  <a:gd name="T57" fmla="*/ 950 h 1974"/>
                  <a:gd name="T58" fmla="*/ 62 w 1094"/>
                  <a:gd name="T59" fmla="*/ 1180 h 1974"/>
                  <a:gd name="T60" fmla="*/ 20 w 1094"/>
                  <a:gd name="T61" fmla="*/ 1412 h 1974"/>
                  <a:gd name="T62" fmla="*/ 208 w 1094"/>
                  <a:gd name="T63" fmla="*/ 1938 h 1974"/>
                  <a:gd name="T64" fmla="*/ 174 w 1094"/>
                  <a:gd name="T65" fmla="*/ 1544 h 1974"/>
                  <a:gd name="T66" fmla="*/ 230 w 1094"/>
                  <a:gd name="T67" fmla="*/ 1412 h 1974"/>
                  <a:gd name="T68" fmla="*/ 308 w 1094"/>
                  <a:gd name="T69" fmla="*/ 1326 h 1974"/>
                  <a:gd name="T70" fmla="*/ 418 w 1094"/>
                  <a:gd name="T71" fmla="*/ 1288 h 1974"/>
                  <a:gd name="T72" fmla="*/ 542 w 1094"/>
                  <a:gd name="T73" fmla="*/ 1290 h 1974"/>
                  <a:gd name="T74" fmla="*/ 654 w 1094"/>
                  <a:gd name="T75" fmla="*/ 1386 h 1974"/>
                  <a:gd name="T76" fmla="*/ 534 w 1094"/>
                  <a:gd name="T77" fmla="*/ 1516 h 1974"/>
                  <a:gd name="T78" fmla="*/ 420 w 1094"/>
                  <a:gd name="T79" fmla="*/ 1558 h 1974"/>
                  <a:gd name="T80" fmla="*/ 288 w 1094"/>
                  <a:gd name="T81" fmla="*/ 1538 h 1974"/>
                  <a:gd name="T82" fmla="*/ 228 w 1094"/>
                  <a:gd name="T83" fmla="*/ 1490 h 1974"/>
                  <a:gd name="T84" fmla="*/ 354 w 1094"/>
                  <a:gd name="T85" fmla="*/ 1454 h 1974"/>
                  <a:gd name="T86" fmla="*/ 416 w 1094"/>
                  <a:gd name="T87" fmla="*/ 1440 h 1974"/>
                  <a:gd name="T88" fmla="*/ 424 w 1094"/>
                  <a:gd name="T89" fmla="*/ 1408 h 1974"/>
                  <a:gd name="T90" fmla="*/ 396 w 1094"/>
                  <a:gd name="T91" fmla="*/ 1384 h 1974"/>
                  <a:gd name="T92" fmla="*/ 148 w 1094"/>
                  <a:gd name="T93" fmla="*/ 422 h 1974"/>
                  <a:gd name="T94" fmla="*/ 270 w 1094"/>
                  <a:gd name="T95" fmla="*/ 198 h 1974"/>
                  <a:gd name="T96" fmla="*/ 494 w 1094"/>
                  <a:gd name="T97" fmla="*/ 78 h 1974"/>
                  <a:gd name="T98" fmla="*/ 714 w 1094"/>
                  <a:gd name="T99" fmla="*/ 88 h 1974"/>
                  <a:gd name="T100" fmla="*/ 926 w 1094"/>
                  <a:gd name="T101" fmla="*/ 230 h 1974"/>
                  <a:gd name="T102" fmla="*/ 1024 w 1094"/>
                  <a:gd name="T103" fmla="*/ 466 h 1974"/>
                  <a:gd name="T104" fmla="*/ 992 w 1094"/>
                  <a:gd name="T105" fmla="*/ 684 h 1974"/>
                  <a:gd name="T106" fmla="*/ 832 w 1094"/>
                  <a:gd name="T107" fmla="*/ 880 h 1974"/>
                  <a:gd name="T108" fmla="*/ 584 w 1094"/>
                  <a:gd name="T109" fmla="*/ 956 h 1974"/>
                  <a:gd name="T110" fmla="*/ 372 w 1094"/>
                  <a:gd name="T111" fmla="*/ 902 h 1974"/>
                  <a:gd name="T112" fmla="*/ 192 w 1094"/>
                  <a:gd name="T113" fmla="*/ 724 h 1974"/>
                  <a:gd name="T114" fmla="*/ 140 w 1094"/>
                  <a:gd name="T115" fmla="*/ 512 h 1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94" h="1974">
                    <a:moveTo>
                      <a:pt x="174" y="1544"/>
                    </a:moveTo>
                    <a:lnTo>
                      <a:pt x="174" y="1544"/>
                    </a:lnTo>
                    <a:lnTo>
                      <a:pt x="190" y="1558"/>
                    </a:lnTo>
                    <a:lnTo>
                      <a:pt x="210" y="1572"/>
                    </a:lnTo>
                    <a:lnTo>
                      <a:pt x="232" y="1586"/>
                    </a:lnTo>
                    <a:lnTo>
                      <a:pt x="258" y="1598"/>
                    </a:lnTo>
                    <a:lnTo>
                      <a:pt x="288" y="1610"/>
                    </a:lnTo>
                    <a:lnTo>
                      <a:pt x="320" y="1618"/>
                    </a:lnTo>
                    <a:lnTo>
                      <a:pt x="354" y="1624"/>
                    </a:lnTo>
                    <a:lnTo>
                      <a:pt x="392" y="1626"/>
                    </a:lnTo>
                    <a:lnTo>
                      <a:pt x="392" y="1626"/>
                    </a:lnTo>
                    <a:lnTo>
                      <a:pt x="426" y="1624"/>
                    </a:lnTo>
                    <a:lnTo>
                      <a:pt x="462" y="1620"/>
                    </a:lnTo>
                    <a:lnTo>
                      <a:pt x="462" y="1620"/>
                    </a:lnTo>
                    <a:lnTo>
                      <a:pt x="480" y="1614"/>
                    </a:lnTo>
                    <a:lnTo>
                      <a:pt x="498" y="1610"/>
                    </a:lnTo>
                    <a:lnTo>
                      <a:pt x="532" y="1596"/>
                    </a:lnTo>
                    <a:lnTo>
                      <a:pt x="564" y="1578"/>
                    </a:lnTo>
                    <a:lnTo>
                      <a:pt x="592" y="1558"/>
                    </a:lnTo>
                    <a:lnTo>
                      <a:pt x="620" y="1534"/>
                    </a:lnTo>
                    <a:lnTo>
                      <a:pt x="644" y="1510"/>
                    </a:lnTo>
                    <a:lnTo>
                      <a:pt x="666" y="1486"/>
                    </a:lnTo>
                    <a:lnTo>
                      <a:pt x="686" y="1460"/>
                    </a:lnTo>
                    <a:lnTo>
                      <a:pt x="704" y="1434"/>
                    </a:lnTo>
                    <a:lnTo>
                      <a:pt x="718" y="1410"/>
                    </a:lnTo>
                    <a:lnTo>
                      <a:pt x="742" y="1368"/>
                    </a:lnTo>
                    <a:lnTo>
                      <a:pt x="758" y="1336"/>
                    </a:lnTo>
                    <a:lnTo>
                      <a:pt x="764" y="1322"/>
                    </a:lnTo>
                    <a:lnTo>
                      <a:pt x="776" y="1290"/>
                    </a:lnTo>
                    <a:lnTo>
                      <a:pt x="744" y="1278"/>
                    </a:lnTo>
                    <a:lnTo>
                      <a:pt x="744" y="1278"/>
                    </a:lnTo>
                    <a:lnTo>
                      <a:pt x="706" y="1264"/>
                    </a:lnTo>
                    <a:lnTo>
                      <a:pt x="668" y="1252"/>
                    </a:lnTo>
                    <a:lnTo>
                      <a:pt x="632" y="1242"/>
                    </a:lnTo>
                    <a:lnTo>
                      <a:pt x="596" y="1232"/>
                    </a:lnTo>
                    <a:lnTo>
                      <a:pt x="562" y="1226"/>
                    </a:lnTo>
                    <a:lnTo>
                      <a:pt x="528" y="1222"/>
                    </a:lnTo>
                    <a:lnTo>
                      <a:pt x="496" y="1218"/>
                    </a:lnTo>
                    <a:lnTo>
                      <a:pt x="466" y="1218"/>
                    </a:lnTo>
                    <a:lnTo>
                      <a:pt x="466" y="1218"/>
                    </a:lnTo>
                    <a:lnTo>
                      <a:pt x="436" y="1218"/>
                    </a:lnTo>
                    <a:lnTo>
                      <a:pt x="408" y="1222"/>
                    </a:lnTo>
                    <a:lnTo>
                      <a:pt x="382" y="1226"/>
                    </a:lnTo>
                    <a:lnTo>
                      <a:pt x="356" y="1232"/>
                    </a:lnTo>
                    <a:lnTo>
                      <a:pt x="334" y="1240"/>
                    </a:lnTo>
                    <a:lnTo>
                      <a:pt x="312" y="1248"/>
                    </a:lnTo>
                    <a:lnTo>
                      <a:pt x="292" y="1258"/>
                    </a:lnTo>
                    <a:lnTo>
                      <a:pt x="274" y="1268"/>
                    </a:lnTo>
                    <a:lnTo>
                      <a:pt x="258" y="1280"/>
                    </a:lnTo>
                    <a:lnTo>
                      <a:pt x="242" y="1292"/>
                    </a:lnTo>
                    <a:lnTo>
                      <a:pt x="228" y="1306"/>
                    </a:lnTo>
                    <a:lnTo>
                      <a:pt x="216" y="1320"/>
                    </a:lnTo>
                    <a:lnTo>
                      <a:pt x="194" y="1348"/>
                    </a:lnTo>
                    <a:lnTo>
                      <a:pt x="176" y="1376"/>
                    </a:lnTo>
                    <a:lnTo>
                      <a:pt x="176" y="1376"/>
                    </a:lnTo>
                    <a:lnTo>
                      <a:pt x="178" y="1328"/>
                    </a:lnTo>
                    <a:lnTo>
                      <a:pt x="182" y="1284"/>
                    </a:lnTo>
                    <a:lnTo>
                      <a:pt x="182" y="1284"/>
                    </a:lnTo>
                    <a:lnTo>
                      <a:pt x="192" y="1220"/>
                    </a:lnTo>
                    <a:lnTo>
                      <a:pt x="202" y="1160"/>
                    </a:lnTo>
                    <a:lnTo>
                      <a:pt x="216" y="1106"/>
                    </a:lnTo>
                    <a:lnTo>
                      <a:pt x="228" y="1058"/>
                    </a:lnTo>
                    <a:lnTo>
                      <a:pt x="242" y="1016"/>
                    </a:lnTo>
                    <a:lnTo>
                      <a:pt x="256" y="978"/>
                    </a:lnTo>
                    <a:lnTo>
                      <a:pt x="268" y="948"/>
                    </a:lnTo>
                    <a:lnTo>
                      <a:pt x="280" y="922"/>
                    </a:lnTo>
                    <a:lnTo>
                      <a:pt x="280" y="922"/>
                    </a:lnTo>
                    <a:lnTo>
                      <a:pt x="312" y="944"/>
                    </a:lnTo>
                    <a:lnTo>
                      <a:pt x="346" y="964"/>
                    </a:lnTo>
                    <a:lnTo>
                      <a:pt x="382" y="982"/>
                    </a:lnTo>
                    <a:lnTo>
                      <a:pt x="420" y="996"/>
                    </a:lnTo>
                    <a:lnTo>
                      <a:pt x="460" y="1008"/>
                    </a:lnTo>
                    <a:lnTo>
                      <a:pt x="500" y="1016"/>
                    </a:lnTo>
                    <a:lnTo>
                      <a:pt x="540" y="1022"/>
                    </a:lnTo>
                    <a:lnTo>
                      <a:pt x="584" y="1022"/>
                    </a:lnTo>
                    <a:lnTo>
                      <a:pt x="584" y="1022"/>
                    </a:lnTo>
                    <a:lnTo>
                      <a:pt x="610" y="1022"/>
                    </a:lnTo>
                    <a:lnTo>
                      <a:pt x="636" y="1020"/>
                    </a:lnTo>
                    <a:lnTo>
                      <a:pt x="660" y="1018"/>
                    </a:lnTo>
                    <a:lnTo>
                      <a:pt x="686" y="1012"/>
                    </a:lnTo>
                    <a:lnTo>
                      <a:pt x="710" y="1006"/>
                    </a:lnTo>
                    <a:lnTo>
                      <a:pt x="736" y="1000"/>
                    </a:lnTo>
                    <a:lnTo>
                      <a:pt x="758" y="992"/>
                    </a:lnTo>
                    <a:lnTo>
                      <a:pt x="782" y="982"/>
                    </a:lnTo>
                    <a:lnTo>
                      <a:pt x="804" y="972"/>
                    </a:lnTo>
                    <a:lnTo>
                      <a:pt x="826" y="962"/>
                    </a:lnTo>
                    <a:lnTo>
                      <a:pt x="868" y="936"/>
                    </a:lnTo>
                    <a:lnTo>
                      <a:pt x="908" y="906"/>
                    </a:lnTo>
                    <a:lnTo>
                      <a:pt x="944" y="874"/>
                    </a:lnTo>
                    <a:lnTo>
                      <a:pt x="978" y="836"/>
                    </a:lnTo>
                    <a:lnTo>
                      <a:pt x="1006" y="798"/>
                    </a:lnTo>
                    <a:lnTo>
                      <a:pt x="1032" y="756"/>
                    </a:lnTo>
                    <a:lnTo>
                      <a:pt x="1044" y="734"/>
                    </a:lnTo>
                    <a:lnTo>
                      <a:pt x="1054" y="710"/>
                    </a:lnTo>
                    <a:lnTo>
                      <a:pt x="1064" y="688"/>
                    </a:lnTo>
                    <a:lnTo>
                      <a:pt x="1072" y="664"/>
                    </a:lnTo>
                    <a:lnTo>
                      <a:pt x="1078" y="640"/>
                    </a:lnTo>
                    <a:lnTo>
                      <a:pt x="1084" y="616"/>
                    </a:lnTo>
                    <a:lnTo>
                      <a:pt x="1088" y="590"/>
                    </a:lnTo>
                    <a:lnTo>
                      <a:pt x="1092" y="564"/>
                    </a:lnTo>
                    <a:lnTo>
                      <a:pt x="1094" y="538"/>
                    </a:lnTo>
                    <a:lnTo>
                      <a:pt x="1094" y="512"/>
                    </a:lnTo>
                    <a:lnTo>
                      <a:pt x="1094" y="512"/>
                    </a:lnTo>
                    <a:lnTo>
                      <a:pt x="1094" y="486"/>
                    </a:lnTo>
                    <a:lnTo>
                      <a:pt x="1092" y="460"/>
                    </a:lnTo>
                    <a:lnTo>
                      <a:pt x="1088" y="434"/>
                    </a:lnTo>
                    <a:lnTo>
                      <a:pt x="1084" y="410"/>
                    </a:lnTo>
                    <a:lnTo>
                      <a:pt x="1078" y="384"/>
                    </a:lnTo>
                    <a:lnTo>
                      <a:pt x="1072" y="360"/>
                    </a:lnTo>
                    <a:lnTo>
                      <a:pt x="1064" y="336"/>
                    </a:lnTo>
                    <a:lnTo>
                      <a:pt x="1054" y="314"/>
                    </a:lnTo>
                    <a:lnTo>
                      <a:pt x="1044" y="290"/>
                    </a:lnTo>
                    <a:lnTo>
                      <a:pt x="1032" y="268"/>
                    </a:lnTo>
                    <a:lnTo>
                      <a:pt x="1006" y="226"/>
                    </a:lnTo>
                    <a:lnTo>
                      <a:pt x="978" y="186"/>
                    </a:lnTo>
                    <a:lnTo>
                      <a:pt x="944" y="150"/>
                    </a:lnTo>
                    <a:lnTo>
                      <a:pt x="908" y="118"/>
                    </a:lnTo>
                    <a:lnTo>
                      <a:pt x="868" y="88"/>
                    </a:lnTo>
                    <a:lnTo>
                      <a:pt x="826" y="62"/>
                    </a:lnTo>
                    <a:lnTo>
                      <a:pt x="804" y="52"/>
                    </a:lnTo>
                    <a:lnTo>
                      <a:pt x="782" y="42"/>
                    </a:lnTo>
                    <a:lnTo>
                      <a:pt x="758" y="32"/>
                    </a:lnTo>
                    <a:lnTo>
                      <a:pt x="736" y="24"/>
                    </a:lnTo>
                    <a:lnTo>
                      <a:pt x="710" y="18"/>
                    </a:lnTo>
                    <a:lnTo>
                      <a:pt x="686" y="12"/>
                    </a:lnTo>
                    <a:lnTo>
                      <a:pt x="660" y="6"/>
                    </a:lnTo>
                    <a:lnTo>
                      <a:pt x="636" y="4"/>
                    </a:lnTo>
                    <a:lnTo>
                      <a:pt x="610" y="2"/>
                    </a:lnTo>
                    <a:lnTo>
                      <a:pt x="584" y="0"/>
                    </a:lnTo>
                    <a:lnTo>
                      <a:pt x="584" y="0"/>
                    </a:lnTo>
                    <a:lnTo>
                      <a:pt x="556" y="2"/>
                    </a:lnTo>
                    <a:lnTo>
                      <a:pt x="530" y="4"/>
                    </a:lnTo>
                    <a:lnTo>
                      <a:pt x="506" y="6"/>
                    </a:lnTo>
                    <a:lnTo>
                      <a:pt x="480" y="12"/>
                    </a:lnTo>
                    <a:lnTo>
                      <a:pt x="456" y="18"/>
                    </a:lnTo>
                    <a:lnTo>
                      <a:pt x="432" y="24"/>
                    </a:lnTo>
                    <a:lnTo>
                      <a:pt x="408" y="32"/>
                    </a:lnTo>
                    <a:lnTo>
                      <a:pt x="384" y="42"/>
                    </a:lnTo>
                    <a:lnTo>
                      <a:pt x="362" y="52"/>
                    </a:lnTo>
                    <a:lnTo>
                      <a:pt x="340" y="62"/>
                    </a:lnTo>
                    <a:lnTo>
                      <a:pt x="298" y="88"/>
                    </a:lnTo>
                    <a:lnTo>
                      <a:pt x="258" y="118"/>
                    </a:lnTo>
                    <a:lnTo>
                      <a:pt x="222" y="150"/>
                    </a:lnTo>
                    <a:lnTo>
                      <a:pt x="188" y="186"/>
                    </a:lnTo>
                    <a:lnTo>
                      <a:pt x="160" y="226"/>
                    </a:lnTo>
                    <a:lnTo>
                      <a:pt x="134" y="268"/>
                    </a:lnTo>
                    <a:lnTo>
                      <a:pt x="122" y="290"/>
                    </a:lnTo>
                    <a:lnTo>
                      <a:pt x="112" y="314"/>
                    </a:lnTo>
                    <a:lnTo>
                      <a:pt x="104" y="336"/>
                    </a:lnTo>
                    <a:lnTo>
                      <a:pt x="96" y="360"/>
                    </a:lnTo>
                    <a:lnTo>
                      <a:pt x="88" y="384"/>
                    </a:lnTo>
                    <a:lnTo>
                      <a:pt x="82" y="410"/>
                    </a:lnTo>
                    <a:lnTo>
                      <a:pt x="78" y="434"/>
                    </a:lnTo>
                    <a:lnTo>
                      <a:pt x="74" y="460"/>
                    </a:lnTo>
                    <a:lnTo>
                      <a:pt x="72" y="486"/>
                    </a:lnTo>
                    <a:lnTo>
                      <a:pt x="72" y="512"/>
                    </a:lnTo>
                    <a:lnTo>
                      <a:pt x="72" y="512"/>
                    </a:lnTo>
                    <a:lnTo>
                      <a:pt x="72" y="538"/>
                    </a:lnTo>
                    <a:lnTo>
                      <a:pt x="74" y="564"/>
                    </a:lnTo>
                    <a:lnTo>
                      <a:pt x="78" y="590"/>
                    </a:lnTo>
                    <a:lnTo>
                      <a:pt x="82" y="616"/>
                    </a:lnTo>
                    <a:lnTo>
                      <a:pt x="88" y="640"/>
                    </a:lnTo>
                    <a:lnTo>
                      <a:pt x="96" y="664"/>
                    </a:lnTo>
                    <a:lnTo>
                      <a:pt x="104" y="688"/>
                    </a:lnTo>
                    <a:lnTo>
                      <a:pt x="112" y="712"/>
                    </a:lnTo>
                    <a:lnTo>
                      <a:pt x="122" y="734"/>
                    </a:lnTo>
                    <a:lnTo>
                      <a:pt x="134" y="756"/>
                    </a:lnTo>
                    <a:lnTo>
                      <a:pt x="146" y="778"/>
                    </a:lnTo>
                    <a:lnTo>
                      <a:pt x="160" y="798"/>
                    </a:lnTo>
                    <a:lnTo>
                      <a:pt x="190" y="838"/>
                    </a:lnTo>
                    <a:lnTo>
                      <a:pt x="222" y="874"/>
                    </a:lnTo>
                    <a:lnTo>
                      <a:pt x="222" y="874"/>
                    </a:lnTo>
                    <a:lnTo>
                      <a:pt x="198" y="908"/>
                    </a:lnTo>
                    <a:lnTo>
                      <a:pt x="168" y="950"/>
                    </a:lnTo>
                    <a:lnTo>
                      <a:pt x="136" y="1004"/>
                    </a:lnTo>
                    <a:lnTo>
                      <a:pt x="120" y="1034"/>
                    </a:lnTo>
                    <a:lnTo>
                      <a:pt x="104" y="1066"/>
                    </a:lnTo>
                    <a:lnTo>
                      <a:pt x="90" y="1102"/>
                    </a:lnTo>
                    <a:lnTo>
                      <a:pt x="76" y="1140"/>
                    </a:lnTo>
                    <a:lnTo>
                      <a:pt x="62" y="1180"/>
                    </a:lnTo>
                    <a:lnTo>
                      <a:pt x="50" y="1222"/>
                    </a:lnTo>
                    <a:lnTo>
                      <a:pt x="40" y="1266"/>
                    </a:lnTo>
                    <a:lnTo>
                      <a:pt x="32" y="1312"/>
                    </a:lnTo>
                    <a:lnTo>
                      <a:pt x="24" y="1360"/>
                    </a:lnTo>
                    <a:lnTo>
                      <a:pt x="20" y="1412"/>
                    </a:lnTo>
                    <a:lnTo>
                      <a:pt x="20" y="1412"/>
                    </a:lnTo>
                    <a:lnTo>
                      <a:pt x="10" y="1644"/>
                    </a:lnTo>
                    <a:lnTo>
                      <a:pt x="2" y="1822"/>
                    </a:lnTo>
                    <a:lnTo>
                      <a:pt x="0" y="1974"/>
                    </a:lnTo>
                    <a:lnTo>
                      <a:pt x="214" y="1974"/>
                    </a:lnTo>
                    <a:lnTo>
                      <a:pt x="214" y="1974"/>
                    </a:lnTo>
                    <a:lnTo>
                      <a:pt x="208" y="1938"/>
                    </a:lnTo>
                    <a:lnTo>
                      <a:pt x="196" y="1842"/>
                    </a:lnTo>
                    <a:lnTo>
                      <a:pt x="190" y="1776"/>
                    </a:lnTo>
                    <a:lnTo>
                      <a:pt x="184" y="1704"/>
                    </a:lnTo>
                    <a:lnTo>
                      <a:pt x="178" y="1626"/>
                    </a:lnTo>
                    <a:lnTo>
                      <a:pt x="174" y="1544"/>
                    </a:lnTo>
                    <a:lnTo>
                      <a:pt x="174" y="1544"/>
                    </a:lnTo>
                    <a:close/>
                    <a:moveTo>
                      <a:pt x="390" y="1384"/>
                    </a:moveTo>
                    <a:lnTo>
                      <a:pt x="390" y="1384"/>
                    </a:lnTo>
                    <a:lnTo>
                      <a:pt x="338" y="1388"/>
                    </a:lnTo>
                    <a:lnTo>
                      <a:pt x="296" y="1394"/>
                    </a:lnTo>
                    <a:lnTo>
                      <a:pt x="260" y="1402"/>
                    </a:lnTo>
                    <a:lnTo>
                      <a:pt x="230" y="1412"/>
                    </a:lnTo>
                    <a:lnTo>
                      <a:pt x="230" y="1412"/>
                    </a:lnTo>
                    <a:lnTo>
                      <a:pt x="244" y="1390"/>
                    </a:lnTo>
                    <a:lnTo>
                      <a:pt x="262" y="1368"/>
                    </a:lnTo>
                    <a:lnTo>
                      <a:pt x="282" y="1346"/>
                    </a:lnTo>
                    <a:lnTo>
                      <a:pt x="294" y="1336"/>
                    </a:lnTo>
                    <a:lnTo>
                      <a:pt x="308" y="1326"/>
                    </a:lnTo>
                    <a:lnTo>
                      <a:pt x="324" y="1318"/>
                    </a:lnTo>
                    <a:lnTo>
                      <a:pt x="340" y="1310"/>
                    </a:lnTo>
                    <a:lnTo>
                      <a:pt x="356" y="1302"/>
                    </a:lnTo>
                    <a:lnTo>
                      <a:pt x="376" y="1296"/>
                    </a:lnTo>
                    <a:lnTo>
                      <a:pt x="396" y="1292"/>
                    </a:lnTo>
                    <a:lnTo>
                      <a:pt x="418" y="1288"/>
                    </a:lnTo>
                    <a:lnTo>
                      <a:pt x="442" y="1286"/>
                    </a:lnTo>
                    <a:lnTo>
                      <a:pt x="466" y="1284"/>
                    </a:lnTo>
                    <a:lnTo>
                      <a:pt x="466" y="1284"/>
                    </a:lnTo>
                    <a:lnTo>
                      <a:pt x="490" y="1286"/>
                    </a:lnTo>
                    <a:lnTo>
                      <a:pt x="516" y="1288"/>
                    </a:lnTo>
                    <a:lnTo>
                      <a:pt x="542" y="1290"/>
                    </a:lnTo>
                    <a:lnTo>
                      <a:pt x="570" y="1296"/>
                    </a:lnTo>
                    <a:lnTo>
                      <a:pt x="626" y="1310"/>
                    </a:lnTo>
                    <a:lnTo>
                      <a:pt x="686" y="1328"/>
                    </a:lnTo>
                    <a:lnTo>
                      <a:pt x="686" y="1328"/>
                    </a:lnTo>
                    <a:lnTo>
                      <a:pt x="672" y="1356"/>
                    </a:lnTo>
                    <a:lnTo>
                      <a:pt x="654" y="1386"/>
                    </a:lnTo>
                    <a:lnTo>
                      <a:pt x="630" y="1420"/>
                    </a:lnTo>
                    <a:lnTo>
                      <a:pt x="604" y="1456"/>
                    </a:lnTo>
                    <a:lnTo>
                      <a:pt x="588" y="1472"/>
                    </a:lnTo>
                    <a:lnTo>
                      <a:pt x="570" y="1488"/>
                    </a:lnTo>
                    <a:lnTo>
                      <a:pt x="554" y="1502"/>
                    </a:lnTo>
                    <a:lnTo>
                      <a:pt x="534" y="1516"/>
                    </a:lnTo>
                    <a:lnTo>
                      <a:pt x="514" y="1528"/>
                    </a:lnTo>
                    <a:lnTo>
                      <a:pt x="494" y="1540"/>
                    </a:lnTo>
                    <a:lnTo>
                      <a:pt x="472" y="1548"/>
                    </a:lnTo>
                    <a:lnTo>
                      <a:pt x="448" y="1554"/>
                    </a:lnTo>
                    <a:lnTo>
                      <a:pt x="448" y="1554"/>
                    </a:lnTo>
                    <a:lnTo>
                      <a:pt x="420" y="1558"/>
                    </a:lnTo>
                    <a:lnTo>
                      <a:pt x="392" y="1560"/>
                    </a:lnTo>
                    <a:lnTo>
                      <a:pt x="392" y="1560"/>
                    </a:lnTo>
                    <a:lnTo>
                      <a:pt x="362" y="1558"/>
                    </a:lnTo>
                    <a:lnTo>
                      <a:pt x="334" y="1552"/>
                    </a:lnTo>
                    <a:lnTo>
                      <a:pt x="310" y="1546"/>
                    </a:lnTo>
                    <a:lnTo>
                      <a:pt x="288" y="1538"/>
                    </a:lnTo>
                    <a:lnTo>
                      <a:pt x="268" y="1528"/>
                    </a:lnTo>
                    <a:lnTo>
                      <a:pt x="250" y="1516"/>
                    </a:lnTo>
                    <a:lnTo>
                      <a:pt x="234" y="1506"/>
                    </a:lnTo>
                    <a:lnTo>
                      <a:pt x="222" y="1496"/>
                    </a:lnTo>
                    <a:lnTo>
                      <a:pt x="222" y="1496"/>
                    </a:lnTo>
                    <a:lnTo>
                      <a:pt x="228" y="1490"/>
                    </a:lnTo>
                    <a:lnTo>
                      <a:pt x="238" y="1484"/>
                    </a:lnTo>
                    <a:lnTo>
                      <a:pt x="252" y="1476"/>
                    </a:lnTo>
                    <a:lnTo>
                      <a:pt x="270" y="1470"/>
                    </a:lnTo>
                    <a:lnTo>
                      <a:pt x="292" y="1464"/>
                    </a:lnTo>
                    <a:lnTo>
                      <a:pt x="320" y="1458"/>
                    </a:lnTo>
                    <a:lnTo>
                      <a:pt x="354" y="1454"/>
                    </a:lnTo>
                    <a:lnTo>
                      <a:pt x="392" y="1450"/>
                    </a:lnTo>
                    <a:lnTo>
                      <a:pt x="392" y="1450"/>
                    </a:lnTo>
                    <a:lnTo>
                      <a:pt x="400" y="1450"/>
                    </a:lnTo>
                    <a:lnTo>
                      <a:pt x="406" y="1448"/>
                    </a:lnTo>
                    <a:lnTo>
                      <a:pt x="410" y="1444"/>
                    </a:lnTo>
                    <a:lnTo>
                      <a:pt x="416" y="1440"/>
                    </a:lnTo>
                    <a:lnTo>
                      <a:pt x="420" y="1434"/>
                    </a:lnTo>
                    <a:lnTo>
                      <a:pt x="422" y="1428"/>
                    </a:lnTo>
                    <a:lnTo>
                      <a:pt x="424" y="1422"/>
                    </a:lnTo>
                    <a:lnTo>
                      <a:pt x="424" y="1416"/>
                    </a:lnTo>
                    <a:lnTo>
                      <a:pt x="424" y="1416"/>
                    </a:lnTo>
                    <a:lnTo>
                      <a:pt x="424" y="1408"/>
                    </a:lnTo>
                    <a:lnTo>
                      <a:pt x="422" y="1402"/>
                    </a:lnTo>
                    <a:lnTo>
                      <a:pt x="418" y="1396"/>
                    </a:lnTo>
                    <a:lnTo>
                      <a:pt x="414" y="1392"/>
                    </a:lnTo>
                    <a:lnTo>
                      <a:pt x="408" y="1388"/>
                    </a:lnTo>
                    <a:lnTo>
                      <a:pt x="402" y="1386"/>
                    </a:lnTo>
                    <a:lnTo>
                      <a:pt x="396" y="1384"/>
                    </a:lnTo>
                    <a:lnTo>
                      <a:pt x="390" y="1384"/>
                    </a:lnTo>
                    <a:lnTo>
                      <a:pt x="390" y="1384"/>
                    </a:lnTo>
                    <a:close/>
                    <a:moveTo>
                      <a:pt x="140" y="512"/>
                    </a:moveTo>
                    <a:lnTo>
                      <a:pt x="140" y="512"/>
                    </a:lnTo>
                    <a:lnTo>
                      <a:pt x="142" y="466"/>
                    </a:lnTo>
                    <a:lnTo>
                      <a:pt x="148" y="422"/>
                    </a:lnTo>
                    <a:lnTo>
                      <a:pt x="160" y="380"/>
                    </a:lnTo>
                    <a:lnTo>
                      <a:pt x="174" y="340"/>
                    </a:lnTo>
                    <a:lnTo>
                      <a:pt x="192" y="300"/>
                    </a:lnTo>
                    <a:lnTo>
                      <a:pt x="216" y="264"/>
                    </a:lnTo>
                    <a:lnTo>
                      <a:pt x="240" y="230"/>
                    </a:lnTo>
                    <a:lnTo>
                      <a:pt x="270" y="198"/>
                    </a:lnTo>
                    <a:lnTo>
                      <a:pt x="302" y="170"/>
                    </a:lnTo>
                    <a:lnTo>
                      <a:pt x="336" y="144"/>
                    </a:lnTo>
                    <a:lnTo>
                      <a:pt x="372" y="122"/>
                    </a:lnTo>
                    <a:lnTo>
                      <a:pt x="410" y="104"/>
                    </a:lnTo>
                    <a:lnTo>
                      <a:pt x="452" y="88"/>
                    </a:lnTo>
                    <a:lnTo>
                      <a:pt x="494" y="78"/>
                    </a:lnTo>
                    <a:lnTo>
                      <a:pt x="538" y="70"/>
                    </a:lnTo>
                    <a:lnTo>
                      <a:pt x="584" y="68"/>
                    </a:lnTo>
                    <a:lnTo>
                      <a:pt x="584" y="68"/>
                    </a:lnTo>
                    <a:lnTo>
                      <a:pt x="628" y="70"/>
                    </a:lnTo>
                    <a:lnTo>
                      <a:pt x="672" y="78"/>
                    </a:lnTo>
                    <a:lnTo>
                      <a:pt x="714" y="88"/>
                    </a:lnTo>
                    <a:lnTo>
                      <a:pt x="756" y="104"/>
                    </a:lnTo>
                    <a:lnTo>
                      <a:pt x="794" y="122"/>
                    </a:lnTo>
                    <a:lnTo>
                      <a:pt x="832" y="144"/>
                    </a:lnTo>
                    <a:lnTo>
                      <a:pt x="866" y="170"/>
                    </a:lnTo>
                    <a:lnTo>
                      <a:pt x="896" y="198"/>
                    </a:lnTo>
                    <a:lnTo>
                      <a:pt x="926" y="230"/>
                    </a:lnTo>
                    <a:lnTo>
                      <a:pt x="952" y="264"/>
                    </a:lnTo>
                    <a:lnTo>
                      <a:pt x="974" y="300"/>
                    </a:lnTo>
                    <a:lnTo>
                      <a:pt x="992" y="340"/>
                    </a:lnTo>
                    <a:lnTo>
                      <a:pt x="1006" y="380"/>
                    </a:lnTo>
                    <a:lnTo>
                      <a:pt x="1018" y="422"/>
                    </a:lnTo>
                    <a:lnTo>
                      <a:pt x="1024" y="466"/>
                    </a:lnTo>
                    <a:lnTo>
                      <a:pt x="1026" y="512"/>
                    </a:lnTo>
                    <a:lnTo>
                      <a:pt x="1026" y="512"/>
                    </a:lnTo>
                    <a:lnTo>
                      <a:pt x="1024" y="558"/>
                    </a:lnTo>
                    <a:lnTo>
                      <a:pt x="1018" y="602"/>
                    </a:lnTo>
                    <a:lnTo>
                      <a:pt x="1006" y="644"/>
                    </a:lnTo>
                    <a:lnTo>
                      <a:pt x="992" y="684"/>
                    </a:lnTo>
                    <a:lnTo>
                      <a:pt x="974" y="724"/>
                    </a:lnTo>
                    <a:lnTo>
                      <a:pt x="952" y="760"/>
                    </a:lnTo>
                    <a:lnTo>
                      <a:pt x="926" y="794"/>
                    </a:lnTo>
                    <a:lnTo>
                      <a:pt x="896" y="826"/>
                    </a:lnTo>
                    <a:lnTo>
                      <a:pt x="866" y="854"/>
                    </a:lnTo>
                    <a:lnTo>
                      <a:pt x="832" y="880"/>
                    </a:lnTo>
                    <a:lnTo>
                      <a:pt x="794" y="902"/>
                    </a:lnTo>
                    <a:lnTo>
                      <a:pt x="756" y="920"/>
                    </a:lnTo>
                    <a:lnTo>
                      <a:pt x="714" y="936"/>
                    </a:lnTo>
                    <a:lnTo>
                      <a:pt x="672" y="946"/>
                    </a:lnTo>
                    <a:lnTo>
                      <a:pt x="628" y="954"/>
                    </a:lnTo>
                    <a:lnTo>
                      <a:pt x="584" y="956"/>
                    </a:lnTo>
                    <a:lnTo>
                      <a:pt x="584" y="956"/>
                    </a:lnTo>
                    <a:lnTo>
                      <a:pt x="538" y="954"/>
                    </a:lnTo>
                    <a:lnTo>
                      <a:pt x="494" y="946"/>
                    </a:lnTo>
                    <a:lnTo>
                      <a:pt x="452" y="936"/>
                    </a:lnTo>
                    <a:lnTo>
                      <a:pt x="410" y="920"/>
                    </a:lnTo>
                    <a:lnTo>
                      <a:pt x="372" y="902"/>
                    </a:lnTo>
                    <a:lnTo>
                      <a:pt x="336" y="880"/>
                    </a:lnTo>
                    <a:lnTo>
                      <a:pt x="302" y="854"/>
                    </a:lnTo>
                    <a:lnTo>
                      <a:pt x="270" y="826"/>
                    </a:lnTo>
                    <a:lnTo>
                      <a:pt x="240" y="794"/>
                    </a:lnTo>
                    <a:lnTo>
                      <a:pt x="216" y="760"/>
                    </a:lnTo>
                    <a:lnTo>
                      <a:pt x="192" y="724"/>
                    </a:lnTo>
                    <a:lnTo>
                      <a:pt x="174" y="684"/>
                    </a:lnTo>
                    <a:lnTo>
                      <a:pt x="160" y="644"/>
                    </a:lnTo>
                    <a:lnTo>
                      <a:pt x="148" y="602"/>
                    </a:lnTo>
                    <a:lnTo>
                      <a:pt x="142" y="558"/>
                    </a:lnTo>
                    <a:lnTo>
                      <a:pt x="140" y="512"/>
                    </a:lnTo>
                    <a:lnTo>
                      <a:pt x="140" y="5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201" tIns="31101" rIns="62201" bIns="31101" numCol="1" anchor="t" anchorCtr="0" compatLnSpc="1">
                <a:prstTxWarp prst="textNoShape">
                  <a:avLst/>
                </a:prstTxWarp>
              </a:bodyPr>
              <a:lstStyle/>
              <a:p>
                <a:pPr defTabSz="709451">
                  <a:defRPr/>
                </a:pPr>
                <a:endParaRPr lang="de-DE" sz="1428">
                  <a:solidFill>
                    <a:srgbClr val="000000"/>
                  </a:solidFill>
                  <a:latin typeface="Arial"/>
                </a:endParaRPr>
              </a:p>
            </p:txBody>
          </p:sp>
          <p:sp>
            <p:nvSpPr>
              <p:cNvPr id="71" name="Freeform 59">
                <a:extLst>
                  <a:ext uri="{FF2B5EF4-FFF2-40B4-BE49-F238E27FC236}">
                    <a16:creationId xmlns:a16="http://schemas.microsoft.com/office/drawing/2014/main" id="{A60FF8D1-8D85-4391-908E-04DA64E753E8}"/>
                  </a:ext>
                </a:extLst>
              </p:cNvPr>
              <p:cNvSpPr>
                <a:spLocks/>
              </p:cNvSpPr>
              <p:nvPr/>
            </p:nvSpPr>
            <p:spPr bwMode="auto">
              <a:xfrm>
                <a:off x="5826125" y="3154363"/>
                <a:ext cx="4489450" cy="2549525"/>
              </a:xfrm>
              <a:custGeom>
                <a:avLst/>
                <a:gdLst>
                  <a:gd name="T0" fmla="*/ 2528 w 2828"/>
                  <a:gd name="T1" fmla="*/ 506 h 1606"/>
                  <a:gd name="T2" fmla="*/ 2632 w 2828"/>
                  <a:gd name="T3" fmla="*/ 500 h 1606"/>
                  <a:gd name="T4" fmla="*/ 2722 w 2828"/>
                  <a:gd name="T5" fmla="*/ 522 h 1606"/>
                  <a:gd name="T6" fmla="*/ 2776 w 2828"/>
                  <a:gd name="T7" fmla="*/ 558 h 1606"/>
                  <a:gd name="T8" fmla="*/ 2814 w 2828"/>
                  <a:gd name="T9" fmla="*/ 606 h 1606"/>
                  <a:gd name="T10" fmla="*/ 2828 w 2828"/>
                  <a:gd name="T11" fmla="*/ 658 h 1606"/>
                  <a:gd name="T12" fmla="*/ 2812 w 2828"/>
                  <a:gd name="T13" fmla="*/ 720 h 1606"/>
                  <a:gd name="T14" fmla="*/ 2748 w 2828"/>
                  <a:gd name="T15" fmla="*/ 808 h 1606"/>
                  <a:gd name="T16" fmla="*/ 2062 w 2828"/>
                  <a:gd name="T17" fmla="*/ 1428 h 1606"/>
                  <a:gd name="T18" fmla="*/ 1896 w 2828"/>
                  <a:gd name="T19" fmla="*/ 1528 h 1606"/>
                  <a:gd name="T20" fmla="*/ 1738 w 2828"/>
                  <a:gd name="T21" fmla="*/ 1580 h 1606"/>
                  <a:gd name="T22" fmla="*/ 1576 w 2828"/>
                  <a:gd name="T23" fmla="*/ 1604 h 1606"/>
                  <a:gd name="T24" fmla="*/ 0 w 2828"/>
                  <a:gd name="T25" fmla="*/ 1450 h 1606"/>
                  <a:gd name="T26" fmla="*/ 1578 w 2828"/>
                  <a:gd name="T27" fmla="*/ 1460 h 1606"/>
                  <a:gd name="T28" fmla="*/ 1740 w 2828"/>
                  <a:gd name="T29" fmla="*/ 1434 h 1606"/>
                  <a:gd name="T30" fmla="*/ 1854 w 2828"/>
                  <a:gd name="T31" fmla="*/ 1390 h 1606"/>
                  <a:gd name="T32" fmla="*/ 1966 w 2828"/>
                  <a:gd name="T33" fmla="*/ 1318 h 1606"/>
                  <a:gd name="T34" fmla="*/ 2620 w 2828"/>
                  <a:gd name="T35" fmla="*/ 768 h 1606"/>
                  <a:gd name="T36" fmla="*/ 2674 w 2828"/>
                  <a:gd name="T37" fmla="*/ 710 h 1606"/>
                  <a:gd name="T38" fmla="*/ 2684 w 2828"/>
                  <a:gd name="T39" fmla="*/ 668 h 1606"/>
                  <a:gd name="T40" fmla="*/ 2668 w 2828"/>
                  <a:gd name="T41" fmla="*/ 650 h 1606"/>
                  <a:gd name="T42" fmla="*/ 2612 w 2828"/>
                  <a:gd name="T43" fmla="*/ 638 h 1606"/>
                  <a:gd name="T44" fmla="*/ 2518 w 2828"/>
                  <a:gd name="T45" fmla="*/ 654 h 1606"/>
                  <a:gd name="T46" fmla="*/ 810 w 2828"/>
                  <a:gd name="T47" fmla="*/ 630 h 1606"/>
                  <a:gd name="T48" fmla="*/ 930 w 2828"/>
                  <a:gd name="T49" fmla="*/ 578 h 1606"/>
                  <a:gd name="T50" fmla="*/ 1096 w 2828"/>
                  <a:gd name="T51" fmla="*/ 470 h 1606"/>
                  <a:gd name="T52" fmla="*/ 1190 w 2828"/>
                  <a:gd name="T53" fmla="*/ 364 h 1606"/>
                  <a:gd name="T54" fmla="*/ 1222 w 2828"/>
                  <a:gd name="T55" fmla="*/ 266 h 1606"/>
                  <a:gd name="T56" fmla="*/ 1210 w 2828"/>
                  <a:gd name="T57" fmla="*/ 180 h 1606"/>
                  <a:gd name="T58" fmla="*/ 786 w 2828"/>
                  <a:gd name="T59" fmla="*/ 310 h 1606"/>
                  <a:gd name="T60" fmla="*/ 572 w 2828"/>
                  <a:gd name="T61" fmla="*/ 288 h 1606"/>
                  <a:gd name="T62" fmla="*/ 402 w 2828"/>
                  <a:gd name="T63" fmla="*/ 308 h 1606"/>
                  <a:gd name="T64" fmla="*/ 252 w 2828"/>
                  <a:gd name="T65" fmla="*/ 366 h 1606"/>
                  <a:gd name="T66" fmla="*/ 120 w 2828"/>
                  <a:gd name="T67" fmla="*/ 464 h 1606"/>
                  <a:gd name="T68" fmla="*/ 4 w 2828"/>
                  <a:gd name="T69" fmla="*/ 602 h 1606"/>
                  <a:gd name="T70" fmla="*/ 64 w 2828"/>
                  <a:gd name="T71" fmla="*/ 320 h 1606"/>
                  <a:gd name="T72" fmla="*/ 192 w 2828"/>
                  <a:gd name="T73" fmla="*/ 234 h 1606"/>
                  <a:gd name="T74" fmla="*/ 334 w 2828"/>
                  <a:gd name="T75" fmla="*/ 176 h 1606"/>
                  <a:gd name="T76" fmla="*/ 492 w 2828"/>
                  <a:gd name="T77" fmla="*/ 148 h 1606"/>
                  <a:gd name="T78" fmla="*/ 642 w 2828"/>
                  <a:gd name="T79" fmla="*/ 146 h 1606"/>
                  <a:gd name="T80" fmla="*/ 852 w 2828"/>
                  <a:gd name="T81" fmla="*/ 176 h 1606"/>
                  <a:gd name="T82" fmla="*/ 1294 w 2828"/>
                  <a:gd name="T83" fmla="*/ 34 h 1606"/>
                  <a:gd name="T84" fmla="*/ 1352 w 2828"/>
                  <a:gd name="T85" fmla="*/ 166 h 1606"/>
                  <a:gd name="T86" fmla="*/ 1366 w 2828"/>
                  <a:gd name="T87" fmla="*/ 286 h 1606"/>
                  <a:gd name="T88" fmla="*/ 1336 w 2828"/>
                  <a:gd name="T89" fmla="*/ 396 h 1606"/>
                  <a:gd name="T90" fmla="*/ 1286 w 2828"/>
                  <a:gd name="T91" fmla="*/ 474 h 1606"/>
                  <a:gd name="T92" fmla="*/ 1172 w 2828"/>
                  <a:gd name="T93" fmla="*/ 590 h 1606"/>
                  <a:gd name="T94" fmla="*/ 1020 w 2828"/>
                  <a:gd name="T95" fmla="*/ 694 h 1606"/>
                  <a:gd name="T96" fmla="*/ 1050 w 2828"/>
                  <a:gd name="T97" fmla="*/ 788 h 1606"/>
                  <a:gd name="T98" fmla="*/ 1812 w 2828"/>
                  <a:gd name="T99" fmla="*/ 764 h 1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28" h="1606">
                    <a:moveTo>
                      <a:pt x="2444" y="530"/>
                    </a:moveTo>
                    <a:lnTo>
                      <a:pt x="2444" y="530"/>
                    </a:lnTo>
                    <a:lnTo>
                      <a:pt x="2486" y="516"/>
                    </a:lnTo>
                    <a:lnTo>
                      <a:pt x="2528" y="506"/>
                    </a:lnTo>
                    <a:lnTo>
                      <a:pt x="2568" y="500"/>
                    </a:lnTo>
                    <a:lnTo>
                      <a:pt x="2606" y="498"/>
                    </a:lnTo>
                    <a:lnTo>
                      <a:pt x="2606" y="498"/>
                    </a:lnTo>
                    <a:lnTo>
                      <a:pt x="2632" y="500"/>
                    </a:lnTo>
                    <a:lnTo>
                      <a:pt x="2656" y="502"/>
                    </a:lnTo>
                    <a:lnTo>
                      <a:pt x="2680" y="508"/>
                    </a:lnTo>
                    <a:lnTo>
                      <a:pt x="2702" y="514"/>
                    </a:lnTo>
                    <a:lnTo>
                      <a:pt x="2722" y="522"/>
                    </a:lnTo>
                    <a:lnTo>
                      <a:pt x="2742" y="532"/>
                    </a:lnTo>
                    <a:lnTo>
                      <a:pt x="2760" y="544"/>
                    </a:lnTo>
                    <a:lnTo>
                      <a:pt x="2776" y="558"/>
                    </a:lnTo>
                    <a:lnTo>
                      <a:pt x="2776" y="558"/>
                    </a:lnTo>
                    <a:lnTo>
                      <a:pt x="2788" y="568"/>
                    </a:lnTo>
                    <a:lnTo>
                      <a:pt x="2798" y="580"/>
                    </a:lnTo>
                    <a:lnTo>
                      <a:pt x="2808" y="592"/>
                    </a:lnTo>
                    <a:lnTo>
                      <a:pt x="2814" y="606"/>
                    </a:lnTo>
                    <a:lnTo>
                      <a:pt x="2820" y="618"/>
                    </a:lnTo>
                    <a:lnTo>
                      <a:pt x="2824" y="632"/>
                    </a:lnTo>
                    <a:lnTo>
                      <a:pt x="2826" y="644"/>
                    </a:lnTo>
                    <a:lnTo>
                      <a:pt x="2828" y="658"/>
                    </a:lnTo>
                    <a:lnTo>
                      <a:pt x="2828" y="658"/>
                    </a:lnTo>
                    <a:lnTo>
                      <a:pt x="2826" y="678"/>
                    </a:lnTo>
                    <a:lnTo>
                      <a:pt x="2820" y="698"/>
                    </a:lnTo>
                    <a:lnTo>
                      <a:pt x="2812" y="720"/>
                    </a:lnTo>
                    <a:lnTo>
                      <a:pt x="2800" y="742"/>
                    </a:lnTo>
                    <a:lnTo>
                      <a:pt x="2786" y="764"/>
                    </a:lnTo>
                    <a:lnTo>
                      <a:pt x="2768" y="786"/>
                    </a:lnTo>
                    <a:lnTo>
                      <a:pt x="2748" y="808"/>
                    </a:lnTo>
                    <a:lnTo>
                      <a:pt x="2722" y="832"/>
                    </a:lnTo>
                    <a:lnTo>
                      <a:pt x="2102" y="1394"/>
                    </a:lnTo>
                    <a:lnTo>
                      <a:pt x="2102" y="1394"/>
                    </a:lnTo>
                    <a:lnTo>
                      <a:pt x="2062" y="1428"/>
                    </a:lnTo>
                    <a:lnTo>
                      <a:pt x="2022" y="1458"/>
                    </a:lnTo>
                    <a:lnTo>
                      <a:pt x="1980" y="1484"/>
                    </a:lnTo>
                    <a:lnTo>
                      <a:pt x="1938" y="1508"/>
                    </a:lnTo>
                    <a:lnTo>
                      <a:pt x="1896" y="1528"/>
                    </a:lnTo>
                    <a:lnTo>
                      <a:pt x="1856" y="1544"/>
                    </a:lnTo>
                    <a:lnTo>
                      <a:pt x="1816" y="1560"/>
                    </a:lnTo>
                    <a:lnTo>
                      <a:pt x="1776" y="1572"/>
                    </a:lnTo>
                    <a:lnTo>
                      <a:pt x="1738" y="1580"/>
                    </a:lnTo>
                    <a:lnTo>
                      <a:pt x="1700" y="1588"/>
                    </a:lnTo>
                    <a:lnTo>
                      <a:pt x="1666" y="1594"/>
                    </a:lnTo>
                    <a:lnTo>
                      <a:pt x="1632" y="1598"/>
                    </a:lnTo>
                    <a:lnTo>
                      <a:pt x="1576" y="1604"/>
                    </a:lnTo>
                    <a:lnTo>
                      <a:pt x="1530" y="1606"/>
                    </a:lnTo>
                    <a:lnTo>
                      <a:pt x="1524" y="1606"/>
                    </a:lnTo>
                    <a:lnTo>
                      <a:pt x="0" y="1594"/>
                    </a:lnTo>
                    <a:lnTo>
                      <a:pt x="0" y="1450"/>
                    </a:lnTo>
                    <a:lnTo>
                      <a:pt x="1524" y="1462"/>
                    </a:lnTo>
                    <a:lnTo>
                      <a:pt x="1530" y="1462"/>
                    </a:lnTo>
                    <a:lnTo>
                      <a:pt x="1530" y="1462"/>
                    </a:lnTo>
                    <a:lnTo>
                      <a:pt x="1578" y="1460"/>
                    </a:lnTo>
                    <a:lnTo>
                      <a:pt x="1630" y="1456"/>
                    </a:lnTo>
                    <a:lnTo>
                      <a:pt x="1684" y="1448"/>
                    </a:lnTo>
                    <a:lnTo>
                      <a:pt x="1712" y="1442"/>
                    </a:lnTo>
                    <a:lnTo>
                      <a:pt x="1740" y="1434"/>
                    </a:lnTo>
                    <a:lnTo>
                      <a:pt x="1768" y="1426"/>
                    </a:lnTo>
                    <a:lnTo>
                      <a:pt x="1798" y="1416"/>
                    </a:lnTo>
                    <a:lnTo>
                      <a:pt x="1826" y="1404"/>
                    </a:lnTo>
                    <a:lnTo>
                      <a:pt x="1854" y="1390"/>
                    </a:lnTo>
                    <a:lnTo>
                      <a:pt x="1884" y="1376"/>
                    </a:lnTo>
                    <a:lnTo>
                      <a:pt x="1912" y="1358"/>
                    </a:lnTo>
                    <a:lnTo>
                      <a:pt x="1940" y="1338"/>
                    </a:lnTo>
                    <a:lnTo>
                      <a:pt x="1966" y="1318"/>
                    </a:lnTo>
                    <a:lnTo>
                      <a:pt x="1966" y="1318"/>
                    </a:lnTo>
                    <a:lnTo>
                      <a:pt x="2232" y="1094"/>
                    </a:lnTo>
                    <a:lnTo>
                      <a:pt x="2620" y="768"/>
                    </a:lnTo>
                    <a:lnTo>
                      <a:pt x="2620" y="768"/>
                    </a:lnTo>
                    <a:lnTo>
                      <a:pt x="2638" y="752"/>
                    </a:lnTo>
                    <a:lnTo>
                      <a:pt x="2652" y="738"/>
                    </a:lnTo>
                    <a:lnTo>
                      <a:pt x="2664" y="724"/>
                    </a:lnTo>
                    <a:lnTo>
                      <a:pt x="2674" y="710"/>
                    </a:lnTo>
                    <a:lnTo>
                      <a:pt x="2680" y="698"/>
                    </a:lnTo>
                    <a:lnTo>
                      <a:pt x="2684" y="686"/>
                    </a:lnTo>
                    <a:lnTo>
                      <a:pt x="2686" y="676"/>
                    </a:lnTo>
                    <a:lnTo>
                      <a:pt x="2684" y="668"/>
                    </a:lnTo>
                    <a:lnTo>
                      <a:pt x="2684" y="668"/>
                    </a:lnTo>
                    <a:lnTo>
                      <a:pt x="2680" y="660"/>
                    </a:lnTo>
                    <a:lnTo>
                      <a:pt x="2676" y="656"/>
                    </a:lnTo>
                    <a:lnTo>
                      <a:pt x="2668" y="650"/>
                    </a:lnTo>
                    <a:lnTo>
                      <a:pt x="2660" y="646"/>
                    </a:lnTo>
                    <a:lnTo>
                      <a:pt x="2650" y="642"/>
                    </a:lnTo>
                    <a:lnTo>
                      <a:pt x="2640" y="640"/>
                    </a:lnTo>
                    <a:lnTo>
                      <a:pt x="2612" y="638"/>
                    </a:lnTo>
                    <a:lnTo>
                      <a:pt x="2612" y="638"/>
                    </a:lnTo>
                    <a:lnTo>
                      <a:pt x="2582" y="640"/>
                    </a:lnTo>
                    <a:lnTo>
                      <a:pt x="2550" y="646"/>
                    </a:lnTo>
                    <a:lnTo>
                      <a:pt x="2518" y="654"/>
                    </a:lnTo>
                    <a:lnTo>
                      <a:pt x="2486" y="664"/>
                    </a:lnTo>
                    <a:lnTo>
                      <a:pt x="1770" y="932"/>
                    </a:lnTo>
                    <a:lnTo>
                      <a:pt x="952" y="932"/>
                    </a:lnTo>
                    <a:lnTo>
                      <a:pt x="810" y="630"/>
                    </a:lnTo>
                    <a:lnTo>
                      <a:pt x="830" y="622"/>
                    </a:lnTo>
                    <a:lnTo>
                      <a:pt x="830" y="622"/>
                    </a:lnTo>
                    <a:lnTo>
                      <a:pt x="882" y="600"/>
                    </a:lnTo>
                    <a:lnTo>
                      <a:pt x="930" y="578"/>
                    </a:lnTo>
                    <a:lnTo>
                      <a:pt x="974" y="556"/>
                    </a:lnTo>
                    <a:lnTo>
                      <a:pt x="1016" y="530"/>
                    </a:lnTo>
                    <a:lnTo>
                      <a:pt x="1056" y="504"/>
                    </a:lnTo>
                    <a:lnTo>
                      <a:pt x="1096" y="470"/>
                    </a:lnTo>
                    <a:lnTo>
                      <a:pt x="1134" y="432"/>
                    </a:lnTo>
                    <a:lnTo>
                      <a:pt x="1174" y="384"/>
                    </a:lnTo>
                    <a:lnTo>
                      <a:pt x="1174" y="384"/>
                    </a:lnTo>
                    <a:lnTo>
                      <a:pt x="1190" y="364"/>
                    </a:lnTo>
                    <a:lnTo>
                      <a:pt x="1204" y="340"/>
                    </a:lnTo>
                    <a:lnTo>
                      <a:pt x="1212" y="316"/>
                    </a:lnTo>
                    <a:lnTo>
                      <a:pt x="1218" y="290"/>
                    </a:lnTo>
                    <a:lnTo>
                      <a:pt x="1222" y="266"/>
                    </a:lnTo>
                    <a:lnTo>
                      <a:pt x="1222" y="238"/>
                    </a:lnTo>
                    <a:lnTo>
                      <a:pt x="1218" y="212"/>
                    </a:lnTo>
                    <a:lnTo>
                      <a:pt x="1212" y="186"/>
                    </a:lnTo>
                    <a:lnTo>
                      <a:pt x="1210" y="180"/>
                    </a:lnTo>
                    <a:lnTo>
                      <a:pt x="1206" y="182"/>
                    </a:lnTo>
                    <a:lnTo>
                      <a:pt x="866" y="326"/>
                    </a:lnTo>
                    <a:lnTo>
                      <a:pt x="866" y="326"/>
                    </a:lnTo>
                    <a:lnTo>
                      <a:pt x="786" y="310"/>
                    </a:lnTo>
                    <a:lnTo>
                      <a:pt x="710" y="298"/>
                    </a:lnTo>
                    <a:lnTo>
                      <a:pt x="638" y="290"/>
                    </a:lnTo>
                    <a:lnTo>
                      <a:pt x="572" y="288"/>
                    </a:lnTo>
                    <a:lnTo>
                      <a:pt x="572" y="288"/>
                    </a:lnTo>
                    <a:lnTo>
                      <a:pt x="528" y="290"/>
                    </a:lnTo>
                    <a:lnTo>
                      <a:pt x="484" y="294"/>
                    </a:lnTo>
                    <a:lnTo>
                      <a:pt x="442" y="300"/>
                    </a:lnTo>
                    <a:lnTo>
                      <a:pt x="402" y="308"/>
                    </a:lnTo>
                    <a:lnTo>
                      <a:pt x="362" y="318"/>
                    </a:lnTo>
                    <a:lnTo>
                      <a:pt x="324" y="332"/>
                    </a:lnTo>
                    <a:lnTo>
                      <a:pt x="288" y="348"/>
                    </a:lnTo>
                    <a:lnTo>
                      <a:pt x="252" y="366"/>
                    </a:lnTo>
                    <a:lnTo>
                      <a:pt x="216" y="386"/>
                    </a:lnTo>
                    <a:lnTo>
                      <a:pt x="184" y="410"/>
                    </a:lnTo>
                    <a:lnTo>
                      <a:pt x="152" y="434"/>
                    </a:lnTo>
                    <a:lnTo>
                      <a:pt x="120" y="464"/>
                    </a:lnTo>
                    <a:lnTo>
                      <a:pt x="90" y="494"/>
                    </a:lnTo>
                    <a:lnTo>
                      <a:pt x="60" y="528"/>
                    </a:lnTo>
                    <a:lnTo>
                      <a:pt x="32" y="564"/>
                    </a:lnTo>
                    <a:lnTo>
                      <a:pt x="4" y="602"/>
                    </a:lnTo>
                    <a:lnTo>
                      <a:pt x="6" y="376"/>
                    </a:lnTo>
                    <a:lnTo>
                      <a:pt x="6" y="376"/>
                    </a:lnTo>
                    <a:lnTo>
                      <a:pt x="34" y="346"/>
                    </a:lnTo>
                    <a:lnTo>
                      <a:pt x="64" y="320"/>
                    </a:lnTo>
                    <a:lnTo>
                      <a:pt x="96" y="296"/>
                    </a:lnTo>
                    <a:lnTo>
                      <a:pt x="126" y="274"/>
                    </a:lnTo>
                    <a:lnTo>
                      <a:pt x="160" y="254"/>
                    </a:lnTo>
                    <a:lnTo>
                      <a:pt x="192" y="234"/>
                    </a:lnTo>
                    <a:lnTo>
                      <a:pt x="226" y="218"/>
                    </a:lnTo>
                    <a:lnTo>
                      <a:pt x="262" y="202"/>
                    </a:lnTo>
                    <a:lnTo>
                      <a:pt x="298" y="188"/>
                    </a:lnTo>
                    <a:lnTo>
                      <a:pt x="334" y="176"/>
                    </a:lnTo>
                    <a:lnTo>
                      <a:pt x="372" y="168"/>
                    </a:lnTo>
                    <a:lnTo>
                      <a:pt x="412" y="160"/>
                    </a:lnTo>
                    <a:lnTo>
                      <a:pt x="450" y="152"/>
                    </a:lnTo>
                    <a:lnTo>
                      <a:pt x="492" y="148"/>
                    </a:lnTo>
                    <a:lnTo>
                      <a:pt x="534" y="146"/>
                    </a:lnTo>
                    <a:lnTo>
                      <a:pt x="576" y="146"/>
                    </a:lnTo>
                    <a:lnTo>
                      <a:pt x="576" y="146"/>
                    </a:lnTo>
                    <a:lnTo>
                      <a:pt x="642" y="146"/>
                    </a:lnTo>
                    <a:lnTo>
                      <a:pt x="708" y="152"/>
                    </a:lnTo>
                    <a:lnTo>
                      <a:pt x="778" y="162"/>
                    </a:lnTo>
                    <a:lnTo>
                      <a:pt x="852" y="176"/>
                    </a:lnTo>
                    <a:lnTo>
                      <a:pt x="852" y="176"/>
                    </a:lnTo>
                    <a:lnTo>
                      <a:pt x="854" y="176"/>
                    </a:lnTo>
                    <a:lnTo>
                      <a:pt x="1272" y="0"/>
                    </a:lnTo>
                    <a:lnTo>
                      <a:pt x="1272" y="0"/>
                    </a:lnTo>
                    <a:lnTo>
                      <a:pt x="1294" y="34"/>
                    </a:lnTo>
                    <a:lnTo>
                      <a:pt x="1312" y="68"/>
                    </a:lnTo>
                    <a:lnTo>
                      <a:pt x="1328" y="102"/>
                    </a:lnTo>
                    <a:lnTo>
                      <a:pt x="1342" y="134"/>
                    </a:lnTo>
                    <a:lnTo>
                      <a:pt x="1352" y="166"/>
                    </a:lnTo>
                    <a:lnTo>
                      <a:pt x="1360" y="196"/>
                    </a:lnTo>
                    <a:lnTo>
                      <a:pt x="1364" y="226"/>
                    </a:lnTo>
                    <a:lnTo>
                      <a:pt x="1366" y="256"/>
                    </a:lnTo>
                    <a:lnTo>
                      <a:pt x="1366" y="286"/>
                    </a:lnTo>
                    <a:lnTo>
                      <a:pt x="1362" y="314"/>
                    </a:lnTo>
                    <a:lnTo>
                      <a:pt x="1356" y="342"/>
                    </a:lnTo>
                    <a:lnTo>
                      <a:pt x="1348" y="370"/>
                    </a:lnTo>
                    <a:lnTo>
                      <a:pt x="1336" y="396"/>
                    </a:lnTo>
                    <a:lnTo>
                      <a:pt x="1322" y="422"/>
                    </a:lnTo>
                    <a:lnTo>
                      <a:pt x="1306" y="448"/>
                    </a:lnTo>
                    <a:lnTo>
                      <a:pt x="1286" y="474"/>
                    </a:lnTo>
                    <a:lnTo>
                      <a:pt x="1286" y="474"/>
                    </a:lnTo>
                    <a:lnTo>
                      <a:pt x="1262" y="502"/>
                    </a:lnTo>
                    <a:lnTo>
                      <a:pt x="1236" y="532"/>
                    </a:lnTo>
                    <a:lnTo>
                      <a:pt x="1206" y="560"/>
                    </a:lnTo>
                    <a:lnTo>
                      <a:pt x="1172" y="590"/>
                    </a:lnTo>
                    <a:lnTo>
                      <a:pt x="1138" y="620"/>
                    </a:lnTo>
                    <a:lnTo>
                      <a:pt x="1100" y="646"/>
                    </a:lnTo>
                    <a:lnTo>
                      <a:pt x="1060" y="672"/>
                    </a:lnTo>
                    <a:lnTo>
                      <a:pt x="1020" y="694"/>
                    </a:lnTo>
                    <a:lnTo>
                      <a:pt x="1016" y="696"/>
                    </a:lnTo>
                    <a:lnTo>
                      <a:pt x="1018" y="700"/>
                    </a:lnTo>
                    <a:lnTo>
                      <a:pt x="1050" y="786"/>
                    </a:lnTo>
                    <a:lnTo>
                      <a:pt x="1050" y="788"/>
                    </a:lnTo>
                    <a:lnTo>
                      <a:pt x="1054" y="788"/>
                    </a:lnTo>
                    <a:lnTo>
                      <a:pt x="1744" y="788"/>
                    </a:lnTo>
                    <a:lnTo>
                      <a:pt x="1744" y="788"/>
                    </a:lnTo>
                    <a:lnTo>
                      <a:pt x="1812" y="764"/>
                    </a:lnTo>
                    <a:lnTo>
                      <a:pt x="1818" y="760"/>
                    </a:lnTo>
                    <a:lnTo>
                      <a:pt x="2444" y="5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201" tIns="31101" rIns="62201" bIns="31101" numCol="1" anchor="t" anchorCtr="0" compatLnSpc="1">
                <a:prstTxWarp prst="textNoShape">
                  <a:avLst/>
                </a:prstTxWarp>
              </a:bodyPr>
              <a:lstStyle/>
              <a:p>
                <a:pPr defTabSz="709451">
                  <a:defRPr/>
                </a:pPr>
                <a:endParaRPr lang="de-DE" sz="1428">
                  <a:solidFill>
                    <a:srgbClr val="000000"/>
                  </a:solidFill>
                  <a:latin typeface="Arial"/>
                </a:endParaRPr>
              </a:p>
            </p:txBody>
          </p:sp>
          <p:sp>
            <p:nvSpPr>
              <p:cNvPr id="72" name="Freeform 60">
                <a:extLst>
                  <a:ext uri="{FF2B5EF4-FFF2-40B4-BE49-F238E27FC236}">
                    <a16:creationId xmlns:a16="http://schemas.microsoft.com/office/drawing/2014/main" id="{22DA3C45-DA5C-46F4-8551-D1DE875DB30D}"/>
                  </a:ext>
                </a:extLst>
              </p:cNvPr>
              <p:cNvSpPr>
                <a:spLocks/>
              </p:cNvSpPr>
              <p:nvPr/>
            </p:nvSpPr>
            <p:spPr bwMode="auto">
              <a:xfrm>
                <a:off x="9966325" y="4176713"/>
                <a:ext cx="15875" cy="0"/>
              </a:xfrm>
              <a:custGeom>
                <a:avLst/>
                <a:gdLst>
                  <a:gd name="T0" fmla="*/ 0 w 10"/>
                  <a:gd name="T1" fmla="*/ 0 w 10"/>
                  <a:gd name="T2" fmla="*/ 10 w 10"/>
                  <a:gd name="T3" fmla="*/ 10 w 10"/>
                  <a:gd name="T4" fmla="*/ 4 w 10"/>
                  <a:gd name="T5" fmla="*/ 4 w 10"/>
                  <a:gd name="T6" fmla="*/ 0 w 10"/>
                  <a:gd name="T7" fmla="*/ 0 w 10"/>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10">
                    <a:moveTo>
                      <a:pt x="0" y="0"/>
                    </a:moveTo>
                    <a:lnTo>
                      <a:pt x="0" y="0"/>
                    </a:lnTo>
                    <a:lnTo>
                      <a:pt x="10" y="0"/>
                    </a:lnTo>
                    <a:lnTo>
                      <a:pt x="10" y="0"/>
                    </a:lnTo>
                    <a:lnTo>
                      <a:pt x="4" y="0"/>
                    </a:lnTo>
                    <a:lnTo>
                      <a:pt x="4"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201" tIns="31101" rIns="62201" bIns="31101" numCol="1" anchor="t" anchorCtr="0" compatLnSpc="1">
                <a:prstTxWarp prst="textNoShape">
                  <a:avLst/>
                </a:prstTxWarp>
              </a:bodyPr>
              <a:lstStyle/>
              <a:p>
                <a:pPr defTabSz="709451">
                  <a:defRPr/>
                </a:pPr>
                <a:endParaRPr lang="de-DE" sz="1428">
                  <a:solidFill>
                    <a:srgbClr val="000000"/>
                  </a:solidFill>
                  <a:latin typeface="Arial"/>
                </a:endParaRPr>
              </a:p>
            </p:txBody>
          </p:sp>
          <p:sp>
            <p:nvSpPr>
              <p:cNvPr id="73" name="Freeform 61">
                <a:extLst>
                  <a:ext uri="{FF2B5EF4-FFF2-40B4-BE49-F238E27FC236}">
                    <a16:creationId xmlns:a16="http://schemas.microsoft.com/office/drawing/2014/main" id="{FAB0C8A7-5D3E-48E1-B535-3F47365A698C}"/>
                  </a:ext>
                </a:extLst>
              </p:cNvPr>
              <p:cNvSpPr>
                <a:spLocks/>
              </p:cNvSpPr>
              <p:nvPr/>
            </p:nvSpPr>
            <p:spPr bwMode="auto">
              <a:xfrm>
                <a:off x="8245475" y="5465763"/>
                <a:ext cx="57150" cy="3175"/>
              </a:xfrm>
              <a:custGeom>
                <a:avLst/>
                <a:gdLst>
                  <a:gd name="T0" fmla="*/ 36 w 36"/>
                  <a:gd name="T1" fmla="*/ 0 h 2"/>
                  <a:gd name="T2" fmla="*/ 36 w 36"/>
                  <a:gd name="T3" fmla="*/ 0 h 2"/>
                  <a:gd name="T4" fmla="*/ 0 w 36"/>
                  <a:gd name="T5" fmla="*/ 2 h 2"/>
                  <a:gd name="T6" fmla="*/ 0 w 36"/>
                  <a:gd name="T7" fmla="*/ 2 h 2"/>
                  <a:gd name="T8" fmla="*/ 6 w 36"/>
                  <a:gd name="T9" fmla="*/ 2 h 2"/>
                  <a:gd name="T10" fmla="*/ 6 w 36"/>
                  <a:gd name="T11" fmla="*/ 2 h 2"/>
                  <a:gd name="T12" fmla="*/ 36 w 36"/>
                  <a:gd name="T13" fmla="*/ 0 h 2"/>
                  <a:gd name="T14" fmla="*/ 36 w 36"/>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
                    <a:moveTo>
                      <a:pt x="36" y="0"/>
                    </a:moveTo>
                    <a:lnTo>
                      <a:pt x="36" y="0"/>
                    </a:lnTo>
                    <a:lnTo>
                      <a:pt x="0" y="2"/>
                    </a:lnTo>
                    <a:lnTo>
                      <a:pt x="0" y="2"/>
                    </a:lnTo>
                    <a:lnTo>
                      <a:pt x="6" y="2"/>
                    </a:lnTo>
                    <a:lnTo>
                      <a:pt x="6" y="2"/>
                    </a:lnTo>
                    <a:lnTo>
                      <a:pt x="36" y="0"/>
                    </a:ln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201" tIns="31101" rIns="62201" bIns="31101" numCol="1" anchor="t" anchorCtr="0" compatLnSpc="1">
                <a:prstTxWarp prst="textNoShape">
                  <a:avLst/>
                </a:prstTxWarp>
              </a:bodyPr>
              <a:lstStyle/>
              <a:p>
                <a:pPr defTabSz="709451">
                  <a:defRPr/>
                </a:pPr>
                <a:endParaRPr lang="de-DE" sz="1428">
                  <a:solidFill>
                    <a:srgbClr val="000000"/>
                  </a:solidFill>
                  <a:latin typeface="Arial"/>
                </a:endParaRPr>
              </a:p>
            </p:txBody>
          </p:sp>
          <p:sp>
            <p:nvSpPr>
              <p:cNvPr id="74" name="Freeform 62">
                <a:extLst>
                  <a:ext uri="{FF2B5EF4-FFF2-40B4-BE49-F238E27FC236}">
                    <a16:creationId xmlns:a16="http://schemas.microsoft.com/office/drawing/2014/main" id="{DA110F33-6AA1-45BE-94D8-ADA028BD830E}"/>
                  </a:ext>
                </a:extLst>
              </p:cNvPr>
              <p:cNvSpPr>
                <a:spLocks/>
              </p:cNvSpPr>
              <p:nvPr/>
            </p:nvSpPr>
            <p:spPr bwMode="auto">
              <a:xfrm>
                <a:off x="4489450" y="3751263"/>
                <a:ext cx="1082675" cy="2711450"/>
              </a:xfrm>
              <a:custGeom>
                <a:avLst/>
                <a:gdLst>
                  <a:gd name="T0" fmla="*/ 98 w 682"/>
                  <a:gd name="T1" fmla="*/ 0 h 1708"/>
                  <a:gd name="T2" fmla="*/ 98 w 682"/>
                  <a:gd name="T3" fmla="*/ 0 h 1708"/>
                  <a:gd name="T4" fmla="*/ 78 w 682"/>
                  <a:gd name="T5" fmla="*/ 2 h 1708"/>
                  <a:gd name="T6" fmla="*/ 58 w 682"/>
                  <a:gd name="T7" fmla="*/ 8 h 1708"/>
                  <a:gd name="T8" fmla="*/ 42 w 682"/>
                  <a:gd name="T9" fmla="*/ 16 h 1708"/>
                  <a:gd name="T10" fmla="*/ 26 w 682"/>
                  <a:gd name="T11" fmla="*/ 28 h 1708"/>
                  <a:gd name="T12" fmla="*/ 14 w 682"/>
                  <a:gd name="T13" fmla="*/ 42 h 1708"/>
                  <a:gd name="T14" fmla="*/ 4 w 682"/>
                  <a:gd name="T15" fmla="*/ 60 h 1708"/>
                  <a:gd name="T16" fmla="*/ 2 w 682"/>
                  <a:gd name="T17" fmla="*/ 68 h 1708"/>
                  <a:gd name="T18" fmla="*/ 0 w 682"/>
                  <a:gd name="T19" fmla="*/ 76 h 1708"/>
                  <a:gd name="T20" fmla="*/ 0 w 682"/>
                  <a:gd name="T21" fmla="*/ 86 h 1708"/>
                  <a:gd name="T22" fmla="*/ 2 w 682"/>
                  <a:gd name="T23" fmla="*/ 96 h 1708"/>
                  <a:gd name="T24" fmla="*/ 304 w 682"/>
                  <a:gd name="T25" fmla="*/ 1708 h 1708"/>
                  <a:gd name="T26" fmla="*/ 682 w 682"/>
                  <a:gd name="T27" fmla="*/ 1708 h 1708"/>
                  <a:gd name="T28" fmla="*/ 682 w 682"/>
                  <a:gd name="T29" fmla="*/ 0 h 1708"/>
                  <a:gd name="T30" fmla="*/ 98 w 682"/>
                  <a:gd name="T31" fmla="*/ 0 h 1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2" h="1708">
                    <a:moveTo>
                      <a:pt x="98" y="0"/>
                    </a:moveTo>
                    <a:lnTo>
                      <a:pt x="98" y="0"/>
                    </a:lnTo>
                    <a:lnTo>
                      <a:pt x="78" y="2"/>
                    </a:lnTo>
                    <a:lnTo>
                      <a:pt x="58" y="8"/>
                    </a:lnTo>
                    <a:lnTo>
                      <a:pt x="42" y="16"/>
                    </a:lnTo>
                    <a:lnTo>
                      <a:pt x="26" y="28"/>
                    </a:lnTo>
                    <a:lnTo>
                      <a:pt x="14" y="42"/>
                    </a:lnTo>
                    <a:lnTo>
                      <a:pt x="4" y="60"/>
                    </a:lnTo>
                    <a:lnTo>
                      <a:pt x="2" y="68"/>
                    </a:lnTo>
                    <a:lnTo>
                      <a:pt x="0" y="76"/>
                    </a:lnTo>
                    <a:lnTo>
                      <a:pt x="0" y="86"/>
                    </a:lnTo>
                    <a:lnTo>
                      <a:pt x="2" y="96"/>
                    </a:lnTo>
                    <a:lnTo>
                      <a:pt x="304" y="1708"/>
                    </a:lnTo>
                    <a:lnTo>
                      <a:pt x="682" y="1708"/>
                    </a:lnTo>
                    <a:lnTo>
                      <a:pt x="682" y="0"/>
                    </a:lnTo>
                    <a:lnTo>
                      <a:pt x="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2201" tIns="31101" rIns="62201" bIns="31101" numCol="1" anchor="t" anchorCtr="0" compatLnSpc="1">
                <a:prstTxWarp prst="textNoShape">
                  <a:avLst/>
                </a:prstTxWarp>
              </a:bodyPr>
              <a:lstStyle/>
              <a:p>
                <a:pPr defTabSz="709451">
                  <a:defRPr/>
                </a:pPr>
                <a:endParaRPr lang="de-DE" sz="1428">
                  <a:solidFill>
                    <a:srgbClr val="000000"/>
                  </a:solidFill>
                  <a:latin typeface="Arial"/>
                </a:endParaRPr>
              </a:p>
            </p:txBody>
          </p:sp>
        </p:grpSp>
      </p:grpSp>
      <p:sp>
        <p:nvSpPr>
          <p:cNvPr id="29" name="Freccia a pentagono 28">
            <a:extLst>
              <a:ext uri="{FF2B5EF4-FFF2-40B4-BE49-F238E27FC236}">
                <a16:creationId xmlns:a16="http://schemas.microsoft.com/office/drawing/2014/main" id="{3231C7A0-605C-4B6B-8881-37827DBCE931}"/>
              </a:ext>
            </a:extLst>
          </p:cNvPr>
          <p:cNvSpPr/>
          <p:nvPr/>
        </p:nvSpPr>
        <p:spPr>
          <a:xfrm>
            <a:off x="4015982" y="2286268"/>
            <a:ext cx="1233609" cy="385682"/>
          </a:xfrm>
          <a:prstGeom prst="homePlate">
            <a:avLst/>
          </a:prstGeom>
          <a:solidFill>
            <a:schemeClr val="bg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defRPr/>
            </a:pPr>
            <a:r>
              <a:rPr lang="it-IT" sz="900" b="1" i="1" dirty="0">
                <a:solidFill>
                  <a:srgbClr val="415364"/>
                </a:solidFill>
                <a:latin typeface="Arial" panose="020B0604020202020204"/>
              </a:rPr>
              <a:t>Target</a:t>
            </a:r>
          </a:p>
        </p:txBody>
      </p:sp>
      <p:sp>
        <p:nvSpPr>
          <p:cNvPr id="31" name="CasellaDiTesto 30">
            <a:extLst>
              <a:ext uri="{FF2B5EF4-FFF2-40B4-BE49-F238E27FC236}">
                <a16:creationId xmlns:a16="http://schemas.microsoft.com/office/drawing/2014/main" id="{9AF87CF5-32D8-4810-B3FE-FFDC2AF0195B}"/>
              </a:ext>
            </a:extLst>
          </p:cNvPr>
          <p:cNvSpPr txBox="1"/>
          <p:nvPr/>
        </p:nvSpPr>
        <p:spPr>
          <a:xfrm>
            <a:off x="3820944" y="1724287"/>
            <a:ext cx="1059917" cy="238112"/>
          </a:xfrm>
          <a:prstGeom prst="rect">
            <a:avLst/>
          </a:prstGeom>
        </p:spPr>
        <p:txBody>
          <a:bodyPr vert="horz" wrap="square" lIns="68580" tIns="34290" rIns="68580" bIns="34290" rtlCol="0" anchor="t">
            <a:normAutofit/>
          </a:bodyPr>
          <a:lstStyle/>
          <a:p>
            <a:pPr defTabSz="685783">
              <a:defRPr/>
            </a:pPr>
            <a:r>
              <a:rPr lang="it-IT" sz="825" b="1" i="1" dirty="0">
                <a:solidFill>
                  <a:srgbClr val="415364"/>
                </a:solidFill>
                <a:latin typeface="Arial" panose="020B0604020202020204"/>
              </a:rPr>
              <a:t>New entry 2019</a:t>
            </a:r>
          </a:p>
        </p:txBody>
      </p:sp>
      <p:cxnSp>
        <p:nvCxnSpPr>
          <p:cNvPr id="62" name="Connettore 1 30">
            <a:extLst>
              <a:ext uri="{FF2B5EF4-FFF2-40B4-BE49-F238E27FC236}">
                <a16:creationId xmlns:a16="http://schemas.microsoft.com/office/drawing/2014/main" id="{2AEDA712-D3B0-4035-989F-D71077EC0467}"/>
              </a:ext>
            </a:extLst>
          </p:cNvPr>
          <p:cNvCxnSpPr/>
          <p:nvPr/>
        </p:nvCxnSpPr>
        <p:spPr>
          <a:xfrm>
            <a:off x="360687" y="3778890"/>
            <a:ext cx="8370000" cy="0"/>
          </a:xfrm>
          <a:prstGeom prst="line">
            <a:avLst/>
          </a:prstGeom>
          <a:ln w="12700" cap="rnd" cmpd="sng">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sp>
        <p:nvSpPr>
          <p:cNvPr id="63" name="Ovale 62">
            <a:extLst>
              <a:ext uri="{FF2B5EF4-FFF2-40B4-BE49-F238E27FC236}">
                <a16:creationId xmlns:a16="http://schemas.microsoft.com/office/drawing/2014/main" id="{12CDFC65-2F4E-437C-B7C0-C10CA43A1A19}"/>
              </a:ext>
            </a:extLst>
          </p:cNvPr>
          <p:cNvSpPr>
            <a:spLocks noChangeAspect="1"/>
          </p:cNvSpPr>
          <p:nvPr/>
        </p:nvSpPr>
        <p:spPr>
          <a:xfrm>
            <a:off x="343159" y="3487268"/>
            <a:ext cx="157516" cy="426884"/>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wrap="none" lIns="0" rtlCol="0" anchor="ctr"/>
          <a:lstStyle/>
          <a:p>
            <a:pPr defTabSz="342900">
              <a:defRPr/>
            </a:pPr>
            <a:r>
              <a:rPr lang="it-IT" sz="900" b="1" dirty="0">
                <a:solidFill>
                  <a:srgbClr val="415364"/>
                </a:solidFill>
                <a:latin typeface="Arial" panose="020B0604020202020204"/>
                <a:cs typeface="Arial"/>
              </a:rPr>
              <a:t>Ruolo e attività di CDP</a:t>
            </a:r>
          </a:p>
        </p:txBody>
      </p:sp>
      <p:grpSp>
        <p:nvGrpSpPr>
          <p:cNvPr id="67" name="Gruppo 66">
            <a:extLst>
              <a:ext uri="{FF2B5EF4-FFF2-40B4-BE49-F238E27FC236}">
                <a16:creationId xmlns:a16="http://schemas.microsoft.com/office/drawing/2014/main" id="{D03F2CAE-8E86-4D6A-BE77-0B24FECDE86A}"/>
              </a:ext>
            </a:extLst>
          </p:cNvPr>
          <p:cNvGrpSpPr/>
          <p:nvPr/>
        </p:nvGrpSpPr>
        <p:grpSpPr>
          <a:xfrm>
            <a:off x="349108" y="3932041"/>
            <a:ext cx="1424720" cy="610767"/>
            <a:chOff x="147314" y="4007257"/>
            <a:chExt cx="1337901" cy="639796"/>
          </a:xfrm>
        </p:grpSpPr>
        <p:sp>
          <p:nvSpPr>
            <p:cNvPr id="96" name="Freccia a pentagono 95">
              <a:extLst>
                <a:ext uri="{FF2B5EF4-FFF2-40B4-BE49-F238E27FC236}">
                  <a16:creationId xmlns:a16="http://schemas.microsoft.com/office/drawing/2014/main" id="{3D9FE242-AE5E-44F8-AF4C-39F97351580E}"/>
                </a:ext>
              </a:extLst>
            </p:cNvPr>
            <p:cNvSpPr/>
            <p:nvPr/>
          </p:nvSpPr>
          <p:spPr>
            <a:xfrm>
              <a:off x="213244" y="4060574"/>
              <a:ext cx="1271971" cy="586479"/>
            </a:xfrm>
            <a:prstGeom prst="homePlat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81000" rIns="81000" rtlCol="0" anchor="ctr"/>
            <a:lstStyle/>
            <a:p>
              <a:pPr algn="ctr">
                <a:defRPr/>
              </a:pPr>
              <a:r>
                <a:rPr lang="it-IT" sz="675" b="1" dirty="0">
                  <a:solidFill>
                    <a:srgbClr val="415364"/>
                  </a:solidFill>
                  <a:latin typeface="Arial" panose="020B0604020202020204"/>
                </a:rPr>
                <a:t>CDP è membro fondatore dell’iniziativa, nata nel </a:t>
              </a:r>
            </a:p>
            <a:p>
              <a:pPr algn="ctr">
                <a:defRPr/>
              </a:pPr>
              <a:r>
                <a:rPr lang="it-IT" sz="675" b="1" dirty="0">
                  <a:solidFill>
                    <a:srgbClr val="415364"/>
                  </a:solidFill>
                  <a:latin typeface="Arial" panose="020B0604020202020204"/>
                </a:rPr>
                <a:t>giugno 2018</a:t>
              </a:r>
              <a:endParaRPr lang="it-IT" sz="750" dirty="0">
                <a:solidFill>
                  <a:srgbClr val="415364"/>
                </a:solidFill>
                <a:latin typeface="Arial" panose="020B0604020202020204"/>
              </a:endParaRPr>
            </a:p>
          </p:txBody>
        </p:sp>
        <p:sp>
          <p:nvSpPr>
            <p:cNvPr id="97" name="Connettore 96">
              <a:extLst>
                <a:ext uri="{FF2B5EF4-FFF2-40B4-BE49-F238E27FC236}">
                  <a16:creationId xmlns:a16="http://schemas.microsoft.com/office/drawing/2014/main" id="{474A4414-FC3D-4A92-8BF0-C0DB29974421}"/>
                </a:ext>
              </a:extLst>
            </p:cNvPr>
            <p:cNvSpPr>
              <a:spLocks/>
            </p:cNvSpPr>
            <p:nvPr/>
          </p:nvSpPr>
          <p:spPr>
            <a:xfrm>
              <a:off x="147314" y="4007257"/>
              <a:ext cx="162270" cy="181013"/>
            </a:xfrm>
            <a:prstGeom prst="flowChartConnector">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675" b="1" dirty="0">
                  <a:solidFill>
                    <a:srgbClr val="415364"/>
                  </a:solidFill>
                  <a:latin typeface="Arial" panose="020B0604020202020204"/>
                </a:rPr>
                <a:t>1</a:t>
              </a:r>
              <a:endParaRPr lang="it-IT" sz="600" b="1" dirty="0">
                <a:solidFill>
                  <a:srgbClr val="415364"/>
                </a:solidFill>
                <a:latin typeface="Arial" panose="020B0604020202020204"/>
              </a:endParaRPr>
            </a:p>
          </p:txBody>
        </p:sp>
      </p:grpSp>
      <p:grpSp>
        <p:nvGrpSpPr>
          <p:cNvPr id="75" name="Gruppo 74">
            <a:extLst>
              <a:ext uri="{FF2B5EF4-FFF2-40B4-BE49-F238E27FC236}">
                <a16:creationId xmlns:a16="http://schemas.microsoft.com/office/drawing/2014/main" id="{CAB9AC0E-6E4B-478C-A558-3ADDF24AF6CD}"/>
              </a:ext>
            </a:extLst>
          </p:cNvPr>
          <p:cNvGrpSpPr/>
          <p:nvPr/>
        </p:nvGrpSpPr>
        <p:grpSpPr>
          <a:xfrm>
            <a:off x="5910218" y="3933632"/>
            <a:ext cx="1515145" cy="609171"/>
            <a:chOff x="5639900" y="4097703"/>
            <a:chExt cx="1587158" cy="638125"/>
          </a:xfrm>
        </p:grpSpPr>
        <p:sp>
          <p:nvSpPr>
            <p:cNvPr id="94" name="Freccia a gallone 93">
              <a:extLst>
                <a:ext uri="{FF2B5EF4-FFF2-40B4-BE49-F238E27FC236}">
                  <a16:creationId xmlns:a16="http://schemas.microsoft.com/office/drawing/2014/main" id="{86CA0E88-9B44-4EA2-B862-151C2E721242}"/>
                </a:ext>
              </a:extLst>
            </p:cNvPr>
            <p:cNvSpPr/>
            <p:nvPr/>
          </p:nvSpPr>
          <p:spPr>
            <a:xfrm>
              <a:off x="5671477" y="4146750"/>
              <a:ext cx="1555581" cy="589078"/>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81000" rIns="0" rtlCol="0" anchor="ctr"/>
            <a:lstStyle/>
            <a:p>
              <a:pPr algn="ctr">
                <a:defRPr/>
              </a:pPr>
              <a:r>
                <a:rPr lang="it-IT" sz="675" b="1" dirty="0">
                  <a:solidFill>
                    <a:srgbClr val="415364"/>
                  </a:solidFill>
                  <a:latin typeface="Arial" panose="020B0604020202020204"/>
                </a:rPr>
                <a:t>Incontro del </a:t>
              </a:r>
              <a:r>
                <a:rPr lang="it-IT" sz="675" b="1" dirty="0" err="1">
                  <a:solidFill>
                    <a:srgbClr val="415364"/>
                  </a:solidFill>
                  <a:latin typeface="Arial" panose="020B0604020202020204"/>
                </a:rPr>
                <a:t>Working</a:t>
              </a:r>
              <a:r>
                <a:rPr lang="it-IT" sz="675" b="1" dirty="0">
                  <a:solidFill>
                    <a:srgbClr val="415364"/>
                  </a:solidFill>
                  <a:latin typeface="Arial" panose="020B0604020202020204"/>
                </a:rPr>
                <a:t> Group a Colonia 16 Settembre</a:t>
              </a:r>
              <a:endParaRPr lang="it-IT" sz="675" dirty="0">
                <a:solidFill>
                  <a:srgbClr val="415364"/>
                </a:solidFill>
                <a:latin typeface="Arial" panose="020B0604020202020204"/>
              </a:endParaRPr>
            </a:p>
          </p:txBody>
        </p:sp>
        <p:sp>
          <p:nvSpPr>
            <p:cNvPr id="95" name="Connettore 94">
              <a:extLst>
                <a:ext uri="{FF2B5EF4-FFF2-40B4-BE49-F238E27FC236}">
                  <a16:creationId xmlns:a16="http://schemas.microsoft.com/office/drawing/2014/main" id="{788EE585-CED2-4D50-B35E-7EABA231BA46}"/>
                </a:ext>
              </a:extLst>
            </p:cNvPr>
            <p:cNvSpPr>
              <a:spLocks noChangeAspect="1"/>
            </p:cNvSpPr>
            <p:nvPr/>
          </p:nvSpPr>
          <p:spPr>
            <a:xfrm>
              <a:off x="5639900" y="4097703"/>
              <a:ext cx="180403" cy="180000"/>
            </a:xfrm>
            <a:prstGeom prst="flowChartConnector">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675" b="1" dirty="0">
                  <a:solidFill>
                    <a:srgbClr val="415364"/>
                  </a:solidFill>
                  <a:latin typeface="Arial" panose="020B0604020202020204"/>
                </a:rPr>
                <a:t>4</a:t>
              </a:r>
              <a:endParaRPr lang="it-IT" sz="600" b="1" dirty="0">
                <a:solidFill>
                  <a:srgbClr val="415364"/>
                </a:solidFill>
                <a:latin typeface="Arial" panose="020B0604020202020204"/>
              </a:endParaRPr>
            </a:p>
          </p:txBody>
        </p:sp>
      </p:grpSp>
      <p:grpSp>
        <p:nvGrpSpPr>
          <p:cNvPr id="76" name="Gruppo 75">
            <a:extLst>
              <a:ext uri="{FF2B5EF4-FFF2-40B4-BE49-F238E27FC236}">
                <a16:creationId xmlns:a16="http://schemas.microsoft.com/office/drawing/2014/main" id="{66FFD261-6854-405E-847A-0CA29D8D2F7E}"/>
              </a:ext>
            </a:extLst>
          </p:cNvPr>
          <p:cNvGrpSpPr/>
          <p:nvPr/>
        </p:nvGrpSpPr>
        <p:grpSpPr>
          <a:xfrm>
            <a:off x="3399939" y="3920619"/>
            <a:ext cx="2645013" cy="614162"/>
            <a:chOff x="5652000" y="4092483"/>
            <a:chExt cx="2770723" cy="643353"/>
          </a:xfrm>
        </p:grpSpPr>
        <p:sp>
          <p:nvSpPr>
            <p:cNvPr id="92" name="Freccia a gallone 91">
              <a:extLst>
                <a:ext uri="{FF2B5EF4-FFF2-40B4-BE49-F238E27FC236}">
                  <a16:creationId xmlns:a16="http://schemas.microsoft.com/office/drawing/2014/main" id="{3410BC59-A395-4AC5-9B40-FF6B45E9396B}"/>
                </a:ext>
              </a:extLst>
            </p:cNvPr>
            <p:cNvSpPr/>
            <p:nvPr/>
          </p:nvSpPr>
          <p:spPr>
            <a:xfrm>
              <a:off x="5671465" y="4149362"/>
              <a:ext cx="2751258" cy="586474"/>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81000" rIns="27000" rtlCol="0" anchor="ctr"/>
            <a:lstStyle/>
            <a:p>
              <a:pPr algn="ctr">
                <a:defRPr/>
              </a:pPr>
              <a:r>
                <a:rPr lang="it-IT" sz="675" b="1" dirty="0">
                  <a:solidFill>
                    <a:srgbClr val="415364"/>
                  </a:solidFill>
                  <a:latin typeface="Arial" panose="020B0604020202020204"/>
                </a:rPr>
                <a:t>Durante il G7, 2X Challenge è stata al centro di una campagna di sensibilizzazione mediatica, comparendo anche in una nota nel briefing pack dei Capi di Stato</a:t>
              </a:r>
            </a:p>
          </p:txBody>
        </p:sp>
        <p:sp>
          <p:nvSpPr>
            <p:cNvPr id="93" name="Connettore 92">
              <a:extLst>
                <a:ext uri="{FF2B5EF4-FFF2-40B4-BE49-F238E27FC236}">
                  <a16:creationId xmlns:a16="http://schemas.microsoft.com/office/drawing/2014/main" id="{28618A01-6B14-410F-8589-95755E5C89E0}"/>
                </a:ext>
              </a:extLst>
            </p:cNvPr>
            <p:cNvSpPr>
              <a:spLocks noChangeAspect="1"/>
            </p:cNvSpPr>
            <p:nvPr/>
          </p:nvSpPr>
          <p:spPr>
            <a:xfrm>
              <a:off x="5652000" y="4092483"/>
              <a:ext cx="180403" cy="180000"/>
            </a:xfrm>
            <a:prstGeom prst="flowChartConnector">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675" b="1" dirty="0">
                  <a:solidFill>
                    <a:srgbClr val="415364"/>
                  </a:solidFill>
                  <a:latin typeface="Arial" panose="020B0604020202020204"/>
                </a:rPr>
                <a:t>3</a:t>
              </a:r>
              <a:endParaRPr lang="it-IT" sz="600" b="1" dirty="0">
                <a:solidFill>
                  <a:srgbClr val="415364"/>
                </a:solidFill>
                <a:latin typeface="Arial" panose="020B0604020202020204"/>
              </a:endParaRPr>
            </a:p>
          </p:txBody>
        </p:sp>
      </p:grpSp>
      <p:grpSp>
        <p:nvGrpSpPr>
          <p:cNvPr id="77" name="Gruppo 76">
            <a:extLst>
              <a:ext uri="{FF2B5EF4-FFF2-40B4-BE49-F238E27FC236}">
                <a16:creationId xmlns:a16="http://schemas.microsoft.com/office/drawing/2014/main" id="{C4946F49-3DAF-4AE8-99E6-5E1A6A558391}"/>
              </a:ext>
            </a:extLst>
          </p:cNvPr>
          <p:cNvGrpSpPr/>
          <p:nvPr/>
        </p:nvGrpSpPr>
        <p:grpSpPr>
          <a:xfrm>
            <a:off x="1639093" y="3924021"/>
            <a:ext cx="1895581" cy="610760"/>
            <a:chOff x="5422396" y="4096039"/>
            <a:chExt cx="1985675" cy="639790"/>
          </a:xfrm>
        </p:grpSpPr>
        <p:sp>
          <p:nvSpPr>
            <p:cNvPr id="90" name="Freccia a gallone 89">
              <a:extLst>
                <a:ext uri="{FF2B5EF4-FFF2-40B4-BE49-F238E27FC236}">
                  <a16:creationId xmlns:a16="http://schemas.microsoft.com/office/drawing/2014/main" id="{3E4FA9FF-4E5A-4557-AA19-99AF17C97439}"/>
                </a:ext>
              </a:extLst>
            </p:cNvPr>
            <p:cNvSpPr/>
            <p:nvPr/>
          </p:nvSpPr>
          <p:spPr>
            <a:xfrm>
              <a:off x="5445772" y="4146752"/>
              <a:ext cx="1962299" cy="589077"/>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81000" rIns="0" rtlCol="0" anchor="ctr"/>
            <a:lstStyle/>
            <a:p>
              <a:pPr algn="ctr">
                <a:defRPr/>
              </a:pPr>
              <a:r>
                <a:rPr lang="it-IT" sz="675" b="1" dirty="0">
                  <a:solidFill>
                    <a:srgbClr val="415364"/>
                  </a:solidFill>
                  <a:latin typeface="Arial" panose="020B0604020202020204"/>
                </a:rPr>
                <a:t>In agosto, CDP ha preso parte al </a:t>
              </a:r>
              <a:r>
                <a:rPr lang="it-IT" sz="675" b="1" dirty="0" err="1">
                  <a:solidFill>
                    <a:srgbClr val="415364"/>
                  </a:solidFill>
                  <a:latin typeface="Arial" panose="020B0604020202020204"/>
                </a:rPr>
                <a:t>Working</a:t>
              </a:r>
              <a:r>
                <a:rPr lang="it-IT" sz="675" b="1" dirty="0">
                  <a:solidFill>
                    <a:srgbClr val="415364"/>
                  </a:solidFill>
                  <a:latin typeface="Arial" panose="020B0604020202020204"/>
                </a:rPr>
                <a:t> Group Meeting su obiettivi raggiunti e azioni da intraprendere</a:t>
              </a:r>
            </a:p>
          </p:txBody>
        </p:sp>
        <p:sp>
          <p:nvSpPr>
            <p:cNvPr id="91" name="Connettore 90">
              <a:extLst>
                <a:ext uri="{FF2B5EF4-FFF2-40B4-BE49-F238E27FC236}">
                  <a16:creationId xmlns:a16="http://schemas.microsoft.com/office/drawing/2014/main" id="{B31E5E73-0112-4DDC-8152-42FBAFDC8831}"/>
                </a:ext>
              </a:extLst>
            </p:cNvPr>
            <p:cNvSpPr>
              <a:spLocks noChangeAspect="1"/>
            </p:cNvSpPr>
            <p:nvPr/>
          </p:nvSpPr>
          <p:spPr>
            <a:xfrm>
              <a:off x="5422396" y="4096039"/>
              <a:ext cx="180403" cy="180000"/>
            </a:xfrm>
            <a:prstGeom prst="flowChartConnector">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675" b="1" dirty="0">
                  <a:solidFill>
                    <a:srgbClr val="415364"/>
                  </a:solidFill>
                  <a:latin typeface="Arial" panose="020B0604020202020204"/>
                </a:rPr>
                <a:t>2</a:t>
              </a:r>
              <a:endParaRPr lang="it-IT" sz="600" b="1" dirty="0">
                <a:solidFill>
                  <a:srgbClr val="415364"/>
                </a:solidFill>
                <a:latin typeface="Arial" panose="020B0604020202020204"/>
              </a:endParaRPr>
            </a:p>
          </p:txBody>
        </p:sp>
      </p:grpSp>
      <p:grpSp>
        <p:nvGrpSpPr>
          <p:cNvPr id="100" name="Gruppo 99">
            <a:extLst>
              <a:ext uri="{FF2B5EF4-FFF2-40B4-BE49-F238E27FC236}">
                <a16:creationId xmlns:a16="http://schemas.microsoft.com/office/drawing/2014/main" id="{31C0E0C4-5832-4820-80BE-DC81AF1F809B}"/>
              </a:ext>
            </a:extLst>
          </p:cNvPr>
          <p:cNvGrpSpPr/>
          <p:nvPr/>
        </p:nvGrpSpPr>
        <p:grpSpPr>
          <a:xfrm>
            <a:off x="7290628" y="3928646"/>
            <a:ext cx="1716214" cy="614162"/>
            <a:chOff x="5671465" y="4092476"/>
            <a:chExt cx="1797784" cy="643353"/>
          </a:xfrm>
        </p:grpSpPr>
        <p:sp>
          <p:nvSpPr>
            <p:cNvPr id="101" name="Freccia a gallone 100">
              <a:extLst>
                <a:ext uri="{FF2B5EF4-FFF2-40B4-BE49-F238E27FC236}">
                  <a16:creationId xmlns:a16="http://schemas.microsoft.com/office/drawing/2014/main" id="{BE97077E-B454-401F-B2EC-15EE01C1F61A}"/>
                </a:ext>
              </a:extLst>
            </p:cNvPr>
            <p:cNvSpPr/>
            <p:nvPr/>
          </p:nvSpPr>
          <p:spPr>
            <a:xfrm>
              <a:off x="5671476" y="4146750"/>
              <a:ext cx="1797773" cy="589079"/>
            </a:xfrm>
            <a:prstGeom prst="chevr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it-IT" sz="675" b="1" dirty="0">
                  <a:solidFill>
                    <a:srgbClr val="415364"/>
                  </a:solidFill>
                  <a:latin typeface="Arial" panose="020B0604020202020204"/>
                </a:rPr>
                <a:t>Possibilità di condivisione di opportunità di business tra le </a:t>
              </a:r>
              <a:r>
                <a:rPr lang="it-IT" sz="675" b="1" dirty="0" err="1">
                  <a:solidFill>
                    <a:srgbClr val="415364"/>
                  </a:solidFill>
                  <a:latin typeface="Arial" panose="020B0604020202020204"/>
                </a:rPr>
                <a:t>DFIs</a:t>
              </a:r>
              <a:r>
                <a:rPr lang="it-IT" sz="675" b="1" dirty="0">
                  <a:solidFill>
                    <a:srgbClr val="415364"/>
                  </a:solidFill>
                  <a:latin typeface="Arial" panose="020B0604020202020204"/>
                </a:rPr>
                <a:t> del G7</a:t>
              </a:r>
              <a:endParaRPr lang="it-IT" sz="675" dirty="0">
                <a:solidFill>
                  <a:srgbClr val="415364"/>
                </a:solidFill>
                <a:latin typeface="Arial" panose="020B0604020202020204"/>
              </a:endParaRPr>
            </a:p>
          </p:txBody>
        </p:sp>
        <p:sp>
          <p:nvSpPr>
            <p:cNvPr id="102" name="Connettore 101">
              <a:extLst>
                <a:ext uri="{FF2B5EF4-FFF2-40B4-BE49-F238E27FC236}">
                  <a16:creationId xmlns:a16="http://schemas.microsoft.com/office/drawing/2014/main" id="{2429976C-8C43-40BD-8C96-ED1F681E8C8D}"/>
                </a:ext>
              </a:extLst>
            </p:cNvPr>
            <p:cNvSpPr>
              <a:spLocks noChangeAspect="1"/>
            </p:cNvSpPr>
            <p:nvPr/>
          </p:nvSpPr>
          <p:spPr>
            <a:xfrm>
              <a:off x="5671465" y="4092476"/>
              <a:ext cx="180403" cy="180000"/>
            </a:xfrm>
            <a:prstGeom prst="flowChartConnector">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675" b="1" dirty="0">
                  <a:solidFill>
                    <a:srgbClr val="415364"/>
                  </a:solidFill>
                  <a:latin typeface="Arial" panose="020B0604020202020204"/>
                </a:rPr>
                <a:t>5</a:t>
              </a:r>
              <a:endParaRPr lang="it-IT" sz="600" b="1" dirty="0">
                <a:solidFill>
                  <a:srgbClr val="415364"/>
                </a:solidFill>
                <a:latin typeface="Arial" panose="020B0604020202020204"/>
              </a:endParaRPr>
            </a:p>
          </p:txBody>
        </p:sp>
      </p:grpSp>
      <p:sp>
        <p:nvSpPr>
          <p:cNvPr id="106" name="Freeform 48">
            <a:extLst>
              <a:ext uri="{FF2B5EF4-FFF2-40B4-BE49-F238E27FC236}">
                <a16:creationId xmlns:a16="http://schemas.microsoft.com/office/drawing/2014/main" id="{B3772F3A-4A67-48F5-8D51-308BBE04818B}"/>
              </a:ext>
            </a:extLst>
          </p:cNvPr>
          <p:cNvSpPr>
            <a:spLocks noChangeAspect="1" noChangeArrowheads="1"/>
          </p:cNvSpPr>
          <p:nvPr/>
        </p:nvSpPr>
        <p:spPr bwMode="auto">
          <a:xfrm rot="18482757">
            <a:off x="3473877" y="1761977"/>
            <a:ext cx="335859" cy="253225"/>
          </a:xfrm>
          <a:custGeom>
            <a:avLst/>
            <a:gdLst>
              <a:gd name="T0" fmla="*/ 199576 w 445"/>
              <a:gd name="T1" fmla="*/ 150364 h 337"/>
              <a:gd name="T2" fmla="*/ 199576 w 445"/>
              <a:gd name="T3" fmla="*/ 150364 h 337"/>
              <a:gd name="T4" fmla="*/ 80010 w 445"/>
              <a:gd name="T5" fmla="*/ 43856 h 337"/>
              <a:gd name="T6" fmla="*/ 80010 w 445"/>
              <a:gd name="T7" fmla="*/ 0 h 337"/>
              <a:gd name="T8" fmla="*/ 0 w 445"/>
              <a:gd name="T9" fmla="*/ 71155 h 337"/>
              <a:gd name="T10" fmla="*/ 80010 w 445"/>
              <a:gd name="T11" fmla="*/ 146337 h 337"/>
              <a:gd name="T12" fmla="*/ 80010 w 445"/>
              <a:gd name="T13" fmla="*/ 98900 h 337"/>
              <a:gd name="T14" fmla="*/ 199576 w 445"/>
              <a:gd name="T15" fmla="*/ 150364 h 33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45" h="337">
                <a:moveTo>
                  <a:pt x="444" y="336"/>
                </a:moveTo>
                <a:lnTo>
                  <a:pt x="444" y="336"/>
                </a:lnTo>
                <a:cubicBezTo>
                  <a:pt x="444" y="336"/>
                  <a:pt x="399" y="98"/>
                  <a:pt x="178" y="98"/>
                </a:cubicBezTo>
                <a:cubicBezTo>
                  <a:pt x="178" y="0"/>
                  <a:pt x="178" y="0"/>
                  <a:pt x="178" y="0"/>
                </a:cubicBezTo>
                <a:cubicBezTo>
                  <a:pt x="0" y="159"/>
                  <a:pt x="0" y="159"/>
                  <a:pt x="0" y="159"/>
                </a:cubicBezTo>
                <a:cubicBezTo>
                  <a:pt x="178" y="327"/>
                  <a:pt x="178" y="327"/>
                  <a:pt x="178" y="327"/>
                </a:cubicBezTo>
                <a:cubicBezTo>
                  <a:pt x="178" y="221"/>
                  <a:pt x="178" y="221"/>
                  <a:pt x="178" y="221"/>
                </a:cubicBezTo>
                <a:cubicBezTo>
                  <a:pt x="293" y="221"/>
                  <a:pt x="381" y="230"/>
                  <a:pt x="444" y="336"/>
                </a:cubicBezTo>
              </a:path>
            </a:pathLst>
          </a:custGeom>
          <a:solidFill>
            <a:schemeClr val="bg1"/>
          </a:solidFill>
          <a:ln w="19050">
            <a:solidFill>
              <a:schemeClr val="bg2"/>
            </a:solidFill>
          </a:ln>
          <a:effectLst/>
        </p:spPr>
        <p:txBody>
          <a:bodyPr wrap="none" lIns="17360" tIns="8680" rIns="17360" bIns="8680" anchor="ctr"/>
          <a:lstStyle/>
          <a:p>
            <a:pPr defTabSz="481432"/>
            <a:endParaRPr lang="en-US" sz="711">
              <a:solidFill>
                <a:prstClr val="black"/>
              </a:solidFill>
              <a:latin typeface="Lato Light"/>
            </a:endParaRPr>
          </a:p>
        </p:txBody>
      </p:sp>
      <p:pic>
        <p:nvPicPr>
          <p:cNvPr id="108" name="Immagine 107">
            <a:extLst>
              <a:ext uri="{FF2B5EF4-FFF2-40B4-BE49-F238E27FC236}">
                <a16:creationId xmlns:a16="http://schemas.microsoft.com/office/drawing/2014/main" id="{9C50E31F-F100-45C7-8EEA-681649064209}"/>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056994" y="1417391"/>
            <a:ext cx="1927548" cy="375745"/>
          </a:xfrm>
          <a:prstGeom prst="rect">
            <a:avLst/>
          </a:prstGeom>
        </p:spPr>
      </p:pic>
    </p:spTree>
    <p:extLst>
      <p:ext uri="{BB962C8B-B14F-4D97-AF65-F5344CB8AC3E}">
        <p14:creationId xmlns:p14="http://schemas.microsoft.com/office/powerpoint/2010/main" val="11774307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4">
            <a:extLst>
              <a:ext uri="{FF2B5EF4-FFF2-40B4-BE49-F238E27FC236}">
                <a16:creationId xmlns:a16="http://schemas.microsoft.com/office/drawing/2014/main" id="{6C869143-6E28-4943-BE17-96F97E969E4B}"/>
              </a:ext>
            </a:extLst>
          </p:cNvPr>
          <p:cNvSpPr>
            <a:spLocks noGrp="1"/>
          </p:cNvSpPr>
          <p:nvPr>
            <p:ph type="body" idx="13"/>
          </p:nvPr>
        </p:nvSpPr>
        <p:spPr>
          <a:xfrm>
            <a:off x="250825" y="268289"/>
            <a:ext cx="7514201" cy="279854"/>
          </a:xfrm>
        </p:spPr>
        <p:txBody>
          <a:bodyPr/>
          <a:lstStyle/>
          <a:p>
            <a:r>
              <a:rPr lang="it-IT" dirty="0"/>
              <a:t>Dal 1850 un crescente sostegno al Paese</a:t>
            </a:r>
          </a:p>
        </p:txBody>
      </p:sp>
      <p:sp>
        <p:nvSpPr>
          <p:cNvPr id="32" name="Segnaposto numero diapositiva 3">
            <a:extLst>
              <a:ext uri="{FF2B5EF4-FFF2-40B4-BE49-F238E27FC236}">
                <a16:creationId xmlns:a16="http://schemas.microsoft.com/office/drawing/2014/main" id="{8E062D89-1FC3-42B6-99CC-9FD85876B28B}"/>
              </a:ext>
            </a:extLst>
          </p:cNvPr>
          <p:cNvSpPr>
            <a:spLocks noGrp="1"/>
          </p:cNvSpPr>
          <p:nvPr>
            <p:ph type="sldNum" sz="quarter" idx="12"/>
          </p:nvPr>
        </p:nvSpPr>
        <p:spPr>
          <a:xfrm>
            <a:off x="250825" y="4723393"/>
            <a:ext cx="1008062" cy="183687"/>
          </a:xfrm>
        </p:spPr>
        <p:txBody>
          <a:bodyPr/>
          <a:lstStyle/>
          <a:p>
            <a:fld id="{608DA0FE-9C19-F746-8419-6700E348BF78}" type="slidenum">
              <a:rPr lang="it-IT" smtClean="0"/>
              <a:pPr/>
              <a:t>4</a:t>
            </a:fld>
            <a:endParaRPr lang="it-IT" dirty="0"/>
          </a:p>
        </p:txBody>
      </p:sp>
      <p:sp>
        <p:nvSpPr>
          <p:cNvPr id="2" name="Rettangolo 1">
            <a:extLst>
              <a:ext uri="{FF2B5EF4-FFF2-40B4-BE49-F238E27FC236}">
                <a16:creationId xmlns:a16="http://schemas.microsoft.com/office/drawing/2014/main" id="{EFD0A676-964F-45EE-AD8F-9579142F0D8D}"/>
              </a:ext>
            </a:extLst>
          </p:cNvPr>
          <p:cNvSpPr/>
          <p:nvPr/>
        </p:nvSpPr>
        <p:spPr>
          <a:xfrm>
            <a:off x="76429" y="698022"/>
            <a:ext cx="9049700" cy="276999"/>
          </a:xfrm>
          <a:prstGeom prst="rect">
            <a:avLst/>
          </a:prstGeom>
        </p:spPr>
        <p:txBody>
          <a:bodyPr wrap="square">
            <a:spAutoFit/>
          </a:bodyPr>
          <a:lstStyle/>
          <a:p>
            <a:r>
              <a:rPr lang="it-IT" sz="1200" dirty="0">
                <a:solidFill>
                  <a:srgbClr val="415064"/>
                </a:solidFill>
              </a:rPr>
              <a:t>Negli ultimi anni CDP ha </a:t>
            </a:r>
            <a:r>
              <a:rPr lang="it-IT" sz="1200" b="1" dirty="0">
                <a:solidFill>
                  <a:srgbClr val="415064"/>
                </a:solidFill>
              </a:rPr>
              <a:t>significativamente ampliato il perimetro della sua attività </a:t>
            </a:r>
            <a:r>
              <a:rPr lang="it-IT" sz="1200" dirty="0">
                <a:solidFill>
                  <a:srgbClr val="415064"/>
                </a:solidFill>
              </a:rPr>
              <a:t>per rispondere al contesto macroeconomico</a:t>
            </a:r>
          </a:p>
        </p:txBody>
      </p:sp>
      <p:sp>
        <p:nvSpPr>
          <p:cNvPr id="30" name="object 2">
            <a:extLst>
              <a:ext uri="{FF2B5EF4-FFF2-40B4-BE49-F238E27FC236}">
                <a16:creationId xmlns:a16="http://schemas.microsoft.com/office/drawing/2014/main" id="{71689F64-ABD8-483B-A580-8797CF9C46D5}"/>
              </a:ext>
            </a:extLst>
          </p:cNvPr>
          <p:cNvSpPr/>
          <p:nvPr/>
        </p:nvSpPr>
        <p:spPr>
          <a:xfrm>
            <a:off x="4517135" y="1253870"/>
            <a:ext cx="0" cy="1118235"/>
          </a:xfrm>
          <a:custGeom>
            <a:avLst/>
            <a:gdLst/>
            <a:ahLst/>
            <a:cxnLst/>
            <a:rect l="l" t="t" r="r" b="b"/>
            <a:pathLst>
              <a:path h="1490980">
                <a:moveTo>
                  <a:pt x="0" y="0"/>
                </a:moveTo>
                <a:lnTo>
                  <a:pt x="0" y="1490472"/>
                </a:lnTo>
              </a:path>
            </a:pathLst>
          </a:custGeom>
          <a:ln w="12192">
            <a:solidFill>
              <a:srgbClr val="A4A4A4"/>
            </a:solidFill>
            <a:prstDash val="sysDash"/>
          </a:ln>
        </p:spPr>
        <p:txBody>
          <a:bodyPr wrap="square" lIns="0" tIns="0" rIns="0" bIns="0" rtlCol="0"/>
          <a:lstStyle/>
          <a:p>
            <a:endParaRPr sz="918"/>
          </a:p>
        </p:txBody>
      </p:sp>
      <p:sp>
        <p:nvSpPr>
          <p:cNvPr id="31" name="object 3">
            <a:extLst>
              <a:ext uri="{FF2B5EF4-FFF2-40B4-BE49-F238E27FC236}">
                <a16:creationId xmlns:a16="http://schemas.microsoft.com/office/drawing/2014/main" id="{A7098B8A-39FD-486B-863A-770B1E3679B1}"/>
              </a:ext>
            </a:extLst>
          </p:cNvPr>
          <p:cNvSpPr/>
          <p:nvPr/>
        </p:nvSpPr>
        <p:spPr>
          <a:xfrm>
            <a:off x="3202686" y="1477899"/>
            <a:ext cx="1429" cy="982028"/>
          </a:xfrm>
          <a:custGeom>
            <a:avLst/>
            <a:gdLst/>
            <a:ahLst/>
            <a:cxnLst/>
            <a:rect l="l" t="t" r="r" b="b"/>
            <a:pathLst>
              <a:path w="1904" h="1309370">
                <a:moveTo>
                  <a:pt x="1524" y="0"/>
                </a:moveTo>
                <a:lnTo>
                  <a:pt x="0" y="1309115"/>
                </a:lnTo>
              </a:path>
            </a:pathLst>
          </a:custGeom>
          <a:ln w="12192">
            <a:solidFill>
              <a:srgbClr val="A4A4A4"/>
            </a:solidFill>
            <a:prstDash val="sysDash"/>
          </a:ln>
        </p:spPr>
        <p:txBody>
          <a:bodyPr wrap="square" lIns="0" tIns="0" rIns="0" bIns="0" rtlCol="0"/>
          <a:lstStyle/>
          <a:p>
            <a:endParaRPr sz="918"/>
          </a:p>
        </p:txBody>
      </p:sp>
      <p:sp>
        <p:nvSpPr>
          <p:cNvPr id="33" name="object 4">
            <a:extLst>
              <a:ext uri="{FF2B5EF4-FFF2-40B4-BE49-F238E27FC236}">
                <a16:creationId xmlns:a16="http://schemas.microsoft.com/office/drawing/2014/main" id="{5FE6D2FE-4D29-4569-A48F-3AF094D8D5DC}"/>
              </a:ext>
            </a:extLst>
          </p:cNvPr>
          <p:cNvSpPr/>
          <p:nvPr/>
        </p:nvSpPr>
        <p:spPr>
          <a:xfrm>
            <a:off x="4513707" y="2578256"/>
            <a:ext cx="4630579" cy="2410778"/>
          </a:xfrm>
          <a:custGeom>
            <a:avLst/>
            <a:gdLst/>
            <a:ahLst/>
            <a:cxnLst/>
            <a:rect l="l" t="t" r="r" b="b"/>
            <a:pathLst>
              <a:path w="6174105" h="3214370">
                <a:moveTo>
                  <a:pt x="0" y="3214116"/>
                </a:moveTo>
                <a:lnTo>
                  <a:pt x="6173724" y="3214116"/>
                </a:lnTo>
                <a:lnTo>
                  <a:pt x="6173724" y="0"/>
                </a:lnTo>
                <a:lnTo>
                  <a:pt x="0" y="0"/>
                </a:lnTo>
                <a:lnTo>
                  <a:pt x="0" y="3214116"/>
                </a:lnTo>
                <a:close/>
              </a:path>
            </a:pathLst>
          </a:custGeom>
          <a:solidFill>
            <a:srgbClr val="F0F0F0"/>
          </a:solidFill>
        </p:spPr>
        <p:txBody>
          <a:bodyPr wrap="square" lIns="0" tIns="0" rIns="0" bIns="0" rtlCol="0"/>
          <a:lstStyle/>
          <a:p>
            <a:endParaRPr sz="918"/>
          </a:p>
        </p:txBody>
      </p:sp>
      <p:sp>
        <p:nvSpPr>
          <p:cNvPr id="34" name="object 5">
            <a:extLst>
              <a:ext uri="{FF2B5EF4-FFF2-40B4-BE49-F238E27FC236}">
                <a16:creationId xmlns:a16="http://schemas.microsoft.com/office/drawing/2014/main" id="{6B1CAA26-CBE2-4F02-9F1E-80777A745BDF}"/>
              </a:ext>
            </a:extLst>
          </p:cNvPr>
          <p:cNvSpPr/>
          <p:nvPr/>
        </p:nvSpPr>
        <p:spPr>
          <a:xfrm>
            <a:off x="4325492" y="1505353"/>
            <a:ext cx="4818698" cy="1485423"/>
          </a:xfrm>
          <a:custGeom>
            <a:avLst/>
            <a:gdLst/>
            <a:ahLst/>
            <a:cxnLst/>
            <a:rect l="l" t="t" r="r" b="b"/>
            <a:pathLst>
              <a:path w="6424930" h="1980564">
                <a:moveTo>
                  <a:pt x="6424675" y="0"/>
                </a:moveTo>
                <a:lnTo>
                  <a:pt x="0" y="1418306"/>
                </a:lnTo>
                <a:lnTo>
                  <a:pt x="6424676" y="1980342"/>
                </a:lnTo>
                <a:lnTo>
                  <a:pt x="6424675" y="0"/>
                </a:lnTo>
                <a:close/>
              </a:path>
            </a:pathLst>
          </a:custGeom>
          <a:solidFill>
            <a:srgbClr val="F0F0F0"/>
          </a:solidFill>
        </p:spPr>
        <p:txBody>
          <a:bodyPr wrap="square" lIns="0" tIns="0" rIns="0" bIns="0" rtlCol="0"/>
          <a:lstStyle/>
          <a:p>
            <a:endParaRPr sz="918"/>
          </a:p>
        </p:txBody>
      </p:sp>
      <p:sp>
        <p:nvSpPr>
          <p:cNvPr id="35" name="object 7">
            <a:extLst>
              <a:ext uri="{FF2B5EF4-FFF2-40B4-BE49-F238E27FC236}">
                <a16:creationId xmlns:a16="http://schemas.microsoft.com/office/drawing/2014/main" id="{E98A7D42-8490-42EA-9F8C-62324DD0D23B}"/>
              </a:ext>
            </a:extLst>
          </p:cNvPr>
          <p:cNvSpPr/>
          <p:nvPr/>
        </p:nvSpPr>
        <p:spPr>
          <a:xfrm>
            <a:off x="192023" y="2554605"/>
            <a:ext cx="1364742" cy="1086993"/>
          </a:xfrm>
          <a:prstGeom prst="rect">
            <a:avLst/>
          </a:prstGeom>
          <a:blipFill>
            <a:blip r:embed="rId3" cstate="print"/>
            <a:stretch>
              <a:fillRect/>
            </a:stretch>
          </a:blipFill>
        </p:spPr>
        <p:txBody>
          <a:bodyPr wrap="square" lIns="0" tIns="0" rIns="0" bIns="0" rtlCol="0"/>
          <a:lstStyle/>
          <a:p>
            <a:endParaRPr sz="918"/>
          </a:p>
        </p:txBody>
      </p:sp>
      <p:sp>
        <p:nvSpPr>
          <p:cNvPr id="36" name="object 8">
            <a:extLst>
              <a:ext uri="{FF2B5EF4-FFF2-40B4-BE49-F238E27FC236}">
                <a16:creationId xmlns:a16="http://schemas.microsoft.com/office/drawing/2014/main" id="{8A36F762-C47A-4B99-8F66-DF56C7816442}"/>
              </a:ext>
            </a:extLst>
          </p:cNvPr>
          <p:cNvSpPr/>
          <p:nvPr/>
        </p:nvSpPr>
        <p:spPr>
          <a:xfrm>
            <a:off x="230886" y="2593466"/>
            <a:ext cx="1290446" cy="1012698"/>
          </a:xfrm>
          <a:prstGeom prst="rect">
            <a:avLst/>
          </a:prstGeom>
          <a:blipFill>
            <a:blip r:embed="rId4" cstate="print"/>
            <a:stretch>
              <a:fillRect/>
            </a:stretch>
          </a:blipFill>
        </p:spPr>
        <p:txBody>
          <a:bodyPr wrap="square" lIns="0" tIns="0" rIns="0" bIns="0" rtlCol="0"/>
          <a:lstStyle/>
          <a:p>
            <a:endParaRPr sz="918"/>
          </a:p>
        </p:txBody>
      </p:sp>
      <p:sp>
        <p:nvSpPr>
          <p:cNvPr id="37" name="object 9">
            <a:extLst>
              <a:ext uri="{FF2B5EF4-FFF2-40B4-BE49-F238E27FC236}">
                <a16:creationId xmlns:a16="http://schemas.microsoft.com/office/drawing/2014/main" id="{AA8FA55B-1923-4587-8C9B-749F428D6EEF}"/>
              </a:ext>
            </a:extLst>
          </p:cNvPr>
          <p:cNvSpPr txBox="1"/>
          <p:nvPr/>
        </p:nvSpPr>
        <p:spPr>
          <a:xfrm>
            <a:off x="195475" y="3641598"/>
            <a:ext cx="1679821" cy="948337"/>
          </a:xfrm>
          <a:prstGeom prst="rect">
            <a:avLst/>
          </a:prstGeom>
        </p:spPr>
        <p:txBody>
          <a:bodyPr vert="horz" wrap="square" lIns="0" tIns="55245" rIns="0" bIns="0" rtlCol="0">
            <a:spAutoFit/>
          </a:bodyPr>
          <a:lstStyle/>
          <a:p>
            <a:pPr marL="9525">
              <a:spcBef>
                <a:spcPts val="435"/>
              </a:spcBef>
            </a:pPr>
            <a:r>
              <a:rPr lang="it-IT" sz="1200" b="1" spc="-8" dirty="0">
                <a:solidFill>
                  <a:srgbClr val="629629"/>
                </a:solidFill>
                <a:latin typeface="Arial"/>
                <a:cs typeface="Arial"/>
              </a:rPr>
              <a:t>Elementi Fondanti</a:t>
            </a:r>
            <a:endParaRPr sz="1200" dirty="0">
              <a:latin typeface="Arial"/>
              <a:cs typeface="Arial"/>
            </a:endParaRPr>
          </a:p>
          <a:p>
            <a:pPr marL="224314" indent="-214789">
              <a:spcBef>
                <a:spcPts val="360"/>
              </a:spcBef>
              <a:buFont typeface="Wingdings"/>
              <a:buChar char=""/>
              <a:tabLst>
                <a:tab pos="224314" algn="l"/>
                <a:tab pos="224790" algn="l"/>
              </a:tabLst>
            </a:pPr>
            <a:r>
              <a:rPr lang="it-IT" sz="1200" spc="-4" dirty="0">
                <a:solidFill>
                  <a:srgbClr val="629629"/>
                </a:solidFill>
                <a:latin typeface="Arial"/>
                <a:cs typeface="Arial"/>
              </a:rPr>
              <a:t>Risparmio Postale</a:t>
            </a:r>
            <a:endParaRPr sz="1200" dirty="0">
              <a:latin typeface="Arial"/>
              <a:cs typeface="Arial"/>
            </a:endParaRPr>
          </a:p>
          <a:p>
            <a:pPr marL="224314" indent="-214789">
              <a:spcBef>
                <a:spcPts val="360"/>
              </a:spcBef>
              <a:buFont typeface="Wingdings"/>
              <a:buChar char=""/>
              <a:tabLst>
                <a:tab pos="224314" algn="l"/>
                <a:tab pos="224790" algn="l"/>
              </a:tabLst>
            </a:pPr>
            <a:r>
              <a:rPr lang="it-IT" sz="1200" spc="-4" dirty="0">
                <a:solidFill>
                  <a:srgbClr val="629629"/>
                </a:solidFill>
                <a:latin typeface="Arial"/>
                <a:cs typeface="Arial"/>
              </a:rPr>
              <a:t>Opere pubblica utilità</a:t>
            </a:r>
            <a:endParaRPr sz="1200" dirty="0">
              <a:latin typeface="Arial"/>
              <a:cs typeface="Arial"/>
            </a:endParaRPr>
          </a:p>
          <a:p>
            <a:pPr marL="213836" indent="-204311">
              <a:spcBef>
                <a:spcPts val="360"/>
              </a:spcBef>
              <a:buFont typeface="Wingdings"/>
              <a:buChar char=""/>
              <a:tabLst>
                <a:tab pos="214313" algn="l"/>
              </a:tabLst>
            </a:pPr>
            <a:r>
              <a:rPr lang="it-IT" sz="1200" spc="-4" dirty="0">
                <a:solidFill>
                  <a:srgbClr val="629629"/>
                </a:solidFill>
                <a:latin typeface="Arial"/>
                <a:cs typeface="Arial"/>
              </a:rPr>
              <a:t>Finanza Pubblica</a:t>
            </a:r>
            <a:endParaRPr sz="1200" dirty="0">
              <a:latin typeface="Arial"/>
              <a:cs typeface="Arial"/>
            </a:endParaRPr>
          </a:p>
        </p:txBody>
      </p:sp>
      <p:sp>
        <p:nvSpPr>
          <p:cNvPr id="38" name="object 10">
            <a:extLst>
              <a:ext uri="{FF2B5EF4-FFF2-40B4-BE49-F238E27FC236}">
                <a16:creationId xmlns:a16="http://schemas.microsoft.com/office/drawing/2014/main" id="{675A1EE4-2FD2-474F-9354-65265C6C39D5}"/>
              </a:ext>
            </a:extLst>
          </p:cNvPr>
          <p:cNvSpPr/>
          <p:nvPr/>
        </p:nvSpPr>
        <p:spPr>
          <a:xfrm>
            <a:off x="3130676" y="2523744"/>
            <a:ext cx="132617" cy="1475612"/>
          </a:xfrm>
          <a:prstGeom prst="rect">
            <a:avLst/>
          </a:prstGeom>
          <a:blipFill>
            <a:blip r:embed="rId5" cstate="print"/>
            <a:stretch>
              <a:fillRect/>
            </a:stretch>
          </a:blipFill>
        </p:spPr>
        <p:txBody>
          <a:bodyPr wrap="square" lIns="0" tIns="0" rIns="0" bIns="0" rtlCol="0"/>
          <a:lstStyle/>
          <a:p>
            <a:endParaRPr sz="918"/>
          </a:p>
        </p:txBody>
      </p:sp>
      <p:sp>
        <p:nvSpPr>
          <p:cNvPr id="39" name="object 11">
            <a:extLst>
              <a:ext uri="{FF2B5EF4-FFF2-40B4-BE49-F238E27FC236}">
                <a16:creationId xmlns:a16="http://schemas.microsoft.com/office/drawing/2014/main" id="{B8DC196D-8147-4737-9DE0-8817755B7CD5}"/>
              </a:ext>
            </a:extLst>
          </p:cNvPr>
          <p:cNvSpPr/>
          <p:nvPr/>
        </p:nvSpPr>
        <p:spPr>
          <a:xfrm>
            <a:off x="3170111" y="2535746"/>
            <a:ext cx="57150" cy="1427130"/>
          </a:xfrm>
          <a:prstGeom prst="rect">
            <a:avLst/>
          </a:prstGeom>
          <a:blipFill>
            <a:blip r:embed="rId6" cstate="print"/>
            <a:stretch>
              <a:fillRect/>
            </a:stretch>
          </a:blipFill>
        </p:spPr>
        <p:txBody>
          <a:bodyPr wrap="square" lIns="0" tIns="0" rIns="0" bIns="0" rtlCol="0"/>
          <a:lstStyle/>
          <a:p>
            <a:endParaRPr sz="918"/>
          </a:p>
        </p:txBody>
      </p:sp>
      <p:sp>
        <p:nvSpPr>
          <p:cNvPr id="40" name="object 12">
            <a:extLst>
              <a:ext uri="{FF2B5EF4-FFF2-40B4-BE49-F238E27FC236}">
                <a16:creationId xmlns:a16="http://schemas.microsoft.com/office/drawing/2014/main" id="{629FA6B4-9FFB-47B9-B24A-7DB7472E2A4C}"/>
              </a:ext>
            </a:extLst>
          </p:cNvPr>
          <p:cNvSpPr/>
          <p:nvPr/>
        </p:nvSpPr>
        <p:spPr>
          <a:xfrm>
            <a:off x="2115217" y="2434114"/>
            <a:ext cx="1119664" cy="130493"/>
          </a:xfrm>
          <a:custGeom>
            <a:avLst/>
            <a:gdLst/>
            <a:ahLst/>
            <a:cxnLst/>
            <a:rect l="l" t="t" r="r" b="b"/>
            <a:pathLst>
              <a:path w="1492885" h="173989">
                <a:moveTo>
                  <a:pt x="1438297" y="57276"/>
                </a:moveTo>
                <a:lnTo>
                  <a:pt x="1347215" y="57276"/>
                </a:lnTo>
                <a:lnTo>
                  <a:pt x="1348486" y="115188"/>
                </a:lnTo>
                <a:lnTo>
                  <a:pt x="1319614" y="115836"/>
                </a:lnTo>
                <a:lnTo>
                  <a:pt x="1320927" y="173736"/>
                </a:lnTo>
                <a:lnTo>
                  <a:pt x="1492631" y="82930"/>
                </a:lnTo>
                <a:lnTo>
                  <a:pt x="1438297" y="57276"/>
                </a:lnTo>
                <a:close/>
              </a:path>
              <a:path w="1492885" h="173989">
                <a:moveTo>
                  <a:pt x="1318302" y="57925"/>
                </a:moveTo>
                <a:lnTo>
                  <a:pt x="0" y="87502"/>
                </a:lnTo>
                <a:lnTo>
                  <a:pt x="1269" y="145414"/>
                </a:lnTo>
                <a:lnTo>
                  <a:pt x="1319614" y="115836"/>
                </a:lnTo>
                <a:lnTo>
                  <a:pt x="1318302" y="57925"/>
                </a:lnTo>
                <a:close/>
              </a:path>
              <a:path w="1492885" h="173989">
                <a:moveTo>
                  <a:pt x="1347215" y="57276"/>
                </a:moveTo>
                <a:lnTo>
                  <a:pt x="1318302" y="57925"/>
                </a:lnTo>
                <a:lnTo>
                  <a:pt x="1319614" y="115836"/>
                </a:lnTo>
                <a:lnTo>
                  <a:pt x="1348486" y="115188"/>
                </a:lnTo>
                <a:lnTo>
                  <a:pt x="1347215" y="57276"/>
                </a:lnTo>
                <a:close/>
              </a:path>
              <a:path w="1492885" h="173989">
                <a:moveTo>
                  <a:pt x="1316989" y="0"/>
                </a:moveTo>
                <a:lnTo>
                  <a:pt x="1318302" y="57925"/>
                </a:lnTo>
                <a:lnTo>
                  <a:pt x="1347215" y="57276"/>
                </a:lnTo>
                <a:lnTo>
                  <a:pt x="1438297" y="57276"/>
                </a:lnTo>
                <a:lnTo>
                  <a:pt x="1316989" y="0"/>
                </a:lnTo>
                <a:close/>
              </a:path>
            </a:pathLst>
          </a:custGeom>
          <a:solidFill>
            <a:srgbClr val="629629"/>
          </a:solidFill>
        </p:spPr>
        <p:txBody>
          <a:bodyPr wrap="square" lIns="0" tIns="0" rIns="0" bIns="0" rtlCol="0"/>
          <a:lstStyle/>
          <a:p>
            <a:endParaRPr sz="918"/>
          </a:p>
        </p:txBody>
      </p:sp>
      <p:sp>
        <p:nvSpPr>
          <p:cNvPr id="41" name="object 13">
            <a:extLst>
              <a:ext uri="{FF2B5EF4-FFF2-40B4-BE49-F238E27FC236}">
                <a16:creationId xmlns:a16="http://schemas.microsoft.com/office/drawing/2014/main" id="{A632E808-AA6B-481E-9B3E-9657AC7CC6D9}"/>
              </a:ext>
            </a:extLst>
          </p:cNvPr>
          <p:cNvSpPr/>
          <p:nvPr/>
        </p:nvSpPr>
        <p:spPr>
          <a:xfrm>
            <a:off x="1957958" y="2523740"/>
            <a:ext cx="132617" cy="2611755"/>
          </a:xfrm>
          <a:prstGeom prst="rect">
            <a:avLst/>
          </a:prstGeom>
          <a:blipFill>
            <a:blip r:embed="rId7" cstate="print"/>
            <a:stretch>
              <a:fillRect/>
            </a:stretch>
          </a:blipFill>
        </p:spPr>
        <p:txBody>
          <a:bodyPr wrap="square" lIns="0" tIns="0" rIns="0" bIns="0" rtlCol="0"/>
          <a:lstStyle/>
          <a:p>
            <a:endParaRPr sz="918"/>
          </a:p>
        </p:txBody>
      </p:sp>
      <p:sp>
        <p:nvSpPr>
          <p:cNvPr id="42" name="object 14">
            <a:extLst>
              <a:ext uri="{FF2B5EF4-FFF2-40B4-BE49-F238E27FC236}">
                <a16:creationId xmlns:a16="http://schemas.microsoft.com/office/drawing/2014/main" id="{DFF57A68-0C70-4D27-9BCF-CC9B34E5DD7F}"/>
              </a:ext>
            </a:extLst>
          </p:cNvPr>
          <p:cNvSpPr/>
          <p:nvPr/>
        </p:nvSpPr>
        <p:spPr>
          <a:xfrm>
            <a:off x="1997392" y="2535746"/>
            <a:ext cx="57150" cy="2586412"/>
          </a:xfrm>
          <a:prstGeom prst="rect">
            <a:avLst/>
          </a:prstGeom>
          <a:blipFill>
            <a:blip r:embed="rId8" cstate="print"/>
            <a:stretch>
              <a:fillRect/>
            </a:stretch>
          </a:blipFill>
        </p:spPr>
        <p:txBody>
          <a:bodyPr wrap="square" lIns="0" tIns="0" rIns="0" bIns="0" rtlCol="0"/>
          <a:lstStyle/>
          <a:p>
            <a:endParaRPr sz="918"/>
          </a:p>
        </p:txBody>
      </p:sp>
      <p:sp>
        <p:nvSpPr>
          <p:cNvPr id="43" name="object 15">
            <a:extLst>
              <a:ext uri="{FF2B5EF4-FFF2-40B4-BE49-F238E27FC236}">
                <a16:creationId xmlns:a16="http://schemas.microsoft.com/office/drawing/2014/main" id="{1A7867D5-658E-47FA-9494-CE446AB296C2}"/>
              </a:ext>
            </a:extLst>
          </p:cNvPr>
          <p:cNvSpPr/>
          <p:nvPr/>
        </p:nvSpPr>
        <p:spPr>
          <a:xfrm>
            <a:off x="4726305" y="2276855"/>
            <a:ext cx="132617" cy="1395603"/>
          </a:xfrm>
          <a:prstGeom prst="rect">
            <a:avLst/>
          </a:prstGeom>
          <a:blipFill>
            <a:blip r:embed="rId9" cstate="print"/>
            <a:stretch>
              <a:fillRect/>
            </a:stretch>
          </a:blipFill>
        </p:spPr>
        <p:txBody>
          <a:bodyPr wrap="square" lIns="0" tIns="0" rIns="0" bIns="0" rtlCol="0"/>
          <a:lstStyle/>
          <a:p>
            <a:endParaRPr sz="918"/>
          </a:p>
        </p:txBody>
      </p:sp>
      <p:sp>
        <p:nvSpPr>
          <p:cNvPr id="44" name="object 16">
            <a:extLst>
              <a:ext uri="{FF2B5EF4-FFF2-40B4-BE49-F238E27FC236}">
                <a16:creationId xmlns:a16="http://schemas.microsoft.com/office/drawing/2014/main" id="{148E3520-158A-406E-BA23-9173940CE24C}"/>
              </a:ext>
            </a:extLst>
          </p:cNvPr>
          <p:cNvSpPr/>
          <p:nvPr/>
        </p:nvSpPr>
        <p:spPr>
          <a:xfrm>
            <a:off x="4765738" y="2288858"/>
            <a:ext cx="57150" cy="1345787"/>
          </a:xfrm>
          <a:prstGeom prst="rect">
            <a:avLst/>
          </a:prstGeom>
          <a:blipFill>
            <a:blip r:embed="rId10" cstate="print"/>
            <a:stretch>
              <a:fillRect/>
            </a:stretch>
          </a:blipFill>
        </p:spPr>
        <p:txBody>
          <a:bodyPr wrap="square" lIns="0" tIns="0" rIns="0" bIns="0" rtlCol="0"/>
          <a:lstStyle/>
          <a:p>
            <a:endParaRPr sz="918"/>
          </a:p>
        </p:txBody>
      </p:sp>
      <p:sp>
        <p:nvSpPr>
          <p:cNvPr id="45" name="object 17">
            <a:extLst>
              <a:ext uri="{FF2B5EF4-FFF2-40B4-BE49-F238E27FC236}">
                <a16:creationId xmlns:a16="http://schemas.microsoft.com/office/drawing/2014/main" id="{A8A6CC84-8CD6-4B26-8A74-88BAAE1B4895}"/>
              </a:ext>
            </a:extLst>
          </p:cNvPr>
          <p:cNvSpPr/>
          <p:nvPr/>
        </p:nvSpPr>
        <p:spPr>
          <a:xfrm>
            <a:off x="6388226" y="1831086"/>
            <a:ext cx="132617" cy="1427607"/>
          </a:xfrm>
          <a:prstGeom prst="rect">
            <a:avLst/>
          </a:prstGeom>
          <a:blipFill>
            <a:blip r:embed="rId11" cstate="print"/>
            <a:stretch>
              <a:fillRect/>
            </a:stretch>
          </a:blipFill>
        </p:spPr>
        <p:txBody>
          <a:bodyPr wrap="square" lIns="0" tIns="0" rIns="0" bIns="0" rtlCol="0"/>
          <a:lstStyle/>
          <a:p>
            <a:endParaRPr sz="918"/>
          </a:p>
        </p:txBody>
      </p:sp>
      <p:sp>
        <p:nvSpPr>
          <p:cNvPr id="46" name="object 18">
            <a:extLst>
              <a:ext uri="{FF2B5EF4-FFF2-40B4-BE49-F238E27FC236}">
                <a16:creationId xmlns:a16="http://schemas.microsoft.com/office/drawing/2014/main" id="{858D28E1-43DA-40CD-826F-E96F56449531}"/>
              </a:ext>
            </a:extLst>
          </p:cNvPr>
          <p:cNvSpPr/>
          <p:nvPr/>
        </p:nvSpPr>
        <p:spPr>
          <a:xfrm>
            <a:off x="6427661" y="1843088"/>
            <a:ext cx="57150" cy="1378267"/>
          </a:xfrm>
          <a:prstGeom prst="rect">
            <a:avLst/>
          </a:prstGeom>
          <a:blipFill>
            <a:blip r:embed="rId12" cstate="print"/>
            <a:stretch>
              <a:fillRect/>
            </a:stretch>
          </a:blipFill>
        </p:spPr>
        <p:txBody>
          <a:bodyPr wrap="square" lIns="0" tIns="0" rIns="0" bIns="0" rtlCol="0"/>
          <a:lstStyle/>
          <a:p>
            <a:endParaRPr sz="918"/>
          </a:p>
        </p:txBody>
      </p:sp>
      <p:sp>
        <p:nvSpPr>
          <p:cNvPr id="47" name="object 19">
            <a:extLst>
              <a:ext uri="{FF2B5EF4-FFF2-40B4-BE49-F238E27FC236}">
                <a16:creationId xmlns:a16="http://schemas.microsoft.com/office/drawing/2014/main" id="{A4A1592D-E7BE-4939-AD9B-33D9F3BCB326}"/>
              </a:ext>
            </a:extLst>
          </p:cNvPr>
          <p:cNvSpPr txBox="1"/>
          <p:nvPr/>
        </p:nvSpPr>
        <p:spPr>
          <a:xfrm>
            <a:off x="2063878" y="3018434"/>
            <a:ext cx="1088231" cy="391293"/>
          </a:xfrm>
          <a:prstGeom prst="rect">
            <a:avLst/>
          </a:prstGeom>
        </p:spPr>
        <p:txBody>
          <a:bodyPr vert="horz" wrap="square" lIns="0" tIns="9049" rIns="0" bIns="0" rtlCol="0">
            <a:spAutoFit/>
          </a:bodyPr>
          <a:lstStyle/>
          <a:p>
            <a:pPr marL="9525" marR="3810">
              <a:spcBef>
                <a:spcPts val="71"/>
              </a:spcBef>
            </a:pPr>
            <a:r>
              <a:rPr lang="en-US" sz="1200" b="1" spc="-4" dirty="0">
                <a:latin typeface="Arial"/>
                <a:cs typeface="Arial"/>
              </a:rPr>
              <a:t>S.p.A.</a:t>
            </a:r>
          </a:p>
          <a:p>
            <a:pPr marL="9525" marR="3810">
              <a:spcBef>
                <a:spcPts val="71"/>
              </a:spcBef>
            </a:pPr>
            <a:r>
              <a:rPr lang="en-US" sz="1200" b="1" spc="-4" dirty="0">
                <a:latin typeface="Arial"/>
                <a:cs typeface="Arial"/>
              </a:rPr>
              <a:t>(</a:t>
            </a:r>
            <a:r>
              <a:rPr lang="en-US" sz="1200" b="1" spc="-4" dirty="0" err="1">
                <a:latin typeface="Arial"/>
                <a:cs typeface="Arial"/>
              </a:rPr>
              <a:t>fuori</a:t>
            </a:r>
            <a:r>
              <a:rPr lang="en-US" sz="1200" b="1" spc="-4" dirty="0">
                <a:latin typeface="Arial"/>
                <a:cs typeface="Arial"/>
              </a:rPr>
              <a:t> PA)</a:t>
            </a:r>
            <a:endParaRPr sz="1200" dirty="0">
              <a:latin typeface="Arial"/>
              <a:cs typeface="Arial"/>
            </a:endParaRPr>
          </a:p>
        </p:txBody>
      </p:sp>
      <p:sp>
        <p:nvSpPr>
          <p:cNvPr id="48" name="object 20">
            <a:extLst>
              <a:ext uri="{FF2B5EF4-FFF2-40B4-BE49-F238E27FC236}">
                <a16:creationId xmlns:a16="http://schemas.microsoft.com/office/drawing/2014/main" id="{99273223-DC7E-4B4B-9843-CA1A07A50CD5}"/>
              </a:ext>
            </a:extLst>
          </p:cNvPr>
          <p:cNvSpPr txBox="1"/>
          <p:nvPr/>
        </p:nvSpPr>
        <p:spPr>
          <a:xfrm>
            <a:off x="2063878" y="3760551"/>
            <a:ext cx="1161098" cy="391293"/>
          </a:xfrm>
          <a:prstGeom prst="rect">
            <a:avLst/>
          </a:prstGeom>
        </p:spPr>
        <p:txBody>
          <a:bodyPr vert="horz" wrap="square" lIns="0" tIns="9049" rIns="0" bIns="0" rtlCol="0">
            <a:spAutoFit/>
          </a:bodyPr>
          <a:lstStyle/>
          <a:p>
            <a:pPr marL="9525" marR="3810">
              <a:spcBef>
                <a:spcPts val="71"/>
              </a:spcBef>
            </a:pPr>
            <a:r>
              <a:rPr lang="en-US" sz="1200" b="1" spc="-4" dirty="0" err="1">
                <a:latin typeface="Arial"/>
                <a:cs typeface="Arial"/>
              </a:rPr>
              <a:t>Partecipazioni</a:t>
            </a:r>
            <a:endParaRPr lang="en-US" sz="1200" b="1" spc="-4" dirty="0">
              <a:latin typeface="Arial"/>
              <a:cs typeface="Arial"/>
            </a:endParaRPr>
          </a:p>
          <a:p>
            <a:pPr marL="9525" marR="3810">
              <a:spcBef>
                <a:spcPts val="71"/>
              </a:spcBef>
            </a:pPr>
            <a:r>
              <a:rPr lang="en-US" sz="1200" b="1" spc="-4" dirty="0" err="1">
                <a:latin typeface="Arial"/>
                <a:cs typeface="Arial"/>
              </a:rPr>
              <a:t>strategiche</a:t>
            </a:r>
            <a:endParaRPr sz="1200" dirty="0">
              <a:latin typeface="Arial"/>
              <a:cs typeface="Arial"/>
            </a:endParaRPr>
          </a:p>
        </p:txBody>
      </p:sp>
      <p:sp>
        <p:nvSpPr>
          <p:cNvPr id="49" name="object 21">
            <a:extLst>
              <a:ext uri="{FF2B5EF4-FFF2-40B4-BE49-F238E27FC236}">
                <a16:creationId xmlns:a16="http://schemas.microsoft.com/office/drawing/2014/main" id="{0F24EA13-AB2B-49A6-8CE3-088805A6FE8B}"/>
              </a:ext>
            </a:extLst>
          </p:cNvPr>
          <p:cNvSpPr txBox="1"/>
          <p:nvPr/>
        </p:nvSpPr>
        <p:spPr>
          <a:xfrm>
            <a:off x="2063878" y="4427733"/>
            <a:ext cx="1408748" cy="588783"/>
          </a:xfrm>
          <a:prstGeom prst="rect">
            <a:avLst/>
          </a:prstGeom>
        </p:spPr>
        <p:txBody>
          <a:bodyPr vert="horz" wrap="square" lIns="0" tIns="9049" rIns="0" bIns="0" rtlCol="0">
            <a:spAutoFit/>
          </a:bodyPr>
          <a:lstStyle/>
          <a:p>
            <a:pPr marL="9525" marR="3810">
              <a:spcBef>
                <a:spcPts val="71"/>
              </a:spcBef>
            </a:pPr>
            <a:r>
              <a:rPr lang="en-US" sz="1200" b="1" spc="-4" dirty="0" err="1">
                <a:latin typeface="Arial"/>
                <a:cs typeface="Arial"/>
              </a:rPr>
              <a:t>Finanziamento</a:t>
            </a:r>
            <a:endParaRPr lang="en-US" sz="1200" b="1" spc="-4" dirty="0">
              <a:latin typeface="Arial"/>
              <a:cs typeface="Arial"/>
            </a:endParaRPr>
          </a:p>
          <a:p>
            <a:pPr marL="9525" marR="3810">
              <a:spcBef>
                <a:spcPts val="71"/>
              </a:spcBef>
            </a:pPr>
            <a:r>
              <a:rPr lang="en-US" sz="1200" b="1" spc="-4" dirty="0" err="1">
                <a:latin typeface="Arial"/>
                <a:cs typeface="Arial"/>
              </a:rPr>
              <a:t>infrastrutture</a:t>
            </a:r>
            <a:endParaRPr lang="en-US" sz="1200" b="1" spc="-4" dirty="0">
              <a:latin typeface="Arial"/>
              <a:cs typeface="Arial"/>
            </a:endParaRPr>
          </a:p>
          <a:p>
            <a:pPr marL="9525" marR="3810">
              <a:spcBef>
                <a:spcPts val="71"/>
              </a:spcBef>
            </a:pPr>
            <a:r>
              <a:rPr lang="en-US" sz="1200" b="1" spc="-4" dirty="0" err="1">
                <a:latin typeface="Arial"/>
                <a:cs typeface="Arial"/>
              </a:rPr>
              <a:t>servizi</a:t>
            </a:r>
            <a:r>
              <a:rPr lang="en-US" sz="1200" b="1" spc="-4" dirty="0">
                <a:latin typeface="Arial"/>
                <a:cs typeface="Arial"/>
              </a:rPr>
              <a:t> </a:t>
            </a:r>
            <a:r>
              <a:rPr lang="en-US" sz="1200" b="1" spc="-4" dirty="0" err="1">
                <a:latin typeface="Arial"/>
                <a:cs typeface="Arial"/>
              </a:rPr>
              <a:t>pubblici</a:t>
            </a:r>
            <a:endParaRPr sz="1200" dirty="0">
              <a:latin typeface="Arial"/>
              <a:cs typeface="Arial"/>
            </a:endParaRPr>
          </a:p>
        </p:txBody>
      </p:sp>
      <p:sp>
        <p:nvSpPr>
          <p:cNvPr id="50" name="object 23">
            <a:extLst>
              <a:ext uri="{FF2B5EF4-FFF2-40B4-BE49-F238E27FC236}">
                <a16:creationId xmlns:a16="http://schemas.microsoft.com/office/drawing/2014/main" id="{0B0EA3FE-BA41-4FDC-A7DC-A14607E2A5B5}"/>
              </a:ext>
            </a:extLst>
          </p:cNvPr>
          <p:cNvSpPr txBox="1"/>
          <p:nvPr/>
        </p:nvSpPr>
        <p:spPr>
          <a:xfrm>
            <a:off x="4759071" y="1238821"/>
            <a:ext cx="909638" cy="404437"/>
          </a:xfrm>
          <a:prstGeom prst="rect">
            <a:avLst/>
          </a:prstGeom>
        </p:spPr>
        <p:txBody>
          <a:bodyPr vert="horz" wrap="square" lIns="0" tIns="11906" rIns="0" bIns="0" rtlCol="0">
            <a:spAutoFit/>
          </a:bodyPr>
          <a:lstStyle/>
          <a:p>
            <a:pPr algn="ctr">
              <a:spcBef>
                <a:spcPts val="94"/>
              </a:spcBef>
            </a:pPr>
            <a:r>
              <a:rPr lang="it-IT" sz="1275" b="1" spc="8" dirty="0">
                <a:solidFill>
                  <a:srgbClr val="747474"/>
                </a:solidFill>
                <a:latin typeface="Arial"/>
                <a:cs typeface="Arial"/>
              </a:rPr>
              <a:t>Crisi debito pubblico</a:t>
            </a:r>
            <a:endParaRPr sz="1275" dirty="0">
              <a:latin typeface="Arial"/>
              <a:cs typeface="Arial"/>
            </a:endParaRPr>
          </a:p>
        </p:txBody>
      </p:sp>
      <p:sp>
        <p:nvSpPr>
          <p:cNvPr id="51" name="object 24">
            <a:extLst>
              <a:ext uri="{FF2B5EF4-FFF2-40B4-BE49-F238E27FC236}">
                <a16:creationId xmlns:a16="http://schemas.microsoft.com/office/drawing/2014/main" id="{4490CB34-FD55-44D8-9501-214B0ED7B575}"/>
              </a:ext>
            </a:extLst>
          </p:cNvPr>
          <p:cNvSpPr txBox="1"/>
          <p:nvPr/>
        </p:nvSpPr>
        <p:spPr>
          <a:xfrm>
            <a:off x="6545103" y="2441734"/>
            <a:ext cx="1044607" cy="1301799"/>
          </a:xfrm>
          <a:prstGeom prst="rect">
            <a:avLst/>
          </a:prstGeom>
        </p:spPr>
        <p:txBody>
          <a:bodyPr vert="horz" wrap="square" lIns="0" tIns="9049" rIns="0" bIns="0" rtlCol="0">
            <a:spAutoFit/>
          </a:bodyPr>
          <a:lstStyle/>
          <a:p>
            <a:pPr marL="9525">
              <a:spcBef>
                <a:spcPts val="71"/>
              </a:spcBef>
            </a:pPr>
            <a:r>
              <a:rPr lang="en-US" sz="1200" spc="-4" dirty="0">
                <a:latin typeface="Arial"/>
                <a:cs typeface="Arial"/>
              </a:rPr>
              <a:t>Status di </a:t>
            </a:r>
            <a:r>
              <a:rPr lang="en-US" sz="1200" b="1" spc="-4" dirty="0" err="1">
                <a:latin typeface="Arial"/>
                <a:cs typeface="Arial"/>
              </a:rPr>
              <a:t>Istituzione</a:t>
            </a:r>
            <a:r>
              <a:rPr lang="en-US" sz="1200" b="1" spc="-4" dirty="0">
                <a:latin typeface="Arial"/>
                <a:cs typeface="Arial"/>
              </a:rPr>
              <a:t> </a:t>
            </a:r>
            <a:r>
              <a:rPr lang="en-US" sz="1200" b="1" spc="-4" dirty="0" err="1">
                <a:latin typeface="Arial"/>
                <a:cs typeface="Arial"/>
              </a:rPr>
              <a:t>Finanziaria</a:t>
            </a:r>
            <a:r>
              <a:rPr lang="en-US" sz="1200" b="1" spc="-4" dirty="0">
                <a:latin typeface="Arial"/>
                <a:cs typeface="Arial"/>
              </a:rPr>
              <a:t> per la </a:t>
            </a:r>
            <a:r>
              <a:rPr lang="en-US" sz="1200" b="1" spc="-4" dirty="0" err="1">
                <a:latin typeface="Arial"/>
                <a:cs typeface="Arial"/>
              </a:rPr>
              <a:t>Cooperazione</a:t>
            </a:r>
            <a:r>
              <a:rPr lang="en-US" sz="1200" b="1" spc="-4" dirty="0">
                <a:latin typeface="Arial"/>
                <a:cs typeface="Arial"/>
              </a:rPr>
              <a:t> </a:t>
            </a:r>
            <a:r>
              <a:rPr lang="en-US" sz="1200" b="1" spc="-4" dirty="0" err="1">
                <a:latin typeface="Arial"/>
                <a:cs typeface="Arial"/>
              </a:rPr>
              <a:t>allo</a:t>
            </a:r>
            <a:r>
              <a:rPr lang="en-US" sz="1200" b="1" spc="-4" dirty="0">
                <a:latin typeface="Arial"/>
                <a:cs typeface="Arial"/>
              </a:rPr>
              <a:t> </a:t>
            </a:r>
            <a:r>
              <a:rPr lang="en-US" sz="1200" b="1" spc="-4" dirty="0" err="1">
                <a:latin typeface="Arial"/>
                <a:cs typeface="Arial"/>
              </a:rPr>
              <a:t>Sviluppo</a:t>
            </a:r>
            <a:r>
              <a:rPr lang="en-US" sz="1200" b="1" spc="-4" dirty="0">
                <a:latin typeface="Arial"/>
                <a:cs typeface="Arial"/>
              </a:rPr>
              <a:t> </a:t>
            </a:r>
            <a:r>
              <a:rPr lang="en-US" sz="1200" spc="-4" dirty="0">
                <a:latin typeface="Arial"/>
                <a:cs typeface="Arial"/>
              </a:rPr>
              <a:t>(</a:t>
            </a:r>
            <a:r>
              <a:rPr lang="en-US" sz="1200" spc="-4" dirty="0" err="1">
                <a:latin typeface="Arial"/>
                <a:cs typeface="Arial"/>
              </a:rPr>
              <a:t>Legge</a:t>
            </a:r>
            <a:r>
              <a:rPr lang="en-US" sz="1200" spc="-4" dirty="0">
                <a:latin typeface="Arial"/>
                <a:cs typeface="Arial"/>
              </a:rPr>
              <a:t> 125/14) </a:t>
            </a:r>
            <a:endParaRPr sz="1200" b="1" dirty="0">
              <a:latin typeface="Arial"/>
              <a:cs typeface="Arial"/>
            </a:endParaRPr>
          </a:p>
        </p:txBody>
      </p:sp>
      <p:sp>
        <p:nvSpPr>
          <p:cNvPr id="52" name="object 26">
            <a:extLst>
              <a:ext uri="{FF2B5EF4-FFF2-40B4-BE49-F238E27FC236}">
                <a16:creationId xmlns:a16="http://schemas.microsoft.com/office/drawing/2014/main" id="{EF041238-4406-4B8A-B54C-BBED2F1C4DEA}"/>
              </a:ext>
            </a:extLst>
          </p:cNvPr>
          <p:cNvSpPr/>
          <p:nvPr/>
        </p:nvSpPr>
        <p:spPr>
          <a:xfrm>
            <a:off x="7792973" y="1556766"/>
            <a:ext cx="132617" cy="1481328"/>
          </a:xfrm>
          <a:prstGeom prst="rect">
            <a:avLst/>
          </a:prstGeom>
          <a:blipFill>
            <a:blip r:embed="rId13" cstate="print"/>
            <a:stretch>
              <a:fillRect/>
            </a:stretch>
          </a:blipFill>
        </p:spPr>
        <p:txBody>
          <a:bodyPr wrap="square" lIns="0" tIns="0" rIns="0" bIns="0" rtlCol="0"/>
          <a:lstStyle/>
          <a:p>
            <a:endParaRPr sz="918"/>
          </a:p>
        </p:txBody>
      </p:sp>
      <p:sp>
        <p:nvSpPr>
          <p:cNvPr id="53" name="object 27">
            <a:extLst>
              <a:ext uri="{FF2B5EF4-FFF2-40B4-BE49-F238E27FC236}">
                <a16:creationId xmlns:a16="http://schemas.microsoft.com/office/drawing/2014/main" id="{27456137-29F7-46D2-9663-C35B8926A0EA}"/>
              </a:ext>
            </a:extLst>
          </p:cNvPr>
          <p:cNvSpPr/>
          <p:nvPr/>
        </p:nvSpPr>
        <p:spPr>
          <a:xfrm>
            <a:off x="7832407" y="1568767"/>
            <a:ext cx="57150" cy="1432560"/>
          </a:xfrm>
          <a:prstGeom prst="rect">
            <a:avLst/>
          </a:prstGeom>
          <a:blipFill>
            <a:blip r:embed="rId14" cstate="print"/>
            <a:stretch>
              <a:fillRect/>
            </a:stretch>
          </a:blipFill>
        </p:spPr>
        <p:txBody>
          <a:bodyPr wrap="square" lIns="0" tIns="0" rIns="0" bIns="0" rtlCol="0"/>
          <a:lstStyle/>
          <a:p>
            <a:endParaRPr sz="918"/>
          </a:p>
        </p:txBody>
      </p:sp>
      <p:sp>
        <p:nvSpPr>
          <p:cNvPr id="54" name="object 28">
            <a:extLst>
              <a:ext uri="{FF2B5EF4-FFF2-40B4-BE49-F238E27FC236}">
                <a16:creationId xmlns:a16="http://schemas.microsoft.com/office/drawing/2014/main" id="{9B3DFBCB-EBD3-4FAE-BF2F-1383FDA57129}"/>
              </a:ext>
            </a:extLst>
          </p:cNvPr>
          <p:cNvSpPr txBox="1"/>
          <p:nvPr/>
        </p:nvSpPr>
        <p:spPr>
          <a:xfrm>
            <a:off x="7978293" y="1788319"/>
            <a:ext cx="1037098" cy="762677"/>
          </a:xfrm>
          <a:prstGeom prst="rect">
            <a:avLst/>
          </a:prstGeom>
        </p:spPr>
        <p:txBody>
          <a:bodyPr vert="horz" wrap="square" lIns="0" tIns="9049" rIns="0" bIns="0" rtlCol="0">
            <a:spAutoFit/>
          </a:bodyPr>
          <a:lstStyle/>
          <a:p>
            <a:pPr marL="9525" marR="3810">
              <a:spcBef>
                <a:spcPts val="71"/>
              </a:spcBef>
            </a:pPr>
            <a:r>
              <a:rPr lang="it-IT" sz="1200" dirty="0"/>
              <a:t>Status di </a:t>
            </a:r>
            <a:r>
              <a:rPr lang="it-IT" sz="1200" b="1" dirty="0"/>
              <a:t>Istituto Nazionale di Promozione </a:t>
            </a:r>
            <a:endParaRPr sz="1100" dirty="0">
              <a:latin typeface="Arial"/>
              <a:cs typeface="Arial"/>
            </a:endParaRPr>
          </a:p>
        </p:txBody>
      </p:sp>
      <p:sp>
        <p:nvSpPr>
          <p:cNvPr id="55" name="object 29">
            <a:extLst>
              <a:ext uri="{FF2B5EF4-FFF2-40B4-BE49-F238E27FC236}">
                <a16:creationId xmlns:a16="http://schemas.microsoft.com/office/drawing/2014/main" id="{E5523511-AD8D-41CD-8B34-99E23C89171F}"/>
              </a:ext>
            </a:extLst>
          </p:cNvPr>
          <p:cNvSpPr txBox="1"/>
          <p:nvPr/>
        </p:nvSpPr>
        <p:spPr>
          <a:xfrm>
            <a:off x="7832407" y="3078773"/>
            <a:ext cx="1266822" cy="956773"/>
          </a:xfrm>
          <a:prstGeom prst="rect">
            <a:avLst/>
          </a:prstGeom>
          <a:solidFill>
            <a:schemeClr val="accent4"/>
          </a:solidFill>
          <a:effectLst>
            <a:outerShdw blurRad="50800" dist="38100" dir="5400000" algn="t" rotWithShape="0">
              <a:prstClr val="black">
                <a:alpha val="40000"/>
              </a:prstClr>
            </a:outerShdw>
          </a:effectLst>
        </p:spPr>
        <p:txBody>
          <a:bodyPr vert="horz" wrap="square" lIns="108000" tIns="108000" rIns="108000" bIns="108000" rtlCol="0">
            <a:spAutoFit/>
          </a:bodyPr>
          <a:lstStyle/>
          <a:p>
            <a:pPr marL="9525" marR="3810">
              <a:spcBef>
                <a:spcPts val="71"/>
              </a:spcBef>
            </a:pPr>
            <a:r>
              <a:rPr lang="it-IT" sz="1200" dirty="0"/>
              <a:t>Avvio attività </a:t>
            </a:r>
            <a:r>
              <a:rPr lang="it-IT" sz="1200" b="1" dirty="0"/>
              <a:t>Cooperazione </a:t>
            </a:r>
            <a:r>
              <a:rPr lang="it-IT" sz="1200" dirty="0"/>
              <a:t>internazionale allo sviluppo</a:t>
            </a:r>
          </a:p>
        </p:txBody>
      </p:sp>
      <p:sp>
        <p:nvSpPr>
          <p:cNvPr id="56" name="object 30">
            <a:extLst>
              <a:ext uri="{FF2B5EF4-FFF2-40B4-BE49-F238E27FC236}">
                <a16:creationId xmlns:a16="http://schemas.microsoft.com/office/drawing/2014/main" id="{FA3BB0F2-E84E-4E2C-812D-7EE1137227E5}"/>
              </a:ext>
            </a:extLst>
          </p:cNvPr>
          <p:cNvSpPr txBox="1"/>
          <p:nvPr/>
        </p:nvSpPr>
        <p:spPr>
          <a:xfrm>
            <a:off x="4866976" y="2417580"/>
            <a:ext cx="1518965" cy="983763"/>
          </a:xfrm>
          <a:prstGeom prst="rect">
            <a:avLst/>
          </a:prstGeom>
        </p:spPr>
        <p:txBody>
          <a:bodyPr vert="horz" wrap="square" lIns="0" tIns="9049" rIns="0" bIns="0" rtlCol="0">
            <a:spAutoFit/>
          </a:bodyPr>
          <a:lstStyle/>
          <a:p>
            <a:pPr marL="9525" marR="3810">
              <a:spcBef>
                <a:spcPts val="71"/>
              </a:spcBef>
            </a:pPr>
            <a:r>
              <a:rPr lang="it-IT" sz="1200" dirty="0">
                <a:cs typeface="Arial"/>
              </a:rPr>
              <a:t>Avvio supporto a</a:t>
            </a:r>
          </a:p>
          <a:p>
            <a:pPr marL="9525" marR="3810">
              <a:spcBef>
                <a:spcPts val="71"/>
              </a:spcBef>
            </a:pPr>
            <a:r>
              <a:rPr lang="it-IT" sz="1200" b="1" dirty="0">
                <a:cs typeface="Arial"/>
              </a:rPr>
              <a:t>export</a:t>
            </a:r>
            <a:r>
              <a:rPr lang="it-IT" sz="1200" dirty="0">
                <a:cs typeface="Arial"/>
              </a:rPr>
              <a:t> (Export Banca</a:t>
            </a:r>
          </a:p>
          <a:p>
            <a:pPr marL="9525" marR="3810">
              <a:spcBef>
                <a:spcPts val="71"/>
              </a:spcBef>
            </a:pPr>
            <a:r>
              <a:rPr lang="it-IT" sz="1200" dirty="0">
                <a:cs typeface="Arial"/>
              </a:rPr>
              <a:t>CDP e acquisizione</a:t>
            </a:r>
          </a:p>
          <a:p>
            <a:pPr marL="9525" marR="3810">
              <a:spcBef>
                <a:spcPts val="71"/>
              </a:spcBef>
            </a:pPr>
            <a:r>
              <a:rPr lang="it-IT" sz="1200" dirty="0">
                <a:cs typeface="Arial"/>
              </a:rPr>
              <a:t>SACE e SIMEST)</a:t>
            </a:r>
          </a:p>
          <a:p>
            <a:pPr marL="9525">
              <a:spcBef>
                <a:spcPts val="71"/>
              </a:spcBef>
            </a:pPr>
            <a:endParaRPr sz="1200" dirty="0">
              <a:latin typeface="Arial"/>
              <a:cs typeface="Arial"/>
            </a:endParaRPr>
          </a:p>
        </p:txBody>
      </p:sp>
      <p:sp>
        <p:nvSpPr>
          <p:cNvPr id="57" name="object 32">
            <a:extLst>
              <a:ext uri="{FF2B5EF4-FFF2-40B4-BE49-F238E27FC236}">
                <a16:creationId xmlns:a16="http://schemas.microsoft.com/office/drawing/2014/main" id="{2BE83758-398A-430F-9F3D-0A32E02E9447}"/>
              </a:ext>
            </a:extLst>
          </p:cNvPr>
          <p:cNvSpPr txBox="1"/>
          <p:nvPr/>
        </p:nvSpPr>
        <p:spPr>
          <a:xfrm>
            <a:off x="4860322" y="3447684"/>
            <a:ext cx="1564004" cy="588783"/>
          </a:xfrm>
          <a:prstGeom prst="rect">
            <a:avLst/>
          </a:prstGeom>
        </p:spPr>
        <p:txBody>
          <a:bodyPr vert="horz" wrap="square" lIns="0" tIns="9049" rIns="0" bIns="0" rtlCol="0">
            <a:spAutoFit/>
          </a:bodyPr>
          <a:lstStyle/>
          <a:p>
            <a:pPr marL="9525">
              <a:spcBef>
                <a:spcPts val="71"/>
              </a:spcBef>
            </a:pPr>
            <a:r>
              <a:rPr lang="en-US" sz="1200" spc="-4" dirty="0" err="1">
                <a:cs typeface="Arial"/>
              </a:rPr>
              <a:t>Ampliamento</a:t>
            </a:r>
            <a:endParaRPr lang="en-US" sz="1200" spc="-4" dirty="0">
              <a:cs typeface="Arial"/>
            </a:endParaRPr>
          </a:p>
          <a:p>
            <a:pPr marL="9525">
              <a:spcBef>
                <a:spcPts val="71"/>
              </a:spcBef>
            </a:pPr>
            <a:r>
              <a:rPr lang="en-US" sz="1200" b="1" spc="-4" dirty="0" err="1">
                <a:cs typeface="Arial"/>
              </a:rPr>
              <a:t>portafoglio</a:t>
            </a:r>
            <a:r>
              <a:rPr lang="en-US" sz="1200" b="1" spc="-4" dirty="0">
                <a:cs typeface="Arial"/>
              </a:rPr>
              <a:t> equity</a:t>
            </a:r>
          </a:p>
          <a:p>
            <a:pPr marL="9525">
              <a:spcBef>
                <a:spcPts val="71"/>
              </a:spcBef>
            </a:pPr>
            <a:r>
              <a:rPr lang="en-US" sz="1200" spc="-4" dirty="0">
                <a:cs typeface="Arial"/>
              </a:rPr>
              <a:t>(FSI and</a:t>
            </a:r>
            <a:r>
              <a:rPr lang="en-US" sz="1200" spc="-38" dirty="0">
                <a:cs typeface="Arial"/>
              </a:rPr>
              <a:t> </a:t>
            </a:r>
            <a:r>
              <a:rPr lang="en-US" sz="1200" spc="-4" dirty="0">
                <a:cs typeface="Arial"/>
              </a:rPr>
              <a:t>FII)</a:t>
            </a:r>
            <a:endParaRPr lang="en-US" sz="1200" dirty="0">
              <a:cs typeface="Arial"/>
            </a:endParaRPr>
          </a:p>
        </p:txBody>
      </p:sp>
      <p:sp>
        <p:nvSpPr>
          <p:cNvPr id="58" name="object 33">
            <a:extLst>
              <a:ext uri="{FF2B5EF4-FFF2-40B4-BE49-F238E27FC236}">
                <a16:creationId xmlns:a16="http://schemas.microsoft.com/office/drawing/2014/main" id="{EF1D5C59-500C-4E3F-A552-B5BADEA4CCCC}"/>
              </a:ext>
            </a:extLst>
          </p:cNvPr>
          <p:cNvSpPr txBox="1"/>
          <p:nvPr/>
        </p:nvSpPr>
        <p:spPr>
          <a:xfrm>
            <a:off x="4860321" y="4277868"/>
            <a:ext cx="1592580" cy="762677"/>
          </a:xfrm>
          <a:prstGeom prst="rect">
            <a:avLst/>
          </a:prstGeom>
        </p:spPr>
        <p:txBody>
          <a:bodyPr vert="horz" wrap="square" lIns="0" tIns="9049" rIns="0" bIns="0" rtlCol="0">
            <a:spAutoFit/>
          </a:bodyPr>
          <a:lstStyle/>
          <a:p>
            <a:pPr marL="9525" marR="3810">
              <a:spcBef>
                <a:spcPts val="71"/>
              </a:spcBef>
            </a:pPr>
            <a:r>
              <a:rPr lang="it-IT" sz="1200" dirty="0"/>
              <a:t>Avvio </a:t>
            </a:r>
            <a:r>
              <a:rPr lang="it-IT" sz="1200" b="1" dirty="0"/>
              <a:t>valorizzazione immobiliare </a:t>
            </a:r>
            <a:r>
              <a:rPr lang="it-IT" sz="1200" dirty="0"/>
              <a:t>e prosecuzione social </a:t>
            </a:r>
            <a:r>
              <a:rPr lang="it-IT" sz="1200" dirty="0" err="1"/>
              <a:t>housing</a:t>
            </a:r>
            <a:endParaRPr sz="1100" dirty="0">
              <a:latin typeface="Arial"/>
              <a:cs typeface="Arial"/>
            </a:endParaRPr>
          </a:p>
        </p:txBody>
      </p:sp>
      <p:sp>
        <p:nvSpPr>
          <p:cNvPr id="59" name="object 34">
            <a:extLst>
              <a:ext uri="{FF2B5EF4-FFF2-40B4-BE49-F238E27FC236}">
                <a16:creationId xmlns:a16="http://schemas.microsoft.com/office/drawing/2014/main" id="{A650B797-1783-4861-931C-325500DF3FC7}"/>
              </a:ext>
            </a:extLst>
          </p:cNvPr>
          <p:cNvSpPr txBox="1"/>
          <p:nvPr/>
        </p:nvSpPr>
        <p:spPr>
          <a:xfrm>
            <a:off x="6003321" y="1041778"/>
            <a:ext cx="1219200" cy="404437"/>
          </a:xfrm>
          <a:prstGeom prst="rect">
            <a:avLst/>
          </a:prstGeom>
        </p:spPr>
        <p:txBody>
          <a:bodyPr vert="horz" wrap="square" lIns="0" tIns="11906" rIns="0" bIns="0" rtlCol="0">
            <a:spAutoFit/>
          </a:bodyPr>
          <a:lstStyle/>
          <a:p>
            <a:pPr marL="9525" algn="ctr">
              <a:spcBef>
                <a:spcPts val="94"/>
              </a:spcBef>
            </a:pPr>
            <a:r>
              <a:rPr lang="it-IT" sz="1275" b="1" spc="11" dirty="0">
                <a:solidFill>
                  <a:srgbClr val="747474"/>
                </a:solidFill>
                <a:latin typeface="Arial"/>
                <a:cs typeface="Arial"/>
              </a:rPr>
              <a:t>Lenta ripresa economica</a:t>
            </a:r>
            <a:r>
              <a:rPr sz="1275" b="1" spc="-30" dirty="0">
                <a:solidFill>
                  <a:srgbClr val="747474"/>
                </a:solidFill>
                <a:latin typeface="Arial"/>
                <a:cs typeface="Arial"/>
              </a:rPr>
              <a:t> </a:t>
            </a:r>
            <a:endParaRPr sz="1275" dirty="0">
              <a:latin typeface="Arial"/>
              <a:cs typeface="Arial"/>
            </a:endParaRPr>
          </a:p>
        </p:txBody>
      </p:sp>
      <p:sp>
        <p:nvSpPr>
          <p:cNvPr id="60" name="object 35">
            <a:extLst>
              <a:ext uri="{FF2B5EF4-FFF2-40B4-BE49-F238E27FC236}">
                <a16:creationId xmlns:a16="http://schemas.microsoft.com/office/drawing/2014/main" id="{A24E8218-4FDA-45B3-A480-84FAE2CC73DB}"/>
              </a:ext>
            </a:extLst>
          </p:cNvPr>
          <p:cNvSpPr/>
          <p:nvPr/>
        </p:nvSpPr>
        <p:spPr>
          <a:xfrm>
            <a:off x="1044702" y="2535174"/>
            <a:ext cx="912495" cy="0"/>
          </a:xfrm>
          <a:custGeom>
            <a:avLst/>
            <a:gdLst/>
            <a:ahLst/>
            <a:cxnLst/>
            <a:rect l="l" t="t" r="r" b="b"/>
            <a:pathLst>
              <a:path w="1216660">
                <a:moveTo>
                  <a:pt x="0" y="0"/>
                </a:moveTo>
                <a:lnTo>
                  <a:pt x="1216152" y="0"/>
                </a:lnTo>
              </a:path>
            </a:pathLst>
          </a:custGeom>
          <a:ln w="57912">
            <a:solidFill>
              <a:srgbClr val="629629"/>
            </a:solidFill>
            <a:prstDash val="lgDash"/>
          </a:ln>
        </p:spPr>
        <p:txBody>
          <a:bodyPr wrap="square" lIns="0" tIns="0" rIns="0" bIns="0" rtlCol="0"/>
          <a:lstStyle/>
          <a:p>
            <a:endParaRPr sz="918"/>
          </a:p>
        </p:txBody>
      </p:sp>
      <p:sp>
        <p:nvSpPr>
          <p:cNvPr id="61" name="object 36">
            <a:extLst>
              <a:ext uri="{FF2B5EF4-FFF2-40B4-BE49-F238E27FC236}">
                <a16:creationId xmlns:a16="http://schemas.microsoft.com/office/drawing/2014/main" id="{69930F36-752F-447F-B6B7-3B8ACBF5CB64}"/>
              </a:ext>
            </a:extLst>
          </p:cNvPr>
          <p:cNvSpPr txBox="1"/>
          <p:nvPr/>
        </p:nvSpPr>
        <p:spPr>
          <a:xfrm>
            <a:off x="811606" y="2180653"/>
            <a:ext cx="384810" cy="208230"/>
          </a:xfrm>
          <a:prstGeom prst="rect">
            <a:avLst/>
          </a:prstGeom>
        </p:spPr>
        <p:txBody>
          <a:bodyPr vert="horz" wrap="square" lIns="0" tIns="11906" rIns="0" bIns="0" rtlCol="0">
            <a:spAutoFit/>
          </a:bodyPr>
          <a:lstStyle/>
          <a:p>
            <a:pPr marL="9525">
              <a:spcBef>
                <a:spcPts val="94"/>
              </a:spcBef>
            </a:pPr>
            <a:r>
              <a:rPr sz="1275" b="1" i="1" spc="8" dirty="0">
                <a:solidFill>
                  <a:srgbClr val="0055AC"/>
                </a:solidFill>
                <a:latin typeface="Arial"/>
                <a:cs typeface="Arial"/>
              </a:rPr>
              <a:t>1850</a:t>
            </a:r>
            <a:endParaRPr sz="1275">
              <a:latin typeface="Arial"/>
              <a:cs typeface="Arial"/>
            </a:endParaRPr>
          </a:p>
        </p:txBody>
      </p:sp>
      <p:sp>
        <p:nvSpPr>
          <p:cNvPr id="62" name="object 37">
            <a:extLst>
              <a:ext uri="{FF2B5EF4-FFF2-40B4-BE49-F238E27FC236}">
                <a16:creationId xmlns:a16="http://schemas.microsoft.com/office/drawing/2014/main" id="{D9E24AE3-4A4C-4932-8F9E-52E3D15583D2}"/>
              </a:ext>
            </a:extLst>
          </p:cNvPr>
          <p:cNvSpPr/>
          <p:nvPr/>
        </p:nvSpPr>
        <p:spPr>
          <a:xfrm>
            <a:off x="828104" y="2421446"/>
            <a:ext cx="217170" cy="213836"/>
          </a:xfrm>
          <a:custGeom>
            <a:avLst/>
            <a:gdLst/>
            <a:ahLst/>
            <a:cxnLst/>
            <a:rect l="l" t="t" r="r" b="b"/>
            <a:pathLst>
              <a:path w="289559" h="285114">
                <a:moveTo>
                  <a:pt x="144780" y="0"/>
                </a:moveTo>
                <a:lnTo>
                  <a:pt x="99018" y="7260"/>
                </a:lnTo>
                <a:lnTo>
                  <a:pt x="59275" y="27480"/>
                </a:lnTo>
                <a:lnTo>
                  <a:pt x="27934" y="58320"/>
                </a:lnTo>
                <a:lnTo>
                  <a:pt x="7381" y="97438"/>
                </a:lnTo>
                <a:lnTo>
                  <a:pt x="0" y="142493"/>
                </a:lnTo>
                <a:lnTo>
                  <a:pt x="7381" y="187549"/>
                </a:lnTo>
                <a:lnTo>
                  <a:pt x="27934" y="226667"/>
                </a:lnTo>
                <a:lnTo>
                  <a:pt x="59275" y="257507"/>
                </a:lnTo>
                <a:lnTo>
                  <a:pt x="99018" y="277727"/>
                </a:lnTo>
                <a:lnTo>
                  <a:pt x="144780" y="284988"/>
                </a:lnTo>
                <a:lnTo>
                  <a:pt x="190560" y="277727"/>
                </a:lnTo>
                <a:lnTo>
                  <a:pt x="230306" y="257507"/>
                </a:lnTo>
                <a:lnTo>
                  <a:pt x="261640" y="226667"/>
                </a:lnTo>
                <a:lnTo>
                  <a:pt x="282183" y="187549"/>
                </a:lnTo>
                <a:lnTo>
                  <a:pt x="289559" y="142493"/>
                </a:lnTo>
                <a:lnTo>
                  <a:pt x="282183" y="97438"/>
                </a:lnTo>
                <a:lnTo>
                  <a:pt x="261640" y="58320"/>
                </a:lnTo>
                <a:lnTo>
                  <a:pt x="230306" y="27480"/>
                </a:lnTo>
                <a:lnTo>
                  <a:pt x="190560" y="7260"/>
                </a:lnTo>
                <a:lnTo>
                  <a:pt x="144780" y="0"/>
                </a:lnTo>
                <a:close/>
              </a:path>
            </a:pathLst>
          </a:custGeom>
          <a:solidFill>
            <a:srgbClr val="62B529"/>
          </a:solidFill>
        </p:spPr>
        <p:txBody>
          <a:bodyPr wrap="square" lIns="0" tIns="0" rIns="0" bIns="0" rtlCol="0"/>
          <a:lstStyle/>
          <a:p>
            <a:endParaRPr sz="918"/>
          </a:p>
        </p:txBody>
      </p:sp>
      <p:sp>
        <p:nvSpPr>
          <p:cNvPr id="63" name="object 38">
            <a:extLst>
              <a:ext uri="{FF2B5EF4-FFF2-40B4-BE49-F238E27FC236}">
                <a16:creationId xmlns:a16="http://schemas.microsoft.com/office/drawing/2014/main" id="{1FED08BB-C1B6-4510-AF2C-D15C114EBF6E}"/>
              </a:ext>
            </a:extLst>
          </p:cNvPr>
          <p:cNvSpPr/>
          <p:nvPr/>
        </p:nvSpPr>
        <p:spPr>
          <a:xfrm>
            <a:off x="828104" y="2421446"/>
            <a:ext cx="217170" cy="213836"/>
          </a:xfrm>
          <a:custGeom>
            <a:avLst/>
            <a:gdLst/>
            <a:ahLst/>
            <a:cxnLst/>
            <a:rect l="l" t="t" r="r" b="b"/>
            <a:pathLst>
              <a:path w="289559" h="285114">
                <a:moveTo>
                  <a:pt x="0" y="142493"/>
                </a:moveTo>
                <a:lnTo>
                  <a:pt x="7381" y="97438"/>
                </a:lnTo>
                <a:lnTo>
                  <a:pt x="27934" y="58320"/>
                </a:lnTo>
                <a:lnTo>
                  <a:pt x="59275" y="27480"/>
                </a:lnTo>
                <a:lnTo>
                  <a:pt x="99018" y="7260"/>
                </a:lnTo>
                <a:lnTo>
                  <a:pt x="144780" y="0"/>
                </a:lnTo>
                <a:lnTo>
                  <a:pt x="190560" y="7260"/>
                </a:lnTo>
                <a:lnTo>
                  <a:pt x="230306" y="27480"/>
                </a:lnTo>
                <a:lnTo>
                  <a:pt x="261640" y="58320"/>
                </a:lnTo>
                <a:lnTo>
                  <a:pt x="282183" y="97438"/>
                </a:lnTo>
                <a:lnTo>
                  <a:pt x="289559" y="142493"/>
                </a:lnTo>
                <a:lnTo>
                  <a:pt x="282183" y="187549"/>
                </a:lnTo>
                <a:lnTo>
                  <a:pt x="261640" y="226667"/>
                </a:lnTo>
                <a:lnTo>
                  <a:pt x="230306" y="257507"/>
                </a:lnTo>
                <a:lnTo>
                  <a:pt x="190560" y="277727"/>
                </a:lnTo>
                <a:lnTo>
                  <a:pt x="144780" y="284988"/>
                </a:lnTo>
                <a:lnTo>
                  <a:pt x="99018" y="277727"/>
                </a:lnTo>
                <a:lnTo>
                  <a:pt x="59275" y="257507"/>
                </a:lnTo>
                <a:lnTo>
                  <a:pt x="27934" y="226667"/>
                </a:lnTo>
                <a:lnTo>
                  <a:pt x="7381" y="187549"/>
                </a:lnTo>
                <a:lnTo>
                  <a:pt x="0" y="142493"/>
                </a:lnTo>
                <a:close/>
              </a:path>
            </a:pathLst>
          </a:custGeom>
          <a:ln w="28955">
            <a:solidFill>
              <a:srgbClr val="DFDFDF"/>
            </a:solidFill>
          </a:ln>
        </p:spPr>
        <p:txBody>
          <a:bodyPr wrap="square" lIns="0" tIns="0" rIns="0" bIns="0" rtlCol="0"/>
          <a:lstStyle/>
          <a:p>
            <a:endParaRPr sz="918"/>
          </a:p>
        </p:txBody>
      </p:sp>
      <p:sp>
        <p:nvSpPr>
          <p:cNvPr id="64" name="object 39">
            <a:extLst>
              <a:ext uri="{FF2B5EF4-FFF2-40B4-BE49-F238E27FC236}">
                <a16:creationId xmlns:a16="http://schemas.microsoft.com/office/drawing/2014/main" id="{AF451B07-CA2E-418B-9A82-476FB32073EB}"/>
              </a:ext>
            </a:extLst>
          </p:cNvPr>
          <p:cNvSpPr/>
          <p:nvPr/>
        </p:nvSpPr>
        <p:spPr>
          <a:xfrm>
            <a:off x="868679" y="2462023"/>
            <a:ext cx="136017" cy="132587"/>
          </a:xfrm>
          <a:prstGeom prst="rect">
            <a:avLst/>
          </a:prstGeom>
          <a:blipFill>
            <a:blip r:embed="rId15" cstate="print"/>
            <a:stretch>
              <a:fillRect/>
            </a:stretch>
          </a:blipFill>
        </p:spPr>
        <p:txBody>
          <a:bodyPr wrap="square" lIns="0" tIns="0" rIns="0" bIns="0" rtlCol="0"/>
          <a:lstStyle/>
          <a:p>
            <a:endParaRPr sz="918"/>
          </a:p>
        </p:txBody>
      </p:sp>
      <p:sp>
        <p:nvSpPr>
          <p:cNvPr id="65" name="object 40">
            <a:extLst>
              <a:ext uri="{FF2B5EF4-FFF2-40B4-BE49-F238E27FC236}">
                <a16:creationId xmlns:a16="http://schemas.microsoft.com/office/drawing/2014/main" id="{5BFD28D0-01EF-4802-80F5-31AF95316879}"/>
              </a:ext>
            </a:extLst>
          </p:cNvPr>
          <p:cNvSpPr/>
          <p:nvPr/>
        </p:nvSpPr>
        <p:spPr>
          <a:xfrm>
            <a:off x="1950529" y="2399729"/>
            <a:ext cx="216218" cy="213836"/>
          </a:xfrm>
          <a:custGeom>
            <a:avLst/>
            <a:gdLst/>
            <a:ahLst/>
            <a:cxnLst/>
            <a:rect l="l" t="t" r="r" b="b"/>
            <a:pathLst>
              <a:path w="288289" h="285114">
                <a:moveTo>
                  <a:pt x="144018" y="0"/>
                </a:moveTo>
                <a:lnTo>
                  <a:pt x="98511" y="7260"/>
                </a:lnTo>
                <a:lnTo>
                  <a:pt x="58978" y="27480"/>
                </a:lnTo>
                <a:lnTo>
                  <a:pt x="27797" y="58320"/>
                </a:lnTo>
                <a:lnTo>
                  <a:pt x="7345" y="97438"/>
                </a:lnTo>
                <a:lnTo>
                  <a:pt x="0" y="142494"/>
                </a:lnTo>
                <a:lnTo>
                  <a:pt x="7345" y="187549"/>
                </a:lnTo>
                <a:lnTo>
                  <a:pt x="27797" y="226667"/>
                </a:lnTo>
                <a:lnTo>
                  <a:pt x="58978" y="257507"/>
                </a:lnTo>
                <a:lnTo>
                  <a:pt x="98511" y="277727"/>
                </a:lnTo>
                <a:lnTo>
                  <a:pt x="144018" y="284988"/>
                </a:lnTo>
                <a:lnTo>
                  <a:pt x="189524" y="277727"/>
                </a:lnTo>
                <a:lnTo>
                  <a:pt x="229057" y="257507"/>
                </a:lnTo>
                <a:lnTo>
                  <a:pt x="260238" y="226667"/>
                </a:lnTo>
                <a:lnTo>
                  <a:pt x="280690" y="187549"/>
                </a:lnTo>
                <a:lnTo>
                  <a:pt x="288036" y="142494"/>
                </a:lnTo>
                <a:lnTo>
                  <a:pt x="280690" y="97438"/>
                </a:lnTo>
                <a:lnTo>
                  <a:pt x="260238" y="58320"/>
                </a:lnTo>
                <a:lnTo>
                  <a:pt x="229057" y="27480"/>
                </a:lnTo>
                <a:lnTo>
                  <a:pt x="189524" y="7260"/>
                </a:lnTo>
                <a:lnTo>
                  <a:pt x="144018" y="0"/>
                </a:lnTo>
                <a:close/>
              </a:path>
            </a:pathLst>
          </a:custGeom>
          <a:solidFill>
            <a:srgbClr val="62B529"/>
          </a:solidFill>
        </p:spPr>
        <p:txBody>
          <a:bodyPr wrap="square" lIns="0" tIns="0" rIns="0" bIns="0" rtlCol="0"/>
          <a:lstStyle/>
          <a:p>
            <a:endParaRPr sz="918"/>
          </a:p>
        </p:txBody>
      </p:sp>
      <p:sp>
        <p:nvSpPr>
          <p:cNvPr id="66" name="object 41">
            <a:extLst>
              <a:ext uri="{FF2B5EF4-FFF2-40B4-BE49-F238E27FC236}">
                <a16:creationId xmlns:a16="http://schemas.microsoft.com/office/drawing/2014/main" id="{06B8FF13-0A99-46CB-B172-1CC2897DA58E}"/>
              </a:ext>
            </a:extLst>
          </p:cNvPr>
          <p:cNvSpPr/>
          <p:nvPr/>
        </p:nvSpPr>
        <p:spPr>
          <a:xfrm>
            <a:off x="1950529" y="2399729"/>
            <a:ext cx="216218" cy="213836"/>
          </a:xfrm>
          <a:custGeom>
            <a:avLst/>
            <a:gdLst/>
            <a:ahLst/>
            <a:cxnLst/>
            <a:rect l="l" t="t" r="r" b="b"/>
            <a:pathLst>
              <a:path w="288289" h="285114">
                <a:moveTo>
                  <a:pt x="0" y="142494"/>
                </a:moveTo>
                <a:lnTo>
                  <a:pt x="7345" y="97438"/>
                </a:lnTo>
                <a:lnTo>
                  <a:pt x="27797" y="58320"/>
                </a:lnTo>
                <a:lnTo>
                  <a:pt x="58978" y="27480"/>
                </a:lnTo>
                <a:lnTo>
                  <a:pt x="98511" y="7260"/>
                </a:lnTo>
                <a:lnTo>
                  <a:pt x="144018" y="0"/>
                </a:lnTo>
                <a:lnTo>
                  <a:pt x="189524" y="7260"/>
                </a:lnTo>
                <a:lnTo>
                  <a:pt x="229057" y="27480"/>
                </a:lnTo>
                <a:lnTo>
                  <a:pt x="260238" y="58320"/>
                </a:lnTo>
                <a:lnTo>
                  <a:pt x="280690" y="97438"/>
                </a:lnTo>
                <a:lnTo>
                  <a:pt x="288036" y="142494"/>
                </a:lnTo>
                <a:lnTo>
                  <a:pt x="280690" y="187549"/>
                </a:lnTo>
                <a:lnTo>
                  <a:pt x="260238" y="226667"/>
                </a:lnTo>
                <a:lnTo>
                  <a:pt x="229057" y="257507"/>
                </a:lnTo>
                <a:lnTo>
                  <a:pt x="189524" y="277727"/>
                </a:lnTo>
                <a:lnTo>
                  <a:pt x="144018" y="284988"/>
                </a:lnTo>
                <a:lnTo>
                  <a:pt x="98511" y="277727"/>
                </a:lnTo>
                <a:lnTo>
                  <a:pt x="58978" y="257507"/>
                </a:lnTo>
                <a:lnTo>
                  <a:pt x="27797" y="226667"/>
                </a:lnTo>
                <a:lnTo>
                  <a:pt x="7345" y="187549"/>
                </a:lnTo>
                <a:lnTo>
                  <a:pt x="0" y="142494"/>
                </a:lnTo>
                <a:close/>
              </a:path>
            </a:pathLst>
          </a:custGeom>
          <a:ln w="28956">
            <a:solidFill>
              <a:srgbClr val="DFDFDF"/>
            </a:solidFill>
          </a:ln>
        </p:spPr>
        <p:txBody>
          <a:bodyPr wrap="square" lIns="0" tIns="0" rIns="0" bIns="0" rtlCol="0"/>
          <a:lstStyle/>
          <a:p>
            <a:endParaRPr sz="918"/>
          </a:p>
        </p:txBody>
      </p:sp>
      <p:sp>
        <p:nvSpPr>
          <p:cNvPr id="67" name="object 42">
            <a:extLst>
              <a:ext uri="{FF2B5EF4-FFF2-40B4-BE49-F238E27FC236}">
                <a16:creationId xmlns:a16="http://schemas.microsoft.com/office/drawing/2014/main" id="{7AB708A5-BF8F-464D-9122-3F33A70C7FCD}"/>
              </a:ext>
            </a:extLst>
          </p:cNvPr>
          <p:cNvSpPr/>
          <p:nvPr/>
        </p:nvSpPr>
        <p:spPr>
          <a:xfrm>
            <a:off x="1991106" y="2440305"/>
            <a:ext cx="134873" cy="132588"/>
          </a:xfrm>
          <a:prstGeom prst="rect">
            <a:avLst/>
          </a:prstGeom>
          <a:blipFill>
            <a:blip r:embed="rId16" cstate="print"/>
            <a:stretch>
              <a:fillRect/>
            </a:stretch>
          </a:blipFill>
        </p:spPr>
        <p:txBody>
          <a:bodyPr wrap="square" lIns="0" tIns="0" rIns="0" bIns="0" rtlCol="0"/>
          <a:lstStyle/>
          <a:p>
            <a:endParaRPr sz="918"/>
          </a:p>
        </p:txBody>
      </p:sp>
      <p:sp>
        <p:nvSpPr>
          <p:cNvPr id="68" name="object 43">
            <a:extLst>
              <a:ext uri="{FF2B5EF4-FFF2-40B4-BE49-F238E27FC236}">
                <a16:creationId xmlns:a16="http://schemas.microsoft.com/office/drawing/2014/main" id="{C146CC58-628C-4E08-8EDE-8D39C996B2B5}"/>
              </a:ext>
            </a:extLst>
          </p:cNvPr>
          <p:cNvSpPr/>
          <p:nvPr/>
        </p:nvSpPr>
        <p:spPr>
          <a:xfrm>
            <a:off x="3220592" y="2283904"/>
            <a:ext cx="1345883" cy="234315"/>
          </a:xfrm>
          <a:custGeom>
            <a:avLst/>
            <a:gdLst/>
            <a:ahLst/>
            <a:cxnLst/>
            <a:rect l="l" t="t" r="r" b="b"/>
            <a:pathLst>
              <a:path w="1794510" h="312420">
                <a:moveTo>
                  <a:pt x="1618275" y="57479"/>
                </a:moveTo>
                <a:lnTo>
                  <a:pt x="0" y="254508"/>
                </a:lnTo>
                <a:lnTo>
                  <a:pt x="7112" y="311912"/>
                </a:lnTo>
                <a:lnTo>
                  <a:pt x="1625306" y="115003"/>
                </a:lnTo>
                <a:lnTo>
                  <a:pt x="1618275" y="57479"/>
                </a:lnTo>
                <a:close/>
              </a:path>
              <a:path w="1794510" h="312420">
                <a:moveTo>
                  <a:pt x="1762568" y="53975"/>
                </a:moveTo>
                <a:lnTo>
                  <a:pt x="1647063" y="53975"/>
                </a:lnTo>
                <a:lnTo>
                  <a:pt x="1654048" y="111506"/>
                </a:lnTo>
                <a:lnTo>
                  <a:pt x="1625306" y="115003"/>
                </a:lnTo>
                <a:lnTo>
                  <a:pt x="1632330" y="172466"/>
                </a:lnTo>
                <a:lnTo>
                  <a:pt x="1794255" y="65278"/>
                </a:lnTo>
                <a:lnTo>
                  <a:pt x="1762568" y="53975"/>
                </a:lnTo>
                <a:close/>
              </a:path>
              <a:path w="1794510" h="312420">
                <a:moveTo>
                  <a:pt x="1647063" y="53975"/>
                </a:moveTo>
                <a:lnTo>
                  <a:pt x="1618275" y="57479"/>
                </a:lnTo>
                <a:lnTo>
                  <a:pt x="1625306" y="115003"/>
                </a:lnTo>
                <a:lnTo>
                  <a:pt x="1654048" y="111506"/>
                </a:lnTo>
                <a:lnTo>
                  <a:pt x="1647063" y="53975"/>
                </a:lnTo>
                <a:close/>
              </a:path>
              <a:path w="1794510" h="312420">
                <a:moveTo>
                  <a:pt x="1611249" y="0"/>
                </a:moveTo>
                <a:lnTo>
                  <a:pt x="1618275" y="57479"/>
                </a:lnTo>
                <a:lnTo>
                  <a:pt x="1647063" y="53975"/>
                </a:lnTo>
                <a:lnTo>
                  <a:pt x="1762568" y="53975"/>
                </a:lnTo>
                <a:lnTo>
                  <a:pt x="1611249" y="0"/>
                </a:lnTo>
                <a:close/>
              </a:path>
            </a:pathLst>
          </a:custGeom>
          <a:solidFill>
            <a:srgbClr val="629629"/>
          </a:solidFill>
        </p:spPr>
        <p:txBody>
          <a:bodyPr wrap="square" lIns="0" tIns="0" rIns="0" bIns="0" rtlCol="0"/>
          <a:lstStyle/>
          <a:p>
            <a:endParaRPr sz="918"/>
          </a:p>
        </p:txBody>
      </p:sp>
      <p:sp>
        <p:nvSpPr>
          <p:cNvPr id="69" name="object 44">
            <a:extLst>
              <a:ext uri="{FF2B5EF4-FFF2-40B4-BE49-F238E27FC236}">
                <a16:creationId xmlns:a16="http://schemas.microsoft.com/office/drawing/2014/main" id="{639C5149-0F2A-4DD2-98CF-A1C00D0A6052}"/>
              </a:ext>
            </a:extLst>
          </p:cNvPr>
          <p:cNvSpPr/>
          <p:nvPr/>
        </p:nvSpPr>
        <p:spPr>
          <a:xfrm>
            <a:off x="3098101" y="2378012"/>
            <a:ext cx="216218" cy="213836"/>
          </a:xfrm>
          <a:custGeom>
            <a:avLst/>
            <a:gdLst/>
            <a:ahLst/>
            <a:cxnLst/>
            <a:rect l="l" t="t" r="r" b="b"/>
            <a:pathLst>
              <a:path w="288289" h="285114">
                <a:moveTo>
                  <a:pt x="144018" y="0"/>
                </a:moveTo>
                <a:lnTo>
                  <a:pt x="98511" y="7260"/>
                </a:lnTo>
                <a:lnTo>
                  <a:pt x="58978" y="27480"/>
                </a:lnTo>
                <a:lnTo>
                  <a:pt x="27797" y="58320"/>
                </a:lnTo>
                <a:lnTo>
                  <a:pt x="7345" y="97438"/>
                </a:lnTo>
                <a:lnTo>
                  <a:pt x="0" y="142493"/>
                </a:lnTo>
                <a:lnTo>
                  <a:pt x="7345" y="187549"/>
                </a:lnTo>
                <a:lnTo>
                  <a:pt x="27797" y="226667"/>
                </a:lnTo>
                <a:lnTo>
                  <a:pt x="58978" y="257507"/>
                </a:lnTo>
                <a:lnTo>
                  <a:pt x="98511" y="277727"/>
                </a:lnTo>
                <a:lnTo>
                  <a:pt x="144018" y="284988"/>
                </a:lnTo>
                <a:lnTo>
                  <a:pt x="189524" y="277727"/>
                </a:lnTo>
                <a:lnTo>
                  <a:pt x="229057" y="257507"/>
                </a:lnTo>
                <a:lnTo>
                  <a:pt x="260238" y="226667"/>
                </a:lnTo>
                <a:lnTo>
                  <a:pt x="280690" y="187549"/>
                </a:lnTo>
                <a:lnTo>
                  <a:pt x="288036" y="142493"/>
                </a:lnTo>
                <a:lnTo>
                  <a:pt x="280690" y="97438"/>
                </a:lnTo>
                <a:lnTo>
                  <a:pt x="260238" y="58320"/>
                </a:lnTo>
                <a:lnTo>
                  <a:pt x="229057" y="27480"/>
                </a:lnTo>
                <a:lnTo>
                  <a:pt x="189524" y="7260"/>
                </a:lnTo>
                <a:lnTo>
                  <a:pt x="144018" y="0"/>
                </a:lnTo>
                <a:close/>
              </a:path>
            </a:pathLst>
          </a:custGeom>
          <a:solidFill>
            <a:srgbClr val="62B529"/>
          </a:solidFill>
        </p:spPr>
        <p:txBody>
          <a:bodyPr wrap="square" lIns="0" tIns="0" rIns="0" bIns="0" rtlCol="0"/>
          <a:lstStyle/>
          <a:p>
            <a:endParaRPr sz="918"/>
          </a:p>
        </p:txBody>
      </p:sp>
      <p:sp>
        <p:nvSpPr>
          <p:cNvPr id="70" name="object 45">
            <a:extLst>
              <a:ext uri="{FF2B5EF4-FFF2-40B4-BE49-F238E27FC236}">
                <a16:creationId xmlns:a16="http://schemas.microsoft.com/office/drawing/2014/main" id="{BA57380A-5FEC-4444-90E8-108C942E1BC2}"/>
              </a:ext>
            </a:extLst>
          </p:cNvPr>
          <p:cNvSpPr/>
          <p:nvPr/>
        </p:nvSpPr>
        <p:spPr>
          <a:xfrm>
            <a:off x="3098101" y="2378012"/>
            <a:ext cx="216218" cy="213836"/>
          </a:xfrm>
          <a:custGeom>
            <a:avLst/>
            <a:gdLst/>
            <a:ahLst/>
            <a:cxnLst/>
            <a:rect l="l" t="t" r="r" b="b"/>
            <a:pathLst>
              <a:path w="288289" h="285114">
                <a:moveTo>
                  <a:pt x="0" y="142493"/>
                </a:moveTo>
                <a:lnTo>
                  <a:pt x="7345" y="97438"/>
                </a:lnTo>
                <a:lnTo>
                  <a:pt x="27797" y="58320"/>
                </a:lnTo>
                <a:lnTo>
                  <a:pt x="58978" y="27480"/>
                </a:lnTo>
                <a:lnTo>
                  <a:pt x="98511" y="7260"/>
                </a:lnTo>
                <a:lnTo>
                  <a:pt x="144018" y="0"/>
                </a:lnTo>
                <a:lnTo>
                  <a:pt x="189524" y="7260"/>
                </a:lnTo>
                <a:lnTo>
                  <a:pt x="229057" y="27480"/>
                </a:lnTo>
                <a:lnTo>
                  <a:pt x="260238" y="58320"/>
                </a:lnTo>
                <a:lnTo>
                  <a:pt x="280690" y="97438"/>
                </a:lnTo>
                <a:lnTo>
                  <a:pt x="288036" y="142493"/>
                </a:lnTo>
                <a:lnTo>
                  <a:pt x="280690" y="187549"/>
                </a:lnTo>
                <a:lnTo>
                  <a:pt x="260238" y="226667"/>
                </a:lnTo>
                <a:lnTo>
                  <a:pt x="229057" y="257507"/>
                </a:lnTo>
                <a:lnTo>
                  <a:pt x="189524" y="277727"/>
                </a:lnTo>
                <a:lnTo>
                  <a:pt x="144018" y="284988"/>
                </a:lnTo>
                <a:lnTo>
                  <a:pt x="98511" y="277727"/>
                </a:lnTo>
                <a:lnTo>
                  <a:pt x="58978" y="257507"/>
                </a:lnTo>
                <a:lnTo>
                  <a:pt x="27797" y="226667"/>
                </a:lnTo>
                <a:lnTo>
                  <a:pt x="7345" y="187549"/>
                </a:lnTo>
                <a:lnTo>
                  <a:pt x="0" y="142493"/>
                </a:lnTo>
                <a:close/>
              </a:path>
            </a:pathLst>
          </a:custGeom>
          <a:ln w="28956">
            <a:solidFill>
              <a:srgbClr val="DFDFDF"/>
            </a:solidFill>
          </a:ln>
        </p:spPr>
        <p:txBody>
          <a:bodyPr wrap="square" lIns="0" tIns="0" rIns="0" bIns="0" rtlCol="0"/>
          <a:lstStyle/>
          <a:p>
            <a:endParaRPr sz="918"/>
          </a:p>
        </p:txBody>
      </p:sp>
      <p:sp>
        <p:nvSpPr>
          <p:cNvPr id="71" name="object 46">
            <a:extLst>
              <a:ext uri="{FF2B5EF4-FFF2-40B4-BE49-F238E27FC236}">
                <a16:creationId xmlns:a16="http://schemas.microsoft.com/office/drawing/2014/main" id="{CB9522F0-FC69-49C4-A55D-3ABBB7BBA4E6}"/>
              </a:ext>
            </a:extLst>
          </p:cNvPr>
          <p:cNvSpPr/>
          <p:nvPr/>
        </p:nvSpPr>
        <p:spPr>
          <a:xfrm>
            <a:off x="3138678" y="2418588"/>
            <a:ext cx="134873" cy="132587"/>
          </a:xfrm>
          <a:prstGeom prst="rect">
            <a:avLst/>
          </a:prstGeom>
          <a:blipFill>
            <a:blip r:embed="rId17" cstate="print"/>
            <a:stretch>
              <a:fillRect/>
            </a:stretch>
          </a:blipFill>
        </p:spPr>
        <p:txBody>
          <a:bodyPr wrap="square" lIns="0" tIns="0" rIns="0" bIns="0" rtlCol="0"/>
          <a:lstStyle/>
          <a:p>
            <a:endParaRPr sz="918"/>
          </a:p>
        </p:txBody>
      </p:sp>
      <p:sp>
        <p:nvSpPr>
          <p:cNvPr id="72" name="object 47">
            <a:extLst>
              <a:ext uri="{FF2B5EF4-FFF2-40B4-BE49-F238E27FC236}">
                <a16:creationId xmlns:a16="http://schemas.microsoft.com/office/drawing/2014/main" id="{C9E6B7A5-D3B5-411E-BDF2-D315D1917ACE}"/>
              </a:ext>
            </a:extLst>
          </p:cNvPr>
          <p:cNvSpPr txBox="1"/>
          <p:nvPr/>
        </p:nvSpPr>
        <p:spPr>
          <a:xfrm>
            <a:off x="1820228" y="2129694"/>
            <a:ext cx="384810" cy="208230"/>
          </a:xfrm>
          <a:prstGeom prst="rect">
            <a:avLst/>
          </a:prstGeom>
        </p:spPr>
        <p:txBody>
          <a:bodyPr vert="horz" wrap="square" lIns="0" tIns="11906" rIns="0" bIns="0" rtlCol="0">
            <a:spAutoFit/>
          </a:bodyPr>
          <a:lstStyle/>
          <a:p>
            <a:pPr marL="9525">
              <a:spcBef>
                <a:spcPts val="94"/>
              </a:spcBef>
            </a:pPr>
            <a:r>
              <a:rPr sz="1275" b="1" i="1" spc="8" dirty="0">
                <a:solidFill>
                  <a:srgbClr val="0055AC"/>
                </a:solidFill>
                <a:latin typeface="Arial"/>
                <a:cs typeface="Arial"/>
              </a:rPr>
              <a:t>2003</a:t>
            </a:r>
            <a:endParaRPr sz="1275">
              <a:latin typeface="Arial"/>
              <a:cs typeface="Arial"/>
            </a:endParaRPr>
          </a:p>
        </p:txBody>
      </p:sp>
      <p:sp>
        <p:nvSpPr>
          <p:cNvPr id="73" name="object 48">
            <a:extLst>
              <a:ext uri="{FF2B5EF4-FFF2-40B4-BE49-F238E27FC236}">
                <a16:creationId xmlns:a16="http://schemas.microsoft.com/office/drawing/2014/main" id="{A8EB5742-E5AC-468E-A0A3-66537AD67D58}"/>
              </a:ext>
            </a:extLst>
          </p:cNvPr>
          <p:cNvSpPr txBox="1"/>
          <p:nvPr/>
        </p:nvSpPr>
        <p:spPr>
          <a:xfrm>
            <a:off x="3285553" y="2863787"/>
            <a:ext cx="1170623" cy="786273"/>
          </a:xfrm>
          <a:prstGeom prst="rect">
            <a:avLst/>
          </a:prstGeom>
        </p:spPr>
        <p:txBody>
          <a:bodyPr vert="horz" wrap="square" lIns="0" tIns="9049" rIns="0" bIns="0" rtlCol="0">
            <a:spAutoFit/>
          </a:bodyPr>
          <a:lstStyle/>
          <a:p>
            <a:pPr marL="9525" marR="3810">
              <a:spcBef>
                <a:spcPts val="71"/>
              </a:spcBef>
            </a:pPr>
            <a:r>
              <a:rPr lang="it-IT" sz="1200" spc="-4" dirty="0">
                <a:latin typeface="Arial"/>
                <a:cs typeface="Arial"/>
              </a:rPr>
              <a:t>Finanziamento</a:t>
            </a:r>
          </a:p>
          <a:p>
            <a:pPr marL="9525" marR="3810">
              <a:spcBef>
                <a:spcPts val="71"/>
              </a:spcBef>
            </a:pPr>
            <a:r>
              <a:rPr lang="it-IT" sz="1200" b="1" spc="-4" dirty="0">
                <a:latin typeface="Arial"/>
                <a:cs typeface="Arial"/>
              </a:rPr>
              <a:t>infrastrutture</a:t>
            </a:r>
            <a:r>
              <a:rPr lang="it-IT" sz="1200" spc="-4" dirty="0">
                <a:latin typeface="Arial"/>
                <a:cs typeface="Arial"/>
              </a:rPr>
              <a:t>,</a:t>
            </a:r>
          </a:p>
          <a:p>
            <a:pPr marL="9525" marR="3810">
              <a:spcBef>
                <a:spcPts val="71"/>
              </a:spcBef>
            </a:pPr>
            <a:r>
              <a:rPr lang="it-IT" sz="1200" b="1" spc="-4" dirty="0">
                <a:latin typeface="Arial"/>
                <a:cs typeface="Arial"/>
              </a:rPr>
              <a:t>imprese</a:t>
            </a:r>
            <a:r>
              <a:rPr lang="it-IT" sz="1200" spc="-4" dirty="0">
                <a:latin typeface="Arial"/>
                <a:cs typeface="Arial"/>
              </a:rPr>
              <a:t> e avvio</a:t>
            </a:r>
          </a:p>
          <a:p>
            <a:pPr marL="9525" marR="3810">
              <a:spcBef>
                <a:spcPts val="71"/>
              </a:spcBef>
            </a:pPr>
            <a:r>
              <a:rPr lang="it-IT" sz="1200" b="1" spc="-4" dirty="0">
                <a:latin typeface="Arial"/>
                <a:cs typeface="Arial"/>
              </a:rPr>
              <a:t>social </a:t>
            </a:r>
            <a:r>
              <a:rPr lang="it-IT" sz="1200" b="1" spc="-4" dirty="0" err="1">
                <a:latin typeface="Arial"/>
                <a:cs typeface="Arial"/>
              </a:rPr>
              <a:t>housing</a:t>
            </a:r>
            <a:endParaRPr sz="1200" b="1" dirty="0">
              <a:latin typeface="Arial"/>
              <a:cs typeface="Arial"/>
            </a:endParaRPr>
          </a:p>
        </p:txBody>
      </p:sp>
      <p:sp>
        <p:nvSpPr>
          <p:cNvPr id="74" name="object 49">
            <a:extLst>
              <a:ext uri="{FF2B5EF4-FFF2-40B4-BE49-F238E27FC236}">
                <a16:creationId xmlns:a16="http://schemas.microsoft.com/office/drawing/2014/main" id="{5CA8F89C-A30A-4A45-97A6-51FA68417B76}"/>
              </a:ext>
            </a:extLst>
          </p:cNvPr>
          <p:cNvSpPr/>
          <p:nvPr/>
        </p:nvSpPr>
        <p:spPr>
          <a:xfrm>
            <a:off x="4330732" y="1413510"/>
            <a:ext cx="4191476" cy="972979"/>
          </a:xfrm>
          <a:custGeom>
            <a:avLst/>
            <a:gdLst/>
            <a:ahLst/>
            <a:cxnLst/>
            <a:rect l="l" t="t" r="r" b="b"/>
            <a:pathLst>
              <a:path w="5588634" h="1297305">
                <a:moveTo>
                  <a:pt x="5412710" y="56617"/>
                </a:moveTo>
                <a:lnTo>
                  <a:pt x="0" y="1240155"/>
                </a:lnTo>
                <a:lnTo>
                  <a:pt x="12445" y="1296797"/>
                </a:lnTo>
                <a:lnTo>
                  <a:pt x="5425102" y="113118"/>
                </a:lnTo>
                <a:lnTo>
                  <a:pt x="5412710" y="56617"/>
                </a:lnTo>
                <a:close/>
              </a:path>
              <a:path w="5588634" h="1297305">
                <a:moveTo>
                  <a:pt x="5585329" y="50419"/>
                </a:moveTo>
                <a:lnTo>
                  <a:pt x="5441061" y="50419"/>
                </a:lnTo>
                <a:lnTo>
                  <a:pt x="5453380" y="106934"/>
                </a:lnTo>
                <a:lnTo>
                  <a:pt x="5425102" y="113118"/>
                </a:lnTo>
                <a:lnTo>
                  <a:pt x="5437505" y="169672"/>
                </a:lnTo>
                <a:lnTo>
                  <a:pt x="5585329" y="50419"/>
                </a:lnTo>
                <a:close/>
              </a:path>
              <a:path w="5588634" h="1297305">
                <a:moveTo>
                  <a:pt x="5441061" y="50419"/>
                </a:moveTo>
                <a:lnTo>
                  <a:pt x="5412710" y="56617"/>
                </a:lnTo>
                <a:lnTo>
                  <a:pt x="5425102" y="113118"/>
                </a:lnTo>
                <a:lnTo>
                  <a:pt x="5453380" y="106934"/>
                </a:lnTo>
                <a:lnTo>
                  <a:pt x="5441061" y="50419"/>
                </a:lnTo>
                <a:close/>
              </a:path>
              <a:path w="5588634" h="1297305">
                <a:moveTo>
                  <a:pt x="5400294" y="0"/>
                </a:moveTo>
                <a:lnTo>
                  <a:pt x="5412710" y="56617"/>
                </a:lnTo>
                <a:lnTo>
                  <a:pt x="5441061" y="50419"/>
                </a:lnTo>
                <a:lnTo>
                  <a:pt x="5585329" y="50419"/>
                </a:lnTo>
                <a:lnTo>
                  <a:pt x="5588635" y="47752"/>
                </a:lnTo>
                <a:lnTo>
                  <a:pt x="5400294" y="0"/>
                </a:lnTo>
                <a:close/>
              </a:path>
            </a:pathLst>
          </a:custGeom>
          <a:solidFill>
            <a:srgbClr val="629629"/>
          </a:solidFill>
        </p:spPr>
        <p:txBody>
          <a:bodyPr wrap="square" lIns="0" tIns="0" rIns="0" bIns="0" rtlCol="0"/>
          <a:lstStyle/>
          <a:p>
            <a:endParaRPr sz="918"/>
          </a:p>
        </p:txBody>
      </p:sp>
      <p:sp>
        <p:nvSpPr>
          <p:cNvPr id="75" name="object 50">
            <a:extLst>
              <a:ext uri="{FF2B5EF4-FFF2-40B4-BE49-F238E27FC236}">
                <a16:creationId xmlns:a16="http://schemas.microsoft.com/office/drawing/2014/main" id="{17D795BA-4724-439A-BE00-7A2247F2C7D6}"/>
              </a:ext>
            </a:extLst>
          </p:cNvPr>
          <p:cNvSpPr txBox="1"/>
          <p:nvPr/>
        </p:nvSpPr>
        <p:spPr>
          <a:xfrm>
            <a:off x="8235125" y="1125283"/>
            <a:ext cx="384810" cy="208230"/>
          </a:xfrm>
          <a:prstGeom prst="rect">
            <a:avLst/>
          </a:prstGeom>
        </p:spPr>
        <p:txBody>
          <a:bodyPr vert="horz" wrap="square" lIns="0" tIns="11906" rIns="0" bIns="0" rtlCol="0">
            <a:spAutoFit/>
          </a:bodyPr>
          <a:lstStyle/>
          <a:p>
            <a:pPr marL="9525">
              <a:spcBef>
                <a:spcPts val="94"/>
              </a:spcBef>
            </a:pPr>
            <a:r>
              <a:rPr sz="1275" b="1" i="1" spc="8" dirty="0">
                <a:solidFill>
                  <a:srgbClr val="0055AC"/>
                </a:solidFill>
                <a:latin typeface="Arial"/>
                <a:cs typeface="Arial"/>
              </a:rPr>
              <a:t>2018</a:t>
            </a:r>
            <a:endParaRPr sz="1275">
              <a:latin typeface="Arial"/>
              <a:cs typeface="Arial"/>
            </a:endParaRPr>
          </a:p>
        </p:txBody>
      </p:sp>
      <p:sp>
        <p:nvSpPr>
          <p:cNvPr id="76" name="object 51">
            <a:extLst>
              <a:ext uri="{FF2B5EF4-FFF2-40B4-BE49-F238E27FC236}">
                <a16:creationId xmlns:a16="http://schemas.microsoft.com/office/drawing/2014/main" id="{EFA0E195-37DB-4D4E-A3BA-9A4D6E2B2D79}"/>
              </a:ext>
            </a:extLst>
          </p:cNvPr>
          <p:cNvSpPr/>
          <p:nvPr/>
        </p:nvSpPr>
        <p:spPr>
          <a:xfrm>
            <a:off x="8305609" y="1389317"/>
            <a:ext cx="217170" cy="213836"/>
          </a:xfrm>
          <a:custGeom>
            <a:avLst/>
            <a:gdLst/>
            <a:ahLst/>
            <a:cxnLst/>
            <a:rect l="l" t="t" r="r" b="b"/>
            <a:pathLst>
              <a:path w="289559" h="285114">
                <a:moveTo>
                  <a:pt x="144779" y="0"/>
                </a:moveTo>
                <a:lnTo>
                  <a:pt x="98999" y="7260"/>
                </a:lnTo>
                <a:lnTo>
                  <a:pt x="59253" y="27480"/>
                </a:lnTo>
                <a:lnTo>
                  <a:pt x="27919" y="58320"/>
                </a:lnTo>
                <a:lnTo>
                  <a:pt x="7376" y="97438"/>
                </a:lnTo>
                <a:lnTo>
                  <a:pt x="0" y="142493"/>
                </a:lnTo>
                <a:lnTo>
                  <a:pt x="7376" y="187549"/>
                </a:lnTo>
                <a:lnTo>
                  <a:pt x="27919" y="226667"/>
                </a:lnTo>
                <a:lnTo>
                  <a:pt x="59253" y="257507"/>
                </a:lnTo>
                <a:lnTo>
                  <a:pt x="98999" y="277727"/>
                </a:lnTo>
                <a:lnTo>
                  <a:pt x="144779" y="284988"/>
                </a:lnTo>
                <a:lnTo>
                  <a:pt x="190560" y="277727"/>
                </a:lnTo>
                <a:lnTo>
                  <a:pt x="230306" y="257507"/>
                </a:lnTo>
                <a:lnTo>
                  <a:pt x="261640" y="226667"/>
                </a:lnTo>
                <a:lnTo>
                  <a:pt x="282183" y="187549"/>
                </a:lnTo>
                <a:lnTo>
                  <a:pt x="289559" y="142493"/>
                </a:lnTo>
                <a:lnTo>
                  <a:pt x="282183" y="97438"/>
                </a:lnTo>
                <a:lnTo>
                  <a:pt x="261640" y="58320"/>
                </a:lnTo>
                <a:lnTo>
                  <a:pt x="230306" y="27480"/>
                </a:lnTo>
                <a:lnTo>
                  <a:pt x="190560" y="7260"/>
                </a:lnTo>
                <a:lnTo>
                  <a:pt x="144779" y="0"/>
                </a:lnTo>
                <a:close/>
              </a:path>
            </a:pathLst>
          </a:custGeom>
          <a:solidFill>
            <a:srgbClr val="62B529"/>
          </a:solidFill>
        </p:spPr>
        <p:txBody>
          <a:bodyPr wrap="square" lIns="0" tIns="0" rIns="0" bIns="0" rtlCol="0"/>
          <a:lstStyle/>
          <a:p>
            <a:endParaRPr sz="918"/>
          </a:p>
        </p:txBody>
      </p:sp>
      <p:sp>
        <p:nvSpPr>
          <p:cNvPr id="77" name="object 52">
            <a:extLst>
              <a:ext uri="{FF2B5EF4-FFF2-40B4-BE49-F238E27FC236}">
                <a16:creationId xmlns:a16="http://schemas.microsoft.com/office/drawing/2014/main" id="{68F8160F-C74E-4A3D-9258-59E655D292A5}"/>
              </a:ext>
            </a:extLst>
          </p:cNvPr>
          <p:cNvSpPr/>
          <p:nvPr/>
        </p:nvSpPr>
        <p:spPr>
          <a:xfrm>
            <a:off x="8305609" y="1389317"/>
            <a:ext cx="217170" cy="213836"/>
          </a:xfrm>
          <a:custGeom>
            <a:avLst/>
            <a:gdLst/>
            <a:ahLst/>
            <a:cxnLst/>
            <a:rect l="l" t="t" r="r" b="b"/>
            <a:pathLst>
              <a:path w="289559" h="285114">
                <a:moveTo>
                  <a:pt x="0" y="142493"/>
                </a:moveTo>
                <a:lnTo>
                  <a:pt x="7376" y="97438"/>
                </a:lnTo>
                <a:lnTo>
                  <a:pt x="27919" y="58320"/>
                </a:lnTo>
                <a:lnTo>
                  <a:pt x="59253" y="27480"/>
                </a:lnTo>
                <a:lnTo>
                  <a:pt x="98999" y="7260"/>
                </a:lnTo>
                <a:lnTo>
                  <a:pt x="144779" y="0"/>
                </a:lnTo>
                <a:lnTo>
                  <a:pt x="190560" y="7260"/>
                </a:lnTo>
                <a:lnTo>
                  <a:pt x="230306" y="27480"/>
                </a:lnTo>
                <a:lnTo>
                  <a:pt x="261640" y="58320"/>
                </a:lnTo>
                <a:lnTo>
                  <a:pt x="282183" y="97438"/>
                </a:lnTo>
                <a:lnTo>
                  <a:pt x="289559" y="142493"/>
                </a:lnTo>
                <a:lnTo>
                  <a:pt x="282183" y="187549"/>
                </a:lnTo>
                <a:lnTo>
                  <a:pt x="261640" y="226667"/>
                </a:lnTo>
                <a:lnTo>
                  <a:pt x="230306" y="257507"/>
                </a:lnTo>
                <a:lnTo>
                  <a:pt x="190560" y="277727"/>
                </a:lnTo>
                <a:lnTo>
                  <a:pt x="144779" y="284988"/>
                </a:lnTo>
                <a:lnTo>
                  <a:pt x="98999" y="277727"/>
                </a:lnTo>
                <a:lnTo>
                  <a:pt x="59253" y="257507"/>
                </a:lnTo>
                <a:lnTo>
                  <a:pt x="27919" y="226667"/>
                </a:lnTo>
                <a:lnTo>
                  <a:pt x="7376" y="187549"/>
                </a:lnTo>
                <a:lnTo>
                  <a:pt x="0" y="142493"/>
                </a:lnTo>
                <a:close/>
              </a:path>
            </a:pathLst>
          </a:custGeom>
          <a:ln w="28955">
            <a:solidFill>
              <a:srgbClr val="DFDFDF"/>
            </a:solidFill>
          </a:ln>
        </p:spPr>
        <p:txBody>
          <a:bodyPr wrap="square" lIns="0" tIns="0" rIns="0" bIns="0" rtlCol="0"/>
          <a:lstStyle/>
          <a:p>
            <a:endParaRPr sz="918"/>
          </a:p>
        </p:txBody>
      </p:sp>
      <p:sp>
        <p:nvSpPr>
          <p:cNvPr id="78" name="object 53">
            <a:extLst>
              <a:ext uri="{FF2B5EF4-FFF2-40B4-BE49-F238E27FC236}">
                <a16:creationId xmlns:a16="http://schemas.microsoft.com/office/drawing/2014/main" id="{3DBCEE3A-38C4-4658-A857-06C5DCCC88E4}"/>
              </a:ext>
            </a:extLst>
          </p:cNvPr>
          <p:cNvSpPr/>
          <p:nvPr/>
        </p:nvSpPr>
        <p:spPr>
          <a:xfrm>
            <a:off x="8346186" y="1429893"/>
            <a:ext cx="136016" cy="132587"/>
          </a:xfrm>
          <a:prstGeom prst="rect">
            <a:avLst/>
          </a:prstGeom>
          <a:blipFill>
            <a:blip r:embed="rId18" cstate="print"/>
            <a:stretch>
              <a:fillRect/>
            </a:stretch>
          </a:blipFill>
        </p:spPr>
        <p:txBody>
          <a:bodyPr wrap="square" lIns="0" tIns="0" rIns="0" bIns="0" rtlCol="0"/>
          <a:lstStyle/>
          <a:p>
            <a:endParaRPr sz="918"/>
          </a:p>
        </p:txBody>
      </p:sp>
      <p:sp>
        <p:nvSpPr>
          <p:cNvPr id="79" name="object 54">
            <a:extLst>
              <a:ext uri="{FF2B5EF4-FFF2-40B4-BE49-F238E27FC236}">
                <a16:creationId xmlns:a16="http://schemas.microsoft.com/office/drawing/2014/main" id="{78C05B05-3ABD-440B-ABE3-7D9AF8C2D753}"/>
              </a:ext>
            </a:extLst>
          </p:cNvPr>
          <p:cNvSpPr/>
          <p:nvPr/>
        </p:nvSpPr>
        <p:spPr>
          <a:xfrm>
            <a:off x="7379779" y="1574483"/>
            <a:ext cx="216218" cy="213836"/>
          </a:xfrm>
          <a:custGeom>
            <a:avLst/>
            <a:gdLst/>
            <a:ahLst/>
            <a:cxnLst/>
            <a:rect l="l" t="t" r="r" b="b"/>
            <a:pathLst>
              <a:path w="288290" h="285114">
                <a:moveTo>
                  <a:pt x="144018" y="0"/>
                </a:moveTo>
                <a:lnTo>
                  <a:pt x="98511" y="7260"/>
                </a:lnTo>
                <a:lnTo>
                  <a:pt x="58978" y="27480"/>
                </a:lnTo>
                <a:lnTo>
                  <a:pt x="27797" y="58320"/>
                </a:lnTo>
                <a:lnTo>
                  <a:pt x="7345" y="97438"/>
                </a:lnTo>
                <a:lnTo>
                  <a:pt x="0" y="142493"/>
                </a:lnTo>
                <a:lnTo>
                  <a:pt x="7345" y="187549"/>
                </a:lnTo>
                <a:lnTo>
                  <a:pt x="27797" y="226667"/>
                </a:lnTo>
                <a:lnTo>
                  <a:pt x="58978" y="257507"/>
                </a:lnTo>
                <a:lnTo>
                  <a:pt x="98511" y="277727"/>
                </a:lnTo>
                <a:lnTo>
                  <a:pt x="144018" y="284988"/>
                </a:lnTo>
                <a:lnTo>
                  <a:pt x="189524" y="277727"/>
                </a:lnTo>
                <a:lnTo>
                  <a:pt x="229057" y="257507"/>
                </a:lnTo>
                <a:lnTo>
                  <a:pt x="260238" y="226667"/>
                </a:lnTo>
                <a:lnTo>
                  <a:pt x="280690" y="187549"/>
                </a:lnTo>
                <a:lnTo>
                  <a:pt x="288036" y="142493"/>
                </a:lnTo>
                <a:lnTo>
                  <a:pt x="280690" y="97438"/>
                </a:lnTo>
                <a:lnTo>
                  <a:pt x="260238" y="58320"/>
                </a:lnTo>
                <a:lnTo>
                  <a:pt x="229057" y="27480"/>
                </a:lnTo>
                <a:lnTo>
                  <a:pt x="189524" y="7260"/>
                </a:lnTo>
                <a:lnTo>
                  <a:pt x="144018" y="0"/>
                </a:lnTo>
                <a:close/>
              </a:path>
            </a:pathLst>
          </a:custGeom>
          <a:solidFill>
            <a:srgbClr val="62B529"/>
          </a:solidFill>
        </p:spPr>
        <p:txBody>
          <a:bodyPr wrap="square" lIns="0" tIns="0" rIns="0" bIns="0" rtlCol="0"/>
          <a:lstStyle/>
          <a:p>
            <a:endParaRPr sz="918"/>
          </a:p>
        </p:txBody>
      </p:sp>
      <p:sp>
        <p:nvSpPr>
          <p:cNvPr id="80" name="object 55">
            <a:extLst>
              <a:ext uri="{FF2B5EF4-FFF2-40B4-BE49-F238E27FC236}">
                <a16:creationId xmlns:a16="http://schemas.microsoft.com/office/drawing/2014/main" id="{AE0F5004-F3A6-48EE-BF15-1428054A2185}"/>
              </a:ext>
            </a:extLst>
          </p:cNvPr>
          <p:cNvSpPr/>
          <p:nvPr/>
        </p:nvSpPr>
        <p:spPr>
          <a:xfrm>
            <a:off x="7379779" y="1574483"/>
            <a:ext cx="216218" cy="213836"/>
          </a:xfrm>
          <a:custGeom>
            <a:avLst/>
            <a:gdLst/>
            <a:ahLst/>
            <a:cxnLst/>
            <a:rect l="l" t="t" r="r" b="b"/>
            <a:pathLst>
              <a:path w="288290" h="285114">
                <a:moveTo>
                  <a:pt x="0" y="142493"/>
                </a:moveTo>
                <a:lnTo>
                  <a:pt x="7345" y="97438"/>
                </a:lnTo>
                <a:lnTo>
                  <a:pt x="27797" y="58320"/>
                </a:lnTo>
                <a:lnTo>
                  <a:pt x="58978" y="27480"/>
                </a:lnTo>
                <a:lnTo>
                  <a:pt x="98511" y="7260"/>
                </a:lnTo>
                <a:lnTo>
                  <a:pt x="144018" y="0"/>
                </a:lnTo>
                <a:lnTo>
                  <a:pt x="189524" y="7260"/>
                </a:lnTo>
                <a:lnTo>
                  <a:pt x="229057" y="27480"/>
                </a:lnTo>
                <a:lnTo>
                  <a:pt x="260238" y="58320"/>
                </a:lnTo>
                <a:lnTo>
                  <a:pt x="280690" y="97438"/>
                </a:lnTo>
                <a:lnTo>
                  <a:pt x="288036" y="142493"/>
                </a:lnTo>
                <a:lnTo>
                  <a:pt x="280690" y="187549"/>
                </a:lnTo>
                <a:lnTo>
                  <a:pt x="260238" y="226667"/>
                </a:lnTo>
                <a:lnTo>
                  <a:pt x="229057" y="257507"/>
                </a:lnTo>
                <a:lnTo>
                  <a:pt x="189524" y="277727"/>
                </a:lnTo>
                <a:lnTo>
                  <a:pt x="144018" y="284988"/>
                </a:lnTo>
                <a:lnTo>
                  <a:pt x="98511" y="277727"/>
                </a:lnTo>
                <a:lnTo>
                  <a:pt x="58978" y="257507"/>
                </a:lnTo>
                <a:lnTo>
                  <a:pt x="27797" y="226667"/>
                </a:lnTo>
                <a:lnTo>
                  <a:pt x="7345" y="187549"/>
                </a:lnTo>
                <a:lnTo>
                  <a:pt x="0" y="142493"/>
                </a:lnTo>
                <a:close/>
              </a:path>
            </a:pathLst>
          </a:custGeom>
          <a:ln w="28956">
            <a:solidFill>
              <a:srgbClr val="DFDFDF"/>
            </a:solidFill>
          </a:ln>
        </p:spPr>
        <p:txBody>
          <a:bodyPr wrap="square" lIns="0" tIns="0" rIns="0" bIns="0" rtlCol="0"/>
          <a:lstStyle/>
          <a:p>
            <a:endParaRPr sz="918"/>
          </a:p>
        </p:txBody>
      </p:sp>
      <p:sp>
        <p:nvSpPr>
          <p:cNvPr id="81" name="object 56">
            <a:extLst>
              <a:ext uri="{FF2B5EF4-FFF2-40B4-BE49-F238E27FC236}">
                <a16:creationId xmlns:a16="http://schemas.microsoft.com/office/drawing/2014/main" id="{CC17A5E3-B156-499E-824D-73A697FD0E69}"/>
              </a:ext>
            </a:extLst>
          </p:cNvPr>
          <p:cNvSpPr/>
          <p:nvPr/>
        </p:nvSpPr>
        <p:spPr>
          <a:xfrm>
            <a:off x="7420356" y="1615059"/>
            <a:ext cx="134873" cy="132587"/>
          </a:xfrm>
          <a:prstGeom prst="rect">
            <a:avLst/>
          </a:prstGeom>
          <a:blipFill>
            <a:blip r:embed="rId16" cstate="print"/>
            <a:stretch>
              <a:fillRect/>
            </a:stretch>
          </a:blipFill>
        </p:spPr>
        <p:txBody>
          <a:bodyPr wrap="square" lIns="0" tIns="0" rIns="0" bIns="0" rtlCol="0"/>
          <a:lstStyle/>
          <a:p>
            <a:endParaRPr sz="918"/>
          </a:p>
        </p:txBody>
      </p:sp>
      <p:sp>
        <p:nvSpPr>
          <p:cNvPr id="82" name="object 57">
            <a:extLst>
              <a:ext uri="{FF2B5EF4-FFF2-40B4-BE49-F238E27FC236}">
                <a16:creationId xmlns:a16="http://schemas.microsoft.com/office/drawing/2014/main" id="{FB97772D-05D1-41D5-B00C-9F1E60960E6C}"/>
              </a:ext>
            </a:extLst>
          </p:cNvPr>
          <p:cNvSpPr txBox="1"/>
          <p:nvPr/>
        </p:nvSpPr>
        <p:spPr>
          <a:xfrm>
            <a:off x="7343870" y="1321594"/>
            <a:ext cx="384810" cy="208230"/>
          </a:xfrm>
          <a:prstGeom prst="rect">
            <a:avLst/>
          </a:prstGeom>
        </p:spPr>
        <p:txBody>
          <a:bodyPr vert="horz" wrap="square" lIns="0" tIns="11906" rIns="0" bIns="0" rtlCol="0">
            <a:spAutoFit/>
          </a:bodyPr>
          <a:lstStyle/>
          <a:p>
            <a:pPr marL="9525">
              <a:spcBef>
                <a:spcPts val="94"/>
              </a:spcBef>
            </a:pPr>
            <a:r>
              <a:rPr sz="1275" b="1" i="1" spc="8" dirty="0">
                <a:solidFill>
                  <a:srgbClr val="0055AC"/>
                </a:solidFill>
                <a:latin typeface="Arial"/>
                <a:cs typeface="Arial"/>
              </a:rPr>
              <a:t>2016</a:t>
            </a:r>
            <a:endParaRPr sz="1275" dirty="0">
              <a:latin typeface="Arial"/>
              <a:cs typeface="Arial"/>
            </a:endParaRPr>
          </a:p>
        </p:txBody>
      </p:sp>
      <p:sp>
        <p:nvSpPr>
          <p:cNvPr id="83" name="object 58">
            <a:extLst>
              <a:ext uri="{FF2B5EF4-FFF2-40B4-BE49-F238E27FC236}">
                <a16:creationId xmlns:a16="http://schemas.microsoft.com/office/drawing/2014/main" id="{7416EA20-02DC-4878-9013-3008EE1A122E}"/>
              </a:ext>
            </a:extLst>
          </p:cNvPr>
          <p:cNvSpPr/>
          <p:nvPr/>
        </p:nvSpPr>
        <p:spPr>
          <a:xfrm>
            <a:off x="6345364" y="1784795"/>
            <a:ext cx="216218" cy="213836"/>
          </a:xfrm>
          <a:custGeom>
            <a:avLst/>
            <a:gdLst/>
            <a:ahLst/>
            <a:cxnLst/>
            <a:rect l="l" t="t" r="r" b="b"/>
            <a:pathLst>
              <a:path w="288290" h="285114">
                <a:moveTo>
                  <a:pt x="144018" y="0"/>
                </a:moveTo>
                <a:lnTo>
                  <a:pt x="98511" y="7260"/>
                </a:lnTo>
                <a:lnTo>
                  <a:pt x="58978" y="27480"/>
                </a:lnTo>
                <a:lnTo>
                  <a:pt x="27797" y="58320"/>
                </a:lnTo>
                <a:lnTo>
                  <a:pt x="7345" y="97438"/>
                </a:lnTo>
                <a:lnTo>
                  <a:pt x="0" y="142494"/>
                </a:lnTo>
                <a:lnTo>
                  <a:pt x="7345" y="187549"/>
                </a:lnTo>
                <a:lnTo>
                  <a:pt x="27797" y="226667"/>
                </a:lnTo>
                <a:lnTo>
                  <a:pt x="58978" y="257507"/>
                </a:lnTo>
                <a:lnTo>
                  <a:pt x="98511" y="277727"/>
                </a:lnTo>
                <a:lnTo>
                  <a:pt x="144018" y="284988"/>
                </a:lnTo>
                <a:lnTo>
                  <a:pt x="189524" y="277727"/>
                </a:lnTo>
                <a:lnTo>
                  <a:pt x="229057" y="257507"/>
                </a:lnTo>
                <a:lnTo>
                  <a:pt x="260238" y="226667"/>
                </a:lnTo>
                <a:lnTo>
                  <a:pt x="280690" y="187549"/>
                </a:lnTo>
                <a:lnTo>
                  <a:pt x="288036" y="142494"/>
                </a:lnTo>
                <a:lnTo>
                  <a:pt x="280690" y="97438"/>
                </a:lnTo>
                <a:lnTo>
                  <a:pt x="260238" y="58320"/>
                </a:lnTo>
                <a:lnTo>
                  <a:pt x="229057" y="27480"/>
                </a:lnTo>
                <a:lnTo>
                  <a:pt x="189524" y="7260"/>
                </a:lnTo>
                <a:lnTo>
                  <a:pt x="144018" y="0"/>
                </a:lnTo>
                <a:close/>
              </a:path>
            </a:pathLst>
          </a:custGeom>
          <a:solidFill>
            <a:srgbClr val="62B529"/>
          </a:solidFill>
        </p:spPr>
        <p:txBody>
          <a:bodyPr wrap="square" lIns="0" tIns="0" rIns="0" bIns="0" rtlCol="0"/>
          <a:lstStyle/>
          <a:p>
            <a:endParaRPr sz="918"/>
          </a:p>
        </p:txBody>
      </p:sp>
      <p:sp>
        <p:nvSpPr>
          <p:cNvPr id="84" name="object 59">
            <a:extLst>
              <a:ext uri="{FF2B5EF4-FFF2-40B4-BE49-F238E27FC236}">
                <a16:creationId xmlns:a16="http://schemas.microsoft.com/office/drawing/2014/main" id="{6BF11074-01C8-45EB-90A3-D6ED9236EB51}"/>
              </a:ext>
            </a:extLst>
          </p:cNvPr>
          <p:cNvSpPr/>
          <p:nvPr/>
        </p:nvSpPr>
        <p:spPr>
          <a:xfrm>
            <a:off x="6345364" y="1784795"/>
            <a:ext cx="216218" cy="213836"/>
          </a:xfrm>
          <a:custGeom>
            <a:avLst/>
            <a:gdLst/>
            <a:ahLst/>
            <a:cxnLst/>
            <a:rect l="l" t="t" r="r" b="b"/>
            <a:pathLst>
              <a:path w="288290" h="285114">
                <a:moveTo>
                  <a:pt x="0" y="142494"/>
                </a:moveTo>
                <a:lnTo>
                  <a:pt x="7345" y="97438"/>
                </a:lnTo>
                <a:lnTo>
                  <a:pt x="27797" y="58320"/>
                </a:lnTo>
                <a:lnTo>
                  <a:pt x="58978" y="27480"/>
                </a:lnTo>
                <a:lnTo>
                  <a:pt x="98511" y="7260"/>
                </a:lnTo>
                <a:lnTo>
                  <a:pt x="144018" y="0"/>
                </a:lnTo>
                <a:lnTo>
                  <a:pt x="189524" y="7260"/>
                </a:lnTo>
                <a:lnTo>
                  <a:pt x="229057" y="27480"/>
                </a:lnTo>
                <a:lnTo>
                  <a:pt x="260238" y="58320"/>
                </a:lnTo>
                <a:lnTo>
                  <a:pt x="280690" y="97438"/>
                </a:lnTo>
                <a:lnTo>
                  <a:pt x="288036" y="142494"/>
                </a:lnTo>
                <a:lnTo>
                  <a:pt x="280690" y="187549"/>
                </a:lnTo>
                <a:lnTo>
                  <a:pt x="260238" y="226667"/>
                </a:lnTo>
                <a:lnTo>
                  <a:pt x="229057" y="257507"/>
                </a:lnTo>
                <a:lnTo>
                  <a:pt x="189524" y="277727"/>
                </a:lnTo>
                <a:lnTo>
                  <a:pt x="144018" y="284988"/>
                </a:lnTo>
                <a:lnTo>
                  <a:pt x="98511" y="277727"/>
                </a:lnTo>
                <a:lnTo>
                  <a:pt x="58978" y="257507"/>
                </a:lnTo>
                <a:lnTo>
                  <a:pt x="27797" y="226667"/>
                </a:lnTo>
                <a:lnTo>
                  <a:pt x="7345" y="187549"/>
                </a:lnTo>
                <a:lnTo>
                  <a:pt x="0" y="142494"/>
                </a:lnTo>
                <a:close/>
              </a:path>
            </a:pathLst>
          </a:custGeom>
          <a:ln w="28956">
            <a:solidFill>
              <a:srgbClr val="DFDFDF"/>
            </a:solidFill>
          </a:ln>
        </p:spPr>
        <p:txBody>
          <a:bodyPr wrap="square" lIns="0" tIns="0" rIns="0" bIns="0" rtlCol="0"/>
          <a:lstStyle/>
          <a:p>
            <a:endParaRPr sz="918"/>
          </a:p>
        </p:txBody>
      </p:sp>
      <p:sp>
        <p:nvSpPr>
          <p:cNvPr id="85" name="object 60">
            <a:extLst>
              <a:ext uri="{FF2B5EF4-FFF2-40B4-BE49-F238E27FC236}">
                <a16:creationId xmlns:a16="http://schemas.microsoft.com/office/drawing/2014/main" id="{8F743D16-6720-41E3-B9B8-7E89DB59AF7E}"/>
              </a:ext>
            </a:extLst>
          </p:cNvPr>
          <p:cNvSpPr/>
          <p:nvPr/>
        </p:nvSpPr>
        <p:spPr>
          <a:xfrm>
            <a:off x="6385942" y="1825370"/>
            <a:ext cx="134873" cy="132588"/>
          </a:xfrm>
          <a:prstGeom prst="rect">
            <a:avLst/>
          </a:prstGeom>
          <a:blipFill>
            <a:blip r:embed="rId16" cstate="print"/>
            <a:stretch>
              <a:fillRect/>
            </a:stretch>
          </a:blipFill>
        </p:spPr>
        <p:txBody>
          <a:bodyPr wrap="square" lIns="0" tIns="0" rIns="0" bIns="0" rtlCol="0"/>
          <a:lstStyle/>
          <a:p>
            <a:endParaRPr sz="918"/>
          </a:p>
        </p:txBody>
      </p:sp>
      <p:sp>
        <p:nvSpPr>
          <p:cNvPr id="86" name="object 61">
            <a:extLst>
              <a:ext uri="{FF2B5EF4-FFF2-40B4-BE49-F238E27FC236}">
                <a16:creationId xmlns:a16="http://schemas.microsoft.com/office/drawing/2014/main" id="{86BE5EED-C945-407B-A6E8-FF0576BEB472}"/>
              </a:ext>
            </a:extLst>
          </p:cNvPr>
          <p:cNvSpPr txBox="1"/>
          <p:nvPr/>
        </p:nvSpPr>
        <p:spPr>
          <a:xfrm>
            <a:off x="6244590" y="1458035"/>
            <a:ext cx="938213" cy="304892"/>
          </a:xfrm>
          <a:prstGeom prst="rect">
            <a:avLst/>
          </a:prstGeom>
        </p:spPr>
        <p:txBody>
          <a:bodyPr vert="horz" wrap="square" lIns="0" tIns="11906" rIns="0" bIns="0" rtlCol="0">
            <a:spAutoFit/>
          </a:bodyPr>
          <a:lstStyle>
            <a:defPPr>
              <a:defRPr lang="it-IT"/>
            </a:defPPr>
            <a:lvl1pPr marL="9525">
              <a:spcBef>
                <a:spcPts val="94"/>
              </a:spcBef>
              <a:defRPr sz="1275" b="1" i="1" spc="8">
                <a:solidFill>
                  <a:srgbClr val="0055AC"/>
                </a:solidFill>
                <a:latin typeface="Arial"/>
                <a:cs typeface="Arial"/>
              </a:defRPr>
            </a:lvl1pPr>
          </a:lstStyle>
          <a:p>
            <a:r>
              <a:rPr lang="it-IT" dirty="0"/>
              <a:t>2014</a:t>
            </a:r>
            <a:endParaRPr dirty="0"/>
          </a:p>
        </p:txBody>
      </p:sp>
      <p:sp>
        <p:nvSpPr>
          <p:cNvPr id="87" name="object 62">
            <a:extLst>
              <a:ext uri="{FF2B5EF4-FFF2-40B4-BE49-F238E27FC236}">
                <a16:creationId xmlns:a16="http://schemas.microsoft.com/office/drawing/2014/main" id="{8E281685-2CAB-4BF7-B47F-57F60ACAC902}"/>
              </a:ext>
            </a:extLst>
          </p:cNvPr>
          <p:cNvSpPr/>
          <p:nvPr/>
        </p:nvSpPr>
        <p:spPr>
          <a:xfrm>
            <a:off x="5144071" y="2053400"/>
            <a:ext cx="216218" cy="213836"/>
          </a:xfrm>
          <a:custGeom>
            <a:avLst/>
            <a:gdLst/>
            <a:ahLst/>
            <a:cxnLst/>
            <a:rect l="l" t="t" r="r" b="b"/>
            <a:pathLst>
              <a:path w="288290" h="285114">
                <a:moveTo>
                  <a:pt x="144018" y="0"/>
                </a:moveTo>
                <a:lnTo>
                  <a:pt x="98511" y="7260"/>
                </a:lnTo>
                <a:lnTo>
                  <a:pt x="58978" y="27480"/>
                </a:lnTo>
                <a:lnTo>
                  <a:pt x="27797" y="58320"/>
                </a:lnTo>
                <a:lnTo>
                  <a:pt x="7345" y="97438"/>
                </a:lnTo>
                <a:lnTo>
                  <a:pt x="0" y="142494"/>
                </a:lnTo>
                <a:lnTo>
                  <a:pt x="7345" y="187549"/>
                </a:lnTo>
                <a:lnTo>
                  <a:pt x="27797" y="226667"/>
                </a:lnTo>
                <a:lnTo>
                  <a:pt x="58978" y="257507"/>
                </a:lnTo>
                <a:lnTo>
                  <a:pt x="98511" y="277727"/>
                </a:lnTo>
                <a:lnTo>
                  <a:pt x="144018" y="284988"/>
                </a:lnTo>
                <a:lnTo>
                  <a:pt x="189524" y="277727"/>
                </a:lnTo>
                <a:lnTo>
                  <a:pt x="229057" y="257507"/>
                </a:lnTo>
                <a:lnTo>
                  <a:pt x="260238" y="226667"/>
                </a:lnTo>
                <a:lnTo>
                  <a:pt x="280690" y="187549"/>
                </a:lnTo>
                <a:lnTo>
                  <a:pt x="288036" y="142494"/>
                </a:lnTo>
                <a:lnTo>
                  <a:pt x="280690" y="97438"/>
                </a:lnTo>
                <a:lnTo>
                  <a:pt x="260238" y="58320"/>
                </a:lnTo>
                <a:lnTo>
                  <a:pt x="229057" y="27480"/>
                </a:lnTo>
                <a:lnTo>
                  <a:pt x="189524" y="7260"/>
                </a:lnTo>
                <a:lnTo>
                  <a:pt x="144018" y="0"/>
                </a:lnTo>
                <a:close/>
              </a:path>
            </a:pathLst>
          </a:custGeom>
          <a:solidFill>
            <a:srgbClr val="62B529"/>
          </a:solidFill>
        </p:spPr>
        <p:txBody>
          <a:bodyPr wrap="square" lIns="0" tIns="0" rIns="0" bIns="0" rtlCol="0"/>
          <a:lstStyle/>
          <a:p>
            <a:endParaRPr sz="918"/>
          </a:p>
        </p:txBody>
      </p:sp>
      <p:sp>
        <p:nvSpPr>
          <p:cNvPr id="88" name="object 63">
            <a:extLst>
              <a:ext uri="{FF2B5EF4-FFF2-40B4-BE49-F238E27FC236}">
                <a16:creationId xmlns:a16="http://schemas.microsoft.com/office/drawing/2014/main" id="{788B637F-0877-4FF4-836C-F1C77F84275D}"/>
              </a:ext>
            </a:extLst>
          </p:cNvPr>
          <p:cNvSpPr/>
          <p:nvPr/>
        </p:nvSpPr>
        <p:spPr>
          <a:xfrm>
            <a:off x="5144071" y="2053400"/>
            <a:ext cx="216218" cy="213836"/>
          </a:xfrm>
          <a:custGeom>
            <a:avLst/>
            <a:gdLst/>
            <a:ahLst/>
            <a:cxnLst/>
            <a:rect l="l" t="t" r="r" b="b"/>
            <a:pathLst>
              <a:path w="288290" h="285114">
                <a:moveTo>
                  <a:pt x="0" y="142494"/>
                </a:moveTo>
                <a:lnTo>
                  <a:pt x="7345" y="97438"/>
                </a:lnTo>
                <a:lnTo>
                  <a:pt x="27797" y="58320"/>
                </a:lnTo>
                <a:lnTo>
                  <a:pt x="58978" y="27480"/>
                </a:lnTo>
                <a:lnTo>
                  <a:pt x="98511" y="7260"/>
                </a:lnTo>
                <a:lnTo>
                  <a:pt x="144018" y="0"/>
                </a:lnTo>
                <a:lnTo>
                  <a:pt x="189524" y="7260"/>
                </a:lnTo>
                <a:lnTo>
                  <a:pt x="229057" y="27480"/>
                </a:lnTo>
                <a:lnTo>
                  <a:pt x="260238" y="58320"/>
                </a:lnTo>
                <a:lnTo>
                  <a:pt x="280690" y="97438"/>
                </a:lnTo>
                <a:lnTo>
                  <a:pt x="288036" y="142494"/>
                </a:lnTo>
                <a:lnTo>
                  <a:pt x="280690" y="187549"/>
                </a:lnTo>
                <a:lnTo>
                  <a:pt x="260238" y="226667"/>
                </a:lnTo>
                <a:lnTo>
                  <a:pt x="229057" y="257507"/>
                </a:lnTo>
                <a:lnTo>
                  <a:pt x="189524" y="277727"/>
                </a:lnTo>
                <a:lnTo>
                  <a:pt x="144018" y="284988"/>
                </a:lnTo>
                <a:lnTo>
                  <a:pt x="98511" y="277727"/>
                </a:lnTo>
                <a:lnTo>
                  <a:pt x="58978" y="257507"/>
                </a:lnTo>
                <a:lnTo>
                  <a:pt x="27797" y="226667"/>
                </a:lnTo>
                <a:lnTo>
                  <a:pt x="7345" y="187549"/>
                </a:lnTo>
                <a:lnTo>
                  <a:pt x="0" y="142494"/>
                </a:lnTo>
                <a:close/>
              </a:path>
            </a:pathLst>
          </a:custGeom>
          <a:ln w="28956">
            <a:solidFill>
              <a:srgbClr val="DFDFDF"/>
            </a:solidFill>
          </a:ln>
        </p:spPr>
        <p:txBody>
          <a:bodyPr wrap="square" lIns="0" tIns="0" rIns="0" bIns="0" rtlCol="0"/>
          <a:lstStyle/>
          <a:p>
            <a:endParaRPr sz="918"/>
          </a:p>
        </p:txBody>
      </p:sp>
      <p:sp>
        <p:nvSpPr>
          <p:cNvPr id="89" name="object 64">
            <a:extLst>
              <a:ext uri="{FF2B5EF4-FFF2-40B4-BE49-F238E27FC236}">
                <a16:creationId xmlns:a16="http://schemas.microsoft.com/office/drawing/2014/main" id="{D4C2799A-EE61-44DF-8B06-3EE8F8C7796C}"/>
              </a:ext>
            </a:extLst>
          </p:cNvPr>
          <p:cNvSpPr/>
          <p:nvPr/>
        </p:nvSpPr>
        <p:spPr>
          <a:xfrm>
            <a:off x="5184649" y="2093976"/>
            <a:ext cx="134873" cy="132587"/>
          </a:xfrm>
          <a:prstGeom prst="rect">
            <a:avLst/>
          </a:prstGeom>
          <a:blipFill>
            <a:blip r:embed="rId17" cstate="print"/>
            <a:stretch>
              <a:fillRect/>
            </a:stretch>
          </a:blipFill>
        </p:spPr>
        <p:txBody>
          <a:bodyPr wrap="square" lIns="0" tIns="0" rIns="0" bIns="0" rtlCol="0"/>
          <a:lstStyle/>
          <a:p>
            <a:endParaRPr sz="918"/>
          </a:p>
        </p:txBody>
      </p:sp>
      <p:sp>
        <p:nvSpPr>
          <p:cNvPr id="90" name="object 65">
            <a:extLst>
              <a:ext uri="{FF2B5EF4-FFF2-40B4-BE49-F238E27FC236}">
                <a16:creationId xmlns:a16="http://schemas.microsoft.com/office/drawing/2014/main" id="{CB70FC9B-1515-437D-A0C9-F1EBE2EF265E}"/>
              </a:ext>
            </a:extLst>
          </p:cNvPr>
          <p:cNvSpPr txBox="1"/>
          <p:nvPr/>
        </p:nvSpPr>
        <p:spPr>
          <a:xfrm>
            <a:off x="5022437" y="1804416"/>
            <a:ext cx="384810" cy="208230"/>
          </a:xfrm>
          <a:prstGeom prst="rect">
            <a:avLst/>
          </a:prstGeom>
        </p:spPr>
        <p:txBody>
          <a:bodyPr vert="horz" wrap="square" lIns="0" tIns="11906" rIns="0" bIns="0" rtlCol="0">
            <a:spAutoFit/>
          </a:bodyPr>
          <a:lstStyle/>
          <a:p>
            <a:pPr marL="9525">
              <a:spcBef>
                <a:spcPts val="94"/>
              </a:spcBef>
            </a:pPr>
            <a:r>
              <a:rPr sz="1275" b="1" i="1" spc="8" dirty="0">
                <a:solidFill>
                  <a:srgbClr val="0055AC"/>
                </a:solidFill>
                <a:latin typeface="Arial"/>
                <a:cs typeface="Arial"/>
              </a:rPr>
              <a:t>2012</a:t>
            </a:r>
            <a:endParaRPr sz="1275">
              <a:latin typeface="Arial"/>
              <a:cs typeface="Arial"/>
            </a:endParaRPr>
          </a:p>
        </p:txBody>
      </p:sp>
      <p:sp>
        <p:nvSpPr>
          <p:cNvPr id="91" name="object 66">
            <a:extLst>
              <a:ext uri="{FF2B5EF4-FFF2-40B4-BE49-F238E27FC236}">
                <a16:creationId xmlns:a16="http://schemas.microsoft.com/office/drawing/2014/main" id="{C0701D92-9CF3-4016-ACAF-939F08108781}"/>
              </a:ext>
            </a:extLst>
          </p:cNvPr>
          <p:cNvSpPr/>
          <p:nvPr/>
        </p:nvSpPr>
        <p:spPr>
          <a:xfrm>
            <a:off x="4401121" y="2216849"/>
            <a:ext cx="217170" cy="213836"/>
          </a:xfrm>
          <a:custGeom>
            <a:avLst/>
            <a:gdLst/>
            <a:ahLst/>
            <a:cxnLst/>
            <a:rect l="l" t="t" r="r" b="b"/>
            <a:pathLst>
              <a:path w="289560" h="285114">
                <a:moveTo>
                  <a:pt x="144779" y="0"/>
                </a:moveTo>
                <a:lnTo>
                  <a:pt x="98999" y="7260"/>
                </a:lnTo>
                <a:lnTo>
                  <a:pt x="59253" y="27480"/>
                </a:lnTo>
                <a:lnTo>
                  <a:pt x="27919" y="58320"/>
                </a:lnTo>
                <a:lnTo>
                  <a:pt x="7376" y="97438"/>
                </a:lnTo>
                <a:lnTo>
                  <a:pt x="0" y="142493"/>
                </a:lnTo>
                <a:lnTo>
                  <a:pt x="7376" y="187549"/>
                </a:lnTo>
                <a:lnTo>
                  <a:pt x="27919" y="226667"/>
                </a:lnTo>
                <a:lnTo>
                  <a:pt x="59253" y="257507"/>
                </a:lnTo>
                <a:lnTo>
                  <a:pt x="98999" y="277727"/>
                </a:lnTo>
                <a:lnTo>
                  <a:pt x="144779" y="284988"/>
                </a:lnTo>
                <a:lnTo>
                  <a:pt x="190560" y="277727"/>
                </a:lnTo>
                <a:lnTo>
                  <a:pt x="230306" y="257507"/>
                </a:lnTo>
                <a:lnTo>
                  <a:pt x="261640" y="226667"/>
                </a:lnTo>
                <a:lnTo>
                  <a:pt x="282183" y="187549"/>
                </a:lnTo>
                <a:lnTo>
                  <a:pt x="289560" y="142493"/>
                </a:lnTo>
                <a:lnTo>
                  <a:pt x="282183" y="97438"/>
                </a:lnTo>
                <a:lnTo>
                  <a:pt x="261640" y="58320"/>
                </a:lnTo>
                <a:lnTo>
                  <a:pt x="230306" y="27480"/>
                </a:lnTo>
                <a:lnTo>
                  <a:pt x="190560" y="7260"/>
                </a:lnTo>
                <a:lnTo>
                  <a:pt x="144779" y="0"/>
                </a:lnTo>
                <a:close/>
              </a:path>
            </a:pathLst>
          </a:custGeom>
          <a:solidFill>
            <a:srgbClr val="62B529"/>
          </a:solidFill>
        </p:spPr>
        <p:txBody>
          <a:bodyPr wrap="square" lIns="0" tIns="0" rIns="0" bIns="0" rtlCol="0"/>
          <a:lstStyle/>
          <a:p>
            <a:endParaRPr sz="918"/>
          </a:p>
        </p:txBody>
      </p:sp>
      <p:sp>
        <p:nvSpPr>
          <p:cNvPr id="92" name="object 67">
            <a:extLst>
              <a:ext uri="{FF2B5EF4-FFF2-40B4-BE49-F238E27FC236}">
                <a16:creationId xmlns:a16="http://schemas.microsoft.com/office/drawing/2014/main" id="{5FF23D0D-4398-45EB-8F32-3560DCBD1421}"/>
              </a:ext>
            </a:extLst>
          </p:cNvPr>
          <p:cNvSpPr/>
          <p:nvPr/>
        </p:nvSpPr>
        <p:spPr>
          <a:xfrm>
            <a:off x="4401121" y="2216849"/>
            <a:ext cx="217170" cy="213836"/>
          </a:xfrm>
          <a:custGeom>
            <a:avLst/>
            <a:gdLst/>
            <a:ahLst/>
            <a:cxnLst/>
            <a:rect l="l" t="t" r="r" b="b"/>
            <a:pathLst>
              <a:path w="289560" h="285114">
                <a:moveTo>
                  <a:pt x="0" y="142493"/>
                </a:moveTo>
                <a:lnTo>
                  <a:pt x="7376" y="97438"/>
                </a:lnTo>
                <a:lnTo>
                  <a:pt x="27919" y="58320"/>
                </a:lnTo>
                <a:lnTo>
                  <a:pt x="59253" y="27480"/>
                </a:lnTo>
                <a:lnTo>
                  <a:pt x="98999" y="7260"/>
                </a:lnTo>
                <a:lnTo>
                  <a:pt x="144779" y="0"/>
                </a:lnTo>
                <a:lnTo>
                  <a:pt x="190560" y="7260"/>
                </a:lnTo>
                <a:lnTo>
                  <a:pt x="230306" y="27480"/>
                </a:lnTo>
                <a:lnTo>
                  <a:pt x="261640" y="58320"/>
                </a:lnTo>
                <a:lnTo>
                  <a:pt x="282183" y="97438"/>
                </a:lnTo>
                <a:lnTo>
                  <a:pt x="289560" y="142493"/>
                </a:lnTo>
                <a:lnTo>
                  <a:pt x="282183" y="187549"/>
                </a:lnTo>
                <a:lnTo>
                  <a:pt x="261640" y="226667"/>
                </a:lnTo>
                <a:lnTo>
                  <a:pt x="230306" y="257507"/>
                </a:lnTo>
                <a:lnTo>
                  <a:pt x="190560" y="277727"/>
                </a:lnTo>
                <a:lnTo>
                  <a:pt x="144779" y="284988"/>
                </a:lnTo>
                <a:lnTo>
                  <a:pt x="98999" y="277727"/>
                </a:lnTo>
                <a:lnTo>
                  <a:pt x="59253" y="257507"/>
                </a:lnTo>
                <a:lnTo>
                  <a:pt x="27919" y="226667"/>
                </a:lnTo>
                <a:lnTo>
                  <a:pt x="7376" y="187549"/>
                </a:lnTo>
                <a:lnTo>
                  <a:pt x="0" y="142493"/>
                </a:lnTo>
                <a:close/>
              </a:path>
            </a:pathLst>
          </a:custGeom>
          <a:ln w="28956">
            <a:solidFill>
              <a:srgbClr val="DFDFDF"/>
            </a:solidFill>
          </a:ln>
        </p:spPr>
        <p:txBody>
          <a:bodyPr wrap="square" lIns="0" tIns="0" rIns="0" bIns="0" rtlCol="0"/>
          <a:lstStyle/>
          <a:p>
            <a:endParaRPr sz="918"/>
          </a:p>
        </p:txBody>
      </p:sp>
      <p:sp>
        <p:nvSpPr>
          <p:cNvPr id="93" name="object 68">
            <a:extLst>
              <a:ext uri="{FF2B5EF4-FFF2-40B4-BE49-F238E27FC236}">
                <a16:creationId xmlns:a16="http://schemas.microsoft.com/office/drawing/2014/main" id="{D16349FE-F4CE-4912-A07D-875FB2E0E115}"/>
              </a:ext>
            </a:extLst>
          </p:cNvPr>
          <p:cNvSpPr/>
          <p:nvPr/>
        </p:nvSpPr>
        <p:spPr>
          <a:xfrm>
            <a:off x="4441699" y="2257426"/>
            <a:ext cx="136016" cy="132587"/>
          </a:xfrm>
          <a:prstGeom prst="rect">
            <a:avLst/>
          </a:prstGeom>
          <a:blipFill>
            <a:blip r:embed="rId18" cstate="print"/>
            <a:stretch>
              <a:fillRect/>
            </a:stretch>
          </a:blipFill>
        </p:spPr>
        <p:txBody>
          <a:bodyPr wrap="square" lIns="0" tIns="0" rIns="0" bIns="0" rtlCol="0"/>
          <a:lstStyle/>
          <a:p>
            <a:endParaRPr sz="918"/>
          </a:p>
        </p:txBody>
      </p:sp>
      <p:sp>
        <p:nvSpPr>
          <p:cNvPr id="94" name="object 69">
            <a:extLst>
              <a:ext uri="{FF2B5EF4-FFF2-40B4-BE49-F238E27FC236}">
                <a16:creationId xmlns:a16="http://schemas.microsoft.com/office/drawing/2014/main" id="{B19366BA-D176-4876-BFB0-0A2E2280CF6E}"/>
              </a:ext>
            </a:extLst>
          </p:cNvPr>
          <p:cNvSpPr/>
          <p:nvPr/>
        </p:nvSpPr>
        <p:spPr>
          <a:xfrm>
            <a:off x="4208525" y="1919097"/>
            <a:ext cx="588645" cy="298609"/>
          </a:xfrm>
          <a:custGeom>
            <a:avLst/>
            <a:gdLst/>
            <a:ahLst/>
            <a:cxnLst/>
            <a:rect l="l" t="t" r="r" b="b"/>
            <a:pathLst>
              <a:path w="784860" h="398144">
                <a:moveTo>
                  <a:pt x="718566" y="0"/>
                </a:moveTo>
                <a:lnTo>
                  <a:pt x="66294" y="0"/>
                </a:lnTo>
                <a:lnTo>
                  <a:pt x="40505" y="5214"/>
                </a:lnTo>
                <a:lnTo>
                  <a:pt x="19430" y="19430"/>
                </a:lnTo>
                <a:lnTo>
                  <a:pt x="5214" y="40505"/>
                </a:lnTo>
                <a:lnTo>
                  <a:pt x="0" y="66293"/>
                </a:lnTo>
                <a:lnTo>
                  <a:pt x="0" y="331469"/>
                </a:lnTo>
                <a:lnTo>
                  <a:pt x="5214" y="357258"/>
                </a:lnTo>
                <a:lnTo>
                  <a:pt x="19431" y="378333"/>
                </a:lnTo>
                <a:lnTo>
                  <a:pt x="40505" y="392549"/>
                </a:lnTo>
                <a:lnTo>
                  <a:pt x="66294" y="397763"/>
                </a:lnTo>
                <a:lnTo>
                  <a:pt x="718566" y="397763"/>
                </a:lnTo>
                <a:lnTo>
                  <a:pt x="744354" y="392549"/>
                </a:lnTo>
                <a:lnTo>
                  <a:pt x="765428" y="378333"/>
                </a:lnTo>
                <a:lnTo>
                  <a:pt x="779645" y="357258"/>
                </a:lnTo>
                <a:lnTo>
                  <a:pt x="784860" y="331469"/>
                </a:lnTo>
                <a:lnTo>
                  <a:pt x="784860" y="66293"/>
                </a:lnTo>
                <a:lnTo>
                  <a:pt x="779645" y="40505"/>
                </a:lnTo>
                <a:lnTo>
                  <a:pt x="765429" y="19430"/>
                </a:lnTo>
                <a:lnTo>
                  <a:pt x="744354" y="5214"/>
                </a:lnTo>
                <a:lnTo>
                  <a:pt x="718566" y="0"/>
                </a:lnTo>
                <a:close/>
              </a:path>
            </a:pathLst>
          </a:custGeom>
          <a:solidFill>
            <a:srgbClr val="FDFDFD"/>
          </a:solidFill>
        </p:spPr>
        <p:txBody>
          <a:bodyPr wrap="square" lIns="0" tIns="0" rIns="0" bIns="0" rtlCol="0"/>
          <a:lstStyle/>
          <a:p>
            <a:endParaRPr sz="918"/>
          </a:p>
        </p:txBody>
      </p:sp>
      <p:sp>
        <p:nvSpPr>
          <p:cNvPr id="95" name="object 70">
            <a:extLst>
              <a:ext uri="{FF2B5EF4-FFF2-40B4-BE49-F238E27FC236}">
                <a16:creationId xmlns:a16="http://schemas.microsoft.com/office/drawing/2014/main" id="{6F41C425-65C2-4309-A498-25EE1765174D}"/>
              </a:ext>
            </a:extLst>
          </p:cNvPr>
          <p:cNvSpPr txBox="1"/>
          <p:nvPr/>
        </p:nvSpPr>
        <p:spPr>
          <a:xfrm>
            <a:off x="4282249" y="1955291"/>
            <a:ext cx="384810" cy="208230"/>
          </a:xfrm>
          <a:prstGeom prst="rect">
            <a:avLst/>
          </a:prstGeom>
        </p:spPr>
        <p:txBody>
          <a:bodyPr vert="horz" wrap="square" lIns="0" tIns="11906" rIns="0" bIns="0" rtlCol="0">
            <a:spAutoFit/>
          </a:bodyPr>
          <a:lstStyle/>
          <a:p>
            <a:pPr marL="9525">
              <a:spcBef>
                <a:spcPts val="94"/>
              </a:spcBef>
            </a:pPr>
            <a:r>
              <a:rPr sz="1275" b="1" i="1" spc="8" dirty="0">
                <a:solidFill>
                  <a:srgbClr val="0055AC"/>
                </a:solidFill>
                <a:latin typeface="Arial"/>
                <a:cs typeface="Arial"/>
              </a:rPr>
              <a:t>2011</a:t>
            </a:r>
            <a:endParaRPr sz="1275">
              <a:latin typeface="Arial"/>
              <a:cs typeface="Arial"/>
            </a:endParaRPr>
          </a:p>
        </p:txBody>
      </p:sp>
      <p:sp>
        <p:nvSpPr>
          <p:cNvPr id="96" name="object 71">
            <a:extLst>
              <a:ext uri="{FF2B5EF4-FFF2-40B4-BE49-F238E27FC236}">
                <a16:creationId xmlns:a16="http://schemas.microsoft.com/office/drawing/2014/main" id="{C7F8EC0B-0C28-489A-9690-E2E9021FC70F}"/>
              </a:ext>
            </a:extLst>
          </p:cNvPr>
          <p:cNvSpPr/>
          <p:nvPr/>
        </p:nvSpPr>
        <p:spPr>
          <a:xfrm>
            <a:off x="5863589" y="1093850"/>
            <a:ext cx="0" cy="868680"/>
          </a:xfrm>
          <a:custGeom>
            <a:avLst/>
            <a:gdLst/>
            <a:ahLst/>
            <a:cxnLst/>
            <a:rect l="l" t="t" r="r" b="b"/>
            <a:pathLst>
              <a:path h="1158239">
                <a:moveTo>
                  <a:pt x="0" y="0"/>
                </a:moveTo>
                <a:lnTo>
                  <a:pt x="0" y="1158240"/>
                </a:lnTo>
              </a:path>
            </a:pathLst>
          </a:custGeom>
          <a:ln w="12192">
            <a:solidFill>
              <a:srgbClr val="A4A4A4"/>
            </a:solidFill>
            <a:prstDash val="sysDash"/>
          </a:ln>
        </p:spPr>
        <p:txBody>
          <a:bodyPr wrap="square" lIns="0" tIns="0" rIns="0" bIns="0" rtlCol="0"/>
          <a:lstStyle/>
          <a:p>
            <a:endParaRPr sz="918"/>
          </a:p>
        </p:txBody>
      </p:sp>
      <p:sp>
        <p:nvSpPr>
          <p:cNvPr id="97" name="object 72">
            <a:extLst>
              <a:ext uri="{FF2B5EF4-FFF2-40B4-BE49-F238E27FC236}">
                <a16:creationId xmlns:a16="http://schemas.microsoft.com/office/drawing/2014/main" id="{F1620D21-75E1-466B-8F74-D75EF7096610}"/>
              </a:ext>
            </a:extLst>
          </p:cNvPr>
          <p:cNvSpPr/>
          <p:nvPr/>
        </p:nvSpPr>
        <p:spPr>
          <a:xfrm>
            <a:off x="2960369" y="2071116"/>
            <a:ext cx="661988" cy="298609"/>
          </a:xfrm>
          <a:custGeom>
            <a:avLst/>
            <a:gdLst/>
            <a:ahLst/>
            <a:cxnLst/>
            <a:rect l="l" t="t" r="r" b="b"/>
            <a:pathLst>
              <a:path w="882650" h="398144">
                <a:moveTo>
                  <a:pt x="816101" y="0"/>
                </a:moveTo>
                <a:lnTo>
                  <a:pt x="66293" y="0"/>
                </a:lnTo>
                <a:lnTo>
                  <a:pt x="40505" y="5214"/>
                </a:lnTo>
                <a:lnTo>
                  <a:pt x="19430" y="19430"/>
                </a:lnTo>
                <a:lnTo>
                  <a:pt x="5214" y="40505"/>
                </a:lnTo>
                <a:lnTo>
                  <a:pt x="0" y="66294"/>
                </a:lnTo>
                <a:lnTo>
                  <a:pt x="0" y="331470"/>
                </a:lnTo>
                <a:lnTo>
                  <a:pt x="5214" y="357258"/>
                </a:lnTo>
                <a:lnTo>
                  <a:pt x="19430" y="378333"/>
                </a:lnTo>
                <a:lnTo>
                  <a:pt x="40505" y="392549"/>
                </a:lnTo>
                <a:lnTo>
                  <a:pt x="66293" y="397763"/>
                </a:lnTo>
                <a:lnTo>
                  <a:pt x="816101" y="397763"/>
                </a:lnTo>
                <a:lnTo>
                  <a:pt x="841890" y="392549"/>
                </a:lnTo>
                <a:lnTo>
                  <a:pt x="862964" y="378333"/>
                </a:lnTo>
                <a:lnTo>
                  <a:pt x="877181" y="357258"/>
                </a:lnTo>
                <a:lnTo>
                  <a:pt x="882395" y="331470"/>
                </a:lnTo>
                <a:lnTo>
                  <a:pt x="882395" y="66294"/>
                </a:lnTo>
                <a:lnTo>
                  <a:pt x="877181" y="40505"/>
                </a:lnTo>
                <a:lnTo>
                  <a:pt x="862964" y="19430"/>
                </a:lnTo>
                <a:lnTo>
                  <a:pt x="841890" y="5214"/>
                </a:lnTo>
                <a:lnTo>
                  <a:pt x="816101" y="0"/>
                </a:lnTo>
                <a:close/>
              </a:path>
            </a:pathLst>
          </a:custGeom>
          <a:solidFill>
            <a:srgbClr val="FDFDFD"/>
          </a:solidFill>
        </p:spPr>
        <p:txBody>
          <a:bodyPr wrap="square" lIns="0" tIns="0" rIns="0" bIns="0" rtlCol="0"/>
          <a:lstStyle/>
          <a:p>
            <a:endParaRPr sz="918"/>
          </a:p>
        </p:txBody>
      </p:sp>
      <p:sp>
        <p:nvSpPr>
          <p:cNvPr id="98" name="object 73">
            <a:extLst>
              <a:ext uri="{FF2B5EF4-FFF2-40B4-BE49-F238E27FC236}">
                <a16:creationId xmlns:a16="http://schemas.microsoft.com/office/drawing/2014/main" id="{5882B300-2625-4AAC-A948-D95AF2EAA265}"/>
              </a:ext>
            </a:extLst>
          </p:cNvPr>
          <p:cNvSpPr txBox="1"/>
          <p:nvPr/>
        </p:nvSpPr>
        <p:spPr>
          <a:xfrm>
            <a:off x="3034094" y="2107787"/>
            <a:ext cx="384810" cy="208230"/>
          </a:xfrm>
          <a:prstGeom prst="rect">
            <a:avLst/>
          </a:prstGeom>
        </p:spPr>
        <p:txBody>
          <a:bodyPr vert="horz" wrap="square" lIns="0" tIns="11906" rIns="0" bIns="0" rtlCol="0">
            <a:spAutoFit/>
          </a:bodyPr>
          <a:lstStyle/>
          <a:p>
            <a:pPr marL="9525">
              <a:spcBef>
                <a:spcPts val="94"/>
              </a:spcBef>
            </a:pPr>
            <a:r>
              <a:rPr sz="1275" b="1" i="1" spc="8" dirty="0">
                <a:solidFill>
                  <a:srgbClr val="0055AC"/>
                </a:solidFill>
                <a:latin typeface="Arial"/>
                <a:cs typeface="Arial"/>
              </a:rPr>
              <a:t>2008</a:t>
            </a:r>
            <a:endParaRPr sz="1275">
              <a:latin typeface="Arial"/>
              <a:cs typeface="Arial"/>
            </a:endParaRPr>
          </a:p>
        </p:txBody>
      </p:sp>
      <p:sp>
        <p:nvSpPr>
          <p:cNvPr id="99" name="object 74">
            <a:extLst>
              <a:ext uri="{FF2B5EF4-FFF2-40B4-BE49-F238E27FC236}">
                <a16:creationId xmlns:a16="http://schemas.microsoft.com/office/drawing/2014/main" id="{8C1F68AB-AC7F-457C-9483-E34ACDCA89D9}"/>
              </a:ext>
            </a:extLst>
          </p:cNvPr>
          <p:cNvSpPr txBox="1"/>
          <p:nvPr/>
        </p:nvSpPr>
        <p:spPr>
          <a:xfrm>
            <a:off x="76428" y="1549051"/>
            <a:ext cx="1375982" cy="417261"/>
          </a:xfrm>
          <a:prstGeom prst="rect">
            <a:avLst/>
          </a:prstGeom>
        </p:spPr>
        <p:txBody>
          <a:bodyPr vert="horz" wrap="square" lIns="0" tIns="11906" rIns="0" bIns="0" rtlCol="0">
            <a:spAutoFit/>
          </a:bodyPr>
          <a:lstStyle/>
          <a:p>
            <a:pPr marL="9525">
              <a:spcBef>
                <a:spcPts val="94"/>
              </a:spcBef>
            </a:pPr>
            <a:r>
              <a:rPr lang="en-US" sz="1275" b="1" spc="8" dirty="0" err="1">
                <a:solidFill>
                  <a:srgbClr val="747474"/>
                </a:solidFill>
                <a:latin typeface="Arial"/>
                <a:cs typeface="Arial"/>
              </a:rPr>
              <a:t>Fasi</a:t>
            </a:r>
            <a:r>
              <a:rPr lang="en-US" sz="1275" b="1" spc="8" dirty="0">
                <a:solidFill>
                  <a:srgbClr val="747474"/>
                </a:solidFill>
                <a:latin typeface="Arial"/>
                <a:cs typeface="Arial"/>
              </a:rPr>
              <a:t> </a:t>
            </a:r>
            <a:r>
              <a:rPr lang="en-US" sz="1275" b="1" spc="8" dirty="0" err="1">
                <a:solidFill>
                  <a:srgbClr val="747474"/>
                </a:solidFill>
                <a:latin typeface="Arial"/>
                <a:cs typeface="Arial"/>
              </a:rPr>
              <a:t>ciclo</a:t>
            </a:r>
            <a:endParaRPr lang="en-US" sz="1275" b="1" spc="8" dirty="0">
              <a:solidFill>
                <a:srgbClr val="747474"/>
              </a:solidFill>
              <a:latin typeface="Arial"/>
              <a:cs typeface="Arial"/>
            </a:endParaRPr>
          </a:p>
          <a:p>
            <a:pPr marL="9525">
              <a:spcBef>
                <a:spcPts val="94"/>
              </a:spcBef>
            </a:pPr>
            <a:r>
              <a:rPr lang="en-US" sz="1275" b="1" spc="8" dirty="0" err="1">
                <a:solidFill>
                  <a:srgbClr val="747474"/>
                </a:solidFill>
                <a:latin typeface="Arial"/>
                <a:cs typeface="Arial"/>
              </a:rPr>
              <a:t>economico</a:t>
            </a:r>
            <a:endParaRPr sz="1275" dirty="0">
              <a:latin typeface="Arial"/>
              <a:cs typeface="Arial"/>
            </a:endParaRPr>
          </a:p>
        </p:txBody>
      </p:sp>
      <p:sp>
        <p:nvSpPr>
          <p:cNvPr id="100" name="object 86">
            <a:extLst>
              <a:ext uri="{FF2B5EF4-FFF2-40B4-BE49-F238E27FC236}">
                <a16:creationId xmlns:a16="http://schemas.microsoft.com/office/drawing/2014/main" id="{B15B3575-B006-4314-B884-3FD45FE8C4CF}"/>
              </a:ext>
            </a:extLst>
          </p:cNvPr>
          <p:cNvSpPr txBox="1"/>
          <p:nvPr/>
        </p:nvSpPr>
        <p:spPr>
          <a:xfrm>
            <a:off x="49682" y="2146173"/>
            <a:ext cx="766136" cy="420756"/>
          </a:xfrm>
          <a:prstGeom prst="rect">
            <a:avLst/>
          </a:prstGeom>
        </p:spPr>
        <p:txBody>
          <a:bodyPr vert="horz" wrap="square" lIns="0" tIns="7620" rIns="0" bIns="0" rtlCol="0">
            <a:spAutoFit/>
          </a:bodyPr>
          <a:lstStyle/>
          <a:p>
            <a:pPr marL="9525" marR="3810">
              <a:lnSpc>
                <a:spcPct val="102400"/>
              </a:lnSpc>
              <a:spcBef>
                <a:spcPts val="60"/>
              </a:spcBef>
            </a:pPr>
            <a:r>
              <a:rPr lang="en-US" sz="1275" b="1" spc="11" dirty="0" err="1">
                <a:solidFill>
                  <a:srgbClr val="0055AC"/>
                </a:solidFill>
                <a:latin typeface="Arial"/>
                <a:cs typeface="Arial"/>
              </a:rPr>
              <a:t>Eventi</a:t>
            </a:r>
            <a:endParaRPr lang="en-US" sz="1275" b="1" spc="11" dirty="0">
              <a:solidFill>
                <a:srgbClr val="0055AC"/>
              </a:solidFill>
              <a:latin typeface="Arial"/>
              <a:cs typeface="Arial"/>
            </a:endParaRPr>
          </a:p>
          <a:p>
            <a:pPr marL="9525" marR="3810">
              <a:lnSpc>
                <a:spcPct val="102400"/>
              </a:lnSpc>
              <a:spcBef>
                <a:spcPts val="60"/>
              </a:spcBef>
            </a:pPr>
            <a:r>
              <a:rPr lang="en-US" sz="1275" b="1" spc="11" dirty="0" err="1">
                <a:solidFill>
                  <a:srgbClr val="0055AC"/>
                </a:solidFill>
                <a:latin typeface="Arial"/>
                <a:cs typeface="Arial"/>
              </a:rPr>
              <a:t>principali</a:t>
            </a:r>
            <a:endParaRPr sz="1275" dirty="0">
              <a:latin typeface="Arial"/>
              <a:cs typeface="Arial"/>
            </a:endParaRPr>
          </a:p>
        </p:txBody>
      </p:sp>
      <p:sp>
        <p:nvSpPr>
          <p:cNvPr id="101" name="object 87">
            <a:extLst>
              <a:ext uri="{FF2B5EF4-FFF2-40B4-BE49-F238E27FC236}">
                <a16:creationId xmlns:a16="http://schemas.microsoft.com/office/drawing/2014/main" id="{A476AE7A-66E1-468D-BE0A-268E88C1112F}"/>
              </a:ext>
            </a:extLst>
          </p:cNvPr>
          <p:cNvSpPr/>
          <p:nvPr/>
        </p:nvSpPr>
        <p:spPr>
          <a:xfrm>
            <a:off x="4302251" y="2466593"/>
            <a:ext cx="215265" cy="163830"/>
          </a:xfrm>
          <a:custGeom>
            <a:avLst/>
            <a:gdLst/>
            <a:ahLst/>
            <a:cxnLst/>
            <a:rect l="l" t="t" r="r" b="b"/>
            <a:pathLst>
              <a:path w="287020" h="218439">
                <a:moveTo>
                  <a:pt x="0" y="217932"/>
                </a:moveTo>
                <a:lnTo>
                  <a:pt x="286512" y="217932"/>
                </a:lnTo>
                <a:lnTo>
                  <a:pt x="286512" y="0"/>
                </a:lnTo>
                <a:lnTo>
                  <a:pt x="0" y="0"/>
                </a:lnTo>
                <a:lnTo>
                  <a:pt x="0" y="217932"/>
                </a:lnTo>
                <a:close/>
              </a:path>
            </a:pathLst>
          </a:custGeom>
          <a:solidFill>
            <a:srgbClr val="FDFDFD"/>
          </a:solidFill>
        </p:spPr>
        <p:txBody>
          <a:bodyPr wrap="square" lIns="0" tIns="0" rIns="0" bIns="0" rtlCol="0"/>
          <a:lstStyle/>
          <a:p>
            <a:endParaRPr sz="918"/>
          </a:p>
        </p:txBody>
      </p:sp>
      <p:sp>
        <p:nvSpPr>
          <p:cNvPr id="102" name="object 23">
            <a:extLst>
              <a:ext uri="{FF2B5EF4-FFF2-40B4-BE49-F238E27FC236}">
                <a16:creationId xmlns:a16="http://schemas.microsoft.com/office/drawing/2014/main" id="{596387C0-1AC4-433A-BC9C-91EE4B6056E4}"/>
              </a:ext>
            </a:extLst>
          </p:cNvPr>
          <p:cNvSpPr txBox="1"/>
          <p:nvPr/>
        </p:nvSpPr>
        <p:spPr>
          <a:xfrm>
            <a:off x="3421094" y="1428740"/>
            <a:ext cx="909638" cy="404437"/>
          </a:xfrm>
          <a:prstGeom prst="rect">
            <a:avLst/>
          </a:prstGeom>
        </p:spPr>
        <p:txBody>
          <a:bodyPr vert="horz" wrap="square" lIns="0" tIns="11906" rIns="0" bIns="0" rtlCol="0">
            <a:spAutoFit/>
          </a:bodyPr>
          <a:lstStyle/>
          <a:p>
            <a:pPr algn="ctr">
              <a:spcBef>
                <a:spcPts val="94"/>
              </a:spcBef>
            </a:pPr>
            <a:r>
              <a:rPr lang="it-IT" sz="1275" b="1" spc="8" dirty="0">
                <a:solidFill>
                  <a:srgbClr val="747474"/>
                </a:solidFill>
                <a:latin typeface="Arial"/>
                <a:cs typeface="Arial"/>
              </a:rPr>
              <a:t>Crisi</a:t>
            </a:r>
            <a:r>
              <a:rPr sz="1275" b="1" spc="-23" dirty="0">
                <a:solidFill>
                  <a:srgbClr val="747474"/>
                </a:solidFill>
                <a:latin typeface="Arial"/>
                <a:cs typeface="Arial"/>
              </a:rPr>
              <a:t> </a:t>
            </a:r>
            <a:r>
              <a:rPr sz="1275" b="1" spc="8" dirty="0">
                <a:solidFill>
                  <a:srgbClr val="747474"/>
                </a:solidFill>
                <a:latin typeface="Arial"/>
                <a:cs typeface="Arial"/>
              </a:rPr>
              <a:t>deb</a:t>
            </a:r>
            <a:r>
              <a:rPr lang="it-IT" sz="1275" b="1" spc="8" dirty="0" err="1">
                <a:solidFill>
                  <a:srgbClr val="747474"/>
                </a:solidFill>
                <a:latin typeface="Arial"/>
                <a:cs typeface="Arial"/>
              </a:rPr>
              <a:t>ito</a:t>
            </a:r>
            <a:endParaRPr sz="1275" dirty="0">
              <a:latin typeface="Arial"/>
              <a:cs typeface="Arial"/>
            </a:endParaRPr>
          </a:p>
          <a:p>
            <a:pPr algn="ctr">
              <a:spcBef>
                <a:spcPts val="38"/>
              </a:spcBef>
            </a:pPr>
            <a:r>
              <a:rPr lang="it-IT" sz="1275" b="1" spc="8" dirty="0">
                <a:solidFill>
                  <a:srgbClr val="747474"/>
                </a:solidFill>
                <a:latin typeface="Arial"/>
                <a:cs typeface="Arial"/>
              </a:rPr>
              <a:t>privato</a:t>
            </a:r>
            <a:endParaRPr sz="1275" dirty="0">
              <a:latin typeface="Arial"/>
              <a:cs typeface="Arial"/>
            </a:endParaRPr>
          </a:p>
        </p:txBody>
      </p:sp>
      <p:sp>
        <p:nvSpPr>
          <p:cNvPr id="103" name="Più 95">
            <a:extLst>
              <a:ext uri="{FF2B5EF4-FFF2-40B4-BE49-F238E27FC236}">
                <a16:creationId xmlns:a16="http://schemas.microsoft.com/office/drawing/2014/main" id="{C41D05D2-8356-4595-92A8-B4254306E3B5}"/>
              </a:ext>
            </a:extLst>
          </p:cNvPr>
          <p:cNvSpPr/>
          <p:nvPr/>
        </p:nvSpPr>
        <p:spPr>
          <a:xfrm>
            <a:off x="2475138" y="3512225"/>
            <a:ext cx="124110" cy="145828"/>
          </a:xfrm>
          <a:prstGeom prst="mathPlus">
            <a:avLst/>
          </a:prstGeom>
          <a:solidFill>
            <a:srgbClr val="6296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92D050"/>
              </a:solidFill>
            </a:endParaRPr>
          </a:p>
        </p:txBody>
      </p:sp>
      <p:sp>
        <p:nvSpPr>
          <p:cNvPr id="104" name="Più 97">
            <a:extLst>
              <a:ext uri="{FF2B5EF4-FFF2-40B4-BE49-F238E27FC236}">
                <a16:creationId xmlns:a16="http://schemas.microsoft.com/office/drawing/2014/main" id="{EF14498E-3FC7-45D6-BABA-6EC2BE9ABE7E}"/>
              </a:ext>
            </a:extLst>
          </p:cNvPr>
          <p:cNvSpPr/>
          <p:nvPr/>
        </p:nvSpPr>
        <p:spPr>
          <a:xfrm>
            <a:off x="2471581" y="4217098"/>
            <a:ext cx="124110" cy="145828"/>
          </a:xfrm>
          <a:prstGeom prst="mathPlus">
            <a:avLst/>
          </a:prstGeom>
          <a:solidFill>
            <a:srgbClr val="6296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92D050"/>
              </a:solidFill>
            </a:endParaRPr>
          </a:p>
        </p:txBody>
      </p:sp>
      <p:sp>
        <p:nvSpPr>
          <p:cNvPr id="105" name="Più 90">
            <a:extLst>
              <a:ext uri="{FF2B5EF4-FFF2-40B4-BE49-F238E27FC236}">
                <a16:creationId xmlns:a16="http://schemas.microsoft.com/office/drawing/2014/main" id="{7A5FC19F-5388-4FC0-B974-7672CDB1BF04}"/>
              </a:ext>
            </a:extLst>
          </p:cNvPr>
          <p:cNvSpPr/>
          <p:nvPr/>
        </p:nvSpPr>
        <p:spPr>
          <a:xfrm>
            <a:off x="5459032" y="3272853"/>
            <a:ext cx="124110" cy="145828"/>
          </a:xfrm>
          <a:prstGeom prst="mathPlus">
            <a:avLst/>
          </a:prstGeom>
          <a:solidFill>
            <a:srgbClr val="6296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92D050"/>
              </a:solidFill>
            </a:endParaRPr>
          </a:p>
        </p:txBody>
      </p:sp>
      <p:sp>
        <p:nvSpPr>
          <p:cNvPr id="106" name="Più 91">
            <a:extLst>
              <a:ext uri="{FF2B5EF4-FFF2-40B4-BE49-F238E27FC236}">
                <a16:creationId xmlns:a16="http://schemas.microsoft.com/office/drawing/2014/main" id="{87D086FE-1BF8-4140-A461-4370899FDE5D}"/>
              </a:ext>
            </a:extLst>
          </p:cNvPr>
          <p:cNvSpPr/>
          <p:nvPr/>
        </p:nvSpPr>
        <p:spPr>
          <a:xfrm>
            <a:off x="5459032" y="4068500"/>
            <a:ext cx="124110" cy="145828"/>
          </a:xfrm>
          <a:prstGeom prst="mathPlus">
            <a:avLst/>
          </a:prstGeom>
          <a:solidFill>
            <a:srgbClr val="6296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92D050"/>
              </a:solidFill>
            </a:endParaRPr>
          </a:p>
        </p:txBody>
      </p:sp>
      <p:sp>
        <p:nvSpPr>
          <p:cNvPr id="107" name="Più 96">
            <a:extLst>
              <a:ext uri="{FF2B5EF4-FFF2-40B4-BE49-F238E27FC236}">
                <a16:creationId xmlns:a16="http://schemas.microsoft.com/office/drawing/2014/main" id="{7A4984DB-AFA6-4A62-9B1A-10365058BA1C}"/>
              </a:ext>
            </a:extLst>
          </p:cNvPr>
          <p:cNvSpPr/>
          <p:nvPr/>
        </p:nvSpPr>
        <p:spPr>
          <a:xfrm>
            <a:off x="8305609" y="2668354"/>
            <a:ext cx="124110" cy="145828"/>
          </a:xfrm>
          <a:prstGeom prst="mathPlus">
            <a:avLst/>
          </a:prstGeom>
          <a:solidFill>
            <a:srgbClr val="6296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92D050"/>
              </a:solidFill>
            </a:endParaRPr>
          </a:p>
        </p:txBody>
      </p:sp>
      <p:sp>
        <p:nvSpPr>
          <p:cNvPr id="108" name="Rectangle 2">
            <a:extLst>
              <a:ext uri="{FF2B5EF4-FFF2-40B4-BE49-F238E27FC236}">
                <a16:creationId xmlns:a16="http://schemas.microsoft.com/office/drawing/2014/main" id="{95B25035-1166-47FB-AAC1-42F071FB9841}"/>
              </a:ext>
            </a:extLst>
          </p:cNvPr>
          <p:cNvSpPr>
            <a:spLocks/>
          </p:cNvSpPr>
          <p:nvPr/>
        </p:nvSpPr>
        <p:spPr>
          <a:xfrm>
            <a:off x="1" y="3"/>
            <a:ext cx="9143999" cy="163396"/>
          </a:xfrm>
          <a:prstGeom prst="rect">
            <a:avLst/>
          </a:prstGeom>
          <a:solidFill>
            <a:srgbClr val="415064"/>
          </a:solidFill>
          <a:ln w="9525" cap="flat" cmpd="sng" algn="ctr">
            <a:noFill/>
            <a:prstDash val="solid"/>
          </a:ln>
          <a:effectLst/>
        </p:spPr>
        <p:txBody>
          <a:bodyPr rot="0" spcFirstLastPara="0" vert="horz" wrap="square" lIns="121920" tIns="60960" rIns="121920" bIns="6096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224" kern="1200">
                <a:solidFill>
                  <a:schemeClr val="lt1"/>
                </a:solidFill>
                <a:latin typeface="+mn-lt"/>
                <a:ea typeface="+mn-ea"/>
                <a:cs typeface="+mn-cs"/>
              </a:defRPr>
            </a:lvl1pPr>
            <a:lvl2pPr marL="349849" algn="l" rtl="0" fontAlgn="base">
              <a:spcBef>
                <a:spcPct val="0"/>
              </a:spcBef>
              <a:spcAft>
                <a:spcPct val="0"/>
              </a:spcAft>
              <a:defRPr sz="1224" kern="1200">
                <a:solidFill>
                  <a:schemeClr val="lt1"/>
                </a:solidFill>
                <a:latin typeface="+mn-lt"/>
                <a:ea typeface="+mn-ea"/>
                <a:cs typeface="+mn-cs"/>
              </a:defRPr>
            </a:lvl2pPr>
            <a:lvl3pPr marL="699699" algn="l" rtl="0" fontAlgn="base">
              <a:spcBef>
                <a:spcPct val="0"/>
              </a:spcBef>
              <a:spcAft>
                <a:spcPct val="0"/>
              </a:spcAft>
              <a:defRPr sz="1224" kern="1200">
                <a:solidFill>
                  <a:schemeClr val="lt1"/>
                </a:solidFill>
                <a:latin typeface="+mn-lt"/>
                <a:ea typeface="+mn-ea"/>
                <a:cs typeface="+mn-cs"/>
              </a:defRPr>
            </a:lvl3pPr>
            <a:lvl4pPr marL="1049548" algn="l" rtl="0" fontAlgn="base">
              <a:spcBef>
                <a:spcPct val="0"/>
              </a:spcBef>
              <a:spcAft>
                <a:spcPct val="0"/>
              </a:spcAft>
              <a:defRPr sz="1224" kern="1200">
                <a:solidFill>
                  <a:schemeClr val="lt1"/>
                </a:solidFill>
                <a:latin typeface="+mn-lt"/>
                <a:ea typeface="+mn-ea"/>
                <a:cs typeface="+mn-cs"/>
              </a:defRPr>
            </a:lvl4pPr>
            <a:lvl5pPr marL="1399398" algn="l" rtl="0" fontAlgn="base">
              <a:spcBef>
                <a:spcPct val="0"/>
              </a:spcBef>
              <a:spcAft>
                <a:spcPct val="0"/>
              </a:spcAft>
              <a:defRPr sz="1224" kern="1200">
                <a:solidFill>
                  <a:schemeClr val="lt1"/>
                </a:solidFill>
                <a:latin typeface="+mn-lt"/>
                <a:ea typeface="+mn-ea"/>
                <a:cs typeface="+mn-cs"/>
              </a:defRPr>
            </a:lvl5pPr>
            <a:lvl6pPr marL="1749247" algn="l" defTabSz="699699" rtl="0" eaLnBrk="1" latinLnBrk="0" hangingPunct="1">
              <a:defRPr sz="1224" kern="1200">
                <a:solidFill>
                  <a:schemeClr val="lt1"/>
                </a:solidFill>
                <a:latin typeface="+mn-lt"/>
                <a:ea typeface="+mn-ea"/>
                <a:cs typeface="+mn-cs"/>
              </a:defRPr>
            </a:lvl6pPr>
            <a:lvl7pPr marL="2099097" algn="l" defTabSz="699699" rtl="0" eaLnBrk="1" latinLnBrk="0" hangingPunct="1">
              <a:defRPr sz="1224" kern="1200">
                <a:solidFill>
                  <a:schemeClr val="lt1"/>
                </a:solidFill>
                <a:latin typeface="+mn-lt"/>
                <a:ea typeface="+mn-ea"/>
                <a:cs typeface="+mn-cs"/>
              </a:defRPr>
            </a:lvl7pPr>
            <a:lvl8pPr marL="2448946" algn="l" defTabSz="699699" rtl="0" eaLnBrk="1" latinLnBrk="0" hangingPunct="1">
              <a:defRPr sz="1224" kern="1200">
                <a:solidFill>
                  <a:schemeClr val="lt1"/>
                </a:solidFill>
                <a:latin typeface="+mn-lt"/>
                <a:ea typeface="+mn-ea"/>
                <a:cs typeface="+mn-cs"/>
              </a:defRPr>
            </a:lvl8pPr>
            <a:lvl9pPr marL="2798796" algn="l" defTabSz="699699" rtl="0" eaLnBrk="1" latinLnBrk="0" hangingPunct="1">
              <a:defRPr sz="1224" kern="1200">
                <a:solidFill>
                  <a:schemeClr val="lt1"/>
                </a:solidFill>
                <a:latin typeface="+mn-lt"/>
                <a:ea typeface="+mn-ea"/>
                <a:cs typeface="+mn-cs"/>
              </a:defRPr>
            </a:lvl9pPr>
          </a:lstStyle>
          <a:p>
            <a:pPr defTabSz="1219079">
              <a:defRPr/>
            </a:pPr>
            <a:r>
              <a:rPr lang="it-IT" sz="1000" b="1" dirty="0">
                <a:solidFill>
                  <a:srgbClr val="FFFFFF"/>
                </a:solidFill>
                <a:latin typeface="Arial"/>
              </a:rPr>
              <a:t>CDP </a:t>
            </a:r>
            <a:r>
              <a:rPr lang="it-IT" sz="1000" b="1" dirty="0" err="1">
                <a:solidFill>
                  <a:srgbClr val="FFFFFF"/>
                </a:solidFill>
                <a:latin typeface="Arial"/>
              </a:rPr>
              <a:t>Overview</a:t>
            </a:r>
            <a:endParaRPr lang="it-IT" sz="1000" b="1" i="1" dirty="0">
              <a:solidFill>
                <a:srgbClr val="FFFFFF"/>
              </a:solidFill>
              <a:latin typeface="Arial"/>
            </a:endParaRPr>
          </a:p>
        </p:txBody>
      </p:sp>
    </p:spTree>
    <p:extLst>
      <p:ext uri="{BB962C8B-B14F-4D97-AF65-F5344CB8AC3E}">
        <p14:creationId xmlns:p14="http://schemas.microsoft.com/office/powerpoint/2010/main" val="29801190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4">
            <a:extLst>
              <a:ext uri="{FF2B5EF4-FFF2-40B4-BE49-F238E27FC236}">
                <a16:creationId xmlns:a16="http://schemas.microsoft.com/office/drawing/2014/main" id="{6C869143-6E28-4943-BE17-96F97E969E4B}"/>
              </a:ext>
            </a:extLst>
          </p:cNvPr>
          <p:cNvSpPr>
            <a:spLocks noGrp="1"/>
          </p:cNvSpPr>
          <p:nvPr>
            <p:ph type="body" idx="13"/>
          </p:nvPr>
        </p:nvSpPr>
        <p:spPr>
          <a:xfrm>
            <a:off x="250825" y="268289"/>
            <a:ext cx="8773600" cy="279854"/>
          </a:xfrm>
        </p:spPr>
        <p:txBody>
          <a:bodyPr/>
          <a:lstStyle/>
          <a:p>
            <a:r>
              <a:rPr lang="it-IT" dirty="0"/>
              <a:t>Le sfide del Piano Industriale di CDP: Cooperazione allo Sviluppo fra le priorità</a:t>
            </a:r>
          </a:p>
        </p:txBody>
      </p:sp>
      <p:sp>
        <p:nvSpPr>
          <p:cNvPr id="32" name="Segnaposto numero diapositiva 3">
            <a:extLst>
              <a:ext uri="{FF2B5EF4-FFF2-40B4-BE49-F238E27FC236}">
                <a16:creationId xmlns:a16="http://schemas.microsoft.com/office/drawing/2014/main" id="{8E062D89-1FC3-42B6-99CC-9FD85876B28B}"/>
              </a:ext>
            </a:extLst>
          </p:cNvPr>
          <p:cNvSpPr>
            <a:spLocks noGrp="1"/>
          </p:cNvSpPr>
          <p:nvPr>
            <p:ph type="sldNum" sz="quarter" idx="12"/>
          </p:nvPr>
        </p:nvSpPr>
        <p:spPr>
          <a:xfrm>
            <a:off x="250825" y="4898263"/>
            <a:ext cx="1008062" cy="183687"/>
          </a:xfrm>
        </p:spPr>
        <p:txBody>
          <a:bodyPr/>
          <a:lstStyle/>
          <a:p>
            <a:fld id="{608DA0FE-9C19-F746-8419-6700E348BF78}" type="slidenum">
              <a:rPr lang="it-IT" smtClean="0"/>
              <a:pPr/>
              <a:t>5</a:t>
            </a:fld>
            <a:endParaRPr lang="it-IT" dirty="0"/>
          </a:p>
        </p:txBody>
      </p:sp>
      <p:sp>
        <p:nvSpPr>
          <p:cNvPr id="2" name="Rettangolo 1">
            <a:extLst>
              <a:ext uri="{FF2B5EF4-FFF2-40B4-BE49-F238E27FC236}">
                <a16:creationId xmlns:a16="http://schemas.microsoft.com/office/drawing/2014/main" id="{EFD0A676-964F-45EE-AD8F-9579142F0D8D}"/>
              </a:ext>
            </a:extLst>
          </p:cNvPr>
          <p:cNvSpPr/>
          <p:nvPr/>
        </p:nvSpPr>
        <p:spPr>
          <a:xfrm>
            <a:off x="2" y="661906"/>
            <a:ext cx="9024424" cy="838435"/>
          </a:xfrm>
          <a:prstGeom prst="rect">
            <a:avLst/>
          </a:prstGeom>
        </p:spPr>
        <p:txBody>
          <a:bodyPr wrap="square">
            <a:spAutoFit/>
          </a:bodyPr>
          <a:lstStyle/>
          <a:p>
            <a:pPr marL="180975" marR="121444" indent="-171450">
              <a:lnSpc>
                <a:spcPct val="101699"/>
              </a:lnSpc>
              <a:spcBef>
                <a:spcPts val="200"/>
              </a:spcBef>
              <a:buClr>
                <a:srgbClr val="3E5265"/>
              </a:buClr>
              <a:buFont typeface="Arial" panose="020B0604020202020204" pitchFamily="34" charset="0"/>
              <a:buChar char="•"/>
              <a:tabLst>
                <a:tab pos="223361" algn="l"/>
              </a:tabLst>
            </a:pPr>
            <a:r>
              <a:rPr lang="it-IT" sz="1200" dirty="0">
                <a:solidFill>
                  <a:srgbClr val="415064"/>
                </a:solidFill>
              </a:rPr>
              <a:t>L’attuale contesto di riferimento, caratterizzato </a:t>
            </a:r>
            <a:r>
              <a:rPr lang="it-IT" sz="1200" dirty="0">
                <a:solidFill>
                  <a:srgbClr val="3E5265"/>
                </a:solidFill>
              </a:rPr>
              <a:t>da </a:t>
            </a:r>
            <a:r>
              <a:rPr lang="it-IT" sz="1200" b="1" dirty="0">
                <a:solidFill>
                  <a:srgbClr val="3E5265"/>
                </a:solidFill>
              </a:rPr>
              <a:t>importanti sfide per l’Italia</a:t>
            </a:r>
            <a:r>
              <a:rPr lang="it-IT" sz="1200" dirty="0">
                <a:solidFill>
                  <a:srgbClr val="3E5265"/>
                </a:solidFill>
              </a:rPr>
              <a:t>, da </a:t>
            </a:r>
            <a:r>
              <a:rPr lang="it-IT" sz="1200" b="1" dirty="0">
                <a:solidFill>
                  <a:srgbClr val="3E5265"/>
                </a:solidFill>
              </a:rPr>
              <a:t>grandi trend socio economici </a:t>
            </a:r>
            <a:r>
              <a:rPr lang="it-IT" sz="1200" b="1" dirty="0">
                <a:solidFill>
                  <a:srgbClr val="415064"/>
                </a:solidFill>
              </a:rPr>
              <a:t>globali </a:t>
            </a:r>
            <a:r>
              <a:rPr lang="it-IT" sz="1200" dirty="0">
                <a:solidFill>
                  <a:srgbClr val="415064"/>
                </a:solidFill>
              </a:rPr>
              <a:t>e dall’esigenza di centrare gli </a:t>
            </a:r>
            <a:r>
              <a:rPr lang="it-IT" sz="1200" b="1" dirty="0">
                <a:solidFill>
                  <a:srgbClr val="415064"/>
                </a:solidFill>
              </a:rPr>
              <a:t>obiettivi di sviluppo sostenibile</a:t>
            </a:r>
            <a:r>
              <a:rPr lang="it-IT" sz="1200" dirty="0">
                <a:solidFill>
                  <a:srgbClr val="415064"/>
                </a:solidFill>
              </a:rPr>
              <a:t>, richiede un nuovo approccio</a:t>
            </a:r>
          </a:p>
          <a:p>
            <a:pPr marL="171450" indent="-171450" algn="just">
              <a:spcAft>
                <a:spcPts val="300"/>
              </a:spcAft>
              <a:buFont typeface="Arial" panose="020B0604020202020204" pitchFamily="34" charset="0"/>
              <a:buChar char="•"/>
            </a:pPr>
            <a:r>
              <a:rPr lang="it-IT" sz="1200" dirty="0">
                <a:solidFill>
                  <a:srgbClr val="415064"/>
                </a:solidFill>
              </a:rPr>
              <a:t>CDP, nel nuovo Piano Industriale, ha adottato un </a:t>
            </a:r>
            <a:r>
              <a:rPr lang="it-IT" sz="1200" b="1" dirty="0">
                <a:solidFill>
                  <a:srgbClr val="415064"/>
                </a:solidFill>
              </a:rPr>
              <a:t>modello operativo </a:t>
            </a:r>
            <a:r>
              <a:rPr lang="it-IT" sz="1200" dirty="0">
                <a:solidFill>
                  <a:srgbClr val="415064"/>
                </a:solidFill>
              </a:rPr>
              <a:t>che ha individuato nella </a:t>
            </a:r>
            <a:r>
              <a:rPr lang="it-IT" sz="1200" b="1" dirty="0">
                <a:solidFill>
                  <a:srgbClr val="415064"/>
                </a:solidFill>
              </a:rPr>
              <a:t>Cooperazione allo Sviluppo </a:t>
            </a:r>
            <a:r>
              <a:rPr lang="it-IT" sz="1200" dirty="0">
                <a:solidFill>
                  <a:srgbClr val="415064"/>
                </a:solidFill>
              </a:rPr>
              <a:t>una delle 4 </a:t>
            </a:r>
            <a:r>
              <a:rPr lang="it-IT" sz="1200" b="1" dirty="0">
                <a:solidFill>
                  <a:srgbClr val="415064"/>
                </a:solidFill>
              </a:rPr>
              <a:t>aree di intervento prioritarie </a:t>
            </a:r>
            <a:r>
              <a:rPr lang="it-IT" sz="1200" dirty="0">
                <a:solidFill>
                  <a:srgbClr val="415064"/>
                </a:solidFill>
              </a:rPr>
              <a:t>(Cooperazione, Imprese, Infrastrutture PA e Territorio, Grandi Partecipazioni strategiche)</a:t>
            </a:r>
          </a:p>
        </p:txBody>
      </p:sp>
      <p:sp>
        <p:nvSpPr>
          <p:cNvPr id="123" name="object 5">
            <a:extLst>
              <a:ext uri="{FF2B5EF4-FFF2-40B4-BE49-F238E27FC236}">
                <a16:creationId xmlns:a16="http://schemas.microsoft.com/office/drawing/2014/main" id="{BAE32128-0E5A-4D29-95DB-A06CCA4987FA}"/>
              </a:ext>
            </a:extLst>
          </p:cNvPr>
          <p:cNvSpPr/>
          <p:nvPr/>
        </p:nvSpPr>
        <p:spPr>
          <a:xfrm>
            <a:off x="0" y="2575170"/>
            <a:ext cx="1033272" cy="1946529"/>
          </a:xfrm>
          <a:prstGeom prst="rect">
            <a:avLst/>
          </a:prstGeom>
          <a:blipFill>
            <a:blip r:embed="rId3" cstate="print"/>
            <a:stretch>
              <a:fillRect/>
            </a:stretch>
          </a:blipFill>
        </p:spPr>
        <p:txBody>
          <a:bodyPr wrap="square" lIns="0" tIns="0" rIns="0" bIns="0" rtlCol="0"/>
          <a:lstStyle/>
          <a:p>
            <a:endParaRPr sz="918"/>
          </a:p>
        </p:txBody>
      </p:sp>
      <p:sp>
        <p:nvSpPr>
          <p:cNvPr id="124" name="object 6">
            <a:extLst>
              <a:ext uri="{FF2B5EF4-FFF2-40B4-BE49-F238E27FC236}">
                <a16:creationId xmlns:a16="http://schemas.microsoft.com/office/drawing/2014/main" id="{4773BDB3-FC8D-4778-89B9-1A0C22D3D182}"/>
              </a:ext>
            </a:extLst>
          </p:cNvPr>
          <p:cNvSpPr/>
          <p:nvPr/>
        </p:nvSpPr>
        <p:spPr>
          <a:xfrm>
            <a:off x="7770114" y="2599173"/>
            <a:ext cx="1373886" cy="1897380"/>
          </a:xfrm>
          <a:prstGeom prst="rect">
            <a:avLst/>
          </a:prstGeom>
          <a:blipFill>
            <a:blip r:embed="rId4" cstate="print"/>
            <a:stretch>
              <a:fillRect/>
            </a:stretch>
          </a:blipFill>
        </p:spPr>
        <p:txBody>
          <a:bodyPr wrap="square" lIns="0" tIns="0" rIns="0" bIns="0" rtlCol="0"/>
          <a:lstStyle/>
          <a:p>
            <a:endParaRPr sz="918"/>
          </a:p>
        </p:txBody>
      </p:sp>
      <p:sp>
        <p:nvSpPr>
          <p:cNvPr id="125" name="object 7">
            <a:extLst>
              <a:ext uri="{FF2B5EF4-FFF2-40B4-BE49-F238E27FC236}">
                <a16:creationId xmlns:a16="http://schemas.microsoft.com/office/drawing/2014/main" id="{2451B7FE-832E-453B-9DF5-F1087509AEDD}"/>
              </a:ext>
            </a:extLst>
          </p:cNvPr>
          <p:cNvSpPr txBox="1"/>
          <p:nvPr/>
        </p:nvSpPr>
        <p:spPr>
          <a:xfrm>
            <a:off x="6382797" y="1777889"/>
            <a:ext cx="1884381" cy="484588"/>
          </a:xfrm>
          <a:prstGeom prst="rect">
            <a:avLst/>
          </a:prstGeom>
        </p:spPr>
        <p:txBody>
          <a:bodyPr vert="horz" wrap="square" lIns="0" tIns="10001" rIns="0" bIns="0" rtlCol="0">
            <a:spAutoFit/>
          </a:bodyPr>
          <a:lstStyle/>
          <a:p>
            <a:pPr marL="9525">
              <a:spcBef>
                <a:spcPts val="79"/>
              </a:spcBef>
            </a:pPr>
            <a:r>
              <a:rPr lang="it-IT" sz="1500" b="1" dirty="0">
                <a:solidFill>
                  <a:srgbClr val="001547"/>
                </a:solidFill>
                <a:latin typeface="Arial"/>
                <a:cs typeface="Arial"/>
              </a:rPr>
              <a:t>Obiettivi per lo</a:t>
            </a:r>
          </a:p>
          <a:p>
            <a:pPr marL="9525">
              <a:spcBef>
                <a:spcPts val="79"/>
              </a:spcBef>
            </a:pPr>
            <a:r>
              <a:rPr lang="it-IT" sz="1500" b="1" dirty="0">
                <a:solidFill>
                  <a:srgbClr val="001547"/>
                </a:solidFill>
                <a:latin typeface="Arial"/>
                <a:cs typeface="Arial"/>
              </a:rPr>
              <a:t>sviluppo sostenibile</a:t>
            </a:r>
            <a:endParaRPr sz="1500" dirty="0">
              <a:latin typeface="Arial"/>
              <a:cs typeface="Arial"/>
            </a:endParaRPr>
          </a:p>
        </p:txBody>
      </p:sp>
      <p:sp>
        <p:nvSpPr>
          <p:cNvPr id="126" name="object 8">
            <a:extLst>
              <a:ext uri="{FF2B5EF4-FFF2-40B4-BE49-F238E27FC236}">
                <a16:creationId xmlns:a16="http://schemas.microsoft.com/office/drawing/2014/main" id="{D0140CA5-E18E-4A2C-9B67-BEF47978549C}"/>
              </a:ext>
            </a:extLst>
          </p:cNvPr>
          <p:cNvSpPr txBox="1"/>
          <p:nvPr/>
        </p:nvSpPr>
        <p:spPr>
          <a:xfrm>
            <a:off x="231314" y="1762745"/>
            <a:ext cx="2113789" cy="471764"/>
          </a:xfrm>
          <a:prstGeom prst="rect">
            <a:avLst/>
          </a:prstGeom>
        </p:spPr>
        <p:txBody>
          <a:bodyPr vert="horz" wrap="square" lIns="0" tIns="10001" rIns="0" bIns="0" rtlCol="0">
            <a:spAutoFit/>
          </a:bodyPr>
          <a:lstStyle/>
          <a:p>
            <a:pPr marL="9525" algn="ctr">
              <a:spcBef>
                <a:spcPts val="79"/>
              </a:spcBef>
            </a:pPr>
            <a:r>
              <a:rPr lang="en-US" sz="1500" b="1" dirty="0"/>
              <a:t>Trend socio-</a:t>
            </a:r>
            <a:r>
              <a:rPr lang="en-US" sz="1500" b="1" dirty="0" err="1"/>
              <a:t>economici</a:t>
            </a:r>
            <a:r>
              <a:rPr lang="en-US" sz="1500" b="1" dirty="0"/>
              <a:t> </a:t>
            </a:r>
            <a:r>
              <a:rPr lang="en-US" sz="1500" b="1" dirty="0" err="1"/>
              <a:t>globali</a:t>
            </a:r>
            <a:endParaRPr lang="en-US" sz="1500" b="1" dirty="0"/>
          </a:p>
        </p:txBody>
      </p:sp>
      <p:sp>
        <p:nvSpPr>
          <p:cNvPr id="128" name="object 10">
            <a:extLst>
              <a:ext uri="{FF2B5EF4-FFF2-40B4-BE49-F238E27FC236}">
                <a16:creationId xmlns:a16="http://schemas.microsoft.com/office/drawing/2014/main" id="{DC7CBB4F-6E6D-45C9-970C-F19901E5E616}"/>
              </a:ext>
            </a:extLst>
          </p:cNvPr>
          <p:cNvSpPr txBox="1"/>
          <p:nvPr/>
        </p:nvSpPr>
        <p:spPr>
          <a:xfrm>
            <a:off x="1023999" y="3627644"/>
            <a:ext cx="1948498" cy="589264"/>
          </a:xfrm>
          <a:prstGeom prst="rect">
            <a:avLst/>
          </a:prstGeom>
        </p:spPr>
        <p:txBody>
          <a:bodyPr vert="horz" wrap="square" lIns="0" tIns="9525" rIns="0" bIns="0" rtlCol="0">
            <a:spAutoFit/>
          </a:bodyPr>
          <a:lstStyle/>
          <a:p>
            <a:pPr marL="190024" marR="3810" indent="-180499">
              <a:spcBef>
                <a:spcPts val="75"/>
              </a:spcBef>
              <a:buClr>
                <a:srgbClr val="3366CC"/>
              </a:buClr>
              <a:buChar char="•"/>
              <a:tabLst>
                <a:tab pos="190024" algn="l"/>
                <a:tab pos="190500" algn="l"/>
                <a:tab pos="980123" algn="l"/>
              </a:tabLst>
            </a:pPr>
            <a:r>
              <a:rPr lang="it-IT" sz="1200" spc="-4" dirty="0">
                <a:solidFill>
                  <a:srgbClr val="001547"/>
                </a:solidFill>
                <a:latin typeface="Arial"/>
                <a:cs typeface="Arial"/>
              </a:rPr>
              <a:t>Paesi in via di</a:t>
            </a:r>
          </a:p>
          <a:p>
            <a:pPr marL="9525" marR="3810">
              <a:spcBef>
                <a:spcPts val="75"/>
              </a:spcBef>
              <a:buClr>
                <a:srgbClr val="3366CC"/>
              </a:buClr>
              <a:tabLst>
                <a:tab pos="190024" algn="l"/>
                <a:tab pos="190500" algn="l"/>
                <a:tab pos="980123" algn="l"/>
              </a:tabLst>
            </a:pPr>
            <a:r>
              <a:rPr lang="it-IT" sz="1200" spc="-4" dirty="0">
                <a:solidFill>
                  <a:srgbClr val="001547"/>
                </a:solidFill>
                <a:latin typeface="Arial"/>
                <a:cs typeface="Arial"/>
              </a:rPr>
              <a:t>    sviluppo e commercio</a:t>
            </a:r>
          </a:p>
          <a:p>
            <a:pPr marL="9525" marR="3810">
              <a:spcBef>
                <a:spcPts val="75"/>
              </a:spcBef>
              <a:buClr>
                <a:srgbClr val="3366CC"/>
              </a:buClr>
              <a:tabLst>
                <a:tab pos="190024" algn="l"/>
                <a:tab pos="190500" algn="l"/>
                <a:tab pos="980123" algn="l"/>
              </a:tabLst>
            </a:pPr>
            <a:r>
              <a:rPr lang="it-IT" sz="1200" spc="-4" dirty="0">
                <a:solidFill>
                  <a:srgbClr val="001547"/>
                </a:solidFill>
                <a:latin typeface="Arial"/>
                <a:cs typeface="Arial"/>
              </a:rPr>
              <a:t>    internazionale</a:t>
            </a:r>
            <a:endParaRPr sz="1200" dirty="0">
              <a:latin typeface="Arial"/>
              <a:cs typeface="Arial"/>
            </a:endParaRPr>
          </a:p>
        </p:txBody>
      </p:sp>
      <p:sp>
        <p:nvSpPr>
          <p:cNvPr id="129" name="object 11">
            <a:extLst>
              <a:ext uri="{FF2B5EF4-FFF2-40B4-BE49-F238E27FC236}">
                <a16:creationId xmlns:a16="http://schemas.microsoft.com/office/drawing/2014/main" id="{AFD7A636-6293-4F84-9518-CADA570BD4A6}"/>
              </a:ext>
            </a:extLst>
          </p:cNvPr>
          <p:cNvSpPr txBox="1"/>
          <p:nvPr/>
        </p:nvSpPr>
        <p:spPr>
          <a:xfrm>
            <a:off x="579277" y="4418555"/>
            <a:ext cx="2002664" cy="194284"/>
          </a:xfrm>
          <a:prstGeom prst="rect">
            <a:avLst/>
          </a:prstGeom>
        </p:spPr>
        <p:txBody>
          <a:bodyPr vert="horz" wrap="square" lIns="0" tIns="9525" rIns="0" bIns="0" rtlCol="0">
            <a:spAutoFit/>
          </a:bodyPr>
          <a:lstStyle/>
          <a:p>
            <a:pPr marL="190024" indent="-180499">
              <a:spcBef>
                <a:spcPts val="75"/>
              </a:spcBef>
              <a:buClr>
                <a:srgbClr val="3366CC"/>
              </a:buClr>
              <a:buChar char="•"/>
              <a:tabLst>
                <a:tab pos="190024" algn="l"/>
                <a:tab pos="190500" algn="l"/>
              </a:tabLst>
            </a:pPr>
            <a:r>
              <a:rPr lang="it-IT" sz="1200" spc="-4" dirty="0">
                <a:solidFill>
                  <a:srgbClr val="001547"/>
                </a:solidFill>
                <a:latin typeface="Arial"/>
                <a:cs typeface="Arial"/>
              </a:rPr>
              <a:t>Cambiamenti sociali</a:t>
            </a:r>
            <a:endParaRPr sz="1200" dirty="0">
              <a:latin typeface="Arial"/>
              <a:cs typeface="Arial"/>
            </a:endParaRPr>
          </a:p>
        </p:txBody>
      </p:sp>
      <p:sp>
        <p:nvSpPr>
          <p:cNvPr id="132" name="object 15">
            <a:extLst>
              <a:ext uri="{FF2B5EF4-FFF2-40B4-BE49-F238E27FC236}">
                <a16:creationId xmlns:a16="http://schemas.microsoft.com/office/drawing/2014/main" id="{29E7BF1D-DEF5-426D-86FD-4B6BBA3D3AF9}"/>
              </a:ext>
            </a:extLst>
          </p:cNvPr>
          <p:cNvSpPr txBox="1"/>
          <p:nvPr/>
        </p:nvSpPr>
        <p:spPr>
          <a:xfrm>
            <a:off x="6461712" y="2894588"/>
            <a:ext cx="1323498" cy="935225"/>
          </a:xfrm>
          <a:prstGeom prst="rect">
            <a:avLst/>
          </a:prstGeom>
        </p:spPr>
        <p:txBody>
          <a:bodyPr vert="horz" wrap="square" lIns="0" tIns="5239" rIns="0" bIns="0" rtlCol="0">
            <a:spAutoFit/>
          </a:bodyPr>
          <a:lstStyle/>
          <a:p>
            <a:pPr marL="9525" marR="3810">
              <a:lnSpc>
                <a:spcPct val="101899"/>
              </a:lnSpc>
              <a:spcBef>
                <a:spcPts val="41"/>
              </a:spcBef>
            </a:pPr>
            <a:r>
              <a:rPr sz="1200" spc="-4" dirty="0">
                <a:solidFill>
                  <a:srgbClr val="001547"/>
                </a:solidFill>
                <a:latin typeface="Arial"/>
                <a:cs typeface="Arial"/>
              </a:rPr>
              <a:t>17 </a:t>
            </a:r>
            <a:r>
              <a:rPr lang="it-IT" sz="1200" spc="-4" dirty="0">
                <a:solidFill>
                  <a:srgbClr val="001547"/>
                </a:solidFill>
                <a:latin typeface="Arial"/>
                <a:cs typeface="Arial"/>
              </a:rPr>
              <a:t>Obiettivi</a:t>
            </a:r>
            <a:r>
              <a:rPr sz="1200" spc="-4" dirty="0">
                <a:solidFill>
                  <a:srgbClr val="001547"/>
                </a:solidFill>
                <a:latin typeface="Arial"/>
                <a:cs typeface="Arial"/>
              </a:rPr>
              <a:t> </a:t>
            </a:r>
            <a:r>
              <a:rPr lang="it-IT" sz="1200" dirty="0">
                <a:solidFill>
                  <a:srgbClr val="001547"/>
                </a:solidFill>
                <a:latin typeface="Arial"/>
                <a:cs typeface="Arial"/>
              </a:rPr>
              <a:t>dell’Agenda per lo Sviluppo Sostenibile </a:t>
            </a:r>
            <a:r>
              <a:rPr lang="en-US" sz="1200" spc="-4" dirty="0">
                <a:solidFill>
                  <a:srgbClr val="001547"/>
                </a:solidFill>
                <a:cs typeface="Arial"/>
              </a:rPr>
              <a:t>2030</a:t>
            </a:r>
            <a:r>
              <a:rPr lang="en-US" sz="1200" spc="-127" dirty="0">
                <a:solidFill>
                  <a:srgbClr val="001547"/>
                </a:solidFill>
                <a:cs typeface="Arial"/>
              </a:rPr>
              <a:t> </a:t>
            </a:r>
            <a:r>
              <a:rPr lang="it-IT" sz="1200" dirty="0">
                <a:solidFill>
                  <a:srgbClr val="001547"/>
                </a:solidFill>
                <a:latin typeface="Arial"/>
                <a:cs typeface="Arial"/>
              </a:rPr>
              <a:t>dell’ONU</a:t>
            </a:r>
            <a:endParaRPr sz="1200" dirty="0">
              <a:latin typeface="Arial"/>
              <a:cs typeface="Arial"/>
            </a:endParaRPr>
          </a:p>
        </p:txBody>
      </p:sp>
      <p:sp>
        <p:nvSpPr>
          <p:cNvPr id="19" name="Rectangle 2">
            <a:extLst>
              <a:ext uri="{FF2B5EF4-FFF2-40B4-BE49-F238E27FC236}">
                <a16:creationId xmlns:a16="http://schemas.microsoft.com/office/drawing/2014/main" id="{6E648845-3953-471C-9667-DAE4AB821059}"/>
              </a:ext>
            </a:extLst>
          </p:cNvPr>
          <p:cNvSpPr>
            <a:spLocks/>
          </p:cNvSpPr>
          <p:nvPr/>
        </p:nvSpPr>
        <p:spPr>
          <a:xfrm>
            <a:off x="1" y="3"/>
            <a:ext cx="9143999" cy="163396"/>
          </a:xfrm>
          <a:prstGeom prst="rect">
            <a:avLst/>
          </a:prstGeom>
          <a:solidFill>
            <a:srgbClr val="415064"/>
          </a:solidFill>
          <a:ln w="9525" cap="flat" cmpd="sng" algn="ctr">
            <a:noFill/>
            <a:prstDash val="solid"/>
          </a:ln>
          <a:effectLst/>
        </p:spPr>
        <p:txBody>
          <a:bodyPr rot="0" spcFirstLastPara="0" vert="horz" wrap="square" lIns="121920" tIns="60960" rIns="121920" bIns="6096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224" kern="1200">
                <a:solidFill>
                  <a:schemeClr val="lt1"/>
                </a:solidFill>
                <a:latin typeface="+mn-lt"/>
                <a:ea typeface="+mn-ea"/>
                <a:cs typeface="+mn-cs"/>
              </a:defRPr>
            </a:lvl1pPr>
            <a:lvl2pPr marL="349849" algn="l" rtl="0" fontAlgn="base">
              <a:spcBef>
                <a:spcPct val="0"/>
              </a:spcBef>
              <a:spcAft>
                <a:spcPct val="0"/>
              </a:spcAft>
              <a:defRPr sz="1224" kern="1200">
                <a:solidFill>
                  <a:schemeClr val="lt1"/>
                </a:solidFill>
                <a:latin typeface="+mn-lt"/>
                <a:ea typeface="+mn-ea"/>
                <a:cs typeface="+mn-cs"/>
              </a:defRPr>
            </a:lvl2pPr>
            <a:lvl3pPr marL="699699" algn="l" rtl="0" fontAlgn="base">
              <a:spcBef>
                <a:spcPct val="0"/>
              </a:spcBef>
              <a:spcAft>
                <a:spcPct val="0"/>
              </a:spcAft>
              <a:defRPr sz="1224" kern="1200">
                <a:solidFill>
                  <a:schemeClr val="lt1"/>
                </a:solidFill>
                <a:latin typeface="+mn-lt"/>
                <a:ea typeface="+mn-ea"/>
                <a:cs typeface="+mn-cs"/>
              </a:defRPr>
            </a:lvl3pPr>
            <a:lvl4pPr marL="1049548" algn="l" rtl="0" fontAlgn="base">
              <a:spcBef>
                <a:spcPct val="0"/>
              </a:spcBef>
              <a:spcAft>
                <a:spcPct val="0"/>
              </a:spcAft>
              <a:defRPr sz="1224" kern="1200">
                <a:solidFill>
                  <a:schemeClr val="lt1"/>
                </a:solidFill>
                <a:latin typeface="+mn-lt"/>
                <a:ea typeface="+mn-ea"/>
                <a:cs typeface="+mn-cs"/>
              </a:defRPr>
            </a:lvl4pPr>
            <a:lvl5pPr marL="1399398" algn="l" rtl="0" fontAlgn="base">
              <a:spcBef>
                <a:spcPct val="0"/>
              </a:spcBef>
              <a:spcAft>
                <a:spcPct val="0"/>
              </a:spcAft>
              <a:defRPr sz="1224" kern="1200">
                <a:solidFill>
                  <a:schemeClr val="lt1"/>
                </a:solidFill>
                <a:latin typeface="+mn-lt"/>
                <a:ea typeface="+mn-ea"/>
                <a:cs typeface="+mn-cs"/>
              </a:defRPr>
            </a:lvl5pPr>
            <a:lvl6pPr marL="1749247" algn="l" defTabSz="699699" rtl="0" eaLnBrk="1" latinLnBrk="0" hangingPunct="1">
              <a:defRPr sz="1224" kern="1200">
                <a:solidFill>
                  <a:schemeClr val="lt1"/>
                </a:solidFill>
                <a:latin typeface="+mn-lt"/>
                <a:ea typeface="+mn-ea"/>
                <a:cs typeface="+mn-cs"/>
              </a:defRPr>
            </a:lvl6pPr>
            <a:lvl7pPr marL="2099097" algn="l" defTabSz="699699" rtl="0" eaLnBrk="1" latinLnBrk="0" hangingPunct="1">
              <a:defRPr sz="1224" kern="1200">
                <a:solidFill>
                  <a:schemeClr val="lt1"/>
                </a:solidFill>
                <a:latin typeface="+mn-lt"/>
                <a:ea typeface="+mn-ea"/>
                <a:cs typeface="+mn-cs"/>
              </a:defRPr>
            </a:lvl7pPr>
            <a:lvl8pPr marL="2448946" algn="l" defTabSz="699699" rtl="0" eaLnBrk="1" latinLnBrk="0" hangingPunct="1">
              <a:defRPr sz="1224" kern="1200">
                <a:solidFill>
                  <a:schemeClr val="lt1"/>
                </a:solidFill>
                <a:latin typeface="+mn-lt"/>
                <a:ea typeface="+mn-ea"/>
                <a:cs typeface="+mn-cs"/>
              </a:defRPr>
            </a:lvl8pPr>
            <a:lvl9pPr marL="2798796" algn="l" defTabSz="699699" rtl="0" eaLnBrk="1" latinLnBrk="0" hangingPunct="1">
              <a:defRPr sz="1224" kern="1200">
                <a:solidFill>
                  <a:schemeClr val="lt1"/>
                </a:solidFill>
                <a:latin typeface="+mn-lt"/>
                <a:ea typeface="+mn-ea"/>
                <a:cs typeface="+mn-cs"/>
              </a:defRPr>
            </a:lvl9pPr>
          </a:lstStyle>
          <a:p>
            <a:pPr defTabSz="1219079">
              <a:defRPr/>
            </a:pPr>
            <a:r>
              <a:rPr lang="it-IT" sz="1000" b="1" dirty="0">
                <a:solidFill>
                  <a:srgbClr val="FFFFFF"/>
                </a:solidFill>
                <a:latin typeface="Arial"/>
              </a:rPr>
              <a:t>CDP </a:t>
            </a:r>
            <a:r>
              <a:rPr lang="it-IT" sz="1000" b="1" dirty="0" err="1">
                <a:solidFill>
                  <a:srgbClr val="FFFFFF"/>
                </a:solidFill>
                <a:latin typeface="Arial"/>
              </a:rPr>
              <a:t>Overview</a:t>
            </a:r>
            <a:endParaRPr lang="it-IT" sz="1000" b="1" i="1" dirty="0">
              <a:solidFill>
                <a:srgbClr val="FFFFFF"/>
              </a:solidFill>
              <a:latin typeface="Arial"/>
            </a:endParaRPr>
          </a:p>
        </p:txBody>
      </p:sp>
      <p:sp>
        <p:nvSpPr>
          <p:cNvPr id="3" name="Rettangolo 2">
            <a:extLst>
              <a:ext uri="{FF2B5EF4-FFF2-40B4-BE49-F238E27FC236}">
                <a16:creationId xmlns:a16="http://schemas.microsoft.com/office/drawing/2014/main" id="{D7799C28-DFF1-4DB8-BDF3-23244EF04C5F}"/>
              </a:ext>
            </a:extLst>
          </p:cNvPr>
          <p:cNvSpPr/>
          <p:nvPr/>
        </p:nvSpPr>
        <p:spPr>
          <a:xfrm>
            <a:off x="498707" y="2386845"/>
            <a:ext cx="1701623" cy="461665"/>
          </a:xfrm>
          <a:prstGeom prst="rect">
            <a:avLst/>
          </a:prstGeom>
        </p:spPr>
        <p:txBody>
          <a:bodyPr wrap="square">
            <a:spAutoFit/>
          </a:bodyPr>
          <a:lstStyle/>
          <a:p>
            <a:pPr marL="173038" marR="165734" indent="-173038" defTabSz="809625">
              <a:buClr>
                <a:srgbClr val="3366CC"/>
              </a:buClr>
              <a:buChar char="•"/>
            </a:pPr>
            <a:r>
              <a:rPr lang="en-US" sz="1200" spc="-4" dirty="0" err="1">
                <a:solidFill>
                  <a:srgbClr val="001547"/>
                </a:solidFill>
                <a:cs typeface="Arial"/>
              </a:rPr>
              <a:t>Innovazione</a:t>
            </a:r>
            <a:r>
              <a:rPr lang="en-US" sz="1200" spc="-4" dirty="0">
                <a:solidFill>
                  <a:srgbClr val="001547"/>
                </a:solidFill>
                <a:cs typeface="Arial"/>
              </a:rPr>
              <a:t> e</a:t>
            </a:r>
          </a:p>
          <a:p>
            <a:pPr marR="165734">
              <a:buClr>
                <a:srgbClr val="3366CC"/>
              </a:buClr>
              <a:tabLst>
                <a:tab pos="407670" algn="l"/>
                <a:tab pos="408146" algn="l"/>
              </a:tabLst>
            </a:pPr>
            <a:r>
              <a:rPr lang="en-US" sz="1200" spc="-4" dirty="0">
                <a:solidFill>
                  <a:srgbClr val="001547"/>
                </a:solidFill>
                <a:cs typeface="Arial"/>
              </a:rPr>
              <a:t>     </a:t>
            </a:r>
            <a:r>
              <a:rPr lang="en-US" sz="1200" spc="-4" dirty="0" err="1">
                <a:solidFill>
                  <a:srgbClr val="001547"/>
                </a:solidFill>
                <a:cs typeface="Arial"/>
              </a:rPr>
              <a:t>digitalizzazione</a:t>
            </a:r>
            <a:endParaRPr lang="en-US" sz="1200" dirty="0">
              <a:cs typeface="Arial"/>
            </a:endParaRPr>
          </a:p>
        </p:txBody>
      </p:sp>
      <p:sp>
        <p:nvSpPr>
          <p:cNvPr id="21" name="Rettangolo 20">
            <a:extLst>
              <a:ext uri="{FF2B5EF4-FFF2-40B4-BE49-F238E27FC236}">
                <a16:creationId xmlns:a16="http://schemas.microsoft.com/office/drawing/2014/main" id="{EEB7958A-150C-4637-BDFF-4C30B172BFD5}"/>
              </a:ext>
            </a:extLst>
          </p:cNvPr>
          <p:cNvSpPr/>
          <p:nvPr/>
        </p:nvSpPr>
        <p:spPr>
          <a:xfrm>
            <a:off x="707976" y="2922222"/>
            <a:ext cx="2209238" cy="646331"/>
          </a:xfrm>
          <a:prstGeom prst="rect">
            <a:avLst/>
          </a:prstGeom>
        </p:spPr>
        <p:txBody>
          <a:bodyPr wrap="square">
            <a:spAutoFit/>
          </a:bodyPr>
          <a:lstStyle/>
          <a:p>
            <a:pPr marL="407670" marR="165734" indent="-180975">
              <a:buClr>
                <a:srgbClr val="3366CC"/>
              </a:buClr>
              <a:buChar char="•"/>
              <a:tabLst>
                <a:tab pos="407670" algn="l"/>
                <a:tab pos="408146" algn="l"/>
              </a:tabLst>
            </a:pPr>
            <a:r>
              <a:rPr lang="en-US" sz="1200" spc="-4" dirty="0" err="1">
                <a:solidFill>
                  <a:srgbClr val="001547"/>
                </a:solidFill>
                <a:cs typeface="Arial"/>
              </a:rPr>
              <a:t>Transizione</a:t>
            </a:r>
            <a:r>
              <a:rPr lang="en-US" sz="1200" spc="-4" dirty="0">
                <a:solidFill>
                  <a:srgbClr val="001547"/>
                </a:solidFill>
                <a:cs typeface="Arial"/>
              </a:rPr>
              <a:t> </a:t>
            </a:r>
            <a:r>
              <a:rPr lang="en-US" sz="1200" spc="-4" dirty="0" err="1">
                <a:solidFill>
                  <a:srgbClr val="001547"/>
                </a:solidFill>
                <a:cs typeface="Arial"/>
              </a:rPr>
              <a:t>energetica</a:t>
            </a:r>
            <a:r>
              <a:rPr lang="en-US" sz="1200" spc="-4" dirty="0">
                <a:solidFill>
                  <a:srgbClr val="001547"/>
                </a:solidFill>
                <a:cs typeface="Arial"/>
              </a:rPr>
              <a:t> e </a:t>
            </a:r>
            <a:r>
              <a:rPr lang="en-US" sz="1200" spc="-4" dirty="0" err="1">
                <a:solidFill>
                  <a:srgbClr val="001547"/>
                </a:solidFill>
                <a:cs typeface="Arial"/>
              </a:rPr>
              <a:t>cambiamenti</a:t>
            </a:r>
            <a:r>
              <a:rPr lang="en-US" sz="1200" spc="-4" dirty="0">
                <a:solidFill>
                  <a:srgbClr val="001547"/>
                </a:solidFill>
                <a:cs typeface="Arial"/>
              </a:rPr>
              <a:t> </a:t>
            </a:r>
            <a:r>
              <a:rPr lang="en-US" sz="1200" spc="-4" dirty="0" err="1">
                <a:solidFill>
                  <a:srgbClr val="001547"/>
                </a:solidFill>
                <a:cs typeface="Arial"/>
              </a:rPr>
              <a:t>climatici</a:t>
            </a:r>
            <a:endParaRPr lang="en-US" sz="1200" dirty="0">
              <a:cs typeface="Arial"/>
            </a:endParaRPr>
          </a:p>
        </p:txBody>
      </p:sp>
      <p:pic>
        <p:nvPicPr>
          <p:cNvPr id="23" name="Immagine 22">
            <a:extLst>
              <a:ext uri="{FF2B5EF4-FFF2-40B4-BE49-F238E27FC236}">
                <a16:creationId xmlns:a16="http://schemas.microsoft.com/office/drawing/2014/main" id="{386D504D-2365-4427-9335-6D148162B9A2}"/>
              </a:ext>
            </a:extLst>
          </p:cNvPr>
          <p:cNvPicPr>
            <a:picLocks noChangeAspect="1"/>
          </p:cNvPicPr>
          <p:nvPr/>
        </p:nvPicPr>
        <p:blipFill>
          <a:blip r:embed="rId5"/>
          <a:stretch>
            <a:fillRect/>
          </a:stretch>
        </p:blipFill>
        <p:spPr>
          <a:xfrm>
            <a:off x="3068359" y="2191527"/>
            <a:ext cx="2943340" cy="2901531"/>
          </a:xfrm>
          <a:prstGeom prst="rect">
            <a:avLst/>
          </a:prstGeom>
        </p:spPr>
      </p:pic>
      <p:sp>
        <p:nvSpPr>
          <p:cNvPr id="24" name="object 8">
            <a:extLst>
              <a:ext uri="{FF2B5EF4-FFF2-40B4-BE49-F238E27FC236}">
                <a16:creationId xmlns:a16="http://schemas.microsoft.com/office/drawing/2014/main" id="{9CA462AC-7C31-468D-BCFE-0D663B9AD0D2}"/>
              </a:ext>
            </a:extLst>
          </p:cNvPr>
          <p:cNvSpPr txBox="1"/>
          <p:nvPr/>
        </p:nvSpPr>
        <p:spPr>
          <a:xfrm>
            <a:off x="3500357" y="1659509"/>
            <a:ext cx="2113789" cy="471764"/>
          </a:xfrm>
          <a:prstGeom prst="rect">
            <a:avLst/>
          </a:prstGeom>
        </p:spPr>
        <p:txBody>
          <a:bodyPr vert="horz" wrap="square" lIns="0" tIns="10001" rIns="0" bIns="0" rtlCol="0">
            <a:spAutoFit/>
          </a:bodyPr>
          <a:lstStyle/>
          <a:p>
            <a:pPr marL="9525" algn="ctr">
              <a:spcBef>
                <a:spcPts val="79"/>
              </a:spcBef>
            </a:pPr>
            <a:r>
              <a:rPr lang="it-IT" sz="1500" b="1" dirty="0"/>
              <a:t>Nuovo modello operativo di CDP</a:t>
            </a:r>
          </a:p>
        </p:txBody>
      </p:sp>
    </p:spTree>
    <p:extLst>
      <p:ext uri="{BB962C8B-B14F-4D97-AF65-F5344CB8AC3E}">
        <p14:creationId xmlns:p14="http://schemas.microsoft.com/office/powerpoint/2010/main" val="7564414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ttangolo 33">
            <a:extLst>
              <a:ext uri="{FF2B5EF4-FFF2-40B4-BE49-F238E27FC236}">
                <a16:creationId xmlns:a16="http://schemas.microsoft.com/office/drawing/2014/main" id="{7A54EBE6-DC98-43CC-8B53-558D74394DB3}"/>
              </a:ext>
            </a:extLst>
          </p:cNvPr>
          <p:cNvSpPr/>
          <p:nvPr/>
        </p:nvSpPr>
        <p:spPr>
          <a:xfrm>
            <a:off x="1401398" y="1295400"/>
            <a:ext cx="7045434" cy="54102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graphicFrame>
        <p:nvGraphicFramePr>
          <p:cNvPr id="7" name="Oggetto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655" name="Diapositiva think-cell" r:id="rId5" imgW="270" imgH="270" progId="TCLayout.ActiveDocument.1">
                  <p:embed/>
                </p:oleObj>
              </mc:Choice>
              <mc:Fallback>
                <p:oleObj name="Diapositiva think-cell" r:id="rId5" imgW="270" imgH="270" progId="TCLayout.ActiveDocument.1">
                  <p:embed/>
                  <p:pic>
                    <p:nvPicPr>
                      <p:cNvPr id="7" name="Oggetto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egnaposto numero diapositiva 3">
            <a:extLst>
              <a:ext uri="{FF2B5EF4-FFF2-40B4-BE49-F238E27FC236}">
                <a16:creationId xmlns:a16="http://schemas.microsoft.com/office/drawing/2014/main" id="{52C954B1-B0F4-4E12-BE66-48509ABAF6A1}"/>
              </a:ext>
            </a:extLst>
          </p:cNvPr>
          <p:cNvSpPr>
            <a:spLocks noGrp="1"/>
          </p:cNvSpPr>
          <p:nvPr>
            <p:ph type="sldNum" sz="quarter" idx="12"/>
          </p:nvPr>
        </p:nvSpPr>
        <p:spPr>
          <a:xfrm>
            <a:off x="142527" y="4842165"/>
            <a:ext cx="1008062" cy="183687"/>
          </a:xfrm>
        </p:spPr>
        <p:txBody>
          <a:bodyPr/>
          <a:lstStyle/>
          <a:p>
            <a:fld id="{608DA0FE-9C19-F746-8419-6700E348BF78}" type="slidenum">
              <a:rPr lang="it-IT" smtClean="0"/>
              <a:pPr/>
              <a:t>6</a:t>
            </a:fld>
            <a:endParaRPr lang="it-IT" dirty="0"/>
          </a:p>
        </p:txBody>
      </p:sp>
      <p:grpSp>
        <p:nvGrpSpPr>
          <p:cNvPr id="11" name="Gruppo 10">
            <a:extLst>
              <a:ext uri="{FF2B5EF4-FFF2-40B4-BE49-F238E27FC236}">
                <a16:creationId xmlns:a16="http://schemas.microsoft.com/office/drawing/2014/main" id="{6C4B42DC-B68F-4946-BF63-B142C09F86D0}"/>
              </a:ext>
            </a:extLst>
          </p:cNvPr>
          <p:cNvGrpSpPr/>
          <p:nvPr/>
        </p:nvGrpSpPr>
        <p:grpSpPr>
          <a:xfrm>
            <a:off x="795937" y="745276"/>
            <a:ext cx="7271691" cy="437581"/>
            <a:chOff x="795937" y="669076"/>
            <a:chExt cx="7271691" cy="437581"/>
          </a:xfrm>
        </p:grpSpPr>
        <p:sp>
          <p:nvSpPr>
            <p:cNvPr id="12" name="object 4"/>
            <p:cNvSpPr>
              <a:spLocks noChangeAspect="1"/>
            </p:cNvSpPr>
            <p:nvPr/>
          </p:nvSpPr>
          <p:spPr>
            <a:xfrm>
              <a:off x="795937" y="745738"/>
              <a:ext cx="360000" cy="360919"/>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1</a:t>
              </a:r>
              <a:endParaRPr sz="1600" b="1" dirty="0">
                <a:solidFill>
                  <a:schemeClr val="bg1"/>
                </a:solidFill>
              </a:endParaRPr>
            </a:p>
          </p:txBody>
        </p:sp>
        <p:sp>
          <p:nvSpPr>
            <p:cNvPr id="14" name="object 7"/>
            <p:cNvSpPr txBox="1"/>
            <p:nvPr/>
          </p:nvSpPr>
          <p:spPr>
            <a:xfrm>
              <a:off x="1401398" y="669076"/>
              <a:ext cx="6666230" cy="369332"/>
            </a:xfrm>
            <a:prstGeom prst="rect">
              <a:avLst/>
            </a:prstGeom>
            <a:noFill/>
          </p:spPr>
          <p:txBody>
            <a:bodyPr vert="horz" wrap="square" lIns="0" tIns="91440" rIns="0" bIns="0" rtlCol="0">
              <a:spAutoFit/>
            </a:bodyPr>
            <a:lstStyle/>
            <a:p>
              <a:pPr>
                <a:lnSpc>
                  <a:spcPct val="100000"/>
                </a:lnSpc>
                <a:spcBef>
                  <a:spcPts val="0"/>
                </a:spcBef>
              </a:pPr>
              <a:r>
                <a:rPr lang="it-IT" sz="1800" spc="-5" dirty="0">
                  <a:solidFill>
                    <a:srgbClr val="001547"/>
                  </a:solidFill>
                  <a:latin typeface="Arial"/>
                  <a:cs typeface="Arial"/>
                </a:rPr>
                <a:t> </a:t>
              </a:r>
              <a:r>
                <a:rPr sz="1600" spc="-5" dirty="0">
                  <a:latin typeface="Arial"/>
                  <a:cs typeface="Arial"/>
                </a:rPr>
                <a:t>CDP</a:t>
              </a:r>
              <a:r>
                <a:rPr sz="1600" spc="-30" dirty="0">
                  <a:latin typeface="Arial"/>
                  <a:cs typeface="Arial"/>
                </a:rPr>
                <a:t> </a:t>
              </a:r>
              <a:r>
                <a:rPr sz="1600" spc="-10" dirty="0">
                  <a:latin typeface="Arial"/>
                  <a:cs typeface="Arial"/>
                </a:rPr>
                <a:t>Overview</a:t>
              </a:r>
              <a:endParaRPr sz="1600" dirty="0">
                <a:latin typeface="Arial"/>
                <a:cs typeface="Arial"/>
              </a:endParaRPr>
            </a:p>
          </p:txBody>
        </p:sp>
      </p:grpSp>
      <p:grpSp>
        <p:nvGrpSpPr>
          <p:cNvPr id="2" name="Gruppo 1">
            <a:extLst>
              <a:ext uri="{FF2B5EF4-FFF2-40B4-BE49-F238E27FC236}">
                <a16:creationId xmlns:a16="http://schemas.microsoft.com/office/drawing/2014/main" id="{E502234F-E738-41AD-B385-69C8188B1564}"/>
              </a:ext>
            </a:extLst>
          </p:cNvPr>
          <p:cNvGrpSpPr/>
          <p:nvPr/>
        </p:nvGrpSpPr>
        <p:grpSpPr>
          <a:xfrm>
            <a:off x="795937" y="1401111"/>
            <a:ext cx="8101601" cy="350016"/>
            <a:chOff x="795937" y="1411283"/>
            <a:chExt cx="8101601" cy="350016"/>
          </a:xfrm>
        </p:grpSpPr>
        <p:sp>
          <p:nvSpPr>
            <p:cNvPr id="24" name="object 4">
              <a:extLst>
                <a:ext uri="{FF2B5EF4-FFF2-40B4-BE49-F238E27FC236}">
                  <a16:creationId xmlns:a16="http://schemas.microsoft.com/office/drawing/2014/main" id="{31171484-AEF4-4A18-A2B8-EF83B60007DA}"/>
                </a:ext>
              </a:extLst>
            </p:cNvPr>
            <p:cNvSpPr>
              <a:spLocks noChangeAspect="1"/>
            </p:cNvSpPr>
            <p:nvPr/>
          </p:nvSpPr>
          <p:spPr>
            <a:xfrm>
              <a:off x="795937" y="1411283"/>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2</a:t>
              </a:r>
              <a:endParaRPr sz="1600" b="1" dirty="0">
                <a:solidFill>
                  <a:schemeClr val="bg1"/>
                </a:solidFill>
              </a:endParaRPr>
            </a:p>
          </p:txBody>
        </p:sp>
        <p:sp>
          <p:nvSpPr>
            <p:cNvPr id="28" name="object 8">
              <a:extLst>
                <a:ext uri="{FF2B5EF4-FFF2-40B4-BE49-F238E27FC236}">
                  <a16:creationId xmlns:a16="http://schemas.microsoft.com/office/drawing/2014/main" id="{CE1AB38F-AFA0-4DCB-B72C-577467D31C3B}"/>
                </a:ext>
              </a:extLst>
            </p:cNvPr>
            <p:cNvSpPr txBox="1"/>
            <p:nvPr/>
          </p:nvSpPr>
          <p:spPr>
            <a:xfrm>
              <a:off x="1455338" y="1411283"/>
              <a:ext cx="7442200" cy="277512"/>
            </a:xfrm>
            <a:prstGeom prst="rect">
              <a:avLst/>
            </a:prstGeom>
          </p:spPr>
          <p:txBody>
            <a:bodyPr vert="horz" wrap="square" lIns="0" tIns="0" rIns="0" bIns="0" rtlCol="0">
              <a:spAutoFit/>
            </a:bodyPr>
            <a:lstStyle/>
            <a:p>
              <a:pPr>
                <a:lnSpc>
                  <a:spcPts val="2360"/>
                </a:lnSpc>
                <a:tabLst>
                  <a:tab pos="575945" algn="l"/>
                </a:tabLst>
              </a:pPr>
              <a:r>
                <a:rPr lang="it-IT" sz="2400" b="1" spc="-7" baseline="1543" dirty="0">
                  <a:latin typeface="Arial"/>
                  <a:cs typeface="Arial"/>
                </a:rPr>
                <a:t>Il contesto di riferimento</a:t>
              </a:r>
              <a:endParaRPr sz="2400" b="1" baseline="1543" dirty="0">
                <a:latin typeface="Arial"/>
                <a:cs typeface="Arial"/>
              </a:endParaRPr>
            </a:p>
          </p:txBody>
        </p:sp>
      </p:grpSp>
      <p:grpSp>
        <p:nvGrpSpPr>
          <p:cNvPr id="3" name="Gruppo 2">
            <a:extLst>
              <a:ext uri="{FF2B5EF4-FFF2-40B4-BE49-F238E27FC236}">
                <a16:creationId xmlns:a16="http://schemas.microsoft.com/office/drawing/2014/main" id="{DA3D8320-7280-406D-A541-2EE4C7B48E1B}"/>
              </a:ext>
            </a:extLst>
          </p:cNvPr>
          <p:cNvGrpSpPr/>
          <p:nvPr/>
        </p:nvGrpSpPr>
        <p:grpSpPr>
          <a:xfrm>
            <a:off x="795937" y="1948278"/>
            <a:ext cx="8101601" cy="350016"/>
            <a:chOff x="795937" y="1892478"/>
            <a:chExt cx="8101601" cy="350016"/>
          </a:xfrm>
        </p:grpSpPr>
        <p:sp>
          <p:nvSpPr>
            <p:cNvPr id="20" name="object 8"/>
            <p:cNvSpPr txBox="1"/>
            <p:nvPr/>
          </p:nvSpPr>
          <p:spPr>
            <a:xfrm>
              <a:off x="1455338" y="1892478"/>
              <a:ext cx="7442200" cy="307777"/>
            </a:xfrm>
            <a:prstGeom prst="rect">
              <a:avLst/>
            </a:prstGeom>
          </p:spPr>
          <p:txBody>
            <a:bodyPr vert="horz" wrap="square" lIns="0" tIns="0" rIns="0" bIns="0" rtlCol="0">
              <a:spAutoFit/>
            </a:bodyPr>
            <a:lstStyle/>
            <a:p>
              <a:pPr>
                <a:lnSpc>
                  <a:spcPts val="2360"/>
                </a:lnSpc>
                <a:tabLst>
                  <a:tab pos="575945" algn="l"/>
                </a:tabLst>
              </a:pPr>
              <a:r>
                <a:rPr sz="2400" spc="-7" baseline="1543" dirty="0">
                  <a:latin typeface="Arial"/>
                  <a:cs typeface="Arial"/>
                </a:rPr>
                <a:t>CDP</a:t>
              </a:r>
              <a:r>
                <a:rPr lang="it-IT" sz="2400" spc="-7" baseline="1543" dirty="0">
                  <a:latin typeface="Arial"/>
                  <a:cs typeface="Arial"/>
                </a:rPr>
                <a:t>:</a:t>
              </a:r>
              <a:r>
                <a:rPr sz="2400" spc="-7" baseline="1543" dirty="0">
                  <a:latin typeface="Arial"/>
                  <a:cs typeface="Arial"/>
                </a:rPr>
                <a:t> </a:t>
              </a:r>
              <a:r>
                <a:rPr lang="it-IT" sz="2400" spc="-7" baseline="1543" dirty="0">
                  <a:latin typeface="Arial"/>
                  <a:cs typeface="Arial"/>
                </a:rPr>
                <a:t>Istituzione</a:t>
              </a:r>
              <a:r>
                <a:rPr lang="it-IT" sz="2400" spc="-7" dirty="0">
                  <a:latin typeface="Arial"/>
                  <a:cs typeface="Arial"/>
                </a:rPr>
                <a:t> </a:t>
              </a:r>
              <a:r>
                <a:rPr lang="it-IT" sz="2400" spc="-7" baseline="1543" dirty="0">
                  <a:latin typeface="Arial"/>
                  <a:cs typeface="Arial"/>
                </a:rPr>
                <a:t>Finanziaria per la Cooperazione allo Sviluppo </a:t>
              </a:r>
              <a:endParaRPr sz="2400" baseline="1543" dirty="0">
                <a:latin typeface="Arial"/>
                <a:cs typeface="Arial"/>
              </a:endParaRPr>
            </a:p>
          </p:txBody>
        </p:sp>
        <p:sp>
          <p:nvSpPr>
            <p:cNvPr id="29" name="object 4">
              <a:extLst>
                <a:ext uri="{FF2B5EF4-FFF2-40B4-BE49-F238E27FC236}">
                  <a16:creationId xmlns:a16="http://schemas.microsoft.com/office/drawing/2014/main" id="{73493036-224A-4125-B2E8-DFCCA91E97EC}"/>
                </a:ext>
              </a:extLst>
            </p:cNvPr>
            <p:cNvSpPr>
              <a:spLocks noChangeAspect="1"/>
            </p:cNvSpPr>
            <p:nvPr/>
          </p:nvSpPr>
          <p:spPr>
            <a:xfrm>
              <a:off x="795937" y="1892478"/>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3</a:t>
              </a:r>
              <a:endParaRPr sz="1600" b="1" dirty="0">
                <a:solidFill>
                  <a:schemeClr val="bg1"/>
                </a:solidFill>
              </a:endParaRPr>
            </a:p>
          </p:txBody>
        </p:sp>
      </p:grpSp>
      <p:grpSp>
        <p:nvGrpSpPr>
          <p:cNvPr id="5" name="Gruppo 4">
            <a:extLst>
              <a:ext uri="{FF2B5EF4-FFF2-40B4-BE49-F238E27FC236}">
                <a16:creationId xmlns:a16="http://schemas.microsoft.com/office/drawing/2014/main" id="{E83A3AF0-A544-4520-A333-78BB77D585DE}"/>
              </a:ext>
            </a:extLst>
          </p:cNvPr>
          <p:cNvGrpSpPr/>
          <p:nvPr/>
        </p:nvGrpSpPr>
        <p:grpSpPr>
          <a:xfrm>
            <a:off x="795937" y="2495445"/>
            <a:ext cx="7526272" cy="350016"/>
            <a:chOff x="795937" y="2448333"/>
            <a:chExt cx="7526272" cy="350016"/>
          </a:xfrm>
        </p:grpSpPr>
        <p:sp>
          <p:nvSpPr>
            <p:cNvPr id="16" name="object 8"/>
            <p:cNvSpPr txBox="1"/>
            <p:nvPr/>
          </p:nvSpPr>
          <p:spPr>
            <a:xfrm>
              <a:off x="904193" y="2448333"/>
              <a:ext cx="7418016" cy="307777"/>
            </a:xfrm>
            <a:prstGeom prst="rect">
              <a:avLst/>
            </a:prstGeom>
          </p:spPr>
          <p:txBody>
            <a:bodyPr vert="horz" wrap="square" lIns="0" tIns="0" rIns="0" bIns="0" rtlCol="0">
              <a:spAutoFit/>
            </a:bodyPr>
            <a:lstStyle/>
            <a:p>
              <a:pPr marL="12700">
                <a:lnSpc>
                  <a:spcPts val="2360"/>
                </a:lnSpc>
                <a:tabLst>
                  <a:tab pos="575945" algn="l"/>
                </a:tabLst>
              </a:pPr>
              <a:r>
                <a:rPr lang="it-IT" sz="2000" b="1" spc="-5" dirty="0">
                  <a:solidFill>
                    <a:srgbClr val="FFFFFF"/>
                  </a:solidFill>
                  <a:latin typeface="Arial"/>
                  <a:cs typeface="Arial"/>
                </a:rPr>
                <a:t>4</a:t>
              </a:r>
              <a:r>
                <a:rPr sz="2400" b="1" spc="-5" dirty="0">
                  <a:solidFill>
                    <a:srgbClr val="FFFFFF"/>
                  </a:solidFill>
                  <a:latin typeface="Arial"/>
                  <a:cs typeface="Arial"/>
                </a:rPr>
                <a:t>	</a:t>
              </a:r>
              <a:r>
                <a:rPr lang="en-US" sz="2400" spc="-7" baseline="1543" dirty="0" err="1">
                  <a:cs typeface="Arial"/>
                </a:rPr>
                <a:t>Supporto</a:t>
              </a:r>
              <a:r>
                <a:rPr lang="en-US" sz="2400" spc="-7" baseline="1543" dirty="0">
                  <a:cs typeface="Arial"/>
                </a:rPr>
                <a:t> al </a:t>
              </a:r>
              <a:r>
                <a:rPr lang="en-US" sz="2400" spc="-7" baseline="1543" dirty="0" err="1">
                  <a:cs typeface="Arial"/>
                </a:rPr>
                <a:t>Settore</a:t>
              </a:r>
              <a:r>
                <a:rPr lang="en-US" sz="2400" spc="-7" baseline="1543" dirty="0">
                  <a:cs typeface="Arial"/>
                </a:rPr>
                <a:t> </a:t>
              </a:r>
              <a:r>
                <a:rPr lang="en-US" sz="2400" spc="-7" baseline="1543" dirty="0" err="1">
                  <a:cs typeface="Arial"/>
                </a:rPr>
                <a:t>Pubblico</a:t>
              </a:r>
              <a:endParaRPr sz="2400" spc="-7" baseline="1543" dirty="0">
                <a:latin typeface="Arial"/>
                <a:cs typeface="Arial"/>
              </a:endParaRPr>
            </a:p>
          </p:txBody>
        </p:sp>
        <p:sp>
          <p:nvSpPr>
            <p:cNvPr id="30" name="object 4">
              <a:extLst>
                <a:ext uri="{FF2B5EF4-FFF2-40B4-BE49-F238E27FC236}">
                  <a16:creationId xmlns:a16="http://schemas.microsoft.com/office/drawing/2014/main" id="{4EABFC6E-86FA-4787-991A-9B2860F0BFDE}"/>
                </a:ext>
              </a:extLst>
            </p:cNvPr>
            <p:cNvSpPr>
              <a:spLocks noChangeAspect="1"/>
            </p:cNvSpPr>
            <p:nvPr/>
          </p:nvSpPr>
          <p:spPr>
            <a:xfrm>
              <a:off x="795937" y="2448333"/>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4</a:t>
              </a:r>
              <a:endParaRPr sz="1600" b="1" dirty="0">
                <a:solidFill>
                  <a:schemeClr val="bg1"/>
                </a:solidFill>
              </a:endParaRPr>
            </a:p>
          </p:txBody>
        </p:sp>
      </p:grpSp>
      <p:grpSp>
        <p:nvGrpSpPr>
          <p:cNvPr id="6" name="Gruppo 5">
            <a:extLst>
              <a:ext uri="{FF2B5EF4-FFF2-40B4-BE49-F238E27FC236}">
                <a16:creationId xmlns:a16="http://schemas.microsoft.com/office/drawing/2014/main" id="{0A27A17E-C8CC-4056-9926-9709E507348F}"/>
              </a:ext>
            </a:extLst>
          </p:cNvPr>
          <p:cNvGrpSpPr/>
          <p:nvPr/>
        </p:nvGrpSpPr>
        <p:grpSpPr>
          <a:xfrm>
            <a:off x="795937" y="3042612"/>
            <a:ext cx="7550456" cy="350016"/>
            <a:chOff x="795937" y="3101581"/>
            <a:chExt cx="7550456" cy="350016"/>
          </a:xfrm>
        </p:grpSpPr>
        <p:sp>
          <p:nvSpPr>
            <p:cNvPr id="23" name="object 8">
              <a:extLst>
                <a:ext uri="{FF2B5EF4-FFF2-40B4-BE49-F238E27FC236}">
                  <a16:creationId xmlns:a16="http://schemas.microsoft.com/office/drawing/2014/main" id="{C694991B-2CA3-4265-A383-810EA881A649}"/>
                </a:ext>
              </a:extLst>
            </p:cNvPr>
            <p:cNvSpPr txBox="1"/>
            <p:nvPr/>
          </p:nvSpPr>
          <p:spPr>
            <a:xfrm>
              <a:off x="904193" y="3101581"/>
              <a:ext cx="7442200" cy="307777"/>
            </a:xfrm>
            <a:prstGeom prst="rect">
              <a:avLst/>
            </a:prstGeom>
          </p:spPr>
          <p:txBody>
            <a:bodyPr vert="horz" wrap="square" lIns="0" tIns="0" rIns="0" bIns="0" rtlCol="0">
              <a:spAutoFit/>
            </a:bodyPr>
            <a:lstStyle/>
            <a:p>
              <a:pPr marL="12700">
                <a:lnSpc>
                  <a:spcPts val="2360"/>
                </a:lnSpc>
                <a:tabLst>
                  <a:tab pos="575945" algn="l"/>
                </a:tabLst>
              </a:pPr>
              <a:r>
                <a:rPr lang="it-IT" sz="2000" b="1" spc="-5" dirty="0">
                  <a:solidFill>
                    <a:srgbClr val="FFFFFF"/>
                  </a:solidFill>
                  <a:latin typeface="Arial"/>
                  <a:cs typeface="Arial"/>
                </a:rPr>
                <a:t>5</a:t>
              </a:r>
              <a:r>
                <a:rPr sz="2000" spc="-5" dirty="0">
                  <a:solidFill>
                    <a:srgbClr val="FFFFFF"/>
                  </a:solidFill>
                  <a:latin typeface="Arial"/>
                  <a:cs typeface="Arial"/>
                </a:rPr>
                <a:t>	</a:t>
              </a:r>
              <a:r>
                <a:rPr lang="en-US" sz="1600" spc="-10" dirty="0" err="1">
                  <a:latin typeface="Arial"/>
                  <a:cs typeface="Arial"/>
                </a:rPr>
                <a:t>Supporto</a:t>
              </a:r>
              <a:r>
                <a:rPr lang="en-US" sz="1600" spc="-10" dirty="0">
                  <a:latin typeface="Arial"/>
                  <a:cs typeface="Arial"/>
                </a:rPr>
                <a:t> al </a:t>
              </a:r>
              <a:r>
                <a:rPr lang="en-US" sz="1600" spc="-10" dirty="0" err="1">
                  <a:latin typeface="Arial"/>
                  <a:cs typeface="Arial"/>
                </a:rPr>
                <a:t>Settore</a:t>
              </a:r>
              <a:r>
                <a:rPr lang="en-US" sz="1600" spc="-10" dirty="0">
                  <a:latin typeface="Arial"/>
                  <a:cs typeface="Arial"/>
                </a:rPr>
                <a:t> </a:t>
              </a:r>
              <a:r>
                <a:rPr lang="en-US" sz="1600" spc="-10" dirty="0" err="1">
                  <a:latin typeface="Arial"/>
                  <a:cs typeface="Arial"/>
                </a:rPr>
                <a:t>Privato</a:t>
              </a:r>
              <a:endParaRPr sz="1600" spc="-10" dirty="0">
                <a:latin typeface="Arial"/>
                <a:cs typeface="Arial"/>
              </a:endParaRPr>
            </a:p>
          </p:txBody>
        </p:sp>
        <p:sp>
          <p:nvSpPr>
            <p:cNvPr id="31" name="object 4">
              <a:extLst>
                <a:ext uri="{FF2B5EF4-FFF2-40B4-BE49-F238E27FC236}">
                  <a16:creationId xmlns:a16="http://schemas.microsoft.com/office/drawing/2014/main" id="{E71654FD-123B-4386-9800-2227621A6B4A}"/>
                </a:ext>
              </a:extLst>
            </p:cNvPr>
            <p:cNvSpPr>
              <a:spLocks noChangeAspect="1"/>
            </p:cNvSpPr>
            <p:nvPr/>
          </p:nvSpPr>
          <p:spPr>
            <a:xfrm>
              <a:off x="795937" y="3101581"/>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5</a:t>
              </a:r>
              <a:endParaRPr sz="1600" b="1" dirty="0">
                <a:solidFill>
                  <a:schemeClr val="bg1"/>
                </a:solidFill>
              </a:endParaRPr>
            </a:p>
          </p:txBody>
        </p:sp>
      </p:grpSp>
      <p:grpSp>
        <p:nvGrpSpPr>
          <p:cNvPr id="8" name="Gruppo 7">
            <a:extLst>
              <a:ext uri="{FF2B5EF4-FFF2-40B4-BE49-F238E27FC236}">
                <a16:creationId xmlns:a16="http://schemas.microsoft.com/office/drawing/2014/main" id="{B8F38F40-C37C-4DA7-93A7-3006DAE87134}"/>
              </a:ext>
            </a:extLst>
          </p:cNvPr>
          <p:cNvGrpSpPr/>
          <p:nvPr/>
        </p:nvGrpSpPr>
        <p:grpSpPr>
          <a:xfrm>
            <a:off x="795937" y="3589779"/>
            <a:ext cx="7538364" cy="350016"/>
            <a:chOff x="795937" y="3921579"/>
            <a:chExt cx="7538364" cy="350016"/>
          </a:xfrm>
        </p:grpSpPr>
        <p:sp>
          <p:nvSpPr>
            <p:cNvPr id="18" name="object 8"/>
            <p:cNvSpPr txBox="1"/>
            <p:nvPr/>
          </p:nvSpPr>
          <p:spPr>
            <a:xfrm>
              <a:off x="892101" y="3921579"/>
              <a:ext cx="7442200" cy="307777"/>
            </a:xfrm>
            <a:prstGeom prst="rect">
              <a:avLst/>
            </a:prstGeom>
          </p:spPr>
          <p:txBody>
            <a:bodyPr vert="horz" wrap="square" lIns="0" tIns="0" rIns="0" bIns="0" rtlCol="0">
              <a:spAutoFit/>
            </a:bodyPr>
            <a:lstStyle/>
            <a:p>
              <a:pPr marL="12700">
                <a:lnSpc>
                  <a:spcPts val="2360"/>
                </a:lnSpc>
                <a:tabLst>
                  <a:tab pos="575945" algn="l"/>
                </a:tabLst>
              </a:pPr>
              <a:r>
                <a:rPr lang="it-IT" sz="2000" b="1" spc="-5" dirty="0">
                  <a:solidFill>
                    <a:srgbClr val="FFFFFF"/>
                  </a:solidFill>
                  <a:latin typeface="Arial"/>
                  <a:cs typeface="Arial"/>
                </a:rPr>
                <a:t>6</a:t>
              </a:r>
              <a:r>
                <a:rPr sz="2400" b="1" spc="-5" dirty="0">
                  <a:solidFill>
                    <a:srgbClr val="FFFFFF"/>
                  </a:solidFill>
                  <a:latin typeface="Arial"/>
                  <a:cs typeface="Arial"/>
                </a:rPr>
                <a:t>	</a:t>
              </a:r>
              <a:r>
                <a:rPr lang="en-US" sz="1600" spc="-10" dirty="0">
                  <a:cs typeface="Arial"/>
                </a:rPr>
                <a:t>Global Partnership</a:t>
              </a:r>
              <a:endParaRPr sz="1600" spc="-10" dirty="0">
                <a:latin typeface="Arial"/>
                <a:cs typeface="Arial"/>
              </a:endParaRPr>
            </a:p>
          </p:txBody>
        </p:sp>
        <p:sp>
          <p:nvSpPr>
            <p:cNvPr id="32" name="object 4">
              <a:extLst>
                <a:ext uri="{FF2B5EF4-FFF2-40B4-BE49-F238E27FC236}">
                  <a16:creationId xmlns:a16="http://schemas.microsoft.com/office/drawing/2014/main" id="{C06F2CB3-480C-4A0A-B658-70C4569EE028}"/>
                </a:ext>
              </a:extLst>
            </p:cNvPr>
            <p:cNvSpPr>
              <a:spLocks noChangeAspect="1"/>
            </p:cNvSpPr>
            <p:nvPr/>
          </p:nvSpPr>
          <p:spPr>
            <a:xfrm>
              <a:off x="795937" y="3921579"/>
              <a:ext cx="360000" cy="350016"/>
            </a:xfrm>
            <a:custGeom>
              <a:avLst/>
              <a:gdLst/>
              <a:ahLst/>
              <a:cxnLst/>
              <a:rect l="l" t="t" r="r" b="b"/>
              <a:pathLst>
                <a:path w="497205" h="498475">
                  <a:moveTo>
                    <a:pt x="248411" y="0"/>
                  </a:moveTo>
                  <a:lnTo>
                    <a:pt x="203758" y="4012"/>
                  </a:lnTo>
                  <a:lnTo>
                    <a:pt x="161731" y="15582"/>
                  </a:lnTo>
                  <a:lnTo>
                    <a:pt x="123031" y="34007"/>
                  </a:lnTo>
                  <a:lnTo>
                    <a:pt x="88361" y="58585"/>
                  </a:lnTo>
                  <a:lnTo>
                    <a:pt x="58422" y="88612"/>
                  </a:lnTo>
                  <a:lnTo>
                    <a:pt x="33914" y="123387"/>
                  </a:lnTo>
                  <a:lnTo>
                    <a:pt x="15540" y="162207"/>
                  </a:lnTo>
                  <a:lnTo>
                    <a:pt x="4002" y="204370"/>
                  </a:lnTo>
                  <a:lnTo>
                    <a:pt x="0" y="249174"/>
                  </a:lnTo>
                  <a:lnTo>
                    <a:pt x="4002" y="293977"/>
                  </a:lnTo>
                  <a:lnTo>
                    <a:pt x="15540" y="336140"/>
                  </a:lnTo>
                  <a:lnTo>
                    <a:pt x="33914" y="374960"/>
                  </a:lnTo>
                  <a:lnTo>
                    <a:pt x="58422" y="409735"/>
                  </a:lnTo>
                  <a:lnTo>
                    <a:pt x="88361" y="439762"/>
                  </a:lnTo>
                  <a:lnTo>
                    <a:pt x="123031" y="464340"/>
                  </a:lnTo>
                  <a:lnTo>
                    <a:pt x="161731" y="482765"/>
                  </a:lnTo>
                  <a:lnTo>
                    <a:pt x="203758" y="494335"/>
                  </a:lnTo>
                  <a:lnTo>
                    <a:pt x="248411" y="498348"/>
                  </a:lnTo>
                  <a:lnTo>
                    <a:pt x="293065" y="494335"/>
                  </a:lnTo>
                  <a:lnTo>
                    <a:pt x="335092" y="482765"/>
                  </a:lnTo>
                  <a:lnTo>
                    <a:pt x="373792" y="464340"/>
                  </a:lnTo>
                  <a:lnTo>
                    <a:pt x="408462" y="439762"/>
                  </a:lnTo>
                  <a:lnTo>
                    <a:pt x="438401" y="409735"/>
                  </a:lnTo>
                  <a:lnTo>
                    <a:pt x="462909" y="374960"/>
                  </a:lnTo>
                  <a:lnTo>
                    <a:pt x="481283" y="336140"/>
                  </a:lnTo>
                  <a:lnTo>
                    <a:pt x="492821" y="293977"/>
                  </a:lnTo>
                  <a:lnTo>
                    <a:pt x="496823" y="249174"/>
                  </a:lnTo>
                  <a:lnTo>
                    <a:pt x="492821" y="204370"/>
                  </a:lnTo>
                  <a:lnTo>
                    <a:pt x="481283" y="162207"/>
                  </a:lnTo>
                  <a:lnTo>
                    <a:pt x="462909" y="123387"/>
                  </a:lnTo>
                  <a:lnTo>
                    <a:pt x="438401" y="88612"/>
                  </a:lnTo>
                  <a:lnTo>
                    <a:pt x="408462" y="58585"/>
                  </a:lnTo>
                  <a:lnTo>
                    <a:pt x="373792" y="34007"/>
                  </a:lnTo>
                  <a:lnTo>
                    <a:pt x="335092" y="15582"/>
                  </a:lnTo>
                  <a:lnTo>
                    <a:pt x="293065" y="4012"/>
                  </a:lnTo>
                  <a:lnTo>
                    <a:pt x="248411" y="0"/>
                  </a:lnTo>
                  <a:close/>
                </a:path>
              </a:pathLst>
            </a:custGeom>
            <a:solidFill>
              <a:srgbClr val="3E5265"/>
            </a:solidFill>
          </p:spPr>
          <p:txBody>
            <a:bodyPr wrap="square" lIns="0" tIns="0" rIns="0" bIns="0" rtlCol="0" anchor="ctr" anchorCtr="0"/>
            <a:lstStyle/>
            <a:p>
              <a:pPr algn="ctr"/>
              <a:r>
                <a:rPr lang="it-IT" sz="1600" b="1" dirty="0">
                  <a:solidFill>
                    <a:schemeClr val="bg1"/>
                  </a:solidFill>
                </a:rPr>
                <a:t>6</a:t>
              </a:r>
              <a:endParaRPr sz="1600" b="1" dirty="0">
                <a:solidFill>
                  <a:schemeClr val="bg1"/>
                </a:solidFill>
              </a:endParaRPr>
            </a:p>
          </p:txBody>
        </p:sp>
      </p:grpSp>
    </p:spTree>
    <p:extLst>
      <p:ext uri="{BB962C8B-B14F-4D97-AF65-F5344CB8AC3E}">
        <p14:creationId xmlns:p14="http://schemas.microsoft.com/office/powerpoint/2010/main" val="27943913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4">
            <a:extLst>
              <a:ext uri="{FF2B5EF4-FFF2-40B4-BE49-F238E27FC236}">
                <a16:creationId xmlns:a16="http://schemas.microsoft.com/office/drawing/2014/main" id="{6C869143-6E28-4943-BE17-96F97E969E4B}"/>
              </a:ext>
            </a:extLst>
          </p:cNvPr>
          <p:cNvSpPr>
            <a:spLocks noGrp="1"/>
          </p:cNvSpPr>
          <p:nvPr>
            <p:ph type="body" idx="13"/>
          </p:nvPr>
        </p:nvSpPr>
        <p:spPr>
          <a:xfrm>
            <a:off x="250825" y="268289"/>
            <a:ext cx="7514201" cy="279854"/>
          </a:xfrm>
        </p:spPr>
        <p:txBody>
          <a:bodyPr/>
          <a:lstStyle/>
          <a:p>
            <a:r>
              <a:rPr lang="it-IT" dirty="0"/>
              <a:t>Gli impegni internazionali</a:t>
            </a:r>
          </a:p>
        </p:txBody>
      </p:sp>
      <p:sp>
        <p:nvSpPr>
          <p:cNvPr id="32" name="Segnaposto numero diapositiva 3">
            <a:extLst>
              <a:ext uri="{FF2B5EF4-FFF2-40B4-BE49-F238E27FC236}">
                <a16:creationId xmlns:a16="http://schemas.microsoft.com/office/drawing/2014/main" id="{8E062D89-1FC3-42B6-99CC-9FD85876B28B}"/>
              </a:ext>
            </a:extLst>
          </p:cNvPr>
          <p:cNvSpPr>
            <a:spLocks noGrp="1"/>
          </p:cNvSpPr>
          <p:nvPr>
            <p:ph type="sldNum" sz="quarter" idx="12"/>
          </p:nvPr>
        </p:nvSpPr>
        <p:spPr>
          <a:xfrm>
            <a:off x="250825" y="4772631"/>
            <a:ext cx="1008062" cy="183687"/>
          </a:xfrm>
        </p:spPr>
        <p:txBody>
          <a:bodyPr/>
          <a:lstStyle/>
          <a:p>
            <a:fld id="{608DA0FE-9C19-F746-8419-6700E348BF78}" type="slidenum">
              <a:rPr lang="it-IT" smtClean="0"/>
              <a:pPr/>
              <a:t>7</a:t>
            </a:fld>
            <a:endParaRPr lang="it-IT" dirty="0"/>
          </a:p>
        </p:txBody>
      </p:sp>
      <p:sp>
        <p:nvSpPr>
          <p:cNvPr id="2" name="Rettangolo 1">
            <a:extLst>
              <a:ext uri="{FF2B5EF4-FFF2-40B4-BE49-F238E27FC236}">
                <a16:creationId xmlns:a16="http://schemas.microsoft.com/office/drawing/2014/main" id="{EFD0A676-964F-45EE-AD8F-9579142F0D8D}"/>
              </a:ext>
            </a:extLst>
          </p:cNvPr>
          <p:cNvSpPr/>
          <p:nvPr/>
        </p:nvSpPr>
        <p:spPr>
          <a:xfrm>
            <a:off x="153722" y="711144"/>
            <a:ext cx="8745380" cy="784895"/>
          </a:xfrm>
          <a:prstGeom prst="rect">
            <a:avLst/>
          </a:prstGeom>
        </p:spPr>
        <p:txBody>
          <a:bodyPr wrap="square">
            <a:spAutoFit/>
          </a:bodyPr>
          <a:lstStyle/>
          <a:p>
            <a:pPr algn="just">
              <a:lnSpc>
                <a:spcPct val="110000"/>
              </a:lnSpc>
            </a:pPr>
            <a:r>
              <a:rPr lang="it-IT" sz="1400" dirty="0">
                <a:solidFill>
                  <a:srgbClr val="415064"/>
                </a:solidFill>
              </a:rPr>
              <a:t>L’impegno di un’Istituzione come CDP sia a livello nazionale, sia nella sua proiezione internazionale come Istituzione Finanziaria per la Cooperazione allo Sviluppo, si incardina sugli obiettivi di lungo periodo fissati a livello globale</a:t>
            </a:r>
          </a:p>
        </p:txBody>
      </p:sp>
      <p:sp>
        <p:nvSpPr>
          <p:cNvPr id="121" name="object 3">
            <a:extLst>
              <a:ext uri="{FF2B5EF4-FFF2-40B4-BE49-F238E27FC236}">
                <a16:creationId xmlns:a16="http://schemas.microsoft.com/office/drawing/2014/main" id="{9CF493F7-6E04-4E69-B2C8-41E0885787D5}"/>
              </a:ext>
            </a:extLst>
          </p:cNvPr>
          <p:cNvSpPr/>
          <p:nvPr/>
        </p:nvSpPr>
        <p:spPr>
          <a:xfrm>
            <a:off x="0" y="1550250"/>
            <a:ext cx="9144000" cy="3639503"/>
          </a:xfrm>
          <a:custGeom>
            <a:avLst/>
            <a:gdLst/>
            <a:ahLst/>
            <a:cxnLst/>
            <a:rect l="l" t="t" r="r" b="b"/>
            <a:pathLst>
              <a:path w="12192000" h="4852670">
                <a:moveTo>
                  <a:pt x="12191999" y="0"/>
                </a:moveTo>
                <a:lnTo>
                  <a:pt x="0" y="0"/>
                </a:lnTo>
                <a:lnTo>
                  <a:pt x="0" y="4852413"/>
                </a:lnTo>
                <a:lnTo>
                  <a:pt x="12191999" y="4852413"/>
                </a:lnTo>
                <a:lnTo>
                  <a:pt x="12191999" y="0"/>
                </a:lnTo>
                <a:close/>
              </a:path>
            </a:pathLst>
          </a:custGeom>
          <a:solidFill>
            <a:srgbClr val="F4F4F4"/>
          </a:solidFill>
        </p:spPr>
        <p:txBody>
          <a:bodyPr wrap="square" lIns="0" tIns="0" rIns="0" bIns="0" rtlCol="0"/>
          <a:lstStyle/>
          <a:p>
            <a:endParaRPr sz="918" dirty="0"/>
          </a:p>
        </p:txBody>
      </p:sp>
      <p:sp>
        <p:nvSpPr>
          <p:cNvPr id="125" name="object 7">
            <a:extLst>
              <a:ext uri="{FF2B5EF4-FFF2-40B4-BE49-F238E27FC236}">
                <a16:creationId xmlns:a16="http://schemas.microsoft.com/office/drawing/2014/main" id="{2451B7FE-832E-453B-9DF5-F1087509AEDD}"/>
              </a:ext>
            </a:extLst>
          </p:cNvPr>
          <p:cNvSpPr txBox="1"/>
          <p:nvPr/>
        </p:nvSpPr>
        <p:spPr>
          <a:xfrm>
            <a:off x="241673" y="1588020"/>
            <a:ext cx="6616327" cy="453810"/>
          </a:xfrm>
          <a:prstGeom prst="rect">
            <a:avLst/>
          </a:prstGeom>
        </p:spPr>
        <p:txBody>
          <a:bodyPr vert="horz" wrap="square" lIns="0" tIns="10001" rIns="0" bIns="0" rtlCol="0">
            <a:spAutoFit/>
          </a:bodyPr>
          <a:lstStyle/>
          <a:p>
            <a:pPr marL="9525">
              <a:spcBef>
                <a:spcPts val="79"/>
              </a:spcBef>
            </a:pPr>
            <a:r>
              <a:rPr lang="it-IT" sz="1400" b="1" dirty="0">
                <a:solidFill>
                  <a:srgbClr val="001547"/>
                </a:solidFill>
                <a:latin typeface="+mj-lt"/>
                <a:cs typeface="Arial"/>
              </a:rPr>
              <a:t>Agenda ONU 2030 </a:t>
            </a:r>
            <a:r>
              <a:rPr lang="it-IT" sz="1400" dirty="0">
                <a:solidFill>
                  <a:srgbClr val="001547"/>
                </a:solidFill>
                <a:latin typeface="+mj-lt"/>
                <a:cs typeface="Arial"/>
              </a:rPr>
              <a:t>– </a:t>
            </a:r>
            <a:r>
              <a:rPr lang="it-IT" sz="1400" spc="-4" dirty="0">
                <a:solidFill>
                  <a:srgbClr val="001547"/>
                </a:solidFill>
                <a:latin typeface="+mj-lt"/>
                <a:cs typeface="Arial"/>
              </a:rPr>
              <a:t>17 Obiettivi </a:t>
            </a:r>
            <a:r>
              <a:rPr lang="it-IT" sz="1400" dirty="0">
                <a:solidFill>
                  <a:srgbClr val="001547"/>
                </a:solidFill>
                <a:latin typeface="+mj-lt"/>
                <a:cs typeface="Arial"/>
              </a:rPr>
              <a:t>di Sviluppo Sostenibile (</a:t>
            </a:r>
            <a:r>
              <a:rPr lang="it-IT" sz="1400" dirty="0" err="1">
                <a:solidFill>
                  <a:srgbClr val="001547"/>
                </a:solidFill>
                <a:latin typeface="+mj-lt"/>
                <a:cs typeface="Arial"/>
              </a:rPr>
              <a:t>SDGs</a:t>
            </a:r>
            <a:r>
              <a:rPr lang="it-IT" sz="1400" dirty="0">
                <a:solidFill>
                  <a:srgbClr val="001547"/>
                </a:solidFill>
                <a:latin typeface="+mj-lt"/>
                <a:cs typeface="Arial"/>
              </a:rPr>
              <a:t>)</a:t>
            </a:r>
            <a:endParaRPr lang="it-IT" sz="1400" dirty="0">
              <a:latin typeface="+mj-lt"/>
              <a:cs typeface="Arial"/>
            </a:endParaRPr>
          </a:p>
          <a:p>
            <a:pPr marL="9525">
              <a:spcBef>
                <a:spcPts val="79"/>
              </a:spcBef>
            </a:pPr>
            <a:endParaRPr sz="1400" dirty="0">
              <a:latin typeface="+mj-lt"/>
              <a:cs typeface="Arial"/>
            </a:endParaRPr>
          </a:p>
        </p:txBody>
      </p:sp>
      <p:sp>
        <p:nvSpPr>
          <p:cNvPr id="19" name="Rectangle 2">
            <a:extLst>
              <a:ext uri="{FF2B5EF4-FFF2-40B4-BE49-F238E27FC236}">
                <a16:creationId xmlns:a16="http://schemas.microsoft.com/office/drawing/2014/main" id="{6E648845-3953-471C-9667-DAE4AB821059}"/>
              </a:ext>
            </a:extLst>
          </p:cNvPr>
          <p:cNvSpPr>
            <a:spLocks/>
          </p:cNvSpPr>
          <p:nvPr/>
        </p:nvSpPr>
        <p:spPr>
          <a:xfrm>
            <a:off x="1" y="3"/>
            <a:ext cx="9143999" cy="163396"/>
          </a:xfrm>
          <a:prstGeom prst="rect">
            <a:avLst/>
          </a:prstGeom>
          <a:solidFill>
            <a:srgbClr val="415064"/>
          </a:solidFill>
          <a:ln w="9525" cap="flat" cmpd="sng" algn="ctr">
            <a:noFill/>
            <a:prstDash val="solid"/>
          </a:ln>
          <a:effectLst/>
        </p:spPr>
        <p:txBody>
          <a:bodyPr rot="0" spcFirstLastPara="0" vert="horz" wrap="square" lIns="121920" tIns="60960" rIns="121920" bIns="6096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224" kern="1200">
                <a:solidFill>
                  <a:schemeClr val="lt1"/>
                </a:solidFill>
                <a:latin typeface="+mn-lt"/>
                <a:ea typeface="+mn-ea"/>
                <a:cs typeface="+mn-cs"/>
              </a:defRPr>
            </a:lvl1pPr>
            <a:lvl2pPr marL="349849" algn="l" rtl="0" fontAlgn="base">
              <a:spcBef>
                <a:spcPct val="0"/>
              </a:spcBef>
              <a:spcAft>
                <a:spcPct val="0"/>
              </a:spcAft>
              <a:defRPr sz="1224" kern="1200">
                <a:solidFill>
                  <a:schemeClr val="lt1"/>
                </a:solidFill>
                <a:latin typeface="+mn-lt"/>
                <a:ea typeface="+mn-ea"/>
                <a:cs typeface="+mn-cs"/>
              </a:defRPr>
            </a:lvl2pPr>
            <a:lvl3pPr marL="699699" algn="l" rtl="0" fontAlgn="base">
              <a:spcBef>
                <a:spcPct val="0"/>
              </a:spcBef>
              <a:spcAft>
                <a:spcPct val="0"/>
              </a:spcAft>
              <a:defRPr sz="1224" kern="1200">
                <a:solidFill>
                  <a:schemeClr val="lt1"/>
                </a:solidFill>
                <a:latin typeface="+mn-lt"/>
                <a:ea typeface="+mn-ea"/>
                <a:cs typeface="+mn-cs"/>
              </a:defRPr>
            </a:lvl3pPr>
            <a:lvl4pPr marL="1049548" algn="l" rtl="0" fontAlgn="base">
              <a:spcBef>
                <a:spcPct val="0"/>
              </a:spcBef>
              <a:spcAft>
                <a:spcPct val="0"/>
              </a:spcAft>
              <a:defRPr sz="1224" kern="1200">
                <a:solidFill>
                  <a:schemeClr val="lt1"/>
                </a:solidFill>
                <a:latin typeface="+mn-lt"/>
                <a:ea typeface="+mn-ea"/>
                <a:cs typeface="+mn-cs"/>
              </a:defRPr>
            </a:lvl4pPr>
            <a:lvl5pPr marL="1399398" algn="l" rtl="0" fontAlgn="base">
              <a:spcBef>
                <a:spcPct val="0"/>
              </a:spcBef>
              <a:spcAft>
                <a:spcPct val="0"/>
              </a:spcAft>
              <a:defRPr sz="1224" kern="1200">
                <a:solidFill>
                  <a:schemeClr val="lt1"/>
                </a:solidFill>
                <a:latin typeface="+mn-lt"/>
                <a:ea typeface="+mn-ea"/>
                <a:cs typeface="+mn-cs"/>
              </a:defRPr>
            </a:lvl5pPr>
            <a:lvl6pPr marL="1749247" algn="l" defTabSz="699699" rtl="0" eaLnBrk="1" latinLnBrk="0" hangingPunct="1">
              <a:defRPr sz="1224" kern="1200">
                <a:solidFill>
                  <a:schemeClr val="lt1"/>
                </a:solidFill>
                <a:latin typeface="+mn-lt"/>
                <a:ea typeface="+mn-ea"/>
                <a:cs typeface="+mn-cs"/>
              </a:defRPr>
            </a:lvl6pPr>
            <a:lvl7pPr marL="2099097" algn="l" defTabSz="699699" rtl="0" eaLnBrk="1" latinLnBrk="0" hangingPunct="1">
              <a:defRPr sz="1224" kern="1200">
                <a:solidFill>
                  <a:schemeClr val="lt1"/>
                </a:solidFill>
                <a:latin typeface="+mn-lt"/>
                <a:ea typeface="+mn-ea"/>
                <a:cs typeface="+mn-cs"/>
              </a:defRPr>
            </a:lvl7pPr>
            <a:lvl8pPr marL="2448946" algn="l" defTabSz="699699" rtl="0" eaLnBrk="1" latinLnBrk="0" hangingPunct="1">
              <a:defRPr sz="1224" kern="1200">
                <a:solidFill>
                  <a:schemeClr val="lt1"/>
                </a:solidFill>
                <a:latin typeface="+mn-lt"/>
                <a:ea typeface="+mn-ea"/>
                <a:cs typeface="+mn-cs"/>
              </a:defRPr>
            </a:lvl8pPr>
            <a:lvl9pPr marL="2798796" algn="l" defTabSz="699699" rtl="0" eaLnBrk="1" latinLnBrk="0" hangingPunct="1">
              <a:defRPr sz="1224" kern="1200">
                <a:solidFill>
                  <a:schemeClr val="lt1"/>
                </a:solidFill>
                <a:latin typeface="+mn-lt"/>
                <a:ea typeface="+mn-ea"/>
                <a:cs typeface="+mn-cs"/>
              </a:defRPr>
            </a:lvl9pPr>
          </a:lstStyle>
          <a:p>
            <a:pPr defTabSz="1219079">
              <a:defRPr/>
            </a:pPr>
            <a:r>
              <a:rPr lang="it-IT" sz="1000" b="1" dirty="0">
                <a:solidFill>
                  <a:srgbClr val="FFFFFF"/>
                </a:solidFill>
                <a:latin typeface="Arial"/>
              </a:rPr>
              <a:t>Il contesto di riferimento </a:t>
            </a:r>
            <a:endParaRPr lang="it-IT" sz="1000" b="1" i="1" dirty="0">
              <a:solidFill>
                <a:srgbClr val="FFFFFF"/>
              </a:solidFill>
              <a:latin typeface="Arial"/>
            </a:endParaRPr>
          </a:p>
        </p:txBody>
      </p:sp>
      <p:sp>
        <p:nvSpPr>
          <p:cNvPr id="20" name="Segnaposto numero diapositiva 3">
            <a:extLst>
              <a:ext uri="{FF2B5EF4-FFF2-40B4-BE49-F238E27FC236}">
                <a16:creationId xmlns:a16="http://schemas.microsoft.com/office/drawing/2014/main" id="{D26B9CCE-AE4F-42B2-A0DD-42BB6864C2B3}"/>
              </a:ext>
            </a:extLst>
          </p:cNvPr>
          <p:cNvSpPr txBox="1">
            <a:spLocks/>
          </p:cNvSpPr>
          <p:nvPr/>
        </p:nvSpPr>
        <p:spPr>
          <a:xfrm>
            <a:off x="403225" y="4875793"/>
            <a:ext cx="1008062" cy="183687"/>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608DA0FE-9C19-F746-8419-6700E348BF78}" type="slidenum">
              <a:rPr lang="it-IT" smtClean="0"/>
              <a:pPr/>
              <a:t>7</a:t>
            </a:fld>
            <a:endParaRPr lang="it-IT" dirty="0"/>
          </a:p>
        </p:txBody>
      </p:sp>
      <p:sp>
        <p:nvSpPr>
          <p:cNvPr id="21" name="object 7">
            <a:extLst>
              <a:ext uri="{FF2B5EF4-FFF2-40B4-BE49-F238E27FC236}">
                <a16:creationId xmlns:a16="http://schemas.microsoft.com/office/drawing/2014/main" id="{4103739E-C3DD-4EEA-A045-493D0423BFE4}"/>
              </a:ext>
            </a:extLst>
          </p:cNvPr>
          <p:cNvSpPr txBox="1"/>
          <p:nvPr/>
        </p:nvSpPr>
        <p:spPr>
          <a:xfrm>
            <a:off x="250388" y="2519595"/>
            <a:ext cx="3492121" cy="225542"/>
          </a:xfrm>
          <a:prstGeom prst="rect">
            <a:avLst/>
          </a:prstGeom>
        </p:spPr>
        <p:txBody>
          <a:bodyPr vert="horz" wrap="square" lIns="0" tIns="10001" rIns="0" bIns="0" rtlCol="0">
            <a:spAutoFit/>
          </a:bodyPr>
          <a:lstStyle/>
          <a:p>
            <a:pPr marL="9525">
              <a:spcBef>
                <a:spcPts val="79"/>
              </a:spcBef>
            </a:pPr>
            <a:r>
              <a:rPr lang="it-IT" sz="1400" b="1" dirty="0">
                <a:solidFill>
                  <a:srgbClr val="001547"/>
                </a:solidFill>
                <a:latin typeface="Arial"/>
                <a:cs typeface="Arial"/>
              </a:rPr>
              <a:t>COP 21 </a:t>
            </a:r>
            <a:r>
              <a:rPr lang="it-IT" sz="1400" dirty="0">
                <a:solidFill>
                  <a:srgbClr val="001547"/>
                </a:solidFill>
                <a:latin typeface="Arial"/>
                <a:cs typeface="Arial"/>
              </a:rPr>
              <a:t>–</a:t>
            </a:r>
            <a:r>
              <a:rPr lang="it-IT" sz="1400" b="1" dirty="0">
                <a:solidFill>
                  <a:srgbClr val="001547"/>
                </a:solidFill>
                <a:latin typeface="Arial"/>
                <a:cs typeface="Arial"/>
              </a:rPr>
              <a:t> </a:t>
            </a:r>
            <a:r>
              <a:rPr lang="it-IT" sz="1400" dirty="0">
                <a:solidFill>
                  <a:srgbClr val="001547"/>
                </a:solidFill>
                <a:latin typeface="Arial"/>
                <a:cs typeface="Arial"/>
              </a:rPr>
              <a:t>Accordo di Parigi sul clima</a:t>
            </a:r>
            <a:endParaRPr sz="1400" dirty="0">
              <a:latin typeface="Arial"/>
              <a:cs typeface="Arial"/>
            </a:endParaRPr>
          </a:p>
        </p:txBody>
      </p:sp>
      <p:sp>
        <p:nvSpPr>
          <p:cNvPr id="11" name="object 7">
            <a:extLst>
              <a:ext uri="{FF2B5EF4-FFF2-40B4-BE49-F238E27FC236}">
                <a16:creationId xmlns:a16="http://schemas.microsoft.com/office/drawing/2014/main" id="{D93AD2F2-BE46-40B4-A10D-EB6E1E63C364}"/>
              </a:ext>
            </a:extLst>
          </p:cNvPr>
          <p:cNvSpPr txBox="1"/>
          <p:nvPr/>
        </p:nvSpPr>
        <p:spPr>
          <a:xfrm>
            <a:off x="252572" y="3576847"/>
            <a:ext cx="8640604" cy="225542"/>
          </a:xfrm>
          <a:prstGeom prst="rect">
            <a:avLst/>
          </a:prstGeom>
        </p:spPr>
        <p:txBody>
          <a:bodyPr vert="horz" wrap="square" lIns="0" tIns="10001" rIns="0" bIns="0" rtlCol="0">
            <a:spAutoFit/>
          </a:bodyPr>
          <a:lstStyle/>
          <a:p>
            <a:pPr marL="9525">
              <a:spcBef>
                <a:spcPts val="79"/>
              </a:spcBef>
            </a:pPr>
            <a:r>
              <a:rPr lang="it-IT" sz="1400" b="1" dirty="0">
                <a:solidFill>
                  <a:srgbClr val="001547"/>
                </a:solidFill>
                <a:cs typeface="Arial"/>
              </a:rPr>
              <a:t>Addis </a:t>
            </a:r>
            <a:r>
              <a:rPr lang="it-IT" sz="1400" b="1" dirty="0" err="1">
                <a:solidFill>
                  <a:srgbClr val="001547"/>
                </a:solidFill>
                <a:cs typeface="Arial"/>
              </a:rPr>
              <a:t>Ababa</a:t>
            </a:r>
            <a:r>
              <a:rPr lang="it-IT" sz="1400" b="1" dirty="0">
                <a:solidFill>
                  <a:srgbClr val="001547"/>
                </a:solidFill>
                <a:cs typeface="Arial"/>
              </a:rPr>
              <a:t> Action Agenda 2015 (AAAA) </a:t>
            </a:r>
            <a:r>
              <a:rPr lang="it-IT" sz="1400" dirty="0">
                <a:solidFill>
                  <a:srgbClr val="001547"/>
                </a:solidFill>
                <a:cs typeface="Arial"/>
              </a:rPr>
              <a:t>–</a:t>
            </a:r>
            <a:r>
              <a:rPr lang="it-IT" sz="1400" b="1" dirty="0">
                <a:solidFill>
                  <a:srgbClr val="001547"/>
                </a:solidFill>
                <a:cs typeface="Arial"/>
              </a:rPr>
              <a:t> </a:t>
            </a:r>
            <a:r>
              <a:rPr lang="it-IT" sz="1400" dirty="0">
                <a:solidFill>
                  <a:srgbClr val="001547"/>
                </a:solidFill>
                <a:cs typeface="Arial"/>
              </a:rPr>
              <a:t>Un quadro globale per il finanziamento dello sviluppo</a:t>
            </a:r>
            <a:endParaRPr sz="1400" dirty="0">
              <a:latin typeface="Arial"/>
              <a:cs typeface="Arial"/>
            </a:endParaRPr>
          </a:p>
        </p:txBody>
      </p:sp>
      <p:pic>
        <p:nvPicPr>
          <p:cNvPr id="3" name="Immagine 2">
            <a:extLst>
              <a:ext uri="{FF2B5EF4-FFF2-40B4-BE49-F238E27FC236}">
                <a16:creationId xmlns:a16="http://schemas.microsoft.com/office/drawing/2014/main" id="{73168348-D87B-4511-B1C7-E3ED56B79F08}"/>
              </a:ext>
            </a:extLst>
          </p:cNvPr>
          <p:cNvPicPr>
            <a:picLocks noChangeAspect="1"/>
          </p:cNvPicPr>
          <p:nvPr/>
        </p:nvPicPr>
        <p:blipFill>
          <a:blip r:embed="rId3"/>
          <a:stretch>
            <a:fillRect/>
          </a:stretch>
        </p:blipFill>
        <p:spPr>
          <a:xfrm>
            <a:off x="250388" y="1867014"/>
            <a:ext cx="8640000" cy="514681"/>
          </a:xfrm>
          <a:prstGeom prst="rect">
            <a:avLst/>
          </a:prstGeom>
        </p:spPr>
      </p:pic>
      <p:pic>
        <p:nvPicPr>
          <p:cNvPr id="7" name="Immagine 6">
            <a:extLst>
              <a:ext uri="{FF2B5EF4-FFF2-40B4-BE49-F238E27FC236}">
                <a16:creationId xmlns:a16="http://schemas.microsoft.com/office/drawing/2014/main" id="{A9A30892-8A4D-453E-A7A1-A9B372F8D629}"/>
              </a:ext>
            </a:extLst>
          </p:cNvPr>
          <p:cNvPicPr>
            <a:picLocks noChangeAspect="1"/>
          </p:cNvPicPr>
          <p:nvPr/>
        </p:nvPicPr>
        <p:blipFill>
          <a:blip r:embed="rId4"/>
          <a:stretch>
            <a:fillRect/>
          </a:stretch>
        </p:blipFill>
        <p:spPr>
          <a:xfrm>
            <a:off x="252572" y="2791034"/>
            <a:ext cx="684000" cy="684000"/>
          </a:xfrm>
          <a:prstGeom prst="rect">
            <a:avLst/>
          </a:prstGeom>
        </p:spPr>
      </p:pic>
      <p:sp>
        <p:nvSpPr>
          <p:cNvPr id="8" name="Rettangolo 7">
            <a:extLst>
              <a:ext uri="{FF2B5EF4-FFF2-40B4-BE49-F238E27FC236}">
                <a16:creationId xmlns:a16="http://schemas.microsoft.com/office/drawing/2014/main" id="{EB69F82D-D589-4D9A-BCE6-E50B7C2DCB66}"/>
              </a:ext>
            </a:extLst>
          </p:cNvPr>
          <p:cNvSpPr/>
          <p:nvPr/>
        </p:nvSpPr>
        <p:spPr>
          <a:xfrm>
            <a:off x="936571" y="2821792"/>
            <a:ext cx="7962531" cy="686022"/>
          </a:xfrm>
          <a:prstGeom prst="rect">
            <a:avLst/>
          </a:prstGeom>
        </p:spPr>
        <p:txBody>
          <a:bodyPr wrap="square">
            <a:spAutoFit/>
          </a:bodyPr>
          <a:lstStyle/>
          <a:p>
            <a:pPr algn="just">
              <a:lnSpc>
                <a:spcPct val="110000"/>
              </a:lnSpc>
            </a:pPr>
            <a:r>
              <a:rPr lang="it-IT" sz="1200" dirty="0">
                <a:latin typeface="+mj-lt"/>
              </a:rPr>
              <a:t>Contenere l'aumento medio della temperatura mondiale ben al di sotto di 2°C rispetto ai livelli preindustriali come obiettivo a lungo termine e intensificare gli sforzi per limitare tale incremento a 1,5°C, dato che ciò ridurrebbe in misura significativa i rischi e gli impatti dei cambiamenti climatici</a:t>
            </a:r>
          </a:p>
        </p:txBody>
      </p:sp>
      <p:pic>
        <p:nvPicPr>
          <p:cNvPr id="9" name="Immagine 8">
            <a:extLst>
              <a:ext uri="{FF2B5EF4-FFF2-40B4-BE49-F238E27FC236}">
                <a16:creationId xmlns:a16="http://schemas.microsoft.com/office/drawing/2014/main" id="{F74CCA12-2982-4820-9DFE-AFEFD3CD4B9B}"/>
              </a:ext>
            </a:extLst>
          </p:cNvPr>
          <p:cNvPicPr>
            <a:picLocks noChangeAspect="1"/>
          </p:cNvPicPr>
          <p:nvPr/>
        </p:nvPicPr>
        <p:blipFill>
          <a:blip r:embed="rId5"/>
          <a:stretch>
            <a:fillRect/>
          </a:stretch>
        </p:blipFill>
        <p:spPr>
          <a:xfrm>
            <a:off x="259606" y="3841227"/>
            <a:ext cx="1684960" cy="1000570"/>
          </a:xfrm>
          <a:prstGeom prst="rect">
            <a:avLst/>
          </a:prstGeom>
        </p:spPr>
      </p:pic>
      <p:sp>
        <p:nvSpPr>
          <p:cNvPr id="10" name="Rettangolo 9">
            <a:extLst>
              <a:ext uri="{FF2B5EF4-FFF2-40B4-BE49-F238E27FC236}">
                <a16:creationId xmlns:a16="http://schemas.microsoft.com/office/drawing/2014/main" id="{90646BE1-4A3D-4655-AACC-6C87BF1D3EF1}"/>
              </a:ext>
            </a:extLst>
          </p:cNvPr>
          <p:cNvSpPr/>
          <p:nvPr/>
        </p:nvSpPr>
        <p:spPr>
          <a:xfrm>
            <a:off x="1944566" y="3829167"/>
            <a:ext cx="6945822" cy="1092287"/>
          </a:xfrm>
          <a:prstGeom prst="rect">
            <a:avLst/>
          </a:prstGeom>
        </p:spPr>
        <p:txBody>
          <a:bodyPr wrap="square">
            <a:spAutoFit/>
          </a:bodyPr>
          <a:lstStyle/>
          <a:p>
            <a:pPr algn="just">
              <a:lnSpc>
                <a:spcPct val="110000"/>
              </a:lnSpc>
            </a:pPr>
            <a:r>
              <a:rPr lang="it-IT" sz="1200" dirty="0">
                <a:latin typeface="+mj-lt"/>
              </a:rPr>
              <a:t>I Paesi attivi nell’erogazione di Aiuti Pubblici allo Sviluppo (APS) ribadiscono l’impegno di lungo periodo a raggiungere:</a:t>
            </a:r>
          </a:p>
          <a:p>
            <a:pPr marL="171450" indent="-171450" algn="just">
              <a:lnSpc>
                <a:spcPct val="110000"/>
              </a:lnSpc>
              <a:buFont typeface="Arial" panose="020B0604020202020204" pitchFamily="34" charset="0"/>
              <a:buChar char="•"/>
            </a:pPr>
            <a:r>
              <a:rPr lang="it-IT" sz="1200" dirty="0">
                <a:latin typeface="+mj-lt"/>
              </a:rPr>
              <a:t>un rapporto APS / Reddito Nazionale Lordo (RNL) pari allo </a:t>
            </a:r>
            <a:r>
              <a:rPr lang="it-IT" sz="1200" b="1" dirty="0">
                <a:latin typeface="+mj-lt"/>
              </a:rPr>
              <a:t>0,7%</a:t>
            </a:r>
            <a:r>
              <a:rPr lang="it-IT" sz="1200" dirty="0">
                <a:latin typeface="+mj-lt"/>
              </a:rPr>
              <a:t> </a:t>
            </a:r>
          </a:p>
          <a:p>
            <a:pPr marL="171450" indent="-171450" algn="just">
              <a:lnSpc>
                <a:spcPct val="110000"/>
              </a:lnSpc>
              <a:buFont typeface="Arial" panose="020B0604020202020204" pitchFamily="34" charset="0"/>
              <a:buChar char="•"/>
            </a:pPr>
            <a:r>
              <a:rPr lang="it-IT" sz="1200" dirty="0">
                <a:latin typeface="+mj-lt"/>
              </a:rPr>
              <a:t>un rapporto APS / RNL diretto ai </a:t>
            </a:r>
            <a:r>
              <a:rPr lang="it-IT" sz="1200" b="1" dirty="0">
                <a:latin typeface="+mj-lt"/>
              </a:rPr>
              <a:t>Paesi meno sviluppati </a:t>
            </a:r>
            <a:r>
              <a:rPr lang="it-IT" sz="1200" dirty="0">
                <a:latin typeface="+mj-lt"/>
              </a:rPr>
              <a:t>(</a:t>
            </a:r>
            <a:r>
              <a:rPr lang="it-IT" sz="1200" i="1" dirty="0" err="1">
                <a:latin typeface="+mj-lt"/>
              </a:rPr>
              <a:t>Least</a:t>
            </a:r>
            <a:r>
              <a:rPr lang="it-IT" sz="1200" i="1" dirty="0">
                <a:latin typeface="+mj-lt"/>
              </a:rPr>
              <a:t> </a:t>
            </a:r>
            <a:r>
              <a:rPr lang="it-IT" sz="1200" i="1" dirty="0" err="1">
                <a:latin typeface="+mj-lt"/>
              </a:rPr>
              <a:t>Developed</a:t>
            </a:r>
            <a:r>
              <a:rPr lang="it-IT" sz="1200" i="1" dirty="0">
                <a:latin typeface="+mj-lt"/>
              </a:rPr>
              <a:t> Countries</a:t>
            </a:r>
            <a:r>
              <a:rPr lang="it-IT" sz="1200" dirty="0">
                <a:latin typeface="+mj-lt"/>
              </a:rPr>
              <a:t>) compreso fra </a:t>
            </a:r>
            <a:r>
              <a:rPr lang="it-IT" sz="1200" dirty="0"/>
              <a:t>0,15% e 0,20% </a:t>
            </a:r>
            <a:endParaRPr lang="it-IT" sz="1200" dirty="0">
              <a:latin typeface="+mj-lt"/>
            </a:endParaRPr>
          </a:p>
        </p:txBody>
      </p:sp>
    </p:spTree>
    <p:extLst>
      <p:ext uri="{BB962C8B-B14F-4D97-AF65-F5344CB8AC3E}">
        <p14:creationId xmlns:p14="http://schemas.microsoft.com/office/powerpoint/2010/main" val="31442135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4">
            <a:extLst>
              <a:ext uri="{FF2B5EF4-FFF2-40B4-BE49-F238E27FC236}">
                <a16:creationId xmlns:a16="http://schemas.microsoft.com/office/drawing/2014/main" id="{6C869143-6E28-4943-BE17-96F97E969E4B}"/>
              </a:ext>
            </a:extLst>
          </p:cNvPr>
          <p:cNvSpPr>
            <a:spLocks noGrp="1"/>
          </p:cNvSpPr>
          <p:nvPr>
            <p:ph type="body" idx="13"/>
          </p:nvPr>
        </p:nvSpPr>
        <p:spPr>
          <a:xfrm>
            <a:off x="250825" y="268289"/>
            <a:ext cx="7514201" cy="279854"/>
          </a:xfrm>
        </p:spPr>
        <p:txBody>
          <a:bodyPr/>
          <a:lstStyle/>
          <a:p>
            <a:r>
              <a:rPr lang="it-IT" dirty="0"/>
              <a:t>Il fabbisogno di risorse – </a:t>
            </a:r>
            <a:r>
              <a:rPr lang="it-IT" i="1" dirty="0"/>
              <a:t>From </a:t>
            </a:r>
            <a:r>
              <a:rPr lang="it-IT" i="1" dirty="0" err="1"/>
              <a:t>billions</a:t>
            </a:r>
            <a:r>
              <a:rPr lang="it-IT" i="1" dirty="0"/>
              <a:t> to </a:t>
            </a:r>
            <a:r>
              <a:rPr lang="it-IT" i="1" dirty="0" err="1"/>
              <a:t>trillions</a:t>
            </a:r>
            <a:endParaRPr lang="it-IT" i="1" dirty="0"/>
          </a:p>
        </p:txBody>
      </p:sp>
      <p:sp>
        <p:nvSpPr>
          <p:cNvPr id="32" name="Segnaposto numero diapositiva 3">
            <a:extLst>
              <a:ext uri="{FF2B5EF4-FFF2-40B4-BE49-F238E27FC236}">
                <a16:creationId xmlns:a16="http://schemas.microsoft.com/office/drawing/2014/main" id="{8E062D89-1FC3-42B6-99CC-9FD85876B28B}"/>
              </a:ext>
            </a:extLst>
          </p:cNvPr>
          <p:cNvSpPr>
            <a:spLocks noGrp="1"/>
          </p:cNvSpPr>
          <p:nvPr>
            <p:ph type="sldNum" sz="quarter" idx="12"/>
          </p:nvPr>
        </p:nvSpPr>
        <p:spPr>
          <a:xfrm>
            <a:off x="250825" y="4723393"/>
            <a:ext cx="1008062" cy="183687"/>
          </a:xfrm>
        </p:spPr>
        <p:txBody>
          <a:bodyPr/>
          <a:lstStyle/>
          <a:p>
            <a:fld id="{608DA0FE-9C19-F746-8419-6700E348BF78}" type="slidenum">
              <a:rPr lang="it-IT" smtClean="0"/>
              <a:pPr/>
              <a:t>8</a:t>
            </a:fld>
            <a:endParaRPr lang="it-IT" dirty="0"/>
          </a:p>
        </p:txBody>
      </p:sp>
      <p:sp>
        <p:nvSpPr>
          <p:cNvPr id="2" name="Rettangolo 1">
            <a:extLst>
              <a:ext uri="{FF2B5EF4-FFF2-40B4-BE49-F238E27FC236}">
                <a16:creationId xmlns:a16="http://schemas.microsoft.com/office/drawing/2014/main" id="{EFD0A676-964F-45EE-AD8F-9579142F0D8D}"/>
              </a:ext>
            </a:extLst>
          </p:cNvPr>
          <p:cNvSpPr/>
          <p:nvPr/>
        </p:nvSpPr>
        <p:spPr>
          <a:xfrm>
            <a:off x="152860" y="739280"/>
            <a:ext cx="8740315" cy="547907"/>
          </a:xfrm>
          <a:prstGeom prst="rect">
            <a:avLst/>
          </a:prstGeom>
        </p:spPr>
        <p:txBody>
          <a:bodyPr wrap="square">
            <a:spAutoFit/>
          </a:bodyPr>
          <a:lstStyle/>
          <a:p>
            <a:pPr algn="just">
              <a:lnSpc>
                <a:spcPct val="110000"/>
              </a:lnSpc>
            </a:pPr>
            <a:r>
              <a:rPr lang="it-IT" sz="1400" dirty="0">
                <a:solidFill>
                  <a:srgbClr val="415064"/>
                </a:solidFill>
              </a:rPr>
              <a:t>Onorare gli impegni assunti a livello globale per il perseguimento degli </a:t>
            </a:r>
            <a:r>
              <a:rPr lang="it-IT" sz="1400" dirty="0" err="1">
                <a:solidFill>
                  <a:srgbClr val="415064"/>
                </a:solidFill>
              </a:rPr>
              <a:t>SDGs</a:t>
            </a:r>
            <a:r>
              <a:rPr lang="it-IT" sz="1400" dirty="0">
                <a:solidFill>
                  <a:srgbClr val="415064"/>
                </a:solidFill>
              </a:rPr>
              <a:t> e per l’abbattimento delle emissioni climalteranti richiede un </a:t>
            </a:r>
            <a:r>
              <a:rPr lang="it-IT" sz="1400" b="1" dirty="0">
                <a:solidFill>
                  <a:srgbClr val="415064"/>
                </a:solidFill>
              </a:rPr>
              <a:t>significativo incremento dell’ammontare di risorse dedicate</a:t>
            </a:r>
          </a:p>
        </p:txBody>
      </p:sp>
      <p:sp>
        <p:nvSpPr>
          <p:cNvPr id="121" name="object 3">
            <a:extLst>
              <a:ext uri="{FF2B5EF4-FFF2-40B4-BE49-F238E27FC236}">
                <a16:creationId xmlns:a16="http://schemas.microsoft.com/office/drawing/2014/main" id="{9CF493F7-6E04-4E69-B2C8-41E0885787D5}"/>
              </a:ext>
            </a:extLst>
          </p:cNvPr>
          <p:cNvSpPr/>
          <p:nvPr/>
        </p:nvSpPr>
        <p:spPr>
          <a:xfrm>
            <a:off x="0" y="1478324"/>
            <a:ext cx="9144000" cy="3696681"/>
          </a:xfrm>
          <a:custGeom>
            <a:avLst/>
            <a:gdLst/>
            <a:ahLst/>
            <a:cxnLst/>
            <a:rect l="l" t="t" r="r" b="b"/>
            <a:pathLst>
              <a:path w="12192000" h="4852670">
                <a:moveTo>
                  <a:pt x="12191999" y="0"/>
                </a:moveTo>
                <a:lnTo>
                  <a:pt x="0" y="0"/>
                </a:lnTo>
                <a:lnTo>
                  <a:pt x="0" y="4852413"/>
                </a:lnTo>
                <a:lnTo>
                  <a:pt x="12191999" y="4852413"/>
                </a:lnTo>
                <a:lnTo>
                  <a:pt x="12191999" y="0"/>
                </a:lnTo>
                <a:close/>
              </a:path>
            </a:pathLst>
          </a:custGeom>
          <a:solidFill>
            <a:srgbClr val="F4F4F4"/>
          </a:solidFill>
        </p:spPr>
        <p:txBody>
          <a:bodyPr wrap="square" lIns="0" tIns="0" rIns="0" bIns="0" rtlCol="0"/>
          <a:lstStyle/>
          <a:p>
            <a:endParaRPr sz="918" dirty="0"/>
          </a:p>
        </p:txBody>
      </p:sp>
      <p:sp>
        <p:nvSpPr>
          <p:cNvPr id="125" name="object 7">
            <a:extLst>
              <a:ext uri="{FF2B5EF4-FFF2-40B4-BE49-F238E27FC236}">
                <a16:creationId xmlns:a16="http://schemas.microsoft.com/office/drawing/2014/main" id="{2451B7FE-832E-453B-9DF5-F1087509AEDD}"/>
              </a:ext>
            </a:extLst>
          </p:cNvPr>
          <p:cNvSpPr txBox="1"/>
          <p:nvPr/>
        </p:nvSpPr>
        <p:spPr>
          <a:xfrm>
            <a:off x="241674" y="1555365"/>
            <a:ext cx="982290" cy="225542"/>
          </a:xfrm>
          <a:prstGeom prst="rect">
            <a:avLst/>
          </a:prstGeom>
        </p:spPr>
        <p:txBody>
          <a:bodyPr vert="horz" wrap="square" lIns="0" tIns="10001" rIns="0" bIns="0" rtlCol="0">
            <a:spAutoFit/>
          </a:bodyPr>
          <a:lstStyle/>
          <a:p>
            <a:pPr marL="9525">
              <a:spcBef>
                <a:spcPts val="79"/>
              </a:spcBef>
            </a:pPr>
            <a:r>
              <a:rPr lang="it-IT" sz="1400" b="1" spc="-4" dirty="0">
                <a:solidFill>
                  <a:srgbClr val="001547"/>
                </a:solidFill>
                <a:latin typeface="+mj-lt"/>
                <a:cs typeface="Arial"/>
              </a:rPr>
              <a:t>17 </a:t>
            </a:r>
            <a:r>
              <a:rPr lang="it-IT" sz="1400" b="1" spc="-4" dirty="0" err="1">
                <a:solidFill>
                  <a:srgbClr val="001547"/>
                </a:solidFill>
                <a:latin typeface="+mj-lt"/>
                <a:cs typeface="Arial"/>
              </a:rPr>
              <a:t>SDGs</a:t>
            </a:r>
            <a:endParaRPr sz="1400" b="1" dirty="0">
              <a:latin typeface="+mj-lt"/>
              <a:cs typeface="Arial"/>
            </a:endParaRPr>
          </a:p>
        </p:txBody>
      </p:sp>
      <p:sp>
        <p:nvSpPr>
          <p:cNvPr id="19" name="Rectangle 2">
            <a:extLst>
              <a:ext uri="{FF2B5EF4-FFF2-40B4-BE49-F238E27FC236}">
                <a16:creationId xmlns:a16="http://schemas.microsoft.com/office/drawing/2014/main" id="{6E648845-3953-471C-9667-DAE4AB821059}"/>
              </a:ext>
            </a:extLst>
          </p:cNvPr>
          <p:cNvSpPr>
            <a:spLocks/>
          </p:cNvSpPr>
          <p:nvPr/>
        </p:nvSpPr>
        <p:spPr>
          <a:xfrm>
            <a:off x="1" y="3"/>
            <a:ext cx="9143999" cy="163396"/>
          </a:xfrm>
          <a:prstGeom prst="rect">
            <a:avLst/>
          </a:prstGeom>
          <a:solidFill>
            <a:srgbClr val="415064"/>
          </a:solidFill>
          <a:ln w="9525" cap="flat" cmpd="sng" algn="ctr">
            <a:noFill/>
            <a:prstDash val="solid"/>
          </a:ln>
          <a:effectLst/>
        </p:spPr>
        <p:txBody>
          <a:bodyPr rot="0" spcFirstLastPara="0" vert="horz" wrap="square" lIns="121920" tIns="60960" rIns="121920" bIns="6096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224" kern="1200">
                <a:solidFill>
                  <a:schemeClr val="lt1"/>
                </a:solidFill>
                <a:latin typeface="+mn-lt"/>
                <a:ea typeface="+mn-ea"/>
                <a:cs typeface="+mn-cs"/>
              </a:defRPr>
            </a:lvl1pPr>
            <a:lvl2pPr marL="349849" algn="l" rtl="0" fontAlgn="base">
              <a:spcBef>
                <a:spcPct val="0"/>
              </a:spcBef>
              <a:spcAft>
                <a:spcPct val="0"/>
              </a:spcAft>
              <a:defRPr sz="1224" kern="1200">
                <a:solidFill>
                  <a:schemeClr val="lt1"/>
                </a:solidFill>
                <a:latin typeface="+mn-lt"/>
                <a:ea typeface="+mn-ea"/>
                <a:cs typeface="+mn-cs"/>
              </a:defRPr>
            </a:lvl2pPr>
            <a:lvl3pPr marL="699699" algn="l" rtl="0" fontAlgn="base">
              <a:spcBef>
                <a:spcPct val="0"/>
              </a:spcBef>
              <a:spcAft>
                <a:spcPct val="0"/>
              </a:spcAft>
              <a:defRPr sz="1224" kern="1200">
                <a:solidFill>
                  <a:schemeClr val="lt1"/>
                </a:solidFill>
                <a:latin typeface="+mn-lt"/>
                <a:ea typeface="+mn-ea"/>
                <a:cs typeface="+mn-cs"/>
              </a:defRPr>
            </a:lvl3pPr>
            <a:lvl4pPr marL="1049548" algn="l" rtl="0" fontAlgn="base">
              <a:spcBef>
                <a:spcPct val="0"/>
              </a:spcBef>
              <a:spcAft>
                <a:spcPct val="0"/>
              </a:spcAft>
              <a:defRPr sz="1224" kern="1200">
                <a:solidFill>
                  <a:schemeClr val="lt1"/>
                </a:solidFill>
                <a:latin typeface="+mn-lt"/>
                <a:ea typeface="+mn-ea"/>
                <a:cs typeface="+mn-cs"/>
              </a:defRPr>
            </a:lvl4pPr>
            <a:lvl5pPr marL="1399398" algn="l" rtl="0" fontAlgn="base">
              <a:spcBef>
                <a:spcPct val="0"/>
              </a:spcBef>
              <a:spcAft>
                <a:spcPct val="0"/>
              </a:spcAft>
              <a:defRPr sz="1224" kern="1200">
                <a:solidFill>
                  <a:schemeClr val="lt1"/>
                </a:solidFill>
                <a:latin typeface="+mn-lt"/>
                <a:ea typeface="+mn-ea"/>
                <a:cs typeface="+mn-cs"/>
              </a:defRPr>
            </a:lvl5pPr>
            <a:lvl6pPr marL="1749247" algn="l" defTabSz="699699" rtl="0" eaLnBrk="1" latinLnBrk="0" hangingPunct="1">
              <a:defRPr sz="1224" kern="1200">
                <a:solidFill>
                  <a:schemeClr val="lt1"/>
                </a:solidFill>
                <a:latin typeface="+mn-lt"/>
                <a:ea typeface="+mn-ea"/>
                <a:cs typeface="+mn-cs"/>
              </a:defRPr>
            </a:lvl6pPr>
            <a:lvl7pPr marL="2099097" algn="l" defTabSz="699699" rtl="0" eaLnBrk="1" latinLnBrk="0" hangingPunct="1">
              <a:defRPr sz="1224" kern="1200">
                <a:solidFill>
                  <a:schemeClr val="lt1"/>
                </a:solidFill>
                <a:latin typeface="+mn-lt"/>
                <a:ea typeface="+mn-ea"/>
                <a:cs typeface="+mn-cs"/>
              </a:defRPr>
            </a:lvl7pPr>
            <a:lvl8pPr marL="2448946" algn="l" defTabSz="699699" rtl="0" eaLnBrk="1" latinLnBrk="0" hangingPunct="1">
              <a:defRPr sz="1224" kern="1200">
                <a:solidFill>
                  <a:schemeClr val="lt1"/>
                </a:solidFill>
                <a:latin typeface="+mn-lt"/>
                <a:ea typeface="+mn-ea"/>
                <a:cs typeface="+mn-cs"/>
              </a:defRPr>
            </a:lvl8pPr>
            <a:lvl9pPr marL="2798796" algn="l" defTabSz="699699" rtl="0" eaLnBrk="1" latinLnBrk="0" hangingPunct="1">
              <a:defRPr sz="1224" kern="1200">
                <a:solidFill>
                  <a:schemeClr val="lt1"/>
                </a:solidFill>
                <a:latin typeface="+mn-lt"/>
                <a:ea typeface="+mn-ea"/>
                <a:cs typeface="+mn-cs"/>
              </a:defRPr>
            </a:lvl9pPr>
          </a:lstStyle>
          <a:p>
            <a:pPr defTabSz="1219079">
              <a:defRPr/>
            </a:pPr>
            <a:r>
              <a:rPr lang="it-IT" sz="1000" b="1" dirty="0">
                <a:solidFill>
                  <a:srgbClr val="FFFFFF"/>
                </a:solidFill>
                <a:latin typeface="Arial"/>
              </a:rPr>
              <a:t>Il contesto di riferimento </a:t>
            </a:r>
            <a:endParaRPr lang="it-IT" sz="1000" b="1" i="1" dirty="0">
              <a:solidFill>
                <a:srgbClr val="FFFFFF"/>
              </a:solidFill>
              <a:latin typeface="Arial"/>
            </a:endParaRPr>
          </a:p>
        </p:txBody>
      </p:sp>
      <p:sp>
        <p:nvSpPr>
          <p:cNvPr id="20" name="Segnaposto numero diapositiva 3">
            <a:extLst>
              <a:ext uri="{FF2B5EF4-FFF2-40B4-BE49-F238E27FC236}">
                <a16:creationId xmlns:a16="http://schemas.microsoft.com/office/drawing/2014/main" id="{D26B9CCE-AE4F-42B2-A0DD-42BB6864C2B3}"/>
              </a:ext>
            </a:extLst>
          </p:cNvPr>
          <p:cNvSpPr txBox="1">
            <a:spLocks/>
          </p:cNvSpPr>
          <p:nvPr/>
        </p:nvSpPr>
        <p:spPr>
          <a:xfrm>
            <a:off x="403225" y="4875793"/>
            <a:ext cx="1008062" cy="183687"/>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608DA0FE-9C19-F746-8419-6700E348BF78}" type="slidenum">
              <a:rPr lang="it-IT" smtClean="0"/>
              <a:pPr/>
              <a:t>8</a:t>
            </a:fld>
            <a:endParaRPr lang="it-IT" dirty="0"/>
          </a:p>
        </p:txBody>
      </p:sp>
      <p:sp>
        <p:nvSpPr>
          <p:cNvPr id="21" name="object 7">
            <a:extLst>
              <a:ext uri="{FF2B5EF4-FFF2-40B4-BE49-F238E27FC236}">
                <a16:creationId xmlns:a16="http://schemas.microsoft.com/office/drawing/2014/main" id="{4103739E-C3DD-4EEA-A045-493D0423BFE4}"/>
              </a:ext>
            </a:extLst>
          </p:cNvPr>
          <p:cNvSpPr txBox="1"/>
          <p:nvPr/>
        </p:nvSpPr>
        <p:spPr>
          <a:xfrm>
            <a:off x="250389" y="2441223"/>
            <a:ext cx="811238" cy="225542"/>
          </a:xfrm>
          <a:prstGeom prst="rect">
            <a:avLst/>
          </a:prstGeom>
        </p:spPr>
        <p:txBody>
          <a:bodyPr vert="horz" wrap="square" lIns="0" tIns="10001" rIns="0" bIns="0" rtlCol="0">
            <a:spAutoFit/>
          </a:bodyPr>
          <a:lstStyle/>
          <a:p>
            <a:pPr marL="9525">
              <a:spcBef>
                <a:spcPts val="79"/>
              </a:spcBef>
            </a:pPr>
            <a:r>
              <a:rPr lang="it-IT" sz="1400" b="1" dirty="0">
                <a:solidFill>
                  <a:srgbClr val="001547"/>
                </a:solidFill>
                <a:latin typeface="Arial"/>
                <a:cs typeface="Arial"/>
              </a:rPr>
              <a:t>COP 21</a:t>
            </a:r>
            <a:endParaRPr sz="1400" dirty="0">
              <a:latin typeface="Arial"/>
              <a:cs typeface="Arial"/>
            </a:endParaRPr>
          </a:p>
        </p:txBody>
      </p:sp>
      <p:sp>
        <p:nvSpPr>
          <p:cNvPr id="11" name="object 7">
            <a:extLst>
              <a:ext uri="{FF2B5EF4-FFF2-40B4-BE49-F238E27FC236}">
                <a16:creationId xmlns:a16="http://schemas.microsoft.com/office/drawing/2014/main" id="{D93AD2F2-BE46-40B4-A10D-EB6E1E63C364}"/>
              </a:ext>
            </a:extLst>
          </p:cNvPr>
          <p:cNvSpPr txBox="1"/>
          <p:nvPr/>
        </p:nvSpPr>
        <p:spPr>
          <a:xfrm>
            <a:off x="252572" y="3527609"/>
            <a:ext cx="8640604" cy="225542"/>
          </a:xfrm>
          <a:prstGeom prst="rect">
            <a:avLst/>
          </a:prstGeom>
        </p:spPr>
        <p:txBody>
          <a:bodyPr vert="horz" wrap="square" lIns="0" tIns="10001" rIns="0" bIns="0" rtlCol="0">
            <a:spAutoFit/>
          </a:bodyPr>
          <a:lstStyle/>
          <a:p>
            <a:pPr marL="9525">
              <a:spcBef>
                <a:spcPts val="79"/>
              </a:spcBef>
            </a:pPr>
            <a:r>
              <a:rPr lang="it-IT" sz="1400" b="1" dirty="0">
                <a:solidFill>
                  <a:srgbClr val="001547"/>
                </a:solidFill>
                <a:cs typeface="Arial"/>
              </a:rPr>
              <a:t>AAAA 2015</a:t>
            </a:r>
            <a:endParaRPr sz="1400" dirty="0">
              <a:latin typeface="Arial"/>
              <a:cs typeface="Arial"/>
            </a:endParaRPr>
          </a:p>
        </p:txBody>
      </p:sp>
      <p:pic>
        <p:nvPicPr>
          <p:cNvPr id="3" name="Immagine 2">
            <a:extLst>
              <a:ext uri="{FF2B5EF4-FFF2-40B4-BE49-F238E27FC236}">
                <a16:creationId xmlns:a16="http://schemas.microsoft.com/office/drawing/2014/main" id="{73168348-D87B-4511-B1C7-E3ED56B79F08}"/>
              </a:ext>
            </a:extLst>
          </p:cNvPr>
          <p:cNvPicPr>
            <a:picLocks noChangeAspect="1"/>
          </p:cNvPicPr>
          <p:nvPr/>
        </p:nvPicPr>
        <p:blipFill>
          <a:blip r:embed="rId3"/>
          <a:stretch>
            <a:fillRect/>
          </a:stretch>
        </p:blipFill>
        <p:spPr>
          <a:xfrm>
            <a:off x="1061626" y="1568363"/>
            <a:ext cx="3626013" cy="216000"/>
          </a:xfrm>
          <a:prstGeom prst="rect">
            <a:avLst/>
          </a:prstGeom>
        </p:spPr>
      </p:pic>
      <p:pic>
        <p:nvPicPr>
          <p:cNvPr id="7" name="Immagine 6">
            <a:extLst>
              <a:ext uri="{FF2B5EF4-FFF2-40B4-BE49-F238E27FC236}">
                <a16:creationId xmlns:a16="http://schemas.microsoft.com/office/drawing/2014/main" id="{A9A30892-8A4D-453E-A7A1-A9B372F8D629}"/>
              </a:ext>
            </a:extLst>
          </p:cNvPr>
          <p:cNvPicPr>
            <a:picLocks noChangeAspect="1"/>
          </p:cNvPicPr>
          <p:nvPr/>
        </p:nvPicPr>
        <p:blipFill>
          <a:blip r:embed="rId4"/>
          <a:stretch>
            <a:fillRect/>
          </a:stretch>
        </p:blipFill>
        <p:spPr>
          <a:xfrm>
            <a:off x="1012919" y="2394544"/>
            <a:ext cx="288000" cy="288000"/>
          </a:xfrm>
          <a:prstGeom prst="rect">
            <a:avLst/>
          </a:prstGeom>
        </p:spPr>
      </p:pic>
      <p:sp>
        <p:nvSpPr>
          <p:cNvPr id="8" name="Rettangolo 7">
            <a:extLst>
              <a:ext uri="{FF2B5EF4-FFF2-40B4-BE49-F238E27FC236}">
                <a16:creationId xmlns:a16="http://schemas.microsoft.com/office/drawing/2014/main" id="{EB69F82D-D589-4D9A-BCE6-E50B7C2DCB66}"/>
              </a:ext>
            </a:extLst>
          </p:cNvPr>
          <p:cNvSpPr/>
          <p:nvPr/>
        </p:nvSpPr>
        <p:spPr>
          <a:xfrm>
            <a:off x="187397" y="1787996"/>
            <a:ext cx="4638679" cy="646331"/>
          </a:xfrm>
          <a:prstGeom prst="rect">
            <a:avLst/>
          </a:prstGeom>
        </p:spPr>
        <p:txBody>
          <a:bodyPr wrap="square">
            <a:spAutoFit/>
          </a:bodyPr>
          <a:lstStyle/>
          <a:p>
            <a:pPr algn="just"/>
            <a:r>
              <a:rPr lang="it-IT" sz="1200" dirty="0">
                <a:latin typeface="+mj-lt"/>
              </a:rPr>
              <a:t>Secondo le stime più recenti, il raggiungimento degli obiettivi di sviluppo sostenibile richiederà un volume aggiuntivo di risorse pari a 2.500 miliardi di dollari all’anno</a:t>
            </a:r>
          </a:p>
        </p:txBody>
      </p:sp>
      <p:pic>
        <p:nvPicPr>
          <p:cNvPr id="9" name="Immagine 8">
            <a:extLst>
              <a:ext uri="{FF2B5EF4-FFF2-40B4-BE49-F238E27FC236}">
                <a16:creationId xmlns:a16="http://schemas.microsoft.com/office/drawing/2014/main" id="{F74CCA12-2982-4820-9DFE-AFEFD3CD4B9B}"/>
              </a:ext>
            </a:extLst>
          </p:cNvPr>
          <p:cNvPicPr>
            <a:picLocks noChangeAspect="1"/>
          </p:cNvPicPr>
          <p:nvPr/>
        </p:nvPicPr>
        <p:blipFill>
          <a:blip r:embed="rId5"/>
          <a:stretch>
            <a:fillRect/>
          </a:stretch>
        </p:blipFill>
        <p:spPr>
          <a:xfrm>
            <a:off x="1310505" y="3475682"/>
            <a:ext cx="549598" cy="326365"/>
          </a:xfrm>
          <a:prstGeom prst="rect">
            <a:avLst/>
          </a:prstGeom>
        </p:spPr>
      </p:pic>
      <p:sp>
        <p:nvSpPr>
          <p:cNvPr id="16" name="Rettangolo 15">
            <a:extLst>
              <a:ext uri="{FF2B5EF4-FFF2-40B4-BE49-F238E27FC236}">
                <a16:creationId xmlns:a16="http://schemas.microsoft.com/office/drawing/2014/main" id="{65CD5773-BC2C-4B57-984B-E8B2657E4D7F}"/>
              </a:ext>
            </a:extLst>
          </p:cNvPr>
          <p:cNvSpPr/>
          <p:nvPr/>
        </p:nvSpPr>
        <p:spPr>
          <a:xfrm>
            <a:off x="194141" y="2659723"/>
            <a:ext cx="4631833" cy="830997"/>
          </a:xfrm>
          <a:prstGeom prst="rect">
            <a:avLst/>
          </a:prstGeom>
        </p:spPr>
        <p:txBody>
          <a:bodyPr wrap="square">
            <a:spAutoFit/>
          </a:bodyPr>
          <a:lstStyle/>
          <a:p>
            <a:pPr algn="just"/>
            <a:r>
              <a:rPr lang="it-IT" sz="1200" dirty="0">
                <a:latin typeface="+mj-lt"/>
              </a:rPr>
              <a:t>La transizione verso un’economia a basso impatto di carbonio richiederà investimenti per circa 3.000 miliardi di dollari all’anno fino al 2050, a fronte di flussi pari negli ultimi anni a circa 1.800 miliardi di dollari.</a:t>
            </a:r>
          </a:p>
        </p:txBody>
      </p:sp>
      <p:sp>
        <p:nvSpPr>
          <p:cNvPr id="17" name="Rettangolo 16">
            <a:extLst>
              <a:ext uri="{FF2B5EF4-FFF2-40B4-BE49-F238E27FC236}">
                <a16:creationId xmlns:a16="http://schemas.microsoft.com/office/drawing/2014/main" id="{CD02565E-C0D9-41B1-AE86-F27DAE0DDC8C}"/>
              </a:ext>
            </a:extLst>
          </p:cNvPr>
          <p:cNvSpPr/>
          <p:nvPr/>
        </p:nvSpPr>
        <p:spPr>
          <a:xfrm>
            <a:off x="184700" y="3737730"/>
            <a:ext cx="4631833" cy="1200329"/>
          </a:xfrm>
          <a:prstGeom prst="rect">
            <a:avLst/>
          </a:prstGeom>
        </p:spPr>
        <p:txBody>
          <a:bodyPr wrap="square">
            <a:spAutoFit/>
          </a:bodyPr>
          <a:lstStyle/>
          <a:p>
            <a:pPr algn="just"/>
            <a:r>
              <a:rPr lang="it-IT" sz="1200" dirty="0">
                <a:latin typeface="+mj-lt"/>
              </a:rPr>
              <a:t>L’Aiuto Pubblico allo Sviluppo in rapporto al RNL ha raggiunto nel 2018 un </a:t>
            </a:r>
            <a:r>
              <a:rPr lang="it-IT" sz="1200" b="1" dirty="0">
                <a:latin typeface="+mj-lt"/>
              </a:rPr>
              <a:t>livello complessivo </a:t>
            </a:r>
            <a:r>
              <a:rPr lang="it-IT" sz="1200" dirty="0">
                <a:latin typeface="+mj-lt"/>
              </a:rPr>
              <a:t>pari allo 0,30%, corrispondente a poco più di 150 miliardi di dollari. Il perseguimento dell’obiettivo dello 0,7% implica il raggiungimento di un livello di aiuti più che doppio rispetto a quello attuale, ma </a:t>
            </a:r>
            <a:r>
              <a:rPr lang="it-IT" sz="1200" b="1" dirty="0">
                <a:latin typeface="+mj-lt"/>
              </a:rPr>
              <a:t>significativamente inferiore al fabbisogno complessivo di risorse</a:t>
            </a:r>
          </a:p>
        </p:txBody>
      </p:sp>
      <p:sp>
        <p:nvSpPr>
          <p:cNvPr id="6" name="CasellaDiTesto 5">
            <a:extLst>
              <a:ext uri="{FF2B5EF4-FFF2-40B4-BE49-F238E27FC236}">
                <a16:creationId xmlns:a16="http://schemas.microsoft.com/office/drawing/2014/main" id="{D63BDC43-D65B-4D3F-B2F5-C5308A183D81}"/>
              </a:ext>
            </a:extLst>
          </p:cNvPr>
          <p:cNvSpPr txBox="1"/>
          <p:nvPr/>
        </p:nvSpPr>
        <p:spPr>
          <a:xfrm>
            <a:off x="5250482" y="1635125"/>
            <a:ext cx="3639998" cy="178437"/>
          </a:xfrm>
          <a:prstGeom prst="rect">
            <a:avLst/>
          </a:prstGeom>
        </p:spPr>
        <p:txBody>
          <a:bodyPr vert="horz" wrap="square" lIns="91440" tIns="45720" rIns="91440" bIns="45720" rtlCol="0" anchor="b">
            <a:normAutofit fontScale="55000" lnSpcReduction="20000"/>
          </a:bodyPr>
          <a:lstStyle/>
          <a:p>
            <a:pPr algn="l"/>
            <a:endParaRPr lang="it-IT" dirty="0"/>
          </a:p>
        </p:txBody>
      </p:sp>
      <p:sp>
        <p:nvSpPr>
          <p:cNvPr id="10" name="CasellaDiTesto 9">
            <a:extLst>
              <a:ext uri="{FF2B5EF4-FFF2-40B4-BE49-F238E27FC236}">
                <a16:creationId xmlns:a16="http://schemas.microsoft.com/office/drawing/2014/main" id="{69F4D6A8-BCFD-44E4-9FE7-BCD5A8D9B132}"/>
              </a:ext>
            </a:extLst>
          </p:cNvPr>
          <p:cNvSpPr txBox="1"/>
          <p:nvPr/>
        </p:nvSpPr>
        <p:spPr>
          <a:xfrm>
            <a:off x="5094995" y="1556753"/>
            <a:ext cx="3852000" cy="178437"/>
          </a:xfrm>
          <a:prstGeom prst="rect">
            <a:avLst/>
          </a:prstGeom>
        </p:spPr>
        <p:txBody>
          <a:bodyPr vert="horz" wrap="square" lIns="91440" tIns="45720" rIns="91440" bIns="45720" rtlCol="0" anchor="b">
            <a:noAutofit/>
          </a:bodyPr>
          <a:lstStyle/>
          <a:p>
            <a:pPr algn="l"/>
            <a:r>
              <a:rPr lang="it-IT" sz="1100" dirty="0"/>
              <a:t>Flussi di finanziamento dai Paesi DAC, 1990-2017 (</a:t>
            </a:r>
            <a:r>
              <a:rPr lang="it-IT" sz="1100" dirty="0" err="1"/>
              <a:t>mld</a:t>
            </a:r>
            <a:r>
              <a:rPr lang="it-IT" sz="1100" dirty="0"/>
              <a:t> $)</a:t>
            </a:r>
          </a:p>
        </p:txBody>
      </p:sp>
      <p:sp>
        <p:nvSpPr>
          <p:cNvPr id="22" name="CasellaDiTesto 21">
            <a:extLst>
              <a:ext uri="{FF2B5EF4-FFF2-40B4-BE49-F238E27FC236}">
                <a16:creationId xmlns:a16="http://schemas.microsoft.com/office/drawing/2014/main" id="{FBC1F38A-4186-4D82-A5E2-EB4D0EC7B965}"/>
              </a:ext>
            </a:extLst>
          </p:cNvPr>
          <p:cNvSpPr txBox="1"/>
          <p:nvPr/>
        </p:nvSpPr>
        <p:spPr>
          <a:xfrm>
            <a:off x="7955282" y="4850267"/>
            <a:ext cx="1035349" cy="178437"/>
          </a:xfrm>
          <a:prstGeom prst="rect">
            <a:avLst/>
          </a:prstGeom>
        </p:spPr>
        <p:txBody>
          <a:bodyPr vert="horz" wrap="square" lIns="91440" tIns="45720" rIns="91440" bIns="45720" rtlCol="0" anchor="b">
            <a:noAutofit/>
          </a:bodyPr>
          <a:lstStyle/>
          <a:p>
            <a:pPr algn="r"/>
            <a:r>
              <a:rPr lang="it-IT" sz="700" dirty="0"/>
              <a:t>Fonte: OCSE, 2019</a:t>
            </a:r>
          </a:p>
        </p:txBody>
      </p:sp>
      <p:graphicFrame>
        <p:nvGraphicFramePr>
          <p:cNvPr id="23" name="Grafico 22">
            <a:extLst>
              <a:ext uri="{FF2B5EF4-FFF2-40B4-BE49-F238E27FC236}">
                <a16:creationId xmlns:a16="http://schemas.microsoft.com/office/drawing/2014/main" id="{7943267E-290C-40EC-9A47-B68C48DC5886}"/>
              </a:ext>
            </a:extLst>
          </p:cNvPr>
          <p:cNvGraphicFramePr>
            <a:graphicFrameLocks noChangeAspect="1"/>
          </p:cNvGraphicFramePr>
          <p:nvPr>
            <p:extLst>
              <p:ext uri="{D42A27DB-BD31-4B8C-83A1-F6EECF244321}">
                <p14:modId xmlns:p14="http://schemas.microsoft.com/office/powerpoint/2010/main" val="4207443962"/>
              </p:ext>
            </p:extLst>
          </p:nvPr>
        </p:nvGraphicFramePr>
        <p:xfrm>
          <a:off x="5175192" y="3589906"/>
          <a:ext cx="3960000" cy="1584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Grafico 23">
            <a:extLst>
              <a:ext uri="{FF2B5EF4-FFF2-40B4-BE49-F238E27FC236}">
                <a16:creationId xmlns:a16="http://schemas.microsoft.com/office/drawing/2014/main" id="{184BF4E5-7C7C-433F-9F20-097B6A571EAC}"/>
              </a:ext>
            </a:extLst>
          </p:cNvPr>
          <p:cNvGraphicFramePr>
            <a:graphicFrameLocks noChangeAspect="1"/>
          </p:cNvGraphicFramePr>
          <p:nvPr>
            <p:extLst>
              <p:ext uri="{D42A27DB-BD31-4B8C-83A1-F6EECF244321}">
                <p14:modId xmlns:p14="http://schemas.microsoft.com/office/powerpoint/2010/main" val="2481189566"/>
              </p:ext>
            </p:extLst>
          </p:nvPr>
        </p:nvGraphicFramePr>
        <p:xfrm>
          <a:off x="5187244" y="1727133"/>
          <a:ext cx="3960000" cy="1584000"/>
        </p:xfrm>
        <a:graphic>
          <a:graphicData uri="http://schemas.openxmlformats.org/drawingml/2006/chart">
            <c:chart xmlns:c="http://schemas.openxmlformats.org/drawingml/2006/chart" xmlns:r="http://schemas.openxmlformats.org/officeDocument/2006/relationships" r:id="rId7"/>
          </a:graphicData>
        </a:graphic>
      </p:graphicFrame>
      <p:sp>
        <p:nvSpPr>
          <p:cNvPr id="25" name="CasellaDiTesto 24">
            <a:extLst>
              <a:ext uri="{FF2B5EF4-FFF2-40B4-BE49-F238E27FC236}">
                <a16:creationId xmlns:a16="http://schemas.microsoft.com/office/drawing/2014/main" id="{E0851DBA-1E38-421C-A5A5-174E3391D578}"/>
              </a:ext>
            </a:extLst>
          </p:cNvPr>
          <p:cNvSpPr txBox="1"/>
          <p:nvPr/>
        </p:nvSpPr>
        <p:spPr>
          <a:xfrm>
            <a:off x="5105394" y="3421993"/>
            <a:ext cx="3888000" cy="178437"/>
          </a:xfrm>
          <a:prstGeom prst="rect">
            <a:avLst/>
          </a:prstGeom>
        </p:spPr>
        <p:txBody>
          <a:bodyPr vert="horz" wrap="square" lIns="91440" tIns="45720" rIns="91440" bIns="45720" rtlCol="0" anchor="b">
            <a:noAutofit/>
          </a:bodyPr>
          <a:lstStyle/>
          <a:p>
            <a:pPr algn="l"/>
            <a:r>
              <a:rPr lang="it-IT" sz="1050" dirty="0"/>
              <a:t>Rapporto APS/RNL nei Paesi DAC e in Italia, 2000-2017 (%)</a:t>
            </a:r>
          </a:p>
        </p:txBody>
      </p:sp>
      <p:sp>
        <p:nvSpPr>
          <p:cNvPr id="27" name="CasellaDiTesto 26">
            <a:extLst>
              <a:ext uri="{FF2B5EF4-FFF2-40B4-BE49-F238E27FC236}">
                <a16:creationId xmlns:a16="http://schemas.microsoft.com/office/drawing/2014/main" id="{D39D3FCC-8627-4461-84A7-B3E1A077308D}"/>
              </a:ext>
            </a:extLst>
          </p:cNvPr>
          <p:cNvSpPr txBox="1"/>
          <p:nvPr/>
        </p:nvSpPr>
        <p:spPr>
          <a:xfrm>
            <a:off x="8102984" y="4997981"/>
            <a:ext cx="1035349" cy="178437"/>
          </a:xfrm>
          <a:prstGeom prst="rect">
            <a:avLst/>
          </a:prstGeom>
        </p:spPr>
        <p:txBody>
          <a:bodyPr vert="horz" wrap="square" lIns="91440" tIns="45720" rIns="91440" bIns="45720" rtlCol="0" anchor="b">
            <a:noAutofit/>
          </a:bodyPr>
          <a:lstStyle/>
          <a:p>
            <a:pPr algn="r"/>
            <a:r>
              <a:rPr lang="it-IT" sz="700" dirty="0"/>
              <a:t>Fonte: OCSE, 2019</a:t>
            </a:r>
          </a:p>
        </p:txBody>
      </p:sp>
    </p:spTree>
    <p:extLst>
      <p:ext uri="{BB962C8B-B14F-4D97-AF65-F5344CB8AC3E}">
        <p14:creationId xmlns:p14="http://schemas.microsoft.com/office/powerpoint/2010/main" val="40628932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4">
            <a:extLst>
              <a:ext uri="{FF2B5EF4-FFF2-40B4-BE49-F238E27FC236}">
                <a16:creationId xmlns:a16="http://schemas.microsoft.com/office/drawing/2014/main" id="{6C869143-6E28-4943-BE17-96F97E969E4B}"/>
              </a:ext>
            </a:extLst>
          </p:cNvPr>
          <p:cNvSpPr>
            <a:spLocks noGrp="1"/>
          </p:cNvSpPr>
          <p:nvPr>
            <p:ph type="body" idx="13"/>
          </p:nvPr>
        </p:nvSpPr>
        <p:spPr>
          <a:xfrm>
            <a:off x="250825" y="268289"/>
            <a:ext cx="7514201" cy="279854"/>
          </a:xfrm>
        </p:spPr>
        <p:txBody>
          <a:bodyPr/>
          <a:lstStyle/>
          <a:p>
            <a:r>
              <a:rPr lang="it-IT" dirty="0"/>
              <a:t>Il fabbisogno di risorse – catalizzare le risorse private</a:t>
            </a:r>
          </a:p>
        </p:txBody>
      </p:sp>
      <p:sp>
        <p:nvSpPr>
          <p:cNvPr id="2" name="Rettangolo 1">
            <a:extLst>
              <a:ext uri="{FF2B5EF4-FFF2-40B4-BE49-F238E27FC236}">
                <a16:creationId xmlns:a16="http://schemas.microsoft.com/office/drawing/2014/main" id="{EFD0A676-964F-45EE-AD8F-9579142F0D8D}"/>
              </a:ext>
            </a:extLst>
          </p:cNvPr>
          <p:cNvSpPr/>
          <p:nvPr/>
        </p:nvSpPr>
        <p:spPr>
          <a:xfrm>
            <a:off x="146329" y="643418"/>
            <a:ext cx="8746845" cy="823367"/>
          </a:xfrm>
          <a:prstGeom prst="rect">
            <a:avLst/>
          </a:prstGeom>
        </p:spPr>
        <p:txBody>
          <a:bodyPr wrap="square">
            <a:spAutoFit/>
          </a:bodyPr>
          <a:lstStyle/>
          <a:p>
            <a:pPr marL="285750" indent="-285750" algn="just">
              <a:lnSpc>
                <a:spcPct val="110000"/>
              </a:lnSpc>
              <a:spcAft>
                <a:spcPts val="300"/>
              </a:spcAft>
              <a:buFont typeface="Arial" panose="020B0604020202020204" pitchFamily="34" charset="0"/>
              <a:buChar char="•"/>
            </a:pPr>
            <a:r>
              <a:rPr lang="it-IT" sz="1400" dirty="0">
                <a:solidFill>
                  <a:srgbClr val="415064"/>
                </a:solidFill>
              </a:rPr>
              <a:t>Le </a:t>
            </a:r>
            <a:r>
              <a:rPr lang="it-IT" sz="1400" b="1" dirty="0">
                <a:solidFill>
                  <a:srgbClr val="415064"/>
                </a:solidFill>
              </a:rPr>
              <a:t>risorse pubbliche</a:t>
            </a:r>
            <a:r>
              <a:rPr lang="it-IT" sz="1400" dirty="0">
                <a:solidFill>
                  <a:srgbClr val="415064"/>
                </a:solidFill>
              </a:rPr>
              <a:t>, seppur indispensabili per il perseguimento dei target di lungo periodo, </a:t>
            </a:r>
            <a:r>
              <a:rPr lang="it-IT" sz="1400" b="1" dirty="0">
                <a:solidFill>
                  <a:srgbClr val="415064"/>
                </a:solidFill>
              </a:rPr>
              <a:t>non sono sufficienti </a:t>
            </a:r>
            <a:r>
              <a:rPr lang="it-IT" sz="1400" dirty="0">
                <a:solidFill>
                  <a:srgbClr val="415064"/>
                </a:solidFill>
              </a:rPr>
              <a:t>a sostenere il volume di investimenti necessari</a:t>
            </a:r>
          </a:p>
          <a:p>
            <a:pPr marL="285750" indent="-285750" algn="just">
              <a:lnSpc>
                <a:spcPct val="110000"/>
              </a:lnSpc>
              <a:buFont typeface="Arial" panose="020B0604020202020204" pitchFamily="34" charset="0"/>
              <a:buChar char="•"/>
            </a:pPr>
            <a:r>
              <a:rPr lang="it-IT" sz="1400" dirty="0">
                <a:solidFill>
                  <a:srgbClr val="415064"/>
                </a:solidFill>
              </a:rPr>
              <a:t>È urgente un coinvolgimento forte della finanza privata: "</a:t>
            </a:r>
            <a:r>
              <a:rPr lang="it-IT" sz="1400" b="1" i="1" dirty="0">
                <a:solidFill>
                  <a:srgbClr val="415064"/>
                </a:solidFill>
              </a:rPr>
              <a:t>Blending </a:t>
            </a:r>
            <a:r>
              <a:rPr lang="it-IT" sz="1400" b="1" i="1" dirty="0" err="1">
                <a:solidFill>
                  <a:srgbClr val="415064"/>
                </a:solidFill>
              </a:rPr>
              <a:t>is</a:t>
            </a:r>
            <a:r>
              <a:rPr lang="it-IT" sz="1400" b="1" i="1" dirty="0">
                <a:solidFill>
                  <a:srgbClr val="415064"/>
                </a:solidFill>
              </a:rPr>
              <a:t> the name of the game</a:t>
            </a:r>
            <a:r>
              <a:rPr lang="it-IT" sz="1400" dirty="0">
                <a:solidFill>
                  <a:srgbClr val="415064"/>
                </a:solidFill>
              </a:rPr>
              <a:t>"</a:t>
            </a:r>
          </a:p>
        </p:txBody>
      </p:sp>
      <p:sp>
        <p:nvSpPr>
          <p:cNvPr id="121" name="object 3">
            <a:extLst>
              <a:ext uri="{FF2B5EF4-FFF2-40B4-BE49-F238E27FC236}">
                <a16:creationId xmlns:a16="http://schemas.microsoft.com/office/drawing/2014/main" id="{9CF493F7-6E04-4E69-B2C8-41E0885787D5}"/>
              </a:ext>
            </a:extLst>
          </p:cNvPr>
          <p:cNvSpPr/>
          <p:nvPr/>
        </p:nvSpPr>
        <p:spPr>
          <a:xfrm>
            <a:off x="1" y="1535502"/>
            <a:ext cx="9144000" cy="3639503"/>
          </a:xfrm>
          <a:custGeom>
            <a:avLst/>
            <a:gdLst/>
            <a:ahLst/>
            <a:cxnLst/>
            <a:rect l="l" t="t" r="r" b="b"/>
            <a:pathLst>
              <a:path w="12192000" h="4852670">
                <a:moveTo>
                  <a:pt x="12191999" y="0"/>
                </a:moveTo>
                <a:lnTo>
                  <a:pt x="0" y="0"/>
                </a:lnTo>
                <a:lnTo>
                  <a:pt x="0" y="4852413"/>
                </a:lnTo>
                <a:lnTo>
                  <a:pt x="12191999" y="4852413"/>
                </a:lnTo>
                <a:lnTo>
                  <a:pt x="12191999" y="0"/>
                </a:lnTo>
                <a:close/>
              </a:path>
            </a:pathLst>
          </a:custGeom>
          <a:solidFill>
            <a:srgbClr val="F4F4F4"/>
          </a:solidFill>
          <a:ln w="15875">
            <a:noFill/>
          </a:ln>
        </p:spPr>
        <p:txBody>
          <a:bodyPr wrap="square" lIns="0" tIns="0" rIns="0" bIns="0" rtlCol="0"/>
          <a:lstStyle/>
          <a:p>
            <a:endParaRPr sz="918" dirty="0"/>
          </a:p>
        </p:txBody>
      </p:sp>
      <p:sp>
        <p:nvSpPr>
          <p:cNvPr id="19" name="Rectangle 2">
            <a:extLst>
              <a:ext uri="{FF2B5EF4-FFF2-40B4-BE49-F238E27FC236}">
                <a16:creationId xmlns:a16="http://schemas.microsoft.com/office/drawing/2014/main" id="{6E648845-3953-471C-9667-DAE4AB821059}"/>
              </a:ext>
            </a:extLst>
          </p:cNvPr>
          <p:cNvSpPr>
            <a:spLocks/>
          </p:cNvSpPr>
          <p:nvPr/>
        </p:nvSpPr>
        <p:spPr>
          <a:xfrm>
            <a:off x="1" y="3"/>
            <a:ext cx="9143999" cy="163396"/>
          </a:xfrm>
          <a:prstGeom prst="rect">
            <a:avLst/>
          </a:prstGeom>
          <a:solidFill>
            <a:srgbClr val="415064"/>
          </a:solidFill>
          <a:ln w="9525" cap="flat" cmpd="sng" algn="ctr">
            <a:noFill/>
            <a:prstDash val="solid"/>
          </a:ln>
          <a:effectLst/>
        </p:spPr>
        <p:txBody>
          <a:bodyPr rot="0" spcFirstLastPara="0" vert="horz" wrap="square" lIns="121920" tIns="60960" rIns="121920" bIns="60960" numCol="1" spcCol="0" rtlCol="0" fromWordArt="0" anchor="ctr" anchorCtr="0" forceAA="0" compatLnSpc="1">
            <a:prstTxWarp prst="textNoShape">
              <a:avLst/>
            </a:prstTxWarp>
            <a:noAutofit/>
          </a:bodyPr>
          <a:lstStyle>
            <a:defPPr>
              <a:defRPr lang="en-US"/>
            </a:defPPr>
            <a:lvl1pPr algn="l" rtl="0" fontAlgn="base">
              <a:spcBef>
                <a:spcPct val="0"/>
              </a:spcBef>
              <a:spcAft>
                <a:spcPct val="0"/>
              </a:spcAft>
              <a:defRPr sz="1224" kern="1200">
                <a:solidFill>
                  <a:schemeClr val="lt1"/>
                </a:solidFill>
                <a:latin typeface="+mn-lt"/>
                <a:ea typeface="+mn-ea"/>
                <a:cs typeface="+mn-cs"/>
              </a:defRPr>
            </a:lvl1pPr>
            <a:lvl2pPr marL="349849" algn="l" rtl="0" fontAlgn="base">
              <a:spcBef>
                <a:spcPct val="0"/>
              </a:spcBef>
              <a:spcAft>
                <a:spcPct val="0"/>
              </a:spcAft>
              <a:defRPr sz="1224" kern="1200">
                <a:solidFill>
                  <a:schemeClr val="lt1"/>
                </a:solidFill>
                <a:latin typeface="+mn-lt"/>
                <a:ea typeface="+mn-ea"/>
                <a:cs typeface="+mn-cs"/>
              </a:defRPr>
            </a:lvl2pPr>
            <a:lvl3pPr marL="699699" algn="l" rtl="0" fontAlgn="base">
              <a:spcBef>
                <a:spcPct val="0"/>
              </a:spcBef>
              <a:spcAft>
                <a:spcPct val="0"/>
              </a:spcAft>
              <a:defRPr sz="1224" kern="1200">
                <a:solidFill>
                  <a:schemeClr val="lt1"/>
                </a:solidFill>
                <a:latin typeface="+mn-lt"/>
                <a:ea typeface="+mn-ea"/>
                <a:cs typeface="+mn-cs"/>
              </a:defRPr>
            </a:lvl3pPr>
            <a:lvl4pPr marL="1049548" algn="l" rtl="0" fontAlgn="base">
              <a:spcBef>
                <a:spcPct val="0"/>
              </a:spcBef>
              <a:spcAft>
                <a:spcPct val="0"/>
              </a:spcAft>
              <a:defRPr sz="1224" kern="1200">
                <a:solidFill>
                  <a:schemeClr val="lt1"/>
                </a:solidFill>
                <a:latin typeface="+mn-lt"/>
                <a:ea typeface="+mn-ea"/>
                <a:cs typeface="+mn-cs"/>
              </a:defRPr>
            </a:lvl4pPr>
            <a:lvl5pPr marL="1399398" algn="l" rtl="0" fontAlgn="base">
              <a:spcBef>
                <a:spcPct val="0"/>
              </a:spcBef>
              <a:spcAft>
                <a:spcPct val="0"/>
              </a:spcAft>
              <a:defRPr sz="1224" kern="1200">
                <a:solidFill>
                  <a:schemeClr val="lt1"/>
                </a:solidFill>
                <a:latin typeface="+mn-lt"/>
                <a:ea typeface="+mn-ea"/>
                <a:cs typeface="+mn-cs"/>
              </a:defRPr>
            </a:lvl5pPr>
            <a:lvl6pPr marL="1749247" algn="l" defTabSz="699699" rtl="0" eaLnBrk="1" latinLnBrk="0" hangingPunct="1">
              <a:defRPr sz="1224" kern="1200">
                <a:solidFill>
                  <a:schemeClr val="lt1"/>
                </a:solidFill>
                <a:latin typeface="+mn-lt"/>
                <a:ea typeface="+mn-ea"/>
                <a:cs typeface="+mn-cs"/>
              </a:defRPr>
            </a:lvl6pPr>
            <a:lvl7pPr marL="2099097" algn="l" defTabSz="699699" rtl="0" eaLnBrk="1" latinLnBrk="0" hangingPunct="1">
              <a:defRPr sz="1224" kern="1200">
                <a:solidFill>
                  <a:schemeClr val="lt1"/>
                </a:solidFill>
                <a:latin typeface="+mn-lt"/>
                <a:ea typeface="+mn-ea"/>
                <a:cs typeface="+mn-cs"/>
              </a:defRPr>
            </a:lvl7pPr>
            <a:lvl8pPr marL="2448946" algn="l" defTabSz="699699" rtl="0" eaLnBrk="1" latinLnBrk="0" hangingPunct="1">
              <a:defRPr sz="1224" kern="1200">
                <a:solidFill>
                  <a:schemeClr val="lt1"/>
                </a:solidFill>
                <a:latin typeface="+mn-lt"/>
                <a:ea typeface="+mn-ea"/>
                <a:cs typeface="+mn-cs"/>
              </a:defRPr>
            </a:lvl8pPr>
            <a:lvl9pPr marL="2798796" algn="l" defTabSz="699699" rtl="0" eaLnBrk="1" latinLnBrk="0" hangingPunct="1">
              <a:defRPr sz="1224" kern="1200">
                <a:solidFill>
                  <a:schemeClr val="lt1"/>
                </a:solidFill>
                <a:latin typeface="+mn-lt"/>
                <a:ea typeface="+mn-ea"/>
                <a:cs typeface="+mn-cs"/>
              </a:defRPr>
            </a:lvl9pPr>
          </a:lstStyle>
          <a:p>
            <a:pPr defTabSz="1219079">
              <a:defRPr/>
            </a:pPr>
            <a:r>
              <a:rPr lang="it-IT" sz="1000" b="1" dirty="0">
                <a:solidFill>
                  <a:srgbClr val="FFFFFF"/>
                </a:solidFill>
                <a:latin typeface="Arial"/>
              </a:rPr>
              <a:t>Il contesto di riferimento </a:t>
            </a:r>
            <a:endParaRPr lang="it-IT" sz="1000" b="1" i="1" dirty="0">
              <a:solidFill>
                <a:srgbClr val="FFFFFF"/>
              </a:solidFill>
              <a:latin typeface="Arial"/>
            </a:endParaRPr>
          </a:p>
        </p:txBody>
      </p:sp>
      <p:sp>
        <p:nvSpPr>
          <p:cNvPr id="20" name="Segnaposto numero diapositiva 3">
            <a:extLst>
              <a:ext uri="{FF2B5EF4-FFF2-40B4-BE49-F238E27FC236}">
                <a16:creationId xmlns:a16="http://schemas.microsoft.com/office/drawing/2014/main" id="{D26B9CCE-AE4F-42B2-A0DD-42BB6864C2B3}"/>
              </a:ext>
            </a:extLst>
          </p:cNvPr>
          <p:cNvSpPr txBox="1">
            <a:spLocks/>
          </p:cNvSpPr>
          <p:nvPr/>
        </p:nvSpPr>
        <p:spPr>
          <a:xfrm>
            <a:off x="403225" y="4875793"/>
            <a:ext cx="1008062" cy="183687"/>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608DA0FE-9C19-F746-8419-6700E348BF78}" type="slidenum">
              <a:rPr lang="it-IT" smtClean="0"/>
              <a:pPr/>
              <a:t>9</a:t>
            </a:fld>
            <a:endParaRPr lang="it-IT" dirty="0"/>
          </a:p>
        </p:txBody>
      </p:sp>
      <p:sp>
        <p:nvSpPr>
          <p:cNvPr id="27" name="Rettangolo arrotondato 1057">
            <a:extLst>
              <a:ext uri="{FF2B5EF4-FFF2-40B4-BE49-F238E27FC236}">
                <a16:creationId xmlns:a16="http://schemas.microsoft.com/office/drawing/2014/main" id="{AC754721-A9D8-472C-B6C8-867874262433}"/>
              </a:ext>
            </a:extLst>
          </p:cNvPr>
          <p:cNvSpPr/>
          <p:nvPr/>
        </p:nvSpPr>
        <p:spPr>
          <a:xfrm>
            <a:off x="1112936" y="1705762"/>
            <a:ext cx="2339975" cy="224573"/>
          </a:xfrm>
          <a:prstGeom prst="roundRect">
            <a:avLst/>
          </a:prstGeom>
          <a:solidFill>
            <a:srgbClr val="41506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55"/>
            <a:r>
              <a:rPr lang="it-IT" sz="1000" b="1" dirty="0">
                <a:solidFill>
                  <a:srgbClr val="FFFFFF"/>
                </a:solidFill>
                <a:latin typeface="Arial"/>
              </a:rPr>
              <a:t>BLENDING</a:t>
            </a:r>
            <a:endParaRPr lang="it-IT" sz="900" b="1" dirty="0">
              <a:solidFill>
                <a:srgbClr val="FFFFFF"/>
              </a:solidFill>
              <a:latin typeface="Arial"/>
            </a:endParaRPr>
          </a:p>
        </p:txBody>
      </p:sp>
      <p:grpSp>
        <p:nvGrpSpPr>
          <p:cNvPr id="28" name="Group 4">
            <a:extLst>
              <a:ext uri="{FF2B5EF4-FFF2-40B4-BE49-F238E27FC236}">
                <a16:creationId xmlns:a16="http://schemas.microsoft.com/office/drawing/2014/main" id="{8DC36AFE-9818-4A7B-A5A7-0722E49BB61D}"/>
              </a:ext>
            </a:extLst>
          </p:cNvPr>
          <p:cNvGrpSpPr/>
          <p:nvPr/>
        </p:nvGrpSpPr>
        <p:grpSpPr bwMode="gray">
          <a:xfrm rot="5400000">
            <a:off x="2192923" y="886989"/>
            <a:ext cx="180000" cy="2339974"/>
            <a:chOff x="6280267" y="1836686"/>
            <a:chExt cx="334451" cy="883825"/>
          </a:xfrm>
        </p:grpSpPr>
        <p:sp>
          <p:nvSpPr>
            <p:cNvPr id="29" name="Chevron 112">
              <a:extLst>
                <a:ext uri="{FF2B5EF4-FFF2-40B4-BE49-F238E27FC236}">
                  <a16:creationId xmlns:a16="http://schemas.microsoft.com/office/drawing/2014/main" id="{FD120246-F249-4620-93F3-DB56D3CED7B5}"/>
                </a:ext>
              </a:extLst>
            </p:cNvPr>
            <p:cNvSpPr/>
            <p:nvPr/>
          </p:nvSpPr>
          <p:spPr bwMode="gray">
            <a:xfrm rot="10800000" flipH="1" flipV="1">
              <a:off x="6280267" y="1941177"/>
              <a:ext cx="172908" cy="674843"/>
            </a:xfrm>
            <a:prstGeom prst="chevron">
              <a:avLst/>
            </a:prstGeom>
            <a:gradFill flip="none" rotWithShape="1">
              <a:gsLst>
                <a:gs pos="0">
                  <a:srgbClr val="747474">
                    <a:tint val="50000"/>
                    <a:satMod val="300000"/>
                  </a:srgbClr>
                </a:gs>
                <a:gs pos="35000">
                  <a:srgbClr val="747474">
                    <a:tint val="37000"/>
                    <a:satMod val="300000"/>
                  </a:srgbClr>
                </a:gs>
                <a:gs pos="100000">
                  <a:srgbClr val="747474">
                    <a:tint val="15000"/>
                    <a:satMod val="350000"/>
                  </a:srgbClr>
                </a:gs>
              </a:gsLst>
              <a:lin ang="10800000" scaled="1"/>
              <a:tileRect/>
            </a:gradFill>
            <a:ln w="9525" cap="flat" cmpd="sng" algn="ctr">
              <a:noFill/>
              <a:prstDash val="solid"/>
            </a:ln>
            <a:effectLst>
              <a:outerShdw blurRad="40000" dist="20000" dir="5400000" rotWithShape="0">
                <a:srgbClr val="000000">
                  <a:alpha val="38000"/>
                </a:srgbClr>
              </a:outerShdw>
            </a:effectLst>
          </p:spPr>
          <p:txBody>
            <a:bodyPr rtlCol="0" anchor="ctr"/>
            <a:lstStyle/>
            <a:p>
              <a:pPr algn="ctr" fontAlgn="base">
                <a:spcBef>
                  <a:spcPct val="0"/>
                </a:spcBef>
                <a:spcAft>
                  <a:spcPct val="0"/>
                </a:spcAft>
                <a:defRPr/>
              </a:pPr>
              <a:endParaRPr lang="en-US" sz="918" kern="0">
                <a:solidFill>
                  <a:srgbClr val="000000"/>
                </a:solidFill>
                <a:latin typeface="Calibri" pitchFamily="34" charset="0"/>
              </a:endParaRPr>
            </a:p>
          </p:txBody>
        </p:sp>
        <p:sp>
          <p:nvSpPr>
            <p:cNvPr id="30" name="Chevron 113">
              <a:extLst>
                <a:ext uri="{FF2B5EF4-FFF2-40B4-BE49-F238E27FC236}">
                  <a16:creationId xmlns:a16="http://schemas.microsoft.com/office/drawing/2014/main" id="{92EBD9AE-75D1-4FA8-B0DA-47C048403D1B}"/>
                </a:ext>
              </a:extLst>
            </p:cNvPr>
            <p:cNvSpPr/>
            <p:nvPr/>
          </p:nvSpPr>
          <p:spPr bwMode="gray">
            <a:xfrm rot="10800000" flipH="1" flipV="1">
              <a:off x="6388264" y="1836686"/>
              <a:ext cx="226454" cy="883825"/>
            </a:xfrm>
            <a:prstGeom prst="chevron">
              <a:avLst/>
            </a:prstGeom>
            <a:solidFill>
              <a:srgbClr val="415064"/>
            </a:solidFill>
            <a:ln w="9525" cap="flat" cmpd="sng" algn="ctr">
              <a:noFill/>
              <a:prstDash val="solid"/>
            </a:ln>
            <a:effectLst>
              <a:outerShdw blurRad="40000" dist="23000" dir="5400000" rotWithShape="0">
                <a:srgbClr val="000000">
                  <a:alpha val="35000"/>
                </a:srgbClr>
              </a:outerShdw>
            </a:effectLst>
          </p:spPr>
          <p:txBody>
            <a:bodyPr rtlCol="0" anchor="ctr"/>
            <a:lstStyle/>
            <a:p>
              <a:pPr algn="ctr" fontAlgn="base">
                <a:spcBef>
                  <a:spcPct val="0"/>
                </a:spcBef>
                <a:spcAft>
                  <a:spcPct val="0"/>
                </a:spcAft>
                <a:defRPr/>
              </a:pPr>
              <a:endParaRPr lang="en-US" sz="918" kern="0" dirty="0">
                <a:solidFill>
                  <a:srgbClr val="000000"/>
                </a:solidFill>
                <a:latin typeface="Calibri" pitchFamily="34" charset="0"/>
              </a:endParaRPr>
            </a:p>
          </p:txBody>
        </p:sp>
      </p:grpSp>
      <p:sp>
        <p:nvSpPr>
          <p:cNvPr id="33" name="CasellaDiTesto 32">
            <a:extLst>
              <a:ext uri="{FF2B5EF4-FFF2-40B4-BE49-F238E27FC236}">
                <a16:creationId xmlns:a16="http://schemas.microsoft.com/office/drawing/2014/main" id="{74973FC1-2CEC-4184-B54C-79FA5D13DE42}"/>
              </a:ext>
            </a:extLst>
          </p:cNvPr>
          <p:cNvSpPr txBox="1"/>
          <p:nvPr/>
        </p:nvSpPr>
        <p:spPr>
          <a:xfrm>
            <a:off x="282356" y="2297837"/>
            <a:ext cx="1296000" cy="1440000"/>
          </a:xfrm>
          <a:prstGeom prst="rect">
            <a:avLst/>
          </a:prstGeom>
          <a:solidFill>
            <a:schemeClr val="bg1"/>
          </a:solidFill>
          <a:ln w="3175">
            <a:solidFill>
              <a:schemeClr val="tx1">
                <a:lumMod val="20000"/>
                <a:lumOff val="80000"/>
              </a:schemeClr>
            </a:solidFill>
          </a:ln>
          <a:effectLst>
            <a:outerShdw blurRad="50800" dist="38100" dir="13500000" algn="br" rotWithShape="0">
              <a:prstClr val="black">
                <a:alpha val="40000"/>
              </a:prstClr>
            </a:outerShdw>
          </a:effectLst>
        </p:spPr>
        <p:txBody>
          <a:bodyPr wrap="square" lIns="27000" rIns="108000" rtlCol="0" anchor="t" anchorCtr="0">
            <a:noAutofit/>
          </a:bodyPr>
          <a:lstStyle/>
          <a:p>
            <a:pPr algn="ctr">
              <a:lnSpc>
                <a:spcPct val="110000"/>
              </a:lnSpc>
              <a:spcAft>
                <a:spcPts val="200"/>
              </a:spcAft>
              <a:buClr>
                <a:schemeClr val="tx1"/>
              </a:buClr>
            </a:pPr>
            <a:r>
              <a:rPr lang="it-IT" sz="900" b="1" dirty="0"/>
              <a:t>Finanziamento che combina risorse pubbliche agevolate con risorse private non agevolate e competenze del settore pubblico e privato</a:t>
            </a:r>
          </a:p>
        </p:txBody>
      </p:sp>
      <p:sp>
        <p:nvSpPr>
          <p:cNvPr id="34" name="CasellaDiTesto 33">
            <a:extLst>
              <a:ext uri="{FF2B5EF4-FFF2-40B4-BE49-F238E27FC236}">
                <a16:creationId xmlns:a16="http://schemas.microsoft.com/office/drawing/2014/main" id="{5A94C5C8-C5AE-4D43-B643-9119C9E1239E}"/>
              </a:ext>
            </a:extLst>
          </p:cNvPr>
          <p:cNvSpPr txBox="1"/>
          <p:nvPr/>
        </p:nvSpPr>
        <p:spPr>
          <a:xfrm>
            <a:off x="1632778" y="2297837"/>
            <a:ext cx="1296000" cy="1440000"/>
          </a:xfrm>
          <a:prstGeom prst="rect">
            <a:avLst/>
          </a:prstGeom>
          <a:solidFill>
            <a:schemeClr val="bg1"/>
          </a:solidFill>
          <a:ln w="3175">
            <a:solidFill>
              <a:schemeClr val="tx1">
                <a:lumMod val="20000"/>
                <a:lumOff val="80000"/>
              </a:schemeClr>
            </a:solidFill>
          </a:ln>
          <a:effectLst>
            <a:outerShdw blurRad="50800" dist="38100" dir="13500000" algn="br" rotWithShape="0">
              <a:prstClr val="black">
                <a:alpha val="40000"/>
              </a:prstClr>
            </a:outerShdw>
          </a:effectLst>
        </p:spPr>
        <p:txBody>
          <a:bodyPr wrap="square" lIns="27000" rIns="108000" rtlCol="0" anchor="t" anchorCtr="0">
            <a:noAutofit/>
          </a:bodyPr>
          <a:lstStyle/>
          <a:p>
            <a:pPr algn="ctr">
              <a:lnSpc>
                <a:spcPct val="110000"/>
              </a:lnSpc>
              <a:spcAft>
                <a:spcPts val="200"/>
              </a:spcAft>
              <a:buClr>
                <a:schemeClr val="tx1"/>
              </a:buClr>
            </a:pPr>
            <a:r>
              <a:rPr lang="it-IT" sz="900" b="1" dirty="0"/>
              <a:t>L'uso strategico della </a:t>
            </a:r>
            <a:r>
              <a:rPr lang="it-IT" sz="900" b="1" dirty="0" err="1"/>
              <a:t>development</a:t>
            </a:r>
            <a:r>
              <a:rPr lang="it-IT" sz="900" b="1" dirty="0"/>
              <a:t> </a:t>
            </a:r>
            <a:r>
              <a:rPr lang="it-IT" sz="900" b="1" dirty="0" err="1"/>
              <a:t>finance</a:t>
            </a:r>
            <a:r>
              <a:rPr lang="it-IT" sz="900" b="1" dirty="0"/>
              <a:t> per la mobilitazione di finanziamenti aggiuntivi verso gli </a:t>
            </a:r>
            <a:r>
              <a:rPr lang="it-IT" sz="900" b="1" dirty="0" err="1"/>
              <a:t>SDGs</a:t>
            </a:r>
            <a:r>
              <a:rPr lang="it-IT" sz="900" b="1" dirty="0"/>
              <a:t> nei Paesi in Via di Sviluppo</a:t>
            </a:r>
          </a:p>
        </p:txBody>
      </p:sp>
      <p:sp>
        <p:nvSpPr>
          <p:cNvPr id="35" name="CasellaDiTesto 34">
            <a:extLst>
              <a:ext uri="{FF2B5EF4-FFF2-40B4-BE49-F238E27FC236}">
                <a16:creationId xmlns:a16="http://schemas.microsoft.com/office/drawing/2014/main" id="{777EB6D0-F869-49D5-BAD7-3C096E2DAC1E}"/>
              </a:ext>
            </a:extLst>
          </p:cNvPr>
          <p:cNvSpPr txBox="1"/>
          <p:nvPr/>
        </p:nvSpPr>
        <p:spPr>
          <a:xfrm>
            <a:off x="2983199" y="2297837"/>
            <a:ext cx="1296000" cy="1440000"/>
          </a:xfrm>
          <a:prstGeom prst="rect">
            <a:avLst/>
          </a:prstGeom>
          <a:solidFill>
            <a:schemeClr val="bg1"/>
          </a:solidFill>
          <a:ln w="3175">
            <a:solidFill>
              <a:schemeClr val="tx1">
                <a:lumMod val="20000"/>
                <a:lumOff val="80000"/>
              </a:schemeClr>
            </a:solidFill>
          </a:ln>
          <a:effectLst>
            <a:outerShdw blurRad="50800" dist="38100" dir="13500000" algn="br" rotWithShape="0">
              <a:prstClr val="black">
                <a:alpha val="40000"/>
              </a:prstClr>
            </a:outerShdw>
          </a:effectLst>
        </p:spPr>
        <p:txBody>
          <a:bodyPr wrap="square" lIns="27000" rIns="108000" rtlCol="0" anchor="t" anchorCtr="0">
            <a:noAutofit/>
          </a:bodyPr>
          <a:lstStyle/>
          <a:p>
            <a:pPr algn="ctr">
              <a:spcAft>
                <a:spcPts val="200"/>
              </a:spcAft>
              <a:buClr>
                <a:schemeClr val="tx1"/>
              </a:buClr>
            </a:pPr>
            <a:r>
              <a:rPr lang="it-IT" sz="900" b="1" dirty="0"/>
              <a:t>Combinazione di finanziamenti agevolati con risorse proprie delle DFI e/o di altri investitori a mercato, per sviluppare il settore privato, promuovere gli </a:t>
            </a:r>
            <a:r>
              <a:rPr lang="it-IT" sz="900" b="1" dirty="0" err="1"/>
              <a:t>SDGs</a:t>
            </a:r>
            <a:r>
              <a:rPr lang="it-IT" sz="900" b="1" dirty="0"/>
              <a:t> e mobilitare risorse private</a:t>
            </a:r>
          </a:p>
        </p:txBody>
      </p:sp>
      <p:sp>
        <p:nvSpPr>
          <p:cNvPr id="36" name="Rettangolo arrotondato 1057">
            <a:extLst>
              <a:ext uri="{FF2B5EF4-FFF2-40B4-BE49-F238E27FC236}">
                <a16:creationId xmlns:a16="http://schemas.microsoft.com/office/drawing/2014/main" id="{CA55ECA0-CF33-4C6B-97E2-E820D31D64FD}"/>
              </a:ext>
            </a:extLst>
          </p:cNvPr>
          <p:cNvSpPr/>
          <p:nvPr/>
        </p:nvSpPr>
        <p:spPr>
          <a:xfrm>
            <a:off x="282356" y="3777747"/>
            <a:ext cx="1296000" cy="224573"/>
          </a:xfrm>
          <a:prstGeom prst="roundRect">
            <a:avLst/>
          </a:prstGeom>
          <a:noFill/>
          <a:ln w="15875">
            <a:solidFill>
              <a:srgbClr val="41506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55"/>
            <a:r>
              <a:rPr lang="it-IT" sz="900" b="1" dirty="0">
                <a:solidFill>
                  <a:srgbClr val="415064"/>
                </a:solidFill>
                <a:latin typeface="Arial"/>
              </a:rPr>
              <a:t>AAAA 2015</a:t>
            </a:r>
          </a:p>
        </p:txBody>
      </p:sp>
      <p:sp>
        <p:nvSpPr>
          <p:cNvPr id="37" name="Rettangolo arrotondato 1057">
            <a:extLst>
              <a:ext uri="{FF2B5EF4-FFF2-40B4-BE49-F238E27FC236}">
                <a16:creationId xmlns:a16="http://schemas.microsoft.com/office/drawing/2014/main" id="{EB2C8A68-F6A9-4809-9FC0-A3307D1280B7}"/>
              </a:ext>
            </a:extLst>
          </p:cNvPr>
          <p:cNvSpPr/>
          <p:nvPr/>
        </p:nvSpPr>
        <p:spPr>
          <a:xfrm>
            <a:off x="1632778" y="3777746"/>
            <a:ext cx="1296000" cy="224573"/>
          </a:xfrm>
          <a:prstGeom prst="roundRect">
            <a:avLst/>
          </a:prstGeom>
          <a:noFill/>
          <a:ln w="15875">
            <a:solidFill>
              <a:srgbClr val="41506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55"/>
            <a:r>
              <a:rPr lang="it-IT" sz="900" b="1" dirty="0">
                <a:solidFill>
                  <a:srgbClr val="415064"/>
                </a:solidFill>
                <a:latin typeface="Arial"/>
              </a:rPr>
              <a:t>OCSE-DAC</a:t>
            </a:r>
          </a:p>
        </p:txBody>
      </p:sp>
      <p:sp>
        <p:nvSpPr>
          <p:cNvPr id="38" name="Rettangolo arrotondato 1057">
            <a:extLst>
              <a:ext uri="{FF2B5EF4-FFF2-40B4-BE49-F238E27FC236}">
                <a16:creationId xmlns:a16="http://schemas.microsoft.com/office/drawing/2014/main" id="{F37B5E15-6F62-4F44-B199-3FE6378A93AB}"/>
              </a:ext>
            </a:extLst>
          </p:cNvPr>
          <p:cNvSpPr/>
          <p:nvPr/>
        </p:nvSpPr>
        <p:spPr>
          <a:xfrm>
            <a:off x="2983199" y="3777747"/>
            <a:ext cx="1296000" cy="224573"/>
          </a:xfrm>
          <a:prstGeom prst="roundRect">
            <a:avLst/>
          </a:prstGeom>
          <a:noFill/>
          <a:ln w="15875">
            <a:solidFill>
              <a:srgbClr val="41506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55"/>
            <a:r>
              <a:rPr lang="it-IT" sz="900" b="1" dirty="0">
                <a:solidFill>
                  <a:srgbClr val="415064"/>
                </a:solidFill>
                <a:latin typeface="Arial"/>
              </a:rPr>
              <a:t>DFI </a:t>
            </a:r>
            <a:r>
              <a:rPr lang="it-IT" sz="900" b="1" dirty="0" err="1">
                <a:solidFill>
                  <a:srgbClr val="415064"/>
                </a:solidFill>
                <a:latin typeface="Arial"/>
              </a:rPr>
              <a:t>Working</a:t>
            </a:r>
            <a:r>
              <a:rPr lang="it-IT" sz="900" b="1" dirty="0">
                <a:solidFill>
                  <a:srgbClr val="415064"/>
                </a:solidFill>
                <a:latin typeface="Arial"/>
              </a:rPr>
              <a:t> Group</a:t>
            </a:r>
          </a:p>
        </p:txBody>
      </p:sp>
      <p:sp>
        <p:nvSpPr>
          <p:cNvPr id="4" name="Forma a L 3">
            <a:extLst>
              <a:ext uri="{FF2B5EF4-FFF2-40B4-BE49-F238E27FC236}">
                <a16:creationId xmlns:a16="http://schemas.microsoft.com/office/drawing/2014/main" id="{58DC9D70-35C9-400C-9646-5E6FC0324DEB}"/>
              </a:ext>
            </a:extLst>
          </p:cNvPr>
          <p:cNvSpPr/>
          <p:nvPr/>
        </p:nvSpPr>
        <p:spPr>
          <a:xfrm rot="5400000">
            <a:off x="4725008" y="3485464"/>
            <a:ext cx="788412" cy="1080000"/>
          </a:xfrm>
          <a:prstGeom prst="corner">
            <a:avLst>
              <a:gd name="adj1" fmla="val 10990"/>
              <a:gd name="adj2" fmla="val 96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Forma a L 20">
            <a:extLst>
              <a:ext uri="{FF2B5EF4-FFF2-40B4-BE49-F238E27FC236}">
                <a16:creationId xmlns:a16="http://schemas.microsoft.com/office/drawing/2014/main" id="{0EA2BE41-A018-461B-9AF9-3A3666C1789B}"/>
              </a:ext>
            </a:extLst>
          </p:cNvPr>
          <p:cNvSpPr/>
          <p:nvPr/>
        </p:nvSpPr>
        <p:spPr>
          <a:xfrm rot="5400000">
            <a:off x="5803999" y="2745302"/>
            <a:ext cx="680610" cy="1133605"/>
          </a:xfrm>
          <a:prstGeom prst="corner">
            <a:avLst>
              <a:gd name="adj1" fmla="val 11897"/>
              <a:gd name="adj2" fmla="val 942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2" name="Forma a L 21">
            <a:extLst>
              <a:ext uri="{FF2B5EF4-FFF2-40B4-BE49-F238E27FC236}">
                <a16:creationId xmlns:a16="http://schemas.microsoft.com/office/drawing/2014/main" id="{FAF1AB30-7CA5-4E4E-AF53-89CBDA260492}"/>
              </a:ext>
            </a:extLst>
          </p:cNvPr>
          <p:cNvSpPr/>
          <p:nvPr/>
        </p:nvSpPr>
        <p:spPr>
          <a:xfrm rot="5400000">
            <a:off x="6817677" y="2109710"/>
            <a:ext cx="703746" cy="1080000"/>
          </a:xfrm>
          <a:prstGeom prst="corner">
            <a:avLst>
              <a:gd name="adj1" fmla="val 10990"/>
              <a:gd name="adj2" fmla="val 1033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3" name="Forma a L 22">
            <a:extLst>
              <a:ext uri="{FF2B5EF4-FFF2-40B4-BE49-F238E27FC236}">
                <a16:creationId xmlns:a16="http://schemas.microsoft.com/office/drawing/2014/main" id="{CCAD1BD8-805B-4CDE-B751-BAF90662E1F9}"/>
              </a:ext>
            </a:extLst>
          </p:cNvPr>
          <p:cNvSpPr/>
          <p:nvPr/>
        </p:nvSpPr>
        <p:spPr>
          <a:xfrm rot="5400000">
            <a:off x="7932072" y="1419447"/>
            <a:ext cx="690454" cy="1216798"/>
          </a:xfrm>
          <a:prstGeom prst="corner">
            <a:avLst>
              <a:gd name="adj1" fmla="val 12804"/>
              <a:gd name="adj2" fmla="val 1091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CasellaDiTesto 5">
            <a:extLst>
              <a:ext uri="{FF2B5EF4-FFF2-40B4-BE49-F238E27FC236}">
                <a16:creationId xmlns:a16="http://schemas.microsoft.com/office/drawing/2014/main" id="{8303E40C-5F06-479B-8CAC-7AD36E9C9D2A}"/>
              </a:ext>
            </a:extLst>
          </p:cNvPr>
          <p:cNvSpPr txBox="1"/>
          <p:nvPr/>
        </p:nvSpPr>
        <p:spPr>
          <a:xfrm>
            <a:off x="4578070" y="3764725"/>
            <a:ext cx="1143280" cy="609307"/>
          </a:xfrm>
          <a:prstGeom prst="rect">
            <a:avLst/>
          </a:prstGeom>
        </p:spPr>
        <p:txBody>
          <a:bodyPr vert="horz" wrap="square" lIns="91440" tIns="45720" rIns="91440" bIns="45720" rtlCol="0" anchor="b">
            <a:noAutofit/>
          </a:bodyPr>
          <a:lstStyle/>
          <a:p>
            <a:pPr algn="ctr"/>
            <a:r>
              <a:rPr lang="it-IT" sz="900" dirty="0"/>
              <a:t>Porta sul mercato più progetti bancabili pronti per l’investimento</a:t>
            </a:r>
          </a:p>
        </p:txBody>
      </p:sp>
      <p:sp>
        <p:nvSpPr>
          <p:cNvPr id="24" name="CasellaDiTesto 23">
            <a:extLst>
              <a:ext uri="{FF2B5EF4-FFF2-40B4-BE49-F238E27FC236}">
                <a16:creationId xmlns:a16="http://schemas.microsoft.com/office/drawing/2014/main" id="{D9E5854D-3CD5-4BBE-BFFA-D69673D842F9}"/>
              </a:ext>
            </a:extLst>
          </p:cNvPr>
          <p:cNvSpPr txBox="1"/>
          <p:nvPr/>
        </p:nvSpPr>
        <p:spPr>
          <a:xfrm>
            <a:off x="5616237" y="3094955"/>
            <a:ext cx="1224000" cy="609307"/>
          </a:xfrm>
          <a:prstGeom prst="rect">
            <a:avLst/>
          </a:prstGeom>
        </p:spPr>
        <p:txBody>
          <a:bodyPr vert="horz" wrap="square" lIns="91440" tIns="45720" rIns="91440" bIns="45720" rtlCol="0" anchor="b">
            <a:noAutofit/>
          </a:bodyPr>
          <a:lstStyle/>
          <a:p>
            <a:pPr algn="ctr"/>
            <a:r>
              <a:rPr lang="it-IT" sz="900" dirty="0"/>
              <a:t>Rende disponibile il capitale in mercati non adeguatamente sviluppati</a:t>
            </a:r>
          </a:p>
        </p:txBody>
      </p:sp>
      <p:sp>
        <p:nvSpPr>
          <p:cNvPr id="26" name="CasellaDiTesto 25">
            <a:extLst>
              <a:ext uri="{FF2B5EF4-FFF2-40B4-BE49-F238E27FC236}">
                <a16:creationId xmlns:a16="http://schemas.microsoft.com/office/drawing/2014/main" id="{53CB8F39-F07D-409A-BCFE-CD3FF3E38893}"/>
              </a:ext>
            </a:extLst>
          </p:cNvPr>
          <p:cNvSpPr txBox="1"/>
          <p:nvPr/>
        </p:nvSpPr>
        <p:spPr>
          <a:xfrm>
            <a:off x="6689897" y="2541972"/>
            <a:ext cx="1080000" cy="609307"/>
          </a:xfrm>
          <a:prstGeom prst="rect">
            <a:avLst/>
          </a:prstGeom>
        </p:spPr>
        <p:txBody>
          <a:bodyPr vert="horz" wrap="square" lIns="0" tIns="45720" rIns="0" bIns="45720" rtlCol="0" anchor="b">
            <a:noAutofit/>
          </a:bodyPr>
          <a:lstStyle>
            <a:defPPr>
              <a:defRPr lang="it-IT"/>
            </a:defPPr>
            <a:lvl1pPr>
              <a:defRPr sz="800"/>
            </a:lvl1pPr>
          </a:lstStyle>
          <a:p>
            <a:pPr algn="ctr"/>
            <a:r>
              <a:rPr lang="it-IT" sz="900" dirty="0"/>
              <a:t>Porta nuovi investitori e competenze, creando mercati efficienti</a:t>
            </a:r>
          </a:p>
        </p:txBody>
      </p:sp>
      <p:sp>
        <p:nvSpPr>
          <p:cNvPr id="31" name="CasellaDiTesto 30">
            <a:extLst>
              <a:ext uri="{FF2B5EF4-FFF2-40B4-BE49-F238E27FC236}">
                <a16:creationId xmlns:a16="http://schemas.microsoft.com/office/drawing/2014/main" id="{CCEB9BE1-C9B2-443C-A583-88F91CAF7E11}"/>
              </a:ext>
            </a:extLst>
          </p:cNvPr>
          <p:cNvSpPr txBox="1"/>
          <p:nvPr/>
        </p:nvSpPr>
        <p:spPr>
          <a:xfrm>
            <a:off x="7751101" y="1705762"/>
            <a:ext cx="1142074" cy="815651"/>
          </a:xfrm>
          <a:prstGeom prst="rect">
            <a:avLst/>
          </a:prstGeom>
        </p:spPr>
        <p:txBody>
          <a:bodyPr vert="horz" wrap="square" lIns="36000" tIns="45720" rIns="36000" bIns="45720" rtlCol="0" anchor="b">
            <a:noAutofit/>
          </a:bodyPr>
          <a:lstStyle>
            <a:defPPr>
              <a:defRPr lang="it-IT"/>
            </a:defPPr>
            <a:lvl1pPr>
              <a:defRPr sz="800"/>
            </a:lvl1pPr>
          </a:lstStyle>
          <a:p>
            <a:pPr algn="ctr"/>
            <a:endParaRPr lang="it-IT" sz="900" dirty="0"/>
          </a:p>
          <a:p>
            <a:pPr algn="ctr"/>
            <a:r>
              <a:rPr lang="it-IT" sz="900" dirty="0"/>
              <a:t>Porta soluzioni efficienti, liberando capitale pubblico per nuovi progetti di sviluppo</a:t>
            </a:r>
          </a:p>
        </p:txBody>
      </p:sp>
      <p:sp>
        <p:nvSpPr>
          <p:cNvPr id="39" name="Rettangolo arrotondato 1057">
            <a:extLst>
              <a:ext uri="{FF2B5EF4-FFF2-40B4-BE49-F238E27FC236}">
                <a16:creationId xmlns:a16="http://schemas.microsoft.com/office/drawing/2014/main" id="{68160BFE-88BE-45DE-8E4B-93D3EE51BA09}"/>
              </a:ext>
            </a:extLst>
          </p:cNvPr>
          <p:cNvSpPr/>
          <p:nvPr/>
        </p:nvSpPr>
        <p:spPr>
          <a:xfrm>
            <a:off x="4420875" y="1653119"/>
            <a:ext cx="3241478" cy="254864"/>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55"/>
            <a:r>
              <a:rPr lang="it-IT" sz="900" b="1" dirty="0">
                <a:solidFill>
                  <a:srgbClr val="415064"/>
                </a:solidFill>
                <a:latin typeface="Arial"/>
              </a:rPr>
              <a:t>BENEFICI DEL BLENDING PER FASE DI INTERVENTO</a:t>
            </a:r>
          </a:p>
        </p:txBody>
      </p:sp>
      <p:sp>
        <p:nvSpPr>
          <p:cNvPr id="7" name="Freccia a pentagono 6">
            <a:extLst>
              <a:ext uri="{FF2B5EF4-FFF2-40B4-BE49-F238E27FC236}">
                <a16:creationId xmlns:a16="http://schemas.microsoft.com/office/drawing/2014/main" id="{9A73CB7C-22F3-4D0A-BBE4-A8E020AFC4EF}"/>
              </a:ext>
            </a:extLst>
          </p:cNvPr>
          <p:cNvSpPr/>
          <p:nvPr/>
        </p:nvSpPr>
        <p:spPr>
          <a:xfrm>
            <a:off x="4578070" y="4419670"/>
            <a:ext cx="4403698" cy="288000"/>
          </a:xfrm>
          <a:prstGeom prst="homePlate">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bg1"/>
              </a:solidFill>
            </a:endParaRPr>
          </a:p>
        </p:txBody>
      </p:sp>
      <p:sp>
        <p:nvSpPr>
          <p:cNvPr id="8" name="CasellaDiTesto 7">
            <a:extLst>
              <a:ext uri="{FF2B5EF4-FFF2-40B4-BE49-F238E27FC236}">
                <a16:creationId xmlns:a16="http://schemas.microsoft.com/office/drawing/2014/main" id="{8219C50E-605A-4209-89E6-C320AAE8FDA0}"/>
              </a:ext>
            </a:extLst>
          </p:cNvPr>
          <p:cNvSpPr txBox="1"/>
          <p:nvPr/>
        </p:nvSpPr>
        <p:spPr>
          <a:xfrm>
            <a:off x="4680156" y="4439844"/>
            <a:ext cx="1019072" cy="229931"/>
          </a:xfrm>
          <a:prstGeom prst="rect">
            <a:avLst/>
          </a:prstGeom>
        </p:spPr>
        <p:txBody>
          <a:bodyPr vert="horz" wrap="square" lIns="36000" tIns="45720" rIns="36000" bIns="45720" rtlCol="0" anchor="b">
            <a:noAutofit/>
          </a:bodyPr>
          <a:lstStyle/>
          <a:p>
            <a:pPr algn="l"/>
            <a:r>
              <a:rPr lang="it-IT" sz="900" b="1" dirty="0">
                <a:solidFill>
                  <a:schemeClr val="bg1"/>
                </a:solidFill>
              </a:rPr>
              <a:t>ESPLORAZIONE</a:t>
            </a:r>
          </a:p>
        </p:txBody>
      </p:sp>
      <p:sp>
        <p:nvSpPr>
          <p:cNvPr id="40" name="CasellaDiTesto 39">
            <a:extLst>
              <a:ext uri="{FF2B5EF4-FFF2-40B4-BE49-F238E27FC236}">
                <a16:creationId xmlns:a16="http://schemas.microsoft.com/office/drawing/2014/main" id="{1D5F9738-30BA-4FDD-8C56-2F841DA950BC}"/>
              </a:ext>
            </a:extLst>
          </p:cNvPr>
          <p:cNvSpPr txBox="1"/>
          <p:nvPr/>
        </p:nvSpPr>
        <p:spPr>
          <a:xfrm>
            <a:off x="5832166" y="4484089"/>
            <a:ext cx="900474" cy="180000"/>
          </a:xfrm>
          <a:prstGeom prst="rect">
            <a:avLst/>
          </a:prstGeom>
        </p:spPr>
        <p:txBody>
          <a:bodyPr vert="horz" wrap="square" lIns="0" tIns="45720" rIns="0" bIns="45720" rtlCol="0" anchor="b">
            <a:noAutofit/>
          </a:bodyPr>
          <a:lstStyle/>
          <a:p>
            <a:pPr algn="l"/>
            <a:r>
              <a:rPr lang="it-IT" sz="900" b="1" dirty="0">
                <a:solidFill>
                  <a:schemeClr val="bg1"/>
                </a:solidFill>
              </a:rPr>
              <a:t>COSTRUZIONE</a:t>
            </a:r>
            <a:endParaRPr lang="it-IT" sz="800" b="1" dirty="0">
              <a:solidFill>
                <a:schemeClr val="bg1"/>
              </a:solidFill>
            </a:endParaRPr>
          </a:p>
        </p:txBody>
      </p:sp>
      <p:sp>
        <p:nvSpPr>
          <p:cNvPr id="41" name="CasellaDiTesto 40">
            <a:extLst>
              <a:ext uri="{FF2B5EF4-FFF2-40B4-BE49-F238E27FC236}">
                <a16:creationId xmlns:a16="http://schemas.microsoft.com/office/drawing/2014/main" id="{0FDB29A0-824A-4189-A5B9-81E7E259AD14}"/>
              </a:ext>
            </a:extLst>
          </p:cNvPr>
          <p:cNvSpPr txBox="1"/>
          <p:nvPr/>
        </p:nvSpPr>
        <p:spPr>
          <a:xfrm>
            <a:off x="6895482" y="4484089"/>
            <a:ext cx="828000" cy="180000"/>
          </a:xfrm>
          <a:prstGeom prst="rect">
            <a:avLst/>
          </a:prstGeom>
        </p:spPr>
        <p:txBody>
          <a:bodyPr vert="horz" wrap="square" lIns="36000" tIns="45720" rIns="36000" bIns="45720" rtlCol="0" anchor="b">
            <a:noAutofit/>
          </a:bodyPr>
          <a:lstStyle/>
          <a:p>
            <a:pPr algn="ctr"/>
            <a:r>
              <a:rPr lang="it-IT" sz="900" b="1" dirty="0">
                <a:solidFill>
                  <a:schemeClr val="bg1"/>
                </a:solidFill>
              </a:rPr>
              <a:t>CRESCITA</a:t>
            </a:r>
            <a:endParaRPr lang="it-IT" sz="800" b="1" dirty="0">
              <a:solidFill>
                <a:schemeClr val="bg1"/>
              </a:solidFill>
            </a:endParaRPr>
          </a:p>
        </p:txBody>
      </p:sp>
      <p:sp>
        <p:nvSpPr>
          <p:cNvPr id="42" name="CasellaDiTesto 41">
            <a:extLst>
              <a:ext uri="{FF2B5EF4-FFF2-40B4-BE49-F238E27FC236}">
                <a16:creationId xmlns:a16="http://schemas.microsoft.com/office/drawing/2014/main" id="{5AB2C2A4-CA2D-4458-B760-40ACDA106403}"/>
              </a:ext>
            </a:extLst>
          </p:cNvPr>
          <p:cNvSpPr txBox="1"/>
          <p:nvPr/>
        </p:nvSpPr>
        <p:spPr>
          <a:xfrm>
            <a:off x="7940366" y="4484089"/>
            <a:ext cx="828000" cy="180000"/>
          </a:xfrm>
          <a:prstGeom prst="rect">
            <a:avLst/>
          </a:prstGeom>
        </p:spPr>
        <p:txBody>
          <a:bodyPr vert="horz" wrap="square" lIns="36000" tIns="45720" rIns="36000" bIns="45720" rtlCol="0" anchor="b">
            <a:noAutofit/>
          </a:bodyPr>
          <a:lstStyle/>
          <a:p>
            <a:pPr algn="ctr"/>
            <a:r>
              <a:rPr lang="it-IT" sz="900" b="1" dirty="0">
                <a:solidFill>
                  <a:schemeClr val="bg1"/>
                </a:solidFill>
              </a:rPr>
              <a:t>MATURITÀ</a:t>
            </a:r>
            <a:endParaRPr lang="it-IT" sz="800" b="1" dirty="0">
              <a:solidFill>
                <a:schemeClr val="bg1"/>
              </a:solidFill>
            </a:endParaRPr>
          </a:p>
        </p:txBody>
      </p:sp>
      <p:grpSp>
        <p:nvGrpSpPr>
          <p:cNvPr id="43" name="Group 4">
            <a:extLst>
              <a:ext uri="{FF2B5EF4-FFF2-40B4-BE49-F238E27FC236}">
                <a16:creationId xmlns:a16="http://schemas.microsoft.com/office/drawing/2014/main" id="{3FAF3017-635F-4D1D-B9B7-5C69CC73D858}"/>
              </a:ext>
            </a:extLst>
          </p:cNvPr>
          <p:cNvGrpSpPr/>
          <p:nvPr/>
        </p:nvGrpSpPr>
        <p:grpSpPr bwMode="gray">
          <a:xfrm rot="5400000">
            <a:off x="2192923" y="2985561"/>
            <a:ext cx="180000" cy="2339974"/>
            <a:chOff x="6280267" y="1836686"/>
            <a:chExt cx="334451" cy="883825"/>
          </a:xfrm>
        </p:grpSpPr>
        <p:sp>
          <p:nvSpPr>
            <p:cNvPr id="44" name="Chevron 112">
              <a:extLst>
                <a:ext uri="{FF2B5EF4-FFF2-40B4-BE49-F238E27FC236}">
                  <a16:creationId xmlns:a16="http://schemas.microsoft.com/office/drawing/2014/main" id="{9BB840CF-4A98-41D5-A1A1-E461A32F3C79}"/>
                </a:ext>
              </a:extLst>
            </p:cNvPr>
            <p:cNvSpPr/>
            <p:nvPr/>
          </p:nvSpPr>
          <p:spPr bwMode="gray">
            <a:xfrm rot="10800000" flipH="1" flipV="1">
              <a:off x="6280267" y="1941177"/>
              <a:ext cx="172908" cy="674843"/>
            </a:xfrm>
            <a:prstGeom prst="chevron">
              <a:avLst/>
            </a:prstGeom>
            <a:gradFill flip="none" rotWithShape="1">
              <a:gsLst>
                <a:gs pos="0">
                  <a:srgbClr val="747474">
                    <a:tint val="50000"/>
                    <a:satMod val="300000"/>
                  </a:srgbClr>
                </a:gs>
                <a:gs pos="35000">
                  <a:srgbClr val="747474">
                    <a:tint val="37000"/>
                    <a:satMod val="300000"/>
                  </a:srgbClr>
                </a:gs>
                <a:gs pos="100000">
                  <a:srgbClr val="747474">
                    <a:tint val="15000"/>
                    <a:satMod val="350000"/>
                  </a:srgbClr>
                </a:gs>
              </a:gsLst>
              <a:lin ang="10800000" scaled="1"/>
              <a:tileRect/>
            </a:gradFill>
            <a:ln w="9525" cap="flat" cmpd="sng" algn="ctr">
              <a:noFill/>
              <a:prstDash val="solid"/>
            </a:ln>
            <a:effectLst>
              <a:outerShdw blurRad="40000" dist="20000" dir="5400000" rotWithShape="0">
                <a:srgbClr val="000000">
                  <a:alpha val="38000"/>
                </a:srgbClr>
              </a:outerShdw>
            </a:effectLst>
          </p:spPr>
          <p:txBody>
            <a:bodyPr rtlCol="0" anchor="ctr"/>
            <a:lstStyle/>
            <a:p>
              <a:pPr algn="ctr" fontAlgn="base">
                <a:spcBef>
                  <a:spcPct val="0"/>
                </a:spcBef>
                <a:spcAft>
                  <a:spcPct val="0"/>
                </a:spcAft>
                <a:defRPr/>
              </a:pPr>
              <a:endParaRPr lang="en-US" sz="918" kern="0">
                <a:solidFill>
                  <a:srgbClr val="000000"/>
                </a:solidFill>
                <a:latin typeface="Calibri" pitchFamily="34" charset="0"/>
              </a:endParaRPr>
            </a:p>
          </p:txBody>
        </p:sp>
        <p:sp>
          <p:nvSpPr>
            <p:cNvPr id="45" name="Chevron 113">
              <a:extLst>
                <a:ext uri="{FF2B5EF4-FFF2-40B4-BE49-F238E27FC236}">
                  <a16:creationId xmlns:a16="http://schemas.microsoft.com/office/drawing/2014/main" id="{86C0CAA8-A3A3-4EF4-B0A9-E87DCD2AEB26}"/>
                </a:ext>
              </a:extLst>
            </p:cNvPr>
            <p:cNvSpPr/>
            <p:nvPr/>
          </p:nvSpPr>
          <p:spPr bwMode="gray">
            <a:xfrm rot="10800000" flipH="1" flipV="1">
              <a:off x="6388264" y="1836686"/>
              <a:ext cx="226454" cy="883825"/>
            </a:xfrm>
            <a:prstGeom prst="chevron">
              <a:avLst/>
            </a:prstGeom>
            <a:solidFill>
              <a:srgbClr val="415064"/>
            </a:solidFill>
            <a:ln w="9525" cap="flat" cmpd="sng" algn="ctr">
              <a:noFill/>
              <a:prstDash val="solid"/>
            </a:ln>
            <a:effectLst>
              <a:outerShdw blurRad="40000" dist="23000" dir="5400000" rotWithShape="0">
                <a:srgbClr val="000000">
                  <a:alpha val="35000"/>
                </a:srgbClr>
              </a:outerShdw>
            </a:effectLst>
          </p:spPr>
          <p:txBody>
            <a:bodyPr rtlCol="0" anchor="ctr"/>
            <a:lstStyle/>
            <a:p>
              <a:pPr algn="ctr" fontAlgn="base">
                <a:spcBef>
                  <a:spcPct val="0"/>
                </a:spcBef>
                <a:spcAft>
                  <a:spcPct val="0"/>
                </a:spcAft>
                <a:defRPr/>
              </a:pPr>
              <a:endParaRPr lang="en-US" sz="918" kern="0" dirty="0">
                <a:solidFill>
                  <a:srgbClr val="000000"/>
                </a:solidFill>
                <a:latin typeface="Calibri" pitchFamily="34" charset="0"/>
              </a:endParaRPr>
            </a:p>
          </p:txBody>
        </p:sp>
      </p:grpSp>
      <p:sp>
        <p:nvSpPr>
          <p:cNvPr id="46" name="Rettangolo arrotondato 1057">
            <a:extLst>
              <a:ext uri="{FF2B5EF4-FFF2-40B4-BE49-F238E27FC236}">
                <a16:creationId xmlns:a16="http://schemas.microsoft.com/office/drawing/2014/main" id="{5AF88F4B-C58E-47E7-934F-6EF7F93AE6DB}"/>
              </a:ext>
            </a:extLst>
          </p:cNvPr>
          <p:cNvSpPr/>
          <p:nvPr/>
        </p:nvSpPr>
        <p:spPr>
          <a:xfrm>
            <a:off x="282356" y="4419670"/>
            <a:ext cx="972000" cy="288000"/>
          </a:xfrm>
          <a:prstGeom prst="roundRect">
            <a:avLst/>
          </a:prstGeom>
          <a:solidFill>
            <a:schemeClr val="accent6">
              <a:lumMod val="60000"/>
              <a:lumOff val="4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55"/>
            <a:r>
              <a:rPr lang="it-IT" sz="900" b="1" dirty="0">
                <a:solidFill>
                  <a:schemeClr val="bg1"/>
                </a:solidFill>
                <a:latin typeface="Arial"/>
              </a:rPr>
              <a:t>LEVA</a:t>
            </a:r>
          </a:p>
        </p:txBody>
      </p:sp>
      <p:sp>
        <p:nvSpPr>
          <p:cNvPr id="47" name="Rettangolo arrotondato 1057">
            <a:extLst>
              <a:ext uri="{FF2B5EF4-FFF2-40B4-BE49-F238E27FC236}">
                <a16:creationId xmlns:a16="http://schemas.microsoft.com/office/drawing/2014/main" id="{CC292F89-AAD5-4577-95BB-0681C2797551}"/>
              </a:ext>
            </a:extLst>
          </p:cNvPr>
          <p:cNvSpPr/>
          <p:nvPr/>
        </p:nvSpPr>
        <p:spPr>
          <a:xfrm>
            <a:off x="2298918" y="4419670"/>
            <a:ext cx="972000" cy="288000"/>
          </a:xfrm>
          <a:prstGeom prst="roundRect">
            <a:avLst/>
          </a:prstGeom>
          <a:solidFill>
            <a:schemeClr val="accent6">
              <a:lumMod val="60000"/>
              <a:lumOff val="4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55"/>
            <a:r>
              <a:rPr lang="it-IT" sz="900" b="1" dirty="0">
                <a:solidFill>
                  <a:schemeClr val="bg1"/>
                </a:solidFill>
                <a:latin typeface="Arial"/>
              </a:rPr>
              <a:t>RENDIMENTO</a:t>
            </a:r>
          </a:p>
        </p:txBody>
      </p:sp>
      <p:sp>
        <p:nvSpPr>
          <p:cNvPr id="48" name="Rettangolo arrotondato 1057">
            <a:extLst>
              <a:ext uri="{FF2B5EF4-FFF2-40B4-BE49-F238E27FC236}">
                <a16:creationId xmlns:a16="http://schemas.microsoft.com/office/drawing/2014/main" id="{72D43689-8DE0-4994-B17B-B69982F675C2}"/>
              </a:ext>
            </a:extLst>
          </p:cNvPr>
          <p:cNvSpPr/>
          <p:nvPr/>
        </p:nvSpPr>
        <p:spPr>
          <a:xfrm>
            <a:off x="3307199" y="4419670"/>
            <a:ext cx="972000" cy="288000"/>
          </a:xfrm>
          <a:prstGeom prst="roundRect">
            <a:avLst/>
          </a:prstGeom>
          <a:solidFill>
            <a:schemeClr val="accent6">
              <a:lumMod val="60000"/>
              <a:lumOff val="4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55"/>
            <a:r>
              <a:rPr lang="it-IT" sz="900" b="1" dirty="0">
                <a:solidFill>
                  <a:schemeClr val="bg1"/>
                </a:solidFill>
                <a:latin typeface="Arial"/>
              </a:rPr>
              <a:t>IMPATTO</a:t>
            </a:r>
          </a:p>
        </p:txBody>
      </p:sp>
      <p:sp>
        <p:nvSpPr>
          <p:cNvPr id="49" name="Rettangolo arrotondato 1057">
            <a:extLst>
              <a:ext uri="{FF2B5EF4-FFF2-40B4-BE49-F238E27FC236}">
                <a16:creationId xmlns:a16="http://schemas.microsoft.com/office/drawing/2014/main" id="{44642233-A9AC-40EC-BDFD-DB31AB5ACF79}"/>
              </a:ext>
            </a:extLst>
          </p:cNvPr>
          <p:cNvSpPr/>
          <p:nvPr/>
        </p:nvSpPr>
        <p:spPr>
          <a:xfrm>
            <a:off x="1290637" y="4426020"/>
            <a:ext cx="972000" cy="288000"/>
          </a:xfrm>
          <a:prstGeom prst="roundRect">
            <a:avLst/>
          </a:prstGeom>
          <a:solidFill>
            <a:schemeClr val="accent6">
              <a:lumMod val="60000"/>
              <a:lumOff val="4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55"/>
            <a:r>
              <a:rPr lang="it-IT" sz="900" b="1" dirty="0">
                <a:solidFill>
                  <a:schemeClr val="bg1"/>
                </a:solidFill>
                <a:latin typeface="Arial"/>
              </a:rPr>
              <a:t>RISCHIO</a:t>
            </a:r>
          </a:p>
        </p:txBody>
      </p:sp>
    </p:spTree>
    <p:extLst>
      <p:ext uri="{BB962C8B-B14F-4D97-AF65-F5344CB8AC3E}">
        <p14:creationId xmlns:p14="http://schemas.microsoft.com/office/powerpoint/2010/main" val="30598244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q0HFJjzT1G4D0ODo95eHg"/>
</p:tagLst>
</file>

<file path=ppt/tags/tag26.xml><?xml version="1.0" encoding="utf-8"?>
<p:tagLst xmlns:a="http://schemas.openxmlformats.org/drawingml/2006/main" xmlns:r="http://schemas.openxmlformats.org/officeDocument/2006/relationships" xmlns:p="http://schemas.openxmlformats.org/presentationml/2006/main">
  <p:tag name="NAME" val="Logo"/>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ZGJ9ZA3vSsiMyayqb8WG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y01i5Fyn2Ss9b0QFSTXe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1LEVEL" val="19"/>
  <p:tag name="2LEVEL" val="9.5"/>
  <p:tag name="3LEVEL" val="4.75"/>
  <p:tag name="4LEVEL" val="2.38"/>
  <p:tag name="5LEVEL" val="1.19"/>
</p:tagLst>
</file>

<file path=ppt/tags/tag35.xml><?xml version="1.0" encoding="utf-8"?>
<p:tagLst xmlns:a="http://schemas.openxmlformats.org/drawingml/2006/main" xmlns:r="http://schemas.openxmlformats.org/officeDocument/2006/relationships" xmlns:p="http://schemas.openxmlformats.org/presentationml/2006/main">
  <p:tag name="1LEVEL" val="19"/>
  <p:tag name="2LEVEL" val="9.5"/>
  <p:tag name="3LEVEL" val="4.75"/>
  <p:tag name="4LEVEL" val="2.38"/>
  <p:tag name="5LEVEL" val="1.19"/>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47GzpdBrNoNTTpmmGmwPw"/>
</p:tagLst>
</file>

<file path=ppt/tags/tag38.xml><?xml version="1.0" encoding="utf-8"?>
<p:tagLst xmlns:a="http://schemas.openxmlformats.org/drawingml/2006/main" xmlns:r="http://schemas.openxmlformats.org/officeDocument/2006/relationships" xmlns:p="http://schemas.openxmlformats.org/presentationml/2006/main">
  <p:tag name="1LEVEL" val="19"/>
  <p:tag name="2LEVEL" val="9.5"/>
  <p:tag name="3LEVEL" val="4.75"/>
  <p:tag name="4LEVEL" val="2.38"/>
  <p:tag name="5LEVEL" val="1.19"/>
</p:tagLst>
</file>

<file path=ppt/tags/tag39.xml><?xml version="1.0" encoding="utf-8"?>
<p:tagLst xmlns:a="http://schemas.openxmlformats.org/drawingml/2006/main" xmlns:r="http://schemas.openxmlformats.org/officeDocument/2006/relationships" xmlns:p="http://schemas.openxmlformats.org/presentationml/2006/main">
  <p:tag name="1LEVEL" val="19"/>
  <p:tag name="2LEVEL" val="9.5"/>
  <p:tag name="3LEVEL" val="4.75"/>
  <p:tag name="4LEVEL" val="2.38"/>
  <p:tag name="5LEVEL" val="1.19"/>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1LEVEL" val="19"/>
  <p:tag name="2LEVEL" val="9.5"/>
  <p:tag name="3LEVEL" val="4.75"/>
  <p:tag name="4LEVEL" val="2.38"/>
  <p:tag name="5LEVEL" val="1.19"/>
</p:tagLst>
</file>

<file path=ppt/tags/tag41.xml><?xml version="1.0" encoding="utf-8"?>
<p:tagLst xmlns:a="http://schemas.openxmlformats.org/drawingml/2006/main" xmlns:r="http://schemas.openxmlformats.org/officeDocument/2006/relationships" xmlns:p="http://schemas.openxmlformats.org/presentationml/2006/main">
  <p:tag name="1LEVEL" val="19"/>
  <p:tag name="2LEVEL" val="9.5"/>
  <p:tag name="3LEVEL" val="4.75"/>
  <p:tag name="4LEVEL" val="2.38"/>
  <p:tag name="5LEVEL" val="1.19"/>
</p:tagLst>
</file>

<file path=ppt/tags/tag42.xml><?xml version="1.0" encoding="utf-8"?>
<p:tagLst xmlns:a="http://schemas.openxmlformats.org/drawingml/2006/main" xmlns:r="http://schemas.openxmlformats.org/officeDocument/2006/relationships" xmlns:p="http://schemas.openxmlformats.org/presentationml/2006/main">
  <p:tag name="1LEVEL" val="19"/>
  <p:tag name="2LEVEL" val="9.5"/>
  <p:tag name="3LEVEL" val="4.75"/>
  <p:tag name="4LEVEL" val="2.38"/>
  <p:tag name="5LEVEL" val="1.19"/>
</p:tagLst>
</file>

<file path=ppt/tags/tag43.xml><?xml version="1.0" encoding="utf-8"?>
<p:tagLst xmlns:a="http://schemas.openxmlformats.org/drawingml/2006/main" xmlns:r="http://schemas.openxmlformats.org/officeDocument/2006/relationships" xmlns:p="http://schemas.openxmlformats.org/presentationml/2006/main">
  <p:tag name="1LEVEL" val="19"/>
  <p:tag name="2LEVEL" val="9.5"/>
  <p:tag name="3LEVEL" val="4.75"/>
  <p:tag name="4LEVEL" val="2.38"/>
  <p:tag name="5LEVEL" val="1.19"/>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1LEVEL" val="19"/>
  <p:tag name="2LEVEL" val="9.5"/>
  <p:tag name="3LEVEL" val="4.75"/>
  <p:tag name="4LEVEL" val="2.38"/>
  <p:tag name="5LEVEL" val="1.19"/>
</p:tagLst>
</file>

<file path=ppt/tags/tag46.xml><?xml version="1.0" encoding="utf-8"?>
<p:tagLst xmlns:a="http://schemas.openxmlformats.org/drawingml/2006/main" xmlns:r="http://schemas.openxmlformats.org/officeDocument/2006/relationships" xmlns:p="http://schemas.openxmlformats.org/presentationml/2006/main">
  <p:tag name="1LEVEL" val="19"/>
  <p:tag name="2LEVEL" val="9.5"/>
  <p:tag name="3LEVEL" val="4.75"/>
  <p:tag name="4LEVEL" val="2.38"/>
  <p:tag name="5LEVEL" val="1.19"/>
</p:tagLst>
</file>

<file path=ppt/tags/tag47.xml><?xml version="1.0" encoding="utf-8"?>
<p:tagLst xmlns:a="http://schemas.openxmlformats.org/drawingml/2006/main" xmlns:r="http://schemas.openxmlformats.org/officeDocument/2006/relationships" xmlns:p="http://schemas.openxmlformats.org/presentationml/2006/main">
  <p:tag name="1LEVEL" val="19"/>
  <p:tag name="2LEVEL" val="9.5"/>
  <p:tag name="3LEVEL" val="4.75"/>
  <p:tag name="4LEVEL" val="2.38"/>
  <p:tag name="5LEVEL" val="1.19"/>
</p:tagLst>
</file>

<file path=ppt/tags/tag48.xml><?xml version="1.0" encoding="utf-8"?>
<p:tagLst xmlns:a="http://schemas.openxmlformats.org/drawingml/2006/main" xmlns:r="http://schemas.openxmlformats.org/officeDocument/2006/relationships" xmlns:p="http://schemas.openxmlformats.org/presentationml/2006/main">
  <p:tag name="1LEVEL" val="19"/>
  <p:tag name="2LEVEL" val="9.5"/>
  <p:tag name="3LEVEL" val="4.75"/>
  <p:tag name="4LEVEL" val="2.38"/>
  <p:tag name="5LEVEL" val="1.19"/>
</p:tagLst>
</file>

<file path=ppt/tags/tag49.xml><?xml version="1.0" encoding="utf-8"?>
<p:tagLst xmlns:a="http://schemas.openxmlformats.org/drawingml/2006/main" xmlns:r="http://schemas.openxmlformats.org/officeDocument/2006/relationships" xmlns:p="http://schemas.openxmlformats.org/presentationml/2006/main">
  <p:tag name="1LEVEL" val="19"/>
  <p:tag name="2LEVEL" val="9.5"/>
  <p:tag name="3LEVEL" val="4.75"/>
  <p:tag name="4LEVEL" val="2.38"/>
  <p:tag name="5LEVEL" val="1.19"/>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1LEVEL" val="19"/>
  <p:tag name="2LEVEL" val="9.5"/>
  <p:tag name="3LEVEL" val="4.75"/>
  <p:tag name="4LEVEL" val="2.38"/>
  <p:tag name="5LEVEL" val="1.19"/>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1LEVEL" val="19"/>
  <p:tag name="2LEVEL" val="9.5"/>
  <p:tag name="3LEVEL" val="4.75"/>
  <p:tag name="4LEVEL" val="2.38"/>
  <p:tag name="5LEVEL" val="1.19"/>
</p:tagLst>
</file>

<file path=ppt/tags/tag53.xml><?xml version="1.0" encoding="utf-8"?>
<p:tagLst xmlns:a="http://schemas.openxmlformats.org/drawingml/2006/main" xmlns:r="http://schemas.openxmlformats.org/officeDocument/2006/relationships" xmlns:p="http://schemas.openxmlformats.org/presentationml/2006/main">
  <p:tag name="1LEVEL" val="19"/>
  <p:tag name="2LEVEL" val="9.5"/>
  <p:tag name="3LEVEL" val="4.75"/>
  <p:tag name="4LEVEL" val="2.38"/>
  <p:tag name="5LEVEL" val="1.19"/>
</p:tagLst>
</file>

<file path=ppt/tags/tag54.xml><?xml version="1.0" encoding="utf-8"?>
<p:tagLst xmlns:a="http://schemas.openxmlformats.org/drawingml/2006/main" xmlns:r="http://schemas.openxmlformats.org/officeDocument/2006/relationships" xmlns:p="http://schemas.openxmlformats.org/presentationml/2006/main">
  <p:tag name="1LEVEL" val="19"/>
  <p:tag name="2LEVEL" val="9.5"/>
  <p:tag name="3LEVEL" val="4.75"/>
  <p:tag name="4LEVEL" val="2.38"/>
  <p:tag name="5LEVEL" val="1.19"/>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t8nB3pyR8WF9RsDODfd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1_Firm Format - template_Blue">
  <a:themeElements>
    <a:clrScheme name="CDP">
      <a:dk1>
        <a:srgbClr val="000000"/>
      </a:dk1>
      <a:lt1>
        <a:srgbClr val="FFFFFF"/>
      </a:lt1>
      <a:dk2>
        <a:srgbClr val="001548"/>
      </a:dk2>
      <a:lt2>
        <a:srgbClr val="FFFFFF"/>
      </a:lt2>
      <a:accent1>
        <a:srgbClr val="D9D9D9"/>
      </a:accent1>
      <a:accent2>
        <a:srgbClr val="747474"/>
      </a:accent2>
      <a:accent3>
        <a:srgbClr val="333333"/>
      </a:accent3>
      <a:accent4>
        <a:srgbClr val="C00000"/>
      </a:accent4>
      <a:accent5>
        <a:srgbClr val="001548"/>
      </a:accent5>
      <a:accent6>
        <a:srgbClr val="747474"/>
      </a:accent6>
      <a:hlink>
        <a:srgbClr val="333333"/>
      </a:hlink>
      <a:folHlink>
        <a:srgbClr val="C90026"/>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Grey-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Cyan-Blue">
        <a:dk1>
          <a:srgbClr val="000000"/>
        </a:dk1>
        <a:lt1>
          <a:srgbClr val="FFFFFF"/>
        </a:lt1>
        <a:dk2>
          <a:srgbClr val="002960"/>
        </a:dk2>
        <a:lt2>
          <a:srgbClr val="FFFFFF"/>
        </a:lt2>
        <a:accent1>
          <a:srgbClr val="C9F0FF"/>
        </a:accent1>
        <a:accent2>
          <a:srgbClr val="00ADEF"/>
        </a:accent2>
        <a:accent3>
          <a:srgbClr val="0065BD"/>
        </a:accent3>
        <a:accent4>
          <a:srgbClr val="002960"/>
        </a:accent4>
        <a:accent5>
          <a:srgbClr val="F27F00"/>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DP - 18.IT1 MISURA CLIENTE.pptx" id="{AEF408BA-D489-4BC6-AB03-D6C1BC34A248}" vid="{539D7A97-58B2-45AE-BD58-3EFF63F2194B}"/>
    </a:ext>
  </a:ext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C0EFE1DD99A52045BE5DE8D31073AD51" ma:contentTypeVersion="12" ma:contentTypeDescription="Creare un nuovo documento." ma:contentTypeScope="" ma:versionID="243d142f62da0a6fce821a6863e22f10">
  <xsd:schema xmlns:xsd="http://www.w3.org/2001/XMLSchema" xmlns:xs="http://www.w3.org/2001/XMLSchema" xmlns:p="http://schemas.microsoft.com/office/2006/metadata/properties" xmlns:ns2="da8e70d9-04d7-4116-a927-619070362430" xmlns:ns3="fe4c806e-e85f-41d8-ab2e-5f06d6158d8d" targetNamespace="http://schemas.microsoft.com/office/2006/metadata/properties" ma:root="true" ma:fieldsID="0e8c7813c07f15ebf33ac7ee77611ea7" ns2:_="" ns3:_="">
    <xsd:import namespace="da8e70d9-04d7-4116-a927-619070362430"/>
    <xsd:import namespace="fe4c806e-e85f-41d8-ab2e-5f06d6158d8d"/>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a8e70d9-04d7-4116-a927-619070362430" elementFormDefault="qualified">
    <xsd:import namespace="http://schemas.microsoft.com/office/2006/documentManagement/types"/>
    <xsd:import namespace="http://schemas.microsoft.com/office/infopath/2007/PartnerControls"/>
    <xsd:element name="SharedWithUsers" ma:index="8"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Condiviso con dettagli"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e4c806e-e85f-41d8-ab2e-5f06d6158d8d"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6D6DC00-3B51-4625-8FD2-D454771DFBA1}"/>
</file>

<file path=customXml/itemProps2.xml><?xml version="1.0" encoding="utf-8"?>
<ds:datastoreItem xmlns:ds="http://schemas.openxmlformats.org/officeDocument/2006/customXml" ds:itemID="{EBE4BA7A-D824-4043-9F90-38D1D042A213}"/>
</file>

<file path=customXml/itemProps3.xml><?xml version="1.0" encoding="utf-8"?>
<ds:datastoreItem xmlns:ds="http://schemas.openxmlformats.org/officeDocument/2006/customXml" ds:itemID="{7A1B9205-9043-4CD3-8794-6664BD1222AE}"/>
</file>

<file path=docProps/app.xml><?xml version="1.0" encoding="utf-8"?>
<Properties xmlns="http://schemas.openxmlformats.org/officeDocument/2006/extended-properties" xmlns:vt="http://schemas.openxmlformats.org/officeDocument/2006/docPropsVTypes">
  <Template>CDP</Template>
  <TotalTime>17794</TotalTime>
  <Words>5334</Words>
  <Application>Microsoft Office PowerPoint</Application>
  <PresentationFormat>Presentazione su schermo (16:9)</PresentationFormat>
  <Paragraphs>631</Paragraphs>
  <Slides>30</Slides>
  <Notes>20</Notes>
  <HiddenSlides>0</HiddenSlides>
  <MMClips>0</MMClips>
  <ScaleCrop>false</ScaleCrop>
  <HeadingPairs>
    <vt:vector size="8" baseType="variant">
      <vt:variant>
        <vt:lpstr>Caratteri utilizzati</vt:lpstr>
      </vt:variant>
      <vt:variant>
        <vt:i4>10</vt:i4>
      </vt:variant>
      <vt:variant>
        <vt:lpstr>Tema</vt:lpstr>
      </vt:variant>
      <vt:variant>
        <vt:i4>2</vt:i4>
      </vt:variant>
      <vt:variant>
        <vt:lpstr>Server OLE incorporati</vt:lpstr>
      </vt:variant>
      <vt:variant>
        <vt:i4>2</vt:i4>
      </vt:variant>
      <vt:variant>
        <vt:lpstr>Titoli diapositive</vt:lpstr>
      </vt:variant>
      <vt:variant>
        <vt:i4>30</vt:i4>
      </vt:variant>
    </vt:vector>
  </HeadingPairs>
  <TitlesOfParts>
    <vt:vector size="44" baseType="lpstr">
      <vt:lpstr>Arial</vt:lpstr>
      <vt:lpstr>Arial (corpo)</vt:lpstr>
      <vt:lpstr>Arial corpo</vt:lpstr>
      <vt:lpstr>Bressay</vt:lpstr>
      <vt:lpstr>Calibri</vt:lpstr>
      <vt:lpstr>Lato Light</vt:lpstr>
      <vt:lpstr>MinionPro-Regular</vt:lpstr>
      <vt:lpstr>Symbol</vt:lpstr>
      <vt:lpstr>Trebuchet MS</vt:lpstr>
      <vt:lpstr>Wingdings</vt:lpstr>
      <vt:lpstr>Tema di Office</vt:lpstr>
      <vt:lpstr>11_Firm Format - template_Blue</vt:lpstr>
      <vt:lpstr>Diapositiva think-cell</vt:lpstr>
      <vt:lpstr>think-cell Slid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aesi prioritari per CDP Cooperazione Internazionale allo Sviluppo</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Utente di Microsoft Office</dc:creator>
  <cp:lastModifiedBy>Alessandra Spinelli</cp:lastModifiedBy>
  <cp:revision>709</cp:revision>
  <cp:lastPrinted>2019-11-05T19:10:41Z</cp:lastPrinted>
  <dcterms:created xsi:type="dcterms:W3CDTF">2018-05-14T08:37:56Z</dcterms:created>
  <dcterms:modified xsi:type="dcterms:W3CDTF">2020-09-17T12:06: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0EFE1DD99A52045BE5DE8D31073AD51</vt:lpwstr>
  </property>
</Properties>
</file>